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31"/>
  </p:notesMasterIdLst>
  <p:sldIdLst>
    <p:sldId id="305" r:id="rId3"/>
    <p:sldId id="307" r:id="rId4"/>
    <p:sldId id="263" r:id="rId5"/>
    <p:sldId id="256" r:id="rId6"/>
    <p:sldId id="310" r:id="rId7"/>
    <p:sldId id="267" r:id="rId8"/>
    <p:sldId id="260" r:id="rId9"/>
    <p:sldId id="264" r:id="rId10"/>
    <p:sldId id="265" r:id="rId11"/>
    <p:sldId id="257" r:id="rId12"/>
    <p:sldId id="266" r:id="rId13"/>
    <p:sldId id="308" r:id="rId14"/>
    <p:sldId id="312" r:id="rId15"/>
    <p:sldId id="314" r:id="rId16"/>
    <p:sldId id="316" r:id="rId17"/>
    <p:sldId id="315" r:id="rId18"/>
    <p:sldId id="327" r:id="rId19"/>
    <p:sldId id="317" r:id="rId20"/>
    <p:sldId id="321" r:id="rId21"/>
    <p:sldId id="320" r:id="rId22"/>
    <p:sldId id="323" r:id="rId23"/>
    <p:sldId id="322" r:id="rId24"/>
    <p:sldId id="319" r:id="rId25"/>
    <p:sldId id="324" r:id="rId26"/>
    <p:sldId id="325" r:id="rId27"/>
    <p:sldId id="326" r:id="rId28"/>
    <p:sldId id="268" r:id="rId29"/>
    <p:sldId id="31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257" userDrawn="1">
          <p15:clr>
            <a:srgbClr val="A4A3A4"/>
          </p15:clr>
        </p15:guide>
        <p15:guide id="4" pos="7423" userDrawn="1">
          <p15:clr>
            <a:srgbClr val="A4A3A4"/>
          </p15:clr>
        </p15:guide>
        <p15:guide id="5" orient="horz" pos="3861" userDrawn="1">
          <p15:clr>
            <a:srgbClr val="A4A3A4"/>
          </p15:clr>
        </p15:guide>
        <p15:guide id="6" orient="horz" pos="45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959122-5F43-49E0-F0CE-BB9473DF117C}" name="ANGGI" initials="A" userId="ANGG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204B"/>
    <a:srgbClr val="DF4D71"/>
    <a:srgbClr val="085171"/>
    <a:srgbClr val="E88E85"/>
    <a:srgbClr val="96A3AC"/>
    <a:srgbClr val="2D7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3742" autoAdjust="0"/>
  </p:normalViewPr>
  <p:slideViewPr>
    <p:cSldViewPr snapToGrid="0">
      <p:cViewPr>
        <p:scale>
          <a:sx n="82" d="100"/>
          <a:sy n="82" d="100"/>
        </p:scale>
        <p:origin x="643" y="101"/>
      </p:cViewPr>
      <p:guideLst>
        <p:guide orient="horz" pos="2160"/>
        <p:guide pos="3840"/>
        <p:guide pos="257"/>
        <p:guide pos="7423"/>
        <p:guide orient="horz" pos="3861"/>
        <p:guide orient="horz" pos="45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34CF47-266E-4EA5-837E-1E30BCA6E6A8}" type="datetimeFigureOut">
              <a:rPr lang="en-US" smtClean="0"/>
              <a:t>4/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112325-E3CB-4109-AFF9-9CF0988AEDA5}" type="slidenum">
              <a:rPr lang="en-US" smtClean="0"/>
              <a:t>‹#›</a:t>
            </a:fld>
            <a:endParaRPr lang="en-US"/>
          </a:p>
        </p:txBody>
      </p:sp>
    </p:spTree>
    <p:extLst>
      <p:ext uri="{BB962C8B-B14F-4D97-AF65-F5344CB8AC3E}">
        <p14:creationId xmlns:p14="http://schemas.microsoft.com/office/powerpoint/2010/main" val="1915192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felixrstg?utm_source=unsplash&amp;utm_medium=referral&amp;utm_content=creditCopyText" TargetMode="External"/><Relationship Id="rId7" Type="http://schemas.openxmlformats.org/officeDocument/2006/relationships/hyperlink" Target="https://unsplash.com/@damiano_baschiera?utm_source=unsplash&amp;utm_medium=referral&amp;utm_content=creditCopyText"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unsplash.com/@sadswim?utm_source=unsplash&amp;utm_medium=referral&amp;utm_content=creditCopyText" TargetMode="External"/><Relationship Id="rId5" Type="http://schemas.openxmlformats.org/officeDocument/2006/relationships/hyperlink" Target="https://unsplash.com/@rolandsvarsbergs?utm_source=unsplash&amp;utm_medium=referral&amp;utm_content=creditCopyText" TargetMode="External"/><Relationship Id="rId4" Type="http://schemas.openxmlformats.org/officeDocument/2006/relationships/hyperlink" Target="https://unsplash.com/?utm_source=unsplash&amp;utm_medium=referral&amp;utm_content=creditCopyText"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surface?utm_source=unsplash&amp;utm_medium=referral&amp;utm_content=creditCopyText"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unsplash.com/@fredrikohlander?utm_source=unsplash&amp;utm_medium=referral&amp;utm_content=creditCopyText" TargetMode="External"/><Relationship Id="rId5" Type="http://schemas.openxmlformats.org/officeDocument/2006/relationships/hyperlink" Target="https://unsplash.com/@kenwood123?utm_source=unsplash&amp;utm_medium=referral&amp;utm_content=creditCopyText" TargetMode="External"/><Relationship Id="rId4" Type="http://schemas.openxmlformats.org/officeDocument/2006/relationships/hyperlink" Target="https://unsplash.com/?utm_source=unsplash&amp;utm_medium=referral&amp;utm_content=creditCopyText" TargetMode="Externa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unsplash.com/s/photos/singapore?utm_source=unsplash&amp;utm_medium=referral&amp;utm_content=creditCopyText" TargetMode="External"/><Relationship Id="rId13" Type="http://schemas.openxmlformats.org/officeDocument/2006/relationships/hyperlink" Target="https://unsplash.com/@bundo?utm_source=unsplash&amp;utm_medium=referral&amp;utm_content=creditCopyText" TargetMode="External"/><Relationship Id="rId3" Type="http://schemas.openxmlformats.org/officeDocument/2006/relationships/hyperlink" Target="https://unsplash.com/@salty_sandals?utm_source=unsplash&amp;utm_medium=referral&amp;utm_content=creditCopyText" TargetMode="External"/><Relationship Id="rId7" Type="http://schemas.openxmlformats.org/officeDocument/2006/relationships/hyperlink" Target="https://unsplash.com/@j1000words?utm_source=unsplash&amp;utm_medium=referral&amp;utm_content=creditCopyText" TargetMode="External"/><Relationship Id="rId12" Type="http://schemas.openxmlformats.org/officeDocument/2006/relationships/hyperlink" Target="https://unsplash.com/s/photos/beijing?utm_source=unsplash&amp;utm_medium=referral&amp;utm_content=creditCopyText" TargetMode="External"/><Relationship Id="rId2" Type="http://schemas.openxmlformats.org/officeDocument/2006/relationships/slide" Target="../slides/slide25.xml"/><Relationship Id="rId16" Type="http://schemas.openxmlformats.org/officeDocument/2006/relationships/hyperlink" Target="https://unsplash.com/s/photos/japan?utm_source=unsplash&amp;utm_medium=referral&amp;utm_content=creditCopyText" TargetMode="External"/><Relationship Id="rId1" Type="http://schemas.openxmlformats.org/officeDocument/2006/relationships/notesMaster" Target="../notesMasters/notesMaster1.xml"/><Relationship Id="rId6" Type="http://schemas.openxmlformats.org/officeDocument/2006/relationships/hyperlink" Target="https://unsplash.com/s/photos/borobudur?utm_source=unsplash&amp;utm_medium=referral&amp;utm_content=creditCopyText" TargetMode="External"/><Relationship Id="rId11" Type="http://schemas.openxmlformats.org/officeDocument/2006/relationships/hyperlink" Target="https://unsplash.com/@juniperphoton?utm_source=unsplash&amp;utm_medium=referral&amp;utm_content=creditCopyText" TargetMode="External"/><Relationship Id="rId5" Type="http://schemas.openxmlformats.org/officeDocument/2006/relationships/hyperlink" Target="https://unsplash.com/@bonnarda?utm_source=unsplash&amp;utm_medium=referral&amp;utm_content=creditCopyText" TargetMode="External"/><Relationship Id="rId15" Type="http://schemas.openxmlformats.org/officeDocument/2006/relationships/hyperlink" Target="https://unsplash.com/@boontohhgraphy?utm_source=unsplash&amp;utm_medium=referral&amp;utm_content=creditCopyText" TargetMode="External"/><Relationship Id="rId10" Type="http://schemas.openxmlformats.org/officeDocument/2006/relationships/hyperlink" Target="https://unsplash.com/s/photos/taj-mahal?utm_source=unsplash&amp;utm_medium=referral&amp;utm_content=creditCopyText" TargetMode="External"/><Relationship Id="rId4" Type="http://schemas.openxmlformats.org/officeDocument/2006/relationships/hyperlink" Target="https://unsplash.com/s/photos/asia?utm_source=unsplash&amp;utm_medium=referral&amp;utm_content=creditCopyText" TargetMode="External"/><Relationship Id="rId9" Type="http://schemas.openxmlformats.org/officeDocument/2006/relationships/hyperlink" Target="https://unsplash.com/@sylwiabartyzel?utm_source=unsplash&amp;utm_medium=referral&amp;utm_content=creditCopyText" TargetMode="External"/><Relationship Id="rId14" Type="http://schemas.openxmlformats.org/officeDocument/2006/relationships/hyperlink" Target="https://unsplash.com/s/photos/seoul?utm_source=unsplash&amp;utm_medium=referral&amp;utm_content=creditCopyText"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felixrstg?utm_source=unsplash&amp;utm_medium=referral&amp;utm_content=creditCopyText" TargetMode="External"/><Relationship Id="rId7" Type="http://schemas.openxmlformats.org/officeDocument/2006/relationships/hyperlink" Target="https://unsplash.com/@damiano_baschiera?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unsplash.com/@sadswim?utm_source=unsplash&amp;utm_medium=referral&amp;utm_content=creditCopyText" TargetMode="External"/><Relationship Id="rId5" Type="http://schemas.openxmlformats.org/officeDocument/2006/relationships/hyperlink" Target="https://unsplash.com/@rolandsvarsbergs?utm_source=unsplash&amp;utm_medium=referral&amp;utm_content=creditCopyText" TargetMode="External"/><Relationship Id="rId4" Type="http://schemas.openxmlformats.org/officeDocument/2006/relationships/hyperlink" Target="https://unsplash.com/?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unsplash.com/s/photos/photographer?utm_source=unsplash&amp;utm_medium=referral&amp;utm_content=creditCopyText" TargetMode="External"/><Relationship Id="rId5" Type="http://schemas.openxmlformats.org/officeDocument/2006/relationships/hyperlink" Target="https://unsplash.com/@jakobowens1?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unsplash.com/s/photos/grand-canyon?utm_source=unsplash&amp;utm_medium=referral&amp;utm_content=creditCopyText" TargetMode="External"/><Relationship Id="rId3" Type="http://schemas.openxmlformats.org/officeDocument/2006/relationships/hyperlink" Target="https://unsplash.com/@madhu_shesharam?utm_source=unsplash&amp;utm_medium=referral&amp;utm_content=creditCopyText" TargetMode="External"/><Relationship Id="rId7" Type="http://schemas.openxmlformats.org/officeDocument/2006/relationships/hyperlink" Target="https://unsplash.com/@joshsoriano?utm_source=unsplash&amp;utm_medium=referral&amp;utm_content=creditCopyText" TargetMode="External"/><Relationship Id="rId12" Type="http://schemas.openxmlformats.org/officeDocument/2006/relationships/hyperlink" Target="https://unsplash.com/s/photos/new-york?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unsplash.com/s/photos/yellowstone-national-park?utm_source=unsplash&amp;utm_medium=referral&amp;utm_content=creditCopyText" TargetMode="External"/><Relationship Id="rId11" Type="http://schemas.openxmlformats.org/officeDocument/2006/relationships/hyperlink" Target="https://unsplash.com/@wilmerlens?utm_source=unsplash&amp;utm_medium=referral&amp;utm_content=creditCopyText" TargetMode="External"/><Relationship Id="rId5" Type="http://schemas.openxmlformats.org/officeDocument/2006/relationships/hyperlink" Target="https://unsplash.com/@lailaskalsky?utm_source=unsplash&amp;utm_medium=referral&amp;utm_content=creditCopyText" TargetMode="External"/><Relationship Id="rId10" Type="http://schemas.openxmlformats.org/officeDocument/2006/relationships/hyperlink" Target="https://unsplash.com/s/photos/san-fransisco?utm_source=unsplash&amp;utm_medium=referral&amp;utm_content=creditCopyText" TargetMode="External"/><Relationship Id="rId4" Type="http://schemas.openxmlformats.org/officeDocument/2006/relationships/hyperlink" Target="https://unsplash.com/s/photos/travel?utm_source=unsplash&amp;utm_medium=referral&amp;utm_content=creditCopyText" TargetMode="External"/><Relationship Id="rId9" Type="http://schemas.openxmlformats.org/officeDocument/2006/relationships/hyperlink" Target="https://unsplash.com/@therealamogh?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unsplash.com/s/photos/singapore?utm_source=unsplash&amp;utm_medium=referral&amp;utm_content=creditCopyText" TargetMode="External"/><Relationship Id="rId13" Type="http://schemas.openxmlformats.org/officeDocument/2006/relationships/hyperlink" Target="https://unsplash.com/@bundo?utm_source=unsplash&amp;utm_medium=referral&amp;utm_content=creditCopyText" TargetMode="External"/><Relationship Id="rId3" Type="http://schemas.openxmlformats.org/officeDocument/2006/relationships/hyperlink" Target="https://unsplash.com/@salty_sandals?utm_source=unsplash&amp;utm_medium=referral&amp;utm_content=creditCopyText" TargetMode="External"/><Relationship Id="rId7" Type="http://schemas.openxmlformats.org/officeDocument/2006/relationships/hyperlink" Target="https://unsplash.com/@j1000words?utm_source=unsplash&amp;utm_medium=referral&amp;utm_content=creditCopyText" TargetMode="External"/><Relationship Id="rId12" Type="http://schemas.openxmlformats.org/officeDocument/2006/relationships/hyperlink" Target="https://unsplash.com/s/photos/beijing?utm_source=unsplash&amp;utm_medium=referral&amp;utm_content=creditCopyText" TargetMode="External"/><Relationship Id="rId2" Type="http://schemas.openxmlformats.org/officeDocument/2006/relationships/slide" Target="../slides/slide9.xml"/><Relationship Id="rId16" Type="http://schemas.openxmlformats.org/officeDocument/2006/relationships/hyperlink" Target="https://unsplash.com/s/photos/japan?utm_source=unsplash&amp;utm_medium=referral&amp;utm_content=creditCopyText" TargetMode="External"/><Relationship Id="rId1" Type="http://schemas.openxmlformats.org/officeDocument/2006/relationships/notesMaster" Target="../notesMasters/notesMaster1.xml"/><Relationship Id="rId6" Type="http://schemas.openxmlformats.org/officeDocument/2006/relationships/hyperlink" Target="https://unsplash.com/s/photos/borobudur?utm_source=unsplash&amp;utm_medium=referral&amp;utm_content=creditCopyText" TargetMode="External"/><Relationship Id="rId11" Type="http://schemas.openxmlformats.org/officeDocument/2006/relationships/hyperlink" Target="https://unsplash.com/@juniperphoton?utm_source=unsplash&amp;utm_medium=referral&amp;utm_content=creditCopyText" TargetMode="External"/><Relationship Id="rId5" Type="http://schemas.openxmlformats.org/officeDocument/2006/relationships/hyperlink" Target="https://unsplash.com/@bonnarda?utm_source=unsplash&amp;utm_medium=referral&amp;utm_content=creditCopyText" TargetMode="External"/><Relationship Id="rId15" Type="http://schemas.openxmlformats.org/officeDocument/2006/relationships/hyperlink" Target="https://unsplash.com/@boontohhgraphy?utm_source=unsplash&amp;utm_medium=referral&amp;utm_content=creditCopyText" TargetMode="External"/><Relationship Id="rId10" Type="http://schemas.openxmlformats.org/officeDocument/2006/relationships/hyperlink" Target="https://unsplash.com/s/photos/taj-mahal?utm_source=unsplash&amp;utm_medium=referral&amp;utm_content=creditCopyText" TargetMode="External"/><Relationship Id="rId4" Type="http://schemas.openxmlformats.org/officeDocument/2006/relationships/hyperlink" Target="https://unsplash.com/s/photos/asia?utm_source=unsplash&amp;utm_medium=referral&amp;utm_content=creditCopyText" TargetMode="External"/><Relationship Id="rId9" Type="http://schemas.openxmlformats.org/officeDocument/2006/relationships/hyperlink" Target="https://unsplash.com/@sylwiabartyzel?utm_source=unsplash&amp;utm_medium=referral&amp;utm_content=creditCopyText" TargetMode="External"/><Relationship Id="rId14" Type="http://schemas.openxmlformats.org/officeDocument/2006/relationships/hyperlink" Target="https://unsplash.com/s/photos/seoul?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madhu_shesharam?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travel?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a:t>
            </a:r>
            <a:br>
              <a:rPr lang="en-US" dirty="0"/>
            </a:br>
            <a:r>
              <a:rPr lang="en-US" dirty="0"/>
              <a:t>Photo by </a:t>
            </a:r>
            <a:r>
              <a:rPr lang="en-US" dirty="0">
                <a:hlinkClick r:id="rId3"/>
              </a:rPr>
              <a:t>Felix </a:t>
            </a:r>
            <a:r>
              <a:rPr lang="en-US" dirty="0" err="1">
                <a:hlinkClick r:id="rId3"/>
              </a:rPr>
              <a:t>Rostig</a:t>
            </a:r>
            <a:r>
              <a:rPr lang="en-US" dirty="0"/>
              <a:t> on </a:t>
            </a:r>
            <a:r>
              <a:rPr lang="en-US" dirty="0" err="1">
                <a:hlinkClick r:id="rId4"/>
              </a:rPr>
              <a:t>Unsplash</a:t>
            </a:r>
            <a:r>
              <a:rPr lang="en-US" dirty="0"/>
              <a:t> </a:t>
            </a:r>
          </a:p>
          <a:p>
            <a:r>
              <a:rPr lang="en-US" dirty="0"/>
              <a:t>Photo by </a:t>
            </a:r>
            <a:r>
              <a:rPr lang="en-US" dirty="0" err="1">
                <a:hlinkClick r:id="rId5"/>
              </a:rPr>
              <a:t>Rolands</a:t>
            </a:r>
            <a:r>
              <a:rPr lang="en-US" dirty="0">
                <a:hlinkClick r:id="rId5"/>
              </a:rPr>
              <a:t> </a:t>
            </a:r>
            <a:r>
              <a:rPr lang="en-US" dirty="0" err="1">
                <a:hlinkClick r:id="rId5"/>
              </a:rPr>
              <a:t>Varsbergs</a:t>
            </a:r>
            <a:r>
              <a:rPr lang="en-US" dirty="0"/>
              <a:t> on </a:t>
            </a:r>
            <a:r>
              <a:rPr lang="en-US" dirty="0" err="1">
                <a:hlinkClick r:id="rId4"/>
              </a:rPr>
              <a:t>Unsplash</a:t>
            </a:r>
            <a:r>
              <a:rPr lang="en-US" dirty="0"/>
              <a:t> </a:t>
            </a:r>
          </a:p>
          <a:p>
            <a:r>
              <a:rPr lang="en-US" dirty="0"/>
              <a:t>Photo by </a:t>
            </a:r>
            <a:r>
              <a:rPr lang="en-US" dirty="0" err="1">
                <a:hlinkClick r:id="rId6"/>
              </a:rPr>
              <a:t>ian</a:t>
            </a:r>
            <a:r>
              <a:rPr lang="en-US" dirty="0">
                <a:hlinkClick r:id="rId6"/>
              </a:rPr>
              <a:t> </a:t>
            </a:r>
            <a:r>
              <a:rPr lang="en-US" dirty="0" err="1">
                <a:hlinkClick r:id="rId6"/>
              </a:rPr>
              <a:t>dooley</a:t>
            </a:r>
            <a:r>
              <a:rPr lang="en-US" dirty="0"/>
              <a:t> on </a:t>
            </a:r>
            <a:r>
              <a:rPr lang="en-US" dirty="0" err="1">
                <a:hlinkClick r:id="rId4"/>
              </a:rPr>
              <a:t>Unsplash</a:t>
            </a:r>
            <a:r>
              <a:rPr lang="en-US" dirty="0"/>
              <a:t> </a:t>
            </a:r>
          </a:p>
          <a:p>
            <a:r>
              <a:rPr lang="en-ID" dirty="0"/>
              <a:t>Photo by </a:t>
            </a:r>
            <a:r>
              <a:rPr lang="en-ID" dirty="0">
                <a:hlinkClick r:id="rId7"/>
              </a:rPr>
              <a:t>Damiano </a:t>
            </a:r>
            <a:r>
              <a:rPr lang="en-ID" dirty="0" err="1">
                <a:hlinkClick r:id="rId7"/>
              </a:rPr>
              <a:t>Baschiera</a:t>
            </a:r>
            <a:r>
              <a:rPr lang="en-ID" dirty="0"/>
              <a:t> on </a:t>
            </a:r>
            <a:r>
              <a:rPr lang="en-ID" dirty="0" err="1">
                <a:hlinkClick r:id="rId4"/>
              </a:rPr>
              <a:t>Unsplash</a:t>
            </a:r>
            <a:r>
              <a:rPr lang="en-ID" dirty="0"/>
              <a:t> </a:t>
            </a:r>
            <a:endParaRPr lang="en-US" dirty="0"/>
          </a:p>
        </p:txBody>
      </p:sp>
      <p:sp>
        <p:nvSpPr>
          <p:cNvPr id="4" name="Slide Number Placeholder 3"/>
          <p:cNvSpPr>
            <a:spLocks noGrp="1"/>
          </p:cNvSpPr>
          <p:nvPr>
            <p:ph type="sldNum" sz="quarter" idx="5"/>
          </p:nvPr>
        </p:nvSpPr>
        <p:spPr/>
        <p:txBody>
          <a:bodyPr/>
          <a:lstStyle/>
          <a:p>
            <a:fld id="{95112325-E3CB-4109-AFF9-9CF0988AEDA5}" type="slidenum">
              <a:rPr lang="en-US" smtClean="0"/>
              <a:t>2</a:t>
            </a:fld>
            <a:endParaRPr lang="en-US"/>
          </a:p>
        </p:txBody>
      </p:sp>
    </p:spTree>
    <p:extLst>
      <p:ext uri="{BB962C8B-B14F-4D97-AF65-F5344CB8AC3E}">
        <p14:creationId xmlns:p14="http://schemas.microsoft.com/office/powerpoint/2010/main" val="227194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976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6127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5853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1826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672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3151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18</a:t>
            </a:fld>
            <a:endParaRPr lang="en-US"/>
          </a:p>
        </p:txBody>
      </p:sp>
    </p:spTree>
    <p:extLst>
      <p:ext uri="{BB962C8B-B14F-4D97-AF65-F5344CB8AC3E}">
        <p14:creationId xmlns:p14="http://schemas.microsoft.com/office/powerpoint/2010/main" val="5598583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19</a:t>
            </a:fld>
            <a:endParaRPr lang="en-US"/>
          </a:p>
        </p:txBody>
      </p:sp>
    </p:spTree>
    <p:extLst>
      <p:ext uri="{BB962C8B-B14F-4D97-AF65-F5344CB8AC3E}">
        <p14:creationId xmlns:p14="http://schemas.microsoft.com/office/powerpoint/2010/main" val="6740289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0</a:t>
            </a:fld>
            <a:endParaRPr lang="en-US"/>
          </a:p>
        </p:txBody>
      </p:sp>
    </p:spTree>
    <p:extLst>
      <p:ext uri="{BB962C8B-B14F-4D97-AF65-F5344CB8AC3E}">
        <p14:creationId xmlns:p14="http://schemas.microsoft.com/office/powerpoint/2010/main" val="27670118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1</a:t>
            </a:fld>
            <a:endParaRPr lang="en-US"/>
          </a:p>
        </p:txBody>
      </p:sp>
    </p:spTree>
    <p:extLst>
      <p:ext uri="{BB962C8B-B14F-4D97-AF65-F5344CB8AC3E}">
        <p14:creationId xmlns:p14="http://schemas.microsoft.com/office/powerpoint/2010/main" val="4175495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a:t>
            </a:r>
            <a:br>
              <a:rPr lang="en-US" dirty="0"/>
            </a:br>
            <a:endParaRPr lang="en-US" dirty="0"/>
          </a:p>
          <a:p>
            <a:r>
              <a:rPr lang="en-US" dirty="0"/>
              <a:t>Power point stock photo</a:t>
            </a:r>
          </a:p>
          <a:p>
            <a:r>
              <a:rPr lang="en-US" dirty="0"/>
              <a:t>Photo by </a:t>
            </a:r>
            <a:r>
              <a:rPr lang="en-US" dirty="0">
                <a:hlinkClick r:id="rId3"/>
              </a:rPr>
              <a:t>Surface</a:t>
            </a:r>
            <a:r>
              <a:rPr lang="en-US" dirty="0"/>
              <a:t> on </a:t>
            </a:r>
            <a:r>
              <a:rPr lang="en-US" dirty="0" err="1">
                <a:hlinkClick r:id="rId4"/>
              </a:rPr>
              <a:t>Unsplash</a:t>
            </a:r>
            <a:r>
              <a:rPr lang="en-US" dirty="0"/>
              <a:t> </a:t>
            </a:r>
          </a:p>
          <a:p>
            <a:r>
              <a:rPr lang="en-US" dirty="0"/>
              <a:t>Photo by </a:t>
            </a:r>
            <a:r>
              <a:rPr lang="en-US" dirty="0">
                <a:hlinkClick r:id="rId5"/>
              </a:rPr>
              <a:t>wang xi</a:t>
            </a:r>
            <a:r>
              <a:rPr lang="en-US" dirty="0"/>
              <a:t> on </a:t>
            </a:r>
            <a:r>
              <a:rPr lang="en-US" dirty="0" err="1">
                <a:hlinkClick r:id="rId4"/>
              </a:rPr>
              <a:t>Unsplash</a:t>
            </a:r>
            <a:r>
              <a:rPr lang="en-US" dirty="0"/>
              <a:t> </a:t>
            </a:r>
          </a:p>
          <a:p>
            <a:r>
              <a:rPr lang="en-US" dirty="0"/>
              <a:t>Photo by </a:t>
            </a:r>
            <a:r>
              <a:rPr lang="en-US" dirty="0">
                <a:hlinkClick r:id="rId6"/>
              </a:rPr>
              <a:t>Fredrik </a:t>
            </a:r>
            <a:r>
              <a:rPr lang="en-US" dirty="0" err="1">
                <a:hlinkClick r:id="rId6"/>
              </a:rPr>
              <a:t>Öhlander</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3</a:t>
            </a:fld>
            <a:endParaRPr lang="en-US"/>
          </a:p>
        </p:txBody>
      </p:sp>
    </p:spTree>
    <p:extLst>
      <p:ext uri="{BB962C8B-B14F-4D97-AF65-F5344CB8AC3E}">
        <p14:creationId xmlns:p14="http://schemas.microsoft.com/office/powerpoint/2010/main" val="12407694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2</a:t>
            </a:fld>
            <a:endParaRPr lang="en-US"/>
          </a:p>
        </p:txBody>
      </p:sp>
    </p:spTree>
    <p:extLst>
      <p:ext uri="{BB962C8B-B14F-4D97-AF65-F5344CB8AC3E}">
        <p14:creationId xmlns:p14="http://schemas.microsoft.com/office/powerpoint/2010/main" val="2666976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3</a:t>
            </a:fld>
            <a:endParaRPr lang="en-US"/>
          </a:p>
        </p:txBody>
      </p:sp>
    </p:spTree>
    <p:extLst>
      <p:ext uri="{BB962C8B-B14F-4D97-AF65-F5344CB8AC3E}">
        <p14:creationId xmlns:p14="http://schemas.microsoft.com/office/powerpoint/2010/main" val="936394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4</a:t>
            </a:fld>
            <a:endParaRPr lang="en-US"/>
          </a:p>
        </p:txBody>
      </p:sp>
    </p:spTree>
    <p:extLst>
      <p:ext uri="{BB962C8B-B14F-4D97-AF65-F5344CB8AC3E}">
        <p14:creationId xmlns:p14="http://schemas.microsoft.com/office/powerpoint/2010/main" val="25184028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Jason Cooper</a:t>
            </a:r>
            <a:r>
              <a:rPr lang="en-US" dirty="0"/>
              <a:t> on </a:t>
            </a:r>
            <a:r>
              <a:rPr lang="en-US" dirty="0" err="1">
                <a:hlinkClick r:id="rId4"/>
              </a:rPr>
              <a:t>Unsplash</a:t>
            </a:r>
            <a:r>
              <a:rPr lang="en-US" dirty="0"/>
              <a:t> </a:t>
            </a:r>
          </a:p>
          <a:p>
            <a:r>
              <a:rPr lang="en-US" dirty="0"/>
              <a:t>Photo by </a:t>
            </a:r>
            <a:r>
              <a:rPr lang="en-US" dirty="0">
                <a:hlinkClick r:id="rId5"/>
              </a:rPr>
              <a:t>Alain </a:t>
            </a:r>
            <a:r>
              <a:rPr lang="en-US" dirty="0" err="1">
                <a:hlinkClick r:id="rId5"/>
              </a:rPr>
              <a:t>Bonnardeaux</a:t>
            </a:r>
            <a:r>
              <a:rPr lang="en-US" dirty="0"/>
              <a:t> on </a:t>
            </a:r>
            <a:r>
              <a:rPr lang="en-US" dirty="0" err="1">
                <a:hlinkClick r:id="rId6"/>
              </a:rPr>
              <a:t>Unsplash</a:t>
            </a:r>
            <a:r>
              <a:rPr lang="en-US" dirty="0"/>
              <a:t> </a:t>
            </a:r>
          </a:p>
          <a:p>
            <a:r>
              <a:rPr lang="en-US" dirty="0"/>
              <a:t>Photo by </a:t>
            </a:r>
            <a:r>
              <a:rPr lang="en-US" dirty="0">
                <a:hlinkClick r:id="rId7"/>
              </a:rPr>
              <a:t>Jay Ang</a:t>
            </a:r>
            <a:r>
              <a:rPr lang="en-US" dirty="0"/>
              <a:t> on </a:t>
            </a:r>
            <a:r>
              <a:rPr lang="en-US" dirty="0" err="1">
                <a:hlinkClick r:id="rId8"/>
              </a:rPr>
              <a:t>Unsplash</a:t>
            </a:r>
            <a:r>
              <a:rPr lang="en-US" dirty="0"/>
              <a:t> </a:t>
            </a:r>
          </a:p>
          <a:p>
            <a:r>
              <a:rPr lang="en-US" dirty="0"/>
              <a:t>Photo by </a:t>
            </a:r>
            <a:r>
              <a:rPr lang="en-US" dirty="0" err="1">
                <a:hlinkClick r:id="rId9"/>
              </a:rPr>
              <a:t>Sylwia</a:t>
            </a:r>
            <a:r>
              <a:rPr lang="en-US" dirty="0">
                <a:hlinkClick r:id="rId9"/>
              </a:rPr>
              <a:t> </a:t>
            </a:r>
            <a:r>
              <a:rPr lang="en-US" dirty="0" err="1">
                <a:hlinkClick r:id="rId9"/>
              </a:rPr>
              <a:t>Bartyzel</a:t>
            </a:r>
            <a:r>
              <a:rPr lang="en-US" dirty="0"/>
              <a:t> on </a:t>
            </a:r>
            <a:r>
              <a:rPr lang="en-US" dirty="0" err="1">
                <a:hlinkClick r:id="rId10"/>
              </a:rPr>
              <a:t>Unsplash</a:t>
            </a:r>
            <a:r>
              <a:rPr lang="en-US" dirty="0"/>
              <a:t> </a:t>
            </a:r>
          </a:p>
          <a:p>
            <a:r>
              <a:rPr lang="en-US" dirty="0"/>
              <a:t>Photo by </a:t>
            </a:r>
            <a:r>
              <a:rPr lang="en-US" dirty="0" err="1">
                <a:hlinkClick r:id="rId11"/>
              </a:rPr>
              <a:t>JuniperPhoton</a:t>
            </a:r>
            <a:r>
              <a:rPr lang="en-US" dirty="0"/>
              <a:t> on </a:t>
            </a:r>
            <a:r>
              <a:rPr lang="en-US" dirty="0" err="1">
                <a:hlinkClick r:id="rId12"/>
              </a:rPr>
              <a:t>Unsplash</a:t>
            </a:r>
            <a:r>
              <a:rPr lang="en-US" dirty="0"/>
              <a:t> </a:t>
            </a:r>
          </a:p>
          <a:p>
            <a:r>
              <a:rPr lang="en-US" dirty="0"/>
              <a:t>Photo by </a:t>
            </a:r>
            <a:r>
              <a:rPr lang="en-US" dirty="0" err="1">
                <a:hlinkClick r:id="rId13"/>
              </a:rPr>
              <a:t>Bundo</a:t>
            </a:r>
            <a:r>
              <a:rPr lang="en-US" dirty="0">
                <a:hlinkClick r:id="rId13"/>
              </a:rPr>
              <a:t> Kim</a:t>
            </a:r>
            <a:r>
              <a:rPr lang="en-US" dirty="0"/>
              <a:t> on </a:t>
            </a:r>
            <a:r>
              <a:rPr lang="en-US" dirty="0" err="1">
                <a:hlinkClick r:id="rId14"/>
              </a:rPr>
              <a:t>Unsplash</a:t>
            </a:r>
            <a:r>
              <a:rPr lang="en-US" dirty="0"/>
              <a:t> </a:t>
            </a:r>
          </a:p>
          <a:p>
            <a:r>
              <a:rPr lang="en-US" dirty="0"/>
              <a:t>Photo by </a:t>
            </a:r>
            <a:r>
              <a:rPr lang="en-US" dirty="0" err="1">
                <a:hlinkClick r:id="rId15"/>
              </a:rPr>
              <a:t>Sorasak</a:t>
            </a:r>
            <a:r>
              <a:rPr lang="en-US" dirty="0"/>
              <a:t> on </a:t>
            </a:r>
            <a:r>
              <a:rPr lang="en-US" dirty="0" err="1">
                <a:hlinkClick r:id="rId16"/>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5</a:t>
            </a:fld>
            <a:endParaRPr lang="en-US"/>
          </a:p>
        </p:txBody>
      </p:sp>
    </p:spTree>
    <p:extLst>
      <p:ext uri="{BB962C8B-B14F-4D97-AF65-F5344CB8AC3E}">
        <p14:creationId xmlns:p14="http://schemas.microsoft.com/office/powerpoint/2010/main" val="3286385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6</a:t>
            </a:fld>
            <a:endParaRPr lang="en-US"/>
          </a:p>
        </p:txBody>
      </p:sp>
    </p:spTree>
    <p:extLst>
      <p:ext uri="{BB962C8B-B14F-4D97-AF65-F5344CB8AC3E}">
        <p14:creationId xmlns:p14="http://schemas.microsoft.com/office/powerpoint/2010/main" val="3833827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D" dirty="0"/>
              <a:t>https://unsplash.com/photo</a:t>
            </a:r>
          </a:p>
          <a:p>
            <a:pPr marL="171450" indent="-171450">
              <a:buFont typeface="Arial" panose="020B0604020202020204" pitchFamily="34" charset="0"/>
              <a:buChar char="•"/>
            </a:pPr>
            <a:r>
              <a:rPr lang="en-ID" dirty="0"/>
              <a:t>https://www.freepik.com/free-photo/delighted-asian-woman-talks-via-smart-phone-has-plesant-conversation-calls-friend-wears-warm-white-jumper-jeans-looks-aside-with-smile-poses-pink-wall_12838424.htm?query=women%20call</a:t>
            </a:r>
          </a:p>
        </p:txBody>
      </p:sp>
      <p:sp>
        <p:nvSpPr>
          <p:cNvPr id="4" name="Slide Number Placeholder 3"/>
          <p:cNvSpPr>
            <a:spLocks noGrp="1"/>
          </p:cNvSpPr>
          <p:nvPr>
            <p:ph type="sldNum" sz="quarter" idx="5"/>
          </p:nvPr>
        </p:nvSpPr>
        <p:spPr/>
        <p:txBody>
          <a:bodyPr/>
          <a:lstStyle/>
          <a:p>
            <a:fld id="{95112325-E3CB-4109-AFF9-9CF0988AEDA5}" type="slidenum">
              <a:rPr lang="en-US" smtClean="0"/>
              <a:t>27</a:t>
            </a:fld>
            <a:endParaRPr lang="en-US"/>
          </a:p>
        </p:txBody>
      </p:sp>
    </p:spTree>
    <p:extLst>
      <p:ext uri="{BB962C8B-B14F-4D97-AF65-F5344CB8AC3E}">
        <p14:creationId xmlns:p14="http://schemas.microsoft.com/office/powerpoint/2010/main" val="212017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28</a:t>
            </a:fld>
            <a:endParaRPr lang="en-US"/>
          </a:p>
        </p:txBody>
      </p:sp>
    </p:spTree>
    <p:extLst>
      <p:ext uri="{BB962C8B-B14F-4D97-AF65-F5344CB8AC3E}">
        <p14:creationId xmlns:p14="http://schemas.microsoft.com/office/powerpoint/2010/main" val="1465642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a:t>
            </a:r>
            <a:br>
              <a:rPr lang="en-US" dirty="0"/>
            </a:br>
            <a:r>
              <a:rPr lang="en-US" dirty="0"/>
              <a:t>Photo by </a:t>
            </a:r>
            <a:r>
              <a:rPr lang="en-US" dirty="0">
                <a:hlinkClick r:id="rId3"/>
              </a:rPr>
              <a:t>Felix </a:t>
            </a:r>
            <a:r>
              <a:rPr lang="en-US" dirty="0" err="1">
                <a:hlinkClick r:id="rId3"/>
              </a:rPr>
              <a:t>Rostig</a:t>
            </a:r>
            <a:r>
              <a:rPr lang="en-US" dirty="0"/>
              <a:t> on </a:t>
            </a:r>
            <a:r>
              <a:rPr lang="en-US" dirty="0" err="1">
                <a:hlinkClick r:id="rId4"/>
              </a:rPr>
              <a:t>Unsplash</a:t>
            </a:r>
            <a:r>
              <a:rPr lang="en-US" dirty="0"/>
              <a:t> </a:t>
            </a:r>
          </a:p>
          <a:p>
            <a:r>
              <a:rPr lang="en-US" dirty="0"/>
              <a:t>Photo by </a:t>
            </a:r>
            <a:r>
              <a:rPr lang="en-US" dirty="0" err="1">
                <a:hlinkClick r:id="rId5"/>
              </a:rPr>
              <a:t>Rolands</a:t>
            </a:r>
            <a:r>
              <a:rPr lang="en-US" dirty="0">
                <a:hlinkClick r:id="rId5"/>
              </a:rPr>
              <a:t> </a:t>
            </a:r>
            <a:r>
              <a:rPr lang="en-US" dirty="0" err="1">
                <a:hlinkClick r:id="rId5"/>
              </a:rPr>
              <a:t>Varsbergs</a:t>
            </a:r>
            <a:r>
              <a:rPr lang="en-US" dirty="0"/>
              <a:t> on </a:t>
            </a:r>
            <a:r>
              <a:rPr lang="en-US" dirty="0" err="1">
                <a:hlinkClick r:id="rId4"/>
              </a:rPr>
              <a:t>Unsplash</a:t>
            </a:r>
            <a:r>
              <a:rPr lang="en-US" dirty="0"/>
              <a:t> </a:t>
            </a:r>
          </a:p>
          <a:p>
            <a:r>
              <a:rPr lang="en-US" dirty="0"/>
              <a:t>Photo by </a:t>
            </a:r>
            <a:r>
              <a:rPr lang="en-US" dirty="0" err="1">
                <a:hlinkClick r:id="rId6"/>
              </a:rPr>
              <a:t>ian</a:t>
            </a:r>
            <a:r>
              <a:rPr lang="en-US" dirty="0">
                <a:hlinkClick r:id="rId6"/>
              </a:rPr>
              <a:t> </a:t>
            </a:r>
            <a:r>
              <a:rPr lang="en-US" dirty="0" err="1">
                <a:hlinkClick r:id="rId6"/>
              </a:rPr>
              <a:t>dooley</a:t>
            </a:r>
            <a:r>
              <a:rPr lang="en-US" dirty="0"/>
              <a:t> on </a:t>
            </a:r>
            <a:r>
              <a:rPr lang="en-US" dirty="0" err="1">
                <a:hlinkClick r:id="rId4"/>
              </a:rPr>
              <a:t>Unsplash</a:t>
            </a:r>
            <a:r>
              <a:rPr lang="en-US" dirty="0"/>
              <a:t> </a:t>
            </a:r>
          </a:p>
          <a:p>
            <a:r>
              <a:rPr lang="en-ID" dirty="0"/>
              <a:t>Photo by </a:t>
            </a:r>
            <a:r>
              <a:rPr lang="en-ID" dirty="0">
                <a:hlinkClick r:id="rId7"/>
              </a:rPr>
              <a:t>Damiano </a:t>
            </a:r>
            <a:r>
              <a:rPr lang="en-ID" dirty="0" err="1">
                <a:hlinkClick r:id="rId7"/>
              </a:rPr>
              <a:t>Baschiera</a:t>
            </a:r>
            <a:r>
              <a:rPr lang="en-ID" dirty="0"/>
              <a:t> on </a:t>
            </a:r>
            <a:r>
              <a:rPr lang="en-ID" dirty="0" err="1">
                <a:hlinkClick r:id="rId4"/>
              </a:rPr>
              <a:t>Unsplash</a:t>
            </a:r>
            <a:r>
              <a:rPr lang="en-ID" dirty="0"/>
              <a:t> </a:t>
            </a:r>
            <a:endParaRPr lang="en-US" dirty="0"/>
          </a:p>
        </p:txBody>
      </p:sp>
      <p:sp>
        <p:nvSpPr>
          <p:cNvPr id="4" name="Slide Number Placeholder 3"/>
          <p:cNvSpPr>
            <a:spLocks noGrp="1"/>
          </p:cNvSpPr>
          <p:nvPr>
            <p:ph type="sldNum" sz="quarter" idx="5"/>
          </p:nvPr>
        </p:nvSpPr>
        <p:spPr/>
        <p:txBody>
          <a:bodyPr/>
          <a:lstStyle/>
          <a:p>
            <a:fld id="{95112325-E3CB-4109-AFF9-9CF0988AEDA5}" type="slidenum">
              <a:rPr lang="en-US" smtClean="0"/>
              <a:t>4</a:t>
            </a:fld>
            <a:endParaRPr lang="en-US"/>
          </a:p>
        </p:txBody>
      </p:sp>
    </p:spTree>
    <p:extLst>
      <p:ext uri="{BB962C8B-B14F-4D97-AF65-F5344CB8AC3E}">
        <p14:creationId xmlns:p14="http://schemas.microsoft.com/office/powerpoint/2010/main" val="910730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ID" dirty="0"/>
          </a:p>
        </p:txBody>
      </p:sp>
      <p:sp>
        <p:nvSpPr>
          <p:cNvPr id="4" name="Slide Number Placeholder 3"/>
          <p:cNvSpPr>
            <a:spLocks noGrp="1"/>
          </p:cNvSpPr>
          <p:nvPr>
            <p:ph type="sldNum" sz="quarter" idx="5"/>
          </p:nvPr>
        </p:nvSpPr>
        <p:spPr/>
        <p:txBody>
          <a:bodyPr/>
          <a:lstStyle/>
          <a:p>
            <a:fld id="{95112325-E3CB-4109-AFF9-9CF0988AEDA5}" type="slidenum">
              <a:rPr lang="en-US" smtClean="0"/>
              <a:t>6</a:t>
            </a:fld>
            <a:endParaRPr lang="en-US"/>
          </a:p>
        </p:txBody>
      </p:sp>
    </p:spTree>
    <p:extLst>
      <p:ext uri="{BB962C8B-B14F-4D97-AF65-F5344CB8AC3E}">
        <p14:creationId xmlns:p14="http://schemas.microsoft.com/office/powerpoint/2010/main" val="4127172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a:hlinkClick r:id="rId5"/>
              </a:rPr>
              <a:t>Jakob Owens</a:t>
            </a:r>
            <a:r>
              <a:rPr lang="en-US" dirty="0"/>
              <a:t> on </a:t>
            </a:r>
            <a:r>
              <a:rPr lang="en-US" dirty="0" err="1">
                <a:hlinkClick r:id="rId6"/>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5929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p>
          <a:p>
            <a:r>
              <a:rPr lang="en-US" dirty="0"/>
              <a:t>Photo by </a:t>
            </a:r>
            <a:r>
              <a:rPr lang="en-US" dirty="0" err="1">
                <a:hlinkClick r:id="rId5"/>
              </a:rPr>
              <a:t>LaiLa</a:t>
            </a:r>
            <a:r>
              <a:rPr lang="en-US" dirty="0">
                <a:hlinkClick r:id="rId5"/>
              </a:rPr>
              <a:t> </a:t>
            </a:r>
            <a:r>
              <a:rPr lang="en-US" dirty="0" err="1">
                <a:hlinkClick r:id="rId5"/>
              </a:rPr>
              <a:t>Skalsky</a:t>
            </a:r>
            <a:r>
              <a:rPr lang="en-US" dirty="0"/>
              <a:t> on </a:t>
            </a:r>
            <a:r>
              <a:rPr lang="en-US" dirty="0" err="1">
                <a:hlinkClick r:id="rId6"/>
              </a:rPr>
              <a:t>Unsplash</a:t>
            </a:r>
            <a:r>
              <a:rPr lang="en-US" dirty="0"/>
              <a:t> </a:t>
            </a:r>
          </a:p>
          <a:p>
            <a:r>
              <a:rPr lang="en-US" dirty="0"/>
              <a:t>Photo by </a:t>
            </a:r>
            <a:r>
              <a:rPr lang="en-US" dirty="0">
                <a:hlinkClick r:id="rId7"/>
              </a:rPr>
              <a:t>Josh Soriano</a:t>
            </a:r>
            <a:r>
              <a:rPr lang="en-US" dirty="0"/>
              <a:t> on </a:t>
            </a:r>
            <a:r>
              <a:rPr lang="en-US" dirty="0" err="1">
                <a:hlinkClick r:id="rId8"/>
              </a:rPr>
              <a:t>Unsplash</a:t>
            </a:r>
            <a:r>
              <a:rPr lang="en-US" dirty="0"/>
              <a:t> </a:t>
            </a:r>
          </a:p>
          <a:p>
            <a:r>
              <a:rPr lang="en-US" dirty="0"/>
              <a:t>Photo by </a:t>
            </a:r>
            <a:r>
              <a:rPr lang="en-US" dirty="0" err="1">
                <a:hlinkClick r:id="rId9"/>
              </a:rPr>
              <a:t>Amogh</a:t>
            </a:r>
            <a:r>
              <a:rPr lang="en-US" dirty="0">
                <a:hlinkClick r:id="rId9"/>
              </a:rPr>
              <a:t> Manjunath</a:t>
            </a:r>
            <a:r>
              <a:rPr lang="en-US" dirty="0"/>
              <a:t> on </a:t>
            </a:r>
            <a:r>
              <a:rPr lang="en-US" dirty="0" err="1">
                <a:hlinkClick r:id="rId10"/>
              </a:rPr>
              <a:t>Unsplash</a:t>
            </a:r>
            <a:r>
              <a:rPr lang="en-US" dirty="0"/>
              <a:t> </a:t>
            </a:r>
          </a:p>
          <a:p>
            <a:r>
              <a:rPr lang="en-US" dirty="0"/>
              <a:t>Photo by </a:t>
            </a:r>
            <a:r>
              <a:rPr lang="en-US" dirty="0">
                <a:hlinkClick r:id="rId11"/>
              </a:rPr>
              <a:t>Wilmer Martinez</a:t>
            </a:r>
            <a:r>
              <a:rPr lang="en-US" dirty="0"/>
              <a:t> on </a:t>
            </a:r>
            <a:r>
              <a:rPr lang="en-US" dirty="0" err="1">
                <a:hlinkClick r:id="rId12"/>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8</a:t>
            </a:fld>
            <a:endParaRPr lang="en-US"/>
          </a:p>
        </p:txBody>
      </p:sp>
    </p:spTree>
    <p:extLst>
      <p:ext uri="{BB962C8B-B14F-4D97-AF65-F5344CB8AC3E}">
        <p14:creationId xmlns:p14="http://schemas.microsoft.com/office/powerpoint/2010/main" val="910730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Jason Cooper</a:t>
            </a:r>
            <a:r>
              <a:rPr lang="en-US" dirty="0"/>
              <a:t> on </a:t>
            </a:r>
            <a:r>
              <a:rPr lang="en-US" dirty="0" err="1">
                <a:hlinkClick r:id="rId4"/>
              </a:rPr>
              <a:t>Unsplash</a:t>
            </a:r>
            <a:r>
              <a:rPr lang="en-US" dirty="0"/>
              <a:t> </a:t>
            </a:r>
          </a:p>
          <a:p>
            <a:r>
              <a:rPr lang="en-US" dirty="0"/>
              <a:t>Photo by </a:t>
            </a:r>
            <a:r>
              <a:rPr lang="en-US" dirty="0">
                <a:hlinkClick r:id="rId5"/>
              </a:rPr>
              <a:t>Alain </a:t>
            </a:r>
            <a:r>
              <a:rPr lang="en-US" dirty="0" err="1">
                <a:hlinkClick r:id="rId5"/>
              </a:rPr>
              <a:t>Bonnardeaux</a:t>
            </a:r>
            <a:r>
              <a:rPr lang="en-US" dirty="0"/>
              <a:t> on </a:t>
            </a:r>
            <a:r>
              <a:rPr lang="en-US" dirty="0" err="1">
                <a:hlinkClick r:id="rId6"/>
              </a:rPr>
              <a:t>Unsplash</a:t>
            </a:r>
            <a:r>
              <a:rPr lang="en-US" dirty="0"/>
              <a:t> </a:t>
            </a:r>
          </a:p>
          <a:p>
            <a:r>
              <a:rPr lang="en-US" dirty="0"/>
              <a:t>Photo by </a:t>
            </a:r>
            <a:r>
              <a:rPr lang="en-US" dirty="0">
                <a:hlinkClick r:id="rId7"/>
              </a:rPr>
              <a:t>Jay Ang</a:t>
            </a:r>
            <a:r>
              <a:rPr lang="en-US" dirty="0"/>
              <a:t> on </a:t>
            </a:r>
            <a:r>
              <a:rPr lang="en-US" dirty="0" err="1">
                <a:hlinkClick r:id="rId8"/>
              </a:rPr>
              <a:t>Unsplash</a:t>
            </a:r>
            <a:r>
              <a:rPr lang="en-US" dirty="0"/>
              <a:t> </a:t>
            </a:r>
          </a:p>
          <a:p>
            <a:r>
              <a:rPr lang="en-US" dirty="0"/>
              <a:t>Photo by </a:t>
            </a:r>
            <a:r>
              <a:rPr lang="en-US" dirty="0" err="1">
                <a:hlinkClick r:id="rId9"/>
              </a:rPr>
              <a:t>Sylwia</a:t>
            </a:r>
            <a:r>
              <a:rPr lang="en-US" dirty="0">
                <a:hlinkClick r:id="rId9"/>
              </a:rPr>
              <a:t> </a:t>
            </a:r>
            <a:r>
              <a:rPr lang="en-US" dirty="0" err="1">
                <a:hlinkClick r:id="rId9"/>
              </a:rPr>
              <a:t>Bartyzel</a:t>
            </a:r>
            <a:r>
              <a:rPr lang="en-US" dirty="0"/>
              <a:t> on </a:t>
            </a:r>
            <a:r>
              <a:rPr lang="en-US" dirty="0" err="1">
                <a:hlinkClick r:id="rId10"/>
              </a:rPr>
              <a:t>Unsplash</a:t>
            </a:r>
            <a:r>
              <a:rPr lang="en-US" dirty="0"/>
              <a:t> </a:t>
            </a:r>
          </a:p>
          <a:p>
            <a:r>
              <a:rPr lang="en-US" dirty="0"/>
              <a:t>Photo by </a:t>
            </a:r>
            <a:r>
              <a:rPr lang="en-US" dirty="0" err="1">
                <a:hlinkClick r:id="rId11"/>
              </a:rPr>
              <a:t>JuniperPhoton</a:t>
            </a:r>
            <a:r>
              <a:rPr lang="en-US" dirty="0"/>
              <a:t> on </a:t>
            </a:r>
            <a:r>
              <a:rPr lang="en-US" dirty="0" err="1">
                <a:hlinkClick r:id="rId12"/>
              </a:rPr>
              <a:t>Unsplash</a:t>
            </a:r>
            <a:r>
              <a:rPr lang="en-US" dirty="0"/>
              <a:t> </a:t>
            </a:r>
          </a:p>
          <a:p>
            <a:r>
              <a:rPr lang="en-US" dirty="0"/>
              <a:t>Photo by </a:t>
            </a:r>
            <a:r>
              <a:rPr lang="en-US" dirty="0" err="1">
                <a:hlinkClick r:id="rId13"/>
              </a:rPr>
              <a:t>Bundo</a:t>
            </a:r>
            <a:r>
              <a:rPr lang="en-US" dirty="0">
                <a:hlinkClick r:id="rId13"/>
              </a:rPr>
              <a:t> Kim</a:t>
            </a:r>
            <a:r>
              <a:rPr lang="en-US" dirty="0"/>
              <a:t> on </a:t>
            </a:r>
            <a:r>
              <a:rPr lang="en-US" dirty="0" err="1">
                <a:hlinkClick r:id="rId14"/>
              </a:rPr>
              <a:t>Unsplash</a:t>
            </a:r>
            <a:r>
              <a:rPr lang="en-US" dirty="0"/>
              <a:t> </a:t>
            </a:r>
          </a:p>
          <a:p>
            <a:r>
              <a:rPr lang="en-US" dirty="0"/>
              <a:t>Photo by </a:t>
            </a:r>
            <a:r>
              <a:rPr lang="en-US" dirty="0" err="1">
                <a:hlinkClick r:id="rId15"/>
              </a:rPr>
              <a:t>Sorasak</a:t>
            </a:r>
            <a:r>
              <a:rPr lang="en-US" dirty="0"/>
              <a:t> on </a:t>
            </a:r>
            <a:r>
              <a:rPr lang="en-US" dirty="0" err="1">
                <a:hlinkClick r:id="rId16"/>
              </a:rPr>
              <a:t>Unsplash</a:t>
            </a:r>
            <a:r>
              <a:rPr lang="en-US" dirty="0"/>
              <a:t> </a:t>
            </a:r>
          </a:p>
        </p:txBody>
      </p:sp>
      <p:sp>
        <p:nvSpPr>
          <p:cNvPr id="4" name="Slide Number Placeholder 3"/>
          <p:cNvSpPr>
            <a:spLocks noGrp="1"/>
          </p:cNvSpPr>
          <p:nvPr>
            <p:ph type="sldNum" sz="quarter" idx="5"/>
          </p:nvPr>
        </p:nvSpPr>
        <p:spPr/>
        <p:txBody>
          <a:bodyPr/>
          <a:lstStyle/>
          <a:p>
            <a:fld id="{95112325-E3CB-4109-AFF9-9CF0988AEDA5}" type="slidenum">
              <a:rPr lang="en-US" smtClean="0"/>
              <a:t>9</a:t>
            </a:fld>
            <a:endParaRPr lang="en-US"/>
          </a:p>
        </p:txBody>
      </p:sp>
    </p:spTree>
    <p:extLst>
      <p:ext uri="{BB962C8B-B14F-4D97-AF65-F5344CB8AC3E}">
        <p14:creationId xmlns:p14="http://schemas.microsoft.com/office/powerpoint/2010/main" val="28001214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112325-E3CB-4109-AFF9-9CF0988AEDA5}" type="slidenum">
              <a:rPr lang="en-US" smtClean="0"/>
              <a:t>10</a:t>
            </a:fld>
            <a:endParaRPr lang="en-US"/>
          </a:p>
        </p:txBody>
      </p:sp>
    </p:spTree>
    <p:extLst>
      <p:ext uri="{BB962C8B-B14F-4D97-AF65-F5344CB8AC3E}">
        <p14:creationId xmlns:p14="http://schemas.microsoft.com/office/powerpoint/2010/main" val="3087090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dhu </a:t>
            </a:r>
            <a:r>
              <a:rPr lang="en-US" dirty="0" err="1">
                <a:hlinkClick r:id="rId3"/>
              </a:rPr>
              <a:t>Shesharam</a:t>
            </a:r>
            <a:r>
              <a:rPr lang="en-US" dirty="0"/>
              <a:t> on </a:t>
            </a:r>
            <a:r>
              <a:rPr lang="en-US" dirty="0" err="1">
                <a:hlinkClick r:id="rId4"/>
              </a:rPr>
              <a:t>Unsplash</a:t>
            </a:r>
            <a:r>
              <a:rPr lang="en-US" dirty="0"/>
              <a:t> </a:t>
            </a:r>
            <a:br>
              <a:rPr lang="en-US" dirty="0"/>
            </a:br>
            <a:br>
              <a:rPr lang="en-US" dirty="0"/>
            </a:br>
            <a:r>
              <a:rPr lang="en-US" dirty="0"/>
              <a:t>https://unsplash.com/photos/1GgWbP74phY</a:t>
            </a:r>
          </a:p>
          <a:p>
            <a:r>
              <a:rPr lang="en-US" dirty="0"/>
              <a:t>https://unsplash.com/photos/k-8-eX4Y3no</a:t>
            </a:r>
          </a:p>
          <a:p>
            <a:r>
              <a:rPr lang="en-US" dirty="0"/>
              <a:t>https://unsplash.com/photos/04-C1NZk1hE</a:t>
            </a:r>
          </a:p>
          <a:p>
            <a:r>
              <a:rPr lang="en-US" dirty="0"/>
              <a:t>https://unsplash.com/photos/ONVA6s03hg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12325-E3CB-4109-AFF9-9CF0988AE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0730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7D9D5-3E79-600A-03C4-4EE94C29EA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8B39AC8-200A-0366-950B-BCA045D1A9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0FFEA9-60BA-2FA3-D497-88978E2B2AC8}"/>
              </a:ext>
            </a:extLst>
          </p:cNvPr>
          <p:cNvSpPr>
            <a:spLocks noGrp="1"/>
          </p:cNvSpPr>
          <p:nvPr>
            <p:ph type="dt" sz="half" idx="10"/>
          </p:nvPr>
        </p:nvSpPr>
        <p:spPr>
          <a:xfrm>
            <a:off x="838200" y="6356350"/>
            <a:ext cx="2743200" cy="365125"/>
          </a:xfrm>
          <a:prstGeom prst="rect">
            <a:avLst/>
          </a:prstGeom>
        </p:spPr>
        <p:txBody>
          <a:bodyPr/>
          <a:lstStyle/>
          <a:p>
            <a:fld id="{73CBD33F-F11C-42A0-ACF0-51F977087A79}" type="datetime1">
              <a:rPr lang="en-US" smtClean="0"/>
              <a:t>4/19/2023</a:t>
            </a:fld>
            <a:endParaRPr lang="en-US"/>
          </a:p>
        </p:txBody>
      </p:sp>
      <p:sp>
        <p:nvSpPr>
          <p:cNvPr id="5" name="Footer Placeholder 4">
            <a:extLst>
              <a:ext uri="{FF2B5EF4-FFF2-40B4-BE49-F238E27FC236}">
                <a16:creationId xmlns:a16="http://schemas.microsoft.com/office/drawing/2014/main" id="{D0253ED8-6303-74A8-545F-4D60F572A02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BC2B288-63DA-2C4C-3C8E-1CADBB758987}"/>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319703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7EFC4-D1F1-4027-A0AC-D394AB0F70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DA75B1E-BF7A-8790-D209-3A33BFBD91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50B69-7494-9D4C-BC5B-732127DA9D03}"/>
              </a:ext>
            </a:extLst>
          </p:cNvPr>
          <p:cNvSpPr>
            <a:spLocks noGrp="1"/>
          </p:cNvSpPr>
          <p:nvPr>
            <p:ph type="dt" sz="half" idx="10"/>
          </p:nvPr>
        </p:nvSpPr>
        <p:spPr>
          <a:xfrm>
            <a:off x="838200" y="6356350"/>
            <a:ext cx="2743200" cy="365125"/>
          </a:xfrm>
          <a:prstGeom prst="rect">
            <a:avLst/>
          </a:prstGeom>
        </p:spPr>
        <p:txBody>
          <a:bodyPr/>
          <a:lstStyle/>
          <a:p>
            <a:fld id="{60DEF70D-1F95-4F60-82F1-5AF6FCBAD074}" type="datetime1">
              <a:rPr lang="en-US" smtClean="0"/>
              <a:t>4/19/2023</a:t>
            </a:fld>
            <a:endParaRPr lang="en-US"/>
          </a:p>
        </p:txBody>
      </p:sp>
      <p:sp>
        <p:nvSpPr>
          <p:cNvPr id="5" name="Footer Placeholder 4">
            <a:extLst>
              <a:ext uri="{FF2B5EF4-FFF2-40B4-BE49-F238E27FC236}">
                <a16:creationId xmlns:a16="http://schemas.microsoft.com/office/drawing/2014/main" id="{6DC0F29B-4F5E-9B89-2F8B-4933833F739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2A406F5-5BD8-2D7D-677F-D594AD1BAC6D}"/>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3809138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58AF64-96B9-BDF1-7E0B-CF6D27DAEAF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B86979-68DA-C814-1F65-AB6CAF55B28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6CDE7E-7F04-02EF-1B4C-655722CF74FB}"/>
              </a:ext>
            </a:extLst>
          </p:cNvPr>
          <p:cNvSpPr>
            <a:spLocks noGrp="1"/>
          </p:cNvSpPr>
          <p:nvPr>
            <p:ph type="dt" sz="half" idx="10"/>
          </p:nvPr>
        </p:nvSpPr>
        <p:spPr>
          <a:xfrm>
            <a:off x="838200" y="6356350"/>
            <a:ext cx="2743200" cy="365125"/>
          </a:xfrm>
          <a:prstGeom prst="rect">
            <a:avLst/>
          </a:prstGeom>
        </p:spPr>
        <p:txBody>
          <a:bodyPr/>
          <a:lstStyle/>
          <a:p>
            <a:fld id="{E0968A0E-5D2B-4659-B47A-4472A004A991}" type="datetime1">
              <a:rPr lang="en-US" smtClean="0"/>
              <a:t>4/19/2023</a:t>
            </a:fld>
            <a:endParaRPr lang="en-US"/>
          </a:p>
        </p:txBody>
      </p:sp>
      <p:sp>
        <p:nvSpPr>
          <p:cNvPr id="5" name="Footer Placeholder 4">
            <a:extLst>
              <a:ext uri="{FF2B5EF4-FFF2-40B4-BE49-F238E27FC236}">
                <a16:creationId xmlns:a16="http://schemas.microsoft.com/office/drawing/2014/main" id="{14C9CEDE-ADEE-7B74-F1FA-D72E2DDED9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3E53511-3F41-615A-A129-539B8D7DD41A}"/>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1650376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67C5E-FB68-4521-A8B7-101E4CF2A7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E7615497-1D01-49E5-B478-CC8A5BD2D7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DCF0CBF3-D25C-4A0D-960F-E7D99E688D9F}"/>
              </a:ext>
            </a:extLst>
          </p:cNvPr>
          <p:cNvSpPr>
            <a:spLocks noGrp="1"/>
          </p:cNvSpPr>
          <p:nvPr>
            <p:ph type="dt" sz="half" idx="10"/>
          </p:nvPr>
        </p:nvSpPr>
        <p:spPr/>
        <p:txBody>
          <a:bodyPr/>
          <a:lstStyle/>
          <a:p>
            <a:fld id="{FE65036D-342E-4ED2-85EA-D109FB94FDCD}" type="datetime1">
              <a:rPr lang="en-US" smtClean="0"/>
              <a:t>4/19/2023</a:t>
            </a:fld>
            <a:endParaRPr lang="en-ID"/>
          </a:p>
        </p:txBody>
      </p:sp>
      <p:sp>
        <p:nvSpPr>
          <p:cNvPr id="5" name="Footer Placeholder 4">
            <a:extLst>
              <a:ext uri="{FF2B5EF4-FFF2-40B4-BE49-F238E27FC236}">
                <a16:creationId xmlns:a16="http://schemas.microsoft.com/office/drawing/2014/main" id="{B4DCFA5F-5D4E-4D59-8C25-2FC3F8A94AC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EC20A3DA-23A0-4887-9671-6D2DFC7CF23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5451326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C7F9-D8B4-4D14-9BC9-9132A130150D}"/>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BA636DFC-892F-4434-9574-5471DE8D03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55A6C019-88A8-4B38-BDCA-6B48FE13CA71}"/>
              </a:ext>
            </a:extLst>
          </p:cNvPr>
          <p:cNvSpPr>
            <a:spLocks noGrp="1"/>
          </p:cNvSpPr>
          <p:nvPr>
            <p:ph type="dt" sz="half" idx="10"/>
          </p:nvPr>
        </p:nvSpPr>
        <p:spPr/>
        <p:txBody>
          <a:bodyPr/>
          <a:lstStyle/>
          <a:p>
            <a:fld id="{6DECF407-F6CF-4CCD-B4C1-60656307B8DB}" type="datetime1">
              <a:rPr lang="en-US" smtClean="0"/>
              <a:t>4/19/2023</a:t>
            </a:fld>
            <a:endParaRPr lang="en-ID"/>
          </a:p>
        </p:txBody>
      </p:sp>
      <p:sp>
        <p:nvSpPr>
          <p:cNvPr id="5" name="Footer Placeholder 4">
            <a:extLst>
              <a:ext uri="{FF2B5EF4-FFF2-40B4-BE49-F238E27FC236}">
                <a16:creationId xmlns:a16="http://schemas.microsoft.com/office/drawing/2014/main" id="{85900EA0-6446-4214-AFEB-F08B842F42BB}"/>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3F59F27-81A0-4857-9637-781A1CA3B0F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051445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8BFC6-D661-42D6-A45C-3946F3A5F8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CE1EB16-C284-4F49-A592-B28CE6DB56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A5C463-23A7-4D6E-B7EB-C460F83D0EFA}"/>
              </a:ext>
            </a:extLst>
          </p:cNvPr>
          <p:cNvSpPr>
            <a:spLocks noGrp="1"/>
          </p:cNvSpPr>
          <p:nvPr>
            <p:ph type="dt" sz="half" idx="10"/>
          </p:nvPr>
        </p:nvSpPr>
        <p:spPr/>
        <p:txBody>
          <a:bodyPr/>
          <a:lstStyle/>
          <a:p>
            <a:fld id="{7861613E-1A86-4F21-A0E5-04E280F6C1D5}" type="datetime1">
              <a:rPr lang="en-US" smtClean="0"/>
              <a:t>4/19/2023</a:t>
            </a:fld>
            <a:endParaRPr lang="en-ID"/>
          </a:p>
        </p:txBody>
      </p:sp>
      <p:sp>
        <p:nvSpPr>
          <p:cNvPr id="5" name="Footer Placeholder 4">
            <a:extLst>
              <a:ext uri="{FF2B5EF4-FFF2-40B4-BE49-F238E27FC236}">
                <a16:creationId xmlns:a16="http://schemas.microsoft.com/office/drawing/2014/main" id="{1E127D0C-B7DF-4D6F-A5DF-B74A0DAD9DC4}"/>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6EEC2D1-F34D-4967-BFFD-C03B0DB07F0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2759239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4699F-A543-496F-BB66-2ACD1CD6ED7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E6D1430-273D-46C9-8382-F71AE6536E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46CF12BE-F16E-4900-81EB-692A451858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BC15F4F9-74AD-44A9-A213-423AD3DA57ED}"/>
              </a:ext>
            </a:extLst>
          </p:cNvPr>
          <p:cNvSpPr>
            <a:spLocks noGrp="1"/>
          </p:cNvSpPr>
          <p:nvPr>
            <p:ph type="dt" sz="half" idx="10"/>
          </p:nvPr>
        </p:nvSpPr>
        <p:spPr/>
        <p:txBody>
          <a:bodyPr/>
          <a:lstStyle/>
          <a:p>
            <a:fld id="{101DD6B0-5643-40FA-BF46-C580EC2A4526}" type="datetime1">
              <a:rPr lang="en-US" smtClean="0"/>
              <a:t>4/19/2023</a:t>
            </a:fld>
            <a:endParaRPr lang="en-ID"/>
          </a:p>
        </p:txBody>
      </p:sp>
      <p:sp>
        <p:nvSpPr>
          <p:cNvPr id="6" name="Footer Placeholder 5">
            <a:extLst>
              <a:ext uri="{FF2B5EF4-FFF2-40B4-BE49-F238E27FC236}">
                <a16:creationId xmlns:a16="http://schemas.microsoft.com/office/drawing/2014/main" id="{1023365D-7658-4612-B028-C64FD3326E92}"/>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7303C09-F0B1-4085-82A7-388AE8E2DF6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421535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BD255-1FC8-488E-B7F1-4D4A99F19BB6}"/>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7D879880-E8C7-4D9A-8C5C-E87A16F809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88F7DD-E114-4140-B924-52345BC4999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ECB1434A-A066-4930-BB0D-8B844FD4E7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C2477A-DDB4-4716-87F1-1428910804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A9546ECB-7441-496C-A020-4742E01239DA}"/>
              </a:ext>
            </a:extLst>
          </p:cNvPr>
          <p:cNvSpPr>
            <a:spLocks noGrp="1"/>
          </p:cNvSpPr>
          <p:nvPr>
            <p:ph type="dt" sz="half" idx="10"/>
          </p:nvPr>
        </p:nvSpPr>
        <p:spPr/>
        <p:txBody>
          <a:bodyPr/>
          <a:lstStyle/>
          <a:p>
            <a:fld id="{6EB404DB-3587-4097-A643-D0794B8F8B67}" type="datetime1">
              <a:rPr lang="en-US" smtClean="0"/>
              <a:t>4/19/2023</a:t>
            </a:fld>
            <a:endParaRPr lang="en-ID"/>
          </a:p>
        </p:txBody>
      </p:sp>
      <p:sp>
        <p:nvSpPr>
          <p:cNvPr id="8" name="Footer Placeholder 7">
            <a:extLst>
              <a:ext uri="{FF2B5EF4-FFF2-40B4-BE49-F238E27FC236}">
                <a16:creationId xmlns:a16="http://schemas.microsoft.com/office/drawing/2014/main" id="{D47387CC-F75F-4A15-A726-4E372B8A18FE}"/>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90FB43EB-A420-41C3-8260-4CF2047563E2}"/>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502419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B6DCB-E016-4C29-9A57-6D803243BE5D}"/>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A07920B7-CCD2-4995-A221-12DA4FD05F31}"/>
              </a:ext>
            </a:extLst>
          </p:cNvPr>
          <p:cNvSpPr>
            <a:spLocks noGrp="1"/>
          </p:cNvSpPr>
          <p:nvPr>
            <p:ph type="dt" sz="half" idx="10"/>
          </p:nvPr>
        </p:nvSpPr>
        <p:spPr/>
        <p:txBody>
          <a:bodyPr/>
          <a:lstStyle/>
          <a:p>
            <a:fld id="{C6BEBA35-E888-4524-B256-932718A3734F}" type="datetime1">
              <a:rPr lang="en-US" smtClean="0"/>
              <a:t>4/19/2023</a:t>
            </a:fld>
            <a:endParaRPr lang="en-ID"/>
          </a:p>
        </p:txBody>
      </p:sp>
      <p:sp>
        <p:nvSpPr>
          <p:cNvPr id="4" name="Footer Placeholder 3">
            <a:extLst>
              <a:ext uri="{FF2B5EF4-FFF2-40B4-BE49-F238E27FC236}">
                <a16:creationId xmlns:a16="http://schemas.microsoft.com/office/drawing/2014/main" id="{A8F5760E-B5E4-41AC-A7D1-6F6491CFEF4C}"/>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C3A370CE-33F3-4814-B6EA-B41762805320}"/>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438916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7DF199-F9CC-4D54-BBE0-D65D0473F885}"/>
              </a:ext>
            </a:extLst>
          </p:cNvPr>
          <p:cNvSpPr>
            <a:spLocks noGrp="1"/>
          </p:cNvSpPr>
          <p:nvPr>
            <p:ph type="dt" sz="half" idx="10"/>
          </p:nvPr>
        </p:nvSpPr>
        <p:spPr/>
        <p:txBody>
          <a:bodyPr/>
          <a:lstStyle/>
          <a:p>
            <a:fld id="{BA4F2149-4993-4BE0-9FB0-1100A1D37BD9}" type="datetime1">
              <a:rPr lang="en-US" smtClean="0"/>
              <a:t>4/19/2023</a:t>
            </a:fld>
            <a:endParaRPr lang="en-ID"/>
          </a:p>
        </p:txBody>
      </p:sp>
      <p:sp>
        <p:nvSpPr>
          <p:cNvPr id="3" name="Footer Placeholder 2">
            <a:extLst>
              <a:ext uri="{FF2B5EF4-FFF2-40B4-BE49-F238E27FC236}">
                <a16:creationId xmlns:a16="http://schemas.microsoft.com/office/drawing/2014/main" id="{F7C93E07-5FBD-4773-99A7-41B8924AEC9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2440600F-ACE0-4F88-B29E-209FA18823DE}"/>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783773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443D-2A0F-404E-AA76-5B4DA3DAA6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173C9573-2539-4364-8AB7-5808B04D98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6700C84C-ECD7-49ED-B279-87EE4140E7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22DBCC-5A73-4CAF-B623-062DAE3EBD4D}"/>
              </a:ext>
            </a:extLst>
          </p:cNvPr>
          <p:cNvSpPr>
            <a:spLocks noGrp="1"/>
          </p:cNvSpPr>
          <p:nvPr>
            <p:ph type="dt" sz="half" idx="10"/>
          </p:nvPr>
        </p:nvSpPr>
        <p:spPr/>
        <p:txBody>
          <a:bodyPr/>
          <a:lstStyle/>
          <a:p>
            <a:fld id="{8F6B2DC6-BFDB-4D9D-8C7F-55D0ACA0F01C}" type="datetime1">
              <a:rPr lang="en-US" smtClean="0"/>
              <a:t>4/19/2023</a:t>
            </a:fld>
            <a:endParaRPr lang="en-ID"/>
          </a:p>
        </p:txBody>
      </p:sp>
      <p:sp>
        <p:nvSpPr>
          <p:cNvPr id="6" name="Footer Placeholder 5">
            <a:extLst>
              <a:ext uri="{FF2B5EF4-FFF2-40B4-BE49-F238E27FC236}">
                <a16:creationId xmlns:a16="http://schemas.microsoft.com/office/drawing/2014/main" id="{12284B25-8122-4CEF-9316-2E1C191AE160}"/>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060A493-EBC8-4502-85F5-170697207536}"/>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2625423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D2A609D-44CB-01E0-531B-615AFF5BFFF3}"/>
              </a:ext>
            </a:extLst>
          </p:cNvPr>
          <p:cNvSpPr>
            <a:spLocks noGrp="1"/>
          </p:cNvSpPr>
          <p:nvPr>
            <p:ph type="dt" sz="half" idx="10"/>
          </p:nvPr>
        </p:nvSpPr>
        <p:spPr>
          <a:xfrm>
            <a:off x="838200" y="6356350"/>
            <a:ext cx="2743200" cy="365125"/>
          </a:xfrm>
          <a:prstGeom prst="rect">
            <a:avLst/>
          </a:prstGeom>
        </p:spPr>
        <p:txBody>
          <a:bodyPr/>
          <a:lstStyle/>
          <a:p>
            <a:fld id="{9F356573-0613-4C1B-BE39-36B8D053F709}" type="datetime1">
              <a:rPr lang="en-US" smtClean="0"/>
              <a:t>4/19/2023</a:t>
            </a:fld>
            <a:endParaRPr lang="en-US"/>
          </a:p>
        </p:txBody>
      </p:sp>
      <p:sp>
        <p:nvSpPr>
          <p:cNvPr id="5" name="Footer Placeholder 4">
            <a:extLst>
              <a:ext uri="{FF2B5EF4-FFF2-40B4-BE49-F238E27FC236}">
                <a16:creationId xmlns:a16="http://schemas.microsoft.com/office/drawing/2014/main" id="{06120380-8174-01E8-D3E4-8949EB56C14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2F906D-507B-2A3D-86D5-6DE6C3FABE5B}"/>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
        <p:nvSpPr>
          <p:cNvPr id="10" name="Content Placeholder 36">
            <a:extLst>
              <a:ext uri="{FF2B5EF4-FFF2-40B4-BE49-F238E27FC236}">
                <a16:creationId xmlns:a16="http://schemas.microsoft.com/office/drawing/2014/main" id="{070AFCC4-2823-8579-4604-DD56D0E85FC3}"/>
              </a:ext>
            </a:extLst>
          </p:cNvPr>
          <p:cNvSpPr>
            <a:spLocks noGrp="1"/>
          </p:cNvSpPr>
          <p:nvPr>
            <p:ph idx="1"/>
          </p:nvPr>
        </p:nvSpPr>
        <p:spPr>
          <a:xfrm>
            <a:off x="407988" y="1422400"/>
            <a:ext cx="11376024" cy="4754563"/>
          </a:xfrm>
        </p:spPr>
        <p:txBody>
          <a:bodyPr/>
          <a:lstStyle/>
          <a:p>
            <a:endParaRPr lang="en-US" dirty="0"/>
          </a:p>
        </p:txBody>
      </p:sp>
      <p:sp>
        <p:nvSpPr>
          <p:cNvPr id="11" name="Title 35">
            <a:extLst>
              <a:ext uri="{FF2B5EF4-FFF2-40B4-BE49-F238E27FC236}">
                <a16:creationId xmlns:a16="http://schemas.microsoft.com/office/drawing/2014/main" id="{2F1B1B75-9D6B-869B-65F0-825EAFA53215}"/>
              </a:ext>
            </a:extLst>
          </p:cNvPr>
          <p:cNvSpPr>
            <a:spLocks noGrp="1"/>
          </p:cNvSpPr>
          <p:nvPr>
            <p:ph type="title"/>
          </p:nvPr>
        </p:nvSpPr>
        <p:spPr>
          <a:xfrm>
            <a:off x="407987" y="728663"/>
            <a:ext cx="11376026" cy="549531"/>
          </a:xfrm>
        </p:spPr>
        <p:txBody>
          <a:bodyPr/>
          <a:lstStyle/>
          <a:p>
            <a:endParaRPr lang="en-US" sz="2800" dirty="0"/>
          </a:p>
        </p:txBody>
      </p:sp>
    </p:spTree>
    <p:extLst>
      <p:ext uri="{BB962C8B-B14F-4D97-AF65-F5344CB8AC3E}">
        <p14:creationId xmlns:p14="http://schemas.microsoft.com/office/powerpoint/2010/main" val="18469874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27C47-826E-460D-BEE9-E2A565029C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E12CE2CE-4D1C-48CC-8E24-EC540F1F90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42306C98-D658-48F3-9113-1995E06178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EB1648-D2D0-4617-AA4F-CA7F0694F41A}"/>
              </a:ext>
            </a:extLst>
          </p:cNvPr>
          <p:cNvSpPr>
            <a:spLocks noGrp="1"/>
          </p:cNvSpPr>
          <p:nvPr>
            <p:ph type="dt" sz="half" idx="10"/>
          </p:nvPr>
        </p:nvSpPr>
        <p:spPr/>
        <p:txBody>
          <a:bodyPr/>
          <a:lstStyle/>
          <a:p>
            <a:fld id="{54A77FD1-1FAA-41A6-A26E-9FBFD8E449DA}" type="datetime1">
              <a:rPr lang="en-US" smtClean="0"/>
              <a:t>4/19/2023</a:t>
            </a:fld>
            <a:endParaRPr lang="en-ID"/>
          </a:p>
        </p:txBody>
      </p:sp>
      <p:sp>
        <p:nvSpPr>
          <p:cNvPr id="6" name="Footer Placeholder 5">
            <a:extLst>
              <a:ext uri="{FF2B5EF4-FFF2-40B4-BE49-F238E27FC236}">
                <a16:creationId xmlns:a16="http://schemas.microsoft.com/office/drawing/2014/main" id="{6BD187EC-17F6-45FB-9CB5-93BEA741D38D}"/>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1211959D-0319-4347-8D6E-00D877219CA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4166353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26E7B-B000-4B91-8AFC-11BB2EF8FB3E}"/>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F15EB7D-16EB-498E-8446-1F7ED590672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6E4EB9B-4169-4A2D-B73D-B7CDE7B95D17}"/>
              </a:ext>
            </a:extLst>
          </p:cNvPr>
          <p:cNvSpPr>
            <a:spLocks noGrp="1"/>
          </p:cNvSpPr>
          <p:nvPr>
            <p:ph type="dt" sz="half" idx="10"/>
          </p:nvPr>
        </p:nvSpPr>
        <p:spPr/>
        <p:txBody>
          <a:bodyPr/>
          <a:lstStyle/>
          <a:p>
            <a:fld id="{E6D98ED7-2E1F-4D1E-A3D6-04B1D7E2D044}" type="datetime1">
              <a:rPr lang="en-US" smtClean="0"/>
              <a:t>4/19/2023</a:t>
            </a:fld>
            <a:endParaRPr lang="en-ID"/>
          </a:p>
        </p:txBody>
      </p:sp>
      <p:sp>
        <p:nvSpPr>
          <p:cNvPr id="5" name="Footer Placeholder 4">
            <a:extLst>
              <a:ext uri="{FF2B5EF4-FFF2-40B4-BE49-F238E27FC236}">
                <a16:creationId xmlns:a16="http://schemas.microsoft.com/office/drawing/2014/main" id="{79A6619F-8210-4C68-BB6D-6C4FB1294197}"/>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AA6ABCB-F69E-4D70-888A-2D9808FFD375}"/>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4231120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A9E195-4A91-4E8F-8517-9C1FB970FE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29C23C9A-4133-41BC-9891-C6FAFF66BC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EFB5FA4-9432-4210-A7CE-54C245C7B6CC}"/>
              </a:ext>
            </a:extLst>
          </p:cNvPr>
          <p:cNvSpPr>
            <a:spLocks noGrp="1"/>
          </p:cNvSpPr>
          <p:nvPr>
            <p:ph type="dt" sz="half" idx="10"/>
          </p:nvPr>
        </p:nvSpPr>
        <p:spPr/>
        <p:txBody>
          <a:bodyPr/>
          <a:lstStyle/>
          <a:p>
            <a:fld id="{4A07CE69-8A89-41C2-9405-568474809399}" type="datetime1">
              <a:rPr lang="en-US" smtClean="0"/>
              <a:t>4/19/2023</a:t>
            </a:fld>
            <a:endParaRPr lang="en-ID"/>
          </a:p>
        </p:txBody>
      </p:sp>
      <p:sp>
        <p:nvSpPr>
          <p:cNvPr id="5" name="Footer Placeholder 4">
            <a:extLst>
              <a:ext uri="{FF2B5EF4-FFF2-40B4-BE49-F238E27FC236}">
                <a16:creationId xmlns:a16="http://schemas.microsoft.com/office/drawing/2014/main" id="{4E1169AD-D5EB-481A-83B1-12A6515F5D7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C9AB988B-600E-425B-BF97-87CD938C2243}"/>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521190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E62D8-5A18-8E55-2179-82E3A24F1B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3031533-45EB-5697-5612-6EEC582125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6F05B2-E647-9F75-EE27-30E916FC836D}"/>
              </a:ext>
            </a:extLst>
          </p:cNvPr>
          <p:cNvSpPr>
            <a:spLocks noGrp="1"/>
          </p:cNvSpPr>
          <p:nvPr>
            <p:ph type="dt" sz="half" idx="10"/>
          </p:nvPr>
        </p:nvSpPr>
        <p:spPr>
          <a:xfrm>
            <a:off x="838200" y="6356350"/>
            <a:ext cx="2743200" cy="365125"/>
          </a:xfrm>
          <a:prstGeom prst="rect">
            <a:avLst/>
          </a:prstGeom>
        </p:spPr>
        <p:txBody>
          <a:bodyPr/>
          <a:lstStyle/>
          <a:p>
            <a:fld id="{FD193D1D-7ADD-4E85-9705-9C8957CB49AF}" type="datetime1">
              <a:rPr lang="en-US" smtClean="0"/>
              <a:t>4/19/2023</a:t>
            </a:fld>
            <a:endParaRPr lang="en-US"/>
          </a:p>
        </p:txBody>
      </p:sp>
      <p:sp>
        <p:nvSpPr>
          <p:cNvPr id="5" name="Footer Placeholder 4">
            <a:extLst>
              <a:ext uri="{FF2B5EF4-FFF2-40B4-BE49-F238E27FC236}">
                <a16:creationId xmlns:a16="http://schemas.microsoft.com/office/drawing/2014/main" id="{F4D634A6-A651-800E-8715-AE725F8D079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5A3C120-94DB-DAD6-542D-3851B5B910E4}"/>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1571462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FEBCE-9E0A-1304-E080-51ECF7900B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668D38-C7BE-FB9F-7DAF-5DD8A445762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E5C9CD6-DA8B-9EBC-8B4A-9F98791910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637AC2-E6E9-DED7-CD3C-73DAEAFD1F23}"/>
              </a:ext>
            </a:extLst>
          </p:cNvPr>
          <p:cNvSpPr>
            <a:spLocks noGrp="1"/>
          </p:cNvSpPr>
          <p:nvPr>
            <p:ph type="dt" sz="half" idx="10"/>
          </p:nvPr>
        </p:nvSpPr>
        <p:spPr>
          <a:xfrm>
            <a:off x="838200" y="6356350"/>
            <a:ext cx="2743200" cy="365125"/>
          </a:xfrm>
          <a:prstGeom prst="rect">
            <a:avLst/>
          </a:prstGeom>
        </p:spPr>
        <p:txBody>
          <a:bodyPr/>
          <a:lstStyle/>
          <a:p>
            <a:fld id="{E9333B7A-66A3-4C14-ABC3-0BF70B4198FB}" type="datetime1">
              <a:rPr lang="en-US" smtClean="0"/>
              <a:t>4/19/2023</a:t>
            </a:fld>
            <a:endParaRPr lang="en-US"/>
          </a:p>
        </p:txBody>
      </p:sp>
      <p:sp>
        <p:nvSpPr>
          <p:cNvPr id="6" name="Footer Placeholder 5">
            <a:extLst>
              <a:ext uri="{FF2B5EF4-FFF2-40B4-BE49-F238E27FC236}">
                <a16:creationId xmlns:a16="http://schemas.microsoft.com/office/drawing/2014/main" id="{F7B44037-6B5F-E1AF-7C4C-051AE68045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7BE60CC-DAF3-7A5F-56DD-85DA858C7180}"/>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30997385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2C190-232A-FE4A-1206-8E581DC862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A24E79-5A07-F2E3-4A58-75ADC38CB8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854CF0-9E59-B2E0-8603-5DBB54E38C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C00637-6B16-6C1F-0490-6EF27ACA88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68931C-36BA-CBE1-16B0-D9D7037CFA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BE36AA-CE43-1A0B-DC96-D6278F3C3043}"/>
              </a:ext>
            </a:extLst>
          </p:cNvPr>
          <p:cNvSpPr>
            <a:spLocks noGrp="1"/>
          </p:cNvSpPr>
          <p:nvPr>
            <p:ph type="dt" sz="half" idx="10"/>
          </p:nvPr>
        </p:nvSpPr>
        <p:spPr>
          <a:xfrm>
            <a:off x="838200" y="6356350"/>
            <a:ext cx="2743200" cy="365125"/>
          </a:xfrm>
          <a:prstGeom prst="rect">
            <a:avLst/>
          </a:prstGeom>
        </p:spPr>
        <p:txBody>
          <a:bodyPr/>
          <a:lstStyle/>
          <a:p>
            <a:fld id="{5E298482-7289-4FF6-AF11-C399291E1F30}" type="datetime1">
              <a:rPr lang="en-US" smtClean="0"/>
              <a:t>4/19/2023</a:t>
            </a:fld>
            <a:endParaRPr lang="en-US"/>
          </a:p>
        </p:txBody>
      </p:sp>
      <p:sp>
        <p:nvSpPr>
          <p:cNvPr id="8" name="Footer Placeholder 7">
            <a:extLst>
              <a:ext uri="{FF2B5EF4-FFF2-40B4-BE49-F238E27FC236}">
                <a16:creationId xmlns:a16="http://schemas.microsoft.com/office/drawing/2014/main" id="{23795E91-55B5-2745-782A-485228664F0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E12AA774-FAE5-5E49-1D8E-67C9C6017DB1}"/>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3950129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0C046-5C8F-4429-9587-A06DD78057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6E811A-BBDF-ED2F-95DE-1567E206D244}"/>
              </a:ext>
            </a:extLst>
          </p:cNvPr>
          <p:cNvSpPr>
            <a:spLocks noGrp="1"/>
          </p:cNvSpPr>
          <p:nvPr>
            <p:ph type="dt" sz="half" idx="10"/>
          </p:nvPr>
        </p:nvSpPr>
        <p:spPr>
          <a:xfrm>
            <a:off x="838200" y="6356350"/>
            <a:ext cx="2743200" cy="365125"/>
          </a:xfrm>
          <a:prstGeom prst="rect">
            <a:avLst/>
          </a:prstGeom>
        </p:spPr>
        <p:txBody>
          <a:bodyPr/>
          <a:lstStyle/>
          <a:p>
            <a:fld id="{0003ACC0-F130-4746-B722-51A39EAB1D94}" type="datetime1">
              <a:rPr lang="en-US" smtClean="0"/>
              <a:t>4/19/2023</a:t>
            </a:fld>
            <a:endParaRPr lang="en-US"/>
          </a:p>
        </p:txBody>
      </p:sp>
      <p:sp>
        <p:nvSpPr>
          <p:cNvPr id="4" name="Footer Placeholder 3">
            <a:extLst>
              <a:ext uri="{FF2B5EF4-FFF2-40B4-BE49-F238E27FC236}">
                <a16:creationId xmlns:a16="http://schemas.microsoft.com/office/drawing/2014/main" id="{596A7250-0895-5441-583E-B5CCBF22378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6201A77-5436-E7AA-9E81-D2F8A92855E7}"/>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3235580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37CD78-6F2D-BDBF-717D-B33043FAE3EE}"/>
              </a:ext>
            </a:extLst>
          </p:cNvPr>
          <p:cNvSpPr>
            <a:spLocks noGrp="1"/>
          </p:cNvSpPr>
          <p:nvPr>
            <p:ph type="dt" sz="half" idx="10"/>
          </p:nvPr>
        </p:nvSpPr>
        <p:spPr>
          <a:xfrm>
            <a:off x="838200" y="6356350"/>
            <a:ext cx="2743200" cy="365125"/>
          </a:xfrm>
          <a:prstGeom prst="rect">
            <a:avLst/>
          </a:prstGeom>
        </p:spPr>
        <p:txBody>
          <a:bodyPr/>
          <a:lstStyle/>
          <a:p>
            <a:fld id="{A821F39A-0584-430F-A0FE-C015345D8282}" type="datetime1">
              <a:rPr lang="en-US" smtClean="0"/>
              <a:t>4/19/2023</a:t>
            </a:fld>
            <a:endParaRPr lang="en-US"/>
          </a:p>
        </p:txBody>
      </p:sp>
      <p:sp>
        <p:nvSpPr>
          <p:cNvPr id="3" name="Footer Placeholder 2">
            <a:extLst>
              <a:ext uri="{FF2B5EF4-FFF2-40B4-BE49-F238E27FC236}">
                <a16:creationId xmlns:a16="http://schemas.microsoft.com/office/drawing/2014/main" id="{1B26CD03-4C22-3A03-A799-3E6BA29602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7C0FC37-CD4B-EC6D-56C5-C0EFF19501EF}"/>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9503006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B2259-E490-6895-BBD0-C6879C906A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1EBC5D-71F4-87D5-4D85-861E53B994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0EA26A-4EEB-6E5E-37FA-9596ED31B8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0CDB9E-E10B-7EF1-BD0E-D2B0995E392A}"/>
              </a:ext>
            </a:extLst>
          </p:cNvPr>
          <p:cNvSpPr>
            <a:spLocks noGrp="1"/>
          </p:cNvSpPr>
          <p:nvPr>
            <p:ph type="dt" sz="half" idx="10"/>
          </p:nvPr>
        </p:nvSpPr>
        <p:spPr>
          <a:xfrm>
            <a:off x="838200" y="6356350"/>
            <a:ext cx="2743200" cy="365125"/>
          </a:xfrm>
          <a:prstGeom prst="rect">
            <a:avLst/>
          </a:prstGeom>
        </p:spPr>
        <p:txBody>
          <a:bodyPr/>
          <a:lstStyle/>
          <a:p>
            <a:fld id="{2D0D156A-6777-4608-83F2-90E5226642CA}" type="datetime1">
              <a:rPr lang="en-US" smtClean="0"/>
              <a:t>4/19/2023</a:t>
            </a:fld>
            <a:endParaRPr lang="en-US"/>
          </a:p>
        </p:txBody>
      </p:sp>
      <p:sp>
        <p:nvSpPr>
          <p:cNvPr id="6" name="Footer Placeholder 5">
            <a:extLst>
              <a:ext uri="{FF2B5EF4-FFF2-40B4-BE49-F238E27FC236}">
                <a16:creationId xmlns:a16="http://schemas.microsoft.com/office/drawing/2014/main" id="{C11B32C5-ABB2-E4CE-20BC-6E186F91B7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54DEA76-508A-9672-FC18-EB787DCF0994}"/>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709514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3B323-EA9E-0264-42D9-601C0F78BA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98D430-E967-9C23-87E8-A3FFDFD40F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DFCB551-D229-4BA9-5A3B-15435CF738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8AF5CE-FBEE-6EC8-8863-8BA9F846FE29}"/>
              </a:ext>
            </a:extLst>
          </p:cNvPr>
          <p:cNvSpPr>
            <a:spLocks noGrp="1"/>
          </p:cNvSpPr>
          <p:nvPr>
            <p:ph type="dt" sz="half" idx="10"/>
          </p:nvPr>
        </p:nvSpPr>
        <p:spPr>
          <a:xfrm>
            <a:off x="838200" y="6356350"/>
            <a:ext cx="2743200" cy="365125"/>
          </a:xfrm>
          <a:prstGeom prst="rect">
            <a:avLst/>
          </a:prstGeom>
        </p:spPr>
        <p:txBody>
          <a:bodyPr/>
          <a:lstStyle/>
          <a:p>
            <a:fld id="{7A568453-8B1A-4E5E-8166-CCC5A01D957E}" type="datetime1">
              <a:rPr lang="en-US" smtClean="0"/>
              <a:t>4/19/2023</a:t>
            </a:fld>
            <a:endParaRPr lang="en-US"/>
          </a:p>
        </p:txBody>
      </p:sp>
      <p:sp>
        <p:nvSpPr>
          <p:cNvPr id="6" name="Footer Placeholder 5">
            <a:extLst>
              <a:ext uri="{FF2B5EF4-FFF2-40B4-BE49-F238E27FC236}">
                <a16:creationId xmlns:a16="http://schemas.microsoft.com/office/drawing/2014/main" id="{40C1F7A3-0C47-D511-47F6-BFED32AF4F7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FED44F4-D1B1-5FAE-B4E4-B8FE0F1C3338}"/>
              </a:ext>
            </a:extLst>
          </p:cNvPr>
          <p:cNvSpPr>
            <a:spLocks noGrp="1"/>
          </p:cNvSpPr>
          <p:nvPr>
            <p:ph type="sldNum" sz="quarter" idx="12"/>
          </p:nvPr>
        </p:nvSpPr>
        <p:spPr>
          <a:xfrm>
            <a:off x="8610600" y="6356350"/>
            <a:ext cx="2743200" cy="365125"/>
          </a:xfrm>
          <a:prstGeom prst="rect">
            <a:avLst/>
          </a:prstGeom>
        </p:spPr>
        <p:txBody>
          <a:bodyPr/>
          <a:lstStyle/>
          <a:p>
            <a:fld id="{FB85BDB3-3CFC-403C-9871-14776D829718}" type="slidenum">
              <a:rPr lang="en-US" smtClean="0"/>
              <a:t>‹#›</a:t>
            </a:fld>
            <a:endParaRPr lang="en-US"/>
          </a:p>
        </p:txBody>
      </p:sp>
    </p:spTree>
    <p:extLst>
      <p:ext uri="{BB962C8B-B14F-4D97-AF65-F5344CB8AC3E}">
        <p14:creationId xmlns:p14="http://schemas.microsoft.com/office/powerpoint/2010/main" val="19415157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A3984E-51C4-6067-FB30-A84DBD080B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C0A5D1-626C-B9BE-1C56-AD6C4212DB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1C3BE7A4-068D-248E-2274-0359CD282D75}"/>
              </a:ext>
            </a:extLst>
          </p:cNvPr>
          <p:cNvSpPr/>
          <p:nvPr userDrawn="1"/>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World Travel Power Point</a:t>
            </a:r>
          </a:p>
        </p:txBody>
      </p:sp>
      <p:sp>
        <p:nvSpPr>
          <p:cNvPr id="11" name="Rectangle 10">
            <a:extLst>
              <a:ext uri="{FF2B5EF4-FFF2-40B4-BE49-F238E27FC236}">
                <a16:creationId xmlns:a16="http://schemas.microsoft.com/office/drawing/2014/main" id="{2950550F-A847-22EE-DFD7-A1CC2AE4D436}"/>
              </a:ext>
            </a:extLst>
          </p:cNvPr>
          <p:cNvSpPr/>
          <p:nvPr userDrawn="1"/>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12" name="Slide Number Placeholder 3">
            <a:extLst>
              <a:ext uri="{FF2B5EF4-FFF2-40B4-BE49-F238E27FC236}">
                <a16:creationId xmlns:a16="http://schemas.microsoft.com/office/drawing/2014/main" id="{B50F5692-4FBE-B1A9-FFC4-7FBDCDD01333}"/>
              </a:ext>
            </a:extLst>
          </p:cNvPr>
          <p:cNvSpPr txBox="1">
            <a:spLocks/>
          </p:cNvSpPr>
          <p:nvPr userDrawn="1"/>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a:t>
            </a:fld>
            <a:endParaRPr lang="en-US" sz="1000" b="1" dirty="0">
              <a:solidFill>
                <a:schemeClr val="bg1"/>
              </a:solidFill>
            </a:endParaRPr>
          </a:p>
        </p:txBody>
      </p:sp>
      <p:pic>
        <p:nvPicPr>
          <p:cNvPr id="13" name="Picture 12" descr="A group of people parachuting over the ocean&#10;&#10;Description automatically generated with low confidence">
            <a:extLst>
              <a:ext uri="{FF2B5EF4-FFF2-40B4-BE49-F238E27FC236}">
                <a16:creationId xmlns:a16="http://schemas.microsoft.com/office/drawing/2014/main" id="{2CD002E2-A11A-1028-C55C-0CA3F468A486}"/>
              </a:ext>
            </a:extLst>
          </p:cNvPr>
          <p:cNvPicPr>
            <a:picLocks noChangeAspect="1"/>
          </p:cNvPicPr>
          <p:nvPr userDrawn="1"/>
        </p:nvPicPr>
        <p:blipFill rotWithShape="1">
          <a:blip r:embed="rId13" cstate="print">
            <a:extLst>
              <a:ext uri="{28A0092B-C50C-407E-A947-70E740481C1C}">
                <a14:useLocalDpi xmlns:a14="http://schemas.microsoft.com/office/drawing/2010/main"/>
              </a:ext>
            </a:extLst>
          </a:blip>
          <a:srcRect/>
          <a:stretch/>
        </p:blipFill>
        <p:spPr>
          <a:xfrm>
            <a:off x="1" y="-482213"/>
            <a:ext cx="2222500" cy="322847"/>
          </a:xfrm>
          <a:prstGeom prst="rect">
            <a:avLst/>
          </a:prstGeom>
        </p:spPr>
      </p:pic>
    </p:spTree>
    <p:extLst>
      <p:ext uri="{BB962C8B-B14F-4D97-AF65-F5344CB8AC3E}">
        <p14:creationId xmlns:p14="http://schemas.microsoft.com/office/powerpoint/2010/main" val="30765035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0344C9-5BE0-49E0-8AD1-2A768DACA4C1}"/>
              </a:ext>
            </a:extLst>
          </p:cNvPr>
          <p:cNvGraphicFramePr>
            <a:graphicFrameLocks noChangeAspect="1"/>
          </p:cNvGraphicFramePr>
          <p:nvPr userDrawn="1">
            <p:custDataLst>
              <p:tags r:id="rId13"/>
            </p:custDataLst>
            <p:extLst>
              <p:ext uri="{D42A27DB-BD31-4B8C-83A1-F6EECF244321}">
                <p14:modId xmlns:p14="http://schemas.microsoft.com/office/powerpoint/2010/main" val="150729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78" imgH="379" progId="TCLayout.ActiveDocument.1">
                  <p:embed/>
                </p:oleObj>
              </mc:Choice>
              <mc:Fallback>
                <p:oleObj name="think-cell Slide" r:id="rId15" imgW="378" imgH="379" progId="TCLayout.ActiveDocument.1">
                  <p:embed/>
                  <p:pic>
                    <p:nvPicPr>
                      <p:cNvPr id="8" name="Object 7" hidden="1">
                        <a:extLst>
                          <a:ext uri="{FF2B5EF4-FFF2-40B4-BE49-F238E27FC236}">
                            <a16:creationId xmlns:a16="http://schemas.microsoft.com/office/drawing/2014/main" id="{D00344C9-5BE0-49E0-8AD1-2A768DACA4C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1760CC-738A-44A1-A674-362242FA115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onsolas" panose="020B0609020204030204" pitchFamily="49" charset="0"/>
              <a:ea typeface="+mj-ea"/>
              <a:cs typeface="+mj-cs"/>
              <a:sym typeface="Consolas" panose="020B0609020204030204" pitchFamily="49" charset="0"/>
            </a:endParaRPr>
          </a:p>
        </p:txBody>
      </p:sp>
      <p:sp>
        <p:nvSpPr>
          <p:cNvPr id="2" name="Title Placeholder 1">
            <a:extLst>
              <a:ext uri="{FF2B5EF4-FFF2-40B4-BE49-F238E27FC236}">
                <a16:creationId xmlns:a16="http://schemas.microsoft.com/office/drawing/2014/main" id="{BCB9B958-55CA-48B5-81F1-C6BC2F4F87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6DC44CE2-1105-47FE-955D-81C96D12AA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EFFC653F-8EE2-4B5E-B2B7-FAABE6B356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9800A8-F8C6-4738-8D40-023D90F781E8}" type="datetime1">
              <a:rPr lang="en-US" smtClean="0"/>
              <a:t>4/19/2023</a:t>
            </a:fld>
            <a:endParaRPr lang="en-ID"/>
          </a:p>
        </p:txBody>
      </p:sp>
      <p:sp>
        <p:nvSpPr>
          <p:cNvPr id="5" name="Footer Placeholder 4">
            <a:extLst>
              <a:ext uri="{FF2B5EF4-FFF2-40B4-BE49-F238E27FC236}">
                <a16:creationId xmlns:a16="http://schemas.microsoft.com/office/drawing/2014/main" id="{F467EC97-C70E-4775-B104-BA014F718A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5E2BA64-4F1D-4B0C-A5B8-40B865ADF6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4A7BE5-C66F-4B36-80D2-ED11557B9407}" type="slidenum">
              <a:rPr lang="en-ID" smtClean="0"/>
              <a:t>‹#›</a:t>
            </a:fld>
            <a:endParaRPr lang="en-ID"/>
          </a:p>
        </p:txBody>
      </p:sp>
    </p:spTree>
    <p:extLst>
      <p:ext uri="{BB962C8B-B14F-4D97-AF65-F5344CB8AC3E}">
        <p14:creationId xmlns:p14="http://schemas.microsoft.com/office/powerpoint/2010/main" val="21010918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74.svg"/><Relationship Id="rId3" Type="http://schemas.openxmlformats.org/officeDocument/2006/relationships/image" Target="../media/image68.jpeg"/><Relationship Id="rId7" Type="http://schemas.openxmlformats.org/officeDocument/2006/relationships/image" Target="../media/image72.jpeg"/><Relationship Id="rId12" Type="http://schemas.openxmlformats.org/officeDocument/2006/relationships/image" Target="../media/image73.png"/><Relationship Id="rId17" Type="http://schemas.openxmlformats.org/officeDocument/2006/relationships/image" Target="../media/image15.svg"/><Relationship Id="rId2" Type="http://schemas.openxmlformats.org/officeDocument/2006/relationships/notesSlide" Target="../notesSlides/notesSlide8.xml"/><Relationship Id="rId16"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71.jpeg"/><Relationship Id="rId11" Type="http://schemas.openxmlformats.org/officeDocument/2006/relationships/image" Target="../media/image8.svg"/><Relationship Id="rId5" Type="http://schemas.openxmlformats.org/officeDocument/2006/relationships/image" Target="../media/image70.jpeg"/><Relationship Id="rId15" Type="http://schemas.openxmlformats.org/officeDocument/2006/relationships/image" Target="../media/image76.svg"/><Relationship Id="rId10" Type="http://schemas.openxmlformats.org/officeDocument/2006/relationships/image" Target="../media/image7.png"/><Relationship Id="rId4" Type="http://schemas.openxmlformats.org/officeDocument/2006/relationships/image" Target="../media/image69.jpeg"/><Relationship Id="rId9" Type="http://schemas.openxmlformats.org/officeDocument/2006/relationships/image" Target="../media/image10.svg"/><Relationship Id="rId14" Type="http://schemas.openxmlformats.org/officeDocument/2006/relationships/image" Target="../media/image75.png"/></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80.svg"/><Relationship Id="rId3" Type="http://schemas.openxmlformats.org/officeDocument/2006/relationships/image" Target="../media/image57.jpeg"/><Relationship Id="rId7" Type="http://schemas.openxmlformats.org/officeDocument/2006/relationships/image" Target="../media/image8.svg"/><Relationship Id="rId12" Type="http://schemas.openxmlformats.org/officeDocument/2006/relationships/image" Target="../media/image79.png"/><Relationship Id="rId17" Type="http://schemas.openxmlformats.org/officeDocument/2006/relationships/image" Target="../media/image84.svg"/><Relationship Id="rId2" Type="http://schemas.openxmlformats.org/officeDocument/2006/relationships/notesSlide" Target="../notesSlides/notesSlide9.xml"/><Relationship Id="rId16"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54.svg"/><Relationship Id="rId5" Type="http://schemas.openxmlformats.org/officeDocument/2006/relationships/image" Target="../media/image78.svg"/><Relationship Id="rId15" Type="http://schemas.openxmlformats.org/officeDocument/2006/relationships/image" Target="../media/image82.svg"/><Relationship Id="rId10" Type="http://schemas.openxmlformats.org/officeDocument/2006/relationships/image" Target="../media/image5.png"/><Relationship Id="rId4" Type="http://schemas.openxmlformats.org/officeDocument/2006/relationships/image" Target="../media/image77.png"/><Relationship Id="rId9" Type="http://schemas.openxmlformats.org/officeDocument/2006/relationships/image" Target="../media/image10.svg"/><Relationship Id="rId14" Type="http://schemas.openxmlformats.org/officeDocument/2006/relationships/image" Target="../media/image81.png"/></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57.jpe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svg"/><Relationship Id="rId4" Type="http://schemas.openxmlformats.org/officeDocument/2006/relationships/image" Target="../media/image85.png"/></Relationships>
</file>

<file path=ppt/slides/_rels/slide13.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57.jpeg"/><Relationship Id="rId7" Type="http://schemas.openxmlformats.org/officeDocument/2006/relationships/image" Target="../media/image27.sv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86.svg"/><Relationship Id="rId4" Type="http://schemas.openxmlformats.org/officeDocument/2006/relationships/image" Target="../media/image85.png"/></Relationships>
</file>

<file path=ppt/slides/_rels/slide1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6.sv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0.jpeg"/><Relationship Id="rId5" Type="http://schemas.openxmlformats.org/officeDocument/2006/relationships/image" Target="../media/image86.svg"/><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91.jpeg"/><Relationship Id="rId5" Type="http://schemas.openxmlformats.org/officeDocument/2006/relationships/image" Target="../media/image86.sv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92.png"/><Relationship Id="rId5" Type="http://schemas.openxmlformats.org/officeDocument/2006/relationships/image" Target="../media/image86.svg"/><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s/_rels/slide2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2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2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00.png"/></Relationships>
</file>

<file path=ppt/slides/_rels/slide2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2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103.svg"/><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60.jpeg"/><Relationship Id="rId7" Type="http://schemas.openxmlformats.org/officeDocument/2006/relationships/image" Target="../media/image107.sv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 Id="rId9" Type="http://schemas.openxmlformats.org/officeDocument/2006/relationships/image" Target="../media/image109.svg"/></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jpeg"/><Relationship Id="rId21" Type="http://schemas.openxmlformats.org/officeDocument/2006/relationships/image" Target="../media/image29.svg"/><Relationship Id="rId7" Type="http://schemas.openxmlformats.org/officeDocument/2006/relationships/image" Target="../media/image15.svg"/><Relationship Id="rId12" Type="http://schemas.openxmlformats.org/officeDocument/2006/relationships/image" Target="../media/image20.png"/><Relationship Id="rId17" Type="http://schemas.openxmlformats.org/officeDocument/2006/relationships/image" Target="../media/image25.svg"/><Relationship Id="rId25" Type="http://schemas.openxmlformats.org/officeDocument/2006/relationships/image" Target="../media/image33.svg"/><Relationship Id="rId2" Type="http://schemas.openxmlformats.org/officeDocument/2006/relationships/notesSlide" Target="../notesSlides/notesSlide2.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sv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svg"/><Relationship Id="rId24" Type="http://schemas.openxmlformats.org/officeDocument/2006/relationships/image" Target="../media/image32.pn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sv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jpeg"/><Relationship Id="rId7"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0.jp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sv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8.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29.svg"/></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56.svg"/><Relationship Id="rId3" Type="http://schemas.openxmlformats.org/officeDocument/2006/relationships/image" Target="../media/image51.jpeg"/><Relationship Id="rId7" Type="http://schemas.openxmlformats.org/officeDocument/2006/relationships/image" Target="../media/image10.svg"/><Relationship Id="rId12"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9.png"/><Relationship Id="rId11" Type="http://schemas.openxmlformats.org/officeDocument/2006/relationships/image" Target="../media/image54.svg"/><Relationship Id="rId5" Type="http://schemas.openxmlformats.org/officeDocument/2006/relationships/image" Target="../media/image53.svg"/><Relationship Id="rId10" Type="http://schemas.openxmlformats.org/officeDocument/2006/relationships/image" Target="../media/image5.png"/><Relationship Id="rId4" Type="http://schemas.openxmlformats.org/officeDocument/2006/relationships/image" Target="../media/image52.png"/><Relationship Id="rId9" Type="http://schemas.openxmlformats.org/officeDocument/2006/relationships/image" Target="../media/image8.svg"/></Relationships>
</file>

<file path=ppt/slides/_rels/slide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9.svg"/><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0.jpeg"/><Relationship Id="rId7" Type="http://schemas.openxmlformats.org/officeDocument/2006/relationships/image" Target="../media/image19.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66.svg"/><Relationship Id="rId5" Type="http://schemas.openxmlformats.org/officeDocument/2006/relationships/image" Target="../media/image62.svg"/><Relationship Id="rId10" Type="http://schemas.openxmlformats.org/officeDocument/2006/relationships/image" Target="../media/image65.png"/><Relationship Id="rId4" Type="http://schemas.openxmlformats.org/officeDocument/2006/relationships/image" Target="../media/image61.png"/><Relationship Id="rId9" Type="http://schemas.openxmlformats.org/officeDocument/2006/relationships/image" Target="../media/image64.svg"/></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7.jpeg"/><Relationship Id="rId7" Type="http://schemas.openxmlformats.org/officeDocument/2006/relationships/image" Target="../media/image64.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6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With most of the countries saying that they will not allow inbound travel for six months after the lockdown is lifted, there is little hope for any revival of international tourism at least till the end of the year">
            <a:extLst>
              <a:ext uri="{FF2B5EF4-FFF2-40B4-BE49-F238E27FC236}">
                <a16:creationId xmlns:a16="http://schemas.microsoft.com/office/drawing/2014/main" id="{F998C040-BCE6-0D5F-687E-46D4FF301FA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667"/>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D7C6604-98FD-301F-9FEB-9876E0A79BF7}"/>
              </a:ext>
            </a:extLst>
          </p:cNvPr>
          <p:cNvSpPr/>
          <p:nvPr/>
        </p:nvSpPr>
        <p:spPr>
          <a:xfrm>
            <a:off x="-1" y="4527329"/>
            <a:ext cx="11508961" cy="1248320"/>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DA9994CF-BBC0-9E15-6A42-024150DF87F1}"/>
              </a:ext>
            </a:extLst>
          </p:cNvPr>
          <p:cNvGrpSpPr/>
          <p:nvPr/>
        </p:nvGrpSpPr>
        <p:grpSpPr>
          <a:xfrm>
            <a:off x="503424" y="4110530"/>
            <a:ext cx="1170598" cy="862765"/>
            <a:chOff x="631255" y="1712563"/>
            <a:chExt cx="1170598" cy="862765"/>
          </a:xfrm>
        </p:grpSpPr>
        <p:sp>
          <p:nvSpPr>
            <p:cNvPr id="6" name="Rectangle 5">
              <a:extLst>
                <a:ext uri="{FF2B5EF4-FFF2-40B4-BE49-F238E27FC236}">
                  <a16:creationId xmlns:a16="http://schemas.microsoft.com/office/drawing/2014/main" id="{C087AC45-FB8D-926C-0007-5607EE335D74}"/>
                </a:ext>
              </a:extLst>
            </p:cNvPr>
            <p:cNvSpPr/>
            <p:nvPr/>
          </p:nvSpPr>
          <p:spPr>
            <a:xfrm>
              <a:off x="631255" y="1719369"/>
              <a:ext cx="855959" cy="855959"/>
            </a:xfrm>
            <a:prstGeom prst="rect">
              <a:avLst/>
            </a:prstGeom>
            <a:solidFill>
              <a:srgbClr val="E88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a:extLst>
                <a:ext uri="{FF2B5EF4-FFF2-40B4-BE49-F238E27FC236}">
                  <a16:creationId xmlns:a16="http://schemas.microsoft.com/office/drawing/2014/main" id="{E769D6CC-0CA7-99F3-DECC-6AE52DB89EF2}"/>
                </a:ext>
              </a:extLst>
            </p:cNvPr>
            <p:cNvSpPr/>
            <p:nvPr/>
          </p:nvSpPr>
          <p:spPr>
            <a:xfrm>
              <a:off x="1485486" y="1712563"/>
              <a:ext cx="316367" cy="416799"/>
            </a:xfrm>
            <a:prstGeom prst="triangle">
              <a:avLst>
                <a:gd name="adj" fmla="val 0"/>
              </a:avLst>
            </a:prstGeom>
            <a:solidFill>
              <a:srgbClr val="DF4D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4BE9D8E-DD81-13CA-BAB2-E8C85E4539E4}"/>
                </a:ext>
              </a:extLst>
            </p:cNvPr>
            <p:cNvGrpSpPr/>
            <p:nvPr/>
          </p:nvGrpSpPr>
          <p:grpSpPr>
            <a:xfrm>
              <a:off x="810870" y="1897839"/>
              <a:ext cx="496729" cy="499018"/>
              <a:chOff x="2684463" y="2532063"/>
              <a:chExt cx="344487" cy="346075"/>
            </a:xfrm>
          </p:grpSpPr>
          <p:sp>
            <p:nvSpPr>
              <p:cNvPr id="9" name="Freeform 71">
                <a:extLst>
                  <a:ext uri="{FF2B5EF4-FFF2-40B4-BE49-F238E27FC236}">
                    <a16:creationId xmlns:a16="http://schemas.microsoft.com/office/drawing/2014/main" id="{C5B7EF5A-9781-7F69-A671-7B3331AA087F}"/>
                  </a:ext>
                </a:extLst>
              </p:cNvPr>
              <p:cNvSpPr>
                <a:spLocks/>
              </p:cNvSpPr>
              <p:nvPr/>
            </p:nvSpPr>
            <p:spPr bwMode="auto">
              <a:xfrm>
                <a:off x="2684463" y="2532063"/>
                <a:ext cx="341313" cy="346075"/>
              </a:xfrm>
              <a:custGeom>
                <a:avLst/>
                <a:gdLst>
                  <a:gd name="T0" fmla="*/ 91 w 91"/>
                  <a:gd name="T1" fmla="*/ 54 h 92"/>
                  <a:gd name="T2" fmla="*/ 46 w 91"/>
                  <a:gd name="T3" fmla="*/ 92 h 92"/>
                  <a:gd name="T4" fmla="*/ 0 w 91"/>
                  <a:gd name="T5" fmla="*/ 46 h 92"/>
                  <a:gd name="T6" fmla="*/ 46 w 91"/>
                  <a:gd name="T7" fmla="*/ 0 h 92"/>
                  <a:gd name="T8" fmla="*/ 84 w 91"/>
                  <a:gd name="T9" fmla="*/ 20 h 92"/>
                </a:gdLst>
                <a:ahLst/>
                <a:cxnLst>
                  <a:cxn ang="0">
                    <a:pos x="T0" y="T1"/>
                  </a:cxn>
                  <a:cxn ang="0">
                    <a:pos x="T2" y="T3"/>
                  </a:cxn>
                  <a:cxn ang="0">
                    <a:pos x="T4" y="T5"/>
                  </a:cxn>
                  <a:cxn ang="0">
                    <a:pos x="T6" y="T7"/>
                  </a:cxn>
                  <a:cxn ang="0">
                    <a:pos x="T8" y="T9"/>
                  </a:cxn>
                </a:cxnLst>
                <a:rect l="0" t="0" r="r" b="b"/>
                <a:pathLst>
                  <a:path w="91" h="92">
                    <a:moveTo>
                      <a:pt x="91" y="54"/>
                    </a:moveTo>
                    <a:cubicBezTo>
                      <a:pt x="88" y="76"/>
                      <a:pt x="69" y="92"/>
                      <a:pt x="46" y="92"/>
                    </a:cubicBezTo>
                    <a:cubicBezTo>
                      <a:pt x="21" y="92"/>
                      <a:pt x="0" y="71"/>
                      <a:pt x="0" y="46"/>
                    </a:cubicBezTo>
                    <a:cubicBezTo>
                      <a:pt x="0" y="21"/>
                      <a:pt x="21" y="0"/>
                      <a:pt x="46" y="0"/>
                    </a:cubicBezTo>
                    <a:cubicBezTo>
                      <a:pt x="62" y="0"/>
                      <a:pt x="76" y="8"/>
                      <a:pt x="84" y="2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72">
                <a:extLst>
                  <a:ext uri="{FF2B5EF4-FFF2-40B4-BE49-F238E27FC236}">
                    <a16:creationId xmlns:a16="http://schemas.microsoft.com/office/drawing/2014/main" id="{489B9715-ABA3-002D-872E-6A94C2F93D95}"/>
                  </a:ext>
                </a:extLst>
              </p:cNvPr>
              <p:cNvSpPr>
                <a:spLocks/>
              </p:cNvSpPr>
              <p:nvPr/>
            </p:nvSpPr>
            <p:spPr bwMode="auto">
              <a:xfrm>
                <a:off x="2736850" y="2535238"/>
                <a:ext cx="161925" cy="306388"/>
              </a:xfrm>
              <a:custGeom>
                <a:avLst/>
                <a:gdLst>
                  <a:gd name="T0" fmla="*/ 102 w 102"/>
                  <a:gd name="T1" fmla="*/ 0 h 193"/>
                  <a:gd name="T2" fmla="*/ 57 w 102"/>
                  <a:gd name="T3" fmla="*/ 26 h 193"/>
                  <a:gd name="T4" fmla="*/ 66 w 102"/>
                  <a:gd name="T5" fmla="*/ 41 h 193"/>
                  <a:gd name="T6" fmla="*/ 47 w 102"/>
                  <a:gd name="T7" fmla="*/ 74 h 193"/>
                  <a:gd name="T8" fmla="*/ 0 w 102"/>
                  <a:gd name="T9" fmla="*/ 88 h 193"/>
                  <a:gd name="T10" fmla="*/ 19 w 102"/>
                  <a:gd name="T11" fmla="*/ 150 h 193"/>
                  <a:gd name="T12" fmla="*/ 71 w 102"/>
                  <a:gd name="T13" fmla="*/ 169 h 193"/>
                  <a:gd name="T14" fmla="*/ 71 w 102"/>
                  <a:gd name="T15" fmla="*/ 193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3">
                    <a:moveTo>
                      <a:pt x="102" y="0"/>
                    </a:moveTo>
                    <a:lnTo>
                      <a:pt x="57" y="26"/>
                    </a:lnTo>
                    <a:lnTo>
                      <a:pt x="66" y="41"/>
                    </a:lnTo>
                    <a:lnTo>
                      <a:pt x="47" y="74"/>
                    </a:lnTo>
                    <a:lnTo>
                      <a:pt x="0" y="88"/>
                    </a:lnTo>
                    <a:lnTo>
                      <a:pt x="19" y="150"/>
                    </a:lnTo>
                    <a:lnTo>
                      <a:pt x="71" y="169"/>
                    </a:lnTo>
                    <a:lnTo>
                      <a:pt x="71" y="193"/>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Line 73">
                <a:extLst>
                  <a:ext uri="{FF2B5EF4-FFF2-40B4-BE49-F238E27FC236}">
                    <a16:creationId xmlns:a16="http://schemas.microsoft.com/office/drawing/2014/main" id="{C78DABD2-3F01-C9EE-10D8-9EB5D9A5358A}"/>
                  </a:ext>
                </a:extLst>
              </p:cNvPr>
              <p:cNvSpPr>
                <a:spLocks noChangeShapeType="1"/>
              </p:cNvSpPr>
              <p:nvPr/>
            </p:nvSpPr>
            <p:spPr bwMode="auto">
              <a:xfrm flipH="1">
                <a:off x="2954338" y="2587625"/>
                <a:ext cx="30163" cy="34925"/>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Freeform 74">
                <a:extLst>
                  <a:ext uri="{FF2B5EF4-FFF2-40B4-BE49-F238E27FC236}">
                    <a16:creationId xmlns:a16="http://schemas.microsoft.com/office/drawing/2014/main" id="{430A6153-F6D5-EA2E-DEF6-0224200F9849}"/>
                  </a:ext>
                </a:extLst>
              </p:cNvPr>
              <p:cNvSpPr>
                <a:spLocks/>
              </p:cNvSpPr>
              <p:nvPr/>
            </p:nvSpPr>
            <p:spPr bwMode="auto">
              <a:xfrm>
                <a:off x="2781300" y="2644775"/>
                <a:ext cx="247650" cy="158750"/>
              </a:xfrm>
              <a:custGeom>
                <a:avLst/>
                <a:gdLst>
                  <a:gd name="T0" fmla="*/ 19 w 66"/>
                  <a:gd name="T1" fmla="*/ 18 h 42"/>
                  <a:gd name="T2" fmla="*/ 8 w 66"/>
                  <a:gd name="T3" fmla="*/ 13 h 42"/>
                  <a:gd name="T4" fmla="*/ 0 w 66"/>
                  <a:gd name="T5" fmla="*/ 17 h 42"/>
                  <a:gd name="T6" fmla="*/ 18 w 66"/>
                  <a:gd name="T7" fmla="*/ 29 h 42"/>
                  <a:gd name="T8" fmla="*/ 37 w 66"/>
                  <a:gd name="T9" fmla="*/ 22 h 42"/>
                  <a:gd name="T10" fmla="*/ 29 w 66"/>
                  <a:gd name="T11" fmla="*/ 42 h 42"/>
                  <a:gd name="T12" fmla="*/ 38 w 66"/>
                  <a:gd name="T13" fmla="*/ 37 h 42"/>
                  <a:gd name="T14" fmla="*/ 49 w 66"/>
                  <a:gd name="T15" fmla="*/ 17 h 42"/>
                  <a:gd name="T16" fmla="*/ 63 w 66"/>
                  <a:gd name="T17" fmla="*/ 11 h 42"/>
                  <a:gd name="T18" fmla="*/ 66 w 66"/>
                  <a:gd name="T19" fmla="*/ 8 h 42"/>
                  <a:gd name="T20" fmla="*/ 66 w 66"/>
                  <a:gd name="T21" fmla="*/ 4 h 42"/>
                  <a:gd name="T22" fmla="*/ 59 w 66"/>
                  <a:gd name="T23" fmla="*/ 2 h 42"/>
                  <a:gd name="T24" fmla="*/ 19 w 66"/>
                  <a:gd name="T25"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42">
                    <a:moveTo>
                      <a:pt x="19" y="18"/>
                    </a:moveTo>
                    <a:cubicBezTo>
                      <a:pt x="8" y="13"/>
                      <a:pt x="8" y="13"/>
                      <a:pt x="8" y="13"/>
                    </a:cubicBezTo>
                    <a:cubicBezTo>
                      <a:pt x="0" y="17"/>
                      <a:pt x="0" y="17"/>
                      <a:pt x="0" y="17"/>
                    </a:cubicBezTo>
                    <a:cubicBezTo>
                      <a:pt x="18" y="29"/>
                      <a:pt x="18" y="29"/>
                      <a:pt x="18" y="29"/>
                    </a:cubicBezTo>
                    <a:cubicBezTo>
                      <a:pt x="37" y="22"/>
                      <a:pt x="37" y="22"/>
                      <a:pt x="37" y="22"/>
                    </a:cubicBezTo>
                    <a:cubicBezTo>
                      <a:pt x="29" y="42"/>
                      <a:pt x="29" y="42"/>
                      <a:pt x="29" y="42"/>
                    </a:cubicBezTo>
                    <a:cubicBezTo>
                      <a:pt x="38" y="37"/>
                      <a:pt x="38" y="37"/>
                      <a:pt x="38" y="37"/>
                    </a:cubicBezTo>
                    <a:cubicBezTo>
                      <a:pt x="49" y="17"/>
                      <a:pt x="49" y="17"/>
                      <a:pt x="49" y="17"/>
                    </a:cubicBezTo>
                    <a:cubicBezTo>
                      <a:pt x="63" y="11"/>
                      <a:pt x="63" y="11"/>
                      <a:pt x="63" y="11"/>
                    </a:cubicBezTo>
                    <a:cubicBezTo>
                      <a:pt x="64" y="10"/>
                      <a:pt x="65" y="9"/>
                      <a:pt x="66" y="8"/>
                    </a:cubicBezTo>
                    <a:cubicBezTo>
                      <a:pt x="66" y="7"/>
                      <a:pt x="66" y="5"/>
                      <a:pt x="66" y="4"/>
                    </a:cubicBezTo>
                    <a:cubicBezTo>
                      <a:pt x="64" y="2"/>
                      <a:pt x="62" y="0"/>
                      <a:pt x="59" y="2"/>
                    </a:cubicBezTo>
                    <a:lnTo>
                      <a:pt x="19" y="18"/>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75">
                <a:extLst>
                  <a:ext uri="{FF2B5EF4-FFF2-40B4-BE49-F238E27FC236}">
                    <a16:creationId xmlns:a16="http://schemas.microsoft.com/office/drawing/2014/main" id="{6ABFDDA1-BD13-F621-03A3-EC4A5B617676}"/>
                  </a:ext>
                </a:extLst>
              </p:cNvPr>
              <p:cNvSpPr>
                <a:spLocks/>
              </p:cNvSpPr>
              <p:nvPr/>
            </p:nvSpPr>
            <p:spPr bwMode="auto">
              <a:xfrm>
                <a:off x="2857500" y="2633663"/>
                <a:ext cx="88900" cy="52388"/>
              </a:xfrm>
              <a:custGeom>
                <a:avLst/>
                <a:gdLst>
                  <a:gd name="T0" fmla="*/ 56 w 56"/>
                  <a:gd name="T1" fmla="*/ 24 h 33"/>
                  <a:gd name="T2" fmla="*/ 19 w 56"/>
                  <a:gd name="T3" fmla="*/ 0 h 33"/>
                  <a:gd name="T4" fmla="*/ 0 w 56"/>
                  <a:gd name="T5" fmla="*/ 9 h 33"/>
                  <a:gd name="T6" fmla="*/ 35 w 56"/>
                  <a:gd name="T7" fmla="*/ 33 h 33"/>
                </a:gdLst>
                <a:ahLst/>
                <a:cxnLst>
                  <a:cxn ang="0">
                    <a:pos x="T0" y="T1"/>
                  </a:cxn>
                  <a:cxn ang="0">
                    <a:pos x="T2" y="T3"/>
                  </a:cxn>
                  <a:cxn ang="0">
                    <a:pos x="T4" y="T5"/>
                  </a:cxn>
                  <a:cxn ang="0">
                    <a:pos x="T6" y="T7"/>
                  </a:cxn>
                </a:cxnLst>
                <a:rect l="0" t="0" r="r" b="b"/>
                <a:pathLst>
                  <a:path w="56" h="33">
                    <a:moveTo>
                      <a:pt x="56" y="24"/>
                    </a:moveTo>
                    <a:lnTo>
                      <a:pt x="19" y="0"/>
                    </a:lnTo>
                    <a:lnTo>
                      <a:pt x="0" y="9"/>
                    </a:lnTo>
                    <a:lnTo>
                      <a:pt x="35" y="33"/>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4" name="Rectangle 13">
            <a:extLst>
              <a:ext uri="{FF2B5EF4-FFF2-40B4-BE49-F238E27FC236}">
                <a16:creationId xmlns:a16="http://schemas.microsoft.com/office/drawing/2014/main" id="{25C92774-AADD-A25D-697E-BB966C79CFA8}"/>
              </a:ext>
            </a:extLst>
          </p:cNvPr>
          <p:cNvSpPr/>
          <p:nvPr/>
        </p:nvSpPr>
        <p:spPr>
          <a:xfrm>
            <a:off x="169582" y="5910574"/>
            <a:ext cx="1782307" cy="82447"/>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828F699-FE40-C2A1-9DDF-3713FAE1F962}"/>
              </a:ext>
            </a:extLst>
          </p:cNvPr>
          <p:cNvSpPr/>
          <p:nvPr/>
        </p:nvSpPr>
        <p:spPr>
          <a:xfrm>
            <a:off x="817154" y="4392404"/>
            <a:ext cx="10871422" cy="14727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6000" b="1" dirty="0">
                <a:solidFill>
                  <a:srgbClr val="D5204B"/>
                </a:solidFill>
                <a:latin typeface="Calibri Light" panose="020F0302020204030204" pitchFamily="34" charset="0"/>
                <a:cs typeface="Calibri Light" panose="020F0302020204030204" pitchFamily="34" charset="0"/>
              </a:rPr>
              <a:t>ONLINE TRAVEL BOOKING SYSTEM</a:t>
            </a:r>
            <a:endParaRPr lang="en-US" sz="6000" b="1" dirty="0">
              <a:solidFill>
                <a:srgbClr val="D5204B"/>
              </a:solidFill>
              <a:cs typeface="Calibri Light" panose="020F0302020204030204" pitchFamily="34" charset="0"/>
            </a:endParaRPr>
          </a:p>
        </p:txBody>
      </p:sp>
    </p:spTree>
    <p:extLst>
      <p:ext uri="{BB962C8B-B14F-4D97-AF65-F5344CB8AC3E}">
        <p14:creationId xmlns:p14="http://schemas.microsoft.com/office/powerpoint/2010/main" val="2016974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descr="Boats in the water&#10;&#10;Description automatically generated with low confidence">
            <a:extLst>
              <a:ext uri="{FF2B5EF4-FFF2-40B4-BE49-F238E27FC236}">
                <a16:creationId xmlns:a16="http://schemas.microsoft.com/office/drawing/2014/main" id="{42056746-AE4D-CF39-A9BE-C36430E5153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488393"/>
            <a:ext cx="12184608" cy="3731004"/>
          </a:xfrm>
          <a:custGeom>
            <a:avLst/>
            <a:gdLst>
              <a:gd name="connsiteX0" fmla="*/ 0 w 12184608"/>
              <a:gd name="connsiteY0" fmla="*/ 0 h 2788198"/>
              <a:gd name="connsiteX1" fmla="*/ 12184608 w 12184608"/>
              <a:gd name="connsiteY1" fmla="*/ 0 h 2788198"/>
              <a:gd name="connsiteX2" fmla="*/ 12184608 w 12184608"/>
              <a:gd name="connsiteY2" fmla="*/ 2788198 h 2788198"/>
              <a:gd name="connsiteX3" fmla="*/ 0 w 12184608"/>
              <a:gd name="connsiteY3" fmla="*/ 2788198 h 2788198"/>
            </a:gdLst>
            <a:ahLst/>
            <a:cxnLst>
              <a:cxn ang="0">
                <a:pos x="connsiteX0" y="connsiteY0"/>
              </a:cxn>
              <a:cxn ang="0">
                <a:pos x="connsiteX1" y="connsiteY1"/>
              </a:cxn>
              <a:cxn ang="0">
                <a:pos x="connsiteX2" y="connsiteY2"/>
              </a:cxn>
              <a:cxn ang="0">
                <a:pos x="connsiteX3" y="connsiteY3"/>
              </a:cxn>
            </a:cxnLst>
            <a:rect l="l" t="t" r="r" b="b"/>
            <a:pathLst>
              <a:path w="12184608" h="2788198">
                <a:moveTo>
                  <a:pt x="0" y="0"/>
                </a:moveTo>
                <a:lnTo>
                  <a:pt x="12184608" y="0"/>
                </a:lnTo>
                <a:lnTo>
                  <a:pt x="12184608" y="2788198"/>
                </a:lnTo>
                <a:lnTo>
                  <a:pt x="0" y="2788198"/>
                </a:lnTo>
                <a:close/>
              </a:path>
            </a:pathLst>
          </a:custGeom>
        </p:spPr>
      </p:pic>
      <p:sp>
        <p:nvSpPr>
          <p:cNvPr id="76" name="Rectangle 75">
            <a:extLst>
              <a:ext uri="{FF2B5EF4-FFF2-40B4-BE49-F238E27FC236}">
                <a16:creationId xmlns:a16="http://schemas.microsoft.com/office/drawing/2014/main" id="{BA9FAD8A-EFB7-695B-D736-00223C5F06BC}"/>
              </a:ext>
            </a:extLst>
          </p:cNvPr>
          <p:cNvSpPr/>
          <p:nvPr/>
        </p:nvSpPr>
        <p:spPr>
          <a:xfrm>
            <a:off x="0" y="2488393"/>
            <a:ext cx="12192000" cy="3731003"/>
          </a:xfrm>
          <a:prstGeom prst="rect">
            <a:avLst/>
          </a:prstGeom>
          <a:solidFill>
            <a:srgbClr val="085171">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6" name="Group 145">
            <a:extLst>
              <a:ext uri="{FF2B5EF4-FFF2-40B4-BE49-F238E27FC236}">
                <a16:creationId xmlns:a16="http://schemas.microsoft.com/office/drawing/2014/main" id="{4A08040E-A00C-FD83-C099-55F33E039527}"/>
              </a:ext>
            </a:extLst>
          </p:cNvPr>
          <p:cNvGrpSpPr/>
          <p:nvPr/>
        </p:nvGrpSpPr>
        <p:grpSpPr>
          <a:xfrm>
            <a:off x="6567968" y="784192"/>
            <a:ext cx="5624032" cy="4748177"/>
            <a:chOff x="6567376" y="812159"/>
            <a:chExt cx="5624032" cy="4748177"/>
          </a:xfrm>
        </p:grpSpPr>
        <p:sp>
          <p:nvSpPr>
            <p:cNvPr id="143" name="Freeform: Shape 142">
              <a:extLst>
                <a:ext uri="{FF2B5EF4-FFF2-40B4-BE49-F238E27FC236}">
                  <a16:creationId xmlns:a16="http://schemas.microsoft.com/office/drawing/2014/main" id="{11CFD49A-FBFB-060F-13AA-37F64445A8D3}"/>
                </a:ext>
              </a:extLst>
            </p:cNvPr>
            <p:cNvSpPr/>
            <p:nvPr/>
          </p:nvSpPr>
          <p:spPr>
            <a:xfrm>
              <a:off x="7117092" y="4424422"/>
              <a:ext cx="1066152" cy="802795"/>
            </a:xfrm>
            <a:custGeom>
              <a:avLst/>
              <a:gdLst>
                <a:gd name="connsiteX0" fmla="*/ 390333 w 1066152"/>
                <a:gd name="connsiteY0" fmla="*/ 802678 h 802795"/>
                <a:gd name="connsiteX1" fmla="*/ 390475 w 1066152"/>
                <a:gd name="connsiteY1" fmla="*/ 802678 h 802795"/>
                <a:gd name="connsiteX2" fmla="*/ 390475 w 1066152"/>
                <a:gd name="connsiteY2" fmla="*/ 802701 h 802795"/>
                <a:gd name="connsiteX3" fmla="*/ 390592 w 1066152"/>
                <a:gd name="connsiteY3" fmla="*/ 802701 h 802795"/>
                <a:gd name="connsiteX4" fmla="*/ 390733 w 1066152"/>
                <a:gd name="connsiteY4" fmla="*/ 802748 h 802795"/>
                <a:gd name="connsiteX5" fmla="*/ 390663 w 1066152"/>
                <a:gd name="connsiteY5" fmla="*/ 802795 h 802795"/>
                <a:gd name="connsiteX6" fmla="*/ 390522 w 1066152"/>
                <a:gd name="connsiteY6" fmla="*/ 802795 h 802795"/>
                <a:gd name="connsiteX7" fmla="*/ 390404 w 1066152"/>
                <a:gd name="connsiteY7" fmla="*/ 802748 h 802795"/>
                <a:gd name="connsiteX8" fmla="*/ 536802 w 1066152"/>
                <a:gd name="connsiteY8" fmla="*/ 801478 h 802795"/>
                <a:gd name="connsiteX9" fmla="*/ 537038 w 1066152"/>
                <a:gd name="connsiteY9" fmla="*/ 801831 h 802795"/>
                <a:gd name="connsiteX10" fmla="*/ 536662 w 1066152"/>
                <a:gd name="connsiteY10" fmla="*/ 802137 h 802795"/>
                <a:gd name="connsiteX11" fmla="*/ 536309 w 1066152"/>
                <a:gd name="connsiteY11" fmla="*/ 801925 h 802795"/>
                <a:gd name="connsiteX12" fmla="*/ 536426 w 1066152"/>
                <a:gd name="connsiteY12" fmla="*/ 801572 h 802795"/>
                <a:gd name="connsiteX13" fmla="*/ 536426 w 1066152"/>
                <a:gd name="connsiteY13" fmla="*/ 801549 h 802795"/>
                <a:gd name="connsiteX14" fmla="*/ 421654 w 1066152"/>
                <a:gd name="connsiteY14" fmla="*/ 798892 h 802795"/>
                <a:gd name="connsiteX15" fmla="*/ 421654 w 1066152"/>
                <a:gd name="connsiteY15" fmla="*/ 798939 h 802795"/>
                <a:gd name="connsiteX16" fmla="*/ 421608 w 1066152"/>
                <a:gd name="connsiteY16" fmla="*/ 798986 h 802795"/>
                <a:gd name="connsiteX17" fmla="*/ 421560 w 1066152"/>
                <a:gd name="connsiteY17" fmla="*/ 798939 h 802795"/>
                <a:gd name="connsiteX18" fmla="*/ 421583 w 1066152"/>
                <a:gd name="connsiteY18" fmla="*/ 798939 h 802795"/>
                <a:gd name="connsiteX19" fmla="*/ 421678 w 1066152"/>
                <a:gd name="connsiteY19" fmla="*/ 798703 h 802795"/>
                <a:gd name="connsiteX20" fmla="*/ 421725 w 1066152"/>
                <a:gd name="connsiteY20" fmla="*/ 798703 h 802795"/>
                <a:gd name="connsiteX21" fmla="*/ 421796 w 1066152"/>
                <a:gd name="connsiteY21" fmla="*/ 798703 h 802795"/>
                <a:gd name="connsiteX22" fmla="*/ 421796 w 1066152"/>
                <a:gd name="connsiteY22" fmla="*/ 798751 h 802795"/>
                <a:gd name="connsiteX23" fmla="*/ 421678 w 1066152"/>
                <a:gd name="connsiteY23" fmla="*/ 798751 h 802795"/>
                <a:gd name="connsiteX24" fmla="*/ 496265 w 1066152"/>
                <a:gd name="connsiteY24" fmla="*/ 788875 h 802795"/>
                <a:gd name="connsiteX25" fmla="*/ 498286 w 1066152"/>
                <a:gd name="connsiteY25" fmla="*/ 792543 h 802795"/>
                <a:gd name="connsiteX26" fmla="*/ 498286 w 1066152"/>
                <a:gd name="connsiteY26" fmla="*/ 792519 h 802795"/>
                <a:gd name="connsiteX27" fmla="*/ 498969 w 1066152"/>
                <a:gd name="connsiteY27" fmla="*/ 793507 h 802795"/>
                <a:gd name="connsiteX28" fmla="*/ 496617 w 1066152"/>
                <a:gd name="connsiteY28" fmla="*/ 794306 h 802795"/>
                <a:gd name="connsiteX29" fmla="*/ 494994 w 1066152"/>
                <a:gd name="connsiteY29" fmla="*/ 792684 h 802795"/>
                <a:gd name="connsiteX30" fmla="*/ 494760 w 1066152"/>
                <a:gd name="connsiteY30" fmla="*/ 790262 h 802795"/>
                <a:gd name="connsiteX31" fmla="*/ 303002 w 1066152"/>
                <a:gd name="connsiteY31" fmla="*/ 737214 h 802795"/>
                <a:gd name="connsiteX32" fmla="*/ 303214 w 1066152"/>
                <a:gd name="connsiteY32" fmla="*/ 737403 h 802795"/>
                <a:gd name="connsiteX33" fmla="*/ 303073 w 1066152"/>
                <a:gd name="connsiteY33" fmla="*/ 737637 h 802795"/>
                <a:gd name="connsiteX34" fmla="*/ 302885 w 1066152"/>
                <a:gd name="connsiteY34" fmla="*/ 737567 h 802795"/>
                <a:gd name="connsiteX35" fmla="*/ 302838 w 1066152"/>
                <a:gd name="connsiteY35" fmla="*/ 737332 h 802795"/>
                <a:gd name="connsiteX36" fmla="*/ 305612 w 1066152"/>
                <a:gd name="connsiteY36" fmla="*/ 736274 h 802795"/>
                <a:gd name="connsiteX37" fmla="*/ 307094 w 1066152"/>
                <a:gd name="connsiteY37" fmla="*/ 736415 h 802795"/>
                <a:gd name="connsiteX38" fmla="*/ 308834 w 1066152"/>
                <a:gd name="connsiteY38" fmla="*/ 737309 h 802795"/>
                <a:gd name="connsiteX39" fmla="*/ 310122 w 1066152"/>
                <a:gd name="connsiteY39" fmla="*/ 738206 h 802795"/>
                <a:gd name="connsiteX40" fmla="*/ 310103 w 1066152"/>
                <a:gd name="connsiteY40" fmla="*/ 738202 h 802795"/>
                <a:gd name="connsiteX41" fmla="*/ 310151 w 1066152"/>
                <a:gd name="connsiteY41" fmla="*/ 738226 h 802795"/>
                <a:gd name="connsiteX42" fmla="*/ 310122 w 1066152"/>
                <a:gd name="connsiteY42" fmla="*/ 738206 h 802795"/>
                <a:gd name="connsiteX43" fmla="*/ 311514 w 1066152"/>
                <a:gd name="connsiteY43" fmla="*/ 738508 h 802795"/>
                <a:gd name="connsiteX44" fmla="*/ 313560 w 1066152"/>
                <a:gd name="connsiteY44" fmla="*/ 737567 h 802795"/>
                <a:gd name="connsiteX45" fmla="*/ 312878 w 1066152"/>
                <a:gd name="connsiteY45" fmla="*/ 739424 h 802795"/>
                <a:gd name="connsiteX46" fmla="*/ 309468 w 1066152"/>
                <a:gd name="connsiteY46" fmla="*/ 741917 h 802795"/>
                <a:gd name="connsiteX47" fmla="*/ 309069 w 1066152"/>
                <a:gd name="connsiteY47" fmla="*/ 743234 h 802795"/>
                <a:gd name="connsiteX48" fmla="*/ 307329 w 1066152"/>
                <a:gd name="connsiteY48" fmla="*/ 741776 h 802795"/>
                <a:gd name="connsiteX49" fmla="*/ 306130 w 1066152"/>
                <a:gd name="connsiteY49" fmla="*/ 740201 h 802795"/>
                <a:gd name="connsiteX50" fmla="*/ 305236 w 1066152"/>
                <a:gd name="connsiteY50" fmla="*/ 738414 h 802795"/>
                <a:gd name="connsiteX51" fmla="*/ 304531 w 1066152"/>
                <a:gd name="connsiteY51" fmla="*/ 736415 h 802795"/>
                <a:gd name="connsiteX52" fmla="*/ 668247 w 1066152"/>
                <a:gd name="connsiteY52" fmla="*/ 570687 h 802795"/>
                <a:gd name="connsiteX53" fmla="*/ 668341 w 1066152"/>
                <a:gd name="connsiteY53" fmla="*/ 570852 h 802795"/>
                <a:gd name="connsiteX54" fmla="*/ 668341 w 1066152"/>
                <a:gd name="connsiteY54" fmla="*/ 571088 h 802795"/>
                <a:gd name="connsiteX55" fmla="*/ 668435 w 1066152"/>
                <a:gd name="connsiteY55" fmla="*/ 571275 h 802795"/>
                <a:gd name="connsiteX56" fmla="*/ 668693 w 1066152"/>
                <a:gd name="connsiteY56" fmla="*/ 571675 h 802795"/>
                <a:gd name="connsiteX57" fmla="*/ 669164 w 1066152"/>
                <a:gd name="connsiteY57" fmla="*/ 572616 h 802795"/>
                <a:gd name="connsiteX58" fmla="*/ 669540 w 1066152"/>
                <a:gd name="connsiteY58" fmla="*/ 573157 h 802795"/>
                <a:gd name="connsiteX59" fmla="*/ 668834 w 1066152"/>
                <a:gd name="connsiteY59" fmla="*/ 575155 h 802795"/>
                <a:gd name="connsiteX60" fmla="*/ 668976 w 1066152"/>
                <a:gd name="connsiteY60" fmla="*/ 577248 h 802795"/>
                <a:gd name="connsiteX61" fmla="*/ 670034 w 1066152"/>
                <a:gd name="connsiteY61" fmla="*/ 580610 h 802795"/>
                <a:gd name="connsiteX62" fmla="*/ 668435 w 1066152"/>
                <a:gd name="connsiteY62" fmla="*/ 578941 h 802795"/>
                <a:gd name="connsiteX63" fmla="*/ 668435 w 1066152"/>
                <a:gd name="connsiteY63" fmla="*/ 578917 h 802795"/>
                <a:gd name="connsiteX64" fmla="*/ 668105 w 1066152"/>
                <a:gd name="connsiteY64" fmla="*/ 576260 h 802795"/>
                <a:gd name="connsiteX65" fmla="*/ 668176 w 1066152"/>
                <a:gd name="connsiteY65" fmla="*/ 573297 h 802795"/>
                <a:gd name="connsiteX66" fmla="*/ 667846 w 1066152"/>
                <a:gd name="connsiteY66" fmla="*/ 570735 h 802795"/>
                <a:gd name="connsiteX67" fmla="*/ 839123 w 1066152"/>
                <a:gd name="connsiteY67" fmla="*/ 481146 h 802795"/>
                <a:gd name="connsiteX68" fmla="*/ 839217 w 1066152"/>
                <a:gd name="connsiteY68" fmla="*/ 481287 h 802795"/>
                <a:gd name="connsiteX69" fmla="*/ 839217 w 1066152"/>
                <a:gd name="connsiteY69" fmla="*/ 481498 h 802795"/>
                <a:gd name="connsiteX70" fmla="*/ 839288 w 1066152"/>
                <a:gd name="connsiteY70" fmla="*/ 481710 h 802795"/>
                <a:gd name="connsiteX71" fmla="*/ 843097 w 1066152"/>
                <a:gd name="connsiteY71" fmla="*/ 486742 h 802795"/>
                <a:gd name="connsiteX72" fmla="*/ 846248 w 1066152"/>
                <a:gd name="connsiteY72" fmla="*/ 488294 h 802795"/>
                <a:gd name="connsiteX73" fmla="*/ 846271 w 1066152"/>
                <a:gd name="connsiteY73" fmla="*/ 488246 h 802795"/>
                <a:gd name="connsiteX74" fmla="*/ 849328 w 1066152"/>
                <a:gd name="connsiteY74" fmla="*/ 487001 h 802795"/>
                <a:gd name="connsiteX75" fmla="*/ 850645 w 1066152"/>
                <a:gd name="connsiteY75" fmla="*/ 488529 h 802795"/>
                <a:gd name="connsiteX76" fmla="*/ 850574 w 1066152"/>
                <a:gd name="connsiteY76" fmla="*/ 490528 h 802795"/>
                <a:gd name="connsiteX77" fmla="*/ 848717 w 1066152"/>
                <a:gd name="connsiteY77" fmla="*/ 490927 h 802795"/>
                <a:gd name="connsiteX78" fmla="*/ 846060 w 1066152"/>
                <a:gd name="connsiteY78" fmla="*/ 490881 h 802795"/>
                <a:gd name="connsiteX79" fmla="*/ 842204 w 1066152"/>
                <a:gd name="connsiteY79" fmla="*/ 488553 h 802795"/>
                <a:gd name="connsiteX80" fmla="*/ 840934 w 1066152"/>
                <a:gd name="connsiteY80" fmla="*/ 487942 h 802795"/>
                <a:gd name="connsiteX81" fmla="*/ 839429 w 1066152"/>
                <a:gd name="connsiteY81" fmla="*/ 488952 h 802795"/>
                <a:gd name="connsiteX82" fmla="*/ 838676 w 1066152"/>
                <a:gd name="connsiteY82" fmla="*/ 489446 h 802795"/>
                <a:gd name="connsiteX83" fmla="*/ 837407 w 1066152"/>
                <a:gd name="connsiteY83" fmla="*/ 491163 h 802795"/>
                <a:gd name="connsiteX84" fmla="*/ 836160 w 1066152"/>
                <a:gd name="connsiteY84" fmla="*/ 491868 h 802795"/>
                <a:gd name="connsiteX85" fmla="*/ 835056 w 1066152"/>
                <a:gd name="connsiteY85" fmla="*/ 491562 h 802795"/>
                <a:gd name="connsiteX86" fmla="*/ 835408 w 1066152"/>
                <a:gd name="connsiteY86" fmla="*/ 489705 h 802795"/>
                <a:gd name="connsiteX87" fmla="*/ 835079 w 1066152"/>
                <a:gd name="connsiteY87" fmla="*/ 489000 h 802795"/>
                <a:gd name="connsiteX88" fmla="*/ 835079 w 1066152"/>
                <a:gd name="connsiteY88" fmla="*/ 488035 h 802795"/>
                <a:gd name="connsiteX89" fmla="*/ 835479 w 1066152"/>
                <a:gd name="connsiteY89" fmla="*/ 487424 h 802795"/>
                <a:gd name="connsiteX90" fmla="*/ 835878 w 1066152"/>
                <a:gd name="connsiteY90" fmla="*/ 486578 h 802795"/>
                <a:gd name="connsiteX91" fmla="*/ 835878 w 1066152"/>
                <a:gd name="connsiteY91" fmla="*/ 485849 h 802795"/>
                <a:gd name="connsiteX92" fmla="*/ 835314 w 1066152"/>
                <a:gd name="connsiteY92" fmla="*/ 485520 h 802795"/>
                <a:gd name="connsiteX93" fmla="*/ 835032 w 1066152"/>
                <a:gd name="connsiteY93" fmla="*/ 485167 h 802795"/>
                <a:gd name="connsiteX94" fmla="*/ 835479 w 1066152"/>
                <a:gd name="connsiteY94" fmla="*/ 484461 h 802795"/>
                <a:gd name="connsiteX95" fmla="*/ 836442 w 1066152"/>
                <a:gd name="connsiteY95" fmla="*/ 483427 h 802795"/>
                <a:gd name="connsiteX96" fmla="*/ 837007 w 1066152"/>
                <a:gd name="connsiteY96" fmla="*/ 483968 h 802795"/>
                <a:gd name="connsiteX97" fmla="*/ 837806 w 1066152"/>
                <a:gd name="connsiteY97" fmla="*/ 483662 h 802795"/>
                <a:gd name="connsiteX98" fmla="*/ 838559 w 1066152"/>
                <a:gd name="connsiteY98" fmla="*/ 482603 h 802795"/>
                <a:gd name="connsiteX99" fmla="*/ 838818 w 1066152"/>
                <a:gd name="connsiteY99" fmla="*/ 481193 h 802795"/>
                <a:gd name="connsiteX100" fmla="*/ 845919 w 1066152"/>
                <a:gd name="connsiteY100" fmla="*/ 447639 h 802795"/>
                <a:gd name="connsiteX101" fmla="*/ 847048 w 1066152"/>
                <a:gd name="connsiteY101" fmla="*/ 447709 h 802795"/>
                <a:gd name="connsiteX102" fmla="*/ 848341 w 1066152"/>
                <a:gd name="connsiteY102" fmla="*/ 448672 h 802795"/>
                <a:gd name="connsiteX103" fmla="*/ 848881 w 1066152"/>
                <a:gd name="connsiteY103" fmla="*/ 448837 h 802795"/>
                <a:gd name="connsiteX104" fmla="*/ 850292 w 1066152"/>
                <a:gd name="connsiteY104" fmla="*/ 448931 h 802795"/>
                <a:gd name="connsiteX105" fmla="*/ 851186 w 1066152"/>
                <a:gd name="connsiteY105" fmla="*/ 449119 h 802795"/>
                <a:gd name="connsiteX106" fmla="*/ 851844 w 1066152"/>
                <a:gd name="connsiteY106" fmla="*/ 449566 h 802795"/>
                <a:gd name="connsiteX107" fmla="*/ 852479 w 1066152"/>
                <a:gd name="connsiteY107" fmla="*/ 450201 h 802795"/>
                <a:gd name="connsiteX108" fmla="*/ 852080 w 1066152"/>
                <a:gd name="connsiteY108" fmla="*/ 451024 h 802795"/>
                <a:gd name="connsiteX109" fmla="*/ 852009 w 1066152"/>
                <a:gd name="connsiteY109" fmla="*/ 451000 h 802795"/>
                <a:gd name="connsiteX110" fmla="*/ 852479 w 1066152"/>
                <a:gd name="connsiteY110" fmla="*/ 452858 h 802795"/>
                <a:gd name="connsiteX111" fmla="*/ 853749 w 1066152"/>
                <a:gd name="connsiteY111" fmla="*/ 455915 h 802795"/>
                <a:gd name="connsiteX112" fmla="*/ 852456 w 1066152"/>
                <a:gd name="connsiteY112" fmla="*/ 455986 h 802795"/>
                <a:gd name="connsiteX113" fmla="*/ 851421 w 1066152"/>
                <a:gd name="connsiteY113" fmla="*/ 456738 h 802795"/>
                <a:gd name="connsiteX114" fmla="*/ 850739 w 1066152"/>
                <a:gd name="connsiteY114" fmla="*/ 457914 h 802795"/>
                <a:gd name="connsiteX115" fmla="*/ 850480 w 1066152"/>
                <a:gd name="connsiteY115" fmla="*/ 459348 h 802795"/>
                <a:gd name="connsiteX116" fmla="*/ 850081 w 1066152"/>
                <a:gd name="connsiteY116" fmla="*/ 459913 h 802795"/>
                <a:gd name="connsiteX117" fmla="*/ 847353 w 1066152"/>
                <a:gd name="connsiteY117" fmla="*/ 461582 h 802795"/>
                <a:gd name="connsiteX118" fmla="*/ 844908 w 1066152"/>
                <a:gd name="connsiteY118" fmla="*/ 465038 h 802795"/>
                <a:gd name="connsiteX119" fmla="*/ 843920 w 1066152"/>
                <a:gd name="connsiteY119" fmla="*/ 465815 h 802795"/>
                <a:gd name="connsiteX120" fmla="*/ 841757 w 1066152"/>
                <a:gd name="connsiteY120" fmla="*/ 466873 h 802795"/>
                <a:gd name="connsiteX121" fmla="*/ 840910 w 1066152"/>
                <a:gd name="connsiteY121" fmla="*/ 467813 h 802795"/>
                <a:gd name="connsiteX122" fmla="*/ 840628 w 1066152"/>
                <a:gd name="connsiteY122" fmla="*/ 467460 h 802795"/>
                <a:gd name="connsiteX123" fmla="*/ 840111 w 1066152"/>
                <a:gd name="connsiteY123" fmla="*/ 467014 h 802795"/>
                <a:gd name="connsiteX124" fmla="*/ 839852 w 1066152"/>
                <a:gd name="connsiteY124" fmla="*/ 466614 h 802795"/>
                <a:gd name="connsiteX125" fmla="*/ 838559 w 1066152"/>
                <a:gd name="connsiteY125" fmla="*/ 468143 h 802795"/>
                <a:gd name="connsiteX126" fmla="*/ 837477 w 1066152"/>
                <a:gd name="connsiteY126" fmla="*/ 468683 h 802795"/>
                <a:gd name="connsiteX127" fmla="*/ 836654 w 1066152"/>
                <a:gd name="connsiteY127" fmla="*/ 471811 h 802795"/>
                <a:gd name="connsiteX128" fmla="*/ 836560 w 1066152"/>
                <a:gd name="connsiteY128" fmla="*/ 474068 h 802795"/>
                <a:gd name="connsiteX129" fmla="*/ 834020 w 1066152"/>
                <a:gd name="connsiteY129" fmla="*/ 474115 h 802795"/>
                <a:gd name="connsiteX130" fmla="*/ 833245 w 1066152"/>
                <a:gd name="connsiteY130" fmla="*/ 472258 h 802795"/>
                <a:gd name="connsiteX131" fmla="*/ 831881 w 1066152"/>
                <a:gd name="connsiteY131" fmla="*/ 471293 h 802795"/>
                <a:gd name="connsiteX132" fmla="*/ 830729 w 1066152"/>
                <a:gd name="connsiteY132" fmla="*/ 471717 h 802795"/>
                <a:gd name="connsiteX133" fmla="*/ 830212 w 1066152"/>
                <a:gd name="connsiteY133" fmla="*/ 471717 h 802795"/>
                <a:gd name="connsiteX134" fmla="*/ 829929 w 1066152"/>
                <a:gd name="connsiteY134" fmla="*/ 471599 h 802795"/>
                <a:gd name="connsiteX135" fmla="*/ 829859 w 1066152"/>
                <a:gd name="connsiteY135" fmla="*/ 471529 h 802795"/>
                <a:gd name="connsiteX136" fmla="*/ 829083 w 1066152"/>
                <a:gd name="connsiteY136" fmla="*/ 471717 h 802795"/>
                <a:gd name="connsiteX137" fmla="*/ 828495 w 1066152"/>
                <a:gd name="connsiteY137" fmla="*/ 470541 h 802795"/>
                <a:gd name="connsiteX138" fmla="*/ 827178 w 1066152"/>
                <a:gd name="connsiteY138" fmla="*/ 470164 h 802795"/>
                <a:gd name="connsiteX139" fmla="*/ 825861 w 1066152"/>
                <a:gd name="connsiteY139" fmla="*/ 470565 h 802795"/>
                <a:gd name="connsiteX140" fmla="*/ 825344 w 1066152"/>
                <a:gd name="connsiteY140" fmla="*/ 471717 h 802795"/>
                <a:gd name="connsiteX141" fmla="*/ 822851 w 1066152"/>
                <a:gd name="connsiteY141" fmla="*/ 470164 h 802795"/>
                <a:gd name="connsiteX142" fmla="*/ 821958 w 1066152"/>
                <a:gd name="connsiteY142" fmla="*/ 469201 h 802795"/>
                <a:gd name="connsiteX143" fmla="*/ 821605 w 1066152"/>
                <a:gd name="connsiteY143" fmla="*/ 467531 h 802795"/>
                <a:gd name="connsiteX144" fmla="*/ 822546 w 1066152"/>
                <a:gd name="connsiteY144" fmla="*/ 465320 h 802795"/>
                <a:gd name="connsiteX145" fmla="*/ 822805 w 1066152"/>
                <a:gd name="connsiteY145" fmla="*/ 463980 h 802795"/>
                <a:gd name="connsiteX146" fmla="*/ 822076 w 1066152"/>
                <a:gd name="connsiteY146" fmla="*/ 462852 h 802795"/>
                <a:gd name="connsiteX147" fmla="*/ 822734 w 1066152"/>
                <a:gd name="connsiteY147" fmla="*/ 462287 h 802795"/>
                <a:gd name="connsiteX148" fmla="*/ 823510 w 1066152"/>
                <a:gd name="connsiteY148" fmla="*/ 461840 h 802795"/>
                <a:gd name="connsiteX149" fmla="*/ 824404 w 1066152"/>
                <a:gd name="connsiteY149" fmla="*/ 461723 h 802795"/>
                <a:gd name="connsiteX150" fmla="*/ 825320 w 1066152"/>
                <a:gd name="connsiteY150" fmla="*/ 462217 h 802795"/>
                <a:gd name="connsiteX151" fmla="*/ 825884 w 1066152"/>
                <a:gd name="connsiteY151" fmla="*/ 461746 h 802795"/>
                <a:gd name="connsiteX152" fmla="*/ 826637 w 1066152"/>
                <a:gd name="connsiteY152" fmla="*/ 461582 h 802795"/>
                <a:gd name="connsiteX153" fmla="*/ 828519 w 1066152"/>
                <a:gd name="connsiteY153" fmla="*/ 461582 h 802795"/>
                <a:gd name="connsiteX154" fmla="*/ 827836 w 1066152"/>
                <a:gd name="connsiteY154" fmla="*/ 457702 h 802795"/>
                <a:gd name="connsiteX155" fmla="*/ 827884 w 1066152"/>
                <a:gd name="connsiteY155" fmla="*/ 455539 h 802795"/>
                <a:gd name="connsiteX156" fmla="*/ 828801 w 1066152"/>
                <a:gd name="connsiteY156" fmla="*/ 454598 h 802795"/>
                <a:gd name="connsiteX157" fmla="*/ 829835 w 1066152"/>
                <a:gd name="connsiteY157" fmla="*/ 454222 h 802795"/>
                <a:gd name="connsiteX158" fmla="*/ 831011 w 1066152"/>
                <a:gd name="connsiteY158" fmla="*/ 453328 h 802795"/>
                <a:gd name="connsiteX159" fmla="*/ 832916 w 1066152"/>
                <a:gd name="connsiteY159" fmla="*/ 451447 h 802795"/>
                <a:gd name="connsiteX160" fmla="*/ 833409 w 1066152"/>
                <a:gd name="connsiteY160" fmla="*/ 451447 h 802795"/>
                <a:gd name="connsiteX161" fmla="*/ 834138 w 1066152"/>
                <a:gd name="connsiteY161" fmla="*/ 452036 h 802795"/>
                <a:gd name="connsiteX162" fmla="*/ 835690 w 1066152"/>
                <a:gd name="connsiteY162" fmla="*/ 450930 h 802795"/>
                <a:gd name="connsiteX163" fmla="*/ 836584 w 1066152"/>
                <a:gd name="connsiteY163" fmla="*/ 451447 h 802795"/>
                <a:gd name="connsiteX164" fmla="*/ 838135 w 1066152"/>
                <a:gd name="connsiteY164" fmla="*/ 450248 h 802795"/>
                <a:gd name="connsiteX165" fmla="*/ 840299 w 1066152"/>
                <a:gd name="connsiteY165" fmla="*/ 449213 h 802795"/>
                <a:gd name="connsiteX166" fmla="*/ 842486 w 1066152"/>
                <a:gd name="connsiteY166" fmla="*/ 448672 h 802795"/>
                <a:gd name="connsiteX167" fmla="*/ 844108 w 1066152"/>
                <a:gd name="connsiteY167" fmla="*/ 448931 h 802795"/>
                <a:gd name="connsiteX168" fmla="*/ 844814 w 1066152"/>
                <a:gd name="connsiteY168" fmla="*/ 448061 h 802795"/>
                <a:gd name="connsiteX169" fmla="*/ 959985 w 1066152"/>
                <a:gd name="connsiteY169" fmla="*/ 441501 h 802795"/>
                <a:gd name="connsiteX170" fmla="*/ 960362 w 1066152"/>
                <a:gd name="connsiteY170" fmla="*/ 443288 h 802795"/>
                <a:gd name="connsiteX171" fmla="*/ 960127 w 1066152"/>
                <a:gd name="connsiteY171" fmla="*/ 445781 h 802795"/>
                <a:gd name="connsiteX172" fmla="*/ 958551 w 1066152"/>
                <a:gd name="connsiteY172" fmla="*/ 447921 h 802795"/>
                <a:gd name="connsiteX173" fmla="*/ 956106 w 1066152"/>
                <a:gd name="connsiteY173" fmla="*/ 447732 h 802795"/>
                <a:gd name="connsiteX174" fmla="*/ 954766 w 1066152"/>
                <a:gd name="connsiteY174" fmla="*/ 444605 h 802795"/>
                <a:gd name="connsiteX175" fmla="*/ 956858 w 1066152"/>
                <a:gd name="connsiteY175" fmla="*/ 442747 h 802795"/>
                <a:gd name="connsiteX176" fmla="*/ 975575 w 1066152"/>
                <a:gd name="connsiteY176" fmla="*/ 368608 h 802795"/>
                <a:gd name="connsiteX177" fmla="*/ 976633 w 1066152"/>
                <a:gd name="connsiteY177" fmla="*/ 369877 h 802795"/>
                <a:gd name="connsiteX178" fmla="*/ 977034 w 1066152"/>
                <a:gd name="connsiteY178" fmla="*/ 369478 h 802795"/>
                <a:gd name="connsiteX179" fmla="*/ 977268 w 1066152"/>
                <a:gd name="connsiteY179" fmla="*/ 369359 h 802795"/>
                <a:gd name="connsiteX180" fmla="*/ 978280 w 1066152"/>
                <a:gd name="connsiteY180" fmla="*/ 369854 h 802795"/>
                <a:gd name="connsiteX181" fmla="*/ 977456 w 1066152"/>
                <a:gd name="connsiteY181" fmla="*/ 370418 h 802795"/>
                <a:gd name="connsiteX182" fmla="*/ 974706 w 1066152"/>
                <a:gd name="connsiteY182" fmla="*/ 371617 h 802795"/>
                <a:gd name="connsiteX183" fmla="*/ 973694 w 1066152"/>
                <a:gd name="connsiteY183" fmla="*/ 371829 h 802795"/>
                <a:gd name="connsiteX184" fmla="*/ 972542 w 1066152"/>
                <a:gd name="connsiteY184" fmla="*/ 372393 h 802795"/>
                <a:gd name="connsiteX185" fmla="*/ 971484 w 1066152"/>
                <a:gd name="connsiteY185" fmla="*/ 373451 h 802795"/>
                <a:gd name="connsiteX186" fmla="*/ 970543 w 1066152"/>
                <a:gd name="connsiteY186" fmla="*/ 374180 h 802795"/>
                <a:gd name="connsiteX187" fmla="*/ 969673 w 1066152"/>
                <a:gd name="connsiteY187" fmla="*/ 373733 h 802795"/>
                <a:gd name="connsiteX188" fmla="*/ 969086 w 1066152"/>
                <a:gd name="connsiteY188" fmla="*/ 373733 h 802795"/>
                <a:gd name="connsiteX189" fmla="*/ 968921 w 1066152"/>
                <a:gd name="connsiteY189" fmla="*/ 376767 h 802795"/>
                <a:gd name="connsiteX190" fmla="*/ 971696 w 1066152"/>
                <a:gd name="connsiteY190" fmla="*/ 377213 h 802795"/>
                <a:gd name="connsiteX191" fmla="*/ 977692 w 1066152"/>
                <a:gd name="connsiteY191" fmla="*/ 375662 h 802795"/>
                <a:gd name="connsiteX192" fmla="*/ 977692 w 1066152"/>
                <a:gd name="connsiteY192" fmla="*/ 376249 h 802795"/>
                <a:gd name="connsiteX193" fmla="*/ 976915 w 1066152"/>
                <a:gd name="connsiteY193" fmla="*/ 376790 h 802795"/>
                <a:gd name="connsiteX194" fmla="*/ 976822 w 1066152"/>
                <a:gd name="connsiteY194" fmla="*/ 377402 h 802795"/>
                <a:gd name="connsiteX195" fmla="*/ 976892 w 1066152"/>
                <a:gd name="connsiteY195" fmla="*/ 378107 h 802795"/>
                <a:gd name="connsiteX196" fmla="*/ 976633 w 1066152"/>
                <a:gd name="connsiteY196" fmla="*/ 378813 h 802795"/>
                <a:gd name="connsiteX197" fmla="*/ 976163 w 1066152"/>
                <a:gd name="connsiteY197" fmla="*/ 379306 h 802795"/>
                <a:gd name="connsiteX198" fmla="*/ 975716 w 1066152"/>
                <a:gd name="connsiteY198" fmla="*/ 379589 h 802795"/>
                <a:gd name="connsiteX199" fmla="*/ 974447 w 1066152"/>
                <a:gd name="connsiteY199" fmla="*/ 380105 h 802795"/>
                <a:gd name="connsiteX200" fmla="*/ 971978 w 1066152"/>
                <a:gd name="connsiteY200" fmla="*/ 380693 h 802795"/>
                <a:gd name="connsiteX201" fmla="*/ 971414 w 1066152"/>
                <a:gd name="connsiteY201" fmla="*/ 381399 h 802795"/>
                <a:gd name="connsiteX202" fmla="*/ 971296 w 1066152"/>
                <a:gd name="connsiteY202" fmla="*/ 383351 h 802795"/>
                <a:gd name="connsiteX203" fmla="*/ 972213 w 1066152"/>
                <a:gd name="connsiteY203" fmla="*/ 385443 h 802795"/>
                <a:gd name="connsiteX204" fmla="*/ 974259 w 1066152"/>
                <a:gd name="connsiteY204" fmla="*/ 387277 h 802795"/>
                <a:gd name="connsiteX205" fmla="*/ 976775 w 1066152"/>
                <a:gd name="connsiteY205" fmla="*/ 388594 h 802795"/>
                <a:gd name="connsiteX206" fmla="*/ 979055 w 1066152"/>
                <a:gd name="connsiteY206" fmla="*/ 389088 h 802795"/>
                <a:gd name="connsiteX207" fmla="*/ 984417 w 1066152"/>
                <a:gd name="connsiteY207" fmla="*/ 389088 h 802795"/>
                <a:gd name="connsiteX208" fmla="*/ 985780 w 1066152"/>
                <a:gd name="connsiteY208" fmla="*/ 388594 h 802795"/>
                <a:gd name="connsiteX209" fmla="*/ 988156 w 1066152"/>
                <a:gd name="connsiteY209" fmla="*/ 386360 h 802795"/>
                <a:gd name="connsiteX210" fmla="*/ 989260 w 1066152"/>
                <a:gd name="connsiteY210" fmla="*/ 385843 h 802795"/>
                <a:gd name="connsiteX211" fmla="*/ 991494 w 1066152"/>
                <a:gd name="connsiteY211" fmla="*/ 386454 h 802795"/>
                <a:gd name="connsiteX212" fmla="*/ 995915 w 1066152"/>
                <a:gd name="connsiteY212" fmla="*/ 388876 h 802795"/>
                <a:gd name="connsiteX213" fmla="*/ 996056 w 1066152"/>
                <a:gd name="connsiteY213" fmla="*/ 388994 h 802795"/>
                <a:gd name="connsiteX214" fmla="*/ 998760 w 1066152"/>
                <a:gd name="connsiteY214" fmla="*/ 389205 h 802795"/>
                <a:gd name="connsiteX215" fmla="*/ 998313 w 1066152"/>
                <a:gd name="connsiteY215" fmla="*/ 390170 h 802795"/>
                <a:gd name="connsiteX216" fmla="*/ 998384 w 1066152"/>
                <a:gd name="connsiteY216" fmla="*/ 390945 h 802795"/>
                <a:gd name="connsiteX217" fmla="*/ 998643 w 1066152"/>
                <a:gd name="connsiteY217" fmla="*/ 391651 h 802795"/>
                <a:gd name="connsiteX218" fmla="*/ 998784 w 1066152"/>
                <a:gd name="connsiteY218" fmla="*/ 392404 h 802795"/>
                <a:gd name="connsiteX219" fmla="*/ 998478 w 1066152"/>
                <a:gd name="connsiteY219" fmla="*/ 392897 h 802795"/>
                <a:gd name="connsiteX220" fmla="*/ 997985 w 1066152"/>
                <a:gd name="connsiteY220" fmla="*/ 393273 h 802795"/>
                <a:gd name="connsiteX221" fmla="*/ 997772 w 1066152"/>
                <a:gd name="connsiteY221" fmla="*/ 393862 h 802795"/>
                <a:gd name="connsiteX222" fmla="*/ 998243 w 1066152"/>
                <a:gd name="connsiteY222" fmla="*/ 395037 h 802795"/>
                <a:gd name="connsiteX223" fmla="*/ 997185 w 1066152"/>
                <a:gd name="connsiteY223" fmla="*/ 397624 h 802795"/>
                <a:gd name="connsiteX224" fmla="*/ 996362 w 1066152"/>
                <a:gd name="connsiteY224" fmla="*/ 398917 h 802795"/>
                <a:gd name="connsiteX225" fmla="*/ 995327 w 1066152"/>
                <a:gd name="connsiteY225" fmla="*/ 399458 h 802795"/>
                <a:gd name="connsiteX226" fmla="*/ 994010 w 1066152"/>
                <a:gd name="connsiteY226" fmla="*/ 399905 h 802795"/>
                <a:gd name="connsiteX227" fmla="*/ 993141 w 1066152"/>
                <a:gd name="connsiteY227" fmla="*/ 401010 h 802795"/>
                <a:gd name="connsiteX228" fmla="*/ 992882 w 1066152"/>
                <a:gd name="connsiteY228" fmla="*/ 402444 h 802795"/>
                <a:gd name="connsiteX229" fmla="*/ 993446 w 1066152"/>
                <a:gd name="connsiteY229" fmla="*/ 403902 h 802795"/>
                <a:gd name="connsiteX230" fmla="*/ 990272 w 1066152"/>
                <a:gd name="connsiteY230" fmla="*/ 406606 h 802795"/>
                <a:gd name="connsiteX231" fmla="*/ 986980 w 1066152"/>
                <a:gd name="connsiteY231" fmla="*/ 410251 h 802795"/>
                <a:gd name="connsiteX232" fmla="*/ 984510 w 1066152"/>
                <a:gd name="connsiteY232" fmla="*/ 414719 h 802795"/>
                <a:gd name="connsiteX233" fmla="*/ 983782 w 1066152"/>
                <a:gd name="connsiteY233" fmla="*/ 419892 h 802795"/>
                <a:gd name="connsiteX234" fmla="*/ 983005 w 1066152"/>
                <a:gd name="connsiteY234" fmla="*/ 419445 h 802795"/>
                <a:gd name="connsiteX235" fmla="*/ 982700 w 1066152"/>
                <a:gd name="connsiteY235" fmla="*/ 419186 h 802795"/>
                <a:gd name="connsiteX236" fmla="*/ 981431 w 1066152"/>
                <a:gd name="connsiteY236" fmla="*/ 423019 h 802795"/>
                <a:gd name="connsiteX237" fmla="*/ 978961 w 1066152"/>
                <a:gd name="connsiteY237" fmla="*/ 425464 h 802795"/>
                <a:gd name="connsiteX238" fmla="*/ 971790 w 1066152"/>
                <a:gd name="connsiteY238" fmla="*/ 429556 h 802795"/>
                <a:gd name="connsiteX239" fmla="*/ 968780 w 1066152"/>
                <a:gd name="connsiteY239" fmla="*/ 431930 h 802795"/>
                <a:gd name="connsiteX240" fmla="*/ 968169 w 1066152"/>
                <a:gd name="connsiteY240" fmla="*/ 432848 h 802795"/>
                <a:gd name="connsiteX241" fmla="*/ 967839 w 1066152"/>
                <a:gd name="connsiteY241" fmla="*/ 433154 h 802795"/>
                <a:gd name="connsiteX242" fmla="*/ 967134 w 1066152"/>
                <a:gd name="connsiteY242" fmla="*/ 433623 h 802795"/>
                <a:gd name="connsiteX243" fmla="*/ 966405 w 1066152"/>
                <a:gd name="connsiteY243" fmla="*/ 433859 h 802795"/>
                <a:gd name="connsiteX244" fmla="*/ 966075 w 1066152"/>
                <a:gd name="connsiteY244" fmla="*/ 433483 h 802795"/>
                <a:gd name="connsiteX245" fmla="*/ 963935 w 1066152"/>
                <a:gd name="connsiteY245" fmla="*/ 430567 h 802795"/>
                <a:gd name="connsiteX246" fmla="*/ 963442 w 1066152"/>
                <a:gd name="connsiteY246" fmla="*/ 430237 h 802795"/>
                <a:gd name="connsiteX247" fmla="*/ 962219 w 1066152"/>
                <a:gd name="connsiteY247" fmla="*/ 429721 h 802795"/>
                <a:gd name="connsiteX248" fmla="*/ 961749 w 1066152"/>
                <a:gd name="connsiteY248" fmla="*/ 429344 h 802795"/>
                <a:gd name="connsiteX249" fmla="*/ 961396 w 1066152"/>
                <a:gd name="connsiteY249" fmla="*/ 428475 h 802795"/>
                <a:gd name="connsiteX250" fmla="*/ 961232 w 1066152"/>
                <a:gd name="connsiteY250" fmla="*/ 427463 h 802795"/>
                <a:gd name="connsiteX251" fmla="*/ 960973 w 1066152"/>
                <a:gd name="connsiteY251" fmla="*/ 426593 h 802795"/>
                <a:gd name="connsiteX252" fmla="*/ 960409 w 1066152"/>
                <a:gd name="connsiteY252" fmla="*/ 426217 h 802795"/>
                <a:gd name="connsiteX253" fmla="*/ 959657 w 1066152"/>
                <a:gd name="connsiteY253" fmla="*/ 426005 h 802795"/>
                <a:gd name="connsiteX254" fmla="*/ 958434 w 1066152"/>
                <a:gd name="connsiteY254" fmla="*/ 425111 h 802795"/>
                <a:gd name="connsiteX255" fmla="*/ 957751 w 1066152"/>
                <a:gd name="connsiteY255" fmla="*/ 424900 h 802795"/>
                <a:gd name="connsiteX256" fmla="*/ 956812 w 1066152"/>
                <a:gd name="connsiteY256" fmla="*/ 424994 h 802795"/>
                <a:gd name="connsiteX257" fmla="*/ 955565 w 1066152"/>
                <a:gd name="connsiteY257" fmla="*/ 425417 h 802795"/>
                <a:gd name="connsiteX258" fmla="*/ 954812 w 1066152"/>
                <a:gd name="connsiteY258" fmla="*/ 425512 h 802795"/>
                <a:gd name="connsiteX259" fmla="*/ 947993 w 1066152"/>
                <a:gd name="connsiteY259" fmla="*/ 425065 h 802795"/>
                <a:gd name="connsiteX260" fmla="*/ 944960 w 1066152"/>
                <a:gd name="connsiteY260" fmla="*/ 423913 h 802795"/>
                <a:gd name="connsiteX261" fmla="*/ 943009 w 1066152"/>
                <a:gd name="connsiteY261" fmla="*/ 421655 h 802795"/>
                <a:gd name="connsiteX262" fmla="*/ 942185 w 1066152"/>
                <a:gd name="connsiteY262" fmla="*/ 416576 h 802795"/>
                <a:gd name="connsiteX263" fmla="*/ 941033 w 1066152"/>
                <a:gd name="connsiteY263" fmla="*/ 415894 h 802795"/>
                <a:gd name="connsiteX264" fmla="*/ 941268 w 1066152"/>
                <a:gd name="connsiteY264" fmla="*/ 414389 h 802795"/>
                <a:gd name="connsiteX265" fmla="*/ 942468 w 1066152"/>
                <a:gd name="connsiteY265" fmla="*/ 412132 h 802795"/>
                <a:gd name="connsiteX266" fmla="*/ 941574 w 1066152"/>
                <a:gd name="connsiteY266" fmla="*/ 410204 h 802795"/>
                <a:gd name="connsiteX267" fmla="*/ 939341 w 1066152"/>
                <a:gd name="connsiteY267" fmla="*/ 408346 h 802795"/>
                <a:gd name="connsiteX268" fmla="*/ 936730 w 1066152"/>
                <a:gd name="connsiteY268" fmla="*/ 406935 h 802795"/>
                <a:gd name="connsiteX269" fmla="*/ 934661 w 1066152"/>
                <a:gd name="connsiteY269" fmla="*/ 406371 h 802795"/>
                <a:gd name="connsiteX270" fmla="*/ 932944 w 1066152"/>
                <a:gd name="connsiteY270" fmla="*/ 406864 h 802795"/>
                <a:gd name="connsiteX271" fmla="*/ 927912 w 1066152"/>
                <a:gd name="connsiteY271" fmla="*/ 409451 h 802795"/>
                <a:gd name="connsiteX272" fmla="*/ 926854 w 1066152"/>
                <a:gd name="connsiteY272" fmla="*/ 410509 h 802795"/>
                <a:gd name="connsiteX273" fmla="*/ 926008 w 1066152"/>
                <a:gd name="connsiteY273" fmla="*/ 413025 h 802795"/>
                <a:gd name="connsiteX274" fmla="*/ 924079 w 1066152"/>
                <a:gd name="connsiteY274" fmla="*/ 414883 h 802795"/>
                <a:gd name="connsiteX275" fmla="*/ 921916 w 1066152"/>
                <a:gd name="connsiteY275" fmla="*/ 415118 h 802795"/>
                <a:gd name="connsiteX276" fmla="*/ 920435 w 1066152"/>
                <a:gd name="connsiteY276" fmla="*/ 412743 h 802795"/>
                <a:gd name="connsiteX277" fmla="*/ 920271 w 1066152"/>
                <a:gd name="connsiteY277" fmla="*/ 412532 h 802795"/>
                <a:gd name="connsiteX278" fmla="*/ 920059 w 1066152"/>
                <a:gd name="connsiteY278" fmla="*/ 411802 h 802795"/>
                <a:gd name="connsiteX279" fmla="*/ 920317 w 1066152"/>
                <a:gd name="connsiteY279" fmla="*/ 411215 h 802795"/>
                <a:gd name="connsiteX280" fmla="*/ 920976 w 1066152"/>
                <a:gd name="connsiteY280" fmla="*/ 410839 h 802795"/>
                <a:gd name="connsiteX281" fmla="*/ 918883 w 1066152"/>
                <a:gd name="connsiteY281" fmla="*/ 408864 h 802795"/>
                <a:gd name="connsiteX282" fmla="*/ 918248 w 1066152"/>
                <a:gd name="connsiteY282" fmla="*/ 409663 h 802795"/>
                <a:gd name="connsiteX283" fmla="*/ 917637 w 1066152"/>
                <a:gd name="connsiteY283" fmla="*/ 409992 h 802795"/>
                <a:gd name="connsiteX284" fmla="*/ 917096 w 1066152"/>
                <a:gd name="connsiteY284" fmla="*/ 409757 h 802795"/>
                <a:gd name="connsiteX285" fmla="*/ 916696 w 1066152"/>
                <a:gd name="connsiteY285" fmla="*/ 408864 h 802795"/>
                <a:gd name="connsiteX286" fmla="*/ 914533 w 1066152"/>
                <a:gd name="connsiteY286" fmla="*/ 410015 h 802795"/>
                <a:gd name="connsiteX287" fmla="*/ 914016 w 1066152"/>
                <a:gd name="connsiteY287" fmla="*/ 410133 h 802795"/>
                <a:gd name="connsiteX288" fmla="*/ 913263 w 1066152"/>
                <a:gd name="connsiteY288" fmla="*/ 409616 h 802795"/>
                <a:gd name="connsiteX289" fmla="*/ 912605 w 1066152"/>
                <a:gd name="connsiteY289" fmla="*/ 407946 h 802795"/>
                <a:gd name="connsiteX290" fmla="*/ 911194 w 1066152"/>
                <a:gd name="connsiteY290" fmla="*/ 406888 h 802795"/>
                <a:gd name="connsiteX291" fmla="*/ 910794 w 1066152"/>
                <a:gd name="connsiteY291" fmla="*/ 405219 h 802795"/>
                <a:gd name="connsiteX292" fmla="*/ 910865 w 1066152"/>
                <a:gd name="connsiteY292" fmla="*/ 403338 h 802795"/>
                <a:gd name="connsiteX293" fmla="*/ 911335 w 1066152"/>
                <a:gd name="connsiteY293" fmla="*/ 401927 h 802795"/>
                <a:gd name="connsiteX294" fmla="*/ 916931 w 1066152"/>
                <a:gd name="connsiteY294" fmla="*/ 398705 h 802795"/>
                <a:gd name="connsiteX295" fmla="*/ 918578 w 1066152"/>
                <a:gd name="connsiteY295" fmla="*/ 398352 h 802795"/>
                <a:gd name="connsiteX296" fmla="*/ 919964 w 1066152"/>
                <a:gd name="connsiteY296" fmla="*/ 397506 h 802795"/>
                <a:gd name="connsiteX297" fmla="*/ 923821 w 1066152"/>
                <a:gd name="connsiteY297" fmla="*/ 393720 h 802795"/>
                <a:gd name="connsiteX298" fmla="*/ 924973 w 1066152"/>
                <a:gd name="connsiteY298" fmla="*/ 393133 h 802795"/>
                <a:gd name="connsiteX299" fmla="*/ 926525 w 1066152"/>
                <a:gd name="connsiteY299" fmla="*/ 392921 h 802795"/>
                <a:gd name="connsiteX300" fmla="*/ 927889 w 1066152"/>
                <a:gd name="connsiteY300" fmla="*/ 392521 h 802795"/>
                <a:gd name="connsiteX301" fmla="*/ 929205 w 1066152"/>
                <a:gd name="connsiteY301" fmla="*/ 391510 h 802795"/>
                <a:gd name="connsiteX302" fmla="*/ 931627 w 1066152"/>
                <a:gd name="connsiteY302" fmla="*/ 389088 h 802795"/>
                <a:gd name="connsiteX303" fmla="*/ 931957 w 1066152"/>
                <a:gd name="connsiteY303" fmla="*/ 388641 h 802795"/>
                <a:gd name="connsiteX304" fmla="*/ 932521 w 1066152"/>
                <a:gd name="connsiteY304" fmla="*/ 387489 h 802795"/>
                <a:gd name="connsiteX305" fmla="*/ 932686 w 1066152"/>
                <a:gd name="connsiteY305" fmla="*/ 387183 h 802795"/>
                <a:gd name="connsiteX306" fmla="*/ 933062 w 1066152"/>
                <a:gd name="connsiteY306" fmla="*/ 387089 h 802795"/>
                <a:gd name="connsiteX307" fmla="*/ 933955 w 1066152"/>
                <a:gd name="connsiteY307" fmla="*/ 387254 h 802795"/>
                <a:gd name="connsiteX308" fmla="*/ 934308 w 1066152"/>
                <a:gd name="connsiteY308" fmla="*/ 387160 h 802795"/>
                <a:gd name="connsiteX309" fmla="*/ 936189 w 1066152"/>
                <a:gd name="connsiteY309" fmla="*/ 385396 h 802795"/>
                <a:gd name="connsiteX310" fmla="*/ 936424 w 1066152"/>
                <a:gd name="connsiteY310" fmla="*/ 384949 h 802795"/>
                <a:gd name="connsiteX311" fmla="*/ 936777 w 1066152"/>
                <a:gd name="connsiteY311" fmla="*/ 384738 h 802795"/>
                <a:gd name="connsiteX312" fmla="*/ 938376 w 1066152"/>
                <a:gd name="connsiteY312" fmla="*/ 383068 h 802795"/>
                <a:gd name="connsiteX313" fmla="*/ 938894 w 1066152"/>
                <a:gd name="connsiteY313" fmla="*/ 382669 h 802795"/>
                <a:gd name="connsiteX314" fmla="*/ 939458 w 1066152"/>
                <a:gd name="connsiteY314" fmla="*/ 382504 h 802795"/>
                <a:gd name="connsiteX315" fmla="*/ 941763 w 1066152"/>
                <a:gd name="connsiteY315" fmla="*/ 381446 h 802795"/>
                <a:gd name="connsiteX316" fmla="*/ 942891 w 1066152"/>
                <a:gd name="connsiteY316" fmla="*/ 380623 h 802795"/>
                <a:gd name="connsiteX317" fmla="*/ 943784 w 1066152"/>
                <a:gd name="connsiteY317" fmla="*/ 379777 h 802795"/>
                <a:gd name="connsiteX318" fmla="*/ 944701 w 1066152"/>
                <a:gd name="connsiteY318" fmla="*/ 379118 h 802795"/>
                <a:gd name="connsiteX319" fmla="*/ 945878 w 1066152"/>
                <a:gd name="connsiteY319" fmla="*/ 378836 h 802795"/>
                <a:gd name="connsiteX320" fmla="*/ 946160 w 1066152"/>
                <a:gd name="connsiteY320" fmla="*/ 378648 h 802795"/>
                <a:gd name="connsiteX321" fmla="*/ 946653 w 1066152"/>
                <a:gd name="connsiteY321" fmla="*/ 377825 h 802795"/>
                <a:gd name="connsiteX322" fmla="*/ 946935 w 1066152"/>
                <a:gd name="connsiteY322" fmla="*/ 377613 h 802795"/>
                <a:gd name="connsiteX323" fmla="*/ 948582 w 1066152"/>
                <a:gd name="connsiteY323" fmla="*/ 377754 h 802795"/>
                <a:gd name="connsiteX324" fmla="*/ 949310 w 1066152"/>
                <a:gd name="connsiteY324" fmla="*/ 377613 h 802795"/>
                <a:gd name="connsiteX325" fmla="*/ 951615 w 1066152"/>
                <a:gd name="connsiteY325" fmla="*/ 376602 h 802795"/>
                <a:gd name="connsiteX326" fmla="*/ 956317 w 1066152"/>
                <a:gd name="connsiteY326" fmla="*/ 373687 h 802795"/>
                <a:gd name="connsiteX327" fmla="*/ 958739 w 1066152"/>
                <a:gd name="connsiteY327" fmla="*/ 373098 h 802795"/>
                <a:gd name="connsiteX328" fmla="*/ 963136 w 1066152"/>
                <a:gd name="connsiteY328" fmla="*/ 372699 h 802795"/>
                <a:gd name="connsiteX329" fmla="*/ 967463 w 1066152"/>
                <a:gd name="connsiteY329" fmla="*/ 371664 h 802795"/>
                <a:gd name="connsiteX330" fmla="*/ 1047975 w 1066152"/>
                <a:gd name="connsiteY330" fmla="*/ 358238 h 802795"/>
                <a:gd name="connsiteX331" fmla="*/ 1048187 w 1066152"/>
                <a:gd name="connsiteY331" fmla="*/ 359342 h 802795"/>
                <a:gd name="connsiteX332" fmla="*/ 1048892 w 1066152"/>
                <a:gd name="connsiteY332" fmla="*/ 360095 h 802795"/>
                <a:gd name="connsiteX333" fmla="*/ 1050632 w 1066152"/>
                <a:gd name="connsiteY333" fmla="*/ 361388 h 802795"/>
                <a:gd name="connsiteX334" fmla="*/ 1050468 w 1066152"/>
                <a:gd name="connsiteY334" fmla="*/ 361670 h 802795"/>
                <a:gd name="connsiteX335" fmla="*/ 1050303 w 1066152"/>
                <a:gd name="connsiteY335" fmla="*/ 362353 h 802795"/>
                <a:gd name="connsiteX336" fmla="*/ 1050350 w 1066152"/>
                <a:gd name="connsiteY336" fmla="*/ 363058 h 802795"/>
                <a:gd name="connsiteX337" fmla="*/ 1050891 w 1066152"/>
                <a:gd name="connsiteY337" fmla="*/ 363363 h 802795"/>
                <a:gd name="connsiteX338" fmla="*/ 1051385 w 1066152"/>
                <a:gd name="connsiteY338" fmla="*/ 363081 h 802795"/>
                <a:gd name="connsiteX339" fmla="*/ 1051973 w 1066152"/>
                <a:gd name="connsiteY339" fmla="*/ 362446 h 802795"/>
                <a:gd name="connsiteX340" fmla="*/ 1052748 w 1066152"/>
                <a:gd name="connsiteY340" fmla="*/ 361388 h 802795"/>
                <a:gd name="connsiteX341" fmla="*/ 1052584 w 1066152"/>
                <a:gd name="connsiteY341" fmla="*/ 360025 h 802795"/>
                <a:gd name="connsiteX342" fmla="*/ 1053101 w 1066152"/>
                <a:gd name="connsiteY342" fmla="*/ 359649 h 802795"/>
                <a:gd name="connsiteX343" fmla="*/ 1053572 w 1066152"/>
                <a:gd name="connsiteY343" fmla="*/ 360142 h 802795"/>
                <a:gd name="connsiteX344" fmla="*/ 1053266 w 1066152"/>
                <a:gd name="connsiteY344" fmla="*/ 361388 h 802795"/>
                <a:gd name="connsiteX345" fmla="*/ 1053736 w 1066152"/>
                <a:gd name="connsiteY345" fmla="*/ 362047 h 802795"/>
                <a:gd name="connsiteX346" fmla="*/ 1055923 w 1066152"/>
                <a:gd name="connsiteY346" fmla="*/ 363363 h 802795"/>
                <a:gd name="connsiteX347" fmla="*/ 1056370 w 1066152"/>
                <a:gd name="connsiteY347" fmla="*/ 364069 h 802795"/>
                <a:gd name="connsiteX348" fmla="*/ 1056723 w 1066152"/>
                <a:gd name="connsiteY348" fmla="*/ 364515 h 802795"/>
                <a:gd name="connsiteX349" fmla="*/ 1057522 w 1066152"/>
                <a:gd name="connsiteY349" fmla="*/ 365244 h 802795"/>
                <a:gd name="connsiteX350" fmla="*/ 1057945 w 1066152"/>
                <a:gd name="connsiteY350" fmla="*/ 365433 h 802795"/>
                <a:gd name="connsiteX351" fmla="*/ 1059097 w 1066152"/>
                <a:gd name="connsiteY351" fmla="*/ 365645 h 802795"/>
                <a:gd name="connsiteX352" fmla="*/ 1059662 w 1066152"/>
                <a:gd name="connsiteY352" fmla="*/ 365927 h 802795"/>
                <a:gd name="connsiteX353" fmla="*/ 1060461 w 1066152"/>
                <a:gd name="connsiteY353" fmla="*/ 366961 h 802795"/>
                <a:gd name="connsiteX354" fmla="*/ 1061120 w 1066152"/>
                <a:gd name="connsiteY354" fmla="*/ 368513 h 802795"/>
                <a:gd name="connsiteX355" fmla="*/ 1061049 w 1066152"/>
                <a:gd name="connsiteY355" fmla="*/ 369877 h 802795"/>
                <a:gd name="connsiteX356" fmla="*/ 1059662 w 1066152"/>
                <a:gd name="connsiteY356" fmla="*/ 370394 h 802795"/>
                <a:gd name="connsiteX357" fmla="*/ 1060884 w 1066152"/>
                <a:gd name="connsiteY357" fmla="*/ 370959 h 802795"/>
                <a:gd name="connsiteX358" fmla="*/ 1062107 w 1066152"/>
                <a:gd name="connsiteY358" fmla="*/ 370888 h 802795"/>
                <a:gd name="connsiteX359" fmla="*/ 1063047 w 1066152"/>
                <a:gd name="connsiteY359" fmla="*/ 371123 h 802795"/>
                <a:gd name="connsiteX360" fmla="*/ 1063424 w 1066152"/>
                <a:gd name="connsiteY360" fmla="*/ 372675 h 802795"/>
                <a:gd name="connsiteX361" fmla="*/ 1063777 w 1066152"/>
                <a:gd name="connsiteY361" fmla="*/ 374063 h 802795"/>
                <a:gd name="connsiteX362" fmla="*/ 1065446 w 1066152"/>
                <a:gd name="connsiteY362" fmla="*/ 376602 h 802795"/>
                <a:gd name="connsiteX363" fmla="*/ 1065494 w 1066152"/>
                <a:gd name="connsiteY363" fmla="*/ 376578 h 802795"/>
                <a:gd name="connsiteX364" fmla="*/ 1066152 w 1066152"/>
                <a:gd name="connsiteY364" fmla="*/ 378107 h 802795"/>
                <a:gd name="connsiteX365" fmla="*/ 1065611 w 1066152"/>
                <a:gd name="connsiteY365" fmla="*/ 378107 h 802795"/>
                <a:gd name="connsiteX366" fmla="*/ 1065305 w 1066152"/>
                <a:gd name="connsiteY366" fmla="*/ 377519 h 802795"/>
                <a:gd name="connsiteX367" fmla="*/ 1064788 w 1066152"/>
                <a:gd name="connsiteY367" fmla="*/ 376978 h 802795"/>
                <a:gd name="connsiteX368" fmla="*/ 1064176 w 1066152"/>
                <a:gd name="connsiteY368" fmla="*/ 376531 h 802795"/>
                <a:gd name="connsiteX369" fmla="*/ 1063471 w 1066152"/>
                <a:gd name="connsiteY369" fmla="*/ 376203 h 802795"/>
                <a:gd name="connsiteX370" fmla="*/ 1063236 w 1066152"/>
                <a:gd name="connsiteY370" fmla="*/ 382339 h 802795"/>
                <a:gd name="connsiteX371" fmla="*/ 1059168 w 1066152"/>
                <a:gd name="connsiteY371" fmla="*/ 382833 h 802795"/>
                <a:gd name="connsiteX372" fmla="*/ 1053618 w 1066152"/>
                <a:gd name="connsiteY372" fmla="*/ 380318 h 802795"/>
                <a:gd name="connsiteX373" fmla="*/ 1040945 w 1066152"/>
                <a:gd name="connsiteY373" fmla="*/ 372605 h 802795"/>
                <a:gd name="connsiteX374" fmla="*/ 1038311 w 1066152"/>
                <a:gd name="connsiteY374" fmla="*/ 371641 h 802795"/>
                <a:gd name="connsiteX375" fmla="*/ 1035183 w 1066152"/>
                <a:gd name="connsiteY375" fmla="*/ 371570 h 802795"/>
                <a:gd name="connsiteX376" fmla="*/ 1029563 w 1066152"/>
                <a:gd name="connsiteY376" fmla="*/ 372628 h 802795"/>
                <a:gd name="connsiteX377" fmla="*/ 1026530 w 1066152"/>
                <a:gd name="connsiteY377" fmla="*/ 371641 h 802795"/>
                <a:gd name="connsiteX378" fmla="*/ 1026859 w 1066152"/>
                <a:gd name="connsiteY378" fmla="*/ 370535 h 802795"/>
                <a:gd name="connsiteX379" fmla="*/ 1026930 w 1066152"/>
                <a:gd name="connsiteY379" fmla="*/ 369195 h 802795"/>
                <a:gd name="connsiteX380" fmla="*/ 1027189 w 1066152"/>
                <a:gd name="connsiteY380" fmla="*/ 367949 h 802795"/>
                <a:gd name="connsiteX381" fmla="*/ 1028082 w 1066152"/>
                <a:gd name="connsiteY381" fmla="*/ 367173 h 802795"/>
                <a:gd name="connsiteX382" fmla="*/ 1027448 w 1066152"/>
                <a:gd name="connsiteY382" fmla="*/ 366655 h 802795"/>
                <a:gd name="connsiteX383" fmla="*/ 1025849 w 1066152"/>
                <a:gd name="connsiteY383" fmla="*/ 366115 h 802795"/>
                <a:gd name="connsiteX384" fmla="*/ 1025143 w 1066152"/>
                <a:gd name="connsiteY384" fmla="*/ 365551 h 802795"/>
                <a:gd name="connsiteX385" fmla="*/ 1024367 w 1066152"/>
                <a:gd name="connsiteY385" fmla="*/ 364422 h 802795"/>
                <a:gd name="connsiteX386" fmla="*/ 1024367 w 1066152"/>
                <a:gd name="connsiteY386" fmla="*/ 363975 h 802795"/>
                <a:gd name="connsiteX387" fmla="*/ 1024673 w 1066152"/>
                <a:gd name="connsiteY387" fmla="*/ 363482 h 802795"/>
                <a:gd name="connsiteX388" fmla="*/ 1024861 w 1066152"/>
                <a:gd name="connsiteY388" fmla="*/ 362353 h 802795"/>
                <a:gd name="connsiteX389" fmla="*/ 1025825 w 1066152"/>
                <a:gd name="connsiteY389" fmla="*/ 361200 h 802795"/>
                <a:gd name="connsiteX390" fmla="*/ 1031280 w 1066152"/>
                <a:gd name="connsiteY390" fmla="*/ 360095 h 802795"/>
                <a:gd name="connsiteX391" fmla="*/ 1033138 w 1066152"/>
                <a:gd name="connsiteY391" fmla="*/ 360801 h 802795"/>
                <a:gd name="connsiteX392" fmla="*/ 1040686 w 1066152"/>
                <a:gd name="connsiteY392" fmla="*/ 360095 h 802795"/>
                <a:gd name="connsiteX393" fmla="*/ 1043813 w 1066152"/>
                <a:gd name="connsiteY393" fmla="*/ 360236 h 802795"/>
                <a:gd name="connsiteX394" fmla="*/ 1044707 w 1066152"/>
                <a:gd name="connsiteY394" fmla="*/ 360095 h 802795"/>
                <a:gd name="connsiteX395" fmla="*/ 1045812 w 1066152"/>
                <a:gd name="connsiteY395" fmla="*/ 359672 h 802795"/>
                <a:gd name="connsiteX396" fmla="*/ 1047129 w 1066152"/>
                <a:gd name="connsiteY396" fmla="*/ 358684 h 802795"/>
                <a:gd name="connsiteX397" fmla="*/ 880766 w 1066152"/>
                <a:gd name="connsiteY397" fmla="*/ 128599 h 802795"/>
                <a:gd name="connsiteX398" fmla="*/ 881566 w 1066152"/>
                <a:gd name="connsiteY398" fmla="*/ 129633 h 802795"/>
                <a:gd name="connsiteX399" fmla="*/ 882365 w 1066152"/>
                <a:gd name="connsiteY399" fmla="*/ 131280 h 802795"/>
                <a:gd name="connsiteX400" fmla="*/ 883236 w 1066152"/>
                <a:gd name="connsiteY400" fmla="*/ 132666 h 802795"/>
                <a:gd name="connsiteX401" fmla="*/ 882977 w 1066152"/>
                <a:gd name="connsiteY401" fmla="*/ 132760 h 802795"/>
                <a:gd name="connsiteX402" fmla="*/ 882201 w 1066152"/>
                <a:gd name="connsiteY402" fmla="*/ 132902 h 802795"/>
                <a:gd name="connsiteX403" fmla="*/ 881989 w 1066152"/>
                <a:gd name="connsiteY403" fmla="*/ 132902 h 802795"/>
                <a:gd name="connsiteX404" fmla="*/ 880202 w 1066152"/>
                <a:gd name="connsiteY404" fmla="*/ 132666 h 802795"/>
                <a:gd name="connsiteX405" fmla="*/ 879168 w 1066152"/>
                <a:gd name="connsiteY405" fmla="*/ 131938 h 802795"/>
                <a:gd name="connsiteX406" fmla="*/ 879027 w 1066152"/>
                <a:gd name="connsiteY406" fmla="*/ 130715 h 802795"/>
                <a:gd name="connsiteX407" fmla="*/ 879873 w 1066152"/>
                <a:gd name="connsiteY407" fmla="*/ 128975 h 802795"/>
                <a:gd name="connsiteX408" fmla="*/ 125682 w 1066152"/>
                <a:gd name="connsiteY408" fmla="*/ 0 h 802795"/>
                <a:gd name="connsiteX409" fmla="*/ 126247 w 1066152"/>
                <a:gd name="connsiteY409" fmla="*/ 282 h 802795"/>
                <a:gd name="connsiteX410" fmla="*/ 126788 w 1066152"/>
                <a:gd name="connsiteY410" fmla="*/ 1035 h 802795"/>
                <a:gd name="connsiteX411" fmla="*/ 127022 w 1066152"/>
                <a:gd name="connsiteY411" fmla="*/ 2069 h 802795"/>
                <a:gd name="connsiteX412" fmla="*/ 126694 w 1066152"/>
                <a:gd name="connsiteY412" fmla="*/ 2657 h 802795"/>
                <a:gd name="connsiteX413" fmla="*/ 124883 w 1066152"/>
                <a:gd name="connsiteY413" fmla="*/ 4727 h 802795"/>
                <a:gd name="connsiteX414" fmla="*/ 124836 w 1066152"/>
                <a:gd name="connsiteY414" fmla="*/ 6161 h 802795"/>
                <a:gd name="connsiteX415" fmla="*/ 125189 w 1066152"/>
                <a:gd name="connsiteY415" fmla="*/ 6584 h 802795"/>
                <a:gd name="connsiteX416" fmla="*/ 125776 w 1066152"/>
                <a:gd name="connsiteY416" fmla="*/ 6443 h 802795"/>
                <a:gd name="connsiteX417" fmla="*/ 126458 w 1066152"/>
                <a:gd name="connsiteY417" fmla="*/ 6161 h 802795"/>
                <a:gd name="connsiteX418" fmla="*/ 126576 w 1066152"/>
                <a:gd name="connsiteY418" fmla="*/ 5879 h 802795"/>
                <a:gd name="connsiteX419" fmla="*/ 126529 w 1066152"/>
                <a:gd name="connsiteY419" fmla="*/ 5409 h 802795"/>
                <a:gd name="connsiteX420" fmla="*/ 126670 w 1066152"/>
                <a:gd name="connsiteY420" fmla="*/ 4938 h 802795"/>
                <a:gd name="connsiteX421" fmla="*/ 127281 w 1066152"/>
                <a:gd name="connsiteY421" fmla="*/ 4727 h 802795"/>
                <a:gd name="connsiteX422" fmla="*/ 127799 w 1066152"/>
                <a:gd name="connsiteY422" fmla="*/ 4656 h 802795"/>
                <a:gd name="connsiteX423" fmla="*/ 129139 w 1066152"/>
                <a:gd name="connsiteY423" fmla="*/ 4044 h 802795"/>
                <a:gd name="connsiteX424" fmla="*/ 129421 w 1066152"/>
                <a:gd name="connsiteY424" fmla="*/ 5385 h 802795"/>
                <a:gd name="connsiteX425" fmla="*/ 131350 w 1066152"/>
                <a:gd name="connsiteY425" fmla="*/ 8842 h 802795"/>
                <a:gd name="connsiteX426" fmla="*/ 131114 w 1066152"/>
                <a:gd name="connsiteY426" fmla="*/ 10417 h 802795"/>
                <a:gd name="connsiteX427" fmla="*/ 131797 w 1066152"/>
                <a:gd name="connsiteY427" fmla="*/ 10158 h 802795"/>
                <a:gd name="connsiteX428" fmla="*/ 132784 w 1066152"/>
                <a:gd name="connsiteY428" fmla="*/ 8912 h 802795"/>
                <a:gd name="connsiteX429" fmla="*/ 133419 w 1066152"/>
                <a:gd name="connsiteY429" fmla="*/ 7501 h 802795"/>
                <a:gd name="connsiteX430" fmla="*/ 134359 w 1066152"/>
                <a:gd name="connsiteY430" fmla="*/ 7831 h 802795"/>
                <a:gd name="connsiteX431" fmla="*/ 135041 w 1066152"/>
                <a:gd name="connsiteY431" fmla="*/ 7313 h 802795"/>
                <a:gd name="connsiteX432" fmla="*/ 135793 w 1066152"/>
                <a:gd name="connsiteY432" fmla="*/ 6537 h 802795"/>
                <a:gd name="connsiteX433" fmla="*/ 136922 w 1066152"/>
                <a:gd name="connsiteY433" fmla="*/ 6138 h 802795"/>
                <a:gd name="connsiteX434" fmla="*/ 140002 w 1066152"/>
                <a:gd name="connsiteY434" fmla="*/ 6467 h 802795"/>
                <a:gd name="connsiteX435" fmla="*/ 140920 w 1066152"/>
                <a:gd name="connsiteY435" fmla="*/ 6772 h 802795"/>
                <a:gd name="connsiteX436" fmla="*/ 147386 w 1066152"/>
                <a:gd name="connsiteY436" fmla="*/ 10158 h 802795"/>
                <a:gd name="connsiteX437" fmla="*/ 150560 w 1066152"/>
                <a:gd name="connsiteY437" fmla="*/ 11263 h 802795"/>
                <a:gd name="connsiteX438" fmla="*/ 155498 w 1066152"/>
                <a:gd name="connsiteY438" fmla="*/ 19352 h 802795"/>
                <a:gd name="connsiteX439" fmla="*/ 159191 w 1066152"/>
                <a:gd name="connsiteY439" fmla="*/ 21022 h 802795"/>
                <a:gd name="connsiteX440" fmla="*/ 158908 w 1066152"/>
                <a:gd name="connsiteY440" fmla="*/ 21422 h 802795"/>
                <a:gd name="connsiteX441" fmla="*/ 158744 w 1066152"/>
                <a:gd name="connsiteY441" fmla="*/ 21751 h 802795"/>
                <a:gd name="connsiteX442" fmla="*/ 158531 w 1066152"/>
                <a:gd name="connsiteY442" fmla="*/ 22033 h 802795"/>
                <a:gd name="connsiteX443" fmla="*/ 158061 w 1066152"/>
                <a:gd name="connsiteY443" fmla="*/ 22315 h 802795"/>
                <a:gd name="connsiteX444" fmla="*/ 158061 w 1066152"/>
                <a:gd name="connsiteY444" fmla="*/ 23067 h 802795"/>
                <a:gd name="connsiteX445" fmla="*/ 159096 w 1066152"/>
                <a:gd name="connsiteY445" fmla="*/ 23514 h 802795"/>
                <a:gd name="connsiteX446" fmla="*/ 159731 w 1066152"/>
                <a:gd name="connsiteY446" fmla="*/ 23232 h 802795"/>
                <a:gd name="connsiteX447" fmla="*/ 160319 w 1066152"/>
                <a:gd name="connsiteY447" fmla="*/ 22691 h 802795"/>
                <a:gd name="connsiteX448" fmla="*/ 161236 w 1066152"/>
                <a:gd name="connsiteY448" fmla="*/ 22315 h 802795"/>
                <a:gd name="connsiteX449" fmla="*/ 162388 w 1066152"/>
                <a:gd name="connsiteY449" fmla="*/ 22315 h 802795"/>
                <a:gd name="connsiteX450" fmla="*/ 164010 w 1066152"/>
                <a:gd name="connsiteY450" fmla="*/ 22832 h 802795"/>
                <a:gd name="connsiteX451" fmla="*/ 166973 w 1066152"/>
                <a:gd name="connsiteY451" fmla="*/ 23255 h 802795"/>
                <a:gd name="connsiteX452" fmla="*/ 171747 w 1066152"/>
                <a:gd name="connsiteY452" fmla="*/ 23091 h 802795"/>
                <a:gd name="connsiteX453" fmla="*/ 173040 w 1066152"/>
                <a:gd name="connsiteY453" fmla="*/ 22339 h 802795"/>
                <a:gd name="connsiteX454" fmla="*/ 174427 w 1066152"/>
                <a:gd name="connsiteY454" fmla="*/ 23044 h 802795"/>
                <a:gd name="connsiteX455" fmla="*/ 175768 w 1066152"/>
                <a:gd name="connsiteY455" fmla="*/ 23255 h 802795"/>
                <a:gd name="connsiteX456" fmla="*/ 176708 w 1066152"/>
                <a:gd name="connsiteY456" fmla="*/ 23890 h 802795"/>
                <a:gd name="connsiteX457" fmla="*/ 176826 w 1066152"/>
                <a:gd name="connsiteY457" fmla="*/ 25842 h 802795"/>
                <a:gd name="connsiteX458" fmla="*/ 176285 w 1066152"/>
                <a:gd name="connsiteY458" fmla="*/ 26947 h 802795"/>
                <a:gd name="connsiteX459" fmla="*/ 175462 w 1066152"/>
                <a:gd name="connsiteY459" fmla="*/ 28123 h 802795"/>
                <a:gd name="connsiteX460" fmla="*/ 175039 w 1066152"/>
                <a:gd name="connsiteY460" fmla="*/ 29487 h 802795"/>
                <a:gd name="connsiteX461" fmla="*/ 175744 w 1066152"/>
                <a:gd name="connsiteY461" fmla="*/ 31203 h 802795"/>
                <a:gd name="connsiteX462" fmla="*/ 176238 w 1066152"/>
                <a:gd name="connsiteY462" fmla="*/ 31203 h 802795"/>
                <a:gd name="connsiteX463" fmla="*/ 176685 w 1066152"/>
                <a:gd name="connsiteY463" fmla="*/ 29604 h 802795"/>
                <a:gd name="connsiteX464" fmla="*/ 176943 w 1066152"/>
                <a:gd name="connsiteY464" fmla="*/ 27959 h 802795"/>
                <a:gd name="connsiteX465" fmla="*/ 177390 w 1066152"/>
                <a:gd name="connsiteY465" fmla="*/ 26594 h 802795"/>
                <a:gd name="connsiteX466" fmla="*/ 178449 w 1066152"/>
                <a:gd name="connsiteY466" fmla="*/ 25866 h 802795"/>
                <a:gd name="connsiteX467" fmla="*/ 179154 w 1066152"/>
                <a:gd name="connsiteY467" fmla="*/ 23561 h 802795"/>
                <a:gd name="connsiteX468" fmla="*/ 183645 w 1066152"/>
                <a:gd name="connsiteY468" fmla="*/ 22644 h 802795"/>
                <a:gd name="connsiteX469" fmla="*/ 191310 w 1066152"/>
                <a:gd name="connsiteY469" fmla="*/ 22385 h 802795"/>
                <a:gd name="connsiteX470" fmla="*/ 192510 w 1066152"/>
                <a:gd name="connsiteY470" fmla="*/ 22738 h 802795"/>
                <a:gd name="connsiteX471" fmla="*/ 197189 w 1066152"/>
                <a:gd name="connsiteY471" fmla="*/ 22385 h 802795"/>
                <a:gd name="connsiteX472" fmla="*/ 200410 w 1066152"/>
                <a:gd name="connsiteY472" fmla="*/ 23279 h 802795"/>
                <a:gd name="connsiteX473" fmla="*/ 202433 w 1066152"/>
                <a:gd name="connsiteY473" fmla="*/ 23491 h 802795"/>
                <a:gd name="connsiteX474" fmla="*/ 206736 w 1066152"/>
                <a:gd name="connsiteY474" fmla="*/ 21374 h 802795"/>
                <a:gd name="connsiteX475" fmla="*/ 210733 w 1066152"/>
                <a:gd name="connsiteY475" fmla="*/ 21751 h 802795"/>
                <a:gd name="connsiteX476" fmla="*/ 214730 w 1066152"/>
                <a:gd name="connsiteY476" fmla="*/ 23067 h 802795"/>
                <a:gd name="connsiteX477" fmla="*/ 217576 w 1066152"/>
                <a:gd name="connsiteY477" fmla="*/ 24478 h 802795"/>
                <a:gd name="connsiteX478" fmla="*/ 218399 w 1066152"/>
                <a:gd name="connsiteY478" fmla="*/ 23938 h 802795"/>
                <a:gd name="connsiteX479" fmla="*/ 219292 w 1066152"/>
                <a:gd name="connsiteY479" fmla="*/ 23750 h 802795"/>
                <a:gd name="connsiteX480" fmla="*/ 221267 w 1066152"/>
                <a:gd name="connsiteY480" fmla="*/ 23750 h 802795"/>
                <a:gd name="connsiteX481" fmla="*/ 221126 w 1066152"/>
                <a:gd name="connsiteY481" fmla="*/ 23279 h 802795"/>
                <a:gd name="connsiteX482" fmla="*/ 220915 w 1066152"/>
                <a:gd name="connsiteY482" fmla="*/ 22174 h 802795"/>
                <a:gd name="connsiteX483" fmla="*/ 220773 w 1066152"/>
                <a:gd name="connsiteY483" fmla="*/ 21727 h 802795"/>
                <a:gd name="connsiteX484" fmla="*/ 221855 w 1066152"/>
                <a:gd name="connsiteY484" fmla="*/ 21915 h 802795"/>
                <a:gd name="connsiteX485" fmla="*/ 223689 w 1066152"/>
                <a:gd name="connsiteY485" fmla="*/ 22903 h 802795"/>
                <a:gd name="connsiteX486" fmla="*/ 224794 w 1066152"/>
                <a:gd name="connsiteY486" fmla="*/ 23114 h 802795"/>
                <a:gd name="connsiteX487" fmla="*/ 228815 w 1066152"/>
                <a:gd name="connsiteY487" fmla="*/ 22362 h 802795"/>
                <a:gd name="connsiteX488" fmla="*/ 232860 w 1066152"/>
                <a:gd name="connsiteY488" fmla="*/ 22362 h 802795"/>
                <a:gd name="connsiteX489" fmla="*/ 233988 w 1066152"/>
                <a:gd name="connsiteY489" fmla="*/ 22174 h 802795"/>
                <a:gd name="connsiteX490" fmla="*/ 236034 w 1066152"/>
                <a:gd name="connsiteY490" fmla="*/ 21280 h 802795"/>
                <a:gd name="connsiteX491" fmla="*/ 237892 w 1066152"/>
                <a:gd name="connsiteY491" fmla="*/ 20834 h 802795"/>
                <a:gd name="connsiteX492" fmla="*/ 238362 w 1066152"/>
                <a:gd name="connsiteY492" fmla="*/ 20316 h 802795"/>
                <a:gd name="connsiteX493" fmla="*/ 238950 w 1066152"/>
                <a:gd name="connsiteY493" fmla="*/ 19823 h 802795"/>
                <a:gd name="connsiteX494" fmla="*/ 240008 w 1066152"/>
                <a:gd name="connsiteY494" fmla="*/ 19658 h 802795"/>
                <a:gd name="connsiteX495" fmla="*/ 242500 w 1066152"/>
                <a:gd name="connsiteY495" fmla="*/ 21374 h 802795"/>
                <a:gd name="connsiteX496" fmla="*/ 243511 w 1066152"/>
                <a:gd name="connsiteY496" fmla="*/ 21680 h 802795"/>
                <a:gd name="connsiteX497" fmla="*/ 249578 w 1066152"/>
                <a:gd name="connsiteY497" fmla="*/ 22291 h 802795"/>
                <a:gd name="connsiteX498" fmla="*/ 250778 w 1066152"/>
                <a:gd name="connsiteY498" fmla="*/ 21680 h 802795"/>
                <a:gd name="connsiteX499" fmla="*/ 252000 w 1066152"/>
                <a:gd name="connsiteY499" fmla="*/ 22245 h 802795"/>
                <a:gd name="connsiteX500" fmla="*/ 253176 w 1066152"/>
                <a:gd name="connsiteY500" fmla="*/ 21751 h 802795"/>
                <a:gd name="connsiteX501" fmla="*/ 254352 w 1066152"/>
                <a:gd name="connsiteY501" fmla="*/ 20904 h 802795"/>
                <a:gd name="connsiteX502" fmla="*/ 255574 w 1066152"/>
                <a:gd name="connsiteY502" fmla="*/ 20363 h 802795"/>
                <a:gd name="connsiteX503" fmla="*/ 264651 w 1066152"/>
                <a:gd name="connsiteY503" fmla="*/ 20363 h 802795"/>
                <a:gd name="connsiteX504" fmla="*/ 265074 w 1066152"/>
                <a:gd name="connsiteY504" fmla="*/ 19470 h 802795"/>
                <a:gd name="connsiteX505" fmla="*/ 264557 w 1066152"/>
                <a:gd name="connsiteY505" fmla="*/ 18741 h 802795"/>
                <a:gd name="connsiteX506" fmla="*/ 264228 w 1066152"/>
                <a:gd name="connsiteY506" fmla="*/ 17942 h 802795"/>
                <a:gd name="connsiteX507" fmla="*/ 265215 w 1066152"/>
                <a:gd name="connsiteY507" fmla="*/ 16907 h 802795"/>
                <a:gd name="connsiteX508" fmla="*/ 265050 w 1066152"/>
                <a:gd name="connsiteY508" fmla="*/ 16577 h 802795"/>
                <a:gd name="connsiteX509" fmla="*/ 264839 w 1066152"/>
                <a:gd name="connsiteY509" fmla="*/ 15848 h 802795"/>
                <a:gd name="connsiteX510" fmla="*/ 264674 w 1066152"/>
                <a:gd name="connsiteY510" fmla="*/ 15566 h 802795"/>
                <a:gd name="connsiteX511" fmla="*/ 267190 w 1066152"/>
                <a:gd name="connsiteY511" fmla="*/ 15566 h 802795"/>
                <a:gd name="connsiteX512" fmla="*/ 268107 w 1066152"/>
                <a:gd name="connsiteY512" fmla="*/ 15096 h 802795"/>
                <a:gd name="connsiteX513" fmla="*/ 268460 w 1066152"/>
                <a:gd name="connsiteY513" fmla="*/ 13897 h 802795"/>
                <a:gd name="connsiteX514" fmla="*/ 269001 w 1066152"/>
                <a:gd name="connsiteY514" fmla="*/ 12979 h 802795"/>
                <a:gd name="connsiteX515" fmla="*/ 270247 w 1066152"/>
                <a:gd name="connsiteY515" fmla="*/ 13050 h 802795"/>
                <a:gd name="connsiteX516" fmla="*/ 272786 w 1066152"/>
                <a:gd name="connsiteY516" fmla="*/ 14203 h 802795"/>
                <a:gd name="connsiteX517" fmla="*/ 274456 w 1066152"/>
                <a:gd name="connsiteY517" fmla="*/ 15543 h 802795"/>
                <a:gd name="connsiteX518" fmla="*/ 278759 w 1066152"/>
                <a:gd name="connsiteY518" fmla="*/ 20246 h 802795"/>
                <a:gd name="connsiteX519" fmla="*/ 280217 w 1066152"/>
                <a:gd name="connsiteY519" fmla="*/ 22315 h 802795"/>
                <a:gd name="connsiteX520" fmla="*/ 280758 w 1066152"/>
                <a:gd name="connsiteY520" fmla="*/ 22315 h 802795"/>
                <a:gd name="connsiteX521" fmla="*/ 281158 w 1066152"/>
                <a:gd name="connsiteY521" fmla="*/ 20904 h 802795"/>
                <a:gd name="connsiteX522" fmla="*/ 281746 w 1066152"/>
                <a:gd name="connsiteY522" fmla="*/ 21328 h 802795"/>
                <a:gd name="connsiteX523" fmla="*/ 282663 w 1066152"/>
                <a:gd name="connsiteY523" fmla="*/ 23044 h 802795"/>
                <a:gd name="connsiteX524" fmla="*/ 286707 w 1066152"/>
                <a:gd name="connsiteY524" fmla="*/ 23655 h 802795"/>
                <a:gd name="connsiteX525" fmla="*/ 302462 w 1066152"/>
                <a:gd name="connsiteY525" fmla="*/ 23044 h 802795"/>
                <a:gd name="connsiteX526" fmla="*/ 304836 w 1066152"/>
                <a:gd name="connsiteY526" fmla="*/ 23631 h 802795"/>
                <a:gd name="connsiteX527" fmla="*/ 305071 w 1066152"/>
                <a:gd name="connsiteY527" fmla="*/ 24996 h 802795"/>
                <a:gd name="connsiteX528" fmla="*/ 304061 w 1066152"/>
                <a:gd name="connsiteY528" fmla="*/ 26571 h 802795"/>
                <a:gd name="connsiteX529" fmla="*/ 302720 w 1066152"/>
                <a:gd name="connsiteY529" fmla="*/ 27770 h 802795"/>
                <a:gd name="connsiteX530" fmla="*/ 303261 w 1066152"/>
                <a:gd name="connsiteY530" fmla="*/ 28452 h 802795"/>
                <a:gd name="connsiteX531" fmla="*/ 304061 w 1066152"/>
                <a:gd name="connsiteY531" fmla="*/ 27982 h 802795"/>
                <a:gd name="connsiteX532" fmla="*/ 305706 w 1066152"/>
                <a:gd name="connsiteY532" fmla="*/ 27464 h 802795"/>
                <a:gd name="connsiteX533" fmla="*/ 306506 w 1066152"/>
                <a:gd name="connsiteY533" fmla="*/ 27088 h 802795"/>
                <a:gd name="connsiteX534" fmla="*/ 307070 w 1066152"/>
                <a:gd name="connsiteY534" fmla="*/ 26454 h 802795"/>
                <a:gd name="connsiteX535" fmla="*/ 307305 w 1066152"/>
                <a:gd name="connsiteY535" fmla="*/ 25795 h 802795"/>
                <a:gd name="connsiteX536" fmla="*/ 307729 w 1066152"/>
                <a:gd name="connsiteY536" fmla="*/ 25278 h 802795"/>
                <a:gd name="connsiteX537" fmla="*/ 308904 w 1066152"/>
                <a:gd name="connsiteY537" fmla="*/ 25066 h 802795"/>
                <a:gd name="connsiteX538" fmla="*/ 312197 w 1066152"/>
                <a:gd name="connsiteY538" fmla="*/ 25348 h 802795"/>
                <a:gd name="connsiteX539" fmla="*/ 313443 w 1066152"/>
                <a:gd name="connsiteY539" fmla="*/ 25771 h 802795"/>
                <a:gd name="connsiteX540" fmla="*/ 319086 w 1066152"/>
                <a:gd name="connsiteY540" fmla="*/ 29252 h 802795"/>
                <a:gd name="connsiteX541" fmla="*/ 321743 w 1066152"/>
                <a:gd name="connsiteY541" fmla="*/ 30145 h 802795"/>
                <a:gd name="connsiteX542" fmla="*/ 328492 w 1066152"/>
                <a:gd name="connsiteY542" fmla="*/ 30451 h 802795"/>
                <a:gd name="connsiteX543" fmla="*/ 330373 w 1066152"/>
                <a:gd name="connsiteY543" fmla="*/ 30945 h 802795"/>
                <a:gd name="connsiteX544" fmla="*/ 331196 w 1066152"/>
                <a:gd name="connsiteY544" fmla="*/ 32191 h 802795"/>
                <a:gd name="connsiteX545" fmla="*/ 332136 w 1066152"/>
                <a:gd name="connsiteY545" fmla="*/ 31627 h 802795"/>
                <a:gd name="connsiteX546" fmla="*/ 337591 w 1066152"/>
                <a:gd name="connsiteY546" fmla="*/ 33155 h 802795"/>
                <a:gd name="connsiteX547" fmla="*/ 338226 w 1066152"/>
                <a:gd name="connsiteY547" fmla="*/ 32943 h 802795"/>
                <a:gd name="connsiteX548" fmla="*/ 339355 w 1066152"/>
                <a:gd name="connsiteY548" fmla="*/ 32026 h 802795"/>
                <a:gd name="connsiteX549" fmla="*/ 340249 w 1066152"/>
                <a:gd name="connsiteY549" fmla="*/ 31861 h 802795"/>
                <a:gd name="connsiteX550" fmla="*/ 341095 w 1066152"/>
                <a:gd name="connsiteY550" fmla="*/ 32074 h 802795"/>
                <a:gd name="connsiteX551" fmla="*/ 342859 w 1066152"/>
                <a:gd name="connsiteY551" fmla="*/ 32967 h 802795"/>
                <a:gd name="connsiteX552" fmla="*/ 348431 w 1066152"/>
                <a:gd name="connsiteY552" fmla="*/ 34049 h 802795"/>
                <a:gd name="connsiteX553" fmla="*/ 354804 w 1066152"/>
                <a:gd name="connsiteY553" fmla="*/ 36823 h 802795"/>
                <a:gd name="connsiteX554" fmla="*/ 356379 w 1066152"/>
                <a:gd name="connsiteY554" fmla="*/ 37270 h 802795"/>
                <a:gd name="connsiteX555" fmla="*/ 373803 w 1066152"/>
                <a:gd name="connsiteY555" fmla="*/ 38705 h 802795"/>
                <a:gd name="connsiteX556" fmla="*/ 374132 w 1066152"/>
                <a:gd name="connsiteY556" fmla="*/ 38705 h 802795"/>
                <a:gd name="connsiteX557" fmla="*/ 376202 w 1066152"/>
                <a:gd name="connsiteY557" fmla="*/ 40562 h 802795"/>
                <a:gd name="connsiteX558" fmla="*/ 377848 w 1066152"/>
                <a:gd name="connsiteY558" fmla="*/ 39081 h 802795"/>
                <a:gd name="connsiteX559" fmla="*/ 380058 w 1066152"/>
                <a:gd name="connsiteY559" fmla="*/ 38705 h 802795"/>
                <a:gd name="connsiteX560" fmla="*/ 382221 w 1066152"/>
                <a:gd name="connsiteY560" fmla="*/ 39269 h 802795"/>
                <a:gd name="connsiteX561" fmla="*/ 383726 w 1066152"/>
                <a:gd name="connsiteY561" fmla="*/ 40586 h 802795"/>
                <a:gd name="connsiteX562" fmla="*/ 384220 w 1066152"/>
                <a:gd name="connsiteY562" fmla="*/ 40586 h 802795"/>
                <a:gd name="connsiteX563" fmla="*/ 385043 w 1066152"/>
                <a:gd name="connsiteY563" fmla="*/ 39340 h 802795"/>
                <a:gd name="connsiteX564" fmla="*/ 385772 w 1066152"/>
                <a:gd name="connsiteY564" fmla="*/ 39010 h 802795"/>
                <a:gd name="connsiteX565" fmla="*/ 389416 w 1066152"/>
                <a:gd name="connsiteY565" fmla="*/ 39386 h 802795"/>
                <a:gd name="connsiteX566" fmla="*/ 399128 w 1066152"/>
                <a:gd name="connsiteY566" fmla="*/ 38446 h 802795"/>
                <a:gd name="connsiteX567" fmla="*/ 401291 w 1066152"/>
                <a:gd name="connsiteY567" fmla="*/ 36870 h 802795"/>
                <a:gd name="connsiteX568" fmla="*/ 406229 w 1066152"/>
                <a:gd name="connsiteY568" fmla="*/ 35459 h 802795"/>
                <a:gd name="connsiteX569" fmla="*/ 408087 w 1066152"/>
                <a:gd name="connsiteY569" fmla="*/ 35201 h 802795"/>
                <a:gd name="connsiteX570" fmla="*/ 411590 w 1066152"/>
                <a:gd name="connsiteY570" fmla="*/ 35201 h 802795"/>
                <a:gd name="connsiteX571" fmla="*/ 412037 w 1066152"/>
                <a:gd name="connsiteY571" fmla="*/ 34942 h 802795"/>
                <a:gd name="connsiteX572" fmla="*/ 412108 w 1066152"/>
                <a:gd name="connsiteY572" fmla="*/ 34471 h 802795"/>
                <a:gd name="connsiteX573" fmla="*/ 412249 w 1066152"/>
                <a:gd name="connsiteY573" fmla="*/ 34025 h 802795"/>
                <a:gd name="connsiteX574" fmla="*/ 412883 w 1066152"/>
                <a:gd name="connsiteY574" fmla="*/ 33814 h 802795"/>
                <a:gd name="connsiteX575" fmla="*/ 413448 w 1066152"/>
                <a:gd name="connsiteY575" fmla="*/ 33978 h 802795"/>
                <a:gd name="connsiteX576" fmla="*/ 415353 w 1066152"/>
                <a:gd name="connsiteY576" fmla="*/ 35225 h 802795"/>
                <a:gd name="connsiteX577" fmla="*/ 415729 w 1066152"/>
                <a:gd name="connsiteY577" fmla="*/ 34754 h 802795"/>
                <a:gd name="connsiteX578" fmla="*/ 416082 w 1066152"/>
                <a:gd name="connsiteY578" fmla="*/ 34636 h 802795"/>
                <a:gd name="connsiteX579" fmla="*/ 416457 w 1066152"/>
                <a:gd name="connsiteY579" fmla="*/ 34636 h 802795"/>
                <a:gd name="connsiteX580" fmla="*/ 416928 w 1066152"/>
                <a:gd name="connsiteY580" fmla="*/ 34542 h 802795"/>
                <a:gd name="connsiteX581" fmla="*/ 416575 w 1066152"/>
                <a:gd name="connsiteY581" fmla="*/ 34378 h 802795"/>
                <a:gd name="connsiteX582" fmla="*/ 415846 w 1066152"/>
                <a:gd name="connsiteY582" fmla="*/ 33814 h 802795"/>
                <a:gd name="connsiteX583" fmla="*/ 415846 w 1066152"/>
                <a:gd name="connsiteY583" fmla="*/ 33202 h 802795"/>
                <a:gd name="connsiteX584" fmla="*/ 418551 w 1066152"/>
                <a:gd name="connsiteY584" fmla="*/ 31392 h 802795"/>
                <a:gd name="connsiteX585" fmla="*/ 419914 w 1066152"/>
                <a:gd name="connsiteY585" fmla="*/ 30851 h 802795"/>
                <a:gd name="connsiteX586" fmla="*/ 421207 w 1066152"/>
                <a:gd name="connsiteY586" fmla="*/ 31180 h 802795"/>
                <a:gd name="connsiteX587" fmla="*/ 422195 w 1066152"/>
                <a:gd name="connsiteY587" fmla="*/ 30615 h 802795"/>
                <a:gd name="connsiteX588" fmla="*/ 422430 w 1066152"/>
                <a:gd name="connsiteY588" fmla="*/ 30733 h 802795"/>
                <a:gd name="connsiteX589" fmla="*/ 422830 w 1066152"/>
                <a:gd name="connsiteY589" fmla="*/ 31180 h 802795"/>
                <a:gd name="connsiteX590" fmla="*/ 425111 w 1066152"/>
                <a:gd name="connsiteY590" fmla="*/ 29886 h 802795"/>
                <a:gd name="connsiteX591" fmla="*/ 427462 w 1066152"/>
                <a:gd name="connsiteY591" fmla="*/ 29417 h 802795"/>
                <a:gd name="connsiteX592" fmla="*/ 429790 w 1066152"/>
                <a:gd name="connsiteY592" fmla="*/ 29840 h 802795"/>
                <a:gd name="connsiteX593" fmla="*/ 431977 w 1066152"/>
                <a:gd name="connsiteY593" fmla="*/ 31180 h 802795"/>
                <a:gd name="connsiteX594" fmla="*/ 428567 w 1066152"/>
                <a:gd name="connsiteY594" fmla="*/ 32590 h 802795"/>
                <a:gd name="connsiteX595" fmla="*/ 427133 w 1066152"/>
                <a:gd name="connsiteY595" fmla="*/ 33461 h 802795"/>
                <a:gd name="connsiteX596" fmla="*/ 426098 w 1066152"/>
                <a:gd name="connsiteY596" fmla="*/ 34542 h 802795"/>
                <a:gd name="connsiteX597" fmla="*/ 426921 w 1066152"/>
                <a:gd name="connsiteY597" fmla="*/ 35459 h 802795"/>
                <a:gd name="connsiteX598" fmla="*/ 427274 w 1066152"/>
                <a:gd name="connsiteY598" fmla="*/ 35742 h 802795"/>
                <a:gd name="connsiteX599" fmla="*/ 427698 w 1066152"/>
                <a:gd name="connsiteY599" fmla="*/ 35976 h 802795"/>
                <a:gd name="connsiteX600" fmla="*/ 427439 w 1066152"/>
                <a:gd name="connsiteY600" fmla="*/ 36024 h 802795"/>
                <a:gd name="connsiteX601" fmla="*/ 427227 w 1066152"/>
                <a:gd name="connsiteY601" fmla="*/ 36024 h 802795"/>
                <a:gd name="connsiteX602" fmla="*/ 427133 w 1066152"/>
                <a:gd name="connsiteY602" fmla="*/ 36118 h 802795"/>
                <a:gd name="connsiteX603" fmla="*/ 427133 w 1066152"/>
                <a:gd name="connsiteY603" fmla="*/ 36588 h 802795"/>
                <a:gd name="connsiteX604" fmla="*/ 428003 w 1066152"/>
                <a:gd name="connsiteY604" fmla="*/ 36588 h 802795"/>
                <a:gd name="connsiteX605" fmla="*/ 428709 w 1066152"/>
                <a:gd name="connsiteY605" fmla="*/ 36471 h 802795"/>
                <a:gd name="connsiteX606" fmla="*/ 429861 w 1066152"/>
                <a:gd name="connsiteY606" fmla="*/ 35953 h 802795"/>
                <a:gd name="connsiteX607" fmla="*/ 430402 w 1066152"/>
                <a:gd name="connsiteY607" fmla="*/ 35436 h 802795"/>
                <a:gd name="connsiteX608" fmla="*/ 431436 w 1066152"/>
                <a:gd name="connsiteY608" fmla="*/ 34072 h 802795"/>
                <a:gd name="connsiteX609" fmla="*/ 431742 w 1066152"/>
                <a:gd name="connsiteY609" fmla="*/ 33790 h 802795"/>
                <a:gd name="connsiteX610" fmla="*/ 432424 w 1066152"/>
                <a:gd name="connsiteY610" fmla="*/ 34025 h 802795"/>
                <a:gd name="connsiteX611" fmla="*/ 433153 w 1066152"/>
                <a:gd name="connsiteY611" fmla="*/ 34989 h 802795"/>
                <a:gd name="connsiteX612" fmla="*/ 433858 w 1066152"/>
                <a:gd name="connsiteY612" fmla="*/ 35201 h 802795"/>
                <a:gd name="connsiteX613" fmla="*/ 434187 w 1066152"/>
                <a:gd name="connsiteY613" fmla="*/ 34801 h 802795"/>
                <a:gd name="connsiteX614" fmla="*/ 433999 w 1066152"/>
                <a:gd name="connsiteY614" fmla="*/ 33907 h 802795"/>
                <a:gd name="connsiteX615" fmla="*/ 433552 w 1066152"/>
                <a:gd name="connsiteY615" fmla="*/ 32990 h 802795"/>
                <a:gd name="connsiteX616" fmla="*/ 433035 w 1066152"/>
                <a:gd name="connsiteY616" fmla="*/ 32520 h 802795"/>
                <a:gd name="connsiteX617" fmla="*/ 433035 w 1066152"/>
                <a:gd name="connsiteY617" fmla="*/ 31909 h 802795"/>
                <a:gd name="connsiteX618" fmla="*/ 434141 w 1066152"/>
                <a:gd name="connsiteY618" fmla="*/ 32050 h 802795"/>
                <a:gd name="connsiteX619" fmla="*/ 434587 w 1066152"/>
                <a:gd name="connsiteY619" fmla="*/ 32191 h 802795"/>
                <a:gd name="connsiteX620" fmla="*/ 435128 w 1066152"/>
                <a:gd name="connsiteY620" fmla="*/ 32520 h 802795"/>
                <a:gd name="connsiteX621" fmla="*/ 435269 w 1066152"/>
                <a:gd name="connsiteY621" fmla="*/ 32026 h 802795"/>
                <a:gd name="connsiteX622" fmla="*/ 435387 w 1066152"/>
                <a:gd name="connsiteY622" fmla="*/ 32026 h 802795"/>
                <a:gd name="connsiteX623" fmla="*/ 435739 w 1066152"/>
                <a:gd name="connsiteY623" fmla="*/ 31909 h 802795"/>
                <a:gd name="connsiteX624" fmla="*/ 435151 w 1066152"/>
                <a:gd name="connsiteY624" fmla="*/ 31180 h 802795"/>
                <a:gd name="connsiteX625" fmla="*/ 436022 w 1066152"/>
                <a:gd name="connsiteY625" fmla="*/ 30828 h 802795"/>
                <a:gd name="connsiteX626" fmla="*/ 438326 w 1066152"/>
                <a:gd name="connsiteY626" fmla="*/ 30686 h 802795"/>
                <a:gd name="connsiteX627" fmla="*/ 439219 w 1066152"/>
                <a:gd name="connsiteY627" fmla="*/ 30168 h 802795"/>
                <a:gd name="connsiteX628" fmla="*/ 439995 w 1066152"/>
                <a:gd name="connsiteY628" fmla="*/ 29463 h 802795"/>
                <a:gd name="connsiteX629" fmla="*/ 440842 w 1066152"/>
                <a:gd name="connsiteY629" fmla="*/ 29064 h 802795"/>
                <a:gd name="connsiteX630" fmla="*/ 446838 w 1066152"/>
                <a:gd name="connsiteY630" fmla="*/ 27324 h 802795"/>
                <a:gd name="connsiteX631" fmla="*/ 448789 w 1066152"/>
                <a:gd name="connsiteY631" fmla="*/ 27464 h 802795"/>
                <a:gd name="connsiteX632" fmla="*/ 448649 w 1066152"/>
                <a:gd name="connsiteY632" fmla="*/ 29157 h 802795"/>
                <a:gd name="connsiteX633" fmla="*/ 449989 w 1066152"/>
                <a:gd name="connsiteY633" fmla="*/ 29228 h 802795"/>
                <a:gd name="connsiteX634" fmla="*/ 451047 w 1066152"/>
                <a:gd name="connsiteY634" fmla="*/ 29957 h 802795"/>
                <a:gd name="connsiteX635" fmla="*/ 451893 w 1066152"/>
                <a:gd name="connsiteY635" fmla="*/ 30780 h 802795"/>
                <a:gd name="connsiteX636" fmla="*/ 452622 w 1066152"/>
                <a:gd name="connsiteY636" fmla="*/ 31180 h 802795"/>
                <a:gd name="connsiteX637" fmla="*/ 458007 w 1066152"/>
                <a:gd name="connsiteY637" fmla="*/ 32050 h 802795"/>
                <a:gd name="connsiteX638" fmla="*/ 458407 w 1066152"/>
                <a:gd name="connsiteY638" fmla="*/ 32402 h 802795"/>
                <a:gd name="connsiteX639" fmla="*/ 458666 w 1066152"/>
                <a:gd name="connsiteY639" fmla="*/ 32920 h 802795"/>
                <a:gd name="connsiteX640" fmla="*/ 458760 w 1066152"/>
                <a:gd name="connsiteY640" fmla="*/ 33532 h 802795"/>
                <a:gd name="connsiteX641" fmla="*/ 458642 w 1066152"/>
                <a:gd name="connsiteY641" fmla="*/ 34402 h 802795"/>
                <a:gd name="connsiteX642" fmla="*/ 458336 w 1066152"/>
                <a:gd name="connsiteY642" fmla="*/ 34542 h 802795"/>
                <a:gd name="connsiteX643" fmla="*/ 457842 w 1066152"/>
                <a:gd name="connsiteY643" fmla="*/ 34425 h 802795"/>
                <a:gd name="connsiteX644" fmla="*/ 457207 w 1066152"/>
                <a:gd name="connsiteY644" fmla="*/ 34566 h 802795"/>
                <a:gd name="connsiteX645" fmla="*/ 456879 w 1066152"/>
                <a:gd name="connsiteY645" fmla="*/ 34307 h 802795"/>
                <a:gd name="connsiteX646" fmla="*/ 456149 w 1066152"/>
                <a:gd name="connsiteY646" fmla="*/ 33861 h 802795"/>
                <a:gd name="connsiteX647" fmla="*/ 455397 w 1066152"/>
                <a:gd name="connsiteY647" fmla="*/ 33672 h 802795"/>
                <a:gd name="connsiteX648" fmla="*/ 455068 w 1066152"/>
                <a:gd name="connsiteY648" fmla="*/ 34189 h 802795"/>
                <a:gd name="connsiteX649" fmla="*/ 454809 w 1066152"/>
                <a:gd name="connsiteY649" fmla="*/ 34754 h 802795"/>
                <a:gd name="connsiteX650" fmla="*/ 454174 w 1066152"/>
                <a:gd name="connsiteY650" fmla="*/ 35295 h 802795"/>
                <a:gd name="connsiteX651" fmla="*/ 452928 w 1066152"/>
                <a:gd name="connsiteY651" fmla="*/ 35976 h 802795"/>
                <a:gd name="connsiteX652" fmla="*/ 454480 w 1066152"/>
                <a:gd name="connsiteY652" fmla="*/ 36235 h 802795"/>
                <a:gd name="connsiteX653" fmla="*/ 455374 w 1066152"/>
                <a:gd name="connsiteY653" fmla="*/ 37340 h 802795"/>
                <a:gd name="connsiteX654" fmla="*/ 456102 w 1066152"/>
                <a:gd name="connsiteY654" fmla="*/ 37764 h 802795"/>
                <a:gd name="connsiteX655" fmla="*/ 457207 w 1066152"/>
                <a:gd name="connsiteY655" fmla="*/ 35953 h 802795"/>
                <a:gd name="connsiteX656" fmla="*/ 458054 w 1066152"/>
                <a:gd name="connsiteY656" fmla="*/ 37105 h 802795"/>
                <a:gd name="connsiteX657" fmla="*/ 459136 w 1066152"/>
                <a:gd name="connsiteY657" fmla="*/ 37200 h 802795"/>
                <a:gd name="connsiteX658" fmla="*/ 461464 w 1066152"/>
                <a:gd name="connsiteY658" fmla="*/ 36565 h 802795"/>
                <a:gd name="connsiteX659" fmla="*/ 462592 w 1066152"/>
                <a:gd name="connsiteY659" fmla="*/ 36776 h 802795"/>
                <a:gd name="connsiteX660" fmla="*/ 466331 w 1066152"/>
                <a:gd name="connsiteY660" fmla="*/ 37975 h 802795"/>
                <a:gd name="connsiteX661" fmla="*/ 471128 w 1066152"/>
                <a:gd name="connsiteY661" fmla="*/ 38586 h 802795"/>
                <a:gd name="connsiteX662" fmla="*/ 474678 w 1066152"/>
                <a:gd name="connsiteY662" fmla="*/ 39809 h 802795"/>
                <a:gd name="connsiteX663" fmla="*/ 475690 w 1066152"/>
                <a:gd name="connsiteY663" fmla="*/ 39998 h 802795"/>
                <a:gd name="connsiteX664" fmla="*/ 476513 w 1066152"/>
                <a:gd name="connsiteY664" fmla="*/ 40421 h 802795"/>
                <a:gd name="connsiteX665" fmla="*/ 478323 w 1066152"/>
                <a:gd name="connsiteY665" fmla="*/ 42326 h 802795"/>
                <a:gd name="connsiteX666" fmla="*/ 480346 w 1066152"/>
                <a:gd name="connsiteY666" fmla="*/ 42914 h 802795"/>
                <a:gd name="connsiteX667" fmla="*/ 481874 w 1066152"/>
                <a:gd name="connsiteY667" fmla="*/ 43360 h 802795"/>
                <a:gd name="connsiteX668" fmla="*/ 483379 w 1066152"/>
                <a:gd name="connsiteY668" fmla="*/ 43525 h 802795"/>
                <a:gd name="connsiteX669" fmla="*/ 485166 w 1066152"/>
                <a:gd name="connsiteY669" fmla="*/ 42255 h 802795"/>
                <a:gd name="connsiteX670" fmla="*/ 487635 w 1066152"/>
                <a:gd name="connsiteY670" fmla="*/ 43689 h 802795"/>
                <a:gd name="connsiteX671" fmla="*/ 491515 w 1066152"/>
                <a:gd name="connsiteY671" fmla="*/ 46770 h 802795"/>
                <a:gd name="connsiteX672" fmla="*/ 491515 w 1066152"/>
                <a:gd name="connsiteY672" fmla="*/ 46017 h 802795"/>
                <a:gd name="connsiteX673" fmla="*/ 490597 w 1066152"/>
                <a:gd name="connsiteY673" fmla="*/ 43642 h 802795"/>
                <a:gd name="connsiteX674" fmla="*/ 490339 w 1066152"/>
                <a:gd name="connsiteY674" fmla="*/ 42419 h 802795"/>
                <a:gd name="connsiteX675" fmla="*/ 489868 w 1066152"/>
                <a:gd name="connsiteY675" fmla="*/ 41714 h 802795"/>
                <a:gd name="connsiteX676" fmla="*/ 489868 w 1066152"/>
                <a:gd name="connsiteY676" fmla="*/ 41315 h 802795"/>
                <a:gd name="connsiteX677" fmla="*/ 490244 w 1066152"/>
                <a:gd name="connsiteY677" fmla="*/ 40844 h 802795"/>
                <a:gd name="connsiteX678" fmla="*/ 491303 w 1066152"/>
                <a:gd name="connsiteY678" fmla="*/ 40538 h 802795"/>
                <a:gd name="connsiteX679" fmla="*/ 492196 w 1066152"/>
                <a:gd name="connsiteY679" fmla="*/ 39527 h 802795"/>
                <a:gd name="connsiteX680" fmla="*/ 495606 w 1066152"/>
                <a:gd name="connsiteY680" fmla="*/ 37623 h 802795"/>
                <a:gd name="connsiteX681" fmla="*/ 496852 w 1066152"/>
                <a:gd name="connsiteY681" fmla="*/ 37294 h 802795"/>
                <a:gd name="connsiteX682" fmla="*/ 496852 w 1066152"/>
                <a:gd name="connsiteY682" fmla="*/ 36541 h 802795"/>
                <a:gd name="connsiteX683" fmla="*/ 496335 w 1066152"/>
                <a:gd name="connsiteY683" fmla="*/ 36541 h 802795"/>
                <a:gd name="connsiteX684" fmla="*/ 496335 w 1066152"/>
                <a:gd name="connsiteY684" fmla="*/ 35930 h 802795"/>
                <a:gd name="connsiteX685" fmla="*/ 497628 w 1066152"/>
                <a:gd name="connsiteY685" fmla="*/ 35225 h 802795"/>
                <a:gd name="connsiteX686" fmla="*/ 499556 w 1066152"/>
                <a:gd name="connsiteY686" fmla="*/ 35036 h 802795"/>
                <a:gd name="connsiteX687" fmla="*/ 503554 w 1066152"/>
                <a:gd name="connsiteY687" fmla="*/ 35201 h 802795"/>
                <a:gd name="connsiteX688" fmla="*/ 507245 w 1066152"/>
                <a:gd name="connsiteY688" fmla="*/ 34872 h 802795"/>
                <a:gd name="connsiteX689" fmla="*/ 508892 w 1066152"/>
                <a:gd name="connsiteY689" fmla="*/ 34260 h 802795"/>
                <a:gd name="connsiteX690" fmla="*/ 510255 w 1066152"/>
                <a:gd name="connsiteY690" fmla="*/ 33814 h 802795"/>
                <a:gd name="connsiteX691" fmla="*/ 511243 w 1066152"/>
                <a:gd name="connsiteY691" fmla="*/ 34049 h 802795"/>
                <a:gd name="connsiteX692" fmla="*/ 512889 w 1066152"/>
                <a:gd name="connsiteY692" fmla="*/ 35177 h 802795"/>
                <a:gd name="connsiteX693" fmla="*/ 514441 w 1066152"/>
                <a:gd name="connsiteY693" fmla="*/ 36588 h 802795"/>
                <a:gd name="connsiteX694" fmla="*/ 515123 w 1066152"/>
                <a:gd name="connsiteY694" fmla="*/ 37647 h 802795"/>
                <a:gd name="connsiteX695" fmla="*/ 516040 w 1066152"/>
                <a:gd name="connsiteY695" fmla="*/ 40115 h 802795"/>
                <a:gd name="connsiteX696" fmla="*/ 516345 w 1066152"/>
                <a:gd name="connsiteY696" fmla="*/ 42184 h 802795"/>
                <a:gd name="connsiteX697" fmla="*/ 516651 w 1066152"/>
                <a:gd name="connsiteY697" fmla="*/ 41808 h 802795"/>
                <a:gd name="connsiteX698" fmla="*/ 517262 w 1066152"/>
                <a:gd name="connsiteY698" fmla="*/ 39998 h 802795"/>
                <a:gd name="connsiteX699" fmla="*/ 517310 w 1066152"/>
                <a:gd name="connsiteY699" fmla="*/ 39527 h 802795"/>
                <a:gd name="connsiteX700" fmla="*/ 517310 w 1066152"/>
                <a:gd name="connsiteY700" fmla="*/ 38939 h 802795"/>
                <a:gd name="connsiteX701" fmla="*/ 517380 w 1066152"/>
                <a:gd name="connsiteY701" fmla="*/ 38375 h 802795"/>
                <a:gd name="connsiteX702" fmla="*/ 517757 w 1066152"/>
                <a:gd name="connsiteY702" fmla="*/ 37975 h 802795"/>
                <a:gd name="connsiteX703" fmla="*/ 518673 w 1066152"/>
                <a:gd name="connsiteY703" fmla="*/ 37811 h 802795"/>
                <a:gd name="connsiteX704" fmla="*/ 519614 w 1066152"/>
                <a:gd name="connsiteY704" fmla="*/ 38046 h 802795"/>
                <a:gd name="connsiteX705" fmla="*/ 520484 w 1066152"/>
                <a:gd name="connsiteY705" fmla="*/ 38398 h 802795"/>
                <a:gd name="connsiteX706" fmla="*/ 522929 w 1066152"/>
                <a:gd name="connsiteY706" fmla="*/ 38799 h 802795"/>
                <a:gd name="connsiteX707" fmla="*/ 527468 w 1066152"/>
                <a:gd name="connsiteY707" fmla="*/ 40609 h 802795"/>
                <a:gd name="connsiteX708" fmla="*/ 530830 w 1066152"/>
                <a:gd name="connsiteY708" fmla="*/ 41244 h 802795"/>
                <a:gd name="connsiteX709" fmla="*/ 532593 w 1066152"/>
                <a:gd name="connsiteY709" fmla="*/ 41879 h 802795"/>
                <a:gd name="connsiteX710" fmla="*/ 534098 w 1066152"/>
                <a:gd name="connsiteY710" fmla="*/ 43995 h 802795"/>
                <a:gd name="connsiteX711" fmla="*/ 541694 w 1066152"/>
                <a:gd name="connsiteY711" fmla="*/ 47287 h 802795"/>
                <a:gd name="connsiteX712" fmla="*/ 544844 w 1066152"/>
                <a:gd name="connsiteY712" fmla="*/ 48157 h 802795"/>
                <a:gd name="connsiteX713" fmla="*/ 548160 w 1066152"/>
                <a:gd name="connsiteY713" fmla="*/ 48486 h 802795"/>
                <a:gd name="connsiteX714" fmla="*/ 551569 w 1066152"/>
                <a:gd name="connsiteY714" fmla="*/ 48110 h 802795"/>
                <a:gd name="connsiteX715" fmla="*/ 554180 w 1066152"/>
                <a:gd name="connsiteY715" fmla="*/ 47451 h 802795"/>
                <a:gd name="connsiteX716" fmla="*/ 555097 w 1066152"/>
                <a:gd name="connsiteY716" fmla="*/ 47381 h 802795"/>
                <a:gd name="connsiteX717" fmla="*/ 555544 w 1066152"/>
                <a:gd name="connsiteY717" fmla="*/ 47687 h 802795"/>
                <a:gd name="connsiteX718" fmla="*/ 556084 w 1066152"/>
                <a:gd name="connsiteY718" fmla="*/ 48392 h 802795"/>
                <a:gd name="connsiteX719" fmla="*/ 556790 w 1066152"/>
                <a:gd name="connsiteY719" fmla="*/ 49098 h 802795"/>
                <a:gd name="connsiteX720" fmla="*/ 557753 w 1066152"/>
                <a:gd name="connsiteY720" fmla="*/ 49403 h 802795"/>
                <a:gd name="connsiteX721" fmla="*/ 557966 w 1066152"/>
                <a:gd name="connsiteY721" fmla="*/ 49309 h 802795"/>
                <a:gd name="connsiteX722" fmla="*/ 558224 w 1066152"/>
                <a:gd name="connsiteY722" fmla="*/ 49074 h 802795"/>
                <a:gd name="connsiteX723" fmla="*/ 558600 w 1066152"/>
                <a:gd name="connsiteY723" fmla="*/ 48862 h 802795"/>
                <a:gd name="connsiteX724" fmla="*/ 559118 w 1066152"/>
                <a:gd name="connsiteY724" fmla="*/ 48745 h 802795"/>
                <a:gd name="connsiteX725" fmla="*/ 559494 w 1066152"/>
                <a:gd name="connsiteY725" fmla="*/ 48956 h 802795"/>
                <a:gd name="connsiteX726" fmla="*/ 559682 w 1066152"/>
                <a:gd name="connsiteY726" fmla="*/ 49426 h 802795"/>
                <a:gd name="connsiteX727" fmla="*/ 559917 w 1066152"/>
                <a:gd name="connsiteY727" fmla="*/ 49873 h 802795"/>
                <a:gd name="connsiteX728" fmla="*/ 560458 w 1066152"/>
                <a:gd name="connsiteY728" fmla="*/ 50085 h 802795"/>
                <a:gd name="connsiteX729" fmla="*/ 562715 w 1066152"/>
                <a:gd name="connsiteY729" fmla="*/ 48439 h 802795"/>
                <a:gd name="connsiteX730" fmla="*/ 563703 w 1066152"/>
                <a:gd name="connsiteY730" fmla="*/ 48134 h 802795"/>
                <a:gd name="connsiteX731" fmla="*/ 565325 w 1066152"/>
                <a:gd name="connsiteY731" fmla="*/ 47898 h 802795"/>
                <a:gd name="connsiteX732" fmla="*/ 570875 w 1066152"/>
                <a:gd name="connsiteY732" fmla="*/ 46041 h 802795"/>
                <a:gd name="connsiteX733" fmla="*/ 572662 w 1066152"/>
                <a:gd name="connsiteY733" fmla="*/ 44983 h 802795"/>
                <a:gd name="connsiteX734" fmla="*/ 573555 w 1066152"/>
                <a:gd name="connsiteY734" fmla="*/ 44607 h 802795"/>
                <a:gd name="connsiteX735" fmla="*/ 574708 w 1066152"/>
                <a:gd name="connsiteY735" fmla="*/ 44653 h 802795"/>
                <a:gd name="connsiteX736" fmla="*/ 575624 w 1066152"/>
                <a:gd name="connsiteY736" fmla="*/ 45335 h 802795"/>
                <a:gd name="connsiteX737" fmla="*/ 576188 w 1066152"/>
                <a:gd name="connsiteY737" fmla="*/ 46299 h 802795"/>
                <a:gd name="connsiteX738" fmla="*/ 576800 w 1066152"/>
                <a:gd name="connsiteY738" fmla="*/ 46793 h 802795"/>
                <a:gd name="connsiteX739" fmla="*/ 577905 w 1066152"/>
                <a:gd name="connsiteY739" fmla="*/ 46041 h 802795"/>
                <a:gd name="connsiteX740" fmla="*/ 577459 w 1066152"/>
                <a:gd name="connsiteY740" fmla="*/ 45758 h 802795"/>
                <a:gd name="connsiteX741" fmla="*/ 576800 w 1066152"/>
                <a:gd name="connsiteY741" fmla="*/ 45053 h 802795"/>
                <a:gd name="connsiteX742" fmla="*/ 576259 w 1066152"/>
                <a:gd name="connsiteY742" fmla="*/ 44653 h 802795"/>
                <a:gd name="connsiteX743" fmla="*/ 579457 w 1066152"/>
                <a:gd name="connsiteY743" fmla="*/ 43336 h 802795"/>
                <a:gd name="connsiteX744" fmla="*/ 582397 w 1066152"/>
                <a:gd name="connsiteY744" fmla="*/ 40891 h 802795"/>
                <a:gd name="connsiteX745" fmla="*/ 585218 w 1066152"/>
                <a:gd name="connsiteY745" fmla="*/ 39504 h 802795"/>
                <a:gd name="connsiteX746" fmla="*/ 586558 w 1066152"/>
                <a:gd name="connsiteY746" fmla="*/ 40398 h 802795"/>
                <a:gd name="connsiteX747" fmla="*/ 586347 w 1066152"/>
                <a:gd name="connsiteY747" fmla="*/ 41549 h 802795"/>
                <a:gd name="connsiteX748" fmla="*/ 586347 w 1066152"/>
                <a:gd name="connsiteY748" fmla="*/ 44818 h 802795"/>
                <a:gd name="connsiteX749" fmla="*/ 588581 w 1066152"/>
                <a:gd name="connsiteY749" fmla="*/ 45829 h 802795"/>
                <a:gd name="connsiteX750" fmla="*/ 589545 w 1066152"/>
                <a:gd name="connsiteY750" fmla="*/ 47052 h 802795"/>
                <a:gd name="connsiteX751" fmla="*/ 589803 w 1066152"/>
                <a:gd name="connsiteY751" fmla="*/ 48980 h 802795"/>
                <a:gd name="connsiteX752" fmla="*/ 590015 w 1066152"/>
                <a:gd name="connsiteY752" fmla="*/ 49403 h 802795"/>
                <a:gd name="connsiteX753" fmla="*/ 590203 w 1066152"/>
                <a:gd name="connsiteY753" fmla="*/ 49779 h 802795"/>
                <a:gd name="connsiteX754" fmla="*/ 591049 w 1066152"/>
                <a:gd name="connsiteY754" fmla="*/ 49662 h 802795"/>
                <a:gd name="connsiteX755" fmla="*/ 591967 w 1066152"/>
                <a:gd name="connsiteY755" fmla="*/ 49238 h 802795"/>
                <a:gd name="connsiteX756" fmla="*/ 593660 w 1066152"/>
                <a:gd name="connsiteY756" fmla="*/ 49027 h 802795"/>
                <a:gd name="connsiteX757" fmla="*/ 595235 w 1066152"/>
                <a:gd name="connsiteY757" fmla="*/ 48416 h 802795"/>
                <a:gd name="connsiteX758" fmla="*/ 595964 w 1066152"/>
                <a:gd name="connsiteY758" fmla="*/ 48486 h 802795"/>
                <a:gd name="connsiteX759" fmla="*/ 597446 w 1066152"/>
                <a:gd name="connsiteY759" fmla="*/ 49144 h 802795"/>
                <a:gd name="connsiteX760" fmla="*/ 598198 w 1066152"/>
                <a:gd name="connsiteY760" fmla="*/ 49662 h 802795"/>
                <a:gd name="connsiteX761" fmla="*/ 598198 w 1066152"/>
                <a:gd name="connsiteY761" fmla="*/ 50132 h 802795"/>
                <a:gd name="connsiteX762" fmla="*/ 597987 w 1066152"/>
                <a:gd name="connsiteY762" fmla="*/ 50720 h 802795"/>
                <a:gd name="connsiteX763" fmla="*/ 598127 w 1066152"/>
                <a:gd name="connsiteY763" fmla="*/ 51590 h 802795"/>
                <a:gd name="connsiteX764" fmla="*/ 598692 w 1066152"/>
                <a:gd name="connsiteY764" fmla="*/ 53283 h 802795"/>
                <a:gd name="connsiteX765" fmla="*/ 599091 w 1066152"/>
                <a:gd name="connsiteY765" fmla="*/ 53730 h 802795"/>
                <a:gd name="connsiteX766" fmla="*/ 600056 w 1066152"/>
                <a:gd name="connsiteY766" fmla="*/ 54129 h 802795"/>
                <a:gd name="connsiteX767" fmla="*/ 600902 w 1066152"/>
                <a:gd name="connsiteY767" fmla="*/ 54247 h 802795"/>
                <a:gd name="connsiteX768" fmla="*/ 601889 w 1066152"/>
                <a:gd name="connsiteY768" fmla="*/ 54129 h 802795"/>
                <a:gd name="connsiteX769" fmla="*/ 602736 w 1066152"/>
                <a:gd name="connsiteY769" fmla="*/ 53683 h 802795"/>
                <a:gd name="connsiteX770" fmla="*/ 603183 w 1066152"/>
                <a:gd name="connsiteY770" fmla="*/ 52813 h 802795"/>
                <a:gd name="connsiteX771" fmla="*/ 603795 w 1066152"/>
                <a:gd name="connsiteY771" fmla="*/ 51120 h 802795"/>
                <a:gd name="connsiteX772" fmla="*/ 604970 w 1066152"/>
                <a:gd name="connsiteY772" fmla="*/ 50461 h 802795"/>
                <a:gd name="connsiteX773" fmla="*/ 606522 w 1066152"/>
                <a:gd name="connsiteY773" fmla="*/ 50508 h 802795"/>
                <a:gd name="connsiteX774" fmla="*/ 608944 w 1066152"/>
                <a:gd name="connsiteY774" fmla="*/ 51190 h 802795"/>
                <a:gd name="connsiteX775" fmla="*/ 612213 w 1066152"/>
                <a:gd name="connsiteY775" fmla="*/ 52766 h 802795"/>
                <a:gd name="connsiteX776" fmla="*/ 613082 w 1066152"/>
                <a:gd name="connsiteY776" fmla="*/ 52625 h 802795"/>
                <a:gd name="connsiteX777" fmla="*/ 613952 w 1066152"/>
                <a:gd name="connsiteY777" fmla="*/ 52343 h 802795"/>
                <a:gd name="connsiteX778" fmla="*/ 614893 w 1066152"/>
                <a:gd name="connsiteY778" fmla="*/ 52343 h 802795"/>
                <a:gd name="connsiteX779" fmla="*/ 617150 w 1066152"/>
                <a:gd name="connsiteY779" fmla="*/ 54482 h 802795"/>
                <a:gd name="connsiteX780" fmla="*/ 617456 w 1066152"/>
                <a:gd name="connsiteY780" fmla="*/ 58080 h 802795"/>
                <a:gd name="connsiteX781" fmla="*/ 616610 w 1066152"/>
                <a:gd name="connsiteY781" fmla="*/ 62007 h 802795"/>
                <a:gd name="connsiteX782" fmla="*/ 615410 w 1066152"/>
                <a:gd name="connsiteY782" fmla="*/ 65134 h 802795"/>
                <a:gd name="connsiteX783" fmla="*/ 614422 w 1066152"/>
                <a:gd name="connsiteY783" fmla="*/ 66357 h 802795"/>
                <a:gd name="connsiteX784" fmla="*/ 611201 w 1066152"/>
                <a:gd name="connsiteY784" fmla="*/ 69555 h 802795"/>
                <a:gd name="connsiteX785" fmla="*/ 610566 w 1066152"/>
                <a:gd name="connsiteY785" fmla="*/ 70378 h 802795"/>
                <a:gd name="connsiteX786" fmla="*/ 611553 w 1066152"/>
                <a:gd name="connsiteY786" fmla="*/ 72517 h 802795"/>
                <a:gd name="connsiteX787" fmla="*/ 612988 w 1066152"/>
                <a:gd name="connsiteY787" fmla="*/ 73999 h 802795"/>
                <a:gd name="connsiteX788" fmla="*/ 614705 w 1066152"/>
                <a:gd name="connsiteY788" fmla="*/ 74916 h 802795"/>
                <a:gd name="connsiteX789" fmla="*/ 616633 w 1066152"/>
                <a:gd name="connsiteY789" fmla="*/ 75386 h 802795"/>
                <a:gd name="connsiteX790" fmla="*/ 618773 w 1066152"/>
                <a:gd name="connsiteY790" fmla="*/ 75574 h 802795"/>
                <a:gd name="connsiteX791" fmla="*/ 620090 w 1066152"/>
                <a:gd name="connsiteY791" fmla="*/ 75175 h 802795"/>
                <a:gd name="connsiteX792" fmla="*/ 620748 w 1066152"/>
                <a:gd name="connsiteY792" fmla="*/ 73834 h 802795"/>
                <a:gd name="connsiteX793" fmla="*/ 620936 w 1066152"/>
                <a:gd name="connsiteY793" fmla="*/ 71271 h 802795"/>
                <a:gd name="connsiteX794" fmla="*/ 621477 w 1066152"/>
                <a:gd name="connsiteY794" fmla="*/ 69296 h 802795"/>
                <a:gd name="connsiteX795" fmla="*/ 622817 w 1066152"/>
                <a:gd name="connsiteY795" fmla="*/ 67886 h 802795"/>
                <a:gd name="connsiteX796" fmla="*/ 624581 w 1066152"/>
                <a:gd name="connsiteY796" fmla="*/ 67274 h 802795"/>
                <a:gd name="connsiteX797" fmla="*/ 626344 w 1066152"/>
                <a:gd name="connsiteY797" fmla="*/ 67697 h 802795"/>
                <a:gd name="connsiteX798" fmla="*/ 624698 w 1066152"/>
                <a:gd name="connsiteY798" fmla="*/ 68991 h 802795"/>
                <a:gd name="connsiteX799" fmla="*/ 624063 w 1066152"/>
                <a:gd name="connsiteY799" fmla="*/ 70260 h 802795"/>
                <a:gd name="connsiteX800" fmla="*/ 624416 w 1066152"/>
                <a:gd name="connsiteY800" fmla="*/ 71577 h 802795"/>
                <a:gd name="connsiteX801" fmla="*/ 625733 w 1066152"/>
                <a:gd name="connsiteY801" fmla="*/ 72988 h 802795"/>
                <a:gd name="connsiteX802" fmla="*/ 627191 w 1066152"/>
                <a:gd name="connsiteY802" fmla="*/ 73811 h 802795"/>
                <a:gd name="connsiteX803" fmla="*/ 631729 w 1066152"/>
                <a:gd name="connsiteY803" fmla="*/ 74540 h 802795"/>
                <a:gd name="connsiteX804" fmla="*/ 634410 w 1066152"/>
                <a:gd name="connsiteY804" fmla="*/ 75927 h 802795"/>
                <a:gd name="connsiteX805" fmla="*/ 636949 w 1066152"/>
                <a:gd name="connsiteY805" fmla="*/ 77855 h 802795"/>
                <a:gd name="connsiteX806" fmla="*/ 639889 w 1066152"/>
                <a:gd name="connsiteY806" fmla="*/ 77597 h 802795"/>
                <a:gd name="connsiteX807" fmla="*/ 640570 w 1066152"/>
                <a:gd name="connsiteY807" fmla="*/ 77855 h 802795"/>
                <a:gd name="connsiteX808" fmla="*/ 641864 w 1066152"/>
                <a:gd name="connsiteY808" fmla="*/ 78607 h 802795"/>
                <a:gd name="connsiteX809" fmla="*/ 642451 w 1066152"/>
                <a:gd name="connsiteY809" fmla="*/ 79054 h 802795"/>
                <a:gd name="connsiteX810" fmla="*/ 645156 w 1066152"/>
                <a:gd name="connsiteY810" fmla="*/ 79361 h 802795"/>
                <a:gd name="connsiteX811" fmla="*/ 646449 w 1066152"/>
                <a:gd name="connsiteY811" fmla="*/ 79713 h 802795"/>
                <a:gd name="connsiteX812" fmla="*/ 647413 w 1066152"/>
                <a:gd name="connsiteY812" fmla="*/ 80747 h 802795"/>
                <a:gd name="connsiteX813" fmla="*/ 650140 w 1066152"/>
                <a:gd name="connsiteY813" fmla="*/ 82628 h 802795"/>
                <a:gd name="connsiteX814" fmla="*/ 653127 w 1066152"/>
                <a:gd name="connsiteY814" fmla="*/ 83522 h 802795"/>
                <a:gd name="connsiteX815" fmla="*/ 659358 w 1066152"/>
                <a:gd name="connsiteY815" fmla="*/ 83993 h 802795"/>
                <a:gd name="connsiteX816" fmla="*/ 665378 w 1066152"/>
                <a:gd name="connsiteY816" fmla="*/ 83005 h 802795"/>
                <a:gd name="connsiteX817" fmla="*/ 667470 w 1066152"/>
                <a:gd name="connsiteY817" fmla="*/ 83663 h 802795"/>
                <a:gd name="connsiteX818" fmla="*/ 668623 w 1066152"/>
                <a:gd name="connsiteY818" fmla="*/ 86391 h 802795"/>
                <a:gd name="connsiteX819" fmla="*/ 668952 w 1066152"/>
                <a:gd name="connsiteY819" fmla="*/ 87167 h 802795"/>
                <a:gd name="connsiteX820" fmla="*/ 668905 w 1066152"/>
                <a:gd name="connsiteY820" fmla="*/ 87849 h 802795"/>
                <a:gd name="connsiteX821" fmla="*/ 668646 w 1066152"/>
                <a:gd name="connsiteY821" fmla="*/ 88296 h 802795"/>
                <a:gd name="connsiteX822" fmla="*/ 668552 w 1066152"/>
                <a:gd name="connsiteY822" fmla="*/ 88813 h 802795"/>
                <a:gd name="connsiteX823" fmla="*/ 668999 w 1066152"/>
                <a:gd name="connsiteY823" fmla="*/ 89706 h 802795"/>
                <a:gd name="connsiteX824" fmla="*/ 669798 w 1066152"/>
                <a:gd name="connsiteY824" fmla="*/ 90412 h 802795"/>
                <a:gd name="connsiteX825" fmla="*/ 670575 w 1066152"/>
                <a:gd name="connsiteY825" fmla="*/ 90506 h 802795"/>
                <a:gd name="connsiteX826" fmla="*/ 671350 w 1066152"/>
                <a:gd name="connsiteY826" fmla="*/ 90412 h 802795"/>
                <a:gd name="connsiteX827" fmla="*/ 672126 w 1066152"/>
                <a:gd name="connsiteY827" fmla="*/ 90530 h 802795"/>
                <a:gd name="connsiteX828" fmla="*/ 674807 w 1066152"/>
                <a:gd name="connsiteY828" fmla="*/ 92058 h 802795"/>
                <a:gd name="connsiteX829" fmla="*/ 676194 w 1066152"/>
                <a:gd name="connsiteY829" fmla="*/ 93140 h 802795"/>
                <a:gd name="connsiteX830" fmla="*/ 679227 w 1066152"/>
                <a:gd name="connsiteY830" fmla="*/ 96878 h 802795"/>
                <a:gd name="connsiteX831" fmla="*/ 679345 w 1066152"/>
                <a:gd name="connsiteY831" fmla="*/ 97301 h 802795"/>
                <a:gd name="connsiteX832" fmla="*/ 679181 w 1066152"/>
                <a:gd name="connsiteY832" fmla="*/ 97725 h 802795"/>
                <a:gd name="connsiteX833" fmla="*/ 679181 w 1066152"/>
                <a:gd name="connsiteY833" fmla="*/ 98078 h 802795"/>
                <a:gd name="connsiteX834" fmla="*/ 679698 w 1066152"/>
                <a:gd name="connsiteY834" fmla="*/ 98289 h 802795"/>
                <a:gd name="connsiteX835" fmla="*/ 680968 w 1066152"/>
                <a:gd name="connsiteY835" fmla="*/ 98289 h 802795"/>
                <a:gd name="connsiteX836" fmla="*/ 681296 w 1066152"/>
                <a:gd name="connsiteY836" fmla="*/ 98383 h 802795"/>
                <a:gd name="connsiteX837" fmla="*/ 681743 w 1066152"/>
                <a:gd name="connsiteY837" fmla="*/ 98971 h 802795"/>
                <a:gd name="connsiteX838" fmla="*/ 681626 w 1066152"/>
                <a:gd name="connsiteY838" fmla="*/ 99606 h 802795"/>
                <a:gd name="connsiteX839" fmla="*/ 681626 w 1066152"/>
                <a:gd name="connsiteY839" fmla="*/ 100194 h 802795"/>
                <a:gd name="connsiteX840" fmla="*/ 682378 w 1066152"/>
                <a:gd name="connsiteY840" fmla="*/ 100641 h 802795"/>
                <a:gd name="connsiteX841" fmla="*/ 682989 w 1066152"/>
                <a:gd name="connsiteY841" fmla="*/ 100546 h 802795"/>
                <a:gd name="connsiteX842" fmla="*/ 684306 w 1066152"/>
                <a:gd name="connsiteY842" fmla="*/ 99723 h 802795"/>
                <a:gd name="connsiteX843" fmla="*/ 684989 w 1066152"/>
                <a:gd name="connsiteY843" fmla="*/ 99512 h 802795"/>
                <a:gd name="connsiteX844" fmla="*/ 685129 w 1066152"/>
                <a:gd name="connsiteY844" fmla="*/ 97184 h 802795"/>
                <a:gd name="connsiteX845" fmla="*/ 687128 w 1066152"/>
                <a:gd name="connsiteY845" fmla="*/ 97231 h 802795"/>
                <a:gd name="connsiteX846" fmla="*/ 691337 w 1066152"/>
                <a:gd name="connsiteY846" fmla="*/ 99042 h 802795"/>
                <a:gd name="connsiteX847" fmla="*/ 693735 w 1066152"/>
                <a:gd name="connsiteY847" fmla="*/ 98877 h 802795"/>
                <a:gd name="connsiteX848" fmla="*/ 695616 w 1066152"/>
                <a:gd name="connsiteY848" fmla="*/ 97842 h 802795"/>
                <a:gd name="connsiteX849" fmla="*/ 699379 w 1066152"/>
                <a:gd name="connsiteY849" fmla="*/ 95115 h 802795"/>
                <a:gd name="connsiteX850" fmla="*/ 700061 w 1066152"/>
                <a:gd name="connsiteY850" fmla="*/ 95750 h 802795"/>
                <a:gd name="connsiteX851" fmla="*/ 700672 w 1066152"/>
                <a:gd name="connsiteY851" fmla="*/ 95538 h 802795"/>
                <a:gd name="connsiteX852" fmla="*/ 701213 w 1066152"/>
                <a:gd name="connsiteY852" fmla="*/ 94785 h 802795"/>
                <a:gd name="connsiteX853" fmla="*/ 701637 w 1066152"/>
                <a:gd name="connsiteY853" fmla="*/ 93821 h 802795"/>
                <a:gd name="connsiteX854" fmla="*/ 702836 w 1066152"/>
                <a:gd name="connsiteY854" fmla="*/ 94879 h 802795"/>
                <a:gd name="connsiteX855" fmla="*/ 703024 w 1066152"/>
                <a:gd name="connsiteY855" fmla="*/ 94973 h 802795"/>
                <a:gd name="connsiteX856" fmla="*/ 707562 w 1066152"/>
                <a:gd name="connsiteY856" fmla="*/ 97513 h 802795"/>
                <a:gd name="connsiteX857" fmla="*/ 708502 w 1066152"/>
                <a:gd name="connsiteY857" fmla="*/ 99324 h 802795"/>
                <a:gd name="connsiteX858" fmla="*/ 710596 w 1066152"/>
                <a:gd name="connsiteY858" fmla="*/ 99559 h 802795"/>
                <a:gd name="connsiteX859" fmla="*/ 712853 w 1066152"/>
                <a:gd name="connsiteY859" fmla="*/ 98971 h 802795"/>
                <a:gd name="connsiteX860" fmla="*/ 714264 w 1066152"/>
                <a:gd name="connsiteY860" fmla="*/ 98430 h 802795"/>
                <a:gd name="connsiteX861" fmla="*/ 714075 w 1066152"/>
                <a:gd name="connsiteY861" fmla="*/ 100147 h 802795"/>
                <a:gd name="connsiteX862" fmla="*/ 714522 w 1066152"/>
                <a:gd name="connsiteY862" fmla="*/ 101840 h 802795"/>
                <a:gd name="connsiteX863" fmla="*/ 715463 w 1066152"/>
                <a:gd name="connsiteY863" fmla="*/ 103297 h 802795"/>
                <a:gd name="connsiteX864" fmla="*/ 716756 w 1066152"/>
                <a:gd name="connsiteY864" fmla="*/ 104262 h 802795"/>
                <a:gd name="connsiteX865" fmla="*/ 717227 w 1066152"/>
                <a:gd name="connsiteY865" fmla="*/ 104802 h 802795"/>
                <a:gd name="connsiteX866" fmla="*/ 717320 w 1066152"/>
                <a:gd name="connsiteY866" fmla="*/ 105485 h 802795"/>
                <a:gd name="connsiteX867" fmla="*/ 717532 w 1066152"/>
                <a:gd name="connsiteY867" fmla="*/ 106120 h 802795"/>
                <a:gd name="connsiteX868" fmla="*/ 718355 w 1066152"/>
                <a:gd name="connsiteY868" fmla="*/ 106472 h 802795"/>
                <a:gd name="connsiteX869" fmla="*/ 719342 w 1066152"/>
                <a:gd name="connsiteY869" fmla="*/ 106731 h 802795"/>
                <a:gd name="connsiteX870" fmla="*/ 719883 w 1066152"/>
                <a:gd name="connsiteY870" fmla="*/ 107178 h 802795"/>
                <a:gd name="connsiteX871" fmla="*/ 720236 w 1066152"/>
                <a:gd name="connsiteY871" fmla="*/ 107671 h 802795"/>
                <a:gd name="connsiteX872" fmla="*/ 720682 w 1066152"/>
                <a:gd name="connsiteY872" fmla="*/ 108095 h 802795"/>
                <a:gd name="connsiteX873" fmla="*/ 723787 w 1066152"/>
                <a:gd name="connsiteY873" fmla="*/ 109223 h 802795"/>
                <a:gd name="connsiteX874" fmla="*/ 726491 w 1066152"/>
                <a:gd name="connsiteY874" fmla="*/ 108988 h 802795"/>
                <a:gd name="connsiteX875" fmla="*/ 732534 w 1066152"/>
                <a:gd name="connsiteY875" fmla="*/ 106942 h 802795"/>
                <a:gd name="connsiteX876" fmla="*/ 737330 w 1066152"/>
                <a:gd name="connsiteY876" fmla="*/ 106284 h 802795"/>
                <a:gd name="connsiteX877" fmla="*/ 738789 w 1066152"/>
                <a:gd name="connsiteY877" fmla="*/ 105366 h 802795"/>
                <a:gd name="connsiteX878" fmla="*/ 740059 w 1066152"/>
                <a:gd name="connsiteY878" fmla="*/ 105179 h 802795"/>
                <a:gd name="connsiteX879" fmla="*/ 744220 w 1066152"/>
                <a:gd name="connsiteY879" fmla="*/ 106166 h 802795"/>
                <a:gd name="connsiteX880" fmla="*/ 745467 w 1066152"/>
                <a:gd name="connsiteY880" fmla="*/ 106731 h 802795"/>
                <a:gd name="connsiteX881" fmla="*/ 747136 w 1066152"/>
                <a:gd name="connsiteY881" fmla="*/ 109458 h 802795"/>
                <a:gd name="connsiteX882" fmla="*/ 748359 w 1066152"/>
                <a:gd name="connsiteY882" fmla="*/ 110799 h 802795"/>
                <a:gd name="connsiteX883" fmla="*/ 749511 w 1066152"/>
                <a:gd name="connsiteY883" fmla="*/ 110634 h 802795"/>
                <a:gd name="connsiteX884" fmla="*/ 751698 w 1066152"/>
                <a:gd name="connsiteY884" fmla="*/ 107788 h 802795"/>
                <a:gd name="connsiteX885" fmla="*/ 753085 w 1066152"/>
                <a:gd name="connsiteY885" fmla="*/ 106495 h 802795"/>
                <a:gd name="connsiteX886" fmla="*/ 754496 w 1066152"/>
                <a:gd name="connsiteY886" fmla="*/ 106026 h 802795"/>
                <a:gd name="connsiteX887" fmla="*/ 756659 w 1066152"/>
                <a:gd name="connsiteY887" fmla="*/ 107718 h 802795"/>
                <a:gd name="connsiteX888" fmla="*/ 756801 w 1066152"/>
                <a:gd name="connsiteY888" fmla="*/ 108047 h 802795"/>
                <a:gd name="connsiteX889" fmla="*/ 756801 w 1066152"/>
                <a:gd name="connsiteY889" fmla="*/ 108448 h 802795"/>
                <a:gd name="connsiteX890" fmla="*/ 756871 w 1066152"/>
                <a:gd name="connsiteY890" fmla="*/ 108847 h 802795"/>
                <a:gd name="connsiteX891" fmla="*/ 757248 w 1066152"/>
                <a:gd name="connsiteY891" fmla="*/ 109176 h 802795"/>
                <a:gd name="connsiteX892" fmla="*/ 758822 w 1066152"/>
                <a:gd name="connsiteY892" fmla="*/ 109458 h 802795"/>
                <a:gd name="connsiteX893" fmla="*/ 760351 w 1066152"/>
                <a:gd name="connsiteY893" fmla="*/ 109387 h 802795"/>
                <a:gd name="connsiteX894" fmla="*/ 763338 w 1066152"/>
                <a:gd name="connsiteY894" fmla="*/ 108659 h 802795"/>
                <a:gd name="connsiteX895" fmla="*/ 764630 w 1066152"/>
                <a:gd name="connsiteY895" fmla="*/ 109176 h 802795"/>
                <a:gd name="connsiteX896" fmla="*/ 774389 w 1066152"/>
                <a:gd name="connsiteY896" fmla="*/ 108917 h 802795"/>
                <a:gd name="connsiteX897" fmla="*/ 777163 w 1066152"/>
                <a:gd name="connsiteY897" fmla="*/ 109270 h 802795"/>
                <a:gd name="connsiteX898" fmla="*/ 778198 w 1066152"/>
                <a:gd name="connsiteY898" fmla="*/ 108917 h 802795"/>
                <a:gd name="connsiteX899" fmla="*/ 778715 w 1066152"/>
                <a:gd name="connsiteY899" fmla="*/ 108118 h 802795"/>
                <a:gd name="connsiteX900" fmla="*/ 778880 w 1066152"/>
                <a:gd name="connsiteY900" fmla="*/ 107883 h 802795"/>
                <a:gd name="connsiteX901" fmla="*/ 778951 w 1066152"/>
                <a:gd name="connsiteY901" fmla="*/ 106308 h 802795"/>
                <a:gd name="connsiteX902" fmla="*/ 778433 w 1066152"/>
                <a:gd name="connsiteY902" fmla="*/ 104850 h 802795"/>
                <a:gd name="connsiteX903" fmla="*/ 777493 w 1066152"/>
                <a:gd name="connsiteY903" fmla="*/ 103768 h 802795"/>
                <a:gd name="connsiteX904" fmla="*/ 776388 w 1066152"/>
                <a:gd name="connsiteY904" fmla="*/ 103391 h 802795"/>
                <a:gd name="connsiteX905" fmla="*/ 776858 w 1066152"/>
                <a:gd name="connsiteY905" fmla="*/ 102427 h 802795"/>
                <a:gd name="connsiteX906" fmla="*/ 777163 w 1066152"/>
                <a:gd name="connsiteY906" fmla="*/ 102005 h 802795"/>
                <a:gd name="connsiteX907" fmla="*/ 777752 w 1066152"/>
                <a:gd name="connsiteY907" fmla="*/ 101581 h 802795"/>
                <a:gd name="connsiteX908" fmla="*/ 776881 w 1066152"/>
                <a:gd name="connsiteY908" fmla="*/ 100500 h 802795"/>
                <a:gd name="connsiteX909" fmla="*/ 777986 w 1066152"/>
                <a:gd name="connsiteY909" fmla="*/ 97772 h 802795"/>
                <a:gd name="connsiteX910" fmla="*/ 777822 w 1066152"/>
                <a:gd name="connsiteY910" fmla="*/ 95679 h 802795"/>
                <a:gd name="connsiteX911" fmla="*/ 778198 w 1066152"/>
                <a:gd name="connsiteY911" fmla="*/ 94268 h 802795"/>
                <a:gd name="connsiteX912" fmla="*/ 780009 w 1066152"/>
                <a:gd name="connsiteY912" fmla="*/ 93610 h 802795"/>
                <a:gd name="connsiteX913" fmla="*/ 782149 w 1066152"/>
                <a:gd name="connsiteY913" fmla="*/ 93468 h 802795"/>
                <a:gd name="connsiteX914" fmla="*/ 783512 w 1066152"/>
                <a:gd name="connsiteY914" fmla="*/ 93610 h 802795"/>
                <a:gd name="connsiteX915" fmla="*/ 786216 w 1066152"/>
                <a:gd name="connsiteY915" fmla="*/ 94597 h 802795"/>
                <a:gd name="connsiteX916" fmla="*/ 787580 w 1066152"/>
                <a:gd name="connsiteY916" fmla="*/ 94879 h 802795"/>
                <a:gd name="connsiteX917" fmla="*/ 789109 w 1066152"/>
                <a:gd name="connsiteY917" fmla="*/ 94739 h 802795"/>
                <a:gd name="connsiteX918" fmla="*/ 790449 w 1066152"/>
                <a:gd name="connsiteY918" fmla="*/ 94950 h 802795"/>
                <a:gd name="connsiteX919" fmla="*/ 793835 w 1066152"/>
                <a:gd name="connsiteY919" fmla="*/ 96784 h 802795"/>
                <a:gd name="connsiteX920" fmla="*/ 796163 w 1066152"/>
                <a:gd name="connsiteY920" fmla="*/ 97608 h 802795"/>
                <a:gd name="connsiteX921" fmla="*/ 796845 w 1066152"/>
                <a:gd name="connsiteY921" fmla="*/ 98078 h 802795"/>
                <a:gd name="connsiteX922" fmla="*/ 798091 w 1066152"/>
                <a:gd name="connsiteY922" fmla="*/ 99206 h 802795"/>
                <a:gd name="connsiteX923" fmla="*/ 798937 w 1066152"/>
                <a:gd name="connsiteY923" fmla="*/ 99535 h 802795"/>
                <a:gd name="connsiteX924" fmla="*/ 799690 w 1066152"/>
                <a:gd name="connsiteY924" fmla="*/ 99182 h 802795"/>
                <a:gd name="connsiteX925" fmla="*/ 800419 w 1066152"/>
                <a:gd name="connsiteY925" fmla="*/ 98642 h 802795"/>
                <a:gd name="connsiteX926" fmla="*/ 801219 w 1066152"/>
                <a:gd name="connsiteY926" fmla="*/ 98407 h 802795"/>
                <a:gd name="connsiteX927" fmla="*/ 801877 w 1066152"/>
                <a:gd name="connsiteY927" fmla="*/ 98642 h 802795"/>
                <a:gd name="connsiteX928" fmla="*/ 803170 w 1066152"/>
                <a:gd name="connsiteY928" fmla="*/ 99629 h 802795"/>
                <a:gd name="connsiteX929" fmla="*/ 803781 w 1066152"/>
                <a:gd name="connsiteY929" fmla="*/ 99959 h 802795"/>
                <a:gd name="connsiteX930" fmla="*/ 810436 w 1066152"/>
                <a:gd name="connsiteY930" fmla="*/ 100382 h 802795"/>
                <a:gd name="connsiteX931" fmla="*/ 812059 w 1066152"/>
                <a:gd name="connsiteY931" fmla="*/ 100852 h 802795"/>
                <a:gd name="connsiteX932" fmla="*/ 813446 w 1066152"/>
                <a:gd name="connsiteY932" fmla="*/ 102005 h 802795"/>
                <a:gd name="connsiteX933" fmla="*/ 814222 w 1066152"/>
                <a:gd name="connsiteY933" fmla="*/ 103415 h 802795"/>
                <a:gd name="connsiteX934" fmla="*/ 814810 w 1066152"/>
                <a:gd name="connsiteY934" fmla="*/ 104920 h 802795"/>
                <a:gd name="connsiteX935" fmla="*/ 815609 w 1066152"/>
                <a:gd name="connsiteY935" fmla="*/ 106260 h 802795"/>
                <a:gd name="connsiteX936" fmla="*/ 816950 w 1066152"/>
                <a:gd name="connsiteY936" fmla="*/ 107154 h 802795"/>
                <a:gd name="connsiteX937" fmla="*/ 817819 w 1066152"/>
                <a:gd name="connsiteY937" fmla="*/ 107248 h 802795"/>
                <a:gd name="connsiteX938" fmla="*/ 820429 w 1066152"/>
                <a:gd name="connsiteY938" fmla="*/ 106495 h 802795"/>
                <a:gd name="connsiteX939" fmla="*/ 830070 w 1066152"/>
                <a:gd name="connsiteY939" fmla="*/ 106495 h 802795"/>
                <a:gd name="connsiteX940" fmla="*/ 831905 w 1066152"/>
                <a:gd name="connsiteY940" fmla="*/ 106942 h 802795"/>
                <a:gd name="connsiteX941" fmla="*/ 831575 w 1066152"/>
                <a:gd name="connsiteY941" fmla="*/ 108329 h 802795"/>
                <a:gd name="connsiteX942" fmla="*/ 831974 w 1066152"/>
                <a:gd name="connsiteY942" fmla="*/ 108706 h 802795"/>
                <a:gd name="connsiteX943" fmla="*/ 832704 w 1066152"/>
                <a:gd name="connsiteY943" fmla="*/ 108753 h 802795"/>
                <a:gd name="connsiteX944" fmla="*/ 833362 w 1066152"/>
                <a:gd name="connsiteY944" fmla="*/ 109082 h 802795"/>
                <a:gd name="connsiteX945" fmla="*/ 834749 w 1066152"/>
                <a:gd name="connsiteY945" fmla="*/ 111363 h 802795"/>
                <a:gd name="connsiteX946" fmla="*/ 836254 w 1066152"/>
                <a:gd name="connsiteY946" fmla="*/ 113268 h 802795"/>
                <a:gd name="connsiteX947" fmla="*/ 837571 w 1066152"/>
                <a:gd name="connsiteY947" fmla="*/ 116630 h 802795"/>
                <a:gd name="connsiteX948" fmla="*/ 838700 w 1066152"/>
                <a:gd name="connsiteY948" fmla="*/ 117993 h 802795"/>
                <a:gd name="connsiteX949" fmla="*/ 838347 w 1066152"/>
                <a:gd name="connsiteY949" fmla="*/ 118582 h 802795"/>
                <a:gd name="connsiteX950" fmla="*/ 837901 w 1066152"/>
                <a:gd name="connsiteY950" fmla="*/ 119569 h 802795"/>
                <a:gd name="connsiteX951" fmla="*/ 837806 w 1066152"/>
                <a:gd name="connsiteY951" fmla="*/ 120486 h 802795"/>
                <a:gd name="connsiteX952" fmla="*/ 838442 w 1066152"/>
                <a:gd name="connsiteY952" fmla="*/ 120910 h 802795"/>
                <a:gd name="connsiteX953" fmla="*/ 838442 w 1066152"/>
                <a:gd name="connsiteY953" fmla="*/ 121286 h 802795"/>
                <a:gd name="connsiteX954" fmla="*/ 837148 w 1066152"/>
                <a:gd name="connsiteY954" fmla="*/ 123355 h 802795"/>
                <a:gd name="connsiteX955" fmla="*/ 836889 w 1066152"/>
                <a:gd name="connsiteY955" fmla="*/ 124461 h 802795"/>
                <a:gd name="connsiteX956" fmla="*/ 838653 w 1066152"/>
                <a:gd name="connsiteY956" fmla="*/ 124248 h 802795"/>
                <a:gd name="connsiteX957" fmla="*/ 840017 w 1066152"/>
                <a:gd name="connsiteY957" fmla="*/ 125377 h 802795"/>
                <a:gd name="connsiteX958" fmla="*/ 840275 w 1066152"/>
                <a:gd name="connsiteY958" fmla="*/ 126906 h 802795"/>
                <a:gd name="connsiteX959" fmla="*/ 838724 w 1066152"/>
                <a:gd name="connsiteY959" fmla="*/ 127940 h 802795"/>
                <a:gd name="connsiteX960" fmla="*/ 838277 w 1066152"/>
                <a:gd name="connsiteY960" fmla="*/ 128034 h 802795"/>
                <a:gd name="connsiteX961" fmla="*/ 836960 w 1066152"/>
                <a:gd name="connsiteY961" fmla="*/ 128599 h 802795"/>
                <a:gd name="connsiteX962" fmla="*/ 839217 w 1066152"/>
                <a:gd name="connsiteY962" fmla="*/ 131820 h 802795"/>
                <a:gd name="connsiteX963" fmla="*/ 839217 w 1066152"/>
                <a:gd name="connsiteY963" fmla="*/ 133043 h 802795"/>
                <a:gd name="connsiteX964" fmla="*/ 840111 w 1066152"/>
                <a:gd name="connsiteY964" fmla="*/ 133654 h 802795"/>
                <a:gd name="connsiteX965" fmla="*/ 844837 w 1066152"/>
                <a:gd name="connsiteY965" fmla="*/ 134242 h 802795"/>
                <a:gd name="connsiteX966" fmla="*/ 845472 w 1066152"/>
                <a:gd name="connsiteY966" fmla="*/ 134148 h 802795"/>
                <a:gd name="connsiteX967" fmla="*/ 846389 w 1066152"/>
                <a:gd name="connsiteY967" fmla="*/ 133702 h 802795"/>
                <a:gd name="connsiteX968" fmla="*/ 846883 w 1066152"/>
                <a:gd name="connsiteY968" fmla="*/ 133161 h 802795"/>
                <a:gd name="connsiteX969" fmla="*/ 847236 w 1066152"/>
                <a:gd name="connsiteY969" fmla="*/ 132596 h 802795"/>
                <a:gd name="connsiteX970" fmla="*/ 847659 w 1066152"/>
                <a:gd name="connsiteY970" fmla="*/ 132149 h 802795"/>
                <a:gd name="connsiteX971" fmla="*/ 852597 w 1066152"/>
                <a:gd name="connsiteY971" fmla="*/ 131562 h 802795"/>
                <a:gd name="connsiteX972" fmla="*/ 855089 w 1066152"/>
                <a:gd name="connsiteY972" fmla="*/ 130574 h 802795"/>
                <a:gd name="connsiteX973" fmla="*/ 855936 w 1066152"/>
                <a:gd name="connsiteY973" fmla="*/ 127964 h 802795"/>
                <a:gd name="connsiteX974" fmla="*/ 856218 w 1066152"/>
                <a:gd name="connsiteY974" fmla="*/ 127658 h 802795"/>
                <a:gd name="connsiteX975" fmla="*/ 856453 w 1066152"/>
                <a:gd name="connsiteY975" fmla="*/ 127541 h 802795"/>
                <a:gd name="connsiteX976" fmla="*/ 856664 w 1066152"/>
                <a:gd name="connsiteY976" fmla="*/ 127611 h 802795"/>
                <a:gd name="connsiteX977" fmla="*/ 856876 w 1066152"/>
                <a:gd name="connsiteY977" fmla="*/ 127917 h 802795"/>
                <a:gd name="connsiteX978" fmla="*/ 857817 w 1066152"/>
                <a:gd name="connsiteY978" fmla="*/ 128223 h 802795"/>
                <a:gd name="connsiteX979" fmla="*/ 858758 w 1066152"/>
                <a:gd name="connsiteY979" fmla="*/ 128223 h 802795"/>
                <a:gd name="connsiteX980" fmla="*/ 859627 w 1066152"/>
                <a:gd name="connsiteY980" fmla="*/ 127846 h 802795"/>
                <a:gd name="connsiteX981" fmla="*/ 860380 w 1066152"/>
                <a:gd name="connsiteY981" fmla="*/ 127023 h 802795"/>
                <a:gd name="connsiteX982" fmla="*/ 860615 w 1066152"/>
                <a:gd name="connsiteY982" fmla="*/ 127165 h 802795"/>
                <a:gd name="connsiteX983" fmla="*/ 860756 w 1066152"/>
                <a:gd name="connsiteY983" fmla="*/ 127353 h 802795"/>
                <a:gd name="connsiteX984" fmla="*/ 860803 w 1066152"/>
                <a:gd name="connsiteY984" fmla="*/ 127588 h 802795"/>
                <a:gd name="connsiteX985" fmla="*/ 860756 w 1066152"/>
                <a:gd name="connsiteY985" fmla="*/ 127893 h 802795"/>
                <a:gd name="connsiteX986" fmla="*/ 862191 w 1066152"/>
                <a:gd name="connsiteY986" fmla="*/ 128434 h 802795"/>
                <a:gd name="connsiteX987" fmla="*/ 867058 w 1066152"/>
                <a:gd name="connsiteY987" fmla="*/ 129046 h 802795"/>
                <a:gd name="connsiteX988" fmla="*/ 868704 w 1066152"/>
                <a:gd name="connsiteY988" fmla="*/ 129680 h 802795"/>
                <a:gd name="connsiteX989" fmla="*/ 873101 w 1066152"/>
                <a:gd name="connsiteY989" fmla="*/ 132432 h 802795"/>
                <a:gd name="connsiteX990" fmla="*/ 874935 w 1066152"/>
                <a:gd name="connsiteY990" fmla="*/ 132831 h 802795"/>
                <a:gd name="connsiteX991" fmla="*/ 876393 w 1066152"/>
                <a:gd name="connsiteY991" fmla="*/ 132925 h 802795"/>
                <a:gd name="connsiteX992" fmla="*/ 877616 w 1066152"/>
                <a:gd name="connsiteY992" fmla="*/ 133420 h 802795"/>
                <a:gd name="connsiteX993" fmla="*/ 878674 w 1066152"/>
                <a:gd name="connsiteY993" fmla="*/ 135042 h 802795"/>
                <a:gd name="connsiteX994" fmla="*/ 879709 w 1066152"/>
                <a:gd name="connsiteY994" fmla="*/ 138663 h 802795"/>
                <a:gd name="connsiteX995" fmla="*/ 880438 w 1066152"/>
                <a:gd name="connsiteY995" fmla="*/ 140168 h 802795"/>
                <a:gd name="connsiteX996" fmla="*/ 881966 w 1066152"/>
                <a:gd name="connsiteY996" fmla="*/ 141414 h 802795"/>
                <a:gd name="connsiteX997" fmla="*/ 882930 w 1066152"/>
                <a:gd name="connsiteY997" fmla="*/ 141978 h 802795"/>
                <a:gd name="connsiteX998" fmla="*/ 883988 w 1066152"/>
                <a:gd name="connsiteY998" fmla="*/ 142119 h 802795"/>
                <a:gd name="connsiteX999" fmla="*/ 886033 w 1066152"/>
                <a:gd name="connsiteY999" fmla="*/ 141908 h 802795"/>
                <a:gd name="connsiteX1000" fmla="*/ 887327 w 1066152"/>
                <a:gd name="connsiteY1000" fmla="*/ 141625 h 802795"/>
                <a:gd name="connsiteX1001" fmla="*/ 888221 w 1066152"/>
                <a:gd name="connsiteY1001" fmla="*/ 141085 h 802795"/>
                <a:gd name="connsiteX1002" fmla="*/ 889537 w 1066152"/>
                <a:gd name="connsiteY1002" fmla="*/ 139792 h 802795"/>
                <a:gd name="connsiteX1003" fmla="*/ 891395 w 1066152"/>
                <a:gd name="connsiteY1003" fmla="*/ 138474 h 802795"/>
                <a:gd name="connsiteX1004" fmla="*/ 891771 w 1066152"/>
                <a:gd name="connsiteY1004" fmla="*/ 137910 h 802795"/>
                <a:gd name="connsiteX1005" fmla="*/ 892359 w 1066152"/>
                <a:gd name="connsiteY1005" fmla="*/ 136476 h 802795"/>
                <a:gd name="connsiteX1006" fmla="*/ 892735 w 1066152"/>
                <a:gd name="connsiteY1006" fmla="*/ 135959 h 802795"/>
                <a:gd name="connsiteX1007" fmla="*/ 893981 w 1066152"/>
                <a:gd name="connsiteY1007" fmla="*/ 135418 h 802795"/>
                <a:gd name="connsiteX1008" fmla="*/ 897673 w 1066152"/>
                <a:gd name="connsiteY1008" fmla="*/ 135841 h 802795"/>
                <a:gd name="connsiteX1009" fmla="*/ 902493 w 1066152"/>
                <a:gd name="connsiteY1009" fmla="*/ 134453 h 802795"/>
                <a:gd name="connsiteX1010" fmla="*/ 904963 w 1066152"/>
                <a:gd name="connsiteY1010" fmla="*/ 134219 h 802795"/>
                <a:gd name="connsiteX1011" fmla="*/ 907149 w 1066152"/>
                <a:gd name="connsiteY1011" fmla="*/ 135347 h 802795"/>
                <a:gd name="connsiteX1012" fmla="*/ 908090 w 1066152"/>
                <a:gd name="connsiteY1012" fmla="*/ 136053 h 802795"/>
                <a:gd name="connsiteX1013" fmla="*/ 912652 w 1066152"/>
                <a:gd name="connsiteY1013" fmla="*/ 138028 h 802795"/>
                <a:gd name="connsiteX1014" fmla="*/ 915074 w 1066152"/>
                <a:gd name="connsiteY1014" fmla="*/ 138522 h 802795"/>
                <a:gd name="connsiteX1015" fmla="*/ 916320 w 1066152"/>
                <a:gd name="connsiteY1015" fmla="*/ 138592 h 802795"/>
                <a:gd name="connsiteX1016" fmla="*/ 916908 w 1066152"/>
                <a:gd name="connsiteY1016" fmla="*/ 140168 h 802795"/>
                <a:gd name="connsiteX1017" fmla="*/ 918131 w 1066152"/>
                <a:gd name="connsiteY1017" fmla="*/ 141673 h 802795"/>
                <a:gd name="connsiteX1018" fmla="*/ 919635 w 1066152"/>
                <a:gd name="connsiteY1018" fmla="*/ 142778 h 802795"/>
                <a:gd name="connsiteX1019" fmla="*/ 921070 w 1066152"/>
                <a:gd name="connsiteY1019" fmla="*/ 143130 h 802795"/>
                <a:gd name="connsiteX1020" fmla="*/ 922668 w 1066152"/>
                <a:gd name="connsiteY1020" fmla="*/ 143953 h 802795"/>
                <a:gd name="connsiteX1021" fmla="*/ 923539 w 1066152"/>
                <a:gd name="connsiteY1021" fmla="*/ 144212 h 802795"/>
                <a:gd name="connsiteX1022" fmla="*/ 924361 w 1066152"/>
                <a:gd name="connsiteY1022" fmla="*/ 144212 h 802795"/>
                <a:gd name="connsiteX1023" fmla="*/ 924879 w 1066152"/>
                <a:gd name="connsiteY1023" fmla="*/ 143719 h 802795"/>
                <a:gd name="connsiteX1024" fmla="*/ 925537 w 1066152"/>
                <a:gd name="connsiteY1024" fmla="*/ 142143 h 802795"/>
                <a:gd name="connsiteX1025" fmla="*/ 926149 w 1066152"/>
                <a:gd name="connsiteY1025" fmla="*/ 141602 h 802795"/>
                <a:gd name="connsiteX1026" fmla="*/ 927654 w 1066152"/>
                <a:gd name="connsiteY1026" fmla="*/ 141602 h 802795"/>
                <a:gd name="connsiteX1027" fmla="*/ 931251 w 1066152"/>
                <a:gd name="connsiteY1027" fmla="*/ 142731 h 802795"/>
                <a:gd name="connsiteX1028" fmla="*/ 932968 w 1066152"/>
                <a:gd name="connsiteY1028" fmla="*/ 143013 h 802795"/>
                <a:gd name="connsiteX1029" fmla="*/ 935037 w 1066152"/>
                <a:gd name="connsiteY1029" fmla="*/ 142895 h 802795"/>
                <a:gd name="connsiteX1030" fmla="*/ 935037 w 1066152"/>
                <a:gd name="connsiteY1030" fmla="*/ 142472 h 802795"/>
                <a:gd name="connsiteX1031" fmla="*/ 934073 w 1066152"/>
                <a:gd name="connsiteY1031" fmla="*/ 141461 h 802795"/>
                <a:gd name="connsiteX1032" fmla="*/ 933368 w 1066152"/>
                <a:gd name="connsiteY1032" fmla="*/ 139604 h 802795"/>
                <a:gd name="connsiteX1033" fmla="*/ 934002 w 1066152"/>
                <a:gd name="connsiteY1033" fmla="*/ 138781 h 802795"/>
                <a:gd name="connsiteX1034" fmla="*/ 937295 w 1066152"/>
                <a:gd name="connsiteY1034" fmla="*/ 136382 h 802795"/>
                <a:gd name="connsiteX1035" fmla="*/ 938681 w 1066152"/>
                <a:gd name="connsiteY1035" fmla="*/ 135723 h 802795"/>
                <a:gd name="connsiteX1036" fmla="*/ 940281 w 1066152"/>
                <a:gd name="connsiteY1036" fmla="*/ 135606 h 802795"/>
                <a:gd name="connsiteX1037" fmla="*/ 943337 w 1066152"/>
                <a:gd name="connsiteY1037" fmla="*/ 136029 h 802795"/>
                <a:gd name="connsiteX1038" fmla="*/ 944960 w 1066152"/>
                <a:gd name="connsiteY1038" fmla="*/ 135794 h 802795"/>
                <a:gd name="connsiteX1039" fmla="*/ 946206 w 1066152"/>
                <a:gd name="connsiteY1039" fmla="*/ 135065 h 802795"/>
                <a:gd name="connsiteX1040" fmla="*/ 948558 w 1066152"/>
                <a:gd name="connsiteY1040" fmla="*/ 132949 h 802795"/>
                <a:gd name="connsiteX1041" fmla="*/ 949804 w 1066152"/>
                <a:gd name="connsiteY1041" fmla="*/ 132267 h 802795"/>
                <a:gd name="connsiteX1042" fmla="*/ 951074 w 1066152"/>
                <a:gd name="connsiteY1042" fmla="*/ 132149 h 802795"/>
                <a:gd name="connsiteX1043" fmla="*/ 952415 w 1066152"/>
                <a:gd name="connsiteY1043" fmla="*/ 132196 h 802795"/>
                <a:gd name="connsiteX1044" fmla="*/ 953730 w 1066152"/>
                <a:gd name="connsiteY1044" fmla="*/ 132008 h 802795"/>
                <a:gd name="connsiteX1045" fmla="*/ 956294 w 1066152"/>
                <a:gd name="connsiteY1045" fmla="*/ 130151 h 802795"/>
                <a:gd name="connsiteX1046" fmla="*/ 958810 w 1066152"/>
                <a:gd name="connsiteY1046" fmla="*/ 131044 h 802795"/>
                <a:gd name="connsiteX1047" fmla="*/ 960150 w 1066152"/>
                <a:gd name="connsiteY1047" fmla="*/ 130244 h 802795"/>
                <a:gd name="connsiteX1048" fmla="*/ 960973 w 1066152"/>
                <a:gd name="connsiteY1048" fmla="*/ 130409 h 802795"/>
                <a:gd name="connsiteX1049" fmla="*/ 963278 w 1066152"/>
                <a:gd name="connsiteY1049" fmla="*/ 130457 h 802795"/>
                <a:gd name="connsiteX1050" fmla="*/ 963795 w 1066152"/>
                <a:gd name="connsiteY1050" fmla="*/ 130597 h 802795"/>
                <a:gd name="connsiteX1051" fmla="*/ 964288 w 1066152"/>
                <a:gd name="connsiteY1051" fmla="*/ 131656 h 802795"/>
                <a:gd name="connsiteX1052" fmla="*/ 964900 w 1066152"/>
                <a:gd name="connsiteY1052" fmla="*/ 132573 h 802795"/>
                <a:gd name="connsiteX1053" fmla="*/ 965653 w 1066152"/>
                <a:gd name="connsiteY1053" fmla="*/ 133301 h 802795"/>
                <a:gd name="connsiteX1054" fmla="*/ 966593 w 1066152"/>
                <a:gd name="connsiteY1054" fmla="*/ 133842 h 802795"/>
                <a:gd name="connsiteX1055" fmla="*/ 968192 w 1066152"/>
                <a:gd name="connsiteY1055" fmla="*/ 134313 h 802795"/>
                <a:gd name="connsiteX1056" fmla="*/ 970190 w 1066152"/>
                <a:gd name="connsiteY1056" fmla="*/ 134524 h 802795"/>
                <a:gd name="connsiteX1057" fmla="*/ 972236 w 1066152"/>
                <a:gd name="connsiteY1057" fmla="*/ 134430 h 802795"/>
                <a:gd name="connsiteX1058" fmla="*/ 975599 w 1066152"/>
                <a:gd name="connsiteY1058" fmla="*/ 133889 h 802795"/>
                <a:gd name="connsiteX1059" fmla="*/ 975434 w 1066152"/>
                <a:gd name="connsiteY1059" fmla="*/ 135207 h 802795"/>
                <a:gd name="connsiteX1060" fmla="*/ 974752 w 1066152"/>
                <a:gd name="connsiteY1060" fmla="*/ 137276 h 802795"/>
                <a:gd name="connsiteX1061" fmla="*/ 975082 w 1066152"/>
                <a:gd name="connsiteY1061" fmla="*/ 138804 h 802795"/>
                <a:gd name="connsiteX1062" fmla="*/ 975082 w 1066152"/>
                <a:gd name="connsiteY1062" fmla="*/ 140473 h 802795"/>
                <a:gd name="connsiteX1063" fmla="*/ 976093 w 1066152"/>
                <a:gd name="connsiteY1063" fmla="*/ 141861 h 802795"/>
                <a:gd name="connsiteX1064" fmla="*/ 977410 w 1066152"/>
                <a:gd name="connsiteY1064" fmla="*/ 142825 h 802795"/>
                <a:gd name="connsiteX1065" fmla="*/ 979149 w 1066152"/>
                <a:gd name="connsiteY1065" fmla="*/ 142543 h 802795"/>
                <a:gd name="connsiteX1066" fmla="*/ 980984 w 1066152"/>
                <a:gd name="connsiteY1066" fmla="*/ 142472 h 802795"/>
                <a:gd name="connsiteX1067" fmla="*/ 982018 w 1066152"/>
                <a:gd name="connsiteY1067" fmla="*/ 143836 h 802795"/>
                <a:gd name="connsiteX1068" fmla="*/ 982559 w 1066152"/>
                <a:gd name="connsiteY1068" fmla="*/ 143836 h 802795"/>
                <a:gd name="connsiteX1069" fmla="*/ 983406 w 1066152"/>
                <a:gd name="connsiteY1069" fmla="*/ 143107 h 802795"/>
                <a:gd name="connsiteX1070" fmla="*/ 984440 w 1066152"/>
                <a:gd name="connsiteY1070" fmla="*/ 143295 h 802795"/>
                <a:gd name="connsiteX1071" fmla="*/ 986321 w 1066152"/>
                <a:gd name="connsiteY1071" fmla="*/ 144447 h 802795"/>
                <a:gd name="connsiteX1072" fmla="*/ 984464 w 1066152"/>
                <a:gd name="connsiteY1072" fmla="*/ 147834 h 802795"/>
                <a:gd name="connsiteX1073" fmla="*/ 984181 w 1066152"/>
                <a:gd name="connsiteY1073" fmla="*/ 148797 h 802795"/>
                <a:gd name="connsiteX1074" fmla="*/ 983923 w 1066152"/>
                <a:gd name="connsiteY1074" fmla="*/ 150255 h 802795"/>
                <a:gd name="connsiteX1075" fmla="*/ 983335 w 1066152"/>
                <a:gd name="connsiteY1075" fmla="*/ 150961 h 802795"/>
                <a:gd name="connsiteX1076" fmla="*/ 982630 w 1066152"/>
                <a:gd name="connsiteY1076" fmla="*/ 151502 h 802795"/>
                <a:gd name="connsiteX1077" fmla="*/ 982066 w 1066152"/>
                <a:gd name="connsiteY1077" fmla="*/ 152489 h 802795"/>
                <a:gd name="connsiteX1078" fmla="*/ 980819 w 1066152"/>
                <a:gd name="connsiteY1078" fmla="*/ 151924 h 802795"/>
                <a:gd name="connsiteX1079" fmla="*/ 977927 w 1066152"/>
                <a:gd name="connsiteY1079" fmla="*/ 152489 h 802795"/>
                <a:gd name="connsiteX1080" fmla="*/ 975481 w 1066152"/>
                <a:gd name="connsiteY1080" fmla="*/ 151525 h 802795"/>
                <a:gd name="connsiteX1081" fmla="*/ 974800 w 1066152"/>
                <a:gd name="connsiteY1081" fmla="*/ 150561 h 802795"/>
                <a:gd name="connsiteX1082" fmla="*/ 973341 w 1066152"/>
                <a:gd name="connsiteY1082" fmla="*/ 150843 h 802795"/>
                <a:gd name="connsiteX1083" fmla="*/ 971672 w 1066152"/>
                <a:gd name="connsiteY1083" fmla="*/ 152489 h 802795"/>
                <a:gd name="connsiteX1084" fmla="*/ 970779 w 1066152"/>
                <a:gd name="connsiteY1084" fmla="*/ 154559 h 802795"/>
                <a:gd name="connsiteX1085" fmla="*/ 970661 w 1066152"/>
                <a:gd name="connsiteY1085" fmla="*/ 157991 h 802795"/>
                <a:gd name="connsiteX1086" fmla="*/ 970591 w 1066152"/>
                <a:gd name="connsiteY1086" fmla="*/ 160343 h 802795"/>
                <a:gd name="connsiteX1087" fmla="*/ 971061 w 1066152"/>
                <a:gd name="connsiteY1087" fmla="*/ 162083 h 802795"/>
                <a:gd name="connsiteX1088" fmla="*/ 972330 w 1066152"/>
                <a:gd name="connsiteY1088" fmla="*/ 163329 h 802795"/>
                <a:gd name="connsiteX1089" fmla="*/ 975034 w 1066152"/>
                <a:gd name="connsiteY1089" fmla="*/ 164834 h 802795"/>
                <a:gd name="connsiteX1090" fmla="*/ 976539 w 1066152"/>
                <a:gd name="connsiteY1090" fmla="*/ 166691 h 802795"/>
                <a:gd name="connsiteX1091" fmla="*/ 978280 w 1066152"/>
                <a:gd name="connsiteY1091" fmla="*/ 169067 h 802795"/>
                <a:gd name="connsiteX1092" fmla="*/ 978162 w 1066152"/>
                <a:gd name="connsiteY1092" fmla="*/ 170265 h 802795"/>
                <a:gd name="connsiteX1093" fmla="*/ 977127 w 1066152"/>
                <a:gd name="connsiteY1093" fmla="*/ 171207 h 802795"/>
                <a:gd name="connsiteX1094" fmla="*/ 976822 w 1066152"/>
                <a:gd name="connsiteY1094" fmla="*/ 172476 h 802795"/>
                <a:gd name="connsiteX1095" fmla="*/ 977268 w 1066152"/>
                <a:gd name="connsiteY1095" fmla="*/ 173981 h 802795"/>
                <a:gd name="connsiteX1096" fmla="*/ 977692 w 1066152"/>
                <a:gd name="connsiteY1096" fmla="*/ 175980 h 802795"/>
                <a:gd name="connsiteX1097" fmla="*/ 977762 w 1066152"/>
                <a:gd name="connsiteY1097" fmla="*/ 176638 h 802795"/>
                <a:gd name="connsiteX1098" fmla="*/ 978068 w 1066152"/>
                <a:gd name="connsiteY1098" fmla="*/ 177155 h 802795"/>
                <a:gd name="connsiteX1099" fmla="*/ 979526 w 1066152"/>
                <a:gd name="connsiteY1099" fmla="*/ 178284 h 802795"/>
                <a:gd name="connsiteX1100" fmla="*/ 979926 w 1066152"/>
                <a:gd name="connsiteY1100" fmla="*/ 178990 h 802795"/>
                <a:gd name="connsiteX1101" fmla="*/ 979644 w 1066152"/>
                <a:gd name="connsiteY1101" fmla="*/ 180871 h 802795"/>
                <a:gd name="connsiteX1102" fmla="*/ 977715 w 1066152"/>
                <a:gd name="connsiteY1102" fmla="*/ 183974 h 802795"/>
                <a:gd name="connsiteX1103" fmla="*/ 976727 w 1066152"/>
                <a:gd name="connsiteY1103" fmla="*/ 186443 h 802795"/>
                <a:gd name="connsiteX1104" fmla="*/ 975458 w 1066152"/>
                <a:gd name="connsiteY1104" fmla="*/ 187690 h 802795"/>
                <a:gd name="connsiteX1105" fmla="*/ 973247 w 1066152"/>
                <a:gd name="connsiteY1105" fmla="*/ 190558 h 802795"/>
                <a:gd name="connsiteX1106" fmla="*/ 970637 w 1066152"/>
                <a:gd name="connsiteY1106" fmla="*/ 190347 h 802795"/>
                <a:gd name="connsiteX1107" fmla="*/ 967651 w 1066152"/>
                <a:gd name="connsiteY1107" fmla="*/ 192369 h 802795"/>
                <a:gd name="connsiteX1108" fmla="*/ 966898 w 1066152"/>
                <a:gd name="connsiteY1108" fmla="*/ 195003 h 802795"/>
                <a:gd name="connsiteX1109" fmla="*/ 964665 w 1066152"/>
                <a:gd name="connsiteY1109" fmla="*/ 196179 h 802795"/>
                <a:gd name="connsiteX1110" fmla="*/ 957681 w 1066152"/>
                <a:gd name="connsiteY1110" fmla="*/ 201234 h 802795"/>
                <a:gd name="connsiteX1111" fmla="*/ 956270 w 1066152"/>
                <a:gd name="connsiteY1111" fmla="*/ 203327 h 802795"/>
                <a:gd name="connsiteX1112" fmla="*/ 953755 w 1066152"/>
                <a:gd name="connsiteY1112" fmla="*/ 203891 h 802795"/>
                <a:gd name="connsiteX1113" fmla="*/ 951897 w 1066152"/>
                <a:gd name="connsiteY1113" fmla="*/ 204338 h 802795"/>
                <a:gd name="connsiteX1114" fmla="*/ 949851 w 1066152"/>
                <a:gd name="connsiteY1114" fmla="*/ 204808 h 802795"/>
                <a:gd name="connsiteX1115" fmla="*/ 949005 w 1066152"/>
                <a:gd name="connsiteY1115" fmla="*/ 205043 h 802795"/>
                <a:gd name="connsiteX1116" fmla="*/ 948628 w 1066152"/>
                <a:gd name="connsiteY1116" fmla="*/ 205231 h 802795"/>
                <a:gd name="connsiteX1117" fmla="*/ 947429 w 1066152"/>
                <a:gd name="connsiteY1117" fmla="*/ 206266 h 802795"/>
                <a:gd name="connsiteX1118" fmla="*/ 947193 w 1066152"/>
                <a:gd name="connsiteY1118" fmla="*/ 206666 h 802795"/>
                <a:gd name="connsiteX1119" fmla="*/ 946888 w 1066152"/>
                <a:gd name="connsiteY1119" fmla="*/ 207371 h 802795"/>
                <a:gd name="connsiteX1120" fmla="*/ 946136 w 1066152"/>
                <a:gd name="connsiteY1120" fmla="*/ 207536 h 802795"/>
                <a:gd name="connsiteX1121" fmla="*/ 945218 w 1066152"/>
                <a:gd name="connsiteY1121" fmla="*/ 207489 h 802795"/>
                <a:gd name="connsiteX1122" fmla="*/ 944160 w 1066152"/>
                <a:gd name="connsiteY1122" fmla="*/ 209746 h 802795"/>
                <a:gd name="connsiteX1123" fmla="*/ 934261 w 1066152"/>
                <a:gd name="connsiteY1123" fmla="*/ 213602 h 802795"/>
                <a:gd name="connsiteX1124" fmla="*/ 918436 w 1066152"/>
                <a:gd name="connsiteY1124" fmla="*/ 220304 h 802795"/>
                <a:gd name="connsiteX1125" fmla="*/ 916837 w 1066152"/>
                <a:gd name="connsiteY1125" fmla="*/ 221879 h 802795"/>
                <a:gd name="connsiteX1126" fmla="*/ 916767 w 1066152"/>
                <a:gd name="connsiteY1126" fmla="*/ 221667 h 802795"/>
                <a:gd name="connsiteX1127" fmla="*/ 912252 w 1066152"/>
                <a:gd name="connsiteY1127" fmla="*/ 224513 h 802795"/>
                <a:gd name="connsiteX1128" fmla="*/ 906421 w 1066152"/>
                <a:gd name="connsiteY1128" fmla="*/ 226794 h 802795"/>
                <a:gd name="connsiteX1129" fmla="*/ 904116 w 1066152"/>
                <a:gd name="connsiteY1129" fmla="*/ 228393 h 802795"/>
                <a:gd name="connsiteX1130" fmla="*/ 902000 w 1066152"/>
                <a:gd name="connsiteY1130" fmla="*/ 231026 h 802795"/>
                <a:gd name="connsiteX1131" fmla="*/ 898214 w 1066152"/>
                <a:gd name="connsiteY1131" fmla="*/ 237164 h 802795"/>
                <a:gd name="connsiteX1132" fmla="*/ 895980 w 1066152"/>
                <a:gd name="connsiteY1132" fmla="*/ 240056 h 802795"/>
                <a:gd name="connsiteX1133" fmla="*/ 893417 w 1066152"/>
                <a:gd name="connsiteY1133" fmla="*/ 242242 h 802795"/>
                <a:gd name="connsiteX1134" fmla="*/ 887915 w 1066152"/>
                <a:gd name="connsiteY1134" fmla="*/ 245017 h 802795"/>
                <a:gd name="connsiteX1135" fmla="*/ 884741 w 1066152"/>
                <a:gd name="connsiteY1135" fmla="*/ 245840 h 802795"/>
                <a:gd name="connsiteX1136" fmla="*/ 879403 w 1066152"/>
                <a:gd name="connsiteY1136" fmla="*/ 246334 h 802795"/>
                <a:gd name="connsiteX1137" fmla="*/ 874135 w 1066152"/>
                <a:gd name="connsiteY1137" fmla="*/ 247580 h 802795"/>
                <a:gd name="connsiteX1138" fmla="*/ 872537 w 1066152"/>
                <a:gd name="connsiteY1138" fmla="*/ 248474 h 802795"/>
                <a:gd name="connsiteX1139" fmla="*/ 871761 w 1066152"/>
                <a:gd name="connsiteY1139" fmla="*/ 248685 h 802795"/>
                <a:gd name="connsiteX1140" fmla="*/ 869080 w 1066152"/>
                <a:gd name="connsiteY1140" fmla="*/ 248568 h 802795"/>
                <a:gd name="connsiteX1141" fmla="*/ 853796 w 1066152"/>
                <a:gd name="connsiteY1141" fmla="*/ 252871 h 802795"/>
                <a:gd name="connsiteX1142" fmla="*/ 847142 w 1066152"/>
                <a:gd name="connsiteY1142" fmla="*/ 253318 h 802795"/>
                <a:gd name="connsiteX1143" fmla="*/ 827507 w 1066152"/>
                <a:gd name="connsiteY1143" fmla="*/ 260090 h 802795"/>
                <a:gd name="connsiteX1144" fmla="*/ 822005 w 1066152"/>
                <a:gd name="connsiteY1144" fmla="*/ 261195 h 802795"/>
                <a:gd name="connsiteX1145" fmla="*/ 821393 w 1066152"/>
                <a:gd name="connsiteY1145" fmla="*/ 261641 h 802795"/>
                <a:gd name="connsiteX1146" fmla="*/ 820030 w 1066152"/>
                <a:gd name="connsiteY1146" fmla="*/ 263899 h 802795"/>
                <a:gd name="connsiteX1147" fmla="*/ 819724 w 1066152"/>
                <a:gd name="connsiteY1147" fmla="*/ 264627 h 802795"/>
                <a:gd name="connsiteX1148" fmla="*/ 819324 w 1066152"/>
                <a:gd name="connsiteY1148" fmla="*/ 265168 h 802795"/>
                <a:gd name="connsiteX1149" fmla="*/ 818478 w 1066152"/>
                <a:gd name="connsiteY1149" fmla="*/ 265521 h 802795"/>
                <a:gd name="connsiteX1150" fmla="*/ 816620 w 1066152"/>
                <a:gd name="connsiteY1150" fmla="*/ 264487 h 802795"/>
                <a:gd name="connsiteX1151" fmla="*/ 816032 w 1066152"/>
                <a:gd name="connsiteY1151" fmla="*/ 264299 h 802795"/>
                <a:gd name="connsiteX1152" fmla="*/ 812599 w 1066152"/>
                <a:gd name="connsiteY1152" fmla="*/ 264369 h 802795"/>
                <a:gd name="connsiteX1153" fmla="*/ 809307 w 1066152"/>
                <a:gd name="connsiteY1153" fmla="*/ 264934 h 802795"/>
                <a:gd name="connsiteX1154" fmla="*/ 806321 w 1066152"/>
                <a:gd name="connsiteY1154" fmla="*/ 266180 h 802795"/>
                <a:gd name="connsiteX1155" fmla="*/ 804205 w 1066152"/>
                <a:gd name="connsiteY1155" fmla="*/ 267332 h 802795"/>
                <a:gd name="connsiteX1156" fmla="*/ 795363 w 1066152"/>
                <a:gd name="connsiteY1156" fmla="*/ 275398 h 802795"/>
                <a:gd name="connsiteX1157" fmla="*/ 791084 w 1066152"/>
                <a:gd name="connsiteY1157" fmla="*/ 280641 h 802795"/>
                <a:gd name="connsiteX1158" fmla="*/ 782595 w 1066152"/>
                <a:gd name="connsiteY1158" fmla="*/ 288636 h 802795"/>
                <a:gd name="connsiteX1159" fmla="*/ 781090 w 1066152"/>
                <a:gd name="connsiteY1159" fmla="*/ 291411 h 802795"/>
                <a:gd name="connsiteX1160" fmla="*/ 783183 w 1066152"/>
                <a:gd name="connsiteY1160" fmla="*/ 292516 h 802795"/>
                <a:gd name="connsiteX1161" fmla="*/ 785417 w 1066152"/>
                <a:gd name="connsiteY1161" fmla="*/ 293339 h 802795"/>
                <a:gd name="connsiteX1162" fmla="*/ 786358 w 1066152"/>
                <a:gd name="connsiteY1162" fmla="*/ 293292 h 802795"/>
                <a:gd name="connsiteX1163" fmla="*/ 786734 w 1066152"/>
                <a:gd name="connsiteY1163" fmla="*/ 292821 h 802795"/>
                <a:gd name="connsiteX1164" fmla="*/ 786452 w 1066152"/>
                <a:gd name="connsiteY1164" fmla="*/ 292116 h 802795"/>
                <a:gd name="connsiteX1165" fmla="*/ 785417 w 1066152"/>
                <a:gd name="connsiteY1165" fmla="*/ 291387 h 802795"/>
                <a:gd name="connsiteX1166" fmla="*/ 786734 w 1066152"/>
                <a:gd name="connsiteY1166" fmla="*/ 291481 h 802795"/>
                <a:gd name="connsiteX1167" fmla="*/ 787792 w 1066152"/>
                <a:gd name="connsiteY1167" fmla="*/ 291998 h 802795"/>
                <a:gd name="connsiteX1168" fmla="*/ 788686 w 1066152"/>
                <a:gd name="connsiteY1168" fmla="*/ 292775 h 802795"/>
                <a:gd name="connsiteX1169" fmla="*/ 790567 w 1066152"/>
                <a:gd name="connsiteY1169" fmla="*/ 294938 h 802795"/>
                <a:gd name="connsiteX1170" fmla="*/ 792589 w 1066152"/>
                <a:gd name="connsiteY1170" fmla="*/ 296466 h 802795"/>
                <a:gd name="connsiteX1171" fmla="*/ 793553 w 1066152"/>
                <a:gd name="connsiteY1171" fmla="*/ 296372 h 802795"/>
                <a:gd name="connsiteX1172" fmla="*/ 795081 w 1066152"/>
                <a:gd name="connsiteY1172" fmla="*/ 296866 h 802795"/>
                <a:gd name="connsiteX1173" fmla="*/ 794987 w 1066152"/>
                <a:gd name="connsiteY1173" fmla="*/ 298841 h 802795"/>
                <a:gd name="connsiteX1174" fmla="*/ 793859 w 1066152"/>
                <a:gd name="connsiteY1174" fmla="*/ 300816 h 802795"/>
                <a:gd name="connsiteX1175" fmla="*/ 793106 w 1066152"/>
                <a:gd name="connsiteY1175" fmla="*/ 301851 h 802795"/>
                <a:gd name="connsiteX1176" fmla="*/ 788074 w 1066152"/>
                <a:gd name="connsiteY1176" fmla="*/ 303214 h 802795"/>
                <a:gd name="connsiteX1177" fmla="*/ 785911 w 1066152"/>
                <a:gd name="connsiteY1177" fmla="*/ 304978 h 802795"/>
                <a:gd name="connsiteX1178" fmla="*/ 782055 w 1066152"/>
                <a:gd name="connsiteY1178" fmla="*/ 310527 h 802795"/>
                <a:gd name="connsiteX1179" fmla="*/ 779703 w 1066152"/>
                <a:gd name="connsiteY1179" fmla="*/ 312244 h 802795"/>
                <a:gd name="connsiteX1180" fmla="*/ 777422 w 1066152"/>
                <a:gd name="connsiteY1180" fmla="*/ 313020 h 802795"/>
                <a:gd name="connsiteX1181" fmla="*/ 774929 w 1066152"/>
                <a:gd name="connsiteY1181" fmla="*/ 313349 h 802795"/>
                <a:gd name="connsiteX1182" fmla="*/ 773096 w 1066152"/>
                <a:gd name="connsiteY1182" fmla="*/ 310645 h 802795"/>
                <a:gd name="connsiteX1183" fmla="*/ 776858 w 1066152"/>
                <a:gd name="connsiteY1183" fmla="*/ 310198 h 802795"/>
                <a:gd name="connsiteX1184" fmla="*/ 778621 w 1066152"/>
                <a:gd name="connsiteY1184" fmla="*/ 311350 h 802795"/>
                <a:gd name="connsiteX1185" fmla="*/ 781208 w 1066152"/>
                <a:gd name="connsiteY1185" fmla="*/ 309892 h 802795"/>
                <a:gd name="connsiteX1186" fmla="*/ 784053 w 1066152"/>
                <a:gd name="connsiteY1186" fmla="*/ 305801 h 802795"/>
                <a:gd name="connsiteX1187" fmla="*/ 782478 w 1066152"/>
                <a:gd name="connsiteY1187" fmla="*/ 305566 h 802795"/>
                <a:gd name="connsiteX1188" fmla="*/ 780103 w 1066152"/>
                <a:gd name="connsiteY1188" fmla="*/ 305754 h 802795"/>
                <a:gd name="connsiteX1189" fmla="*/ 773660 w 1066152"/>
                <a:gd name="connsiteY1189" fmla="*/ 307682 h 802795"/>
                <a:gd name="connsiteX1190" fmla="*/ 772132 w 1066152"/>
                <a:gd name="connsiteY1190" fmla="*/ 308623 h 802795"/>
                <a:gd name="connsiteX1191" fmla="*/ 770814 w 1066152"/>
                <a:gd name="connsiteY1191" fmla="*/ 309916 h 802795"/>
                <a:gd name="connsiteX1192" fmla="*/ 769639 w 1066152"/>
                <a:gd name="connsiteY1192" fmla="*/ 311586 h 802795"/>
                <a:gd name="connsiteX1193" fmla="*/ 767217 w 1066152"/>
                <a:gd name="connsiteY1193" fmla="*/ 317064 h 802795"/>
                <a:gd name="connsiteX1194" fmla="*/ 765948 w 1066152"/>
                <a:gd name="connsiteY1194" fmla="*/ 319910 h 802795"/>
                <a:gd name="connsiteX1195" fmla="*/ 764536 w 1066152"/>
                <a:gd name="connsiteY1195" fmla="*/ 321720 h 802795"/>
                <a:gd name="connsiteX1196" fmla="*/ 763196 w 1066152"/>
                <a:gd name="connsiteY1196" fmla="*/ 323083 h 802795"/>
                <a:gd name="connsiteX1197" fmla="*/ 762138 w 1066152"/>
                <a:gd name="connsiteY1197" fmla="*/ 324636 h 802795"/>
                <a:gd name="connsiteX1198" fmla="*/ 761621 w 1066152"/>
                <a:gd name="connsiteY1198" fmla="*/ 327058 h 802795"/>
                <a:gd name="connsiteX1199" fmla="*/ 759599 w 1066152"/>
                <a:gd name="connsiteY1199" fmla="*/ 328962 h 802795"/>
                <a:gd name="connsiteX1200" fmla="*/ 754143 w 1066152"/>
                <a:gd name="connsiteY1200" fmla="*/ 338697 h 802795"/>
                <a:gd name="connsiteX1201" fmla="*/ 753226 w 1066152"/>
                <a:gd name="connsiteY1201" fmla="*/ 339685 h 802795"/>
                <a:gd name="connsiteX1202" fmla="*/ 751133 w 1066152"/>
                <a:gd name="connsiteY1202" fmla="*/ 341260 h 802795"/>
                <a:gd name="connsiteX1203" fmla="*/ 750099 w 1066152"/>
                <a:gd name="connsiteY1203" fmla="*/ 342272 h 802795"/>
                <a:gd name="connsiteX1204" fmla="*/ 747442 w 1066152"/>
                <a:gd name="connsiteY1204" fmla="*/ 345728 h 802795"/>
                <a:gd name="connsiteX1205" fmla="*/ 742786 w 1066152"/>
                <a:gd name="connsiteY1205" fmla="*/ 349326 h 802795"/>
                <a:gd name="connsiteX1206" fmla="*/ 738036 w 1066152"/>
                <a:gd name="connsiteY1206" fmla="*/ 358026 h 802795"/>
                <a:gd name="connsiteX1207" fmla="*/ 735873 w 1066152"/>
                <a:gd name="connsiteY1207" fmla="*/ 360142 h 802795"/>
                <a:gd name="connsiteX1208" fmla="*/ 731899 w 1066152"/>
                <a:gd name="connsiteY1208" fmla="*/ 362423 h 802795"/>
                <a:gd name="connsiteX1209" fmla="*/ 729900 w 1066152"/>
                <a:gd name="connsiteY1209" fmla="*/ 365127 h 802795"/>
                <a:gd name="connsiteX1210" fmla="*/ 726514 w 1066152"/>
                <a:gd name="connsiteY1210" fmla="*/ 371781 h 802795"/>
                <a:gd name="connsiteX1211" fmla="*/ 724492 w 1066152"/>
                <a:gd name="connsiteY1211" fmla="*/ 374603 h 802795"/>
                <a:gd name="connsiteX1212" fmla="*/ 719601 w 1066152"/>
                <a:gd name="connsiteY1212" fmla="*/ 379635 h 802795"/>
                <a:gd name="connsiteX1213" fmla="*/ 711536 w 1066152"/>
                <a:gd name="connsiteY1213" fmla="*/ 392004 h 802795"/>
                <a:gd name="connsiteX1214" fmla="*/ 711112 w 1066152"/>
                <a:gd name="connsiteY1214" fmla="*/ 392968 h 802795"/>
                <a:gd name="connsiteX1215" fmla="*/ 710924 w 1066152"/>
                <a:gd name="connsiteY1215" fmla="*/ 395225 h 802795"/>
                <a:gd name="connsiteX1216" fmla="*/ 710407 w 1066152"/>
                <a:gd name="connsiteY1216" fmla="*/ 396777 h 802795"/>
                <a:gd name="connsiteX1217" fmla="*/ 709561 w 1066152"/>
                <a:gd name="connsiteY1217" fmla="*/ 397953 h 802795"/>
                <a:gd name="connsiteX1218" fmla="*/ 707679 w 1066152"/>
                <a:gd name="connsiteY1218" fmla="*/ 399834 h 802795"/>
                <a:gd name="connsiteX1219" fmla="*/ 706621 w 1066152"/>
                <a:gd name="connsiteY1219" fmla="*/ 401221 h 802795"/>
                <a:gd name="connsiteX1220" fmla="*/ 705681 w 1066152"/>
                <a:gd name="connsiteY1220" fmla="*/ 402843 h 802795"/>
                <a:gd name="connsiteX1221" fmla="*/ 705257 w 1066152"/>
                <a:gd name="connsiteY1221" fmla="*/ 404419 h 802795"/>
                <a:gd name="connsiteX1222" fmla="*/ 704740 w 1066152"/>
                <a:gd name="connsiteY1222" fmla="*/ 405572 h 802795"/>
                <a:gd name="connsiteX1223" fmla="*/ 702295 w 1066152"/>
                <a:gd name="connsiteY1223" fmla="*/ 408864 h 802795"/>
                <a:gd name="connsiteX1224" fmla="*/ 701472 w 1066152"/>
                <a:gd name="connsiteY1224" fmla="*/ 410533 h 802795"/>
                <a:gd name="connsiteX1225" fmla="*/ 700907 w 1066152"/>
                <a:gd name="connsiteY1225" fmla="*/ 413848 h 802795"/>
                <a:gd name="connsiteX1226" fmla="*/ 701166 w 1066152"/>
                <a:gd name="connsiteY1226" fmla="*/ 418457 h 802795"/>
                <a:gd name="connsiteX1227" fmla="*/ 701683 w 1066152"/>
                <a:gd name="connsiteY1227" fmla="*/ 422407 h 802795"/>
                <a:gd name="connsiteX1228" fmla="*/ 703188 w 1066152"/>
                <a:gd name="connsiteY1228" fmla="*/ 428544 h 802795"/>
                <a:gd name="connsiteX1229" fmla="*/ 708079 w 1066152"/>
                <a:gd name="connsiteY1229" fmla="*/ 438397 h 802795"/>
                <a:gd name="connsiteX1230" fmla="*/ 708926 w 1066152"/>
                <a:gd name="connsiteY1230" fmla="*/ 439902 h 802795"/>
                <a:gd name="connsiteX1231" fmla="*/ 709890 w 1066152"/>
                <a:gd name="connsiteY1231" fmla="*/ 441524 h 802795"/>
                <a:gd name="connsiteX1232" fmla="*/ 708926 w 1066152"/>
                <a:gd name="connsiteY1232" fmla="*/ 442135 h 802795"/>
                <a:gd name="connsiteX1233" fmla="*/ 707797 w 1066152"/>
                <a:gd name="connsiteY1233" fmla="*/ 442982 h 802795"/>
                <a:gd name="connsiteX1234" fmla="*/ 708243 w 1066152"/>
                <a:gd name="connsiteY1234" fmla="*/ 444652 h 802795"/>
                <a:gd name="connsiteX1235" fmla="*/ 709020 w 1066152"/>
                <a:gd name="connsiteY1235" fmla="*/ 447991 h 802795"/>
                <a:gd name="connsiteX1236" fmla="*/ 710337 w 1066152"/>
                <a:gd name="connsiteY1236" fmla="*/ 451048 h 802795"/>
                <a:gd name="connsiteX1237" fmla="*/ 712358 w 1066152"/>
                <a:gd name="connsiteY1237" fmla="*/ 454410 h 802795"/>
                <a:gd name="connsiteX1238" fmla="*/ 714404 w 1066152"/>
                <a:gd name="connsiteY1238" fmla="*/ 458102 h 802795"/>
                <a:gd name="connsiteX1239" fmla="*/ 717320 w 1066152"/>
                <a:gd name="connsiteY1239" fmla="*/ 462805 h 802795"/>
                <a:gd name="connsiteX1240" fmla="*/ 718473 w 1066152"/>
                <a:gd name="connsiteY1240" fmla="*/ 464145 h 802795"/>
                <a:gd name="connsiteX1241" fmla="*/ 721388 w 1066152"/>
                <a:gd name="connsiteY1241" fmla="*/ 466285 h 802795"/>
                <a:gd name="connsiteX1242" fmla="*/ 724328 w 1066152"/>
                <a:gd name="connsiteY1242" fmla="*/ 469107 h 802795"/>
                <a:gd name="connsiteX1243" fmla="*/ 725997 w 1066152"/>
                <a:gd name="connsiteY1243" fmla="*/ 470306 h 802795"/>
                <a:gd name="connsiteX1244" fmla="*/ 728113 w 1066152"/>
                <a:gd name="connsiteY1244" fmla="*/ 470799 h 802795"/>
                <a:gd name="connsiteX1245" fmla="*/ 731687 w 1066152"/>
                <a:gd name="connsiteY1245" fmla="*/ 471129 h 802795"/>
                <a:gd name="connsiteX1246" fmla="*/ 735449 w 1066152"/>
                <a:gd name="connsiteY1246" fmla="*/ 472140 h 802795"/>
                <a:gd name="connsiteX1247" fmla="*/ 738812 w 1066152"/>
                <a:gd name="connsiteY1247" fmla="*/ 473880 h 802795"/>
                <a:gd name="connsiteX1248" fmla="*/ 741257 w 1066152"/>
                <a:gd name="connsiteY1248" fmla="*/ 476419 h 802795"/>
                <a:gd name="connsiteX1249" fmla="*/ 740928 w 1066152"/>
                <a:gd name="connsiteY1249" fmla="*/ 476561 h 802795"/>
                <a:gd name="connsiteX1250" fmla="*/ 740153 w 1066152"/>
                <a:gd name="connsiteY1250" fmla="*/ 477101 h 802795"/>
                <a:gd name="connsiteX1251" fmla="*/ 741093 w 1066152"/>
                <a:gd name="connsiteY1251" fmla="*/ 477501 h 802795"/>
                <a:gd name="connsiteX1252" fmla="*/ 741704 w 1066152"/>
                <a:gd name="connsiteY1252" fmla="*/ 478112 h 802795"/>
                <a:gd name="connsiteX1253" fmla="*/ 743821 w 1066152"/>
                <a:gd name="connsiteY1253" fmla="*/ 479688 h 802795"/>
                <a:gd name="connsiteX1254" fmla="*/ 744596 w 1066152"/>
                <a:gd name="connsiteY1254" fmla="*/ 479500 h 802795"/>
                <a:gd name="connsiteX1255" fmla="*/ 745090 w 1066152"/>
                <a:gd name="connsiteY1255" fmla="*/ 480628 h 802795"/>
                <a:gd name="connsiteX1256" fmla="*/ 745137 w 1066152"/>
                <a:gd name="connsiteY1256" fmla="*/ 482063 h 802795"/>
                <a:gd name="connsiteX1257" fmla="*/ 744596 w 1066152"/>
                <a:gd name="connsiteY1257" fmla="*/ 482768 h 802795"/>
                <a:gd name="connsiteX1258" fmla="*/ 743139 w 1066152"/>
                <a:gd name="connsiteY1258" fmla="*/ 482839 h 802795"/>
                <a:gd name="connsiteX1259" fmla="*/ 741822 w 1066152"/>
                <a:gd name="connsiteY1259" fmla="*/ 483144 h 802795"/>
                <a:gd name="connsiteX1260" fmla="*/ 740623 w 1066152"/>
                <a:gd name="connsiteY1260" fmla="*/ 483709 h 802795"/>
                <a:gd name="connsiteX1261" fmla="*/ 739518 w 1066152"/>
                <a:gd name="connsiteY1261" fmla="*/ 484673 h 802795"/>
                <a:gd name="connsiteX1262" fmla="*/ 738600 w 1066152"/>
                <a:gd name="connsiteY1262" fmla="*/ 486601 h 802795"/>
                <a:gd name="connsiteX1263" fmla="*/ 738459 w 1066152"/>
                <a:gd name="connsiteY1263" fmla="*/ 486836 h 802795"/>
                <a:gd name="connsiteX1264" fmla="*/ 738153 w 1066152"/>
                <a:gd name="connsiteY1264" fmla="*/ 487165 h 802795"/>
                <a:gd name="connsiteX1265" fmla="*/ 736649 w 1066152"/>
                <a:gd name="connsiteY1265" fmla="*/ 487236 h 802795"/>
                <a:gd name="connsiteX1266" fmla="*/ 736084 w 1066152"/>
                <a:gd name="connsiteY1266" fmla="*/ 487495 h 802795"/>
                <a:gd name="connsiteX1267" fmla="*/ 735050 w 1066152"/>
                <a:gd name="connsiteY1267" fmla="*/ 488435 h 802795"/>
                <a:gd name="connsiteX1268" fmla="*/ 734133 w 1066152"/>
                <a:gd name="connsiteY1268" fmla="*/ 488882 h 802795"/>
                <a:gd name="connsiteX1269" fmla="*/ 733309 w 1066152"/>
                <a:gd name="connsiteY1269" fmla="*/ 489493 h 802795"/>
                <a:gd name="connsiteX1270" fmla="*/ 732534 w 1066152"/>
                <a:gd name="connsiteY1270" fmla="*/ 490951 h 802795"/>
                <a:gd name="connsiteX1271" fmla="*/ 733122 w 1066152"/>
                <a:gd name="connsiteY1271" fmla="*/ 492244 h 802795"/>
                <a:gd name="connsiteX1272" fmla="*/ 731547 w 1066152"/>
                <a:gd name="connsiteY1272" fmla="*/ 491892 h 802795"/>
                <a:gd name="connsiteX1273" fmla="*/ 730465 w 1066152"/>
                <a:gd name="connsiteY1273" fmla="*/ 492127 h 802795"/>
                <a:gd name="connsiteX1274" fmla="*/ 729430 w 1066152"/>
                <a:gd name="connsiteY1274" fmla="*/ 492574 h 802795"/>
                <a:gd name="connsiteX1275" fmla="*/ 727996 w 1066152"/>
                <a:gd name="connsiteY1275" fmla="*/ 492856 h 802795"/>
                <a:gd name="connsiteX1276" fmla="*/ 725668 w 1066152"/>
                <a:gd name="connsiteY1276" fmla="*/ 492856 h 802795"/>
                <a:gd name="connsiteX1277" fmla="*/ 724563 w 1066152"/>
                <a:gd name="connsiteY1277" fmla="*/ 493209 h 802795"/>
                <a:gd name="connsiteX1278" fmla="*/ 723457 w 1066152"/>
                <a:gd name="connsiteY1278" fmla="*/ 494032 h 802795"/>
                <a:gd name="connsiteX1279" fmla="*/ 722517 w 1066152"/>
                <a:gd name="connsiteY1279" fmla="*/ 495537 h 802795"/>
                <a:gd name="connsiteX1280" fmla="*/ 722517 w 1066152"/>
                <a:gd name="connsiteY1280" fmla="*/ 496853 h 802795"/>
                <a:gd name="connsiteX1281" fmla="*/ 722634 w 1066152"/>
                <a:gd name="connsiteY1281" fmla="*/ 498123 h 802795"/>
                <a:gd name="connsiteX1282" fmla="*/ 722141 w 1066152"/>
                <a:gd name="connsiteY1282" fmla="*/ 499416 h 802795"/>
                <a:gd name="connsiteX1283" fmla="*/ 720941 w 1066152"/>
                <a:gd name="connsiteY1283" fmla="*/ 500591 h 802795"/>
                <a:gd name="connsiteX1284" fmla="*/ 719789 w 1066152"/>
                <a:gd name="connsiteY1284" fmla="*/ 501015 h 802795"/>
                <a:gd name="connsiteX1285" fmla="*/ 716544 w 1066152"/>
                <a:gd name="connsiteY1285" fmla="*/ 501015 h 802795"/>
                <a:gd name="connsiteX1286" fmla="*/ 712993 w 1066152"/>
                <a:gd name="connsiteY1286" fmla="*/ 501744 h 802795"/>
                <a:gd name="connsiteX1287" fmla="*/ 711018 w 1066152"/>
                <a:gd name="connsiteY1287" fmla="*/ 502449 h 802795"/>
                <a:gd name="connsiteX1288" fmla="*/ 708526 w 1066152"/>
                <a:gd name="connsiteY1288" fmla="*/ 504095 h 802795"/>
                <a:gd name="connsiteX1289" fmla="*/ 701049 w 1066152"/>
                <a:gd name="connsiteY1289" fmla="*/ 506988 h 802795"/>
                <a:gd name="connsiteX1290" fmla="*/ 699873 w 1066152"/>
                <a:gd name="connsiteY1290" fmla="*/ 507763 h 802795"/>
                <a:gd name="connsiteX1291" fmla="*/ 699379 w 1066152"/>
                <a:gd name="connsiteY1291" fmla="*/ 508821 h 802795"/>
                <a:gd name="connsiteX1292" fmla="*/ 698768 w 1066152"/>
                <a:gd name="connsiteY1292" fmla="*/ 509198 h 802795"/>
                <a:gd name="connsiteX1293" fmla="*/ 695923 w 1066152"/>
                <a:gd name="connsiteY1293" fmla="*/ 512137 h 802795"/>
                <a:gd name="connsiteX1294" fmla="*/ 695076 w 1066152"/>
                <a:gd name="connsiteY1294" fmla="*/ 513501 h 802795"/>
                <a:gd name="connsiteX1295" fmla="*/ 694770 w 1066152"/>
                <a:gd name="connsiteY1295" fmla="*/ 515288 h 802795"/>
                <a:gd name="connsiteX1296" fmla="*/ 694770 w 1066152"/>
                <a:gd name="connsiteY1296" fmla="*/ 516252 h 802795"/>
                <a:gd name="connsiteX1297" fmla="*/ 694488 w 1066152"/>
                <a:gd name="connsiteY1297" fmla="*/ 516628 h 802795"/>
                <a:gd name="connsiteX1298" fmla="*/ 691972 w 1066152"/>
                <a:gd name="connsiteY1298" fmla="*/ 516747 h 802795"/>
                <a:gd name="connsiteX1299" fmla="*/ 690843 w 1066152"/>
                <a:gd name="connsiteY1299" fmla="*/ 517051 h 802795"/>
                <a:gd name="connsiteX1300" fmla="*/ 690021 w 1066152"/>
                <a:gd name="connsiteY1300" fmla="*/ 517804 h 802795"/>
                <a:gd name="connsiteX1301" fmla="*/ 689714 w 1066152"/>
                <a:gd name="connsiteY1301" fmla="*/ 519191 h 802795"/>
                <a:gd name="connsiteX1302" fmla="*/ 686940 w 1066152"/>
                <a:gd name="connsiteY1302" fmla="*/ 519050 h 802795"/>
                <a:gd name="connsiteX1303" fmla="*/ 686235 w 1066152"/>
                <a:gd name="connsiteY1303" fmla="*/ 522695 h 802795"/>
                <a:gd name="connsiteX1304" fmla="*/ 687386 w 1066152"/>
                <a:gd name="connsiteY1304" fmla="*/ 531042 h 802795"/>
                <a:gd name="connsiteX1305" fmla="*/ 686493 w 1066152"/>
                <a:gd name="connsiteY1305" fmla="*/ 532100 h 802795"/>
                <a:gd name="connsiteX1306" fmla="*/ 685129 w 1066152"/>
                <a:gd name="connsiteY1306" fmla="*/ 532407 h 802795"/>
                <a:gd name="connsiteX1307" fmla="*/ 682308 w 1066152"/>
                <a:gd name="connsiteY1307" fmla="*/ 532218 h 802795"/>
                <a:gd name="connsiteX1308" fmla="*/ 680544 w 1066152"/>
                <a:gd name="connsiteY1308" fmla="*/ 532641 h 802795"/>
                <a:gd name="connsiteX1309" fmla="*/ 679133 w 1066152"/>
                <a:gd name="connsiteY1309" fmla="*/ 533700 h 802795"/>
                <a:gd name="connsiteX1310" fmla="*/ 678028 w 1066152"/>
                <a:gd name="connsiteY1310" fmla="*/ 535134 h 802795"/>
                <a:gd name="connsiteX1311" fmla="*/ 677181 w 1066152"/>
                <a:gd name="connsiteY1311" fmla="*/ 536639 h 802795"/>
                <a:gd name="connsiteX1312" fmla="*/ 676688 w 1066152"/>
                <a:gd name="connsiteY1312" fmla="*/ 537932 h 802795"/>
                <a:gd name="connsiteX1313" fmla="*/ 676359 w 1066152"/>
                <a:gd name="connsiteY1313" fmla="*/ 539343 h 802795"/>
                <a:gd name="connsiteX1314" fmla="*/ 676124 w 1066152"/>
                <a:gd name="connsiteY1314" fmla="*/ 543199 h 802795"/>
                <a:gd name="connsiteX1315" fmla="*/ 675771 w 1066152"/>
                <a:gd name="connsiteY1315" fmla="*/ 549219 h 802795"/>
                <a:gd name="connsiteX1316" fmla="*/ 675607 w 1066152"/>
                <a:gd name="connsiteY1316" fmla="*/ 550888 h 802795"/>
                <a:gd name="connsiteX1317" fmla="*/ 674901 w 1066152"/>
                <a:gd name="connsiteY1317" fmla="*/ 551711 h 802795"/>
                <a:gd name="connsiteX1318" fmla="*/ 672832 w 1066152"/>
                <a:gd name="connsiteY1318" fmla="*/ 552464 h 802795"/>
                <a:gd name="connsiteX1319" fmla="*/ 671350 w 1066152"/>
                <a:gd name="connsiteY1319" fmla="*/ 553922 h 802795"/>
                <a:gd name="connsiteX1320" fmla="*/ 670598 w 1066152"/>
                <a:gd name="connsiteY1320" fmla="*/ 555121 h 802795"/>
                <a:gd name="connsiteX1321" fmla="*/ 667447 w 1066152"/>
                <a:gd name="connsiteY1321" fmla="*/ 562363 h 802795"/>
                <a:gd name="connsiteX1322" fmla="*/ 667282 w 1066152"/>
                <a:gd name="connsiteY1322" fmla="*/ 563845 h 802795"/>
                <a:gd name="connsiteX1323" fmla="*/ 667282 w 1066152"/>
                <a:gd name="connsiteY1323" fmla="*/ 563962 h 802795"/>
                <a:gd name="connsiteX1324" fmla="*/ 667635 w 1066152"/>
                <a:gd name="connsiteY1324" fmla="*/ 567560 h 802795"/>
                <a:gd name="connsiteX1325" fmla="*/ 667259 w 1066152"/>
                <a:gd name="connsiteY1325" fmla="*/ 568453 h 802795"/>
                <a:gd name="connsiteX1326" fmla="*/ 665119 w 1066152"/>
                <a:gd name="connsiteY1326" fmla="*/ 566031 h 802795"/>
                <a:gd name="connsiteX1327" fmla="*/ 663214 w 1066152"/>
                <a:gd name="connsiteY1327" fmla="*/ 570805 h 802795"/>
                <a:gd name="connsiteX1328" fmla="*/ 662180 w 1066152"/>
                <a:gd name="connsiteY1328" fmla="*/ 571605 h 802795"/>
                <a:gd name="connsiteX1329" fmla="*/ 660439 w 1066152"/>
                <a:gd name="connsiteY1329" fmla="*/ 572075 h 802795"/>
                <a:gd name="connsiteX1330" fmla="*/ 659781 w 1066152"/>
                <a:gd name="connsiteY1330" fmla="*/ 573321 h 802795"/>
                <a:gd name="connsiteX1331" fmla="*/ 660063 w 1066152"/>
                <a:gd name="connsiteY1331" fmla="*/ 575014 h 802795"/>
                <a:gd name="connsiteX1332" fmla="*/ 662627 w 1066152"/>
                <a:gd name="connsiteY1332" fmla="*/ 579270 h 802795"/>
                <a:gd name="connsiteX1333" fmla="*/ 663402 w 1066152"/>
                <a:gd name="connsiteY1333" fmla="*/ 580164 h 802795"/>
                <a:gd name="connsiteX1334" fmla="*/ 665919 w 1066152"/>
                <a:gd name="connsiteY1334" fmla="*/ 581692 h 802795"/>
                <a:gd name="connsiteX1335" fmla="*/ 667706 w 1066152"/>
                <a:gd name="connsiteY1335" fmla="*/ 582491 h 802795"/>
                <a:gd name="connsiteX1336" fmla="*/ 669258 w 1066152"/>
                <a:gd name="connsiteY1336" fmla="*/ 582679 h 802795"/>
                <a:gd name="connsiteX1337" fmla="*/ 669916 w 1066152"/>
                <a:gd name="connsiteY1337" fmla="*/ 581575 h 802795"/>
                <a:gd name="connsiteX1338" fmla="*/ 671350 w 1066152"/>
                <a:gd name="connsiteY1338" fmla="*/ 582351 h 802795"/>
                <a:gd name="connsiteX1339" fmla="*/ 671891 w 1066152"/>
                <a:gd name="connsiteY1339" fmla="*/ 583408 h 802795"/>
                <a:gd name="connsiteX1340" fmla="*/ 671562 w 1066152"/>
                <a:gd name="connsiteY1340" fmla="*/ 584490 h 802795"/>
                <a:gd name="connsiteX1341" fmla="*/ 670433 w 1066152"/>
                <a:gd name="connsiteY1341" fmla="*/ 585313 h 802795"/>
                <a:gd name="connsiteX1342" fmla="*/ 669798 w 1066152"/>
                <a:gd name="connsiteY1342" fmla="*/ 585948 h 802795"/>
                <a:gd name="connsiteX1343" fmla="*/ 669116 w 1066152"/>
                <a:gd name="connsiteY1343" fmla="*/ 586301 h 802795"/>
                <a:gd name="connsiteX1344" fmla="*/ 668411 w 1066152"/>
                <a:gd name="connsiteY1344" fmla="*/ 586301 h 802795"/>
                <a:gd name="connsiteX1345" fmla="*/ 667706 w 1066152"/>
                <a:gd name="connsiteY1345" fmla="*/ 585854 h 802795"/>
                <a:gd name="connsiteX1346" fmla="*/ 666976 w 1066152"/>
                <a:gd name="connsiteY1346" fmla="*/ 586277 h 802795"/>
                <a:gd name="connsiteX1347" fmla="*/ 664837 w 1066152"/>
                <a:gd name="connsiteY1347" fmla="*/ 587030 h 802795"/>
                <a:gd name="connsiteX1348" fmla="*/ 663544 w 1066152"/>
                <a:gd name="connsiteY1348" fmla="*/ 587312 h 802795"/>
                <a:gd name="connsiteX1349" fmla="*/ 661310 w 1066152"/>
                <a:gd name="connsiteY1349" fmla="*/ 588394 h 802795"/>
                <a:gd name="connsiteX1350" fmla="*/ 658370 w 1066152"/>
                <a:gd name="connsiteY1350" fmla="*/ 588394 h 802795"/>
                <a:gd name="connsiteX1351" fmla="*/ 657359 w 1066152"/>
                <a:gd name="connsiteY1351" fmla="*/ 588581 h 802795"/>
                <a:gd name="connsiteX1352" fmla="*/ 656278 w 1066152"/>
                <a:gd name="connsiteY1352" fmla="*/ 589052 h 802795"/>
                <a:gd name="connsiteX1353" fmla="*/ 654349 w 1066152"/>
                <a:gd name="connsiteY1353" fmla="*/ 590251 h 802795"/>
                <a:gd name="connsiteX1354" fmla="*/ 653691 w 1066152"/>
                <a:gd name="connsiteY1354" fmla="*/ 589781 h 802795"/>
                <a:gd name="connsiteX1355" fmla="*/ 650587 w 1066152"/>
                <a:gd name="connsiteY1355" fmla="*/ 588394 h 802795"/>
                <a:gd name="connsiteX1356" fmla="*/ 648024 w 1066152"/>
                <a:gd name="connsiteY1356" fmla="*/ 587923 h 802795"/>
                <a:gd name="connsiteX1357" fmla="*/ 643062 w 1066152"/>
                <a:gd name="connsiteY1357" fmla="*/ 587830 h 802795"/>
                <a:gd name="connsiteX1358" fmla="*/ 641676 w 1066152"/>
                <a:gd name="connsiteY1358" fmla="*/ 587970 h 802795"/>
                <a:gd name="connsiteX1359" fmla="*/ 640453 w 1066152"/>
                <a:gd name="connsiteY1359" fmla="*/ 588370 h 802795"/>
                <a:gd name="connsiteX1360" fmla="*/ 639582 w 1066152"/>
                <a:gd name="connsiteY1360" fmla="*/ 589076 h 802795"/>
                <a:gd name="connsiteX1361" fmla="*/ 639160 w 1066152"/>
                <a:gd name="connsiteY1361" fmla="*/ 589945 h 802795"/>
                <a:gd name="connsiteX1362" fmla="*/ 639394 w 1066152"/>
                <a:gd name="connsiteY1362" fmla="*/ 590816 h 802795"/>
                <a:gd name="connsiteX1363" fmla="*/ 640265 w 1066152"/>
                <a:gd name="connsiteY1363" fmla="*/ 592391 h 802795"/>
                <a:gd name="connsiteX1364" fmla="*/ 637819 w 1066152"/>
                <a:gd name="connsiteY1364" fmla="*/ 591874 h 802795"/>
                <a:gd name="connsiteX1365" fmla="*/ 635468 w 1066152"/>
                <a:gd name="connsiteY1365" fmla="*/ 591356 h 802795"/>
                <a:gd name="connsiteX1366" fmla="*/ 634974 w 1066152"/>
                <a:gd name="connsiteY1366" fmla="*/ 590322 h 802795"/>
                <a:gd name="connsiteX1367" fmla="*/ 634574 w 1066152"/>
                <a:gd name="connsiteY1367" fmla="*/ 589523 h 802795"/>
                <a:gd name="connsiteX1368" fmla="*/ 632928 w 1066152"/>
                <a:gd name="connsiteY1368" fmla="*/ 589287 h 802795"/>
                <a:gd name="connsiteX1369" fmla="*/ 630624 w 1066152"/>
                <a:gd name="connsiteY1369" fmla="*/ 588417 h 802795"/>
                <a:gd name="connsiteX1370" fmla="*/ 629566 w 1066152"/>
                <a:gd name="connsiteY1370" fmla="*/ 588135 h 802795"/>
                <a:gd name="connsiteX1371" fmla="*/ 628390 w 1066152"/>
                <a:gd name="connsiteY1371" fmla="*/ 589240 h 802795"/>
                <a:gd name="connsiteX1372" fmla="*/ 628084 w 1066152"/>
                <a:gd name="connsiteY1372" fmla="*/ 590087 h 802795"/>
                <a:gd name="connsiteX1373" fmla="*/ 625898 w 1066152"/>
                <a:gd name="connsiteY1373" fmla="*/ 590039 h 802795"/>
                <a:gd name="connsiteX1374" fmla="*/ 623241 w 1066152"/>
                <a:gd name="connsiteY1374" fmla="*/ 589710 h 802795"/>
                <a:gd name="connsiteX1375" fmla="*/ 620936 w 1066152"/>
                <a:gd name="connsiteY1375" fmla="*/ 590792 h 802795"/>
                <a:gd name="connsiteX1376" fmla="*/ 619690 w 1066152"/>
                <a:gd name="connsiteY1376" fmla="*/ 591568 h 802795"/>
                <a:gd name="connsiteX1377" fmla="*/ 616209 w 1066152"/>
                <a:gd name="connsiteY1377" fmla="*/ 594719 h 802795"/>
                <a:gd name="connsiteX1378" fmla="*/ 614893 w 1066152"/>
                <a:gd name="connsiteY1378" fmla="*/ 595471 h 802795"/>
                <a:gd name="connsiteX1379" fmla="*/ 613341 w 1066152"/>
                <a:gd name="connsiteY1379" fmla="*/ 595777 h 802795"/>
                <a:gd name="connsiteX1380" fmla="*/ 612918 w 1066152"/>
                <a:gd name="connsiteY1380" fmla="*/ 595965 h 802795"/>
                <a:gd name="connsiteX1381" fmla="*/ 612283 w 1066152"/>
                <a:gd name="connsiteY1381" fmla="*/ 596388 h 802795"/>
                <a:gd name="connsiteX1382" fmla="*/ 611718 w 1066152"/>
                <a:gd name="connsiteY1382" fmla="*/ 596906 h 802795"/>
                <a:gd name="connsiteX1383" fmla="*/ 611460 w 1066152"/>
                <a:gd name="connsiteY1383" fmla="*/ 597329 h 802795"/>
                <a:gd name="connsiteX1384" fmla="*/ 611248 w 1066152"/>
                <a:gd name="connsiteY1384" fmla="*/ 597776 h 802795"/>
                <a:gd name="connsiteX1385" fmla="*/ 610402 w 1066152"/>
                <a:gd name="connsiteY1385" fmla="*/ 600739 h 802795"/>
                <a:gd name="connsiteX1386" fmla="*/ 610332 w 1066152"/>
                <a:gd name="connsiteY1386" fmla="*/ 601326 h 802795"/>
                <a:gd name="connsiteX1387" fmla="*/ 609649 w 1066152"/>
                <a:gd name="connsiteY1387" fmla="*/ 601820 h 802795"/>
                <a:gd name="connsiteX1388" fmla="*/ 609179 w 1066152"/>
                <a:gd name="connsiteY1388" fmla="*/ 601679 h 802795"/>
                <a:gd name="connsiteX1389" fmla="*/ 608756 w 1066152"/>
                <a:gd name="connsiteY1389" fmla="*/ 601373 h 802795"/>
                <a:gd name="connsiteX1390" fmla="*/ 608215 w 1066152"/>
                <a:gd name="connsiteY1390" fmla="*/ 601326 h 802795"/>
                <a:gd name="connsiteX1391" fmla="*/ 607509 w 1066152"/>
                <a:gd name="connsiteY1391" fmla="*/ 601726 h 802795"/>
                <a:gd name="connsiteX1392" fmla="*/ 605958 w 1066152"/>
                <a:gd name="connsiteY1392" fmla="*/ 602972 h 802795"/>
                <a:gd name="connsiteX1393" fmla="*/ 605229 w 1066152"/>
                <a:gd name="connsiteY1393" fmla="*/ 603231 h 802795"/>
                <a:gd name="connsiteX1394" fmla="*/ 604077 w 1066152"/>
                <a:gd name="connsiteY1394" fmla="*/ 603443 h 802795"/>
                <a:gd name="connsiteX1395" fmla="*/ 600079 w 1066152"/>
                <a:gd name="connsiteY1395" fmla="*/ 605041 h 802795"/>
                <a:gd name="connsiteX1396" fmla="*/ 598292 w 1066152"/>
                <a:gd name="connsiteY1396" fmla="*/ 606052 h 802795"/>
                <a:gd name="connsiteX1397" fmla="*/ 597963 w 1066152"/>
                <a:gd name="connsiteY1397" fmla="*/ 607111 h 802795"/>
                <a:gd name="connsiteX1398" fmla="*/ 597422 w 1066152"/>
                <a:gd name="connsiteY1398" fmla="*/ 607840 h 802795"/>
                <a:gd name="connsiteX1399" fmla="*/ 596011 w 1066152"/>
                <a:gd name="connsiteY1399" fmla="*/ 607651 h 802795"/>
                <a:gd name="connsiteX1400" fmla="*/ 595283 w 1066152"/>
                <a:gd name="connsiteY1400" fmla="*/ 608451 h 802795"/>
                <a:gd name="connsiteX1401" fmla="*/ 594836 w 1066152"/>
                <a:gd name="connsiteY1401" fmla="*/ 610027 h 802795"/>
                <a:gd name="connsiteX1402" fmla="*/ 593801 w 1066152"/>
                <a:gd name="connsiteY1402" fmla="*/ 611884 h 802795"/>
                <a:gd name="connsiteX1403" fmla="*/ 591496 w 1066152"/>
                <a:gd name="connsiteY1403" fmla="*/ 614941 h 802795"/>
                <a:gd name="connsiteX1404" fmla="*/ 586911 w 1066152"/>
                <a:gd name="connsiteY1404" fmla="*/ 619197 h 802795"/>
                <a:gd name="connsiteX1405" fmla="*/ 584913 w 1066152"/>
                <a:gd name="connsiteY1405" fmla="*/ 621737 h 802795"/>
                <a:gd name="connsiteX1406" fmla="*/ 583525 w 1066152"/>
                <a:gd name="connsiteY1406" fmla="*/ 625405 h 802795"/>
                <a:gd name="connsiteX1407" fmla="*/ 582938 w 1066152"/>
                <a:gd name="connsiteY1407" fmla="*/ 628532 h 802795"/>
                <a:gd name="connsiteX1408" fmla="*/ 581997 w 1066152"/>
                <a:gd name="connsiteY1408" fmla="*/ 630978 h 802795"/>
                <a:gd name="connsiteX1409" fmla="*/ 581573 w 1066152"/>
                <a:gd name="connsiteY1409" fmla="*/ 633470 h 802795"/>
                <a:gd name="connsiteX1410" fmla="*/ 579245 w 1066152"/>
                <a:gd name="connsiteY1410" fmla="*/ 638949 h 802795"/>
                <a:gd name="connsiteX1411" fmla="*/ 577600 w 1066152"/>
                <a:gd name="connsiteY1411" fmla="*/ 641465 h 802795"/>
                <a:gd name="connsiteX1412" fmla="*/ 577529 w 1066152"/>
                <a:gd name="connsiteY1412" fmla="*/ 642570 h 802795"/>
                <a:gd name="connsiteX1413" fmla="*/ 577741 w 1066152"/>
                <a:gd name="connsiteY1413" fmla="*/ 643369 h 802795"/>
                <a:gd name="connsiteX1414" fmla="*/ 578023 w 1066152"/>
                <a:gd name="connsiteY1414" fmla="*/ 644052 h 802795"/>
                <a:gd name="connsiteX1415" fmla="*/ 578164 w 1066152"/>
                <a:gd name="connsiteY1415" fmla="*/ 644827 h 802795"/>
                <a:gd name="connsiteX1416" fmla="*/ 578046 w 1066152"/>
                <a:gd name="connsiteY1416" fmla="*/ 645627 h 802795"/>
                <a:gd name="connsiteX1417" fmla="*/ 577670 w 1066152"/>
                <a:gd name="connsiteY1417" fmla="*/ 646097 h 802795"/>
                <a:gd name="connsiteX1418" fmla="*/ 577082 w 1066152"/>
                <a:gd name="connsiteY1418" fmla="*/ 646309 h 802795"/>
                <a:gd name="connsiteX1419" fmla="*/ 575319 w 1066152"/>
                <a:gd name="connsiteY1419" fmla="*/ 646426 h 802795"/>
                <a:gd name="connsiteX1420" fmla="*/ 574848 w 1066152"/>
                <a:gd name="connsiteY1420" fmla="*/ 646638 h 802795"/>
                <a:gd name="connsiteX1421" fmla="*/ 573885 w 1066152"/>
                <a:gd name="connsiteY1421" fmla="*/ 647532 h 802795"/>
                <a:gd name="connsiteX1422" fmla="*/ 571133 w 1066152"/>
                <a:gd name="connsiteY1422" fmla="*/ 649272 h 802795"/>
                <a:gd name="connsiteX1423" fmla="*/ 570052 w 1066152"/>
                <a:gd name="connsiteY1423" fmla="*/ 650494 h 802795"/>
                <a:gd name="connsiteX1424" fmla="*/ 569252 w 1066152"/>
                <a:gd name="connsiteY1424" fmla="*/ 654209 h 802795"/>
                <a:gd name="connsiteX1425" fmla="*/ 568335 w 1066152"/>
                <a:gd name="connsiteY1425" fmla="*/ 655267 h 802795"/>
                <a:gd name="connsiteX1426" fmla="*/ 567112 w 1066152"/>
                <a:gd name="connsiteY1426" fmla="*/ 656114 h 802795"/>
                <a:gd name="connsiteX1427" fmla="*/ 565819 w 1066152"/>
                <a:gd name="connsiteY1427" fmla="*/ 657384 h 802795"/>
                <a:gd name="connsiteX1428" fmla="*/ 565513 w 1066152"/>
                <a:gd name="connsiteY1428" fmla="*/ 658066 h 802795"/>
                <a:gd name="connsiteX1429" fmla="*/ 565114 w 1066152"/>
                <a:gd name="connsiteY1429" fmla="*/ 659759 h 802795"/>
                <a:gd name="connsiteX1430" fmla="*/ 564690 w 1066152"/>
                <a:gd name="connsiteY1430" fmla="*/ 660487 h 802795"/>
                <a:gd name="connsiteX1431" fmla="*/ 563985 w 1066152"/>
                <a:gd name="connsiteY1431" fmla="*/ 660911 h 802795"/>
                <a:gd name="connsiteX1432" fmla="*/ 563115 w 1066152"/>
                <a:gd name="connsiteY1432" fmla="*/ 661123 h 802795"/>
                <a:gd name="connsiteX1433" fmla="*/ 562386 w 1066152"/>
                <a:gd name="connsiteY1433" fmla="*/ 661405 h 802795"/>
                <a:gd name="connsiteX1434" fmla="*/ 561586 w 1066152"/>
                <a:gd name="connsiteY1434" fmla="*/ 663122 h 802795"/>
                <a:gd name="connsiteX1435" fmla="*/ 560364 w 1066152"/>
                <a:gd name="connsiteY1435" fmla="*/ 663992 h 802795"/>
                <a:gd name="connsiteX1436" fmla="*/ 558788 w 1066152"/>
                <a:gd name="connsiteY1436" fmla="*/ 664556 h 802795"/>
                <a:gd name="connsiteX1437" fmla="*/ 557260 w 1066152"/>
                <a:gd name="connsiteY1437" fmla="*/ 664767 h 802795"/>
                <a:gd name="connsiteX1438" fmla="*/ 554321 w 1066152"/>
                <a:gd name="connsiteY1438" fmla="*/ 663921 h 802795"/>
                <a:gd name="connsiteX1439" fmla="*/ 552134 w 1066152"/>
                <a:gd name="connsiteY1439" fmla="*/ 661875 h 802795"/>
                <a:gd name="connsiteX1440" fmla="*/ 550229 w 1066152"/>
                <a:gd name="connsiteY1440" fmla="*/ 659430 h 802795"/>
                <a:gd name="connsiteX1441" fmla="*/ 548136 w 1066152"/>
                <a:gd name="connsiteY1441" fmla="*/ 657407 h 802795"/>
                <a:gd name="connsiteX1442" fmla="*/ 545362 w 1066152"/>
                <a:gd name="connsiteY1442" fmla="*/ 655808 h 802795"/>
                <a:gd name="connsiteX1443" fmla="*/ 543739 w 1066152"/>
                <a:gd name="connsiteY1443" fmla="*/ 655244 h 802795"/>
                <a:gd name="connsiteX1444" fmla="*/ 541976 w 1066152"/>
                <a:gd name="connsiteY1444" fmla="*/ 655009 h 802795"/>
                <a:gd name="connsiteX1445" fmla="*/ 540518 w 1066152"/>
                <a:gd name="connsiteY1445" fmla="*/ 655291 h 802795"/>
                <a:gd name="connsiteX1446" fmla="*/ 537978 w 1066152"/>
                <a:gd name="connsiteY1446" fmla="*/ 656514 h 802795"/>
                <a:gd name="connsiteX1447" fmla="*/ 536380 w 1066152"/>
                <a:gd name="connsiteY1447" fmla="*/ 656843 h 802795"/>
                <a:gd name="connsiteX1448" fmla="*/ 535651 w 1066152"/>
                <a:gd name="connsiteY1448" fmla="*/ 656655 h 802795"/>
                <a:gd name="connsiteX1449" fmla="*/ 533534 w 1066152"/>
                <a:gd name="connsiteY1449" fmla="*/ 655808 h 802795"/>
                <a:gd name="connsiteX1450" fmla="*/ 532593 w 1066152"/>
                <a:gd name="connsiteY1450" fmla="*/ 655597 h 802795"/>
                <a:gd name="connsiteX1451" fmla="*/ 526386 w 1066152"/>
                <a:gd name="connsiteY1451" fmla="*/ 656608 h 802795"/>
                <a:gd name="connsiteX1452" fmla="*/ 525116 w 1066152"/>
                <a:gd name="connsiteY1452" fmla="*/ 657266 h 802795"/>
                <a:gd name="connsiteX1453" fmla="*/ 523564 w 1066152"/>
                <a:gd name="connsiteY1453" fmla="*/ 660676 h 802795"/>
                <a:gd name="connsiteX1454" fmla="*/ 521966 w 1066152"/>
                <a:gd name="connsiteY1454" fmla="*/ 664673 h 802795"/>
                <a:gd name="connsiteX1455" fmla="*/ 519966 w 1066152"/>
                <a:gd name="connsiteY1455" fmla="*/ 666602 h 802795"/>
                <a:gd name="connsiteX1456" fmla="*/ 519590 w 1066152"/>
                <a:gd name="connsiteY1456" fmla="*/ 666860 h 802795"/>
                <a:gd name="connsiteX1457" fmla="*/ 518697 w 1066152"/>
                <a:gd name="connsiteY1457" fmla="*/ 667683 h 802795"/>
                <a:gd name="connsiteX1458" fmla="*/ 516722 w 1066152"/>
                <a:gd name="connsiteY1458" fmla="*/ 668483 h 802795"/>
                <a:gd name="connsiteX1459" fmla="*/ 514064 w 1066152"/>
                <a:gd name="connsiteY1459" fmla="*/ 668836 h 802795"/>
                <a:gd name="connsiteX1460" fmla="*/ 512654 w 1066152"/>
                <a:gd name="connsiteY1460" fmla="*/ 668341 h 802795"/>
                <a:gd name="connsiteX1461" fmla="*/ 511055 w 1066152"/>
                <a:gd name="connsiteY1461" fmla="*/ 668976 h 802795"/>
                <a:gd name="connsiteX1462" fmla="*/ 509009 w 1066152"/>
                <a:gd name="connsiteY1462" fmla="*/ 667707 h 802795"/>
                <a:gd name="connsiteX1463" fmla="*/ 507481 w 1066152"/>
                <a:gd name="connsiteY1463" fmla="*/ 666578 h 802795"/>
                <a:gd name="connsiteX1464" fmla="*/ 506046 w 1066152"/>
                <a:gd name="connsiteY1464" fmla="*/ 665990 h 802795"/>
                <a:gd name="connsiteX1465" fmla="*/ 505341 w 1066152"/>
                <a:gd name="connsiteY1465" fmla="*/ 666178 h 802795"/>
                <a:gd name="connsiteX1466" fmla="*/ 504635 w 1066152"/>
                <a:gd name="connsiteY1466" fmla="*/ 667001 h 802795"/>
                <a:gd name="connsiteX1467" fmla="*/ 503930 w 1066152"/>
                <a:gd name="connsiteY1467" fmla="*/ 667189 h 802795"/>
                <a:gd name="connsiteX1468" fmla="*/ 503107 w 1066152"/>
                <a:gd name="connsiteY1468" fmla="*/ 666766 h 802795"/>
                <a:gd name="connsiteX1469" fmla="*/ 500967 w 1066152"/>
                <a:gd name="connsiteY1469" fmla="*/ 664132 h 802795"/>
                <a:gd name="connsiteX1470" fmla="*/ 498781 w 1066152"/>
                <a:gd name="connsiteY1470" fmla="*/ 662721 h 802795"/>
                <a:gd name="connsiteX1471" fmla="*/ 497276 w 1066152"/>
                <a:gd name="connsiteY1471" fmla="*/ 662604 h 802795"/>
                <a:gd name="connsiteX1472" fmla="*/ 493019 w 1066152"/>
                <a:gd name="connsiteY1472" fmla="*/ 663897 h 802795"/>
                <a:gd name="connsiteX1473" fmla="*/ 486083 w 1066152"/>
                <a:gd name="connsiteY1473" fmla="*/ 662769 h 802795"/>
                <a:gd name="connsiteX1474" fmla="*/ 479805 w 1066152"/>
                <a:gd name="connsiteY1474" fmla="*/ 663239 h 802795"/>
                <a:gd name="connsiteX1475" fmla="*/ 474232 w 1066152"/>
                <a:gd name="connsiteY1475" fmla="*/ 662322 h 802795"/>
                <a:gd name="connsiteX1476" fmla="*/ 466284 w 1066152"/>
                <a:gd name="connsiteY1476" fmla="*/ 663215 h 802795"/>
                <a:gd name="connsiteX1477" fmla="*/ 465132 w 1066152"/>
                <a:gd name="connsiteY1477" fmla="*/ 663921 h 802795"/>
                <a:gd name="connsiteX1478" fmla="*/ 464050 w 1066152"/>
                <a:gd name="connsiteY1478" fmla="*/ 664909 h 802795"/>
                <a:gd name="connsiteX1479" fmla="*/ 462451 w 1066152"/>
                <a:gd name="connsiteY1479" fmla="*/ 665990 h 802795"/>
                <a:gd name="connsiteX1480" fmla="*/ 459606 w 1066152"/>
                <a:gd name="connsiteY1480" fmla="*/ 667636 h 802795"/>
                <a:gd name="connsiteX1481" fmla="*/ 454715 w 1066152"/>
                <a:gd name="connsiteY1481" fmla="*/ 667589 h 802795"/>
                <a:gd name="connsiteX1482" fmla="*/ 451705 w 1066152"/>
                <a:gd name="connsiteY1482" fmla="*/ 665355 h 802795"/>
                <a:gd name="connsiteX1483" fmla="*/ 450130 w 1066152"/>
                <a:gd name="connsiteY1483" fmla="*/ 665590 h 802795"/>
                <a:gd name="connsiteX1484" fmla="*/ 449048 w 1066152"/>
                <a:gd name="connsiteY1484" fmla="*/ 666131 h 802795"/>
                <a:gd name="connsiteX1485" fmla="*/ 446179 w 1066152"/>
                <a:gd name="connsiteY1485" fmla="*/ 664861 h 802795"/>
                <a:gd name="connsiteX1486" fmla="*/ 445027 w 1066152"/>
                <a:gd name="connsiteY1486" fmla="*/ 663427 h 802795"/>
                <a:gd name="connsiteX1487" fmla="*/ 442582 w 1066152"/>
                <a:gd name="connsiteY1487" fmla="*/ 663545 h 802795"/>
                <a:gd name="connsiteX1488" fmla="*/ 439972 w 1066152"/>
                <a:gd name="connsiteY1488" fmla="*/ 663709 h 802795"/>
                <a:gd name="connsiteX1489" fmla="*/ 438866 w 1066152"/>
                <a:gd name="connsiteY1489" fmla="*/ 664650 h 802795"/>
                <a:gd name="connsiteX1490" fmla="*/ 434846 w 1066152"/>
                <a:gd name="connsiteY1490" fmla="*/ 665073 h 802795"/>
                <a:gd name="connsiteX1491" fmla="*/ 429202 w 1066152"/>
                <a:gd name="connsiteY1491" fmla="*/ 663427 h 802795"/>
                <a:gd name="connsiteX1492" fmla="*/ 426451 w 1066152"/>
                <a:gd name="connsiteY1492" fmla="*/ 662581 h 802795"/>
                <a:gd name="connsiteX1493" fmla="*/ 422477 w 1066152"/>
                <a:gd name="connsiteY1493" fmla="*/ 663356 h 802795"/>
                <a:gd name="connsiteX1494" fmla="*/ 416881 w 1066152"/>
                <a:gd name="connsiteY1494" fmla="*/ 664838 h 802795"/>
                <a:gd name="connsiteX1495" fmla="*/ 409403 w 1066152"/>
                <a:gd name="connsiteY1495" fmla="*/ 662933 h 802795"/>
                <a:gd name="connsiteX1496" fmla="*/ 407593 w 1066152"/>
                <a:gd name="connsiteY1496" fmla="*/ 663333 h 802795"/>
                <a:gd name="connsiteX1497" fmla="*/ 405218 w 1066152"/>
                <a:gd name="connsiteY1497" fmla="*/ 664932 h 802795"/>
                <a:gd name="connsiteX1498" fmla="*/ 398423 w 1066152"/>
                <a:gd name="connsiteY1498" fmla="*/ 665873 h 802795"/>
                <a:gd name="connsiteX1499" fmla="*/ 396259 w 1066152"/>
                <a:gd name="connsiteY1499" fmla="*/ 666131 h 802795"/>
                <a:gd name="connsiteX1500" fmla="*/ 382292 w 1066152"/>
                <a:gd name="connsiteY1500" fmla="*/ 665097 h 802795"/>
                <a:gd name="connsiteX1501" fmla="*/ 380952 w 1066152"/>
                <a:gd name="connsiteY1501" fmla="*/ 665450 h 802795"/>
                <a:gd name="connsiteX1502" fmla="*/ 379940 w 1066152"/>
                <a:gd name="connsiteY1502" fmla="*/ 666272 h 802795"/>
                <a:gd name="connsiteX1503" fmla="*/ 377754 w 1066152"/>
                <a:gd name="connsiteY1503" fmla="*/ 669776 h 802795"/>
                <a:gd name="connsiteX1504" fmla="*/ 377307 w 1066152"/>
                <a:gd name="connsiteY1504" fmla="*/ 670529 h 802795"/>
                <a:gd name="connsiteX1505" fmla="*/ 376249 w 1066152"/>
                <a:gd name="connsiteY1505" fmla="*/ 671586 h 802795"/>
                <a:gd name="connsiteX1506" fmla="*/ 375426 w 1066152"/>
                <a:gd name="connsiteY1506" fmla="*/ 672880 h 802795"/>
                <a:gd name="connsiteX1507" fmla="*/ 375096 w 1066152"/>
                <a:gd name="connsiteY1507" fmla="*/ 674314 h 802795"/>
                <a:gd name="connsiteX1508" fmla="*/ 372792 w 1066152"/>
                <a:gd name="connsiteY1508" fmla="*/ 677865 h 802795"/>
                <a:gd name="connsiteX1509" fmla="*/ 367878 w 1066152"/>
                <a:gd name="connsiteY1509" fmla="*/ 678476 h 802795"/>
                <a:gd name="connsiteX1510" fmla="*/ 365738 w 1066152"/>
                <a:gd name="connsiteY1510" fmla="*/ 682332 h 802795"/>
                <a:gd name="connsiteX1511" fmla="*/ 363010 w 1066152"/>
                <a:gd name="connsiteY1511" fmla="*/ 683979 h 802795"/>
                <a:gd name="connsiteX1512" fmla="*/ 362281 w 1066152"/>
                <a:gd name="connsiteY1512" fmla="*/ 684378 h 802795"/>
                <a:gd name="connsiteX1513" fmla="*/ 360636 w 1066152"/>
                <a:gd name="connsiteY1513" fmla="*/ 684989 h 802795"/>
                <a:gd name="connsiteX1514" fmla="*/ 357320 w 1066152"/>
                <a:gd name="connsiteY1514" fmla="*/ 685695 h 802795"/>
                <a:gd name="connsiteX1515" fmla="*/ 354075 w 1066152"/>
                <a:gd name="connsiteY1515" fmla="*/ 685601 h 802795"/>
                <a:gd name="connsiteX1516" fmla="*/ 344998 w 1066152"/>
                <a:gd name="connsiteY1516" fmla="*/ 684543 h 802795"/>
                <a:gd name="connsiteX1517" fmla="*/ 343259 w 1066152"/>
                <a:gd name="connsiteY1517" fmla="*/ 684472 h 802795"/>
                <a:gd name="connsiteX1518" fmla="*/ 342506 w 1066152"/>
                <a:gd name="connsiteY1518" fmla="*/ 684684 h 802795"/>
                <a:gd name="connsiteX1519" fmla="*/ 341612 w 1066152"/>
                <a:gd name="connsiteY1519" fmla="*/ 685319 h 802795"/>
                <a:gd name="connsiteX1520" fmla="*/ 336087 w 1066152"/>
                <a:gd name="connsiteY1520" fmla="*/ 688869 h 802795"/>
                <a:gd name="connsiteX1521" fmla="*/ 330749 w 1066152"/>
                <a:gd name="connsiteY1521" fmla="*/ 689292 h 802795"/>
                <a:gd name="connsiteX1522" fmla="*/ 327127 w 1066152"/>
                <a:gd name="connsiteY1522" fmla="*/ 691361 h 802795"/>
                <a:gd name="connsiteX1523" fmla="*/ 326164 w 1066152"/>
                <a:gd name="connsiteY1523" fmla="*/ 691668 h 802795"/>
                <a:gd name="connsiteX1524" fmla="*/ 323295 w 1066152"/>
                <a:gd name="connsiteY1524" fmla="*/ 691996 h 802795"/>
                <a:gd name="connsiteX1525" fmla="*/ 322049 w 1066152"/>
                <a:gd name="connsiteY1525" fmla="*/ 692397 h 802795"/>
                <a:gd name="connsiteX1526" fmla="*/ 321037 w 1066152"/>
                <a:gd name="connsiteY1526" fmla="*/ 692937 h 802795"/>
                <a:gd name="connsiteX1527" fmla="*/ 320003 w 1066152"/>
                <a:gd name="connsiteY1527" fmla="*/ 694184 h 802795"/>
                <a:gd name="connsiteX1528" fmla="*/ 317863 w 1066152"/>
                <a:gd name="connsiteY1528" fmla="*/ 697687 h 802795"/>
                <a:gd name="connsiteX1529" fmla="*/ 317816 w 1066152"/>
                <a:gd name="connsiteY1529" fmla="*/ 698510 h 802795"/>
                <a:gd name="connsiteX1530" fmla="*/ 316500 w 1066152"/>
                <a:gd name="connsiteY1530" fmla="*/ 701755 h 802795"/>
                <a:gd name="connsiteX1531" fmla="*/ 315794 w 1066152"/>
                <a:gd name="connsiteY1531" fmla="*/ 703095 h 802795"/>
                <a:gd name="connsiteX1532" fmla="*/ 315394 w 1066152"/>
                <a:gd name="connsiteY1532" fmla="*/ 703495 h 802795"/>
                <a:gd name="connsiteX1533" fmla="*/ 314830 w 1066152"/>
                <a:gd name="connsiteY1533" fmla="*/ 703988 h 802795"/>
                <a:gd name="connsiteX1534" fmla="*/ 314195 w 1066152"/>
                <a:gd name="connsiteY1534" fmla="*/ 704389 h 802795"/>
                <a:gd name="connsiteX1535" fmla="*/ 312902 w 1066152"/>
                <a:gd name="connsiteY1535" fmla="*/ 704836 h 802795"/>
                <a:gd name="connsiteX1536" fmla="*/ 312996 w 1066152"/>
                <a:gd name="connsiteY1536" fmla="*/ 705517 h 802795"/>
                <a:gd name="connsiteX1537" fmla="*/ 313325 w 1066152"/>
                <a:gd name="connsiteY1537" fmla="*/ 706317 h 802795"/>
                <a:gd name="connsiteX1538" fmla="*/ 312431 w 1066152"/>
                <a:gd name="connsiteY1538" fmla="*/ 707516 h 802795"/>
                <a:gd name="connsiteX1539" fmla="*/ 309869 w 1066152"/>
                <a:gd name="connsiteY1539" fmla="*/ 711890 h 802795"/>
                <a:gd name="connsiteX1540" fmla="*/ 309492 w 1066152"/>
                <a:gd name="connsiteY1540" fmla="*/ 712807 h 802795"/>
                <a:gd name="connsiteX1541" fmla="*/ 309116 w 1066152"/>
                <a:gd name="connsiteY1541" fmla="*/ 716945 h 802795"/>
                <a:gd name="connsiteX1542" fmla="*/ 307587 w 1066152"/>
                <a:gd name="connsiteY1542" fmla="*/ 716945 h 802795"/>
                <a:gd name="connsiteX1543" fmla="*/ 306953 w 1066152"/>
                <a:gd name="connsiteY1543" fmla="*/ 714993 h 802795"/>
                <a:gd name="connsiteX1544" fmla="*/ 305706 w 1066152"/>
                <a:gd name="connsiteY1544" fmla="*/ 714170 h 802795"/>
                <a:gd name="connsiteX1545" fmla="*/ 303873 w 1066152"/>
                <a:gd name="connsiteY1545" fmla="*/ 713559 h 802795"/>
                <a:gd name="connsiteX1546" fmla="*/ 302344 w 1066152"/>
                <a:gd name="connsiteY1546" fmla="*/ 713512 h 802795"/>
                <a:gd name="connsiteX1547" fmla="*/ 302085 w 1066152"/>
                <a:gd name="connsiteY1547" fmla="*/ 714382 h 802795"/>
                <a:gd name="connsiteX1548" fmla="*/ 301356 w 1066152"/>
                <a:gd name="connsiteY1548" fmla="*/ 715135 h 802795"/>
                <a:gd name="connsiteX1549" fmla="*/ 301004 w 1066152"/>
                <a:gd name="connsiteY1549" fmla="*/ 716263 h 802795"/>
                <a:gd name="connsiteX1550" fmla="*/ 301074 w 1066152"/>
                <a:gd name="connsiteY1550" fmla="*/ 717533 h 802795"/>
                <a:gd name="connsiteX1551" fmla="*/ 301591 w 1066152"/>
                <a:gd name="connsiteY1551" fmla="*/ 718685 h 802795"/>
                <a:gd name="connsiteX1552" fmla="*/ 301215 w 1066152"/>
                <a:gd name="connsiteY1552" fmla="*/ 719344 h 802795"/>
                <a:gd name="connsiteX1553" fmla="*/ 301426 w 1066152"/>
                <a:gd name="connsiteY1553" fmla="*/ 720707 h 802795"/>
                <a:gd name="connsiteX1554" fmla="*/ 301873 w 1066152"/>
                <a:gd name="connsiteY1554" fmla="*/ 721578 h 802795"/>
                <a:gd name="connsiteX1555" fmla="*/ 302109 w 1066152"/>
                <a:gd name="connsiteY1555" fmla="*/ 722306 h 802795"/>
                <a:gd name="connsiteX1556" fmla="*/ 301873 w 1066152"/>
                <a:gd name="connsiteY1556" fmla="*/ 723294 h 802795"/>
                <a:gd name="connsiteX1557" fmla="*/ 301332 w 1066152"/>
                <a:gd name="connsiteY1557" fmla="*/ 723882 h 802795"/>
                <a:gd name="connsiteX1558" fmla="*/ 300792 w 1066152"/>
                <a:gd name="connsiteY1558" fmla="*/ 724352 h 802795"/>
                <a:gd name="connsiteX1559" fmla="*/ 299146 w 1066152"/>
                <a:gd name="connsiteY1559" fmla="*/ 724964 h 802795"/>
                <a:gd name="connsiteX1560" fmla="*/ 291315 w 1066152"/>
                <a:gd name="connsiteY1560" fmla="*/ 727550 h 802795"/>
                <a:gd name="connsiteX1561" fmla="*/ 290187 w 1066152"/>
                <a:gd name="connsiteY1561" fmla="*/ 728232 h 802795"/>
                <a:gd name="connsiteX1562" fmla="*/ 287765 w 1066152"/>
                <a:gd name="connsiteY1562" fmla="*/ 728890 h 802795"/>
                <a:gd name="connsiteX1563" fmla="*/ 286378 w 1066152"/>
                <a:gd name="connsiteY1563" fmla="*/ 726210 h 802795"/>
                <a:gd name="connsiteX1564" fmla="*/ 283086 w 1066152"/>
                <a:gd name="connsiteY1564" fmla="*/ 724517 h 802795"/>
                <a:gd name="connsiteX1565" fmla="*/ 281698 w 1066152"/>
                <a:gd name="connsiteY1565" fmla="*/ 723529 h 802795"/>
                <a:gd name="connsiteX1566" fmla="*/ 279841 w 1066152"/>
                <a:gd name="connsiteY1566" fmla="*/ 724164 h 802795"/>
                <a:gd name="connsiteX1567" fmla="*/ 278218 w 1066152"/>
                <a:gd name="connsiteY1567" fmla="*/ 723670 h 802795"/>
                <a:gd name="connsiteX1568" fmla="*/ 276667 w 1066152"/>
                <a:gd name="connsiteY1568" fmla="*/ 722777 h 802795"/>
                <a:gd name="connsiteX1569" fmla="*/ 273351 w 1066152"/>
                <a:gd name="connsiteY1569" fmla="*/ 721907 h 802795"/>
                <a:gd name="connsiteX1570" fmla="*/ 272151 w 1066152"/>
                <a:gd name="connsiteY1570" fmla="*/ 720895 h 802795"/>
                <a:gd name="connsiteX1571" fmla="*/ 270483 w 1066152"/>
                <a:gd name="connsiteY1571" fmla="*/ 718638 h 802795"/>
                <a:gd name="connsiteX1572" fmla="*/ 265380 w 1066152"/>
                <a:gd name="connsiteY1572" fmla="*/ 714076 h 802795"/>
                <a:gd name="connsiteX1573" fmla="*/ 263875 w 1066152"/>
                <a:gd name="connsiteY1573" fmla="*/ 713183 h 802795"/>
                <a:gd name="connsiteX1574" fmla="*/ 262182 w 1066152"/>
                <a:gd name="connsiteY1574" fmla="*/ 713183 h 802795"/>
                <a:gd name="connsiteX1575" fmla="*/ 258702 w 1066152"/>
                <a:gd name="connsiteY1575" fmla="*/ 713794 h 802795"/>
                <a:gd name="connsiteX1576" fmla="*/ 254540 w 1066152"/>
                <a:gd name="connsiteY1576" fmla="*/ 712689 h 802795"/>
                <a:gd name="connsiteX1577" fmla="*/ 252541 w 1066152"/>
                <a:gd name="connsiteY1577" fmla="*/ 710220 h 802795"/>
                <a:gd name="connsiteX1578" fmla="*/ 250989 w 1066152"/>
                <a:gd name="connsiteY1578" fmla="*/ 707257 h 802795"/>
                <a:gd name="connsiteX1579" fmla="*/ 249225 w 1066152"/>
                <a:gd name="connsiteY1579" fmla="*/ 704600 h 802795"/>
                <a:gd name="connsiteX1580" fmla="*/ 244946 w 1066152"/>
                <a:gd name="connsiteY1580" fmla="*/ 702508 h 802795"/>
                <a:gd name="connsiteX1581" fmla="*/ 244429 w 1066152"/>
                <a:gd name="connsiteY1581" fmla="*/ 701238 h 802795"/>
                <a:gd name="connsiteX1582" fmla="*/ 244241 w 1066152"/>
                <a:gd name="connsiteY1582" fmla="*/ 699756 h 802795"/>
                <a:gd name="connsiteX1583" fmla="*/ 243723 w 1066152"/>
                <a:gd name="connsiteY1583" fmla="*/ 698134 h 802795"/>
                <a:gd name="connsiteX1584" fmla="*/ 243018 w 1066152"/>
                <a:gd name="connsiteY1584" fmla="*/ 696606 h 802795"/>
                <a:gd name="connsiteX1585" fmla="*/ 240337 w 1066152"/>
                <a:gd name="connsiteY1585" fmla="*/ 693783 h 802795"/>
                <a:gd name="connsiteX1586" fmla="*/ 238479 w 1066152"/>
                <a:gd name="connsiteY1586" fmla="*/ 689857 h 802795"/>
                <a:gd name="connsiteX1587" fmla="*/ 237304 w 1066152"/>
                <a:gd name="connsiteY1587" fmla="*/ 687200 h 802795"/>
                <a:gd name="connsiteX1588" fmla="*/ 235540 w 1066152"/>
                <a:gd name="connsiteY1588" fmla="*/ 684073 h 802795"/>
                <a:gd name="connsiteX1589" fmla="*/ 233847 w 1066152"/>
                <a:gd name="connsiteY1589" fmla="*/ 682756 h 802795"/>
                <a:gd name="connsiteX1590" fmla="*/ 233165 w 1066152"/>
                <a:gd name="connsiteY1590" fmla="*/ 682027 h 802795"/>
                <a:gd name="connsiteX1591" fmla="*/ 234130 w 1066152"/>
                <a:gd name="connsiteY1591" fmla="*/ 681627 h 802795"/>
                <a:gd name="connsiteX1592" fmla="*/ 234788 w 1066152"/>
                <a:gd name="connsiteY1592" fmla="*/ 681768 h 802795"/>
                <a:gd name="connsiteX1593" fmla="*/ 237280 w 1066152"/>
                <a:gd name="connsiteY1593" fmla="*/ 683861 h 802795"/>
                <a:gd name="connsiteX1594" fmla="*/ 237939 w 1066152"/>
                <a:gd name="connsiteY1594" fmla="*/ 684684 h 802795"/>
                <a:gd name="connsiteX1595" fmla="*/ 237539 w 1066152"/>
                <a:gd name="connsiteY1595" fmla="*/ 685436 h 802795"/>
                <a:gd name="connsiteX1596" fmla="*/ 238127 w 1066152"/>
                <a:gd name="connsiteY1596" fmla="*/ 686307 h 802795"/>
                <a:gd name="connsiteX1597" fmla="*/ 239326 w 1066152"/>
                <a:gd name="connsiteY1597" fmla="*/ 687553 h 802795"/>
                <a:gd name="connsiteX1598" fmla="*/ 240290 w 1066152"/>
                <a:gd name="connsiteY1598" fmla="*/ 687340 h 802795"/>
                <a:gd name="connsiteX1599" fmla="*/ 240878 w 1066152"/>
                <a:gd name="connsiteY1599" fmla="*/ 686847 h 802795"/>
                <a:gd name="connsiteX1600" fmla="*/ 241725 w 1066152"/>
                <a:gd name="connsiteY1600" fmla="*/ 685672 h 802795"/>
                <a:gd name="connsiteX1601" fmla="*/ 243394 w 1066152"/>
                <a:gd name="connsiteY1601" fmla="*/ 683908 h 802795"/>
                <a:gd name="connsiteX1602" fmla="*/ 242830 w 1066152"/>
                <a:gd name="connsiteY1602" fmla="*/ 683837 h 802795"/>
                <a:gd name="connsiteX1603" fmla="*/ 241231 w 1066152"/>
                <a:gd name="connsiteY1603" fmla="*/ 684308 h 802795"/>
                <a:gd name="connsiteX1604" fmla="*/ 239867 w 1066152"/>
                <a:gd name="connsiteY1604" fmla="*/ 684143 h 802795"/>
                <a:gd name="connsiteX1605" fmla="*/ 239232 w 1066152"/>
                <a:gd name="connsiteY1605" fmla="*/ 682779 h 802795"/>
                <a:gd name="connsiteX1606" fmla="*/ 239726 w 1066152"/>
                <a:gd name="connsiteY1606" fmla="*/ 680075 h 802795"/>
                <a:gd name="connsiteX1607" fmla="*/ 239044 w 1066152"/>
                <a:gd name="connsiteY1607" fmla="*/ 678382 h 802795"/>
                <a:gd name="connsiteX1608" fmla="*/ 235258 w 1066152"/>
                <a:gd name="connsiteY1608" fmla="*/ 675114 h 802795"/>
                <a:gd name="connsiteX1609" fmla="*/ 234435 w 1066152"/>
                <a:gd name="connsiteY1609" fmla="*/ 674713 h 802795"/>
                <a:gd name="connsiteX1610" fmla="*/ 229121 w 1066152"/>
                <a:gd name="connsiteY1610" fmla="*/ 674385 h 802795"/>
                <a:gd name="connsiteX1611" fmla="*/ 227710 w 1066152"/>
                <a:gd name="connsiteY1611" fmla="*/ 674055 h 802795"/>
                <a:gd name="connsiteX1612" fmla="*/ 226535 w 1066152"/>
                <a:gd name="connsiteY1612" fmla="*/ 672926 h 802795"/>
                <a:gd name="connsiteX1613" fmla="*/ 225570 w 1066152"/>
                <a:gd name="connsiteY1613" fmla="*/ 669376 h 802795"/>
                <a:gd name="connsiteX1614" fmla="*/ 224747 w 1066152"/>
                <a:gd name="connsiteY1614" fmla="*/ 667660 h 802795"/>
                <a:gd name="connsiteX1615" fmla="*/ 223666 w 1066152"/>
                <a:gd name="connsiteY1615" fmla="*/ 665990 h 802795"/>
                <a:gd name="connsiteX1616" fmla="*/ 223172 w 1066152"/>
                <a:gd name="connsiteY1616" fmla="*/ 664320 h 802795"/>
                <a:gd name="connsiteX1617" fmla="*/ 223524 w 1066152"/>
                <a:gd name="connsiteY1617" fmla="*/ 662721 h 802795"/>
                <a:gd name="connsiteX1618" fmla="*/ 224982 w 1066152"/>
                <a:gd name="connsiteY1618" fmla="*/ 661240 h 802795"/>
                <a:gd name="connsiteX1619" fmla="*/ 226417 w 1066152"/>
                <a:gd name="connsiteY1619" fmla="*/ 660582 h 802795"/>
                <a:gd name="connsiteX1620" fmla="*/ 229333 w 1066152"/>
                <a:gd name="connsiteY1620" fmla="*/ 659641 h 802795"/>
                <a:gd name="connsiteX1621" fmla="*/ 230368 w 1066152"/>
                <a:gd name="connsiteY1621" fmla="*/ 658818 h 802795"/>
                <a:gd name="connsiteX1622" fmla="*/ 231167 w 1066152"/>
                <a:gd name="connsiteY1622" fmla="*/ 656725 h 802795"/>
                <a:gd name="connsiteX1623" fmla="*/ 230508 w 1066152"/>
                <a:gd name="connsiteY1623" fmla="*/ 653010 h 802795"/>
                <a:gd name="connsiteX1624" fmla="*/ 230955 w 1066152"/>
                <a:gd name="connsiteY1624" fmla="*/ 650870 h 802795"/>
                <a:gd name="connsiteX1625" fmla="*/ 233589 w 1066152"/>
                <a:gd name="connsiteY1625" fmla="*/ 648778 h 802795"/>
                <a:gd name="connsiteX1626" fmla="*/ 239938 w 1066152"/>
                <a:gd name="connsiteY1626" fmla="*/ 649225 h 802795"/>
                <a:gd name="connsiteX1627" fmla="*/ 242171 w 1066152"/>
                <a:gd name="connsiteY1627" fmla="*/ 646568 h 802795"/>
                <a:gd name="connsiteX1628" fmla="*/ 240667 w 1066152"/>
                <a:gd name="connsiteY1628" fmla="*/ 647508 h 802795"/>
                <a:gd name="connsiteX1629" fmla="*/ 238667 w 1066152"/>
                <a:gd name="connsiteY1629" fmla="*/ 648261 h 802795"/>
                <a:gd name="connsiteX1630" fmla="*/ 236692 w 1066152"/>
                <a:gd name="connsiteY1630" fmla="*/ 648307 h 802795"/>
                <a:gd name="connsiteX1631" fmla="*/ 235235 w 1066152"/>
                <a:gd name="connsiteY1631" fmla="*/ 647132 h 802795"/>
                <a:gd name="connsiteX1632" fmla="*/ 231919 w 1066152"/>
                <a:gd name="connsiteY1632" fmla="*/ 648331 h 802795"/>
                <a:gd name="connsiteX1633" fmla="*/ 230462 w 1066152"/>
                <a:gd name="connsiteY1633" fmla="*/ 649342 h 802795"/>
                <a:gd name="connsiteX1634" fmla="*/ 229850 w 1066152"/>
                <a:gd name="connsiteY1634" fmla="*/ 651223 h 802795"/>
                <a:gd name="connsiteX1635" fmla="*/ 230297 w 1066152"/>
                <a:gd name="connsiteY1635" fmla="*/ 656631 h 802795"/>
                <a:gd name="connsiteX1636" fmla="*/ 229850 w 1066152"/>
                <a:gd name="connsiteY1636" fmla="*/ 657689 h 802795"/>
                <a:gd name="connsiteX1637" fmla="*/ 227075 w 1066152"/>
                <a:gd name="connsiteY1637" fmla="*/ 657689 h 802795"/>
                <a:gd name="connsiteX1638" fmla="*/ 224865 w 1066152"/>
                <a:gd name="connsiteY1638" fmla="*/ 655032 h 802795"/>
                <a:gd name="connsiteX1639" fmla="*/ 222326 w 1066152"/>
                <a:gd name="connsiteY1639" fmla="*/ 649083 h 802795"/>
                <a:gd name="connsiteX1640" fmla="*/ 220562 w 1066152"/>
                <a:gd name="connsiteY1640" fmla="*/ 646262 h 802795"/>
                <a:gd name="connsiteX1641" fmla="*/ 218328 w 1066152"/>
                <a:gd name="connsiteY1641" fmla="*/ 644098 h 802795"/>
                <a:gd name="connsiteX1642" fmla="*/ 199141 w 1066152"/>
                <a:gd name="connsiteY1642" fmla="*/ 631377 h 802795"/>
                <a:gd name="connsiteX1643" fmla="*/ 197072 w 1066152"/>
                <a:gd name="connsiteY1643" fmla="*/ 630343 h 802795"/>
                <a:gd name="connsiteX1644" fmla="*/ 195261 w 1066152"/>
                <a:gd name="connsiteY1644" fmla="*/ 629896 h 802795"/>
                <a:gd name="connsiteX1645" fmla="*/ 193921 w 1066152"/>
                <a:gd name="connsiteY1645" fmla="*/ 629355 h 802795"/>
                <a:gd name="connsiteX1646" fmla="*/ 190699 w 1066152"/>
                <a:gd name="connsiteY1646" fmla="*/ 626886 h 802795"/>
                <a:gd name="connsiteX1647" fmla="*/ 189100 w 1066152"/>
                <a:gd name="connsiteY1647" fmla="*/ 626204 h 802795"/>
                <a:gd name="connsiteX1648" fmla="*/ 187572 w 1066152"/>
                <a:gd name="connsiteY1648" fmla="*/ 625499 h 802795"/>
                <a:gd name="connsiteX1649" fmla="*/ 186161 w 1066152"/>
                <a:gd name="connsiteY1649" fmla="*/ 623500 h 802795"/>
                <a:gd name="connsiteX1650" fmla="*/ 185643 w 1066152"/>
                <a:gd name="connsiteY1650" fmla="*/ 621149 h 802795"/>
                <a:gd name="connsiteX1651" fmla="*/ 186184 w 1066152"/>
                <a:gd name="connsiteY1651" fmla="*/ 620020 h 802795"/>
                <a:gd name="connsiteX1652" fmla="*/ 187125 w 1066152"/>
                <a:gd name="connsiteY1652" fmla="*/ 619291 h 802795"/>
                <a:gd name="connsiteX1653" fmla="*/ 189829 w 1066152"/>
                <a:gd name="connsiteY1653" fmla="*/ 615528 h 802795"/>
                <a:gd name="connsiteX1654" fmla="*/ 190723 w 1066152"/>
                <a:gd name="connsiteY1654" fmla="*/ 613930 h 802795"/>
                <a:gd name="connsiteX1655" fmla="*/ 186748 w 1066152"/>
                <a:gd name="connsiteY1655" fmla="*/ 618045 h 802795"/>
                <a:gd name="connsiteX1656" fmla="*/ 184585 w 1066152"/>
                <a:gd name="connsiteY1656" fmla="*/ 619456 h 802795"/>
                <a:gd name="connsiteX1657" fmla="*/ 182140 w 1066152"/>
                <a:gd name="connsiteY1657" fmla="*/ 619456 h 802795"/>
                <a:gd name="connsiteX1658" fmla="*/ 182140 w 1066152"/>
                <a:gd name="connsiteY1658" fmla="*/ 620020 h 802795"/>
                <a:gd name="connsiteX1659" fmla="*/ 183856 w 1066152"/>
                <a:gd name="connsiteY1659" fmla="*/ 622442 h 802795"/>
                <a:gd name="connsiteX1660" fmla="*/ 184679 w 1066152"/>
                <a:gd name="connsiteY1660" fmla="*/ 624018 h 802795"/>
                <a:gd name="connsiteX1661" fmla="*/ 184797 w 1066152"/>
                <a:gd name="connsiteY1661" fmla="*/ 625005 h 802795"/>
                <a:gd name="connsiteX1662" fmla="*/ 183762 w 1066152"/>
                <a:gd name="connsiteY1662" fmla="*/ 625122 h 802795"/>
                <a:gd name="connsiteX1663" fmla="*/ 176896 w 1066152"/>
                <a:gd name="connsiteY1663" fmla="*/ 622019 h 802795"/>
                <a:gd name="connsiteX1664" fmla="*/ 174357 w 1066152"/>
                <a:gd name="connsiteY1664" fmla="*/ 621266 h 802795"/>
                <a:gd name="connsiteX1665" fmla="*/ 171277 w 1066152"/>
                <a:gd name="connsiteY1665" fmla="*/ 620326 h 802795"/>
                <a:gd name="connsiteX1666" fmla="*/ 169231 w 1066152"/>
                <a:gd name="connsiteY1666" fmla="*/ 621172 h 802795"/>
                <a:gd name="connsiteX1667" fmla="*/ 171441 w 1066152"/>
                <a:gd name="connsiteY1667" fmla="*/ 621431 h 802795"/>
                <a:gd name="connsiteX1668" fmla="*/ 172476 w 1066152"/>
                <a:gd name="connsiteY1668" fmla="*/ 621925 h 802795"/>
                <a:gd name="connsiteX1669" fmla="*/ 153523 w 1066152"/>
                <a:gd name="connsiteY1669" fmla="*/ 622372 h 802795"/>
                <a:gd name="connsiteX1670" fmla="*/ 152324 w 1066152"/>
                <a:gd name="connsiteY1670" fmla="*/ 622842 h 802795"/>
                <a:gd name="connsiteX1671" fmla="*/ 150772 w 1066152"/>
                <a:gd name="connsiteY1671" fmla="*/ 624159 h 802795"/>
                <a:gd name="connsiteX1672" fmla="*/ 149314 w 1066152"/>
                <a:gd name="connsiteY1672" fmla="*/ 624323 h 802795"/>
                <a:gd name="connsiteX1673" fmla="*/ 147974 w 1066152"/>
                <a:gd name="connsiteY1673" fmla="*/ 623829 h 802795"/>
                <a:gd name="connsiteX1674" fmla="*/ 146727 w 1066152"/>
                <a:gd name="connsiteY1674" fmla="*/ 623147 h 802795"/>
                <a:gd name="connsiteX1675" fmla="*/ 145552 w 1066152"/>
                <a:gd name="connsiteY1675" fmla="*/ 619197 h 802795"/>
                <a:gd name="connsiteX1676" fmla="*/ 145176 w 1066152"/>
                <a:gd name="connsiteY1676" fmla="*/ 617175 h 802795"/>
                <a:gd name="connsiteX1677" fmla="*/ 145693 w 1066152"/>
                <a:gd name="connsiteY1677" fmla="*/ 615811 h 802795"/>
                <a:gd name="connsiteX1678" fmla="*/ 144917 w 1066152"/>
                <a:gd name="connsiteY1678" fmla="*/ 612848 h 802795"/>
                <a:gd name="connsiteX1679" fmla="*/ 144330 w 1066152"/>
                <a:gd name="connsiteY1679" fmla="*/ 605676 h 802795"/>
                <a:gd name="connsiteX1680" fmla="*/ 142989 w 1066152"/>
                <a:gd name="connsiteY1680" fmla="*/ 602878 h 802795"/>
                <a:gd name="connsiteX1681" fmla="*/ 143153 w 1066152"/>
                <a:gd name="connsiteY1681" fmla="*/ 601867 h 802795"/>
                <a:gd name="connsiteX1682" fmla="*/ 142918 w 1066152"/>
                <a:gd name="connsiteY1682" fmla="*/ 599868 h 802795"/>
                <a:gd name="connsiteX1683" fmla="*/ 142448 w 1066152"/>
                <a:gd name="connsiteY1683" fmla="*/ 597682 h 802795"/>
                <a:gd name="connsiteX1684" fmla="*/ 141908 w 1066152"/>
                <a:gd name="connsiteY1684" fmla="*/ 595989 h 802795"/>
                <a:gd name="connsiteX1685" fmla="*/ 141484 w 1066152"/>
                <a:gd name="connsiteY1685" fmla="*/ 595448 h 802795"/>
                <a:gd name="connsiteX1686" fmla="*/ 140144 w 1066152"/>
                <a:gd name="connsiteY1686" fmla="*/ 594413 h 802795"/>
                <a:gd name="connsiteX1687" fmla="*/ 139556 w 1066152"/>
                <a:gd name="connsiteY1687" fmla="*/ 593825 h 802795"/>
                <a:gd name="connsiteX1688" fmla="*/ 138898 w 1066152"/>
                <a:gd name="connsiteY1688" fmla="*/ 592908 h 802795"/>
                <a:gd name="connsiteX1689" fmla="*/ 138827 w 1066152"/>
                <a:gd name="connsiteY1689" fmla="*/ 592814 h 802795"/>
                <a:gd name="connsiteX1690" fmla="*/ 138662 w 1066152"/>
                <a:gd name="connsiteY1690" fmla="*/ 592273 h 802795"/>
                <a:gd name="connsiteX1691" fmla="*/ 138592 w 1066152"/>
                <a:gd name="connsiteY1691" fmla="*/ 591662 h 802795"/>
                <a:gd name="connsiteX1692" fmla="*/ 138192 w 1066152"/>
                <a:gd name="connsiteY1692" fmla="*/ 590439 h 802795"/>
                <a:gd name="connsiteX1693" fmla="*/ 137887 w 1066152"/>
                <a:gd name="connsiteY1693" fmla="*/ 590439 h 802795"/>
                <a:gd name="connsiteX1694" fmla="*/ 137768 w 1066152"/>
                <a:gd name="connsiteY1694" fmla="*/ 590345 h 802795"/>
                <a:gd name="connsiteX1695" fmla="*/ 137722 w 1066152"/>
                <a:gd name="connsiteY1695" fmla="*/ 589404 h 802795"/>
                <a:gd name="connsiteX1696" fmla="*/ 137981 w 1066152"/>
                <a:gd name="connsiteY1696" fmla="*/ 589028 h 802795"/>
                <a:gd name="connsiteX1697" fmla="*/ 138803 w 1066152"/>
                <a:gd name="connsiteY1697" fmla="*/ 588158 h 802795"/>
                <a:gd name="connsiteX1698" fmla="*/ 138898 w 1066152"/>
                <a:gd name="connsiteY1698" fmla="*/ 587711 h 802795"/>
                <a:gd name="connsiteX1699" fmla="*/ 139062 w 1066152"/>
                <a:gd name="connsiteY1699" fmla="*/ 587312 h 802795"/>
                <a:gd name="connsiteX1700" fmla="*/ 139109 w 1066152"/>
                <a:gd name="connsiteY1700" fmla="*/ 586865 h 802795"/>
                <a:gd name="connsiteX1701" fmla="*/ 138898 w 1066152"/>
                <a:gd name="connsiteY1701" fmla="*/ 586301 h 802795"/>
                <a:gd name="connsiteX1702" fmla="*/ 139650 w 1066152"/>
                <a:gd name="connsiteY1702" fmla="*/ 585854 h 802795"/>
                <a:gd name="connsiteX1703" fmla="*/ 141719 w 1066152"/>
                <a:gd name="connsiteY1703" fmla="*/ 583808 h 802795"/>
                <a:gd name="connsiteX1704" fmla="*/ 142260 w 1066152"/>
                <a:gd name="connsiteY1704" fmla="*/ 583103 h 802795"/>
                <a:gd name="connsiteX1705" fmla="*/ 142660 w 1066152"/>
                <a:gd name="connsiteY1705" fmla="*/ 581739 h 802795"/>
                <a:gd name="connsiteX1706" fmla="*/ 143342 w 1066152"/>
                <a:gd name="connsiteY1706" fmla="*/ 577389 h 802795"/>
                <a:gd name="connsiteX1707" fmla="*/ 144399 w 1066152"/>
                <a:gd name="connsiteY1707" fmla="*/ 574661 h 802795"/>
                <a:gd name="connsiteX1708" fmla="*/ 145787 w 1066152"/>
                <a:gd name="connsiteY1708" fmla="*/ 572804 h 802795"/>
                <a:gd name="connsiteX1709" fmla="*/ 152982 w 1066152"/>
                <a:gd name="connsiteY1709" fmla="*/ 567255 h 802795"/>
                <a:gd name="connsiteX1710" fmla="*/ 155122 w 1066152"/>
                <a:gd name="connsiteY1710" fmla="*/ 563727 h 802795"/>
                <a:gd name="connsiteX1711" fmla="*/ 155992 w 1066152"/>
                <a:gd name="connsiteY1711" fmla="*/ 560623 h 802795"/>
                <a:gd name="connsiteX1712" fmla="*/ 157709 w 1066152"/>
                <a:gd name="connsiteY1712" fmla="*/ 556391 h 802795"/>
                <a:gd name="connsiteX1713" fmla="*/ 158085 w 1066152"/>
                <a:gd name="connsiteY1713" fmla="*/ 554792 h 802795"/>
                <a:gd name="connsiteX1714" fmla="*/ 158085 w 1066152"/>
                <a:gd name="connsiteY1714" fmla="*/ 553851 h 802795"/>
                <a:gd name="connsiteX1715" fmla="*/ 157850 w 1066152"/>
                <a:gd name="connsiteY1715" fmla="*/ 552981 h 802795"/>
                <a:gd name="connsiteX1716" fmla="*/ 157803 w 1066152"/>
                <a:gd name="connsiteY1716" fmla="*/ 552252 h 802795"/>
                <a:gd name="connsiteX1717" fmla="*/ 158343 w 1066152"/>
                <a:gd name="connsiteY1717" fmla="*/ 551711 h 802795"/>
                <a:gd name="connsiteX1718" fmla="*/ 160836 w 1066152"/>
                <a:gd name="connsiteY1718" fmla="*/ 551241 h 802795"/>
                <a:gd name="connsiteX1719" fmla="*/ 161682 w 1066152"/>
                <a:gd name="connsiteY1719" fmla="*/ 550724 h 802795"/>
                <a:gd name="connsiteX1720" fmla="*/ 162694 w 1066152"/>
                <a:gd name="connsiteY1720" fmla="*/ 550795 h 802795"/>
                <a:gd name="connsiteX1721" fmla="*/ 163682 w 1066152"/>
                <a:gd name="connsiteY1721" fmla="*/ 551077 h 802795"/>
                <a:gd name="connsiteX1722" fmla="*/ 164646 w 1066152"/>
                <a:gd name="connsiteY1722" fmla="*/ 551194 h 802795"/>
                <a:gd name="connsiteX1723" fmla="*/ 165609 w 1066152"/>
                <a:gd name="connsiteY1723" fmla="*/ 550724 h 802795"/>
                <a:gd name="connsiteX1724" fmla="*/ 166644 w 1066152"/>
                <a:gd name="connsiteY1724" fmla="*/ 550442 h 802795"/>
                <a:gd name="connsiteX1725" fmla="*/ 167232 w 1066152"/>
                <a:gd name="connsiteY1725" fmla="*/ 550089 h 802795"/>
                <a:gd name="connsiteX1726" fmla="*/ 168031 w 1066152"/>
                <a:gd name="connsiteY1726" fmla="*/ 549101 h 802795"/>
                <a:gd name="connsiteX1727" fmla="*/ 168807 w 1066152"/>
                <a:gd name="connsiteY1727" fmla="*/ 547197 h 802795"/>
                <a:gd name="connsiteX1728" fmla="*/ 169490 w 1066152"/>
                <a:gd name="connsiteY1728" fmla="*/ 546515 h 802795"/>
                <a:gd name="connsiteX1729" fmla="*/ 170853 w 1066152"/>
                <a:gd name="connsiteY1729" fmla="*/ 546633 h 802795"/>
                <a:gd name="connsiteX1730" fmla="*/ 175273 w 1066152"/>
                <a:gd name="connsiteY1730" fmla="*/ 548302 h 802795"/>
                <a:gd name="connsiteX1731" fmla="*/ 177249 w 1066152"/>
                <a:gd name="connsiteY1731" fmla="*/ 548091 h 802795"/>
                <a:gd name="connsiteX1732" fmla="*/ 177884 w 1066152"/>
                <a:gd name="connsiteY1732" fmla="*/ 545880 h 802795"/>
                <a:gd name="connsiteX1733" fmla="*/ 178613 w 1066152"/>
                <a:gd name="connsiteY1733" fmla="*/ 544727 h 802795"/>
                <a:gd name="connsiteX1734" fmla="*/ 179295 w 1066152"/>
                <a:gd name="connsiteY1734" fmla="*/ 541977 h 802795"/>
                <a:gd name="connsiteX1735" fmla="*/ 180752 w 1066152"/>
                <a:gd name="connsiteY1735" fmla="*/ 539202 h 802795"/>
                <a:gd name="connsiteX1736" fmla="*/ 181810 w 1066152"/>
                <a:gd name="connsiteY1736" fmla="*/ 536145 h 802795"/>
                <a:gd name="connsiteX1737" fmla="*/ 182422 w 1066152"/>
                <a:gd name="connsiteY1737" fmla="*/ 534805 h 802795"/>
                <a:gd name="connsiteX1738" fmla="*/ 183221 w 1066152"/>
                <a:gd name="connsiteY1738" fmla="*/ 532218 h 802795"/>
                <a:gd name="connsiteX1739" fmla="*/ 182986 w 1066152"/>
                <a:gd name="connsiteY1739" fmla="*/ 532054 h 802795"/>
                <a:gd name="connsiteX1740" fmla="*/ 181929 w 1066152"/>
                <a:gd name="connsiteY1740" fmla="*/ 531349 h 802795"/>
                <a:gd name="connsiteX1741" fmla="*/ 179741 w 1066152"/>
                <a:gd name="connsiteY1741" fmla="*/ 531513 h 802795"/>
                <a:gd name="connsiteX1742" fmla="*/ 177695 w 1066152"/>
                <a:gd name="connsiteY1742" fmla="*/ 532077 h 802795"/>
                <a:gd name="connsiteX1743" fmla="*/ 177461 w 1066152"/>
                <a:gd name="connsiteY1743" fmla="*/ 532077 h 802795"/>
                <a:gd name="connsiteX1744" fmla="*/ 177037 w 1066152"/>
                <a:gd name="connsiteY1744" fmla="*/ 531936 h 802795"/>
                <a:gd name="connsiteX1745" fmla="*/ 176073 w 1066152"/>
                <a:gd name="connsiteY1745" fmla="*/ 533159 h 802795"/>
                <a:gd name="connsiteX1746" fmla="*/ 174169 w 1066152"/>
                <a:gd name="connsiteY1746" fmla="*/ 533958 h 802795"/>
                <a:gd name="connsiteX1747" fmla="*/ 172194 w 1066152"/>
                <a:gd name="connsiteY1747" fmla="*/ 534311 h 802795"/>
                <a:gd name="connsiteX1748" fmla="*/ 170994 w 1066152"/>
                <a:gd name="connsiteY1748" fmla="*/ 534311 h 802795"/>
                <a:gd name="connsiteX1749" fmla="*/ 169936 w 1066152"/>
                <a:gd name="connsiteY1749" fmla="*/ 533394 h 802795"/>
                <a:gd name="connsiteX1750" fmla="*/ 169160 w 1066152"/>
                <a:gd name="connsiteY1750" fmla="*/ 532735 h 802795"/>
                <a:gd name="connsiteX1751" fmla="*/ 166009 w 1066152"/>
                <a:gd name="connsiteY1751" fmla="*/ 525329 h 802795"/>
                <a:gd name="connsiteX1752" fmla="*/ 165609 w 1066152"/>
                <a:gd name="connsiteY1752" fmla="*/ 524929 h 802795"/>
                <a:gd name="connsiteX1753" fmla="*/ 164269 w 1066152"/>
                <a:gd name="connsiteY1753" fmla="*/ 524012 h 802795"/>
                <a:gd name="connsiteX1754" fmla="*/ 163728 w 1066152"/>
                <a:gd name="connsiteY1754" fmla="*/ 523518 h 802795"/>
                <a:gd name="connsiteX1755" fmla="*/ 163400 w 1066152"/>
                <a:gd name="connsiteY1755" fmla="*/ 522930 h 802795"/>
                <a:gd name="connsiteX1756" fmla="*/ 162905 w 1066152"/>
                <a:gd name="connsiteY1756" fmla="*/ 521708 h 802795"/>
                <a:gd name="connsiteX1757" fmla="*/ 162576 w 1066152"/>
                <a:gd name="connsiteY1757" fmla="*/ 521166 h 802795"/>
                <a:gd name="connsiteX1758" fmla="*/ 154299 w 1066152"/>
                <a:gd name="connsiteY1758" fmla="*/ 511385 h 802795"/>
                <a:gd name="connsiteX1759" fmla="*/ 152089 w 1066152"/>
                <a:gd name="connsiteY1759" fmla="*/ 509880 h 802795"/>
                <a:gd name="connsiteX1760" fmla="*/ 151007 w 1066152"/>
                <a:gd name="connsiteY1760" fmla="*/ 509386 h 802795"/>
                <a:gd name="connsiteX1761" fmla="*/ 152136 w 1066152"/>
                <a:gd name="connsiteY1761" fmla="*/ 508281 h 802795"/>
                <a:gd name="connsiteX1762" fmla="*/ 152888 w 1066152"/>
                <a:gd name="connsiteY1762" fmla="*/ 507247 h 802795"/>
                <a:gd name="connsiteX1763" fmla="*/ 152982 w 1066152"/>
                <a:gd name="connsiteY1763" fmla="*/ 506188 h 802795"/>
                <a:gd name="connsiteX1764" fmla="*/ 152089 w 1066152"/>
                <a:gd name="connsiteY1764" fmla="*/ 504989 h 802795"/>
                <a:gd name="connsiteX1765" fmla="*/ 152865 w 1066152"/>
                <a:gd name="connsiteY1765" fmla="*/ 503907 h 802795"/>
                <a:gd name="connsiteX1766" fmla="*/ 154276 w 1066152"/>
                <a:gd name="connsiteY1766" fmla="*/ 499299 h 802795"/>
                <a:gd name="connsiteX1767" fmla="*/ 157544 w 1066152"/>
                <a:gd name="connsiteY1767" fmla="*/ 494925 h 802795"/>
                <a:gd name="connsiteX1768" fmla="*/ 157967 w 1066152"/>
                <a:gd name="connsiteY1768" fmla="*/ 493655 h 802795"/>
                <a:gd name="connsiteX1769" fmla="*/ 157732 w 1066152"/>
                <a:gd name="connsiteY1769" fmla="*/ 492950 h 802795"/>
                <a:gd name="connsiteX1770" fmla="*/ 157262 w 1066152"/>
                <a:gd name="connsiteY1770" fmla="*/ 492621 h 802795"/>
                <a:gd name="connsiteX1771" fmla="*/ 156744 w 1066152"/>
                <a:gd name="connsiteY1771" fmla="*/ 492339 h 802795"/>
                <a:gd name="connsiteX1772" fmla="*/ 156368 w 1066152"/>
                <a:gd name="connsiteY1772" fmla="*/ 491774 h 802795"/>
                <a:gd name="connsiteX1773" fmla="*/ 156251 w 1066152"/>
                <a:gd name="connsiteY1773" fmla="*/ 491046 h 802795"/>
                <a:gd name="connsiteX1774" fmla="*/ 156204 w 1066152"/>
                <a:gd name="connsiteY1774" fmla="*/ 490104 h 802795"/>
                <a:gd name="connsiteX1775" fmla="*/ 156368 w 1066152"/>
                <a:gd name="connsiteY1775" fmla="*/ 488012 h 802795"/>
                <a:gd name="connsiteX1776" fmla="*/ 156909 w 1066152"/>
                <a:gd name="connsiteY1776" fmla="*/ 484885 h 802795"/>
                <a:gd name="connsiteX1777" fmla="*/ 157168 w 1066152"/>
                <a:gd name="connsiteY1777" fmla="*/ 484226 h 802795"/>
                <a:gd name="connsiteX1778" fmla="*/ 157826 w 1066152"/>
                <a:gd name="connsiteY1778" fmla="*/ 483003 h 802795"/>
                <a:gd name="connsiteX1779" fmla="*/ 157967 w 1066152"/>
                <a:gd name="connsiteY1779" fmla="*/ 482674 h 802795"/>
                <a:gd name="connsiteX1780" fmla="*/ 161448 w 1066152"/>
                <a:gd name="connsiteY1780" fmla="*/ 480041 h 802795"/>
                <a:gd name="connsiteX1781" fmla="*/ 162576 w 1066152"/>
                <a:gd name="connsiteY1781" fmla="*/ 479194 h 802795"/>
                <a:gd name="connsiteX1782" fmla="*/ 163752 w 1066152"/>
                <a:gd name="connsiteY1782" fmla="*/ 478771 h 802795"/>
                <a:gd name="connsiteX1783" fmla="*/ 165045 w 1066152"/>
                <a:gd name="connsiteY1783" fmla="*/ 477759 h 802795"/>
                <a:gd name="connsiteX1784" fmla="*/ 166104 w 1066152"/>
                <a:gd name="connsiteY1784" fmla="*/ 476607 h 802795"/>
                <a:gd name="connsiteX1785" fmla="*/ 166550 w 1066152"/>
                <a:gd name="connsiteY1785" fmla="*/ 475738 h 802795"/>
                <a:gd name="connsiteX1786" fmla="*/ 167302 w 1066152"/>
                <a:gd name="connsiteY1786" fmla="*/ 475150 h 802795"/>
                <a:gd name="connsiteX1787" fmla="*/ 170924 w 1066152"/>
                <a:gd name="connsiteY1787" fmla="*/ 474421 h 802795"/>
                <a:gd name="connsiteX1788" fmla="*/ 172194 w 1066152"/>
                <a:gd name="connsiteY1788" fmla="*/ 473857 h 802795"/>
                <a:gd name="connsiteX1789" fmla="*/ 173134 w 1066152"/>
                <a:gd name="connsiteY1789" fmla="*/ 472963 h 802795"/>
                <a:gd name="connsiteX1790" fmla="*/ 174098 w 1066152"/>
                <a:gd name="connsiteY1790" fmla="*/ 472234 h 802795"/>
                <a:gd name="connsiteX1791" fmla="*/ 174733 w 1066152"/>
                <a:gd name="connsiteY1791" fmla="*/ 471857 h 802795"/>
                <a:gd name="connsiteX1792" fmla="*/ 174639 w 1066152"/>
                <a:gd name="connsiteY1792" fmla="*/ 470541 h 802795"/>
                <a:gd name="connsiteX1793" fmla="*/ 175039 w 1066152"/>
                <a:gd name="connsiteY1793" fmla="*/ 469107 h 802795"/>
                <a:gd name="connsiteX1794" fmla="*/ 173957 w 1066152"/>
                <a:gd name="connsiteY1794" fmla="*/ 467296 h 802795"/>
                <a:gd name="connsiteX1795" fmla="*/ 175650 w 1066152"/>
                <a:gd name="connsiteY1795" fmla="*/ 466003 h 802795"/>
                <a:gd name="connsiteX1796" fmla="*/ 177413 w 1066152"/>
                <a:gd name="connsiteY1796" fmla="*/ 463769 h 802795"/>
                <a:gd name="connsiteX1797" fmla="*/ 180023 w 1066152"/>
                <a:gd name="connsiteY1797" fmla="*/ 459066 h 802795"/>
                <a:gd name="connsiteX1798" fmla="*/ 180776 w 1066152"/>
                <a:gd name="connsiteY1798" fmla="*/ 458149 h 802795"/>
                <a:gd name="connsiteX1799" fmla="*/ 181223 w 1066152"/>
                <a:gd name="connsiteY1799" fmla="*/ 457209 h 802795"/>
                <a:gd name="connsiteX1800" fmla="*/ 181105 w 1066152"/>
                <a:gd name="connsiteY1800" fmla="*/ 456362 h 802795"/>
                <a:gd name="connsiteX1801" fmla="*/ 180211 w 1066152"/>
                <a:gd name="connsiteY1801" fmla="*/ 455704 h 802795"/>
                <a:gd name="connsiteX1802" fmla="*/ 180752 w 1066152"/>
                <a:gd name="connsiteY1802" fmla="*/ 454105 h 802795"/>
                <a:gd name="connsiteX1803" fmla="*/ 180259 w 1066152"/>
                <a:gd name="connsiteY1803" fmla="*/ 452294 h 802795"/>
                <a:gd name="connsiteX1804" fmla="*/ 179154 w 1066152"/>
                <a:gd name="connsiteY1804" fmla="*/ 450647 h 802795"/>
                <a:gd name="connsiteX1805" fmla="*/ 177908 w 1066152"/>
                <a:gd name="connsiteY1805" fmla="*/ 449519 h 802795"/>
                <a:gd name="connsiteX1806" fmla="*/ 176097 w 1066152"/>
                <a:gd name="connsiteY1806" fmla="*/ 448367 h 802795"/>
                <a:gd name="connsiteX1807" fmla="*/ 174051 w 1066152"/>
                <a:gd name="connsiteY1807" fmla="*/ 447850 h 802795"/>
                <a:gd name="connsiteX1808" fmla="*/ 171982 w 1066152"/>
                <a:gd name="connsiteY1808" fmla="*/ 448061 h 802795"/>
                <a:gd name="connsiteX1809" fmla="*/ 170124 w 1066152"/>
                <a:gd name="connsiteY1809" fmla="*/ 449119 h 802795"/>
                <a:gd name="connsiteX1810" fmla="*/ 169183 w 1066152"/>
                <a:gd name="connsiteY1810" fmla="*/ 449449 h 802795"/>
                <a:gd name="connsiteX1811" fmla="*/ 167985 w 1066152"/>
                <a:gd name="connsiteY1811" fmla="*/ 449261 h 802795"/>
                <a:gd name="connsiteX1812" fmla="*/ 166832 w 1066152"/>
                <a:gd name="connsiteY1812" fmla="*/ 448720 h 802795"/>
                <a:gd name="connsiteX1813" fmla="*/ 166033 w 1066152"/>
                <a:gd name="connsiteY1813" fmla="*/ 447991 h 802795"/>
                <a:gd name="connsiteX1814" fmla="*/ 165915 w 1066152"/>
                <a:gd name="connsiteY1814" fmla="*/ 447215 h 802795"/>
                <a:gd name="connsiteX1815" fmla="*/ 166761 w 1066152"/>
                <a:gd name="connsiteY1815" fmla="*/ 445404 h 802795"/>
                <a:gd name="connsiteX1816" fmla="*/ 166926 w 1066152"/>
                <a:gd name="connsiteY1816" fmla="*/ 444463 h 802795"/>
                <a:gd name="connsiteX1817" fmla="*/ 165962 w 1066152"/>
                <a:gd name="connsiteY1817" fmla="*/ 442700 h 802795"/>
                <a:gd name="connsiteX1818" fmla="*/ 164128 w 1066152"/>
                <a:gd name="connsiteY1818" fmla="*/ 441901 h 802795"/>
                <a:gd name="connsiteX1819" fmla="*/ 161965 w 1066152"/>
                <a:gd name="connsiteY1819" fmla="*/ 441384 h 802795"/>
                <a:gd name="connsiteX1820" fmla="*/ 160037 w 1066152"/>
                <a:gd name="connsiteY1820" fmla="*/ 440396 h 802795"/>
                <a:gd name="connsiteX1821" fmla="*/ 158932 w 1066152"/>
                <a:gd name="connsiteY1821" fmla="*/ 438938 h 802795"/>
                <a:gd name="connsiteX1822" fmla="*/ 158343 w 1066152"/>
                <a:gd name="connsiteY1822" fmla="*/ 437081 h 802795"/>
                <a:gd name="connsiteX1823" fmla="*/ 158438 w 1066152"/>
                <a:gd name="connsiteY1823" fmla="*/ 435152 h 802795"/>
                <a:gd name="connsiteX1824" fmla="*/ 159496 w 1066152"/>
                <a:gd name="connsiteY1824" fmla="*/ 433459 h 802795"/>
                <a:gd name="connsiteX1825" fmla="*/ 155616 w 1066152"/>
                <a:gd name="connsiteY1825" fmla="*/ 429085 h 802795"/>
                <a:gd name="connsiteX1826" fmla="*/ 154158 w 1066152"/>
                <a:gd name="connsiteY1826" fmla="*/ 428003 h 802795"/>
                <a:gd name="connsiteX1827" fmla="*/ 153570 w 1066152"/>
                <a:gd name="connsiteY1827" fmla="*/ 426899 h 802795"/>
                <a:gd name="connsiteX1828" fmla="*/ 153194 w 1066152"/>
                <a:gd name="connsiteY1828" fmla="*/ 424924 h 802795"/>
                <a:gd name="connsiteX1829" fmla="*/ 153147 w 1066152"/>
                <a:gd name="connsiteY1829" fmla="*/ 422878 h 802795"/>
                <a:gd name="connsiteX1830" fmla="*/ 153547 w 1066152"/>
                <a:gd name="connsiteY1830" fmla="*/ 421561 h 802795"/>
                <a:gd name="connsiteX1831" fmla="*/ 154158 w 1066152"/>
                <a:gd name="connsiteY1831" fmla="*/ 420221 h 802795"/>
                <a:gd name="connsiteX1832" fmla="*/ 154581 w 1066152"/>
                <a:gd name="connsiteY1832" fmla="*/ 418105 h 802795"/>
                <a:gd name="connsiteX1833" fmla="*/ 154581 w 1066152"/>
                <a:gd name="connsiteY1833" fmla="*/ 416130 h 802795"/>
                <a:gd name="connsiteX1834" fmla="*/ 153994 w 1066152"/>
                <a:gd name="connsiteY1834" fmla="*/ 415212 h 802795"/>
                <a:gd name="connsiteX1835" fmla="*/ 150702 w 1066152"/>
                <a:gd name="connsiteY1835" fmla="*/ 414413 h 802795"/>
                <a:gd name="connsiteX1836" fmla="*/ 149032 w 1066152"/>
                <a:gd name="connsiteY1836" fmla="*/ 413684 h 802795"/>
                <a:gd name="connsiteX1837" fmla="*/ 147833 w 1066152"/>
                <a:gd name="connsiteY1837" fmla="*/ 412790 h 802795"/>
                <a:gd name="connsiteX1838" fmla="*/ 147080 w 1066152"/>
                <a:gd name="connsiteY1838" fmla="*/ 410768 h 802795"/>
                <a:gd name="connsiteX1839" fmla="*/ 146399 w 1066152"/>
                <a:gd name="connsiteY1839" fmla="*/ 409969 h 802795"/>
                <a:gd name="connsiteX1840" fmla="*/ 143765 w 1066152"/>
                <a:gd name="connsiteY1840" fmla="*/ 408699 h 802795"/>
                <a:gd name="connsiteX1841" fmla="*/ 142448 w 1066152"/>
                <a:gd name="connsiteY1841" fmla="*/ 407547 h 802795"/>
                <a:gd name="connsiteX1842" fmla="*/ 140121 w 1066152"/>
                <a:gd name="connsiteY1842" fmla="*/ 404701 h 802795"/>
                <a:gd name="connsiteX1843" fmla="*/ 138710 w 1066152"/>
                <a:gd name="connsiteY1843" fmla="*/ 403503 h 802795"/>
                <a:gd name="connsiteX1844" fmla="*/ 136170 w 1066152"/>
                <a:gd name="connsiteY1844" fmla="*/ 397036 h 802795"/>
                <a:gd name="connsiteX1845" fmla="*/ 135582 w 1066152"/>
                <a:gd name="connsiteY1845" fmla="*/ 395719 h 802795"/>
                <a:gd name="connsiteX1846" fmla="*/ 135465 w 1066152"/>
                <a:gd name="connsiteY1846" fmla="*/ 395484 h 802795"/>
                <a:gd name="connsiteX1847" fmla="*/ 152347 w 1066152"/>
                <a:gd name="connsiteY1847" fmla="*/ 396236 h 802795"/>
                <a:gd name="connsiteX1848" fmla="*/ 153406 w 1066152"/>
                <a:gd name="connsiteY1848" fmla="*/ 395954 h 802795"/>
                <a:gd name="connsiteX1849" fmla="*/ 154699 w 1066152"/>
                <a:gd name="connsiteY1849" fmla="*/ 395437 h 802795"/>
                <a:gd name="connsiteX1850" fmla="*/ 156157 w 1066152"/>
                <a:gd name="connsiteY1850" fmla="*/ 395154 h 802795"/>
                <a:gd name="connsiteX1851" fmla="*/ 159285 w 1066152"/>
                <a:gd name="connsiteY1851" fmla="*/ 395249 h 802795"/>
                <a:gd name="connsiteX1852" fmla="*/ 160625 w 1066152"/>
                <a:gd name="connsiteY1852" fmla="*/ 394849 h 802795"/>
                <a:gd name="connsiteX1853" fmla="*/ 162318 w 1066152"/>
                <a:gd name="connsiteY1853" fmla="*/ 395813 h 802795"/>
                <a:gd name="connsiteX1854" fmla="*/ 164763 w 1066152"/>
                <a:gd name="connsiteY1854" fmla="*/ 395907 h 802795"/>
                <a:gd name="connsiteX1855" fmla="*/ 176261 w 1066152"/>
                <a:gd name="connsiteY1855" fmla="*/ 394567 h 802795"/>
                <a:gd name="connsiteX1856" fmla="*/ 177390 w 1066152"/>
                <a:gd name="connsiteY1856" fmla="*/ 394144 h 802795"/>
                <a:gd name="connsiteX1857" fmla="*/ 178307 w 1066152"/>
                <a:gd name="connsiteY1857" fmla="*/ 392145 h 802795"/>
                <a:gd name="connsiteX1858" fmla="*/ 178213 w 1066152"/>
                <a:gd name="connsiteY1858" fmla="*/ 391463 h 802795"/>
                <a:gd name="connsiteX1859" fmla="*/ 178002 w 1066152"/>
                <a:gd name="connsiteY1859" fmla="*/ 390828 h 802795"/>
                <a:gd name="connsiteX1860" fmla="*/ 178002 w 1066152"/>
                <a:gd name="connsiteY1860" fmla="*/ 389958 h 802795"/>
                <a:gd name="connsiteX1861" fmla="*/ 178378 w 1066152"/>
                <a:gd name="connsiteY1861" fmla="*/ 389088 h 802795"/>
                <a:gd name="connsiteX1862" fmla="*/ 179295 w 1066152"/>
                <a:gd name="connsiteY1862" fmla="*/ 387560 h 802795"/>
                <a:gd name="connsiteX1863" fmla="*/ 179601 w 1066152"/>
                <a:gd name="connsiteY1863" fmla="*/ 386666 h 802795"/>
                <a:gd name="connsiteX1864" fmla="*/ 179482 w 1066152"/>
                <a:gd name="connsiteY1864" fmla="*/ 385890 h 802795"/>
                <a:gd name="connsiteX1865" fmla="*/ 179154 w 1066152"/>
                <a:gd name="connsiteY1865" fmla="*/ 385020 h 802795"/>
                <a:gd name="connsiteX1866" fmla="*/ 179060 w 1066152"/>
                <a:gd name="connsiteY1866" fmla="*/ 384009 h 802795"/>
                <a:gd name="connsiteX1867" fmla="*/ 179624 w 1066152"/>
                <a:gd name="connsiteY1867" fmla="*/ 382739 h 802795"/>
                <a:gd name="connsiteX1868" fmla="*/ 180235 w 1066152"/>
                <a:gd name="connsiteY1868" fmla="*/ 382269 h 802795"/>
                <a:gd name="connsiteX1869" fmla="*/ 182023 w 1066152"/>
                <a:gd name="connsiteY1869" fmla="*/ 381587 h 802795"/>
                <a:gd name="connsiteX1870" fmla="*/ 182775 w 1066152"/>
                <a:gd name="connsiteY1870" fmla="*/ 381187 h 802795"/>
                <a:gd name="connsiteX1871" fmla="*/ 184750 w 1066152"/>
                <a:gd name="connsiteY1871" fmla="*/ 378483 h 802795"/>
                <a:gd name="connsiteX1872" fmla="*/ 185032 w 1066152"/>
                <a:gd name="connsiteY1872" fmla="*/ 377589 h 802795"/>
                <a:gd name="connsiteX1873" fmla="*/ 185079 w 1066152"/>
                <a:gd name="connsiteY1873" fmla="*/ 376038 h 802795"/>
                <a:gd name="connsiteX1874" fmla="*/ 185244 w 1066152"/>
                <a:gd name="connsiteY1874" fmla="*/ 375215 h 802795"/>
                <a:gd name="connsiteX1875" fmla="*/ 185244 w 1066152"/>
                <a:gd name="connsiteY1875" fmla="*/ 374744 h 802795"/>
                <a:gd name="connsiteX1876" fmla="*/ 184961 w 1066152"/>
                <a:gd name="connsiteY1876" fmla="*/ 373804 h 802795"/>
                <a:gd name="connsiteX1877" fmla="*/ 184961 w 1066152"/>
                <a:gd name="connsiteY1877" fmla="*/ 373287 h 802795"/>
                <a:gd name="connsiteX1878" fmla="*/ 185197 w 1066152"/>
                <a:gd name="connsiteY1878" fmla="*/ 372863 h 802795"/>
                <a:gd name="connsiteX1879" fmla="*/ 185949 w 1066152"/>
                <a:gd name="connsiteY1879" fmla="*/ 372346 h 802795"/>
                <a:gd name="connsiteX1880" fmla="*/ 186184 w 1066152"/>
                <a:gd name="connsiteY1880" fmla="*/ 371970 h 802795"/>
                <a:gd name="connsiteX1881" fmla="*/ 186631 w 1066152"/>
                <a:gd name="connsiteY1881" fmla="*/ 369666 h 802795"/>
                <a:gd name="connsiteX1882" fmla="*/ 186937 w 1066152"/>
                <a:gd name="connsiteY1882" fmla="*/ 368842 h 802795"/>
                <a:gd name="connsiteX1883" fmla="*/ 186796 w 1066152"/>
                <a:gd name="connsiteY1883" fmla="*/ 367831 h 802795"/>
                <a:gd name="connsiteX1884" fmla="*/ 187172 w 1066152"/>
                <a:gd name="connsiteY1884" fmla="*/ 366844 h 802795"/>
                <a:gd name="connsiteX1885" fmla="*/ 188512 w 1066152"/>
                <a:gd name="connsiteY1885" fmla="*/ 364775 h 802795"/>
                <a:gd name="connsiteX1886" fmla="*/ 185361 w 1066152"/>
                <a:gd name="connsiteY1886" fmla="*/ 359554 h 802795"/>
                <a:gd name="connsiteX1887" fmla="*/ 183621 w 1066152"/>
                <a:gd name="connsiteY1887" fmla="*/ 357555 h 802795"/>
                <a:gd name="connsiteX1888" fmla="*/ 182564 w 1066152"/>
                <a:gd name="connsiteY1888" fmla="*/ 356003 h 802795"/>
                <a:gd name="connsiteX1889" fmla="*/ 181716 w 1066152"/>
                <a:gd name="connsiteY1889" fmla="*/ 355298 h 802795"/>
                <a:gd name="connsiteX1890" fmla="*/ 180870 w 1066152"/>
                <a:gd name="connsiteY1890" fmla="*/ 355016 h 802795"/>
                <a:gd name="connsiteX1891" fmla="*/ 178801 w 1066152"/>
                <a:gd name="connsiteY1891" fmla="*/ 354734 h 802795"/>
                <a:gd name="connsiteX1892" fmla="*/ 177860 w 1066152"/>
                <a:gd name="connsiteY1892" fmla="*/ 354475 h 802795"/>
                <a:gd name="connsiteX1893" fmla="*/ 176920 w 1066152"/>
                <a:gd name="connsiteY1893" fmla="*/ 353206 h 802795"/>
                <a:gd name="connsiteX1894" fmla="*/ 176355 w 1066152"/>
                <a:gd name="connsiteY1894" fmla="*/ 350008 h 802795"/>
                <a:gd name="connsiteX1895" fmla="*/ 175720 w 1066152"/>
                <a:gd name="connsiteY1895" fmla="*/ 348644 h 802795"/>
                <a:gd name="connsiteX1896" fmla="*/ 176379 w 1066152"/>
                <a:gd name="connsiteY1896" fmla="*/ 347539 h 802795"/>
                <a:gd name="connsiteX1897" fmla="*/ 177155 w 1066152"/>
                <a:gd name="connsiteY1897" fmla="*/ 345375 h 802795"/>
                <a:gd name="connsiteX1898" fmla="*/ 177860 w 1066152"/>
                <a:gd name="connsiteY1898" fmla="*/ 344506 h 802795"/>
                <a:gd name="connsiteX1899" fmla="*/ 179271 w 1066152"/>
                <a:gd name="connsiteY1899" fmla="*/ 343918 h 802795"/>
                <a:gd name="connsiteX1900" fmla="*/ 182634 w 1066152"/>
                <a:gd name="connsiteY1900" fmla="*/ 341895 h 802795"/>
                <a:gd name="connsiteX1901" fmla="*/ 183621 w 1066152"/>
                <a:gd name="connsiteY1901" fmla="*/ 341754 h 802795"/>
                <a:gd name="connsiteX1902" fmla="*/ 184138 w 1066152"/>
                <a:gd name="connsiteY1902" fmla="*/ 341660 h 802795"/>
                <a:gd name="connsiteX1903" fmla="*/ 185667 w 1066152"/>
                <a:gd name="connsiteY1903" fmla="*/ 341801 h 802795"/>
                <a:gd name="connsiteX1904" fmla="*/ 187195 w 1066152"/>
                <a:gd name="connsiteY1904" fmla="*/ 341707 h 802795"/>
                <a:gd name="connsiteX1905" fmla="*/ 188630 w 1066152"/>
                <a:gd name="connsiteY1905" fmla="*/ 340790 h 802795"/>
                <a:gd name="connsiteX1906" fmla="*/ 188865 w 1066152"/>
                <a:gd name="connsiteY1906" fmla="*/ 340226 h 802795"/>
                <a:gd name="connsiteX1907" fmla="*/ 188912 w 1066152"/>
                <a:gd name="connsiteY1907" fmla="*/ 339473 h 802795"/>
                <a:gd name="connsiteX1908" fmla="*/ 188959 w 1066152"/>
                <a:gd name="connsiteY1908" fmla="*/ 338674 h 802795"/>
                <a:gd name="connsiteX1909" fmla="*/ 189241 w 1066152"/>
                <a:gd name="connsiteY1909" fmla="*/ 337945 h 802795"/>
                <a:gd name="connsiteX1910" fmla="*/ 189735 w 1066152"/>
                <a:gd name="connsiteY1910" fmla="*/ 337451 h 802795"/>
                <a:gd name="connsiteX1911" fmla="*/ 193097 w 1066152"/>
                <a:gd name="connsiteY1911" fmla="*/ 335146 h 802795"/>
                <a:gd name="connsiteX1912" fmla="*/ 193779 w 1066152"/>
                <a:gd name="connsiteY1912" fmla="*/ 334489 h 802795"/>
                <a:gd name="connsiteX1913" fmla="*/ 195143 w 1066152"/>
                <a:gd name="connsiteY1913" fmla="*/ 332231 h 802795"/>
                <a:gd name="connsiteX1914" fmla="*/ 192510 w 1066152"/>
                <a:gd name="connsiteY1914" fmla="*/ 329950 h 802795"/>
                <a:gd name="connsiteX1915" fmla="*/ 190699 w 1066152"/>
                <a:gd name="connsiteY1915" fmla="*/ 327223 h 802795"/>
                <a:gd name="connsiteX1916" fmla="*/ 190252 w 1066152"/>
                <a:gd name="connsiteY1916" fmla="*/ 324142 h 802795"/>
                <a:gd name="connsiteX1917" fmla="*/ 191687 w 1066152"/>
                <a:gd name="connsiteY1917" fmla="*/ 320826 h 802795"/>
                <a:gd name="connsiteX1918" fmla="*/ 193521 w 1066152"/>
                <a:gd name="connsiteY1918" fmla="*/ 318452 h 802795"/>
                <a:gd name="connsiteX1919" fmla="*/ 193732 w 1066152"/>
                <a:gd name="connsiteY1919" fmla="*/ 317300 h 802795"/>
                <a:gd name="connsiteX1920" fmla="*/ 193309 w 1066152"/>
                <a:gd name="connsiteY1920" fmla="*/ 315677 h 802795"/>
                <a:gd name="connsiteX1921" fmla="*/ 192486 w 1066152"/>
                <a:gd name="connsiteY1921" fmla="*/ 314384 h 802795"/>
                <a:gd name="connsiteX1922" fmla="*/ 191616 w 1066152"/>
                <a:gd name="connsiteY1922" fmla="*/ 313538 h 802795"/>
                <a:gd name="connsiteX1923" fmla="*/ 190934 w 1066152"/>
                <a:gd name="connsiteY1923" fmla="*/ 312573 h 802795"/>
                <a:gd name="connsiteX1924" fmla="*/ 190769 w 1066152"/>
                <a:gd name="connsiteY1924" fmla="*/ 310927 h 802795"/>
                <a:gd name="connsiteX1925" fmla="*/ 191240 w 1066152"/>
                <a:gd name="connsiteY1925" fmla="*/ 309446 h 802795"/>
                <a:gd name="connsiteX1926" fmla="*/ 193051 w 1066152"/>
                <a:gd name="connsiteY1926" fmla="*/ 306389 h 802795"/>
                <a:gd name="connsiteX1927" fmla="*/ 193615 w 1066152"/>
                <a:gd name="connsiteY1927" fmla="*/ 304790 h 802795"/>
                <a:gd name="connsiteX1928" fmla="*/ 193615 w 1066152"/>
                <a:gd name="connsiteY1928" fmla="*/ 303638 h 802795"/>
                <a:gd name="connsiteX1929" fmla="*/ 193450 w 1066152"/>
                <a:gd name="connsiteY1929" fmla="*/ 301944 h 802795"/>
                <a:gd name="connsiteX1930" fmla="*/ 192815 w 1066152"/>
                <a:gd name="connsiteY1930" fmla="*/ 298794 h 802795"/>
                <a:gd name="connsiteX1931" fmla="*/ 191827 w 1066152"/>
                <a:gd name="connsiteY1931" fmla="*/ 295714 h 802795"/>
                <a:gd name="connsiteX1932" fmla="*/ 191663 w 1066152"/>
                <a:gd name="connsiteY1932" fmla="*/ 294374 h 802795"/>
                <a:gd name="connsiteX1933" fmla="*/ 191663 w 1066152"/>
                <a:gd name="connsiteY1933" fmla="*/ 292539 h 802795"/>
                <a:gd name="connsiteX1934" fmla="*/ 191804 w 1066152"/>
                <a:gd name="connsiteY1934" fmla="*/ 291599 h 802795"/>
                <a:gd name="connsiteX1935" fmla="*/ 192015 w 1066152"/>
                <a:gd name="connsiteY1935" fmla="*/ 291081 h 802795"/>
                <a:gd name="connsiteX1936" fmla="*/ 192086 w 1066152"/>
                <a:gd name="connsiteY1936" fmla="*/ 290564 h 802795"/>
                <a:gd name="connsiteX1937" fmla="*/ 191827 w 1066152"/>
                <a:gd name="connsiteY1937" fmla="*/ 289553 h 802795"/>
                <a:gd name="connsiteX1938" fmla="*/ 191733 w 1066152"/>
                <a:gd name="connsiteY1938" fmla="*/ 288918 h 802795"/>
                <a:gd name="connsiteX1939" fmla="*/ 191851 w 1066152"/>
                <a:gd name="connsiteY1939" fmla="*/ 286520 h 802795"/>
                <a:gd name="connsiteX1940" fmla="*/ 193121 w 1066152"/>
                <a:gd name="connsiteY1940" fmla="*/ 286144 h 802795"/>
                <a:gd name="connsiteX1941" fmla="*/ 193450 w 1066152"/>
                <a:gd name="connsiteY1941" fmla="*/ 284944 h 802795"/>
                <a:gd name="connsiteX1942" fmla="*/ 193074 w 1066152"/>
                <a:gd name="connsiteY1942" fmla="*/ 283674 h 802795"/>
                <a:gd name="connsiteX1943" fmla="*/ 192228 w 1066152"/>
                <a:gd name="connsiteY1943" fmla="*/ 283110 h 802795"/>
                <a:gd name="connsiteX1944" fmla="*/ 191052 w 1066152"/>
                <a:gd name="connsiteY1944" fmla="*/ 282828 h 802795"/>
                <a:gd name="connsiteX1945" fmla="*/ 190416 w 1066152"/>
                <a:gd name="connsiteY1945" fmla="*/ 282052 h 802795"/>
                <a:gd name="connsiteX1946" fmla="*/ 189758 w 1066152"/>
                <a:gd name="connsiteY1946" fmla="*/ 280054 h 802795"/>
                <a:gd name="connsiteX1947" fmla="*/ 188065 w 1066152"/>
                <a:gd name="connsiteY1947" fmla="*/ 276197 h 802795"/>
                <a:gd name="connsiteX1948" fmla="*/ 186961 w 1066152"/>
                <a:gd name="connsiteY1948" fmla="*/ 274504 h 802795"/>
                <a:gd name="connsiteX1949" fmla="*/ 184491 w 1066152"/>
                <a:gd name="connsiteY1949" fmla="*/ 272106 h 802795"/>
                <a:gd name="connsiteX1950" fmla="*/ 183715 w 1066152"/>
                <a:gd name="connsiteY1950" fmla="*/ 271024 h 802795"/>
                <a:gd name="connsiteX1951" fmla="*/ 183551 w 1066152"/>
                <a:gd name="connsiteY1951" fmla="*/ 269824 h 802795"/>
                <a:gd name="connsiteX1952" fmla="*/ 184397 w 1066152"/>
                <a:gd name="connsiteY1952" fmla="*/ 268578 h 802795"/>
                <a:gd name="connsiteX1953" fmla="*/ 184703 w 1066152"/>
                <a:gd name="connsiteY1953" fmla="*/ 266767 h 802795"/>
                <a:gd name="connsiteX1954" fmla="*/ 184727 w 1066152"/>
                <a:gd name="connsiteY1954" fmla="*/ 266767 h 802795"/>
                <a:gd name="connsiteX1955" fmla="*/ 186349 w 1066152"/>
                <a:gd name="connsiteY1955" fmla="*/ 266015 h 802795"/>
                <a:gd name="connsiteX1956" fmla="*/ 191169 w 1066152"/>
                <a:gd name="connsiteY1956" fmla="*/ 266415 h 802795"/>
                <a:gd name="connsiteX1957" fmla="*/ 193309 w 1066152"/>
                <a:gd name="connsiteY1957" fmla="*/ 266203 h 802795"/>
                <a:gd name="connsiteX1958" fmla="*/ 194391 w 1066152"/>
                <a:gd name="connsiteY1958" fmla="*/ 265216 h 802795"/>
                <a:gd name="connsiteX1959" fmla="*/ 197494 w 1066152"/>
                <a:gd name="connsiteY1959" fmla="*/ 261007 h 802795"/>
                <a:gd name="connsiteX1960" fmla="*/ 198130 w 1066152"/>
                <a:gd name="connsiteY1960" fmla="*/ 259267 h 802795"/>
                <a:gd name="connsiteX1961" fmla="*/ 197941 w 1066152"/>
                <a:gd name="connsiteY1961" fmla="*/ 256915 h 802795"/>
                <a:gd name="connsiteX1962" fmla="*/ 198224 w 1066152"/>
                <a:gd name="connsiteY1962" fmla="*/ 256257 h 802795"/>
                <a:gd name="connsiteX1963" fmla="*/ 199235 w 1066152"/>
                <a:gd name="connsiteY1963" fmla="*/ 255034 h 802795"/>
                <a:gd name="connsiteX1964" fmla="*/ 202009 w 1066152"/>
                <a:gd name="connsiteY1964" fmla="*/ 252847 h 802795"/>
                <a:gd name="connsiteX1965" fmla="*/ 202456 w 1066152"/>
                <a:gd name="connsiteY1965" fmla="*/ 252071 h 802795"/>
                <a:gd name="connsiteX1966" fmla="*/ 203044 w 1066152"/>
                <a:gd name="connsiteY1966" fmla="*/ 250660 h 802795"/>
                <a:gd name="connsiteX1967" fmla="*/ 205818 w 1066152"/>
                <a:gd name="connsiteY1967" fmla="*/ 246804 h 802795"/>
                <a:gd name="connsiteX1968" fmla="*/ 206712 w 1066152"/>
                <a:gd name="connsiteY1968" fmla="*/ 245864 h 802795"/>
                <a:gd name="connsiteX1969" fmla="*/ 208100 w 1066152"/>
                <a:gd name="connsiteY1969" fmla="*/ 245652 h 802795"/>
                <a:gd name="connsiteX1970" fmla="*/ 213225 w 1066152"/>
                <a:gd name="connsiteY1970" fmla="*/ 245582 h 802795"/>
                <a:gd name="connsiteX1971" fmla="*/ 213931 w 1066152"/>
                <a:gd name="connsiteY1971" fmla="*/ 245111 h 802795"/>
                <a:gd name="connsiteX1972" fmla="*/ 218516 w 1066152"/>
                <a:gd name="connsiteY1972" fmla="*/ 243254 h 802795"/>
                <a:gd name="connsiteX1973" fmla="*/ 221079 w 1066152"/>
                <a:gd name="connsiteY1973" fmla="*/ 241419 h 802795"/>
                <a:gd name="connsiteX1974" fmla="*/ 223595 w 1066152"/>
                <a:gd name="connsiteY1974" fmla="*/ 239045 h 802795"/>
                <a:gd name="connsiteX1975" fmla="*/ 226064 w 1066152"/>
                <a:gd name="connsiteY1975" fmla="*/ 235377 h 802795"/>
                <a:gd name="connsiteX1976" fmla="*/ 226393 w 1066152"/>
                <a:gd name="connsiteY1976" fmla="*/ 235282 h 802795"/>
                <a:gd name="connsiteX1977" fmla="*/ 227357 w 1066152"/>
                <a:gd name="connsiteY1977" fmla="*/ 235471 h 802795"/>
                <a:gd name="connsiteX1978" fmla="*/ 227663 w 1066152"/>
                <a:gd name="connsiteY1978" fmla="*/ 235377 h 802795"/>
                <a:gd name="connsiteX1979" fmla="*/ 227851 w 1066152"/>
                <a:gd name="connsiteY1979" fmla="*/ 234859 h 802795"/>
                <a:gd name="connsiteX1980" fmla="*/ 227946 w 1066152"/>
                <a:gd name="connsiteY1980" fmla="*/ 234106 h 802795"/>
                <a:gd name="connsiteX1981" fmla="*/ 227898 w 1066152"/>
                <a:gd name="connsiteY1981" fmla="*/ 233542 h 802795"/>
                <a:gd name="connsiteX1982" fmla="*/ 227663 w 1066152"/>
                <a:gd name="connsiteY1982" fmla="*/ 233496 h 802795"/>
                <a:gd name="connsiteX1983" fmla="*/ 228675 w 1066152"/>
                <a:gd name="connsiteY1983" fmla="*/ 232743 h 802795"/>
                <a:gd name="connsiteX1984" fmla="*/ 229756 w 1066152"/>
                <a:gd name="connsiteY1984" fmla="*/ 232367 h 802795"/>
                <a:gd name="connsiteX1985" fmla="*/ 232201 w 1066152"/>
                <a:gd name="connsiteY1985" fmla="*/ 232202 h 802795"/>
                <a:gd name="connsiteX1986" fmla="*/ 232201 w 1066152"/>
                <a:gd name="connsiteY1986" fmla="*/ 231379 h 802795"/>
                <a:gd name="connsiteX1987" fmla="*/ 235188 w 1066152"/>
                <a:gd name="connsiteY1987" fmla="*/ 226982 h 802795"/>
                <a:gd name="connsiteX1988" fmla="*/ 235235 w 1066152"/>
                <a:gd name="connsiteY1988" fmla="*/ 226347 h 802795"/>
                <a:gd name="connsiteX1989" fmla="*/ 235023 w 1066152"/>
                <a:gd name="connsiteY1989" fmla="*/ 225712 h 802795"/>
                <a:gd name="connsiteX1990" fmla="*/ 234976 w 1066152"/>
                <a:gd name="connsiteY1990" fmla="*/ 224959 h 802795"/>
                <a:gd name="connsiteX1991" fmla="*/ 235470 w 1066152"/>
                <a:gd name="connsiteY1991" fmla="*/ 223972 h 802795"/>
                <a:gd name="connsiteX1992" fmla="*/ 237492 w 1066152"/>
                <a:gd name="connsiteY1992" fmla="*/ 221997 h 802795"/>
                <a:gd name="connsiteX1993" fmla="*/ 241231 w 1066152"/>
                <a:gd name="connsiteY1993" fmla="*/ 216942 h 802795"/>
                <a:gd name="connsiteX1994" fmla="*/ 240431 w 1066152"/>
                <a:gd name="connsiteY1994" fmla="*/ 216001 h 802795"/>
                <a:gd name="connsiteX1995" fmla="*/ 239350 w 1066152"/>
                <a:gd name="connsiteY1995" fmla="*/ 214566 h 802795"/>
                <a:gd name="connsiteX1996" fmla="*/ 236058 w 1066152"/>
                <a:gd name="connsiteY1996" fmla="*/ 211368 h 802795"/>
                <a:gd name="connsiteX1997" fmla="*/ 232554 w 1066152"/>
                <a:gd name="connsiteY1997" fmla="*/ 209276 h 802795"/>
                <a:gd name="connsiteX1998" fmla="*/ 228745 w 1066152"/>
                <a:gd name="connsiteY1998" fmla="*/ 207983 h 802795"/>
                <a:gd name="connsiteX1999" fmla="*/ 222396 w 1066152"/>
                <a:gd name="connsiteY1999" fmla="*/ 206736 h 802795"/>
                <a:gd name="connsiteX2000" fmla="*/ 221314 w 1066152"/>
                <a:gd name="connsiteY2000" fmla="*/ 206736 h 802795"/>
                <a:gd name="connsiteX2001" fmla="*/ 220773 w 1066152"/>
                <a:gd name="connsiteY2001" fmla="*/ 207183 h 802795"/>
                <a:gd name="connsiteX2002" fmla="*/ 220256 w 1066152"/>
                <a:gd name="connsiteY2002" fmla="*/ 207771 h 802795"/>
                <a:gd name="connsiteX2003" fmla="*/ 219175 w 1066152"/>
                <a:gd name="connsiteY2003" fmla="*/ 208453 h 802795"/>
                <a:gd name="connsiteX2004" fmla="*/ 217999 w 1066152"/>
                <a:gd name="connsiteY2004" fmla="*/ 208994 h 802795"/>
                <a:gd name="connsiteX2005" fmla="*/ 217200 w 1066152"/>
                <a:gd name="connsiteY2005" fmla="*/ 209205 h 802795"/>
                <a:gd name="connsiteX2006" fmla="*/ 214989 w 1066152"/>
                <a:gd name="connsiteY2006" fmla="*/ 208429 h 802795"/>
                <a:gd name="connsiteX2007" fmla="*/ 213908 w 1066152"/>
                <a:gd name="connsiteY2007" fmla="*/ 206901 h 802795"/>
                <a:gd name="connsiteX2008" fmla="*/ 213507 w 1066152"/>
                <a:gd name="connsiteY2008" fmla="*/ 205020 h 802795"/>
                <a:gd name="connsiteX2009" fmla="*/ 213296 w 1066152"/>
                <a:gd name="connsiteY2009" fmla="*/ 203233 h 802795"/>
                <a:gd name="connsiteX2010" fmla="*/ 212943 w 1066152"/>
                <a:gd name="connsiteY2010" fmla="*/ 202339 h 802795"/>
                <a:gd name="connsiteX2011" fmla="*/ 212426 w 1066152"/>
                <a:gd name="connsiteY2011" fmla="*/ 201492 h 802795"/>
                <a:gd name="connsiteX2012" fmla="*/ 212191 w 1066152"/>
                <a:gd name="connsiteY2012" fmla="*/ 200670 h 802795"/>
                <a:gd name="connsiteX2013" fmla="*/ 212661 w 1066152"/>
                <a:gd name="connsiteY2013" fmla="*/ 199753 h 802795"/>
                <a:gd name="connsiteX2014" fmla="*/ 213225 w 1066152"/>
                <a:gd name="connsiteY2014" fmla="*/ 198953 h 802795"/>
                <a:gd name="connsiteX2015" fmla="*/ 213555 w 1066152"/>
                <a:gd name="connsiteY2015" fmla="*/ 198060 h 802795"/>
                <a:gd name="connsiteX2016" fmla="*/ 215459 w 1066152"/>
                <a:gd name="connsiteY2016" fmla="*/ 190206 h 802795"/>
                <a:gd name="connsiteX2017" fmla="*/ 216353 w 1066152"/>
                <a:gd name="connsiteY2017" fmla="*/ 188395 h 802795"/>
                <a:gd name="connsiteX2018" fmla="*/ 214331 w 1066152"/>
                <a:gd name="connsiteY2018" fmla="*/ 187784 h 802795"/>
                <a:gd name="connsiteX2019" fmla="*/ 212943 w 1066152"/>
                <a:gd name="connsiteY2019" fmla="*/ 187596 h 802795"/>
                <a:gd name="connsiteX2020" fmla="*/ 212332 w 1066152"/>
                <a:gd name="connsiteY2020" fmla="*/ 186914 h 802795"/>
                <a:gd name="connsiteX2021" fmla="*/ 212967 w 1066152"/>
                <a:gd name="connsiteY2021" fmla="*/ 182752 h 802795"/>
                <a:gd name="connsiteX2022" fmla="*/ 212661 w 1066152"/>
                <a:gd name="connsiteY2022" fmla="*/ 181153 h 802795"/>
                <a:gd name="connsiteX2023" fmla="*/ 211603 w 1066152"/>
                <a:gd name="connsiteY2023" fmla="*/ 179977 h 802795"/>
                <a:gd name="connsiteX2024" fmla="*/ 209699 w 1066152"/>
                <a:gd name="connsiteY2024" fmla="*/ 179224 h 802795"/>
                <a:gd name="connsiteX2025" fmla="*/ 208664 w 1066152"/>
                <a:gd name="connsiteY2025" fmla="*/ 181294 h 802795"/>
                <a:gd name="connsiteX2026" fmla="*/ 206007 w 1066152"/>
                <a:gd name="connsiteY2026" fmla="*/ 182046 h 802795"/>
                <a:gd name="connsiteX2027" fmla="*/ 200434 w 1066152"/>
                <a:gd name="connsiteY2027" fmla="*/ 182258 h 802795"/>
                <a:gd name="connsiteX2028" fmla="*/ 198082 w 1066152"/>
                <a:gd name="connsiteY2028" fmla="*/ 181623 h 802795"/>
                <a:gd name="connsiteX2029" fmla="*/ 195237 w 1066152"/>
                <a:gd name="connsiteY2029" fmla="*/ 177556 h 802795"/>
                <a:gd name="connsiteX2030" fmla="*/ 192839 w 1066152"/>
                <a:gd name="connsiteY2030" fmla="*/ 177155 h 802795"/>
                <a:gd name="connsiteX2031" fmla="*/ 192345 w 1066152"/>
                <a:gd name="connsiteY2031" fmla="*/ 180048 h 802795"/>
                <a:gd name="connsiteX2032" fmla="*/ 190487 w 1066152"/>
                <a:gd name="connsiteY2032" fmla="*/ 181105 h 802795"/>
                <a:gd name="connsiteX2033" fmla="*/ 185620 w 1066152"/>
                <a:gd name="connsiteY2033" fmla="*/ 181482 h 802795"/>
                <a:gd name="connsiteX2034" fmla="*/ 183433 w 1066152"/>
                <a:gd name="connsiteY2034" fmla="*/ 181082 h 802795"/>
                <a:gd name="connsiteX2035" fmla="*/ 181528 w 1066152"/>
                <a:gd name="connsiteY2035" fmla="*/ 179695 h 802795"/>
                <a:gd name="connsiteX2036" fmla="*/ 180447 w 1066152"/>
                <a:gd name="connsiteY2036" fmla="*/ 179178 h 802795"/>
                <a:gd name="connsiteX2037" fmla="*/ 179741 w 1066152"/>
                <a:gd name="connsiteY2037" fmla="*/ 178848 h 802795"/>
                <a:gd name="connsiteX2038" fmla="*/ 177908 w 1066152"/>
                <a:gd name="connsiteY2038" fmla="*/ 180071 h 802795"/>
                <a:gd name="connsiteX2039" fmla="*/ 175133 w 1066152"/>
                <a:gd name="connsiteY2039" fmla="*/ 181200 h 802795"/>
                <a:gd name="connsiteX2040" fmla="*/ 172664 w 1066152"/>
                <a:gd name="connsiteY2040" fmla="*/ 180165 h 802795"/>
                <a:gd name="connsiteX2041" fmla="*/ 170289 w 1066152"/>
                <a:gd name="connsiteY2041" fmla="*/ 178261 h 802795"/>
                <a:gd name="connsiteX2042" fmla="*/ 167773 w 1066152"/>
                <a:gd name="connsiteY2042" fmla="*/ 176802 h 802795"/>
                <a:gd name="connsiteX2043" fmla="*/ 166644 w 1066152"/>
                <a:gd name="connsiteY2043" fmla="*/ 176967 h 802795"/>
                <a:gd name="connsiteX2044" fmla="*/ 165256 w 1066152"/>
                <a:gd name="connsiteY2044" fmla="*/ 177673 h 802795"/>
                <a:gd name="connsiteX2045" fmla="*/ 164057 w 1066152"/>
                <a:gd name="connsiteY2045" fmla="*/ 178519 h 802795"/>
                <a:gd name="connsiteX2046" fmla="*/ 163493 w 1066152"/>
                <a:gd name="connsiteY2046" fmla="*/ 179084 h 802795"/>
                <a:gd name="connsiteX2047" fmla="*/ 163329 w 1066152"/>
                <a:gd name="connsiteY2047" fmla="*/ 180424 h 802795"/>
                <a:gd name="connsiteX2048" fmla="*/ 163846 w 1066152"/>
                <a:gd name="connsiteY2048" fmla="*/ 183552 h 802795"/>
                <a:gd name="connsiteX2049" fmla="*/ 163658 w 1066152"/>
                <a:gd name="connsiteY2049" fmla="*/ 185080 h 802795"/>
                <a:gd name="connsiteX2050" fmla="*/ 162764 w 1066152"/>
                <a:gd name="connsiteY2050" fmla="*/ 186255 h 802795"/>
                <a:gd name="connsiteX2051" fmla="*/ 162035 w 1066152"/>
                <a:gd name="connsiteY2051" fmla="*/ 187220 h 802795"/>
                <a:gd name="connsiteX2052" fmla="*/ 159473 w 1066152"/>
                <a:gd name="connsiteY2052" fmla="*/ 188701 h 802795"/>
                <a:gd name="connsiteX2053" fmla="*/ 153923 w 1066152"/>
                <a:gd name="connsiteY2053" fmla="*/ 190465 h 802795"/>
                <a:gd name="connsiteX2054" fmla="*/ 152512 w 1066152"/>
                <a:gd name="connsiteY2054" fmla="*/ 190676 h 802795"/>
                <a:gd name="connsiteX2055" fmla="*/ 149667 w 1066152"/>
                <a:gd name="connsiteY2055" fmla="*/ 190605 h 802795"/>
                <a:gd name="connsiteX2056" fmla="*/ 148491 w 1066152"/>
                <a:gd name="connsiteY2056" fmla="*/ 190794 h 802795"/>
                <a:gd name="connsiteX2057" fmla="*/ 147433 w 1066152"/>
                <a:gd name="connsiteY2057" fmla="*/ 191452 h 802795"/>
                <a:gd name="connsiteX2058" fmla="*/ 145552 w 1066152"/>
                <a:gd name="connsiteY2058" fmla="*/ 193427 h 802795"/>
                <a:gd name="connsiteX2059" fmla="*/ 144518 w 1066152"/>
                <a:gd name="connsiteY2059" fmla="*/ 194250 h 802795"/>
                <a:gd name="connsiteX2060" fmla="*/ 144188 w 1066152"/>
                <a:gd name="connsiteY2060" fmla="*/ 192722 h 802795"/>
                <a:gd name="connsiteX2061" fmla="*/ 143436 w 1066152"/>
                <a:gd name="connsiteY2061" fmla="*/ 191052 h 802795"/>
                <a:gd name="connsiteX2062" fmla="*/ 142424 w 1066152"/>
                <a:gd name="connsiteY2062" fmla="*/ 189782 h 802795"/>
                <a:gd name="connsiteX2063" fmla="*/ 141343 w 1066152"/>
                <a:gd name="connsiteY2063" fmla="*/ 189429 h 802795"/>
                <a:gd name="connsiteX2064" fmla="*/ 140591 w 1066152"/>
                <a:gd name="connsiteY2064" fmla="*/ 189359 h 802795"/>
                <a:gd name="connsiteX2065" fmla="*/ 139415 w 1066152"/>
                <a:gd name="connsiteY2065" fmla="*/ 188583 h 802795"/>
                <a:gd name="connsiteX2066" fmla="*/ 138803 w 1066152"/>
                <a:gd name="connsiteY2066" fmla="*/ 188583 h 802795"/>
                <a:gd name="connsiteX2067" fmla="*/ 138215 w 1066152"/>
                <a:gd name="connsiteY2067" fmla="*/ 189053 h 802795"/>
                <a:gd name="connsiteX2068" fmla="*/ 138075 w 1066152"/>
                <a:gd name="connsiteY2068" fmla="*/ 189618 h 802795"/>
                <a:gd name="connsiteX2069" fmla="*/ 137981 w 1066152"/>
                <a:gd name="connsiteY2069" fmla="*/ 190276 h 802795"/>
                <a:gd name="connsiteX2070" fmla="*/ 137581 w 1066152"/>
                <a:gd name="connsiteY2070" fmla="*/ 190982 h 802795"/>
                <a:gd name="connsiteX2071" fmla="*/ 136405 w 1066152"/>
                <a:gd name="connsiteY2071" fmla="*/ 191757 h 802795"/>
                <a:gd name="connsiteX2072" fmla="*/ 134806 w 1066152"/>
                <a:gd name="connsiteY2072" fmla="*/ 192275 h 802795"/>
                <a:gd name="connsiteX2073" fmla="*/ 133137 w 1066152"/>
                <a:gd name="connsiteY2073" fmla="*/ 192510 h 802795"/>
                <a:gd name="connsiteX2074" fmla="*/ 131749 w 1066152"/>
                <a:gd name="connsiteY2074" fmla="*/ 192369 h 802795"/>
                <a:gd name="connsiteX2075" fmla="*/ 130480 w 1066152"/>
                <a:gd name="connsiteY2075" fmla="*/ 191711 h 802795"/>
                <a:gd name="connsiteX2076" fmla="*/ 130432 w 1066152"/>
                <a:gd name="connsiteY2076" fmla="*/ 190817 h 802795"/>
                <a:gd name="connsiteX2077" fmla="*/ 131632 w 1066152"/>
                <a:gd name="connsiteY2077" fmla="*/ 187784 h 802795"/>
                <a:gd name="connsiteX2078" fmla="*/ 127423 w 1066152"/>
                <a:gd name="connsiteY2078" fmla="*/ 187619 h 802795"/>
                <a:gd name="connsiteX2079" fmla="*/ 126059 w 1066152"/>
                <a:gd name="connsiteY2079" fmla="*/ 187007 h 802795"/>
                <a:gd name="connsiteX2080" fmla="*/ 123895 w 1066152"/>
                <a:gd name="connsiteY2080" fmla="*/ 185573 h 802795"/>
                <a:gd name="connsiteX2081" fmla="*/ 122673 w 1066152"/>
                <a:gd name="connsiteY2081" fmla="*/ 185291 h 802795"/>
                <a:gd name="connsiteX2082" fmla="*/ 120462 w 1066152"/>
                <a:gd name="connsiteY2082" fmla="*/ 186326 h 802795"/>
                <a:gd name="connsiteX2083" fmla="*/ 115595 w 1066152"/>
                <a:gd name="connsiteY2083" fmla="*/ 187408 h 802795"/>
                <a:gd name="connsiteX2084" fmla="*/ 113479 w 1066152"/>
                <a:gd name="connsiteY2084" fmla="*/ 187290 h 802795"/>
                <a:gd name="connsiteX2085" fmla="*/ 112656 w 1066152"/>
                <a:gd name="connsiteY2085" fmla="*/ 187548 h 802795"/>
                <a:gd name="connsiteX2086" fmla="*/ 112280 w 1066152"/>
                <a:gd name="connsiteY2086" fmla="*/ 188066 h 802795"/>
                <a:gd name="connsiteX2087" fmla="*/ 112021 w 1066152"/>
                <a:gd name="connsiteY2087" fmla="*/ 188677 h 802795"/>
                <a:gd name="connsiteX2088" fmla="*/ 111480 w 1066152"/>
                <a:gd name="connsiteY2088" fmla="*/ 189241 h 802795"/>
                <a:gd name="connsiteX2089" fmla="*/ 108988 w 1066152"/>
                <a:gd name="connsiteY2089" fmla="*/ 189241 h 802795"/>
                <a:gd name="connsiteX2090" fmla="*/ 108470 w 1066152"/>
                <a:gd name="connsiteY2090" fmla="*/ 186467 h 802795"/>
                <a:gd name="connsiteX2091" fmla="*/ 108259 w 1066152"/>
                <a:gd name="connsiteY2091" fmla="*/ 183857 h 802795"/>
                <a:gd name="connsiteX2092" fmla="*/ 106731 w 1066152"/>
                <a:gd name="connsiteY2092" fmla="*/ 184398 h 802795"/>
                <a:gd name="connsiteX2093" fmla="*/ 106354 w 1066152"/>
                <a:gd name="connsiteY2093" fmla="*/ 185503 h 802795"/>
                <a:gd name="connsiteX2094" fmla="*/ 105978 w 1066152"/>
                <a:gd name="connsiteY2094" fmla="*/ 187102 h 802795"/>
                <a:gd name="connsiteX2095" fmla="*/ 105249 w 1066152"/>
                <a:gd name="connsiteY2095" fmla="*/ 188348 h 802795"/>
                <a:gd name="connsiteX2096" fmla="*/ 103791 w 1066152"/>
                <a:gd name="connsiteY2096" fmla="*/ 188395 h 802795"/>
                <a:gd name="connsiteX2097" fmla="*/ 102522 w 1066152"/>
                <a:gd name="connsiteY2097" fmla="*/ 188207 h 802795"/>
                <a:gd name="connsiteX2098" fmla="*/ 101416 w 1066152"/>
                <a:gd name="connsiteY2098" fmla="*/ 188677 h 802795"/>
                <a:gd name="connsiteX2099" fmla="*/ 100452 w 1066152"/>
                <a:gd name="connsiteY2099" fmla="*/ 189618 h 802795"/>
                <a:gd name="connsiteX2100" fmla="*/ 99676 w 1066152"/>
                <a:gd name="connsiteY2100" fmla="*/ 190770 h 802795"/>
                <a:gd name="connsiteX2101" fmla="*/ 97113 w 1066152"/>
                <a:gd name="connsiteY2101" fmla="*/ 193239 h 802795"/>
                <a:gd name="connsiteX2102" fmla="*/ 96972 w 1066152"/>
                <a:gd name="connsiteY2102" fmla="*/ 193286 h 802795"/>
                <a:gd name="connsiteX2103" fmla="*/ 93609 w 1066152"/>
                <a:gd name="connsiteY2103" fmla="*/ 194179 h 802795"/>
                <a:gd name="connsiteX2104" fmla="*/ 86908 w 1066152"/>
                <a:gd name="connsiteY2104" fmla="*/ 193780 h 802795"/>
                <a:gd name="connsiteX2105" fmla="*/ 86908 w 1066152"/>
                <a:gd name="connsiteY2105" fmla="*/ 193592 h 802795"/>
                <a:gd name="connsiteX2106" fmla="*/ 87214 w 1066152"/>
                <a:gd name="connsiteY2106" fmla="*/ 191264 h 802795"/>
                <a:gd name="connsiteX2107" fmla="*/ 87072 w 1066152"/>
                <a:gd name="connsiteY2107" fmla="*/ 189994 h 802795"/>
                <a:gd name="connsiteX2108" fmla="*/ 86485 w 1066152"/>
                <a:gd name="connsiteY2108" fmla="*/ 189241 h 802795"/>
                <a:gd name="connsiteX2109" fmla="*/ 83686 w 1066152"/>
                <a:gd name="connsiteY2109" fmla="*/ 188231 h 802795"/>
                <a:gd name="connsiteX2110" fmla="*/ 82817 w 1066152"/>
                <a:gd name="connsiteY2110" fmla="*/ 186514 h 802795"/>
                <a:gd name="connsiteX2111" fmla="*/ 82934 w 1066152"/>
                <a:gd name="connsiteY2111" fmla="*/ 184727 h 802795"/>
                <a:gd name="connsiteX2112" fmla="*/ 83686 w 1066152"/>
                <a:gd name="connsiteY2112" fmla="*/ 182987 h 802795"/>
                <a:gd name="connsiteX2113" fmla="*/ 86696 w 1066152"/>
                <a:gd name="connsiteY2113" fmla="*/ 178872 h 802795"/>
                <a:gd name="connsiteX2114" fmla="*/ 88977 w 1066152"/>
                <a:gd name="connsiteY2114" fmla="*/ 176802 h 802795"/>
                <a:gd name="connsiteX2115" fmla="*/ 91258 w 1066152"/>
                <a:gd name="connsiteY2115" fmla="*/ 175439 h 802795"/>
                <a:gd name="connsiteX2116" fmla="*/ 92504 w 1066152"/>
                <a:gd name="connsiteY2116" fmla="*/ 174474 h 802795"/>
                <a:gd name="connsiteX2117" fmla="*/ 93351 w 1066152"/>
                <a:gd name="connsiteY2117" fmla="*/ 173252 h 802795"/>
                <a:gd name="connsiteX2118" fmla="*/ 93538 w 1066152"/>
                <a:gd name="connsiteY2118" fmla="*/ 171583 h 802795"/>
                <a:gd name="connsiteX2119" fmla="*/ 92904 w 1066152"/>
                <a:gd name="connsiteY2119" fmla="*/ 170148 h 802795"/>
                <a:gd name="connsiteX2120" fmla="*/ 91705 w 1066152"/>
                <a:gd name="connsiteY2120" fmla="*/ 169090 h 802795"/>
                <a:gd name="connsiteX2121" fmla="*/ 90200 w 1066152"/>
                <a:gd name="connsiteY2121" fmla="*/ 168502 h 802795"/>
                <a:gd name="connsiteX2122" fmla="*/ 88577 w 1066152"/>
                <a:gd name="connsiteY2122" fmla="*/ 168643 h 802795"/>
                <a:gd name="connsiteX2123" fmla="*/ 87190 w 1066152"/>
                <a:gd name="connsiteY2123" fmla="*/ 169255 h 802795"/>
                <a:gd name="connsiteX2124" fmla="*/ 86014 w 1066152"/>
                <a:gd name="connsiteY2124" fmla="*/ 169560 h 802795"/>
                <a:gd name="connsiteX2125" fmla="*/ 85026 w 1066152"/>
                <a:gd name="connsiteY2125" fmla="*/ 168831 h 802795"/>
                <a:gd name="connsiteX2126" fmla="*/ 84768 w 1066152"/>
                <a:gd name="connsiteY2126" fmla="*/ 167256 h 802795"/>
                <a:gd name="connsiteX2127" fmla="*/ 85003 w 1066152"/>
                <a:gd name="connsiteY2127" fmla="*/ 163094 h 802795"/>
                <a:gd name="connsiteX2128" fmla="*/ 84298 w 1066152"/>
                <a:gd name="connsiteY2128" fmla="*/ 161613 h 802795"/>
                <a:gd name="connsiteX2129" fmla="*/ 83592 w 1066152"/>
                <a:gd name="connsiteY2129" fmla="*/ 160695 h 802795"/>
                <a:gd name="connsiteX2130" fmla="*/ 81241 w 1066152"/>
                <a:gd name="connsiteY2130" fmla="*/ 162248 h 802795"/>
                <a:gd name="connsiteX2131" fmla="*/ 79807 w 1066152"/>
                <a:gd name="connsiteY2131" fmla="*/ 162789 h 802795"/>
                <a:gd name="connsiteX2132" fmla="*/ 78466 w 1066152"/>
                <a:gd name="connsiteY2132" fmla="*/ 162835 h 802795"/>
                <a:gd name="connsiteX2133" fmla="*/ 77878 w 1066152"/>
                <a:gd name="connsiteY2133" fmla="*/ 162977 h 802795"/>
                <a:gd name="connsiteX2134" fmla="*/ 77197 w 1066152"/>
                <a:gd name="connsiteY2134" fmla="*/ 163400 h 802795"/>
                <a:gd name="connsiteX2135" fmla="*/ 75198 w 1066152"/>
                <a:gd name="connsiteY2135" fmla="*/ 165069 h 802795"/>
                <a:gd name="connsiteX2136" fmla="*/ 73881 w 1066152"/>
                <a:gd name="connsiteY2136" fmla="*/ 165728 h 802795"/>
                <a:gd name="connsiteX2137" fmla="*/ 61795 w 1066152"/>
                <a:gd name="connsiteY2137" fmla="*/ 167515 h 802795"/>
                <a:gd name="connsiteX2138" fmla="*/ 60313 w 1066152"/>
                <a:gd name="connsiteY2138" fmla="*/ 168032 h 802795"/>
                <a:gd name="connsiteX2139" fmla="*/ 57633 w 1066152"/>
                <a:gd name="connsiteY2139" fmla="*/ 169748 h 802795"/>
                <a:gd name="connsiteX2140" fmla="*/ 56198 w 1066152"/>
                <a:gd name="connsiteY2140" fmla="*/ 170289 h 802795"/>
                <a:gd name="connsiteX2141" fmla="*/ 53330 w 1066152"/>
                <a:gd name="connsiteY2141" fmla="*/ 170359 h 802795"/>
                <a:gd name="connsiteX2142" fmla="*/ 51966 w 1066152"/>
                <a:gd name="connsiteY2142" fmla="*/ 170618 h 802795"/>
                <a:gd name="connsiteX2143" fmla="*/ 50626 w 1066152"/>
                <a:gd name="connsiteY2143" fmla="*/ 171535 h 802795"/>
                <a:gd name="connsiteX2144" fmla="*/ 49943 w 1066152"/>
                <a:gd name="connsiteY2144" fmla="*/ 172499 h 802795"/>
                <a:gd name="connsiteX2145" fmla="*/ 49121 w 1066152"/>
                <a:gd name="connsiteY2145" fmla="*/ 174569 h 802795"/>
                <a:gd name="connsiteX2146" fmla="*/ 48533 w 1066152"/>
                <a:gd name="connsiteY2146" fmla="*/ 175533 h 802795"/>
                <a:gd name="connsiteX2147" fmla="*/ 46934 w 1066152"/>
                <a:gd name="connsiteY2147" fmla="*/ 176520 h 802795"/>
                <a:gd name="connsiteX2148" fmla="*/ 44935 w 1066152"/>
                <a:gd name="connsiteY2148" fmla="*/ 177085 h 802795"/>
                <a:gd name="connsiteX2149" fmla="*/ 43172 w 1066152"/>
                <a:gd name="connsiteY2149" fmla="*/ 177931 h 802795"/>
                <a:gd name="connsiteX2150" fmla="*/ 42302 w 1066152"/>
                <a:gd name="connsiteY2150" fmla="*/ 178519 h 802795"/>
                <a:gd name="connsiteX2151" fmla="*/ 41431 w 1066152"/>
                <a:gd name="connsiteY2151" fmla="*/ 180095 h 802795"/>
                <a:gd name="connsiteX2152" fmla="*/ 40256 w 1066152"/>
                <a:gd name="connsiteY2152" fmla="*/ 181576 h 802795"/>
                <a:gd name="connsiteX2153" fmla="*/ 38821 w 1066152"/>
                <a:gd name="connsiteY2153" fmla="*/ 182681 h 802795"/>
                <a:gd name="connsiteX2154" fmla="*/ 37222 w 1066152"/>
                <a:gd name="connsiteY2154" fmla="*/ 183128 h 802795"/>
                <a:gd name="connsiteX2155" fmla="*/ 35906 w 1066152"/>
                <a:gd name="connsiteY2155" fmla="*/ 183834 h 802795"/>
                <a:gd name="connsiteX2156" fmla="*/ 34660 w 1066152"/>
                <a:gd name="connsiteY2156" fmla="*/ 185220 h 802795"/>
                <a:gd name="connsiteX2157" fmla="*/ 33414 w 1066152"/>
                <a:gd name="connsiteY2157" fmla="*/ 186232 h 802795"/>
                <a:gd name="connsiteX2158" fmla="*/ 32120 w 1066152"/>
                <a:gd name="connsiteY2158" fmla="*/ 185809 h 802795"/>
                <a:gd name="connsiteX2159" fmla="*/ 32308 w 1066152"/>
                <a:gd name="connsiteY2159" fmla="*/ 184492 h 802795"/>
                <a:gd name="connsiteX2160" fmla="*/ 30756 w 1066152"/>
                <a:gd name="connsiteY2160" fmla="*/ 165704 h 802795"/>
                <a:gd name="connsiteX2161" fmla="*/ 30992 w 1066152"/>
                <a:gd name="connsiteY2161" fmla="*/ 164035 h 802795"/>
                <a:gd name="connsiteX2162" fmla="*/ 31838 w 1066152"/>
                <a:gd name="connsiteY2162" fmla="*/ 163376 h 802795"/>
                <a:gd name="connsiteX2163" fmla="*/ 34942 w 1066152"/>
                <a:gd name="connsiteY2163" fmla="*/ 163306 h 802795"/>
                <a:gd name="connsiteX2164" fmla="*/ 36376 w 1066152"/>
                <a:gd name="connsiteY2164" fmla="*/ 162929 h 802795"/>
                <a:gd name="connsiteX2165" fmla="*/ 36964 w 1066152"/>
                <a:gd name="connsiteY2165" fmla="*/ 162035 h 802795"/>
                <a:gd name="connsiteX2166" fmla="*/ 36611 w 1066152"/>
                <a:gd name="connsiteY2166" fmla="*/ 161283 h 802795"/>
                <a:gd name="connsiteX2167" fmla="*/ 35130 w 1066152"/>
                <a:gd name="connsiteY2167" fmla="*/ 160625 h 802795"/>
                <a:gd name="connsiteX2168" fmla="*/ 34800 w 1066152"/>
                <a:gd name="connsiteY2168" fmla="*/ 160014 h 802795"/>
                <a:gd name="connsiteX2169" fmla="*/ 35201 w 1066152"/>
                <a:gd name="connsiteY2169" fmla="*/ 159684 h 802795"/>
                <a:gd name="connsiteX2170" fmla="*/ 37246 w 1066152"/>
                <a:gd name="connsiteY2170" fmla="*/ 158697 h 802795"/>
                <a:gd name="connsiteX2171" fmla="*/ 37435 w 1066152"/>
                <a:gd name="connsiteY2171" fmla="*/ 158297 h 802795"/>
                <a:gd name="connsiteX2172" fmla="*/ 37623 w 1066152"/>
                <a:gd name="connsiteY2172" fmla="*/ 157380 h 802795"/>
                <a:gd name="connsiteX2173" fmla="*/ 38045 w 1066152"/>
                <a:gd name="connsiteY2173" fmla="*/ 156486 h 802795"/>
                <a:gd name="connsiteX2174" fmla="*/ 38869 w 1066152"/>
                <a:gd name="connsiteY2174" fmla="*/ 156087 h 802795"/>
                <a:gd name="connsiteX2175" fmla="*/ 39222 w 1066152"/>
                <a:gd name="connsiteY2175" fmla="*/ 155805 h 802795"/>
                <a:gd name="connsiteX2176" fmla="*/ 40679 w 1066152"/>
                <a:gd name="connsiteY2176" fmla="*/ 154088 h 802795"/>
                <a:gd name="connsiteX2177" fmla="*/ 44771 w 1066152"/>
                <a:gd name="connsiteY2177" fmla="*/ 151172 h 802795"/>
                <a:gd name="connsiteX2178" fmla="*/ 45782 w 1066152"/>
                <a:gd name="connsiteY2178" fmla="*/ 150773 h 802795"/>
                <a:gd name="connsiteX2179" fmla="*/ 46135 w 1066152"/>
                <a:gd name="connsiteY2179" fmla="*/ 150561 h 802795"/>
                <a:gd name="connsiteX2180" fmla="*/ 48627 w 1066152"/>
                <a:gd name="connsiteY2180" fmla="*/ 148398 h 802795"/>
                <a:gd name="connsiteX2181" fmla="*/ 50037 w 1066152"/>
                <a:gd name="connsiteY2181" fmla="*/ 147880 h 802795"/>
                <a:gd name="connsiteX2182" fmla="*/ 51613 w 1066152"/>
                <a:gd name="connsiteY2182" fmla="*/ 146869 h 802795"/>
                <a:gd name="connsiteX2183" fmla="*/ 52131 w 1066152"/>
                <a:gd name="connsiteY2183" fmla="*/ 146375 h 802795"/>
                <a:gd name="connsiteX2184" fmla="*/ 52413 w 1066152"/>
                <a:gd name="connsiteY2184" fmla="*/ 145576 h 802795"/>
                <a:gd name="connsiteX2185" fmla="*/ 52413 w 1066152"/>
                <a:gd name="connsiteY2185" fmla="*/ 142589 h 802795"/>
                <a:gd name="connsiteX2186" fmla="*/ 52342 w 1066152"/>
                <a:gd name="connsiteY2186" fmla="*/ 141932 h 802795"/>
                <a:gd name="connsiteX2187" fmla="*/ 52037 w 1066152"/>
                <a:gd name="connsiteY2187" fmla="*/ 141861 h 802795"/>
                <a:gd name="connsiteX2188" fmla="*/ 51378 w 1066152"/>
                <a:gd name="connsiteY2188" fmla="*/ 142049 h 802795"/>
                <a:gd name="connsiteX2189" fmla="*/ 50202 w 1066152"/>
                <a:gd name="connsiteY2189" fmla="*/ 143084 h 802795"/>
                <a:gd name="connsiteX2190" fmla="*/ 49356 w 1066152"/>
                <a:gd name="connsiteY2190" fmla="*/ 144918 h 802795"/>
                <a:gd name="connsiteX2191" fmla="*/ 48251 w 1066152"/>
                <a:gd name="connsiteY2191" fmla="*/ 146634 h 802795"/>
                <a:gd name="connsiteX2192" fmla="*/ 46323 w 1066152"/>
                <a:gd name="connsiteY2192" fmla="*/ 147387 h 802795"/>
                <a:gd name="connsiteX2193" fmla="*/ 44747 w 1066152"/>
                <a:gd name="connsiteY2193" fmla="*/ 147740 h 802795"/>
                <a:gd name="connsiteX2194" fmla="*/ 40515 w 1066152"/>
                <a:gd name="connsiteY2194" fmla="*/ 149550 h 802795"/>
                <a:gd name="connsiteX2195" fmla="*/ 39644 w 1066152"/>
                <a:gd name="connsiteY2195" fmla="*/ 150420 h 802795"/>
                <a:gd name="connsiteX2196" fmla="*/ 38798 w 1066152"/>
                <a:gd name="connsiteY2196" fmla="*/ 150584 h 802795"/>
                <a:gd name="connsiteX2197" fmla="*/ 34683 w 1066152"/>
                <a:gd name="connsiteY2197" fmla="*/ 150326 h 802795"/>
                <a:gd name="connsiteX2198" fmla="*/ 33178 w 1066152"/>
                <a:gd name="connsiteY2198" fmla="*/ 150773 h 802795"/>
                <a:gd name="connsiteX2199" fmla="*/ 33484 w 1066152"/>
                <a:gd name="connsiteY2199" fmla="*/ 149550 h 802795"/>
                <a:gd name="connsiteX2200" fmla="*/ 34307 w 1066152"/>
                <a:gd name="connsiteY2200" fmla="*/ 147387 h 802795"/>
                <a:gd name="connsiteX2201" fmla="*/ 34307 w 1066152"/>
                <a:gd name="connsiteY2201" fmla="*/ 146070 h 802795"/>
                <a:gd name="connsiteX2202" fmla="*/ 34800 w 1066152"/>
                <a:gd name="connsiteY2202" fmla="*/ 146070 h 802795"/>
                <a:gd name="connsiteX2203" fmla="*/ 35906 w 1066152"/>
                <a:gd name="connsiteY2203" fmla="*/ 147598 h 802795"/>
                <a:gd name="connsiteX2204" fmla="*/ 36353 w 1066152"/>
                <a:gd name="connsiteY2204" fmla="*/ 146869 h 802795"/>
                <a:gd name="connsiteX2205" fmla="*/ 36400 w 1066152"/>
                <a:gd name="connsiteY2205" fmla="*/ 143719 h 802795"/>
                <a:gd name="connsiteX2206" fmla="*/ 36235 w 1066152"/>
                <a:gd name="connsiteY2206" fmla="*/ 142919 h 802795"/>
                <a:gd name="connsiteX2207" fmla="*/ 36070 w 1066152"/>
                <a:gd name="connsiteY2207" fmla="*/ 142496 h 802795"/>
                <a:gd name="connsiteX2208" fmla="*/ 36329 w 1066152"/>
                <a:gd name="connsiteY2208" fmla="*/ 142260 h 802795"/>
                <a:gd name="connsiteX2209" fmla="*/ 37458 w 1066152"/>
                <a:gd name="connsiteY2209" fmla="*/ 142049 h 802795"/>
                <a:gd name="connsiteX2210" fmla="*/ 40256 w 1066152"/>
                <a:gd name="connsiteY2210" fmla="*/ 142637 h 802795"/>
                <a:gd name="connsiteX2211" fmla="*/ 40656 w 1066152"/>
                <a:gd name="connsiteY2211" fmla="*/ 142401 h 802795"/>
                <a:gd name="connsiteX2212" fmla="*/ 41220 w 1066152"/>
                <a:gd name="connsiteY2212" fmla="*/ 141132 h 802795"/>
                <a:gd name="connsiteX2213" fmla="*/ 44183 w 1066152"/>
                <a:gd name="connsiteY2213" fmla="*/ 137910 h 802795"/>
                <a:gd name="connsiteX2214" fmla="*/ 45523 w 1066152"/>
                <a:gd name="connsiteY2214" fmla="*/ 136781 h 802795"/>
                <a:gd name="connsiteX2215" fmla="*/ 48110 w 1066152"/>
                <a:gd name="connsiteY2215" fmla="*/ 135207 h 802795"/>
                <a:gd name="connsiteX2216" fmla="*/ 49238 w 1066152"/>
                <a:gd name="connsiteY2216" fmla="*/ 134195 h 802795"/>
                <a:gd name="connsiteX2217" fmla="*/ 49803 w 1066152"/>
                <a:gd name="connsiteY2217" fmla="*/ 132785 h 802795"/>
                <a:gd name="connsiteX2218" fmla="*/ 49097 w 1066152"/>
                <a:gd name="connsiteY2218" fmla="*/ 133113 h 802795"/>
                <a:gd name="connsiteX2219" fmla="*/ 48463 w 1066152"/>
                <a:gd name="connsiteY2219" fmla="*/ 133067 h 802795"/>
                <a:gd name="connsiteX2220" fmla="*/ 47686 w 1066152"/>
                <a:gd name="connsiteY2220" fmla="*/ 132760 h 802795"/>
                <a:gd name="connsiteX2221" fmla="*/ 47005 w 1066152"/>
                <a:gd name="connsiteY2221" fmla="*/ 132855 h 802795"/>
                <a:gd name="connsiteX2222" fmla="*/ 46746 w 1066152"/>
                <a:gd name="connsiteY2222" fmla="*/ 132949 h 802795"/>
                <a:gd name="connsiteX2223" fmla="*/ 46581 w 1066152"/>
                <a:gd name="connsiteY2223" fmla="*/ 133113 h 802795"/>
                <a:gd name="connsiteX2224" fmla="*/ 44865 w 1066152"/>
                <a:gd name="connsiteY2224" fmla="*/ 134077 h 802795"/>
                <a:gd name="connsiteX2225" fmla="*/ 42936 w 1066152"/>
                <a:gd name="connsiteY2225" fmla="*/ 135512 h 802795"/>
                <a:gd name="connsiteX2226" fmla="*/ 41832 w 1066152"/>
                <a:gd name="connsiteY2226" fmla="*/ 136100 h 802795"/>
                <a:gd name="connsiteX2227" fmla="*/ 40139 w 1066152"/>
                <a:gd name="connsiteY2227" fmla="*/ 136523 h 802795"/>
                <a:gd name="connsiteX2228" fmla="*/ 37646 w 1066152"/>
                <a:gd name="connsiteY2228" fmla="*/ 136735 h 802795"/>
                <a:gd name="connsiteX2229" fmla="*/ 35107 w 1066152"/>
                <a:gd name="connsiteY2229" fmla="*/ 136453 h 802795"/>
                <a:gd name="connsiteX2230" fmla="*/ 33249 w 1066152"/>
                <a:gd name="connsiteY2230" fmla="*/ 135395 h 802795"/>
                <a:gd name="connsiteX2231" fmla="*/ 32614 w 1066152"/>
                <a:gd name="connsiteY2231" fmla="*/ 134313 h 802795"/>
                <a:gd name="connsiteX2232" fmla="*/ 32261 w 1066152"/>
                <a:gd name="connsiteY2232" fmla="*/ 132455 h 802795"/>
                <a:gd name="connsiteX2233" fmla="*/ 31650 w 1066152"/>
                <a:gd name="connsiteY2233" fmla="*/ 131444 h 802795"/>
                <a:gd name="connsiteX2234" fmla="*/ 30639 w 1066152"/>
                <a:gd name="connsiteY2234" fmla="*/ 130903 h 802795"/>
                <a:gd name="connsiteX2235" fmla="*/ 27935 w 1066152"/>
                <a:gd name="connsiteY2235" fmla="*/ 130480 h 802795"/>
                <a:gd name="connsiteX2236" fmla="*/ 27370 w 1066152"/>
                <a:gd name="connsiteY2236" fmla="*/ 130104 h 802795"/>
                <a:gd name="connsiteX2237" fmla="*/ 27958 w 1066152"/>
                <a:gd name="connsiteY2237" fmla="*/ 129140 h 802795"/>
                <a:gd name="connsiteX2238" fmla="*/ 29393 w 1066152"/>
                <a:gd name="connsiteY2238" fmla="*/ 128317 h 802795"/>
                <a:gd name="connsiteX2239" fmla="*/ 31015 w 1066152"/>
                <a:gd name="connsiteY2239" fmla="*/ 127705 h 802795"/>
                <a:gd name="connsiteX2240" fmla="*/ 32167 w 1066152"/>
                <a:gd name="connsiteY2240" fmla="*/ 127447 h 802795"/>
                <a:gd name="connsiteX2241" fmla="*/ 33131 w 1066152"/>
                <a:gd name="connsiteY2241" fmla="*/ 127752 h 802795"/>
                <a:gd name="connsiteX2242" fmla="*/ 33742 w 1066152"/>
                <a:gd name="connsiteY2242" fmla="*/ 128575 h 802795"/>
                <a:gd name="connsiteX2243" fmla="*/ 33742 w 1066152"/>
                <a:gd name="connsiteY2243" fmla="*/ 129492 h 802795"/>
                <a:gd name="connsiteX2244" fmla="*/ 32708 w 1066152"/>
                <a:gd name="connsiteY2244" fmla="*/ 130104 h 802795"/>
                <a:gd name="connsiteX2245" fmla="*/ 33390 w 1066152"/>
                <a:gd name="connsiteY2245" fmla="*/ 130527 h 802795"/>
                <a:gd name="connsiteX2246" fmla="*/ 34472 w 1066152"/>
                <a:gd name="connsiteY2246" fmla="*/ 130950 h 802795"/>
                <a:gd name="connsiteX2247" fmla="*/ 35623 w 1066152"/>
                <a:gd name="connsiteY2247" fmla="*/ 131115 h 802795"/>
                <a:gd name="connsiteX2248" fmla="*/ 36447 w 1066152"/>
                <a:gd name="connsiteY2248" fmla="*/ 130833 h 802795"/>
                <a:gd name="connsiteX2249" fmla="*/ 36752 w 1066152"/>
                <a:gd name="connsiteY2249" fmla="*/ 129798 h 802795"/>
                <a:gd name="connsiteX2250" fmla="*/ 36541 w 1066152"/>
                <a:gd name="connsiteY2250" fmla="*/ 128670 h 802795"/>
                <a:gd name="connsiteX2251" fmla="*/ 36541 w 1066152"/>
                <a:gd name="connsiteY2251" fmla="*/ 127611 h 802795"/>
                <a:gd name="connsiteX2252" fmla="*/ 37504 w 1066152"/>
                <a:gd name="connsiteY2252" fmla="*/ 126835 h 802795"/>
                <a:gd name="connsiteX2253" fmla="*/ 36541 w 1066152"/>
                <a:gd name="connsiteY2253" fmla="*/ 123449 h 802795"/>
                <a:gd name="connsiteX2254" fmla="*/ 36423 w 1066152"/>
                <a:gd name="connsiteY2254" fmla="*/ 121780 h 802795"/>
                <a:gd name="connsiteX2255" fmla="*/ 36705 w 1066152"/>
                <a:gd name="connsiteY2255" fmla="*/ 120321 h 802795"/>
                <a:gd name="connsiteX2256" fmla="*/ 37435 w 1066152"/>
                <a:gd name="connsiteY2256" fmla="*/ 119170 h 802795"/>
                <a:gd name="connsiteX2257" fmla="*/ 38398 w 1066152"/>
                <a:gd name="connsiteY2257" fmla="*/ 118394 h 802795"/>
                <a:gd name="connsiteX2258" fmla="*/ 39433 w 1066152"/>
                <a:gd name="connsiteY2258" fmla="*/ 118112 h 802795"/>
                <a:gd name="connsiteX2259" fmla="*/ 40444 w 1066152"/>
                <a:gd name="connsiteY2259" fmla="*/ 116889 h 802795"/>
                <a:gd name="connsiteX2260" fmla="*/ 43312 w 1066152"/>
                <a:gd name="connsiteY2260" fmla="*/ 110916 h 802795"/>
                <a:gd name="connsiteX2261" fmla="*/ 43924 w 1066152"/>
                <a:gd name="connsiteY2261" fmla="*/ 108730 h 802795"/>
                <a:gd name="connsiteX2262" fmla="*/ 43431 w 1066152"/>
                <a:gd name="connsiteY2262" fmla="*/ 108730 h 802795"/>
                <a:gd name="connsiteX2263" fmla="*/ 42890 w 1066152"/>
                <a:gd name="connsiteY2263" fmla="*/ 110281 h 802795"/>
                <a:gd name="connsiteX2264" fmla="*/ 42114 w 1066152"/>
                <a:gd name="connsiteY2264" fmla="*/ 111809 h 802795"/>
                <a:gd name="connsiteX2265" fmla="*/ 41055 w 1066152"/>
                <a:gd name="connsiteY2265" fmla="*/ 112962 h 802795"/>
                <a:gd name="connsiteX2266" fmla="*/ 39668 w 1066152"/>
                <a:gd name="connsiteY2266" fmla="*/ 113409 h 802795"/>
                <a:gd name="connsiteX2267" fmla="*/ 38187 w 1066152"/>
                <a:gd name="connsiteY2267" fmla="*/ 112891 h 802795"/>
                <a:gd name="connsiteX2268" fmla="*/ 37246 w 1066152"/>
                <a:gd name="connsiteY2268" fmla="*/ 111669 h 802795"/>
                <a:gd name="connsiteX2269" fmla="*/ 36447 w 1066152"/>
                <a:gd name="connsiteY2269" fmla="*/ 110141 h 802795"/>
                <a:gd name="connsiteX2270" fmla="*/ 35412 w 1066152"/>
                <a:gd name="connsiteY2270" fmla="*/ 109341 h 802795"/>
                <a:gd name="connsiteX2271" fmla="*/ 34236 w 1066152"/>
                <a:gd name="connsiteY2271" fmla="*/ 111387 h 802795"/>
                <a:gd name="connsiteX2272" fmla="*/ 34048 w 1066152"/>
                <a:gd name="connsiteY2272" fmla="*/ 112609 h 802795"/>
                <a:gd name="connsiteX2273" fmla="*/ 34824 w 1066152"/>
                <a:gd name="connsiteY2273" fmla="*/ 113432 h 802795"/>
                <a:gd name="connsiteX2274" fmla="*/ 33131 w 1066152"/>
                <a:gd name="connsiteY2274" fmla="*/ 115690 h 802795"/>
                <a:gd name="connsiteX2275" fmla="*/ 32214 w 1066152"/>
                <a:gd name="connsiteY2275" fmla="*/ 116231 h 802795"/>
                <a:gd name="connsiteX2276" fmla="*/ 31086 w 1066152"/>
                <a:gd name="connsiteY2276" fmla="*/ 115431 h 802795"/>
                <a:gd name="connsiteX2277" fmla="*/ 31508 w 1066152"/>
                <a:gd name="connsiteY2277" fmla="*/ 114420 h 802795"/>
                <a:gd name="connsiteX2278" fmla="*/ 30427 w 1066152"/>
                <a:gd name="connsiteY2278" fmla="*/ 114914 h 802795"/>
                <a:gd name="connsiteX2279" fmla="*/ 27840 w 1066152"/>
                <a:gd name="connsiteY2279" fmla="*/ 116771 h 802795"/>
                <a:gd name="connsiteX2280" fmla="*/ 28946 w 1066152"/>
                <a:gd name="connsiteY2280" fmla="*/ 118018 h 802795"/>
                <a:gd name="connsiteX2281" fmla="*/ 28029 w 1066152"/>
                <a:gd name="connsiteY2281" fmla="*/ 118676 h 802795"/>
                <a:gd name="connsiteX2282" fmla="*/ 25207 w 1066152"/>
                <a:gd name="connsiteY2282" fmla="*/ 119428 h 802795"/>
                <a:gd name="connsiteX2283" fmla="*/ 24972 w 1066152"/>
                <a:gd name="connsiteY2283" fmla="*/ 119946 h 802795"/>
                <a:gd name="connsiteX2284" fmla="*/ 24337 w 1066152"/>
                <a:gd name="connsiteY2284" fmla="*/ 122156 h 802795"/>
                <a:gd name="connsiteX2285" fmla="*/ 23679 w 1066152"/>
                <a:gd name="connsiteY2285" fmla="*/ 122391 h 802795"/>
                <a:gd name="connsiteX2286" fmla="*/ 23067 w 1066152"/>
                <a:gd name="connsiteY2286" fmla="*/ 122932 h 802795"/>
                <a:gd name="connsiteX2287" fmla="*/ 21939 w 1066152"/>
                <a:gd name="connsiteY2287" fmla="*/ 124178 h 802795"/>
                <a:gd name="connsiteX2288" fmla="*/ 20787 w 1066152"/>
                <a:gd name="connsiteY2288" fmla="*/ 122979 h 802795"/>
                <a:gd name="connsiteX2289" fmla="*/ 20622 w 1066152"/>
                <a:gd name="connsiteY2289" fmla="*/ 121192 h 802795"/>
                <a:gd name="connsiteX2290" fmla="*/ 20246 w 1066152"/>
                <a:gd name="connsiteY2290" fmla="*/ 119569 h 802795"/>
                <a:gd name="connsiteX2291" fmla="*/ 18482 w 1066152"/>
                <a:gd name="connsiteY2291" fmla="*/ 118864 h 802795"/>
                <a:gd name="connsiteX2292" fmla="*/ 17306 w 1066152"/>
                <a:gd name="connsiteY2292" fmla="*/ 117829 h 802795"/>
                <a:gd name="connsiteX2293" fmla="*/ 17706 w 1066152"/>
                <a:gd name="connsiteY2293" fmla="*/ 115478 h 802795"/>
                <a:gd name="connsiteX2294" fmla="*/ 18835 w 1066152"/>
                <a:gd name="connsiteY2294" fmla="*/ 112962 h 802795"/>
                <a:gd name="connsiteX2295" fmla="*/ 19822 w 1066152"/>
                <a:gd name="connsiteY2295" fmla="*/ 111481 h 802795"/>
                <a:gd name="connsiteX2296" fmla="*/ 19775 w 1066152"/>
                <a:gd name="connsiteY2296" fmla="*/ 110305 h 802795"/>
                <a:gd name="connsiteX2297" fmla="*/ 20033 w 1066152"/>
                <a:gd name="connsiteY2297" fmla="*/ 108847 h 802795"/>
                <a:gd name="connsiteX2298" fmla="*/ 20504 w 1066152"/>
                <a:gd name="connsiteY2298" fmla="*/ 106919 h 802795"/>
                <a:gd name="connsiteX2299" fmla="*/ 21398 w 1066152"/>
                <a:gd name="connsiteY2299" fmla="*/ 105743 h 802795"/>
                <a:gd name="connsiteX2300" fmla="*/ 21774 w 1066152"/>
                <a:gd name="connsiteY2300" fmla="*/ 105061 h 802795"/>
                <a:gd name="connsiteX2301" fmla="*/ 22385 w 1066152"/>
                <a:gd name="connsiteY2301" fmla="*/ 104379 h 802795"/>
                <a:gd name="connsiteX2302" fmla="*/ 23302 w 1066152"/>
                <a:gd name="connsiteY2302" fmla="*/ 104074 h 802795"/>
                <a:gd name="connsiteX2303" fmla="*/ 23490 w 1066152"/>
                <a:gd name="connsiteY2303" fmla="*/ 103862 h 802795"/>
                <a:gd name="connsiteX2304" fmla="*/ 25748 w 1066152"/>
                <a:gd name="connsiteY2304" fmla="*/ 102686 h 802795"/>
                <a:gd name="connsiteX2305" fmla="*/ 27770 w 1066152"/>
                <a:gd name="connsiteY2305" fmla="*/ 100100 h 802795"/>
                <a:gd name="connsiteX2306" fmla="*/ 28946 w 1066152"/>
                <a:gd name="connsiteY2306" fmla="*/ 99088 h 802795"/>
                <a:gd name="connsiteX2307" fmla="*/ 30827 w 1066152"/>
                <a:gd name="connsiteY2307" fmla="*/ 98689 h 802795"/>
                <a:gd name="connsiteX2308" fmla="*/ 31368 w 1066152"/>
                <a:gd name="connsiteY2308" fmla="*/ 98007 h 802795"/>
                <a:gd name="connsiteX2309" fmla="*/ 31861 w 1066152"/>
                <a:gd name="connsiteY2309" fmla="*/ 96478 h 802795"/>
                <a:gd name="connsiteX2310" fmla="*/ 31650 w 1066152"/>
                <a:gd name="connsiteY2310" fmla="*/ 94903 h 802795"/>
                <a:gd name="connsiteX2311" fmla="*/ 30027 w 1066152"/>
                <a:gd name="connsiteY2311" fmla="*/ 94080 h 802795"/>
                <a:gd name="connsiteX2312" fmla="*/ 29698 w 1066152"/>
                <a:gd name="connsiteY2312" fmla="*/ 96314 h 802795"/>
                <a:gd name="connsiteX2313" fmla="*/ 28476 w 1066152"/>
                <a:gd name="connsiteY2313" fmla="*/ 97677 h 802795"/>
                <a:gd name="connsiteX2314" fmla="*/ 26689 w 1066152"/>
                <a:gd name="connsiteY2314" fmla="*/ 98407 h 802795"/>
                <a:gd name="connsiteX2315" fmla="*/ 24619 w 1066152"/>
                <a:gd name="connsiteY2315" fmla="*/ 98689 h 802795"/>
                <a:gd name="connsiteX2316" fmla="*/ 20645 w 1066152"/>
                <a:gd name="connsiteY2316" fmla="*/ 98148 h 802795"/>
                <a:gd name="connsiteX2317" fmla="*/ 19023 w 1066152"/>
                <a:gd name="connsiteY2317" fmla="*/ 98454 h 802795"/>
                <a:gd name="connsiteX2318" fmla="*/ 19282 w 1066152"/>
                <a:gd name="connsiteY2318" fmla="*/ 100076 h 802795"/>
                <a:gd name="connsiteX2319" fmla="*/ 17471 w 1066152"/>
                <a:gd name="connsiteY2319" fmla="*/ 101863 h 802795"/>
                <a:gd name="connsiteX2320" fmla="*/ 16484 w 1066152"/>
                <a:gd name="connsiteY2320" fmla="*/ 102333 h 802795"/>
                <a:gd name="connsiteX2321" fmla="*/ 15002 w 1066152"/>
                <a:gd name="connsiteY2321" fmla="*/ 102075 h 802795"/>
                <a:gd name="connsiteX2322" fmla="*/ 13967 w 1066152"/>
                <a:gd name="connsiteY2322" fmla="*/ 101228 h 802795"/>
                <a:gd name="connsiteX2323" fmla="*/ 13450 w 1066152"/>
                <a:gd name="connsiteY2323" fmla="*/ 99982 h 802795"/>
                <a:gd name="connsiteX2324" fmla="*/ 13027 w 1066152"/>
                <a:gd name="connsiteY2324" fmla="*/ 98407 h 802795"/>
                <a:gd name="connsiteX2325" fmla="*/ 12275 w 1066152"/>
                <a:gd name="connsiteY2325" fmla="*/ 96690 h 802795"/>
                <a:gd name="connsiteX2326" fmla="*/ 13238 w 1066152"/>
                <a:gd name="connsiteY2326" fmla="*/ 96690 h 802795"/>
                <a:gd name="connsiteX2327" fmla="*/ 13967 w 1066152"/>
                <a:gd name="connsiteY2327" fmla="*/ 96314 h 802795"/>
                <a:gd name="connsiteX2328" fmla="*/ 14508 w 1066152"/>
                <a:gd name="connsiteY2328" fmla="*/ 95632 h 802795"/>
                <a:gd name="connsiteX2329" fmla="*/ 14978 w 1066152"/>
                <a:gd name="connsiteY2329" fmla="*/ 94668 h 802795"/>
                <a:gd name="connsiteX2330" fmla="*/ 14344 w 1066152"/>
                <a:gd name="connsiteY2330" fmla="*/ 93539 h 802795"/>
                <a:gd name="connsiteX2331" fmla="*/ 13262 w 1066152"/>
                <a:gd name="connsiteY2331" fmla="*/ 92881 h 802795"/>
                <a:gd name="connsiteX2332" fmla="*/ 11780 w 1066152"/>
                <a:gd name="connsiteY2332" fmla="*/ 92317 h 802795"/>
                <a:gd name="connsiteX2333" fmla="*/ 11710 w 1066152"/>
                <a:gd name="connsiteY2333" fmla="*/ 91541 h 802795"/>
                <a:gd name="connsiteX2334" fmla="*/ 11310 w 1066152"/>
                <a:gd name="connsiteY2334" fmla="*/ 90247 h 802795"/>
                <a:gd name="connsiteX2335" fmla="*/ 11216 w 1066152"/>
                <a:gd name="connsiteY2335" fmla="*/ 89660 h 802795"/>
                <a:gd name="connsiteX2336" fmla="*/ 11381 w 1066152"/>
                <a:gd name="connsiteY2336" fmla="*/ 89284 h 802795"/>
                <a:gd name="connsiteX2337" fmla="*/ 12086 w 1066152"/>
                <a:gd name="connsiteY2337" fmla="*/ 88530 h 802795"/>
                <a:gd name="connsiteX2338" fmla="*/ 12275 w 1066152"/>
                <a:gd name="connsiteY2338" fmla="*/ 87943 h 802795"/>
                <a:gd name="connsiteX2339" fmla="*/ 12369 w 1066152"/>
                <a:gd name="connsiteY2339" fmla="*/ 87050 h 802795"/>
                <a:gd name="connsiteX2340" fmla="*/ 12298 w 1066152"/>
                <a:gd name="connsiteY2340" fmla="*/ 86438 h 802795"/>
                <a:gd name="connsiteX2341" fmla="*/ 11757 w 1066152"/>
                <a:gd name="connsiteY2341" fmla="*/ 86062 h 802795"/>
                <a:gd name="connsiteX2342" fmla="*/ 10417 w 1066152"/>
                <a:gd name="connsiteY2342" fmla="*/ 85944 h 802795"/>
                <a:gd name="connsiteX2343" fmla="*/ 9688 w 1066152"/>
                <a:gd name="connsiteY2343" fmla="*/ 85521 h 802795"/>
                <a:gd name="connsiteX2344" fmla="*/ 8465 w 1066152"/>
                <a:gd name="connsiteY2344" fmla="*/ 83710 h 802795"/>
                <a:gd name="connsiteX2345" fmla="*/ 7501 w 1066152"/>
                <a:gd name="connsiteY2345" fmla="*/ 83311 h 802795"/>
                <a:gd name="connsiteX2346" fmla="*/ 7501 w 1066152"/>
                <a:gd name="connsiteY2346" fmla="*/ 83922 h 802795"/>
                <a:gd name="connsiteX2347" fmla="*/ 7947 w 1066152"/>
                <a:gd name="connsiteY2347" fmla="*/ 84956 h 802795"/>
                <a:gd name="connsiteX2348" fmla="*/ 7501 w 1066152"/>
                <a:gd name="connsiteY2348" fmla="*/ 85521 h 802795"/>
                <a:gd name="connsiteX2349" fmla="*/ 6772 w 1066152"/>
                <a:gd name="connsiteY2349" fmla="*/ 85709 h 802795"/>
                <a:gd name="connsiteX2350" fmla="*/ 6396 w 1066152"/>
                <a:gd name="connsiteY2350" fmla="*/ 85615 h 802795"/>
                <a:gd name="connsiteX2351" fmla="*/ 6066 w 1066152"/>
                <a:gd name="connsiteY2351" fmla="*/ 84322 h 802795"/>
                <a:gd name="connsiteX2352" fmla="*/ 5291 w 1066152"/>
                <a:gd name="connsiteY2352" fmla="*/ 84204 h 802795"/>
                <a:gd name="connsiteX2353" fmla="*/ 4397 w 1066152"/>
                <a:gd name="connsiteY2353" fmla="*/ 84722 h 802795"/>
                <a:gd name="connsiteX2354" fmla="*/ 3715 w 1066152"/>
                <a:gd name="connsiteY2354" fmla="*/ 85309 h 802795"/>
                <a:gd name="connsiteX2355" fmla="*/ 3127 w 1066152"/>
                <a:gd name="connsiteY2355" fmla="*/ 86156 h 802795"/>
                <a:gd name="connsiteX2356" fmla="*/ 2351 w 1066152"/>
                <a:gd name="connsiteY2356" fmla="*/ 88107 h 802795"/>
                <a:gd name="connsiteX2357" fmla="*/ 1834 w 1066152"/>
                <a:gd name="connsiteY2357" fmla="*/ 88977 h 802795"/>
                <a:gd name="connsiteX2358" fmla="*/ 1481 w 1066152"/>
                <a:gd name="connsiteY2358" fmla="*/ 88766 h 802795"/>
                <a:gd name="connsiteX2359" fmla="*/ 705 w 1066152"/>
                <a:gd name="connsiteY2359" fmla="*/ 86485 h 802795"/>
                <a:gd name="connsiteX2360" fmla="*/ 0 w 1066152"/>
                <a:gd name="connsiteY2360" fmla="*/ 85897 h 802795"/>
                <a:gd name="connsiteX2361" fmla="*/ 0 w 1066152"/>
                <a:gd name="connsiteY2361" fmla="*/ 85286 h 802795"/>
                <a:gd name="connsiteX2362" fmla="*/ 517 w 1066152"/>
                <a:gd name="connsiteY2362" fmla="*/ 84345 h 802795"/>
                <a:gd name="connsiteX2363" fmla="*/ 2139 w 1066152"/>
                <a:gd name="connsiteY2363" fmla="*/ 80230 h 802795"/>
                <a:gd name="connsiteX2364" fmla="*/ 2210 w 1066152"/>
                <a:gd name="connsiteY2364" fmla="*/ 79619 h 802795"/>
                <a:gd name="connsiteX2365" fmla="*/ 2375 w 1066152"/>
                <a:gd name="connsiteY2365" fmla="*/ 78843 h 802795"/>
                <a:gd name="connsiteX2366" fmla="*/ 2633 w 1066152"/>
                <a:gd name="connsiteY2366" fmla="*/ 78067 h 802795"/>
                <a:gd name="connsiteX2367" fmla="*/ 2939 w 1066152"/>
                <a:gd name="connsiteY2367" fmla="*/ 77526 h 802795"/>
                <a:gd name="connsiteX2368" fmla="*/ 3245 w 1066152"/>
                <a:gd name="connsiteY2368" fmla="*/ 76656 h 802795"/>
                <a:gd name="connsiteX2369" fmla="*/ 2751 w 1066152"/>
                <a:gd name="connsiteY2369" fmla="*/ 76021 h 802795"/>
                <a:gd name="connsiteX2370" fmla="*/ 1598 w 1066152"/>
                <a:gd name="connsiteY2370" fmla="*/ 75246 h 802795"/>
                <a:gd name="connsiteX2371" fmla="*/ 1011 w 1066152"/>
                <a:gd name="connsiteY2371" fmla="*/ 72918 h 802795"/>
                <a:gd name="connsiteX2372" fmla="*/ 1669 w 1066152"/>
                <a:gd name="connsiteY2372" fmla="*/ 72377 h 802795"/>
                <a:gd name="connsiteX2373" fmla="*/ 2704 w 1066152"/>
                <a:gd name="connsiteY2373" fmla="*/ 72329 h 802795"/>
                <a:gd name="connsiteX2374" fmla="*/ 3245 w 1066152"/>
                <a:gd name="connsiteY2374" fmla="*/ 71460 h 802795"/>
                <a:gd name="connsiteX2375" fmla="*/ 3668 w 1066152"/>
                <a:gd name="connsiteY2375" fmla="*/ 69673 h 802795"/>
                <a:gd name="connsiteX2376" fmla="*/ 4585 w 1066152"/>
                <a:gd name="connsiteY2376" fmla="*/ 68826 h 802795"/>
                <a:gd name="connsiteX2377" fmla="*/ 5502 w 1066152"/>
                <a:gd name="connsiteY2377" fmla="*/ 68214 h 802795"/>
                <a:gd name="connsiteX2378" fmla="*/ 5878 w 1066152"/>
                <a:gd name="connsiteY2378" fmla="*/ 67062 h 802795"/>
                <a:gd name="connsiteX2379" fmla="*/ 7030 w 1066152"/>
                <a:gd name="connsiteY2379" fmla="*/ 67980 h 802795"/>
                <a:gd name="connsiteX2380" fmla="*/ 8065 w 1066152"/>
                <a:gd name="connsiteY2380" fmla="*/ 68238 h 802795"/>
                <a:gd name="connsiteX2381" fmla="*/ 9076 w 1066152"/>
                <a:gd name="connsiteY2381" fmla="*/ 67909 h 802795"/>
                <a:gd name="connsiteX2382" fmla="*/ 10229 w 1066152"/>
                <a:gd name="connsiteY2382" fmla="*/ 67039 h 802795"/>
                <a:gd name="connsiteX2383" fmla="*/ 10652 w 1066152"/>
                <a:gd name="connsiteY2383" fmla="*/ 66521 h 802795"/>
                <a:gd name="connsiteX2384" fmla="*/ 10863 w 1066152"/>
                <a:gd name="connsiteY2384" fmla="*/ 66028 h 802795"/>
                <a:gd name="connsiteX2385" fmla="*/ 11169 w 1066152"/>
                <a:gd name="connsiteY2385" fmla="*/ 65558 h 802795"/>
                <a:gd name="connsiteX2386" fmla="*/ 11874 w 1066152"/>
                <a:gd name="connsiteY2386" fmla="*/ 65040 h 802795"/>
                <a:gd name="connsiteX2387" fmla="*/ 12509 w 1066152"/>
                <a:gd name="connsiteY2387" fmla="*/ 64734 h 802795"/>
                <a:gd name="connsiteX2388" fmla="*/ 13074 w 1066152"/>
                <a:gd name="connsiteY2388" fmla="*/ 64570 h 802795"/>
                <a:gd name="connsiteX2389" fmla="*/ 14484 w 1066152"/>
                <a:gd name="connsiteY2389" fmla="*/ 64429 h 802795"/>
                <a:gd name="connsiteX2390" fmla="*/ 14484 w 1066152"/>
                <a:gd name="connsiteY2390" fmla="*/ 63700 h 802795"/>
                <a:gd name="connsiteX2391" fmla="*/ 13168 w 1066152"/>
                <a:gd name="connsiteY2391" fmla="*/ 64287 h 802795"/>
                <a:gd name="connsiteX2392" fmla="*/ 11404 w 1066152"/>
                <a:gd name="connsiteY2392" fmla="*/ 64664 h 802795"/>
                <a:gd name="connsiteX2393" fmla="*/ 10135 w 1066152"/>
                <a:gd name="connsiteY2393" fmla="*/ 64546 h 802795"/>
                <a:gd name="connsiteX2394" fmla="*/ 10229 w 1066152"/>
                <a:gd name="connsiteY2394" fmla="*/ 63700 h 802795"/>
                <a:gd name="connsiteX2395" fmla="*/ 7736 w 1066152"/>
                <a:gd name="connsiteY2395" fmla="*/ 64876 h 802795"/>
                <a:gd name="connsiteX2396" fmla="*/ 6631 w 1066152"/>
                <a:gd name="connsiteY2396" fmla="*/ 64758 h 802795"/>
                <a:gd name="connsiteX2397" fmla="*/ 5902 w 1066152"/>
                <a:gd name="connsiteY2397" fmla="*/ 63041 h 802795"/>
                <a:gd name="connsiteX2398" fmla="*/ 9617 w 1066152"/>
                <a:gd name="connsiteY2398" fmla="*/ 59773 h 802795"/>
                <a:gd name="connsiteX2399" fmla="*/ 12133 w 1066152"/>
                <a:gd name="connsiteY2399" fmla="*/ 58526 h 802795"/>
                <a:gd name="connsiteX2400" fmla="*/ 15072 w 1066152"/>
                <a:gd name="connsiteY2400" fmla="*/ 59679 h 802795"/>
                <a:gd name="connsiteX2401" fmla="*/ 16413 w 1066152"/>
                <a:gd name="connsiteY2401" fmla="*/ 59679 h 802795"/>
                <a:gd name="connsiteX2402" fmla="*/ 17824 w 1066152"/>
                <a:gd name="connsiteY2402" fmla="*/ 59420 h 802795"/>
                <a:gd name="connsiteX2403" fmla="*/ 18811 w 1066152"/>
                <a:gd name="connsiteY2403" fmla="*/ 59021 h 802795"/>
                <a:gd name="connsiteX2404" fmla="*/ 19799 w 1066152"/>
                <a:gd name="connsiteY2404" fmla="*/ 58197 h 802795"/>
                <a:gd name="connsiteX2405" fmla="*/ 20810 w 1066152"/>
                <a:gd name="connsiteY2405" fmla="*/ 57656 h 802795"/>
                <a:gd name="connsiteX2406" fmla="*/ 21609 w 1066152"/>
                <a:gd name="connsiteY2406" fmla="*/ 56316 h 802795"/>
                <a:gd name="connsiteX2407" fmla="*/ 22009 w 1066152"/>
                <a:gd name="connsiteY2407" fmla="*/ 54858 h 802795"/>
                <a:gd name="connsiteX2408" fmla="*/ 22597 w 1066152"/>
                <a:gd name="connsiteY2408" fmla="*/ 54858 h 802795"/>
                <a:gd name="connsiteX2409" fmla="*/ 24031 w 1066152"/>
                <a:gd name="connsiteY2409" fmla="*/ 56034 h 802795"/>
                <a:gd name="connsiteX2410" fmla="*/ 26124 w 1066152"/>
                <a:gd name="connsiteY2410" fmla="*/ 55963 h 802795"/>
                <a:gd name="connsiteX2411" fmla="*/ 28193 w 1066152"/>
                <a:gd name="connsiteY2411" fmla="*/ 55188 h 802795"/>
                <a:gd name="connsiteX2412" fmla="*/ 29557 w 1066152"/>
                <a:gd name="connsiteY2412" fmla="*/ 54224 h 802795"/>
                <a:gd name="connsiteX2413" fmla="*/ 27911 w 1066152"/>
                <a:gd name="connsiteY2413" fmla="*/ 54318 h 802795"/>
                <a:gd name="connsiteX2414" fmla="*/ 26994 w 1066152"/>
                <a:gd name="connsiteY2414" fmla="*/ 53730 h 802795"/>
                <a:gd name="connsiteX2415" fmla="*/ 25818 w 1066152"/>
                <a:gd name="connsiteY2415" fmla="*/ 51566 h 802795"/>
                <a:gd name="connsiteX2416" fmla="*/ 25466 w 1066152"/>
                <a:gd name="connsiteY2416" fmla="*/ 51566 h 802795"/>
                <a:gd name="connsiteX2417" fmla="*/ 24501 w 1066152"/>
                <a:gd name="connsiteY2417" fmla="*/ 51073 h 802795"/>
                <a:gd name="connsiteX2418" fmla="*/ 23866 w 1066152"/>
                <a:gd name="connsiteY2418" fmla="*/ 50461 h 802795"/>
                <a:gd name="connsiteX2419" fmla="*/ 24431 w 1066152"/>
                <a:gd name="connsiteY2419" fmla="*/ 50179 h 802795"/>
                <a:gd name="connsiteX2420" fmla="*/ 25207 w 1066152"/>
                <a:gd name="connsiteY2420" fmla="*/ 50109 h 802795"/>
                <a:gd name="connsiteX2421" fmla="*/ 28358 w 1066152"/>
                <a:gd name="connsiteY2421" fmla="*/ 48816 h 802795"/>
                <a:gd name="connsiteX2422" fmla="*/ 31673 w 1066152"/>
                <a:gd name="connsiteY2422" fmla="*/ 46746 h 802795"/>
                <a:gd name="connsiteX2423" fmla="*/ 34119 w 1066152"/>
                <a:gd name="connsiteY2423" fmla="*/ 46135 h 802795"/>
                <a:gd name="connsiteX2424" fmla="*/ 34706 w 1066152"/>
                <a:gd name="connsiteY2424" fmla="*/ 45430 h 802795"/>
                <a:gd name="connsiteX2425" fmla="*/ 35318 w 1066152"/>
                <a:gd name="connsiteY2425" fmla="*/ 44935 h 802795"/>
                <a:gd name="connsiteX2426" fmla="*/ 36188 w 1066152"/>
                <a:gd name="connsiteY2426" fmla="*/ 44724 h 802795"/>
                <a:gd name="connsiteX2427" fmla="*/ 37199 w 1066152"/>
                <a:gd name="connsiteY2427" fmla="*/ 45242 h 802795"/>
                <a:gd name="connsiteX2428" fmla="*/ 39668 w 1066152"/>
                <a:gd name="connsiteY2428" fmla="*/ 47545 h 802795"/>
                <a:gd name="connsiteX2429" fmla="*/ 40985 w 1066152"/>
                <a:gd name="connsiteY2429" fmla="*/ 48063 h 802795"/>
                <a:gd name="connsiteX2430" fmla="*/ 42396 w 1066152"/>
                <a:gd name="connsiteY2430" fmla="*/ 48275 h 802795"/>
                <a:gd name="connsiteX2431" fmla="*/ 45429 w 1066152"/>
                <a:gd name="connsiteY2431" fmla="*/ 49192 h 802795"/>
                <a:gd name="connsiteX2432" fmla="*/ 46887 w 1066152"/>
                <a:gd name="connsiteY2432" fmla="*/ 49403 h 802795"/>
                <a:gd name="connsiteX2433" fmla="*/ 49050 w 1066152"/>
                <a:gd name="connsiteY2433" fmla="*/ 48627 h 802795"/>
                <a:gd name="connsiteX2434" fmla="*/ 51824 w 1066152"/>
                <a:gd name="connsiteY2434" fmla="*/ 47169 h 802795"/>
                <a:gd name="connsiteX2435" fmla="*/ 54764 w 1066152"/>
                <a:gd name="connsiteY2435" fmla="*/ 46346 h 802795"/>
                <a:gd name="connsiteX2436" fmla="*/ 57421 w 1066152"/>
                <a:gd name="connsiteY2436" fmla="*/ 47428 h 802795"/>
                <a:gd name="connsiteX2437" fmla="*/ 61536 w 1066152"/>
                <a:gd name="connsiteY2437" fmla="*/ 45617 h 802795"/>
                <a:gd name="connsiteX2438" fmla="*/ 62194 w 1066152"/>
                <a:gd name="connsiteY2438" fmla="*/ 45006 h 802795"/>
                <a:gd name="connsiteX2439" fmla="*/ 62453 w 1066152"/>
                <a:gd name="connsiteY2439" fmla="*/ 44136 h 802795"/>
                <a:gd name="connsiteX2440" fmla="*/ 63088 w 1066152"/>
                <a:gd name="connsiteY2440" fmla="*/ 43384 h 802795"/>
                <a:gd name="connsiteX2441" fmla="*/ 63887 w 1066152"/>
                <a:gd name="connsiteY2441" fmla="*/ 42866 h 802795"/>
                <a:gd name="connsiteX2442" fmla="*/ 65463 w 1066152"/>
                <a:gd name="connsiteY2442" fmla="*/ 42490 h 802795"/>
                <a:gd name="connsiteX2443" fmla="*/ 65792 w 1066152"/>
                <a:gd name="connsiteY2443" fmla="*/ 42090 h 802795"/>
                <a:gd name="connsiteX2444" fmla="*/ 65980 w 1066152"/>
                <a:gd name="connsiteY2444" fmla="*/ 41644 h 802795"/>
                <a:gd name="connsiteX2445" fmla="*/ 66451 w 1066152"/>
                <a:gd name="connsiteY2445" fmla="*/ 41315 h 802795"/>
                <a:gd name="connsiteX2446" fmla="*/ 70730 w 1066152"/>
                <a:gd name="connsiteY2446" fmla="*/ 40280 h 802795"/>
                <a:gd name="connsiteX2447" fmla="*/ 71013 w 1066152"/>
                <a:gd name="connsiteY2447" fmla="*/ 41573 h 802795"/>
                <a:gd name="connsiteX2448" fmla="*/ 71718 w 1066152"/>
                <a:gd name="connsiteY2448" fmla="*/ 42537 h 802795"/>
                <a:gd name="connsiteX2449" fmla="*/ 73458 w 1066152"/>
                <a:gd name="connsiteY2449" fmla="*/ 43948 h 802795"/>
                <a:gd name="connsiteX2450" fmla="*/ 74469 w 1066152"/>
                <a:gd name="connsiteY2450" fmla="*/ 42843 h 802795"/>
                <a:gd name="connsiteX2451" fmla="*/ 74751 w 1066152"/>
                <a:gd name="connsiteY2451" fmla="*/ 41949 h 802795"/>
                <a:gd name="connsiteX2452" fmla="*/ 74539 w 1066152"/>
                <a:gd name="connsiteY2452" fmla="*/ 39622 h 802795"/>
                <a:gd name="connsiteX2453" fmla="*/ 75245 w 1066152"/>
                <a:gd name="connsiteY2453" fmla="*/ 38352 h 802795"/>
                <a:gd name="connsiteX2454" fmla="*/ 76821 w 1066152"/>
                <a:gd name="connsiteY2454" fmla="*/ 38611 h 802795"/>
                <a:gd name="connsiteX2455" fmla="*/ 79101 w 1066152"/>
                <a:gd name="connsiteY2455" fmla="*/ 39951 h 802795"/>
                <a:gd name="connsiteX2456" fmla="*/ 80230 w 1066152"/>
                <a:gd name="connsiteY2456" fmla="*/ 40303 h 802795"/>
                <a:gd name="connsiteX2457" fmla="*/ 80723 w 1066152"/>
                <a:gd name="connsiteY2457" fmla="*/ 41197 h 802795"/>
                <a:gd name="connsiteX2458" fmla="*/ 81006 w 1066152"/>
                <a:gd name="connsiteY2458" fmla="*/ 42302 h 802795"/>
                <a:gd name="connsiteX2459" fmla="*/ 81523 w 1066152"/>
                <a:gd name="connsiteY2459" fmla="*/ 43360 h 802795"/>
                <a:gd name="connsiteX2460" fmla="*/ 83333 w 1066152"/>
                <a:gd name="connsiteY2460" fmla="*/ 45006 h 802795"/>
                <a:gd name="connsiteX2461" fmla="*/ 84133 w 1066152"/>
                <a:gd name="connsiteY2461" fmla="*/ 45970 h 802795"/>
                <a:gd name="connsiteX2462" fmla="*/ 84698 w 1066152"/>
                <a:gd name="connsiteY2462" fmla="*/ 47451 h 802795"/>
                <a:gd name="connsiteX2463" fmla="*/ 85285 w 1066152"/>
                <a:gd name="connsiteY2463" fmla="*/ 45877 h 802795"/>
                <a:gd name="connsiteX2464" fmla="*/ 85239 w 1066152"/>
                <a:gd name="connsiteY2464" fmla="*/ 44371 h 802795"/>
                <a:gd name="connsiteX2465" fmla="*/ 84674 w 1066152"/>
                <a:gd name="connsiteY2465" fmla="*/ 41338 h 802795"/>
                <a:gd name="connsiteX2466" fmla="*/ 84721 w 1066152"/>
                <a:gd name="connsiteY2466" fmla="*/ 39833 h 802795"/>
                <a:gd name="connsiteX2467" fmla="*/ 85097 w 1066152"/>
                <a:gd name="connsiteY2467" fmla="*/ 38939 h 802795"/>
                <a:gd name="connsiteX2468" fmla="*/ 85944 w 1066152"/>
                <a:gd name="connsiteY2468" fmla="*/ 38234 h 802795"/>
                <a:gd name="connsiteX2469" fmla="*/ 87402 w 1066152"/>
                <a:gd name="connsiteY2469" fmla="*/ 37294 h 802795"/>
                <a:gd name="connsiteX2470" fmla="*/ 85873 w 1066152"/>
                <a:gd name="connsiteY2470" fmla="*/ 36611 h 802795"/>
                <a:gd name="connsiteX2471" fmla="*/ 84462 w 1066152"/>
                <a:gd name="connsiteY2471" fmla="*/ 36447 h 802795"/>
                <a:gd name="connsiteX2472" fmla="*/ 81805 w 1066152"/>
                <a:gd name="connsiteY2472" fmla="*/ 36659 h 802795"/>
                <a:gd name="connsiteX2473" fmla="*/ 80418 w 1066152"/>
                <a:gd name="connsiteY2473" fmla="*/ 36235 h 802795"/>
                <a:gd name="connsiteX2474" fmla="*/ 78537 w 1066152"/>
                <a:gd name="connsiteY2474" fmla="*/ 34378 h 802795"/>
                <a:gd name="connsiteX2475" fmla="*/ 77243 w 1066152"/>
                <a:gd name="connsiteY2475" fmla="*/ 33907 h 802795"/>
                <a:gd name="connsiteX2476" fmla="*/ 78702 w 1066152"/>
                <a:gd name="connsiteY2476" fmla="*/ 32826 h 802795"/>
                <a:gd name="connsiteX2477" fmla="*/ 86579 w 1066152"/>
                <a:gd name="connsiteY2477" fmla="*/ 31885 h 802795"/>
                <a:gd name="connsiteX2478" fmla="*/ 87120 w 1066152"/>
                <a:gd name="connsiteY2478" fmla="*/ 31721 h 802795"/>
                <a:gd name="connsiteX2479" fmla="*/ 87684 w 1066152"/>
                <a:gd name="connsiteY2479" fmla="*/ 31250 h 802795"/>
                <a:gd name="connsiteX2480" fmla="*/ 88037 w 1066152"/>
                <a:gd name="connsiteY2480" fmla="*/ 30592 h 802795"/>
                <a:gd name="connsiteX2481" fmla="*/ 87919 w 1066152"/>
                <a:gd name="connsiteY2481" fmla="*/ 29840 h 802795"/>
                <a:gd name="connsiteX2482" fmla="*/ 87542 w 1066152"/>
                <a:gd name="connsiteY2482" fmla="*/ 29769 h 802795"/>
                <a:gd name="connsiteX2483" fmla="*/ 85732 w 1066152"/>
                <a:gd name="connsiteY2483" fmla="*/ 30521 h 802795"/>
                <a:gd name="connsiteX2484" fmla="*/ 80982 w 1066152"/>
                <a:gd name="connsiteY2484" fmla="*/ 31250 h 802795"/>
                <a:gd name="connsiteX2485" fmla="*/ 81264 w 1066152"/>
                <a:gd name="connsiteY2485" fmla="*/ 30897 h 802795"/>
                <a:gd name="connsiteX2486" fmla="*/ 81476 w 1066152"/>
                <a:gd name="connsiteY2486" fmla="*/ 30733 h 802795"/>
                <a:gd name="connsiteX2487" fmla="*/ 82041 w 1066152"/>
                <a:gd name="connsiteY2487" fmla="*/ 30521 h 802795"/>
                <a:gd name="connsiteX2488" fmla="*/ 81735 w 1066152"/>
                <a:gd name="connsiteY2488" fmla="*/ 30263 h 802795"/>
                <a:gd name="connsiteX2489" fmla="*/ 80982 w 1066152"/>
                <a:gd name="connsiteY2489" fmla="*/ 29840 h 802795"/>
                <a:gd name="connsiteX2490" fmla="*/ 80065 w 1066152"/>
                <a:gd name="connsiteY2490" fmla="*/ 31133 h 802795"/>
                <a:gd name="connsiteX2491" fmla="*/ 78513 w 1066152"/>
                <a:gd name="connsiteY2491" fmla="*/ 31721 h 802795"/>
                <a:gd name="connsiteX2492" fmla="*/ 75057 w 1066152"/>
                <a:gd name="connsiteY2492" fmla="*/ 31861 h 802795"/>
                <a:gd name="connsiteX2493" fmla="*/ 75668 w 1066152"/>
                <a:gd name="connsiteY2493" fmla="*/ 30356 h 802795"/>
                <a:gd name="connsiteX2494" fmla="*/ 75950 w 1066152"/>
                <a:gd name="connsiteY2494" fmla="*/ 28287 h 802795"/>
                <a:gd name="connsiteX2495" fmla="*/ 76350 w 1066152"/>
                <a:gd name="connsiteY2495" fmla="*/ 26806 h 802795"/>
                <a:gd name="connsiteX2496" fmla="*/ 77243 w 1066152"/>
                <a:gd name="connsiteY2496" fmla="*/ 27159 h 802795"/>
                <a:gd name="connsiteX2497" fmla="*/ 78255 w 1066152"/>
                <a:gd name="connsiteY2497" fmla="*/ 25819 h 802795"/>
                <a:gd name="connsiteX2498" fmla="*/ 77620 w 1066152"/>
                <a:gd name="connsiteY2498" fmla="*/ 25302 h 802795"/>
                <a:gd name="connsiteX2499" fmla="*/ 76985 w 1066152"/>
                <a:gd name="connsiteY2499" fmla="*/ 24502 h 802795"/>
                <a:gd name="connsiteX2500" fmla="*/ 76608 w 1066152"/>
                <a:gd name="connsiteY2500" fmla="*/ 23514 h 802795"/>
                <a:gd name="connsiteX2501" fmla="*/ 76656 w 1066152"/>
                <a:gd name="connsiteY2501" fmla="*/ 22456 h 802795"/>
                <a:gd name="connsiteX2502" fmla="*/ 76961 w 1066152"/>
                <a:gd name="connsiteY2502" fmla="*/ 22456 h 802795"/>
                <a:gd name="connsiteX2503" fmla="*/ 78325 w 1066152"/>
                <a:gd name="connsiteY2503" fmla="*/ 22668 h 802795"/>
                <a:gd name="connsiteX2504" fmla="*/ 78842 w 1066152"/>
                <a:gd name="connsiteY2504" fmla="*/ 22456 h 802795"/>
                <a:gd name="connsiteX2505" fmla="*/ 80700 w 1066152"/>
                <a:gd name="connsiteY2505" fmla="*/ 22715 h 802795"/>
                <a:gd name="connsiteX2506" fmla="*/ 82934 w 1066152"/>
                <a:gd name="connsiteY2506" fmla="*/ 21633 h 802795"/>
                <a:gd name="connsiteX2507" fmla="*/ 94315 w 1066152"/>
                <a:gd name="connsiteY2507" fmla="*/ 13614 h 802795"/>
                <a:gd name="connsiteX2508" fmla="*/ 94597 w 1066152"/>
                <a:gd name="connsiteY2508" fmla="*/ 14720 h 802795"/>
                <a:gd name="connsiteX2509" fmla="*/ 95255 w 1066152"/>
                <a:gd name="connsiteY2509" fmla="*/ 15308 h 802795"/>
                <a:gd name="connsiteX2510" fmla="*/ 96125 w 1066152"/>
                <a:gd name="connsiteY2510" fmla="*/ 15378 h 802795"/>
                <a:gd name="connsiteX2511" fmla="*/ 97042 w 1066152"/>
                <a:gd name="connsiteY2511" fmla="*/ 15002 h 802795"/>
                <a:gd name="connsiteX2512" fmla="*/ 96219 w 1066152"/>
                <a:gd name="connsiteY2512" fmla="*/ 15049 h 802795"/>
                <a:gd name="connsiteX2513" fmla="*/ 95960 w 1066152"/>
                <a:gd name="connsiteY2513" fmla="*/ 15002 h 802795"/>
                <a:gd name="connsiteX2514" fmla="*/ 95960 w 1066152"/>
                <a:gd name="connsiteY2514" fmla="*/ 14368 h 802795"/>
                <a:gd name="connsiteX2515" fmla="*/ 96290 w 1066152"/>
                <a:gd name="connsiteY2515" fmla="*/ 14179 h 802795"/>
                <a:gd name="connsiteX2516" fmla="*/ 96666 w 1066152"/>
                <a:gd name="connsiteY2516" fmla="*/ 13850 h 802795"/>
                <a:gd name="connsiteX2517" fmla="*/ 97019 w 1066152"/>
                <a:gd name="connsiteY2517" fmla="*/ 13639 h 802795"/>
                <a:gd name="connsiteX2518" fmla="*/ 95514 w 1066152"/>
                <a:gd name="connsiteY2518" fmla="*/ 12510 h 802795"/>
                <a:gd name="connsiteX2519" fmla="*/ 95302 w 1066152"/>
                <a:gd name="connsiteY2519" fmla="*/ 11451 h 802795"/>
                <a:gd name="connsiteX2520" fmla="*/ 95678 w 1066152"/>
                <a:gd name="connsiteY2520" fmla="*/ 10393 h 802795"/>
                <a:gd name="connsiteX2521" fmla="*/ 95960 w 1066152"/>
                <a:gd name="connsiteY2521" fmla="*/ 9241 h 802795"/>
                <a:gd name="connsiteX2522" fmla="*/ 96455 w 1066152"/>
                <a:gd name="connsiteY2522" fmla="*/ 8395 h 802795"/>
                <a:gd name="connsiteX2523" fmla="*/ 97607 w 1066152"/>
                <a:gd name="connsiteY2523" fmla="*/ 8136 h 802795"/>
                <a:gd name="connsiteX2524" fmla="*/ 100217 w 1066152"/>
                <a:gd name="connsiteY2524" fmla="*/ 8183 h 802795"/>
                <a:gd name="connsiteX2525" fmla="*/ 102545 w 1066152"/>
                <a:gd name="connsiteY2525" fmla="*/ 7572 h 802795"/>
                <a:gd name="connsiteX2526" fmla="*/ 104755 w 1066152"/>
                <a:gd name="connsiteY2526" fmla="*/ 6349 h 802795"/>
                <a:gd name="connsiteX2527" fmla="*/ 106706 w 1066152"/>
                <a:gd name="connsiteY2527" fmla="*/ 4703 h 802795"/>
                <a:gd name="connsiteX2528" fmla="*/ 108235 w 1066152"/>
                <a:gd name="connsiteY2528" fmla="*/ 2751 h 802795"/>
                <a:gd name="connsiteX2529" fmla="*/ 110399 w 1066152"/>
                <a:gd name="connsiteY2529" fmla="*/ 3057 h 802795"/>
                <a:gd name="connsiteX2530" fmla="*/ 111316 w 1066152"/>
                <a:gd name="connsiteY2530" fmla="*/ 4491 h 802795"/>
                <a:gd name="connsiteX2531" fmla="*/ 111903 w 1066152"/>
                <a:gd name="connsiteY2531" fmla="*/ 6231 h 802795"/>
                <a:gd name="connsiteX2532" fmla="*/ 113079 w 1066152"/>
                <a:gd name="connsiteY2532" fmla="*/ 7549 h 802795"/>
                <a:gd name="connsiteX2533" fmla="*/ 113079 w 1066152"/>
                <a:gd name="connsiteY2533" fmla="*/ 8159 h 802795"/>
                <a:gd name="connsiteX2534" fmla="*/ 112633 w 1066152"/>
                <a:gd name="connsiteY2534" fmla="*/ 7925 h 802795"/>
                <a:gd name="connsiteX2535" fmla="*/ 111856 w 1066152"/>
                <a:gd name="connsiteY2535" fmla="*/ 7713 h 802795"/>
                <a:gd name="connsiteX2536" fmla="*/ 111433 w 1066152"/>
                <a:gd name="connsiteY2536" fmla="*/ 7549 h 802795"/>
                <a:gd name="connsiteX2537" fmla="*/ 110892 w 1066152"/>
                <a:gd name="connsiteY2537" fmla="*/ 8395 h 802795"/>
                <a:gd name="connsiteX2538" fmla="*/ 110516 w 1066152"/>
                <a:gd name="connsiteY2538" fmla="*/ 9288 h 802795"/>
                <a:gd name="connsiteX2539" fmla="*/ 110469 w 1066152"/>
                <a:gd name="connsiteY2539" fmla="*/ 10135 h 802795"/>
                <a:gd name="connsiteX2540" fmla="*/ 110940 w 1066152"/>
                <a:gd name="connsiteY2540" fmla="*/ 10864 h 802795"/>
                <a:gd name="connsiteX2541" fmla="*/ 110140 w 1066152"/>
                <a:gd name="connsiteY2541" fmla="*/ 11451 h 802795"/>
                <a:gd name="connsiteX2542" fmla="*/ 109881 w 1066152"/>
                <a:gd name="connsiteY2542" fmla="*/ 11334 h 802795"/>
                <a:gd name="connsiteX2543" fmla="*/ 109293 w 1066152"/>
                <a:gd name="connsiteY2543" fmla="*/ 10864 h 802795"/>
                <a:gd name="connsiteX2544" fmla="*/ 108800 w 1066152"/>
                <a:gd name="connsiteY2544" fmla="*/ 11334 h 802795"/>
                <a:gd name="connsiteX2545" fmla="*/ 108587 w 1066152"/>
                <a:gd name="connsiteY2545" fmla="*/ 11475 h 802795"/>
                <a:gd name="connsiteX2546" fmla="*/ 108211 w 1066152"/>
                <a:gd name="connsiteY2546" fmla="*/ 11593 h 802795"/>
                <a:gd name="connsiteX2547" fmla="*/ 108211 w 1066152"/>
                <a:gd name="connsiteY2547" fmla="*/ 12274 h 802795"/>
                <a:gd name="connsiteX2548" fmla="*/ 112138 w 1066152"/>
                <a:gd name="connsiteY2548" fmla="*/ 12463 h 802795"/>
                <a:gd name="connsiteX2549" fmla="*/ 112867 w 1066152"/>
                <a:gd name="connsiteY2549" fmla="*/ 11733 h 802795"/>
                <a:gd name="connsiteX2550" fmla="*/ 111433 w 1066152"/>
                <a:gd name="connsiteY2550" fmla="*/ 9570 h 802795"/>
                <a:gd name="connsiteX2551" fmla="*/ 112350 w 1066152"/>
                <a:gd name="connsiteY2551" fmla="*/ 8983 h 802795"/>
                <a:gd name="connsiteX2552" fmla="*/ 113291 w 1066152"/>
                <a:gd name="connsiteY2552" fmla="*/ 8935 h 802795"/>
                <a:gd name="connsiteX2553" fmla="*/ 115219 w 1066152"/>
                <a:gd name="connsiteY2553" fmla="*/ 9570 h 802795"/>
                <a:gd name="connsiteX2554" fmla="*/ 115055 w 1066152"/>
                <a:gd name="connsiteY2554" fmla="*/ 9241 h 802795"/>
                <a:gd name="connsiteX2555" fmla="*/ 114842 w 1066152"/>
                <a:gd name="connsiteY2555" fmla="*/ 8512 h 802795"/>
                <a:gd name="connsiteX2556" fmla="*/ 114678 w 1066152"/>
                <a:gd name="connsiteY2556" fmla="*/ 8159 h 802795"/>
                <a:gd name="connsiteX2557" fmla="*/ 115783 w 1066152"/>
                <a:gd name="connsiteY2557" fmla="*/ 7031 h 802795"/>
                <a:gd name="connsiteX2558" fmla="*/ 117194 w 1066152"/>
                <a:gd name="connsiteY2558" fmla="*/ 5926 h 802795"/>
                <a:gd name="connsiteX2559" fmla="*/ 118769 w 1066152"/>
                <a:gd name="connsiteY2559" fmla="*/ 5079 h 802795"/>
                <a:gd name="connsiteX2560" fmla="*/ 121873 w 1066152"/>
                <a:gd name="connsiteY2560" fmla="*/ 4327 h 802795"/>
                <a:gd name="connsiteX2561" fmla="*/ 123543 w 1066152"/>
                <a:gd name="connsiteY2561" fmla="*/ 3269 h 802795"/>
                <a:gd name="connsiteX2562" fmla="*/ 124883 w 1066152"/>
                <a:gd name="connsiteY2562" fmla="*/ 1858 h 802795"/>
                <a:gd name="connsiteX2563" fmla="*/ 125424 w 1066152"/>
                <a:gd name="connsiteY2563" fmla="*/ 352 h 80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Lst>
              <a:rect l="l" t="t" r="r" b="b"/>
              <a:pathLst>
                <a:path w="1066152" h="802795">
                  <a:moveTo>
                    <a:pt x="390333" y="802678"/>
                  </a:moveTo>
                  <a:lnTo>
                    <a:pt x="390475" y="802678"/>
                  </a:lnTo>
                  <a:lnTo>
                    <a:pt x="390475" y="802701"/>
                  </a:lnTo>
                  <a:lnTo>
                    <a:pt x="390592" y="802701"/>
                  </a:lnTo>
                  <a:lnTo>
                    <a:pt x="390733" y="802748"/>
                  </a:lnTo>
                  <a:lnTo>
                    <a:pt x="390663" y="802795"/>
                  </a:lnTo>
                  <a:lnTo>
                    <a:pt x="390522" y="802795"/>
                  </a:lnTo>
                  <a:lnTo>
                    <a:pt x="390404" y="802748"/>
                  </a:lnTo>
                  <a:close/>
                  <a:moveTo>
                    <a:pt x="536802" y="801478"/>
                  </a:moveTo>
                  <a:lnTo>
                    <a:pt x="537038" y="801831"/>
                  </a:lnTo>
                  <a:lnTo>
                    <a:pt x="536662" y="802137"/>
                  </a:lnTo>
                  <a:lnTo>
                    <a:pt x="536309" y="801925"/>
                  </a:lnTo>
                  <a:lnTo>
                    <a:pt x="536426" y="801572"/>
                  </a:lnTo>
                  <a:lnTo>
                    <a:pt x="536426" y="801549"/>
                  </a:lnTo>
                  <a:close/>
                  <a:moveTo>
                    <a:pt x="421654" y="798892"/>
                  </a:moveTo>
                  <a:lnTo>
                    <a:pt x="421654" y="798939"/>
                  </a:lnTo>
                  <a:lnTo>
                    <a:pt x="421608" y="798986"/>
                  </a:lnTo>
                  <a:lnTo>
                    <a:pt x="421560" y="798939"/>
                  </a:lnTo>
                  <a:lnTo>
                    <a:pt x="421583" y="798939"/>
                  </a:lnTo>
                  <a:close/>
                  <a:moveTo>
                    <a:pt x="421678" y="798703"/>
                  </a:moveTo>
                  <a:lnTo>
                    <a:pt x="421725" y="798703"/>
                  </a:lnTo>
                  <a:lnTo>
                    <a:pt x="421796" y="798703"/>
                  </a:lnTo>
                  <a:lnTo>
                    <a:pt x="421796" y="798751"/>
                  </a:lnTo>
                  <a:lnTo>
                    <a:pt x="421678" y="798751"/>
                  </a:lnTo>
                  <a:close/>
                  <a:moveTo>
                    <a:pt x="496265" y="788875"/>
                  </a:moveTo>
                  <a:lnTo>
                    <a:pt x="498286" y="792543"/>
                  </a:lnTo>
                  <a:lnTo>
                    <a:pt x="498286" y="792519"/>
                  </a:lnTo>
                  <a:lnTo>
                    <a:pt x="498969" y="793507"/>
                  </a:lnTo>
                  <a:lnTo>
                    <a:pt x="496617" y="794306"/>
                  </a:lnTo>
                  <a:lnTo>
                    <a:pt x="494994" y="792684"/>
                  </a:lnTo>
                  <a:lnTo>
                    <a:pt x="494760" y="790262"/>
                  </a:lnTo>
                  <a:close/>
                  <a:moveTo>
                    <a:pt x="303002" y="737214"/>
                  </a:moveTo>
                  <a:lnTo>
                    <a:pt x="303214" y="737403"/>
                  </a:lnTo>
                  <a:lnTo>
                    <a:pt x="303073" y="737637"/>
                  </a:lnTo>
                  <a:lnTo>
                    <a:pt x="302885" y="737567"/>
                  </a:lnTo>
                  <a:lnTo>
                    <a:pt x="302838" y="737332"/>
                  </a:lnTo>
                  <a:close/>
                  <a:moveTo>
                    <a:pt x="305612" y="736274"/>
                  </a:moveTo>
                  <a:lnTo>
                    <a:pt x="307094" y="736415"/>
                  </a:lnTo>
                  <a:lnTo>
                    <a:pt x="308834" y="737309"/>
                  </a:lnTo>
                  <a:lnTo>
                    <a:pt x="310122" y="738206"/>
                  </a:lnTo>
                  <a:lnTo>
                    <a:pt x="310103" y="738202"/>
                  </a:lnTo>
                  <a:lnTo>
                    <a:pt x="310151" y="738226"/>
                  </a:lnTo>
                  <a:lnTo>
                    <a:pt x="310122" y="738206"/>
                  </a:lnTo>
                  <a:lnTo>
                    <a:pt x="311514" y="738508"/>
                  </a:lnTo>
                  <a:lnTo>
                    <a:pt x="313560" y="737567"/>
                  </a:lnTo>
                  <a:lnTo>
                    <a:pt x="312878" y="739424"/>
                  </a:lnTo>
                  <a:lnTo>
                    <a:pt x="309468" y="741917"/>
                  </a:lnTo>
                  <a:lnTo>
                    <a:pt x="309069" y="743234"/>
                  </a:lnTo>
                  <a:lnTo>
                    <a:pt x="307329" y="741776"/>
                  </a:lnTo>
                  <a:lnTo>
                    <a:pt x="306130" y="740201"/>
                  </a:lnTo>
                  <a:lnTo>
                    <a:pt x="305236" y="738414"/>
                  </a:lnTo>
                  <a:lnTo>
                    <a:pt x="304531" y="736415"/>
                  </a:lnTo>
                  <a:close/>
                  <a:moveTo>
                    <a:pt x="668247" y="570687"/>
                  </a:moveTo>
                  <a:lnTo>
                    <a:pt x="668341" y="570852"/>
                  </a:lnTo>
                  <a:lnTo>
                    <a:pt x="668341" y="571088"/>
                  </a:lnTo>
                  <a:lnTo>
                    <a:pt x="668435" y="571275"/>
                  </a:lnTo>
                  <a:lnTo>
                    <a:pt x="668693" y="571675"/>
                  </a:lnTo>
                  <a:lnTo>
                    <a:pt x="669164" y="572616"/>
                  </a:lnTo>
                  <a:lnTo>
                    <a:pt x="669540" y="573157"/>
                  </a:lnTo>
                  <a:lnTo>
                    <a:pt x="668834" y="575155"/>
                  </a:lnTo>
                  <a:lnTo>
                    <a:pt x="668976" y="577248"/>
                  </a:lnTo>
                  <a:lnTo>
                    <a:pt x="670034" y="580610"/>
                  </a:lnTo>
                  <a:lnTo>
                    <a:pt x="668435" y="578941"/>
                  </a:lnTo>
                  <a:lnTo>
                    <a:pt x="668435" y="578917"/>
                  </a:lnTo>
                  <a:lnTo>
                    <a:pt x="668105" y="576260"/>
                  </a:lnTo>
                  <a:lnTo>
                    <a:pt x="668176" y="573297"/>
                  </a:lnTo>
                  <a:lnTo>
                    <a:pt x="667846" y="570735"/>
                  </a:lnTo>
                  <a:close/>
                  <a:moveTo>
                    <a:pt x="839123" y="481146"/>
                  </a:moveTo>
                  <a:lnTo>
                    <a:pt x="839217" y="481287"/>
                  </a:lnTo>
                  <a:lnTo>
                    <a:pt x="839217" y="481498"/>
                  </a:lnTo>
                  <a:lnTo>
                    <a:pt x="839288" y="481710"/>
                  </a:lnTo>
                  <a:lnTo>
                    <a:pt x="843097" y="486742"/>
                  </a:lnTo>
                  <a:lnTo>
                    <a:pt x="846248" y="488294"/>
                  </a:lnTo>
                  <a:lnTo>
                    <a:pt x="846271" y="488246"/>
                  </a:lnTo>
                  <a:lnTo>
                    <a:pt x="849328" y="487001"/>
                  </a:lnTo>
                  <a:lnTo>
                    <a:pt x="850645" y="488529"/>
                  </a:lnTo>
                  <a:lnTo>
                    <a:pt x="850574" y="490528"/>
                  </a:lnTo>
                  <a:lnTo>
                    <a:pt x="848717" y="490927"/>
                  </a:lnTo>
                  <a:lnTo>
                    <a:pt x="846060" y="490881"/>
                  </a:lnTo>
                  <a:lnTo>
                    <a:pt x="842204" y="488553"/>
                  </a:lnTo>
                  <a:lnTo>
                    <a:pt x="840934" y="487942"/>
                  </a:lnTo>
                  <a:lnTo>
                    <a:pt x="839429" y="488952"/>
                  </a:lnTo>
                  <a:lnTo>
                    <a:pt x="838676" y="489446"/>
                  </a:lnTo>
                  <a:lnTo>
                    <a:pt x="837407" y="491163"/>
                  </a:lnTo>
                  <a:lnTo>
                    <a:pt x="836160" y="491868"/>
                  </a:lnTo>
                  <a:lnTo>
                    <a:pt x="835056" y="491562"/>
                  </a:lnTo>
                  <a:lnTo>
                    <a:pt x="835408" y="489705"/>
                  </a:lnTo>
                  <a:lnTo>
                    <a:pt x="835079" y="489000"/>
                  </a:lnTo>
                  <a:lnTo>
                    <a:pt x="835079" y="488035"/>
                  </a:lnTo>
                  <a:lnTo>
                    <a:pt x="835479" y="487424"/>
                  </a:lnTo>
                  <a:lnTo>
                    <a:pt x="835878" y="486578"/>
                  </a:lnTo>
                  <a:lnTo>
                    <a:pt x="835878" y="485849"/>
                  </a:lnTo>
                  <a:lnTo>
                    <a:pt x="835314" y="485520"/>
                  </a:lnTo>
                  <a:lnTo>
                    <a:pt x="835032" y="485167"/>
                  </a:lnTo>
                  <a:lnTo>
                    <a:pt x="835479" y="484461"/>
                  </a:lnTo>
                  <a:lnTo>
                    <a:pt x="836442" y="483427"/>
                  </a:lnTo>
                  <a:lnTo>
                    <a:pt x="837007" y="483968"/>
                  </a:lnTo>
                  <a:lnTo>
                    <a:pt x="837806" y="483662"/>
                  </a:lnTo>
                  <a:lnTo>
                    <a:pt x="838559" y="482603"/>
                  </a:lnTo>
                  <a:lnTo>
                    <a:pt x="838818" y="481193"/>
                  </a:lnTo>
                  <a:close/>
                  <a:moveTo>
                    <a:pt x="845919" y="447639"/>
                  </a:moveTo>
                  <a:lnTo>
                    <a:pt x="847048" y="447709"/>
                  </a:lnTo>
                  <a:lnTo>
                    <a:pt x="848341" y="448672"/>
                  </a:lnTo>
                  <a:lnTo>
                    <a:pt x="848881" y="448837"/>
                  </a:lnTo>
                  <a:lnTo>
                    <a:pt x="850292" y="448931"/>
                  </a:lnTo>
                  <a:lnTo>
                    <a:pt x="851186" y="449119"/>
                  </a:lnTo>
                  <a:lnTo>
                    <a:pt x="851844" y="449566"/>
                  </a:lnTo>
                  <a:lnTo>
                    <a:pt x="852479" y="450201"/>
                  </a:lnTo>
                  <a:lnTo>
                    <a:pt x="852080" y="451024"/>
                  </a:lnTo>
                  <a:lnTo>
                    <a:pt x="852009" y="451000"/>
                  </a:lnTo>
                  <a:lnTo>
                    <a:pt x="852479" y="452858"/>
                  </a:lnTo>
                  <a:lnTo>
                    <a:pt x="853749" y="455915"/>
                  </a:lnTo>
                  <a:lnTo>
                    <a:pt x="852456" y="455986"/>
                  </a:lnTo>
                  <a:lnTo>
                    <a:pt x="851421" y="456738"/>
                  </a:lnTo>
                  <a:lnTo>
                    <a:pt x="850739" y="457914"/>
                  </a:lnTo>
                  <a:lnTo>
                    <a:pt x="850480" y="459348"/>
                  </a:lnTo>
                  <a:lnTo>
                    <a:pt x="850081" y="459913"/>
                  </a:lnTo>
                  <a:lnTo>
                    <a:pt x="847353" y="461582"/>
                  </a:lnTo>
                  <a:lnTo>
                    <a:pt x="844908" y="465038"/>
                  </a:lnTo>
                  <a:lnTo>
                    <a:pt x="843920" y="465815"/>
                  </a:lnTo>
                  <a:lnTo>
                    <a:pt x="841757" y="466873"/>
                  </a:lnTo>
                  <a:lnTo>
                    <a:pt x="840910" y="467813"/>
                  </a:lnTo>
                  <a:lnTo>
                    <a:pt x="840628" y="467460"/>
                  </a:lnTo>
                  <a:lnTo>
                    <a:pt x="840111" y="467014"/>
                  </a:lnTo>
                  <a:lnTo>
                    <a:pt x="839852" y="466614"/>
                  </a:lnTo>
                  <a:lnTo>
                    <a:pt x="838559" y="468143"/>
                  </a:lnTo>
                  <a:lnTo>
                    <a:pt x="837477" y="468683"/>
                  </a:lnTo>
                  <a:lnTo>
                    <a:pt x="836654" y="471811"/>
                  </a:lnTo>
                  <a:lnTo>
                    <a:pt x="836560" y="474068"/>
                  </a:lnTo>
                  <a:lnTo>
                    <a:pt x="834020" y="474115"/>
                  </a:lnTo>
                  <a:lnTo>
                    <a:pt x="833245" y="472258"/>
                  </a:lnTo>
                  <a:lnTo>
                    <a:pt x="831881" y="471293"/>
                  </a:lnTo>
                  <a:lnTo>
                    <a:pt x="830729" y="471717"/>
                  </a:lnTo>
                  <a:lnTo>
                    <a:pt x="830212" y="471717"/>
                  </a:lnTo>
                  <a:lnTo>
                    <a:pt x="829929" y="471599"/>
                  </a:lnTo>
                  <a:lnTo>
                    <a:pt x="829859" y="471529"/>
                  </a:lnTo>
                  <a:lnTo>
                    <a:pt x="829083" y="471717"/>
                  </a:lnTo>
                  <a:lnTo>
                    <a:pt x="828495" y="470541"/>
                  </a:lnTo>
                  <a:lnTo>
                    <a:pt x="827178" y="470164"/>
                  </a:lnTo>
                  <a:lnTo>
                    <a:pt x="825861" y="470565"/>
                  </a:lnTo>
                  <a:lnTo>
                    <a:pt x="825344" y="471717"/>
                  </a:lnTo>
                  <a:lnTo>
                    <a:pt x="822851" y="470164"/>
                  </a:lnTo>
                  <a:lnTo>
                    <a:pt x="821958" y="469201"/>
                  </a:lnTo>
                  <a:lnTo>
                    <a:pt x="821605" y="467531"/>
                  </a:lnTo>
                  <a:lnTo>
                    <a:pt x="822546" y="465320"/>
                  </a:lnTo>
                  <a:lnTo>
                    <a:pt x="822805" y="463980"/>
                  </a:lnTo>
                  <a:lnTo>
                    <a:pt x="822076" y="462852"/>
                  </a:lnTo>
                  <a:lnTo>
                    <a:pt x="822734" y="462287"/>
                  </a:lnTo>
                  <a:lnTo>
                    <a:pt x="823510" y="461840"/>
                  </a:lnTo>
                  <a:lnTo>
                    <a:pt x="824404" y="461723"/>
                  </a:lnTo>
                  <a:lnTo>
                    <a:pt x="825320" y="462217"/>
                  </a:lnTo>
                  <a:lnTo>
                    <a:pt x="825884" y="461746"/>
                  </a:lnTo>
                  <a:lnTo>
                    <a:pt x="826637" y="461582"/>
                  </a:lnTo>
                  <a:lnTo>
                    <a:pt x="828519" y="461582"/>
                  </a:lnTo>
                  <a:lnTo>
                    <a:pt x="827836" y="457702"/>
                  </a:lnTo>
                  <a:lnTo>
                    <a:pt x="827884" y="455539"/>
                  </a:lnTo>
                  <a:lnTo>
                    <a:pt x="828801" y="454598"/>
                  </a:lnTo>
                  <a:lnTo>
                    <a:pt x="829835" y="454222"/>
                  </a:lnTo>
                  <a:lnTo>
                    <a:pt x="831011" y="453328"/>
                  </a:lnTo>
                  <a:lnTo>
                    <a:pt x="832916" y="451447"/>
                  </a:lnTo>
                  <a:lnTo>
                    <a:pt x="833409" y="451447"/>
                  </a:lnTo>
                  <a:lnTo>
                    <a:pt x="834138" y="452036"/>
                  </a:lnTo>
                  <a:lnTo>
                    <a:pt x="835690" y="450930"/>
                  </a:lnTo>
                  <a:lnTo>
                    <a:pt x="836584" y="451447"/>
                  </a:lnTo>
                  <a:lnTo>
                    <a:pt x="838135" y="450248"/>
                  </a:lnTo>
                  <a:lnTo>
                    <a:pt x="840299" y="449213"/>
                  </a:lnTo>
                  <a:lnTo>
                    <a:pt x="842486" y="448672"/>
                  </a:lnTo>
                  <a:lnTo>
                    <a:pt x="844108" y="448931"/>
                  </a:lnTo>
                  <a:lnTo>
                    <a:pt x="844814" y="448061"/>
                  </a:lnTo>
                  <a:close/>
                  <a:moveTo>
                    <a:pt x="959985" y="441501"/>
                  </a:moveTo>
                  <a:lnTo>
                    <a:pt x="960362" y="443288"/>
                  </a:lnTo>
                  <a:lnTo>
                    <a:pt x="960127" y="445781"/>
                  </a:lnTo>
                  <a:lnTo>
                    <a:pt x="958551" y="447921"/>
                  </a:lnTo>
                  <a:lnTo>
                    <a:pt x="956106" y="447732"/>
                  </a:lnTo>
                  <a:lnTo>
                    <a:pt x="954766" y="444605"/>
                  </a:lnTo>
                  <a:lnTo>
                    <a:pt x="956858" y="442747"/>
                  </a:lnTo>
                  <a:close/>
                  <a:moveTo>
                    <a:pt x="975575" y="368608"/>
                  </a:moveTo>
                  <a:lnTo>
                    <a:pt x="976633" y="369877"/>
                  </a:lnTo>
                  <a:lnTo>
                    <a:pt x="977034" y="369478"/>
                  </a:lnTo>
                  <a:lnTo>
                    <a:pt x="977268" y="369359"/>
                  </a:lnTo>
                  <a:lnTo>
                    <a:pt x="978280" y="369854"/>
                  </a:lnTo>
                  <a:lnTo>
                    <a:pt x="977456" y="370418"/>
                  </a:lnTo>
                  <a:lnTo>
                    <a:pt x="974706" y="371617"/>
                  </a:lnTo>
                  <a:lnTo>
                    <a:pt x="973694" y="371829"/>
                  </a:lnTo>
                  <a:lnTo>
                    <a:pt x="972542" y="372393"/>
                  </a:lnTo>
                  <a:lnTo>
                    <a:pt x="971484" y="373451"/>
                  </a:lnTo>
                  <a:lnTo>
                    <a:pt x="970543" y="374180"/>
                  </a:lnTo>
                  <a:lnTo>
                    <a:pt x="969673" y="373733"/>
                  </a:lnTo>
                  <a:lnTo>
                    <a:pt x="969086" y="373733"/>
                  </a:lnTo>
                  <a:lnTo>
                    <a:pt x="968921" y="376767"/>
                  </a:lnTo>
                  <a:lnTo>
                    <a:pt x="971696" y="377213"/>
                  </a:lnTo>
                  <a:lnTo>
                    <a:pt x="977692" y="375662"/>
                  </a:lnTo>
                  <a:lnTo>
                    <a:pt x="977692" y="376249"/>
                  </a:lnTo>
                  <a:lnTo>
                    <a:pt x="976915" y="376790"/>
                  </a:lnTo>
                  <a:lnTo>
                    <a:pt x="976822" y="377402"/>
                  </a:lnTo>
                  <a:lnTo>
                    <a:pt x="976892" y="378107"/>
                  </a:lnTo>
                  <a:lnTo>
                    <a:pt x="976633" y="378813"/>
                  </a:lnTo>
                  <a:lnTo>
                    <a:pt x="976163" y="379306"/>
                  </a:lnTo>
                  <a:lnTo>
                    <a:pt x="975716" y="379589"/>
                  </a:lnTo>
                  <a:lnTo>
                    <a:pt x="974447" y="380105"/>
                  </a:lnTo>
                  <a:lnTo>
                    <a:pt x="971978" y="380693"/>
                  </a:lnTo>
                  <a:lnTo>
                    <a:pt x="971414" y="381399"/>
                  </a:lnTo>
                  <a:lnTo>
                    <a:pt x="971296" y="383351"/>
                  </a:lnTo>
                  <a:lnTo>
                    <a:pt x="972213" y="385443"/>
                  </a:lnTo>
                  <a:lnTo>
                    <a:pt x="974259" y="387277"/>
                  </a:lnTo>
                  <a:lnTo>
                    <a:pt x="976775" y="388594"/>
                  </a:lnTo>
                  <a:lnTo>
                    <a:pt x="979055" y="389088"/>
                  </a:lnTo>
                  <a:lnTo>
                    <a:pt x="984417" y="389088"/>
                  </a:lnTo>
                  <a:lnTo>
                    <a:pt x="985780" y="388594"/>
                  </a:lnTo>
                  <a:lnTo>
                    <a:pt x="988156" y="386360"/>
                  </a:lnTo>
                  <a:lnTo>
                    <a:pt x="989260" y="385843"/>
                  </a:lnTo>
                  <a:lnTo>
                    <a:pt x="991494" y="386454"/>
                  </a:lnTo>
                  <a:lnTo>
                    <a:pt x="995915" y="388876"/>
                  </a:lnTo>
                  <a:lnTo>
                    <a:pt x="996056" y="388994"/>
                  </a:lnTo>
                  <a:lnTo>
                    <a:pt x="998760" y="389205"/>
                  </a:lnTo>
                  <a:lnTo>
                    <a:pt x="998313" y="390170"/>
                  </a:lnTo>
                  <a:lnTo>
                    <a:pt x="998384" y="390945"/>
                  </a:lnTo>
                  <a:lnTo>
                    <a:pt x="998643" y="391651"/>
                  </a:lnTo>
                  <a:lnTo>
                    <a:pt x="998784" y="392404"/>
                  </a:lnTo>
                  <a:lnTo>
                    <a:pt x="998478" y="392897"/>
                  </a:lnTo>
                  <a:lnTo>
                    <a:pt x="997985" y="393273"/>
                  </a:lnTo>
                  <a:lnTo>
                    <a:pt x="997772" y="393862"/>
                  </a:lnTo>
                  <a:lnTo>
                    <a:pt x="998243" y="395037"/>
                  </a:lnTo>
                  <a:lnTo>
                    <a:pt x="997185" y="397624"/>
                  </a:lnTo>
                  <a:lnTo>
                    <a:pt x="996362" y="398917"/>
                  </a:lnTo>
                  <a:lnTo>
                    <a:pt x="995327" y="399458"/>
                  </a:lnTo>
                  <a:lnTo>
                    <a:pt x="994010" y="399905"/>
                  </a:lnTo>
                  <a:lnTo>
                    <a:pt x="993141" y="401010"/>
                  </a:lnTo>
                  <a:lnTo>
                    <a:pt x="992882" y="402444"/>
                  </a:lnTo>
                  <a:lnTo>
                    <a:pt x="993446" y="403902"/>
                  </a:lnTo>
                  <a:lnTo>
                    <a:pt x="990272" y="406606"/>
                  </a:lnTo>
                  <a:lnTo>
                    <a:pt x="986980" y="410251"/>
                  </a:lnTo>
                  <a:lnTo>
                    <a:pt x="984510" y="414719"/>
                  </a:lnTo>
                  <a:lnTo>
                    <a:pt x="983782" y="419892"/>
                  </a:lnTo>
                  <a:lnTo>
                    <a:pt x="983005" y="419445"/>
                  </a:lnTo>
                  <a:lnTo>
                    <a:pt x="982700" y="419186"/>
                  </a:lnTo>
                  <a:lnTo>
                    <a:pt x="981431" y="423019"/>
                  </a:lnTo>
                  <a:lnTo>
                    <a:pt x="978961" y="425464"/>
                  </a:lnTo>
                  <a:lnTo>
                    <a:pt x="971790" y="429556"/>
                  </a:lnTo>
                  <a:lnTo>
                    <a:pt x="968780" y="431930"/>
                  </a:lnTo>
                  <a:lnTo>
                    <a:pt x="968169" y="432848"/>
                  </a:lnTo>
                  <a:lnTo>
                    <a:pt x="967839" y="433154"/>
                  </a:lnTo>
                  <a:lnTo>
                    <a:pt x="967134" y="433623"/>
                  </a:lnTo>
                  <a:lnTo>
                    <a:pt x="966405" y="433859"/>
                  </a:lnTo>
                  <a:lnTo>
                    <a:pt x="966075" y="433483"/>
                  </a:lnTo>
                  <a:lnTo>
                    <a:pt x="963935" y="430567"/>
                  </a:lnTo>
                  <a:lnTo>
                    <a:pt x="963442" y="430237"/>
                  </a:lnTo>
                  <a:lnTo>
                    <a:pt x="962219" y="429721"/>
                  </a:lnTo>
                  <a:lnTo>
                    <a:pt x="961749" y="429344"/>
                  </a:lnTo>
                  <a:lnTo>
                    <a:pt x="961396" y="428475"/>
                  </a:lnTo>
                  <a:lnTo>
                    <a:pt x="961232" y="427463"/>
                  </a:lnTo>
                  <a:lnTo>
                    <a:pt x="960973" y="426593"/>
                  </a:lnTo>
                  <a:lnTo>
                    <a:pt x="960409" y="426217"/>
                  </a:lnTo>
                  <a:lnTo>
                    <a:pt x="959657" y="426005"/>
                  </a:lnTo>
                  <a:lnTo>
                    <a:pt x="958434" y="425111"/>
                  </a:lnTo>
                  <a:lnTo>
                    <a:pt x="957751" y="424900"/>
                  </a:lnTo>
                  <a:lnTo>
                    <a:pt x="956812" y="424994"/>
                  </a:lnTo>
                  <a:lnTo>
                    <a:pt x="955565" y="425417"/>
                  </a:lnTo>
                  <a:lnTo>
                    <a:pt x="954812" y="425512"/>
                  </a:lnTo>
                  <a:lnTo>
                    <a:pt x="947993" y="425065"/>
                  </a:lnTo>
                  <a:lnTo>
                    <a:pt x="944960" y="423913"/>
                  </a:lnTo>
                  <a:lnTo>
                    <a:pt x="943009" y="421655"/>
                  </a:lnTo>
                  <a:lnTo>
                    <a:pt x="942185" y="416576"/>
                  </a:lnTo>
                  <a:lnTo>
                    <a:pt x="941033" y="415894"/>
                  </a:lnTo>
                  <a:lnTo>
                    <a:pt x="941268" y="414389"/>
                  </a:lnTo>
                  <a:lnTo>
                    <a:pt x="942468" y="412132"/>
                  </a:lnTo>
                  <a:lnTo>
                    <a:pt x="941574" y="410204"/>
                  </a:lnTo>
                  <a:lnTo>
                    <a:pt x="939341" y="408346"/>
                  </a:lnTo>
                  <a:lnTo>
                    <a:pt x="936730" y="406935"/>
                  </a:lnTo>
                  <a:lnTo>
                    <a:pt x="934661" y="406371"/>
                  </a:lnTo>
                  <a:lnTo>
                    <a:pt x="932944" y="406864"/>
                  </a:lnTo>
                  <a:lnTo>
                    <a:pt x="927912" y="409451"/>
                  </a:lnTo>
                  <a:lnTo>
                    <a:pt x="926854" y="410509"/>
                  </a:lnTo>
                  <a:lnTo>
                    <a:pt x="926008" y="413025"/>
                  </a:lnTo>
                  <a:lnTo>
                    <a:pt x="924079" y="414883"/>
                  </a:lnTo>
                  <a:lnTo>
                    <a:pt x="921916" y="415118"/>
                  </a:lnTo>
                  <a:lnTo>
                    <a:pt x="920435" y="412743"/>
                  </a:lnTo>
                  <a:lnTo>
                    <a:pt x="920271" y="412532"/>
                  </a:lnTo>
                  <a:lnTo>
                    <a:pt x="920059" y="411802"/>
                  </a:lnTo>
                  <a:lnTo>
                    <a:pt x="920317" y="411215"/>
                  </a:lnTo>
                  <a:lnTo>
                    <a:pt x="920976" y="410839"/>
                  </a:lnTo>
                  <a:lnTo>
                    <a:pt x="918883" y="408864"/>
                  </a:lnTo>
                  <a:lnTo>
                    <a:pt x="918248" y="409663"/>
                  </a:lnTo>
                  <a:lnTo>
                    <a:pt x="917637" y="409992"/>
                  </a:lnTo>
                  <a:lnTo>
                    <a:pt x="917096" y="409757"/>
                  </a:lnTo>
                  <a:lnTo>
                    <a:pt x="916696" y="408864"/>
                  </a:lnTo>
                  <a:lnTo>
                    <a:pt x="914533" y="410015"/>
                  </a:lnTo>
                  <a:lnTo>
                    <a:pt x="914016" y="410133"/>
                  </a:lnTo>
                  <a:lnTo>
                    <a:pt x="913263" y="409616"/>
                  </a:lnTo>
                  <a:lnTo>
                    <a:pt x="912605" y="407946"/>
                  </a:lnTo>
                  <a:lnTo>
                    <a:pt x="911194" y="406888"/>
                  </a:lnTo>
                  <a:lnTo>
                    <a:pt x="910794" y="405219"/>
                  </a:lnTo>
                  <a:lnTo>
                    <a:pt x="910865" y="403338"/>
                  </a:lnTo>
                  <a:lnTo>
                    <a:pt x="911335" y="401927"/>
                  </a:lnTo>
                  <a:lnTo>
                    <a:pt x="916931" y="398705"/>
                  </a:lnTo>
                  <a:lnTo>
                    <a:pt x="918578" y="398352"/>
                  </a:lnTo>
                  <a:lnTo>
                    <a:pt x="919964" y="397506"/>
                  </a:lnTo>
                  <a:lnTo>
                    <a:pt x="923821" y="393720"/>
                  </a:lnTo>
                  <a:lnTo>
                    <a:pt x="924973" y="393133"/>
                  </a:lnTo>
                  <a:lnTo>
                    <a:pt x="926525" y="392921"/>
                  </a:lnTo>
                  <a:lnTo>
                    <a:pt x="927889" y="392521"/>
                  </a:lnTo>
                  <a:lnTo>
                    <a:pt x="929205" y="391510"/>
                  </a:lnTo>
                  <a:lnTo>
                    <a:pt x="931627" y="389088"/>
                  </a:lnTo>
                  <a:lnTo>
                    <a:pt x="931957" y="388641"/>
                  </a:lnTo>
                  <a:lnTo>
                    <a:pt x="932521" y="387489"/>
                  </a:lnTo>
                  <a:lnTo>
                    <a:pt x="932686" y="387183"/>
                  </a:lnTo>
                  <a:lnTo>
                    <a:pt x="933062" y="387089"/>
                  </a:lnTo>
                  <a:lnTo>
                    <a:pt x="933955" y="387254"/>
                  </a:lnTo>
                  <a:lnTo>
                    <a:pt x="934308" y="387160"/>
                  </a:lnTo>
                  <a:lnTo>
                    <a:pt x="936189" y="385396"/>
                  </a:lnTo>
                  <a:lnTo>
                    <a:pt x="936424" y="384949"/>
                  </a:lnTo>
                  <a:lnTo>
                    <a:pt x="936777" y="384738"/>
                  </a:lnTo>
                  <a:lnTo>
                    <a:pt x="938376" y="383068"/>
                  </a:lnTo>
                  <a:lnTo>
                    <a:pt x="938894" y="382669"/>
                  </a:lnTo>
                  <a:lnTo>
                    <a:pt x="939458" y="382504"/>
                  </a:lnTo>
                  <a:lnTo>
                    <a:pt x="941763" y="381446"/>
                  </a:lnTo>
                  <a:lnTo>
                    <a:pt x="942891" y="380623"/>
                  </a:lnTo>
                  <a:lnTo>
                    <a:pt x="943784" y="379777"/>
                  </a:lnTo>
                  <a:lnTo>
                    <a:pt x="944701" y="379118"/>
                  </a:lnTo>
                  <a:lnTo>
                    <a:pt x="945878" y="378836"/>
                  </a:lnTo>
                  <a:lnTo>
                    <a:pt x="946160" y="378648"/>
                  </a:lnTo>
                  <a:lnTo>
                    <a:pt x="946653" y="377825"/>
                  </a:lnTo>
                  <a:lnTo>
                    <a:pt x="946935" y="377613"/>
                  </a:lnTo>
                  <a:lnTo>
                    <a:pt x="948582" y="377754"/>
                  </a:lnTo>
                  <a:lnTo>
                    <a:pt x="949310" y="377613"/>
                  </a:lnTo>
                  <a:lnTo>
                    <a:pt x="951615" y="376602"/>
                  </a:lnTo>
                  <a:lnTo>
                    <a:pt x="956317" y="373687"/>
                  </a:lnTo>
                  <a:lnTo>
                    <a:pt x="958739" y="373098"/>
                  </a:lnTo>
                  <a:lnTo>
                    <a:pt x="963136" y="372699"/>
                  </a:lnTo>
                  <a:lnTo>
                    <a:pt x="967463" y="371664"/>
                  </a:lnTo>
                  <a:close/>
                  <a:moveTo>
                    <a:pt x="1047975" y="358238"/>
                  </a:moveTo>
                  <a:lnTo>
                    <a:pt x="1048187" y="359342"/>
                  </a:lnTo>
                  <a:lnTo>
                    <a:pt x="1048892" y="360095"/>
                  </a:lnTo>
                  <a:lnTo>
                    <a:pt x="1050632" y="361388"/>
                  </a:lnTo>
                  <a:lnTo>
                    <a:pt x="1050468" y="361670"/>
                  </a:lnTo>
                  <a:lnTo>
                    <a:pt x="1050303" y="362353"/>
                  </a:lnTo>
                  <a:lnTo>
                    <a:pt x="1050350" y="363058"/>
                  </a:lnTo>
                  <a:lnTo>
                    <a:pt x="1050891" y="363363"/>
                  </a:lnTo>
                  <a:lnTo>
                    <a:pt x="1051385" y="363081"/>
                  </a:lnTo>
                  <a:lnTo>
                    <a:pt x="1051973" y="362446"/>
                  </a:lnTo>
                  <a:lnTo>
                    <a:pt x="1052748" y="361388"/>
                  </a:lnTo>
                  <a:lnTo>
                    <a:pt x="1052584" y="360025"/>
                  </a:lnTo>
                  <a:lnTo>
                    <a:pt x="1053101" y="359649"/>
                  </a:lnTo>
                  <a:lnTo>
                    <a:pt x="1053572" y="360142"/>
                  </a:lnTo>
                  <a:lnTo>
                    <a:pt x="1053266" y="361388"/>
                  </a:lnTo>
                  <a:lnTo>
                    <a:pt x="1053736" y="362047"/>
                  </a:lnTo>
                  <a:lnTo>
                    <a:pt x="1055923" y="363363"/>
                  </a:lnTo>
                  <a:lnTo>
                    <a:pt x="1056370" y="364069"/>
                  </a:lnTo>
                  <a:lnTo>
                    <a:pt x="1056723" y="364515"/>
                  </a:lnTo>
                  <a:lnTo>
                    <a:pt x="1057522" y="365244"/>
                  </a:lnTo>
                  <a:lnTo>
                    <a:pt x="1057945" y="365433"/>
                  </a:lnTo>
                  <a:lnTo>
                    <a:pt x="1059097" y="365645"/>
                  </a:lnTo>
                  <a:lnTo>
                    <a:pt x="1059662" y="365927"/>
                  </a:lnTo>
                  <a:lnTo>
                    <a:pt x="1060461" y="366961"/>
                  </a:lnTo>
                  <a:lnTo>
                    <a:pt x="1061120" y="368513"/>
                  </a:lnTo>
                  <a:lnTo>
                    <a:pt x="1061049" y="369877"/>
                  </a:lnTo>
                  <a:lnTo>
                    <a:pt x="1059662" y="370394"/>
                  </a:lnTo>
                  <a:lnTo>
                    <a:pt x="1060884" y="370959"/>
                  </a:lnTo>
                  <a:lnTo>
                    <a:pt x="1062107" y="370888"/>
                  </a:lnTo>
                  <a:lnTo>
                    <a:pt x="1063047" y="371123"/>
                  </a:lnTo>
                  <a:lnTo>
                    <a:pt x="1063424" y="372675"/>
                  </a:lnTo>
                  <a:lnTo>
                    <a:pt x="1063777" y="374063"/>
                  </a:lnTo>
                  <a:lnTo>
                    <a:pt x="1065446" y="376602"/>
                  </a:lnTo>
                  <a:lnTo>
                    <a:pt x="1065494" y="376578"/>
                  </a:lnTo>
                  <a:lnTo>
                    <a:pt x="1066152" y="378107"/>
                  </a:lnTo>
                  <a:lnTo>
                    <a:pt x="1065611" y="378107"/>
                  </a:lnTo>
                  <a:lnTo>
                    <a:pt x="1065305" y="377519"/>
                  </a:lnTo>
                  <a:lnTo>
                    <a:pt x="1064788" y="376978"/>
                  </a:lnTo>
                  <a:lnTo>
                    <a:pt x="1064176" y="376531"/>
                  </a:lnTo>
                  <a:lnTo>
                    <a:pt x="1063471" y="376203"/>
                  </a:lnTo>
                  <a:lnTo>
                    <a:pt x="1063236" y="382339"/>
                  </a:lnTo>
                  <a:lnTo>
                    <a:pt x="1059168" y="382833"/>
                  </a:lnTo>
                  <a:lnTo>
                    <a:pt x="1053618" y="380318"/>
                  </a:lnTo>
                  <a:lnTo>
                    <a:pt x="1040945" y="372605"/>
                  </a:lnTo>
                  <a:lnTo>
                    <a:pt x="1038311" y="371641"/>
                  </a:lnTo>
                  <a:lnTo>
                    <a:pt x="1035183" y="371570"/>
                  </a:lnTo>
                  <a:lnTo>
                    <a:pt x="1029563" y="372628"/>
                  </a:lnTo>
                  <a:lnTo>
                    <a:pt x="1026530" y="371641"/>
                  </a:lnTo>
                  <a:lnTo>
                    <a:pt x="1026859" y="370535"/>
                  </a:lnTo>
                  <a:lnTo>
                    <a:pt x="1026930" y="369195"/>
                  </a:lnTo>
                  <a:lnTo>
                    <a:pt x="1027189" y="367949"/>
                  </a:lnTo>
                  <a:lnTo>
                    <a:pt x="1028082" y="367173"/>
                  </a:lnTo>
                  <a:lnTo>
                    <a:pt x="1027448" y="366655"/>
                  </a:lnTo>
                  <a:lnTo>
                    <a:pt x="1025849" y="366115"/>
                  </a:lnTo>
                  <a:lnTo>
                    <a:pt x="1025143" y="365551"/>
                  </a:lnTo>
                  <a:lnTo>
                    <a:pt x="1024367" y="364422"/>
                  </a:lnTo>
                  <a:lnTo>
                    <a:pt x="1024367" y="363975"/>
                  </a:lnTo>
                  <a:lnTo>
                    <a:pt x="1024673" y="363482"/>
                  </a:lnTo>
                  <a:lnTo>
                    <a:pt x="1024861" y="362353"/>
                  </a:lnTo>
                  <a:lnTo>
                    <a:pt x="1025825" y="361200"/>
                  </a:lnTo>
                  <a:lnTo>
                    <a:pt x="1031280" y="360095"/>
                  </a:lnTo>
                  <a:lnTo>
                    <a:pt x="1033138" y="360801"/>
                  </a:lnTo>
                  <a:lnTo>
                    <a:pt x="1040686" y="360095"/>
                  </a:lnTo>
                  <a:lnTo>
                    <a:pt x="1043813" y="360236"/>
                  </a:lnTo>
                  <a:lnTo>
                    <a:pt x="1044707" y="360095"/>
                  </a:lnTo>
                  <a:lnTo>
                    <a:pt x="1045812" y="359672"/>
                  </a:lnTo>
                  <a:lnTo>
                    <a:pt x="1047129" y="358684"/>
                  </a:lnTo>
                  <a:close/>
                  <a:moveTo>
                    <a:pt x="880766" y="128599"/>
                  </a:moveTo>
                  <a:lnTo>
                    <a:pt x="881566" y="129633"/>
                  </a:lnTo>
                  <a:lnTo>
                    <a:pt x="882365" y="131280"/>
                  </a:lnTo>
                  <a:lnTo>
                    <a:pt x="883236" y="132666"/>
                  </a:lnTo>
                  <a:lnTo>
                    <a:pt x="882977" y="132760"/>
                  </a:lnTo>
                  <a:lnTo>
                    <a:pt x="882201" y="132902"/>
                  </a:lnTo>
                  <a:lnTo>
                    <a:pt x="881989" y="132902"/>
                  </a:lnTo>
                  <a:lnTo>
                    <a:pt x="880202" y="132666"/>
                  </a:lnTo>
                  <a:lnTo>
                    <a:pt x="879168" y="131938"/>
                  </a:lnTo>
                  <a:lnTo>
                    <a:pt x="879027" y="130715"/>
                  </a:lnTo>
                  <a:lnTo>
                    <a:pt x="879873" y="128975"/>
                  </a:lnTo>
                  <a:close/>
                  <a:moveTo>
                    <a:pt x="125682" y="0"/>
                  </a:moveTo>
                  <a:lnTo>
                    <a:pt x="126247" y="282"/>
                  </a:lnTo>
                  <a:lnTo>
                    <a:pt x="126788" y="1035"/>
                  </a:lnTo>
                  <a:lnTo>
                    <a:pt x="127022" y="2069"/>
                  </a:lnTo>
                  <a:lnTo>
                    <a:pt x="126694" y="2657"/>
                  </a:lnTo>
                  <a:lnTo>
                    <a:pt x="124883" y="4727"/>
                  </a:lnTo>
                  <a:lnTo>
                    <a:pt x="124836" y="6161"/>
                  </a:lnTo>
                  <a:lnTo>
                    <a:pt x="125189" y="6584"/>
                  </a:lnTo>
                  <a:lnTo>
                    <a:pt x="125776" y="6443"/>
                  </a:lnTo>
                  <a:lnTo>
                    <a:pt x="126458" y="6161"/>
                  </a:lnTo>
                  <a:lnTo>
                    <a:pt x="126576" y="5879"/>
                  </a:lnTo>
                  <a:lnTo>
                    <a:pt x="126529" y="5409"/>
                  </a:lnTo>
                  <a:lnTo>
                    <a:pt x="126670" y="4938"/>
                  </a:lnTo>
                  <a:lnTo>
                    <a:pt x="127281" y="4727"/>
                  </a:lnTo>
                  <a:lnTo>
                    <a:pt x="127799" y="4656"/>
                  </a:lnTo>
                  <a:lnTo>
                    <a:pt x="129139" y="4044"/>
                  </a:lnTo>
                  <a:lnTo>
                    <a:pt x="129421" y="5385"/>
                  </a:lnTo>
                  <a:lnTo>
                    <a:pt x="131350" y="8842"/>
                  </a:lnTo>
                  <a:lnTo>
                    <a:pt x="131114" y="10417"/>
                  </a:lnTo>
                  <a:lnTo>
                    <a:pt x="131797" y="10158"/>
                  </a:lnTo>
                  <a:lnTo>
                    <a:pt x="132784" y="8912"/>
                  </a:lnTo>
                  <a:lnTo>
                    <a:pt x="133419" y="7501"/>
                  </a:lnTo>
                  <a:lnTo>
                    <a:pt x="134359" y="7831"/>
                  </a:lnTo>
                  <a:lnTo>
                    <a:pt x="135041" y="7313"/>
                  </a:lnTo>
                  <a:lnTo>
                    <a:pt x="135793" y="6537"/>
                  </a:lnTo>
                  <a:lnTo>
                    <a:pt x="136922" y="6138"/>
                  </a:lnTo>
                  <a:lnTo>
                    <a:pt x="140002" y="6467"/>
                  </a:lnTo>
                  <a:lnTo>
                    <a:pt x="140920" y="6772"/>
                  </a:lnTo>
                  <a:lnTo>
                    <a:pt x="147386" y="10158"/>
                  </a:lnTo>
                  <a:lnTo>
                    <a:pt x="150560" y="11263"/>
                  </a:lnTo>
                  <a:lnTo>
                    <a:pt x="155498" y="19352"/>
                  </a:lnTo>
                  <a:lnTo>
                    <a:pt x="159191" y="21022"/>
                  </a:lnTo>
                  <a:lnTo>
                    <a:pt x="158908" y="21422"/>
                  </a:lnTo>
                  <a:lnTo>
                    <a:pt x="158744" y="21751"/>
                  </a:lnTo>
                  <a:lnTo>
                    <a:pt x="158531" y="22033"/>
                  </a:lnTo>
                  <a:lnTo>
                    <a:pt x="158061" y="22315"/>
                  </a:lnTo>
                  <a:lnTo>
                    <a:pt x="158061" y="23067"/>
                  </a:lnTo>
                  <a:lnTo>
                    <a:pt x="159096" y="23514"/>
                  </a:lnTo>
                  <a:lnTo>
                    <a:pt x="159731" y="23232"/>
                  </a:lnTo>
                  <a:lnTo>
                    <a:pt x="160319" y="22691"/>
                  </a:lnTo>
                  <a:lnTo>
                    <a:pt x="161236" y="22315"/>
                  </a:lnTo>
                  <a:lnTo>
                    <a:pt x="162388" y="22315"/>
                  </a:lnTo>
                  <a:lnTo>
                    <a:pt x="164010" y="22832"/>
                  </a:lnTo>
                  <a:lnTo>
                    <a:pt x="166973" y="23255"/>
                  </a:lnTo>
                  <a:lnTo>
                    <a:pt x="171747" y="23091"/>
                  </a:lnTo>
                  <a:lnTo>
                    <a:pt x="173040" y="22339"/>
                  </a:lnTo>
                  <a:lnTo>
                    <a:pt x="174427" y="23044"/>
                  </a:lnTo>
                  <a:lnTo>
                    <a:pt x="175768" y="23255"/>
                  </a:lnTo>
                  <a:lnTo>
                    <a:pt x="176708" y="23890"/>
                  </a:lnTo>
                  <a:lnTo>
                    <a:pt x="176826" y="25842"/>
                  </a:lnTo>
                  <a:lnTo>
                    <a:pt x="176285" y="26947"/>
                  </a:lnTo>
                  <a:lnTo>
                    <a:pt x="175462" y="28123"/>
                  </a:lnTo>
                  <a:lnTo>
                    <a:pt x="175039" y="29487"/>
                  </a:lnTo>
                  <a:lnTo>
                    <a:pt x="175744" y="31203"/>
                  </a:lnTo>
                  <a:lnTo>
                    <a:pt x="176238" y="31203"/>
                  </a:lnTo>
                  <a:lnTo>
                    <a:pt x="176685" y="29604"/>
                  </a:lnTo>
                  <a:lnTo>
                    <a:pt x="176943" y="27959"/>
                  </a:lnTo>
                  <a:lnTo>
                    <a:pt x="177390" y="26594"/>
                  </a:lnTo>
                  <a:lnTo>
                    <a:pt x="178449" y="25866"/>
                  </a:lnTo>
                  <a:lnTo>
                    <a:pt x="179154" y="23561"/>
                  </a:lnTo>
                  <a:lnTo>
                    <a:pt x="183645" y="22644"/>
                  </a:lnTo>
                  <a:lnTo>
                    <a:pt x="191310" y="22385"/>
                  </a:lnTo>
                  <a:lnTo>
                    <a:pt x="192510" y="22738"/>
                  </a:lnTo>
                  <a:lnTo>
                    <a:pt x="197189" y="22385"/>
                  </a:lnTo>
                  <a:lnTo>
                    <a:pt x="200410" y="23279"/>
                  </a:lnTo>
                  <a:lnTo>
                    <a:pt x="202433" y="23491"/>
                  </a:lnTo>
                  <a:lnTo>
                    <a:pt x="206736" y="21374"/>
                  </a:lnTo>
                  <a:lnTo>
                    <a:pt x="210733" y="21751"/>
                  </a:lnTo>
                  <a:lnTo>
                    <a:pt x="214730" y="23067"/>
                  </a:lnTo>
                  <a:lnTo>
                    <a:pt x="217576" y="24478"/>
                  </a:lnTo>
                  <a:lnTo>
                    <a:pt x="218399" y="23938"/>
                  </a:lnTo>
                  <a:lnTo>
                    <a:pt x="219292" y="23750"/>
                  </a:lnTo>
                  <a:lnTo>
                    <a:pt x="221267" y="23750"/>
                  </a:lnTo>
                  <a:lnTo>
                    <a:pt x="221126" y="23279"/>
                  </a:lnTo>
                  <a:lnTo>
                    <a:pt x="220915" y="22174"/>
                  </a:lnTo>
                  <a:lnTo>
                    <a:pt x="220773" y="21727"/>
                  </a:lnTo>
                  <a:lnTo>
                    <a:pt x="221855" y="21915"/>
                  </a:lnTo>
                  <a:lnTo>
                    <a:pt x="223689" y="22903"/>
                  </a:lnTo>
                  <a:lnTo>
                    <a:pt x="224794" y="23114"/>
                  </a:lnTo>
                  <a:lnTo>
                    <a:pt x="228815" y="22362"/>
                  </a:lnTo>
                  <a:lnTo>
                    <a:pt x="232860" y="22362"/>
                  </a:lnTo>
                  <a:lnTo>
                    <a:pt x="233988" y="22174"/>
                  </a:lnTo>
                  <a:lnTo>
                    <a:pt x="236034" y="21280"/>
                  </a:lnTo>
                  <a:lnTo>
                    <a:pt x="237892" y="20834"/>
                  </a:lnTo>
                  <a:lnTo>
                    <a:pt x="238362" y="20316"/>
                  </a:lnTo>
                  <a:lnTo>
                    <a:pt x="238950" y="19823"/>
                  </a:lnTo>
                  <a:lnTo>
                    <a:pt x="240008" y="19658"/>
                  </a:lnTo>
                  <a:lnTo>
                    <a:pt x="242500" y="21374"/>
                  </a:lnTo>
                  <a:lnTo>
                    <a:pt x="243511" y="21680"/>
                  </a:lnTo>
                  <a:lnTo>
                    <a:pt x="249578" y="22291"/>
                  </a:lnTo>
                  <a:lnTo>
                    <a:pt x="250778" y="21680"/>
                  </a:lnTo>
                  <a:lnTo>
                    <a:pt x="252000" y="22245"/>
                  </a:lnTo>
                  <a:lnTo>
                    <a:pt x="253176" y="21751"/>
                  </a:lnTo>
                  <a:lnTo>
                    <a:pt x="254352" y="20904"/>
                  </a:lnTo>
                  <a:lnTo>
                    <a:pt x="255574" y="20363"/>
                  </a:lnTo>
                  <a:lnTo>
                    <a:pt x="264651" y="20363"/>
                  </a:lnTo>
                  <a:lnTo>
                    <a:pt x="265074" y="19470"/>
                  </a:lnTo>
                  <a:lnTo>
                    <a:pt x="264557" y="18741"/>
                  </a:lnTo>
                  <a:lnTo>
                    <a:pt x="264228" y="17942"/>
                  </a:lnTo>
                  <a:lnTo>
                    <a:pt x="265215" y="16907"/>
                  </a:lnTo>
                  <a:lnTo>
                    <a:pt x="265050" y="16577"/>
                  </a:lnTo>
                  <a:lnTo>
                    <a:pt x="264839" y="15848"/>
                  </a:lnTo>
                  <a:lnTo>
                    <a:pt x="264674" y="15566"/>
                  </a:lnTo>
                  <a:lnTo>
                    <a:pt x="267190" y="15566"/>
                  </a:lnTo>
                  <a:lnTo>
                    <a:pt x="268107" y="15096"/>
                  </a:lnTo>
                  <a:lnTo>
                    <a:pt x="268460" y="13897"/>
                  </a:lnTo>
                  <a:lnTo>
                    <a:pt x="269001" y="12979"/>
                  </a:lnTo>
                  <a:lnTo>
                    <a:pt x="270247" y="13050"/>
                  </a:lnTo>
                  <a:lnTo>
                    <a:pt x="272786" y="14203"/>
                  </a:lnTo>
                  <a:lnTo>
                    <a:pt x="274456" y="15543"/>
                  </a:lnTo>
                  <a:lnTo>
                    <a:pt x="278759" y="20246"/>
                  </a:lnTo>
                  <a:lnTo>
                    <a:pt x="280217" y="22315"/>
                  </a:lnTo>
                  <a:lnTo>
                    <a:pt x="280758" y="22315"/>
                  </a:lnTo>
                  <a:lnTo>
                    <a:pt x="281158" y="20904"/>
                  </a:lnTo>
                  <a:lnTo>
                    <a:pt x="281746" y="21328"/>
                  </a:lnTo>
                  <a:lnTo>
                    <a:pt x="282663" y="23044"/>
                  </a:lnTo>
                  <a:lnTo>
                    <a:pt x="286707" y="23655"/>
                  </a:lnTo>
                  <a:lnTo>
                    <a:pt x="302462" y="23044"/>
                  </a:lnTo>
                  <a:lnTo>
                    <a:pt x="304836" y="23631"/>
                  </a:lnTo>
                  <a:lnTo>
                    <a:pt x="305071" y="24996"/>
                  </a:lnTo>
                  <a:lnTo>
                    <a:pt x="304061" y="26571"/>
                  </a:lnTo>
                  <a:lnTo>
                    <a:pt x="302720" y="27770"/>
                  </a:lnTo>
                  <a:lnTo>
                    <a:pt x="303261" y="28452"/>
                  </a:lnTo>
                  <a:lnTo>
                    <a:pt x="304061" y="27982"/>
                  </a:lnTo>
                  <a:lnTo>
                    <a:pt x="305706" y="27464"/>
                  </a:lnTo>
                  <a:lnTo>
                    <a:pt x="306506" y="27088"/>
                  </a:lnTo>
                  <a:lnTo>
                    <a:pt x="307070" y="26454"/>
                  </a:lnTo>
                  <a:lnTo>
                    <a:pt x="307305" y="25795"/>
                  </a:lnTo>
                  <a:lnTo>
                    <a:pt x="307729" y="25278"/>
                  </a:lnTo>
                  <a:lnTo>
                    <a:pt x="308904" y="25066"/>
                  </a:lnTo>
                  <a:lnTo>
                    <a:pt x="312197" y="25348"/>
                  </a:lnTo>
                  <a:lnTo>
                    <a:pt x="313443" y="25771"/>
                  </a:lnTo>
                  <a:lnTo>
                    <a:pt x="319086" y="29252"/>
                  </a:lnTo>
                  <a:lnTo>
                    <a:pt x="321743" y="30145"/>
                  </a:lnTo>
                  <a:lnTo>
                    <a:pt x="328492" y="30451"/>
                  </a:lnTo>
                  <a:lnTo>
                    <a:pt x="330373" y="30945"/>
                  </a:lnTo>
                  <a:lnTo>
                    <a:pt x="331196" y="32191"/>
                  </a:lnTo>
                  <a:lnTo>
                    <a:pt x="332136" y="31627"/>
                  </a:lnTo>
                  <a:lnTo>
                    <a:pt x="337591" y="33155"/>
                  </a:lnTo>
                  <a:lnTo>
                    <a:pt x="338226" y="32943"/>
                  </a:lnTo>
                  <a:lnTo>
                    <a:pt x="339355" y="32026"/>
                  </a:lnTo>
                  <a:lnTo>
                    <a:pt x="340249" y="31861"/>
                  </a:lnTo>
                  <a:lnTo>
                    <a:pt x="341095" y="32074"/>
                  </a:lnTo>
                  <a:lnTo>
                    <a:pt x="342859" y="32967"/>
                  </a:lnTo>
                  <a:lnTo>
                    <a:pt x="348431" y="34049"/>
                  </a:lnTo>
                  <a:lnTo>
                    <a:pt x="354804" y="36823"/>
                  </a:lnTo>
                  <a:lnTo>
                    <a:pt x="356379" y="37270"/>
                  </a:lnTo>
                  <a:lnTo>
                    <a:pt x="373803" y="38705"/>
                  </a:lnTo>
                  <a:lnTo>
                    <a:pt x="374132" y="38705"/>
                  </a:lnTo>
                  <a:lnTo>
                    <a:pt x="376202" y="40562"/>
                  </a:lnTo>
                  <a:lnTo>
                    <a:pt x="377848" y="39081"/>
                  </a:lnTo>
                  <a:lnTo>
                    <a:pt x="380058" y="38705"/>
                  </a:lnTo>
                  <a:lnTo>
                    <a:pt x="382221" y="39269"/>
                  </a:lnTo>
                  <a:lnTo>
                    <a:pt x="383726" y="40586"/>
                  </a:lnTo>
                  <a:lnTo>
                    <a:pt x="384220" y="40586"/>
                  </a:lnTo>
                  <a:lnTo>
                    <a:pt x="385043" y="39340"/>
                  </a:lnTo>
                  <a:lnTo>
                    <a:pt x="385772" y="39010"/>
                  </a:lnTo>
                  <a:lnTo>
                    <a:pt x="389416" y="39386"/>
                  </a:lnTo>
                  <a:lnTo>
                    <a:pt x="399128" y="38446"/>
                  </a:lnTo>
                  <a:lnTo>
                    <a:pt x="401291" y="36870"/>
                  </a:lnTo>
                  <a:lnTo>
                    <a:pt x="406229" y="35459"/>
                  </a:lnTo>
                  <a:lnTo>
                    <a:pt x="408087" y="35201"/>
                  </a:lnTo>
                  <a:lnTo>
                    <a:pt x="411590" y="35201"/>
                  </a:lnTo>
                  <a:lnTo>
                    <a:pt x="412037" y="34942"/>
                  </a:lnTo>
                  <a:lnTo>
                    <a:pt x="412108" y="34471"/>
                  </a:lnTo>
                  <a:lnTo>
                    <a:pt x="412249" y="34025"/>
                  </a:lnTo>
                  <a:lnTo>
                    <a:pt x="412883" y="33814"/>
                  </a:lnTo>
                  <a:lnTo>
                    <a:pt x="413448" y="33978"/>
                  </a:lnTo>
                  <a:lnTo>
                    <a:pt x="415353" y="35225"/>
                  </a:lnTo>
                  <a:lnTo>
                    <a:pt x="415729" y="34754"/>
                  </a:lnTo>
                  <a:lnTo>
                    <a:pt x="416082" y="34636"/>
                  </a:lnTo>
                  <a:lnTo>
                    <a:pt x="416457" y="34636"/>
                  </a:lnTo>
                  <a:lnTo>
                    <a:pt x="416928" y="34542"/>
                  </a:lnTo>
                  <a:lnTo>
                    <a:pt x="416575" y="34378"/>
                  </a:lnTo>
                  <a:lnTo>
                    <a:pt x="415846" y="33814"/>
                  </a:lnTo>
                  <a:lnTo>
                    <a:pt x="415846" y="33202"/>
                  </a:lnTo>
                  <a:lnTo>
                    <a:pt x="418551" y="31392"/>
                  </a:lnTo>
                  <a:lnTo>
                    <a:pt x="419914" y="30851"/>
                  </a:lnTo>
                  <a:lnTo>
                    <a:pt x="421207" y="31180"/>
                  </a:lnTo>
                  <a:lnTo>
                    <a:pt x="422195" y="30615"/>
                  </a:lnTo>
                  <a:lnTo>
                    <a:pt x="422430" y="30733"/>
                  </a:lnTo>
                  <a:lnTo>
                    <a:pt x="422830" y="31180"/>
                  </a:lnTo>
                  <a:lnTo>
                    <a:pt x="425111" y="29886"/>
                  </a:lnTo>
                  <a:lnTo>
                    <a:pt x="427462" y="29417"/>
                  </a:lnTo>
                  <a:lnTo>
                    <a:pt x="429790" y="29840"/>
                  </a:lnTo>
                  <a:lnTo>
                    <a:pt x="431977" y="31180"/>
                  </a:lnTo>
                  <a:lnTo>
                    <a:pt x="428567" y="32590"/>
                  </a:lnTo>
                  <a:lnTo>
                    <a:pt x="427133" y="33461"/>
                  </a:lnTo>
                  <a:lnTo>
                    <a:pt x="426098" y="34542"/>
                  </a:lnTo>
                  <a:lnTo>
                    <a:pt x="426921" y="35459"/>
                  </a:lnTo>
                  <a:lnTo>
                    <a:pt x="427274" y="35742"/>
                  </a:lnTo>
                  <a:lnTo>
                    <a:pt x="427698" y="35976"/>
                  </a:lnTo>
                  <a:lnTo>
                    <a:pt x="427439" y="36024"/>
                  </a:lnTo>
                  <a:lnTo>
                    <a:pt x="427227" y="36024"/>
                  </a:lnTo>
                  <a:lnTo>
                    <a:pt x="427133" y="36118"/>
                  </a:lnTo>
                  <a:lnTo>
                    <a:pt x="427133" y="36588"/>
                  </a:lnTo>
                  <a:lnTo>
                    <a:pt x="428003" y="36588"/>
                  </a:lnTo>
                  <a:lnTo>
                    <a:pt x="428709" y="36471"/>
                  </a:lnTo>
                  <a:lnTo>
                    <a:pt x="429861" y="35953"/>
                  </a:lnTo>
                  <a:lnTo>
                    <a:pt x="430402" y="35436"/>
                  </a:lnTo>
                  <a:lnTo>
                    <a:pt x="431436" y="34072"/>
                  </a:lnTo>
                  <a:lnTo>
                    <a:pt x="431742" y="33790"/>
                  </a:lnTo>
                  <a:lnTo>
                    <a:pt x="432424" y="34025"/>
                  </a:lnTo>
                  <a:lnTo>
                    <a:pt x="433153" y="34989"/>
                  </a:lnTo>
                  <a:lnTo>
                    <a:pt x="433858" y="35201"/>
                  </a:lnTo>
                  <a:lnTo>
                    <a:pt x="434187" y="34801"/>
                  </a:lnTo>
                  <a:lnTo>
                    <a:pt x="433999" y="33907"/>
                  </a:lnTo>
                  <a:lnTo>
                    <a:pt x="433552" y="32990"/>
                  </a:lnTo>
                  <a:lnTo>
                    <a:pt x="433035" y="32520"/>
                  </a:lnTo>
                  <a:lnTo>
                    <a:pt x="433035" y="31909"/>
                  </a:lnTo>
                  <a:lnTo>
                    <a:pt x="434141" y="32050"/>
                  </a:lnTo>
                  <a:lnTo>
                    <a:pt x="434587" y="32191"/>
                  </a:lnTo>
                  <a:lnTo>
                    <a:pt x="435128" y="32520"/>
                  </a:lnTo>
                  <a:lnTo>
                    <a:pt x="435269" y="32026"/>
                  </a:lnTo>
                  <a:lnTo>
                    <a:pt x="435387" y="32026"/>
                  </a:lnTo>
                  <a:lnTo>
                    <a:pt x="435739" y="31909"/>
                  </a:lnTo>
                  <a:lnTo>
                    <a:pt x="435151" y="31180"/>
                  </a:lnTo>
                  <a:lnTo>
                    <a:pt x="436022" y="30828"/>
                  </a:lnTo>
                  <a:lnTo>
                    <a:pt x="438326" y="30686"/>
                  </a:lnTo>
                  <a:lnTo>
                    <a:pt x="439219" y="30168"/>
                  </a:lnTo>
                  <a:lnTo>
                    <a:pt x="439995" y="29463"/>
                  </a:lnTo>
                  <a:lnTo>
                    <a:pt x="440842" y="29064"/>
                  </a:lnTo>
                  <a:lnTo>
                    <a:pt x="446838" y="27324"/>
                  </a:lnTo>
                  <a:lnTo>
                    <a:pt x="448789" y="27464"/>
                  </a:lnTo>
                  <a:lnTo>
                    <a:pt x="448649" y="29157"/>
                  </a:lnTo>
                  <a:lnTo>
                    <a:pt x="449989" y="29228"/>
                  </a:lnTo>
                  <a:lnTo>
                    <a:pt x="451047" y="29957"/>
                  </a:lnTo>
                  <a:lnTo>
                    <a:pt x="451893" y="30780"/>
                  </a:lnTo>
                  <a:lnTo>
                    <a:pt x="452622" y="31180"/>
                  </a:lnTo>
                  <a:lnTo>
                    <a:pt x="458007" y="32050"/>
                  </a:lnTo>
                  <a:lnTo>
                    <a:pt x="458407" y="32402"/>
                  </a:lnTo>
                  <a:lnTo>
                    <a:pt x="458666" y="32920"/>
                  </a:lnTo>
                  <a:lnTo>
                    <a:pt x="458760" y="33532"/>
                  </a:lnTo>
                  <a:lnTo>
                    <a:pt x="458642" y="34402"/>
                  </a:lnTo>
                  <a:lnTo>
                    <a:pt x="458336" y="34542"/>
                  </a:lnTo>
                  <a:lnTo>
                    <a:pt x="457842" y="34425"/>
                  </a:lnTo>
                  <a:lnTo>
                    <a:pt x="457207" y="34566"/>
                  </a:lnTo>
                  <a:lnTo>
                    <a:pt x="456879" y="34307"/>
                  </a:lnTo>
                  <a:lnTo>
                    <a:pt x="456149" y="33861"/>
                  </a:lnTo>
                  <a:lnTo>
                    <a:pt x="455397" y="33672"/>
                  </a:lnTo>
                  <a:lnTo>
                    <a:pt x="455068" y="34189"/>
                  </a:lnTo>
                  <a:lnTo>
                    <a:pt x="454809" y="34754"/>
                  </a:lnTo>
                  <a:lnTo>
                    <a:pt x="454174" y="35295"/>
                  </a:lnTo>
                  <a:lnTo>
                    <a:pt x="452928" y="35976"/>
                  </a:lnTo>
                  <a:lnTo>
                    <a:pt x="454480" y="36235"/>
                  </a:lnTo>
                  <a:lnTo>
                    <a:pt x="455374" y="37340"/>
                  </a:lnTo>
                  <a:lnTo>
                    <a:pt x="456102" y="37764"/>
                  </a:lnTo>
                  <a:lnTo>
                    <a:pt x="457207" y="35953"/>
                  </a:lnTo>
                  <a:lnTo>
                    <a:pt x="458054" y="37105"/>
                  </a:lnTo>
                  <a:lnTo>
                    <a:pt x="459136" y="37200"/>
                  </a:lnTo>
                  <a:lnTo>
                    <a:pt x="461464" y="36565"/>
                  </a:lnTo>
                  <a:lnTo>
                    <a:pt x="462592" y="36776"/>
                  </a:lnTo>
                  <a:lnTo>
                    <a:pt x="466331" y="37975"/>
                  </a:lnTo>
                  <a:lnTo>
                    <a:pt x="471128" y="38586"/>
                  </a:lnTo>
                  <a:lnTo>
                    <a:pt x="474678" y="39809"/>
                  </a:lnTo>
                  <a:lnTo>
                    <a:pt x="475690" y="39998"/>
                  </a:lnTo>
                  <a:lnTo>
                    <a:pt x="476513" y="40421"/>
                  </a:lnTo>
                  <a:lnTo>
                    <a:pt x="478323" y="42326"/>
                  </a:lnTo>
                  <a:lnTo>
                    <a:pt x="480346" y="42914"/>
                  </a:lnTo>
                  <a:lnTo>
                    <a:pt x="481874" y="43360"/>
                  </a:lnTo>
                  <a:lnTo>
                    <a:pt x="483379" y="43525"/>
                  </a:lnTo>
                  <a:lnTo>
                    <a:pt x="485166" y="42255"/>
                  </a:lnTo>
                  <a:lnTo>
                    <a:pt x="487635" y="43689"/>
                  </a:lnTo>
                  <a:lnTo>
                    <a:pt x="491515" y="46770"/>
                  </a:lnTo>
                  <a:lnTo>
                    <a:pt x="491515" y="46017"/>
                  </a:lnTo>
                  <a:lnTo>
                    <a:pt x="490597" y="43642"/>
                  </a:lnTo>
                  <a:lnTo>
                    <a:pt x="490339" y="42419"/>
                  </a:lnTo>
                  <a:lnTo>
                    <a:pt x="489868" y="41714"/>
                  </a:lnTo>
                  <a:lnTo>
                    <a:pt x="489868" y="41315"/>
                  </a:lnTo>
                  <a:lnTo>
                    <a:pt x="490244" y="40844"/>
                  </a:lnTo>
                  <a:lnTo>
                    <a:pt x="491303" y="40538"/>
                  </a:lnTo>
                  <a:lnTo>
                    <a:pt x="492196" y="39527"/>
                  </a:lnTo>
                  <a:lnTo>
                    <a:pt x="495606" y="37623"/>
                  </a:lnTo>
                  <a:lnTo>
                    <a:pt x="496852" y="37294"/>
                  </a:lnTo>
                  <a:lnTo>
                    <a:pt x="496852" y="36541"/>
                  </a:lnTo>
                  <a:lnTo>
                    <a:pt x="496335" y="36541"/>
                  </a:lnTo>
                  <a:lnTo>
                    <a:pt x="496335" y="35930"/>
                  </a:lnTo>
                  <a:lnTo>
                    <a:pt x="497628" y="35225"/>
                  </a:lnTo>
                  <a:lnTo>
                    <a:pt x="499556" y="35036"/>
                  </a:lnTo>
                  <a:lnTo>
                    <a:pt x="503554" y="35201"/>
                  </a:lnTo>
                  <a:lnTo>
                    <a:pt x="507245" y="34872"/>
                  </a:lnTo>
                  <a:lnTo>
                    <a:pt x="508892" y="34260"/>
                  </a:lnTo>
                  <a:lnTo>
                    <a:pt x="510255" y="33814"/>
                  </a:lnTo>
                  <a:lnTo>
                    <a:pt x="511243" y="34049"/>
                  </a:lnTo>
                  <a:lnTo>
                    <a:pt x="512889" y="35177"/>
                  </a:lnTo>
                  <a:lnTo>
                    <a:pt x="514441" y="36588"/>
                  </a:lnTo>
                  <a:lnTo>
                    <a:pt x="515123" y="37647"/>
                  </a:lnTo>
                  <a:lnTo>
                    <a:pt x="516040" y="40115"/>
                  </a:lnTo>
                  <a:lnTo>
                    <a:pt x="516345" y="42184"/>
                  </a:lnTo>
                  <a:lnTo>
                    <a:pt x="516651" y="41808"/>
                  </a:lnTo>
                  <a:lnTo>
                    <a:pt x="517262" y="39998"/>
                  </a:lnTo>
                  <a:lnTo>
                    <a:pt x="517310" y="39527"/>
                  </a:lnTo>
                  <a:lnTo>
                    <a:pt x="517310" y="38939"/>
                  </a:lnTo>
                  <a:lnTo>
                    <a:pt x="517380" y="38375"/>
                  </a:lnTo>
                  <a:lnTo>
                    <a:pt x="517757" y="37975"/>
                  </a:lnTo>
                  <a:lnTo>
                    <a:pt x="518673" y="37811"/>
                  </a:lnTo>
                  <a:lnTo>
                    <a:pt x="519614" y="38046"/>
                  </a:lnTo>
                  <a:lnTo>
                    <a:pt x="520484" y="38398"/>
                  </a:lnTo>
                  <a:lnTo>
                    <a:pt x="522929" y="38799"/>
                  </a:lnTo>
                  <a:lnTo>
                    <a:pt x="527468" y="40609"/>
                  </a:lnTo>
                  <a:lnTo>
                    <a:pt x="530830" y="41244"/>
                  </a:lnTo>
                  <a:lnTo>
                    <a:pt x="532593" y="41879"/>
                  </a:lnTo>
                  <a:lnTo>
                    <a:pt x="534098" y="43995"/>
                  </a:lnTo>
                  <a:lnTo>
                    <a:pt x="541694" y="47287"/>
                  </a:lnTo>
                  <a:lnTo>
                    <a:pt x="544844" y="48157"/>
                  </a:lnTo>
                  <a:lnTo>
                    <a:pt x="548160" y="48486"/>
                  </a:lnTo>
                  <a:lnTo>
                    <a:pt x="551569" y="48110"/>
                  </a:lnTo>
                  <a:lnTo>
                    <a:pt x="554180" y="47451"/>
                  </a:lnTo>
                  <a:lnTo>
                    <a:pt x="555097" y="47381"/>
                  </a:lnTo>
                  <a:lnTo>
                    <a:pt x="555544" y="47687"/>
                  </a:lnTo>
                  <a:lnTo>
                    <a:pt x="556084" y="48392"/>
                  </a:lnTo>
                  <a:lnTo>
                    <a:pt x="556790" y="49098"/>
                  </a:lnTo>
                  <a:lnTo>
                    <a:pt x="557753" y="49403"/>
                  </a:lnTo>
                  <a:lnTo>
                    <a:pt x="557966" y="49309"/>
                  </a:lnTo>
                  <a:lnTo>
                    <a:pt x="558224" y="49074"/>
                  </a:lnTo>
                  <a:lnTo>
                    <a:pt x="558600" y="48862"/>
                  </a:lnTo>
                  <a:lnTo>
                    <a:pt x="559118" y="48745"/>
                  </a:lnTo>
                  <a:lnTo>
                    <a:pt x="559494" y="48956"/>
                  </a:lnTo>
                  <a:lnTo>
                    <a:pt x="559682" y="49426"/>
                  </a:lnTo>
                  <a:lnTo>
                    <a:pt x="559917" y="49873"/>
                  </a:lnTo>
                  <a:lnTo>
                    <a:pt x="560458" y="50085"/>
                  </a:lnTo>
                  <a:lnTo>
                    <a:pt x="562715" y="48439"/>
                  </a:lnTo>
                  <a:lnTo>
                    <a:pt x="563703" y="48134"/>
                  </a:lnTo>
                  <a:lnTo>
                    <a:pt x="565325" y="47898"/>
                  </a:lnTo>
                  <a:lnTo>
                    <a:pt x="570875" y="46041"/>
                  </a:lnTo>
                  <a:lnTo>
                    <a:pt x="572662" y="44983"/>
                  </a:lnTo>
                  <a:lnTo>
                    <a:pt x="573555" y="44607"/>
                  </a:lnTo>
                  <a:lnTo>
                    <a:pt x="574708" y="44653"/>
                  </a:lnTo>
                  <a:lnTo>
                    <a:pt x="575624" y="45335"/>
                  </a:lnTo>
                  <a:lnTo>
                    <a:pt x="576188" y="46299"/>
                  </a:lnTo>
                  <a:lnTo>
                    <a:pt x="576800" y="46793"/>
                  </a:lnTo>
                  <a:lnTo>
                    <a:pt x="577905" y="46041"/>
                  </a:lnTo>
                  <a:lnTo>
                    <a:pt x="577459" y="45758"/>
                  </a:lnTo>
                  <a:lnTo>
                    <a:pt x="576800" y="45053"/>
                  </a:lnTo>
                  <a:lnTo>
                    <a:pt x="576259" y="44653"/>
                  </a:lnTo>
                  <a:lnTo>
                    <a:pt x="579457" y="43336"/>
                  </a:lnTo>
                  <a:lnTo>
                    <a:pt x="582397" y="40891"/>
                  </a:lnTo>
                  <a:lnTo>
                    <a:pt x="585218" y="39504"/>
                  </a:lnTo>
                  <a:lnTo>
                    <a:pt x="586558" y="40398"/>
                  </a:lnTo>
                  <a:lnTo>
                    <a:pt x="586347" y="41549"/>
                  </a:lnTo>
                  <a:lnTo>
                    <a:pt x="586347" y="44818"/>
                  </a:lnTo>
                  <a:lnTo>
                    <a:pt x="588581" y="45829"/>
                  </a:lnTo>
                  <a:lnTo>
                    <a:pt x="589545" y="47052"/>
                  </a:lnTo>
                  <a:lnTo>
                    <a:pt x="589803" y="48980"/>
                  </a:lnTo>
                  <a:lnTo>
                    <a:pt x="590015" y="49403"/>
                  </a:lnTo>
                  <a:lnTo>
                    <a:pt x="590203" y="49779"/>
                  </a:lnTo>
                  <a:lnTo>
                    <a:pt x="591049" y="49662"/>
                  </a:lnTo>
                  <a:lnTo>
                    <a:pt x="591967" y="49238"/>
                  </a:lnTo>
                  <a:lnTo>
                    <a:pt x="593660" y="49027"/>
                  </a:lnTo>
                  <a:lnTo>
                    <a:pt x="595235" y="48416"/>
                  </a:lnTo>
                  <a:lnTo>
                    <a:pt x="595964" y="48486"/>
                  </a:lnTo>
                  <a:lnTo>
                    <a:pt x="597446" y="49144"/>
                  </a:lnTo>
                  <a:lnTo>
                    <a:pt x="598198" y="49662"/>
                  </a:lnTo>
                  <a:lnTo>
                    <a:pt x="598198" y="50132"/>
                  </a:lnTo>
                  <a:lnTo>
                    <a:pt x="597987" y="50720"/>
                  </a:lnTo>
                  <a:lnTo>
                    <a:pt x="598127" y="51590"/>
                  </a:lnTo>
                  <a:lnTo>
                    <a:pt x="598692" y="53283"/>
                  </a:lnTo>
                  <a:lnTo>
                    <a:pt x="599091" y="53730"/>
                  </a:lnTo>
                  <a:lnTo>
                    <a:pt x="600056" y="54129"/>
                  </a:lnTo>
                  <a:lnTo>
                    <a:pt x="600902" y="54247"/>
                  </a:lnTo>
                  <a:lnTo>
                    <a:pt x="601889" y="54129"/>
                  </a:lnTo>
                  <a:lnTo>
                    <a:pt x="602736" y="53683"/>
                  </a:lnTo>
                  <a:lnTo>
                    <a:pt x="603183" y="52813"/>
                  </a:lnTo>
                  <a:lnTo>
                    <a:pt x="603795" y="51120"/>
                  </a:lnTo>
                  <a:lnTo>
                    <a:pt x="604970" y="50461"/>
                  </a:lnTo>
                  <a:lnTo>
                    <a:pt x="606522" y="50508"/>
                  </a:lnTo>
                  <a:lnTo>
                    <a:pt x="608944" y="51190"/>
                  </a:lnTo>
                  <a:lnTo>
                    <a:pt x="612213" y="52766"/>
                  </a:lnTo>
                  <a:lnTo>
                    <a:pt x="613082" y="52625"/>
                  </a:lnTo>
                  <a:lnTo>
                    <a:pt x="613952" y="52343"/>
                  </a:lnTo>
                  <a:lnTo>
                    <a:pt x="614893" y="52343"/>
                  </a:lnTo>
                  <a:lnTo>
                    <a:pt x="617150" y="54482"/>
                  </a:lnTo>
                  <a:lnTo>
                    <a:pt x="617456" y="58080"/>
                  </a:lnTo>
                  <a:lnTo>
                    <a:pt x="616610" y="62007"/>
                  </a:lnTo>
                  <a:lnTo>
                    <a:pt x="615410" y="65134"/>
                  </a:lnTo>
                  <a:lnTo>
                    <a:pt x="614422" y="66357"/>
                  </a:lnTo>
                  <a:lnTo>
                    <a:pt x="611201" y="69555"/>
                  </a:lnTo>
                  <a:lnTo>
                    <a:pt x="610566" y="70378"/>
                  </a:lnTo>
                  <a:lnTo>
                    <a:pt x="611553" y="72517"/>
                  </a:lnTo>
                  <a:lnTo>
                    <a:pt x="612988" y="73999"/>
                  </a:lnTo>
                  <a:lnTo>
                    <a:pt x="614705" y="74916"/>
                  </a:lnTo>
                  <a:lnTo>
                    <a:pt x="616633" y="75386"/>
                  </a:lnTo>
                  <a:lnTo>
                    <a:pt x="618773" y="75574"/>
                  </a:lnTo>
                  <a:lnTo>
                    <a:pt x="620090" y="75175"/>
                  </a:lnTo>
                  <a:lnTo>
                    <a:pt x="620748" y="73834"/>
                  </a:lnTo>
                  <a:lnTo>
                    <a:pt x="620936" y="71271"/>
                  </a:lnTo>
                  <a:lnTo>
                    <a:pt x="621477" y="69296"/>
                  </a:lnTo>
                  <a:lnTo>
                    <a:pt x="622817" y="67886"/>
                  </a:lnTo>
                  <a:lnTo>
                    <a:pt x="624581" y="67274"/>
                  </a:lnTo>
                  <a:lnTo>
                    <a:pt x="626344" y="67697"/>
                  </a:lnTo>
                  <a:lnTo>
                    <a:pt x="624698" y="68991"/>
                  </a:lnTo>
                  <a:lnTo>
                    <a:pt x="624063" y="70260"/>
                  </a:lnTo>
                  <a:lnTo>
                    <a:pt x="624416" y="71577"/>
                  </a:lnTo>
                  <a:lnTo>
                    <a:pt x="625733" y="72988"/>
                  </a:lnTo>
                  <a:lnTo>
                    <a:pt x="627191" y="73811"/>
                  </a:lnTo>
                  <a:lnTo>
                    <a:pt x="631729" y="74540"/>
                  </a:lnTo>
                  <a:lnTo>
                    <a:pt x="634410" y="75927"/>
                  </a:lnTo>
                  <a:lnTo>
                    <a:pt x="636949" y="77855"/>
                  </a:lnTo>
                  <a:lnTo>
                    <a:pt x="639889" y="77597"/>
                  </a:lnTo>
                  <a:lnTo>
                    <a:pt x="640570" y="77855"/>
                  </a:lnTo>
                  <a:lnTo>
                    <a:pt x="641864" y="78607"/>
                  </a:lnTo>
                  <a:lnTo>
                    <a:pt x="642451" y="79054"/>
                  </a:lnTo>
                  <a:lnTo>
                    <a:pt x="645156" y="79361"/>
                  </a:lnTo>
                  <a:lnTo>
                    <a:pt x="646449" y="79713"/>
                  </a:lnTo>
                  <a:lnTo>
                    <a:pt x="647413" y="80747"/>
                  </a:lnTo>
                  <a:lnTo>
                    <a:pt x="650140" y="82628"/>
                  </a:lnTo>
                  <a:lnTo>
                    <a:pt x="653127" y="83522"/>
                  </a:lnTo>
                  <a:lnTo>
                    <a:pt x="659358" y="83993"/>
                  </a:lnTo>
                  <a:lnTo>
                    <a:pt x="665378" y="83005"/>
                  </a:lnTo>
                  <a:lnTo>
                    <a:pt x="667470" y="83663"/>
                  </a:lnTo>
                  <a:lnTo>
                    <a:pt x="668623" y="86391"/>
                  </a:lnTo>
                  <a:lnTo>
                    <a:pt x="668952" y="87167"/>
                  </a:lnTo>
                  <a:lnTo>
                    <a:pt x="668905" y="87849"/>
                  </a:lnTo>
                  <a:lnTo>
                    <a:pt x="668646" y="88296"/>
                  </a:lnTo>
                  <a:lnTo>
                    <a:pt x="668552" y="88813"/>
                  </a:lnTo>
                  <a:lnTo>
                    <a:pt x="668999" y="89706"/>
                  </a:lnTo>
                  <a:lnTo>
                    <a:pt x="669798" y="90412"/>
                  </a:lnTo>
                  <a:lnTo>
                    <a:pt x="670575" y="90506"/>
                  </a:lnTo>
                  <a:lnTo>
                    <a:pt x="671350" y="90412"/>
                  </a:lnTo>
                  <a:lnTo>
                    <a:pt x="672126" y="90530"/>
                  </a:lnTo>
                  <a:lnTo>
                    <a:pt x="674807" y="92058"/>
                  </a:lnTo>
                  <a:lnTo>
                    <a:pt x="676194" y="93140"/>
                  </a:lnTo>
                  <a:lnTo>
                    <a:pt x="679227" y="96878"/>
                  </a:lnTo>
                  <a:lnTo>
                    <a:pt x="679345" y="97301"/>
                  </a:lnTo>
                  <a:lnTo>
                    <a:pt x="679181" y="97725"/>
                  </a:lnTo>
                  <a:lnTo>
                    <a:pt x="679181" y="98078"/>
                  </a:lnTo>
                  <a:lnTo>
                    <a:pt x="679698" y="98289"/>
                  </a:lnTo>
                  <a:lnTo>
                    <a:pt x="680968" y="98289"/>
                  </a:lnTo>
                  <a:lnTo>
                    <a:pt x="681296" y="98383"/>
                  </a:lnTo>
                  <a:lnTo>
                    <a:pt x="681743" y="98971"/>
                  </a:lnTo>
                  <a:lnTo>
                    <a:pt x="681626" y="99606"/>
                  </a:lnTo>
                  <a:lnTo>
                    <a:pt x="681626" y="100194"/>
                  </a:lnTo>
                  <a:lnTo>
                    <a:pt x="682378" y="100641"/>
                  </a:lnTo>
                  <a:lnTo>
                    <a:pt x="682989" y="100546"/>
                  </a:lnTo>
                  <a:lnTo>
                    <a:pt x="684306" y="99723"/>
                  </a:lnTo>
                  <a:lnTo>
                    <a:pt x="684989" y="99512"/>
                  </a:lnTo>
                  <a:lnTo>
                    <a:pt x="685129" y="97184"/>
                  </a:lnTo>
                  <a:lnTo>
                    <a:pt x="687128" y="97231"/>
                  </a:lnTo>
                  <a:lnTo>
                    <a:pt x="691337" y="99042"/>
                  </a:lnTo>
                  <a:lnTo>
                    <a:pt x="693735" y="98877"/>
                  </a:lnTo>
                  <a:lnTo>
                    <a:pt x="695616" y="97842"/>
                  </a:lnTo>
                  <a:lnTo>
                    <a:pt x="699379" y="95115"/>
                  </a:lnTo>
                  <a:lnTo>
                    <a:pt x="700061" y="95750"/>
                  </a:lnTo>
                  <a:lnTo>
                    <a:pt x="700672" y="95538"/>
                  </a:lnTo>
                  <a:lnTo>
                    <a:pt x="701213" y="94785"/>
                  </a:lnTo>
                  <a:lnTo>
                    <a:pt x="701637" y="93821"/>
                  </a:lnTo>
                  <a:lnTo>
                    <a:pt x="702836" y="94879"/>
                  </a:lnTo>
                  <a:lnTo>
                    <a:pt x="703024" y="94973"/>
                  </a:lnTo>
                  <a:lnTo>
                    <a:pt x="707562" y="97513"/>
                  </a:lnTo>
                  <a:lnTo>
                    <a:pt x="708502" y="99324"/>
                  </a:lnTo>
                  <a:lnTo>
                    <a:pt x="710596" y="99559"/>
                  </a:lnTo>
                  <a:lnTo>
                    <a:pt x="712853" y="98971"/>
                  </a:lnTo>
                  <a:lnTo>
                    <a:pt x="714264" y="98430"/>
                  </a:lnTo>
                  <a:lnTo>
                    <a:pt x="714075" y="100147"/>
                  </a:lnTo>
                  <a:lnTo>
                    <a:pt x="714522" y="101840"/>
                  </a:lnTo>
                  <a:lnTo>
                    <a:pt x="715463" y="103297"/>
                  </a:lnTo>
                  <a:lnTo>
                    <a:pt x="716756" y="104262"/>
                  </a:lnTo>
                  <a:lnTo>
                    <a:pt x="717227" y="104802"/>
                  </a:lnTo>
                  <a:lnTo>
                    <a:pt x="717320" y="105485"/>
                  </a:lnTo>
                  <a:lnTo>
                    <a:pt x="717532" y="106120"/>
                  </a:lnTo>
                  <a:lnTo>
                    <a:pt x="718355" y="106472"/>
                  </a:lnTo>
                  <a:lnTo>
                    <a:pt x="719342" y="106731"/>
                  </a:lnTo>
                  <a:lnTo>
                    <a:pt x="719883" y="107178"/>
                  </a:lnTo>
                  <a:lnTo>
                    <a:pt x="720236" y="107671"/>
                  </a:lnTo>
                  <a:lnTo>
                    <a:pt x="720682" y="108095"/>
                  </a:lnTo>
                  <a:lnTo>
                    <a:pt x="723787" y="109223"/>
                  </a:lnTo>
                  <a:lnTo>
                    <a:pt x="726491" y="108988"/>
                  </a:lnTo>
                  <a:lnTo>
                    <a:pt x="732534" y="106942"/>
                  </a:lnTo>
                  <a:lnTo>
                    <a:pt x="737330" y="106284"/>
                  </a:lnTo>
                  <a:lnTo>
                    <a:pt x="738789" y="105366"/>
                  </a:lnTo>
                  <a:lnTo>
                    <a:pt x="740059" y="105179"/>
                  </a:lnTo>
                  <a:lnTo>
                    <a:pt x="744220" y="106166"/>
                  </a:lnTo>
                  <a:lnTo>
                    <a:pt x="745467" y="106731"/>
                  </a:lnTo>
                  <a:lnTo>
                    <a:pt x="747136" y="109458"/>
                  </a:lnTo>
                  <a:lnTo>
                    <a:pt x="748359" y="110799"/>
                  </a:lnTo>
                  <a:lnTo>
                    <a:pt x="749511" y="110634"/>
                  </a:lnTo>
                  <a:lnTo>
                    <a:pt x="751698" y="107788"/>
                  </a:lnTo>
                  <a:lnTo>
                    <a:pt x="753085" y="106495"/>
                  </a:lnTo>
                  <a:lnTo>
                    <a:pt x="754496" y="106026"/>
                  </a:lnTo>
                  <a:lnTo>
                    <a:pt x="756659" y="107718"/>
                  </a:lnTo>
                  <a:lnTo>
                    <a:pt x="756801" y="108047"/>
                  </a:lnTo>
                  <a:lnTo>
                    <a:pt x="756801" y="108448"/>
                  </a:lnTo>
                  <a:lnTo>
                    <a:pt x="756871" y="108847"/>
                  </a:lnTo>
                  <a:lnTo>
                    <a:pt x="757248" y="109176"/>
                  </a:lnTo>
                  <a:lnTo>
                    <a:pt x="758822" y="109458"/>
                  </a:lnTo>
                  <a:lnTo>
                    <a:pt x="760351" y="109387"/>
                  </a:lnTo>
                  <a:lnTo>
                    <a:pt x="763338" y="108659"/>
                  </a:lnTo>
                  <a:lnTo>
                    <a:pt x="764630" y="109176"/>
                  </a:lnTo>
                  <a:lnTo>
                    <a:pt x="774389" y="108917"/>
                  </a:lnTo>
                  <a:lnTo>
                    <a:pt x="777163" y="109270"/>
                  </a:lnTo>
                  <a:lnTo>
                    <a:pt x="778198" y="108917"/>
                  </a:lnTo>
                  <a:lnTo>
                    <a:pt x="778715" y="108118"/>
                  </a:lnTo>
                  <a:lnTo>
                    <a:pt x="778880" y="107883"/>
                  </a:lnTo>
                  <a:lnTo>
                    <a:pt x="778951" y="106308"/>
                  </a:lnTo>
                  <a:lnTo>
                    <a:pt x="778433" y="104850"/>
                  </a:lnTo>
                  <a:lnTo>
                    <a:pt x="777493" y="103768"/>
                  </a:lnTo>
                  <a:lnTo>
                    <a:pt x="776388" y="103391"/>
                  </a:lnTo>
                  <a:lnTo>
                    <a:pt x="776858" y="102427"/>
                  </a:lnTo>
                  <a:lnTo>
                    <a:pt x="777163" y="102005"/>
                  </a:lnTo>
                  <a:lnTo>
                    <a:pt x="777752" y="101581"/>
                  </a:lnTo>
                  <a:lnTo>
                    <a:pt x="776881" y="100500"/>
                  </a:lnTo>
                  <a:lnTo>
                    <a:pt x="777986" y="97772"/>
                  </a:lnTo>
                  <a:lnTo>
                    <a:pt x="777822" y="95679"/>
                  </a:lnTo>
                  <a:lnTo>
                    <a:pt x="778198" y="94268"/>
                  </a:lnTo>
                  <a:lnTo>
                    <a:pt x="780009" y="93610"/>
                  </a:lnTo>
                  <a:lnTo>
                    <a:pt x="782149" y="93468"/>
                  </a:lnTo>
                  <a:lnTo>
                    <a:pt x="783512" y="93610"/>
                  </a:lnTo>
                  <a:lnTo>
                    <a:pt x="786216" y="94597"/>
                  </a:lnTo>
                  <a:lnTo>
                    <a:pt x="787580" y="94879"/>
                  </a:lnTo>
                  <a:lnTo>
                    <a:pt x="789109" y="94739"/>
                  </a:lnTo>
                  <a:lnTo>
                    <a:pt x="790449" y="94950"/>
                  </a:lnTo>
                  <a:lnTo>
                    <a:pt x="793835" y="96784"/>
                  </a:lnTo>
                  <a:lnTo>
                    <a:pt x="796163" y="97608"/>
                  </a:lnTo>
                  <a:lnTo>
                    <a:pt x="796845" y="98078"/>
                  </a:lnTo>
                  <a:lnTo>
                    <a:pt x="798091" y="99206"/>
                  </a:lnTo>
                  <a:lnTo>
                    <a:pt x="798937" y="99535"/>
                  </a:lnTo>
                  <a:lnTo>
                    <a:pt x="799690" y="99182"/>
                  </a:lnTo>
                  <a:lnTo>
                    <a:pt x="800419" y="98642"/>
                  </a:lnTo>
                  <a:lnTo>
                    <a:pt x="801219" y="98407"/>
                  </a:lnTo>
                  <a:lnTo>
                    <a:pt x="801877" y="98642"/>
                  </a:lnTo>
                  <a:lnTo>
                    <a:pt x="803170" y="99629"/>
                  </a:lnTo>
                  <a:lnTo>
                    <a:pt x="803781" y="99959"/>
                  </a:lnTo>
                  <a:lnTo>
                    <a:pt x="810436" y="100382"/>
                  </a:lnTo>
                  <a:lnTo>
                    <a:pt x="812059" y="100852"/>
                  </a:lnTo>
                  <a:lnTo>
                    <a:pt x="813446" y="102005"/>
                  </a:lnTo>
                  <a:lnTo>
                    <a:pt x="814222" y="103415"/>
                  </a:lnTo>
                  <a:lnTo>
                    <a:pt x="814810" y="104920"/>
                  </a:lnTo>
                  <a:lnTo>
                    <a:pt x="815609" y="106260"/>
                  </a:lnTo>
                  <a:lnTo>
                    <a:pt x="816950" y="107154"/>
                  </a:lnTo>
                  <a:lnTo>
                    <a:pt x="817819" y="107248"/>
                  </a:lnTo>
                  <a:lnTo>
                    <a:pt x="820429" y="106495"/>
                  </a:lnTo>
                  <a:lnTo>
                    <a:pt x="830070" y="106495"/>
                  </a:lnTo>
                  <a:lnTo>
                    <a:pt x="831905" y="106942"/>
                  </a:lnTo>
                  <a:lnTo>
                    <a:pt x="831575" y="108329"/>
                  </a:lnTo>
                  <a:lnTo>
                    <a:pt x="831974" y="108706"/>
                  </a:lnTo>
                  <a:lnTo>
                    <a:pt x="832704" y="108753"/>
                  </a:lnTo>
                  <a:lnTo>
                    <a:pt x="833362" y="109082"/>
                  </a:lnTo>
                  <a:lnTo>
                    <a:pt x="834749" y="111363"/>
                  </a:lnTo>
                  <a:lnTo>
                    <a:pt x="836254" y="113268"/>
                  </a:lnTo>
                  <a:lnTo>
                    <a:pt x="837571" y="116630"/>
                  </a:lnTo>
                  <a:lnTo>
                    <a:pt x="838700" y="117993"/>
                  </a:lnTo>
                  <a:lnTo>
                    <a:pt x="838347" y="118582"/>
                  </a:lnTo>
                  <a:lnTo>
                    <a:pt x="837901" y="119569"/>
                  </a:lnTo>
                  <a:lnTo>
                    <a:pt x="837806" y="120486"/>
                  </a:lnTo>
                  <a:lnTo>
                    <a:pt x="838442" y="120910"/>
                  </a:lnTo>
                  <a:lnTo>
                    <a:pt x="838442" y="121286"/>
                  </a:lnTo>
                  <a:lnTo>
                    <a:pt x="837148" y="123355"/>
                  </a:lnTo>
                  <a:lnTo>
                    <a:pt x="836889" y="124461"/>
                  </a:lnTo>
                  <a:lnTo>
                    <a:pt x="838653" y="124248"/>
                  </a:lnTo>
                  <a:lnTo>
                    <a:pt x="840017" y="125377"/>
                  </a:lnTo>
                  <a:lnTo>
                    <a:pt x="840275" y="126906"/>
                  </a:lnTo>
                  <a:lnTo>
                    <a:pt x="838724" y="127940"/>
                  </a:lnTo>
                  <a:lnTo>
                    <a:pt x="838277" y="128034"/>
                  </a:lnTo>
                  <a:lnTo>
                    <a:pt x="836960" y="128599"/>
                  </a:lnTo>
                  <a:lnTo>
                    <a:pt x="839217" y="131820"/>
                  </a:lnTo>
                  <a:lnTo>
                    <a:pt x="839217" y="133043"/>
                  </a:lnTo>
                  <a:lnTo>
                    <a:pt x="840111" y="133654"/>
                  </a:lnTo>
                  <a:lnTo>
                    <a:pt x="844837" y="134242"/>
                  </a:lnTo>
                  <a:lnTo>
                    <a:pt x="845472" y="134148"/>
                  </a:lnTo>
                  <a:lnTo>
                    <a:pt x="846389" y="133702"/>
                  </a:lnTo>
                  <a:lnTo>
                    <a:pt x="846883" y="133161"/>
                  </a:lnTo>
                  <a:lnTo>
                    <a:pt x="847236" y="132596"/>
                  </a:lnTo>
                  <a:lnTo>
                    <a:pt x="847659" y="132149"/>
                  </a:lnTo>
                  <a:lnTo>
                    <a:pt x="852597" y="131562"/>
                  </a:lnTo>
                  <a:lnTo>
                    <a:pt x="855089" y="130574"/>
                  </a:lnTo>
                  <a:lnTo>
                    <a:pt x="855936" y="127964"/>
                  </a:lnTo>
                  <a:lnTo>
                    <a:pt x="856218" y="127658"/>
                  </a:lnTo>
                  <a:lnTo>
                    <a:pt x="856453" y="127541"/>
                  </a:lnTo>
                  <a:lnTo>
                    <a:pt x="856664" y="127611"/>
                  </a:lnTo>
                  <a:lnTo>
                    <a:pt x="856876" y="127917"/>
                  </a:lnTo>
                  <a:lnTo>
                    <a:pt x="857817" y="128223"/>
                  </a:lnTo>
                  <a:lnTo>
                    <a:pt x="858758" y="128223"/>
                  </a:lnTo>
                  <a:lnTo>
                    <a:pt x="859627" y="127846"/>
                  </a:lnTo>
                  <a:lnTo>
                    <a:pt x="860380" y="127023"/>
                  </a:lnTo>
                  <a:lnTo>
                    <a:pt x="860615" y="127165"/>
                  </a:lnTo>
                  <a:lnTo>
                    <a:pt x="860756" y="127353"/>
                  </a:lnTo>
                  <a:lnTo>
                    <a:pt x="860803" y="127588"/>
                  </a:lnTo>
                  <a:lnTo>
                    <a:pt x="860756" y="127893"/>
                  </a:lnTo>
                  <a:lnTo>
                    <a:pt x="862191" y="128434"/>
                  </a:lnTo>
                  <a:lnTo>
                    <a:pt x="867058" y="129046"/>
                  </a:lnTo>
                  <a:lnTo>
                    <a:pt x="868704" y="129680"/>
                  </a:lnTo>
                  <a:lnTo>
                    <a:pt x="873101" y="132432"/>
                  </a:lnTo>
                  <a:lnTo>
                    <a:pt x="874935" y="132831"/>
                  </a:lnTo>
                  <a:lnTo>
                    <a:pt x="876393" y="132925"/>
                  </a:lnTo>
                  <a:lnTo>
                    <a:pt x="877616" y="133420"/>
                  </a:lnTo>
                  <a:lnTo>
                    <a:pt x="878674" y="135042"/>
                  </a:lnTo>
                  <a:lnTo>
                    <a:pt x="879709" y="138663"/>
                  </a:lnTo>
                  <a:lnTo>
                    <a:pt x="880438" y="140168"/>
                  </a:lnTo>
                  <a:lnTo>
                    <a:pt x="881966" y="141414"/>
                  </a:lnTo>
                  <a:lnTo>
                    <a:pt x="882930" y="141978"/>
                  </a:lnTo>
                  <a:lnTo>
                    <a:pt x="883988" y="142119"/>
                  </a:lnTo>
                  <a:lnTo>
                    <a:pt x="886033" y="141908"/>
                  </a:lnTo>
                  <a:lnTo>
                    <a:pt x="887327" y="141625"/>
                  </a:lnTo>
                  <a:lnTo>
                    <a:pt x="888221" y="141085"/>
                  </a:lnTo>
                  <a:lnTo>
                    <a:pt x="889537" y="139792"/>
                  </a:lnTo>
                  <a:lnTo>
                    <a:pt x="891395" y="138474"/>
                  </a:lnTo>
                  <a:lnTo>
                    <a:pt x="891771" y="137910"/>
                  </a:lnTo>
                  <a:lnTo>
                    <a:pt x="892359" y="136476"/>
                  </a:lnTo>
                  <a:lnTo>
                    <a:pt x="892735" y="135959"/>
                  </a:lnTo>
                  <a:lnTo>
                    <a:pt x="893981" y="135418"/>
                  </a:lnTo>
                  <a:lnTo>
                    <a:pt x="897673" y="135841"/>
                  </a:lnTo>
                  <a:lnTo>
                    <a:pt x="902493" y="134453"/>
                  </a:lnTo>
                  <a:lnTo>
                    <a:pt x="904963" y="134219"/>
                  </a:lnTo>
                  <a:lnTo>
                    <a:pt x="907149" y="135347"/>
                  </a:lnTo>
                  <a:lnTo>
                    <a:pt x="908090" y="136053"/>
                  </a:lnTo>
                  <a:lnTo>
                    <a:pt x="912652" y="138028"/>
                  </a:lnTo>
                  <a:lnTo>
                    <a:pt x="915074" y="138522"/>
                  </a:lnTo>
                  <a:lnTo>
                    <a:pt x="916320" y="138592"/>
                  </a:lnTo>
                  <a:lnTo>
                    <a:pt x="916908" y="140168"/>
                  </a:lnTo>
                  <a:lnTo>
                    <a:pt x="918131" y="141673"/>
                  </a:lnTo>
                  <a:lnTo>
                    <a:pt x="919635" y="142778"/>
                  </a:lnTo>
                  <a:lnTo>
                    <a:pt x="921070" y="143130"/>
                  </a:lnTo>
                  <a:lnTo>
                    <a:pt x="922668" y="143953"/>
                  </a:lnTo>
                  <a:lnTo>
                    <a:pt x="923539" y="144212"/>
                  </a:lnTo>
                  <a:lnTo>
                    <a:pt x="924361" y="144212"/>
                  </a:lnTo>
                  <a:lnTo>
                    <a:pt x="924879" y="143719"/>
                  </a:lnTo>
                  <a:lnTo>
                    <a:pt x="925537" y="142143"/>
                  </a:lnTo>
                  <a:lnTo>
                    <a:pt x="926149" y="141602"/>
                  </a:lnTo>
                  <a:lnTo>
                    <a:pt x="927654" y="141602"/>
                  </a:lnTo>
                  <a:lnTo>
                    <a:pt x="931251" y="142731"/>
                  </a:lnTo>
                  <a:lnTo>
                    <a:pt x="932968" y="143013"/>
                  </a:lnTo>
                  <a:lnTo>
                    <a:pt x="935037" y="142895"/>
                  </a:lnTo>
                  <a:lnTo>
                    <a:pt x="935037" y="142472"/>
                  </a:lnTo>
                  <a:lnTo>
                    <a:pt x="934073" y="141461"/>
                  </a:lnTo>
                  <a:lnTo>
                    <a:pt x="933368" y="139604"/>
                  </a:lnTo>
                  <a:lnTo>
                    <a:pt x="934002" y="138781"/>
                  </a:lnTo>
                  <a:lnTo>
                    <a:pt x="937295" y="136382"/>
                  </a:lnTo>
                  <a:lnTo>
                    <a:pt x="938681" y="135723"/>
                  </a:lnTo>
                  <a:lnTo>
                    <a:pt x="940281" y="135606"/>
                  </a:lnTo>
                  <a:lnTo>
                    <a:pt x="943337" y="136029"/>
                  </a:lnTo>
                  <a:lnTo>
                    <a:pt x="944960" y="135794"/>
                  </a:lnTo>
                  <a:lnTo>
                    <a:pt x="946206" y="135065"/>
                  </a:lnTo>
                  <a:lnTo>
                    <a:pt x="948558" y="132949"/>
                  </a:lnTo>
                  <a:lnTo>
                    <a:pt x="949804" y="132267"/>
                  </a:lnTo>
                  <a:lnTo>
                    <a:pt x="951074" y="132149"/>
                  </a:lnTo>
                  <a:lnTo>
                    <a:pt x="952415" y="132196"/>
                  </a:lnTo>
                  <a:lnTo>
                    <a:pt x="953730" y="132008"/>
                  </a:lnTo>
                  <a:lnTo>
                    <a:pt x="956294" y="130151"/>
                  </a:lnTo>
                  <a:lnTo>
                    <a:pt x="958810" y="131044"/>
                  </a:lnTo>
                  <a:lnTo>
                    <a:pt x="960150" y="130244"/>
                  </a:lnTo>
                  <a:lnTo>
                    <a:pt x="960973" y="130409"/>
                  </a:lnTo>
                  <a:lnTo>
                    <a:pt x="963278" y="130457"/>
                  </a:lnTo>
                  <a:lnTo>
                    <a:pt x="963795" y="130597"/>
                  </a:lnTo>
                  <a:lnTo>
                    <a:pt x="964288" y="131656"/>
                  </a:lnTo>
                  <a:lnTo>
                    <a:pt x="964900" y="132573"/>
                  </a:lnTo>
                  <a:lnTo>
                    <a:pt x="965653" y="133301"/>
                  </a:lnTo>
                  <a:lnTo>
                    <a:pt x="966593" y="133842"/>
                  </a:lnTo>
                  <a:lnTo>
                    <a:pt x="968192" y="134313"/>
                  </a:lnTo>
                  <a:lnTo>
                    <a:pt x="970190" y="134524"/>
                  </a:lnTo>
                  <a:lnTo>
                    <a:pt x="972236" y="134430"/>
                  </a:lnTo>
                  <a:lnTo>
                    <a:pt x="975599" y="133889"/>
                  </a:lnTo>
                  <a:lnTo>
                    <a:pt x="975434" y="135207"/>
                  </a:lnTo>
                  <a:lnTo>
                    <a:pt x="974752" y="137276"/>
                  </a:lnTo>
                  <a:lnTo>
                    <a:pt x="975082" y="138804"/>
                  </a:lnTo>
                  <a:lnTo>
                    <a:pt x="975082" y="140473"/>
                  </a:lnTo>
                  <a:lnTo>
                    <a:pt x="976093" y="141861"/>
                  </a:lnTo>
                  <a:lnTo>
                    <a:pt x="977410" y="142825"/>
                  </a:lnTo>
                  <a:lnTo>
                    <a:pt x="979149" y="142543"/>
                  </a:lnTo>
                  <a:lnTo>
                    <a:pt x="980984" y="142472"/>
                  </a:lnTo>
                  <a:lnTo>
                    <a:pt x="982018" y="143836"/>
                  </a:lnTo>
                  <a:lnTo>
                    <a:pt x="982559" y="143836"/>
                  </a:lnTo>
                  <a:lnTo>
                    <a:pt x="983406" y="143107"/>
                  </a:lnTo>
                  <a:lnTo>
                    <a:pt x="984440" y="143295"/>
                  </a:lnTo>
                  <a:lnTo>
                    <a:pt x="986321" y="144447"/>
                  </a:lnTo>
                  <a:lnTo>
                    <a:pt x="984464" y="147834"/>
                  </a:lnTo>
                  <a:lnTo>
                    <a:pt x="984181" y="148797"/>
                  </a:lnTo>
                  <a:lnTo>
                    <a:pt x="983923" y="150255"/>
                  </a:lnTo>
                  <a:lnTo>
                    <a:pt x="983335" y="150961"/>
                  </a:lnTo>
                  <a:lnTo>
                    <a:pt x="982630" y="151502"/>
                  </a:lnTo>
                  <a:lnTo>
                    <a:pt x="982066" y="152489"/>
                  </a:lnTo>
                  <a:lnTo>
                    <a:pt x="980819" y="151924"/>
                  </a:lnTo>
                  <a:lnTo>
                    <a:pt x="977927" y="152489"/>
                  </a:lnTo>
                  <a:lnTo>
                    <a:pt x="975481" y="151525"/>
                  </a:lnTo>
                  <a:lnTo>
                    <a:pt x="974800" y="150561"/>
                  </a:lnTo>
                  <a:lnTo>
                    <a:pt x="973341" y="150843"/>
                  </a:lnTo>
                  <a:lnTo>
                    <a:pt x="971672" y="152489"/>
                  </a:lnTo>
                  <a:lnTo>
                    <a:pt x="970779" y="154559"/>
                  </a:lnTo>
                  <a:lnTo>
                    <a:pt x="970661" y="157991"/>
                  </a:lnTo>
                  <a:lnTo>
                    <a:pt x="970591" y="160343"/>
                  </a:lnTo>
                  <a:lnTo>
                    <a:pt x="971061" y="162083"/>
                  </a:lnTo>
                  <a:lnTo>
                    <a:pt x="972330" y="163329"/>
                  </a:lnTo>
                  <a:lnTo>
                    <a:pt x="975034" y="164834"/>
                  </a:lnTo>
                  <a:lnTo>
                    <a:pt x="976539" y="166691"/>
                  </a:lnTo>
                  <a:lnTo>
                    <a:pt x="978280" y="169067"/>
                  </a:lnTo>
                  <a:lnTo>
                    <a:pt x="978162" y="170265"/>
                  </a:lnTo>
                  <a:lnTo>
                    <a:pt x="977127" y="171207"/>
                  </a:lnTo>
                  <a:lnTo>
                    <a:pt x="976822" y="172476"/>
                  </a:lnTo>
                  <a:lnTo>
                    <a:pt x="977268" y="173981"/>
                  </a:lnTo>
                  <a:lnTo>
                    <a:pt x="977692" y="175980"/>
                  </a:lnTo>
                  <a:lnTo>
                    <a:pt x="977762" y="176638"/>
                  </a:lnTo>
                  <a:lnTo>
                    <a:pt x="978068" y="177155"/>
                  </a:lnTo>
                  <a:lnTo>
                    <a:pt x="979526" y="178284"/>
                  </a:lnTo>
                  <a:lnTo>
                    <a:pt x="979926" y="178990"/>
                  </a:lnTo>
                  <a:lnTo>
                    <a:pt x="979644" y="180871"/>
                  </a:lnTo>
                  <a:lnTo>
                    <a:pt x="977715" y="183974"/>
                  </a:lnTo>
                  <a:lnTo>
                    <a:pt x="976727" y="186443"/>
                  </a:lnTo>
                  <a:lnTo>
                    <a:pt x="975458" y="187690"/>
                  </a:lnTo>
                  <a:lnTo>
                    <a:pt x="973247" y="190558"/>
                  </a:lnTo>
                  <a:lnTo>
                    <a:pt x="970637" y="190347"/>
                  </a:lnTo>
                  <a:lnTo>
                    <a:pt x="967651" y="192369"/>
                  </a:lnTo>
                  <a:lnTo>
                    <a:pt x="966898" y="195003"/>
                  </a:lnTo>
                  <a:lnTo>
                    <a:pt x="964665" y="196179"/>
                  </a:lnTo>
                  <a:lnTo>
                    <a:pt x="957681" y="201234"/>
                  </a:lnTo>
                  <a:lnTo>
                    <a:pt x="956270" y="203327"/>
                  </a:lnTo>
                  <a:lnTo>
                    <a:pt x="953755" y="203891"/>
                  </a:lnTo>
                  <a:lnTo>
                    <a:pt x="951897" y="204338"/>
                  </a:lnTo>
                  <a:lnTo>
                    <a:pt x="949851" y="204808"/>
                  </a:lnTo>
                  <a:lnTo>
                    <a:pt x="949005" y="205043"/>
                  </a:lnTo>
                  <a:lnTo>
                    <a:pt x="948628" y="205231"/>
                  </a:lnTo>
                  <a:lnTo>
                    <a:pt x="947429" y="206266"/>
                  </a:lnTo>
                  <a:lnTo>
                    <a:pt x="947193" y="206666"/>
                  </a:lnTo>
                  <a:lnTo>
                    <a:pt x="946888" y="207371"/>
                  </a:lnTo>
                  <a:lnTo>
                    <a:pt x="946136" y="207536"/>
                  </a:lnTo>
                  <a:lnTo>
                    <a:pt x="945218" y="207489"/>
                  </a:lnTo>
                  <a:lnTo>
                    <a:pt x="944160" y="209746"/>
                  </a:lnTo>
                  <a:lnTo>
                    <a:pt x="934261" y="213602"/>
                  </a:lnTo>
                  <a:lnTo>
                    <a:pt x="918436" y="220304"/>
                  </a:lnTo>
                  <a:lnTo>
                    <a:pt x="916837" y="221879"/>
                  </a:lnTo>
                  <a:lnTo>
                    <a:pt x="916767" y="221667"/>
                  </a:lnTo>
                  <a:lnTo>
                    <a:pt x="912252" y="224513"/>
                  </a:lnTo>
                  <a:lnTo>
                    <a:pt x="906421" y="226794"/>
                  </a:lnTo>
                  <a:lnTo>
                    <a:pt x="904116" y="228393"/>
                  </a:lnTo>
                  <a:lnTo>
                    <a:pt x="902000" y="231026"/>
                  </a:lnTo>
                  <a:lnTo>
                    <a:pt x="898214" y="237164"/>
                  </a:lnTo>
                  <a:lnTo>
                    <a:pt x="895980" y="240056"/>
                  </a:lnTo>
                  <a:lnTo>
                    <a:pt x="893417" y="242242"/>
                  </a:lnTo>
                  <a:lnTo>
                    <a:pt x="887915" y="245017"/>
                  </a:lnTo>
                  <a:lnTo>
                    <a:pt x="884741" y="245840"/>
                  </a:lnTo>
                  <a:lnTo>
                    <a:pt x="879403" y="246334"/>
                  </a:lnTo>
                  <a:lnTo>
                    <a:pt x="874135" y="247580"/>
                  </a:lnTo>
                  <a:lnTo>
                    <a:pt x="872537" y="248474"/>
                  </a:lnTo>
                  <a:lnTo>
                    <a:pt x="871761" y="248685"/>
                  </a:lnTo>
                  <a:lnTo>
                    <a:pt x="869080" y="248568"/>
                  </a:lnTo>
                  <a:lnTo>
                    <a:pt x="853796" y="252871"/>
                  </a:lnTo>
                  <a:lnTo>
                    <a:pt x="847142" y="253318"/>
                  </a:lnTo>
                  <a:lnTo>
                    <a:pt x="827507" y="260090"/>
                  </a:lnTo>
                  <a:lnTo>
                    <a:pt x="822005" y="261195"/>
                  </a:lnTo>
                  <a:lnTo>
                    <a:pt x="821393" y="261641"/>
                  </a:lnTo>
                  <a:lnTo>
                    <a:pt x="820030" y="263899"/>
                  </a:lnTo>
                  <a:lnTo>
                    <a:pt x="819724" y="264627"/>
                  </a:lnTo>
                  <a:lnTo>
                    <a:pt x="819324" y="265168"/>
                  </a:lnTo>
                  <a:lnTo>
                    <a:pt x="818478" y="265521"/>
                  </a:lnTo>
                  <a:lnTo>
                    <a:pt x="816620" y="264487"/>
                  </a:lnTo>
                  <a:lnTo>
                    <a:pt x="816032" y="264299"/>
                  </a:lnTo>
                  <a:lnTo>
                    <a:pt x="812599" y="264369"/>
                  </a:lnTo>
                  <a:lnTo>
                    <a:pt x="809307" y="264934"/>
                  </a:lnTo>
                  <a:lnTo>
                    <a:pt x="806321" y="266180"/>
                  </a:lnTo>
                  <a:lnTo>
                    <a:pt x="804205" y="267332"/>
                  </a:lnTo>
                  <a:lnTo>
                    <a:pt x="795363" y="275398"/>
                  </a:lnTo>
                  <a:lnTo>
                    <a:pt x="791084" y="280641"/>
                  </a:lnTo>
                  <a:lnTo>
                    <a:pt x="782595" y="288636"/>
                  </a:lnTo>
                  <a:lnTo>
                    <a:pt x="781090" y="291411"/>
                  </a:lnTo>
                  <a:lnTo>
                    <a:pt x="783183" y="292516"/>
                  </a:lnTo>
                  <a:lnTo>
                    <a:pt x="785417" y="293339"/>
                  </a:lnTo>
                  <a:lnTo>
                    <a:pt x="786358" y="293292"/>
                  </a:lnTo>
                  <a:lnTo>
                    <a:pt x="786734" y="292821"/>
                  </a:lnTo>
                  <a:lnTo>
                    <a:pt x="786452" y="292116"/>
                  </a:lnTo>
                  <a:lnTo>
                    <a:pt x="785417" y="291387"/>
                  </a:lnTo>
                  <a:lnTo>
                    <a:pt x="786734" y="291481"/>
                  </a:lnTo>
                  <a:lnTo>
                    <a:pt x="787792" y="291998"/>
                  </a:lnTo>
                  <a:lnTo>
                    <a:pt x="788686" y="292775"/>
                  </a:lnTo>
                  <a:lnTo>
                    <a:pt x="790567" y="294938"/>
                  </a:lnTo>
                  <a:lnTo>
                    <a:pt x="792589" y="296466"/>
                  </a:lnTo>
                  <a:lnTo>
                    <a:pt x="793553" y="296372"/>
                  </a:lnTo>
                  <a:lnTo>
                    <a:pt x="795081" y="296866"/>
                  </a:lnTo>
                  <a:lnTo>
                    <a:pt x="794987" y="298841"/>
                  </a:lnTo>
                  <a:lnTo>
                    <a:pt x="793859" y="300816"/>
                  </a:lnTo>
                  <a:lnTo>
                    <a:pt x="793106" y="301851"/>
                  </a:lnTo>
                  <a:lnTo>
                    <a:pt x="788074" y="303214"/>
                  </a:lnTo>
                  <a:lnTo>
                    <a:pt x="785911" y="304978"/>
                  </a:lnTo>
                  <a:lnTo>
                    <a:pt x="782055" y="310527"/>
                  </a:lnTo>
                  <a:lnTo>
                    <a:pt x="779703" y="312244"/>
                  </a:lnTo>
                  <a:lnTo>
                    <a:pt x="777422" y="313020"/>
                  </a:lnTo>
                  <a:lnTo>
                    <a:pt x="774929" y="313349"/>
                  </a:lnTo>
                  <a:lnTo>
                    <a:pt x="773096" y="310645"/>
                  </a:lnTo>
                  <a:lnTo>
                    <a:pt x="776858" y="310198"/>
                  </a:lnTo>
                  <a:lnTo>
                    <a:pt x="778621" y="311350"/>
                  </a:lnTo>
                  <a:lnTo>
                    <a:pt x="781208" y="309892"/>
                  </a:lnTo>
                  <a:lnTo>
                    <a:pt x="784053" y="305801"/>
                  </a:lnTo>
                  <a:lnTo>
                    <a:pt x="782478" y="305566"/>
                  </a:lnTo>
                  <a:lnTo>
                    <a:pt x="780103" y="305754"/>
                  </a:lnTo>
                  <a:lnTo>
                    <a:pt x="773660" y="307682"/>
                  </a:lnTo>
                  <a:lnTo>
                    <a:pt x="772132" y="308623"/>
                  </a:lnTo>
                  <a:lnTo>
                    <a:pt x="770814" y="309916"/>
                  </a:lnTo>
                  <a:lnTo>
                    <a:pt x="769639" y="311586"/>
                  </a:lnTo>
                  <a:lnTo>
                    <a:pt x="767217" y="317064"/>
                  </a:lnTo>
                  <a:lnTo>
                    <a:pt x="765948" y="319910"/>
                  </a:lnTo>
                  <a:lnTo>
                    <a:pt x="764536" y="321720"/>
                  </a:lnTo>
                  <a:lnTo>
                    <a:pt x="763196" y="323083"/>
                  </a:lnTo>
                  <a:lnTo>
                    <a:pt x="762138" y="324636"/>
                  </a:lnTo>
                  <a:lnTo>
                    <a:pt x="761621" y="327058"/>
                  </a:lnTo>
                  <a:lnTo>
                    <a:pt x="759599" y="328962"/>
                  </a:lnTo>
                  <a:lnTo>
                    <a:pt x="754143" y="338697"/>
                  </a:lnTo>
                  <a:lnTo>
                    <a:pt x="753226" y="339685"/>
                  </a:lnTo>
                  <a:lnTo>
                    <a:pt x="751133" y="341260"/>
                  </a:lnTo>
                  <a:lnTo>
                    <a:pt x="750099" y="342272"/>
                  </a:lnTo>
                  <a:lnTo>
                    <a:pt x="747442" y="345728"/>
                  </a:lnTo>
                  <a:lnTo>
                    <a:pt x="742786" y="349326"/>
                  </a:lnTo>
                  <a:lnTo>
                    <a:pt x="738036" y="358026"/>
                  </a:lnTo>
                  <a:lnTo>
                    <a:pt x="735873" y="360142"/>
                  </a:lnTo>
                  <a:lnTo>
                    <a:pt x="731899" y="362423"/>
                  </a:lnTo>
                  <a:lnTo>
                    <a:pt x="729900" y="365127"/>
                  </a:lnTo>
                  <a:lnTo>
                    <a:pt x="726514" y="371781"/>
                  </a:lnTo>
                  <a:lnTo>
                    <a:pt x="724492" y="374603"/>
                  </a:lnTo>
                  <a:lnTo>
                    <a:pt x="719601" y="379635"/>
                  </a:lnTo>
                  <a:lnTo>
                    <a:pt x="711536" y="392004"/>
                  </a:lnTo>
                  <a:lnTo>
                    <a:pt x="711112" y="392968"/>
                  </a:lnTo>
                  <a:lnTo>
                    <a:pt x="710924" y="395225"/>
                  </a:lnTo>
                  <a:lnTo>
                    <a:pt x="710407" y="396777"/>
                  </a:lnTo>
                  <a:lnTo>
                    <a:pt x="709561" y="397953"/>
                  </a:lnTo>
                  <a:lnTo>
                    <a:pt x="707679" y="399834"/>
                  </a:lnTo>
                  <a:lnTo>
                    <a:pt x="706621" y="401221"/>
                  </a:lnTo>
                  <a:lnTo>
                    <a:pt x="705681" y="402843"/>
                  </a:lnTo>
                  <a:lnTo>
                    <a:pt x="705257" y="404419"/>
                  </a:lnTo>
                  <a:lnTo>
                    <a:pt x="704740" y="405572"/>
                  </a:lnTo>
                  <a:lnTo>
                    <a:pt x="702295" y="408864"/>
                  </a:lnTo>
                  <a:lnTo>
                    <a:pt x="701472" y="410533"/>
                  </a:lnTo>
                  <a:lnTo>
                    <a:pt x="700907" y="413848"/>
                  </a:lnTo>
                  <a:lnTo>
                    <a:pt x="701166" y="418457"/>
                  </a:lnTo>
                  <a:lnTo>
                    <a:pt x="701683" y="422407"/>
                  </a:lnTo>
                  <a:lnTo>
                    <a:pt x="703188" y="428544"/>
                  </a:lnTo>
                  <a:lnTo>
                    <a:pt x="708079" y="438397"/>
                  </a:lnTo>
                  <a:lnTo>
                    <a:pt x="708926" y="439902"/>
                  </a:lnTo>
                  <a:lnTo>
                    <a:pt x="709890" y="441524"/>
                  </a:lnTo>
                  <a:lnTo>
                    <a:pt x="708926" y="442135"/>
                  </a:lnTo>
                  <a:lnTo>
                    <a:pt x="707797" y="442982"/>
                  </a:lnTo>
                  <a:lnTo>
                    <a:pt x="708243" y="444652"/>
                  </a:lnTo>
                  <a:lnTo>
                    <a:pt x="709020" y="447991"/>
                  </a:lnTo>
                  <a:lnTo>
                    <a:pt x="710337" y="451048"/>
                  </a:lnTo>
                  <a:lnTo>
                    <a:pt x="712358" y="454410"/>
                  </a:lnTo>
                  <a:lnTo>
                    <a:pt x="714404" y="458102"/>
                  </a:lnTo>
                  <a:lnTo>
                    <a:pt x="717320" y="462805"/>
                  </a:lnTo>
                  <a:lnTo>
                    <a:pt x="718473" y="464145"/>
                  </a:lnTo>
                  <a:lnTo>
                    <a:pt x="721388" y="466285"/>
                  </a:lnTo>
                  <a:lnTo>
                    <a:pt x="724328" y="469107"/>
                  </a:lnTo>
                  <a:lnTo>
                    <a:pt x="725997" y="470306"/>
                  </a:lnTo>
                  <a:lnTo>
                    <a:pt x="728113" y="470799"/>
                  </a:lnTo>
                  <a:lnTo>
                    <a:pt x="731687" y="471129"/>
                  </a:lnTo>
                  <a:lnTo>
                    <a:pt x="735449" y="472140"/>
                  </a:lnTo>
                  <a:lnTo>
                    <a:pt x="738812" y="473880"/>
                  </a:lnTo>
                  <a:lnTo>
                    <a:pt x="741257" y="476419"/>
                  </a:lnTo>
                  <a:lnTo>
                    <a:pt x="740928" y="476561"/>
                  </a:lnTo>
                  <a:lnTo>
                    <a:pt x="740153" y="477101"/>
                  </a:lnTo>
                  <a:lnTo>
                    <a:pt x="741093" y="477501"/>
                  </a:lnTo>
                  <a:lnTo>
                    <a:pt x="741704" y="478112"/>
                  </a:lnTo>
                  <a:lnTo>
                    <a:pt x="743821" y="479688"/>
                  </a:lnTo>
                  <a:lnTo>
                    <a:pt x="744596" y="479500"/>
                  </a:lnTo>
                  <a:lnTo>
                    <a:pt x="745090" y="480628"/>
                  </a:lnTo>
                  <a:lnTo>
                    <a:pt x="745137" y="482063"/>
                  </a:lnTo>
                  <a:lnTo>
                    <a:pt x="744596" y="482768"/>
                  </a:lnTo>
                  <a:lnTo>
                    <a:pt x="743139" y="482839"/>
                  </a:lnTo>
                  <a:lnTo>
                    <a:pt x="741822" y="483144"/>
                  </a:lnTo>
                  <a:lnTo>
                    <a:pt x="740623" y="483709"/>
                  </a:lnTo>
                  <a:lnTo>
                    <a:pt x="739518" y="484673"/>
                  </a:lnTo>
                  <a:lnTo>
                    <a:pt x="738600" y="486601"/>
                  </a:lnTo>
                  <a:lnTo>
                    <a:pt x="738459" y="486836"/>
                  </a:lnTo>
                  <a:lnTo>
                    <a:pt x="738153" y="487165"/>
                  </a:lnTo>
                  <a:lnTo>
                    <a:pt x="736649" y="487236"/>
                  </a:lnTo>
                  <a:lnTo>
                    <a:pt x="736084" y="487495"/>
                  </a:lnTo>
                  <a:lnTo>
                    <a:pt x="735050" y="488435"/>
                  </a:lnTo>
                  <a:lnTo>
                    <a:pt x="734133" y="488882"/>
                  </a:lnTo>
                  <a:lnTo>
                    <a:pt x="733309" y="489493"/>
                  </a:lnTo>
                  <a:lnTo>
                    <a:pt x="732534" y="490951"/>
                  </a:lnTo>
                  <a:lnTo>
                    <a:pt x="733122" y="492244"/>
                  </a:lnTo>
                  <a:lnTo>
                    <a:pt x="731547" y="491892"/>
                  </a:lnTo>
                  <a:lnTo>
                    <a:pt x="730465" y="492127"/>
                  </a:lnTo>
                  <a:lnTo>
                    <a:pt x="729430" y="492574"/>
                  </a:lnTo>
                  <a:lnTo>
                    <a:pt x="727996" y="492856"/>
                  </a:lnTo>
                  <a:lnTo>
                    <a:pt x="725668" y="492856"/>
                  </a:lnTo>
                  <a:lnTo>
                    <a:pt x="724563" y="493209"/>
                  </a:lnTo>
                  <a:lnTo>
                    <a:pt x="723457" y="494032"/>
                  </a:lnTo>
                  <a:lnTo>
                    <a:pt x="722517" y="495537"/>
                  </a:lnTo>
                  <a:lnTo>
                    <a:pt x="722517" y="496853"/>
                  </a:lnTo>
                  <a:lnTo>
                    <a:pt x="722634" y="498123"/>
                  </a:lnTo>
                  <a:lnTo>
                    <a:pt x="722141" y="499416"/>
                  </a:lnTo>
                  <a:lnTo>
                    <a:pt x="720941" y="500591"/>
                  </a:lnTo>
                  <a:lnTo>
                    <a:pt x="719789" y="501015"/>
                  </a:lnTo>
                  <a:lnTo>
                    <a:pt x="716544" y="501015"/>
                  </a:lnTo>
                  <a:lnTo>
                    <a:pt x="712993" y="501744"/>
                  </a:lnTo>
                  <a:lnTo>
                    <a:pt x="711018" y="502449"/>
                  </a:lnTo>
                  <a:lnTo>
                    <a:pt x="708526" y="504095"/>
                  </a:lnTo>
                  <a:lnTo>
                    <a:pt x="701049" y="506988"/>
                  </a:lnTo>
                  <a:lnTo>
                    <a:pt x="699873" y="507763"/>
                  </a:lnTo>
                  <a:lnTo>
                    <a:pt x="699379" y="508821"/>
                  </a:lnTo>
                  <a:lnTo>
                    <a:pt x="698768" y="509198"/>
                  </a:lnTo>
                  <a:lnTo>
                    <a:pt x="695923" y="512137"/>
                  </a:lnTo>
                  <a:lnTo>
                    <a:pt x="695076" y="513501"/>
                  </a:lnTo>
                  <a:lnTo>
                    <a:pt x="694770" y="515288"/>
                  </a:lnTo>
                  <a:lnTo>
                    <a:pt x="694770" y="516252"/>
                  </a:lnTo>
                  <a:lnTo>
                    <a:pt x="694488" y="516628"/>
                  </a:lnTo>
                  <a:lnTo>
                    <a:pt x="691972" y="516747"/>
                  </a:lnTo>
                  <a:lnTo>
                    <a:pt x="690843" y="517051"/>
                  </a:lnTo>
                  <a:lnTo>
                    <a:pt x="690021" y="517804"/>
                  </a:lnTo>
                  <a:lnTo>
                    <a:pt x="689714" y="519191"/>
                  </a:lnTo>
                  <a:lnTo>
                    <a:pt x="686940" y="519050"/>
                  </a:lnTo>
                  <a:lnTo>
                    <a:pt x="686235" y="522695"/>
                  </a:lnTo>
                  <a:lnTo>
                    <a:pt x="687386" y="531042"/>
                  </a:lnTo>
                  <a:lnTo>
                    <a:pt x="686493" y="532100"/>
                  </a:lnTo>
                  <a:lnTo>
                    <a:pt x="685129" y="532407"/>
                  </a:lnTo>
                  <a:lnTo>
                    <a:pt x="682308" y="532218"/>
                  </a:lnTo>
                  <a:lnTo>
                    <a:pt x="680544" y="532641"/>
                  </a:lnTo>
                  <a:lnTo>
                    <a:pt x="679133" y="533700"/>
                  </a:lnTo>
                  <a:lnTo>
                    <a:pt x="678028" y="535134"/>
                  </a:lnTo>
                  <a:lnTo>
                    <a:pt x="677181" y="536639"/>
                  </a:lnTo>
                  <a:lnTo>
                    <a:pt x="676688" y="537932"/>
                  </a:lnTo>
                  <a:lnTo>
                    <a:pt x="676359" y="539343"/>
                  </a:lnTo>
                  <a:lnTo>
                    <a:pt x="676124" y="543199"/>
                  </a:lnTo>
                  <a:lnTo>
                    <a:pt x="675771" y="549219"/>
                  </a:lnTo>
                  <a:lnTo>
                    <a:pt x="675607" y="550888"/>
                  </a:lnTo>
                  <a:lnTo>
                    <a:pt x="674901" y="551711"/>
                  </a:lnTo>
                  <a:lnTo>
                    <a:pt x="672832" y="552464"/>
                  </a:lnTo>
                  <a:lnTo>
                    <a:pt x="671350" y="553922"/>
                  </a:lnTo>
                  <a:lnTo>
                    <a:pt x="670598" y="555121"/>
                  </a:lnTo>
                  <a:lnTo>
                    <a:pt x="667447" y="562363"/>
                  </a:lnTo>
                  <a:lnTo>
                    <a:pt x="667282" y="563845"/>
                  </a:lnTo>
                  <a:lnTo>
                    <a:pt x="667282" y="563962"/>
                  </a:lnTo>
                  <a:lnTo>
                    <a:pt x="667635" y="567560"/>
                  </a:lnTo>
                  <a:lnTo>
                    <a:pt x="667259" y="568453"/>
                  </a:lnTo>
                  <a:lnTo>
                    <a:pt x="665119" y="566031"/>
                  </a:lnTo>
                  <a:lnTo>
                    <a:pt x="663214" y="570805"/>
                  </a:lnTo>
                  <a:lnTo>
                    <a:pt x="662180" y="571605"/>
                  </a:lnTo>
                  <a:lnTo>
                    <a:pt x="660439" y="572075"/>
                  </a:lnTo>
                  <a:lnTo>
                    <a:pt x="659781" y="573321"/>
                  </a:lnTo>
                  <a:lnTo>
                    <a:pt x="660063" y="575014"/>
                  </a:lnTo>
                  <a:lnTo>
                    <a:pt x="662627" y="579270"/>
                  </a:lnTo>
                  <a:lnTo>
                    <a:pt x="663402" y="580164"/>
                  </a:lnTo>
                  <a:lnTo>
                    <a:pt x="665919" y="581692"/>
                  </a:lnTo>
                  <a:lnTo>
                    <a:pt x="667706" y="582491"/>
                  </a:lnTo>
                  <a:lnTo>
                    <a:pt x="669258" y="582679"/>
                  </a:lnTo>
                  <a:lnTo>
                    <a:pt x="669916" y="581575"/>
                  </a:lnTo>
                  <a:lnTo>
                    <a:pt x="671350" y="582351"/>
                  </a:lnTo>
                  <a:lnTo>
                    <a:pt x="671891" y="583408"/>
                  </a:lnTo>
                  <a:lnTo>
                    <a:pt x="671562" y="584490"/>
                  </a:lnTo>
                  <a:lnTo>
                    <a:pt x="670433" y="585313"/>
                  </a:lnTo>
                  <a:lnTo>
                    <a:pt x="669798" y="585948"/>
                  </a:lnTo>
                  <a:lnTo>
                    <a:pt x="669116" y="586301"/>
                  </a:lnTo>
                  <a:lnTo>
                    <a:pt x="668411" y="586301"/>
                  </a:lnTo>
                  <a:lnTo>
                    <a:pt x="667706" y="585854"/>
                  </a:lnTo>
                  <a:lnTo>
                    <a:pt x="666976" y="586277"/>
                  </a:lnTo>
                  <a:lnTo>
                    <a:pt x="664837" y="587030"/>
                  </a:lnTo>
                  <a:lnTo>
                    <a:pt x="663544" y="587312"/>
                  </a:lnTo>
                  <a:lnTo>
                    <a:pt x="661310" y="588394"/>
                  </a:lnTo>
                  <a:lnTo>
                    <a:pt x="658370" y="588394"/>
                  </a:lnTo>
                  <a:lnTo>
                    <a:pt x="657359" y="588581"/>
                  </a:lnTo>
                  <a:lnTo>
                    <a:pt x="656278" y="589052"/>
                  </a:lnTo>
                  <a:lnTo>
                    <a:pt x="654349" y="590251"/>
                  </a:lnTo>
                  <a:lnTo>
                    <a:pt x="653691" y="589781"/>
                  </a:lnTo>
                  <a:lnTo>
                    <a:pt x="650587" y="588394"/>
                  </a:lnTo>
                  <a:lnTo>
                    <a:pt x="648024" y="587923"/>
                  </a:lnTo>
                  <a:lnTo>
                    <a:pt x="643062" y="587830"/>
                  </a:lnTo>
                  <a:lnTo>
                    <a:pt x="641676" y="587970"/>
                  </a:lnTo>
                  <a:lnTo>
                    <a:pt x="640453" y="588370"/>
                  </a:lnTo>
                  <a:lnTo>
                    <a:pt x="639582" y="589076"/>
                  </a:lnTo>
                  <a:lnTo>
                    <a:pt x="639160" y="589945"/>
                  </a:lnTo>
                  <a:lnTo>
                    <a:pt x="639394" y="590816"/>
                  </a:lnTo>
                  <a:lnTo>
                    <a:pt x="640265" y="592391"/>
                  </a:lnTo>
                  <a:lnTo>
                    <a:pt x="637819" y="591874"/>
                  </a:lnTo>
                  <a:lnTo>
                    <a:pt x="635468" y="591356"/>
                  </a:lnTo>
                  <a:lnTo>
                    <a:pt x="634974" y="590322"/>
                  </a:lnTo>
                  <a:lnTo>
                    <a:pt x="634574" y="589523"/>
                  </a:lnTo>
                  <a:lnTo>
                    <a:pt x="632928" y="589287"/>
                  </a:lnTo>
                  <a:lnTo>
                    <a:pt x="630624" y="588417"/>
                  </a:lnTo>
                  <a:lnTo>
                    <a:pt x="629566" y="588135"/>
                  </a:lnTo>
                  <a:lnTo>
                    <a:pt x="628390" y="589240"/>
                  </a:lnTo>
                  <a:lnTo>
                    <a:pt x="628084" y="590087"/>
                  </a:lnTo>
                  <a:lnTo>
                    <a:pt x="625898" y="590039"/>
                  </a:lnTo>
                  <a:lnTo>
                    <a:pt x="623241" y="589710"/>
                  </a:lnTo>
                  <a:lnTo>
                    <a:pt x="620936" y="590792"/>
                  </a:lnTo>
                  <a:lnTo>
                    <a:pt x="619690" y="591568"/>
                  </a:lnTo>
                  <a:lnTo>
                    <a:pt x="616209" y="594719"/>
                  </a:lnTo>
                  <a:lnTo>
                    <a:pt x="614893" y="595471"/>
                  </a:lnTo>
                  <a:lnTo>
                    <a:pt x="613341" y="595777"/>
                  </a:lnTo>
                  <a:lnTo>
                    <a:pt x="612918" y="595965"/>
                  </a:lnTo>
                  <a:lnTo>
                    <a:pt x="612283" y="596388"/>
                  </a:lnTo>
                  <a:lnTo>
                    <a:pt x="611718" y="596906"/>
                  </a:lnTo>
                  <a:lnTo>
                    <a:pt x="611460" y="597329"/>
                  </a:lnTo>
                  <a:lnTo>
                    <a:pt x="611248" y="597776"/>
                  </a:lnTo>
                  <a:lnTo>
                    <a:pt x="610402" y="600739"/>
                  </a:lnTo>
                  <a:lnTo>
                    <a:pt x="610332" y="601326"/>
                  </a:lnTo>
                  <a:lnTo>
                    <a:pt x="609649" y="601820"/>
                  </a:lnTo>
                  <a:lnTo>
                    <a:pt x="609179" y="601679"/>
                  </a:lnTo>
                  <a:lnTo>
                    <a:pt x="608756" y="601373"/>
                  </a:lnTo>
                  <a:lnTo>
                    <a:pt x="608215" y="601326"/>
                  </a:lnTo>
                  <a:lnTo>
                    <a:pt x="607509" y="601726"/>
                  </a:lnTo>
                  <a:lnTo>
                    <a:pt x="605958" y="602972"/>
                  </a:lnTo>
                  <a:lnTo>
                    <a:pt x="605229" y="603231"/>
                  </a:lnTo>
                  <a:lnTo>
                    <a:pt x="604077" y="603443"/>
                  </a:lnTo>
                  <a:lnTo>
                    <a:pt x="600079" y="605041"/>
                  </a:lnTo>
                  <a:lnTo>
                    <a:pt x="598292" y="606052"/>
                  </a:lnTo>
                  <a:lnTo>
                    <a:pt x="597963" y="607111"/>
                  </a:lnTo>
                  <a:lnTo>
                    <a:pt x="597422" y="607840"/>
                  </a:lnTo>
                  <a:lnTo>
                    <a:pt x="596011" y="607651"/>
                  </a:lnTo>
                  <a:lnTo>
                    <a:pt x="595283" y="608451"/>
                  </a:lnTo>
                  <a:lnTo>
                    <a:pt x="594836" y="610027"/>
                  </a:lnTo>
                  <a:lnTo>
                    <a:pt x="593801" y="611884"/>
                  </a:lnTo>
                  <a:lnTo>
                    <a:pt x="591496" y="614941"/>
                  </a:lnTo>
                  <a:lnTo>
                    <a:pt x="586911" y="619197"/>
                  </a:lnTo>
                  <a:lnTo>
                    <a:pt x="584913" y="621737"/>
                  </a:lnTo>
                  <a:lnTo>
                    <a:pt x="583525" y="625405"/>
                  </a:lnTo>
                  <a:lnTo>
                    <a:pt x="582938" y="628532"/>
                  </a:lnTo>
                  <a:lnTo>
                    <a:pt x="581997" y="630978"/>
                  </a:lnTo>
                  <a:lnTo>
                    <a:pt x="581573" y="633470"/>
                  </a:lnTo>
                  <a:lnTo>
                    <a:pt x="579245" y="638949"/>
                  </a:lnTo>
                  <a:lnTo>
                    <a:pt x="577600" y="641465"/>
                  </a:lnTo>
                  <a:lnTo>
                    <a:pt x="577529" y="642570"/>
                  </a:lnTo>
                  <a:lnTo>
                    <a:pt x="577741" y="643369"/>
                  </a:lnTo>
                  <a:lnTo>
                    <a:pt x="578023" y="644052"/>
                  </a:lnTo>
                  <a:lnTo>
                    <a:pt x="578164" y="644827"/>
                  </a:lnTo>
                  <a:lnTo>
                    <a:pt x="578046" y="645627"/>
                  </a:lnTo>
                  <a:lnTo>
                    <a:pt x="577670" y="646097"/>
                  </a:lnTo>
                  <a:lnTo>
                    <a:pt x="577082" y="646309"/>
                  </a:lnTo>
                  <a:lnTo>
                    <a:pt x="575319" y="646426"/>
                  </a:lnTo>
                  <a:lnTo>
                    <a:pt x="574848" y="646638"/>
                  </a:lnTo>
                  <a:lnTo>
                    <a:pt x="573885" y="647532"/>
                  </a:lnTo>
                  <a:lnTo>
                    <a:pt x="571133" y="649272"/>
                  </a:lnTo>
                  <a:lnTo>
                    <a:pt x="570052" y="650494"/>
                  </a:lnTo>
                  <a:lnTo>
                    <a:pt x="569252" y="654209"/>
                  </a:lnTo>
                  <a:lnTo>
                    <a:pt x="568335" y="655267"/>
                  </a:lnTo>
                  <a:lnTo>
                    <a:pt x="567112" y="656114"/>
                  </a:lnTo>
                  <a:lnTo>
                    <a:pt x="565819" y="657384"/>
                  </a:lnTo>
                  <a:lnTo>
                    <a:pt x="565513" y="658066"/>
                  </a:lnTo>
                  <a:lnTo>
                    <a:pt x="565114" y="659759"/>
                  </a:lnTo>
                  <a:lnTo>
                    <a:pt x="564690" y="660487"/>
                  </a:lnTo>
                  <a:lnTo>
                    <a:pt x="563985" y="660911"/>
                  </a:lnTo>
                  <a:lnTo>
                    <a:pt x="563115" y="661123"/>
                  </a:lnTo>
                  <a:lnTo>
                    <a:pt x="562386" y="661405"/>
                  </a:lnTo>
                  <a:lnTo>
                    <a:pt x="561586" y="663122"/>
                  </a:lnTo>
                  <a:lnTo>
                    <a:pt x="560364" y="663992"/>
                  </a:lnTo>
                  <a:lnTo>
                    <a:pt x="558788" y="664556"/>
                  </a:lnTo>
                  <a:lnTo>
                    <a:pt x="557260" y="664767"/>
                  </a:lnTo>
                  <a:lnTo>
                    <a:pt x="554321" y="663921"/>
                  </a:lnTo>
                  <a:lnTo>
                    <a:pt x="552134" y="661875"/>
                  </a:lnTo>
                  <a:lnTo>
                    <a:pt x="550229" y="659430"/>
                  </a:lnTo>
                  <a:lnTo>
                    <a:pt x="548136" y="657407"/>
                  </a:lnTo>
                  <a:lnTo>
                    <a:pt x="545362" y="655808"/>
                  </a:lnTo>
                  <a:lnTo>
                    <a:pt x="543739" y="655244"/>
                  </a:lnTo>
                  <a:lnTo>
                    <a:pt x="541976" y="655009"/>
                  </a:lnTo>
                  <a:lnTo>
                    <a:pt x="540518" y="655291"/>
                  </a:lnTo>
                  <a:lnTo>
                    <a:pt x="537978" y="656514"/>
                  </a:lnTo>
                  <a:lnTo>
                    <a:pt x="536380" y="656843"/>
                  </a:lnTo>
                  <a:lnTo>
                    <a:pt x="535651" y="656655"/>
                  </a:lnTo>
                  <a:lnTo>
                    <a:pt x="533534" y="655808"/>
                  </a:lnTo>
                  <a:lnTo>
                    <a:pt x="532593" y="655597"/>
                  </a:lnTo>
                  <a:lnTo>
                    <a:pt x="526386" y="656608"/>
                  </a:lnTo>
                  <a:lnTo>
                    <a:pt x="525116" y="657266"/>
                  </a:lnTo>
                  <a:lnTo>
                    <a:pt x="523564" y="660676"/>
                  </a:lnTo>
                  <a:lnTo>
                    <a:pt x="521966" y="664673"/>
                  </a:lnTo>
                  <a:lnTo>
                    <a:pt x="519966" y="666602"/>
                  </a:lnTo>
                  <a:lnTo>
                    <a:pt x="519590" y="666860"/>
                  </a:lnTo>
                  <a:lnTo>
                    <a:pt x="518697" y="667683"/>
                  </a:lnTo>
                  <a:lnTo>
                    <a:pt x="516722" y="668483"/>
                  </a:lnTo>
                  <a:lnTo>
                    <a:pt x="514064" y="668836"/>
                  </a:lnTo>
                  <a:lnTo>
                    <a:pt x="512654" y="668341"/>
                  </a:lnTo>
                  <a:lnTo>
                    <a:pt x="511055" y="668976"/>
                  </a:lnTo>
                  <a:lnTo>
                    <a:pt x="509009" y="667707"/>
                  </a:lnTo>
                  <a:lnTo>
                    <a:pt x="507481" y="666578"/>
                  </a:lnTo>
                  <a:lnTo>
                    <a:pt x="506046" y="665990"/>
                  </a:lnTo>
                  <a:lnTo>
                    <a:pt x="505341" y="666178"/>
                  </a:lnTo>
                  <a:lnTo>
                    <a:pt x="504635" y="667001"/>
                  </a:lnTo>
                  <a:lnTo>
                    <a:pt x="503930" y="667189"/>
                  </a:lnTo>
                  <a:lnTo>
                    <a:pt x="503107" y="666766"/>
                  </a:lnTo>
                  <a:lnTo>
                    <a:pt x="500967" y="664132"/>
                  </a:lnTo>
                  <a:lnTo>
                    <a:pt x="498781" y="662721"/>
                  </a:lnTo>
                  <a:lnTo>
                    <a:pt x="497276" y="662604"/>
                  </a:lnTo>
                  <a:lnTo>
                    <a:pt x="493019" y="663897"/>
                  </a:lnTo>
                  <a:lnTo>
                    <a:pt x="486083" y="662769"/>
                  </a:lnTo>
                  <a:lnTo>
                    <a:pt x="479805" y="663239"/>
                  </a:lnTo>
                  <a:lnTo>
                    <a:pt x="474232" y="662322"/>
                  </a:lnTo>
                  <a:lnTo>
                    <a:pt x="466284" y="663215"/>
                  </a:lnTo>
                  <a:lnTo>
                    <a:pt x="465132" y="663921"/>
                  </a:lnTo>
                  <a:lnTo>
                    <a:pt x="464050" y="664909"/>
                  </a:lnTo>
                  <a:lnTo>
                    <a:pt x="462451" y="665990"/>
                  </a:lnTo>
                  <a:lnTo>
                    <a:pt x="459606" y="667636"/>
                  </a:lnTo>
                  <a:lnTo>
                    <a:pt x="454715" y="667589"/>
                  </a:lnTo>
                  <a:lnTo>
                    <a:pt x="451705" y="665355"/>
                  </a:lnTo>
                  <a:lnTo>
                    <a:pt x="450130" y="665590"/>
                  </a:lnTo>
                  <a:lnTo>
                    <a:pt x="449048" y="666131"/>
                  </a:lnTo>
                  <a:lnTo>
                    <a:pt x="446179" y="664861"/>
                  </a:lnTo>
                  <a:lnTo>
                    <a:pt x="445027" y="663427"/>
                  </a:lnTo>
                  <a:lnTo>
                    <a:pt x="442582" y="663545"/>
                  </a:lnTo>
                  <a:lnTo>
                    <a:pt x="439972" y="663709"/>
                  </a:lnTo>
                  <a:lnTo>
                    <a:pt x="438866" y="664650"/>
                  </a:lnTo>
                  <a:lnTo>
                    <a:pt x="434846" y="665073"/>
                  </a:lnTo>
                  <a:lnTo>
                    <a:pt x="429202" y="663427"/>
                  </a:lnTo>
                  <a:lnTo>
                    <a:pt x="426451" y="662581"/>
                  </a:lnTo>
                  <a:lnTo>
                    <a:pt x="422477" y="663356"/>
                  </a:lnTo>
                  <a:lnTo>
                    <a:pt x="416881" y="664838"/>
                  </a:lnTo>
                  <a:lnTo>
                    <a:pt x="409403" y="662933"/>
                  </a:lnTo>
                  <a:lnTo>
                    <a:pt x="407593" y="663333"/>
                  </a:lnTo>
                  <a:lnTo>
                    <a:pt x="405218" y="664932"/>
                  </a:lnTo>
                  <a:lnTo>
                    <a:pt x="398423" y="665873"/>
                  </a:lnTo>
                  <a:lnTo>
                    <a:pt x="396259" y="666131"/>
                  </a:lnTo>
                  <a:lnTo>
                    <a:pt x="382292" y="665097"/>
                  </a:lnTo>
                  <a:lnTo>
                    <a:pt x="380952" y="665450"/>
                  </a:lnTo>
                  <a:lnTo>
                    <a:pt x="379940" y="666272"/>
                  </a:lnTo>
                  <a:lnTo>
                    <a:pt x="377754" y="669776"/>
                  </a:lnTo>
                  <a:lnTo>
                    <a:pt x="377307" y="670529"/>
                  </a:lnTo>
                  <a:lnTo>
                    <a:pt x="376249" y="671586"/>
                  </a:lnTo>
                  <a:lnTo>
                    <a:pt x="375426" y="672880"/>
                  </a:lnTo>
                  <a:lnTo>
                    <a:pt x="375096" y="674314"/>
                  </a:lnTo>
                  <a:lnTo>
                    <a:pt x="372792" y="677865"/>
                  </a:lnTo>
                  <a:lnTo>
                    <a:pt x="367878" y="678476"/>
                  </a:lnTo>
                  <a:lnTo>
                    <a:pt x="365738" y="682332"/>
                  </a:lnTo>
                  <a:lnTo>
                    <a:pt x="363010" y="683979"/>
                  </a:lnTo>
                  <a:lnTo>
                    <a:pt x="362281" y="684378"/>
                  </a:lnTo>
                  <a:lnTo>
                    <a:pt x="360636" y="684989"/>
                  </a:lnTo>
                  <a:lnTo>
                    <a:pt x="357320" y="685695"/>
                  </a:lnTo>
                  <a:lnTo>
                    <a:pt x="354075" y="685601"/>
                  </a:lnTo>
                  <a:lnTo>
                    <a:pt x="344998" y="684543"/>
                  </a:lnTo>
                  <a:lnTo>
                    <a:pt x="343259" y="684472"/>
                  </a:lnTo>
                  <a:lnTo>
                    <a:pt x="342506" y="684684"/>
                  </a:lnTo>
                  <a:lnTo>
                    <a:pt x="341612" y="685319"/>
                  </a:lnTo>
                  <a:lnTo>
                    <a:pt x="336087" y="688869"/>
                  </a:lnTo>
                  <a:lnTo>
                    <a:pt x="330749" y="689292"/>
                  </a:lnTo>
                  <a:lnTo>
                    <a:pt x="327127" y="691361"/>
                  </a:lnTo>
                  <a:lnTo>
                    <a:pt x="326164" y="691668"/>
                  </a:lnTo>
                  <a:lnTo>
                    <a:pt x="323295" y="691996"/>
                  </a:lnTo>
                  <a:lnTo>
                    <a:pt x="322049" y="692397"/>
                  </a:lnTo>
                  <a:lnTo>
                    <a:pt x="321037" y="692937"/>
                  </a:lnTo>
                  <a:lnTo>
                    <a:pt x="320003" y="694184"/>
                  </a:lnTo>
                  <a:lnTo>
                    <a:pt x="317863" y="697687"/>
                  </a:lnTo>
                  <a:lnTo>
                    <a:pt x="317816" y="698510"/>
                  </a:lnTo>
                  <a:lnTo>
                    <a:pt x="316500" y="701755"/>
                  </a:lnTo>
                  <a:lnTo>
                    <a:pt x="315794" y="703095"/>
                  </a:lnTo>
                  <a:lnTo>
                    <a:pt x="315394" y="703495"/>
                  </a:lnTo>
                  <a:lnTo>
                    <a:pt x="314830" y="703988"/>
                  </a:lnTo>
                  <a:lnTo>
                    <a:pt x="314195" y="704389"/>
                  </a:lnTo>
                  <a:lnTo>
                    <a:pt x="312902" y="704836"/>
                  </a:lnTo>
                  <a:lnTo>
                    <a:pt x="312996" y="705517"/>
                  </a:lnTo>
                  <a:lnTo>
                    <a:pt x="313325" y="706317"/>
                  </a:lnTo>
                  <a:lnTo>
                    <a:pt x="312431" y="707516"/>
                  </a:lnTo>
                  <a:lnTo>
                    <a:pt x="309869" y="711890"/>
                  </a:lnTo>
                  <a:lnTo>
                    <a:pt x="309492" y="712807"/>
                  </a:lnTo>
                  <a:lnTo>
                    <a:pt x="309116" y="716945"/>
                  </a:lnTo>
                  <a:lnTo>
                    <a:pt x="307587" y="716945"/>
                  </a:lnTo>
                  <a:lnTo>
                    <a:pt x="306953" y="714993"/>
                  </a:lnTo>
                  <a:lnTo>
                    <a:pt x="305706" y="714170"/>
                  </a:lnTo>
                  <a:lnTo>
                    <a:pt x="303873" y="713559"/>
                  </a:lnTo>
                  <a:lnTo>
                    <a:pt x="302344" y="713512"/>
                  </a:lnTo>
                  <a:lnTo>
                    <a:pt x="302085" y="714382"/>
                  </a:lnTo>
                  <a:lnTo>
                    <a:pt x="301356" y="715135"/>
                  </a:lnTo>
                  <a:lnTo>
                    <a:pt x="301004" y="716263"/>
                  </a:lnTo>
                  <a:lnTo>
                    <a:pt x="301074" y="717533"/>
                  </a:lnTo>
                  <a:lnTo>
                    <a:pt x="301591" y="718685"/>
                  </a:lnTo>
                  <a:lnTo>
                    <a:pt x="301215" y="719344"/>
                  </a:lnTo>
                  <a:lnTo>
                    <a:pt x="301426" y="720707"/>
                  </a:lnTo>
                  <a:lnTo>
                    <a:pt x="301873" y="721578"/>
                  </a:lnTo>
                  <a:lnTo>
                    <a:pt x="302109" y="722306"/>
                  </a:lnTo>
                  <a:lnTo>
                    <a:pt x="301873" y="723294"/>
                  </a:lnTo>
                  <a:lnTo>
                    <a:pt x="301332" y="723882"/>
                  </a:lnTo>
                  <a:lnTo>
                    <a:pt x="300792" y="724352"/>
                  </a:lnTo>
                  <a:lnTo>
                    <a:pt x="299146" y="724964"/>
                  </a:lnTo>
                  <a:lnTo>
                    <a:pt x="291315" y="727550"/>
                  </a:lnTo>
                  <a:lnTo>
                    <a:pt x="290187" y="728232"/>
                  </a:lnTo>
                  <a:lnTo>
                    <a:pt x="287765" y="728890"/>
                  </a:lnTo>
                  <a:lnTo>
                    <a:pt x="286378" y="726210"/>
                  </a:lnTo>
                  <a:lnTo>
                    <a:pt x="283086" y="724517"/>
                  </a:lnTo>
                  <a:lnTo>
                    <a:pt x="281698" y="723529"/>
                  </a:lnTo>
                  <a:lnTo>
                    <a:pt x="279841" y="724164"/>
                  </a:lnTo>
                  <a:lnTo>
                    <a:pt x="278218" y="723670"/>
                  </a:lnTo>
                  <a:lnTo>
                    <a:pt x="276667" y="722777"/>
                  </a:lnTo>
                  <a:lnTo>
                    <a:pt x="273351" y="721907"/>
                  </a:lnTo>
                  <a:lnTo>
                    <a:pt x="272151" y="720895"/>
                  </a:lnTo>
                  <a:lnTo>
                    <a:pt x="270483" y="718638"/>
                  </a:lnTo>
                  <a:lnTo>
                    <a:pt x="265380" y="714076"/>
                  </a:lnTo>
                  <a:lnTo>
                    <a:pt x="263875" y="713183"/>
                  </a:lnTo>
                  <a:lnTo>
                    <a:pt x="262182" y="713183"/>
                  </a:lnTo>
                  <a:lnTo>
                    <a:pt x="258702" y="713794"/>
                  </a:lnTo>
                  <a:lnTo>
                    <a:pt x="254540" y="712689"/>
                  </a:lnTo>
                  <a:lnTo>
                    <a:pt x="252541" y="710220"/>
                  </a:lnTo>
                  <a:lnTo>
                    <a:pt x="250989" y="707257"/>
                  </a:lnTo>
                  <a:lnTo>
                    <a:pt x="249225" y="704600"/>
                  </a:lnTo>
                  <a:lnTo>
                    <a:pt x="244946" y="702508"/>
                  </a:lnTo>
                  <a:lnTo>
                    <a:pt x="244429" y="701238"/>
                  </a:lnTo>
                  <a:lnTo>
                    <a:pt x="244241" y="699756"/>
                  </a:lnTo>
                  <a:lnTo>
                    <a:pt x="243723" y="698134"/>
                  </a:lnTo>
                  <a:lnTo>
                    <a:pt x="243018" y="696606"/>
                  </a:lnTo>
                  <a:lnTo>
                    <a:pt x="240337" y="693783"/>
                  </a:lnTo>
                  <a:lnTo>
                    <a:pt x="238479" y="689857"/>
                  </a:lnTo>
                  <a:lnTo>
                    <a:pt x="237304" y="687200"/>
                  </a:lnTo>
                  <a:lnTo>
                    <a:pt x="235540" y="684073"/>
                  </a:lnTo>
                  <a:lnTo>
                    <a:pt x="233847" y="682756"/>
                  </a:lnTo>
                  <a:lnTo>
                    <a:pt x="233165" y="682027"/>
                  </a:lnTo>
                  <a:lnTo>
                    <a:pt x="234130" y="681627"/>
                  </a:lnTo>
                  <a:lnTo>
                    <a:pt x="234788" y="681768"/>
                  </a:lnTo>
                  <a:lnTo>
                    <a:pt x="237280" y="683861"/>
                  </a:lnTo>
                  <a:lnTo>
                    <a:pt x="237939" y="684684"/>
                  </a:lnTo>
                  <a:lnTo>
                    <a:pt x="237539" y="685436"/>
                  </a:lnTo>
                  <a:lnTo>
                    <a:pt x="238127" y="686307"/>
                  </a:lnTo>
                  <a:lnTo>
                    <a:pt x="239326" y="687553"/>
                  </a:lnTo>
                  <a:lnTo>
                    <a:pt x="240290" y="687340"/>
                  </a:lnTo>
                  <a:lnTo>
                    <a:pt x="240878" y="686847"/>
                  </a:lnTo>
                  <a:lnTo>
                    <a:pt x="241725" y="685672"/>
                  </a:lnTo>
                  <a:lnTo>
                    <a:pt x="243394" y="683908"/>
                  </a:lnTo>
                  <a:lnTo>
                    <a:pt x="242830" y="683837"/>
                  </a:lnTo>
                  <a:lnTo>
                    <a:pt x="241231" y="684308"/>
                  </a:lnTo>
                  <a:lnTo>
                    <a:pt x="239867" y="684143"/>
                  </a:lnTo>
                  <a:lnTo>
                    <a:pt x="239232" y="682779"/>
                  </a:lnTo>
                  <a:lnTo>
                    <a:pt x="239726" y="680075"/>
                  </a:lnTo>
                  <a:lnTo>
                    <a:pt x="239044" y="678382"/>
                  </a:lnTo>
                  <a:lnTo>
                    <a:pt x="235258" y="675114"/>
                  </a:lnTo>
                  <a:lnTo>
                    <a:pt x="234435" y="674713"/>
                  </a:lnTo>
                  <a:lnTo>
                    <a:pt x="229121" y="674385"/>
                  </a:lnTo>
                  <a:lnTo>
                    <a:pt x="227710" y="674055"/>
                  </a:lnTo>
                  <a:lnTo>
                    <a:pt x="226535" y="672926"/>
                  </a:lnTo>
                  <a:lnTo>
                    <a:pt x="225570" y="669376"/>
                  </a:lnTo>
                  <a:lnTo>
                    <a:pt x="224747" y="667660"/>
                  </a:lnTo>
                  <a:lnTo>
                    <a:pt x="223666" y="665990"/>
                  </a:lnTo>
                  <a:lnTo>
                    <a:pt x="223172" y="664320"/>
                  </a:lnTo>
                  <a:lnTo>
                    <a:pt x="223524" y="662721"/>
                  </a:lnTo>
                  <a:lnTo>
                    <a:pt x="224982" y="661240"/>
                  </a:lnTo>
                  <a:lnTo>
                    <a:pt x="226417" y="660582"/>
                  </a:lnTo>
                  <a:lnTo>
                    <a:pt x="229333" y="659641"/>
                  </a:lnTo>
                  <a:lnTo>
                    <a:pt x="230368" y="658818"/>
                  </a:lnTo>
                  <a:lnTo>
                    <a:pt x="231167" y="656725"/>
                  </a:lnTo>
                  <a:lnTo>
                    <a:pt x="230508" y="653010"/>
                  </a:lnTo>
                  <a:lnTo>
                    <a:pt x="230955" y="650870"/>
                  </a:lnTo>
                  <a:lnTo>
                    <a:pt x="233589" y="648778"/>
                  </a:lnTo>
                  <a:lnTo>
                    <a:pt x="239938" y="649225"/>
                  </a:lnTo>
                  <a:lnTo>
                    <a:pt x="242171" y="646568"/>
                  </a:lnTo>
                  <a:lnTo>
                    <a:pt x="240667" y="647508"/>
                  </a:lnTo>
                  <a:lnTo>
                    <a:pt x="238667" y="648261"/>
                  </a:lnTo>
                  <a:lnTo>
                    <a:pt x="236692" y="648307"/>
                  </a:lnTo>
                  <a:lnTo>
                    <a:pt x="235235" y="647132"/>
                  </a:lnTo>
                  <a:lnTo>
                    <a:pt x="231919" y="648331"/>
                  </a:lnTo>
                  <a:lnTo>
                    <a:pt x="230462" y="649342"/>
                  </a:lnTo>
                  <a:lnTo>
                    <a:pt x="229850" y="651223"/>
                  </a:lnTo>
                  <a:lnTo>
                    <a:pt x="230297" y="656631"/>
                  </a:lnTo>
                  <a:lnTo>
                    <a:pt x="229850" y="657689"/>
                  </a:lnTo>
                  <a:lnTo>
                    <a:pt x="227075" y="657689"/>
                  </a:lnTo>
                  <a:lnTo>
                    <a:pt x="224865" y="655032"/>
                  </a:lnTo>
                  <a:lnTo>
                    <a:pt x="222326" y="649083"/>
                  </a:lnTo>
                  <a:lnTo>
                    <a:pt x="220562" y="646262"/>
                  </a:lnTo>
                  <a:lnTo>
                    <a:pt x="218328" y="644098"/>
                  </a:lnTo>
                  <a:lnTo>
                    <a:pt x="199141" y="631377"/>
                  </a:lnTo>
                  <a:lnTo>
                    <a:pt x="197072" y="630343"/>
                  </a:lnTo>
                  <a:lnTo>
                    <a:pt x="195261" y="629896"/>
                  </a:lnTo>
                  <a:lnTo>
                    <a:pt x="193921" y="629355"/>
                  </a:lnTo>
                  <a:lnTo>
                    <a:pt x="190699" y="626886"/>
                  </a:lnTo>
                  <a:lnTo>
                    <a:pt x="189100" y="626204"/>
                  </a:lnTo>
                  <a:lnTo>
                    <a:pt x="187572" y="625499"/>
                  </a:lnTo>
                  <a:lnTo>
                    <a:pt x="186161" y="623500"/>
                  </a:lnTo>
                  <a:lnTo>
                    <a:pt x="185643" y="621149"/>
                  </a:lnTo>
                  <a:lnTo>
                    <a:pt x="186184" y="620020"/>
                  </a:lnTo>
                  <a:lnTo>
                    <a:pt x="187125" y="619291"/>
                  </a:lnTo>
                  <a:lnTo>
                    <a:pt x="189829" y="615528"/>
                  </a:lnTo>
                  <a:lnTo>
                    <a:pt x="190723" y="613930"/>
                  </a:lnTo>
                  <a:lnTo>
                    <a:pt x="186748" y="618045"/>
                  </a:lnTo>
                  <a:lnTo>
                    <a:pt x="184585" y="619456"/>
                  </a:lnTo>
                  <a:lnTo>
                    <a:pt x="182140" y="619456"/>
                  </a:lnTo>
                  <a:lnTo>
                    <a:pt x="182140" y="620020"/>
                  </a:lnTo>
                  <a:lnTo>
                    <a:pt x="183856" y="622442"/>
                  </a:lnTo>
                  <a:lnTo>
                    <a:pt x="184679" y="624018"/>
                  </a:lnTo>
                  <a:lnTo>
                    <a:pt x="184797" y="625005"/>
                  </a:lnTo>
                  <a:lnTo>
                    <a:pt x="183762" y="625122"/>
                  </a:lnTo>
                  <a:lnTo>
                    <a:pt x="176896" y="622019"/>
                  </a:lnTo>
                  <a:lnTo>
                    <a:pt x="174357" y="621266"/>
                  </a:lnTo>
                  <a:lnTo>
                    <a:pt x="171277" y="620326"/>
                  </a:lnTo>
                  <a:lnTo>
                    <a:pt x="169231" y="621172"/>
                  </a:lnTo>
                  <a:lnTo>
                    <a:pt x="171441" y="621431"/>
                  </a:lnTo>
                  <a:lnTo>
                    <a:pt x="172476" y="621925"/>
                  </a:lnTo>
                  <a:lnTo>
                    <a:pt x="153523" y="622372"/>
                  </a:lnTo>
                  <a:lnTo>
                    <a:pt x="152324" y="622842"/>
                  </a:lnTo>
                  <a:lnTo>
                    <a:pt x="150772" y="624159"/>
                  </a:lnTo>
                  <a:lnTo>
                    <a:pt x="149314" y="624323"/>
                  </a:lnTo>
                  <a:lnTo>
                    <a:pt x="147974" y="623829"/>
                  </a:lnTo>
                  <a:lnTo>
                    <a:pt x="146727" y="623147"/>
                  </a:lnTo>
                  <a:lnTo>
                    <a:pt x="145552" y="619197"/>
                  </a:lnTo>
                  <a:lnTo>
                    <a:pt x="145176" y="617175"/>
                  </a:lnTo>
                  <a:lnTo>
                    <a:pt x="145693" y="615811"/>
                  </a:lnTo>
                  <a:lnTo>
                    <a:pt x="144917" y="612848"/>
                  </a:lnTo>
                  <a:lnTo>
                    <a:pt x="144330" y="605676"/>
                  </a:lnTo>
                  <a:lnTo>
                    <a:pt x="142989" y="602878"/>
                  </a:lnTo>
                  <a:lnTo>
                    <a:pt x="143153" y="601867"/>
                  </a:lnTo>
                  <a:lnTo>
                    <a:pt x="142918" y="599868"/>
                  </a:lnTo>
                  <a:lnTo>
                    <a:pt x="142448" y="597682"/>
                  </a:lnTo>
                  <a:lnTo>
                    <a:pt x="141908" y="595989"/>
                  </a:lnTo>
                  <a:lnTo>
                    <a:pt x="141484" y="595448"/>
                  </a:lnTo>
                  <a:lnTo>
                    <a:pt x="140144" y="594413"/>
                  </a:lnTo>
                  <a:lnTo>
                    <a:pt x="139556" y="593825"/>
                  </a:lnTo>
                  <a:lnTo>
                    <a:pt x="138898" y="592908"/>
                  </a:lnTo>
                  <a:lnTo>
                    <a:pt x="138827" y="592814"/>
                  </a:lnTo>
                  <a:lnTo>
                    <a:pt x="138662" y="592273"/>
                  </a:lnTo>
                  <a:lnTo>
                    <a:pt x="138592" y="591662"/>
                  </a:lnTo>
                  <a:lnTo>
                    <a:pt x="138192" y="590439"/>
                  </a:lnTo>
                  <a:lnTo>
                    <a:pt x="137887" y="590439"/>
                  </a:lnTo>
                  <a:lnTo>
                    <a:pt x="137768" y="590345"/>
                  </a:lnTo>
                  <a:lnTo>
                    <a:pt x="137722" y="589404"/>
                  </a:lnTo>
                  <a:lnTo>
                    <a:pt x="137981" y="589028"/>
                  </a:lnTo>
                  <a:lnTo>
                    <a:pt x="138803" y="588158"/>
                  </a:lnTo>
                  <a:lnTo>
                    <a:pt x="138898" y="587711"/>
                  </a:lnTo>
                  <a:lnTo>
                    <a:pt x="139062" y="587312"/>
                  </a:lnTo>
                  <a:lnTo>
                    <a:pt x="139109" y="586865"/>
                  </a:lnTo>
                  <a:lnTo>
                    <a:pt x="138898" y="586301"/>
                  </a:lnTo>
                  <a:lnTo>
                    <a:pt x="139650" y="585854"/>
                  </a:lnTo>
                  <a:lnTo>
                    <a:pt x="141719" y="583808"/>
                  </a:lnTo>
                  <a:lnTo>
                    <a:pt x="142260" y="583103"/>
                  </a:lnTo>
                  <a:lnTo>
                    <a:pt x="142660" y="581739"/>
                  </a:lnTo>
                  <a:lnTo>
                    <a:pt x="143342" y="577389"/>
                  </a:lnTo>
                  <a:lnTo>
                    <a:pt x="144399" y="574661"/>
                  </a:lnTo>
                  <a:lnTo>
                    <a:pt x="145787" y="572804"/>
                  </a:lnTo>
                  <a:lnTo>
                    <a:pt x="152982" y="567255"/>
                  </a:lnTo>
                  <a:lnTo>
                    <a:pt x="155122" y="563727"/>
                  </a:lnTo>
                  <a:lnTo>
                    <a:pt x="155992" y="560623"/>
                  </a:lnTo>
                  <a:lnTo>
                    <a:pt x="157709" y="556391"/>
                  </a:lnTo>
                  <a:lnTo>
                    <a:pt x="158085" y="554792"/>
                  </a:lnTo>
                  <a:lnTo>
                    <a:pt x="158085" y="553851"/>
                  </a:lnTo>
                  <a:lnTo>
                    <a:pt x="157850" y="552981"/>
                  </a:lnTo>
                  <a:lnTo>
                    <a:pt x="157803" y="552252"/>
                  </a:lnTo>
                  <a:lnTo>
                    <a:pt x="158343" y="551711"/>
                  </a:lnTo>
                  <a:lnTo>
                    <a:pt x="160836" y="551241"/>
                  </a:lnTo>
                  <a:lnTo>
                    <a:pt x="161682" y="550724"/>
                  </a:lnTo>
                  <a:lnTo>
                    <a:pt x="162694" y="550795"/>
                  </a:lnTo>
                  <a:lnTo>
                    <a:pt x="163682" y="551077"/>
                  </a:lnTo>
                  <a:lnTo>
                    <a:pt x="164646" y="551194"/>
                  </a:lnTo>
                  <a:lnTo>
                    <a:pt x="165609" y="550724"/>
                  </a:lnTo>
                  <a:lnTo>
                    <a:pt x="166644" y="550442"/>
                  </a:lnTo>
                  <a:lnTo>
                    <a:pt x="167232" y="550089"/>
                  </a:lnTo>
                  <a:lnTo>
                    <a:pt x="168031" y="549101"/>
                  </a:lnTo>
                  <a:lnTo>
                    <a:pt x="168807" y="547197"/>
                  </a:lnTo>
                  <a:lnTo>
                    <a:pt x="169490" y="546515"/>
                  </a:lnTo>
                  <a:lnTo>
                    <a:pt x="170853" y="546633"/>
                  </a:lnTo>
                  <a:lnTo>
                    <a:pt x="175273" y="548302"/>
                  </a:lnTo>
                  <a:lnTo>
                    <a:pt x="177249" y="548091"/>
                  </a:lnTo>
                  <a:lnTo>
                    <a:pt x="177884" y="545880"/>
                  </a:lnTo>
                  <a:lnTo>
                    <a:pt x="178613" y="544727"/>
                  </a:lnTo>
                  <a:lnTo>
                    <a:pt x="179295" y="541977"/>
                  </a:lnTo>
                  <a:lnTo>
                    <a:pt x="180752" y="539202"/>
                  </a:lnTo>
                  <a:lnTo>
                    <a:pt x="181810" y="536145"/>
                  </a:lnTo>
                  <a:lnTo>
                    <a:pt x="182422" y="534805"/>
                  </a:lnTo>
                  <a:lnTo>
                    <a:pt x="183221" y="532218"/>
                  </a:lnTo>
                  <a:lnTo>
                    <a:pt x="182986" y="532054"/>
                  </a:lnTo>
                  <a:lnTo>
                    <a:pt x="181929" y="531349"/>
                  </a:lnTo>
                  <a:lnTo>
                    <a:pt x="179741" y="531513"/>
                  </a:lnTo>
                  <a:lnTo>
                    <a:pt x="177695" y="532077"/>
                  </a:lnTo>
                  <a:lnTo>
                    <a:pt x="177461" y="532077"/>
                  </a:lnTo>
                  <a:lnTo>
                    <a:pt x="177037" y="531936"/>
                  </a:lnTo>
                  <a:lnTo>
                    <a:pt x="176073" y="533159"/>
                  </a:lnTo>
                  <a:lnTo>
                    <a:pt x="174169" y="533958"/>
                  </a:lnTo>
                  <a:lnTo>
                    <a:pt x="172194" y="534311"/>
                  </a:lnTo>
                  <a:lnTo>
                    <a:pt x="170994" y="534311"/>
                  </a:lnTo>
                  <a:lnTo>
                    <a:pt x="169936" y="533394"/>
                  </a:lnTo>
                  <a:lnTo>
                    <a:pt x="169160" y="532735"/>
                  </a:lnTo>
                  <a:lnTo>
                    <a:pt x="166009" y="525329"/>
                  </a:lnTo>
                  <a:lnTo>
                    <a:pt x="165609" y="524929"/>
                  </a:lnTo>
                  <a:lnTo>
                    <a:pt x="164269" y="524012"/>
                  </a:lnTo>
                  <a:lnTo>
                    <a:pt x="163728" y="523518"/>
                  </a:lnTo>
                  <a:lnTo>
                    <a:pt x="163400" y="522930"/>
                  </a:lnTo>
                  <a:lnTo>
                    <a:pt x="162905" y="521708"/>
                  </a:lnTo>
                  <a:lnTo>
                    <a:pt x="162576" y="521166"/>
                  </a:lnTo>
                  <a:lnTo>
                    <a:pt x="154299" y="511385"/>
                  </a:lnTo>
                  <a:lnTo>
                    <a:pt x="152089" y="509880"/>
                  </a:lnTo>
                  <a:lnTo>
                    <a:pt x="151007" y="509386"/>
                  </a:lnTo>
                  <a:lnTo>
                    <a:pt x="152136" y="508281"/>
                  </a:lnTo>
                  <a:lnTo>
                    <a:pt x="152888" y="507247"/>
                  </a:lnTo>
                  <a:lnTo>
                    <a:pt x="152982" y="506188"/>
                  </a:lnTo>
                  <a:lnTo>
                    <a:pt x="152089" y="504989"/>
                  </a:lnTo>
                  <a:lnTo>
                    <a:pt x="152865" y="503907"/>
                  </a:lnTo>
                  <a:lnTo>
                    <a:pt x="154276" y="499299"/>
                  </a:lnTo>
                  <a:lnTo>
                    <a:pt x="157544" y="494925"/>
                  </a:lnTo>
                  <a:lnTo>
                    <a:pt x="157967" y="493655"/>
                  </a:lnTo>
                  <a:lnTo>
                    <a:pt x="157732" y="492950"/>
                  </a:lnTo>
                  <a:lnTo>
                    <a:pt x="157262" y="492621"/>
                  </a:lnTo>
                  <a:lnTo>
                    <a:pt x="156744" y="492339"/>
                  </a:lnTo>
                  <a:lnTo>
                    <a:pt x="156368" y="491774"/>
                  </a:lnTo>
                  <a:lnTo>
                    <a:pt x="156251" y="491046"/>
                  </a:lnTo>
                  <a:lnTo>
                    <a:pt x="156204" y="490104"/>
                  </a:lnTo>
                  <a:lnTo>
                    <a:pt x="156368" y="488012"/>
                  </a:lnTo>
                  <a:lnTo>
                    <a:pt x="156909" y="484885"/>
                  </a:lnTo>
                  <a:lnTo>
                    <a:pt x="157168" y="484226"/>
                  </a:lnTo>
                  <a:lnTo>
                    <a:pt x="157826" y="483003"/>
                  </a:lnTo>
                  <a:lnTo>
                    <a:pt x="157967" y="482674"/>
                  </a:lnTo>
                  <a:lnTo>
                    <a:pt x="161448" y="480041"/>
                  </a:lnTo>
                  <a:lnTo>
                    <a:pt x="162576" y="479194"/>
                  </a:lnTo>
                  <a:lnTo>
                    <a:pt x="163752" y="478771"/>
                  </a:lnTo>
                  <a:lnTo>
                    <a:pt x="165045" y="477759"/>
                  </a:lnTo>
                  <a:lnTo>
                    <a:pt x="166104" y="476607"/>
                  </a:lnTo>
                  <a:lnTo>
                    <a:pt x="166550" y="475738"/>
                  </a:lnTo>
                  <a:lnTo>
                    <a:pt x="167302" y="475150"/>
                  </a:lnTo>
                  <a:lnTo>
                    <a:pt x="170924" y="474421"/>
                  </a:lnTo>
                  <a:lnTo>
                    <a:pt x="172194" y="473857"/>
                  </a:lnTo>
                  <a:lnTo>
                    <a:pt x="173134" y="472963"/>
                  </a:lnTo>
                  <a:lnTo>
                    <a:pt x="174098" y="472234"/>
                  </a:lnTo>
                  <a:lnTo>
                    <a:pt x="174733" y="471857"/>
                  </a:lnTo>
                  <a:lnTo>
                    <a:pt x="174639" y="470541"/>
                  </a:lnTo>
                  <a:lnTo>
                    <a:pt x="175039" y="469107"/>
                  </a:lnTo>
                  <a:lnTo>
                    <a:pt x="173957" y="467296"/>
                  </a:lnTo>
                  <a:lnTo>
                    <a:pt x="175650" y="466003"/>
                  </a:lnTo>
                  <a:lnTo>
                    <a:pt x="177413" y="463769"/>
                  </a:lnTo>
                  <a:lnTo>
                    <a:pt x="180023" y="459066"/>
                  </a:lnTo>
                  <a:lnTo>
                    <a:pt x="180776" y="458149"/>
                  </a:lnTo>
                  <a:lnTo>
                    <a:pt x="181223" y="457209"/>
                  </a:lnTo>
                  <a:lnTo>
                    <a:pt x="181105" y="456362"/>
                  </a:lnTo>
                  <a:lnTo>
                    <a:pt x="180211" y="455704"/>
                  </a:lnTo>
                  <a:lnTo>
                    <a:pt x="180752" y="454105"/>
                  </a:lnTo>
                  <a:lnTo>
                    <a:pt x="180259" y="452294"/>
                  </a:lnTo>
                  <a:lnTo>
                    <a:pt x="179154" y="450647"/>
                  </a:lnTo>
                  <a:lnTo>
                    <a:pt x="177908" y="449519"/>
                  </a:lnTo>
                  <a:lnTo>
                    <a:pt x="176097" y="448367"/>
                  </a:lnTo>
                  <a:lnTo>
                    <a:pt x="174051" y="447850"/>
                  </a:lnTo>
                  <a:lnTo>
                    <a:pt x="171982" y="448061"/>
                  </a:lnTo>
                  <a:lnTo>
                    <a:pt x="170124" y="449119"/>
                  </a:lnTo>
                  <a:lnTo>
                    <a:pt x="169183" y="449449"/>
                  </a:lnTo>
                  <a:lnTo>
                    <a:pt x="167985" y="449261"/>
                  </a:lnTo>
                  <a:lnTo>
                    <a:pt x="166832" y="448720"/>
                  </a:lnTo>
                  <a:lnTo>
                    <a:pt x="166033" y="447991"/>
                  </a:lnTo>
                  <a:lnTo>
                    <a:pt x="165915" y="447215"/>
                  </a:lnTo>
                  <a:lnTo>
                    <a:pt x="166761" y="445404"/>
                  </a:lnTo>
                  <a:lnTo>
                    <a:pt x="166926" y="444463"/>
                  </a:lnTo>
                  <a:lnTo>
                    <a:pt x="165962" y="442700"/>
                  </a:lnTo>
                  <a:lnTo>
                    <a:pt x="164128" y="441901"/>
                  </a:lnTo>
                  <a:lnTo>
                    <a:pt x="161965" y="441384"/>
                  </a:lnTo>
                  <a:lnTo>
                    <a:pt x="160037" y="440396"/>
                  </a:lnTo>
                  <a:lnTo>
                    <a:pt x="158932" y="438938"/>
                  </a:lnTo>
                  <a:lnTo>
                    <a:pt x="158343" y="437081"/>
                  </a:lnTo>
                  <a:lnTo>
                    <a:pt x="158438" y="435152"/>
                  </a:lnTo>
                  <a:lnTo>
                    <a:pt x="159496" y="433459"/>
                  </a:lnTo>
                  <a:lnTo>
                    <a:pt x="155616" y="429085"/>
                  </a:lnTo>
                  <a:lnTo>
                    <a:pt x="154158" y="428003"/>
                  </a:lnTo>
                  <a:lnTo>
                    <a:pt x="153570" y="426899"/>
                  </a:lnTo>
                  <a:lnTo>
                    <a:pt x="153194" y="424924"/>
                  </a:lnTo>
                  <a:lnTo>
                    <a:pt x="153147" y="422878"/>
                  </a:lnTo>
                  <a:lnTo>
                    <a:pt x="153547" y="421561"/>
                  </a:lnTo>
                  <a:lnTo>
                    <a:pt x="154158" y="420221"/>
                  </a:lnTo>
                  <a:lnTo>
                    <a:pt x="154581" y="418105"/>
                  </a:lnTo>
                  <a:lnTo>
                    <a:pt x="154581" y="416130"/>
                  </a:lnTo>
                  <a:lnTo>
                    <a:pt x="153994" y="415212"/>
                  </a:lnTo>
                  <a:lnTo>
                    <a:pt x="150702" y="414413"/>
                  </a:lnTo>
                  <a:lnTo>
                    <a:pt x="149032" y="413684"/>
                  </a:lnTo>
                  <a:lnTo>
                    <a:pt x="147833" y="412790"/>
                  </a:lnTo>
                  <a:lnTo>
                    <a:pt x="147080" y="410768"/>
                  </a:lnTo>
                  <a:lnTo>
                    <a:pt x="146399" y="409969"/>
                  </a:lnTo>
                  <a:lnTo>
                    <a:pt x="143765" y="408699"/>
                  </a:lnTo>
                  <a:lnTo>
                    <a:pt x="142448" y="407547"/>
                  </a:lnTo>
                  <a:lnTo>
                    <a:pt x="140121" y="404701"/>
                  </a:lnTo>
                  <a:lnTo>
                    <a:pt x="138710" y="403503"/>
                  </a:lnTo>
                  <a:lnTo>
                    <a:pt x="136170" y="397036"/>
                  </a:lnTo>
                  <a:lnTo>
                    <a:pt x="135582" y="395719"/>
                  </a:lnTo>
                  <a:lnTo>
                    <a:pt x="135465" y="395484"/>
                  </a:lnTo>
                  <a:lnTo>
                    <a:pt x="152347" y="396236"/>
                  </a:lnTo>
                  <a:lnTo>
                    <a:pt x="153406" y="395954"/>
                  </a:lnTo>
                  <a:lnTo>
                    <a:pt x="154699" y="395437"/>
                  </a:lnTo>
                  <a:lnTo>
                    <a:pt x="156157" y="395154"/>
                  </a:lnTo>
                  <a:lnTo>
                    <a:pt x="159285" y="395249"/>
                  </a:lnTo>
                  <a:lnTo>
                    <a:pt x="160625" y="394849"/>
                  </a:lnTo>
                  <a:lnTo>
                    <a:pt x="162318" y="395813"/>
                  </a:lnTo>
                  <a:lnTo>
                    <a:pt x="164763" y="395907"/>
                  </a:lnTo>
                  <a:lnTo>
                    <a:pt x="176261" y="394567"/>
                  </a:lnTo>
                  <a:lnTo>
                    <a:pt x="177390" y="394144"/>
                  </a:lnTo>
                  <a:lnTo>
                    <a:pt x="178307" y="392145"/>
                  </a:lnTo>
                  <a:lnTo>
                    <a:pt x="178213" y="391463"/>
                  </a:lnTo>
                  <a:lnTo>
                    <a:pt x="178002" y="390828"/>
                  </a:lnTo>
                  <a:lnTo>
                    <a:pt x="178002" y="389958"/>
                  </a:lnTo>
                  <a:lnTo>
                    <a:pt x="178378" y="389088"/>
                  </a:lnTo>
                  <a:lnTo>
                    <a:pt x="179295" y="387560"/>
                  </a:lnTo>
                  <a:lnTo>
                    <a:pt x="179601" y="386666"/>
                  </a:lnTo>
                  <a:lnTo>
                    <a:pt x="179482" y="385890"/>
                  </a:lnTo>
                  <a:lnTo>
                    <a:pt x="179154" y="385020"/>
                  </a:lnTo>
                  <a:lnTo>
                    <a:pt x="179060" y="384009"/>
                  </a:lnTo>
                  <a:lnTo>
                    <a:pt x="179624" y="382739"/>
                  </a:lnTo>
                  <a:lnTo>
                    <a:pt x="180235" y="382269"/>
                  </a:lnTo>
                  <a:lnTo>
                    <a:pt x="182023" y="381587"/>
                  </a:lnTo>
                  <a:lnTo>
                    <a:pt x="182775" y="381187"/>
                  </a:lnTo>
                  <a:lnTo>
                    <a:pt x="184750" y="378483"/>
                  </a:lnTo>
                  <a:lnTo>
                    <a:pt x="185032" y="377589"/>
                  </a:lnTo>
                  <a:lnTo>
                    <a:pt x="185079" y="376038"/>
                  </a:lnTo>
                  <a:lnTo>
                    <a:pt x="185244" y="375215"/>
                  </a:lnTo>
                  <a:lnTo>
                    <a:pt x="185244" y="374744"/>
                  </a:lnTo>
                  <a:lnTo>
                    <a:pt x="184961" y="373804"/>
                  </a:lnTo>
                  <a:lnTo>
                    <a:pt x="184961" y="373287"/>
                  </a:lnTo>
                  <a:lnTo>
                    <a:pt x="185197" y="372863"/>
                  </a:lnTo>
                  <a:lnTo>
                    <a:pt x="185949" y="372346"/>
                  </a:lnTo>
                  <a:lnTo>
                    <a:pt x="186184" y="371970"/>
                  </a:lnTo>
                  <a:lnTo>
                    <a:pt x="186631" y="369666"/>
                  </a:lnTo>
                  <a:lnTo>
                    <a:pt x="186937" y="368842"/>
                  </a:lnTo>
                  <a:lnTo>
                    <a:pt x="186796" y="367831"/>
                  </a:lnTo>
                  <a:lnTo>
                    <a:pt x="187172" y="366844"/>
                  </a:lnTo>
                  <a:lnTo>
                    <a:pt x="188512" y="364775"/>
                  </a:lnTo>
                  <a:lnTo>
                    <a:pt x="185361" y="359554"/>
                  </a:lnTo>
                  <a:lnTo>
                    <a:pt x="183621" y="357555"/>
                  </a:lnTo>
                  <a:lnTo>
                    <a:pt x="182564" y="356003"/>
                  </a:lnTo>
                  <a:lnTo>
                    <a:pt x="181716" y="355298"/>
                  </a:lnTo>
                  <a:lnTo>
                    <a:pt x="180870" y="355016"/>
                  </a:lnTo>
                  <a:lnTo>
                    <a:pt x="178801" y="354734"/>
                  </a:lnTo>
                  <a:lnTo>
                    <a:pt x="177860" y="354475"/>
                  </a:lnTo>
                  <a:lnTo>
                    <a:pt x="176920" y="353206"/>
                  </a:lnTo>
                  <a:lnTo>
                    <a:pt x="176355" y="350008"/>
                  </a:lnTo>
                  <a:lnTo>
                    <a:pt x="175720" y="348644"/>
                  </a:lnTo>
                  <a:lnTo>
                    <a:pt x="176379" y="347539"/>
                  </a:lnTo>
                  <a:lnTo>
                    <a:pt x="177155" y="345375"/>
                  </a:lnTo>
                  <a:lnTo>
                    <a:pt x="177860" y="344506"/>
                  </a:lnTo>
                  <a:lnTo>
                    <a:pt x="179271" y="343918"/>
                  </a:lnTo>
                  <a:lnTo>
                    <a:pt x="182634" y="341895"/>
                  </a:lnTo>
                  <a:lnTo>
                    <a:pt x="183621" y="341754"/>
                  </a:lnTo>
                  <a:lnTo>
                    <a:pt x="184138" y="341660"/>
                  </a:lnTo>
                  <a:lnTo>
                    <a:pt x="185667" y="341801"/>
                  </a:lnTo>
                  <a:lnTo>
                    <a:pt x="187195" y="341707"/>
                  </a:lnTo>
                  <a:lnTo>
                    <a:pt x="188630" y="340790"/>
                  </a:lnTo>
                  <a:lnTo>
                    <a:pt x="188865" y="340226"/>
                  </a:lnTo>
                  <a:lnTo>
                    <a:pt x="188912" y="339473"/>
                  </a:lnTo>
                  <a:lnTo>
                    <a:pt x="188959" y="338674"/>
                  </a:lnTo>
                  <a:lnTo>
                    <a:pt x="189241" y="337945"/>
                  </a:lnTo>
                  <a:lnTo>
                    <a:pt x="189735" y="337451"/>
                  </a:lnTo>
                  <a:lnTo>
                    <a:pt x="193097" y="335146"/>
                  </a:lnTo>
                  <a:lnTo>
                    <a:pt x="193779" y="334489"/>
                  </a:lnTo>
                  <a:lnTo>
                    <a:pt x="195143" y="332231"/>
                  </a:lnTo>
                  <a:lnTo>
                    <a:pt x="192510" y="329950"/>
                  </a:lnTo>
                  <a:lnTo>
                    <a:pt x="190699" y="327223"/>
                  </a:lnTo>
                  <a:lnTo>
                    <a:pt x="190252" y="324142"/>
                  </a:lnTo>
                  <a:lnTo>
                    <a:pt x="191687" y="320826"/>
                  </a:lnTo>
                  <a:lnTo>
                    <a:pt x="193521" y="318452"/>
                  </a:lnTo>
                  <a:lnTo>
                    <a:pt x="193732" y="317300"/>
                  </a:lnTo>
                  <a:lnTo>
                    <a:pt x="193309" y="315677"/>
                  </a:lnTo>
                  <a:lnTo>
                    <a:pt x="192486" y="314384"/>
                  </a:lnTo>
                  <a:lnTo>
                    <a:pt x="191616" y="313538"/>
                  </a:lnTo>
                  <a:lnTo>
                    <a:pt x="190934" y="312573"/>
                  </a:lnTo>
                  <a:lnTo>
                    <a:pt x="190769" y="310927"/>
                  </a:lnTo>
                  <a:lnTo>
                    <a:pt x="191240" y="309446"/>
                  </a:lnTo>
                  <a:lnTo>
                    <a:pt x="193051" y="306389"/>
                  </a:lnTo>
                  <a:lnTo>
                    <a:pt x="193615" y="304790"/>
                  </a:lnTo>
                  <a:lnTo>
                    <a:pt x="193615" y="303638"/>
                  </a:lnTo>
                  <a:lnTo>
                    <a:pt x="193450" y="301944"/>
                  </a:lnTo>
                  <a:lnTo>
                    <a:pt x="192815" y="298794"/>
                  </a:lnTo>
                  <a:lnTo>
                    <a:pt x="191827" y="295714"/>
                  </a:lnTo>
                  <a:lnTo>
                    <a:pt x="191663" y="294374"/>
                  </a:lnTo>
                  <a:lnTo>
                    <a:pt x="191663" y="292539"/>
                  </a:lnTo>
                  <a:lnTo>
                    <a:pt x="191804" y="291599"/>
                  </a:lnTo>
                  <a:lnTo>
                    <a:pt x="192015" y="291081"/>
                  </a:lnTo>
                  <a:lnTo>
                    <a:pt x="192086" y="290564"/>
                  </a:lnTo>
                  <a:lnTo>
                    <a:pt x="191827" y="289553"/>
                  </a:lnTo>
                  <a:lnTo>
                    <a:pt x="191733" y="288918"/>
                  </a:lnTo>
                  <a:lnTo>
                    <a:pt x="191851" y="286520"/>
                  </a:lnTo>
                  <a:lnTo>
                    <a:pt x="193121" y="286144"/>
                  </a:lnTo>
                  <a:lnTo>
                    <a:pt x="193450" y="284944"/>
                  </a:lnTo>
                  <a:lnTo>
                    <a:pt x="193074" y="283674"/>
                  </a:lnTo>
                  <a:lnTo>
                    <a:pt x="192228" y="283110"/>
                  </a:lnTo>
                  <a:lnTo>
                    <a:pt x="191052" y="282828"/>
                  </a:lnTo>
                  <a:lnTo>
                    <a:pt x="190416" y="282052"/>
                  </a:lnTo>
                  <a:lnTo>
                    <a:pt x="189758" y="280054"/>
                  </a:lnTo>
                  <a:lnTo>
                    <a:pt x="188065" y="276197"/>
                  </a:lnTo>
                  <a:lnTo>
                    <a:pt x="186961" y="274504"/>
                  </a:lnTo>
                  <a:lnTo>
                    <a:pt x="184491" y="272106"/>
                  </a:lnTo>
                  <a:lnTo>
                    <a:pt x="183715" y="271024"/>
                  </a:lnTo>
                  <a:lnTo>
                    <a:pt x="183551" y="269824"/>
                  </a:lnTo>
                  <a:lnTo>
                    <a:pt x="184397" y="268578"/>
                  </a:lnTo>
                  <a:lnTo>
                    <a:pt x="184703" y="266767"/>
                  </a:lnTo>
                  <a:lnTo>
                    <a:pt x="184727" y="266767"/>
                  </a:lnTo>
                  <a:lnTo>
                    <a:pt x="186349" y="266015"/>
                  </a:lnTo>
                  <a:lnTo>
                    <a:pt x="191169" y="266415"/>
                  </a:lnTo>
                  <a:lnTo>
                    <a:pt x="193309" y="266203"/>
                  </a:lnTo>
                  <a:lnTo>
                    <a:pt x="194391" y="265216"/>
                  </a:lnTo>
                  <a:lnTo>
                    <a:pt x="197494" y="261007"/>
                  </a:lnTo>
                  <a:lnTo>
                    <a:pt x="198130" y="259267"/>
                  </a:lnTo>
                  <a:lnTo>
                    <a:pt x="197941" y="256915"/>
                  </a:lnTo>
                  <a:lnTo>
                    <a:pt x="198224" y="256257"/>
                  </a:lnTo>
                  <a:lnTo>
                    <a:pt x="199235" y="255034"/>
                  </a:lnTo>
                  <a:lnTo>
                    <a:pt x="202009" y="252847"/>
                  </a:lnTo>
                  <a:lnTo>
                    <a:pt x="202456" y="252071"/>
                  </a:lnTo>
                  <a:lnTo>
                    <a:pt x="203044" y="250660"/>
                  </a:lnTo>
                  <a:lnTo>
                    <a:pt x="205818" y="246804"/>
                  </a:lnTo>
                  <a:lnTo>
                    <a:pt x="206712" y="245864"/>
                  </a:lnTo>
                  <a:lnTo>
                    <a:pt x="208100" y="245652"/>
                  </a:lnTo>
                  <a:lnTo>
                    <a:pt x="213225" y="245582"/>
                  </a:lnTo>
                  <a:lnTo>
                    <a:pt x="213931" y="245111"/>
                  </a:lnTo>
                  <a:lnTo>
                    <a:pt x="218516" y="243254"/>
                  </a:lnTo>
                  <a:lnTo>
                    <a:pt x="221079" y="241419"/>
                  </a:lnTo>
                  <a:lnTo>
                    <a:pt x="223595" y="239045"/>
                  </a:lnTo>
                  <a:lnTo>
                    <a:pt x="226064" y="235377"/>
                  </a:lnTo>
                  <a:lnTo>
                    <a:pt x="226393" y="235282"/>
                  </a:lnTo>
                  <a:lnTo>
                    <a:pt x="227357" y="235471"/>
                  </a:lnTo>
                  <a:lnTo>
                    <a:pt x="227663" y="235377"/>
                  </a:lnTo>
                  <a:lnTo>
                    <a:pt x="227851" y="234859"/>
                  </a:lnTo>
                  <a:lnTo>
                    <a:pt x="227946" y="234106"/>
                  </a:lnTo>
                  <a:lnTo>
                    <a:pt x="227898" y="233542"/>
                  </a:lnTo>
                  <a:lnTo>
                    <a:pt x="227663" y="233496"/>
                  </a:lnTo>
                  <a:lnTo>
                    <a:pt x="228675" y="232743"/>
                  </a:lnTo>
                  <a:lnTo>
                    <a:pt x="229756" y="232367"/>
                  </a:lnTo>
                  <a:lnTo>
                    <a:pt x="232201" y="232202"/>
                  </a:lnTo>
                  <a:lnTo>
                    <a:pt x="232201" y="231379"/>
                  </a:lnTo>
                  <a:lnTo>
                    <a:pt x="235188" y="226982"/>
                  </a:lnTo>
                  <a:lnTo>
                    <a:pt x="235235" y="226347"/>
                  </a:lnTo>
                  <a:lnTo>
                    <a:pt x="235023" y="225712"/>
                  </a:lnTo>
                  <a:lnTo>
                    <a:pt x="234976" y="224959"/>
                  </a:lnTo>
                  <a:lnTo>
                    <a:pt x="235470" y="223972"/>
                  </a:lnTo>
                  <a:lnTo>
                    <a:pt x="237492" y="221997"/>
                  </a:lnTo>
                  <a:lnTo>
                    <a:pt x="241231" y="216942"/>
                  </a:lnTo>
                  <a:lnTo>
                    <a:pt x="240431" y="216001"/>
                  </a:lnTo>
                  <a:lnTo>
                    <a:pt x="239350" y="214566"/>
                  </a:lnTo>
                  <a:lnTo>
                    <a:pt x="236058" y="211368"/>
                  </a:lnTo>
                  <a:lnTo>
                    <a:pt x="232554" y="209276"/>
                  </a:lnTo>
                  <a:lnTo>
                    <a:pt x="228745" y="207983"/>
                  </a:lnTo>
                  <a:lnTo>
                    <a:pt x="222396" y="206736"/>
                  </a:lnTo>
                  <a:lnTo>
                    <a:pt x="221314" y="206736"/>
                  </a:lnTo>
                  <a:lnTo>
                    <a:pt x="220773" y="207183"/>
                  </a:lnTo>
                  <a:lnTo>
                    <a:pt x="220256" y="207771"/>
                  </a:lnTo>
                  <a:lnTo>
                    <a:pt x="219175" y="208453"/>
                  </a:lnTo>
                  <a:lnTo>
                    <a:pt x="217999" y="208994"/>
                  </a:lnTo>
                  <a:lnTo>
                    <a:pt x="217200" y="209205"/>
                  </a:lnTo>
                  <a:lnTo>
                    <a:pt x="214989" y="208429"/>
                  </a:lnTo>
                  <a:lnTo>
                    <a:pt x="213908" y="206901"/>
                  </a:lnTo>
                  <a:lnTo>
                    <a:pt x="213507" y="205020"/>
                  </a:lnTo>
                  <a:lnTo>
                    <a:pt x="213296" y="203233"/>
                  </a:lnTo>
                  <a:lnTo>
                    <a:pt x="212943" y="202339"/>
                  </a:lnTo>
                  <a:lnTo>
                    <a:pt x="212426" y="201492"/>
                  </a:lnTo>
                  <a:lnTo>
                    <a:pt x="212191" y="200670"/>
                  </a:lnTo>
                  <a:lnTo>
                    <a:pt x="212661" y="199753"/>
                  </a:lnTo>
                  <a:lnTo>
                    <a:pt x="213225" y="198953"/>
                  </a:lnTo>
                  <a:lnTo>
                    <a:pt x="213555" y="198060"/>
                  </a:lnTo>
                  <a:lnTo>
                    <a:pt x="215459" y="190206"/>
                  </a:lnTo>
                  <a:lnTo>
                    <a:pt x="216353" y="188395"/>
                  </a:lnTo>
                  <a:lnTo>
                    <a:pt x="214331" y="187784"/>
                  </a:lnTo>
                  <a:lnTo>
                    <a:pt x="212943" y="187596"/>
                  </a:lnTo>
                  <a:lnTo>
                    <a:pt x="212332" y="186914"/>
                  </a:lnTo>
                  <a:lnTo>
                    <a:pt x="212967" y="182752"/>
                  </a:lnTo>
                  <a:lnTo>
                    <a:pt x="212661" y="181153"/>
                  </a:lnTo>
                  <a:lnTo>
                    <a:pt x="211603" y="179977"/>
                  </a:lnTo>
                  <a:lnTo>
                    <a:pt x="209699" y="179224"/>
                  </a:lnTo>
                  <a:lnTo>
                    <a:pt x="208664" y="181294"/>
                  </a:lnTo>
                  <a:lnTo>
                    <a:pt x="206007" y="182046"/>
                  </a:lnTo>
                  <a:lnTo>
                    <a:pt x="200434" y="182258"/>
                  </a:lnTo>
                  <a:lnTo>
                    <a:pt x="198082" y="181623"/>
                  </a:lnTo>
                  <a:lnTo>
                    <a:pt x="195237" y="177556"/>
                  </a:lnTo>
                  <a:lnTo>
                    <a:pt x="192839" y="177155"/>
                  </a:lnTo>
                  <a:lnTo>
                    <a:pt x="192345" y="180048"/>
                  </a:lnTo>
                  <a:lnTo>
                    <a:pt x="190487" y="181105"/>
                  </a:lnTo>
                  <a:lnTo>
                    <a:pt x="185620" y="181482"/>
                  </a:lnTo>
                  <a:lnTo>
                    <a:pt x="183433" y="181082"/>
                  </a:lnTo>
                  <a:lnTo>
                    <a:pt x="181528" y="179695"/>
                  </a:lnTo>
                  <a:lnTo>
                    <a:pt x="180447" y="179178"/>
                  </a:lnTo>
                  <a:lnTo>
                    <a:pt x="179741" y="178848"/>
                  </a:lnTo>
                  <a:lnTo>
                    <a:pt x="177908" y="180071"/>
                  </a:lnTo>
                  <a:lnTo>
                    <a:pt x="175133" y="181200"/>
                  </a:lnTo>
                  <a:lnTo>
                    <a:pt x="172664" y="180165"/>
                  </a:lnTo>
                  <a:lnTo>
                    <a:pt x="170289" y="178261"/>
                  </a:lnTo>
                  <a:lnTo>
                    <a:pt x="167773" y="176802"/>
                  </a:lnTo>
                  <a:lnTo>
                    <a:pt x="166644" y="176967"/>
                  </a:lnTo>
                  <a:lnTo>
                    <a:pt x="165256" y="177673"/>
                  </a:lnTo>
                  <a:lnTo>
                    <a:pt x="164057" y="178519"/>
                  </a:lnTo>
                  <a:lnTo>
                    <a:pt x="163493" y="179084"/>
                  </a:lnTo>
                  <a:lnTo>
                    <a:pt x="163329" y="180424"/>
                  </a:lnTo>
                  <a:lnTo>
                    <a:pt x="163846" y="183552"/>
                  </a:lnTo>
                  <a:lnTo>
                    <a:pt x="163658" y="185080"/>
                  </a:lnTo>
                  <a:lnTo>
                    <a:pt x="162764" y="186255"/>
                  </a:lnTo>
                  <a:lnTo>
                    <a:pt x="162035" y="187220"/>
                  </a:lnTo>
                  <a:lnTo>
                    <a:pt x="159473" y="188701"/>
                  </a:lnTo>
                  <a:lnTo>
                    <a:pt x="153923" y="190465"/>
                  </a:lnTo>
                  <a:lnTo>
                    <a:pt x="152512" y="190676"/>
                  </a:lnTo>
                  <a:lnTo>
                    <a:pt x="149667" y="190605"/>
                  </a:lnTo>
                  <a:lnTo>
                    <a:pt x="148491" y="190794"/>
                  </a:lnTo>
                  <a:lnTo>
                    <a:pt x="147433" y="191452"/>
                  </a:lnTo>
                  <a:lnTo>
                    <a:pt x="145552" y="193427"/>
                  </a:lnTo>
                  <a:lnTo>
                    <a:pt x="144518" y="194250"/>
                  </a:lnTo>
                  <a:lnTo>
                    <a:pt x="144188" y="192722"/>
                  </a:lnTo>
                  <a:lnTo>
                    <a:pt x="143436" y="191052"/>
                  </a:lnTo>
                  <a:lnTo>
                    <a:pt x="142424" y="189782"/>
                  </a:lnTo>
                  <a:lnTo>
                    <a:pt x="141343" y="189429"/>
                  </a:lnTo>
                  <a:lnTo>
                    <a:pt x="140591" y="189359"/>
                  </a:lnTo>
                  <a:lnTo>
                    <a:pt x="139415" y="188583"/>
                  </a:lnTo>
                  <a:lnTo>
                    <a:pt x="138803" y="188583"/>
                  </a:lnTo>
                  <a:lnTo>
                    <a:pt x="138215" y="189053"/>
                  </a:lnTo>
                  <a:lnTo>
                    <a:pt x="138075" y="189618"/>
                  </a:lnTo>
                  <a:lnTo>
                    <a:pt x="137981" y="190276"/>
                  </a:lnTo>
                  <a:lnTo>
                    <a:pt x="137581" y="190982"/>
                  </a:lnTo>
                  <a:lnTo>
                    <a:pt x="136405" y="191757"/>
                  </a:lnTo>
                  <a:lnTo>
                    <a:pt x="134806" y="192275"/>
                  </a:lnTo>
                  <a:lnTo>
                    <a:pt x="133137" y="192510"/>
                  </a:lnTo>
                  <a:lnTo>
                    <a:pt x="131749" y="192369"/>
                  </a:lnTo>
                  <a:lnTo>
                    <a:pt x="130480" y="191711"/>
                  </a:lnTo>
                  <a:lnTo>
                    <a:pt x="130432" y="190817"/>
                  </a:lnTo>
                  <a:lnTo>
                    <a:pt x="131632" y="187784"/>
                  </a:lnTo>
                  <a:lnTo>
                    <a:pt x="127423" y="187619"/>
                  </a:lnTo>
                  <a:lnTo>
                    <a:pt x="126059" y="187007"/>
                  </a:lnTo>
                  <a:lnTo>
                    <a:pt x="123895" y="185573"/>
                  </a:lnTo>
                  <a:lnTo>
                    <a:pt x="122673" y="185291"/>
                  </a:lnTo>
                  <a:lnTo>
                    <a:pt x="120462" y="186326"/>
                  </a:lnTo>
                  <a:lnTo>
                    <a:pt x="115595" y="187408"/>
                  </a:lnTo>
                  <a:lnTo>
                    <a:pt x="113479" y="187290"/>
                  </a:lnTo>
                  <a:lnTo>
                    <a:pt x="112656" y="187548"/>
                  </a:lnTo>
                  <a:lnTo>
                    <a:pt x="112280" y="188066"/>
                  </a:lnTo>
                  <a:lnTo>
                    <a:pt x="112021" y="188677"/>
                  </a:lnTo>
                  <a:lnTo>
                    <a:pt x="111480" y="189241"/>
                  </a:lnTo>
                  <a:lnTo>
                    <a:pt x="108988" y="189241"/>
                  </a:lnTo>
                  <a:lnTo>
                    <a:pt x="108470" y="186467"/>
                  </a:lnTo>
                  <a:lnTo>
                    <a:pt x="108259" y="183857"/>
                  </a:lnTo>
                  <a:lnTo>
                    <a:pt x="106731" y="184398"/>
                  </a:lnTo>
                  <a:lnTo>
                    <a:pt x="106354" y="185503"/>
                  </a:lnTo>
                  <a:lnTo>
                    <a:pt x="105978" y="187102"/>
                  </a:lnTo>
                  <a:lnTo>
                    <a:pt x="105249" y="188348"/>
                  </a:lnTo>
                  <a:lnTo>
                    <a:pt x="103791" y="188395"/>
                  </a:lnTo>
                  <a:lnTo>
                    <a:pt x="102522" y="188207"/>
                  </a:lnTo>
                  <a:lnTo>
                    <a:pt x="101416" y="188677"/>
                  </a:lnTo>
                  <a:lnTo>
                    <a:pt x="100452" y="189618"/>
                  </a:lnTo>
                  <a:lnTo>
                    <a:pt x="99676" y="190770"/>
                  </a:lnTo>
                  <a:lnTo>
                    <a:pt x="97113" y="193239"/>
                  </a:lnTo>
                  <a:lnTo>
                    <a:pt x="96972" y="193286"/>
                  </a:lnTo>
                  <a:lnTo>
                    <a:pt x="93609" y="194179"/>
                  </a:lnTo>
                  <a:lnTo>
                    <a:pt x="86908" y="193780"/>
                  </a:lnTo>
                  <a:lnTo>
                    <a:pt x="86908" y="193592"/>
                  </a:lnTo>
                  <a:lnTo>
                    <a:pt x="87214" y="191264"/>
                  </a:lnTo>
                  <a:lnTo>
                    <a:pt x="87072" y="189994"/>
                  </a:lnTo>
                  <a:lnTo>
                    <a:pt x="86485" y="189241"/>
                  </a:lnTo>
                  <a:lnTo>
                    <a:pt x="83686" y="188231"/>
                  </a:lnTo>
                  <a:lnTo>
                    <a:pt x="82817" y="186514"/>
                  </a:lnTo>
                  <a:lnTo>
                    <a:pt x="82934" y="184727"/>
                  </a:lnTo>
                  <a:lnTo>
                    <a:pt x="83686" y="182987"/>
                  </a:lnTo>
                  <a:lnTo>
                    <a:pt x="86696" y="178872"/>
                  </a:lnTo>
                  <a:lnTo>
                    <a:pt x="88977" y="176802"/>
                  </a:lnTo>
                  <a:lnTo>
                    <a:pt x="91258" y="175439"/>
                  </a:lnTo>
                  <a:lnTo>
                    <a:pt x="92504" y="174474"/>
                  </a:lnTo>
                  <a:lnTo>
                    <a:pt x="93351" y="173252"/>
                  </a:lnTo>
                  <a:lnTo>
                    <a:pt x="93538" y="171583"/>
                  </a:lnTo>
                  <a:lnTo>
                    <a:pt x="92904" y="170148"/>
                  </a:lnTo>
                  <a:lnTo>
                    <a:pt x="91705" y="169090"/>
                  </a:lnTo>
                  <a:lnTo>
                    <a:pt x="90200" y="168502"/>
                  </a:lnTo>
                  <a:lnTo>
                    <a:pt x="88577" y="168643"/>
                  </a:lnTo>
                  <a:lnTo>
                    <a:pt x="87190" y="169255"/>
                  </a:lnTo>
                  <a:lnTo>
                    <a:pt x="86014" y="169560"/>
                  </a:lnTo>
                  <a:lnTo>
                    <a:pt x="85026" y="168831"/>
                  </a:lnTo>
                  <a:lnTo>
                    <a:pt x="84768" y="167256"/>
                  </a:lnTo>
                  <a:lnTo>
                    <a:pt x="85003" y="163094"/>
                  </a:lnTo>
                  <a:lnTo>
                    <a:pt x="84298" y="161613"/>
                  </a:lnTo>
                  <a:lnTo>
                    <a:pt x="83592" y="160695"/>
                  </a:lnTo>
                  <a:lnTo>
                    <a:pt x="81241" y="162248"/>
                  </a:lnTo>
                  <a:lnTo>
                    <a:pt x="79807" y="162789"/>
                  </a:lnTo>
                  <a:lnTo>
                    <a:pt x="78466" y="162835"/>
                  </a:lnTo>
                  <a:lnTo>
                    <a:pt x="77878" y="162977"/>
                  </a:lnTo>
                  <a:lnTo>
                    <a:pt x="77197" y="163400"/>
                  </a:lnTo>
                  <a:lnTo>
                    <a:pt x="75198" y="165069"/>
                  </a:lnTo>
                  <a:lnTo>
                    <a:pt x="73881" y="165728"/>
                  </a:lnTo>
                  <a:lnTo>
                    <a:pt x="61795" y="167515"/>
                  </a:lnTo>
                  <a:lnTo>
                    <a:pt x="60313" y="168032"/>
                  </a:lnTo>
                  <a:lnTo>
                    <a:pt x="57633" y="169748"/>
                  </a:lnTo>
                  <a:lnTo>
                    <a:pt x="56198" y="170289"/>
                  </a:lnTo>
                  <a:lnTo>
                    <a:pt x="53330" y="170359"/>
                  </a:lnTo>
                  <a:lnTo>
                    <a:pt x="51966" y="170618"/>
                  </a:lnTo>
                  <a:lnTo>
                    <a:pt x="50626" y="171535"/>
                  </a:lnTo>
                  <a:lnTo>
                    <a:pt x="49943" y="172499"/>
                  </a:lnTo>
                  <a:lnTo>
                    <a:pt x="49121" y="174569"/>
                  </a:lnTo>
                  <a:lnTo>
                    <a:pt x="48533" y="175533"/>
                  </a:lnTo>
                  <a:lnTo>
                    <a:pt x="46934" y="176520"/>
                  </a:lnTo>
                  <a:lnTo>
                    <a:pt x="44935" y="177085"/>
                  </a:lnTo>
                  <a:lnTo>
                    <a:pt x="43172" y="177931"/>
                  </a:lnTo>
                  <a:lnTo>
                    <a:pt x="42302" y="178519"/>
                  </a:lnTo>
                  <a:lnTo>
                    <a:pt x="41431" y="180095"/>
                  </a:lnTo>
                  <a:lnTo>
                    <a:pt x="40256" y="181576"/>
                  </a:lnTo>
                  <a:lnTo>
                    <a:pt x="38821" y="182681"/>
                  </a:lnTo>
                  <a:lnTo>
                    <a:pt x="37222" y="183128"/>
                  </a:lnTo>
                  <a:lnTo>
                    <a:pt x="35906" y="183834"/>
                  </a:lnTo>
                  <a:lnTo>
                    <a:pt x="34660" y="185220"/>
                  </a:lnTo>
                  <a:lnTo>
                    <a:pt x="33414" y="186232"/>
                  </a:lnTo>
                  <a:lnTo>
                    <a:pt x="32120" y="185809"/>
                  </a:lnTo>
                  <a:lnTo>
                    <a:pt x="32308" y="184492"/>
                  </a:lnTo>
                  <a:lnTo>
                    <a:pt x="30756" y="165704"/>
                  </a:lnTo>
                  <a:lnTo>
                    <a:pt x="30992" y="164035"/>
                  </a:lnTo>
                  <a:lnTo>
                    <a:pt x="31838" y="163376"/>
                  </a:lnTo>
                  <a:lnTo>
                    <a:pt x="34942" y="163306"/>
                  </a:lnTo>
                  <a:lnTo>
                    <a:pt x="36376" y="162929"/>
                  </a:lnTo>
                  <a:lnTo>
                    <a:pt x="36964" y="162035"/>
                  </a:lnTo>
                  <a:lnTo>
                    <a:pt x="36611" y="161283"/>
                  </a:lnTo>
                  <a:lnTo>
                    <a:pt x="35130" y="160625"/>
                  </a:lnTo>
                  <a:lnTo>
                    <a:pt x="34800" y="160014"/>
                  </a:lnTo>
                  <a:lnTo>
                    <a:pt x="35201" y="159684"/>
                  </a:lnTo>
                  <a:lnTo>
                    <a:pt x="37246" y="158697"/>
                  </a:lnTo>
                  <a:lnTo>
                    <a:pt x="37435" y="158297"/>
                  </a:lnTo>
                  <a:lnTo>
                    <a:pt x="37623" y="157380"/>
                  </a:lnTo>
                  <a:lnTo>
                    <a:pt x="38045" y="156486"/>
                  </a:lnTo>
                  <a:lnTo>
                    <a:pt x="38869" y="156087"/>
                  </a:lnTo>
                  <a:lnTo>
                    <a:pt x="39222" y="155805"/>
                  </a:lnTo>
                  <a:lnTo>
                    <a:pt x="40679" y="154088"/>
                  </a:lnTo>
                  <a:lnTo>
                    <a:pt x="44771" y="151172"/>
                  </a:lnTo>
                  <a:lnTo>
                    <a:pt x="45782" y="150773"/>
                  </a:lnTo>
                  <a:lnTo>
                    <a:pt x="46135" y="150561"/>
                  </a:lnTo>
                  <a:lnTo>
                    <a:pt x="48627" y="148398"/>
                  </a:lnTo>
                  <a:lnTo>
                    <a:pt x="50037" y="147880"/>
                  </a:lnTo>
                  <a:lnTo>
                    <a:pt x="51613" y="146869"/>
                  </a:lnTo>
                  <a:lnTo>
                    <a:pt x="52131" y="146375"/>
                  </a:lnTo>
                  <a:lnTo>
                    <a:pt x="52413" y="145576"/>
                  </a:lnTo>
                  <a:lnTo>
                    <a:pt x="52413" y="142589"/>
                  </a:lnTo>
                  <a:lnTo>
                    <a:pt x="52342" y="141932"/>
                  </a:lnTo>
                  <a:lnTo>
                    <a:pt x="52037" y="141861"/>
                  </a:lnTo>
                  <a:lnTo>
                    <a:pt x="51378" y="142049"/>
                  </a:lnTo>
                  <a:lnTo>
                    <a:pt x="50202" y="143084"/>
                  </a:lnTo>
                  <a:lnTo>
                    <a:pt x="49356" y="144918"/>
                  </a:lnTo>
                  <a:lnTo>
                    <a:pt x="48251" y="146634"/>
                  </a:lnTo>
                  <a:lnTo>
                    <a:pt x="46323" y="147387"/>
                  </a:lnTo>
                  <a:lnTo>
                    <a:pt x="44747" y="147740"/>
                  </a:lnTo>
                  <a:lnTo>
                    <a:pt x="40515" y="149550"/>
                  </a:lnTo>
                  <a:lnTo>
                    <a:pt x="39644" y="150420"/>
                  </a:lnTo>
                  <a:lnTo>
                    <a:pt x="38798" y="150584"/>
                  </a:lnTo>
                  <a:lnTo>
                    <a:pt x="34683" y="150326"/>
                  </a:lnTo>
                  <a:lnTo>
                    <a:pt x="33178" y="150773"/>
                  </a:lnTo>
                  <a:lnTo>
                    <a:pt x="33484" y="149550"/>
                  </a:lnTo>
                  <a:lnTo>
                    <a:pt x="34307" y="147387"/>
                  </a:lnTo>
                  <a:lnTo>
                    <a:pt x="34307" y="146070"/>
                  </a:lnTo>
                  <a:lnTo>
                    <a:pt x="34800" y="146070"/>
                  </a:lnTo>
                  <a:lnTo>
                    <a:pt x="35906" y="147598"/>
                  </a:lnTo>
                  <a:lnTo>
                    <a:pt x="36353" y="146869"/>
                  </a:lnTo>
                  <a:lnTo>
                    <a:pt x="36400" y="143719"/>
                  </a:lnTo>
                  <a:lnTo>
                    <a:pt x="36235" y="142919"/>
                  </a:lnTo>
                  <a:lnTo>
                    <a:pt x="36070" y="142496"/>
                  </a:lnTo>
                  <a:lnTo>
                    <a:pt x="36329" y="142260"/>
                  </a:lnTo>
                  <a:lnTo>
                    <a:pt x="37458" y="142049"/>
                  </a:lnTo>
                  <a:lnTo>
                    <a:pt x="40256" y="142637"/>
                  </a:lnTo>
                  <a:lnTo>
                    <a:pt x="40656" y="142401"/>
                  </a:lnTo>
                  <a:lnTo>
                    <a:pt x="41220" y="141132"/>
                  </a:lnTo>
                  <a:lnTo>
                    <a:pt x="44183" y="137910"/>
                  </a:lnTo>
                  <a:lnTo>
                    <a:pt x="45523" y="136781"/>
                  </a:lnTo>
                  <a:lnTo>
                    <a:pt x="48110" y="135207"/>
                  </a:lnTo>
                  <a:lnTo>
                    <a:pt x="49238" y="134195"/>
                  </a:lnTo>
                  <a:lnTo>
                    <a:pt x="49803" y="132785"/>
                  </a:lnTo>
                  <a:lnTo>
                    <a:pt x="49097" y="133113"/>
                  </a:lnTo>
                  <a:lnTo>
                    <a:pt x="48463" y="133067"/>
                  </a:lnTo>
                  <a:lnTo>
                    <a:pt x="47686" y="132760"/>
                  </a:lnTo>
                  <a:lnTo>
                    <a:pt x="47005" y="132855"/>
                  </a:lnTo>
                  <a:lnTo>
                    <a:pt x="46746" y="132949"/>
                  </a:lnTo>
                  <a:lnTo>
                    <a:pt x="46581" y="133113"/>
                  </a:lnTo>
                  <a:lnTo>
                    <a:pt x="44865" y="134077"/>
                  </a:lnTo>
                  <a:lnTo>
                    <a:pt x="42936" y="135512"/>
                  </a:lnTo>
                  <a:lnTo>
                    <a:pt x="41832" y="136100"/>
                  </a:lnTo>
                  <a:lnTo>
                    <a:pt x="40139" y="136523"/>
                  </a:lnTo>
                  <a:lnTo>
                    <a:pt x="37646" y="136735"/>
                  </a:lnTo>
                  <a:lnTo>
                    <a:pt x="35107" y="136453"/>
                  </a:lnTo>
                  <a:lnTo>
                    <a:pt x="33249" y="135395"/>
                  </a:lnTo>
                  <a:lnTo>
                    <a:pt x="32614" y="134313"/>
                  </a:lnTo>
                  <a:lnTo>
                    <a:pt x="32261" y="132455"/>
                  </a:lnTo>
                  <a:lnTo>
                    <a:pt x="31650" y="131444"/>
                  </a:lnTo>
                  <a:lnTo>
                    <a:pt x="30639" y="130903"/>
                  </a:lnTo>
                  <a:lnTo>
                    <a:pt x="27935" y="130480"/>
                  </a:lnTo>
                  <a:lnTo>
                    <a:pt x="27370" y="130104"/>
                  </a:lnTo>
                  <a:lnTo>
                    <a:pt x="27958" y="129140"/>
                  </a:lnTo>
                  <a:lnTo>
                    <a:pt x="29393" y="128317"/>
                  </a:lnTo>
                  <a:lnTo>
                    <a:pt x="31015" y="127705"/>
                  </a:lnTo>
                  <a:lnTo>
                    <a:pt x="32167" y="127447"/>
                  </a:lnTo>
                  <a:lnTo>
                    <a:pt x="33131" y="127752"/>
                  </a:lnTo>
                  <a:lnTo>
                    <a:pt x="33742" y="128575"/>
                  </a:lnTo>
                  <a:lnTo>
                    <a:pt x="33742" y="129492"/>
                  </a:lnTo>
                  <a:lnTo>
                    <a:pt x="32708" y="130104"/>
                  </a:lnTo>
                  <a:lnTo>
                    <a:pt x="33390" y="130527"/>
                  </a:lnTo>
                  <a:lnTo>
                    <a:pt x="34472" y="130950"/>
                  </a:lnTo>
                  <a:lnTo>
                    <a:pt x="35623" y="131115"/>
                  </a:lnTo>
                  <a:lnTo>
                    <a:pt x="36447" y="130833"/>
                  </a:lnTo>
                  <a:lnTo>
                    <a:pt x="36752" y="129798"/>
                  </a:lnTo>
                  <a:lnTo>
                    <a:pt x="36541" y="128670"/>
                  </a:lnTo>
                  <a:lnTo>
                    <a:pt x="36541" y="127611"/>
                  </a:lnTo>
                  <a:lnTo>
                    <a:pt x="37504" y="126835"/>
                  </a:lnTo>
                  <a:lnTo>
                    <a:pt x="36541" y="123449"/>
                  </a:lnTo>
                  <a:lnTo>
                    <a:pt x="36423" y="121780"/>
                  </a:lnTo>
                  <a:lnTo>
                    <a:pt x="36705" y="120321"/>
                  </a:lnTo>
                  <a:lnTo>
                    <a:pt x="37435" y="119170"/>
                  </a:lnTo>
                  <a:lnTo>
                    <a:pt x="38398" y="118394"/>
                  </a:lnTo>
                  <a:lnTo>
                    <a:pt x="39433" y="118112"/>
                  </a:lnTo>
                  <a:lnTo>
                    <a:pt x="40444" y="116889"/>
                  </a:lnTo>
                  <a:lnTo>
                    <a:pt x="43312" y="110916"/>
                  </a:lnTo>
                  <a:lnTo>
                    <a:pt x="43924" y="108730"/>
                  </a:lnTo>
                  <a:lnTo>
                    <a:pt x="43431" y="108730"/>
                  </a:lnTo>
                  <a:lnTo>
                    <a:pt x="42890" y="110281"/>
                  </a:lnTo>
                  <a:lnTo>
                    <a:pt x="42114" y="111809"/>
                  </a:lnTo>
                  <a:lnTo>
                    <a:pt x="41055" y="112962"/>
                  </a:lnTo>
                  <a:lnTo>
                    <a:pt x="39668" y="113409"/>
                  </a:lnTo>
                  <a:lnTo>
                    <a:pt x="38187" y="112891"/>
                  </a:lnTo>
                  <a:lnTo>
                    <a:pt x="37246" y="111669"/>
                  </a:lnTo>
                  <a:lnTo>
                    <a:pt x="36447" y="110141"/>
                  </a:lnTo>
                  <a:lnTo>
                    <a:pt x="35412" y="109341"/>
                  </a:lnTo>
                  <a:lnTo>
                    <a:pt x="34236" y="111387"/>
                  </a:lnTo>
                  <a:lnTo>
                    <a:pt x="34048" y="112609"/>
                  </a:lnTo>
                  <a:lnTo>
                    <a:pt x="34824" y="113432"/>
                  </a:lnTo>
                  <a:lnTo>
                    <a:pt x="33131" y="115690"/>
                  </a:lnTo>
                  <a:lnTo>
                    <a:pt x="32214" y="116231"/>
                  </a:lnTo>
                  <a:lnTo>
                    <a:pt x="31086" y="115431"/>
                  </a:lnTo>
                  <a:lnTo>
                    <a:pt x="31508" y="114420"/>
                  </a:lnTo>
                  <a:lnTo>
                    <a:pt x="30427" y="114914"/>
                  </a:lnTo>
                  <a:lnTo>
                    <a:pt x="27840" y="116771"/>
                  </a:lnTo>
                  <a:lnTo>
                    <a:pt x="28946" y="118018"/>
                  </a:lnTo>
                  <a:lnTo>
                    <a:pt x="28029" y="118676"/>
                  </a:lnTo>
                  <a:lnTo>
                    <a:pt x="25207" y="119428"/>
                  </a:lnTo>
                  <a:lnTo>
                    <a:pt x="24972" y="119946"/>
                  </a:lnTo>
                  <a:lnTo>
                    <a:pt x="24337" y="122156"/>
                  </a:lnTo>
                  <a:lnTo>
                    <a:pt x="23679" y="122391"/>
                  </a:lnTo>
                  <a:lnTo>
                    <a:pt x="23067" y="122932"/>
                  </a:lnTo>
                  <a:lnTo>
                    <a:pt x="21939" y="124178"/>
                  </a:lnTo>
                  <a:lnTo>
                    <a:pt x="20787" y="122979"/>
                  </a:lnTo>
                  <a:lnTo>
                    <a:pt x="20622" y="121192"/>
                  </a:lnTo>
                  <a:lnTo>
                    <a:pt x="20246" y="119569"/>
                  </a:lnTo>
                  <a:lnTo>
                    <a:pt x="18482" y="118864"/>
                  </a:lnTo>
                  <a:lnTo>
                    <a:pt x="17306" y="117829"/>
                  </a:lnTo>
                  <a:lnTo>
                    <a:pt x="17706" y="115478"/>
                  </a:lnTo>
                  <a:lnTo>
                    <a:pt x="18835" y="112962"/>
                  </a:lnTo>
                  <a:lnTo>
                    <a:pt x="19822" y="111481"/>
                  </a:lnTo>
                  <a:lnTo>
                    <a:pt x="19775" y="110305"/>
                  </a:lnTo>
                  <a:lnTo>
                    <a:pt x="20033" y="108847"/>
                  </a:lnTo>
                  <a:lnTo>
                    <a:pt x="20504" y="106919"/>
                  </a:lnTo>
                  <a:lnTo>
                    <a:pt x="21398" y="105743"/>
                  </a:lnTo>
                  <a:lnTo>
                    <a:pt x="21774" y="105061"/>
                  </a:lnTo>
                  <a:lnTo>
                    <a:pt x="22385" y="104379"/>
                  </a:lnTo>
                  <a:lnTo>
                    <a:pt x="23302" y="104074"/>
                  </a:lnTo>
                  <a:lnTo>
                    <a:pt x="23490" y="103862"/>
                  </a:lnTo>
                  <a:lnTo>
                    <a:pt x="25748" y="102686"/>
                  </a:lnTo>
                  <a:lnTo>
                    <a:pt x="27770" y="100100"/>
                  </a:lnTo>
                  <a:lnTo>
                    <a:pt x="28946" y="99088"/>
                  </a:lnTo>
                  <a:lnTo>
                    <a:pt x="30827" y="98689"/>
                  </a:lnTo>
                  <a:lnTo>
                    <a:pt x="31368" y="98007"/>
                  </a:lnTo>
                  <a:lnTo>
                    <a:pt x="31861" y="96478"/>
                  </a:lnTo>
                  <a:lnTo>
                    <a:pt x="31650" y="94903"/>
                  </a:lnTo>
                  <a:lnTo>
                    <a:pt x="30027" y="94080"/>
                  </a:lnTo>
                  <a:lnTo>
                    <a:pt x="29698" y="96314"/>
                  </a:lnTo>
                  <a:lnTo>
                    <a:pt x="28476" y="97677"/>
                  </a:lnTo>
                  <a:lnTo>
                    <a:pt x="26689" y="98407"/>
                  </a:lnTo>
                  <a:lnTo>
                    <a:pt x="24619" y="98689"/>
                  </a:lnTo>
                  <a:lnTo>
                    <a:pt x="20645" y="98148"/>
                  </a:lnTo>
                  <a:lnTo>
                    <a:pt x="19023" y="98454"/>
                  </a:lnTo>
                  <a:lnTo>
                    <a:pt x="19282" y="100076"/>
                  </a:lnTo>
                  <a:lnTo>
                    <a:pt x="17471" y="101863"/>
                  </a:lnTo>
                  <a:lnTo>
                    <a:pt x="16484" y="102333"/>
                  </a:lnTo>
                  <a:lnTo>
                    <a:pt x="15002" y="102075"/>
                  </a:lnTo>
                  <a:lnTo>
                    <a:pt x="13967" y="101228"/>
                  </a:lnTo>
                  <a:lnTo>
                    <a:pt x="13450" y="99982"/>
                  </a:lnTo>
                  <a:lnTo>
                    <a:pt x="13027" y="98407"/>
                  </a:lnTo>
                  <a:lnTo>
                    <a:pt x="12275" y="96690"/>
                  </a:lnTo>
                  <a:lnTo>
                    <a:pt x="13238" y="96690"/>
                  </a:lnTo>
                  <a:lnTo>
                    <a:pt x="13967" y="96314"/>
                  </a:lnTo>
                  <a:lnTo>
                    <a:pt x="14508" y="95632"/>
                  </a:lnTo>
                  <a:lnTo>
                    <a:pt x="14978" y="94668"/>
                  </a:lnTo>
                  <a:lnTo>
                    <a:pt x="14344" y="93539"/>
                  </a:lnTo>
                  <a:lnTo>
                    <a:pt x="13262" y="92881"/>
                  </a:lnTo>
                  <a:lnTo>
                    <a:pt x="11780" y="92317"/>
                  </a:lnTo>
                  <a:lnTo>
                    <a:pt x="11710" y="91541"/>
                  </a:lnTo>
                  <a:lnTo>
                    <a:pt x="11310" y="90247"/>
                  </a:lnTo>
                  <a:lnTo>
                    <a:pt x="11216" y="89660"/>
                  </a:lnTo>
                  <a:lnTo>
                    <a:pt x="11381" y="89284"/>
                  </a:lnTo>
                  <a:lnTo>
                    <a:pt x="12086" y="88530"/>
                  </a:lnTo>
                  <a:lnTo>
                    <a:pt x="12275" y="87943"/>
                  </a:lnTo>
                  <a:lnTo>
                    <a:pt x="12369" y="87050"/>
                  </a:lnTo>
                  <a:lnTo>
                    <a:pt x="12298" y="86438"/>
                  </a:lnTo>
                  <a:lnTo>
                    <a:pt x="11757" y="86062"/>
                  </a:lnTo>
                  <a:lnTo>
                    <a:pt x="10417" y="85944"/>
                  </a:lnTo>
                  <a:lnTo>
                    <a:pt x="9688" y="85521"/>
                  </a:lnTo>
                  <a:lnTo>
                    <a:pt x="8465" y="83710"/>
                  </a:lnTo>
                  <a:lnTo>
                    <a:pt x="7501" y="83311"/>
                  </a:lnTo>
                  <a:lnTo>
                    <a:pt x="7501" y="83922"/>
                  </a:lnTo>
                  <a:lnTo>
                    <a:pt x="7947" y="84956"/>
                  </a:lnTo>
                  <a:lnTo>
                    <a:pt x="7501" y="85521"/>
                  </a:lnTo>
                  <a:lnTo>
                    <a:pt x="6772" y="85709"/>
                  </a:lnTo>
                  <a:lnTo>
                    <a:pt x="6396" y="85615"/>
                  </a:lnTo>
                  <a:lnTo>
                    <a:pt x="6066" y="84322"/>
                  </a:lnTo>
                  <a:lnTo>
                    <a:pt x="5291" y="84204"/>
                  </a:lnTo>
                  <a:lnTo>
                    <a:pt x="4397" y="84722"/>
                  </a:lnTo>
                  <a:lnTo>
                    <a:pt x="3715" y="85309"/>
                  </a:lnTo>
                  <a:lnTo>
                    <a:pt x="3127" y="86156"/>
                  </a:lnTo>
                  <a:lnTo>
                    <a:pt x="2351" y="88107"/>
                  </a:lnTo>
                  <a:lnTo>
                    <a:pt x="1834" y="88977"/>
                  </a:lnTo>
                  <a:lnTo>
                    <a:pt x="1481" y="88766"/>
                  </a:lnTo>
                  <a:lnTo>
                    <a:pt x="705" y="86485"/>
                  </a:lnTo>
                  <a:lnTo>
                    <a:pt x="0" y="85897"/>
                  </a:lnTo>
                  <a:lnTo>
                    <a:pt x="0" y="85286"/>
                  </a:lnTo>
                  <a:lnTo>
                    <a:pt x="517" y="84345"/>
                  </a:lnTo>
                  <a:lnTo>
                    <a:pt x="2139" y="80230"/>
                  </a:lnTo>
                  <a:lnTo>
                    <a:pt x="2210" y="79619"/>
                  </a:lnTo>
                  <a:lnTo>
                    <a:pt x="2375" y="78843"/>
                  </a:lnTo>
                  <a:lnTo>
                    <a:pt x="2633" y="78067"/>
                  </a:lnTo>
                  <a:lnTo>
                    <a:pt x="2939" y="77526"/>
                  </a:lnTo>
                  <a:lnTo>
                    <a:pt x="3245" y="76656"/>
                  </a:lnTo>
                  <a:lnTo>
                    <a:pt x="2751" y="76021"/>
                  </a:lnTo>
                  <a:lnTo>
                    <a:pt x="1598" y="75246"/>
                  </a:lnTo>
                  <a:lnTo>
                    <a:pt x="1011" y="72918"/>
                  </a:lnTo>
                  <a:lnTo>
                    <a:pt x="1669" y="72377"/>
                  </a:lnTo>
                  <a:lnTo>
                    <a:pt x="2704" y="72329"/>
                  </a:lnTo>
                  <a:lnTo>
                    <a:pt x="3245" y="71460"/>
                  </a:lnTo>
                  <a:lnTo>
                    <a:pt x="3668" y="69673"/>
                  </a:lnTo>
                  <a:lnTo>
                    <a:pt x="4585" y="68826"/>
                  </a:lnTo>
                  <a:lnTo>
                    <a:pt x="5502" y="68214"/>
                  </a:lnTo>
                  <a:lnTo>
                    <a:pt x="5878" y="67062"/>
                  </a:lnTo>
                  <a:lnTo>
                    <a:pt x="7030" y="67980"/>
                  </a:lnTo>
                  <a:lnTo>
                    <a:pt x="8065" y="68238"/>
                  </a:lnTo>
                  <a:lnTo>
                    <a:pt x="9076" y="67909"/>
                  </a:lnTo>
                  <a:lnTo>
                    <a:pt x="10229" y="67039"/>
                  </a:lnTo>
                  <a:lnTo>
                    <a:pt x="10652" y="66521"/>
                  </a:lnTo>
                  <a:lnTo>
                    <a:pt x="10863" y="66028"/>
                  </a:lnTo>
                  <a:lnTo>
                    <a:pt x="11169" y="65558"/>
                  </a:lnTo>
                  <a:lnTo>
                    <a:pt x="11874" y="65040"/>
                  </a:lnTo>
                  <a:lnTo>
                    <a:pt x="12509" y="64734"/>
                  </a:lnTo>
                  <a:lnTo>
                    <a:pt x="13074" y="64570"/>
                  </a:lnTo>
                  <a:lnTo>
                    <a:pt x="14484" y="64429"/>
                  </a:lnTo>
                  <a:lnTo>
                    <a:pt x="14484" y="63700"/>
                  </a:lnTo>
                  <a:lnTo>
                    <a:pt x="13168" y="64287"/>
                  </a:lnTo>
                  <a:lnTo>
                    <a:pt x="11404" y="64664"/>
                  </a:lnTo>
                  <a:lnTo>
                    <a:pt x="10135" y="64546"/>
                  </a:lnTo>
                  <a:lnTo>
                    <a:pt x="10229" y="63700"/>
                  </a:lnTo>
                  <a:lnTo>
                    <a:pt x="7736" y="64876"/>
                  </a:lnTo>
                  <a:lnTo>
                    <a:pt x="6631" y="64758"/>
                  </a:lnTo>
                  <a:lnTo>
                    <a:pt x="5902" y="63041"/>
                  </a:lnTo>
                  <a:lnTo>
                    <a:pt x="9617" y="59773"/>
                  </a:lnTo>
                  <a:lnTo>
                    <a:pt x="12133" y="58526"/>
                  </a:lnTo>
                  <a:lnTo>
                    <a:pt x="15072" y="59679"/>
                  </a:lnTo>
                  <a:lnTo>
                    <a:pt x="16413" y="59679"/>
                  </a:lnTo>
                  <a:lnTo>
                    <a:pt x="17824" y="59420"/>
                  </a:lnTo>
                  <a:lnTo>
                    <a:pt x="18811" y="59021"/>
                  </a:lnTo>
                  <a:lnTo>
                    <a:pt x="19799" y="58197"/>
                  </a:lnTo>
                  <a:lnTo>
                    <a:pt x="20810" y="57656"/>
                  </a:lnTo>
                  <a:lnTo>
                    <a:pt x="21609" y="56316"/>
                  </a:lnTo>
                  <a:lnTo>
                    <a:pt x="22009" y="54858"/>
                  </a:lnTo>
                  <a:lnTo>
                    <a:pt x="22597" y="54858"/>
                  </a:lnTo>
                  <a:lnTo>
                    <a:pt x="24031" y="56034"/>
                  </a:lnTo>
                  <a:lnTo>
                    <a:pt x="26124" y="55963"/>
                  </a:lnTo>
                  <a:lnTo>
                    <a:pt x="28193" y="55188"/>
                  </a:lnTo>
                  <a:lnTo>
                    <a:pt x="29557" y="54224"/>
                  </a:lnTo>
                  <a:lnTo>
                    <a:pt x="27911" y="54318"/>
                  </a:lnTo>
                  <a:lnTo>
                    <a:pt x="26994" y="53730"/>
                  </a:lnTo>
                  <a:lnTo>
                    <a:pt x="25818" y="51566"/>
                  </a:lnTo>
                  <a:lnTo>
                    <a:pt x="25466" y="51566"/>
                  </a:lnTo>
                  <a:lnTo>
                    <a:pt x="24501" y="51073"/>
                  </a:lnTo>
                  <a:lnTo>
                    <a:pt x="23866" y="50461"/>
                  </a:lnTo>
                  <a:lnTo>
                    <a:pt x="24431" y="50179"/>
                  </a:lnTo>
                  <a:lnTo>
                    <a:pt x="25207" y="50109"/>
                  </a:lnTo>
                  <a:lnTo>
                    <a:pt x="28358" y="48816"/>
                  </a:lnTo>
                  <a:lnTo>
                    <a:pt x="31673" y="46746"/>
                  </a:lnTo>
                  <a:lnTo>
                    <a:pt x="34119" y="46135"/>
                  </a:lnTo>
                  <a:lnTo>
                    <a:pt x="34706" y="45430"/>
                  </a:lnTo>
                  <a:lnTo>
                    <a:pt x="35318" y="44935"/>
                  </a:lnTo>
                  <a:lnTo>
                    <a:pt x="36188" y="44724"/>
                  </a:lnTo>
                  <a:lnTo>
                    <a:pt x="37199" y="45242"/>
                  </a:lnTo>
                  <a:lnTo>
                    <a:pt x="39668" y="47545"/>
                  </a:lnTo>
                  <a:lnTo>
                    <a:pt x="40985" y="48063"/>
                  </a:lnTo>
                  <a:lnTo>
                    <a:pt x="42396" y="48275"/>
                  </a:lnTo>
                  <a:lnTo>
                    <a:pt x="45429" y="49192"/>
                  </a:lnTo>
                  <a:lnTo>
                    <a:pt x="46887" y="49403"/>
                  </a:lnTo>
                  <a:lnTo>
                    <a:pt x="49050" y="48627"/>
                  </a:lnTo>
                  <a:lnTo>
                    <a:pt x="51824" y="47169"/>
                  </a:lnTo>
                  <a:lnTo>
                    <a:pt x="54764" y="46346"/>
                  </a:lnTo>
                  <a:lnTo>
                    <a:pt x="57421" y="47428"/>
                  </a:lnTo>
                  <a:lnTo>
                    <a:pt x="61536" y="45617"/>
                  </a:lnTo>
                  <a:lnTo>
                    <a:pt x="62194" y="45006"/>
                  </a:lnTo>
                  <a:lnTo>
                    <a:pt x="62453" y="44136"/>
                  </a:lnTo>
                  <a:lnTo>
                    <a:pt x="63088" y="43384"/>
                  </a:lnTo>
                  <a:lnTo>
                    <a:pt x="63887" y="42866"/>
                  </a:lnTo>
                  <a:lnTo>
                    <a:pt x="65463" y="42490"/>
                  </a:lnTo>
                  <a:lnTo>
                    <a:pt x="65792" y="42090"/>
                  </a:lnTo>
                  <a:lnTo>
                    <a:pt x="65980" y="41644"/>
                  </a:lnTo>
                  <a:lnTo>
                    <a:pt x="66451" y="41315"/>
                  </a:lnTo>
                  <a:lnTo>
                    <a:pt x="70730" y="40280"/>
                  </a:lnTo>
                  <a:lnTo>
                    <a:pt x="71013" y="41573"/>
                  </a:lnTo>
                  <a:lnTo>
                    <a:pt x="71718" y="42537"/>
                  </a:lnTo>
                  <a:lnTo>
                    <a:pt x="73458" y="43948"/>
                  </a:lnTo>
                  <a:lnTo>
                    <a:pt x="74469" y="42843"/>
                  </a:lnTo>
                  <a:lnTo>
                    <a:pt x="74751" y="41949"/>
                  </a:lnTo>
                  <a:lnTo>
                    <a:pt x="74539" y="39622"/>
                  </a:lnTo>
                  <a:lnTo>
                    <a:pt x="75245" y="38352"/>
                  </a:lnTo>
                  <a:lnTo>
                    <a:pt x="76821" y="38611"/>
                  </a:lnTo>
                  <a:lnTo>
                    <a:pt x="79101" y="39951"/>
                  </a:lnTo>
                  <a:lnTo>
                    <a:pt x="80230" y="40303"/>
                  </a:lnTo>
                  <a:lnTo>
                    <a:pt x="80723" y="41197"/>
                  </a:lnTo>
                  <a:lnTo>
                    <a:pt x="81006" y="42302"/>
                  </a:lnTo>
                  <a:lnTo>
                    <a:pt x="81523" y="43360"/>
                  </a:lnTo>
                  <a:lnTo>
                    <a:pt x="83333" y="45006"/>
                  </a:lnTo>
                  <a:lnTo>
                    <a:pt x="84133" y="45970"/>
                  </a:lnTo>
                  <a:lnTo>
                    <a:pt x="84698" y="47451"/>
                  </a:lnTo>
                  <a:lnTo>
                    <a:pt x="85285" y="45877"/>
                  </a:lnTo>
                  <a:lnTo>
                    <a:pt x="85239" y="44371"/>
                  </a:lnTo>
                  <a:lnTo>
                    <a:pt x="84674" y="41338"/>
                  </a:lnTo>
                  <a:lnTo>
                    <a:pt x="84721" y="39833"/>
                  </a:lnTo>
                  <a:lnTo>
                    <a:pt x="85097" y="38939"/>
                  </a:lnTo>
                  <a:lnTo>
                    <a:pt x="85944" y="38234"/>
                  </a:lnTo>
                  <a:lnTo>
                    <a:pt x="87402" y="37294"/>
                  </a:lnTo>
                  <a:lnTo>
                    <a:pt x="85873" y="36611"/>
                  </a:lnTo>
                  <a:lnTo>
                    <a:pt x="84462" y="36447"/>
                  </a:lnTo>
                  <a:lnTo>
                    <a:pt x="81805" y="36659"/>
                  </a:lnTo>
                  <a:lnTo>
                    <a:pt x="80418" y="36235"/>
                  </a:lnTo>
                  <a:lnTo>
                    <a:pt x="78537" y="34378"/>
                  </a:lnTo>
                  <a:lnTo>
                    <a:pt x="77243" y="33907"/>
                  </a:lnTo>
                  <a:lnTo>
                    <a:pt x="78702" y="32826"/>
                  </a:lnTo>
                  <a:lnTo>
                    <a:pt x="86579" y="31885"/>
                  </a:lnTo>
                  <a:lnTo>
                    <a:pt x="87120" y="31721"/>
                  </a:lnTo>
                  <a:lnTo>
                    <a:pt x="87684" y="31250"/>
                  </a:lnTo>
                  <a:lnTo>
                    <a:pt x="88037" y="30592"/>
                  </a:lnTo>
                  <a:lnTo>
                    <a:pt x="87919" y="29840"/>
                  </a:lnTo>
                  <a:lnTo>
                    <a:pt x="87542" y="29769"/>
                  </a:lnTo>
                  <a:lnTo>
                    <a:pt x="85732" y="30521"/>
                  </a:lnTo>
                  <a:lnTo>
                    <a:pt x="80982" y="31250"/>
                  </a:lnTo>
                  <a:lnTo>
                    <a:pt x="81264" y="30897"/>
                  </a:lnTo>
                  <a:lnTo>
                    <a:pt x="81476" y="30733"/>
                  </a:lnTo>
                  <a:lnTo>
                    <a:pt x="82041" y="30521"/>
                  </a:lnTo>
                  <a:lnTo>
                    <a:pt x="81735" y="30263"/>
                  </a:lnTo>
                  <a:lnTo>
                    <a:pt x="80982" y="29840"/>
                  </a:lnTo>
                  <a:lnTo>
                    <a:pt x="80065" y="31133"/>
                  </a:lnTo>
                  <a:lnTo>
                    <a:pt x="78513" y="31721"/>
                  </a:lnTo>
                  <a:lnTo>
                    <a:pt x="75057" y="31861"/>
                  </a:lnTo>
                  <a:lnTo>
                    <a:pt x="75668" y="30356"/>
                  </a:lnTo>
                  <a:lnTo>
                    <a:pt x="75950" y="28287"/>
                  </a:lnTo>
                  <a:lnTo>
                    <a:pt x="76350" y="26806"/>
                  </a:lnTo>
                  <a:lnTo>
                    <a:pt x="77243" y="27159"/>
                  </a:lnTo>
                  <a:lnTo>
                    <a:pt x="78255" y="25819"/>
                  </a:lnTo>
                  <a:lnTo>
                    <a:pt x="77620" y="25302"/>
                  </a:lnTo>
                  <a:lnTo>
                    <a:pt x="76985" y="24502"/>
                  </a:lnTo>
                  <a:lnTo>
                    <a:pt x="76608" y="23514"/>
                  </a:lnTo>
                  <a:lnTo>
                    <a:pt x="76656" y="22456"/>
                  </a:lnTo>
                  <a:lnTo>
                    <a:pt x="76961" y="22456"/>
                  </a:lnTo>
                  <a:lnTo>
                    <a:pt x="78325" y="22668"/>
                  </a:lnTo>
                  <a:lnTo>
                    <a:pt x="78842" y="22456"/>
                  </a:lnTo>
                  <a:lnTo>
                    <a:pt x="80700" y="22715"/>
                  </a:lnTo>
                  <a:lnTo>
                    <a:pt x="82934" y="21633"/>
                  </a:lnTo>
                  <a:lnTo>
                    <a:pt x="94315" y="13614"/>
                  </a:lnTo>
                  <a:lnTo>
                    <a:pt x="94597" y="14720"/>
                  </a:lnTo>
                  <a:lnTo>
                    <a:pt x="95255" y="15308"/>
                  </a:lnTo>
                  <a:lnTo>
                    <a:pt x="96125" y="15378"/>
                  </a:lnTo>
                  <a:lnTo>
                    <a:pt x="97042" y="15002"/>
                  </a:lnTo>
                  <a:lnTo>
                    <a:pt x="96219" y="15049"/>
                  </a:lnTo>
                  <a:lnTo>
                    <a:pt x="95960" y="15002"/>
                  </a:lnTo>
                  <a:lnTo>
                    <a:pt x="95960" y="14368"/>
                  </a:lnTo>
                  <a:lnTo>
                    <a:pt x="96290" y="14179"/>
                  </a:lnTo>
                  <a:lnTo>
                    <a:pt x="96666" y="13850"/>
                  </a:lnTo>
                  <a:lnTo>
                    <a:pt x="97019" y="13639"/>
                  </a:lnTo>
                  <a:lnTo>
                    <a:pt x="95514" y="12510"/>
                  </a:lnTo>
                  <a:lnTo>
                    <a:pt x="95302" y="11451"/>
                  </a:lnTo>
                  <a:lnTo>
                    <a:pt x="95678" y="10393"/>
                  </a:lnTo>
                  <a:lnTo>
                    <a:pt x="95960" y="9241"/>
                  </a:lnTo>
                  <a:lnTo>
                    <a:pt x="96455" y="8395"/>
                  </a:lnTo>
                  <a:lnTo>
                    <a:pt x="97607" y="8136"/>
                  </a:lnTo>
                  <a:lnTo>
                    <a:pt x="100217" y="8183"/>
                  </a:lnTo>
                  <a:lnTo>
                    <a:pt x="102545" y="7572"/>
                  </a:lnTo>
                  <a:lnTo>
                    <a:pt x="104755" y="6349"/>
                  </a:lnTo>
                  <a:lnTo>
                    <a:pt x="106706" y="4703"/>
                  </a:lnTo>
                  <a:lnTo>
                    <a:pt x="108235" y="2751"/>
                  </a:lnTo>
                  <a:lnTo>
                    <a:pt x="110399" y="3057"/>
                  </a:lnTo>
                  <a:lnTo>
                    <a:pt x="111316" y="4491"/>
                  </a:lnTo>
                  <a:lnTo>
                    <a:pt x="111903" y="6231"/>
                  </a:lnTo>
                  <a:lnTo>
                    <a:pt x="113079" y="7549"/>
                  </a:lnTo>
                  <a:lnTo>
                    <a:pt x="113079" y="8159"/>
                  </a:lnTo>
                  <a:lnTo>
                    <a:pt x="112633" y="7925"/>
                  </a:lnTo>
                  <a:lnTo>
                    <a:pt x="111856" y="7713"/>
                  </a:lnTo>
                  <a:lnTo>
                    <a:pt x="111433" y="7549"/>
                  </a:lnTo>
                  <a:lnTo>
                    <a:pt x="110892" y="8395"/>
                  </a:lnTo>
                  <a:lnTo>
                    <a:pt x="110516" y="9288"/>
                  </a:lnTo>
                  <a:lnTo>
                    <a:pt x="110469" y="10135"/>
                  </a:lnTo>
                  <a:lnTo>
                    <a:pt x="110940" y="10864"/>
                  </a:lnTo>
                  <a:lnTo>
                    <a:pt x="110140" y="11451"/>
                  </a:lnTo>
                  <a:lnTo>
                    <a:pt x="109881" y="11334"/>
                  </a:lnTo>
                  <a:lnTo>
                    <a:pt x="109293" y="10864"/>
                  </a:lnTo>
                  <a:lnTo>
                    <a:pt x="108800" y="11334"/>
                  </a:lnTo>
                  <a:lnTo>
                    <a:pt x="108587" y="11475"/>
                  </a:lnTo>
                  <a:lnTo>
                    <a:pt x="108211" y="11593"/>
                  </a:lnTo>
                  <a:lnTo>
                    <a:pt x="108211" y="12274"/>
                  </a:lnTo>
                  <a:lnTo>
                    <a:pt x="112138" y="12463"/>
                  </a:lnTo>
                  <a:lnTo>
                    <a:pt x="112867" y="11733"/>
                  </a:lnTo>
                  <a:lnTo>
                    <a:pt x="111433" y="9570"/>
                  </a:lnTo>
                  <a:lnTo>
                    <a:pt x="112350" y="8983"/>
                  </a:lnTo>
                  <a:lnTo>
                    <a:pt x="113291" y="8935"/>
                  </a:lnTo>
                  <a:lnTo>
                    <a:pt x="115219" y="9570"/>
                  </a:lnTo>
                  <a:lnTo>
                    <a:pt x="115055" y="9241"/>
                  </a:lnTo>
                  <a:lnTo>
                    <a:pt x="114842" y="8512"/>
                  </a:lnTo>
                  <a:lnTo>
                    <a:pt x="114678" y="8159"/>
                  </a:lnTo>
                  <a:lnTo>
                    <a:pt x="115783" y="7031"/>
                  </a:lnTo>
                  <a:lnTo>
                    <a:pt x="117194" y="5926"/>
                  </a:lnTo>
                  <a:lnTo>
                    <a:pt x="118769" y="5079"/>
                  </a:lnTo>
                  <a:lnTo>
                    <a:pt x="121873" y="4327"/>
                  </a:lnTo>
                  <a:lnTo>
                    <a:pt x="123543" y="3269"/>
                  </a:lnTo>
                  <a:lnTo>
                    <a:pt x="124883" y="1858"/>
                  </a:lnTo>
                  <a:lnTo>
                    <a:pt x="125424" y="352"/>
                  </a:lnTo>
                  <a:close/>
                </a:path>
              </a:pathLst>
            </a:custGeom>
            <a:solidFill>
              <a:srgbClr val="96A3AC"/>
            </a:solidFill>
            <a:ln w="3175" cap="rnd">
              <a:solidFill>
                <a:schemeClr val="bg1"/>
              </a:solidFill>
              <a:prstDash val="solid"/>
              <a:round/>
            </a:ln>
          </p:spPr>
          <p:txBody>
            <a:bodyPr wrap="square" rtlCol="0" anchor="ctr">
              <a:noAutofit/>
            </a:bodyPr>
            <a:lstStyle/>
            <a:p>
              <a:endParaRPr lang="en-ID" dirty="0"/>
            </a:p>
          </p:txBody>
        </p:sp>
        <p:sp>
          <p:nvSpPr>
            <p:cNvPr id="145" name="Freeform: Shape 144">
              <a:extLst>
                <a:ext uri="{FF2B5EF4-FFF2-40B4-BE49-F238E27FC236}">
                  <a16:creationId xmlns:a16="http://schemas.microsoft.com/office/drawing/2014/main" id="{B0483CE8-E2D7-E91A-9121-2AF1A5201209}"/>
                </a:ext>
              </a:extLst>
            </p:cNvPr>
            <p:cNvSpPr/>
            <p:nvPr/>
          </p:nvSpPr>
          <p:spPr>
            <a:xfrm>
              <a:off x="7101172" y="4575766"/>
              <a:ext cx="257174" cy="482956"/>
            </a:xfrm>
            <a:custGeom>
              <a:avLst/>
              <a:gdLst>
                <a:gd name="connsiteX0" fmla="*/ 127941 w 257174"/>
                <a:gd name="connsiteY0" fmla="*/ 479853 h 482956"/>
                <a:gd name="connsiteX1" fmla="*/ 128129 w 257174"/>
                <a:gd name="connsiteY1" fmla="*/ 480111 h 482956"/>
                <a:gd name="connsiteX2" fmla="*/ 128105 w 257174"/>
                <a:gd name="connsiteY2" fmla="*/ 480135 h 482956"/>
                <a:gd name="connsiteX3" fmla="*/ 128246 w 257174"/>
                <a:gd name="connsiteY3" fmla="*/ 480440 h 482956"/>
                <a:gd name="connsiteX4" fmla="*/ 128458 w 257174"/>
                <a:gd name="connsiteY4" fmla="*/ 481099 h 482956"/>
                <a:gd name="connsiteX5" fmla="*/ 128011 w 257174"/>
                <a:gd name="connsiteY5" fmla="*/ 481381 h 482956"/>
                <a:gd name="connsiteX6" fmla="*/ 127941 w 257174"/>
                <a:gd name="connsiteY6" fmla="*/ 481640 h 482956"/>
                <a:gd name="connsiteX7" fmla="*/ 126506 w 257174"/>
                <a:gd name="connsiteY7" fmla="*/ 482509 h 482956"/>
                <a:gd name="connsiteX8" fmla="*/ 124531 w 257174"/>
                <a:gd name="connsiteY8" fmla="*/ 482956 h 482956"/>
                <a:gd name="connsiteX9" fmla="*/ 122367 w 257174"/>
                <a:gd name="connsiteY9" fmla="*/ 482910 h 482956"/>
                <a:gd name="connsiteX10" fmla="*/ 120463 w 257174"/>
                <a:gd name="connsiteY10" fmla="*/ 482298 h 482956"/>
                <a:gd name="connsiteX11" fmla="*/ 120463 w 257174"/>
                <a:gd name="connsiteY11" fmla="*/ 481640 h 482956"/>
                <a:gd name="connsiteX12" fmla="*/ 124507 w 257174"/>
                <a:gd name="connsiteY12" fmla="*/ 482156 h 482956"/>
                <a:gd name="connsiteX13" fmla="*/ 126059 w 257174"/>
                <a:gd name="connsiteY13" fmla="*/ 481616 h 482956"/>
                <a:gd name="connsiteX14" fmla="*/ 36024 w 257174"/>
                <a:gd name="connsiteY14" fmla="*/ 309846 h 482956"/>
                <a:gd name="connsiteX15" fmla="*/ 36071 w 257174"/>
                <a:gd name="connsiteY15" fmla="*/ 310433 h 482956"/>
                <a:gd name="connsiteX16" fmla="*/ 35530 w 257174"/>
                <a:gd name="connsiteY16" fmla="*/ 311821 h 482956"/>
                <a:gd name="connsiteX17" fmla="*/ 35554 w 257174"/>
                <a:gd name="connsiteY17" fmla="*/ 311797 h 482956"/>
                <a:gd name="connsiteX18" fmla="*/ 34519 w 257174"/>
                <a:gd name="connsiteY18" fmla="*/ 313279 h 482956"/>
                <a:gd name="connsiteX19" fmla="*/ 33061 w 257174"/>
                <a:gd name="connsiteY19" fmla="*/ 314642 h 482956"/>
                <a:gd name="connsiteX20" fmla="*/ 32544 w 257174"/>
                <a:gd name="connsiteY20" fmla="*/ 314454 h 482956"/>
                <a:gd name="connsiteX21" fmla="*/ 33179 w 257174"/>
                <a:gd name="connsiteY21" fmla="*/ 312855 h 482956"/>
                <a:gd name="connsiteX22" fmla="*/ 33955 w 257174"/>
                <a:gd name="connsiteY22" fmla="*/ 311515 h 482956"/>
                <a:gd name="connsiteX23" fmla="*/ 34849 w 257174"/>
                <a:gd name="connsiteY23" fmla="*/ 310645 h 482956"/>
                <a:gd name="connsiteX24" fmla="*/ 35342 w 257174"/>
                <a:gd name="connsiteY24" fmla="*/ 310269 h 482956"/>
                <a:gd name="connsiteX25" fmla="*/ 35554 w 257174"/>
                <a:gd name="connsiteY25" fmla="*/ 310104 h 482956"/>
                <a:gd name="connsiteX26" fmla="*/ 99700 w 257174"/>
                <a:gd name="connsiteY26" fmla="*/ 0 h 482956"/>
                <a:gd name="connsiteX27" fmla="*/ 100406 w 257174"/>
                <a:gd name="connsiteY27" fmla="*/ 917 h 482956"/>
                <a:gd name="connsiteX28" fmla="*/ 101111 w 257174"/>
                <a:gd name="connsiteY28" fmla="*/ 2398 h 482956"/>
                <a:gd name="connsiteX29" fmla="*/ 100876 w 257174"/>
                <a:gd name="connsiteY29" fmla="*/ 6561 h 482956"/>
                <a:gd name="connsiteX30" fmla="*/ 101134 w 257174"/>
                <a:gd name="connsiteY30" fmla="*/ 8136 h 482956"/>
                <a:gd name="connsiteX31" fmla="*/ 102122 w 257174"/>
                <a:gd name="connsiteY31" fmla="*/ 8864 h 482956"/>
                <a:gd name="connsiteX32" fmla="*/ 103297 w 257174"/>
                <a:gd name="connsiteY32" fmla="*/ 8559 h 482956"/>
                <a:gd name="connsiteX33" fmla="*/ 104685 w 257174"/>
                <a:gd name="connsiteY33" fmla="*/ 7948 h 482956"/>
                <a:gd name="connsiteX34" fmla="*/ 106308 w 257174"/>
                <a:gd name="connsiteY34" fmla="*/ 7807 h 482956"/>
                <a:gd name="connsiteX35" fmla="*/ 107813 w 257174"/>
                <a:gd name="connsiteY35" fmla="*/ 8395 h 482956"/>
                <a:gd name="connsiteX36" fmla="*/ 109012 w 257174"/>
                <a:gd name="connsiteY36" fmla="*/ 9453 h 482956"/>
                <a:gd name="connsiteX37" fmla="*/ 109646 w 257174"/>
                <a:gd name="connsiteY37" fmla="*/ 10887 h 482956"/>
                <a:gd name="connsiteX38" fmla="*/ 109458 w 257174"/>
                <a:gd name="connsiteY38" fmla="*/ 12557 h 482956"/>
                <a:gd name="connsiteX39" fmla="*/ 108612 w 257174"/>
                <a:gd name="connsiteY39" fmla="*/ 13779 h 482956"/>
                <a:gd name="connsiteX40" fmla="*/ 107366 w 257174"/>
                <a:gd name="connsiteY40" fmla="*/ 14743 h 482956"/>
                <a:gd name="connsiteX41" fmla="*/ 105085 w 257174"/>
                <a:gd name="connsiteY41" fmla="*/ 16107 h 482956"/>
                <a:gd name="connsiteX42" fmla="*/ 102804 w 257174"/>
                <a:gd name="connsiteY42" fmla="*/ 18176 h 482956"/>
                <a:gd name="connsiteX43" fmla="*/ 99794 w 257174"/>
                <a:gd name="connsiteY43" fmla="*/ 22291 h 482956"/>
                <a:gd name="connsiteX44" fmla="*/ 99042 w 257174"/>
                <a:gd name="connsiteY44" fmla="*/ 24032 h 482956"/>
                <a:gd name="connsiteX45" fmla="*/ 98924 w 257174"/>
                <a:gd name="connsiteY45" fmla="*/ 25819 h 482956"/>
                <a:gd name="connsiteX46" fmla="*/ 99794 w 257174"/>
                <a:gd name="connsiteY46" fmla="*/ 27535 h 482956"/>
                <a:gd name="connsiteX47" fmla="*/ 102592 w 257174"/>
                <a:gd name="connsiteY47" fmla="*/ 28546 h 482956"/>
                <a:gd name="connsiteX48" fmla="*/ 103180 w 257174"/>
                <a:gd name="connsiteY48" fmla="*/ 29299 h 482956"/>
                <a:gd name="connsiteX49" fmla="*/ 103321 w 257174"/>
                <a:gd name="connsiteY49" fmla="*/ 30569 h 482956"/>
                <a:gd name="connsiteX50" fmla="*/ 102992 w 257174"/>
                <a:gd name="connsiteY50" fmla="*/ 32897 h 482956"/>
                <a:gd name="connsiteX51" fmla="*/ 102992 w 257174"/>
                <a:gd name="connsiteY51" fmla="*/ 33085 h 482956"/>
                <a:gd name="connsiteX52" fmla="*/ 109717 w 257174"/>
                <a:gd name="connsiteY52" fmla="*/ 33484 h 482956"/>
                <a:gd name="connsiteX53" fmla="*/ 113080 w 257174"/>
                <a:gd name="connsiteY53" fmla="*/ 32590 h 482956"/>
                <a:gd name="connsiteX54" fmla="*/ 113221 w 257174"/>
                <a:gd name="connsiteY54" fmla="*/ 32544 h 482956"/>
                <a:gd name="connsiteX55" fmla="*/ 115784 w 257174"/>
                <a:gd name="connsiteY55" fmla="*/ 30074 h 482956"/>
                <a:gd name="connsiteX56" fmla="*/ 116559 w 257174"/>
                <a:gd name="connsiteY56" fmla="*/ 28922 h 482956"/>
                <a:gd name="connsiteX57" fmla="*/ 117524 w 257174"/>
                <a:gd name="connsiteY57" fmla="*/ 27982 h 482956"/>
                <a:gd name="connsiteX58" fmla="*/ 118629 w 257174"/>
                <a:gd name="connsiteY58" fmla="*/ 27512 h 482956"/>
                <a:gd name="connsiteX59" fmla="*/ 119899 w 257174"/>
                <a:gd name="connsiteY59" fmla="*/ 27700 h 482956"/>
                <a:gd name="connsiteX60" fmla="*/ 121357 w 257174"/>
                <a:gd name="connsiteY60" fmla="*/ 27652 h 482956"/>
                <a:gd name="connsiteX61" fmla="*/ 122085 w 257174"/>
                <a:gd name="connsiteY61" fmla="*/ 26406 h 482956"/>
                <a:gd name="connsiteX62" fmla="*/ 122461 w 257174"/>
                <a:gd name="connsiteY62" fmla="*/ 24807 h 482956"/>
                <a:gd name="connsiteX63" fmla="*/ 122838 w 257174"/>
                <a:gd name="connsiteY63" fmla="*/ 23702 h 482956"/>
                <a:gd name="connsiteX64" fmla="*/ 124367 w 257174"/>
                <a:gd name="connsiteY64" fmla="*/ 23162 h 482956"/>
                <a:gd name="connsiteX65" fmla="*/ 124578 w 257174"/>
                <a:gd name="connsiteY65" fmla="*/ 25771 h 482956"/>
                <a:gd name="connsiteX66" fmla="*/ 125096 w 257174"/>
                <a:gd name="connsiteY66" fmla="*/ 28546 h 482956"/>
                <a:gd name="connsiteX67" fmla="*/ 127588 w 257174"/>
                <a:gd name="connsiteY67" fmla="*/ 28546 h 482956"/>
                <a:gd name="connsiteX68" fmla="*/ 128129 w 257174"/>
                <a:gd name="connsiteY68" fmla="*/ 27982 h 482956"/>
                <a:gd name="connsiteX69" fmla="*/ 128387 w 257174"/>
                <a:gd name="connsiteY69" fmla="*/ 27370 h 482956"/>
                <a:gd name="connsiteX70" fmla="*/ 128764 w 257174"/>
                <a:gd name="connsiteY70" fmla="*/ 26853 h 482956"/>
                <a:gd name="connsiteX71" fmla="*/ 129587 w 257174"/>
                <a:gd name="connsiteY71" fmla="*/ 26594 h 482956"/>
                <a:gd name="connsiteX72" fmla="*/ 131703 w 257174"/>
                <a:gd name="connsiteY72" fmla="*/ 26713 h 482956"/>
                <a:gd name="connsiteX73" fmla="*/ 136570 w 257174"/>
                <a:gd name="connsiteY73" fmla="*/ 25631 h 482956"/>
                <a:gd name="connsiteX74" fmla="*/ 138781 w 257174"/>
                <a:gd name="connsiteY74" fmla="*/ 24596 h 482956"/>
                <a:gd name="connsiteX75" fmla="*/ 140003 w 257174"/>
                <a:gd name="connsiteY75" fmla="*/ 24878 h 482956"/>
                <a:gd name="connsiteX76" fmla="*/ 142166 w 257174"/>
                <a:gd name="connsiteY76" fmla="*/ 26312 h 482956"/>
                <a:gd name="connsiteX77" fmla="*/ 143531 w 257174"/>
                <a:gd name="connsiteY77" fmla="*/ 26924 h 482956"/>
                <a:gd name="connsiteX78" fmla="*/ 147740 w 257174"/>
                <a:gd name="connsiteY78" fmla="*/ 27088 h 482956"/>
                <a:gd name="connsiteX79" fmla="*/ 146540 w 257174"/>
                <a:gd name="connsiteY79" fmla="*/ 30122 h 482956"/>
                <a:gd name="connsiteX80" fmla="*/ 146587 w 257174"/>
                <a:gd name="connsiteY80" fmla="*/ 31015 h 482956"/>
                <a:gd name="connsiteX81" fmla="*/ 147857 w 257174"/>
                <a:gd name="connsiteY81" fmla="*/ 31674 h 482956"/>
                <a:gd name="connsiteX82" fmla="*/ 149244 w 257174"/>
                <a:gd name="connsiteY82" fmla="*/ 31815 h 482956"/>
                <a:gd name="connsiteX83" fmla="*/ 150914 w 257174"/>
                <a:gd name="connsiteY83" fmla="*/ 31579 h 482956"/>
                <a:gd name="connsiteX84" fmla="*/ 152513 w 257174"/>
                <a:gd name="connsiteY84" fmla="*/ 31062 h 482956"/>
                <a:gd name="connsiteX85" fmla="*/ 153688 w 257174"/>
                <a:gd name="connsiteY85" fmla="*/ 30287 h 482956"/>
                <a:gd name="connsiteX86" fmla="*/ 154088 w 257174"/>
                <a:gd name="connsiteY86" fmla="*/ 29581 h 482956"/>
                <a:gd name="connsiteX87" fmla="*/ 154183 w 257174"/>
                <a:gd name="connsiteY87" fmla="*/ 28922 h 482956"/>
                <a:gd name="connsiteX88" fmla="*/ 154323 w 257174"/>
                <a:gd name="connsiteY88" fmla="*/ 28358 h 482956"/>
                <a:gd name="connsiteX89" fmla="*/ 154911 w 257174"/>
                <a:gd name="connsiteY89" fmla="*/ 27888 h 482956"/>
                <a:gd name="connsiteX90" fmla="*/ 155523 w 257174"/>
                <a:gd name="connsiteY90" fmla="*/ 27888 h 482956"/>
                <a:gd name="connsiteX91" fmla="*/ 156699 w 257174"/>
                <a:gd name="connsiteY91" fmla="*/ 28664 h 482956"/>
                <a:gd name="connsiteX92" fmla="*/ 157451 w 257174"/>
                <a:gd name="connsiteY92" fmla="*/ 28734 h 482956"/>
                <a:gd name="connsiteX93" fmla="*/ 158532 w 257174"/>
                <a:gd name="connsiteY93" fmla="*/ 29087 h 482956"/>
                <a:gd name="connsiteX94" fmla="*/ 159543 w 257174"/>
                <a:gd name="connsiteY94" fmla="*/ 30356 h 482956"/>
                <a:gd name="connsiteX95" fmla="*/ 160296 w 257174"/>
                <a:gd name="connsiteY95" fmla="*/ 32026 h 482956"/>
                <a:gd name="connsiteX96" fmla="*/ 160625 w 257174"/>
                <a:gd name="connsiteY96" fmla="*/ 33554 h 482956"/>
                <a:gd name="connsiteX97" fmla="*/ 161660 w 257174"/>
                <a:gd name="connsiteY97" fmla="*/ 32732 h 482956"/>
                <a:gd name="connsiteX98" fmla="*/ 163541 w 257174"/>
                <a:gd name="connsiteY98" fmla="*/ 30757 h 482956"/>
                <a:gd name="connsiteX99" fmla="*/ 164599 w 257174"/>
                <a:gd name="connsiteY99" fmla="*/ 30098 h 482956"/>
                <a:gd name="connsiteX100" fmla="*/ 165775 w 257174"/>
                <a:gd name="connsiteY100" fmla="*/ 29910 h 482956"/>
                <a:gd name="connsiteX101" fmla="*/ 168620 w 257174"/>
                <a:gd name="connsiteY101" fmla="*/ 29981 h 482956"/>
                <a:gd name="connsiteX102" fmla="*/ 170031 w 257174"/>
                <a:gd name="connsiteY102" fmla="*/ 29769 h 482956"/>
                <a:gd name="connsiteX103" fmla="*/ 175580 w 257174"/>
                <a:gd name="connsiteY103" fmla="*/ 28005 h 482956"/>
                <a:gd name="connsiteX104" fmla="*/ 178143 w 257174"/>
                <a:gd name="connsiteY104" fmla="*/ 26524 h 482956"/>
                <a:gd name="connsiteX105" fmla="*/ 178872 w 257174"/>
                <a:gd name="connsiteY105" fmla="*/ 25560 h 482956"/>
                <a:gd name="connsiteX106" fmla="*/ 179765 w 257174"/>
                <a:gd name="connsiteY106" fmla="*/ 24385 h 482956"/>
                <a:gd name="connsiteX107" fmla="*/ 179954 w 257174"/>
                <a:gd name="connsiteY107" fmla="*/ 22856 h 482956"/>
                <a:gd name="connsiteX108" fmla="*/ 179437 w 257174"/>
                <a:gd name="connsiteY108" fmla="*/ 19729 h 482956"/>
                <a:gd name="connsiteX109" fmla="*/ 179601 w 257174"/>
                <a:gd name="connsiteY109" fmla="*/ 18388 h 482956"/>
                <a:gd name="connsiteX110" fmla="*/ 180165 w 257174"/>
                <a:gd name="connsiteY110" fmla="*/ 17823 h 482956"/>
                <a:gd name="connsiteX111" fmla="*/ 181364 w 257174"/>
                <a:gd name="connsiteY111" fmla="*/ 16977 h 482956"/>
                <a:gd name="connsiteX112" fmla="*/ 182752 w 257174"/>
                <a:gd name="connsiteY112" fmla="*/ 16272 h 482956"/>
                <a:gd name="connsiteX113" fmla="*/ 183880 w 257174"/>
                <a:gd name="connsiteY113" fmla="*/ 16107 h 482956"/>
                <a:gd name="connsiteX114" fmla="*/ 186396 w 257174"/>
                <a:gd name="connsiteY114" fmla="*/ 17565 h 482956"/>
                <a:gd name="connsiteX115" fmla="*/ 188772 w 257174"/>
                <a:gd name="connsiteY115" fmla="*/ 19470 h 482956"/>
                <a:gd name="connsiteX116" fmla="*/ 191241 w 257174"/>
                <a:gd name="connsiteY116" fmla="*/ 20504 h 482956"/>
                <a:gd name="connsiteX117" fmla="*/ 194015 w 257174"/>
                <a:gd name="connsiteY117" fmla="*/ 19376 h 482956"/>
                <a:gd name="connsiteX118" fmla="*/ 195849 w 257174"/>
                <a:gd name="connsiteY118" fmla="*/ 18153 h 482956"/>
                <a:gd name="connsiteX119" fmla="*/ 196555 w 257174"/>
                <a:gd name="connsiteY119" fmla="*/ 18483 h 482956"/>
                <a:gd name="connsiteX120" fmla="*/ 197636 w 257174"/>
                <a:gd name="connsiteY120" fmla="*/ 19000 h 482956"/>
                <a:gd name="connsiteX121" fmla="*/ 199541 w 257174"/>
                <a:gd name="connsiteY121" fmla="*/ 20387 h 482956"/>
                <a:gd name="connsiteX122" fmla="*/ 201728 w 257174"/>
                <a:gd name="connsiteY122" fmla="*/ 20787 h 482956"/>
                <a:gd name="connsiteX123" fmla="*/ 206595 w 257174"/>
                <a:gd name="connsiteY123" fmla="*/ 20410 h 482956"/>
                <a:gd name="connsiteX124" fmla="*/ 208453 w 257174"/>
                <a:gd name="connsiteY124" fmla="*/ 19352 h 482956"/>
                <a:gd name="connsiteX125" fmla="*/ 208946 w 257174"/>
                <a:gd name="connsiteY125" fmla="*/ 16460 h 482956"/>
                <a:gd name="connsiteX126" fmla="*/ 211345 w 257174"/>
                <a:gd name="connsiteY126" fmla="*/ 16860 h 482956"/>
                <a:gd name="connsiteX127" fmla="*/ 214190 w 257174"/>
                <a:gd name="connsiteY127" fmla="*/ 20927 h 482956"/>
                <a:gd name="connsiteX128" fmla="*/ 216541 w 257174"/>
                <a:gd name="connsiteY128" fmla="*/ 21562 h 482956"/>
                <a:gd name="connsiteX129" fmla="*/ 222114 w 257174"/>
                <a:gd name="connsiteY129" fmla="*/ 21351 h 482956"/>
                <a:gd name="connsiteX130" fmla="*/ 224771 w 257174"/>
                <a:gd name="connsiteY130" fmla="*/ 20598 h 482956"/>
                <a:gd name="connsiteX131" fmla="*/ 225807 w 257174"/>
                <a:gd name="connsiteY131" fmla="*/ 18529 h 482956"/>
                <a:gd name="connsiteX132" fmla="*/ 227711 w 257174"/>
                <a:gd name="connsiteY132" fmla="*/ 19282 h 482956"/>
                <a:gd name="connsiteX133" fmla="*/ 228769 w 257174"/>
                <a:gd name="connsiteY133" fmla="*/ 20458 h 482956"/>
                <a:gd name="connsiteX134" fmla="*/ 229074 w 257174"/>
                <a:gd name="connsiteY134" fmla="*/ 22057 h 482956"/>
                <a:gd name="connsiteX135" fmla="*/ 228440 w 257174"/>
                <a:gd name="connsiteY135" fmla="*/ 26218 h 482956"/>
                <a:gd name="connsiteX136" fmla="*/ 229051 w 257174"/>
                <a:gd name="connsiteY136" fmla="*/ 26900 h 482956"/>
                <a:gd name="connsiteX137" fmla="*/ 230438 w 257174"/>
                <a:gd name="connsiteY137" fmla="*/ 27088 h 482956"/>
                <a:gd name="connsiteX138" fmla="*/ 232461 w 257174"/>
                <a:gd name="connsiteY138" fmla="*/ 27700 h 482956"/>
                <a:gd name="connsiteX139" fmla="*/ 231567 w 257174"/>
                <a:gd name="connsiteY139" fmla="*/ 29510 h 482956"/>
                <a:gd name="connsiteX140" fmla="*/ 229663 w 257174"/>
                <a:gd name="connsiteY140" fmla="*/ 37364 h 482956"/>
                <a:gd name="connsiteX141" fmla="*/ 229333 w 257174"/>
                <a:gd name="connsiteY141" fmla="*/ 38258 h 482956"/>
                <a:gd name="connsiteX142" fmla="*/ 228769 w 257174"/>
                <a:gd name="connsiteY142" fmla="*/ 39057 h 482956"/>
                <a:gd name="connsiteX143" fmla="*/ 228298 w 257174"/>
                <a:gd name="connsiteY143" fmla="*/ 39974 h 482956"/>
                <a:gd name="connsiteX144" fmla="*/ 228534 w 257174"/>
                <a:gd name="connsiteY144" fmla="*/ 40797 h 482956"/>
                <a:gd name="connsiteX145" fmla="*/ 229051 w 257174"/>
                <a:gd name="connsiteY145" fmla="*/ 41644 h 482956"/>
                <a:gd name="connsiteX146" fmla="*/ 229404 w 257174"/>
                <a:gd name="connsiteY146" fmla="*/ 42537 h 482956"/>
                <a:gd name="connsiteX147" fmla="*/ 229615 w 257174"/>
                <a:gd name="connsiteY147" fmla="*/ 44324 h 482956"/>
                <a:gd name="connsiteX148" fmla="*/ 230015 w 257174"/>
                <a:gd name="connsiteY148" fmla="*/ 46205 h 482956"/>
                <a:gd name="connsiteX149" fmla="*/ 231097 w 257174"/>
                <a:gd name="connsiteY149" fmla="*/ 47734 h 482956"/>
                <a:gd name="connsiteX150" fmla="*/ 233307 w 257174"/>
                <a:gd name="connsiteY150" fmla="*/ 48510 h 482956"/>
                <a:gd name="connsiteX151" fmla="*/ 234106 w 257174"/>
                <a:gd name="connsiteY151" fmla="*/ 48298 h 482956"/>
                <a:gd name="connsiteX152" fmla="*/ 235282 w 257174"/>
                <a:gd name="connsiteY152" fmla="*/ 47757 h 482956"/>
                <a:gd name="connsiteX153" fmla="*/ 236364 w 257174"/>
                <a:gd name="connsiteY153" fmla="*/ 47075 h 482956"/>
                <a:gd name="connsiteX154" fmla="*/ 236881 w 257174"/>
                <a:gd name="connsiteY154" fmla="*/ 46488 h 482956"/>
                <a:gd name="connsiteX155" fmla="*/ 237422 w 257174"/>
                <a:gd name="connsiteY155" fmla="*/ 46088 h 482956"/>
                <a:gd name="connsiteX156" fmla="*/ 238504 w 257174"/>
                <a:gd name="connsiteY156" fmla="*/ 46088 h 482956"/>
                <a:gd name="connsiteX157" fmla="*/ 244852 w 257174"/>
                <a:gd name="connsiteY157" fmla="*/ 47311 h 482956"/>
                <a:gd name="connsiteX158" fmla="*/ 248662 w 257174"/>
                <a:gd name="connsiteY158" fmla="*/ 48603 h 482956"/>
                <a:gd name="connsiteX159" fmla="*/ 252165 w 257174"/>
                <a:gd name="connsiteY159" fmla="*/ 50697 h 482956"/>
                <a:gd name="connsiteX160" fmla="*/ 255458 w 257174"/>
                <a:gd name="connsiteY160" fmla="*/ 53894 h 482956"/>
                <a:gd name="connsiteX161" fmla="*/ 256539 w 257174"/>
                <a:gd name="connsiteY161" fmla="*/ 55328 h 482956"/>
                <a:gd name="connsiteX162" fmla="*/ 256374 w 257174"/>
                <a:gd name="connsiteY162" fmla="*/ 55353 h 482956"/>
                <a:gd name="connsiteX163" fmla="*/ 257174 w 257174"/>
                <a:gd name="connsiteY163" fmla="*/ 56293 h 482956"/>
                <a:gd name="connsiteX164" fmla="*/ 253435 w 257174"/>
                <a:gd name="connsiteY164" fmla="*/ 61349 h 482956"/>
                <a:gd name="connsiteX165" fmla="*/ 251413 w 257174"/>
                <a:gd name="connsiteY165" fmla="*/ 63324 h 482956"/>
                <a:gd name="connsiteX166" fmla="*/ 250919 w 257174"/>
                <a:gd name="connsiteY166" fmla="*/ 64312 h 482956"/>
                <a:gd name="connsiteX167" fmla="*/ 250966 w 257174"/>
                <a:gd name="connsiteY167" fmla="*/ 65063 h 482956"/>
                <a:gd name="connsiteX168" fmla="*/ 251178 w 257174"/>
                <a:gd name="connsiteY168" fmla="*/ 65698 h 482956"/>
                <a:gd name="connsiteX169" fmla="*/ 251131 w 257174"/>
                <a:gd name="connsiteY169" fmla="*/ 66333 h 482956"/>
                <a:gd name="connsiteX170" fmla="*/ 248144 w 257174"/>
                <a:gd name="connsiteY170" fmla="*/ 70730 h 482956"/>
                <a:gd name="connsiteX171" fmla="*/ 248144 w 257174"/>
                <a:gd name="connsiteY171" fmla="*/ 71554 h 482956"/>
                <a:gd name="connsiteX172" fmla="*/ 245699 w 257174"/>
                <a:gd name="connsiteY172" fmla="*/ 71718 h 482956"/>
                <a:gd name="connsiteX173" fmla="*/ 244618 w 257174"/>
                <a:gd name="connsiteY173" fmla="*/ 72095 h 482956"/>
                <a:gd name="connsiteX174" fmla="*/ 243606 w 257174"/>
                <a:gd name="connsiteY174" fmla="*/ 72847 h 482956"/>
                <a:gd name="connsiteX175" fmla="*/ 243841 w 257174"/>
                <a:gd name="connsiteY175" fmla="*/ 72894 h 482956"/>
                <a:gd name="connsiteX176" fmla="*/ 243889 w 257174"/>
                <a:gd name="connsiteY176" fmla="*/ 73458 h 482956"/>
                <a:gd name="connsiteX177" fmla="*/ 243795 w 257174"/>
                <a:gd name="connsiteY177" fmla="*/ 74210 h 482956"/>
                <a:gd name="connsiteX178" fmla="*/ 243606 w 257174"/>
                <a:gd name="connsiteY178" fmla="*/ 74728 h 482956"/>
                <a:gd name="connsiteX179" fmla="*/ 243301 w 257174"/>
                <a:gd name="connsiteY179" fmla="*/ 74822 h 482956"/>
                <a:gd name="connsiteX180" fmla="*/ 242336 w 257174"/>
                <a:gd name="connsiteY180" fmla="*/ 74634 h 482956"/>
                <a:gd name="connsiteX181" fmla="*/ 242008 w 257174"/>
                <a:gd name="connsiteY181" fmla="*/ 74728 h 482956"/>
                <a:gd name="connsiteX182" fmla="*/ 239538 w 257174"/>
                <a:gd name="connsiteY182" fmla="*/ 78396 h 482956"/>
                <a:gd name="connsiteX183" fmla="*/ 237022 w 257174"/>
                <a:gd name="connsiteY183" fmla="*/ 80771 h 482956"/>
                <a:gd name="connsiteX184" fmla="*/ 234459 w 257174"/>
                <a:gd name="connsiteY184" fmla="*/ 82605 h 482956"/>
                <a:gd name="connsiteX185" fmla="*/ 229874 w 257174"/>
                <a:gd name="connsiteY185" fmla="*/ 84463 h 482956"/>
                <a:gd name="connsiteX186" fmla="*/ 229168 w 257174"/>
                <a:gd name="connsiteY186" fmla="*/ 84933 h 482956"/>
                <a:gd name="connsiteX187" fmla="*/ 224043 w 257174"/>
                <a:gd name="connsiteY187" fmla="*/ 85004 h 482956"/>
                <a:gd name="connsiteX188" fmla="*/ 222655 w 257174"/>
                <a:gd name="connsiteY188" fmla="*/ 85215 h 482956"/>
                <a:gd name="connsiteX189" fmla="*/ 221762 w 257174"/>
                <a:gd name="connsiteY189" fmla="*/ 86156 h 482956"/>
                <a:gd name="connsiteX190" fmla="*/ 218987 w 257174"/>
                <a:gd name="connsiteY190" fmla="*/ 90012 h 482956"/>
                <a:gd name="connsiteX191" fmla="*/ 218399 w 257174"/>
                <a:gd name="connsiteY191" fmla="*/ 91423 h 482956"/>
                <a:gd name="connsiteX192" fmla="*/ 217952 w 257174"/>
                <a:gd name="connsiteY192" fmla="*/ 92199 h 482956"/>
                <a:gd name="connsiteX193" fmla="*/ 215178 w 257174"/>
                <a:gd name="connsiteY193" fmla="*/ 94386 h 482956"/>
                <a:gd name="connsiteX194" fmla="*/ 214167 w 257174"/>
                <a:gd name="connsiteY194" fmla="*/ 95608 h 482956"/>
                <a:gd name="connsiteX195" fmla="*/ 213884 w 257174"/>
                <a:gd name="connsiteY195" fmla="*/ 96267 h 482956"/>
                <a:gd name="connsiteX196" fmla="*/ 214073 w 257174"/>
                <a:gd name="connsiteY196" fmla="*/ 98618 h 482956"/>
                <a:gd name="connsiteX197" fmla="*/ 213438 w 257174"/>
                <a:gd name="connsiteY197" fmla="*/ 100358 h 482956"/>
                <a:gd name="connsiteX198" fmla="*/ 210334 w 257174"/>
                <a:gd name="connsiteY198" fmla="*/ 104567 h 482956"/>
                <a:gd name="connsiteX199" fmla="*/ 209252 w 257174"/>
                <a:gd name="connsiteY199" fmla="*/ 105555 h 482956"/>
                <a:gd name="connsiteX200" fmla="*/ 207113 w 257174"/>
                <a:gd name="connsiteY200" fmla="*/ 105767 h 482956"/>
                <a:gd name="connsiteX201" fmla="*/ 202292 w 257174"/>
                <a:gd name="connsiteY201" fmla="*/ 105366 h 482956"/>
                <a:gd name="connsiteX202" fmla="*/ 200670 w 257174"/>
                <a:gd name="connsiteY202" fmla="*/ 106143 h 482956"/>
                <a:gd name="connsiteX203" fmla="*/ 200646 w 257174"/>
                <a:gd name="connsiteY203" fmla="*/ 106143 h 482956"/>
                <a:gd name="connsiteX204" fmla="*/ 200340 w 257174"/>
                <a:gd name="connsiteY204" fmla="*/ 107930 h 482956"/>
                <a:gd name="connsiteX205" fmla="*/ 199494 w 257174"/>
                <a:gd name="connsiteY205" fmla="*/ 109176 h 482956"/>
                <a:gd name="connsiteX206" fmla="*/ 199659 w 257174"/>
                <a:gd name="connsiteY206" fmla="*/ 110375 h 482956"/>
                <a:gd name="connsiteX207" fmla="*/ 200434 w 257174"/>
                <a:gd name="connsiteY207" fmla="*/ 111457 h 482956"/>
                <a:gd name="connsiteX208" fmla="*/ 202903 w 257174"/>
                <a:gd name="connsiteY208" fmla="*/ 113855 h 482956"/>
                <a:gd name="connsiteX209" fmla="*/ 204008 w 257174"/>
                <a:gd name="connsiteY209" fmla="*/ 115548 h 482956"/>
                <a:gd name="connsiteX210" fmla="*/ 205701 w 257174"/>
                <a:gd name="connsiteY210" fmla="*/ 119405 h 482956"/>
                <a:gd name="connsiteX211" fmla="*/ 206360 w 257174"/>
                <a:gd name="connsiteY211" fmla="*/ 121403 h 482956"/>
                <a:gd name="connsiteX212" fmla="*/ 206995 w 257174"/>
                <a:gd name="connsiteY212" fmla="*/ 122179 h 482956"/>
                <a:gd name="connsiteX213" fmla="*/ 208171 w 257174"/>
                <a:gd name="connsiteY213" fmla="*/ 122461 h 482956"/>
                <a:gd name="connsiteX214" fmla="*/ 209017 w 257174"/>
                <a:gd name="connsiteY214" fmla="*/ 123026 h 482956"/>
                <a:gd name="connsiteX215" fmla="*/ 209393 w 257174"/>
                <a:gd name="connsiteY215" fmla="*/ 124296 h 482956"/>
                <a:gd name="connsiteX216" fmla="*/ 209065 w 257174"/>
                <a:gd name="connsiteY216" fmla="*/ 125495 h 482956"/>
                <a:gd name="connsiteX217" fmla="*/ 207794 w 257174"/>
                <a:gd name="connsiteY217" fmla="*/ 125871 h 482956"/>
                <a:gd name="connsiteX218" fmla="*/ 207677 w 257174"/>
                <a:gd name="connsiteY218" fmla="*/ 128269 h 482956"/>
                <a:gd name="connsiteX219" fmla="*/ 207771 w 257174"/>
                <a:gd name="connsiteY219" fmla="*/ 128904 h 482956"/>
                <a:gd name="connsiteX220" fmla="*/ 208029 w 257174"/>
                <a:gd name="connsiteY220" fmla="*/ 129916 h 482956"/>
                <a:gd name="connsiteX221" fmla="*/ 207959 w 257174"/>
                <a:gd name="connsiteY221" fmla="*/ 130433 h 482956"/>
                <a:gd name="connsiteX222" fmla="*/ 207747 w 257174"/>
                <a:gd name="connsiteY222" fmla="*/ 130950 h 482956"/>
                <a:gd name="connsiteX223" fmla="*/ 207606 w 257174"/>
                <a:gd name="connsiteY223" fmla="*/ 131891 h 482956"/>
                <a:gd name="connsiteX224" fmla="*/ 207606 w 257174"/>
                <a:gd name="connsiteY224" fmla="*/ 133725 h 482956"/>
                <a:gd name="connsiteX225" fmla="*/ 207771 w 257174"/>
                <a:gd name="connsiteY225" fmla="*/ 135065 h 482956"/>
                <a:gd name="connsiteX226" fmla="*/ 208758 w 257174"/>
                <a:gd name="connsiteY226" fmla="*/ 138145 h 482956"/>
                <a:gd name="connsiteX227" fmla="*/ 209393 w 257174"/>
                <a:gd name="connsiteY227" fmla="*/ 141297 h 482956"/>
                <a:gd name="connsiteX228" fmla="*/ 209534 w 257174"/>
                <a:gd name="connsiteY228" fmla="*/ 142990 h 482956"/>
                <a:gd name="connsiteX229" fmla="*/ 209534 w 257174"/>
                <a:gd name="connsiteY229" fmla="*/ 144141 h 482956"/>
                <a:gd name="connsiteX230" fmla="*/ 208994 w 257174"/>
                <a:gd name="connsiteY230" fmla="*/ 145740 h 482956"/>
                <a:gd name="connsiteX231" fmla="*/ 207183 w 257174"/>
                <a:gd name="connsiteY231" fmla="*/ 148797 h 482956"/>
                <a:gd name="connsiteX232" fmla="*/ 206712 w 257174"/>
                <a:gd name="connsiteY232" fmla="*/ 150279 h 482956"/>
                <a:gd name="connsiteX233" fmla="*/ 206877 w 257174"/>
                <a:gd name="connsiteY233" fmla="*/ 151924 h 482956"/>
                <a:gd name="connsiteX234" fmla="*/ 207559 w 257174"/>
                <a:gd name="connsiteY234" fmla="*/ 152889 h 482956"/>
                <a:gd name="connsiteX235" fmla="*/ 208429 w 257174"/>
                <a:gd name="connsiteY235" fmla="*/ 153736 h 482956"/>
                <a:gd name="connsiteX236" fmla="*/ 209252 w 257174"/>
                <a:gd name="connsiteY236" fmla="*/ 155029 h 482956"/>
                <a:gd name="connsiteX237" fmla="*/ 209675 w 257174"/>
                <a:gd name="connsiteY237" fmla="*/ 156651 h 482956"/>
                <a:gd name="connsiteX238" fmla="*/ 209464 w 257174"/>
                <a:gd name="connsiteY238" fmla="*/ 157803 h 482956"/>
                <a:gd name="connsiteX239" fmla="*/ 207630 w 257174"/>
                <a:gd name="connsiteY239" fmla="*/ 160179 h 482956"/>
                <a:gd name="connsiteX240" fmla="*/ 206196 w 257174"/>
                <a:gd name="connsiteY240" fmla="*/ 163494 h 482956"/>
                <a:gd name="connsiteX241" fmla="*/ 206642 w 257174"/>
                <a:gd name="connsiteY241" fmla="*/ 166574 h 482956"/>
                <a:gd name="connsiteX242" fmla="*/ 208453 w 257174"/>
                <a:gd name="connsiteY242" fmla="*/ 169302 h 482956"/>
                <a:gd name="connsiteX243" fmla="*/ 211086 w 257174"/>
                <a:gd name="connsiteY243" fmla="*/ 171583 h 482956"/>
                <a:gd name="connsiteX244" fmla="*/ 209722 w 257174"/>
                <a:gd name="connsiteY244" fmla="*/ 173840 h 482956"/>
                <a:gd name="connsiteX245" fmla="*/ 209040 w 257174"/>
                <a:gd name="connsiteY245" fmla="*/ 174499 h 482956"/>
                <a:gd name="connsiteX246" fmla="*/ 205678 w 257174"/>
                <a:gd name="connsiteY246" fmla="*/ 176802 h 482956"/>
                <a:gd name="connsiteX247" fmla="*/ 205184 w 257174"/>
                <a:gd name="connsiteY247" fmla="*/ 177297 h 482956"/>
                <a:gd name="connsiteX248" fmla="*/ 204902 w 257174"/>
                <a:gd name="connsiteY248" fmla="*/ 178025 h 482956"/>
                <a:gd name="connsiteX249" fmla="*/ 204855 w 257174"/>
                <a:gd name="connsiteY249" fmla="*/ 178825 h 482956"/>
                <a:gd name="connsiteX250" fmla="*/ 204808 w 257174"/>
                <a:gd name="connsiteY250" fmla="*/ 179577 h 482956"/>
                <a:gd name="connsiteX251" fmla="*/ 204573 w 257174"/>
                <a:gd name="connsiteY251" fmla="*/ 180142 h 482956"/>
                <a:gd name="connsiteX252" fmla="*/ 203138 w 257174"/>
                <a:gd name="connsiteY252" fmla="*/ 181059 h 482956"/>
                <a:gd name="connsiteX253" fmla="*/ 201610 w 257174"/>
                <a:gd name="connsiteY253" fmla="*/ 181153 h 482956"/>
                <a:gd name="connsiteX254" fmla="*/ 200081 w 257174"/>
                <a:gd name="connsiteY254" fmla="*/ 181011 h 482956"/>
                <a:gd name="connsiteX255" fmla="*/ 199564 w 257174"/>
                <a:gd name="connsiteY255" fmla="*/ 181105 h 482956"/>
                <a:gd name="connsiteX256" fmla="*/ 198577 w 257174"/>
                <a:gd name="connsiteY256" fmla="*/ 181247 h 482956"/>
                <a:gd name="connsiteX257" fmla="*/ 195214 w 257174"/>
                <a:gd name="connsiteY257" fmla="*/ 183269 h 482956"/>
                <a:gd name="connsiteX258" fmla="*/ 193803 w 257174"/>
                <a:gd name="connsiteY258" fmla="*/ 183857 h 482956"/>
                <a:gd name="connsiteX259" fmla="*/ 193098 w 257174"/>
                <a:gd name="connsiteY259" fmla="*/ 184727 h 482956"/>
                <a:gd name="connsiteX260" fmla="*/ 192322 w 257174"/>
                <a:gd name="connsiteY260" fmla="*/ 186890 h 482956"/>
                <a:gd name="connsiteX261" fmla="*/ 191663 w 257174"/>
                <a:gd name="connsiteY261" fmla="*/ 187995 h 482956"/>
                <a:gd name="connsiteX262" fmla="*/ 192298 w 257174"/>
                <a:gd name="connsiteY262" fmla="*/ 189359 h 482956"/>
                <a:gd name="connsiteX263" fmla="*/ 192863 w 257174"/>
                <a:gd name="connsiteY263" fmla="*/ 192557 h 482956"/>
                <a:gd name="connsiteX264" fmla="*/ 193803 w 257174"/>
                <a:gd name="connsiteY264" fmla="*/ 193827 h 482956"/>
                <a:gd name="connsiteX265" fmla="*/ 194744 w 257174"/>
                <a:gd name="connsiteY265" fmla="*/ 194085 h 482956"/>
                <a:gd name="connsiteX266" fmla="*/ 196813 w 257174"/>
                <a:gd name="connsiteY266" fmla="*/ 194368 h 482956"/>
                <a:gd name="connsiteX267" fmla="*/ 197659 w 257174"/>
                <a:gd name="connsiteY267" fmla="*/ 194650 h 482956"/>
                <a:gd name="connsiteX268" fmla="*/ 198506 w 257174"/>
                <a:gd name="connsiteY268" fmla="*/ 195356 h 482956"/>
                <a:gd name="connsiteX269" fmla="*/ 199564 w 257174"/>
                <a:gd name="connsiteY269" fmla="*/ 196907 h 482956"/>
                <a:gd name="connsiteX270" fmla="*/ 201304 w 257174"/>
                <a:gd name="connsiteY270" fmla="*/ 198906 h 482956"/>
                <a:gd name="connsiteX271" fmla="*/ 204455 w 257174"/>
                <a:gd name="connsiteY271" fmla="*/ 204126 h 482956"/>
                <a:gd name="connsiteX272" fmla="*/ 203115 w 257174"/>
                <a:gd name="connsiteY272" fmla="*/ 206196 h 482956"/>
                <a:gd name="connsiteX273" fmla="*/ 202739 w 257174"/>
                <a:gd name="connsiteY273" fmla="*/ 207183 h 482956"/>
                <a:gd name="connsiteX274" fmla="*/ 202880 w 257174"/>
                <a:gd name="connsiteY274" fmla="*/ 208194 h 482956"/>
                <a:gd name="connsiteX275" fmla="*/ 202574 w 257174"/>
                <a:gd name="connsiteY275" fmla="*/ 209017 h 482956"/>
                <a:gd name="connsiteX276" fmla="*/ 202127 w 257174"/>
                <a:gd name="connsiteY276" fmla="*/ 211322 h 482956"/>
                <a:gd name="connsiteX277" fmla="*/ 201892 w 257174"/>
                <a:gd name="connsiteY277" fmla="*/ 211697 h 482956"/>
                <a:gd name="connsiteX278" fmla="*/ 201140 w 257174"/>
                <a:gd name="connsiteY278" fmla="*/ 212215 h 482956"/>
                <a:gd name="connsiteX279" fmla="*/ 200905 w 257174"/>
                <a:gd name="connsiteY279" fmla="*/ 212639 h 482956"/>
                <a:gd name="connsiteX280" fmla="*/ 200905 w 257174"/>
                <a:gd name="connsiteY280" fmla="*/ 213155 h 482956"/>
                <a:gd name="connsiteX281" fmla="*/ 201163 w 257174"/>
                <a:gd name="connsiteY281" fmla="*/ 214096 h 482956"/>
                <a:gd name="connsiteX282" fmla="*/ 201163 w 257174"/>
                <a:gd name="connsiteY282" fmla="*/ 214566 h 482956"/>
                <a:gd name="connsiteX283" fmla="*/ 201022 w 257174"/>
                <a:gd name="connsiteY283" fmla="*/ 215389 h 482956"/>
                <a:gd name="connsiteX284" fmla="*/ 200975 w 257174"/>
                <a:gd name="connsiteY284" fmla="*/ 216941 h 482956"/>
                <a:gd name="connsiteX285" fmla="*/ 200693 w 257174"/>
                <a:gd name="connsiteY285" fmla="*/ 217835 h 482956"/>
                <a:gd name="connsiteX286" fmla="*/ 198718 w 257174"/>
                <a:gd name="connsiteY286" fmla="*/ 220539 h 482956"/>
                <a:gd name="connsiteX287" fmla="*/ 197966 w 257174"/>
                <a:gd name="connsiteY287" fmla="*/ 220938 h 482956"/>
                <a:gd name="connsiteX288" fmla="*/ 196179 w 257174"/>
                <a:gd name="connsiteY288" fmla="*/ 221621 h 482956"/>
                <a:gd name="connsiteX289" fmla="*/ 195567 w 257174"/>
                <a:gd name="connsiteY289" fmla="*/ 222091 h 482956"/>
                <a:gd name="connsiteX290" fmla="*/ 195003 w 257174"/>
                <a:gd name="connsiteY290" fmla="*/ 223360 h 482956"/>
                <a:gd name="connsiteX291" fmla="*/ 195097 w 257174"/>
                <a:gd name="connsiteY291" fmla="*/ 224372 h 482956"/>
                <a:gd name="connsiteX292" fmla="*/ 195426 w 257174"/>
                <a:gd name="connsiteY292" fmla="*/ 225241 h 482956"/>
                <a:gd name="connsiteX293" fmla="*/ 195544 w 257174"/>
                <a:gd name="connsiteY293" fmla="*/ 226018 h 482956"/>
                <a:gd name="connsiteX294" fmla="*/ 195238 w 257174"/>
                <a:gd name="connsiteY294" fmla="*/ 226911 h 482956"/>
                <a:gd name="connsiteX295" fmla="*/ 194321 w 257174"/>
                <a:gd name="connsiteY295" fmla="*/ 228439 h 482956"/>
                <a:gd name="connsiteX296" fmla="*/ 193945 w 257174"/>
                <a:gd name="connsiteY296" fmla="*/ 229310 h 482956"/>
                <a:gd name="connsiteX297" fmla="*/ 193945 w 257174"/>
                <a:gd name="connsiteY297" fmla="*/ 230180 h 482956"/>
                <a:gd name="connsiteX298" fmla="*/ 194179 w 257174"/>
                <a:gd name="connsiteY298" fmla="*/ 230815 h 482956"/>
                <a:gd name="connsiteX299" fmla="*/ 194273 w 257174"/>
                <a:gd name="connsiteY299" fmla="*/ 231496 h 482956"/>
                <a:gd name="connsiteX300" fmla="*/ 193356 w 257174"/>
                <a:gd name="connsiteY300" fmla="*/ 233496 h 482956"/>
                <a:gd name="connsiteX301" fmla="*/ 192228 w 257174"/>
                <a:gd name="connsiteY301" fmla="*/ 233918 h 482956"/>
                <a:gd name="connsiteX302" fmla="*/ 180729 w 257174"/>
                <a:gd name="connsiteY302" fmla="*/ 235258 h 482956"/>
                <a:gd name="connsiteX303" fmla="*/ 178284 w 257174"/>
                <a:gd name="connsiteY303" fmla="*/ 235164 h 482956"/>
                <a:gd name="connsiteX304" fmla="*/ 176591 w 257174"/>
                <a:gd name="connsiteY304" fmla="*/ 234201 h 482956"/>
                <a:gd name="connsiteX305" fmla="*/ 175251 w 257174"/>
                <a:gd name="connsiteY305" fmla="*/ 234600 h 482956"/>
                <a:gd name="connsiteX306" fmla="*/ 172123 w 257174"/>
                <a:gd name="connsiteY306" fmla="*/ 234507 h 482956"/>
                <a:gd name="connsiteX307" fmla="*/ 170666 w 257174"/>
                <a:gd name="connsiteY307" fmla="*/ 234789 h 482956"/>
                <a:gd name="connsiteX308" fmla="*/ 169372 w 257174"/>
                <a:gd name="connsiteY308" fmla="*/ 235306 h 482956"/>
                <a:gd name="connsiteX309" fmla="*/ 168314 w 257174"/>
                <a:gd name="connsiteY309" fmla="*/ 235588 h 482956"/>
                <a:gd name="connsiteX310" fmla="*/ 151431 w 257174"/>
                <a:gd name="connsiteY310" fmla="*/ 234836 h 482956"/>
                <a:gd name="connsiteX311" fmla="*/ 151548 w 257174"/>
                <a:gd name="connsiteY311" fmla="*/ 235071 h 482956"/>
                <a:gd name="connsiteX312" fmla="*/ 152137 w 257174"/>
                <a:gd name="connsiteY312" fmla="*/ 236387 h 482956"/>
                <a:gd name="connsiteX313" fmla="*/ 154676 w 257174"/>
                <a:gd name="connsiteY313" fmla="*/ 242854 h 482956"/>
                <a:gd name="connsiteX314" fmla="*/ 156087 w 257174"/>
                <a:gd name="connsiteY314" fmla="*/ 244053 h 482956"/>
                <a:gd name="connsiteX315" fmla="*/ 158415 w 257174"/>
                <a:gd name="connsiteY315" fmla="*/ 246898 h 482956"/>
                <a:gd name="connsiteX316" fmla="*/ 159732 w 257174"/>
                <a:gd name="connsiteY316" fmla="*/ 248050 h 482956"/>
                <a:gd name="connsiteX317" fmla="*/ 162365 w 257174"/>
                <a:gd name="connsiteY317" fmla="*/ 249320 h 482956"/>
                <a:gd name="connsiteX318" fmla="*/ 163047 w 257174"/>
                <a:gd name="connsiteY318" fmla="*/ 250120 h 482956"/>
                <a:gd name="connsiteX319" fmla="*/ 163799 w 257174"/>
                <a:gd name="connsiteY319" fmla="*/ 252142 h 482956"/>
                <a:gd name="connsiteX320" fmla="*/ 164998 w 257174"/>
                <a:gd name="connsiteY320" fmla="*/ 253036 h 482956"/>
                <a:gd name="connsiteX321" fmla="*/ 166668 w 257174"/>
                <a:gd name="connsiteY321" fmla="*/ 253764 h 482956"/>
                <a:gd name="connsiteX322" fmla="*/ 169960 w 257174"/>
                <a:gd name="connsiteY322" fmla="*/ 254564 h 482956"/>
                <a:gd name="connsiteX323" fmla="*/ 170524 w 257174"/>
                <a:gd name="connsiteY323" fmla="*/ 255481 h 482956"/>
                <a:gd name="connsiteX324" fmla="*/ 170524 w 257174"/>
                <a:gd name="connsiteY324" fmla="*/ 257456 h 482956"/>
                <a:gd name="connsiteX325" fmla="*/ 170101 w 257174"/>
                <a:gd name="connsiteY325" fmla="*/ 259572 h 482956"/>
                <a:gd name="connsiteX326" fmla="*/ 169490 w 257174"/>
                <a:gd name="connsiteY326" fmla="*/ 260913 h 482956"/>
                <a:gd name="connsiteX327" fmla="*/ 169090 w 257174"/>
                <a:gd name="connsiteY327" fmla="*/ 262230 h 482956"/>
                <a:gd name="connsiteX328" fmla="*/ 169137 w 257174"/>
                <a:gd name="connsiteY328" fmla="*/ 264275 h 482956"/>
                <a:gd name="connsiteX329" fmla="*/ 169514 w 257174"/>
                <a:gd name="connsiteY329" fmla="*/ 266250 h 482956"/>
                <a:gd name="connsiteX330" fmla="*/ 170101 w 257174"/>
                <a:gd name="connsiteY330" fmla="*/ 267356 h 482956"/>
                <a:gd name="connsiteX331" fmla="*/ 171559 w 257174"/>
                <a:gd name="connsiteY331" fmla="*/ 268437 h 482956"/>
                <a:gd name="connsiteX332" fmla="*/ 175439 w 257174"/>
                <a:gd name="connsiteY332" fmla="*/ 272811 h 482956"/>
                <a:gd name="connsiteX333" fmla="*/ 174381 w 257174"/>
                <a:gd name="connsiteY333" fmla="*/ 274504 h 482956"/>
                <a:gd name="connsiteX334" fmla="*/ 174287 w 257174"/>
                <a:gd name="connsiteY334" fmla="*/ 276432 h 482956"/>
                <a:gd name="connsiteX335" fmla="*/ 174875 w 257174"/>
                <a:gd name="connsiteY335" fmla="*/ 278290 h 482956"/>
                <a:gd name="connsiteX336" fmla="*/ 175980 w 257174"/>
                <a:gd name="connsiteY336" fmla="*/ 279747 h 482956"/>
                <a:gd name="connsiteX337" fmla="*/ 177908 w 257174"/>
                <a:gd name="connsiteY337" fmla="*/ 280735 h 482956"/>
                <a:gd name="connsiteX338" fmla="*/ 180071 w 257174"/>
                <a:gd name="connsiteY338" fmla="*/ 281252 h 482956"/>
                <a:gd name="connsiteX339" fmla="*/ 181905 w 257174"/>
                <a:gd name="connsiteY339" fmla="*/ 282052 h 482956"/>
                <a:gd name="connsiteX340" fmla="*/ 182869 w 257174"/>
                <a:gd name="connsiteY340" fmla="*/ 283816 h 482956"/>
                <a:gd name="connsiteX341" fmla="*/ 182705 w 257174"/>
                <a:gd name="connsiteY341" fmla="*/ 284756 h 482956"/>
                <a:gd name="connsiteX342" fmla="*/ 181859 w 257174"/>
                <a:gd name="connsiteY342" fmla="*/ 286566 h 482956"/>
                <a:gd name="connsiteX343" fmla="*/ 181976 w 257174"/>
                <a:gd name="connsiteY343" fmla="*/ 287342 h 482956"/>
                <a:gd name="connsiteX344" fmla="*/ 182775 w 257174"/>
                <a:gd name="connsiteY344" fmla="*/ 288071 h 482956"/>
                <a:gd name="connsiteX345" fmla="*/ 183928 w 257174"/>
                <a:gd name="connsiteY345" fmla="*/ 288612 h 482956"/>
                <a:gd name="connsiteX346" fmla="*/ 185126 w 257174"/>
                <a:gd name="connsiteY346" fmla="*/ 288800 h 482956"/>
                <a:gd name="connsiteX347" fmla="*/ 186068 w 257174"/>
                <a:gd name="connsiteY347" fmla="*/ 288471 h 482956"/>
                <a:gd name="connsiteX348" fmla="*/ 187925 w 257174"/>
                <a:gd name="connsiteY348" fmla="*/ 287413 h 482956"/>
                <a:gd name="connsiteX349" fmla="*/ 189994 w 257174"/>
                <a:gd name="connsiteY349" fmla="*/ 287202 h 482956"/>
                <a:gd name="connsiteX350" fmla="*/ 192040 w 257174"/>
                <a:gd name="connsiteY350" fmla="*/ 287719 h 482956"/>
                <a:gd name="connsiteX351" fmla="*/ 193851 w 257174"/>
                <a:gd name="connsiteY351" fmla="*/ 288871 h 482956"/>
                <a:gd name="connsiteX352" fmla="*/ 195097 w 257174"/>
                <a:gd name="connsiteY352" fmla="*/ 290000 h 482956"/>
                <a:gd name="connsiteX353" fmla="*/ 196202 w 257174"/>
                <a:gd name="connsiteY353" fmla="*/ 291645 h 482956"/>
                <a:gd name="connsiteX354" fmla="*/ 196696 w 257174"/>
                <a:gd name="connsiteY354" fmla="*/ 293456 h 482956"/>
                <a:gd name="connsiteX355" fmla="*/ 196155 w 257174"/>
                <a:gd name="connsiteY355" fmla="*/ 295055 h 482956"/>
                <a:gd name="connsiteX356" fmla="*/ 197048 w 257174"/>
                <a:gd name="connsiteY356" fmla="*/ 295714 h 482956"/>
                <a:gd name="connsiteX357" fmla="*/ 197166 w 257174"/>
                <a:gd name="connsiteY357" fmla="*/ 296560 h 482956"/>
                <a:gd name="connsiteX358" fmla="*/ 196720 w 257174"/>
                <a:gd name="connsiteY358" fmla="*/ 297501 h 482956"/>
                <a:gd name="connsiteX359" fmla="*/ 195966 w 257174"/>
                <a:gd name="connsiteY359" fmla="*/ 298418 h 482956"/>
                <a:gd name="connsiteX360" fmla="*/ 193356 w 257174"/>
                <a:gd name="connsiteY360" fmla="*/ 303120 h 482956"/>
                <a:gd name="connsiteX361" fmla="*/ 191593 w 257174"/>
                <a:gd name="connsiteY361" fmla="*/ 305354 h 482956"/>
                <a:gd name="connsiteX362" fmla="*/ 189900 w 257174"/>
                <a:gd name="connsiteY362" fmla="*/ 306648 h 482956"/>
                <a:gd name="connsiteX363" fmla="*/ 190982 w 257174"/>
                <a:gd name="connsiteY363" fmla="*/ 308458 h 482956"/>
                <a:gd name="connsiteX364" fmla="*/ 190582 w 257174"/>
                <a:gd name="connsiteY364" fmla="*/ 309892 h 482956"/>
                <a:gd name="connsiteX365" fmla="*/ 190676 w 257174"/>
                <a:gd name="connsiteY365" fmla="*/ 311210 h 482956"/>
                <a:gd name="connsiteX366" fmla="*/ 190041 w 257174"/>
                <a:gd name="connsiteY366" fmla="*/ 311585 h 482956"/>
                <a:gd name="connsiteX367" fmla="*/ 189077 w 257174"/>
                <a:gd name="connsiteY367" fmla="*/ 312314 h 482956"/>
                <a:gd name="connsiteX368" fmla="*/ 188137 w 257174"/>
                <a:gd name="connsiteY368" fmla="*/ 313208 h 482956"/>
                <a:gd name="connsiteX369" fmla="*/ 186867 w 257174"/>
                <a:gd name="connsiteY369" fmla="*/ 313772 h 482956"/>
                <a:gd name="connsiteX370" fmla="*/ 183245 w 257174"/>
                <a:gd name="connsiteY370" fmla="*/ 314501 h 482956"/>
                <a:gd name="connsiteX371" fmla="*/ 182493 w 257174"/>
                <a:gd name="connsiteY371" fmla="*/ 315089 h 482956"/>
                <a:gd name="connsiteX372" fmla="*/ 182046 w 257174"/>
                <a:gd name="connsiteY372" fmla="*/ 315960 h 482956"/>
                <a:gd name="connsiteX373" fmla="*/ 180988 w 257174"/>
                <a:gd name="connsiteY373" fmla="*/ 317112 h 482956"/>
                <a:gd name="connsiteX374" fmla="*/ 179695 w 257174"/>
                <a:gd name="connsiteY374" fmla="*/ 318122 h 482956"/>
                <a:gd name="connsiteX375" fmla="*/ 178519 w 257174"/>
                <a:gd name="connsiteY375" fmla="*/ 318546 h 482956"/>
                <a:gd name="connsiteX376" fmla="*/ 177391 w 257174"/>
                <a:gd name="connsiteY376" fmla="*/ 319392 h 482956"/>
                <a:gd name="connsiteX377" fmla="*/ 173911 w 257174"/>
                <a:gd name="connsiteY377" fmla="*/ 322026 h 482956"/>
                <a:gd name="connsiteX378" fmla="*/ 173769 w 257174"/>
                <a:gd name="connsiteY378" fmla="*/ 322355 h 482956"/>
                <a:gd name="connsiteX379" fmla="*/ 173111 w 257174"/>
                <a:gd name="connsiteY379" fmla="*/ 323578 h 482956"/>
                <a:gd name="connsiteX380" fmla="*/ 172852 w 257174"/>
                <a:gd name="connsiteY380" fmla="*/ 324236 h 482956"/>
                <a:gd name="connsiteX381" fmla="*/ 172311 w 257174"/>
                <a:gd name="connsiteY381" fmla="*/ 327363 h 482956"/>
                <a:gd name="connsiteX382" fmla="*/ 172147 w 257174"/>
                <a:gd name="connsiteY382" fmla="*/ 329457 h 482956"/>
                <a:gd name="connsiteX383" fmla="*/ 172194 w 257174"/>
                <a:gd name="connsiteY383" fmla="*/ 330397 h 482956"/>
                <a:gd name="connsiteX384" fmla="*/ 172311 w 257174"/>
                <a:gd name="connsiteY384" fmla="*/ 331126 h 482956"/>
                <a:gd name="connsiteX385" fmla="*/ 172687 w 257174"/>
                <a:gd name="connsiteY385" fmla="*/ 331690 h 482956"/>
                <a:gd name="connsiteX386" fmla="*/ 173205 w 257174"/>
                <a:gd name="connsiteY386" fmla="*/ 331973 h 482956"/>
                <a:gd name="connsiteX387" fmla="*/ 173675 w 257174"/>
                <a:gd name="connsiteY387" fmla="*/ 332301 h 482956"/>
                <a:gd name="connsiteX388" fmla="*/ 173911 w 257174"/>
                <a:gd name="connsiteY388" fmla="*/ 333007 h 482956"/>
                <a:gd name="connsiteX389" fmla="*/ 173487 w 257174"/>
                <a:gd name="connsiteY389" fmla="*/ 334276 h 482956"/>
                <a:gd name="connsiteX390" fmla="*/ 170219 w 257174"/>
                <a:gd name="connsiteY390" fmla="*/ 338650 h 482956"/>
                <a:gd name="connsiteX391" fmla="*/ 168808 w 257174"/>
                <a:gd name="connsiteY391" fmla="*/ 343259 h 482956"/>
                <a:gd name="connsiteX392" fmla="*/ 168032 w 257174"/>
                <a:gd name="connsiteY392" fmla="*/ 344341 h 482956"/>
                <a:gd name="connsiteX393" fmla="*/ 168925 w 257174"/>
                <a:gd name="connsiteY393" fmla="*/ 345540 h 482956"/>
                <a:gd name="connsiteX394" fmla="*/ 168831 w 257174"/>
                <a:gd name="connsiteY394" fmla="*/ 346598 h 482956"/>
                <a:gd name="connsiteX395" fmla="*/ 168079 w 257174"/>
                <a:gd name="connsiteY395" fmla="*/ 347633 h 482956"/>
                <a:gd name="connsiteX396" fmla="*/ 166950 w 257174"/>
                <a:gd name="connsiteY396" fmla="*/ 348738 h 482956"/>
                <a:gd name="connsiteX397" fmla="*/ 168032 w 257174"/>
                <a:gd name="connsiteY397" fmla="*/ 349232 h 482956"/>
                <a:gd name="connsiteX398" fmla="*/ 170242 w 257174"/>
                <a:gd name="connsiteY398" fmla="*/ 350736 h 482956"/>
                <a:gd name="connsiteX399" fmla="*/ 178519 w 257174"/>
                <a:gd name="connsiteY399" fmla="*/ 360519 h 482956"/>
                <a:gd name="connsiteX400" fmla="*/ 178848 w 257174"/>
                <a:gd name="connsiteY400" fmla="*/ 361060 h 482956"/>
                <a:gd name="connsiteX401" fmla="*/ 179343 w 257174"/>
                <a:gd name="connsiteY401" fmla="*/ 362282 h 482956"/>
                <a:gd name="connsiteX402" fmla="*/ 179671 w 257174"/>
                <a:gd name="connsiteY402" fmla="*/ 362870 h 482956"/>
                <a:gd name="connsiteX403" fmla="*/ 180212 w 257174"/>
                <a:gd name="connsiteY403" fmla="*/ 363363 h 482956"/>
                <a:gd name="connsiteX404" fmla="*/ 181552 w 257174"/>
                <a:gd name="connsiteY404" fmla="*/ 364281 h 482956"/>
                <a:gd name="connsiteX405" fmla="*/ 181953 w 257174"/>
                <a:gd name="connsiteY405" fmla="*/ 364680 h 482956"/>
                <a:gd name="connsiteX406" fmla="*/ 185103 w 257174"/>
                <a:gd name="connsiteY406" fmla="*/ 372088 h 482956"/>
                <a:gd name="connsiteX407" fmla="*/ 185879 w 257174"/>
                <a:gd name="connsiteY407" fmla="*/ 372745 h 482956"/>
                <a:gd name="connsiteX408" fmla="*/ 186937 w 257174"/>
                <a:gd name="connsiteY408" fmla="*/ 373687 h 482956"/>
                <a:gd name="connsiteX409" fmla="*/ 188137 w 257174"/>
                <a:gd name="connsiteY409" fmla="*/ 373687 h 482956"/>
                <a:gd name="connsiteX410" fmla="*/ 190112 w 257174"/>
                <a:gd name="connsiteY410" fmla="*/ 373310 h 482956"/>
                <a:gd name="connsiteX411" fmla="*/ 192016 w 257174"/>
                <a:gd name="connsiteY411" fmla="*/ 372511 h 482956"/>
                <a:gd name="connsiteX412" fmla="*/ 192980 w 257174"/>
                <a:gd name="connsiteY412" fmla="*/ 371288 h 482956"/>
                <a:gd name="connsiteX413" fmla="*/ 193404 w 257174"/>
                <a:gd name="connsiteY413" fmla="*/ 371429 h 482956"/>
                <a:gd name="connsiteX414" fmla="*/ 193638 w 257174"/>
                <a:gd name="connsiteY414" fmla="*/ 371429 h 482956"/>
                <a:gd name="connsiteX415" fmla="*/ 195684 w 257174"/>
                <a:gd name="connsiteY415" fmla="*/ 370865 h 482956"/>
                <a:gd name="connsiteX416" fmla="*/ 197872 w 257174"/>
                <a:gd name="connsiteY416" fmla="*/ 370700 h 482956"/>
                <a:gd name="connsiteX417" fmla="*/ 198929 w 257174"/>
                <a:gd name="connsiteY417" fmla="*/ 371405 h 482956"/>
                <a:gd name="connsiteX418" fmla="*/ 199165 w 257174"/>
                <a:gd name="connsiteY418" fmla="*/ 371570 h 482956"/>
                <a:gd name="connsiteX419" fmla="*/ 198365 w 257174"/>
                <a:gd name="connsiteY419" fmla="*/ 374157 h 482956"/>
                <a:gd name="connsiteX420" fmla="*/ 197753 w 257174"/>
                <a:gd name="connsiteY420" fmla="*/ 375497 h 482956"/>
                <a:gd name="connsiteX421" fmla="*/ 196696 w 257174"/>
                <a:gd name="connsiteY421" fmla="*/ 378554 h 482956"/>
                <a:gd name="connsiteX422" fmla="*/ 195238 w 257174"/>
                <a:gd name="connsiteY422" fmla="*/ 381328 h 482956"/>
                <a:gd name="connsiteX423" fmla="*/ 194556 w 257174"/>
                <a:gd name="connsiteY423" fmla="*/ 384080 h 482956"/>
                <a:gd name="connsiteX424" fmla="*/ 193827 w 257174"/>
                <a:gd name="connsiteY424" fmla="*/ 385232 h 482956"/>
                <a:gd name="connsiteX425" fmla="*/ 193192 w 257174"/>
                <a:gd name="connsiteY425" fmla="*/ 387442 h 482956"/>
                <a:gd name="connsiteX426" fmla="*/ 191217 w 257174"/>
                <a:gd name="connsiteY426" fmla="*/ 387654 h 482956"/>
                <a:gd name="connsiteX427" fmla="*/ 186796 w 257174"/>
                <a:gd name="connsiteY427" fmla="*/ 385984 h 482956"/>
                <a:gd name="connsiteX428" fmla="*/ 185433 w 257174"/>
                <a:gd name="connsiteY428" fmla="*/ 385867 h 482956"/>
                <a:gd name="connsiteX429" fmla="*/ 184750 w 257174"/>
                <a:gd name="connsiteY429" fmla="*/ 386548 h 482956"/>
                <a:gd name="connsiteX430" fmla="*/ 183974 w 257174"/>
                <a:gd name="connsiteY430" fmla="*/ 388454 h 482956"/>
                <a:gd name="connsiteX431" fmla="*/ 183175 w 257174"/>
                <a:gd name="connsiteY431" fmla="*/ 389441 h 482956"/>
                <a:gd name="connsiteX432" fmla="*/ 182587 w 257174"/>
                <a:gd name="connsiteY432" fmla="*/ 389794 h 482956"/>
                <a:gd name="connsiteX433" fmla="*/ 181552 w 257174"/>
                <a:gd name="connsiteY433" fmla="*/ 390076 h 482956"/>
                <a:gd name="connsiteX434" fmla="*/ 180589 w 257174"/>
                <a:gd name="connsiteY434" fmla="*/ 390546 h 482956"/>
                <a:gd name="connsiteX435" fmla="*/ 179625 w 257174"/>
                <a:gd name="connsiteY435" fmla="*/ 390429 h 482956"/>
                <a:gd name="connsiteX436" fmla="*/ 178637 w 257174"/>
                <a:gd name="connsiteY436" fmla="*/ 390146 h 482956"/>
                <a:gd name="connsiteX437" fmla="*/ 177626 w 257174"/>
                <a:gd name="connsiteY437" fmla="*/ 390076 h 482956"/>
                <a:gd name="connsiteX438" fmla="*/ 176779 w 257174"/>
                <a:gd name="connsiteY438" fmla="*/ 390593 h 482956"/>
                <a:gd name="connsiteX439" fmla="*/ 174287 w 257174"/>
                <a:gd name="connsiteY439" fmla="*/ 391063 h 482956"/>
                <a:gd name="connsiteX440" fmla="*/ 173746 w 257174"/>
                <a:gd name="connsiteY440" fmla="*/ 391604 h 482956"/>
                <a:gd name="connsiteX441" fmla="*/ 173793 w 257174"/>
                <a:gd name="connsiteY441" fmla="*/ 392333 h 482956"/>
                <a:gd name="connsiteX442" fmla="*/ 174075 w 257174"/>
                <a:gd name="connsiteY442" fmla="*/ 393203 h 482956"/>
                <a:gd name="connsiteX443" fmla="*/ 174075 w 257174"/>
                <a:gd name="connsiteY443" fmla="*/ 394144 h 482956"/>
                <a:gd name="connsiteX444" fmla="*/ 173675 w 257174"/>
                <a:gd name="connsiteY444" fmla="*/ 395742 h 482956"/>
                <a:gd name="connsiteX445" fmla="*/ 171959 w 257174"/>
                <a:gd name="connsiteY445" fmla="*/ 399975 h 482956"/>
                <a:gd name="connsiteX446" fmla="*/ 171089 w 257174"/>
                <a:gd name="connsiteY446" fmla="*/ 403079 h 482956"/>
                <a:gd name="connsiteX447" fmla="*/ 168949 w 257174"/>
                <a:gd name="connsiteY447" fmla="*/ 406606 h 482956"/>
                <a:gd name="connsiteX448" fmla="*/ 161753 w 257174"/>
                <a:gd name="connsiteY448" fmla="*/ 412155 h 482956"/>
                <a:gd name="connsiteX449" fmla="*/ 160367 w 257174"/>
                <a:gd name="connsiteY449" fmla="*/ 414013 h 482956"/>
                <a:gd name="connsiteX450" fmla="*/ 159308 w 257174"/>
                <a:gd name="connsiteY450" fmla="*/ 416741 h 482956"/>
                <a:gd name="connsiteX451" fmla="*/ 158626 w 257174"/>
                <a:gd name="connsiteY451" fmla="*/ 421091 h 482956"/>
                <a:gd name="connsiteX452" fmla="*/ 158227 w 257174"/>
                <a:gd name="connsiteY452" fmla="*/ 422454 h 482956"/>
                <a:gd name="connsiteX453" fmla="*/ 157686 w 257174"/>
                <a:gd name="connsiteY453" fmla="*/ 423160 h 482956"/>
                <a:gd name="connsiteX454" fmla="*/ 155617 w 257174"/>
                <a:gd name="connsiteY454" fmla="*/ 425206 h 482956"/>
                <a:gd name="connsiteX455" fmla="*/ 154864 w 257174"/>
                <a:gd name="connsiteY455" fmla="*/ 425652 h 482956"/>
                <a:gd name="connsiteX456" fmla="*/ 155076 w 257174"/>
                <a:gd name="connsiteY456" fmla="*/ 426217 h 482956"/>
                <a:gd name="connsiteX457" fmla="*/ 155029 w 257174"/>
                <a:gd name="connsiteY457" fmla="*/ 426663 h 482956"/>
                <a:gd name="connsiteX458" fmla="*/ 154864 w 257174"/>
                <a:gd name="connsiteY458" fmla="*/ 427064 h 482956"/>
                <a:gd name="connsiteX459" fmla="*/ 154770 w 257174"/>
                <a:gd name="connsiteY459" fmla="*/ 427510 h 482956"/>
                <a:gd name="connsiteX460" fmla="*/ 153947 w 257174"/>
                <a:gd name="connsiteY460" fmla="*/ 428380 h 482956"/>
                <a:gd name="connsiteX461" fmla="*/ 153688 w 257174"/>
                <a:gd name="connsiteY461" fmla="*/ 428757 h 482956"/>
                <a:gd name="connsiteX462" fmla="*/ 153736 w 257174"/>
                <a:gd name="connsiteY462" fmla="*/ 429697 h 482956"/>
                <a:gd name="connsiteX463" fmla="*/ 153853 w 257174"/>
                <a:gd name="connsiteY463" fmla="*/ 429791 h 482956"/>
                <a:gd name="connsiteX464" fmla="*/ 154158 w 257174"/>
                <a:gd name="connsiteY464" fmla="*/ 429791 h 482956"/>
                <a:gd name="connsiteX465" fmla="*/ 154559 w 257174"/>
                <a:gd name="connsiteY465" fmla="*/ 431037 h 482956"/>
                <a:gd name="connsiteX466" fmla="*/ 154629 w 257174"/>
                <a:gd name="connsiteY466" fmla="*/ 431648 h 482956"/>
                <a:gd name="connsiteX467" fmla="*/ 154793 w 257174"/>
                <a:gd name="connsiteY467" fmla="*/ 432189 h 482956"/>
                <a:gd name="connsiteX468" fmla="*/ 154864 w 257174"/>
                <a:gd name="connsiteY468" fmla="*/ 432283 h 482956"/>
                <a:gd name="connsiteX469" fmla="*/ 155523 w 257174"/>
                <a:gd name="connsiteY469" fmla="*/ 433200 h 482956"/>
                <a:gd name="connsiteX470" fmla="*/ 156110 w 257174"/>
                <a:gd name="connsiteY470" fmla="*/ 433788 h 482956"/>
                <a:gd name="connsiteX471" fmla="*/ 157451 w 257174"/>
                <a:gd name="connsiteY471" fmla="*/ 434823 h 482956"/>
                <a:gd name="connsiteX472" fmla="*/ 157874 w 257174"/>
                <a:gd name="connsiteY472" fmla="*/ 435364 h 482956"/>
                <a:gd name="connsiteX473" fmla="*/ 158415 w 257174"/>
                <a:gd name="connsiteY473" fmla="*/ 437057 h 482956"/>
                <a:gd name="connsiteX474" fmla="*/ 158885 w 257174"/>
                <a:gd name="connsiteY474" fmla="*/ 439244 h 482956"/>
                <a:gd name="connsiteX475" fmla="*/ 159120 w 257174"/>
                <a:gd name="connsiteY475" fmla="*/ 441242 h 482956"/>
                <a:gd name="connsiteX476" fmla="*/ 158956 w 257174"/>
                <a:gd name="connsiteY476" fmla="*/ 442254 h 482956"/>
                <a:gd name="connsiteX477" fmla="*/ 160296 w 257174"/>
                <a:gd name="connsiteY477" fmla="*/ 445052 h 482956"/>
                <a:gd name="connsiteX478" fmla="*/ 160884 w 257174"/>
                <a:gd name="connsiteY478" fmla="*/ 452223 h 482956"/>
                <a:gd name="connsiteX479" fmla="*/ 161660 w 257174"/>
                <a:gd name="connsiteY479" fmla="*/ 455186 h 482956"/>
                <a:gd name="connsiteX480" fmla="*/ 161142 w 257174"/>
                <a:gd name="connsiteY480" fmla="*/ 456550 h 482956"/>
                <a:gd name="connsiteX481" fmla="*/ 161519 w 257174"/>
                <a:gd name="connsiteY481" fmla="*/ 458572 h 482956"/>
                <a:gd name="connsiteX482" fmla="*/ 162695 w 257174"/>
                <a:gd name="connsiteY482" fmla="*/ 462523 h 482956"/>
                <a:gd name="connsiteX483" fmla="*/ 162929 w 257174"/>
                <a:gd name="connsiteY483" fmla="*/ 462969 h 482956"/>
                <a:gd name="connsiteX484" fmla="*/ 163094 w 257174"/>
                <a:gd name="connsiteY484" fmla="*/ 463345 h 482956"/>
                <a:gd name="connsiteX485" fmla="*/ 163329 w 257174"/>
                <a:gd name="connsiteY485" fmla="*/ 463627 h 482956"/>
                <a:gd name="connsiteX486" fmla="*/ 163823 w 257174"/>
                <a:gd name="connsiteY486" fmla="*/ 463792 h 482956"/>
                <a:gd name="connsiteX487" fmla="*/ 163823 w 257174"/>
                <a:gd name="connsiteY487" fmla="*/ 464357 h 482956"/>
                <a:gd name="connsiteX488" fmla="*/ 163235 w 257174"/>
                <a:gd name="connsiteY488" fmla="*/ 465038 h 482956"/>
                <a:gd name="connsiteX489" fmla="*/ 161918 w 257174"/>
                <a:gd name="connsiteY489" fmla="*/ 464122 h 482956"/>
                <a:gd name="connsiteX490" fmla="*/ 160249 w 257174"/>
                <a:gd name="connsiteY490" fmla="*/ 463698 h 482956"/>
                <a:gd name="connsiteX491" fmla="*/ 158462 w 257174"/>
                <a:gd name="connsiteY491" fmla="*/ 463627 h 482956"/>
                <a:gd name="connsiteX492" fmla="*/ 156769 w 257174"/>
                <a:gd name="connsiteY492" fmla="*/ 463792 h 482956"/>
                <a:gd name="connsiteX493" fmla="*/ 155076 w 257174"/>
                <a:gd name="connsiteY493" fmla="*/ 464404 h 482956"/>
                <a:gd name="connsiteX494" fmla="*/ 151901 w 257174"/>
                <a:gd name="connsiteY494" fmla="*/ 466426 h 482956"/>
                <a:gd name="connsiteX495" fmla="*/ 150584 w 257174"/>
                <a:gd name="connsiteY495" fmla="*/ 466849 h 482956"/>
                <a:gd name="connsiteX496" fmla="*/ 146023 w 257174"/>
                <a:gd name="connsiteY496" fmla="*/ 469600 h 482956"/>
                <a:gd name="connsiteX497" fmla="*/ 145412 w 257174"/>
                <a:gd name="connsiteY497" fmla="*/ 470376 h 482956"/>
                <a:gd name="connsiteX498" fmla="*/ 133560 w 257174"/>
                <a:gd name="connsiteY498" fmla="*/ 477807 h 482956"/>
                <a:gd name="connsiteX499" fmla="*/ 130973 w 257174"/>
                <a:gd name="connsiteY499" fmla="*/ 479947 h 482956"/>
                <a:gd name="connsiteX500" fmla="*/ 129845 w 257174"/>
                <a:gd name="connsiteY500" fmla="*/ 479947 h 482956"/>
                <a:gd name="connsiteX501" fmla="*/ 128622 w 257174"/>
                <a:gd name="connsiteY501" fmla="*/ 479452 h 482956"/>
                <a:gd name="connsiteX502" fmla="*/ 126977 w 257174"/>
                <a:gd name="connsiteY502" fmla="*/ 479147 h 482956"/>
                <a:gd name="connsiteX503" fmla="*/ 122156 w 257174"/>
                <a:gd name="connsiteY503" fmla="*/ 479077 h 482956"/>
                <a:gd name="connsiteX504" fmla="*/ 120816 w 257174"/>
                <a:gd name="connsiteY504" fmla="*/ 478583 h 482956"/>
                <a:gd name="connsiteX505" fmla="*/ 120134 w 257174"/>
                <a:gd name="connsiteY505" fmla="*/ 479617 h 482956"/>
                <a:gd name="connsiteX506" fmla="*/ 119287 w 257174"/>
                <a:gd name="connsiteY506" fmla="*/ 479523 h 482956"/>
                <a:gd name="connsiteX507" fmla="*/ 118300 w 257174"/>
                <a:gd name="connsiteY507" fmla="*/ 478959 h 482956"/>
                <a:gd name="connsiteX508" fmla="*/ 117547 w 257174"/>
                <a:gd name="connsiteY508" fmla="*/ 478606 h 482956"/>
                <a:gd name="connsiteX509" fmla="*/ 118323 w 257174"/>
                <a:gd name="connsiteY509" fmla="*/ 479711 h 482956"/>
                <a:gd name="connsiteX510" fmla="*/ 118582 w 257174"/>
                <a:gd name="connsiteY510" fmla="*/ 480299 h 482956"/>
                <a:gd name="connsiteX511" fmla="*/ 118676 w 257174"/>
                <a:gd name="connsiteY511" fmla="*/ 481075 h 482956"/>
                <a:gd name="connsiteX512" fmla="*/ 116912 w 257174"/>
                <a:gd name="connsiteY512" fmla="*/ 478701 h 482956"/>
                <a:gd name="connsiteX513" fmla="*/ 114091 w 257174"/>
                <a:gd name="connsiteY513" fmla="*/ 476537 h 482956"/>
                <a:gd name="connsiteX514" fmla="*/ 108518 w 257174"/>
                <a:gd name="connsiteY514" fmla="*/ 473668 h 482956"/>
                <a:gd name="connsiteX515" fmla="*/ 105320 w 257174"/>
                <a:gd name="connsiteY515" fmla="*/ 473010 h 482956"/>
                <a:gd name="connsiteX516" fmla="*/ 102851 w 257174"/>
                <a:gd name="connsiteY516" fmla="*/ 471976 h 482956"/>
                <a:gd name="connsiteX517" fmla="*/ 100218 w 257174"/>
                <a:gd name="connsiteY517" fmla="*/ 472069 h 482956"/>
                <a:gd name="connsiteX518" fmla="*/ 93939 w 257174"/>
                <a:gd name="connsiteY518" fmla="*/ 472893 h 482956"/>
                <a:gd name="connsiteX519" fmla="*/ 91259 w 257174"/>
                <a:gd name="connsiteY519" fmla="*/ 472022 h 482956"/>
                <a:gd name="connsiteX520" fmla="*/ 88296 w 257174"/>
                <a:gd name="connsiteY520" fmla="*/ 471082 h 482956"/>
                <a:gd name="connsiteX521" fmla="*/ 85968 w 257174"/>
                <a:gd name="connsiteY521" fmla="*/ 472046 h 482956"/>
                <a:gd name="connsiteX522" fmla="*/ 82559 w 257174"/>
                <a:gd name="connsiteY522" fmla="*/ 472446 h 482956"/>
                <a:gd name="connsiteX523" fmla="*/ 79149 w 257174"/>
                <a:gd name="connsiteY523" fmla="*/ 471270 h 482956"/>
                <a:gd name="connsiteX524" fmla="*/ 79008 w 257174"/>
                <a:gd name="connsiteY524" fmla="*/ 471411 h 482956"/>
                <a:gd name="connsiteX525" fmla="*/ 74846 w 257174"/>
                <a:gd name="connsiteY525" fmla="*/ 469271 h 482956"/>
                <a:gd name="connsiteX526" fmla="*/ 71507 w 257174"/>
                <a:gd name="connsiteY526" fmla="*/ 468730 h 482956"/>
                <a:gd name="connsiteX527" fmla="*/ 67862 w 257174"/>
                <a:gd name="connsiteY527" fmla="*/ 468989 h 482956"/>
                <a:gd name="connsiteX528" fmla="*/ 66710 w 257174"/>
                <a:gd name="connsiteY528" fmla="*/ 469295 h 482956"/>
                <a:gd name="connsiteX529" fmla="*/ 65698 w 257174"/>
                <a:gd name="connsiteY529" fmla="*/ 469976 h 482956"/>
                <a:gd name="connsiteX530" fmla="*/ 63230 w 257174"/>
                <a:gd name="connsiteY530" fmla="*/ 472422 h 482956"/>
                <a:gd name="connsiteX531" fmla="*/ 58433 w 257174"/>
                <a:gd name="connsiteY531" fmla="*/ 472422 h 482956"/>
                <a:gd name="connsiteX532" fmla="*/ 57493 w 257174"/>
                <a:gd name="connsiteY532" fmla="*/ 472657 h 482956"/>
                <a:gd name="connsiteX533" fmla="*/ 55470 w 257174"/>
                <a:gd name="connsiteY533" fmla="*/ 473832 h 482956"/>
                <a:gd name="connsiteX534" fmla="*/ 54459 w 257174"/>
                <a:gd name="connsiteY534" fmla="*/ 474256 h 482956"/>
                <a:gd name="connsiteX535" fmla="*/ 53284 w 257174"/>
                <a:gd name="connsiteY535" fmla="*/ 474350 h 482956"/>
                <a:gd name="connsiteX536" fmla="*/ 51449 w 257174"/>
                <a:gd name="connsiteY536" fmla="*/ 474797 h 482956"/>
                <a:gd name="connsiteX537" fmla="*/ 49733 w 257174"/>
                <a:gd name="connsiteY537" fmla="*/ 476208 h 482956"/>
                <a:gd name="connsiteX538" fmla="*/ 48204 w 257174"/>
                <a:gd name="connsiteY538" fmla="*/ 475644 h 482956"/>
                <a:gd name="connsiteX539" fmla="*/ 46793 w 257174"/>
                <a:gd name="connsiteY539" fmla="*/ 476937 h 482956"/>
                <a:gd name="connsiteX540" fmla="*/ 46158 w 257174"/>
                <a:gd name="connsiteY540" fmla="*/ 477407 h 482956"/>
                <a:gd name="connsiteX541" fmla="*/ 45336 w 257174"/>
                <a:gd name="connsiteY541" fmla="*/ 477689 h 482956"/>
                <a:gd name="connsiteX542" fmla="*/ 43760 w 257174"/>
                <a:gd name="connsiteY542" fmla="*/ 478912 h 482956"/>
                <a:gd name="connsiteX543" fmla="*/ 42960 w 257174"/>
                <a:gd name="connsiteY543" fmla="*/ 479194 h 482956"/>
                <a:gd name="connsiteX544" fmla="*/ 41785 w 257174"/>
                <a:gd name="connsiteY544" fmla="*/ 478795 h 482956"/>
                <a:gd name="connsiteX545" fmla="*/ 40939 w 257174"/>
                <a:gd name="connsiteY545" fmla="*/ 477995 h 482956"/>
                <a:gd name="connsiteX546" fmla="*/ 40092 w 257174"/>
                <a:gd name="connsiteY546" fmla="*/ 477501 h 482956"/>
                <a:gd name="connsiteX547" fmla="*/ 38916 w 257174"/>
                <a:gd name="connsiteY547" fmla="*/ 477972 h 482956"/>
                <a:gd name="connsiteX548" fmla="*/ 39457 w 257174"/>
                <a:gd name="connsiteY548" fmla="*/ 475455 h 482956"/>
                <a:gd name="connsiteX549" fmla="*/ 39880 w 257174"/>
                <a:gd name="connsiteY549" fmla="*/ 474209 h 482956"/>
                <a:gd name="connsiteX550" fmla="*/ 40256 w 257174"/>
                <a:gd name="connsiteY550" fmla="*/ 473668 h 482956"/>
                <a:gd name="connsiteX551" fmla="*/ 43313 w 257174"/>
                <a:gd name="connsiteY551" fmla="*/ 469224 h 482956"/>
                <a:gd name="connsiteX552" fmla="*/ 44489 w 257174"/>
                <a:gd name="connsiteY552" fmla="*/ 466755 h 482956"/>
                <a:gd name="connsiteX553" fmla="*/ 45524 w 257174"/>
                <a:gd name="connsiteY553" fmla="*/ 464615 h 482956"/>
                <a:gd name="connsiteX554" fmla="*/ 44795 w 257174"/>
                <a:gd name="connsiteY554" fmla="*/ 461935 h 482956"/>
                <a:gd name="connsiteX555" fmla="*/ 46206 w 257174"/>
                <a:gd name="connsiteY555" fmla="*/ 460712 h 482956"/>
                <a:gd name="connsiteX556" fmla="*/ 48016 w 257174"/>
                <a:gd name="connsiteY556" fmla="*/ 458972 h 482956"/>
                <a:gd name="connsiteX557" fmla="*/ 49144 w 257174"/>
                <a:gd name="connsiteY557" fmla="*/ 454998 h 482956"/>
                <a:gd name="connsiteX558" fmla="*/ 48534 w 257174"/>
                <a:gd name="connsiteY558" fmla="*/ 453422 h 482956"/>
                <a:gd name="connsiteX559" fmla="*/ 47922 w 257174"/>
                <a:gd name="connsiteY559" fmla="*/ 452012 h 482956"/>
                <a:gd name="connsiteX560" fmla="*/ 49192 w 257174"/>
                <a:gd name="connsiteY560" fmla="*/ 449731 h 482956"/>
                <a:gd name="connsiteX561" fmla="*/ 51378 w 257174"/>
                <a:gd name="connsiteY561" fmla="*/ 447474 h 482956"/>
                <a:gd name="connsiteX562" fmla="*/ 51802 w 257174"/>
                <a:gd name="connsiteY562" fmla="*/ 445287 h 482956"/>
                <a:gd name="connsiteX563" fmla="*/ 53165 w 257174"/>
                <a:gd name="connsiteY563" fmla="*/ 442277 h 482956"/>
                <a:gd name="connsiteX564" fmla="*/ 54083 w 257174"/>
                <a:gd name="connsiteY564" fmla="*/ 438209 h 482956"/>
                <a:gd name="connsiteX565" fmla="*/ 54577 w 257174"/>
                <a:gd name="connsiteY565" fmla="*/ 435787 h 482956"/>
                <a:gd name="connsiteX566" fmla="*/ 54764 w 257174"/>
                <a:gd name="connsiteY566" fmla="*/ 431648 h 482956"/>
                <a:gd name="connsiteX567" fmla="*/ 54318 w 257174"/>
                <a:gd name="connsiteY567" fmla="*/ 429508 h 482956"/>
                <a:gd name="connsiteX568" fmla="*/ 53542 w 257174"/>
                <a:gd name="connsiteY568" fmla="*/ 428074 h 482956"/>
                <a:gd name="connsiteX569" fmla="*/ 52507 w 257174"/>
                <a:gd name="connsiteY569" fmla="*/ 426922 h 482956"/>
                <a:gd name="connsiteX570" fmla="*/ 52343 w 257174"/>
                <a:gd name="connsiteY570" fmla="*/ 425746 h 482956"/>
                <a:gd name="connsiteX571" fmla="*/ 53424 w 257174"/>
                <a:gd name="connsiteY571" fmla="*/ 421749 h 482956"/>
                <a:gd name="connsiteX572" fmla="*/ 53777 w 257174"/>
                <a:gd name="connsiteY572" fmla="*/ 419280 h 482956"/>
                <a:gd name="connsiteX573" fmla="*/ 54482 w 257174"/>
                <a:gd name="connsiteY573" fmla="*/ 416976 h 482956"/>
                <a:gd name="connsiteX574" fmla="*/ 55517 w 257174"/>
                <a:gd name="connsiteY574" fmla="*/ 416529 h 482956"/>
                <a:gd name="connsiteX575" fmla="*/ 57751 w 257174"/>
                <a:gd name="connsiteY575" fmla="*/ 416153 h 482956"/>
                <a:gd name="connsiteX576" fmla="*/ 58174 w 257174"/>
                <a:gd name="connsiteY576" fmla="*/ 413966 h 482956"/>
                <a:gd name="connsiteX577" fmla="*/ 58174 w 257174"/>
                <a:gd name="connsiteY577" fmla="*/ 413637 h 482956"/>
                <a:gd name="connsiteX578" fmla="*/ 57422 w 257174"/>
                <a:gd name="connsiteY578" fmla="*/ 414248 h 482956"/>
                <a:gd name="connsiteX579" fmla="*/ 55681 w 257174"/>
                <a:gd name="connsiteY579" fmla="*/ 414695 h 482956"/>
                <a:gd name="connsiteX580" fmla="*/ 53754 w 257174"/>
                <a:gd name="connsiteY580" fmla="*/ 414695 h 482956"/>
                <a:gd name="connsiteX581" fmla="*/ 53119 w 257174"/>
                <a:gd name="connsiteY581" fmla="*/ 413119 h 482956"/>
                <a:gd name="connsiteX582" fmla="*/ 53706 w 257174"/>
                <a:gd name="connsiteY582" fmla="*/ 408511 h 482956"/>
                <a:gd name="connsiteX583" fmla="*/ 54670 w 257174"/>
                <a:gd name="connsiteY583" fmla="*/ 403643 h 482956"/>
                <a:gd name="connsiteX584" fmla="*/ 54530 w 257174"/>
                <a:gd name="connsiteY584" fmla="*/ 400634 h 482956"/>
                <a:gd name="connsiteX585" fmla="*/ 54083 w 257174"/>
                <a:gd name="connsiteY585" fmla="*/ 398470 h 482956"/>
                <a:gd name="connsiteX586" fmla="*/ 52837 w 257174"/>
                <a:gd name="connsiteY586" fmla="*/ 396166 h 482956"/>
                <a:gd name="connsiteX587" fmla="*/ 50226 w 257174"/>
                <a:gd name="connsiteY587" fmla="*/ 395696 h 482956"/>
                <a:gd name="connsiteX588" fmla="*/ 47029 w 257174"/>
                <a:gd name="connsiteY588" fmla="*/ 393838 h 482956"/>
                <a:gd name="connsiteX589" fmla="*/ 47405 w 257174"/>
                <a:gd name="connsiteY589" fmla="*/ 393085 h 482956"/>
                <a:gd name="connsiteX590" fmla="*/ 47946 w 257174"/>
                <a:gd name="connsiteY590" fmla="*/ 392756 h 482956"/>
                <a:gd name="connsiteX591" fmla="*/ 48557 w 257174"/>
                <a:gd name="connsiteY591" fmla="*/ 392498 h 482956"/>
                <a:gd name="connsiteX592" fmla="*/ 49169 w 257174"/>
                <a:gd name="connsiteY592" fmla="*/ 391933 h 482956"/>
                <a:gd name="connsiteX593" fmla="*/ 53213 w 257174"/>
                <a:gd name="connsiteY593" fmla="*/ 383868 h 482956"/>
                <a:gd name="connsiteX594" fmla="*/ 54670 w 257174"/>
                <a:gd name="connsiteY594" fmla="*/ 377402 h 482956"/>
                <a:gd name="connsiteX595" fmla="*/ 56434 w 257174"/>
                <a:gd name="connsiteY595" fmla="*/ 372511 h 482956"/>
                <a:gd name="connsiteX596" fmla="*/ 56152 w 257174"/>
                <a:gd name="connsiteY596" fmla="*/ 367620 h 482956"/>
                <a:gd name="connsiteX597" fmla="*/ 55564 w 257174"/>
                <a:gd name="connsiteY597" fmla="*/ 361859 h 482956"/>
                <a:gd name="connsiteX598" fmla="*/ 54812 w 257174"/>
                <a:gd name="connsiteY598" fmla="*/ 356803 h 482956"/>
                <a:gd name="connsiteX599" fmla="*/ 52789 w 257174"/>
                <a:gd name="connsiteY599" fmla="*/ 353182 h 482956"/>
                <a:gd name="connsiteX600" fmla="*/ 50767 w 257174"/>
                <a:gd name="connsiteY600" fmla="*/ 351254 h 482956"/>
                <a:gd name="connsiteX601" fmla="*/ 48298 w 257174"/>
                <a:gd name="connsiteY601" fmla="*/ 348573 h 482956"/>
                <a:gd name="connsiteX602" fmla="*/ 45453 w 257174"/>
                <a:gd name="connsiteY602" fmla="*/ 346410 h 482956"/>
                <a:gd name="connsiteX603" fmla="*/ 43267 w 257174"/>
                <a:gd name="connsiteY603" fmla="*/ 345634 h 482956"/>
                <a:gd name="connsiteX604" fmla="*/ 44465 w 257174"/>
                <a:gd name="connsiteY604" fmla="*/ 344482 h 482956"/>
                <a:gd name="connsiteX605" fmla="*/ 46252 w 257174"/>
                <a:gd name="connsiteY605" fmla="*/ 345164 h 482956"/>
                <a:gd name="connsiteX606" fmla="*/ 49144 w 257174"/>
                <a:gd name="connsiteY606" fmla="*/ 347515 h 482956"/>
                <a:gd name="connsiteX607" fmla="*/ 52719 w 257174"/>
                <a:gd name="connsiteY607" fmla="*/ 348644 h 482956"/>
                <a:gd name="connsiteX608" fmla="*/ 54412 w 257174"/>
                <a:gd name="connsiteY608" fmla="*/ 349514 h 482956"/>
                <a:gd name="connsiteX609" fmla="*/ 54530 w 257174"/>
                <a:gd name="connsiteY609" fmla="*/ 350690 h 482956"/>
                <a:gd name="connsiteX610" fmla="*/ 57775 w 257174"/>
                <a:gd name="connsiteY610" fmla="*/ 350572 h 482956"/>
                <a:gd name="connsiteX611" fmla="*/ 65604 w 257174"/>
                <a:gd name="connsiteY611" fmla="*/ 352523 h 482956"/>
                <a:gd name="connsiteX612" fmla="*/ 69531 w 257174"/>
                <a:gd name="connsiteY612" fmla="*/ 351348 h 482956"/>
                <a:gd name="connsiteX613" fmla="*/ 67180 w 257174"/>
                <a:gd name="connsiteY613" fmla="*/ 351231 h 482956"/>
                <a:gd name="connsiteX614" fmla="*/ 65158 w 257174"/>
                <a:gd name="connsiteY614" fmla="*/ 350830 h 482956"/>
                <a:gd name="connsiteX615" fmla="*/ 59420 w 257174"/>
                <a:gd name="connsiteY615" fmla="*/ 348315 h 482956"/>
                <a:gd name="connsiteX616" fmla="*/ 58715 w 257174"/>
                <a:gd name="connsiteY616" fmla="*/ 347539 h 482956"/>
                <a:gd name="connsiteX617" fmla="*/ 58268 w 257174"/>
                <a:gd name="connsiteY617" fmla="*/ 346293 h 482956"/>
                <a:gd name="connsiteX618" fmla="*/ 58128 w 257174"/>
                <a:gd name="connsiteY618" fmla="*/ 344999 h 482956"/>
                <a:gd name="connsiteX619" fmla="*/ 58268 w 257174"/>
                <a:gd name="connsiteY619" fmla="*/ 343847 h 482956"/>
                <a:gd name="connsiteX620" fmla="*/ 58668 w 257174"/>
                <a:gd name="connsiteY620" fmla="*/ 342977 h 482956"/>
                <a:gd name="connsiteX621" fmla="*/ 59350 w 257174"/>
                <a:gd name="connsiteY621" fmla="*/ 342554 h 482956"/>
                <a:gd name="connsiteX622" fmla="*/ 59350 w 257174"/>
                <a:gd name="connsiteY622" fmla="*/ 341871 h 482956"/>
                <a:gd name="connsiteX623" fmla="*/ 58221 w 257174"/>
                <a:gd name="connsiteY623" fmla="*/ 341496 h 482956"/>
                <a:gd name="connsiteX624" fmla="*/ 57445 w 257174"/>
                <a:gd name="connsiteY624" fmla="*/ 340437 h 482956"/>
                <a:gd name="connsiteX625" fmla="*/ 57210 w 257174"/>
                <a:gd name="connsiteY625" fmla="*/ 339144 h 482956"/>
                <a:gd name="connsiteX626" fmla="*/ 57727 w 257174"/>
                <a:gd name="connsiteY626" fmla="*/ 338109 h 482956"/>
                <a:gd name="connsiteX627" fmla="*/ 56505 w 257174"/>
                <a:gd name="connsiteY627" fmla="*/ 337921 h 482956"/>
                <a:gd name="connsiteX628" fmla="*/ 54976 w 257174"/>
                <a:gd name="connsiteY628" fmla="*/ 340837 h 482956"/>
                <a:gd name="connsiteX629" fmla="*/ 53424 w 257174"/>
                <a:gd name="connsiteY629" fmla="*/ 341307 h 482956"/>
                <a:gd name="connsiteX630" fmla="*/ 53424 w 257174"/>
                <a:gd name="connsiteY630" fmla="*/ 341871 h 482956"/>
                <a:gd name="connsiteX631" fmla="*/ 55165 w 257174"/>
                <a:gd name="connsiteY631" fmla="*/ 342084 h 482956"/>
                <a:gd name="connsiteX632" fmla="*/ 56011 w 257174"/>
                <a:gd name="connsiteY632" fmla="*/ 343424 h 482956"/>
                <a:gd name="connsiteX633" fmla="*/ 56011 w 257174"/>
                <a:gd name="connsiteY633" fmla="*/ 344928 h 482956"/>
                <a:gd name="connsiteX634" fmla="*/ 55353 w 257174"/>
                <a:gd name="connsiteY634" fmla="*/ 345634 h 482956"/>
                <a:gd name="connsiteX635" fmla="*/ 53472 w 257174"/>
                <a:gd name="connsiteY635" fmla="*/ 345493 h 482956"/>
                <a:gd name="connsiteX636" fmla="*/ 51919 w 257174"/>
                <a:gd name="connsiteY636" fmla="*/ 345117 h 482956"/>
                <a:gd name="connsiteX637" fmla="*/ 49169 w 257174"/>
                <a:gd name="connsiteY637" fmla="*/ 343776 h 482956"/>
                <a:gd name="connsiteX638" fmla="*/ 46158 w 257174"/>
                <a:gd name="connsiteY638" fmla="*/ 342812 h 482956"/>
                <a:gd name="connsiteX639" fmla="*/ 42325 w 257174"/>
                <a:gd name="connsiteY639" fmla="*/ 343471 h 482956"/>
                <a:gd name="connsiteX640" fmla="*/ 38822 w 257174"/>
                <a:gd name="connsiteY640" fmla="*/ 347209 h 482956"/>
                <a:gd name="connsiteX641" fmla="*/ 39434 w 257174"/>
                <a:gd name="connsiteY641" fmla="*/ 347656 h 482956"/>
                <a:gd name="connsiteX642" fmla="*/ 34989 w 257174"/>
                <a:gd name="connsiteY642" fmla="*/ 349373 h 482956"/>
                <a:gd name="connsiteX643" fmla="*/ 27394 w 257174"/>
                <a:gd name="connsiteY643" fmla="*/ 350219 h 482956"/>
                <a:gd name="connsiteX644" fmla="*/ 25819 w 257174"/>
                <a:gd name="connsiteY644" fmla="*/ 350807 h 482956"/>
                <a:gd name="connsiteX645" fmla="*/ 24549 w 257174"/>
                <a:gd name="connsiteY645" fmla="*/ 351677 h 482956"/>
                <a:gd name="connsiteX646" fmla="*/ 23115 w 257174"/>
                <a:gd name="connsiteY646" fmla="*/ 351959 h 482956"/>
                <a:gd name="connsiteX647" fmla="*/ 21093 w 257174"/>
                <a:gd name="connsiteY647" fmla="*/ 351419 h 482956"/>
                <a:gd name="connsiteX648" fmla="*/ 20740 w 257174"/>
                <a:gd name="connsiteY648" fmla="*/ 351371 h 482956"/>
                <a:gd name="connsiteX649" fmla="*/ 20505 w 257174"/>
                <a:gd name="connsiteY649" fmla="*/ 350878 h 482956"/>
                <a:gd name="connsiteX650" fmla="*/ 20505 w 257174"/>
                <a:gd name="connsiteY650" fmla="*/ 350219 h 482956"/>
                <a:gd name="connsiteX651" fmla="*/ 20716 w 257174"/>
                <a:gd name="connsiteY651" fmla="*/ 349655 h 482956"/>
                <a:gd name="connsiteX652" fmla="*/ 21022 w 257174"/>
                <a:gd name="connsiteY652" fmla="*/ 349420 h 482956"/>
                <a:gd name="connsiteX653" fmla="*/ 21587 w 257174"/>
                <a:gd name="connsiteY653" fmla="*/ 348620 h 482956"/>
                <a:gd name="connsiteX654" fmla="*/ 23938 w 257174"/>
                <a:gd name="connsiteY654" fmla="*/ 346481 h 482956"/>
                <a:gd name="connsiteX655" fmla="*/ 24431 w 257174"/>
                <a:gd name="connsiteY655" fmla="*/ 343588 h 482956"/>
                <a:gd name="connsiteX656" fmla="*/ 24431 w 257174"/>
                <a:gd name="connsiteY656" fmla="*/ 339238 h 482956"/>
                <a:gd name="connsiteX657" fmla="*/ 22527 w 257174"/>
                <a:gd name="connsiteY657" fmla="*/ 335029 h 482956"/>
                <a:gd name="connsiteX658" fmla="*/ 20152 w 257174"/>
                <a:gd name="connsiteY658" fmla="*/ 331549 h 482956"/>
                <a:gd name="connsiteX659" fmla="*/ 19047 w 257174"/>
                <a:gd name="connsiteY659" fmla="*/ 328774 h 482956"/>
                <a:gd name="connsiteX660" fmla="*/ 20481 w 257174"/>
                <a:gd name="connsiteY660" fmla="*/ 328045 h 482956"/>
                <a:gd name="connsiteX661" fmla="*/ 24126 w 257174"/>
                <a:gd name="connsiteY661" fmla="*/ 327622 h 482956"/>
                <a:gd name="connsiteX662" fmla="*/ 27465 w 257174"/>
                <a:gd name="connsiteY662" fmla="*/ 327340 h 482956"/>
                <a:gd name="connsiteX663" fmla="*/ 29111 w 257174"/>
                <a:gd name="connsiteY663" fmla="*/ 328257 h 482956"/>
                <a:gd name="connsiteX664" fmla="*/ 29911 w 257174"/>
                <a:gd name="connsiteY664" fmla="*/ 329362 h 482956"/>
                <a:gd name="connsiteX665" fmla="*/ 30404 w 257174"/>
                <a:gd name="connsiteY665" fmla="*/ 329362 h 482956"/>
                <a:gd name="connsiteX666" fmla="*/ 29911 w 257174"/>
                <a:gd name="connsiteY666" fmla="*/ 327481 h 482956"/>
                <a:gd name="connsiteX667" fmla="*/ 31086 w 257174"/>
                <a:gd name="connsiteY667" fmla="*/ 326893 h 482956"/>
                <a:gd name="connsiteX668" fmla="*/ 33555 w 257174"/>
                <a:gd name="connsiteY668" fmla="*/ 326282 h 482956"/>
                <a:gd name="connsiteX669" fmla="*/ 34730 w 257174"/>
                <a:gd name="connsiteY669" fmla="*/ 326165 h 482956"/>
                <a:gd name="connsiteX670" fmla="*/ 34730 w 257174"/>
                <a:gd name="connsiteY670" fmla="*/ 325600 h 482956"/>
                <a:gd name="connsiteX671" fmla="*/ 35907 w 257174"/>
                <a:gd name="connsiteY671" fmla="*/ 324307 h 482956"/>
                <a:gd name="connsiteX672" fmla="*/ 37176 w 257174"/>
                <a:gd name="connsiteY672" fmla="*/ 323154 h 482956"/>
                <a:gd name="connsiteX673" fmla="*/ 39410 w 257174"/>
                <a:gd name="connsiteY673" fmla="*/ 321555 h 482956"/>
                <a:gd name="connsiteX674" fmla="*/ 42208 w 257174"/>
                <a:gd name="connsiteY674" fmla="*/ 319321 h 482956"/>
                <a:gd name="connsiteX675" fmla="*/ 42514 w 257174"/>
                <a:gd name="connsiteY675" fmla="*/ 319110 h 482956"/>
                <a:gd name="connsiteX676" fmla="*/ 42984 w 257174"/>
                <a:gd name="connsiteY676" fmla="*/ 318734 h 482956"/>
                <a:gd name="connsiteX677" fmla="*/ 43337 w 257174"/>
                <a:gd name="connsiteY677" fmla="*/ 318616 h 482956"/>
                <a:gd name="connsiteX678" fmla="*/ 43337 w 257174"/>
                <a:gd name="connsiteY678" fmla="*/ 318052 h 482956"/>
                <a:gd name="connsiteX679" fmla="*/ 42561 w 257174"/>
                <a:gd name="connsiteY679" fmla="*/ 316829 h 482956"/>
                <a:gd name="connsiteX680" fmla="*/ 41644 w 257174"/>
                <a:gd name="connsiteY680" fmla="*/ 314995 h 482956"/>
                <a:gd name="connsiteX681" fmla="*/ 41173 w 257174"/>
                <a:gd name="connsiteY681" fmla="*/ 313091 h 482956"/>
                <a:gd name="connsiteX682" fmla="*/ 41738 w 257174"/>
                <a:gd name="connsiteY682" fmla="*/ 311703 h 482956"/>
                <a:gd name="connsiteX683" fmla="*/ 39927 w 257174"/>
                <a:gd name="connsiteY683" fmla="*/ 311821 h 482956"/>
                <a:gd name="connsiteX684" fmla="*/ 39104 w 257174"/>
                <a:gd name="connsiteY684" fmla="*/ 310339 h 482956"/>
                <a:gd name="connsiteX685" fmla="*/ 38657 w 257174"/>
                <a:gd name="connsiteY685" fmla="*/ 308105 h 482956"/>
                <a:gd name="connsiteX686" fmla="*/ 37952 w 257174"/>
                <a:gd name="connsiteY686" fmla="*/ 305942 h 482956"/>
                <a:gd name="connsiteX687" fmla="*/ 41267 w 257174"/>
                <a:gd name="connsiteY687" fmla="*/ 299429 h 482956"/>
                <a:gd name="connsiteX688" fmla="*/ 43290 w 257174"/>
                <a:gd name="connsiteY688" fmla="*/ 296537 h 482956"/>
                <a:gd name="connsiteX689" fmla="*/ 46017 w 257174"/>
                <a:gd name="connsiteY689" fmla="*/ 294608 h 482956"/>
                <a:gd name="connsiteX690" fmla="*/ 47593 w 257174"/>
                <a:gd name="connsiteY690" fmla="*/ 294255 h 482956"/>
                <a:gd name="connsiteX691" fmla="*/ 50956 w 257174"/>
                <a:gd name="connsiteY691" fmla="*/ 293997 h 482956"/>
                <a:gd name="connsiteX692" fmla="*/ 52437 w 257174"/>
                <a:gd name="connsiteY692" fmla="*/ 293409 h 482956"/>
                <a:gd name="connsiteX693" fmla="*/ 55282 w 257174"/>
                <a:gd name="connsiteY693" fmla="*/ 291457 h 482956"/>
                <a:gd name="connsiteX694" fmla="*/ 56505 w 257174"/>
                <a:gd name="connsiteY694" fmla="*/ 290259 h 482956"/>
                <a:gd name="connsiteX695" fmla="*/ 57257 w 257174"/>
                <a:gd name="connsiteY695" fmla="*/ 288942 h 482956"/>
                <a:gd name="connsiteX696" fmla="*/ 55165 w 257174"/>
                <a:gd name="connsiteY696" fmla="*/ 290353 h 482956"/>
                <a:gd name="connsiteX697" fmla="*/ 51661 w 257174"/>
                <a:gd name="connsiteY697" fmla="*/ 292727 h 482956"/>
                <a:gd name="connsiteX698" fmla="*/ 44912 w 257174"/>
                <a:gd name="connsiteY698" fmla="*/ 293409 h 482956"/>
                <a:gd name="connsiteX699" fmla="*/ 43878 w 257174"/>
                <a:gd name="connsiteY699" fmla="*/ 294209 h 482956"/>
                <a:gd name="connsiteX700" fmla="*/ 42373 w 257174"/>
                <a:gd name="connsiteY700" fmla="*/ 296842 h 482956"/>
                <a:gd name="connsiteX701" fmla="*/ 38587 w 257174"/>
                <a:gd name="connsiteY701" fmla="*/ 301851 h 482956"/>
                <a:gd name="connsiteX702" fmla="*/ 34260 w 257174"/>
                <a:gd name="connsiteY702" fmla="*/ 309799 h 482956"/>
                <a:gd name="connsiteX703" fmla="*/ 31862 w 257174"/>
                <a:gd name="connsiteY703" fmla="*/ 312362 h 482956"/>
                <a:gd name="connsiteX704" fmla="*/ 31039 w 257174"/>
                <a:gd name="connsiteY704" fmla="*/ 313584 h 482956"/>
                <a:gd name="connsiteX705" fmla="*/ 30545 w 257174"/>
                <a:gd name="connsiteY705" fmla="*/ 315089 h 482956"/>
                <a:gd name="connsiteX706" fmla="*/ 30734 w 257174"/>
                <a:gd name="connsiteY706" fmla="*/ 316829 h 482956"/>
                <a:gd name="connsiteX707" fmla="*/ 30874 w 257174"/>
                <a:gd name="connsiteY707" fmla="*/ 319886 h 482956"/>
                <a:gd name="connsiteX708" fmla="*/ 31180 w 257174"/>
                <a:gd name="connsiteY708" fmla="*/ 322073 h 482956"/>
                <a:gd name="connsiteX709" fmla="*/ 30075 w 257174"/>
                <a:gd name="connsiteY709" fmla="*/ 324260 h 482956"/>
                <a:gd name="connsiteX710" fmla="*/ 26101 w 257174"/>
                <a:gd name="connsiteY710" fmla="*/ 325411 h 482956"/>
                <a:gd name="connsiteX711" fmla="*/ 21657 w 257174"/>
                <a:gd name="connsiteY711" fmla="*/ 326117 h 482956"/>
                <a:gd name="connsiteX712" fmla="*/ 16578 w 257174"/>
                <a:gd name="connsiteY712" fmla="*/ 325670 h 482956"/>
                <a:gd name="connsiteX713" fmla="*/ 15144 w 257174"/>
                <a:gd name="connsiteY713" fmla="*/ 326682 h 482956"/>
                <a:gd name="connsiteX714" fmla="*/ 13709 w 257174"/>
                <a:gd name="connsiteY714" fmla="*/ 328280 h 482956"/>
                <a:gd name="connsiteX715" fmla="*/ 10676 w 257174"/>
                <a:gd name="connsiteY715" fmla="*/ 326517 h 482956"/>
                <a:gd name="connsiteX716" fmla="*/ 7219 w 257174"/>
                <a:gd name="connsiteY716" fmla="*/ 325177 h 482956"/>
                <a:gd name="connsiteX717" fmla="*/ 5315 w 257174"/>
                <a:gd name="connsiteY717" fmla="*/ 324895 h 482956"/>
                <a:gd name="connsiteX718" fmla="*/ 1999 w 257174"/>
                <a:gd name="connsiteY718" fmla="*/ 325342 h 482956"/>
                <a:gd name="connsiteX719" fmla="*/ 471 w 257174"/>
                <a:gd name="connsiteY719" fmla="*/ 324871 h 482956"/>
                <a:gd name="connsiteX720" fmla="*/ 471 w 257174"/>
                <a:gd name="connsiteY720" fmla="*/ 323037 h 482956"/>
                <a:gd name="connsiteX721" fmla="*/ 988 w 257174"/>
                <a:gd name="connsiteY721" fmla="*/ 321461 h 482956"/>
                <a:gd name="connsiteX722" fmla="*/ 0 w 257174"/>
                <a:gd name="connsiteY722" fmla="*/ 317464 h 482956"/>
                <a:gd name="connsiteX723" fmla="*/ 0 w 257174"/>
                <a:gd name="connsiteY723" fmla="*/ 315489 h 482956"/>
                <a:gd name="connsiteX724" fmla="*/ 423 w 257174"/>
                <a:gd name="connsiteY724" fmla="*/ 314619 h 482956"/>
                <a:gd name="connsiteX725" fmla="*/ 1365 w 257174"/>
                <a:gd name="connsiteY725" fmla="*/ 313561 h 482956"/>
                <a:gd name="connsiteX726" fmla="*/ 3269 w 257174"/>
                <a:gd name="connsiteY726" fmla="*/ 311750 h 482956"/>
                <a:gd name="connsiteX727" fmla="*/ 5832 w 257174"/>
                <a:gd name="connsiteY727" fmla="*/ 304296 h 482956"/>
                <a:gd name="connsiteX728" fmla="*/ 5620 w 257174"/>
                <a:gd name="connsiteY728" fmla="*/ 298747 h 482956"/>
                <a:gd name="connsiteX729" fmla="*/ 4726 w 257174"/>
                <a:gd name="connsiteY729" fmla="*/ 295243 h 482956"/>
                <a:gd name="connsiteX730" fmla="*/ 5503 w 257174"/>
                <a:gd name="connsiteY730" fmla="*/ 293198 h 482956"/>
                <a:gd name="connsiteX731" fmla="*/ 5832 w 257174"/>
                <a:gd name="connsiteY731" fmla="*/ 290706 h 482956"/>
                <a:gd name="connsiteX732" fmla="*/ 8865 w 257174"/>
                <a:gd name="connsiteY732" fmla="*/ 285579 h 482956"/>
                <a:gd name="connsiteX733" fmla="*/ 9829 w 257174"/>
                <a:gd name="connsiteY733" fmla="*/ 283087 h 482956"/>
                <a:gd name="connsiteX734" fmla="*/ 11428 w 257174"/>
                <a:gd name="connsiteY734" fmla="*/ 279724 h 482956"/>
                <a:gd name="connsiteX735" fmla="*/ 11758 w 257174"/>
                <a:gd name="connsiteY735" fmla="*/ 276197 h 482956"/>
                <a:gd name="connsiteX736" fmla="*/ 12251 w 257174"/>
                <a:gd name="connsiteY736" fmla="*/ 273281 h 482956"/>
                <a:gd name="connsiteX737" fmla="*/ 11193 w 257174"/>
                <a:gd name="connsiteY737" fmla="*/ 268696 h 482956"/>
                <a:gd name="connsiteX738" fmla="*/ 10276 w 257174"/>
                <a:gd name="connsiteY738" fmla="*/ 266862 h 482956"/>
                <a:gd name="connsiteX739" fmla="*/ 7478 w 257174"/>
                <a:gd name="connsiteY739" fmla="*/ 264158 h 482956"/>
                <a:gd name="connsiteX740" fmla="*/ 6890 w 257174"/>
                <a:gd name="connsiteY740" fmla="*/ 263241 h 482956"/>
                <a:gd name="connsiteX741" fmla="*/ 7783 w 257174"/>
                <a:gd name="connsiteY741" fmla="*/ 262959 h 482956"/>
                <a:gd name="connsiteX742" fmla="*/ 11287 w 257174"/>
                <a:gd name="connsiteY742" fmla="*/ 263899 h 482956"/>
                <a:gd name="connsiteX743" fmla="*/ 17048 w 257174"/>
                <a:gd name="connsiteY743" fmla="*/ 260372 h 482956"/>
                <a:gd name="connsiteX744" fmla="*/ 18482 w 257174"/>
                <a:gd name="connsiteY744" fmla="*/ 259197 h 482956"/>
                <a:gd name="connsiteX745" fmla="*/ 20082 w 257174"/>
                <a:gd name="connsiteY745" fmla="*/ 259055 h 482956"/>
                <a:gd name="connsiteX746" fmla="*/ 21046 w 257174"/>
                <a:gd name="connsiteY746" fmla="*/ 260137 h 482956"/>
                <a:gd name="connsiteX747" fmla="*/ 21845 w 257174"/>
                <a:gd name="connsiteY747" fmla="*/ 260325 h 482956"/>
                <a:gd name="connsiteX748" fmla="*/ 22762 w 257174"/>
                <a:gd name="connsiteY748" fmla="*/ 259455 h 482956"/>
                <a:gd name="connsiteX749" fmla="*/ 22174 w 257174"/>
                <a:gd name="connsiteY749" fmla="*/ 258232 h 482956"/>
                <a:gd name="connsiteX750" fmla="*/ 20904 w 257174"/>
                <a:gd name="connsiteY750" fmla="*/ 257103 h 482956"/>
                <a:gd name="connsiteX751" fmla="*/ 22174 w 257174"/>
                <a:gd name="connsiteY751" fmla="*/ 255222 h 482956"/>
                <a:gd name="connsiteX752" fmla="*/ 23938 w 257174"/>
                <a:gd name="connsiteY752" fmla="*/ 253318 h 482956"/>
                <a:gd name="connsiteX753" fmla="*/ 24573 w 257174"/>
                <a:gd name="connsiteY753" fmla="*/ 252283 h 482956"/>
                <a:gd name="connsiteX754" fmla="*/ 26007 w 257174"/>
                <a:gd name="connsiteY754" fmla="*/ 251413 h 482956"/>
                <a:gd name="connsiteX755" fmla="*/ 28264 w 257174"/>
                <a:gd name="connsiteY755" fmla="*/ 250096 h 482956"/>
                <a:gd name="connsiteX756" fmla="*/ 29393 w 257174"/>
                <a:gd name="connsiteY756" fmla="*/ 248332 h 482956"/>
                <a:gd name="connsiteX757" fmla="*/ 30193 w 257174"/>
                <a:gd name="connsiteY757" fmla="*/ 246875 h 482956"/>
                <a:gd name="connsiteX758" fmla="*/ 31815 w 257174"/>
                <a:gd name="connsiteY758" fmla="*/ 244242 h 482956"/>
                <a:gd name="connsiteX759" fmla="*/ 31980 w 257174"/>
                <a:gd name="connsiteY759" fmla="*/ 242619 h 482956"/>
                <a:gd name="connsiteX760" fmla="*/ 31838 w 257174"/>
                <a:gd name="connsiteY760" fmla="*/ 240855 h 482956"/>
                <a:gd name="connsiteX761" fmla="*/ 32803 w 257174"/>
                <a:gd name="connsiteY761" fmla="*/ 238363 h 482956"/>
                <a:gd name="connsiteX762" fmla="*/ 33296 w 257174"/>
                <a:gd name="connsiteY762" fmla="*/ 234812 h 482956"/>
                <a:gd name="connsiteX763" fmla="*/ 39457 w 257174"/>
                <a:gd name="connsiteY763" fmla="*/ 219622 h 482956"/>
                <a:gd name="connsiteX764" fmla="*/ 49215 w 257174"/>
                <a:gd name="connsiteY764" fmla="*/ 193262 h 482956"/>
                <a:gd name="connsiteX765" fmla="*/ 50391 w 257174"/>
                <a:gd name="connsiteY765" fmla="*/ 191922 h 482956"/>
                <a:gd name="connsiteX766" fmla="*/ 51308 w 257174"/>
                <a:gd name="connsiteY766" fmla="*/ 193168 h 482956"/>
                <a:gd name="connsiteX767" fmla="*/ 52601 w 257174"/>
                <a:gd name="connsiteY767" fmla="*/ 193709 h 482956"/>
                <a:gd name="connsiteX768" fmla="*/ 55729 w 257174"/>
                <a:gd name="connsiteY768" fmla="*/ 193827 h 482956"/>
                <a:gd name="connsiteX769" fmla="*/ 55729 w 257174"/>
                <a:gd name="connsiteY769" fmla="*/ 193122 h 482956"/>
                <a:gd name="connsiteX770" fmla="*/ 54482 w 257174"/>
                <a:gd name="connsiteY770" fmla="*/ 192016 h 482956"/>
                <a:gd name="connsiteX771" fmla="*/ 53307 w 257174"/>
                <a:gd name="connsiteY771" fmla="*/ 191193 h 482956"/>
                <a:gd name="connsiteX772" fmla="*/ 51943 w 257174"/>
                <a:gd name="connsiteY772" fmla="*/ 190723 h 482956"/>
                <a:gd name="connsiteX773" fmla="*/ 48369 w 257174"/>
                <a:gd name="connsiteY773" fmla="*/ 190300 h 482956"/>
                <a:gd name="connsiteX774" fmla="*/ 47029 w 257174"/>
                <a:gd name="connsiteY774" fmla="*/ 189500 h 482956"/>
                <a:gd name="connsiteX775" fmla="*/ 46229 w 257174"/>
                <a:gd name="connsiteY775" fmla="*/ 188113 h 482956"/>
                <a:gd name="connsiteX776" fmla="*/ 46088 w 257174"/>
                <a:gd name="connsiteY776" fmla="*/ 186114 h 482956"/>
                <a:gd name="connsiteX777" fmla="*/ 47075 w 257174"/>
                <a:gd name="connsiteY777" fmla="*/ 183481 h 482956"/>
                <a:gd name="connsiteX778" fmla="*/ 49451 w 257174"/>
                <a:gd name="connsiteY778" fmla="*/ 179084 h 482956"/>
                <a:gd name="connsiteX779" fmla="*/ 54670 w 257174"/>
                <a:gd name="connsiteY779" fmla="*/ 160367 h 482956"/>
                <a:gd name="connsiteX780" fmla="*/ 55752 w 257174"/>
                <a:gd name="connsiteY780" fmla="*/ 154488 h 482956"/>
                <a:gd name="connsiteX781" fmla="*/ 57234 w 257174"/>
                <a:gd name="connsiteY781" fmla="*/ 150185 h 482956"/>
                <a:gd name="connsiteX782" fmla="*/ 58245 w 257174"/>
                <a:gd name="connsiteY782" fmla="*/ 144682 h 482956"/>
                <a:gd name="connsiteX783" fmla="*/ 58456 w 257174"/>
                <a:gd name="connsiteY783" fmla="*/ 144400 h 482956"/>
                <a:gd name="connsiteX784" fmla="*/ 58903 w 257174"/>
                <a:gd name="connsiteY784" fmla="*/ 144118 h 482956"/>
                <a:gd name="connsiteX785" fmla="*/ 58950 w 257174"/>
                <a:gd name="connsiteY785" fmla="*/ 146117 h 482956"/>
                <a:gd name="connsiteX786" fmla="*/ 58903 w 257174"/>
                <a:gd name="connsiteY786" fmla="*/ 146752 h 482956"/>
                <a:gd name="connsiteX787" fmla="*/ 60455 w 257174"/>
                <a:gd name="connsiteY787" fmla="*/ 144353 h 482956"/>
                <a:gd name="connsiteX788" fmla="*/ 61583 w 257174"/>
                <a:gd name="connsiteY788" fmla="*/ 143506 h 482956"/>
                <a:gd name="connsiteX789" fmla="*/ 62689 w 257174"/>
                <a:gd name="connsiteY789" fmla="*/ 144118 h 482956"/>
                <a:gd name="connsiteX790" fmla="*/ 63159 w 257174"/>
                <a:gd name="connsiteY790" fmla="*/ 144118 h 482956"/>
                <a:gd name="connsiteX791" fmla="*/ 63159 w 257174"/>
                <a:gd name="connsiteY791" fmla="*/ 143531 h 482956"/>
                <a:gd name="connsiteX792" fmla="*/ 62971 w 257174"/>
                <a:gd name="connsiteY792" fmla="*/ 143295 h 482956"/>
                <a:gd name="connsiteX793" fmla="*/ 62642 w 257174"/>
                <a:gd name="connsiteY793" fmla="*/ 142754 h 482956"/>
                <a:gd name="connsiteX794" fmla="*/ 62454 w 257174"/>
                <a:gd name="connsiteY794" fmla="*/ 142119 h 482956"/>
                <a:gd name="connsiteX795" fmla="*/ 62665 w 257174"/>
                <a:gd name="connsiteY795" fmla="*/ 141579 h 482956"/>
                <a:gd name="connsiteX796" fmla="*/ 63418 w 257174"/>
                <a:gd name="connsiteY796" fmla="*/ 141178 h 482956"/>
                <a:gd name="connsiteX797" fmla="*/ 63865 w 257174"/>
                <a:gd name="connsiteY797" fmla="*/ 141461 h 482956"/>
                <a:gd name="connsiteX798" fmla="*/ 64170 w 257174"/>
                <a:gd name="connsiteY798" fmla="*/ 141955 h 482956"/>
                <a:gd name="connsiteX799" fmla="*/ 64546 w 257174"/>
                <a:gd name="connsiteY799" fmla="*/ 142237 h 482956"/>
                <a:gd name="connsiteX800" fmla="*/ 65322 w 257174"/>
                <a:gd name="connsiteY800" fmla="*/ 141955 h 482956"/>
                <a:gd name="connsiteX801" fmla="*/ 65981 w 257174"/>
                <a:gd name="connsiteY801" fmla="*/ 141249 h 482956"/>
                <a:gd name="connsiteX802" fmla="*/ 66922 w 257174"/>
                <a:gd name="connsiteY802" fmla="*/ 139650 h 482956"/>
                <a:gd name="connsiteX803" fmla="*/ 65675 w 257174"/>
                <a:gd name="connsiteY803" fmla="*/ 138969 h 482956"/>
                <a:gd name="connsiteX804" fmla="*/ 64993 w 257174"/>
                <a:gd name="connsiteY804" fmla="*/ 137840 h 482956"/>
                <a:gd name="connsiteX805" fmla="*/ 65205 w 257174"/>
                <a:gd name="connsiteY805" fmla="*/ 136829 h 482956"/>
                <a:gd name="connsiteX806" fmla="*/ 66663 w 257174"/>
                <a:gd name="connsiteY806" fmla="*/ 136382 h 482956"/>
                <a:gd name="connsiteX807" fmla="*/ 68473 w 257174"/>
                <a:gd name="connsiteY807" fmla="*/ 136217 h 482956"/>
                <a:gd name="connsiteX808" fmla="*/ 69884 w 257174"/>
                <a:gd name="connsiteY808" fmla="*/ 135723 h 482956"/>
                <a:gd name="connsiteX809" fmla="*/ 71107 w 257174"/>
                <a:gd name="connsiteY809" fmla="*/ 134924 h 482956"/>
                <a:gd name="connsiteX810" fmla="*/ 72329 w 257174"/>
                <a:gd name="connsiteY810" fmla="*/ 133842 h 482956"/>
                <a:gd name="connsiteX811" fmla="*/ 71013 w 257174"/>
                <a:gd name="connsiteY811" fmla="*/ 133936 h 482956"/>
                <a:gd name="connsiteX812" fmla="*/ 69038 w 257174"/>
                <a:gd name="connsiteY812" fmla="*/ 134854 h 482956"/>
                <a:gd name="connsiteX813" fmla="*/ 67368 w 257174"/>
                <a:gd name="connsiteY813" fmla="*/ 135159 h 482956"/>
                <a:gd name="connsiteX814" fmla="*/ 67063 w 257174"/>
                <a:gd name="connsiteY814" fmla="*/ 135347 h 482956"/>
                <a:gd name="connsiteX815" fmla="*/ 66640 w 257174"/>
                <a:gd name="connsiteY815" fmla="*/ 135347 h 482956"/>
                <a:gd name="connsiteX816" fmla="*/ 64829 w 257174"/>
                <a:gd name="connsiteY816" fmla="*/ 134618 h 482956"/>
                <a:gd name="connsiteX817" fmla="*/ 64264 w 257174"/>
                <a:gd name="connsiteY817" fmla="*/ 133842 h 482956"/>
                <a:gd name="connsiteX818" fmla="*/ 63629 w 257174"/>
                <a:gd name="connsiteY818" fmla="*/ 131232 h 482956"/>
                <a:gd name="connsiteX819" fmla="*/ 66616 w 257174"/>
                <a:gd name="connsiteY819" fmla="*/ 127399 h 482956"/>
                <a:gd name="connsiteX820" fmla="*/ 65863 w 257174"/>
                <a:gd name="connsiteY820" fmla="*/ 125377 h 482956"/>
                <a:gd name="connsiteX821" fmla="*/ 65722 w 257174"/>
                <a:gd name="connsiteY821" fmla="*/ 126929 h 482956"/>
                <a:gd name="connsiteX822" fmla="*/ 65228 w 257174"/>
                <a:gd name="connsiteY822" fmla="*/ 128223 h 482956"/>
                <a:gd name="connsiteX823" fmla="*/ 64664 w 257174"/>
                <a:gd name="connsiteY823" fmla="*/ 128576 h 482956"/>
                <a:gd name="connsiteX824" fmla="*/ 64264 w 257174"/>
                <a:gd name="connsiteY824" fmla="*/ 127305 h 482956"/>
                <a:gd name="connsiteX825" fmla="*/ 63159 w 257174"/>
                <a:gd name="connsiteY825" fmla="*/ 129234 h 482956"/>
                <a:gd name="connsiteX826" fmla="*/ 62313 w 257174"/>
                <a:gd name="connsiteY826" fmla="*/ 131703 h 482956"/>
                <a:gd name="connsiteX827" fmla="*/ 61772 w 257174"/>
                <a:gd name="connsiteY827" fmla="*/ 134313 h 482956"/>
                <a:gd name="connsiteX828" fmla="*/ 61583 w 257174"/>
                <a:gd name="connsiteY828" fmla="*/ 136711 h 482956"/>
                <a:gd name="connsiteX829" fmla="*/ 61231 w 257174"/>
                <a:gd name="connsiteY829" fmla="*/ 138240 h 482956"/>
                <a:gd name="connsiteX830" fmla="*/ 60385 w 257174"/>
                <a:gd name="connsiteY830" fmla="*/ 140426 h 482956"/>
                <a:gd name="connsiteX831" fmla="*/ 59350 w 257174"/>
                <a:gd name="connsiteY831" fmla="*/ 142472 h 482956"/>
                <a:gd name="connsiteX832" fmla="*/ 58386 w 257174"/>
                <a:gd name="connsiteY832" fmla="*/ 143531 h 482956"/>
                <a:gd name="connsiteX833" fmla="*/ 65863 w 257174"/>
                <a:gd name="connsiteY833" fmla="*/ 111245 h 482956"/>
                <a:gd name="connsiteX834" fmla="*/ 65863 w 257174"/>
                <a:gd name="connsiteY834" fmla="*/ 107765 h 482956"/>
                <a:gd name="connsiteX835" fmla="*/ 64946 w 257174"/>
                <a:gd name="connsiteY835" fmla="*/ 101393 h 482956"/>
                <a:gd name="connsiteX836" fmla="*/ 65017 w 257174"/>
                <a:gd name="connsiteY836" fmla="*/ 98030 h 482956"/>
                <a:gd name="connsiteX837" fmla="*/ 66404 w 257174"/>
                <a:gd name="connsiteY837" fmla="*/ 96714 h 482956"/>
                <a:gd name="connsiteX838" fmla="*/ 66404 w 257174"/>
                <a:gd name="connsiteY838" fmla="*/ 96126 h 482956"/>
                <a:gd name="connsiteX839" fmla="*/ 63465 w 257174"/>
                <a:gd name="connsiteY839" fmla="*/ 95491 h 482956"/>
                <a:gd name="connsiteX840" fmla="*/ 61960 w 257174"/>
                <a:gd name="connsiteY840" fmla="*/ 92881 h 482956"/>
                <a:gd name="connsiteX841" fmla="*/ 60925 w 257174"/>
                <a:gd name="connsiteY841" fmla="*/ 89589 h 482956"/>
                <a:gd name="connsiteX842" fmla="*/ 59468 w 257174"/>
                <a:gd name="connsiteY842" fmla="*/ 86908 h 482956"/>
                <a:gd name="connsiteX843" fmla="*/ 59844 w 257174"/>
                <a:gd name="connsiteY843" fmla="*/ 85638 h 482956"/>
                <a:gd name="connsiteX844" fmla="*/ 59656 w 257174"/>
                <a:gd name="connsiteY844" fmla="*/ 84580 h 482956"/>
                <a:gd name="connsiteX845" fmla="*/ 59232 w 257174"/>
                <a:gd name="connsiteY845" fmla="*/ 83522 h 482956"/>
                <a:gd name="connsiteX846" fmla="*/ 58879 w 257174"/>
                <a:gd name="connsiteY846" fmla="*/ 82323 h 482956"/>
                <a:gd name="connsiteX847" fmla="*/ 58879 w 257174"/>
                <a:gd name="connsiteY847" fmla="*/ 79384 h 482956"/>
                <a:gd name="connsiteX848" fmla="*/ 58527 w 257174"/>
                <a:gd name="connsiteY848" fmla="*/ 78467 h 482956"/>
                <a:gd name="connsiteX849" fmla="*/ 57986 w 257174"/>
                <a:gd name="connsiteY849" fmla="*/ 78208 h 482956"/>
                <a:gd name="connsiteX850" fmla="*/ 57657 w 257174"/>
                <a:gd name="connsiteY850" fmla="*/ 77221 h 482956"/>
                <a:gd name="connsiteX851" fmla="*/ 57374 w 257174"/>
                <a:gd name="connsiteY851" fmla="*/ 76210 h 482956"/>
                <a:gd name="connsiteX852" fmla="*/ 56270 w 257174"/>
                <a:gd name="connsiteY852" fmla="*/ 74493 h 482956"/>
                <a:gd name="connsiteX853" fmla="*/ 55823 w 257174"/>
                <a:gd name="connsiteY853" fmla="*/ 73106 h 482956"/>
                <a:gd name="connsiteX854" fmla="*/ 55823 w 257174"/>
                <a:gd name="connsiteY854" fmla="*/ 71930 h 482956"/>
                <a:gd name="connsiteX855" fmla="*/ 55681 w 257174"/>
                <a:gd name="connsiteY855" fmla="*/ 69178 h 482956"/>
                <a:gd name="connsiteX856" fmla="*/ 56505 w 257174"/>
                <a:gd name="connsiteY856" fmla="*/ 65980 h 482956"/>
                <a:gd name="connsiteX857" fmla="*/ 55587 w 257174"/>
                <a:gd name="connsiteY857" fmla="*/ 63794 h 482956"/>
                <a:gd name="connsiteX858" fmla="*/ 55447 w 257174"/>
                <a:gd name="connsiteY858" fmla="*/ 61795 h 482956"/>
                <a:gd name="connsiteX859" fmla="*/ 55094 w 257174"/>
                <a:gd name="connsiteY859" fmla="*/ 60455 h 482956"/>
                <a:gd name="connsiteX860" fmla="*/ 54882 w 257174"/>
                <a:gd name="connsiteY860" fmla="*/ 58856 h 482956"/>
                <a:gd name="connsiteX861" fmla="*/ 53871 w 257174"/>
                <a:gd name="connsiteY861" fmla="*/ 55940 h 482956"/>
                <a:gd name="connsiteX862" fmla="*/ 53518 w 257174"/>
                <a:gd name="connsiteY862" fmla="*/ 53777 h 482956"/>
                <a:gd name="connsiteX863" fmla="*/ 53001 w 257174"/>
                <a:gd name="connsiteY863" fmla="*/ 52201 h 482956"/>
                <a:gd name="connsiteX864" fmla="*/ 52931 w 257174"/>
                <a:gd name="connsiteY864" fmla="*/ 50461 h 482956"/>
                <a:gd name="connsiteX865" fmla="*/ 52296 w 257174"/>
                <a:gd name="connsiteY865" fmla="*/ 48721 h 482956"/>
                <a:gd name="connsiteX866" fmla="*/ 52155 w 257174"/>
                <a:gd name="connsiteY866" fmla="*/ 46463 h 482956"/>
                <a:gd name="connsiteX867" fmla="*/ 52413 w 257174"/>
                <a:gd name="connsiteY867" fmla="*/ 45382 h 482956"/>
                <a:gd name="connsiteX868" fmla="*/ 54177 w 257174"/>
                <a:gd name="connsiteY868" fmla="*/ 44771 h 482956"/>
                <a:gd name="connsiteX869" fmla="*/ 58974 w 257174"/>
                <a:gd name="connsiteY869" fmla="*/ 44019 h 482956"/>
                <a:gd name="connsiteX870" fmla="*/ 60337 w 257174"/>
                <a:gd name="connsiteY870" fmla="*/ 43430 h 482956"/>
                <a:gd name="connsiteX871" fmla="*/ 61583 w 257174"/>
                <a:gd name="connsiteY871" fmla="*/ 42584 h 482956"/>
                <a:gd name="connsiteX872" fmla="*/ 62665 w 257174"/>
                <a:gd name="connsiteY872" fmla="*/ 41620 h 482956"/>
                <a:gd name="connsiteX873" fmla="*/ 54013 w 257174"/>
                <a:gd name="connsiteY873" fmla="*/ 44019 h 482956"/>
                <a:gd name="connsiteX874" fmla="*/ 52202 w 257174"/>
                <a:gd name="connsiteY874" fmla="*/ 44230 h 482956"/>
                <a:gd name="connsiteX875" fmla="*/ 51190 w 257174"/>
                <a:gd name="connsiteY875" fmla="*/ 44112 h 482956"/>
                <a:gd name="connsiteX876" fmla="*/ 49780 w 257174"/>
                <a:gd name="connsiteY876" fmla="*/ 43290 h 482956"/>
                <a:gd name="connsiteX877" fmla="*/ 48275 w 257174"/>
                <a:gd name="connsiteY877" fmla="*/ 40162 h 482956"/>
                <a:gd name="connsiteX878" fmla="*/ 48275 w 257174"/>
                <a:gd name="connsiteY878" fmla="*/ 37411 h 482956"/>
                <a:gd name="connsiteX879" fmla="*/ 48933 w 257174"/>
                <a:gd name="connsiteY879" fmla="*/ 33085 h 482956"/>
                <a:gd name="connsiteX880" fmla="*/ 48392 w 257174"/>
                <a:gd name="connsiteY880" fmla="*/ 30333 h 482956"/>
                <a:gd name="connsiteX881" fmla="*/ 48722 w 257174"/>
                <a:gd name="connsiteY881" fmla="*/ 29322 h 482956"/>
                <a:gd name="connsiteX882" fmla="*/ 49286 w 257174"/>
                <a:gd name="connsiteY882" fmla="*/ 28405 h 482956"/>
                <a:gd name="connsiteX883" fmla="*/ 54835 w 257174"/>
                <a:gd name="connsiteY883" fmla="*/ 24149 h 482956"/>
                <a:gd name="connsiteX884" fmla="*/ 57468 w 257174"/>
                <a:gd name="connsiteY884" fmla="*/ 21398 h 482956"/>
                <a:gd name="connsiteX885" fmla="*/ 58410 w 257174"/>
                <a:gd name="connsiteY885" fmla="*/ 17823 h 482956"/>
                <a:gd name="connsiteX886" fmla="*/ 59280 w 257174"/>
                <a:gd name="connsiteY886" fmla="*/ 17236 h 482956"/>
                <a:gd name="connsiteX887" fmla="*/ 61043 w 257174"/>
                <a:gd name="connsiteY887" fmla="*/ 16389 h 482956"/>
                <a:gd name="connsiteX888" fmla="*/ 63042 w 257174"/>
                <a:gd name="connsiteY888" fmla="*/ 15825 h 482956"/>
                <a:gd name="connsiteX889" fmla="*/ 64641 w 257174"/>
                <a:gd name="connsiteY889" fmla="*/ 14837 h 482956"/>
                <a:gd name="connsiteX890" fmla="*/ 65228 w 257174"/>
                <a:gd name="connsiteY890" fmla="*/ 13873 h 482956"/>
                <a:gd name="connsiteX891" fmla="*/ 66051 w 257174"/>
                <a:gd name="connsiteY891" fmla="*/ 11804 h 482956"/>
                <a:gd name="connsiteX892" fmla="*/ 66733 w 257174"/>
                <a:gd name="connsiteY892" fmla="*/ 10840 h 482956"/>
                <a:gd name="connsiteX893" fmla="*/ 68074 w 257174"/>
                <a:gd name="connsiteY893" fmla="*/ 9923 h 482956"/>
                <a:gd name="connsiteX894" fmla="*/ 69437 w 257174"/>
                <a:gd name="connsiteY894" fmla="*/ 9664 h 482956"/>
                <a:gd name="connsiteX895" fmla="*/ 72306 w 257174"/>
                <a:gd name="connsiteY895" fmla="*/ 9594 h 482956"/>
                <a:gd name="connsiteX896" fmla="*/ 73740 w 257174"/>
                <a:gd name="connsiteY896" fmla="*/ 9053 h 482956"/>
                <a:gd name="connsiteX897" fmla="*/ 76421 w 257174"/>
                <a:gd name="connsiteY897" fmla="*/ 7336 h 482956"/>
                <a:gd name="connsiteX898" fmla="*/ 77903 w 257174"/>
                <a:gd name="connsiteY898" fmla="*/ 6819 h 482956"/>
                <a:gd name="connsiteX899" fmla="*/ 89989 w 257174"/>
                <a:gd name="connsiteY899" fmla="*/ 5032 h 482956"/>
                <a:gd name="connsiteX900" fmla="*/ 91305 w 257174"/>
                <a:gd name="connsiteY900" fmla="*/ 4374 h 482956"/>
                <a:gd name="connsiteX901" fmla="*/ 93305 w 257174"/>
                <a:gd name="connsiteY901" fmla="*/ 2704 h 482956"/>
                <a:gd name="connsiteX902" fmla="*/ 93986 w 257174"/>
                <a:gd name="connsiteY902" fmla="*/ 2281 h 482956"/>
                <a:gd name="connsiteX903" fmla="*/ 94574 w 257174"/>
                <a:gd name="connsiteY903" fmla="*/ 2140 h 482956"/>
                <a:gd name="connsiteX904" fmla="*/ 95914 w 257174"/>
                <a:gd name="connsiteY904" fmla="*/ 2093 h 482956"/>
                <a:gd name="connsiteX905" fmla="*/ 97349 w 257174"/>
                <a:gd name="connsiteY905" fmla="*/ 1552 h 48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Lst>
              <a:rect l="l" t="t" r="r" b="b"/>
              <a:pathLst>
                <a:path w="257174" h="482956">
                  <a:moveTo>
                    <a:pt x="127941" y="479853"/>
                  </a:moveTo>
                  <a:lnTo>
                    <a:pt x="128129" y="480111"/>
                  </a:lnTo>
                  <a:lnTo>
                    <a:pt x="128105" y="480135"/>
                  </a:lnTo>
                  <a:lnTo>
                    <a:pt x="128246" y="480440"/>
                  </a:lnTo>
                  <a:lnTo>
                    <a:pt x="128458" y="481099"/>
                  </a:lnTo>
                  <a:lnTo>
                    <a:pt x="128011" y="481381"/>
                  </a:lnTo>
                  <a:lnTo>
                    <a:pt x="127941" y="481640"/>
                  </a:lnTo>
                  <a:lnTo>
                    <a:pt x="126506" y="482509"/>
                  </a:lnTo>
                  <a:lnTo>
                    <a:pt x="124531" y="482956"/>
                  </a:lnTo>
                  <a:lnTo>
                    <a:pt x="122367" y="482910"/>
                  </a:lnTo>
                  <a:lnTo>
                    <a:pt x="120463" y="482298"/>
                  </a:lnTo>
                  <a:lnTo>
                    <a:pt x="120463" y="481640"/>
                  </a:lnTo>
                  <a:lnTo>
                    <a:pt x="124507" y="482156"/>
                  </a:lnTo>
                  <a:lnTo>
                    <a:pt x="126059" y="481616"/>
                  </a:lnTo>
                  <a:close/>
                  <a:moveTo>
                    <a:pt x="36024" y="309846"/>
                  </a:moveTo>
                  <a:lnTo>
                    <a:pt x="36071" y="310433"/>
                  </a:lnTo>
                  <a:lnTo>
                    <a:pt x="35530" y="311821"/>
                  </a:lnTo>
                  <a:lnTo>
                    <a:pt x="35554" y="311797"/>
                  </a:lnTo>
                  <a:lnTo>
                    <a:pt x="34519" y="313279"/>
                  </a:lnTo>
                  <a:lnTo>
                    <a:pt x="33061" y="314642"/>
                  </a:lnTo>
                  <a:lnTo>
                    <a:pt x="32544" y="314454"/>
                  </a:lnTo>
                  <a:lnTo>
                    <a:pt x="33179" y="312855"/>
                  </a:lnTo>
                  <a:lnTo>
                    <a:pt x="33955" y="311515"/>
                  </a:lnTo>
                  <a:lnTo>
                    <a:pt x="34849" y="310645"/>
                  </a:lnTo>
                  <a:lnTo>
                    <a:pt x="35342" y="310269"/>
                  </a:lnTo>
                  <a:lnTo>
                    <a:pt x="35554" y="310104"/>
                  </a:lnTo>
                  <a:close/>
                  <a:moveTo>
                    <a:pt x="99700" y="0"/>
                  </a:moveTo>
                  <a:lnTo>
                    <a:pt x="100406" y="917"/>
                  </a:lnTo>
                  <a:lnTo>
                    <a:pt x="101111" y="2398"/>
                  </a:lnTo>
                  <a:lnTo>
                    <a:pt x="100876" y="6561"/>
                  </a:lnTo>
                  <a:lnTo>
                    <a:pt x="101134" y="8136"/>
                  </a:lnTo>
                  <a:lnTo>
                    <a:pt x="102122" y="8864"/>
                  </a:lnTo>
                  <a:lnTo>
                    <a:pt x="103297" y="8559"/>
                  </a:lnTo>
                  <a:lnTo>
                    <a:pt x="104685" y="7948"/>
                  </a:lnTo>
                  <a:lnTo>
                    <a:pt x="106308" y="7807"/>
                  </a:lnTo>
                  <a:lnTo>
                    <a:pt x="107813" y="8395"/>
                  </a:lnTo>
                  <a:lnTo>
                    <a:pt x="109012" y="9453"/>
                  </a:lnTo>
                  <a:lnTo>
                    <a:pt x="109646" y="10887"/>
                  </a:lnTo>
                  <a:lnTo>
                    <a:pt x="109458" y="12557"/>
                  </a:lnTo>
                  <a:lnTo>
                    <a:pt x="108612" y="13779"/>
                  </a:lnTo>
                  <a:lnTo>
                    <a:pt x="107366" y="14743"/>
                  </a:lnTo>
                  <a:lnTo>
                    <a:pt x="105085" y="16107"/>
                  </a:lnTo>
                  <a:lnTo>
                    <a:pt x="102804" y="18176"/>
                  </a:lnTo>
                  <a:lnTo>
                    <a:pt x="99794" y="22291"/>
                  </a:lnTo>
                  <a:lnTo>
                    <a:pt x="99042" y="24032"/>
                  </a:lnTo>
                  <a:lnTo>
                    <a:pt x="98924" y="25819"/>
                  </a:lnTo>
                  <a:lnTo>
                    <a:pt x="99794" y="27535"/>
                  </a:lnTo>
                  <a:lnTo>
                    <a:pt x="102592" y="28546"/>
                  </a:lnTo>
                  <a:lnTo>
                    <a:pt x="103180" y="29299"/>
                  </a:lnTo>
                  <a:lnTo>
                    <a:pt x="103321" y="30569"/>
                  </a:lnTo>
                  <a:lnTo>
                    <a:pt x="102992" y="32897"/>
                  </a:lnTo>
                  <a:lnTo>
                    <a:pt x="102992" y="33085"/>
                  </a:lnTo>
                  <a:lnTo>
                    <a:pt x="109717" y="33484"/>
                  </a:lnTo>
                  <a:lnTo>
                    <a:pt x="113080" y="32590"/>
                  </a:lnTo>
                  <a:lnTo>
                    <a:pt x="113221" y="32544"/>
                  </a:lnTo>
                  <a:lnTo>
                    <a:pt x="115784" y="30074"/>
                  </a:lnTo>
                  <a:lnTo>
                    <a:pt x="116559" y="28922"/>
                  </a:lnTo>
                  <a:lnTo>
                    <a:pt x="117524" y="27982"/>
                  </a:lnTo>
                  <a:lnTo>
                    <a:pt x="118629" y="27512"/>
                  </a:lnTo>
                  <a:lnTo>
                    <a:pt x="119899" y="27700"/>
                  </a:lnTo>
                  <a:lnTo>
                    <a:pt x="121357" y="27652"/>
                  </a:lnTo>
                  <a:lnTo>
                    <a:pt x="122085" y="26406"/>
                  </a:lnTo>
                  <a:lnTo>
                    <a:pt x="122461" y="24807"/>
                  </a:lnTo>
                  <a:lnTo>
                    <a:pt x="122838" y="23702"/>
                  </a:lnTo>
                  <a:lnTo>
                    <a:pt x="124367" y="23162"/>
                  </a:lnTo>
                  <a:lnTo>
                    <a:pt x="124578" y="25771"/>
                  </a:lnTo>
                  <a:lnTo>
                    <a:pt x="125096" y="28546"/>
                  </a:lnTo>
                  <a:lnTo>
                    <a:pt x="127588" y="28546"/>
                  </a:lnTo>
                  <a:lnTo>
                    <a:pt x="128129" y="27982"/>
                  </a:lnTo>
                  <a:lnTo>
                    <a:pt x="128387" y="27370"/>
                  </a:lnTo>
                  <a:lnTo>
                    <a:pt x="128764" y="26853"/>
                  </a:lnTo>
                  <a:lnTo>
                    <a:pt x="129587" y="26594"/>
                  </a:lnTo>
                  <a:lnTo>
                    <a:pt x="131703" y="26713"/>
                  </a:lnTo>
                  <a:lnTo>
                    <a:pt x="136570" y="25631"/>
                  </a:lnTo>
                  <a:lnTo>
                    <a:pt x="138781" y="24596"/>
                  </a:lnTo>
                  <a:lnTo>
                    <a:pt x="140003" y="24878"/>
                  </a:lnTo>
                  <a:lnTo>
                    <a:pt x="142166" y="26312"/>
                  </a:lnTo>
                  <a:lnTo>
                    <a:pt x="143531" y="26924"/>
                  </a:lnTo>
                  <a:lnTo>
                    <a:pt x="147740" y="27088"/>
                  </a:lnTo>
                  <a:lnTo>
                    <a:pt x="146540" y="30122"/>
                  </a:lnTo>
                  <a:lnTo>
                    <a:pt x="146587" y="31015"/>
                  </a:lnTo>
                  <a:lnTo>
                    <a:pt x="147857" y="31674"/>
                  </a:lnTo>
                  <a:lnTo>
                    <a:pt x="149244" y="31815"/>
                  </a:lnTo>
                  <a:lnTo>
                    <a:pt x="150914" y="31579"/>
                  </a:lnTo>
                  <a:lnTo>
                    <a:pt x="152513" y="31062"/>
                  </a:lnTo>
                  <a:lnTo>
                    <a:pt x="153688" y="30287"/>
                  </a:lnTo>
                  <a:lnTo>
                    <a:pt x="154088" y="29581"/>
                  </a:lnTo>
                  <a:lnTo>
                    <a:pt x="154183" y="28922"/>
                  </a:lnTo>
                  <a:lnTo>
                    <a:pt x="154323" y="28358"/>
                  </a:lnTo>
                  <a:lnTo>
                    <a:pt x="154911" y="27888"/>
                  </a:lnTo>
                  <a:lnTo>
                    <a:pt x="155523" y="27888"/>
                  </a:lnTo>
                  <a:lnTo>
                    <a:pt x="156699" y="28664"/>
                  </a:lnTo>
                  <a:lnTo>
                    <a:pt x="157451" y="28734"/>
                  </a:lnTo>
                  <a:lnTo>
                    <a:pt x="158532" y="29087"/>
                  </a:lnTo>
                  <a:lnTo>
                    <a:pt x="159543" y="30356"/>
                  </a:lnTo>
                  <a:lnTo>
                    <a:pt x="160296" y="32026"/>
                  </a:lnTo>
                  <a:lnTo>
                    <a:pt x="160625" y="33554"/>
                  </a:lnTo>
                  <a:lnTo>
                    <a:pt x="161660" y="32732"/>
                  </a:lnTo>
                  <a:lnTo>
                    <a:pt x="163541" y="30757"/>
                  </a:lnTo>
                  <a:lnTo>
                    <a:pt x="164599" y="30098"/>
                  </a:lnTo>
                  <a:lnTo>
                    <a:pt x="165775" y="29910"/>
                  </a:lnTo>
                  <a:lnTo>
                    <a:pt x="168620" y="29981"/>
                  </a:lnTo>
                  <a:lnTo>
                    <a:pt x="170031" y="29769"/>
                  </a:lnTo>
                  <a:lnTo>
                    <a:pt x="175580" y="28005"/>
                  </a:lnTo>
                  <a:lnTo>
                    <a:pt x="178143" y="26524"/>
                  </a:lnTo>
                  <a:lnTo>
                    <a:pt x="178872" y="25560"/>
                  </a:lnTo>
                  <a:lnTo>
                    <a:pt x="179765" y="24385"/>
                  </a:lnTo>
                  <a:lnTo>
                    <a:pt x="179954" y="22856"/>
                  </a:lnTo>
                  <a:lnTo>
                    <a:pt x="179437" y="19729"/>
                  </a:lnTo>
                  <a:lnTo>
                    <a:pt x="179601" y="18388"/>
                  </a:lnTo>
                  <a:lnTo>
                    <a:pt x="180165" y="17823"/>
                  </a:lnTo>
                  <a:lnTo>
                    <a:pt x="181364" y="16977"/>
                  </a:lnTo>
                  <a:lnTo>
                    <a:pt x="182752" y="16272"/>
                  </a:lnTo>
                  <a:lnTo>
                    <a:pt x="183880" y="16107"/>
                  </a:lnTo>
                  <a:lnTo>
                    <a:pt x="186396" y="17565"/>
                  </a:lnTo>
                  <a:lnTo>
                    <a:pt x="188772" y="19470"/>
                  </a:lnTo>
                  <a:lnTo>
                    <a:pt x="191241" y="20504"/>
                  </a:lnTo>
                  <a:lnTo>
                    <a:pt x="194015" y="19376"/>
                  </a:lnTo>
                  <a:lnTo>
                    <a:pt x="195849" y="18153"/>
                  </a:lnTo>
                  <a:lnTo>
                    <a:pt x="196555" y="18483"/>
                  </a:lnTo>
                  <a:lnTo>
                    <a:pt x="197636" y="19000"/>
                  </a:lnTo>
                  <a:lnTo>
                    <a:pt x="199541" y="20387"/>
                  </a:lnTo>
                  <a:lnTo>
                    <a:pt x="201728" y="20787"/>
                  </a:lnTo>
                  <a:lnTo>
                    <a:pt x="206595" y="20410"/>
                  </a:lnTo>
                  <a:lnTo>
                    <a:pt x="208453" y="19352"/>
                  </a:lnTo>
                  <a:lnTo>
                    <a:pt x="208946" y="16460"/>
                  </a:lnTo>
                  <a:lnTo>
                    <a:pt x="211345" y="16860"/>
                  </a:lnTo>
                  <a:lnTo>
                    <a:pt x="214190" y="20927"/>
                  </a:lnTo>
                  <a:lnTo>
                    <a:pt x="216541" y="21562"/>
                  </a:lnTo>
                  <a:lnTo>
                    <a:pt x="222114" y="21351"/>
                  </a:lnTo>
                  <a:lnTo>
                    <a:pt x="224771" y="20598"/>
                  </a:lnTo>
                  <a:lnTo>
                    <a:pt x="225807" y="18529"/>
                  </a:lnTo>
                  <a:lnTo>
                    <a:pt x="227711" y="19282"/>
                  </a:lnTo>
                  <a:lnTo>
                    <a:pt x="228769" y="20458"/>
                  </a:lnTo>
                  <a:lnTo>
                    <a:pt x="229074" y="22057"/>
                  </a:lnTo>
                  <a:lnTo>
                    <a:pt x="228440" y="26218"/>
                  </a:lnTo>
                  <a:lnTo>
                    <a:pt x="229051" y="26900"/>
                  </a:lnTo>
                  <a:lnTo>
                    <a:pt x="230438" y="27088"/>
                  </a:lnTo>
                  <a:lnTo>
                    <a:pt x="232461" y="27700"/>
                  </a:lnTo>
                  <a:lnTo>
                    <a:pt x="231567" y="29510"/>
                  </a:lnTo>
                  <a:lnTo>
                    <a:pt x="229663" y="37364"/>
                  </a:lnTo>
                  <a:lnTo>
                    <a:pt x="229333" y="38258"/>
                  </a:lnTo>
                  <a:lnTo>
                    <a:pt x="228769" y="39057"/>
                  </a:lnTo>
                  <a:lnTo>
                    <a:pt x="228298" y="39974"/>
                  </a:lnTo>
                  <a:lnTo>
                    <a:pt x="228534" y="40797"/>
                  </a:lnTo>
                  <a:lnTo>
                    <a:pt x="229051" y="41644"/>
                  </a:lnTo>
                  <a:lnTo>
                    <a:pt x="229404" y="42537"/>
                  </a:lnTo>
                  <a:lnTo>
                    <a:pt x="229615" y="44324"/>
                  </a:lnTo>
                  <a:lnTo>
                    <a:pt x="230015" y="46205"/>
                  </a:lnTo>
                  <a:lnTo>
                    <a:pt x="231097" y="47734"/>
                  </a:lnTo>
                  <a:lnTo>
                    <a:pt x="233307" y="48510"/>
                  </a:lnTo>
                  <a:lnTo>
                    <a:pt x="234106" y="48298"/>
                  </a:lnTo>
                  <a:lnTo>
                    <a:pt x="235282" y="47757"/>
                  </a:lnTo>
                  <a:lnTo>
                    <a:pt x="236364" y="47075"/>
                  </a:lnTo>
                  <a:lnTo>
                    <a:pt x="236881" y="46488"/>
                  </a:lnTo>
                  <a:lnTo>
                    <a:pt x="237422" y="46088"/>
                  </a:lnTo>
                  <a:lnTo>
                    <a:pt x="238504" y="46088"/>
                  </a:lnTo>
                  <a:lnTo>
                    <a:pt x="244852" y="47311"/>
                  </a:lnTo>
                  <a:lnTo>
                    <a:pt x="248662" y="48603"/>
                  </a:lnTo>
                  <a:lnTo>
                    <a:pt x="252165" y="50697"/>
                  </a:lnTo>
                  <a:lnTo>
                    <a:pt x="255458" y="53894"/>
                  </a:lnTo>
                  <a:lnTo>
                    <a:pt x="256539" y="55328"/>
                  </a:lnTo>
                  <a:lnTo>
                    <a:pt x="256374" y="55353"/>
                  </a:lnTo>
                  <a:lnTo>
                    <a:pt x="257174" y="56293"/>
                  </a:lnTo>
                  <a:lnTo>
                    <a:pt x="253435" y="61349"/>
                  </a:lnTo>
                  <a:lnTo>
                    <a:pt x="251413" y="63324"/>
                  </a:lnTo>
                  <a:lnTo>
                    <a:pt x="250919" y="64312"/>
                  </a:lnTo>
                  <a:lnTo>
                    <a:pt x="250966" y="65063"/>
                  </a:lnTo>
                  <a:lnTo>
                    <a:pt x="251178" y="65698"/>
                  </a:lnTo>
                  <a:lnTo>
                    <a:pt x="251131" y="66333"/>
                  </a:lnTo>
                  <a:lnTo>
                    <a:pt x="248144" y="70730"/>
                  </a:lnTo>
                  <a:lnTo>
                    <a:pt x="248144" y="71554"/>
                  </a:lnTo>
                  <a:lnTo>
                    <a:pt x="245699" y="71718"/>
                  </a:lnTo>
                  <a:lnTo>
                    <a:pt x="244618" y="72095"/>
                  </a:lnTo>
                  <a:lnTo>
                    <a:pt x="243606" y="72847"/>
                  </a:lnTo>
                  <a:lnTo>
                    <a:pt x="243841" y="72894"/>
                  </a:lnTo>
                  <a:lnTo>
                    <a:pt x="243889" y="73458"/>
                  </a:lnTo>
                  <a:lnTo>
                    <a:pt x="243795" y="74210"/>
                  </a:lnTo>
                  <a:lnTo>
                    <a:pt x="243606" y="74728"/>
                  </a:lnTo>
                  <a:lnTo>
                    <a:pt x="243301" y="74822"/>
                  </a:lnTo>
                  <a:lnTo>
                    <a:pt x="242336" y="74634"/>
                  </a:lnTo>
                  <a:lnTo>
                    <a:pt x="242008" y="74728"/>
                  </a:lnTo>
                  <a:lnTo>
                    <a:pt x="239538" y="78396"/>
                  </a:lnTo>
                  <a:lnTo>
                    <a:pt x="237022" y="80771"/>
                  </a:lnTo>
                  <a:lnTo>
                    <a:pt x="234459" y="82605"/>
                  </a:lnTo>
                  <a:lnTo>
                    <a:pt x="229874" y="84463"/>
                  </a:lnTo>
                  <a:lnTo>
                    <a:pt x="229168" y="84933"/>
                  </a:lnTo>
                  <a:lnTo>
                    <a:pt x="224043" y="85004"/>
                  </a:lnTo>
                  <a:lnTo>
                    <a:pt x="222655" y="85215"/>
                  </a:lnTo>
                  <a:lnTo>
                    <a:pt x="221762" y="86156"/>
                  </a:lnTo>
                  <a:lnTo>
                    <a:pt x="218987" y="90012"/>
                  </a:lnTo>
                  <a:lnTo>
                    <a:pt x="218399" y="91423"/>
                  </a:lnTo>
                  <a:lnTo>
                    <a:pt x="217952" y="92199"/>
                  </a:lnTo>
                  <a:lnTo>
                    <a:pt x="215178" y="94386"/>
                  </a:lnTo>
                  <a:lnTo>
                    <a:pt x="214167" y="95608"/>
                  </a:lnTo>
                  <a:lnTo>
                    <a:pt x="213884" y="96267"/>
                  </a:lnTo>
                  <a:lnTo>
                    <a:pt x="214073" y="98618"/>
                  </a:lnTo>
                  <a:lnTo>
                    <a:pt x="213438" y="100358"/>
                  </a:lnTo>
                  <a:lnTo>
                    <a:pt x="210334" y="104567"/>
                  </a:lnTo>
                  <a:lnTo>
                    <a:pt x="209252" y="105555"/>
                  </a:lnTo>
                  <a:lnTo>
                    <a:pt x="207113" y="105767"/>
                  </a:lnTo>
                  <a:lnTo>
                    <a:pt x="202292" y="105366"/>
                  </a:lnTo>
                  <a:lnTo>
                    <a:pt x="200670" y="106143"/>
                  </a:lnTo>
                  <a:lnTo>
                    <a:pt x="200646" y="106143"/>
                  </a:lnTo>
                  <a:lnTo>
                    <a:pt x="200340" y="107930"/>
                  </a:lnTo>
                  <a:lnTo>
                    <a:pt x="199494" y="109176"/>
                  </a:lnTo>
                  <a:lnTo>
                    <a:pt x="199659" y="110375"/>
                  </a:lnTo>
                  <a:lnTo>
                    <a:pt x="200434" y="111457"/>
                  </a:lnTo>
                  <a:lnTo>
                    <a:pt x="202903" y="113855"/>
                  </a:lnTo>
                  <a:lnTo>
                    <a:pt x="204008" y="115548"/>
                  </a:lnTo>
                  <a:lnTo>
                    <a:pt x="205701" y="119405"/>
                  </a:lnTo>
                  <a:lnTo>
                    <a:pt x="206360" y="121403"/>
                  </a:lnTo>
                  <a:lnTo>
                    <a:pt x="206995" y="122179"/>
                  </a:lnTo>
                  <a:lnTo>
                    <a:pt x="208171" y="122461"/>
                  </a:lnTo>
                  <a:lnTo>
                    <a:pt x="209017" y="123026"/>
                  </a:lnTo>
                  <a:lnTo>
                    <a:pt x="209393" y="124296"/>
                  </a:lnTo>
                  <a:lnTo>
                    <a:pt x="209065" y="125495"/>
                  </a:lnTo>
                  <a:lnTo>
                    <a:pt x="207794" y="125871"/>
                  </a:lnTo>
                  <a:lnTo>
                    <a:pt x="207677" y="128269"/>
                  </a:lnTo>
                  <a:lnTo>
                    <a:pt x="207771" y="128904"/>
                  </a:lnTo>
                  <a:lnTo>
                    <a:pt x="208029" y="129916"/>
                  </a:lnTo>
                  <a:lnTo>
                    <a:pt x="207959" y="130433"/>
                  </a:lnTo>
                  <a:lnTo>
                    <a:pt x="207747" y="130950"/>
                  </a:lnTo>
                  <a:lnTo>
                    <a:pt x="207606" y="131891"/>
                  </a:lnTo>
                  <a:lnTo>
                    <a:pt x="207606" y="133725"/>
                  </a:lnTo>
                  <a:lnTo>
                    <a:pt x="207771" y="135065"/>
                  </a:lnTo>
                  <a:lnTo>
                    <a:pt x="208758" y="138145"/>
                  </a:lnTo>
                  <a:lnTo>
                    <a:pt x="209393" y="141297"/>
                  </a:lnTo>
                  <a:lnTo>
                    <a:pt x="209534" y="142990"/>
                  </a:lnTo>
                  <a:lnTo>
                    <a:pt x="209534" y="144141"/>
                  </a:lnTo>
                  <a:lnTo>
                    <a:pt x="208994" y="145740"/>
                  </a:lnTo>
                  <a:lnTo>
                    <a:pt x="207183" y="148797"/>
                  </a:lnTo>
                  <a:lnTo>
                    <a:pt x="206712" y="150279"/>
                  </a:lnTo>
                  <a:lnTo>
                    <a:pt x="206877" y="151924"/>
                  </a:lnTo>
                  <a:lnTo>
                    <a:pt x="207559" y="152889"/>
                  </a:lnTo>
                  <a:lnTo>
                    <a:pt x="208429" y="153736"/>
                  </a:lnTo>
                  <a:lnTo>
                    <a:pt x="209252" y="155029"/>
                  </a:lnTo>
                  <a:lnTo>
                    <a:pt x="209675" y="156651"/>
                  </a:lnTo>
                  <a:lnTo>
                    <a:pt x="209464" y="157803"/>
                  </a:lnTo>
                  <a:lnTo>
                    <a:pt x="207630" y="160179"/>
                  </a:lnTo>
                  <a:lnTo>
                    <a:pt x="206196" y="163494"/>
                  </a:lnTo>
                  <a:lnTo>
                    <a:pt x="206642" y="166574"/>
                  </a:lnTo>
                  <a:lnTo>
                    <a:pt x="208453" y="169302"/>
                  </a:lnTo>
                  <a:lnTo>
                    <a:pt x="211086" y="171583"/>
                  </a:lnTo>
                  <a:lnTo>
                    <a:pt x="209722" y="173840"/>
                  </a:lnTo>
                  <a:lnTo>
                    <a:pt x="209040" y="174499"/>
                  </a:lnTo>
                  <a:lnTo>
                    <a:pt x="205678" y="176802"/>
                  </a:lnTo>
                  <a:lnTo>
                    <a:pt x="205184" y="177297"/>
                  </a:lnTo>
                  <a:lnTo>
                    <a:pt x="204902" y="178025"/>
                  </a:lnTo>
                  <a:lnTo>
                    <a:pt x="204855" y="178825"/>
                  </a:lnTo>
                  <a:lnTo>
                    <a:pt x="204808" y="179577"/>
                  </a:lnTo>
                  <a:lnTo>
                    <a:pt x="204573" y="180142"/>
                  </a:lnTo>
                  <a:lnTo>
                    <a:pt x="203138" y="181059"/>
                  </a:lnTo>
                  <a:lnTo>
                    <a:pt x="201610" y="181153"/>
                  </a:lnTo>
                  <a:lnTo>
                    <a:pt x="200081" y="181011"/>
                  </a:lnTo>
                  <a:lnTo>
                    <a:pt x="199564" y="181105"/>
                  </a:lnTo>
                  <a:lnTo>
                    <a:pt x="198577" y="181247"/>
                  </a:lnTo>
                  <a:lnTo>
                    <a:pt x="195214" y="183269"/>
                  </a:lnTo>
                  <a:lnTo>
                    <a:pt x="193803" y="183857"/>
                  </a:lnTo>
                  <a:lnTo>
                    <a:pt x="193098" y="184727"/>
                  </a:lnTo>
                  <a:lnTo>
                    <a:pt x="192322" y="186890"/>
                  </a:lnTo>
                  <a:lnTo>
                    <a:pt x="191663" y="187995"/>
                  </a:lnTo>
                  <a:lnTo>
                    <a:pt x="192298" y="189359"/>
                  </a:lnTo>
                  <a:lnTo>
                    <a:pt x="192863" y="192557"/>
                  </a:lnTo>
                  <a:lnTo>
                    <a:pt x="193803" y="193827"/>
                  </a:lnTo>
                  <a:lnTo>
                    <a:pt x="194744" y="194085"/>
                  </a:lnTo>
                  <a:lnTo>
                    <a:pt x="196813" y="194368"/>
                  </a:lnTo>
                  <a:lnTo>
                    <a:pt x="197659" y="194650"/>
                  </a:lnTo>
                  <a:lnTo>
                    <a:pt x="198506" y="195356"/>
                  </a:lnTo>
                  <a:lnTo>
                    <a:pt x="199564" y="196907"/>
                  </a:lnTo>
                  <a:lnTo>
                    <a:pt x="201304" y="198906"/>
                  </a:lnTo>
                  <a:lnTo>
                    <a:pt x="204455" y="204126"/>
                  </a:lnTo>
                  <a:lnTo>
                    <a:pt x="203115" y="206196"/>
                  </a:lnTo>
                  <a:lnTo>
                    <a:pt x="202739" y="207183"/>
                  </a:lnTo>
                  <a:lnTo>
                    <a:pt x="202880" y="208194"/>
                  </a:lnTo>
                  <a:lnTo>
                    <a:pt x="202574" y="209017"/>
                  </a:lnTo>
                  <a:lnTo>
                    <a:pt x="202127" y="211322"/>
                  </a:lnTo>
                  <a:lnTo>
                    <a:pt x="201892" y="211697"/>
                  </a:lnTo>
                  <a:lnTo>
                    <a:pt x="201140" y="212215"/>
                  </a:lnTo>
                  <a:lnTo>
                    <a:pt x="200905" y="212639"/>
                  </a:lnTo>
                  <a:lnTo>
                    <a:pt x="200905" y="213155"/>
                  </a:lnTo>
                  <a:lnTo>
                    <a:pt x="201163" y="214096"/>
                  </a:lnTo>
                  <a:lnTo>
                    <a:pt x="201163" y="214566"/>
                  </a:lnTo>
                  <a:lnTo>
                    <a:pt x="201022" y="215389"/>
                  </a:lnTo>
                  <a:lnTo>
                    <a:pt x="200975" y="216941"/>
                  </a:lnTo>
                  <a:lnTo>
                    <a:pt x="200693" y="217835"/>
                  </a:lnTo>
                  <a:lnTo>
                    <a:pt x="198718" y="220539"/>
                  </a:lnTo>
                  <a:lnTo>
                    <a:pt x="197966" y="220938"/>
                  </a:lnTo>
                  <a:lnTo>
                    <a:pt x="196179" y="221621"/>
                  </a:lnTo>
                  <a:lnTo>
                    <a:pt x="195567" y="222091"/>
                  </a:lnTo>
                  <a:lnTo>
                    <a:pt x="195003" y="223360"/>
                  </a:lnTo>
                  <a:lnTo>
                    <a:pt x="195097" y="224372"/>
                  </a:lnTo>
                  <a:lnTo>
                    <a:pt x="195426" y="225241"/>
                  </a:lnTo>
                  <a:lnTo>
                    <a:pt x="195544" y="226018"/>
                  </a:lnTo>
                  <a:lnTo>
                    <a:pt x="195238" y="226911"/>
                  </a:lnTo>
                  <a:lnTo>
                    <a:pt x="194321" y="228439"/>
                  </a:lnTo>
                  <a:lnTo>
                    <a:pt x="193945" y="229310"/>
                  </a:lnTo>
                  <a:lnTo>
                    <a:pt x="193945" y="230180"/>
                  </a:lnTo>
                  <a:lnTo>
                    <a:pt x="194179" y="230815"/>
                  </a:lnTo>
                  <a:lnTo>
                    <a:pt x="194273" y="231496"/>
                  </a:lnTo>
                  <a:lnTo>
                    <a:pt x="193356" y="233496"/>
                  </a:lnTo>
                  <a:lnTo>
                    <a:pt x="192228" y="233918"/>
                  </a:lnTo>
                  <a:lnTo>
                    <a:pt x="180729" y="235258"/>
                  </a:lnTo>
                  <a:lnTo>
                    <a:pt x="178284" y="235164"/>
                  </a:lnTo>
                  <a:lnTo>
                    <a:pt x="176591" y="234201"/>
                  </a:lnTo>
                  <a:lnTo>
                    <a:pt x="175251" y="234600"/>
                  </a:lnTo>
                  <a:lnTo>
                    <a:pt x="172123" y="234507"/>
                  </a:lnTo>
                  <a:lnTo>
                    <a:pt x="170666" y="234789"/>
                  </a:lnTo>
                  <a:lnTo>
                    <a:pt x="169372" y="235306"/>
                  </a:lnTo>
                  <a:lnTo>
                    <a:pt x="168314" y="235588"/>
                  </a:lnTo>
                  <a:lnTo>
                    <a:pt x="151431" y="234836"/>
                  </a:lnTo>
                  <a:lnTo>
                    <a:pt x="151548" y="235071"/>
                  </a:lnTo>
                  <a:lnTo>
                    <a:pt x="152137" y="236387"/>
                  </a:lnTo>
                  <a:lnTo>
                    <a:pt x="154676" y="242854"/>
                  </a:lnTo>
                  <a:lnTo>
                    <a:pt x="156087" y="244053"/>
                  </a:lnTo>
                  <a:lnTo>
                    <a:pt x="158415" y="246898"/>
                  </a:lnTo>
                  <a:lnTo>
                    <a:pt x="159732" y="248050"/>
                  </a:lnTo>
                  <a:lnTo>
                    <a:pt x="162365" y="249320"/>
                  </a:lnTo>
                  <a:lnTo>
                    <a:pt x="163047" y="250120"/>
                  </a:lnTo>
                  <a:lnTo>
                    <a:pt x="163799" y="252142"/>
                  </a:lnTo>
                  <a:lnTo>
                    <a:pt x="164998" y="253036"/>
                  </a:lnTo>
                  <a:lnTo>
                    <a:pt x="166668" y="253764"/>
                  </a:lnTo>
                  <a:lnTo>
                    <a:pt x="169960" y="254564"/>
                  </a:lnTo>
                  <a:lnTo>
                    <a:pt x="170524" y="255481"/>
                  </a:lnTo>
                  <a:lnTo>
                    <a:pt x="170524" y="257456"/>
                  </a:lnTo>
                  <a:lnTo>
                    <a:pt x="170101" y="259572"/>
                  </a:lnTo>
                  <a:lnTo>
                    <a:pt x="169490" y="260913"/>
                  </a:lnTo>
                  <a:lnTo>
                    <a:pt x="169090" y="262230"/>
                  </a:lnTo>
                  <a:lnTo>
                    <a:pt x="169137" y="264275"/>
                  </a:lnTo>
                  <a:lnTo>
                    <a:pt x="169514" y="266250"/>
                  </a:lnTo>
                  <a:lnTo>
                    <a:pt x="170101" y="267356"/>
                  </a:lnTo>
                  <a:lnTo>
                    <a:pt x="171559" y="268437"/>
                  </a:lnTo>
                  <a:lnTo>
                    <a:pt x="175439" y="272811"/>
                  </a:lnTo>
                  <a:lnTo>
                    <a:pt x="174381" y="274504"/>
                  </a:lnTo>
                  <a:lnTo>
                    <a:pt x="174287" y="276432"/>
                  </a:lnTo>
                  <a:lnTo>
                    <a:pt x="174875" y="278290"/>
                  </a:lnTo>
                  <a:lnTo>
                    <a:pt x="175980" y="279747"/>
                  </a:lnTo>
                  <a:lnTo>
                    <a:pt x="177908" y="280735"/>
                  </a:lnTo>
                  <a:lnTo>
                    <a:pt x="180071" y="281252"/>
                  </a:lnTo>
                  <a:lnTo>
                    <a:pt x="181905" y="282052"/>
                  </a:lnTo>
                  <a:lnTo>
                    <a:pt x="182869" y="283816"/>
                  </a:lnTo>
                  <a:lnTo>
                    <a:pt x="182705" y="284756"/>
                  </a:lnTo>
                  <a:lnTo>
                    <a:pt x="181859" y="286566"/>
                  </a:lnTo>
                  <a:lnTo>
                    <a:pt x="181976" y="287342"/>
                  </a:lnTo>
                  <a:lnTo>
                    <a:pt x="182775" y="288071"/>
                  </a:lnTo>
                  <a:lnTo>
                    <a:pt x="183928" y="288612"/>
                  </a:lnTo>
                  <a:lnTo>
                    <a:pt x="185126" y="288800"/>
                  </a:lnTo>
                  <a:lnTo>
                    <a:pt x="186068" y="288471"/>
                  </a:lnTo>
                  <a:lnTo>
                    <a:pt x="187925" y="287413"/>
                  </a:lnTo>
                  <a:lnTo>
                    <a:pt x="189994" y="287202"/>
                  </a:lnTo>
                  <a:lnTo>
                    <a:pt x="192040" y="287719"/>
                  </a:lnTo>
                  <a:lnTo>
                    <a:pt x="193851" y="288871"/>
                  </a:lnTo>
                  <a:lnTo>
                    <a:pt x="195097" y="290000"/>
                  </a:lnTo>
                  <a:lnTo>
                    <a:pt x="196202" y="291645"/>
                  </a:lnTo>
                  <a:lnTo>
                    <a:pt x="196696" y="293456"/>
                  </a:lnTo>
                  <a:lnTo>
                    <a:pt x="196155" y="295055"/>
                  </a:lnTo>
                  <a:lnTo>
                    <a:pt x="197048" y="295714"/>
                  </a:lnTo>
                  <a:lnTo>
                    <a:pt x="197166" y="296560"/>
                  </a:lnTo>
                  <a:lnTo>
                    <a:pt x="196720" y="297501"/>
                  </a:lnTo>
                  <a:lnTo>
                    <a:pt x="195966" y="298418"/>
                  </a:lnTo>
                  <a:lnTo>
                    <a:pt x="193356" y="303120"/>
                  </a:lnTo>
                  <a:lnTo>
                    <a:pt x="191593" y="305354"/>
                  </a:lnTo>
                  <a:lnTo>
                    <a:pt x="189900" y="306648"/>
                  </a:lnTo>
                  <a:lnTo>
                    <a:pt x="190982" y="308458"/>
                  </a:lnTo>
                  <a:lnTo>
                    <a:pt x="190582" y="309892"/>
                  </a:lnTo>
                  <a:lnTo>
                    <a:pt x="190676" y="311210"/>
                  </a:lnTo>
                  <a:lnTo>
                    <a:pt x="190041" y="311585"/>
                  </a:lnTo>
                  <a:lnTo>
                    <a:pt x="189077" y="312314"/>
                  </a:lnTo>
                  <a:lnTo>
                    <a:pt x="188137" y="313208"/>
                  </a:lnTo>
                  <a:lnTo>
                    <a:pt x="186867" y="313772"/>
                  </a:lnTo>
                  <a:lnTo>
                    <a:pt x="183245" y="314501"/>
                  </a:lnTo>
                  <a:lnTo>
                    <a:pt x="182493" y="315089"/>
                  </a:lnTo>
                  <a:lnTo>
                    <a:pt x="182046" y="315960"/>
                  </a:lnTo>
                  <a:lnTo>
                    <a:pt x="180988" y="317112"/>
                  </a:lnTo>
                  <a:lnTo>
                    <a:pt x="179695" y="318122"/>
                  </a:lnTo>
                  <a:lnTo>
                    <a:pt x="178519" y="318546"/>
                  </a:lnTo>
                  <a:lnTo>
                    <a:pt x="177391" y="319392"/>
                  </a:lnTo>
                  <a:lnTo>
                    <a:pt x="173911" y="322026"/>
                  </a:lnTo>
                  <a:lnTo>
                    <a:pt x="173769" y="322355"/>
                  </a:lnTo>
                  <a:lnTo>
                    <a:pt x="173111" y="323578"/>
                  </a:lnTo>
                  <a:lnTo>
                    <a:pt x="172852" y="324236"/>
                  </a:lnTo>
                  <a:lnTo>
                    <a:pt x="172311" y="327363"/>
                  </a:lnTo>
                  <a:lnTo>
                    <a:pt x="172147" y="329457"/>
                  </a:lnTo>
                  <a:lnTo>
                    <a:pt x="172194" y="330397"/>
                  </a:lnTo>
                  <a:lnTo>
                    <a:pt x="172311" y="331126"/>
                  </a:lnTo>
                  <a:lnTo>
                    <a:pt x="172687" y="331690"/>
                  </a:lnTo>
                  <a:lnTo>
                    <a:pt x="173205" y="331973"/>
                  </a:lnTo>
                  <a:lnTo>
                    <a:pt x="173675" y="332301"/>
                  </a:lnTo>
                  <a:lnTo>
                    <a:pt x="173911" y="333007"/>
                  </a:lnTo>
                  <a:lnTo>
                    <a:pt x="173487" y="334276"/>
                  </a:lnTo>
                  <a:lnTo>
                    <a:pt x="170219" y="338650"/>
                  </a:lnTo>
                  <a:lnTo>
                    <a:pt x="168808" y="343259"/>
                  </a:lnTo>
                  <a:lnTo>
                    <a:pt x="168032" y="344341"/>
                  </a:lnTo>
                  <a:lnTo>
                    <a:pt x="168925" y="345540"/>
                  </a:lnTo>
                  <a:lnTo>
                    <a:pt x="168831" y="346598"/>
                  </a:lnTo>
                  <a:lnTo>
                    <a:pt x="168079" y="347633"/>
                  </a:lnTo>
                  <a:lnTo>
                    <a:pt x="166950" y="348738"/>
                  </a:lnTo>
                  <a:lnTo>
                    <a:pt x="168032" y="349232"/>
                  </a:lnTo>
                  <a:lnTo>
                    <a:pt x="170242" y="350736"/>
                  </a:lnTo>
                  <a:lnTo>
                    <a:pt x="178519" y="360519"/>
                  </a:lnTo>
                  <a:lnTo>
                    <a:pt x="178848" y="361060"/>
                  </a:lnTo>
                  <a:lnTo>
                    <a:pt x="179343" y="362282"/>
                  </a:lnTo>
                  <a:lnTo>
                    <a:pt x="179671" y="362870"/>
                  </a:lnTo>
                  <a:lnTo>
                    <a:pt x="180212" y="363363"/>
                  </a:lnTo>
                  <a:lnTo>
                    <a:pt x="181552" y="364281"/>
                  </a:lnTo>
                  <a:lnTo>
                    <a:pt x="181953" y="364680"/>
                  </a:lnTo>
                  <a:lnTo>
                    <a:pt x="185103" y="372088"/>
                  </a:lnTo>
                  <a:lnTo>
                    <a:pt x="185879" y="372745"/>
                  </a:lnTo>
                  <a:lnTo>
                    <a:pt x="186937" y="373687"/>
                  </a:lnTo>
                  <a:lnTo>
                    <a:pt x="188137" y="373687"/>
                  </a:lnTo>
                  <a:lnTo>
                    <a:pt x="190112" y="373310"/>
                  </a:lnTo>
                  <a:lnTo>
                    <a:pt x="192016" y="372511"/>
                  </a:lnTo>
                  <a:lnTo>
                    <a:pt x="192980" y="371288"/>
                  </a:lnTo>
                  <a:lnTo>
                    <a:pt x="193404" y="371429"/>
                  </a:lnTo>
                  <a:lnTo>
                    <a:pt x="193638" y="371429"/>
                  </a:lnTo>
                  <a:lnTo>
                    <a:pt x="195684" y="370865"/>
                  </a:lnTo>
                  <a:lnTo>
                    <a:pt x="197872" y="370700"/>
                  </a:lnTo>
                  <a:lnTo>
                    <a:pt x="198929" y="371405"/>
                  </a:lnTo>
                  <a:lnTo>
                    <a:pt x="199165" y="371570"/>
                  </a:lnTo>
                  <a:lnTo>
                    <a:pt x="198365" y="374157"/>
                  </a:lnTo>
                  <a:lnTo>
                    <a:pt x="197753" y="375497"/>
                  </a:lnTo>
                  <a:lnTo>
                    <a:pt x="196696" y="378554"/>
                  </a:lnTo>
                  <a:lnTo>
                    <a:pt x="195238" y="381328"/>
                  </a:lnTo>
                  <a:lnTo>
                    <a:pt x="194556" y="384080"/>
                  </a:lnTo>
                  <a:lnTo>
                    <a:pt x="193827" y="385232"/>
                  </a:lnTo>
                  <a:lnTo>
                    <a:pt x="193192" y="387442"/>
                  </a:lnTo>
                  <a:lnTo>
                    <a:pt x="191217" y="387654"/>
                  </a:lnTo>
                  <a:lnTo>
                    <a:pt x="186796" y="385984"/>
                  </a:lnTo>
                  <a:lnTo>
                    <a:pt x="185433" y="385867"/>
                  </a:lnTo>
                  <a:lnTo>
                    <a:pt x="184750" y="386548"/>
                  </a:lnTo>
                  <a:lnTo>
                    <a:pt x="183974" y="388454"/>
                  </a:lnTo>
                  <a:lnTo>
                    <a:pt x="183175" y="389441"/>
                  </a:lnTo>
                  <a:lnTo>
                    <a:pt x="182587" y="389794"/>
                  </a:lnTo>
                  <a:lnTo>
                    <a:pt x="181552" y="390076"/>
                  </a:lnTo>
                  <a:lnTo>
                    <a:pt x="180589" y="390546"/>
                  </a:lnTo>
                  <a:lnTo>
                    <a:pt x="179625" y="390429"/>
                  </a:lnTo>
                  <a:lnTo>
                    <a:pt x="178637" y="390146"/>
                  </a:lnTo>
                  <a:lnTo>
                    <a:pt x="177626" y="390076"/>
                  </a:lnTo>
                  <a:lnTo>
                    <a:pt x="176779" y="390593"/>
                  </a:lnTo>
                  <a:lnTo>
                    <a:pt x="174287" y="391063"/>
                  </a:lnTo>
                  <a:lnTo>
                    <a:pt x="173746" y="391604"/>
                  </a:lnTo>
                  <a:lnTo>
                    <a:pt x="173793" y="392333"/>
                  </a:lnTo>
                  <a:lnTo>
                    <a:pt x="174075" y="393203"/>
                  </a:lnTo>
                  <a:lnTo>
                    <a:pt x="174075" y="394144"/>
                  </a:lnTo>
                  <a:lnTo>
                    <a:pt x="173675" y="395742"/>
                  </a:lnTo>
                  <a:lnTo>
                    <a:pt x="171959" y="399975"/>
                  </a:lnTo>
                  <a:lnTo>
                    <a:pt x="171089" y="403079"/>
                  </a:lnTo>
                  <a:lnTo>
                    <a:pt x="168949" y="406606"/>
                  </a:lnTo>
                  <a:lnTo>
                    <a:pt x="161753" y="412155"/>
                  </a:lnTo>
                  <a:lnTo>
                    <a:pt x="160367" y="414013"/>
                  </a:lnTo>
                  <a:lnTo>
                    <a:pt x="159308" y="416741"/>
                  </a:lnTo>
                  <a:lnTo>
                    <a:pt x="158626" y="421091"/>
                  </a:lnTo>
                  <a:lnTo>
                    <a:pt x="158227" y="422454"/>
                  </a:lnTo>
                  <a:lnTo>
                    <a:pt x="157686" y="423160"/>
                  </a:lnTo>
                  <a:lnTo>
                    <a:pt x="155617" y="425206"/>
                  </a:lnTo>
                  <a:lnTo>
                    <a:pt x="154864" y="425652"/>
                  </a:lnTo>
                  <a:lnTo>
                    <a:pt x="155076" y="426217"/>
                  </a:lnTo>
                  <a:lnTo>
                    <a:pt x="155029" y="426663"/>
                  </a:lnTo>
                  <a:lnTo>
                    <a:pt x="154864" y="427064"/>
                  </a:lnTo>
                  <a:lnTo>
                    <a:pt x="154770" y="427510"/>
                  </a:lnTo>
                  <a:lnTo>
                    <a:pt x="153947" y="428380"/>
                  </a:lnTo>
                  <a:lnTo>
                    <a:pt x="153688" y="428757"/>
                  </a:lnTo>
                  <a:lnTo>
                    <a:pt x="153736" y="429697"/>
                  </a:lnTo>
                  <a:lnTo>
                    <a:pt x="153853" y="429791"/>
                  </a:lnTo>
                  <a:lnTo>
                    <a:pt x="154158" y="429791"/>
                  </a:lnTo>
                  <a:lnTo>
                    <a:pt x="154559" y="431037"/>
                  </a:lnTo>
                  <a:lnTo>
                    <a:pt x="154629" y="431648"/>
                  </a:lnTo>
                  <a:lnTo>
                    <a:pt x="154793" y="432189"/>
                  </a:lnTo>
                  <a:lnTo>
                    <a:pt x="154864" y="432283"/>
                  </a:lnTo>
                  <a:lnTo>
                    <a:pt x="155523" y="433200"/>
                  </a:lnTo>
                  <a:lnTo>
                    <a:pt x="156110" y="433788"/>
                  </a:lnTo>
                  <a:lnTo>
                    <a:pt x="157451" y="434823"/>
                  </a:lnTo>
                  <a:lnTo>
                    <a:pt x="157874" y="435364"/>
                  </a:lnTo>
                  <a:lnTo>
                    <a:pt x="158415" y="437057"/>
                  </a:lnTo>
                  <a:lnTo>
                    <a:pt x="158885" y="439244"/>
                  </a:lnTo>
                  <a:lnTo>
                    <a:pt x="159120" y="441242"/>
                  </a:lnTo>
                  <a:lnTo>
                    <a:pt x="158956" y="442254"/>
                  </a:lnTo>
                  <a:lnTo>
                    <a:pt x="160296" y="445052"/>
                  </a:lnTo>
                  <a:lnTo>
                    <a:pt x="160884" y="452223"/>
                  </a:lnTo>
                  <a:lnTo>
                    <a:pt x="161660" y="455186"/>
                  </a:lnTo>
                  <a:lnTo>
                    <a:pt x="161142" y="456550"/>
                  </a:lnTo>
                  <a:lnTo>
                    <a:pt x="161519" y="458572"/>
                  </a:lnTo>
                  <a:lnTo>
                    <a:pt x="162695" y="462523"/>
                  </a:lnTo>
                  <a:lnTo>
                    <a:pt x="162929" y="462969"/>
                  </a:lnTo>
                  <a:lnTo>
                    <a:pt x="163094" y="463345"/>
                  </a:lnTo>
                  <a:lnTo>
                    <a:pt x="163329" y="463627"/>
                  </a:lnTo>
                  <a:lnTo>
                    <a:pt x="163823" y="463792"/>
                  </a:lnTo>
                  <a:lnTo>
                    <a:pt x="163823" y="464357"/>
                  </a:lnTo>
                  <a:lnTo>
                    <a:pt x="163235" y="465038"/>
                  </a:lnTo>
                  <a:lnTo>
                    <a:pt x="161918" y="464122"/>
                  </a:lnTo>
                  <a:lnTo>
                    <a:pt x="160249" y="463698"/>
                  </a:lnTo>
                  <a:lnTo>
                    <a:pt x="158462" y="463627"/>
                  </a:lnTo>
                  <a:lnTo>
                    <a:pt x="156769" y="463792"/>
                  </a:lnTo>
                  <a:lnTo>
                    <a:pt x="155076" y="464404"/>
                  </a:lnTo>
                  <a:lnTo>
                    <a:pt x="151901" y="466426"/>
                  </a:lnTo>
                  <a:lnTo>
                    <a:pt x="150584" y="466849"/>
                  </a:lnTo>
                  <a:lnTo>
                    <a:pt x="146023" y="469600"/>
                  </a:lnTo>
                  <a:lnTo>
                    <a:pt x="145412" y="470376"/>
                  </a:lnTo>
                  <a:lnTo>
                    <a:pt x="133560" y="477807"/>
                  </a:lnTo>
                  <a:lnTo>
                    <a:pt x="130973" y="479947"/>
                  </a:lnTo>
                  <a:lnTo>
                    <a:pt x="129845" y="479947"/>
                  </a:lnTo>
                  <a:lnTo>
                    <a:pt x="128622" y="479452"/>
                  </a:lnTo>
                  <a:lnTo>
                    <a:pt x="126977" y="479147"/>
                  </a:lnTo>
                  <a:lnTo>
                    <a:pt x="122156" y="479077"/>
                  </a:lnTo>
                  <a:lnTo>
                    <a:pt x="120816" y="478583"/>
                  </a:lnTo>
                  <a:lnTo>
                    <a:pt x="120134" y="479617"/>
                  </a:lnTo>
                  <a:lnTo>
                    <a:pt x="119287" y="479523"/>
                  </a:lnTo>
                  <a:lnTo>
                    <a:pt x="118300" y="478959"/>
                  </a:lnTo>
                  <a:lnTo>
                    <a:pt x="117547" y="478606"/>
                  </a:lnTo>
                  <a:lnTo>
                    <a:pt x="118323" y="479711"/>
                  </a:lnTo>
                  <a:lnTo>
                    <a:pt x="118582" y="480299"/>
                  </a:lnTo>
                  <a:lnTo>
                    <a:pt x="118676" y="481075"/>
                  </a:lnTo>
                  <a:lnTo>
                    <a:pt x="116912" y="478701"/>
                  </a:lnTo>
                  <a:lnTo>
                    <a:pt x="114091" y="476537"/>
                  </a:lnTo>
                  <a:lnTo>
                    <a:pt x="108518" y="473668"/>
                  </a:lnTo>
                  <a:lnTo>
                    <a:pt x="105320" y="473010"/>
                  </a:lnTo>
                  <a:lnTo>
                    <a:pt x="102851" y="471976"/>
                  </a:lnTo>
                  <a:lnTo>
                    <a:pt x="100218" y="472069"/>
                  </a:lnTo>
                  <a:lnTo>
                    <a:pt x="93939" y="472893"/>
                  </a:lnTo>
                  <a:lnTo>
                    <a:pt x="91259" y="472022"/>
                  </a:lnTo>
                  <a:lnTo>
                    <a:pt x="88296" y="471082"/>
                  </a:lnTo>
                  <a:lnTo>
                    <a:pt x="85968" y="472046"/>
                  </a:lnTo>
                  <a:lnTo>
                    <a:pt x="82559" y="472446"/>
                  </a:lnTo>
                  <a:lnTo>
                    <a:pt x="79149" y="471270"/>
                  </a:lnTo>
                  <a:lnTo>
                    <a:pt x="79008" y="471411"/>
                  </a:lnTo>
                  <a:lnTo>
                    <a:pt x="74846" y="469271"/>
                  </a:lnTo>
                  <a:lnTo>
                    <a:pt x="71507" y="468730"/>
                  </a:lnTo>
                  <a:lnTo>
                    <a:pt x="67862" y="468989"/>
                  </a:lnTo>
                  <a:lnTo>
                    <a:pt x="66710" y="469295"/>
                  </a:lnTo>
                  <a:lnTo>
                    <a:pt x="65698" y="469976"/>
                  </a:lnTo>
                  <a:lnTo>
                    <a:pt x="63230" y="472422"/>
                  </a:lnTo>
                  <a:lnTo>
                    <a:pt x="58433" y="472422"/>
                  </a:lnTo>
                  <a:lnTo>
                    <a:pt x="57493" y="472657"/>
                  </a:lnTo>
                  <a:lnTo>
                    <a:pt x="55470" y="473832"/>
                  </a:lnTo>
                  <a:lnTo>
                    <a:pt x="54459" y="474256"/>
                  </a:lnTo>
                  <a:lnTo>
                    <a:pt x="53284" y="474350"/>
                  </a:lnTo>
                  <a:lnTo>
                    <a:pt x="51449" y="474797"/>
                  </a:lnTo>
                  <a:lnTo>
                    <a:pt x="49733" y="476208"/>
                  </a:lnTo>
                  <a:lnTo>
                    <a:pt x="48204" y="475644"/>
                  </a:lnTo>
                  <a:lnTo>
                    <a:pt x="46793" y="476937"/>
                  </a:lnTo>
                  <a:lnTo>
                    <a:pt x="46158" y="477407"/>
                  </a:lnTo>
                  <a:lnTo>
                    <a:pt x="45336" y="477689"/>
                  </a:lnTo>
                  <a:lnTo>
                    <a:pt x="43760" y="478912"/>
                  </a:lnTo>
                  <a:lnTo>
                    <a:pt x="42960" y="479194"/>
                  </a:lnTo>
                  <a:lnTo>
                    <a:pt x="41785" y="478795"/>
                  </a:lnTo>
                  <a:lnTo>
                    <a:pt x="40939" y="477995"/>
                  </a:lnTo>
                  <a:lnTo>
                    <a:pt x="40092" y="477501"/>
                  </a:lnTo>
                  <a:lnTo>
                    <a:pt x="38916" y="477972"/>
                  </a:lnTo>
                  <a:lnTo>
                    <a:pt x="39457" y="475455"/>
                  </a:lnTo>
                  <a:lnTo>
                    <a:pt x="39880" y="474209"/>
                  </a:lnTo>
                  <a:lnTo>
                    <a:pt x="40256" y="473668"/>
                  </a:lnTo>
                  <a:lnTo>
                    <a:pt x="43313" y="469224"/>
                  </a:lnTo>
                  <a:lnTo>
                    <a:pt x="44489" y="466755"/>
                  </a:lnTo>
                  <a:lnTo>
                    <a:pt x="45524" y="464615"/>
                  </a:lnTo>
                  <a:lnTo>
                    <a:pt x="44795" y="461935"/>
                  </a:lnTo>
                  <a:lnTo>
                    <a:pt x="46206" y="460712"/>
                  </a:lnTo>
                  <a:lnTo>
                    <a:pt x="48016" y="458972"/>
                  </a:lnTo>
                  <a:lnTo>
                    <a:pt x="49144" y="454998"/>
                  </a:lnTo>
                  <a:lnTo>
                    <a:pt x="48534" y="453422"/>
                  </a:lnTo>
                  <a:lnTo>
                    <a:pt x="47922" y="452012"/>
                  </a:lnTo>
                  <a:lnTo>
                    <a:pt x="49192" y="449731"/>
                  </a:lnTo>
                  <a:lnTo>
                    <a:pt x="51378" y="447474"/>
                  </a:lnTo>
                  <a:lnTo>
                    <a:pt x="51802" y="445287"/>
                  </a:lnTo>
                  <a:lnTo>
                    <a:pt x="53165" y="442277"/>
                  </a:lnTo>
                  <a:lnTo>
                    <a:pt x="54083" y="438209"/>
                  </a:lnTo>
                  <a:lnTo>
                    <a:pt x="54577" y="435787"/>
                  </a:lnTo>
                  <a:lnTo>
                    <a:pt x="54764" y="431648"/>
                  </a:lnTo>
                  <a:lnTo>
                    <a:pt x="54318" y="429508"/>
                  </a:lnTo>
                  <a:lnTo>
                    <a:pt x="53542" y="428074"/>
                  </a:lnTo>
                  <a:lnTo>
                    <a:pt x="52507" y="426922"/>
                  </a:lnTo>
                  <a:lnTo>
                    <a:pt x="52343" y="425746"/>
                  </a:lnTo>
                  <a:lnTo>
                    <a:pt x="53424" y="421749"/>
                  </a:lnTo>
                  <a:lnTo>
                    <a:pt x="53777" y="419280"/>
                  </a:lnTo>
                  <a:lnTo>
                    <a:pt x="54482" y="416976"/>
                  </a:lnTo>
                  <a:lnTo>
                    <a:pt x="55517" y="416529"/>
                  </a:lnTo>
                  <a:lnTo>
                    <a:pt x="57751" y="416153"/>
                  </a:lnTo>
                  <a:lnTo>
                    <a:pt x="58174" y="413966"/>
                  </a:lnTo>
                  <a:lnTo>
                    <a:pt x="58174" y="413637"/>
                  </a:lnTo>
                  <a:lnTo>
                    <a:pt x="57422" y="414248"/>
                  </a:lnTo>
                  <a:lnTo>
                    <a:pt x="55681" y="414695"/>
                  </a:lnTo>
                  <a:lnTo>
                    <a:pt x="53754" y="414695"/>
                  </a:lnTo>
                  <a:lnTo>
                    <a:pt x="53119" y="413119"/>
                  </a:lnTo>
                  <a:lnTo>
                    <a:pt x="53706" y="408511"/>
                  </a:lnTo>
                  <a:lnTo>
                    <a:pt x="54670" y="403643"/>
                  </a:lnTo>
                  <a:lnTo>
                    <a:pt x="54530" y="400634"/>
                  </a:lnTo>
                  <a:lnTo>
                    <a:pt x="54083" y="398470"/>
                  </a:lnTo>
                  <a:lnTo>
                    <a:pt x="52837" y="396166"/>
                  </a:lnTo>
                  <a:lnTo>
                    <a:pt x="50226" y="395696"/>
                  </a:lnTo>
                  <a:lnTo>
                    <a:pt x="47029" y="393838"/>
                  </a:lnTo>
                  <a:lnTo>
                    <a:pt x="47405" y="393085"/>
                  </a:lnTo>
                  <a:lnTo>
                    <a:pt x="47946" y="392756"/>
                  </a:lnTo>
                  <a:lnTo>
                    <a:pt x="48557" y="392498"/>
                  </a:lnTo>
                  <a:lnTo>
                    <a:pt x="49169" y="391933"/>
                  </a:lnTo>
                  <a:lnTo>
                    <a:pt x="53213" y="383868"/>
                  </a:lnTo>
                  <a:lnTo>
                    <a:pt x="54670" y="377402"/>
                  </a:lnTo>
                  <a:lnTo>
                    <a:pt x="56434" y="372511"/>
                  </a:lnTo>
                  <a:lnTo>
                    <a:pt x="56152" y="367620"/>
                  </a:lnTo>
                  <a:lnTo>
                    <a:pt x="55564" y="361859"/>
                  </a:lnTo>
                  <a:lnTo>
                    <a:pt x="54812" y="356803"/>
                  </a:lnTo>
                  <a:lnTo>
                    <a:pt x="52789" y="353182"/>
                  </a:lnTo>
                  <a:lnTo>
                    <a:pt x="50767" y="351254"/>
                  </a:lnTo>
                  <a:lnTo>
                    <a:pt x="48298" y="348573"/>
                  </a:lnTo>
                  <a:lnTo>
                    <a:pt x="45453" y="346410"/>
                  </a:lnTo>
                  <a:lnTo>
                    <a:pt x="43267" y="345634"/>
                  </a:lnTo>
                  <a:lnTo>
                    <a:pt x="44465" y="344482"/>
                  </a:lnTo>
                  <a:lnTo>
                    <a:pt x="46252" y="345164"/>
                  </a:lnTo>
                  <a:lnTo>
                    <a:pt x="49144" y="347515"/>
                  </a:lnTo>
                  <a:lnTo>
                    <a:pt x="52719" y="348644"/>
                  </a:lnTo>
                  <a:lnTo>
                    <a:pt x="54412" y="349514"/>
                  </a:lnTo>
                  <a:lnTo>
                    <a:pt x="54530" y="350690"/>
                  </a:lnTo>
                  <a:lnTo>
                    <a:pt x="57775" y="350572"/>
                  </a:lnTo>
                  <a:lnTo>
                    <a:pt x="65604" y="352523"/>
                  </a:lnTo>
                  <a:lnTo>
                    <a:pt x="69531" y="351348"/>
                  </a:lnTo>
                  <a:lnTo>
                    <a:pt x="67180" y="351231"/>
                  </a:lnTo>
                  <a:lnTo>
                    <a:pt x="65158" y="350830"/>
                  </a:lnTo>
                  <a:lnTo>
                    <a:pt x="59420" y="348315"/>
                  </a:lnTo>
                  <a:lnTo>
                    <a:pt x="58715" y="347539"/>
                  </a:lnTo>
                  <a:lnTo>
                    <a:pt x="58268" y="346293"/>
                  </a:lnTo>
                  <a:lnTo>
                    <a:pt x="58128" y="344999"/>
                  </a:lnTo>
                  <a:lnTo>
                    <a:pt x="58268" y="343847"/>
                  </a:lnTo>
                  <a:lnTo>
                    <a:pt x="58668" y="342977"/>
                  </a:lnTo>
                  <a:lnTo>
                    <a:pt x="59350" y="342554"/>
                  </a:lnTo>
                  <a:lnTo>
                    <a:pt x="59350" y="341871"/>
                  </a:lnTo>
                  <a:lnTo>
                    <a:pt x="58221" y="341496"/>
                  </a:lnTo>
                  <a:lnTo>
                    <a:pt x="57445" y="340437"/>
                  </a:lnTo>
                  <a:lnTo>
                    <a:pt x="57210" y="339144"/>
                  </a:lnTo>
                  <a:lnTo>
                    <a:pt x="57727" y="338109"/>
                  </a:lnTo>
                  <a:lnTo>
                    <a:pt x="56505" y="337921"/>
                  </a:lnTo>
                  <a:lnTo>
                    <a:pt x="54976" y="340837"/>
                  </a:lnTo>
                  <a:lnTo>
                    <a:pt x="53424" y="341307"/>
                  </a:lnTo>
                  <a:lnTo>
                    <a:pt x="53424" y="341871"/>
                  </a:lnTo>
                  <a:lnTo>
                    <a:pt x="55165" y="342084"/>
                  </a:lnTo>
                  <a:lnTo>
                    <a:pt x="56011" y="343424"/>
                  </a:lnTo>
                  <a:lnTo>
                    <a:pt x="56011" y="344928"/>
                  </a:lnTo>
                  <a:lnTo>
                    <a:pt x="55353" y="345634"/>
                  </a:lnTo>
                  <a:lnTo>
                    <a:pt x="53472" y="345493"/>
                  </a:lnTo>
                  <a:lnTo>
                    <a:pt x="51919" y="345117"/>
                  </a:lnTo>
                  <a:lnTo>
                    <a:pt x="49169" y="343776"/>
                  </a:lnTo>
                  <a:lnTo>
                    <a:pt x="46158" y="342812"/>
                  </a:lnTo>
                  <a:lnTo>
                    <a:pt x="42325" y="343471"/>
                  </a:lnTo>
                  <a:lnTo>
                    <a:pt x="38822" y="347209"/>
                  </a:lnTo>
                  <a:lnTo>
                    <a:pt x="39434" y="347656"/>
                  </a:lnTo>
                  <a:lnTo>
                    <a:pt x="34989" y="349373"/>
                  </a:lnTo>
                  <a:lnTo>
                    <a:pt x="27394" y="350219"/>
                  </a:lnTo>
                  <a:lnTo>
                    <a:pt x="25819" y="350807"/>
                  </a:lnTo>
                  <a:lnTo>
                    <a:pt x="24549" y="351677"/>
                  </a:lnTo>
                  <a:lnTo>
                    <a:pt x="23115" y="351959"/>
                  </a:lnTo>
                  <a:lnTo>
                    <a:pt x="21093" y="351419"/>
                  </a:lnTo>
                  <a:lnTo>
                    <a:pt x="20740" y="351371"/>
                  </a:lnTo>
                  <a:lnTo>
                    <a:pt x="20505" y="350878"/>
                  </a:lnTo>
                  <a:lnTo>
                    <a:pt x="20505" y="350219"/>
                  </a:lnTo>
                  <a:lnTo>
                    <a:pt x="20716" y="349655"/>
                  </a:lnTo>
                  <a:lnTo>
                    <a:pt x="21022" y="349420"/>
                  </a:lnTo>
                  <a:lnTo>
                    <a:pt x="21587" y="348620"/>
                  </a:lnTo>
                  <a:lnTo>
                    <a:pt x="23938" y="346481"/>
                  </a:lnTo>
                  <a:lnTo>
                    <a:pt x="24431" y="343588"/>
                  </a:lnTo>
                  <a:lnTo>
                    <a:pt x="24431" y="339238"/>
                  </a:lnTo>
                  <a:lnTo>
                    <a:pt x="22527" y="335029"/>
                  </a:lnTo>
                  <a:lnTo>
                    <a:pt x="20152" y="331549"/>
                  </a:lnTo>
                  <a:lnTo>
                    <a:pt x="19047" y="328774"/>
                  </a:lnTo>
                  <a:lnTo>
                    <a:pt x="20481" y="328045"/>
                  </a:lnTo>
                  <a:lnTo>
                    <a:pt x="24126" y="327622"/>
                  </a:lnTo>
                  <a:lnTo>
                    <a:pt x="27465" y="327340"/>
                  </a:lnTo>
                  <a:lnTo>
                    <a:pt x="29111" y="328257"/>
                  </a:lnTo>
                  <a:lnTo>
                    <a:pt x="29911" y="329362"/>
                  </a:lnTo>
                  <a:lnTo>
                    <a:pt x="30404" y="329362"/>
                  </a:lnTo>
                  <a:lnTo>
                    <a:pt x="29911" y="327481"/>
                  </a:lnTo>
                  <a:lnTo>
                    <a:pt x="31086" y="326893"/>
                  </a:lnTo>
                  <a:lnTo>
                    <a:pt x="33555" y="326282"/>
                  </a:lnTo>
                  <a:lnTo>
                    <a:pt x="34730" y="326165"/>
                  </a:lnTo>
                  <a:lnTo>
                    <a:pt x="34730" y="325600"/>
                  </a:lnTo>
                  <a:lnTo>
                    <a:pt x="35907" y="324307"/>
                  </a:lnTo>
                  <a:lnTo>
                    <a:pt x="37176" y="323154"/>
                  </a:lnTo>
                  <a:lnTo>
                    <a:pt x="39410" y="321555"/>
                  </a:lnTo>
                  <a:lnTo>
                    <a:pt x="42208" y="319321"/>
                  </a:lnTo>
                  <a:lnTo>
                    <a:pt x="42514" y="319110"/>
                  </a:lnTo>
                  <a:lnTo>
                    <a:pt x="42984" y="318734"/>
                  </a:lnTo>
                  <a:lnTo>
                    <a:pt x="43337" y="318616"/>
                  </a:lnTo>
                  <a:lnTo>
                    <a:pt x="43337" y="318052"/>
                  </a:lnTo>
                  <a:lnTo>
                    <a:pt x="42561" y="316829"/>
                  </a:lnTo>
                  <a:lnTo>
                    <a:pt x="41644" y="314995"/>
                  </a:lnTo>
                  <a:lnTo>
                    <a:pt x="41173" y="313091"/>
                  </a:lnTo>
                  <a:lnTo>
                    <a:pt x="41738" y="311703"/>
                  </a:lnTo>
                  <a:lnTo>
                    <a:pt x="39927" y="311821"/>
                  </a:lnTo>
                  <a:lnTo>
                    <a:pt x="39104" y="310339"/>
                  </a:lnTo>
                  <a:lnTo>
                    <a:pt x="38657" y="308105"/>
                  </a:lnTo>
                  <a:lnTo>
                    <a:pt x="37952" y="305942"/>
                  </a:lnTo>
                  <a:lnTo>
                    <a:pt x="41267" y="299429"/>
                  </a:lnTo>
                  <a:lnTo>
                    <a:pt x="43290" y="296537"/>
                  </a:lnTo>
                  <a:lnTo>
                    <a:pt x="46017" y="294608"/>
                  </a:lnTo>
                  <a:lnTo>
                    <a:pt x="47593" y="294255"/>
                  </a:lnTo>
                  <a:lnTo>
                    <a:pt x="50956" y="293997"/>
                  </a:lnTo>
                  <a:lnTo>
                    <a:pt x="52437" y="293409"/>
                  </a:lnTo>
                  <a:lnTo>
                    <a:pt x="55282" y="291457"/>
                  </a:lnTo>
                  <a:lnTo>
                    <a:pt x="56505" y="290259"/>
                  </a:lnTo>
                  <a:lnTo>
                    <a:pt x="57257" y="288942"/>
                  </a:lnTo>
                  <a:lnTo>
                    <a:pt x="55165" y="290353"/>
                  </a:lnTo>
                  <a:lnTo>
                    <a:pt x="51661" y="292727"/>
                  </a:lnTo>
                  <a:lnTo>
                    <a:pt x="44912" y="293409"/>
                  </a:lnTo>
                  <a:lnTo>
                    <a:pt x="43878" y="294209"/>
                  </a:lnTo>
                  <a:lnTo>
                    <a:pt x="42373" y="296842"/>
                  </a:lnTo>
                  <a:lnTo>
                    <a:pt x="38587" y="301851"/>
                  </a:lnTo>
                  <a:lnTo>
                    <a:pt x="34260" y="309799"/>
                  </a:lnTo>
                  <a:lnTo>
                    <a:pt x="31862" y="312362"/>
                  </a:lnTo>
                  <a:lnTo>
                    <a:pt x="31039" y="313584"/>
                  </a:lnTo>
                  <a:lnTo>
                    <a:pt x="30545" y="315089"/>
                  </a:lnTo>
                  <a:lnTo>
                    <a:pt x="30734" y="316829"/>
                  </a:lnTo>
                  <a:lnTo>
                    <a:pt x="30874" y="319886"/>
                  </a:lnTo>
                  <a:lnTo>
                    <a:pt x="31180" y="322073"/>
                  </a:lnTo>
                  <a:lnTo>
                    <a:pt x="30075" y="324260"/>
                  </a:lnTo>
                  <a:lnTo>
                    <a:pt x="26101" y="325411"/>
                  </a:lnTo>
                  <a:lnTo>
                    <a:pt x="21657" y="326117"/>
                  </a:lnTo>
                  <a:lnTo>
                    <a:pt x="16578" y="325670"/>
                  </a:lnTo>
                  <a:lnTo>
                    <a:pt x="15144" y="326682"/>
                  </a:lnTo>
                  <a:lnTo>
                    <a:pt x="13709" y="328280"/>
                  </a:lnTo>
                  <a:lnTo>
                    <a:pt x="10676" y="326517"/>
                  </a:lnTo>
                  <a:lnTo>
                    <a:pt x="7219" y="325177"/>
                  </a:lnTo>
                  <a:lnTo>
                    <a:pt x="5315" y="324895"/>
                  </a:lnTo>
                  <a:lnTo>
                    <a:pt x="1999" y="325342"/>
                  </a:lnTo>
                  <a:lnTo>
                    <a:pt x="471" y="324871"/>
                  </a:lnTo>
                  <a:lnTo>
                    <a:pt x="471" y="323037"/>
                  </a:lnTo>
                  <a:lnTo>
                    <a:pt x="988" y="321461"/>
                  </a:lnTo>
                  <a:lnTo>
                    <a:pt x="0" y="317464"/>
                  </a:lnTo>
                  <a:lnTo>
                    <a:pt x="0" y="315489"/>
                  </a:lnTo>
                  <a:lnTo>
                    <a:pt x="423" y="314619"/>
                  </a:lnTo>
                  <a:lnTo>
                    <a:pt x="1365" y="313561"/>
                  </a:lnTo>
                  <a:lnTo>
                    <a:pt x="3269" y="311750"/>
                  </a:lnTo>
                  <a:lnTo>
                    <a:pt x="5832" y="304296"/>
                  </a:lnTo>
                  <a:lnTo>
                    <a:pt x="5620" y="298747"/>
                  </a:lnTo>
                  <a:lnTo>
                    <a:pt x="4726" y="295243"/>
                  </a:lnTo>
                  <a:lnTo>
                    <a:pt x="5503" y="293198"/>
                  </a:lnTo>
                  <a:lnTo>
                    <a:pt x="5832" y="290706"/>
                  </a:lnTo>
                  <a:lnTo>
                    <a:pt x="8865" y="285579"/>
                  </a:lnTo>
                  <a:lnTo>
                    <a:pt x="9829" y="283087"/>
                  </a:lnTo>
                  <a:lnTo>
                    <a:pt x="11428" y="279724"/>
                  </a:lnTo>
                  <a:lnTo>
                    <a:pt x="11758" y="276197"/>
                  </a:lnTo>
                  <a:lnTo>
                    <a:pt x="12251" y="273281"/>
                  </a:lnTo>
                  <a:lnTo>
                    <a:pt x="11193" y="268696"/>
                  </a:lnTo>
                  <a:lnTo>
                    <a:pt x="10276" y="266862"/>
                  </a:lnTo>
                  <a:lnTo>
                    <a:pt x="7478" y="264158"/>
                  </a:lnTo>
                  <a:lnTo>
                    <a:pt x="6890" y="263241"/>
                  </a:lnTo>
                  <a:lnTo>
                    <a:pt x="7783" y="262959"/>
                  </a:lnTo>
                  <a:lnTo>
                    <a:pt x="11287" y="263899"/>
                  </a:lnTo>
                  <a:lnTo>
                    <a:pt x="17048" y="260372"/>
                  </a:lnTo>
                  <a:lnTo>
                    <a:pt x="18482" y="259197"/>
                  </a:lnTo>
                  <a:lnTo>
                    <a:pt x="20082" y="259055"/>
                  </a:lnTo>
                  <a:lnTo>
                    <a:pt x="21046" y="260137"/>
                  </a:lnTo>
                  <a:lnTo>
                    <a:pt x="21845" y="260325"/>
                  </a:lnTo>
                  <a:lnTo>
                    <a:pt x="22762" y="259455"/>
                  </a:lnTo>
                  <a:lnTo>
                    <a:pt x="22174" y="258232"/>
                  </a:lnTo>
                  <a:lnTo>
                    <a:pt x="20904" y="257103"/>
                  </a:lnTo>
                  <a:lnTo>
                    <a:pt x="22174" y="255222"/>
                  </a:lnTo>
                  <a:lnTo>
                    <a:pt x="23938" y="253318"/>
                  </a:lnTo>
                  <a:lnTo>
                    <a:pt x="24573" y="252283"/>
                  </a:lnTo>
                  <a:lnTo>
                    <a:pt x="26007" y="251413"/>
                  </a:lnTo>
                  <a:lnTo>
                    <a:pt x="28264" y="250096"/>
                  </a:lnTo>
                  <a:lnTo>
                    <a:pt x="29393" y="248332"/>
                  </a:lnTo>
                  <a:lnTo>
                    <a:pt x="30193" y="246875"/>
                  </a:lnTo>
                  <a:lnTo>
                    <a:pt x="31815" y="244242"/>
                  </a:lnTo>
                  <a:lnTo>
                    <a:pt x="31980" y="242619"/>
                  </a:lnTo>
                  <a:lnTo>
                    <a:pt x="31838" y="240855"/>
                  </a:lnTo>
                  <a:lnTo>
                    <a:pt x="32803" y="238363"/>
                  </a:lnTo>
                  <a:lnTo>
                    <a:pt x="33296" y="234812"/>
                  </a:lnTo>
                  <a:lnTo>
                    <a:pt x="39457" y="219622"/>
                  </a:lnTo>
                  <a:lnTo>
                    <a:pt x="49215" y="193262"/>
                  </a:lnTo>
                  <a:lnTo>
                    <a:pt x="50391" y="191922"/>
                  </a:lnTo>
                  <a:lnTo>
                    <a:pt x="51308" y="193168"/>
                  </a:lnTo>
                  <a:lnTo>
                    <a:pt x="52601" y="193709"/>
                  </a:lnTo>
                  <a:lnTo>
                    <a:pt x="55729" y="193827"/>
                  </a:lnTo>
                  <a:lnTo>
                    <a:pt x="55729" y="193122"/>
                  </a:lnTo>
                  <a:lnTo>
                    <a:pt x="54482" y="192016"/>
                  </a:lnTo>
                  <a:lnTo>
                    <a:pt x="53307" y="191193"/>
                  </a:lnTo>
                  <a:lnTo>
                    <a:pt x="51943" y="190723"/>
                  </a:lnTo>
                  <a:lnTo>
                    <a:pt x="48369" y="190300"/>
                  </a:lnTo>
                  <a:lnTo>
                    <a:pt x="47029" y="189500"/>
                  </a:lnTo>
                  <a:lnTo>
                    <a:pt x="46229" y="188113"/>
                  </a:lnTo>
                  <a:lnTo>
                    <a:pt x="46088" y="186114"/>
                  </a:lnTo>
                  <a:lnTo>
                    <a:pt x="47075" y="183481"/>
                  </a:lnTo>
                  <a:lnTo>
                    <a:pt x="49451" y="179084"/>
                  </a:lnTo>
                  <a:lnTo>
                    <a:pt x="54670" y="160367"/>
                  </a:lnTo>
                  <a:lnTo>
                    <a:pt x="55752" y="154488"/>
                  </a:lnTo>
                  <a:lnTo>
                    <a:pt x="57234" y="150185"/>
                  </a:lnTo>
                  <a:lnTo>
                    <a:pt x="58245" y="144682"/>
                  </a:lnTo>
                  <a:lnTo>
                    <a:pt x="58456" y="144400"/>
                  </a:lnTo>
                  <a:lnTo>
                    <a:pt x="58903" y="144118"/>
                  </a:lnTo>
                  <a:lnTo>
                    <a:pt x="58950" y="146117"/>
                  </a:lnTo>
                  <a:lnTo>
                    <a:pt x="58903" y="146752"/>
                  </a:lnTo>
                  <a:lnTo>
                    <a:pt x="60455" y="144353"/>
                  </a:lnTo>
                  <a:lnTo>
                    <a:pt x="61583" y="143506"/>
                  </a:lnTo>
                  <a:lnTo>
                    <a:pt x="62689" y="144118"/>
                  </a:lnTo>
                  <a:lnTo>
                    <a:pt x="63159" y="144118"/>
                  </a:lnTo>
                  <a:lnTo>
                    <a:pt x="63159" y="143531"/>
                  </a:lnTo>
                  <a:lnTo>
                    <a:pt x="62971" y="143295"/>
                  </a:lnTo>
                  <a:lnTo>
                    <a:pt x="62642" y="142754"/>
                  </a:lnTo>
                  <a:lnTo>
                    <a:pt x="62454" y="142119"/>
                  </a:lnTo>
                  <a:lnTo>
                    <a:pt x="62665" y="141579"/>
                  </a:lnTo>
                  <a:lnTo>
                    <a:pt x="63418" y="141178"/>
                  </a:lnTo>
                  <a:lnTo>
                    <a:pt x="63865" y="141461"/>
                  </a:lnTo>
                  <a:lnTo>
                    <a:pt x="64170" y="141955"/>
                  </a:lnTo>
                  <a:lnTo>
                    <a:pt x="64546" y="142237"/>
                  </a:lnTo>
                  <a:lnTo>
                    <a:pt x="65322" y="141955"/>
                  </a:lnTo>
                  <a:lnTo>
                    <a:pt x="65981" y="141249"/>
                  </a:lnTo>
                  <a:lnTo>
                    <a:pt x="66922" y="139650"/>
                  </a:lnTo>
                  <a:lnTo>
                    <a:pt x="65675" y="138969"/>
                  </a:lnTo>
                  <a:lnTo>
                    <a:pt x="64993" y="137840"/>
                  </a:lnTo>
                  <a:lnTo>
                    <a:pt x="65205" y="136829"/>
                  </a:lnTo>
                  <a:lnTo>
                    <a:pt x="66663" y="136382"/>
                  </a:lnTo>
                  <a:lnTo>
                    <a:pt x="68473" y="136217"/>
                  </a:lnTo>
                  <a:lnTo>
                    <a:pt x="69884" y="135723"/>
                  </a:lnTo>
                  <a:lnTo>
                    <a:pt x="71107" y="134924"/>
                  </a:lnTo>
                  <a:lnTo>
                    <a:pt x="72329" y="133842"/>
                  </a:lnTo>
                  <a:lnTo>
                    <a:pt x="71013" y="133936"/>
                  </a:lnTo>
                  <a:lnTo>
                    <a:pt x="69038" y="134854"/>
                  </a:lnTo>
                  <a:lnTo>
                    <a:pt x="67368" y="135159"/>
                  </a:lnTo>
                  <a:lnTo>
                    <a:pt x="67063" y="135347"/>
                  </a:lnTo>
                  <a:lnTo>
                    <a:pt x="66640" y="135347"/>
                  </a:lnTo>
                  <a:lnTo>
                    <a:pt x="64829" y="134618"/>
                  </a:lnTo>
                  <a:lnTo>
                    <a:pt x="64264" y="133842"/>
                  </a:lnTo>
                  <a:lnTo>
                    <a:pt x="63629" y="131232"/>
                  </a:lnTo>
                  <a:lnTo>
                    <a:pt x="66616" y="127399"/>
                  </a:lnTo>
                  <a:lnTo>
                    <a:pt x="65863" y="125377"/>
                  </a:lnTo>
                  <a:lnTo>
                    <a:pt x="65722" y="126929"/>
                  </a:lnTo>
                  <a:lnTo>
                    <a:pt x="65228" y="128223"/>
                  </a:lnTo>
                  <a:lnTo>
                    <a:pt x="64664" y="128576"/>
                  </a:lnTo>
                  <a:lnTo>
                    <a:pt x="64264" y="127305"/>
                  </a:lnTo>
                  <a:lnTo>
                    <a:pt x="63159" y="129234"/>
                  </a:lnTo>
                  <a:lnTo>
                    <a:pt x="62313" y="131703"/>
                  </a:lnTo>
                  <a:lnTo>
                    <a:pt x="61772" y="134313"/>
                  </a:lnTo>
                  <a:lnTo>
                    <a:pt x="61583" y="136711"/>
                  </a:lnTo>
                  <a:lnTo>
                    <a:pt x="61231" y="138240"/>
                  </a:lnTo>
                  <a:lnTo>
                    <a:pt x="60385" y="140426"/>
                  </a:lnTo>
                  <a:lnTo>
                    <a:pt x="59350" y="142472"/>
                  </a:lnTo>
                  <a:lnTo>
                    <a:pt x="58386" y="143531"/>
                  </a:lnTo>
                  <a:lnTo>
                    <a:pt x="65863" y="111245"/>
                  </a:lnTo>
                  <a:lnTo>
                    <a:pt x="65863" y="107765"/>
                  </a:lnTo>
                  <a:lnTo>
                    <a:pt x="64946" y="101393"/>
                  </a:lnTo>
                  <a:lnTo>
                    <a:pt x="65017" y="98030"/>
                  </a:lnTo>
                  <a:lnTo>
                    <a:pt x="66404" y="96714"/>
                  </a:lnTo>
                  <a:lnTo>
                    <a:pt x="66404" y="96126"/>
                  </a:lnTo>
                  <a:lnTo>
                    <a:pt x="63465" y="95491"/>
                  </a:lnTo>
                  <a:lnTo>
                    <a:pt x="61960" y="92881"/>
                  </a:lnTo>
                  <a:lnTo>
                    <a:pt x="60925" y="89589"/>
                  </a:lnTo>
                  <a:lnTo>
                    <a:pt x="59468" y="86908"/>
                  </a:lnTo>
                  <a:lnTo>
                    <a:pt x="59844" y="85638"/>
                  </a:lnTo>
                  <a:lnTo>
                    <a:pt x="59656" y="84580"/>
                  </a:lnTo>
                  <a:lnTo>
                    <a:pt x="59232" y="83522"/>
                  </a:lnTo>
                  <a:lnTo>
                    <a:pt x="58879" y="82323"/>
                  </a:lnTo>
                  <a:lnTo>
                    <a:pt x="58879" y="79384"/>
                  </a:lnTo>
                  <a:lnTo>
                    <a:pt x="58527" y="78467"/>
                  </a:lnTo>
                  <a:lnTo>
                    <a:pt x="57986" y="78208"/>
                  </a:lnTo>
                  <a:lnTo>
                    <a:pt x="57657" y="77221"/>
                  </a:lnTo>
                  <a:lnTo>
                    <a:pt x="57374" y="76210"/>
                  </a:lnTo>
                  <a:lnTo>
                    <a:pt x="56270" y="74493"/>
                  </a:lnTo>
                  <a:lnTo>
                    <a:pt x="55823" y="73106"/>
                  </a:lnTo>
                  <a:lnTo>
                    <a:pt x="55823" y="71930"/>
                  </a:lnTo>
                  <a:lnTo>
                    <a:pt x="55681" y="69178"/>
                  </a:lnTo>
                  <a:lnTo>
                    <a:pt x="56505" y="65980"/>
                  </a:lnTo>
                  <a:lnTo>
                    <a:pt x="55587" y="63794"/>
                  </a:lnTo>
                  <a:lnTo>
                    <a:pt x="55447" y="61795"/>
                  </a:lnTo>
                  <a:lnTo>
                    <a:pt x="55094" y="60455"/>
                  </a:lnTo>
                  <a:lnTo>
                    <a:pt x="54882" y="58856"/>
                  </a:lnTo>
                  <a:lnTo>
                    <a:pt x="53871" y="55940"/>
                  </a:lnTo>
                  <a:lnTo>
                    <a:pt x="53518" y="53777"/>
                  </a:lnTo>
                  <a:lnTo>
                    <a:pt x="53001" y="52201"/>
                  </a:lnTo>
                  <a:lnTo>
                    <a:pt x="52931" y="50461"/>
                  </a:lnTo>
                  <a:lnTo>
                    <a:pt x="52296" y="48721"/>
                  </a:lnTo>
                  <a:lnTo>
                    <a:pt x="52155" y="46463"/>
                  </a:lnTo>
                  <a:lnTo>
                    <a:pt x="52413" y="45382"/>
                  </a:lnTo>
                  <a:lnTo>
                    <a:pt x="54177" y="44771"/>
                  </a:lnTo>
                  <a:lnTo>
                    <a:pt x="58974" y="44019"/>
                  </a:lnTo>
                  <a:lnTo>
                    <a:pt x="60337" y="43430"/>
                  </a:lnTo>
                  <a:lnTo>
                    <a:pt x="61583" y="42584"/>
                  </a:lnTo>
                  <a:lnTo>
                    <a:pt x="62665" y="41620"/>
                  </a:lnTo>
                  <a:lnTo>
                    <a:pt x="54013" y="44019"/>
                  </a:lnTo>
                  <a:lnTo>
                    <a:pt x="52202" y="44230"/>
                  </a:lnTo>
                  <a:lnTo>
                    <a:pt x="51190" y="44112"/>
                  </a:lnTo>
                  <a:lnTo>
                    <a:pt x="49780" y="43290"/>
                  </a:lnTo>
                  <a:lnTo>
                    <a:pt x="48275" y="40162"/>
                  </a:lnTo>
                  <a:lnTo>
                    <a:pt x="48275" y="37411"/>
                  </a:lnTo>
                  <a:lnTo>
                    <a:pt x="48933" y="33085"/>
                  </a:lnTo>
                  <a:lnTo>
                    <a:pt x="48392" y="30333"/>
                  </a:lnTo>
                  <a:lnTo>
                    <a:pt x="48722" y="29322"/>
                  </a:lnTo>
                  <a:lnTo>
                    <a:pt x="49286" y="28405"/>
                  </a:lnTo>
                  <a:lnTo>
                    <a:pt x="54835" y="24149"/>
                  </a:lnTo>
                  <a:lnTo>
                    <a:pt x="57468" y="21398"/>
                  </a:lnTo>
                  <a:lnTo>
                    <a:pt x="58410" y="17823"/>
                  </a:lnTo>
                  <a:lnTo>
                    <a:pt x="59280" y="17236"/>
                  </a:lnTo>
                  <a:lnTo>
                    <a:pt x="61043" y="16389"/>
                  </a:lnTo>
                  <a:lnTo>
                    <a:pt x="63042" y="15825"/>
                  </a:lnTo>
                  <a:lnTo>
                    <a:pt x="64641" y="14837"/>
                  </a:lnTo>
                  <a:lnTo>
                    <a:pt x="65228" y="13873"/>
                  </a:lnTo>
                  <a:lnTo>
                    <a:pt x="66051" y="11804"/>
                  </a:lnTo>
                  <a:lnTo>
                    <a:pt x="66733" y="10840"/>
                  </a:lnTo>
                  <a:lnTo>
                    <a:pt x="68074" y="9923"/>
                  </a:lnTo>
                  <a:lnTo>
                    <a:pt x="69437" y="9664"/>
                  </a:lnTo>
                  <a:lnTo>
                    <a:pt x="72306" y="9594"/>
                  </a:lnTo>
                  <a:lnTo>
                    <a:pt x="73740" y="9053"/>
                  </a:lnTo>
                  <a:lnTo>
                    <a:pt x="76421" y="7336"/>
                  </a:lnTo>
                  <a:lnTo>
                    <a:pt x="77903" y="6819"/>
                  </a:lnTo>
                  <a:lnTo>
                    <a:pt x="89989" y="5032"/>
                  </a:lnTo>
                  <a:lnTo>
                    <a:pt x="91305" y="4374"/>
                  </a:lnTo>
                  <a:lnTo>
                    <a:pt x="93305" y="2704"/>
                  </a:lnTo>
                  <a:lnTo>
                    <a:pt x="93986" y="2281"/>
                  </a:lnTo>
                  <a:lnTo>
                    <a:pt x="94574" y="2140"/>
                  </a:lnTo>
                  <a:lnTo>
                    <a:pt x="95914" y="2093"/>
                  </a:lnTo>
                  <a:lnTo>
                    <a:pt x="97349" y="1552"/>
                  </a:lnTo>
                  <a:close/>
                </a:path>
              </a:pathLst>
            </a:custGeom>
            <a:solidFill>
              <a:srgbClr val="96A3AC"/>
            </a:solidFill>
            <a:ln w="3175" cap="rnd">
              <a:solidFill>
                <a:schemeClr val="bg1"/>
              </a:solidFill>
              <a:prstDash val="solid"/>
              <a:round/>
            </a:ln>
          </p:spPr>
          <p:txBody>
            <a:bodyPr wrap="square" rtlCol="0" anchor="ctr">
              <a:noAutofit/>
            </a:bodyPr>
            <a:lstStyle/>
            <a:p>
              <a:endParaRPr lang="en-ID" dirty="0"/>
            </a:p>
          </p:txBody>
        </p:sp>
        <p:sp>
          <p:nvSpPr>
            <p:cNvPr id="11" name="Freeform: Shape 10">
              <a:extLst>
                <a:ext uri="{FF2B5EF4-FFF2-40B4-BE49-F238E27FC236}">
                  <a16:creationId xmlns:a16="http://schemas.microsoft.com/office/drawing/2014/main" id="{27C6ABD0-1526-8E35-697C-FCC83818B204}"/>
                </a:ext>
              </a:extLst>
            </p:cNvPr>
            <p:cNvSpPr/>
            <p:nvPr/>
          </p:nvSpPr>
          <p:spPr>
            <a:xfrm>
              <a:off x="9888564" y="3780673"/>
              <a:ext cx="1410022" cy="865436"/>
            </a:xfrm>
            <a:custGeom>
              <a:avLst/>
              <a:gdLst>
                <a:gd name="connsiteX0" fmla="*/ 782847 w 1814027"/>
                <a:gd name="connsiteY0" fmla="*/ 942544 h 1113404"/>
                <a:gd name="connsiteX1" fmla="*/ 781123 w 1814027"/>
                <a:gd name="connsiteY1" fmla="*/ 943905 h 1113404"/>
                <a:gd name="connsiteX2" fmla="*/ 778218 w 1814027"/>
                <a:gd name="connsiteY2" fmla="*/ 946840 h 1113404"/>
                <a:gd name="connsiteX3" fmla="*/ 776615 w 1814027"/>
                <a:gd name="connsiteY3" fmla="*/ 948050 h 1113404"/>
                <a:gd name="connsiteX4" fmla="*/ 775223 w 1814027"/>
                <a:gd name="connsiteY4" fmla="*/ 948443 h 1113404"/>
                <a:gd name="connsiteX5" fmla="*/ 773680 w 1814027"/>
                <a:gd name="connsiteY5" fmla="*/ 948655 h 1113404"/>
                <a:gd name="connsiteX6" fmla="*/ 772380 w 1814027"/>
                <a:gd name="connsiteY6" fmla="*/ 949139 h 1113404"/>
                <a:gd name="connsiteX7" fmla="*/ 771835 w 1814027"/>
                <a:gd name="connsiteY7" fmla="*/ 950379 h 1113404"/>
                <a:gd name="connsiteX8" fmla="*/ 771049 w 1814027"/>
                <a:gd name="connsiteY8" fmla="*/ 951649 h 1113404"/>
                <a:gd name="connsiteX9" fmla="*/ 769022 w 1814027"/>
                <a:gd name="connsiteY9" fmla="*/ 953132 h 1113404"/>
                <a:gd name="connsiteX10" fmla="*/ 763970 w 1814027"/>
                <a:gd name="connsiteY10" fmla="*/ 955673 h 1113404"/>
                <a:gd name="connsiteX11" fmla="*/ 771684 w 1814027"/>
                <a:gd name="connsiteY11" fmla="*/ 952648 h 1113404"/>
                <a:gd name="connsiteX12" fmla="*/ 781818 w 1814027"/>
                <a:gd name="connsiteY12" fmla="*/ 945781 h 1113404"/>
                <a:gd name="connsiteX13" fmla="*/ 803751 w 1814027"/>
                <a:gd name="connsiteY13" fmla="*/ 926602 h 1113404"/>
                <a:gd name="connsiteX14" fmla="*/ 798698 w 1814027"/>
                <a:gd name="connsiteY14" fmla="*/ 929112 h 1113404"/>
                <a:gd name="connsiteX15" fmla="*/ 782907 w 1814027"/>
                <a:gd name="connsiteY15" fmla="*/ 942574 h 1113404"/>
                <a:gd name="connsiteX16" fmla="*/ 1098702 w 1814027"/>
                <a:gd name="connsiteY16" fmla="*/ 898195 h 1113404"/>
                <a:gd name="connsiteX17" fmla="*/ 1097462 w 1814027"/>
                <a:gd name="connsiteY17" fmla="*/ 896531 h 1113404"/>
                <a:gd name="connsiteX18" fmla="*/ 1092863 w 1814027"/>
                <a:gd name="connsiteY18" fmla="*/ 896864 h 1113404"/>
                <a:gd name="connsiteX19" fmla="*/ 1091835 w 1814027"/>
                <a:gd name="connsiteY19" fmla="*/ 895896 h 1113404"/>
                <a:gd name="connsiteX20" fmla="*/ 1090776 w 1814027"/>
                <a:gd name="connsiteY20" fmla="*/ 894474 h 1113404"/>
                <a:gd name="connsiteX21" fmla="*/ 1088386 w 1814027"/>
                <a:gd name="connsiteY21" fmla="*/ 894686 h 1113404"/>
                <a:gd name="connsiteX22" fmla="*/ 1084212 w 1814027"/>
                <a:gd name="connsiteY22" fmla="*/ 896410 h 1113404"/>
                <a:gd name="connsiteX23" fmla="*/ 1081005 w 1814027"/>
                <a:gd name="connsiteY23" fmla="*/ 894202 h 1113404"/>
                <a:gd name="connsiteX24" fmla="*/ 1078040 w 1814027"/>
                <a:gd name="connsiteY24" fmla="*/ 894081 h 1113404"/>
                <a:gd name="connsiteX25" fmla="*/ 1071113 w 1814027"/>
                <a:gd name="connsiteY25" fmla="*/ 895412 h 1113404"/>
                <a:gd name="connsiteX26" fmla="*/ 1056622 w 1814027"/>
                <a:gd name="connsiteY26" fmla="*/ 893597 h 1113404"/>
                <a:gd name="connsiteX27" fmla="*/ 1055836 w 1814027"/>
                <a:gd name="connsiteY27" fmla="*/ 892780 h 1113404"/>
                <a:gd name="connsiteX28" fmla="*/ 1055382 w 1814027"/>
                <a:gd name="connsiteY28" fmla="*/ 892780 h 1113404"/>
                <a:gd name="connsiteX29" fmla="*/ 1054656 w 1814027"/>
                <a:gd name="connsiteY29" fmla="*/ 893597 h 1113404"/>
                <a:gd name="connsiteX30" fmla="*/ 1096978 w 1814027"/>
                <a:gd name="connsiteY30" fmla="*/ 899980 h 1113404"/>
                <a:gd name="connsiteX31" fmla="*/ 1098732 w 1814027"/>
                <a:gd name="connsiteY31" fmla="*/ 898226 h 1113404"/>
                <a:gd name="connsiteX32" fmla="*/ 999417 w 1814027"/>
                <a:gd name="connsiteY32" fmla="*/ 877261 h 1113404"/>
                <a:gd name="connsiteX33" fmla="*/ 986288 w 1814027"/>
                <a:gd name="connsiteY33" fmla="*/ 874327 h 1113404"/>
                <a:gd name="connsiteX34" fmla="*/ 953858 w 1814027"/>
                <a:gd name="connsiteY34" fmla="*/ 867036 h 1113404"/>
                <a:gd name="connsiteX35" fmla="*/ 949834 w 1814027"/>
                <a:gd name="connsiteY35" fmla="*/ 864858 h 1113404"/>
                <a:gd name="connsiteX36" fmla="*/ 947444 w 1814027"/>
                <a:gd name="connsiteY36" fmla="*/ 862075 h 1113404"/>
                <a:gd name="connsiteX37" fmla="*/ 945842 w 1814027"/>
                <a:gd name="connsiteY37" fmla="*/ 858143 h 1113404"/>
                <a:gd name="connsiteX38" fmla="*/ 944178 w 1814027"/>
                <a:gd name="connsiteY38" fmla="*/ 852455 h 1113404"/>
                <a:gd name="connsiteX39" fmla="*/ 942423 w 1814027"/>
                <a:gd name="connsiteY39" fmla="*/ 851789 h 1113404"/>
                <a:gd name="connsiteX40" fmla="*/ 942484 w 1814027"/>
                <a:gd name="connsiteY40" fmla="*/ 854240 h 1113404"/>
                <a:gd name="connsiteX41" fmla="*/ 943391 w 1814027"/>
                <a:gd name="connsiteY41" fmla="*/ 857658 h 1113404"/>
                <a:gd name="connsiteX42" fmla="*/ 944178 w 1814027"/>
                <a:gd name="connsiteY42" fmla="*/ 859806 h 1113404"/>
                <a:gd name="connsiteX43" fmla="*/ 946900 w 1814027"/>
                <a:gd name="connsiteY43" fmla="*/ 863920 h 1113404"/>
                <a:gd name="connsiteX44" fmla="*/ 950046 w 1814027"/>
                <a:gd name="connsiteY44" fmla="*/ 866552 h 1113404"/>
                <a:gd name="connsiteX45" fmla="*/ 965807 w 1814027"/>
                <a:gd name="connsiteY45" fmla="*/ 872149 h 1113404"/>
                <a:gd name="connsiteX46" fmla="*/ 1002503 w 1814027"/>
                <a:gd name="connsiteY46" fmla="*/ 879348 h 1113404"/>
                <a:gd name="connsiteX47" fmla="*/ 1006738 w 1814027"/>
                <a:gd name="connsiteY47" fmla="*/ 881224 h 1113404"/>
                <a:gd name="connsiteX48" fmla="*/ 1009006 w 1814027"/>
                <a:gd name="connsiteY48" fmla="*/ 881678 h 1113404"/>
                <a:gd name="connsiteX49" fmla="*/ 1007706 w 1814027"/>
                <a:gd name="connsiteY49" fmla="*/ 880801 h 1113404"/>
                <a:gd name="connsiteX50" fmla="*/ 999417 w 1814027"/>
                <a:gd name="connsiteY50" fmla="*/ 877261 h 1113404"/>
                <a:gd name="connsiteX51" fmla="*/ 1812243 w 1814027"/>
                <a:gd name="connsiteY51" fmla="*/ 442004 h 1113404"/>
                <a:gd name="connsiteX52" fmla="*/ 1807553 w 1814027"/>
                <a:gd name="connsiteY52" fmla="*/ 436921 h 1113404"/>
                <a:gd name="connsiteX53" fmla="*/ 1803590 w 1814027"/>
                <a:gd name="connsiteY53" fmla="*/ 431204 h 1113404"/>
                <a:gd name="connsiteX54" fmla="*/ 1801473 w 1814027"/>
                <a:gd name="connsiteY54" fmla="*/ 426999 h 1113404"/>
                <a:gd name="connsiteX55" fmla="*/ 1800868 w 1814027"/>
                <a:gd name="connsiteY55" fmla="*/ 422522 h 1113404"/>
                <a:gd name="connsiteX56" fmla="*/ 1802834 w 1814027"/>
                <a:gd name="connsiteY56" fmla="*/ 417863 h 1113404"/>
                <a:gd name="connsiteX57" fmla="*/ 1804619 w 1814027"/>
                <a:gd name="connsiteY57" fmla="*/ 416320 h 1113404"/>
                <a:gd name="connsiteX58" fmla="*/ 1808522 w 1814027"/>
                <a:gd name="connsiteY58" fmla="*/ 414233 h 1113404"/>
                <a:gd name="connsiteX59" fmla="*/ 1810065 w 1814027"/>
                <a:gd name="connsiteY59" fmla="*/ 412267 h 1113404"/>
                <a:gd name="connsiteX60" fmla="*/ 1810518 w 1814027"/>
                <a:gd name="connsiteY60" fmla="*/ 409302 h 1113404"/>
                <a:gd name="connsiteX61" fmla="*/ 1809278 w 1814027"/>
                <a:gd name="connsiteY61" fmla="*/ 408062 h 1113404"/>
                <a:gd name="connsiteX62" fmla="*/ 1808975 w 1814027"/>
                <a:gd name="connsiteY62" fmla="*/ 407759 h 1113404"/>
                <a:gd name="connsiteX63" fmla="*/ 1799143 w 1814027"/>
                <a:gd name="connsiteY63" fmla="*/ 405278 h 1113404"/>
                <a:gd name="connsiteX64" fmla="*/ 1797177 w 1814027"/>
                <a:gd name="connsiteY64" fmla="*/ 405218 h 1113404"/>
                <a:gd name="connsiteX65" fmla="*/ 1794757 w 1814027"/>
                <a:gd name="connsiteY65" fmla="*/ 406035 h 1113404"/>
                <a:gd name="connsiteX66" fmla="*/ 1788798 w 1814027"/>
                <a:gd name="connsiteY66" fmla="*/ 411661 h 1113404"/>
                <a:gd name="connsiteX67" fmla="*/ 1786256 w 1814027"/>
                <a:gd name="connsiteY67" fmla="*/ 413053 h 1113404"/>
                <a:gd name="connsiteX68" fmla="*/ 1783261 w 1814027"/>
                <a:gd name="connsiteY68" fmla="*/ 414142 h 1113404"/>
                <a:gd name="connsiteX69" fmla="*/ 1780176 w 1814027"/>
                <a:gd name="connsiteY69" fmla="*/ 414717 h 1113404"/>
                <a:gd name="connsiteX70" fmla="*/ 1777453 w 1814027"/>
                <a:gd name="connsiteY70" fmla="*/ 414596 h 1113404"/>
                <a:gd name="connsiteX71" fmla="*/ 1775396 w 1814027"/>
                <a:gd name="connsiteY71" fmla="*/ 413719 h 1113404"/>
                <a:gd name="connsiteX72" fmla="*/ 1770163 w 1814027"/>
                <a:gd name="connsiteY72" fmla="*/ 409090 h 1113404"/>
                <a:gd name="connsiteX73" fmla="*/ 1766079 w 1814027"/>
                <a:gd name="connsiteY73" fmla="*/ 407275 h 1113404"/>
                <a:gd name="connsiteX74" fmla="*/ 1762509 w 1814027"/>
                <a:gd name="connsiteY74" fmla="*/ 406367 h 1113404"/>
                <a:gd name="connsiteX75" fmla="*/ 1759454 w 1814027"/>
                <a:gd name="connsiteY75" fmla="*/ 404431 h 1113404"/>
                <a:gd name="connsiteX76" fmla="*/ 1756882 w 1814027"/>
                <a:gd name="connsiteY76" fmla="*/ 399500 h 1113404"/>
                <a:gd name="connsiteX77" fmla="*/ 1755279 w 1814027"/>
                <a:gd name="connsiteY77" fmla="*/ 393420 h 1113404"/>
                <a:gd name="connsiteX78" fmla="*/ 1754160 w 1814027"/>
                <a:gd name="connsiteY78" fmla="*/ 390183 h 1113404"/>
                <a:gd name="connsiteX79" fmla="*/ 1752859 w 1814027"/>
                <a:gd name="connsiteY79" fmla="*/ 388640 h 1113404"/>
                <a:gd name="connsiteX80" fmla="*/ 1746990 w 1814027"/>
                <a:gd name="connsiteY80" fmla="*/ 388065 h 1113404"/>
                <a:gd name="connsiteX81" fmla="*/ 1745054 w 1814027"/>
                <a:gd name="connsiteY81" fmla="*/ 387279 h 1113404"/>
                <a:gd name="connsiteX82" fmla="*/ 1741394 w 1814027"/>
                <a:gd name="connsiteY82" fmla="*/ 385010 h 1113404"/>
                <a:gd name="connsiteX83" fmla="*/ 1737612 w 1814027"/>
                <a:gd name="connsiteY83" fmla="*/ 385766 h 1113404"/>
                <a:gd name="connsiteX84" fmla="*/ 1733710 w 1814027"/>
                <a:gd name="connsiteY84" fmla="*/ 387551 h 1113404"/>
                <a:gd name="connsiteX85" fmla="*/ 1729717 w 1814027"/>
                <a:gd name="connsiteY85" fmla="*/ 388338 h 1113404"/>
                <a:gd name="connsiteX86" fmla="*/ 1725935 w 1814027"/>
                <a:gd name="connsiteY86" fmla="*/ 387521 h 1113404"/>
                <a:gd name="connsiteX87" fmla="*/ 1723001 w 1814027"/>
                <a:gd name="connsiteY87" fmla="*/ 385736 h 1113404"/>
                <a:gd name="connsiteX88" fmla="*/ 1720702 w 1814027"/>
                <a:gd name="connsiteY88" fmla="*/ 382802 h 1113404"/>
                <a:gd name="connsiteX89" fmla="*/ 1715135 w 1814027"/>
                <a:gd name="connsiteY89" fmla="*/ 369431 h 1113404"/>
                <a:gd name="connsiteX90" fmla="*/ 1714984 w 1814027"/>
                <a:gd name="connsiteY90" fmla="*/ 369279 h 1113404"/>
                <a:gd name="connsiteX91" fmla="*/ 1712443 w 1814027"/>
                <a:gd name="connsiteY91" fmla="*/ 367252 h 1113404"/>
                <a:gd name="connsiteX92" fmla="*/ 1708541 w 1814027"/>
                <a:gd name="connsiteY92" fmla="*/ 368583 h 1113404"/>
                <a:gd name="connsiteX93" fmla="*/ 1706816 w 1814027"/>
                <a:gd name="connsiteY93" fmla="*/ 370398 h 1113404"/>
                <a:gd name="connsiteX94" fmla="*/ 1703640 w 1814027"/>
                <a:gd name="connsiteY94" fmla="*/ 374785 h 1113404"/>
                <a:gd name="connsiteX95" fmla="*/ 1701704 w 1814027"/>
                <a:gd name="connsiteY95" fmla="*/ 376298 h 1113404"/>
                <a:gd name="connsiteX96" fmla="*/ 1700009 w 1814027"/>
                <a:gd name="connsiteY96" fmla="*/ 376751 h 1113404"/>
                <a:gd name="connsiteX97" fmla="*/ 1690450 w 1814027"/>
                <a:gd name="connsiteY97" fmla="*/ 377296 h 1113404"/>
                <a:gd name="connsiteX98" fmla="*/ 1687728 w 1814027"/>
                <a:gd name="connsiteY98" fmla="*/ 374846 h 1113404"/>
                <a:gd name="connsiteX99" fmla="*/ 1685308 w 1814027"/>
                <a:gd name="connsiteY99" fmla="*/ 371336 h 1113404"/>
                <a:gd name="connsiteX100" fmla="*/ 1681889 w 1814027"/>
                <a:gd name="connsiteY100" fmla="*/ 368372 h 1113404"/>
                <a:gd name="connsiteX101" fmla="*/ 1671392 w 1814027"/>
                <a:gd name="connsiteY101" fmla="*/ 365558 h 1113404"/>
                <a:gd name="connsiteX102" fmla="*/ 1665281 w 1814027"/>
                <a:gd name="connsiteY102" fmla="*/ 361474 h 1113404"/>
                <a:gd name="connsiteX103" fmla="*/ 1664646 w 1814027"/>
                <a:gd name="connsiteY103" fmla="*/ 360839 h 1113404"/>
                <a:gd name="connsiteX104" fmla="*/ 1664101 w 1814027"/>
                <a:gd name="connsiteY104" fmla="*/ 359599 h 1113404"/>
                <a:gd name="connsiteX105" fmla="*/ 1663829 w 1814027"/>
                <a:gd name="connsiteY105" fmla="*/ 357300 h 1113404"/>
                <a:gd name="connsiteX106" fmla="*/ 1662951 w 1814027"/>
                <a:gd name="connsiteY106" fmla="*/ 354486 h 1113404"/>
                <a:gd name="connsiteX107" fmla="*/ 1662951 w 1814027"/>
                <a:gd name="connsiteY107" fmla="*/ 354123 h 1113404"/>
                <a:gd name="connsiteX108" fmla="*/ 1662740 w 1814027"/>
                <a:gd name="connsiteY108" fmla="*/ 354486 h 1113404"/>
                <a:gd name="connsiteX109" fmla="*/ 1660290 w 1814027"/>
                <a:gd name="connsiteY109" fmla="*/ 355242 h 1113404"/>
                <a:gd name="connsiteX110" fmla="*/ 1659382 w 1814027"/>
                <a:gd name="connsiteY110" fmla="*/ 355817 h 1113404"/>
                <a:gd name="connsiteX111" fmla="*/ 1658414 w 1814027"/>
                <a:gd name="connsiteY111" fmla="*/ 356180 h 1113404"/>
                <a:gd name="connsiteX112" fmla="*/ 1653453 w 1814027"/>
                <a:gd name="connsiteY112" fmla="*/ 355333 h 1113404"/>
                <a:gd name="connsiteX113" fmla="*/ 1646132 w 1814027"/>
                <a:gd name="connsiteY113" fmla="*/ 356574 h 1113404"/>
                <a:gd name="connsiteX114" fmla="*/ 1642471 w 1814027"/>
                <a:gd name="connsiteY114" fmla="*/ 355303 h 1113404"/>
                <a:gd name="connsiteX115" fmla="*/ 1640112 w 1814027"/>
                <a:gd name="connsiteY115" fmla="*/ 353790 h 1113404"/>
                <a:gd name="connsiteX116" fmla="*/ 1638327 w 1814027"/>
                <a:gd name="connsiteY116" fmla="*/ 353155 h 1113404"/>
                <a:gd name="connsiteX117" fmla="*/ 1633941 w 1814027"/>
                <a:gd name="connsiteY117" fmla="*/ 352701 h 1113404"/>
                <a:gd name="connsiteX118" fmla="*/ 1631913 w 1814027"/>
                <a:gd name="connsiteY118" fmla="*/ 351885 h 1113404"/>
                <a:gd name="connsiteX119" fmla="*/ 1630704 w 1814027"/>
                <a:gd name="connsiteY119" fmla="*/ 350221 h 1113404"/>
                <a:gd name="connsiteX120" fmla="*/ 1627679 w 1814027"/>
                <a:gd name="connsiteY120" fmla="*/ 341962 h 1113404"/>
                <a:gd name="connsiteX121" fmla="*/ 1626257 w 1814027"/>
                <a:gd name="connsiteY121" fmla="*/ 340389 h 1113404"/>
                <a:gd name="connsiteX122" fmla="*/ 1624381 w 1814027"/>
                <a:gd name="connsiteY122" fmla="*/ 340117 h 1113404"/>
                <a:gd name="connsiteX123" fmla="*/ 1621628 w 1814027"/>
                <a:gd name="connsiteY123" fmla="*/ 340601 h 1113404"/>
                <a:gd name="connsiteX124" fmla="*/ 1615185 w 1814027"/>
                <a:gd name="connsiteY124" fmla="*/ 340056 h 1113404"/>
                <a:gd name="connsiteX125" fmla="*/ 1613582 w 1814027"/>
                <a:gd name="connsiteY125" fmla="*/ 340419 h 1113404"/>
                <a:gd name="connsiteX126" fmla="*/ 1612613 w 1814027"/>
                <a:gd name="connsiteY126" fmla="*/ 344685 h 1113404"/>
                <a:gd name="connsiteX127" fmla="*/ 1613339 w 1814027"/>
                <a:gd name="connsiteY127" fmla="*/ 351340 h 1113404"/>
                <a:gd name="connsiteX128" fmla="*/ 1612825 w 1814027"/>
                <a:gd name="connsiteY128" fmla="*/ 357602 h 1113404"/>
                <a:gd name="connsiteX129" fmla="*/ 1608076 w 1814027"/>
                <a:gd name="connsiteY129" fmla="*/ 360658 h 1113404"/>
                <a:gd name="connsiteX130" fmla="*/ 1607017 w 1814027"/>
                <a:gd name="connsiteY130" fmla="*/ 360446 h 1113404"/>
                <a:gd name="connsiteX131" fmla="*/ 1605172 w 1814027"/>
                <a:gd name="connsiteY131" fmla="*/ 359327 h 1113404"/>
                <a:gd name="connsiteX132" fmla="*/ 1604052 w 1814027"/>
                <a:gd name="connsiteY132" fmla="*/ 359115 h 1113404"/>
                <a:gd name="connsiteX133" fmla="*/ 1602782 w 1814027"/>
                <a:gd name="connsiteY133" fmla="*/ 359508 h 1113404"/>
                <a:gd name="connsiteX134" fmla="*/ 1598395 w 1814027"/>
                <a:gd name="connsiteY134" fmla="*/ 362110 h 1113404"/>
                <a:gd name="connsiteX135" fmla="*/ 1596126 w 1814027"/>
                <a:gd name="connsiteY135" fmla="*/ 363441 h 1113404"/>
                <a:gd name="connsiteX136" fmla="*/ 1595672 w 1814027"/>
                <a:gd name="connsiteY136" fmla="*/ 362563 h 1113404"/>
                <a:gd name="connsiteX137" fmla="*/ 1595612 w 1814027"/>
                <a:gd name="connsiteY137" fmla="*/ 360355 h 1113404"/>
                <a:gd name="connsiteX138" fmla="*/ 1594069 w 1814027"/>
                <a:gd name="connsiteY138" fmla="*/ 357753 h 1113404"/>
                <a:gd name="connsiteX139" fmla="*/ 1593948 w 1814027"/>
                <a:gd name="connsiteY139" fmla="*/ 357481 h 1113404"/>
                <a:gd name="connsiteX140" fmla="*/ 1590681 w 1814027"/>
                <a:gd name="connsiteY140" fmla="*/ 352217 h 1113404"/>
                <a:gd name="connsiteX141" fmla="*/ 1587595 w 1814027"/>
                <a:gd name="connsiteY141" fmla="*/ 348618 h 1113404"/>
                <a:gd name="connsiteX142" fmla="*/ 1584147 w 1814027"/>
                <a:gd name="connsiteY142" fmla="*/ 345774 h 1113404"/>
                <a:gd name="connsiteX143" fmla="*/ 1580244 w 1814027"/>
                <a:gd name="connsiteY143" fmla="*/ 343445 h 1113404"/>
                <a:gd name="connsiteX144" fmla="*/ 1572258 w 1814027"/>
                <a:gd name="connsiteY144" fmla="*/ 340087 h 1113404"/>
                <a:gd name="connsiteX145" fmla="*/ 1568658 w 1814027"/>
                <a:gd name="connsiteY145" fmla="*/ 337757 h 1113404"/>
                <a:gd name="connsiteX146" fmla="*/ 1559008 w 1814027"/>
                <a:gd name="connsiteY146" fmla="*/ 324023 h 1113404"/>
                <a:gd name="connsiteX147" fmla="*/ 1555498 w 1814027"/>
                <a:gd name="connsiteY147" fmla="*/ 320726 h 1113404"/>
                <a:gd name="connsiteX148" fmla="*/ 1554803 w 1814027"/>
                <a:gd name="connsiteY148" fmla="*/ 319727 h 1113404"/>
                <a:gd name="connsiteX149" fmla="*/ 1554652 w 1814027"/>
                <a:gd name="connsiteY149" fmla="*/ 318154 h 1113404"/>
                <a:gd name="connsiteX150" fmla="*/ 1554954 w 1814027"/>
                <a:gd name="connsiteY150" fmla="*/ 316612 h 1113404"/>
                <a:gd name="connsiteX151" fmla="*/ 1555952 w 1814027"/>
                <a:gd name="connsiteY151" fmla="*/ 313193 h 1113404"/>
                <a:gd name="connsiteX152" fmla="*/ 1555710 w 1814027"/>
                <a:gd name="connsiteY152" fmla="*/ 307143 h 1113404"/>
                <a:gd name="connsiteX153" fmla="*/ 1552594 w 1814027"/>
                <a:gd name="connsiteY153" fmla="*/ 304027 h 1113404"/>
                <a:gd name="connsiteX154" fmla="*/ 1543731 w 1814027"/>
                <a:gd name="connsiteY154" fmla="*/ 300064 h 1113404"/>
                <a:gd name="connsiteX155" fmla="*/ 1542097 w 1814027"/>
                <a:gd name="connsiteY155" fmla="*/ 296222 h 1113404"/>
                <a:gd name="connsiteX156" fmla="*/ 1540706 w 1814027"/>
                <a:gd name="connsiteY156" fmla="*/ 291533 h 1113404"/>
                <a:gd name="connsiteX157" fmla="*/ 1539193 w 1814027"/>
                <a:gd name="connsiteY157" fmla="*/ 287752 h 1113404"/>
                <a:gd name="connsiteX158" fmla="*/ 1537197 w 1814027"/>
                <a:gd name="connsiteY158" fmla="*/ 286753 h 1113404"/>
                <a:gd name="connsiteX159" fmla="*/ 1527093 w 1814027"/>
                <a:gd name="connsiteY159" fmla="*/ 288054 h 1113404"/>
                <a:gd name="connsiteX160" fmla="*/ 1524098 w 1814027"/>
                <a:gd name="connsiteY160" fmla="*/ 289173 h 1113404"/>
                <a:gd name="connsiteX161" fmla="*/ 1518229 w 1814027"/>
                <a:gd name="connsiteY161" fmla="*/ 294710 h 1113404"/>
                <a:gd name="connsiteX162" fmla="*/ 1515234 w 1814027"/>
                <a:gd name="connsiteY162" fmla="*/ 296827 h 1113404"/>
                <a:gd name="connsiteX163" fmla="*/ 1500623 w 1814027"/>
                <a:gd name="connsiteY163" fmla="*/ 300730 h 1113404"/>
                <a:gd name="connsiteX164" fmla="*/ 1493423 w 1814027"/>
                <a:gd name="connsiteY164" fmla="*/ 299731 h 1113404"/>
                <a:gd name="connsiteX165" fmla="*/ 1486767 w 1814027"/>
                <a:gd name="connsiteY165" fmla="*/ 300185 h 1113404"/>
                <a:gd name="connsiteX166" fmla="*/ 1480203 w 1814027"/>
                <a:gd name="connsiteY166" fmla="*/ 302424 h 1113404"/>
                <a:gd name="connsiteX167" fmla="*/ 1463504 w 1814027"/>
                <a:gd name="connsiteY167" fmla="*/ 311529 h 1113404"/>
                <a:gd name="connsiteX168" fmla="*/ 1462234 w 1814027"/>
                <a:gd name="connsiteY168" fmla="*/ 312649 h 1113404"/>
                <a:gd name="connsiteX169" fmla="*/ 1461296 w 1814027"/>
                <a:gd name="connsiteY169" fmla="*/ 313980 h 1113404"/>
                <a:gd name="connsiteX170" fmla="*/ 1459662 w 1814027"/>
                <a:gd name="connsiteY170" fmla="*/ 317095 h 1113404"/>
                <a:gd name="connsiteX171" fmla="*/ 1458785 w 1814027"/>
                <a:gd name="connsiteY171" fmla="*/ 318275 h 1113404"/>
                <a:gd name="connsiteX172" fmla="*/ 1456879 w 1814027"/>
                <a:gd name="connsiteY172" fmla="*/ 319364 h 1113404"/>
                <a:gd name="connsiteX173" fmla="*/ 1454610 w 1814027"/>
                <a:gd name="connsiteY173" fmla="*/ 319637 h 1113404"/>
                <a:gd name="connsiteX174" fmla="*/ 1452250 w 1814027"/>
                <a:gd name="connsiteY174" fmla="*/ 319274 h 1113404"/>
                <a:gd name="connsiteX175" fmla="*/ 1450103 w 1814027"/>
                <a:gd name="connsiteY175" fmla="*/ 318517 h 1113404"/>
                <a:gd name="connsiteX176" fmla="*/ 1448590 w 1814027"/>
                <a:gd name="connsiteY176" fmla="*/ 317398 h 1113404"/>
                <a:gd name="connsiteX177" fmla="*/ 1448287 w 1814027"/>
                <a:gd name="connsiteY177" fmla="*/ 316097 h 1113404"/>
                <a:gd name="connsiteX178" fmla="*/ 1448530 w 1814027"/>
                <a:gd name="connsiteY178" fmla="*/ 314675 h 1113404"/>
                <a:gd name="connsiteX179" fmla="*/ 1448742 w 1814027"/>
                <a:gd name="connsiteY179" fmla="*/ 311469 h 1113404"/>
                <a:gd name="connsiteX180" fmla="*/ 1449013 w 1814027"/>
                <a:gd name="connsiteY180" fmla="*/ 310864 h 1113404"/>
                <a:gd name="connsiteX181" fmla="*/ 1448772 w 1814027"/>
                <a:gd name="connsiteY181" fmla="*/ 310501 h 1113404"/>
                <a:gd name="connsiteX182" fmla="*/ 1447229 w 1814027"/>
                <a:gd name="connsiteY182" fmla="*/ 309563 h 1113404"/>
                <a:gd name="connsiteX183" fmla="*/ 1446321 w 1814027"/>
                <a:gd name="connsiteY183" fmla="*/ 309230 h 1113404"/>
                <a:gd name="connsiteX184" fmla="*/ 1443115 w 1814027"/>
                <a:gd name="connsiteY184" fmla="*/ 308595 h 1113404"/>
                <a:gd name="connsiteX185" fmla="*/ 1440362 w 1814027"/>
                <a:gd name="connsiteY185" fmla="*/ 306750 h 1113404"/>
                <a:gd name="connsiteX186" fmla="*/ 1438123 w 1814027"/>
                <a:gd name="connsiteY186" fmla="*/ 306265 h 1113404"/>
                <a:gd name="connsiteX187" fmla="*/ 1436066 w 1814027"/>
                <a:gd name="connsiteY187" fmla="*/ 305146 h 1113404"/>
                <a:gd name="connsiteX188" fmla="*/ 1435068 w 1814027"/>
                <a:gd name="connsiteY188" fmla="*/ 304844 h 1113404"/>
                <a:gd name="connsiteX189" fmla="*/ 1433827 w 1814027"/>
                <a:gd name="connsiteY189" fmla="*/ 304844 h 1113404"/>
                <a:gd name="connsiteX190" fmla="*/ 1433131 w 1814027"/>
                <a:gd name="connsiteY190" fmla="*/ 305207 h 1113404"/>
                <a:gd name="connsiteX191" fmla="*/ 1431165 w 1814027"/>
                <a:gd name="connsiteY191" fmla="*/ 307022 h 1113404"/>
                <a:gd name="connsiteX192" fmla="*/ 1428957 w 1814027"/>
                <a:gd name="connsiteY192" fmla="*/ 308474 h 1113404"/>
                <a:gd name="connsiteX193" fmla="*/ 1426567 w 1814027"/>
                <a:gd name="connsiteY193" fmla="*/ 309442 h 1113404"/>
                <a:gd name="connsiteX194" fmla="*/ 1424147 w 1814027"/>
                <a:gd name="connsiteY194" fmla="*/ 309563 h 1113404"/>
                <a:gd name="connsiteX195" fmla="*/ 1421848 w 1814027"/>
                <a:gd name="connsiteY195" fmla="*/ 308504 h 1113404"/>
                <a:gd name="connsiteX196" fmla="*/ 1411804 w 1814027"/>
                <a:gd name="connsiteY196" fmla="*/ 293711 h 1113404"/>
                <a:gd name="connsiteX197" fmla="*/ 1408930 w 1814027"/>
                <a:gd name="connsiteY197" fmla="*/ 292380 h 1113404"/>
                <a:gd name="connsiteX198" fmla="*/ 1408174 w 1814027"/>
                <a:gd name="connsiteY198" fmla="*/ 289657 h 1113404"/>
                <a:gd name="connsiteX199" fmla="*/ 1405421 w 1814027"/>
                <a:gd name="connsiteY199" fmla="*/ 288296 h 1113404"/>
                <a:gd name="connsiteX200" fmla="*/ 1387906 w 1814027"/>
                <a:gd name="connsiteY200" fmla="*/ 286965 h 1113404"/>
                <a:gd name="connsiteX201" fmla="*/ 1378407 w 1814027"/>
                <a:gd name="connsiteY201" fmla="*/ 287963 h 1113404"/>
                <a:gd name="connsiteX202" fmla="*/ 1376592 w 1814027"/>
                <a:gd name="connsiteY202" fmla="*/ 288568 h 1113404"/>
                <a:gd name="connsiteX203" fmla="*/ 1375200 w 1814027"/>
                <a:gd name="connsiteY203" fmla="*/ 289567 h 1113404"/>
                <a:gd name="connsiteX204" fmla="*/ 1373203 w 1814027"/>
                <a:gd name="connsiteY204" fmla="*/ 292108 h 1113404"/>
                <a:gd name="connsiteX205" fmla="*/ 1372054 w 1814027"/>
                <a:gd name="connsiteY205" fmla="*/ 293227 h 1113404"/>
                <a:gd name="connsiteX206" fmla="*/ 1371146 w 1814027"/>
                <a:gd name="connsiteY206" fmla="*/ 293560 h 1113404"/>
                <a:gd name="connsiteX207" fmla="*/ 1369210 w 1814027"/>
                <a:gd name="connsiteY207" fmla="*/ 293651 h 1113404"/>
                <a:gd name="connsiteX208" fmla="*/ 1368363 w 1814027"/>
                <a:gd name="connsiteY208" fmla="*/ 294014 h 1113404"/>
                <a:gd name="connsiteX209" fmla="*/ 1366699 w 1814027"/>
                <a:gd name="connsiteY209" fmla="*/ 295889 h 1113404"/>
                <a:gd name="connsiteX210" fmla="*/ 1365611 w 1814027"/>
                <a:gd name="connsiteY210" fmla="*/ 297795 h 1113404"/>
                <a:gd name="connsiteX211" fmla="*/ 1364249 w 1814027"/>
                <a:gd name="connsiteY211" fmla="*/ 299308 h 1113404"/>
                <a:gd name="connsiteX212" fmla="*/ 1363765 w 1814027"/>
                <a:gd name="connsiteY212" fmla="*/ 299459 h 1113404"/>
                <a:gd name="connsiteX213" fmla="*/ 1361859 w 1814027"/>
                <a:gd name="connsiteY213" fmla="*/ 300034 h 1113404"/>
                <a:gd name="connsiteX214" fmla="*/ 1359741 w 1814027"/>
                <a:gd name="connsiteY214" fmla="*/ 299913 h 1113404"/>
                <a:gd name="connsiteX215" fmla="*/ 1357684 w 1814027"/>
                <a:gd name="connsiteY215" fmla="*/ 299338 h 1113404"/>
                <a:gd name="connsiteX216" fmla="*/ 1355658 w 1814027"/>
                <a:gd name="connsiteY216" fmla="*/ 298370 h 1113404"/>
                <a:gd name="connsiteX217" fmla="*/ 1353721 w 1814027"/>
                <a:gd name="connsiteY217" fmla="*/ 297099 h 1113404"/>
                <a:gd name="connsiteX218" fmla="*/ 1351513 w 1814027"/>
                <a:gd name="connsiteY218" fmla="*/ 294800 h 1113404"/>
                <a:gd name="connsiteX219" fmla="*/ 1350878 w 1814027"/>
                <a:gd name="connsiteY219" fmla="*/ 292562 h 1113404"/>
                <a:gd name="connsiteX220" fmla="*/ 1350727 w 1814027"/>
                <a:gd name="connsiteY220" fmla="*/ 289960 h 1113404"/>
                <a:gd name="connsiteX221" fmla="*/ 1349970 w 1814027"/>
                <a:gd name="connsiteY221" fmla="*/ 286542 h 1113404"/>
                <a:gd name="connsiteX222" fmla="*/ 1348579 w 1814027"/>
                <a:gd name="connsiteY222" fmla="*/ 284091 h 1113404"/>
                <a:gd name="connsiteX223" fmla="*/ 1346763 w 1814027"/>
                <a:gd name="connsiteY223" fmla="*/ 282730 h 1113404"/>
                <a:gd name="connsiteX224" fmla="*/ 1344676 w 1814027"/>
                <a:gd name="connsiteY224" fmla="*/ 282034 h 1113404"/>
                <a:gd name="connsiteX225" fmla="*/ 1342498 w 1814027"/>
                <a:gd name="connsiteY225" fmla="*/ 281641 h 1113404"/>
                <a:gd name="connsiteX226" fmla="*/ 1339080 w 1814027"/>
                <a:gd name="connsiteY226" fmla="*/ 280310 h 1113404"/>
                <a:gd name="connsiteX227" fmla="*/ 1336962 w 1814027"/>
                <a:gd name="connsiteY227" fmla="*/ 276770 h 1113404"/>
                <a:gd name="connsiteX228" fmla="*/ 1332183 w 1814027"/>
                <a:gd name="connsiteY228" fmla="*/ 259134 h 1113404"/>
                <a:gd name="connsiteX229" fmla="*/ 1332031 w 1814027"/>
                <a:gd name="connsiteY229" fmla="*/ 257258 h 1113404"/>
                <a:gd name="connsiteX230" fmla="*/ 1333574 w 1814027"/>
                <a:gd name="connsiteY230" fmla="*/ 255534 h 1113404"/>
                <a:gd name="connsiteX231" fmla="*/ 1341349 w 1814027"/>
                <a:gd name="connsiteY231" fmla="*/ 252297 h 1113404"/>
                <a:gd name="connsiteX232" fmla="*/ 1338989 w 1814027"/>
                <a:gd name="connsiteY232" fmla="*/ 249544 h 1113404"/>
                <a:gd name="connsiteX233" fmla="*/ 1338808 w 1814027"/>
                <a:gd name="connsiteY233" fmla="*/ 246337 h 1113404"/>
                <a:gd name="connsiteX234" fmla="*/ 1339170 w 1814027"/>
                <a:gd name="connsiteY234" fmla="*/ 242707 h 1113404"/>
                <a:gd name="connsiteX235" fmla="*/ 1338294 w 1814027"/>
                <a:gd name="connsiteY235" fmla="*/ 238623 h 1113404"/>
                <a:gd name="connsiteX236" fmla="*/ 1337356 w 1814027"/>
                <a:gd name="connsiteY236" fmla="*/ 237171 h 1113404"/>
                <a:gd name="connsiteX237" fmla="*/ 1336236 w 1814027"/>
                <a:gd name="connsiteY237" fmla="*/ 236203 h 1113404"/>
                <a:gd name="connsiteX238" fmla="*/ 1333695 w 1814027"/>
                <a:gd name="connsiteY238" fmla="*/ 234812 h 1113404"/>
                <a:gd name="connsiteX239" fmla="*/ 1332274 w 1814027"/>
                <a:gd name="connsiteY239" fmla="*/ 233511 h 1113404"/>
                <a:gd name="connsiteX240" fmla="*/ 1332122 w 1814027"/>
                <a:gd name="connsiteY240" fmla="*/ 231998 h 1113404"/>
                <a:gd name="connsiteX241" fmla="*/ 1332364 w 1814027"/>
                <a:gd name="connsiteY241" fmla="*/ 230244 h 1113404"/>
                <a:gd name="connsiteX242" fmla="*/ 1332152 w 1814027"/>
                <a:gd name="connsiteY242" fmla="*/ 228186 h 1113404"/>
                <a:gd name="connsiteX243" fmla="*/ 1331275 w 1814027"/>
                <a:gd name="connsiteY243" fmla="*/ 226371 h 1113404"/>
                <a:gd name="connsiteX244" fmla="*/ 1329218 w 1814027"/>
                <a:gd name="connsiteY244" fmla="*/ 223770 h 1113404"/>
                <a:gd name="connsiteX245" fmla="*/ 1328492 w 1814027"/>
                <a:gd name="connsiteY245" fmla="*/ 221894 h 1113404"/>
                <a:gd name="connsiteX246" fmla="*/ 1328401 w 1814027"/>
                <a:gd name="connsiteY246" fmla="*/ 219656 h 1113404"/>
                <a:gd name="connsiteX247" fmla="*/ 1328643 w 1814027"/>
                <a:gd name="connsiteY247" fmla="*/ 217871 h 1113404"/>
                <a:gd name="connsiteX248" fmla="*/ 1328522 w 1814027"/>
                <a:gd name="connsiteY248" fmla="*/ 216177 h 1113404"/>
                <a:gd name="connsiteX249" fmla="*/ 1327251 w 1814027"/>
                <a:gd name="connsiteY249" fmla="*/ 214240 h 1113404"/>
                <a:gd name="connsiteX250" fmla="*/ 1326042 w 1814027"/>
                <a:gd name="connsiteY250" fmla="*/ 213484 h 1113404"/>
                <a:gd name="connsiteX251" fmla="*/ 1323682 w 1814027"/>
                <a:gd name="connsiteY251" fmla="*/ 212970 h 1113404"/>
                <a:gd name="connsiteX252" fmla="*/ 1322774 w 1814027"/>
                <a:gd name="connsiteY252" fmla="*/ 212002 h 1113404"/>
                <a:gd name="connsiteX253" fmla="*/ 1322532 w 1814027"/>
                <a:gd name="connsiteY253" fmla="*/ 210550 h 1113404"/>
                <a:gd name="connsiteX254" fmla="*/ 1322532 w 1814027"/>
                <a:gd name="connsiteY254" fmla="*/ 206557 h 1113404"/>
                <a:gd name="connsiteX255" fmla="*/ 1322109 w 1814027"/>
                <a:gd name="connsiteY255" fmla="*/ 204923 h 1113404"/>
                <a:gd name="connsiteX256" fmla="*/ 1327584 w 1814027"/>
                <a:gd name="connsiteY256" fmla="*/ 203864 h 1113404"/>
                <a:gd name="connsiteX257" fmla="*/ 1329006 w 1814027"/>
                <a:gd name="connsiteY257" fmla="*/ 202624 h 1113404"/>
                <a:gd name="connsiteX258" fmla="*/ 1329853 w 1814027"/>
                <a:gd name="connsiteY258" fmla="*/ 200083 h 1113404"/>
                <a:gd name="connsiteX259" fmla="*/ 1328976 w 1814027"/>
                <a:gd name="connsiteY259" fmla="*/ 198480 h 1113404"/>
                <a:gd name="connsiteX260" fmla="*/ 1327191 w 1814027"/>
                <a:gd name="connsiteY260" fmla="*/ 197512 h 1113404"/>
                <a:gd name="connsiteX261" fmla="*/ 1325194 w 1814027"/>
                <a:gd name="connsiteY261" fmla="*/ 196906 h 1113404"/>
                <a:gd name="connsiteX262" fmla="*/ 1321746 w 1814027"/>
                <a:gd name="connsiteY262" fmla="*/ 196695 h 1113404"/>
                <a:gd name="connsiteX263" fmla="*/ 1314909 w 1814027"/>
                <a:gd name="connsiteY263" fmla="*/ 198147 h 1113404"/>
                <a:gd name="connsiteX264" fmla="*/ 1311521 w 1814027"/>
                <a:gd name="connsiteY264" fmla="*/ 197905 h 1113404"/>
                <a:gd name="connsiteX265" fmla="*/ 1308617 w 1814027"/>
                <a:gd name="connsiteY265" fmla="*/ 195273 h 1113404"/>
                <a:gd name="connsiteX266" fmla="*/ 1306620 w 1814027"/>
                <a:gd name="connsiteY266" fmla="*/ 190433 h 1113404"/>
                <a:gd name="connsiteX267" fmla="*/ 1304140 w 1814027"/>
                <a:gd name="connsiteY267" fmla="*/ 176910 h 1113404"/>
                <a:gd name="connsiteX268" fmla="*/ 1303353 w 1814027"/>
                <a:gd name="connsiteY268" fmla="*/ 174763 h 1113404"/>
                <a:gd name="connsiteX269" fmla="*/ 1302083 w 1814027"/>
                <a:gd name="connsiteY269" fmla="*/ 173311 h 1113404"/>
                <a:gd name="connsiteX270" fmla="*/ 1300146 w 1814027"/>
                <a:gd name="connsiteY270" fmla="*/ 172614 h 1113404"/>
                <a:gd name="connsiteX271" fmla="*/ 1298059 w 1814027"/>
                <a:gd name="connsiteY271" fmla="*/ 172948 h 1113404"/>
                <a:gd name="connsiteX272" fmla="*/ 1296062 w 1814027"/>
                <a:gd name="connsiteY272" fmla="*/ 173764 h 1113404"/>
                <a:gd name="connsiteX273" fmla="*/ 1294096 w 1814027"/>
                <a:gd name="connsiteY273" fmla="*/ 174127 h 1113404"/>
                <a:gd name="connsiteX274" fmla="*/ 1292190 w 1814027"/>
                <a:gd name="connsiteY274" fmla="*/ 173038 h 1113404"/>
                <a:gd name="connsiteX275" fmla="*/ 1290345 w 1814027"/>
                <a:gd name="connsiteY275" fmla="*/ 172161 h 1113404"/>
                <a:gd name="connsiteX276" fmla="*/ 1288741 w 1814027"/>
                <a:gd name="connsiteY276" fmla="*/ 172312 h 1113404"/>
                <a:gd name="connsiteX277" fmla="*/ 1284052 w 1814027"/>
                <a:gd name="connsiteY277" fmla="*/ 174944 h 1113404"/>
                <a:gd name="connsiteX278" fmla="*/ 1275794 w 1814027"/>
                <a:gd name="connsiteY278" fmla="*/ 178151 h 1113404"/>
                <a:gd name="connsiteX279" fmla="*/ 1268806 w 1814027"/>
                <a:gd name="connsiteY279" fmla="*/ 179603 h 1113404"/>
                <a:gd name="connsiteX280" fmla="*/ 1261455 w 1814027"/>
                <a:gd name="connsiteY280" fmla="*/ 179179 h 1113404"/>
                <a:gd name="connsiteX281" fmla="*/ 1259700 w 1814027"/>
                <a:gd name="connsiteY281" fmla="*/ 178574 h 1113404"/>
                <a:gd name="connsiteX282" fmla="*/ 1258218 w 1814027"/>
                <a:gd name="connsiteY282" fmla="*/ 177273 h 1113404"/>
                <a:gd name="connsiteX283" fmla="*/ 1257220 w 1814027"/>
                <a:gd name="connsiteY283" fmla="*/ 175065 h 1113404"/>
                <a:gd name="connsiteX284" fmla="*/ 1256735 w 1814027"/>
                <a:gd name="connsiteY284" fmla="*/ 172796 h 1113404"/>
                <a:gd name="connsiteX285" fmla="*/ 1256130 w 1814027"/>
                <a:gd name="connsiteY285" fmla="*/ 170799 h 1113404"/>
                <a:gd name="connsiteX286" fmla="*/ 1254708 w 1814027"/>
                <a:gd name="connsiteY286" fmla="*/ 169438 h 1113404"/>
                <a:gd name="connsiteX287" fmla="*/ 1251683 w 1814027"/>
                <a:gd name="connsiteY287" fmla="*/ 169045 h 1113404"/>
                <a:gd name="connsiteX288" fmla="*/ 1245180 w 1814027"/>
                <a:gd name="connsiteY288" fmla="*/ 170104 h 1113404"/>
                <a:gd name="connsiteX289" fmla="*/ 1241852 w 1814027"/>
                <a:gd name="connsiteY289" fmla="*/ 169015 h 1113404"/>
                <a:gd name="connsiteX290" fmla="*/ 1234682 w 1814027"/>
                <a:gd name="connsiteY290" fmla="*/ 166625 h 1113404"/>
                <a:gd name="connsiteX291" fmla="*/ 1230931 w 1814027"/>
                <a:gd name="connsiteY291" fmla="*/ 166080 h 1113404"/>
                <a:gd name="connsiteX292" fmla="*/ 1227422 w 1814027"/>
                <a:gd name="connsiteY292" fmla="*/ 166927 h 1113404"/>
                <a:gd name="connsiteX293" fmla="*/ 1223670 w 1814027"/>
                <a:gd name="connsiteY293" fmla="*/ 169832 h 1113404"/>
                <a:gd name="connsiteX294" fmla="*/ 1221886 w 1814027"/>
                <a:gd name="connsiteY294" fmla="*/ 170588 h 1113404"/>
                <a:gd name="connsiteX295" fmla="*/ 1219466 w 1814027"/>
                <a:gd name="connsiteY295" fmla="*/ 170134 h 1113404"/>
                <a:gd name="connsiteX296" fmla="*/ 1212235 w 1814027"/>
                <a:gd name="connsiteY296" fmla="*/ 167291 h 1113404"/>
                <a:gd name="connsiteX297" fmla="*/ 1218074 w 1814027"/>
                <a:gd name="connsiteY297" fmla="*/ 163569 h 1113404"/>
                <a:gd name="connsiteX298" fmla="*/ 1222067 w 1814027"/>
                <a:gd name="connsiteY298" fmla="*/ 159576 h 1113404"/>
                <a:gd name="connsiteX299" fmla="*/ 1224578 w 1814027"/>
                <a:gd name="connsiteY299" fmla="*/ 154645 h 1113404"/>
                <a:gd name="connsiteX300" fmla="*/ 1223731 w 1814027"/>
                <a:gd name="connsiteY300" fmla="*/ 149654 h 1113404"/>
                <a:gd name="connsiteX301" fmla="*/ 1221735 w 1814027"/>
                <a:gd name="connsiteY301" fmla="*/ 150712 h 1113404"/>
                <a:gd name="connsiteX302" fmla="*/ 1220131 w 1814027"/>
                <a:gd name="connsiteY302" fmla="*/ 150712 h 1113404"/>
                <a:gd name="connsiteX303" fmla="*/ 1218407 w 1814027"/>
                <a:gd name="connsiteY303" fmla="*/ 150380 h 1113404"/>
                <a:gd name="connsiteX304" fmla="*/ 1216713 w 1814027"/>
                <a:gd name="connsiteY304" fmla="*/ 149745 h 1113404"/>
                <a:gd name="connsiteX305" fmla="*/ 1215230 w 1814027"/>
                <a:gd name="connsiteY305" fmla="*/ 148837 h 1113404"/>
                <a:gd name="connsiteX306" fmla="*/ 1213264 w 1814027"/>
                <a:gd name="connsiteY306" fmla="*/ 147082 h 1113404"/>
                <a:gd name="connsiteX307" fmla="*/ 1212235 w 1814027"/>
                <a:gd name="connsiteY307" fmla="*/ 145842 h 1113404"/>
                <a:gd name="connsiteX308" fmla="*/ 1211842 w 1814027"/>
                <a:gd name="connsiteY308" fmla="*/ 144632 h 1113404"/>
                <a:gd name="connsiteX309" fmla="*/ 1212356 w 1814027"/>
                <a:gd name="connsiteY309" fmla="*/ 143755 h 1113404"/>
                <a:gd name="connsiteX310" fmla="*/ 1214565 w 1814027"/>
                <a:gd name="connsiteY310" fmla="*/ 143301 h 1113404"/>
                <a:gd name="connsiteX311" fmla="*/ 1215412 w 1814027"/>
                <a:gd name="connsiteY311" fmla="*/ 142484 h 1113404"/>
                <a:gd name="connsiteX312" fmla="*/ 1215684 w 1814027"/>
                <a:gd name="connsiteY312" fmla="*/ 140972 h 1113404"/>
                <a:gd name="connsiteX313" fmla="*/ 1215412 w 1814027"/>
                <a:gd name="connsiteY313" fmla="*/ 139671 h 1113404"/>
                <a:gd name="connsiteX314" fmla="*/ 1215019 w 1814027"/>
                <a:gd name="connsiteY314" fmla="*/ 138370 h 1113404"/>
                <a:gd name="connsiteX315" fmla="*/ 1214898 w 1814027"/>
                <a:gd name="connsiteY315" fmla="*/ 136857 h 1113404"/>
                <a:gd name="connsiteX316" fmla="*/ 1215170 w 1814027"/>
                <a:gd name="connsiteY316" fmla="*/ 135436 h 1113404"/>
                <a:gd name="connsiteX317" fmla="*/ 1216047 w 1814027"/>
                <a:gd name="connsiteY317" fmla="*/ 132804 h 1113404"/>
                <a:gd name="connsiteX318" fmla="*/ 1216289 w 1814027"/>
                <a:gd name="connsiteY318" fmla="*/ 131261 h 1113404"/>
                <a:gd name="connsiteX319" fmla="*/ 1216047 w 1814027"/>
                <a:gd name="connsiteY319" fmla="*/ 128024 h 1113404"/>
                <a:gd name="connsiteX320" fmla="*/ 1215200 w 1814027"/>
                <a:gd name="connsiteY320" fmla="*/ 125453 h 1113404"/>
                <a:gd name="connsiteX321" fmla="*/ 1213899 w 1814027"/>
                <a:gd name="connsiteY321" fmla="*/ 123365 h 1113404"/>
                <a:gd name="connsiteX322" fmla="*/ 1209664 w 1814027"/>
                <a:gd name="connsiteY322" fmla="*/ 118888 h 1113404"/>
                <a:gd name="connsiteX323" fmla="*/ 1208938 w 1814027"/>
                <a:gd name="connsiteY323" fmla="*/ 117739 h 1113404"/>
                <a:gd name="connsiteX324" fmla="*/ 1208514 w 1814027"/>
                <a:gd name="connsiteY324" fmla="*/ 116377 h 1113404"/>
                <a:gd name="connsiteX325" fmla="*/ 1208091 w 1814027"/>
                <a:gd name="connsiteY325" fmla="*/ 113322 h 1113404"/>
                <a:gd name="connsiteX326" fmla="*/ 1207637 w 1814027"/>
                <a:gd name="connsiteY326" fmla="*/ 112202 h 1113404"/>
                <a:gd name="connsiteX327" fmla="*/ 1206246 w 1814027"/>
                <a:gd name="connsiteY327" fmla="*/ 111325 h 1113404"/>
                <a:gd name="connsiteX328" fmla="*/ 1202676 w 1814027"/>
                <a:gd name="connsiteY328" fmla="*/ 110418 h 1113404"/>
                <a:gd name="connsiteX329" fmla="*/ 1201557 w 1814027"/>
                <a:gd name="connsiteY329" fmla="*/ 108935 h 1113404"/>
                <a:gd name="connsiteX330" fmla="*/ 1202525 w 1814027"/>
                <a:gd name="connsiteY330" fmla="*/ 105426 h 1113404"/>
                <a:gd name="connsiteX331" fmla="*/ 1206427 w 1814027"/>
                <a:gd name="connsiteY331" fmla="*/ 103339 h 1113404"/>
                <a:gd name="connsiteX332" fmla="*/ 1223549 w 1814027"/>
                <a:gd name="connsiteY332" fmla="*/ 99558 h 1113404"/>
                <a:gd name="connsiteX333" fmla="*/ 1229449 w 1814027"/>
                <a:gd name="connsiteY333" fmla="*/ 99648 h 1113404"/>
                <a:gd name="connsiteX334" fmla="*/ 1231415 w 1814027"/>
                <a:gd name="connsiteY334" fmla="*/ 99195 h 1113404"/>
                <a:gd name="connsiteX335" fmla="*/ 1235227 w 1814027"/>
                <a:gd name="connsiteY335" fmla="*/ 95020 h 1113404"/>
                <a:gd name="connsiteX336" fmla="*/ 1235075 w 1814027"/>
                <a:gd name="connsiteY336" fmla="*/ 88879 h 1113404"/>
                <a:gd name="connsiteX337" fmla="*/ 1232383 w 1814027"/>
                <a:gd name="connsiteY337" fmla="*/ 82889 h 1113404"/>
                <a:gd name="connsiteX338" fmla="*/ 1230901 w 1814027"/>
                <a:gd name="connsiteY338" fmla="*/ 81527 h 1113404"/>
                <a:gd name="connsiteX339" fmla="*/ 1228511 w 1814027"/>
                <a:gd name="connsiteY339" fmla="*/ 79289 h 1113404"/>
                <a:gd name="connsiteX340" fmla="*/ 1226544 w 1814027"/>
                <a:gd name="connsiteY340" fmla="*/ 77988 h 1113404"/>
                <a:gd name="connsiteX341" fmla="*/ 1223217 w 1814027"/>
                <a:gd name="connsiteY341" fmla="*/ 74479 h 1113404"/>
                <a:gd name="connsiteX342" fmla="*/ 1221402 w 1814027"/>
                <a:gd name="connsiteY342" fmla="*/ 73390 h 1113404"/>
                <a:gd name="connsiteX343" fmla="*/ 1220222 w 1814027"/>
                <a:gd name="connsiteY343" fmla="*/ 73390 h 1113404"/>
                <a:gd name="connsiteX344" fmla="*/ 1218316 w 1814027"/>
                <a:gd name="connsiteY344" fmla="*/ 74237 h 1113404"/>
                <a:gd name="connsiteX345" fmla="*/ 1217136 w 1814027"/>
                <a:gd name="connsiteY345" fmla="*/ 73814 h 1113404"/>
                <a:gd name="connsiteX346" fmla="*/ 1217136 w 1814027"/>
                <a:gd name="connsiteY346" fmla="*/ 73451 h 1113404"/>
                <a:gd name="connsiteX347" fmla="*/ 1216834 w 1814027"/>
                <a:gd name="connsiteY347" fmla="*/ 71393 h 1113404"/>
                <a:gd name="connsiteX348" fmla="*/ 1216562 w 1814027"/>
                <a:gd name="connsiteY348" fmla="*/ 70667 h 1113404"/>
                <a:gd name="connsiteX349" fmla="*/ 1215987 w 1814027"/>
                <a:gd name="connsiteY349" fmla="*/ 70093 h 1113404"/>
                <a:gd name="connsiteX350" fmla="*/ 1214656 w 1814027"/>
                <a:gd name="connsiteY350" fmla="*/ 69246 h 1113404"/>
                <a:gd name="connsiteX351" fmla="*/ 1214051 w 1814027"/>
                <a:gd name="connsiteY351" fmla="*/ 68731 h 1113404"/>
                <a:gd name="connsiteX352" fmla="*/ 1210330 w 1814027"/>
                <a:gd name="connsiteY352" fmla="*/ 64254 h 1113404"/>
                <a:gd name="connsiteX353" fmla="*/ 1208303 w 1814027"/>
                <a:gd name="connsiteY353" fmla="*/ 62832 h 1113404"/>
                <a:gd name="connsiteX354" fmla="*/ 1203281 w 1814027"/>
                <a:gd name="connsiteY354" fmla="*/ 62832 h 1113404"/>
                <a:gd name="connsiteX355" fmla="*/ 1203281 w 1814027"/>
                <a:gd name="connsiteY355" fmla="*/ 61501 h 1113404"/>
                <a:gd name="connsiteX356" fmla="*/ 1204098 w 1814027"/>
                <a:gd name="connsiteY356" fmla="*/ 59293 h 1113404"/>
                <a:gd name="connsiteX357" fmla="*/ 1203766 w 1814027"/>
                <a:gd name="connsiteY357" fmla="*/ 56721 h 1113404"/>
                <a:gd name="connsiteX358" fmla="*/ 1201678 w 1814027"/>
                <a:gd name="connsiteY358" fmla="*/ 53545 h 1113404"/>
                <a:gd name="connsiteX359" fmla="*/ 1200468 w 1814027"/>
                <a:gd name="connsiteY359" fmla="*/ 50943 h 1113404"/>
                <a:gd name="connsiteX360" fmla="*/ 1199893 w 1814027"/>
                <a:gd name="connsiteY360" fmla="*/ 48070 h 1113404"/>
                <a:gd name="connsiteX361" fmla="*/ 1199651 w 1814027"/>
                <a:gd name="connsiteY361" fmla="*/ 43108 h 1113404"/>
                <a:gd name="connsiteX362" fmla="*/ 1199318 w 1814027"/>
                <a:gd name="connsiteY362" fmla="*/ 40537 h 1113404"/>
                <a:gd name="connsiteX363" fmla="*/ 1199318 w 1814027"/>
                <a:gd name="connsiteY363" fmla="*/ 39720 h 1113404"/>
                <a:gd name="connsiteX364" fmla="*/ 1201042 w 1814027"/>
                <a:gd name="connsiteY364" fmla="*/ 36332 h 1113404"/>
                <a:gd name="connsiteX365" fmla="*/ 1201042 w 1814027"/>
                <a:gd name="connsiteY365" fmla="*/ 34638 h 1113404"/>
                <a:gd name="connsiteX366" fmla="*/ 1200740 w 1814027"/>
                <a:gd name="connsiteY366" fmla="*/ 33216 h 1113404"/>
                <a:gd name="connsiteX367" fmla="*/ 1200165 w 1814027"/>
                <a:gd name="connsiteY367" fmla="*/ 31764 h 1113404"/>
                <a:gd name="connsiteX368" fmla="*/ 1199198 w 1814027"/>
                <a:gd name="connsiteY368" fmla="*/ 30010 h 1113404"/>
                <a:gd name="connsiteX369" fmla="*/ 1197503 w 1814027"/>
                <a:gd name="connsiteY369" fmla="*/ 27559 h 1113404"/>
                <a:gd name="connsiteX370" fmla="*/ 1195809 w 1814027"/>
                <a:gd name="connsiteY370" fmla="*/ 25835 h 1113404"/>
                <a:gd name="connsiteX371" fmla="*/ 1189366 w 1814027"/>
                <a:gd name="connsiteY371" fmla="*/ 21811 h 1113404"/>
                <a:gd name="connsiteX372" fmla="*/ 1188004 w 1814027"/>
                <a:gd name="connsiteY372" fmla="*/ 20148 h 1113404"/>
                <a:gd name="connsiteX373" fmla="*/ 1185494 w 1814027"/>
                <a:gd name="connsiteY373" fmla="*/ 15005 h 1113404"/>
                <a:gd name="connsiteX374" fmla="*/ 1183618 w 1814027"/>
                <a:gd name="connsiteY374" fmla="*/ 12585 h 1113404"/>
                <a:gd name="connsiteX375" fmla="*/ 1179383 w 1814027"/>
                <a:gd name="connsiteY375" fmla="*/ 10104 h 1113404"/>
                <a:gd name="connsiteX376" fmla="*/ 1177416 w 1814027"/>
                <a:gd name="connsiteY376" fmla="*/ 8349 h 1113404"/>
                <a:gd name="connsiteX377" fmla="*/ 1175843 w 1814027"/>
                <a:gd name="connsiteY377" fmla="*/ 5687 h 1113404"/>
                <a:gd name="connsiteX378" fmla="*/ 1175027 w 1814027"/>
                <a:gd name="connsiteY378" fmla="*/ 3630 h 1113404"/>
                <a:gd name="connsiteX379" fmla="*/ 1173907 w 1814027"/>
                <a:gd name="connsiteY379" fmla="*/ 2178 h 1113404"/>
                <a:gd name="connsiteX380" fmla="*/ 1171396 w 1814027"/>
                <a:gd name="connsiteY380" fmla="*/ 1361 h 1113404"/>
                <a:gd name="connsiteX381" fmla="*/ 1166828 w 1814027"/>
                <a:gd name="connsiteY381" fmla="*/ 1210 h 1113404"/>
                <a:gd name="connsiteX382" fmla="*/ 1162230 w 1814027"/>
                <a:gd name="connsiteY382" fmla="*/ 1997 h 1113404"/>
                <a:gd name="connsiteX383" fmla="*/ 1153396 w 1814027"/>
                <a:gd name="connsiteY383" fmla="*/ 5778 h 1113404"/>
                <a:gd name="connsiteX384" fmla="*/ 1146499 w 1814027"/>
                <a:gd name="connsiteY384" fmla="*/ 12131 h 1113404"/>
                <a:gd name="connsiteX385" fmla="*/ 1144321 w 1814027"/>
                <a:gd name="connsiteY385" fmla="*/ 12312 h 1113404"/>
                <a:gd name="connsiteX386" fmla="*/ 1142597 w 1814027"/>
                <a:gd name="connsiteY386" fmla="*/ 9953 h 1113404"/>
                <a:gd name="connsiteX387" fmla="*/ 1143232 w 1814027"/>
                <a:gd name="connsiteY387" fmla="*/ 4235 h 1113404"/>
                <a:gd name="connsiteX388" fmla="*/ 1141326 w 1814027"/>
                <a:gd name="connsiteY388" fmla="*/ 1694 h 1113404"/>
                <a:gd name="connsiteX389" fmla="*/ 1139783 w 1814027"/>
                <a:gd name="connsiteY389" fmla="*/ 2450 h 1113404"/>
                <a:gd name="connsiteX390" fmla="*/ 1138422 w 1814027"/>
                <a:gd name="connsiteY390" fmla="*/ 3600 h 1113404"/>
                <a:gd name="connsiteX391" fmla="*/ 1136970 w 1814027"/>
                <a:gd name="connsiteY391" fmla="*/ 4507 h 1113404"/>
                <a:gd name="connsiteX392" fmla="*/ 1135155 w 1814027"/>
                <a:gd name="connsiteY392" fmla="*/ 4629 h 1113404"/>
                <a:gd name="connsiteX393" fmla="*/ 1133582 w 1814027"/>
                <a:gd name="connsiteY393" fmla="*/ 3933 h 1113404"/>
                <a:gd name="connsiteX394" fmla="*/ 1133280 w 1814027"/>
                <a:gd name="connsiteY394" fmla="*/ 3721 h 1113404"/>
                <a:gd name="connsiteX395" fmla="*/ 1130829 w 1814027"/>
                <a:gd name="connsiteY395" fmla="*/ 2087 h 1113404"/>
                <a:gd name="connsiteX396" fmla="*/ 1129104 w 1814027"/>
                <a:gd name="connsiteY396" fmla="*/ 1724 h 1113404"/>
                <a:gd name="connsiteX397" fmla="*/ 1122601 w 1814027"/>
                <a:gd name="connsiteY397" fmla="*/ 1724 h 1113404"/>
                <a:gd name="connsiteX398" fmla="*/ 1112769 w 1814027"/>
                <a:gd name="connsiteY398" fmla="*/ 0 h 1113404"/>
                <a:gd name="connsiteX399" fmla="*/ 1111408 w 1814027"/>
                <a:gd name="connsiteY399" fmla="*/ 242 h 1113404"/>
                <a:gd name="connsiteX400" fmla="*/ 1109774 w 1814027"/>
                <a:gd name="connsiteY400" fmla="*/ 1331 h 1113404"/>
                <a:gd name="connsiteX401" fmla="*/ 1107172 w 1814027"/>
                <a:gd name="connsiteY401" fmla="*/ 4296 h 1113404"/>
                <a:gd name="connsiteX402" fmla="*/ 1105872 w 1814027"/>
                <a:gd name="connsiteY402" fmla="*/ 5445 h 1113404"/>
                <a:gd name="connsiteX403" fmla="*/ 1103936 w 1814027"/>
                <a:gd name="connsiteY403" fmla="*/ 6111 h 1113404"/>
                <a:gd name="connsiteX404" fmla="*/ 1102937 w 1814027"/>
                <a:gd name="connsiteY404" fmla="*/ 6655 h 1113404"/>
                <a:gd name="connsiteX405" fmla="*/ 1101757 w 1814027"/>
                <a:gd name="connsiteY405" fmla="*/ 8773 h 1113404"/>
                <a:gd name="connsiteX406" fmla="*/ 1100971 w 1814027"/>
                <a:gd name="connsiteY406" fmla="*/ 9560 h 1113404"/>
                <a:gd name="connsiteX407" fmla="*/ 1100064 w 1814027"/>
                <a:gd name="connsiteY407" fmla="*/ 9771 h 1113404"/>
                <a:gd name="connsiteX408" fmla="*/ 1098732 w 1814027"/>
                <a:gd name="connsiteY408" fmla="*/ 9106 h 1113404"/>
                <a:gd name="connsiteX409" fmla="*/ 1097825 w 1814027"/>
                <a:gd name="connsiteY409" fmla="*/ 9045 h 1113404"/>
                <a:gd name="connsiteX410" fmla="*/ 1096010 w 1814027"/>
                <a:gd name="connsiteY410" fmla="*/ 9862 h 1113404"/>
                <a:gd name="connsiteX411" fmla="*/ 1085634 w 1814027"/>
                <a:gd name="connsiteY411" fmla="*/ 18423 h 1113404"/>
                <a:gd name="connsiteX412" fmla="*/ 1083818 w 1814027"/>
                <a:gd name="connsiteY412" fmla="*/ 19300 h 1113404"/>
                <a:gd name="connsiteX413" fmla="*/ 1082004 w 1814027"/>
                <a:gd name="connsiteY413" fmla="*/ 19119 h 1113404"/>
                <a:gd name="connsiteX414" fmla="*/ 1079008 w 1814027"/>
                <a:gd name="connsiteY414" fmla="*/ 16880 h 1113404"/>
                <a:gd name="connsiteX415" fmla="*/ 1077314 w 1814027"/>
                <a:gd name="connsiteY415" fmla="*/ 16124 h 1113404"/>
                <a:gd name="connsiteX416" fmla="*/ 1074350 w 1814027"/>
                <a:gd name="connsiteY416" fmla="*/ 16124 h 1113404"/>
                <a:gd name="connsiteX417" fmla="*/ 1068390 w 1814027"/>
                <a:gd name="connsiteY417" fmla="*/ 17636 h 1113404"/>
                <a:gd name="connsiteX418" fmla="*/ 1065365 w 1814027"/>
                <a:gd name="connsiteY418" fmla="*/ 17636 h 1113404"/>
                <a:gd name="connsiteX419" fmla="*/ 1045550 w 1814027"/>
                <a:gd name="connsiteY419" fmla="*/ 7986 h 1113404"/>
                <a:gd name="connsiteX420" fmla="*/ 1040740 w 1814027"/>
                <a:gd name="connsiteY420" fmla="*/ 9348 h 1113404"/>
                <a:gd name="connsiteX421" fmla="*/ 1032058 w 1814027"/>
                <a:gd name="connsiteY421" fmla="*/ 6383 h 1113404"/>
                <a:gd name="connsiteX422" fmla="*/ 1027944 w 1814027"/>
                <a:gd name="connsiteY422" fmla="*/ 7170 h 1113404"/>
                <a:gd name="connsiteX423" fmla="*/ 1026552 w 1814027"/>
                <a:gd name="connsiteY423" fmla="*/ 12342 h 1113404"/>
                <a:gd name="connsiteX424" fmla="*/ 1027036 w 1814027"/>
                <a:gd name="connsiteY424" fmla="*/ 13976 h 1113404"/>
                <a:gd name="connsiteX425" fmla="*/ 1028912 w 1814027"/>
                <a:gd name="connsiteY425" fmla="*/ 17122 h 1113404"/>
                <a:gd name="connsiteX426" fmla="*/ 1029305 w 1814027"/>
                <a:gd name="connsiteY426" fmla="*/ 18423 h 1113404"/>
                <a:gd name="connsiteX427" fmla="*/ 1028730 w 1814027"/>
                <a:gd name="connsiteY427" fmla="*/ 20117 h 1113404"/>
                <a:gd name="connsiteX428" fmla="*/ 1027611 w 1814027"/>
                <a:gd name="connsiteY428" fmla="*/ 21025 h 1113404"/>
                <a:gd name="connsiteX429" fmla="*/ 1026371 w 1814027"/>
                <a:gd name="connsiteY429" fmla="*/ 21690 h 1113404"/>
                <a:gd name="connsiteX430" fmla="*/ 1025402 w 1814027"/>
                <a:gd name="connsiteY430" fmla="*/ 22628 h 1113404"/>
                <a:gd name="connsiteX431" fmla="*/ 1024465 w 1814027"/>
                <a:gd name="connsiteY431" fmla="*/ 25290 h 1113404"/>
                <a:gd name="connsiteX432" fmla="*/ 1023255 w 1814027"/>
                <a:gd name="connsiteY432" fmla="*/ 34366 h 1113404"/>
                <a:gd name="connsiteX433" fmla="*/ 1020320 w 1814027"/>
                <a:gd name="connsiteY433" fmla="*/ 40174 h 1113404"/>
                <a:gd name="connsiteX434" fmla="*/ 1015843 w 1814027"/>
                <a:gd name="connsiteY434" fmla="*/ 43441 h 1113404"/>
                <a:gd name="connsiteX435" fmla="*/ 1001988 w 1814027"/>
                <a:gd name="connsiteY435" fmla="*/ 49491 h 1113404"/>
                <a:gd name="connsiteX436" fmla="*/ 1000113 w 1814027"/>
                <a:gd name="connsiteY436" fmla="*/ 49612 h 1113404"/>
                <a:gd name="connsiteX437" fmla="*/ 994062 w 1814027"/>
                <a:gd name="connsiteY437" fmla="*/ 48130 h 1113404"/>
                <a:gd name="connsiteX438" fmla="*/ 990402 w 1814027"/>
                <a:gd name="connsiteY438" fmla="*/ 48463 h 1113404"/>
                <a:gd name="connsiteX439" fmla="*/ 985017 w 1814027"/>
                <a:gd name="connsiteY439" fmla="*/ 50943 h 1113404"/>
                <a:gd name="connsiteX440" fmla="*/ 983323 w 1814027"/>
                <a:gd name="connsiteY440" fmla="*/ 51246 h 1113404"/>
                <a:gd name="connsiteX441" fmla="*/ 981477 w 1814027"/>
                <a:gd name="connsiteY441" fmla="*/ 50187 h 1113404"/>
                <a:gd name="connsiteX442" fmla="*/ 981054 w 1814027"/>
                <a:gd name="connsiteY442" fmla="*/ 47888 h 1113404"/>
                <a:gd name="connsiteX443" fmla="*/ 981054 w 1814027"/>
                <a:gd name="connsiteY443" fmla="*/ 45135 h 1113404"/>
                <a:gd name="connsiteX444" fmla="*/ 980480 w 1814027"/>
                <a:gd name="connsiteY444" fmla="*/ 42654 h 1113404"/>
                <a:gd name="connsiteX445" fmla="*/ 978120 w 1814027"/>
                <a:gd name="connsiteY445" fmla="*/ 40627 h 1113404"/>
                <a:gd name="connsiteX446" fmla="*/ 974822 w 1814027"/>
                <a:gd name="connsiteY446" fmla="*/ 39992 h 1113404"/>
                <a:gd name="connsiteX447" fmla="*/ 968620 w 1814027"/>
                <a:gd name="connsiteY447" fmla="*/ 40507 h 1113404"/>
                <a:gd name="connsiteX448" fmla="*/ 957126 w 1814027"/>
                <a:gd name="connsiteY448" fmla="*/ 41081 h 1113404"/>
                <a:gd name="connsiteX449" fmla="*/ 939519 w 1814027"/>
                <a:gd name="connsiteY449" fmla="*/ 37935 h 1113404"/>
                <a:gd name="connsiteX450" fmla="*/ 930292 w 1814027"/>
                <a:gd name="connsiteY450" fmla="*/ 37935 h 1113404"/>
                <a:gd name="connsiteX451" fmla="*/ 922367 w 1814027"/>
                <a:gd name="connsiteY451" fmla="*/ 40961 h 1113404"/>
                <a:gd name="connsiteX452" fmla="*/ 920339 w 1814027"/>
                <a:gd name="connsiteY452" fmla="*/ 43411 h 1113404"/>
                <a:gd name="connsiteX453" fmla="*/ 918766 w 1814027"/>
                <a:gd name="connsiteY453" fmla="*/ 46406 h 1113404"/>
                <a:gd name="connsiteX454" fmla="*/ 917133 w 1814027"/>
                <a:gd name="connsiteY454" fmla="*/ 48917 h 1113404"/>
                <a:gd name="connsiteX455" fmla="*/ 914774 w 1814027"/>
                <a:gd name="connsiteY455" fmla="*/ 49854 h 1113404"/>
                <a:gd name="connsiteX456" fmla="*/ 912353 w 1814027"/>
                <a:gd name="connsiteY456" fmla="*/ 48977 h 1113404"/>
                <a:gd name="connsiteX457" fmla="*/ 907755 w 1814027"/>
                <a:gd name="connsiteY457" fmla="*/ 45347 h 1113404"/>
                <a:gd name="connsiteX458" fmla="*/ 905304 w 1814027"/>
                <a:gd name="connsiteY458" fmla="*/ 44046 h 1113404"/>
                <a:gd name="connsiteX459" fmla="*/ 901432 w 1814027"/>
                <a:gd name="connsiteY459" fmla="*/ 43592 h 1113404"/>
                <a:gd name="connsiteX460" fmla="*/ 887638 w 1814027"/>
                <a:gd name="connsiteY460" fmla="*/ 44349 h 1113404"/>
                <a:gd name="connsiteX461" fmla="*/ 885127 w 1814027"/>
                <a:gd name="connsiteY461" fmla="*/ 45105 h 1113404"/>
                <a:gd name="connsiteX462" fmla="*/ 883554 w 1814027"/>
                <a:gd name="connsiteY462" fmla="*/ 46708 h 1113404"/>
                <a:gd name="connsiteX463" fmla="*/ 884159 w 1814027"/>
                <a:gd name="connsiteY463" fmla="*/ 49249 h 1113404"/>
                <a:gd name="connsiteX464" fmla="*/ 883645 w 1814027"/>
                <a:gd name="connsiteY464" fmla="*/ 50006 h 1113404"/>
                <a:gd name="connsiteX465" fmla="*/ 883342 w 1814027"/>
                <a:gd name="connsiteY465" fmla="*/ 50732 h 1113404"/>
                <a:gd name="connsiteX466" fmla="*/ 883130 w 1814027"/>
                <a:gd name="connsiteY466" fmla="*/ 51458 h 1113404"/>
                <a:gd name="connsiteX467" fmla="*/ 882798 w 1814027"/>
                <a:gd name="connsiteY467" fmla="*/ 52214 h 1113404"/>
                <a:gd name="connsiteX468" fmla="*/ 885732 w 1814027"/>
                <a:gd name="connsiteY468" fmla="*/ 52607 h 1113404"/>
                <a:gd name="connsiteX469" fmla="*/ 886700 w 1814027"/>
                <a:gd name="connsiteY469" fmla="*/ 54604 h 1113404"/>
                <a:gd name="connsiteX470" fmla="*/ 885823 w 1814027"/>
                <a:gd name="connsiteY470" fmla="*/ 56540 h 1113404"/>
                <a:gd name="connsiteX471" fmla="*/ 883190 w 1814027"/>
                <a:gd name="connsiteY471" fmla="*/ 56721 h 1113404"/>
                <a:gd name="connsiteX472" fmla="*/ 882495 w 1814027"/>
                <a:gd name="connsiteY472" fmla="*/ 55844 h 1113404"/>
                <a:gd name="connsiteX473" fmla="*/ 881950 w 1814027"/>
                <a:gd name="connsiteY473" fmla="*/ 55602 h 1113404"/>
                <a:gd name="connsiteX474" fmla="*/ 881346 w 1814027"/>
                <a:gd name="connsiteY474" fmla="*/ 55844 h 1113404"/>
                <a:gd name="connsiteX475" fmla="*/ 880529 w 1814027"/>
                <a:gd name="connsiteY475" fmla="*/ 56419 h 1113404"/>
                <a:gd name="connsiteX476" fmla="*/ 879742 w 1814027"/>
                <a:gd name="connsiteY476" fmla="*/ 57357 h 1113404"/>
                <a:gd name="connsiteX477" fmla="*/ 879560 w 1814027"/>
                <a:gd name="connsiteY477" fmla="*/ 58295 h 1113404"/>
                <a:gd name="connsiteX478" fmla="*/ 879621 w 1814027"/>
                <a:gd name="connsiteY478" fmla="*/ 59051 h 1113404"/>
                <a:gd name="connsiteX479" fmla="*/ 879621 w 1814027"/>
                <a:gd name="connsiteY479" fmla="*/ 59535 h 1113404"/>
                <a:gd name="connsiteX480" fmla="*/ 878563 w 1814027"/>
                <a:gd name="connsiteY480" fmla="*/ 60836 h 1113404"/>
                <a:gd name="connsiteX481" fmla="*/ 877443 w 1814027"/>
                <a:gd name="connsiteY481" fmla="*/ 61955 h 1113404"/>
                <a:gd name="connsiteX482" fmla="*/ 876203 w 1814027"/>
                <a:gd name="connsiteY482" fmla="*/ 62893 h 1113404"/>
                <a:gd name="connsiteX483" fmla="*/ 874781 w 1814027"/>
                <a:gd name="connsiteY483" fmla="*/ 63709 h 1113404"/>
                <a:gd name="connsiteX484" fmla="*/ 871937 w 1814027"/>
                <a:gd name="connsiteY484" fmla="*/ 64738 h 1113404"/>
                <a:gd name="connsiteX485" fmla="*/ 871876 w 1814027"/>
                <a:gd name="connsiteY485" fmla="*/ 65282 h 1113404"/>
                <a:gd name="connsiteX486" fmla="*/ 872149 w 1814027"/>
                <a:gd name="connsiteY486" fmla="*/ 66220 h 1113404"/>
                <a:gd name="connsiteX487" fmla="*/ 872693 w 1814027"/>
                <a:gd name="connsiteY487" fmla="*/ 66856 h 1113404"/>
                <a:gd name="connsiteX488" fmla="*/ 872693 w 1814027"/>
                <a:gd name="connsiteY488" fmla="*/ 67884 h 1113404"/>
                <a:gd name="connsiteX489" fmla="*/ 871332 w 1814027"/>
                <a:gd name="connsiteY489" fmla="*/ 69639 h 1113404"/>
                <a:gd name="connsiteX490" fmla="*/ 870424 w 1814027"/>
                <a:gd name="connsiteY490" fmla="*/ 70546 h 1113404"/>
                <a:gd name="connsiteX491" fmla="*/ 869577 w 1814027"/>
                <a:gd name="connsiteY491" fmla="*/ 70939 h 1113404"/>
                <a:gd name="connsiteX492" fmla="*/ 866582 w 1814027"/>
                <a:gd name="connsiteY492" fmla="*/ 70667 h 1113404"/>
                <a:gd name="connsiteX493" fmla="*/ 865766 w 1814027"/>
                <a:gd name="connsiteY493" fmla="*/ 70939 h 1113404"/>
                <a:gd name="connsiteX494" fmla="*/ 865373 w 1814027"/>
                <a:gd name="connsiteY494" fmla="*/ 71877 h 1113404"/>
                <a:gd name="connsiteX495" fmla="*/ 865312 w 1814027"/>
                <a:gd name="connsiteY495" fmla="*/ 73299 h 1113404"/>
                <a:gd name="connsiteX496" fmla="*/ 865040 w 1814027"/>
                <a:gd name="connsiteY496" fmla="*/ 74570 h 1113404"/>
                <a:gd name="connsiteX497" fmla="*/ 862952 w 1814027"/>
                <a:gd name="connsiteY497" fmla="*/ 75598 h 1113404"/>
                <a:gd name="connsiteX498" fmla="*/ 862287 w 1814027"/>
                <a:gd name="connsiteY498" fmla="*/ 76566 h 1113404"/>
                <a:gd name="connsiteX499" fmla="*/ 861833 w 1814027"/>
                <a:gd name="connsiteY499" fmla="*/ 77565 h 1113404"/>
                <a:gd name="connsiteX500" fmla="*/ 861288 w 1814027"/>
                <a:gd name="connsiteY500" fmla="*/ 78019 h 1113404"/>
                <a:gd name="connsiteX501" fmla="*/ 861017 w 1814027"/>
                <a:gd name="connsiteY501" fmla="*/ 78533 h 1113404"/>
                <a:gd name="connsiteX502" fmla="*/ 858808 w 1814027"/>
                <a:gd name="connsiteY502" fmla="*/ 81195 h 1113404"/>
                <a:gd name="connsiteX503" fmla="*/ 858172 w 1814027"/>
                <a:gd name="connsiteY503" fmla="*/ 82253 h 1113404"/>
                <a:gd name="connsiteX504" fmla="*/ 857749 w 1814027"/>
                <a:gd name="connsiteY504" fmla="*/ 82707 h 1113404"/>
                <a:gd name="connsiteX505" fmla="*/ 857749 w 1814027"/>
                <a:gd name="connsiteY505" fmla="*/ 83282 h 1113404"/>
                <a:gd name="connsiteX506" fmla="*/ 858506 w 1814027"/>
                <a:gd name="connsiteY506" fmla="*/ 84704 h 1113404"/>
                <a:gd name="connsiteX507" fmla="*/ 858596 w 1814027"/>
                <a:gd name="connsiteY507" fmla="*/ 87033 h 1113404"/>
                <a:gd name="connsiteX508" fmla="*/ 856811 w 1814027"/>
                <a:gd name="connsiteY508" fmla="*/ 88727 h 1113404"/>
                <a:gd name="connsiteX509" fmla="*/ 854542 w 1814027"/>
                <a:gd name="connsiteY509" fmla="*/ 90089 h 1113404"/>
                <a:gd name="connsiteX510" fmla="*/ 853302 w 1814027"/>
                <a:gd name="connsiteY510" fmla="*/ 91389 h 1113404"/>
                <a:gd name="connsiteX511" fmla="*/ 855329 w 1814027"/>
                <a:gd name="connsiteY511" fmla="*/ 92327 h 1113404"/>
                <a:gd name="connsiteX512" fmla="*/ 856146 w 1814027"/>
                <a:gd name="connsiteY512" fmla="*/ 92418 h 1113404"/>
                <a:gd name="connsiteX513" fmla="*/ 856146 w 1814027"/>
                <a:gd name="connsiteY513" fmla="*/ 93538 h 1113404"/>
                <a:gd name="connsiteX514" fmla="*/ 855027 w 1814027"/>
                <a:gd name="connsiteY514" fmla="*/ 94627 h 1113404"/>
                <a:gd name="connsiteX515" fmla="*/ 854724 w 1814027"/>
                <a:gd name="connsiteY515" fmla="*/ 96381 h 1113404"/>
                <a:gd name="connsiteX516" fmla="*/ 854603 w 1814027"/>
                <a:gd name="connsiteY516" fmla="*/ 98226 h 1113404"/>
                <a:gd name="connsiteX517" fmla="*/ 854028 w 1814027"/>
                <a:gd name="connsiteY517" fmla="*/ 99648 h 1113404"/>
                <a:gd name="connsiteX518" fmla="*/ 852909 w 1814027"/>
                <a:gd name="connsiteY518" fmla="*/ 100132 h 1113404"/>
                <a:gd name="connsiteX519" fmla="*/ 849793 w 1814027"/>
                <a:gd name="connsiteY519" fmla="*/ 100223 h 1113404"/>
                <a:gd name="connsiteX520" fmla="*/ 848522 w 1814027"/>
                <a:gd name="connsiteY520" fmla="*/ 100586 h 1113404"/>
                <a:gd name="connsiteX521" fmla="*/ 849097 w 1814027"/>
                <a:gd name="connsiteY521" fmla="*/ 102583 h 1113404"/>
                <a:gd name="connsiteX522" fmla="*/ 847918 w 1814027"/>
                <a:gd name="connsiteY522" fmla="*/ 105729 h 1113404"/>
                <a:gd name="connsiteX523" fmla="*/ 848522 w 1814027"/>
                <a:gd name="connsiteY523" fmla="*/ 107786 h 1113404"/>
                <a:gd name="connsiteX524" fmla="*/ 847827 w 1814027"/>
                <a:gd name="connsiteY524" fmla="*/ 108421 h 1113404"/>
                <a:gd name="connsiteX525" fmla="*/ 847010 w 1814027"/>
                <a:gd name="connsiteY525" fmla="*/ 109540 h 1113404"/>
                <a:gd name="connsiteX526" fmla="*/ 846466 w 1814027"/>
                <a:gd name="connsiteY526" fmla="*/ 109934 h 1113404"/>
                <a:gd name="connsiteX527" fmla="*/ 846768 w 1814027"/>
                <a:gd name="connsiteY527" fmla="*/ 110509 h 1113404"/>
                <a:gd name="connsiteX528" fmla="*/ 847131 w 1814027"/>
                <a:gd name="connsiteY528" fmla="*/ 111930 h 1113404"/>
                <a:gd name="connsiteX529" fmla="*/ 845861 w 1814027"/>
                <a:gd name="connsiteY529" fmla="*/ 112445 h 1113404"/>
                <a:gd name="connsiteX530" fmla="*/ 842957 w 1814027"/>
                <a:gd name="connsiteY530" fmla="*/ 114895 h 1113404"/>
                <a:gd name="connsiteX531" fmla="*/ 842957 w 1814027"/>
                <a:gd name="connsiteY531" fmla="*/ 115984 h 1113404"/>
                <a:gd name="connsiteX532" fmla="*/ 844923 w 1814027"/>
                <a:gd name="connsiteY532" fmla="*/ 117527 h 1113404"/>
                <a:gd name="connsiteX533" fmla="*/ 845800 w 1814027"/>
                <a:gd name="connsiteY533" fmla="*/ 118011 h 1113404"/>
                <a:gd name="connsiteX534" fmla="*/ 845800 w 1814027"/>
                <a:gd name="connsiteY534" fmla="*/ 118948 h 1113404"/>
                <a:gd name="connsiteX535" fmla="*/ 845014 w 1814027"/>
                <a:gd name="connsiteY535" fmla="*/ 119160 h 1113404"/>
                <a:gd name="connsiteX536" fmla="*/ 844590 w 1814027"/>
                <a:gd name="connsiteY536" fmla="*/ 119433 h 1113404"/>
                <a:gd name="connsiteX537" fmla="*/ 844257 w 1814027"/>
                <a:gd name="connsiteY537" fmla="*/ 119735 h 1113404"/>
                <a:gd name="connsiteX538" fmla="*/ 843743 w 1814027"/>
                <a:gd name="connsiteY538" fmla="*/ 120068 h 1113404"/>
                <a:gd name="connsiteX539" fmla="*/ 843743 w 1814027"/>
                <a:gd name="connsiteY539" fmla="*/ 120975 h 1113404"/>
                <a:gd name="connsiteX540" fmla="*/ 844923 w 1814027"/>
                <a:gd name="connsiteY540" fmla="*/ 122397 h 1113404"/>
                <a:gd name="connsiteX541" fmla="*/ 848281 w 1814027"/>
                <a:gd name="connsiteY541" fmla="*/ 123275 h 1113404"/>
                <a:gd name="connsiteX542" fmla="*/ 849944 w 1814027"/>
                <a:gd name="connsiteY542" fmla="*/ 124031 h 1113404"/>
                <a:gd name="connsiteX543" fmla="*/ 849188 w 1814027"/>
                <a:gd name="connsiteY543" fmla="*/ 125695 h 1113404"/>
                <a:gd name="connsiteX544" fmla="*/ 848674 w 1814027"/>
                <a:gd name="connsiteY544" fmla="*/ 126391 h 1113404"/>
                <a:gd name="connsiteX545" fmla="*/ 847827 w 1814027"/>
                <a:gd name="connsiteY545" fmla="*/ 127086 h 1113404"/>
                <a:gd name="connsiteX546" fmla="*/ 849037 w 1814027"/>
                <a:gd name="connsiteY546" fmla="*/ 127933 h 1113404"/>
                <a:gd name="connsiteX547" fmla="*/ 850065 w 1814027"/>
                <a:gd name="connsiteY547" fmla="*/ 128932 h 1113404"/>
                <a:gd name="connsiteX548" fmla="*/ 850519 w 1814027"/>
                <a:gd name="connsiteY548" fmla="*/ 130021 h 1113404"/>
                <a:gd name="connsiteX549" fmla="*/ 849944 w 1814027"/>
                <a:gd name="connsiteY549" fmla="*/ 131231 h 1113404"/>
                <a:gd name="connsiteX550" fmla="*/ 850429 w 1814027"/>
                <a:gd name="connsiteY550" fmla="*/ 133015 h 1113404"/>
                <a:gd name="connsiteX551" fmla="*/ 851276 w 1814027"/>
                <a:gd name="connsiteY551" fmla="*/ 134135 h 1113404"/>
                <a:gd name="connsiteX552" fmla="*/ 852304 w 1814027"/>
                <a:gd name="connsiteY552" fmla="*/ 134800 h 1113404"/>
                <a:gd name="connsiteX553" fmla="*/ 853363 w 1814027"/>
                <a:gd name="connsiteY553" fmla="*/ 135193 h 1113404"/>
                <a:gd name="connsiteX554" fmla="*/ 853363 w 1814027"/>
                <a:gd name="connsiteY554" fmla="*/ 136313 h 1113404"/>
                <a:gd name="connsiteX555" fmla="*/ 852032 w 1814027"/>
                <a:gd name="connsiteY555" fmla="*/ 136071 h 1113404"/>
                <a:gd name="connsiteX556" fmla="*/ 850882 w 1814027"/>
                <a:gd name="connsiteY556" fmla="*/ 136434 h 1113404"/>
                <a:gd name="connsiteX557" fmla="*/ 850126 w 1814027"/>
                <a:gd name="connsiteY557" fmla="*/ 137493 h 1113404"/>
                <a:gd name="connsiteX558" fmla="*/ 849944 w 1814027"/>
                <a:gd name="connsiteY558" fmla="*/ 139368 h 1113404"/>
                <a:gd name="connsiteX559" fmla="*/ 850338 w 1814027"/>
                <a:gd name="connsiteY559" fmla="*/ 141123 h 1113404"/>
                <a:gd name="connsiteX560" fmla="*/ 851124 w 1814027"/>
                <a:gd name="connsiteY560" fmla="*/ 141486 h 1113404"/>
                <a:gd name="connsiteX561" fmla="*/ 852152 w 1814027"/>
                <a:gd name="connsiteY561" fmla="*/ 141547 h 1113404"/>
                <a:gd name="connsiteX562" fmla="*/ 853363 w 1814027"/>
                <a:gd name="connsiteY562" fmla="*/ 142393 h 1113404"/>
                <a:gd name="connsiteX563" fmla="*/ 853816 w 1814027"/>
                <a:gd name="connsiteY563" fmla="*/ 143392 h 1113404"/>
                <a:gd name="connsiteX564" fmla="*/ 854815 w 1814027"/>
                <a:gd name="connsiteY564" fmla="*/ 147567 h 1113404"/>
                <a:gd name="connsiteX565" fmla="*/ 855329 w 1814027"/>
                <a:gd name="connsiteY565" fmla="*/ 148353 h 1113404"/>
                <a:gd name="connsiteX566" fmla="*/ 856025 w 1814027"/>
                <a:gd name="connsiteY566" fmla="*/ 149230 h 1113404"/>
                <a:gd name="connsiteX567" fmla="*/ 856116 w 1814027"/>
                <a:gd name="connsiteY567" fmla="*/ 150017 h 1113404"/>
                <a:gd name="connsiteX568" fmla="*/ 854815 w 1814027"/>
                <a:gd name="connsiteY568" fmla="*/ 150501 h 1113404"/>
                <a:gd name="connsiteX569" fmla="*/ 855420 w 1814027"/>
                <a:gd name="connsiteY569" fmla="*/ 154676 h 1113404"/>
                <a:gd name="connsiteX570" fmla="*/ 852607 w 1814027"/>
                <a:gd name="connsiteY570" fmla="*/ 157398 h 1113404"/>
                <a:gd name="connsiteX571" fmla="*/ 849551 w 1814027"/>
                <a:gd name="connsiteY571" fmla="*/ 159455 h 1113404"/>
                <a:gd name="connsiteX572" fmla="*/ 849279 w 1814027"/>
                <a:gd name="connsiteY572" fmla="*/ 161633 h 1113404"/>
                <a:gd name="connsiteX573" fmla="*/ 847494 w 1814027"/>
                <a:gd name="connsiteY573" fmla="*/ 164538 h 1113404"/>
                <a:gd name="connsiteX574" fmla="*/ 847222 w 1814027"/>
                <a:gd name="connsiteY574" fmla="*/ 164810 h 1113404"/>
                <a:gd name="connsiteX575" fmla="*/ 847101 w 1814027"/>
                <a:gd name="connsiteY575" fmla="*/ 168349 h 1113404"/>
                <a:gd name="connsiteX576" fmla="*/ 847040 w 1814027"/>
                <a:gd name="connsiteY576" fmla="*/ 168500 h 1113404"/>
                <a:gd name="connsiteX577" fmla="*/ 846647 w 1814027"/>
                <a:gd name="connsiteY577" fmla="*/ 169347 h 1113404"/>
                <a:gd name="connsiteX578" fmla="*/ 845528 w 1814027"/>
                <a:gd name="connsiteY578" fmla="*/ 169589 h 1113404"/>
                <a:gd name="connsiteX579" fmla="*/ 844771 w 1814027"/>
                <a:gd name="connsiteY579" fmla="*/ 168198 h 1113404"/>
                <a:gd name="connsiteX580" fmla="*/ 843622 w 1814027"/>
                <a:gd name="connsiteY580" fmla="*/ 167048 h 1113404"/>
                <a:gd name="connsiteX581" fmla="*/ 842351 w 1814027"/>
                <a:gd name="connsiteY581" fmla="*/ 166262 h 1113404"/>
                <a:gd name="connsiteX582" fmla="*/ 841020 w 1814027"/>
                <a:gd name="connsiteY582" fmla="*/ 165929 h 1113404"/>
                <a:gd name="connsiteX583" fmla="*/ 839598 w 1814027"/>
                <a:gd name="connsiteY583" fmla="*/ 166080 h 1113404"/>
                <a:gd name="connsiteX584" fmla="*/ 838025 w 1814027"/>
                <a:gd name="connsiteY584" fmla="*/ 165627 h 1113404"/>
                <a:gd name="connsiteX585" fmla="*/ 835787 w 1814027"/>
                <a:gd name="connsiteY585" fmla="*/ 162511 h 1113404"/>
                <a:gd name="connsiteX586" fmla="*/ 834304 w 1814027"/>
                <a:gd name="connsiteY586" fmla="*/ 161240 h 1113404"/>
                <a:gd name="connsiteX587" fmla="*/ 832852 w 1814027"/>
                <a:gd name="connsiteY587" fmla="*/ 160907 h 1113404"/>
                <a:gd name="connsiteX588" fmla="*/ 829858 w 1814027"/>
                <a:gd name="connsiteY588" fmla="*/ 160907 h 1113404"/>
                <a:gd name="connsiteX589" fmla="*/ 828315 w 1814027"/>
                <a:gd name="connsiteY589" fmla="*/ 160363 h 1113404"/>
                <a:gd name="connsiteX590" fmla="*/ 826984 w 1814027"/>
                <a:gd name="connsiteY590" fmla="*/ 159244 h 1113404"/>
                <a:gd name="connsiteX591" fmla="*/ 823898 w 1814027"/>
                <a:gd name="connsiteY591" fmla="*/ 155583 h 1113404"/>
                <a:gd name="connsiteX592" fmla="*/ 823172 w 1814027"/>
                <a:gd name="connsiteY592" fmla="*/ 154010 h 1113404"/>
                <a:gd name="connsiteX593" fmla="*/ 823444 w 1814027"/>
                <a:gd name="connsiteY593" fmla="*/ 153859 h 1113404"/>
                <a:gd name="connsiteX594" fmla="*/ 824291 w 1814027"/>
                <a:gd name="connsiteY594" fmla="*/ 150773 h 1113404"/>
                <a:gd name="connsiteX595" fmla="*/ 824473 w 1814027"/>
                <a:gd name="connsiteY595" fmla="*/ 149623 h 1113404"/>
                <a:gd name="connsiteX596" fmla="*/ 824473 w 1814027"/>
                <a:gd name="connsiteY596" fmla="*/ 148081 h 1113404"/>
                <a:gd name="connsiteX597" fmla="*/ 824382 w 1814027"/>
                <a:gd name="connsiteY597" fmla="*/ 146901 h 1113404"/>
                <a:gd name="connsiteX598" fmla="*/ 824110 w 1814027"/>
                <a:gd name="connsiteY598" fmla="*/ 145933 h 1113404"/>
                <a:gd name="connsiteX599" fmla="*/ 823504 w 1814027"/>
                <a:gd name="connsiteY599" fmla="*/ 144935 h 1113404"/>
                <a:gd name="connsiteX600" fmla="*/ 822204 w 1814027"/>
                <a:gd name="connsiteY600" fmla="*/ 143815 h 1113404"/>
                <a:gd name="connsiteX601" fmla="*/ 817122 w 1814027"/>
                <a:gd name="connsiteY601" fmla="*/ 141516 h 1113404"/>
                <a:gd name="connsiteX602" fmla="*/ 815700 w 1814027"/>
                <a:gd name="connsiteY602" fmla="*/ 140124 h 1113404"/>
                <a:gd name="connsiteX603" fmla="*/ 811949 w 1814027"/>
                <a:gd name="connsiteY603" fmla="*/ 135375 h 1113404"/>
                <a:gd name="connsiteX604" fmla="*/ 809135 w 1814027"/>
                <a:gd name="connsiteY604" fmla="*/ 133469 h 1113404"/>
                <a:gd name="connsiteX605" fmla="*/ 806231 w 1814027"/>
                <a:gd name="connsiteY605" fmla="*/ 132743 h 1113404"/>
                <a:gd name="connsiteX606" fmla="*/ 792134 w 1814027"/>
                <a:gd name="connsiteY606" fmla="*/ 133076 h 1113404"/>
                <a:gd name="connsiteX607" fmla="*/ 789835 w 1814027"/>
                <a:gd name="connsiteY607" fmla="*/ 133711 h 1113404"/>
                <a:gd name="connsiteX608" fmla="*/ 783724 w 1814027"/>
                <a:gd name="connsiteY608" fmla="*/ 136676 h 1113404"/>
                <a:gd name="connsiteX609" fmla="*/ 782453 w 1814027"/>
                <a:gd name="connsiteY609" fmla="*/ 136736 h 1113404"/>
                <a:gd name="connsiteX610" fmla="*/ 780850 w 1814027"/>
                <a:gd name="connsiteY610" fmla="*/ 135738 h 1113404"/>
                <a:gd name="connsiteX611" fmla="*/ 779822 w 1814027"/>
                <a:gd name="connsiteY611" fmla="*/ 135647 h 1113404"/>
                <a:gd name="connsiteX612" fmla="*/ 778551 w 1814027"/>
                <a:gd name="connsiteY612" fmla="*/ 136464 h 1113404"/>
                <a:gd name="connsiteX613" fmla="*/ 776857 w 1814027"/>
                <a:gd name="connsiteY613" fmla="*/ 139338 h 1113404"/>
                <a:gd name="connsiteX614" fmla="*/ 775829 w 1814027"/>
                <a:gd name="connsiteY614" fmla="*/ 140367 h 1113404"/>
                <a:gd name="connsiteX615" fmla="*/ 774043 w 1814027"/>
                <a:gd name="connsiteY615" fmla="*/ 140790 h 1113404"/>
                <a:gd name="connsiteX616" fmla="*/ 764908 w 1814027"/>
                <a:gd name="connsiteY616" fmla="*/ 139368 h 1113404"/>
                <a:gd name="connsiteX617" fmla="*/ 763637 w 1814027"/>
                <a:gd name="connsiteY617" fmla="*/ 137765 h 1113404"/>
                <a:gd name="connsiteX618" fmla="*/ 762760 w 1814027"/>
                <a:gd name="connsiteY618" fmla="*/ 135496 h 1113404"/>
                <a:gd name="connsiteX619" fmla="*/ 761096 w 1814027"/>
                <a:gd name="connsiteY619" fmla="*/ 132804 h 1113404"/>
                <a:gd name="connsiteX620" fmla="*/ 759341 w 1814027"/>
                <a:gd name="connsiteY620" fmla="*/ 131685 h 1113404"/>
                <a:gd name="connsiteX621" fmla="*/ 757133 w 1814027"/>
                <a:gd name="connsiteY621" fmla="*/ 131412 h 1113404"/>
                <a:gd name="connsiteX622" fmla="*/ 754804 w 1814027"/>
                <a:gd name="connsiteY622" fmla="*/ 131745 h 1113404"/>
                <a:gd name="connsiteX623" fmla="*/ 752807 w 1814027"/>
                <a:gd name="connsiteY623" fmla="*/ 132531 h 1113404"/>
                <a:gd name="connsiteX624" fmla="*/ 750720 w 1814027"/>
                <a:gd name="connsiteY624" fmla="*/ 134286 h 1113404"/>
                <a:gd name="connsiteX625" fmla="*/ 749298 w 1814027"/>
                <a:gd name="connsiteY625" fmla="*/ 136222 h 1113404"/>
                <a:gd name="connsiteX626" fmla="*/ 747785 w 1814027"/>
                <a:gd name="connsiteY626" fmla="*/ 137886 h 1113404"/>
                <a:gd name="connsiteX627" fmla="*/ 745456 w 1814027"/>
                <a:gd name="connsiteY627" fmla="*/ 138763 h 1113404"/>
                <a:gd name="connsiteX628" fmla="*/ 742824 w 1814027"/>
                <a:gd name="connsiteY628" fmla="*/ 139035 h 1113404"/>
                <a:gd name="connsiteX629" fmla="*/ 741463 w 1814027"/>
                <a:gd name="connsiteY629" fmla="*/ 139671 h 1113404"/>
                <a:gd name="connsiteX630" fmla="*/ 740464 w 1814027"/>
                <a:gd name="connsiteY630" fmla="*/ 141425 h 1113404"/>
                <a:gd name="connsiteX631" fmla="*/ 738982 w 1814027"/>
                <a:gd name="connsiteY631" fmla="*/ 145055 h 1113404"/>
                <a:gd name="connsiteX632" fmla="*/ 737500 w 1814027"/>
                <a:gd name="connsiteY632" fmla="*/ 147445 h 1113404"/>
                <a:gd name="connsiteX633" fmla="*/ 735503 w 1814027"/>
                <a:gd name="connsiteY633" fmla="*/ 147445 h 1113404"/>
                <a:gd name="connsiteX634" fmla="*/ 731117 w 1814027"/>
                <a:gd name="connsiteY634" fmla="*/ 145812 h 1113404"/>
                <a:gd name="connsiteX635" fmla="*/ 728818 w 1814027"/>
                <a:gd name="connsiteY635" fmla="*/ 146478 h 1113404"/>
                <a:gd name="connsiteX636" fmla="*/ 726156 w 1814027"/>
                <a:gd name="connsiteY636" fmla="*/ 148625 h 1113404"/>
                <a:gd name="connsiteX637" fmla="*/ 724885 w 1814027"/>
                <a:gd name="connsiteY637" fmla="*/ 149654 h 1113404"/>
                <a:gd name="connsiteX638" fmla="*/ 722828 w 1814027"/>
                <a:gd name="connsiteY638" fmla="*/ 150319 h 1113404"/>
                <a:gd name="connsiteX639" fmla="*/ 720529 w 1814027"/>
                <a:gd name="connsiteY639" fmla="*/ 149109 h 1113404"/>
                <a:gd name="connsiteX640" fmla="*/ 719288 w 1814027"/>
                <a:gd name="connsiteY640" fmla="*/ 146447 h 1113404"/>
                <a:gd name="connsiteX641" fmla="*/ 718441 w 1814027"/>
                <a:gd name="connsiteY641" fmla="*/ 143210 h 1113404"/>
                <a:gd name="connsiteX642" fmla="*/ 717292 w 1814027"/>
                <a:gd name="connsiteY642" fmla="*/ 140336 h 1113404"/>
                <a:gd name="connsiteX643" fmla="*/ 715235 w 1814027"/>
                <a:gd name="connsiteY643" fmla="*/ 138128 h 1113404"/>
                <a:gd name="connsiteX644" fmla="*/ 713571 w 1814027"/>
                <a:gd name="connsiteY644" fmla="*/ 136979 h 1113404"/>
                <a:gd name="connsiteX645" fmla="*/ 712875 w 1814027"/>
                <a:gd name="connsiteY645" fmla="*/ 135284 h 1113404"/>
                <a:gd name="connsiteX646" fmla="*/ 713843 w 1814027"/>
                <a:gd name="connsiteY646" fmla="*/ 131442 h 1113404"/>
                <a:gd name="connsiteX647" fmla="*/ 713450 w 1814027"/>
                <a:gd name="connsiteY647" fmla="*/ 127540 h 1113404"/>
                <a:gd name="connsiteX648" fmla="*/ 712270 w 1814027"/>
                <a:gd name="connsiteY648" fmla="*/ 125090 h 1113404"/>
                <a:gd name="connsiteX649" fmla="*/ 708912 w 1814027"/>
                <a:gd name="connsiteY649" fmla="*/ 120401 h 1113404"/>
                <a:gd name="connsiteX650" fmla="*/ 706795 w 1814027"/>
                <a:gd name="connsiteY650" fmla="*/ 115016 h 1113404"/>
                <a:gd name="connsiteX651" fmla="*/ 705554 w 1814027"/>
                <a:gd name="connsiteY651" fmla="*/ 113171 h 1113404"/>
                <a:gd name="connsiteX652" fmla="*/ 703134 w 1814027"/>
                <a:gd name="connsiteY652" fmla="*/ 111779 h 1113404"/>
                <a:gd name="connsiteX653" fmla="*/ 699081 w 1814027"/>
                <a:gd name="connsiteY653" fmla="*/ 110872 h 1113404"/>
                <a:gd name="connsiteX654" fmla="*/ 697023 w 1814027"/>
                <a:gd name="connsiteY654" fmla="*/ 110962 h 1113404"/>
                <a:gd name="connsiteX655" fmla="*/ 695057 w 1814027"/>
                <a:gd name="connsiteY655" fmla="*/ 111628 h 1113404"/>
                <a:gd name="connsiteX656" fmla="*/ 693061 w 1814027"/>
                <a:gd name="connsiteY656" fmla="*/ 113443 h 1113404"/>
                <a:gd name="connsiteX657" fmla="*/ 690671 w 1814027"/>
                <a:gd name="connsiteY657" fmla="*/ 118132 h 1113404"/>
                <a:gd name="connsiteX658" fmla="*/ 688765 w 1814027"/>
                <a:gd name="connsiteY658" fmla="*/ 120037 h 1113404"/>
                <a:gd name="connsiteX659" fmla="*/ 686103 w 1814027"/>
                <a:gd name="connsiteY659" fmla="*/ 120975 h 1113404"/>
                <a:gd name="connsiteX660" fmla="*/ 679901 w 1814027"/>
                <a:gd name="connsiteY660" fmla="*/ 121036 h 1113404"/>
                <a:gd name="connsiteX661" fmla="*/ 676967 w 1814027"/>
                <a:gd name="connsiteY661" fmla="*/ 121611 h 1113404"/>
                <a:gd name="connsiteX662" fmla="*/ 673790 w 1814027"/>
                <a:gd name="connsiteY662" fmla="*/ 123214 h 1113404"/>
                <a:gd name="connsiteX663" fmla="*/ 670553 w 1814027"/>
                <a:gd name="connsiteY663" fmla="*/ 125543 h 1113404"/>
                <a:gd name="connsiteX664" fmla="*/ 667740 w 1814027"/>
                <a:gd name="connsiteY664" fmla="*/ 128690 h 1113404"/>
                <a:gd name="connsiteX665" fmla="*/ 665744 w 1814027"/>
                <a:gd name="connsiteY665" fmla="*/ 132774 h 1113404"/>
                <a:gd name="connsiteX666" fmla="*/ 665471 w 1814027"/>
                <a:gd name="connsiteY666" fmla="*/ 135284 h 1113404"/>
                <a:gd name="connsiteX667" fmla="*/ 665683 w 1814027"/>
                <a:gd name="connsiteY667" fmla="*/ 140941 h 1113404"/>
                <a:gd name="connsiteX668" fmla="*/ 665199 w 1814027"/>
                <a:gd name="connsiteY668" fmla="*/ 143119 h 1113404"/>
                <a:gd name="connsiteX669" fmla="*/ 663384 w 1814027"/>
                <a:gd name="connsiteY669" fmla="*/ 144995 h 1113404"/>
                <a:gd name="connsiteX670" fmla="*/ 662325 w 1814027"/>
                <a:gd name="connsiteY670" fmla="*/ 143482 h 1113404"/>
                <a:gd name="connsiteX671" fmla="*/ 661599 w 1814027"/>
                <a:gd name="connsiteY671" fmla="*/ 140730 h 1113404"/>
                <a:gd name="connsiteX672" fmla="*/ 660903 w 1814027"/>
                <a:gd name="connsiteY672" fmla="*/ 138915 h 1113404"/>
                <a:gd name="connsiteX673" fmla="*/ 659602 w 1814027"/>
                <a:gd name="connsiteY673" fmla="*/ 138794 h 1113404"/>
                <a:gd name="connsiteX674" fmla="*/ 658271 w 1814027"/>
                <a:gd name="connsiteY674" fmla="*/ 139580 h 1113404"/>
                <a:gd name="connsiteX675" fmla="*/ 656819 w 1814027"/>
                <a:gd name="connsiteY675" fmla="*/ 140185 h 1113404"/>
                <a:gd name="connsiteX676" fmla="*/ 655156 w 1814027"/>
                <a:gd name="connsiteY676" fmla="*/ 139429 h 1113404"/>
                <a:gd name="connsiteX677" fmla="*/ 654187 w 1814027"/>
                <a:gd name="connsiteY677" fmla="*/ 137856 h 1113404"/>
                <a:gd name="connsiteX678" fmla="*/ 653522 w 1814027"/>
                <a:gd name="connsiteY678" fmla="*/ 135768 h 1113404"/>
                <a:gd name="connsiteX679" fmla="*/ 651949 w 1814027"/>
                <a:gd name="connsiteY679" fmla="*/ 127480 h 1113404"/>
                <a:gd name="connsiteX680" fmla="*/ 651707 w 1814027"/>
                <a:gd name="connsiteY680" fmla="*/ 124454 h 1113404"/>
                <a:gd name="connsiteX681" fmla="*/ 650829 w 1814027"/>
                <a:gd name="connsiteY681" fmla="*/ 122427 h 1113404"/>
                <a:gd name="connsiteX682" fmla="*/ 648228 w 1814027"/>
                <a:gd name="connsiteY682" fmla="*/ 121429 h 1113404"/>
                <a:gd name="connsiteX683" fmla="*/ 639213 w 1814027"/>
                <a:gd name="connsiteY683" fmla="*/ 119674 h 1113404"/>
                <a:gd name="connsiteX684" fmla="*/ 636460 w 1814027"/>
                <a:gd name="connsiteY684" fmla="*/ 119735 h 1113404"/>
                <a:gd name="connsiteX685" fmla="*/ 633858 w 1814027"/>
                <a:gd name="connsiteY685" fmla="*/ 120552 h 1113404"/>
                <a:gd name="connsiteX686" fmla="*/ 628837 w 1814027"/>
                <a:gd name="connsiteY686" fmla="*/ 123698 h 1113404"/>
                <a:gd name="connsiteX687" fmla="*/ 626235 w 1814027"/>
                <a:gd name="connsiteY687" fmla="*/ 126028 h 1113404"/>
                <a:gd name="connsiteX688" fmla="*/ 624934 w 1814027"/>
                <a:gd name="connsiteY688" fmla="*/ 126663 h 1113404"/>
                <a:gd name="connsiteX689" fmla="*/ 623633 w 1814027"/>
                <a:gd name="connsiteY689" fmla="*/ 126179 h 1113404"/>
                <a:gd name="connsiteX690" fmla="*/ 623059 w 1814027"/>
                <a:gd name="connsiteY690" fmla="*/ 124999 h 1113404"/>
                <a:gd name="connsiteX691" fmla="*/ 621970 w 1814027"/>
                <a:gd name="connsiteY691" fmla="*/ 120885 h 1113404"/>
                <a:gd name="connsiteX692" fmla="*/ 621304 w 1814027"/>
                <a:gd name="connsiteY692" fmla="*/ 119342 h 1113404"/>
                <a:gd name="connsiteX693" fmla="*/ 620064 w 1814027"/>
                <a:gd name="connsiteY693" fmla="*/ 118071 h 1113404"/>
                <a:gd name="connsiteX694" fmla="*/ 617160 w 1814027"/>
                <a:gd name="connsiteY694" fmla="*/ 116407 h 1113404"/>
                <a:gd name="connsiteX695" fmla="*/ 615980 w 1814027"/>
                <a:gd name="connsiteY695" fmla="*/ 115288 h 1113404"/>
                <a:gd name="connsiteX696" fmla="*/ 615133 w 1814027"/>
                <a:gd name="connsiteY696" fmla="*/ 113624 h 1113404"/>
                <a:gd name="connsiteX697" fmla="*/ 615042 w 1814027"/>
                <a:gd name="connsiteY697" fmla="*/ 112263 h 1113404"/>
                <a:gd name="connsiteX698" fmla="*/ 615103 w 1814027"/>
                <a:gd name="connsiteY698" fmla="*/ 110992 h 1113404"/>
                <a:gd name="connsiteX699" fmla="*/ 614740 w 1814027"/>
                <a:gd name="connsiteY699" fmla="*/ 109510 h 1113404"/>
                <a:gd name="connsiteX700" fmla="*/ 613257 w 1814027"/>
                <a:gd name="connsiteY700" fmla="*/ 107937 h 1113404"/>
                <a:gd name="connsiteX701" fmla="*/ 611200 w 1814027"/>
                <a:gd name="connsiteY701" fmla="*/ 107816 h 1113404"/>
                <a:gd name="connsiteX702" fmla="*/ 608931 w 1814027"/>
                <a:gd name="connsiteY702" fmla="*/ 108814 h 1113404"/>
                <a:gd name="connsiteX703" fmla="*/ 606783 w 1814027"/>
                <a:gd name="connsiteY703" fmla="*/ 110629 h 1113404"/>
                <a:gd name="connsiteX704" fmla="*/ 604817 w 1814027"/>
                <a:gd name="connsiteY704" fmla="*/ 113413 h 1113404"/>
                <a:gd name="connsiteX705" fmla="*/ 601550 w 1814027"/>
                <a:gd name="connsiteY705" fmla="*/ 119191 h 1113404"/>
                <a:gd name="connsiteX706" fmla="*/ 599130 w 1814027"/>
                <a:gd name="connsiteY706" fmla="*/ 121217 h 1113404"/>
                <a:gd name="connsiteX707" fmla="*/ 597194 w 1814027"/>
                <a:gd name="connsiteY707" fmla="*/ 121883 h 1113404"/>
                <a:gd name="connsiteX708" fmla="*/ 587362 w 1814027"/>
                <a:gd name="connsiteY708" fmla="*/ 121883 h 1113404"/>
                <a:gd name="connsiteX709" fmla="*/ 585517 w 1814027"/>
                <a:gd name="connsiteY709" fmla="*/ 121429 h 1113404"/>
                <a:gd name="connsiteX710" fmla="*/ 583641 w 1814027"/>
                <a:gd name="connsiteY710" fmla="*/ 120491 h 1113404"/>
                <a:gd name="connsiteX711" fmla="*/ 577561 w 1814027"/>
                <a:gd name="connsiteY711" fmla="*/ 114380 h 1113404"/>
                <a:gd name="connsiteX712" fmla="*/ 575413 w 1814027"/>
                <a:gd name="connsiteY712" fmla="*/ 113291 h 1113404"/>
                <a:gd name="connsiteX713" fmla="*/ 573083 w 1814027"/>
                <a:gd name="connsiteY713" fmla="*/ 113654 h 1113404"/>
                <a:gd name="connsiteX714" fmla="*/ 571208 w 1814027"/>
                <a:gd name="connsiteY714" fmla="*/ 115288 h 1113404"/>
                <a:gd name="connsiteX715" fmla="*/ 569907 w 1814027"/>
                <a:gd name="connsiteY715" fmla="*/ 117769 h 1113404"/>
                <a:gd name="connsiteX716" fmla="*/ 569272 w 1814027"/>
                <a:gd name="connsiteY716" fmla="*/ 120764 h 1113404"/>
                <a:gd name="connsiteX717" fmla="*/ 569332 w 1814027"/>
                <a:gd name="connsiteY717" fmla="*/ 122639 h 1113404"/>
                <a:gd name="connsiteX718" fmla="*/ 569604 w 1814027"/>
                <a:gd name="connsiteY718" fmla="*/ 124242 h 1113404"/>
                <a:gd name="connsiteX719" fmla="*/ 569695 w 1814027"/>
                <a:gd name="connsiteY719" fmla="*/ 125876 h 1113404"/>
                <a:gd name="connsiteX720" fmla="*/ 569211 w 1814027"/>
                <a:gd name="connsiteY720" fmla="*/ 127843 h 1113404"/>
                <a:gd name="connsiteX721" fmla="*/ 568697 w 1814027"/>
                <a:gd name="connsiteY721" fmla="*/ 128810 h 1113404"/>
                <a:gd name="connsiteX722" fmla="*/ 564008 w 1814027"/>
                <a:gd name="connsiteY722" fmla="*/ 134679 h 1113404"/>
                <a:gd name="connsiteX723" fmla="*/ 562949 w 1814027"/>
                <a:gd name="connsiteY723" fmla="*/ 135617 h 1113404"/>
                <a:gd name="connsiteX724" fmla="*/ 561346 w 1814027"/>
                <a:gd name="connsiteY724" fmla="*/ 135829 h 1113404"/>
                <a:gd name="connsiteX725" fmla="*/ 559924 w 1814027"/>
                <a:gd name="connsiteY725" fmla="*/ 135254 h 1113404"/>
                <a:gd name="connsiteX726" fmla="*/ 558290 w 1814027"/>
                <a:gd name="connsiteY726" fmla="*/ 134074 h 1113404"/>
                <a:gd name="connsiteX727" fmla="*/ 556929 w 1814027"/>
                <a:gd name="connsiteY727" fmla="*/ 132683 h 1113404"/>
                <a:gd name="connsiteX728" fmla="*/ 556506 w 1814027"/>
                <a:gd name="connsiteY728" fmla="*/ 131896 h 1113404"/>
                <a:gd name="connsiteX729" fmla="*/ 556294 w 1814027"/>
                <a:gd name="connsiteY729" fmla="*/ 131503 h 1113404"/>
                <a:gd name="connsiteX730" fmla="*/ 559652 w 1814027"/>
                <a:gd name="connsiteY730" fmla="*/ 124031 h 1113404"/>
                <a:gd name="connsiteX731" fmla="*/ 560438 w 1814027"/>
                <a:gd name="connsiteY731" fmla="*/ 120280 h 1113404"/>
                <a:gd name="connsiteX732" fmla="*/ 559198 w 1814027"/>
                <a:gd name="connsiteY732" fmla="*/ 117164 h 1113404"/>
                <a:gd name="connsiteX733" fmla="*/ 557595 w 1814027"/>
                <a:gd name="connsiteY733" fmla="*/ 116347 h 1113404"/>
                <a:gd name="connsiteX734" fmla="*/ 551938 w 1814027"/>
                <a:gd name="connsiteY734" fmla="*/ 116166 h 1113404"/>
                <a:gd name="connsiteX735" fmla="*/ 541047 w 1814027"/>
                <a:gd name="connsiteY735" fmla="*/ 112112 h 1113404"/>
                <a:gd name="connsiteX736" fmla="*/ 541047 w 1814027"/>
                <a:gd name="connsiteY736" fmla="*/ 112112 h 1113404"/>
                <a:gd name="connsiteX737" fmla="*/ 537508 w 1814027"/>
                <a:gd name="connsiteY737" fmla="*/ 112021 h 1113404"/>
                <a:gd name="connsiteX738" fmla="*/ 535662 w 1814027"/>
                <a:gd name="connsiteY738" fmla="*/ 112928 h 1113404"/>
                <a:gd name="connsiteX739" fmla="*/ 532879 w 1814027"/>
                <a:gd name="connsiteY739" fmla="*/ 115742 h 1113404"/>
                <a:gd name="connsiteX740" fmla="*/ 530671 w 1814027"/>
                <a:gd name="connsiteY740" fmla="*/ 116740 h 1113404"/>
                <a:gd name="connsiteX741" fmla="*/ 528584 w 1814027"/>
                <a:gd name="connsiteY741" fmla="*/ 116892 h 1113404"/>
                <a:gd name="connsiteX742" fmla="*/ 522624 w 1814027"/>
                <a:gd name="connsiteY742" fmla="*/ 115954 h 1113404"/>
                <a:gd name="connsiteX743" fmla="*/ 518600 w 1814027"/>
                <a:gd name="connsiteY743" fmla="*/ 117133 h 1113404"/>
                <a:gd name="connsiteX744" fmla="*/ 516392 w 1814027"/>
                <a:gd name="connsiteY744" fmla="*/ 117345 h 1113404"/>
                <a:gd name="connsiteX745" fmla="*/ 515061 w 1814027"/>
                <a:gd name="connsiteY745" fmla="*/ 116166 h 1113404"/>
                <a:gd name="connsiteX746" fmla="*/ 515636 w 1814027"/>
                <a:gd name="connsiteY746" fmla="*/ 113654 h 1113404"/>
                <a:gd name="connsiteX747" fmla="*/ 517118 w 1814027"/>
                <a:gd name="connsiteY747" fmla="*/ 110448 h 1113404"/>
                <a:gd name="connsiteX748" fmla="*/ 517421 w 1814027"/>
                <a:gd name="connsiteY748" fmla="*/ 107877 h 1113404"/>
                <a:gd name="connsiteX749" fmla="*/ 514456 w 1814027"/>
                <a:gd name="connsiteY749" fmla="*/ 107211 h 1113404"/>
                <a:gd name="connsiteX750" fmla="*/ 512036 w 1814027"/>
                <a:gd name="connsiteY750" fmla="*/ 107483 h 1113404"/>
                <a:gd name="connsiteX751" fmla="*/ 510009 w 1814027"/>
                <a:gd name="connsiteY751" fmla="*/ 107271 h 1113404"/>
                <a:gd name="connsiteX752" fmla="*/ 508557 w 1814027"/>
                <a:gd name="connsiteY752" fmla="*/ 105971 h 1113404"/>
                <a:gd name="connsiteX753" fmla="*/ 507740 w 1814027"/>
                <a:gd name="connsiteY753" fmla="*/ 103036 h 1113404"/>
                <a:gd name="connsiteX754" fmla="*/ 507801 w 1814027"/>
                <a:gd name="connsiteY754" fmla="*/ 99073 h 1113404"/>
                <a:gd name="connsiteX755" fmla="*/ 508073 w 1814027"/>
                <a:gd name="connsiteY755" fmla="*/ 95897 h 1113404"/>
                <a:gd name="connsiteX756" fmla="*/ 507438 w 1814027"/>
                <a:gd name="connsiteY756" fmla="*/ 93567 h 1113404"/>
                <a:gd name="connsiteX757" fmla="*/ 504745 w 1814027"/>
                <a:gd name="connsiteY757" fmla="*/ 92115 h 1113404"/>
                <a:gd name="connsiteX758" fmla="*/ 500601 w 1814027"/>
                <a:gd name="connsiteY758" fmla="*/ 91269 h 1113404"/>
                <a:gd name="connsiteX759" fmla="*/ 491707 w 1814027"/>
                <a:gd name="connsiteY759" fmla="*/ 90966 h 1113404"/>
                <a:gd name="connsiteX760" fmla="*/ 481573 w 1814027"/>
                <a:gd name="connsiteY760" fmla="*/ 94264 h 1113404"/>
                <a:gd name="connsiteX761" fmla="*/ 474917 w 1814027"/>
                <a:gd name="connsiteY761" fmla="*/ 93235 h 1113404"/>
                <a:gd name="connsiteX762" fmla="*/ 455889 w 1814027"/>
                <a:gd name="connsiteY762" fmla="*/ 85460 h 1113404"/>
                <a:gd name="connsiteX763" fmla="*/ 433745 w 1814027"/>
                <a:gd name="connsiteY763" fmla="*/ 84825 h 1113404"/>
                <a:gd name="connsiteX764" fmla="*/ 432323 w 1814027"/>
                <a:gd name="connsiteY764" fmla="*/ 84159 h 1113404"/>
                <a:gd name="connsiteX765" fmla="*/ 431083 w 1814027"/>
                <a:gd name="connsiteY765" fmla="*/ 82556 h 1113404"/>
                <a:gd name="connsiteX766" fmla="*/ 430841 w 1814027"/>
                <a:gd name="connsiteY766" fmla="*/ 81104 h 1113404"/>
                <a:gd name="connsiteX767" fmla="*/ 431143 w 1814027"/>
                <a:gd name="connsiteY767" fmla="*/ 79743 h 1113404"/>
                <a:gd name="connsiteX768" fmla="*/ 431143 w 1814027"/>
                <a:gd name="connsiteY768" fmla="*/ 78684 h 1113404"/>
                <a:gd name="connsiteX769" fmla="*/ 429903 w 1814027"/>
                <a:gd name="connsiteY769" fmla="*/ 78109 h 1113404"/>
                <a:gd name="connsiteX770" fmla="*/ 406519 w 1814027"/>
                <a:gd name="connsiteY770" fmla="*/ 77202 h 1113404"/>
                <a:gd name="connsiteX771" fmla="*/ 403494 w 1814027"/>
                <a:gd name="connsiteY771" fmla="*/ 75992 h 1113404"/>
                <a:gd name="connsiteX772" fmla="*/ 396990 w 1814027"/>
                <a:gd name="connsiteY772" fmla="*/ 70637 h 1113404"/>
                <a:gd name="connsiteX773" fmla="*/ 393965 w 1814027"/>
                <a:gd name="connsiteY773" fmla="*/ 70032 h 1113404"/>
                <a:gd name="connsiteX774" fmla="*/ 386976 w 1814027"/>
                <a:gd name="connsiteY774" fmla="*/ 70244 h 1113404"/>
                <a:gd name="connsiteX775" fmla="*/ 365528 w 1814027"/>
                <a:gd name="connsiteY775" fmla="*/ 66493 h 1113404"/>
                <a:gd name="connsiteX776" fmla="*/ 357027 w 1814027"/>
                <a:gd name="connsiteY776" fmla="*/ 68066 h 1113404"/>
                <a:gd name="connsiteX777" fmla="*/ 343354 w 1814027"/>
                <a:gd name="connsiteY777" fmla="*/ 67854 h 1113404"/>
                <a:gd name="connsiteX778" fmla="*/ 323690 w 1814027"/>
                <a:gd name="connsiteY778" fmla="*/ 67551 h 1113404"/>
                <a:gd name="connsiteX779" fmla="*/ 306719 w 1814027"/>
                <a:gd name="connsiteY779" fmla="*/ 63316 h 1113404"/>
                <a:gd name="connsiteX780" fmla="*/ 302182 w 1814027"/>
                <a:gd name="connsiteY780" fmla="*/ 63437 h 1113404"/>
                <a:gd name="connsiteX781" fmla="*/ 297614 w 1814027"/>
                <a:gd name="connsiteY781" fmla="*/ 64829 h 1113404"/>
                <a:gd name="connsiteX782" fmla="*/ 288568 w 1814027"/>
                <a:gd name="connsiteY782" fmla="*/ 69215 h 1113404"/>
                <a:gd name="connsiteX783" fmla="*/ 260314 w 1814027"/>
                <a:gd name="connsiteY783" fmla="*/ 73420 h 1113404"/>
                <a:gd name="connsiteX784" fmla="*/ 258227 w 1814027"/>
                <a:gd name="connsiteY784" fmla="*/ 73360 h 1113404"/>
                <a:gd name="connsiteX785" fmla="*/ 252055 w 1814027"/>
                <a:gd name="connsiteY785" fmla="*/ 71968 h 1113404"/>
                <a:gd name="connsiteX786" fmla="*/ 227007 w 1814027"/>
                <a:gd name="connsiteY786" fmla="*/ 73783 h 1113404"/>
                <a:gd name="connsiteX787" fmla="*/ 224859 w 1814027"/>
                <a:gd name="connsiteY787" fmla="*/ 74509 h 1113404"/>
                <a:gd name="connsiteX788" fmla="*/ 222681 w 1814027"/>
                <a:gd name="connsiteY788" fmla="*/ 76596 h 1113404"/>
                <a:gd name="connsiteX789" fmla="*/ 219020 w 1814027"/>
                <a:gd name="connsiteY789" fmla="*/ 81618 h 1113404"/>
                <a:gd name="connsiteX790" fmla="*/ 217478 w 1814027"/>
                <a:gd name="connsiteY790" fmla="*/ 84522 h 1113404"/>
                <a:gd name="connsiteX791" fmla="*/ 215088 w 1814027"/>
                <a:gd name="connsiteY791" fmla="*/ 94264 h 1113404"/>
                <a:gd name="connsiteX792" fmla="*/ 212244 w 1814027"/>
                <a:gd name="connsiteY792" fmla="*/ 97954 h 1113404"/>
                <a:gd name="connsiteX793" fmla="*/ 200839 w 1814027"/>
                <a:gd name="connsiteY793" fmla="*/ 105154 h 1113404"/>
                <a:gd name="connsiteX794" fmla="*/ 185804 w 1814027"/>
                <a:gd name="connsiteY794" fmla="*/ 117618 h 1113404"/>
                <a:gd name="connsiteX795" fmla="*/ 181781 w 1814027"/>
                <a:gd name="connsiteY795" fmla="*/ 118222 h 1113404"/>
                <a:gd name="connsiteX796" fmla="*/ 178907 w 1814027"/>
                <a:gd name="connsiteY796" fmla="*/ 115742 h 1113404"/>
                <a:gd name="connsiteX797" fmla="*/ 176124 w 1814027"/>
                <a:gd name="connsiteY797" fmla="*/ 112565 h 1113404"/>
                <a:gd name="connsiteX798" fmla="*/ 172131 w 1814027"/>
                <a:gd name="connsiteY798" fmla="*/ 111083 h 1113404"/>
                <a:gd name="connsiteX799" fmla="*/ 169620 w 1814027"/>
                <a:gd name="connsiteY799" fmla="*/ 110872 h 1113404"/>
                <a:gd name="connsiteX800" fmla="*/ 162511 w 1814027"/>
                <a:gd name="connsiteY800" fmla="*/ 108905 h 1113404"/>
                <a:gd name="connsiteX801" fmla="*/ 160151 w 1814027"/>
                <a:gd name="connsiteY801" fmla="*/ 108845 h 1113404"/>
                <a:gd name="connsiteX802" fmla="*/ 150380 w 1814027"/>
                <a:gd name="connsiteY802" fmla="*/ 111204 h 1113404"/>
                <a:gd name="connsiteX803" fmla="*/ 149140 w 1814027"/>
                <a:gd name="connsiteY803" fmla="*/ 111839 h 1113404"/>
                <a:gd name="connsiteX804" fmla="*/ 148111 w 1814027"/>
                <a:gd name="connsiteY804" fmla="*/ 112838 h 1113404"/>
                <a:gd name="connsiteX805" fmla="*/ 146901 w 1814027"/>
                <a:gd name="connsiteY805" fmla="*/ 114804 h 1113404"/>
                <a:gd name="connsiteX806" fmla="*/ 146810 w 1814027"/>
                <a:gd name="connsiteY806" fmla="*/ 115984 h 1113404"/>
                <a:gd name="connsiteX807" fmla="*/ 147385 w 1814027"/>
                <a:gd name="connsiteY807" fmla="*/ 117164 h 1113404"/>
                <a:gd name="connsiteX808" fmla="*/ 150138 w 1814027"/>
                <a:gd name="connsiteY808" fmla="*/ 124303 h 1113404"/>
                <a:gd name="connsiteX809" fmla="*/ 150380 w 1814027"/>
                <a:gd name="connsiteY809" fmla="*/ 125725 h 1113404"/>
                <a:gd name="connsiteX810" fmla="*/ 149926 w 1814027"/>
                <a:gd name="connsiteY810" fmla="*/ 127994 h 1113404"/>
                <a:gd name="connsiteX811" fmla="*/ 149079 w 1814027"/>
                <a:gd name="connsiteY811" fmla="*/ 128417 h 1113404"/>
                <a:gd name="connsiteX812" fmla="*/ 148142 w 1814027"/>
                <a:gd name="connsiteY812" fmla="*/ 127782 h 1113404"/>
                <a:gd name="connsiteX813" fmla="*/ 148353 w 1814027"/>
                <a:gd name="connsiteY813" fmla="*/ 128690 h 1113404"/>
                <a:gd name="connsiteX814" fmla="*/ 149019 w 1814027"/>
                <a:gd name="connsiteY814" fmla="*/ 130777 h 1113404"/>
                <a:gd name="connsiteX815" fmla="*/ 150622 w 1814027"/>
                <a:gd name="connsiteY815" fmla="*/ 131805 h 1113404"/>
                <a:gd name="connsiteX816" fmla="*/ 152437 w 1814027"/>
                <a:gd name="connsiteY816" fmla="*/ 132411 h 1113404"/>
                <a:gd name="connsiteX817" fmla="*/ 153859 w 1814027"/>
                <a:gd name="connsiteY817" fmla="*/ 133318 h 1113404"/>
                <a:gd name="connsiteX818" fmla="*/ 152286 w 1814027"/>
                <a:gd name="connsiteY818" fmla="*/ 136283 h 1113404"/>
                <a:gd name="connsiteX819" fmla="*/ 152437 w 1814027"/>
                <a:gd name="connsiteY819" fmla="*/ 137220 h 1113404"/>
                <a:gd name="connsiteX820" fmla="*/ 156521 w 1814027"/>
                <a:gd name="connsiteY820" fmla="*/ 142787 h 1113404"/>
                <a:gd name="connsiteX821" fmla="*/ 157338 w 1814027"/>
                <a:gd name="connsiteY821" fmla="*/ 144572 h 1113404"/>
                <a:gd name="connsiteX822" fmla="*/ 156158 w 1814027"/>
                <a:gd name="connsiteY822" fmla="*/ 145055 h 1113404"/>
                <a:gd name="connsiteX823" fmla="*/ 155432 w 1814027"/>
                <a:gd name="connsiteY823" fmla="*/ 146084 h 1113404"/>
                <a:gd name="connsiteX824" fmla="*/ 155311 w 1814027"/>
                <a:gd name="connsiteY824" fmla="*/ 147597 h 1113404"/>
                <a:gd name="connsiteX825" fmla="*/ 155946 w 1814027"/>
                <a:gd name="connsiteY825" fmla="*/ 149593 h 1113404"/>
                <a:gd name="connsiteX826" fmla="*/ 154131 w 1814027"/>
                <a:gd name="connsiteY826" fmla="*/ 150259 h 1113404"/>
                <a:gd name="connsiteX827" fmla="*/ 152347 w 1814027"/>
                <a:gd name="connsiteY827" fmla="*/ 152013 h 1113404"/>
                <a:gd name="connsiteX828" fmla="*/ 150955 w 1814027"/>
                <a:gd name="connsiteY828" fmla="*/ 154191 h 1113404"/>
                <a:gd name="connsiteX829" fmla="*/ 150410 w 1814027"/>
                <a:gd name="connsiteY829" fmla="*/ 156158 h 1113404"/>
                <a:gd name="connsiteX830" fmla="*/ 151076 w 1814027"/>
                <a:gd name="connsiteY830" fmla="*/ 159304 h 1113404"/>
                <a:gd name="connsiteX831" fmla="*/ 152649 w 1814027"/>
                <a:gd name="connsiteY831" fmla="*/ 160060 h 1113404"/>
                <a:gd name="connsiteX832" fmla="*/ 154585 w 1814027"/>
                <a:gd name="connsiteY832" fmla="*/ 160060 h 1113404"/>
                <a:gd name="connsiteX833" fmla="*/ 156309 w 1814027"/>
                <a:gd name="connsiteY833" fmla="*/ 161119 h 1113404"/>
                <a:gd name="connsiteX834" fmla="*/ 161875 w 1814027"/>
                <a:gd name="connsiteY834" fmla="*/ 172342 h 1113404"/>
                <a:gd name="connsiteX835" fmla="*/ 164144 w 1814027"/>
                <a:gd name="connsiteY835" fmla="*/ 174883 h 1113404"/>
                <a:gd name="connsiteX836" fmla="*/ 169257 w 1814027"/>
                <a:gd name="connsiteY836" fmla="*/ 177879 h 1113404"/>
                <a:gd name="connsiteX837" fmla="*/ 174037 w 1814027"/>
                <a:gd name="connsiteY837" fmla="*/ 182356 h 1113404"/>
                <a:gd name="connsiteX838" fmla="*/ 175156 w 1814027"/>
                <a:gd name="connsiteY838" fmla="*/ 184140 h 1113404"/>
                <a:gd name="connsiteX839" fmla="*/ 173492 w 1814027"/>
                <a:gd name="connsiteY839" fmla="*/ 184927 h 1113404"/>
                <a:gd name="connsiteX840" fmla="*/ 173129 w 1814027"/>
                <a:gd name="connsiteY840" fmla="*/ 186288 h 1113404"/>
                <a:gd name="connsiteX841" fmla="*/ 174612 w 1814027"/>
                <a:gd name="connsiteY841" fmla="*/ 189193 h 1113404"/>
                <a:gd name="connsiteX842" fmla="*/ 177243 w 1814027"/>
                <a:gd name="connsiteY842" fmla="*/ 192974 h 1113404"/>
                <a:gd name="connsiteX843" fmla="*/ 178120 w 1814027"/>
                <a:gd name="connsiteY843" fmla="*/ 194940 h 1113404"/>
                <a:gd name="connsiteX844" fmla="*/ 179300 w 1814027"/>
                <a:gd name="connsiteY844" fmla="*/ 201111 h 1113404"/>
                <a:gd name="connsiteX845" fmla="*/ 179300 w 1814027"/>
                <a:gd name="connsiteY845" fmla="*/ 202019 h 1113404"/>
                <a:gd name="connsiteX846" fmla="*/ 178877 w 1814027"/>
                <a:gd name="connsiteY846" fmla="*/ 203169 h 1113404"/>
                <a:gd name="connsiteX847" fmla="*/ 179633 w 1814027"/>
                <a:gd name="connsiteY847" fmla="*/ 203774 h 1113404"/>
                <a:gd name="connsiteX848" fmla="*/ 180904 w 1814027"/>
                <a:gd name="connsiteY848" fmla="*/ 204258 h 1113404"/>
                <a:gd name="connsiteX849" fmla="*/ 182114 w 1814027"/>
                <a:gd name="connsiteY849" fmla="*/ 205014 h 1113404"/>
                <a:gd name="connsiteX850" fmla="*/ 183233 w 1814027"/>
                <a:gd name="connsiteY850" fmla="*/ 206587 h 1113404"/>
                <a:gd name="connsiteX851" fmla="*/ 183505 w 1814027"/>
                <a:gd name="connsiteY851" fmla="*/ 207797 h 1113404"/>
                <a:gd name="connsiteX852" fmla="*/ 183596 w 1814027"/>
                <a:gd name="connsiteY852" fmla="*/ 209098 h 1113404"/>
                <a:gd name="connsiteX853" fmla="*/ 184140 w 1814027"/>
                <a:gd name="connsiteY853" fmla="*/ 211004 h 1113404"/>
                <a:gd name="connsiteX854" fmla="*/ 185653 w 1814027"/>
                <a:gd name="connsiteY854" fmla="*/ 213333 h 1113404"/>
                <a:gd name="connsiteX855" fmla="*/ 192460 w 1814027"/>
                <a:gd name="connsiteY855" fmla="*/ 219111 h 1113404"/>
                <a:gd name="connsiteX856" fmla="*/ 200839 w 1814027"/>
                <a:gd name="connsiteY856" fmla="*/ 223376 h 1113404"/>
                <a:gd name="connsiteX857" fmla="*/ 202140 w 1814027"/>
                <a:gd name="connsiteY857" fmla="*/ 225192 h 1113404"/>
                <a:gd name="connsiteX858" fmla="*/ 200900 w 1814027"/>
                <a:gd name="connsiteY858" fmla="*/ 227733 h 1113404"/>
                <a:gd name="connsiteX859" fmla="*/ 197844 w 1814027"/>
                <a:gd name="connsiteY859" fmla="*/ 228338 h 1113404"/>
                <a:gd name="connsiteX860" fmla="*/ 194487 w 1814027"/>
                <a:gd name="connsiteY860" fmla="*/ 228338 h 1113404"/>
                <a:gd name="connsiteX861" fmla="*/ 192460 w 1814027"/>
                <a:gd name="connsiteY861" fmla="*/ 229215 h 1113404"/>
                <a:gd name="connsiteX862" fmla="*/ 189797 w 1814027"/>
                <a:gd name="connsiteY862" fmla="*/ 227823 h 1113404"/>
                <a:gd name="connsiteX863" fmla="*/ 187015 w 1814027"/>
                <a:gd name="connsiteY863" fmla="*/ 228156 h 1113404"/>
                <a:gd name="connsiteX864" fmla="*/ 184715 w 1814027"/>
                <a:gd name="connsiteY864" fmla="*/ 229759 h 1113404"/>
                <a:gd name="connsiteX865" fmla="*/ 183475 w 1814027"/>
                <a:gd name="connsiteY865" fmla="*/ 232271 h 1113404"/>
                <a:gd name="connsiteX866" fmla="*/ 183657 w 1814027"/>
                <a:gd name="connsiteY866" fmla="*/ 235053 h 1113404"/>
                <a:gd name="connsiteX867" fmla="*/ 185139 w 1814027"/>
                <a:gd name="connsiteY867" fmla="*/ 236899 h 1113404"/>
                <a:gd name="connsiteX868" fmla="*/ 187529 w 1814027"/>
                <a:gd name="connsiteY868" fmla="*/ 237928 h 1113404"/>
                <a:gd name="connsiteX869" fmla="*/ 190342 w 1814027"/>
                <a:gd name="connsiteY869" fmla="*/ 238260 h 1113404"/>
                <a:gd name="connsiteX870" fmla="*/ 190342 w 1814027"/>
                <a:gd name="connsiteY870" fmla="*/ 239168 h 1113404"/>
                <a:gd name="connsiteX871" fmla="*/ 189041 w 1814027"/>
                <a:gd name="connsiteY871" fmla="*/ 241739 h 1113404"/>
                <a:gd name="connsiteX872" fmla="*/ 190433 w 1814027"/>
                <a:gd name="connsiteY872" fmla="*/ 243978 h 1113404"/>
                <a:gd name="connsiteX873" fmla="*/ 193186 w 1814027"/>
                <a:gd name="connsiteY873" fmla="*/ 245551 h 1113404"/>
                <a:gd name="connsiteX874" fmla="*/ 195908 w 1814027"/>
                <a:gd name="connsiteY874" fmla="*/ 246156 h 1113404"/>
                <a:gd name="connsiteX875" fmla="*/ 195273 w 1814027"/>
                <a:gd name="connsiteY875" fmla="*/ 249483 h 1113404"/>
                <a:gd name="connsiteX876" fmla="*/ 196060 w 1814027"/>
                <a:gd name="connsiteY876" fmla="*/ 252539 h 1113404"/>
                <a:gd name="connsiteX877" fmla="*/ 198601 w 1814027"/>
                <a:gd name="connsiteY877" fmla="*/ 258196 h 1113404"/>
                <a:gd name="connsiteX878" fmla="*/ 198601 w 1814027"/>
                <a:gd name="connsiteY878" fmla="*/ 258256 h 1113404"/>
                <a:gd name="connsiteX879" fmla="*/ 196302 w 1814027"/>
                <a:gd name="connsiteY879" fmla="*/ 261977 h 1113404"/>
                <a:gd name="connsiteX880" fmla="*/ 197330 w 1814027"/>
                <a:gd name="connsiteY880" fmla="*/ 268905 h 1113404"/>
                <a:gd name="connsiteX881" fmla="*/ 198026 w 1814027"/>
                <a:gd name="connsiteY881" fmla="*/ 270811 h 1113404"/>
                <a:gd name="connsiteX882" fmla="*/ 198570 w 1814027"/>
                <a:gd name="connsiteY882" fmla="*/ 271204 h 1113404"/>
                <a:gd name="connsiteX883" fmla="*/ 198450 w 1814027"/>
                <a:gd name="connsiteY883" fmla="*/ 271537 h 1113404"/>
                <a:gd name="connsiteX884" fmla="*/ 197179 w 1814027"/>
                <a:gd name="connsiteY884" fmla="*/ 273201 h 1113404"/>
                <a:gd name="connsiteX885" fmla="*/ 195273 w 1814027"/>
                <a:gd name="connsiteY885" fmla="*/ 275076 h 1113404"/>
                <a:gd name="connsiteX886" fmla="*/ 188799 w 1814027"/>
                <a:gd name="connsiteY886" fmla="*/ 278192 h 1113404"/>
                <a:gd name="connsiteX887" fmla="*/ 188527 w 1814027"/>
                <a:gd name="connsiteY887" fmla="*/ 279947 h 1113404"/>
                <a:gd name="connsiteX888" fmla="*/ 188678 w 1814027"/>
                <a:gd name="connsiteY888" fmla="*/ 282730 h 1113404"/>
                <a:gd name="connsiteX889" fmla="*/ 188527 w 1814027"/>
                <a:gd name="connsiteY889" fmla="*/ 284636 h 1113404"/>
                <a:gd name="connsiteX890" fmla="*/ 188043 w 1814027"/>
                <a:gd name="connsiteY890" fmla="*/ 286209 h 1113404"/>
                <a:gd name="connsiteX891" fmla="*/ 185835 w 1814027"/>
                <a:gd name="connsiteY891" fmla="*/ 290988 h 1113404"/>
                <a:gd name="connsiteX892" fmla="*/ 180541 w 1814027"/>
                <a:gd name="connsiteY892" fmla="*/ 293015 h 1113404"/>
                <a:gd name="connsiteX893" fmla="*/ 162299 w 1814027"/>
                <a:gd name="connsiteY893" fmla="*/ 293227 h 1113404"/>
                <a:gd name="connsiteX894" fmla="*/ 158820 w 1814027"/>
                <a:gd name="connsiteY894" fmla="*/ 294256 h 1113404"/>
                <a:gd name="connsiteX895" fmla="*/ 157096 w 1814027"/>
                <a:gd name="connsiteY895" fmla="*/ 295073 h 1113404"/>
                <a:gd name="connsiteX896" fmla="*/ 155735 w 1814027"/>
                <a:gd name="connsiteY896" fmla="*/ 296313 h 1113404"/>
                <a:gd name="connsiteX897" fmla="*/ 154645 w 1814027"/>
                <a:gd name="connsiteY897" fmla="*/ 298461 h 1113404"/>
                <a:gd name="connsiteX898" fmla="*/ 153375 w 1814027"/>
                <a:gd name="connsiteY898" fmla="*/ 302302 h 1113404"/>
                <a:gd name="connsiteX899" fmla="*/ 153314 w 1814027"/>
                <a:gd name="connsiteY899" fmla="*/ 302484 h 1113404"/>
                <a:gd name="connsiteX900" fmla="*/ 151923 w 1814027"/>
                <a:gd name="connsiteY900" fmla="*/ 304360 h 1113404"/>
                <a:gd name="connsiteX901" fmla="*/ 143997 w 1814027"/>
                <a:gd name="connsiteY901" fmla="*/ 312286 h 1113404"/>
                <a:gd name="connsiteX902" fmla="*/ 141093 w 1814027"/>
                <a:gd name="connsiteY902" fmla="*/ 314464 h 1113404"/>
                <a:gd name="connsiteX903" fmla="*/ 141093 w 1814027"/>
                <a:gd name="connsiteY903" fmla="*/ 314464 h 1113404"/>
                <a:gd name="connsiteX904" fmla="*/ 135617 w 1814027"/>
                <a:gd name="connsiteY904" fmla="*/ 318366 h 1113404"/>
                <a:gd name="connsiteX905" fmla="*/ 131080 w 1814027"/>
                <a:gd name="connsiteY905" fmla="*/ 321603 h 1113404"/>
                <a:gd name="connsiteX906" fmla="*/ 108089 w 1814027"/>
                <a:gd name="connsiteY906" fmla="*/ 344564 h 1113404"/>
                <a:gd name="connsiteX907" fmla="*/ 105064 w 1814027"/>
                <a:gd name="connsiteY907" fmla="*/ 348890 h 1113404"/>
                <a:gd name="connsiteX908" fmla="*/ 101373 w 1814027"/>
                <a:gd name="connsiteY908" fmla="*/ 351552 h 1113404"/>
                <a:gd name="connsiteX909" fmla="*/ 97380 w 1814027"/>
                <a:gd name="connsiteY909" fmla="*/ 355636 h 1113404"/>
                <a:gd name="connsiteX910" fmla="*/ 86459 w 1814027"/>
                <a:gd name="connsiteY910" fmla="*/ 370368 h 1113404"/>
                <a:gd name="connsiteX911" fmla="*/ 82254 w 1814027"/>
                <a:gd name="connsiteY911" fmla="*/ 374362 h 1113404"/>
                <a:gd name="connsiteX912" fmla="*/ 81739 w 1814027"/>
                <a:gd name="connsiteY912" fmla="*/ 375541 h 1113404"/>
                <a:gd name="connsiteX913" fmla="*/ 80923 w 1814027"/>
                <a:gd name="connsiteY913" fmla="*/ 378415 h 1113404"/>
                <a:gd name="connsiteX914" fmla="*/ 80469 w 1814027"/>
                <a:gd name="connsiteY914" fmla="*/ 379444 h 1113404"/>
                <a:gd name="connsiteX915" fmla="*/ 79592 w 1814027"/>
                <a:gd name="connsiteY915" fmla="*/ 380260 h 1113404"/>
                <a:gd name="connsiteX916" fmla="*/ 77807 w 1814027"/>
                <a:gd name="connsiteY916" fmla="*/ 380866 h 1113404"/>
                <a:gd name="connsiteX917" fmla="*/ 76930 w 1814027"/>
                <a:gd name="connsiteY917" fmla="*/ 381410 h 1113404"/>
                <a:gd name="connsiteX918" fmla="*/ 75962 w 1814027"/>
                <a:gd name="connsiteY918" fmla="*/ 382499 h 1113404"/>
                <a:gd name="connsiteX919" fmla="*/ 69760 w 1814027"/>
                <a:gd name="connsiteY919" fmla="*/ 392845 h 1113404"/>
                <a:gd name="connsiteX920" fmla="*/ 68066 w 1814027"/>
                <a:gd name="connsiteY920" fmla="*/ 394418 h 1113404"/>
                <a:gd name="connsiteX921" fmla="*/ 66946 w 1814027"/>
                <a:gd name="connsiteY921" fmla="*/ 394842 h 1113404"/>
                <a:gd name="connsiteX922" fmla="*/ 64799 w 1814027"/>
                <a:gd name="connsiteY922" fmla="*/ 395235 h 1113404"/>
                <a:gd name="connsiteX923" fmla="*/ 63679 w 1814027"/>
                <a:gd name="connsiteY923" fmla="*/ 396112 h 1113404"/>
                <a:gd name="connsiteX924" fmla="*/ 62953 w 1814027"/>
                <a:gd name="connsiteY924" fmla="*/ 397353 h 1113404"/>
                <a:gd name="connsiteX925" fmla="*/ 61229 w 1814027"/>
                <a:gd name="connsiteY925" fmla="*/ 401921 h 1113404"/>
                <a:gd name="connsiteX926" fmla="*/ 53606 w 1814027"/>
                <a:gd name="connsiteY926" fmla="*/ 411359 h 1113404"/>
                <a:gd name="connsiteX927" fmla="*/ 51095 w 1814027"/>
                <a:gd name="connsiteY927" fmla="*/ 416865 h 1113404"/>
                <a:gd name="connsiteX928" fmla="*/ 53031 w 1814027"/>
                <a:gd name="connsiteY928" fmla="*/ 421947 h 1113404"/>
                <a:gd name="connsiteX929" fmla="*/ 53727 w 1814027"/>
                <a:gd name="connsiteY929" fmla="*/ 424034 h 1113404"/>
                <a:gd name="connsiteX930" fmla="*/ 54362 w 1814027"/>
                <a:gd name="connsiteY930" fmla="*/ 430085 h 1113404"/>
                <a:gd name="connsiteX931" fmla="*/ 54725 w 1814027"/>
                <a:gd name="connsiteY931" fmla="*/ 431688 h 1113404"/>
                <a:gd name="connsiteX932" fmla="*/ 54997 w 1814027"/>
                <a:gd name="connsiteY932" fmla="*/ 432474 h 1113404"/>
                <a:gd name="connsiteX933" fmla="*/ 56298 w 1814027"/>
                <a:gd name="connsiteY933" fmla="*/ 434380 h 1113404"/>
                <a:gd name="connsiteX934" fmla="*/ 58476 w 1814027"/>
                <a:gd name="connsiteY934" fmla="*/ 436498 h 1113404"/>
                <a:gd name="connsiteX935" fmla="*/ 59021 w 1814027"/>
                <a:gd name="connsiteY935" fmla="*/ 437587 h 1113404"/>
                <a:gd name="connsiteX936" fmla="*/ 59474 w 1814027"/>
                <a:gd name="connsiteY936" fmla="*/ 439856 h 1113404"/>
                <a:gd name="connsiteX937" fmla="*/ 60836 w 1814027"/>
                <a:gd name="connsiteY937" fmla="*/ 452834 h 1113404"/>
                <a:gd name="connsiteX938" fmla="*/ 60443 w 1814027"/>
                <a:gd name="connsiteY938" fmla="*/ 454891 h 1113404"/>
                <a:gd name="connsiteX939" fmla="*/ 58748 w 1814027"/>
                <a:gd name="connsiteY939" fmla="*/ 459187 h 1113404"/>
                <a:gd name="connsiteX940" fmla="*/ 57327 w 1814027"/>
                <a:gd name="connsiteY940" fmla="*/ 464178 h 1113404"/>
                <a:gd name="connsiteX941" fmla="*/ 55723 w 1814027"/>
                <a:gd name="connsiteY941" fmla="*/ 467233 h 1113404"/>
                <a:gd name="connsiteX942" fmla="*/ 55179 w 1814027"/>
                <a:gd name="connsiteY942" fmla="*/ 468928 h 1113404"/>
                <a:gd name="connsiteX943" fmla="*/ 55814 w 1814027"/>
                <a:gd name="connsiteY943" fmla="*/ 469684 h 1113404"/>
                <a:gd name="connsiteX944" fmla="*/ 56268 w 1814027"/>
                <a:gd name="connsiteY944" fmla="*/ 469381 h 1113404"/>
                <a:gd name="connsiteX945" fmla="*/ 57599 w 1814027"/>
                <a:gd name="connsiteY945" fmla="*/ 467839 h 1113404"/>
                <a:gd name="connsiteX946" fmla="*/ 59172 w 1814027"/>
                <a:gd name="connsiteY946" fmla="*/ 468867 h 1113404"/>
                <a:gd name="connsiteX947" fmla="*/ 59051 w 1814027"/>
                <a:gd name="connsiteY947" fmla="*/ 468928 h 1113404"/>
                <a:gd name="connsiteX948" fmla="*/ 58658 w 1814027"/>
                <a:gd name="connsiteY948" fmla="*/ 469018 h 1113404"/>
                <a:gd name="connsiteX949" fmla="*/ 61925 w 1814027"/>
                <a:gd name="connsiteY949" fmla="*/ 471136 h 1113404"/>
                <a:gd name="connsiteX950" fmla="*/ 64859 w 1814027"/>
                <a:gd name="connsiteY950" fmla="*/ 474706 h 1113404"/>
                <a:gd name="connsiteX951" fmla="*/ 66705 w 1814027"/>
                <a:gd name="connsiteY951" fmla="*/ 475976 h 1113404"/>
                <a:gd name="connsiteX952" fmla="*/ 71242 w 1814027"/>
                <a:gd name="connsiteY952" fmla="*/ 478305 h 1113404"/>
                <a:gd name="connsiteX953" fmla="*/ 72452 w 1814027"/>
                <a:gd name="connsiteY953" fmla="*/ 479727 h 1113404"/>
                <a:gd name="connsiteX954" fmla="*/ 72452 w 1814027"/>
                <a:gd name="connsiteY954" fmla="*/ 480937 h 1113404"/>
                <a:gd name="connsiteX955" fmla="*/ 71545 w 1814027"/>
                <a:gd name="connsiteY955" fmla="*/ 483690 h 1113404"/>
                <a:gd name="connsiteX956" fmla="*/ 71424 w 1814027"/>
                <a:gd name="connsiteY956" fmla="*/ 485596 h 1113404"/>
                <a:gd name="connsiteX957" fmla="*/ 71847 w 1814027"/>
                <a:gd name="connsiteY957" fmla="*/ 486927 h 1113404"/>
                <a:gd name="connsiteX958" fmla="*/ 73481 w 1814027"/>
                <a:gd name="connsiteY958" fmla="*/ 489498 h 1113404"/>
                <a:gd name="connsiteX959" fmla="*/ 73602 w 1814027"/>
                <a:gd name="connsiteY959" fmla="*/ 489801 h 1113404"/>
                <a:gd name="connsiteX960" fmla="*/ 73814 w 1814027"/>
                <a:gd name="connsiteY960" fmla="*/ 490255 h 1113404"/>
                <a:gd name="connsiteX961" fmla="*/ 72634 w 1814027"/>
                <a:gd name="connsiteY961" fmla="*/ 492523 h 1113404"/>
                <a:gd name="connsiteX962" fmla="*/ 70607 w 1814027"/>
                <a:gd name="connsiteY962" fmla="*/ 491707 h 1113404"/>
                <a:gd name="connsiteX963" fmla="*/ 68369 w 1814027"/>
                <a:gd name="connsiteY963" fmla="*/ 489861 h 1113404"/>
                <a:gd name="connsiteX964" fmla="*/ 66583 w 1814027"/>
                <a:gd name="connsiteY964" fmla="*/ 489015 h 1113404"/>
                <a:gd name="connsiteX965" fmla="*/ 65464 w 1814027"/>
                <a:gd name="connsiteY965" fmla="*/ 488682 h 1113404"/>
                <a:gd name="connsiteX966" fmla="*/ 63589 w 1814027"/>
                <a:gd name="connsiteY966" fmla="*/ 486292 h 1113404"/>
                <a:gd name="connsiteX967" fmla="*/ 62560 w 1814027"/>
                <a:gd name="connsiteY967" fmla="*/ 485414 h 1113404"/>
                <a:gd name="connsiteX968" fmla="*/ 61471 w 1814027"/>
                <a:gd name="connsiteY968" fmla="*/ 485294 h 1113404"/>
                <a:gd name="connsiteX969" fmla="*/ 59202 w 1814027"/>
                <a:gd name="connsiteY969" fmla="*/ 485929 h 1113404"/>
                <a:gd name="connsiteX970" fmla="*/ 55572 w 1814027"/>
                <a:gd name="connsiteY970" fmla="*/ 485687 h 1113404"/>
                <a:gd name="connsiteX971" fmla="*/ 53424 w 1814027"/>
                <a:gd name="connsiteY971" fmla="*/ 485868 h 1113404"/>
                <a:gd name="connsiteX972" fmla="*/ 51276 w 1814027"/>
                <a:gd name="connsiteY972" fmla="*/ 485626 h 1113404"/>
                <a:gd name="connsiteX973" fmla="*/ 48796 w 1814027"/>
                <a:gd name="connsiteY973" fmla="*/ 484084 h 1113404"/>
                <a:gd name="connsiteX974" fmla="*/ 45014 w 1814027"/>
                <a:gd name="connsiteY974" fmla="*/ 480242 h 1113404"/>
                <a:gd name="connsiteX975" fmla="*/ 42988 w 1814027"/>
                <a:gd name="connsiteY975" fmla="*/ 479667 h 1113404"/>
                <a:gd name="connsiteX976" fmla="*/ 40870 w 1814027"/>
                <a:gd name="connsiteY976" fmla="*/ 481542 h 1113404"/>
                <a:gd name="connsiteX977" fmla="*/ 40113 w 1814027"/>
                <a:gd name="connsiteY977" fmla="*/ 483872 h 1113404"/>
                <a:gd name="connsiteX978" fmla="*/ 39387 w 1814027"/>
                <a:gd name="connsiteY978" fmla="*/ 487078 h 1113404"/>
                <a:gd name="connsiteX979" fmla="*/ 38904 w 1814027"/>
                <a:gd name="connsiteY979" fmla="*/ 490315 h 1113404"/>
                <a:gd name="connsiteX980" fmla="*/ 38904 w 1814027"/>
                <a:gd name="connsiteY980" fmla="*/ 492705 h 1113404"/>
                <a:gd name="connsiteX981" fmla="*/ 37391 w 1814027"/>
                <a:gd name="connsiteY981" fmla="*/ 493915 h 1113404"/>
                <a:gd name="connsiteX982" fmla="*/ 33519 w 1814027"/>
                <a:gd name="connsiteY982" fmla="*/ 494429 h 1113404"/>
                <a:gd name="connsiteX983" fmla="*/ 31764 w 1814027"/>
                <a:gd name="connsiteY983" fmla="*/ 495700 h 1113404"/>
                <a:gd name="connsiteX984" fmla="*/ 29586 w 1814027"/>
                <a:gd name="connsiteY984" fmla="*/ 501599 h 1113404"/>
                <a:gd name="connsiteX985" fmla="*/ 28346 w 1814027"/>
                <a:gd name="connsiteY985" fmla="*/ 504110 h 1113404"/>
                <a:gd name="connsiteX986" fmla="*/ 28225 w 1814027"/>
                <a:gd name="connsiteY986" fmla="*/ 504775 h 1113404"/>
                <a:gd name="connsiteX987" fmla="*/ 28225 w 1814027"/>
                <a:gd name="connsiteY987" fmla="*/ 506590 h 1113404"/>
                <a:gd name="connsiteX988" fmla="*/ 28043 w 1814027"/>
                <a:gd name="connsiteY988" fmla="*/ 507468 h 1113404"/>
                <a:gd name="connsiteX989" fmla="*/ 27106 w 1814027"/>
                <a:gd name="connsiteY989" fmla="*/ 508708 h 1113404"/>
                <a:gd name="connsiteX990" fmla="*/ 24685 w 1814027"/>
                <a:gd name="connsiteY990" fmla="*/ 510584 h 1113404"/>
                <a:gd name="connsiteX991" fmla="*/ 23929 w 1814027"/>
                <a:gd name="connsiteY991" fmla="*/ 511582 h 1113404"/>
                <a:gd name="connsiteX992" fmla="*/ 23717 w 1814027"/>
                <a:gd name="connsiteY992" fmla="*/ 511824 h 1113404"/>
                <a:gd name="connsiteX993" fmla="*/ 23052 w 1814027"/>
                <a:gd name="connsiteY993" fmla="*/ 513518 h 1113404"/>
                <a:gd name="connsiteX994" fmla="*/ 22961 w 1814027"/>
                <a:gd name="connsiteY994" fmla="*/ 514607 h 1113404"/>
                <a:gd name="connsiteX995" fmla="*/ 23173 w 1814027"/>
                <a:gd name="connsiteY995" fmla="*/ 515757 h 1113404"/>
                <a:gd name="connsiteX996" fmla="*/ 23415 w 1814027"/>
                <a:gd name="connsiteY996" fmla="*/ 520506 h 1113404"/>
                <a:gd name="connsiteX997" fmla="*/ 23173 w 1814027"/>
                <a:gd name="connsiteY997" fmla="*/ 521474 h 1113404"/>
                <a:gd name="connsiteX998" fmla="*/ 22477 w 1814027"/>
                <a:gd name="connsiteY998" fmla="*/ 523078 h 1113404"/>
                <a:gd name="connsiteX999" fmla="*/ 21600 w 1814027"/>
                <a:gd name="connsiteY999" fmla="*/ 524227 h 1113404"/>
                <a:gd name="connsiteX1000" fmla="*/ 20662 w 1814027"/>
                <a:gd name="connsiteY1000" fmla="*/ 524923 h 1113404"/>
                <a:gd name="connsiteX1001" fmla="*/ 19906 w 1814027"/>
                <a:gd name="connsiteY1001" fmla="*/ 525861 h 1113404"/>
                <a:gd name="connsiteX1002" fmla="*/ 19603 w 1814027"/>
                <a:gd name="connsiteY1002" fmla="*/ 527736 h 1113404"/>
                <a:gd name="connsiteX1003" fmla="*/ 19724 w 1814027"/>
                <a:gd name="connsiteY1003" fmla="*/ 530731 h 1113404"/>
                <a:gd name="connsiteX1004" fmla="*/ 19059 w 1814027"/>
                <a:gd name="connsiteY1004" fmla="*/ 533696 h 1113404"/>
                <a:gd name="connsiteX1005" fmla="*/ 17818 w 1814027"/>
                <a:gd name="connsiteY1005" fmla="*/ 536298 h 1113404"/>
                <a:gd name="connsiteX1006" fmla="*/ 16215 w 1814027"/>
                <a:gd name="connsiteY1006" fmla="*/ 538264 h 1113404"/>
                <a:gd name="connsiteX1007" fmla="*/ 15005 w 1814027"/>
                <a:gd name="connsiteY1007" fmla="*/ 538990 h 1113404"/>
                <a:gd name="connsiteX1008" fmla="*/ 12343 w 1814027"/>
                <a:gd name="connsiteY1008" fmla="*/ 539776 h 1113404"/>
                <a:gd name="connsiteX1009" fmla="*/ 11102 w 1814027"/>
                <a:gd name="connsiteY1009" fmla="*/ 540563 h 1113404"/>
                <a:gd name="connsiteX1010" fmla="*/ 10346 w 1814027"/>
                <a:gd name="connsiteY1010" fmla="*/ 541531 h 1113404"/>
                <a:gd name="connsiteX1011" fmla="*/ 9287 w 1814027"/>
                <a:gd name="connsiteY1011" fmla="*/ 543770 h 1113404"/>
                <a:gd name="connsiteX1012" fmla="*/ 8652 w 1814027"/>
                <a:gd name="connsiteY1012" fmla="*/ 544768 h 1113404"/>
                <a:gd name="connsiteX1013" fmla="*/ 2088 w 1814027"/>
                <a:gd name="connsiteY1013" fmla="*/ 549668 h 1113404"/>
                <a:gd name="connsiteX1014" fmla="*/ 575 w 1814027"/>
                <a:gd name="connsiteY1014" fmla="*/ 551937 h 1113404"/>
                <a:gd name="connsiteX1015" fmla="*/ 363 w 1814027"/>
                <a:gd name="connsiteY1015" fmla="*/ 554751 h 1113404"/>
                <a:gd name="connsiteX1016" fmla="*/ 1543 w 1814027"/>
                <a:gd name="connsiteY1016" fmla="*/ 560408 h 1113404"/>
                <a:gd name="connsiteX1017" fmla="*/ 1180 w 1814027"/>
                <a:gd name="connsiteY1017" fmla="*/ 562616 h 1113404"/>
                <a:gd name="connsiteX1018" fmla="*/ 91 w 1814027"/>
                <a:gd name="connsiteY1018" fmla="*/ 564885 h 1113404"/>
                <a:gd name="connsiteX1019" fmla="*/ 0 w 1814027"/>
                <a:gd name="connsiteY1019" fmla="*/ 574898 h 1113404"/>
                <a:gd name="connsiteX1020" fmla="*/ 2390 w 1814027"/>
                <a:gd name="connsiteY1020" fmla="*/ 575292 h 1113404"/>
                <a:gd name="connsiteX1021" fmla="*/ 2662 w 1814027"/>
                <a:gd name="connsiteY1021" fmla="*/ 575292 h 1113404"/>
                <a:gd name="connsiteX1022" fmla="*/ 3661 w 1814027"/>
                <a:gd name="connsiteY1022" fmla="*/ 574263 h 1113404"/>
                <a:gd name="connsiteX1023" fmla="*/ 6958 w 1814027"/>
                <a:gd name="connsiteY1023" fmla="*/ 573053 h 1113404"/>
                <a:gd name="connsiteX1024" fmla="*/ 10376 w 1814027"/>
                <a:gd name="connsiteY1024" fmla="*/ 573446 h 1113404"/>
                <a:gd name="connsiteX1025" fmla="*/ 13976 w 1814027"/>
                <a:gd name="connsiteY1025" fmla="*/ 575080 h 1113404"/>
                <a:gd name="connsiteX1026" fmla="*/ 12464 w 1814027"/>
                <a:gd name="connsiteY1026" fmla="*/ 579285 h 1113404"/>
                <a:gd name="connsiteX1027" fmla="*/ 12464 w 1814027"/>
                <a:gd name="connsiteY1027" fmla="*/ 581493 h 1113404"/>
                <a:gd name="connsiteX1028" fmla="*/ 15217 w 1814027"/>
                <a:gd name="connsiteY1028" fmla="*/ 581342 h 1113404"/>
                <a:gd name="connsiteX1029" fmla="*/ 15912 w 1814027"/>
                <a:gd name="connsiteY1029" fmla="*/ 581463 h 1113404"/>
                <a:gd name="connsiteX1030" fmla="*/ 16638 w 1814027"/>
                <a:gd name="connsiteY1030" fmla="*/ 582643 h 1113404"/>
                <a:gd name="connsiteX1031" fmla="*/ 16638 w 1814027"/>
                <a:gd name="connsiteY1031" fmla="*/ 584004 h 1113404"/>
                <a:gd name="connsiteX1032" fmla="*/ 16396 w 1814027"/>
                <a:gd name="connsiteY1032" fmla="*/ 585607 h 1113404"/>
                <a:gd name="connsiteX1033" fmla="*/ 16487 w 1814027"/>
                <a:gd name="connsiteY1033" fmla="*/ 587543 h 1113404"/>
                <a:gd name="connsiteX1034" fmla="*/ 17576 w 1814027"/>
                <a:gd name="connsiteY1034" fmla="*/ 590357 h 1113404"/>
                <a:gd name="connsiteX1035" fmla="*/ 22507 w 1814027"/>
                <a:gd name="connsiteY1035" fmla="*/ 597375 h 1113404"/>
                <a:gd name="connsiteX1036" fmla="*/ 23173 w 1814027"/>
                <a:gd name="connsiteY1036" fmla="*/ 597980 h 1113404"/>
                <a:gd name="connsiteX1037" fmla="*/ 23899 w 1814027"/>
                <a:gd name="connsiteY1037" fmla="*/ 598162 h 1113404"/>
                <a:gd name="connsiteX1038" fmla="*/ 24685 w 1814027"/>
                <a:gd name="connsiteY1038" fmla="*/ 597950 h 1113404"/>
                <a:gd name="connsiteX1039" fmla="*/ 25472 w 1814027"/>
                <a:gd name="connsiteY1039" fmla="*/ 597375 h 1113404"/>
                <a:gd name="connsiteX1040" fmla="*/ 25895 w 1814027"/>
                <a:gd name="connsiteY1040" fmla="*/ 597194 h 1113404"/>
                <a:gd name="connsiteX1041" fmla="*/ 26289 w 1814027"/>
                <a:gd name="connsiteY1041" fmla="*/ 597133 h 1113404"/>
                <a:gd name="connsiteX1042" fmla="*/ 26712 w 1814027"/>
                <a:gd name="connsiteY1042" fmla="*/ 597194 h 1113404"/>
                <a:gd name="connsiteX1043" fmla="*/ 28709 w 1814027"/>
                <a:gd name="connsiteY1043" fmla="*/ 597950 h 1113404"/>
                <a:gd name="connsiteX1044" fmla="*/ 30282 w 1814027"/>
                <a:gd name="connsiteY1044" fmla="*/ 598252 h 1113404"/>
                <a:gd name="connsiteX1045" fmla="*/ 31855 w 1814027"/>
                <a:gd name="connsiteY1045" fmla="*/ 598131 h 1113404"/>
                <a:gd name="connsiteX1046" fmla="*/ 33791 w 1814027"/>
                <a:gd name="connsiteY1046" fmla="*/ 597224 h 1113404"/>
                <a:gd name="connsiteX1047" fmla="*/ 34638 w 1814027"/>
                <a:gd name="connsiteY1047" fmla="*/ 597224 h 1113404"/>
                <a:gd name="connsiteX1048" fmla="*/ 35062 w 1814027"/>
                <a:gd name="connsiteY1048" fmla="*/ 597436 h 1113404"/>
                <a:gd name="connsiteX1049" fmla="*/ 42534 w 1814027"/>
                <a:gd name="connsiteY1049" fmla="*/ 606511 h 1113404"/>
                <a:gd name="connsiteX1050" fmla="*/ 43865 w 1814027"/>
                <a:gd name="connsiteY1050" fmla="*/ 609354 h 1113404"/>
                <a:gd name="connsiteX1051" fmla="*/ 45287 w 1814027"/>
                <a:gd name="connsiteY1051" fmla="*/ 613741 h 1113404"/>
                <a:gd name="connsiteX1052" fmla="*/ 46981 w 1814027"/>
                <a:gd name="connsiteY1052" fmla="*/ 617008 h 1113404"/>
                <a:gd name="connsiteX1053" fmla="*/ 47525 w 1814027"/>
                <a:gd name="connsiteY1053" fmla="*/ 617583 h 1113404"/>
                <a:gd name="connsiteX1054" fmla="*/ 47797 w 1814027"/>
                <a:gd name="connsiteY1054" fmla="*/ 617583 h 1113404"/>
                <a:gd name="connsiteX1055" fmla="*/ 49128 w 1814027"/>
                <a:gd name="connsiteY1055" fmla="*/ 616948 h 1113404"/>
                <a:gd name="connsiteX1056" fmla="*/ 56389 w 1814027"/>
                <a:gd name="connsiteY1056" fmla="*/ 616948 h 1113404"/>
                <a:gd name="connsiteX1057" fmla="*/ 58234 w 1814027"/>
                <a:gd name="connsiteY1057" fmla="*/ 616373 h 1113404"/>
                <a:gd name="connsiteX1058" fmla="*/ 59959 w 1814027"/>
                <a:gd name="connsiteY1058" fmla="*/ 615345 h 1113404"/>
                <a:gd name="connsiteX1059" fmla="*/ 61683 w 1814027"/>
                <a:gd name="connsiteY1059" fmla="*/ 614921 h 1113404"/>
                <a:gd name="connsiteX1060" fmla="*/ 63316 w 1814027"/>
                <a:gd name="connsiteY1060" fmla="*/ 615889 h 1113404"/>
                <a:gd name="connsiteX1061" fmla="*/ 63679 w 1814027"/>
                <a:gd name="connsiteY1061" fmla="*/ 616554 h 1113404"/>
                <a:gd name="connsiteX1062" fmla="*/ 67309 w 1814027"/>
                <a:gd name="connsiteY1062" fmla="*/ 618430 h 1113404"/>
                <a:gd name="connsiteX1063" fmla="*/ 70274 w 1814027"/>
                <a:gd name="connsiteY1063" fmla="*/ 621002 h 1113404"/>
                <a:gd name="connsiteX1064" fmla="*/ 71605 w 1814027"/>
                <a:gd name="connsiteY1064" fmla="*/ 622575 h 1113404"/>
                <a:gd name="connsiteX1065" fmla="*/ 72634 w 1814027"/>
                <a:gd name="connsiteY1065" fmla="*/ 624480 h 1113404"/>
                <a:gd name="connsiteX1066" fmla="*/ 73329 w 1814027"/>
                <a:gd name="connsiteY1066" fmla="*/ 627082 h 1113404"/>
                <a:gd name="connsiteX1067" fmla="*/ 72966 w 1814027"/>
                <a:gd name="connsiteY1067" fmla="*/ 628504 h 1113404"/>
                <a:gd name="connsiteX1068" fmla="*/ 72301 w 1814027"/>
                <a:gd name="connsiteY1068" fmla="*/ 629774 h 1113404"/>
                <a:gd name="connsiteX1069" fmla="*/ 72120 w 1814027"/>
                <a:gd name="connsiteY1069" fmla="*/ 631922 h 1113404"/>
                <a:gd name="connsiteX1070" fmla="*/ 70395 w 1814027"/>
                <a:gd name="connsiteY1070" fmla="*/ 633889 h 1113404"/>
                <a:gd name="connsiteX1071" fmla="*/ 71242 w 1814027"/>
                <a:gd name="connsiteY1071" fmla="*/ 635552 h 1113404"/>
                <a:gd name="connsiteX1072" fmla="*/ 74933 w 1814027"/>
                <a:gd name="connsiteY1072" fmla="*/ 638336 h 1113404"/>
                <a:gd name="connsiteX1073" fmla="*/ 76960 w 1814027"/>
                <a:gd name="connsiteY1073" fmla="*/ 637761 h 1113404"/>
                <a:gd name="connsiteX1074" fmla="*/ 78775 w 1814027"/>
                <a:gd name="connsiteY1074" fmla="*/ 636611 h 1113404"/>
                <a:gd name="connsiteX1075" fmla="*/ 79622 w 1814027"/>
                <a:gd name="connsiteY1075" fmla="*/ 634735 h 1113404"/>
                <a:gd name="connsiteX1076" fmla="*/ 78775 w 1814027"/>
                <a:gd name="connsiteY1076" fmla="*/ 631953 h 1113404"/>
                <a:gd name="connsiteX1077" fmla="*/ 79622 w 1814027"/>
                <a:gd name="connsiteY1077" fmla="*/ 630319 h 1113404"/>
                <a:gd name="connsiteX1078" fmla="*/ 81135 w 1814027"/>
                <a:gd name="connsiteY1078" fmla="*/ 630198 h 1113404"/>
                <a:gd name="connsiteX1079" fmla="*/ 82919 w 1814027"/>
                <a:gd name="connsiteY1079" fmla="*/ 630954 h 1113404"/>
                <a:gd name="connsiteX1080" fmla="*/ 84462 w 1814027"/>
                <a:gd name="connsiteY1080" fmla="*/ 631953 h 1113404"/>
                <a:gd name="connsiteX1081" fmla="*/ 86066 w 1814027"/>
                <a:gd name="connsiteY1081" fmla="*/ 632860 h 1113404"/>
                <a:gd name="connsiteX1082" fmla="*/ 87699 w 1814027"/>
                <a:gd name="connsiteY1082" fmla="*/ 633314 h 1113404"/>
                <a:gd name="connsiteX1083" fmla="*/ 89302 w 1814027"/>
                <a:gd name="connsiteY1083" fmla="*/ 633072 h 1113404"/>
                <a:gd name="connsiteX1084" fmla="*/ 93628 w 1814027"/>
                <a:gd name="connsiteY1084" fmla="*/ 629926 h 1113404"/>
                <a:gd name="connsiteX1085" fmla="*/ 94959 w 1814027"/>
                <a:gd name="connsiteY1085" fmla="*/ 627566 h 1113404"/>
                <a:gd name="connsiteX1086" fmla="*/ 97228 w 1814027"/>
                <a:gd name="connsiteY1086" fmla="*/ 621092 h 1113404"/>
                <a:gd name="connsiteX1087" fmla="*/ 99195 w 1814027"/>
                <a:gd name="connsiteY1087" fmla="*/ 618279 h 1113404"/>
                <a:gd name="connsiteX1088" fmla="*/ 101252 w 1814027"/>
                <a:gd name="connsiteY1088" fmla="*/ 617371 h 1113404"/>
                <a:gd name="connsiteX1089" fmla="*/ 103521 w 1814027"/>
                <a:gd name="connsiteY1089" fmla="*/ 617674 h 1113404"/>
                <a:gd name="connsiteX1090" fmla="*/ 110539 w 1814027"/>
                <a:gd name="connsiteY1090" fmla="*/ 619913 h 1113404"/>
                <a:gd name="connsiteX1091" fmla="*/ 112293 w 1814027"/>
                <a:gd name="connsiteY1091" fmla="*/ 621092 h 1113404"/>
                <a:gd name="connsiteX1092" fmla="*/ 116438 w 1814027"/>
                <a:gd name="connsiteY1092" fmla="*/ 625660 h 1113404"/>
                <a:gd name="connsiteX1093" fmla="*/ 121248 w 1814027"/>
                <a:gd name="connsiteY1093" fmla="*/ 629441 h 1113404"/>
                <a:gd name="connsiteX1094" fmla="*/ 123517 w 1814027"/>
                <a:gd name="connsiteY1094" fmla="*/ 631892 h 1113404"/>
                <a:gd name="connsiteX1095" fmla="*/ 124243 w 1814027"/>
                <a:gd name="connsiteY1095" fmla="*/ 632164 h 1113404"/>
                <a:gd name="connsiteX1096" fmla="*/ 124999 w 1814027"/>
                <a:gd name="connsiteY1096" fmla="*/ 632255 h 1113404"/>
                <a:gd name="connsiteX1097" fmla="*/ 125755 w 1814027"/>
                <a:gd name="connsiteY1097" fmla="*/ 632164 h 1113404"/>
                <a:gd name="connsiteX1098" fmla="*/ 126542 w 1814027"/>
                <a:gd name="connsiteY1098" fmla="*/ 631892 h 1113404"/>
                <a:gd name="connsiteX1099" fmla="*/ 126693 w 1814027"/>
                <a:gd name="connsiteY1099" fmla="*/ 631831 h 1113404"/>
                <a:gd name="connsiteX1100" fmla="*/ 126996 w 1814027"/>
                <a:gd name="connsiteY1100" fmla="*/ 631831 h 1113404"/>
                <a:gd name="connsiteX1101" fmla="*/ 127147 w 1814027"/>
                <a:gd name="connsiteY1101" fmla="*/ 631892 h 1113404"/>
                <a:gd name="connsiteX1102" fmla="*/ 133681 w 1814027"/>
                <a:gd name="connsiteY1102" fmla="*/ 634887 h 1113404"/>
                <a:gd name="connsiteX1103" fmla="*/ 135768 w 1814027"/>
                <a:gd name="connsiteY1103" fmla="*/ 634766 h 1113404"/>
                <a:gd name="connsiteX1104" fmla="*/ 136162 w 1814027"/>
                <a:gd name="connsiteY1104" fmla="*/ 634494 h 1113404"/>
                <a:gd name="connsiteX1105" fmla="*/ 136465 w 1814027"/>
                <a:gd name="connsiteY1105" fmla="*/ 634252 h 1113404"/>
                <a:gd name="connsiteX1106" fmla="*/ 137039 w 1814027"/>
                <a:gd name="connsiteY1106" fmla="*/ 633616 h 1113404"/>
                <a:gd name="connsiteX1107" fmla="*/ 137554 w 1814027"/>
                <a:gd name="connsiteY1107" fmla="*/ 632830 h 1113404"/>
                <a:gd name="connsiteX1108" fmla="*/ 138007 w 1814027"/>
                <a:gd name="connsiteY1108" fmla="*/ 631892 h 1113404"/>
                <a:gd name="connsiteX1109" fmla="*/ 139096 w 1814027"/>
                <a:gd name="connsiteY1109" fmla="*/ 631045 h 1113404"/>
                <a:gd name="connsiteX1110" fmla="*/ 140216 w 1814027"/>
                <a:gd name="connsiteY1110" fmla="*/ 630742 h 1113404"/>
                <a:gd name="connsiteX1111" fmla="*/ 143997 w 1814027"/>
                <a:gd name="connsiteY1111" fmla="*/ 630107 h 1113404"/>
                <a:gd name="connsiteX1112" fmla="*/ 145873 w 1814027"/>
                <a:gd name="connsiteY1112" fmla="*/ 630682 h 1113404"/>
                <a:gd name="connsiteX1113" fmla="*/ 152347 w 1814027"/>
                <a:gd name="connsiteY1113" fmla="*/ 631378 h 1113404"/>
                <a:gd name="connsiteX1114" fmla="*/ 156491 w 1814027"/>
                <a:gd name="connsiteY1114" fmla="*/ 632679 h 1113404"/>
                <a:gd name="connsiteX1115" fmla="*/ 158820 w 1814027"/>
                <a:gd name="connsiteY1115" fmla="*/ 632981 h 1113404"/>
                <a:gd name="connsiteX1116" fmla="*/ 165808 w 1814027"/>
                <a:gd name="connsiteY1116" fmla="*/ 632648 h 1113404"/>
                <a:gd name="connsiteX1117" fmla="*/ 167472 w 1814027"/>
                <a:gd name="connsiteY1117" fmla="*/ 633405 h 1113404"/>
                <a:gd name="connsiteX1118" fmla="*/ 172706 w 1814027"/>
                <a:gd name="connsiteY1118" fmla="*/ 637882 h 1113404"/>
                <a:gd name="connsiteX1119" fmla="*/ 173371 w 1814027"/>
                <a:gd name="connsiteY1119" fmla="*/ 639999 h 1113404"/>
                <a:gd name="connsiteX1120" fmla="*/ 175519 w 1814027"/>
                <a:gd name="connsiteY1120" fmla="*/ 639999 h 1113404"/>
                <a:gd name="connsiteX1121" fmla="*/ 185653 w 1814027"/>
                <a:gd name="connsiteY1121" fmla="*/ 636127 h 1113404"/>
                <a:gd name="connsiteX1122" fmla="*/ 188830 w 1814027"/>
                <a:gd name="connsiteY1122" fmla="*/ 636278 h 1113404"/>
                <a:gd name="connsiteX1123" fmla="*/ 190494 w 1814027"/>
                <a:gd name="connsiteY1123" fmla="*/ 637367 h 1113404"/>
                <a:gd name="connsiteX1124" fmla="*/ 195485 w 1814027"/>
                <a:gd name="connsiteY1124" fmla="*/ 638608 h 1113404"/>
                <a:gd name="connsiteX1125" fmla="*/ 197481 w 1814027"/>
                <a:gd name="connsiteY1125" fmla="*/ 639455 h 1113404"/>
                <a:gd name="connsiteX1126" fmla="*/ 201142 w 1814027"/>
                <a:gd name="connsiteY1126" fmla="*/ 642692 h 1113404"/>
                <a:gd name="connsiteX1127" fmla="*/ 202897 w 1814027"/>
                <a:gd name="connsiteY1127" fmla="*/ 643024 h 1113404"/>
                <a:gd name="connsiteX1128" fmla="*/ 203048 w 1814027"/>
                <a:gd name="connsiteY1128" fmla="*/ 642904 h 1113404"/>
                <a:gd name="connsiteX1129" fmla="*/ 209007 w 1814027"/>
                <a:gd name="connsiteY1129" fmla="*/ 645021 h 1113404"/>
                <a:gd name="connsiteX1130" fmla="*/ 211185 w 1814027"/>
                <a:gd name="connsiteY1130" fmla="*/ 645112 h 1113404"/>
                <a:gd name="connsiteX1131" fmla="*/ 217901 w 1814027"/>
                <a:gd name="connsiteY1131" fmla="*/ 641966 h 1113404"/>
                <a:gd name="connsiteX1132" fmla="*/ 222862 w 1814027"/>
                <a:gd name="connsiteY1132" fmla="*/ 641815 h 1113404"/>
                <a:gd name="connsiteX1133" fmla="*/ 226795 w 1814027"/>
                <a:gd name="connsiteY1133" fmla="*/ 638668 h 1113404"/>
                <a:gd name="connsiteX1134" fmla="*/ 229094 w 1814027"/>
                <a:gd name="connsiteY1134" fmla="*/ 637519 h 1113404"/>
                <a:gd name="connsiteX1135" fmla="*/ 231030 w 1814027"/>
                <a:gd name="connsiteY1135" fmla="*/ 637458 h 1113404"/>
                <a:gd name="connsiteX1136" fmla="*/ 236778 w 1814027"/>
                <a:gd name="connsiteY1136" fmla="*/ 638729 h 1113404"/>
                <a:gd name="connsiteX1137" fmla="*/ 242465 w 1814027"/>
                <a:gd name="connsiteY1137" fmla="*/ 638638 h 1113404"/>
                <a:gd name="connsiteX1138" fmla="*/ 244432 w 1814027"/>
                <a:gd name="connsiteY1138" fmla="*/ 639092 h 1113404"/>
                <a:gd name="connsiteX1139" fmla="*/ 245249 w 1814027"/>
                <a:gd name="connsiteY1139" fmla="*/ 639546 h 1113404"/>
                <a:gd name="connsiteX1140" fmla="*/ 249121 w 1814027"/>
                <a:gd name="connsiteY1140" fmla="*/ 641663 h 1113404"/>
                <a:gd name="connsiteX1141" fmla="*/ 251662 w 1814027"/>
                <a:gd name="connsiteY1141" fmla="*/ 643539 h 1113404"/>
                <a:gd name="connsiteX1142" fmla="*/ 253235 w 1814027"/>
                <a:gd name="connsiteY1142" fmla="*/ 645354 h 1113404"/>
                <a:gd name="connsiteX1143" fmla="*/ 253900 w 1814027"/>
                <a:gd name="connsiteY1143" fmla="*/ 647532 h 1113404"/>
                <a:gd name="connsiteX1144" fmla="*/ 253991 w 1814027"/>
                <a:gd name="connsiteY1144" fmla="*/ 649347 h 1113404"/>
                <a:gd name="connsiteX1145" fmla="*/ 254445 w 1814027"/>
                <a:gd name="connsiteY1145" fmla="*/ 651041 h 1113404"/>
                <a:gd name="connsiteX1146" fmla="*/ 256230 w 1814027"/>
                <a:gd name="connsiteY1146" fmla="*/ 652947 h 1113404"/>
                <a:gd name="connsiteX1147" fmla="*/ 259618 w 1814027"/>
                <a:gd name="connsiteY1147" fmla="*/ 654883 h 1113404"/>
                <a:gd name="connsiteX1148" fmla="*/ 267755 w 1814027"/>
                <a:gd name="connsiteY1148" fmla="*/ 657817 h 1113404"/>
                <a:gd name="connsiteX1149" fmla="*/ 269238 w 1814027"/>
                <a:gd name="connsiteY1149" fmla="*/ 659027 h 1113404"/>
                <a:gd name="connsiteX1150" fmla="*/ 270508 w 1814027"/>
                <a:gd name="connsiteY1150" fmla="*/ 660631 h 1113404"/>
                <a:gd name="connsiteX1151" fmla="*/ 273897 w 1814027"/>
                <a:gd name="connsiteY1151" fmla="*/ 666258 h 1113404"/>
                <a:gd name="connsiteX1152" fmla="*/ 276226 w 1814027"/>
                <a:gd name="connsiteY1152" fmla="*/ 669615 h 1113404"/>
                <a:gd name="connsiteX1153" fmla="*/ 278132 w 1814027"/>
                <a:gd name="connsiteY1153" fmla="*/ 670795 h 1113404"/>
                <a:gd name="connsiteX1154" fmla="*/ 281399 w 1814027"/>
                <a:gd name="connsiteY1154" fmla="*/ 670251 h 1113404"/>
                <a:gd name="connsiteX1155" fmla="*/ 282760 w 1814027"/>
                <a:gd name="connsiteY1155" fmla="*/ 670009 h 1113404"/>
                <a:gd name="connsiteX1156" fmla="*/ 290293 w 1814027"/>
                <a:gd name="connsiteY1156" fmla="*/ 668768 h 1113404"/>
                <a:gd name="connsiteX1157" fmla="*/ 296585 w 1814027"/>
                <a:gd name="connsiteY1157" fmla="*/ 666258 h 1113404"/>
                <a:gd name="connsiteX1158" fmla="*/ 296585 w 1814027"/>
                <a:gd name="connsiteY1158" fmla="*/ 666258 h 1113404"/>
                <a:gd name="connsiteX1159" fmla="*/ 300790 w 1814027"/>
                <a:gd name="connsiteY1159" fmla="*/ 662506 h 1113404"/>
                <a:gd name="connsiteX1160" fmla="*/ 310531 w 1814027"/>
                <a:gd name="connsiteY1160" fmla="*/ 647623 h 1113404"/>
                <a:gd name="connsiteX1161" fmla="*/ 314857 w 1814027"/>
                <a:gd name="connsiteY1161" fmla="*/ 644870 h 1113404"/>
                <a:gd name="connsiteX1162" fmla="*/ 364227 w 1814027"/>
                <a:gd name="connsiteY1162" fmla="*/ 639909 h 1113404"/>
                <a:gd name="connsiteX1163" fmla="*/ 370883 w 1814027"/>
                <a:gd name="connsiteY1163" fmla="*/ 637428 h 1113404"/>
                <a:gd name="connsiteX1164" fmla="*/ 376177 w 1814027"/>
                <a:gd name="connsiteY1164" fmla="*/ 636823 h 1113404"/>
                <a:gd name="connsiteX1165" fmla="*/ 379232 w 1814027"/>
                <a:gd name="connsiteY1165" fmla="*/ 635583 h 1113404"/>
                <a:gd name="connsiteX1166" fmla="*/ 380926 w 1814027"/>
                <a:gd name="connsiteY1166" fmla="*/ 635280 h 1113404"/>
                <a:gd name="connsiteX1167" fmla="*/ 385706 w 1814027"/>
                <a:gd name="connsiteY1167" fmla="*/ 635734 h 1113404"/>
                <a:gd name="connsiteX1168" fmla="*/ 392089 w 1814027"/>
                <a:gd name="connsiteY1168" fmla="*/ 633949 h 1113404"/>
                <a:gd name="connsiteX1169" fmla="*/ 399470 w 1814027"/>
                <a:gd name="connsiteY1169" fmla="*/ 633889 h 1113404"/>
                <a:gd name="connsiteX1170" fmla="*/ 401800 w 1814027"/>
                <a:gd name="connsiteY1170" fmla="*/ 633889 h 1113404"/>
                <a:gd name="connsiteX1171" fmla="*/ 406579 w 1814027"/>
                <a:gd name="connsiteY1171" fmla="*/ 631831 h 1113404"/>
                <a:gd name="connsiteX1172" fmla="*/ 407548 w 1814027"/>
                <a:gd name="connsiteY1172" fmla="*/ 630440 h 1113404"/>
                <a:gd name="connsiteX1173" fmla="*/ 409786 w 1814027"/>
                <a:gd name="connsiteY1173" fmla="*/ 625751 h 1113404"/>
                <a:gd name="connsiteX1174" fmla="*/ 411026 w 1814027"/>
                <a:gd name="connsiteY1174" fmla="*/ 624269 h 1113404"/>
                <a:gd name="connsiteX1175" fmla="*/ 413658 w 1814027"/>
                <a:gd name="connsiteY1175" fmla="*/ 622211 h 1113404"/>
                <a:gd name="connsiteX1176" fmla="*/ 414868 w 1814027"/>
                <a:gd name="connsiteY1176" fmla="*/ 620941 h 1113404"/>
                <a:gd name="connsiteX1177" fmla="*/ 416441 w 1814027"/>
                <a:gd name="connsiteY1177" fmla="*/ 618007 h 1113404"/>
                <a:gd name="connsiteX1178" fmla="*/ 418075 w 1814027"/>
                <a:gd name="connsiteY1178" fmla="*/ 613711 h 1113404"/>
                <a:gd name="connsiteX1179" fmla="*/ 419134 w 1814027"/>
                <a:gd name="connsiteY1179" fmla="*/ 609325 h 1113404"/>
                <a:gd name="connsiteX1180" fmla="*/ 418982 w 1814027"/>
                <a:gd name="connsiteY1180" fmla="*/ 606178 h 1113404"/>
                <a:gd name="connsiteX1181" fmla="*/ 419708 w 1814027"/>
                <a:gd name="connsiteY1181" fmla="*/ 601610 h 1113404"/>
                <a:gd name="connsiteX1182" fmla="*/ 420555 w 1814027"/>
                <a:gd name="connsiteY1182" fmla="*/ 601943 h 1113404"/>
                <a:gd name="connsiteX1183" fmla="*/ 422431 w 1814027"/>
                <a:gd name="connsiteY1183" fmla="*/ 602125 h 1113404"/>
                <a:gd name="connsiteX1184" fmla="*/ 424156 w 1814027"/>
                <a:gd name="connsiteY1184" fmla="*/ 601641 h 1113404"/>
                <a:gd name="connsiteX1185" fmla="*/ 427483 w 1814027"/>
                <a:gd name="connsiteY1185" fmla="*/ 600098 h 1113404"/>
                <a:gd name="connsiteX1186" fmla="*/ 429177 w 1814027"/>
                <a:gd name="connsiteY1186" fmla="*/ 599674 h 1113404"/>
                <a:gd name="connsiteX1187" fmla="*/ 433927 w 1814027"/>
                <a:gd name="connsiteY1187" fmla="*/ 599463 h 1113404"/>
                <a:gd name="connsiteX1188" fmla="*/ 435590 w 1814027"/>
                <a:gd name="connsiteY1188" fmla="*/ 599100 h 1113404"/>
                <a:gd name="connsiteX1189" fmla="*/ 448296 w 1814027"/>
                <a:gd name="connsiteY1189" fmla="*/ 596468 h 1113404"/>
                <a:gd name="connsiteX1190" fmla="*/ 451352 w 1814027"/>
                <a:gd name="connsiteY1190" fmla="*/ 595136 h 1113404"/>
                <a:gd name="connsiteX1191" fmla="*/ 451442 w 1814027"/>
                <a:gd name="connsiteY1191" fmla="*/ 593987 h 1113404"/>
                <a:gd name="connsiteX1192" fmla="*/ 452078 w 1814027"/>
                <a:gd name="connsiteY1192" fmla="*/ 591809 h 1113404"/>
                <a:gd name="connsiteX1193" fmla="*/ 453197 w 1814027"/>
                <a:gd name="connsiteY1193" fmla="*/ 590145 h 1113404"/>
                <a:gd name="connsiteX1194" fmla="*/ 456524 w 1814027"/>
                <a:gd name="connsiteY1194" fmla="*/ 588209 h 1113404"/>
                <a:gd name="connsiteX1195" fmla="*/ 457009 w 1814027"/>
                <a:gd name="connsiteY1195" fmla="*/ 586424 h 1113404"/>
                <a:gd name="connsiteX1196" fmla="*/ 457583 w 1814027"/>
                <a:gd name="connsiteY1196" fmla="*/ 585244 h 1113404"/>
                <a:gd name="connsiteX1197" fmla="*/ 459580 w 1814027"/>
                <a:gd name="connsiteY1197" fmla="*/ 585940 h 1113404"/>
                <a:gd name="connsiteX1198" fmla="*/ 460941 w 1814027"/>
                <a:gd name="connsiteY1198" fmla="*/ 587332 h 1113404"/>
                <a:gd name="connsiteX1199" fmla="*/ 462000 w 1814027"/>
                <a:gd name="connsiteY1199" fmla="*/ 589056 h 1113404"/>
                <a:gd name="connsiteX1200" fmla="*/ 463240 w 1814027"/>
                <a:gd name="connsiteY1200" fmla="*/ 590568 h 1113404"/>
                <a:gd name="connsiteX1201" fmla="*/ 465116 w 1814027"/>
                <a:gd name="connsiteY1201" fmla="*/ 591355 h 1113404"/>
                <a:gd name="connsiteX1202" fmla="*/ 467112 w 1814027"/>
                <a:gd name="connsiteY1202" fmla="*/ 591204 h 1113404"/>
                <a:gd name="connsiteX1203" fmla="*/ 468262 w 1814027"/>
                <a:gd name="connsiteY1203" fmla="*/ 590236 h 1113404"/>
                <a:gd name="connsiteX1204" fmla="*/ 468716 w 1814027"/>
                <a:gd name="connsiteY1204" fmla="*/ 588451 h 1113404"/>
                <a:gd name="connsiteX1205" fmla="*/ 468655 w 1814027"/>
                <a:gd name="connsiteY1205" fmla="*/ 585819 h 1113404"/>
                <a:gd name="connsiteX1206" fmla="*/ 468111 w 1814027"/>
                <a:gd name="connsiteY1206" fmla="*/ 583157 h 1113404"/>
                <a:gd name="connsiteX1207" fmla="*/ 467536 w 1814027"/>
                <a:gd name="connsiteY1207" fmla="*/ 581493 h 1113404"/>
                <a:gd name="connsiteX1208" fmla="*/ 467475 w 1814027"/>
                <a:gd name="connsiteY1208" fmla="*/ 580253 h 1113404"/>
                <a:gd name="connsiteX1209" fmla="*/ 468534 w 1814027"/>
                <a:gd name="connsiteY1209" fmla="*/ 578861 h 1113404"/>
                <a:gd name="connsiteX1210" fmla="*/ 469079 w 1814027"/>
                <a:gd name="connsiteY1210" fmla="*/ 578861 h 1113404"/>
                <a:gd name="connsiteX1211" fmla="*/ 470743 w 1814027"/>
                <a:gd name="connsiteY1211" fmla="*/ 579436 h 1113404"/>
                <a:gd name="connsiteX1212" fmla="*/ 471439 w 1814027"/>
                <a:gd name="connsiteY1212" fmla="*/ 579436 h 1113404"/>
                <a:gd name="connsiteX1213" fmla="*/ 472316 w 1814027"/>
                <a:gd name="connsiteY1213" fmla="*/ 578619 h 1113404"/>
                <a:gd name="connsiteX1214" fmla="*/ 472588 w 1814027"/>
                <a:gd name="connsiteY1214" fmla="*/ 577590 h 1113404"/>
                <a:gd name="connsiteX1215" fmla="*/ 472951 w 1814027"/>
                <a:gd name="connsiteY1215" fmla="*/ 576713 h 1113404"/>
                <a:gd name="connsiteX1216" fmla="*/ 474040 w 1814027"/>
                <a:gd name="connsiteY1216" fmla="*/ 576381 h 1113404"/>
                <a:gd name="connsiteX1217" fmla="*/ 477368 w 1814027"/>
                <a:gd name="connsiteY1217" fmla="*/ 577742 h 1113404"/>
                <a:gd name="connsiteX1218" fmla="*/ 480665 w 1814027"/>
                <a:gd name="connsiteY1218" fmla="*/ 580343 h 1113404"/>
                <a:gd name="connsiteX1219" fmla="*/ 484144 w 1814027"/>
                <a:gd name="connsiteY1219" fmla="*/ 582280 h 1113404"/>
                <a:gd name="connsiteX1220" fmla="*/ 487956 w 1814027"/>
                <a:gd name="connsiteY1220" fmla="*/ 581675 h 1113404"/>
                <a:gd name="connsiteX1221" fmla="*/ 488924 w 1814027"/>
                <a:gd name="connsiteY1221" fmla="*/ 580737 h 1113404"/>
                <a:gd name="connsiteX1222" fmla="*/ 489650 w 1814027"/>
                <a:gd name="connsiteY1222" fmla="*/ 580858 h 1113404"/>
                <a:gd name="connsiteX1223" fmla="*/ 490346 w 1814027"/>
                <a:gd name="connsiteY1223" fmla="*/ 581251 h 1113404"/>
                <a:gd name="connsiteX1224" fmla="*/ 491435 w 1814027"/>
                <a:gd name="connsiteY1224" fmla="*/ 581160 h 1113404"/>
                <a:gd name="connsiteX1225" fmla="*/ 492645 w 1814027"/>
                <a:gd name="connsiteY1225" fmla="*/ 581372 h 1113404"/>
                <a:gd name="connsiteX1226" fmla="*/ 493189 w 1814027"/>
                <a:gd name="connsiteY1226" fmla="*/ 581039 h 1113404"/>
                <a:gd name="connsiteX1227" fmla="*/ 493068 w 1814027"/>
                <a:gd name="connsiteY1227" fmla="*/ 580343 h 1113404"/>
                <a:gd name="connsiteX1228" fmla="*/ 492735 w 1814027"/>
                <a:gd name="connsiteY1228" fmla="*/ 579587 h 1113404"/>
                <a:gd name="connsiteX1229" fmla="*/ 492645 w 1814027"/>
                <a:gd name="connsiteY1229" fmla="*/ 579043 h 1113404"/>
                <a:gd name="connsiteX1230" fmla="*/ 492645 w 1814027"/>
                <a:gd name="connsiteY1230" fmla="*/ 578105 h 1113404"/>
                <a:gd name="connsiteX1231" fmla="*/ 492403 w 1814027"/>
                <a:gd name="connsiteY1231" fmla="*/ 576925 h 1113404"/>
                <a:gd name="connsiteX1232" fmla="*/ 492493 w 1814027"/>
                <a:gd name="connsiteY1232" fmla="*/ 575927 h 1113404"/>
                <a:gd name="connsiteX1233" fmla="*/ 493613 w 1814027"/>
                <a:gd name="connsiteY1233" fmla="*/ 575564 h 1113404"/>
                <a:gd name="connsiteX1234" fmla="*/ 494671 w 1814027"/>
                <a:gd name="connsiteY1234" fmla="*/ 575836 h 1113404"/>
                <a:gd name="connsiteX1235" fmla="*/ 496789 w 1814027"/>
                <a:gd name="connsiteY1235" fmla="*/ 577076 h 1113404"/>
                <a:gd name="connsiteX1236" fmla="*/ 507559 w 1814027"/>
                <a:gd name="connsiteY1236" fmla="*/ 580828 h 1113404"/>
                <a:gd name="connsiteX1237" fmla="*/ 510856 w 1814027"/>
                <a:gd name="connsiteY1237" fmla="*/ 581009 h 1113404"/>
                <a:gd name="connsiteX1238" fmla="*/ 514698 w 1814027"/>
                <a:gd name="connsiteY1238" fmla="*/ 579194 h 1113404"/>
                <a:gd name="connsiteX1239" fmla="*/ 515243 w 1814027"/>
                <a:gd name="connsiteY1239" fmla="*/ 578559 h 1113404"/>
                <a:gd name="connsiteX1240" fmla="*/ 520688 w 1814027"/>
                <a:gd name="connsiteY1240" fmla="*/ 572267 h 1113404"/>
                <a:gd name="connsiteX1241" fmla="*/ 524348 w 1814027"/>
                <a:gd name="connsiteY1241" fmla="*/ 570512 h 1113404"/>
                <a:gd name="connsiteX1242" fmla="*/ 526284 w 1814027"/>
                <a:gd name="connsiteY1242" fmla="*/ 570966 h 1113404"/>
                <a:gd name="connsiteX1243" fmla="*/ 529158 w 1814027"/>
                <a:gd name="connsiteY1243" fmla="*/ 573446 h 1113404"/>
                <a:gd name="connsiteX1244" fmla="*/ 530550 w 1814027"/>
                <a:gd name="connsiteY1244" fmla="*/ 573930 h 1113404"/>
                <a:gd name="connsiteX1245" fmla="*/ 532214 w 1814027"/>
                <a:gd name="connsiteY1245" fmla="*/ 573144 h 1113404"/>
                <a:gd name="connsiteX1246" fmla="*/ 538324 w 1814027"/>
                <a:gd name="connsiteY1246" fmla="*/ 568364 h 1113404"/>
                <a:gd name="connsiteX1247" fmla="*/ 540624 w 1814027"/>
                <a:gd name="connsiteY1247" fmla="*/ 565430 h 1113404"/>
                <a:gd name="connsiteX1248" fmla="*/ 544768 w 1814027"/>
                <a:gd name="connsiteY1248" fmla="*/ 565430 h 1113404"/>
                <a:gd name="connsiteX1249" fmla="*/ 545948 w 1814027"/>
                <a:gd name="connsiteY1249" fmla="*/ 565157 h 1113404"/>
                <a:gd name="connsiteX1250" fmla="*/ 548580 w 1814027"/>
                <a:gd name="connsiteY1250" fmla="*/ 563554 h 1113404"/>
                <a:gd name="connsiteX1251" fmla="*/ 550758 w 1814027"/>
                <a:gd name="connsiteY1251" fmla="*/ 563826 h 1113404"/>
                <a:gd name="connsiteX1252" fmla="*/ 550969 w 1814027"/>
                <a:gd name="connsiteY1252" fmla="*/ 567487 h 1113404"/>
                <a:gd name="connsiteX1253" fmla="*/ 552996 w 1814027"/>
                <a:gd name="connsiteY1253" fmla="*/ 568394 h 1113404"/>
                <a:gd name="connsiteX1254" fmla="*/ 565551 w 1814027"/>
                <a:gd name="connsiteY1254" fmla="*/ 568303 h 1113404"/>
                <a:gd name="connsiteX1255" fmla="*/ 568939 w 1814027"/>
                <a:gd name="connsiteY1255" fmla="*/ 569755 h 1113404"/>
                <a:gd name="connsiteX1256" fmla="*/ 575443 w 1814027"/>
                <a:gd name="connsiteY1256" fmla="*/ 574202 h 1113404"/>
                <a:gd name="connsiteX1257" fmla="*/ 576956 w 1814027"/>
                <a:gd name="connsiteY1257" fmla="*/ 575685 h 1113404"/>
                <a:gd name="connsiteX1258" fmla="*/ 579013 w 1814027"/>
                <a:gd name="connsiteY1258" fmla="*/ 578528 h 1113404"/>
                <a:gd name="connsiteX1259" fmla="*/ 580162 w 1814027"/>
                <a:gd name="connsiteY1259" fmla="*/ 580102 h 1113404"/>
                <a:gd name="connsiteX1260" fmla="*/ 580949 w 1814027"/>
                <a:gd name="connsiteY1260" fmla="*/ 580767 h 1113404"/>
                <a:gd name="connsiteX1261" fmla="*/ 583157 w 1814027"/>
                <a:gd name="connsiteY1261" fmla="*/ 583974 h 1113404"/>
                <a:gd name="connsiteX1262" fmla="*/ 587241 w 1814027"/>
                <a:gd name="connsiteY1262" fmla="*/ 585426 h 1113404"/>
                <a:gd name="connsiteX1263" fmla="*/ 590871 w 1814027"/>
                <a:gd name="connsiteY1263" fmla="*/ 585849 h 1113404"/>
                <a:gd name="connsiteX1264" fmla="*/ 596165 w 1814027"/>
                <a:gd name="connsiteY1264" fmla="*/ 586454 h 1113404"/>
                <a:gd name="connsiteX1265" fmla="*/ 598222 w 1814027"/>
                <a:gd name="connsiteY1265" fmla="*/ 587362 h 1113404"/>
                <a:gd name="connsiteX1266" fmla="*/ 599856 w 1814027"/>
                <a:gd name="connsiteY1266" fmla="*/ 589147 h 1113404"/>
                <a:gd name="connsiteX1267" fmla="*/ 600400 w 1814027"/>
                <a:gd name="connsiteY1267" fmla="*/ 591657 h 1113404"/>
                <a:gd name="connsiteX1268" fmla="*/ 598434 w 1814027"/>
                <a:gd name="connsiteY1268" fmla="*/ 597073 h 1113404"/>
                <a:gd name="connsiteX1269" fmla="*/ 599886 w 1814027"/>
                <a:gd name="connsiteY1269" fmla="*/ 598101 h 1113404"/>
                <a:gd name="connsiteX1270" fmla="*/ 602155 w 1814027"/>
                <a:gd name="connsiteY1270" fmla="*/ 598192 h 1113404"/>
                <a:gd name="connsiteX1271" fmla="*/ 603728 w 1814027"/>
                <a:gd name="connsiteY1271" fmla="*/ 597799 h 1113404"/>
                <a:gd name="connsiteX1272" fmla="*/ 606844 w 1814027"/>
                <a:gd name="connsiteY1272" fmla="*/ 595348 h 1113404"/>
                <a:gd name="connsiteX1273" fmla="*/ 608477 w 1814027"/>
                <a:gd name="connsiteY1273" fmla="*/ 595106 h 1113404"/>
                <a:gd name="connsiteX1274" fmla="*/ 609203 w 1814027"/>
                <a:gd name="connsiteY1274" fmla="*/ 597375 h 1113404"/>
                <a:gd name="connsiteX1275" fmla="*/ 609566 w 1814027"/>
                <a:gd name="connsiteY1275" fmla="*/ 600067 h 1113404"/>
                <a:gd name="connsiteX1276" fmla="*/ 610625 w 1814027"/>
                <a:gd name="connsiteY1276" fmla="*/ 601641 h 1113404"/>
                <a:gd name="connsiteX1277" fmla="*/ 612350 w 1814027"/>
                <a:gd name="connsiteY1277" fmla="*/ 602155 h 1113404"/>
                <a:gd name="connsiteX1278" fmla="*/ 614709 w 1814027"/>
                <a:gd name="connsiteY1278" fmla="*/ 601671 h 1113404"/>
                <a:gd name="connsiteX1279" fmla="*/ 616887 w 1814027"/>
                <a:gd name="connsiteY1279" fmla="*/ 600521 h 1113404"/>
                <a:gd name="connsiteX1280" fmla="*/ 618461 w 1814027"/>
                <a:gd name="connsiteY1280" fmla="*/ 599251 h 1113404"/>
                <a:gd name="connsiteX1281" fmla="*/ 620154 w 1814027"/>
                <a:gd name="connsiteY1281" fmla="*/ 598222 h 1113404"/>
                <a:gd name="connsiteX1282" fmla="*/ 624783 w 1814027"/>
                <a:gd name="connsiteY1282" fmla="*/ 597708 h 1113404"/>
                <a:gd name="connsiteX1283" fmla="*/ 626507 w 1814027"/>
                <a:gd name="connsiteY1283" fmla="*/ 597920 h 1113404"/>
                <a:gd name="connsiteX1284" fmla="*/ 627566 w 1814027"/>
                <a:gd name="connsiteY1284" fmla="*/ 599039 h 1113404"/>
                <a:gd name="connsiteX1285" fmla="*/ 627748 w 1814027"/>
                <a:gd name="connsiteY1285" fmla="*/ 601671 h 1113404"/>
                <a:gd name="connsiteX1286" fmla="*/ 627082 w 1814027"/>
                <a:gd name="connsiteY1286" fmla="*/ 604514 h 1113404"/>
                <a:gd name="connsiteX1287" fmla="*/ 625963 w 1814027"/>
                <a:gd name="connsiteY1287" fmla="*/ 605785 h 1113404"/>
                <a:gd name="connsiteX1288" fmla="*/ 624511 w 1814027"/>
                <a:gd name="connsiteY1288" fmla="*/ 606662 h 1113404"/>
                <a:gd name="connsiteX1289" fmla="*/ 622938 w 1814027"/>
                <a:gd name="connsiteY1289" fmla="*/ 608387 h 1113404"/>
                <a:gd name="connsiteX1290" fmla="*/ 622272 w 1814027"/>
                <a:gd name="connsiteY1290" fmla="*/ 610292 h 1113404"/>
                <a:gd name="connsiteX1291" fmla="*/ 622454 w 1814027"/>
                <a:gd name="connsiteY1291" fmla="*/ 612229 h 1113404"/>
                <a:gd name="connsiteX1292" fmla="*/ 623573 w 1814027"/>
                <a:gd name="connsiteY1292" fmla="*/ 613378 h 1113404"/>
                <a:gd name="connsiteX1293" fmla="*/ 625691 w 1814027"/>
                <a:gd name="connsiteY1293" fmla="*/ 613015 h 1113404"/>
                <a:gd name="connsiteX1294" fmla="*/ 627233 w 1814027"/>
                <a:gd name="connsiteY1294" fmla="*/ 611381 h 1113404"/>
                <a:gd name="connsiteX1295" fmla="*/ 628322 w 1814027"/>
                <a:gd name="connsiteY1295" fmla="*/ 609264 h 1113404"/>
                <a:gd name="connsiteX1296" fmla="*/ 629623 w 1814027"/>
                <a:gd name="connsiteY1296" fmla="*/ 607600 h 1113404"/>
                <a:gd name="connsiteX1297" fmla="*/ 631922 w 1814027"/>
                <a:gd name="connsiteY1297" fmla="*/ 607298 h 1113404"/>
                <a:gd name="connsiteX1298" fmla="*/ 633526 w 1814027"/>
                <a:gd name="connsiteY1298" fmla="*/ 608326 h 1113404"/>
                <a:gd name="connsiteX1299" fmla="*/ 634494 w 1814027"/>
                <a:gd name="connsiteY1299" fmla="*/ 610202 h 1113404"/>
                <a:gd name="connsiteX1300" fmla="*/ 634373 w 1814027"/>
                <a:gd name="connsiteY1300" fmla="*/ 612319 h 1113404"/>
                <a:gd name="connsiteX1301" fmla="*/ 632709 w 1814027"/>
                <a:gd name="connsiteY1301" fmla="*/ 614044 h 1113404"/>
                <a:gd name="connsiteX1302" fmla="*/ 635583 w 1814027"/>
                <a:gd name="connsiteY1302" fmla="*/ 619489 h 1113404"/>
                <a:gd name="connsiteX1303" fmla="*/ 636762 w 1814027"/>
                <a:gd name="connsiteY1303" fmla="*/ 620639 h 1113404"/>
                <a:gd name="connsiteX1304" fmla="*/ 638789 w 1814027"/>
                <a:gd name="connsiteY1304" fmla="*/ 621969 h 1113404"/>
                <a:gd name="connsiteX1305" fmla="*/ 639848 w 1814027"/>
                <a:gd name="connsiteY1305" fmla="*/ 621879 h 1113404"/>
                <a:gd name="connsiteX1306" fmla="*/ 640211 w 1814027"/>
                <a:gd name="connsiteY1306" fmla="*/ 620578 h 1113404"/>
                <a:gd name="connsiteX1307" fmla="*/ 640211 w 1814027"/>
                <a:gd name="connsiteY1307" fmla="*/ 618218 h 1113404"/>
                <a:gd name="connsiteX1308" fmla="*/ 640816 w 1814027"/>
                <a:gd name="connsiteY1308" fmla="*/ 615859 h 1113404"/>
                <a:gd name="connsiteX1309" fmla="*/ 640967 w 1814027"/>
                <a:gd name="connsiteY1309" fmla="*/ 615314 h 1113404"/>
                <a:gd name="connsiteX1310" fmla="*/ 640967 w 1814027"/>
                <a:gd name="connsiteY1310" fmla="*/ 615314 h 1113404"/>
                <a:gd name="connsiteX1311" fmla="*/ 642813 w 1814027"/>
                <a:gd name="connsiteY1311" fmla="*/ 610292 h 1113404"/>
                <a:gd name="connsiteX1312" fmla="*/ 645052 w 1814027"/>
                <a:gd name="connsiteY1312" fmla="*/ 609354 h 1113404"/>
                <a:gd name="connsiteX1313" fmla="*/ 648288 w 1814027"/>
                <a:gd name="connsiteY1313" fmla="*/ 609476 h 1113404"/>
                <a:gd name="connsiteX1314" fmla="*/ 657545 w 1814027"/>
                <a:gd name="connsiteY1314" fmla="*/ 613015 h 1113404"/>
                <a:gd name="connsiteX1315" fmla="*/ 664533 w 1814027"/>
                <a:gd name="connsiteY1315" fmla="*/ 613106 h 1113404"/>
                <a:gd name="connsiteX1316" fmla="*/ 668163 w 1814027"/>
                <a:gd name="connsiteY1316" fmla="*/ 613681 h 1113404"/>
                <a:gd name="connsiteX1317" fmla="*/ 670977 w 1814027"/>
                <a:gd name="connsiteY1317" fmla="*/ 615435 h 1113404"/>
                <a:gd name="connsiteX1318" fmla="*/ 671642 w 1814027"/>
                <a:gd name="connsiteY1318" fmla="*/ 616524 h 1113404"/>
                <a:gd name="connsiteX1319" fmla="*/ 671885 w 1814027"/>
                <a:gd name="connsiteY1319" fmla="*/ 617523 h 1113404"/>
                <a:gd name="connsiteX1320" fmla="*/ 671945 w 1814027"/>
                <a:gd name="connsiteY1320" fmla="*/ 618460 h 1113404"/>
                <a:gd name="connsiteX1321" fmla="*/ 672187 w 1814027"/>
                <a:gd name="connsiteY1321" fmla="*/ 619428 h 1113404"/>
                <a:gd name="connsiteX1322" fmla="*/ 673820 w 1814027"/>
                <a:gd name="connsiteY1322" fmla="*/ 622998 h 1113404"/>
                <a:gd name="connsiteX1323" fmla="*/ 674153 w 1814027"/>
                <a:gd name="connsiteY1323" fmla="*/ 626598 h 1113404"/>
                <a:gd name="connsiteX1324" fmla="*/ 674305 w 1814027"/>
                <a:gd name="connsiteY1324" fmla="*/ 627445 h 1113404"/>
                <a:gd name="connsiteX1325" fmla="*/ 675000 w 1814027"/>
                <a:gd name="connsiteY1325" fmla="*/ 628352 h 1113404"/>
                <a:gd name="connsiteX1326" fmla="*/ 676634 w 1814027"/>
                <a:gd name="connsiteY1326" fmla="*/ 629774 h 1113404"/>
                <a:gd name="connsiteX1327" fmla="*/ 677299 w 1814027"/>
                <a:gd name="connsiteY1327" fmla="*/ 630803 h 1113404"/>
                <a:gd name="connsiteX1328" fmla="*/ 679357 w 1814027"/>
                <a:gd name="connsiteY1328" fmla="*/ 634070 h 1113404"/>
                <a:gd name="connsiteX1329" fmla="*/ 682593 w 1814027"/>
                <a:gd name="connsiteY1329" fmla="*/ 637337 h 1113404"/>
                <a:gd name="connsiteX1330" fmla="*/ 684741 w 1814027"/>
                <a:gd name="connsiteY1330" fmla="*/ 638850 h 1113404"/>
                <a:gd name="connsiteX1331" fmla="*/ 686163 w 1814027"/>
                <a:gd name="connsiteY1331" fmla="*/ 639878 h 1113404"/>
                <a:gd name="connsiteX1332" fmla="*/ 689249 w 1814027"/>
                <a:gd name="connsiteY1332" fmla="*/ 641028 h 1113404"/>
                <a:gd name="connsiteX1333" fmla="*/ 692909 w 1814027"/>
                <a:gd name="connsiteY1333" fmla="*/ 640392 h 1113404"/>
                <a:gd name="connsiteX1334" fmla="*/ 697296 w 1814027"/>
                <a:gd name="connsiteY1334" fmla="*/ 635068 h 1113404"/>
                <a:gd name="connsiteX1335" fmla="*/ 700472 w 1814027"/>
                <a:gd name="connsiteY1335" fmla="*/ 633616 h 1113404"/>
                <a:gd name="connsiteX1336" fmla="*/ 702227 w 1814027"/>
                <a:gd name="connsiteY1336" fmla="*/ 633677 h 1113404"/>
                <a:gd name="connsiteX1337" fmla="*/ 703649 w 1814027"/>
                <a:gd name="connsiteY1337" fmla="*/ 634191 h 1113404"/>
                <a:gd name="connsiteX1338" fmla="*/ 704889 w 1814027"/>
                <a:gd name="connsiteY1338" fmla="*/ 635250 h 1113404"/>
                <a:gd name="connsiteX1339" fmla="*/ 706069 w 1814027"/>
                <a:gd name="connsiteY1339" fmla="*/ 637035 h 1113404"/>
                <a:gd name="connsiteX1340" fmla="*/ 706855 w 1814027"/>
                <a:gd name="connsiteY1340" fmla="*/ 639152 h 1113404"/>
                <a:gd name="connsiteX1341" fmla="*/ 707733 w 1814027"/>
                <a:gd name="connsiteY1341" fmla="*/ 643871 h 1113404"/>
                <a:gd name="connsiteX1342" fmla="*/ 708519 w 1814027"/>
                <a:gd name="connsiteY1342" fmla="*/ 645868 h 1113404"/>
                <a:gd name="connsiteX1343" fmla="*/ 709941 w 1814027"/>
                <a:gd name="connsiteY1343" fmla="*/ 646897 h 1113404"/>
                <a:gd name="connsiteX1344" fmla="*/ 713904 w 1814027"/>
                <a:gd name="connsiteY1344" fmla="*/ 648016 h 1113404"/>
                <a:gd name="connsiteX1345" fmla="*/ 714902 w 1814027"/>
                <a:gd name="connsiteY1345" fmla="*/ 648681 h 1113404"/>
                <a:gd name="connsiteX1346" fmla="*/ 714569 w 1814027"/>
                <a:gd name="connsiteY1346" fmla="*/ 650557 h 1113404"/>
                <a:gd name="connsiteX1347" fmla="*/ 713027 w 1814027"/>
                <a:gd name="connsiteY1347" fmla="*/ 652493 h 1113404"/>
                <a:gd name="connsiteX1348" fmla="*/ 711181 w 1814027"/>
                <a:gd name="connsiteY1348" fmla="*/ 654339 h 1113404"/>
                <a:gd name="connsiteX1349" fmla="*/ 709971 w 1814027"/>
                <a:gd name="connsiteY1349" fmla="*/ 655881 h 1113404"/>
                <a:gd name="connsiteX1350" fmla="*/ 709063 w 1814027"/>
                <a:gd name="connsiteY1350" fmla="*/ 658301 h 1113404"/>
                <a:gd name="connsiteX1351" fmla="*/ 709063 w 1814027"/>
                <a:gd name="connsiteY1351" fmla="*/ 659814 h 1113404"/>
                <a:gd name="connsiteX1352" fmla="*/ 710032 w 1814027"/>
                <a:gd name="connsiteY1352" fmla="*/ 660691 h 1113404"/>
                <a:gd name="connsiteX1353" fmla="*/ 713511 w 1814027"/>
                <a:gd name="connsiteY1353" fmla="*/ 661841 h 1113404"/>
                <a:gd name="connsiteX1354" fmla="*/ 714781 w 1814027"/>
                <a:gd name="connsiteY1354" fmla="*/ 662930 h 1113404"/>
                <a:gd name="connsiteX1355" fmla="*/ 715174 w 1814027"/>
                <a:gd name="connsiteY1355" fmla="*/ 664412 h 1113404"/>
                <a:gd name="connsiteX1356" fmla="*/ 713964 w 1814027"/>
                <a:gd name="connsiteY1356" fmla="*/ 666167 h 1113404"/>
                <a:gd name="connsiteX1357" fmla="*/ 710969 w 1814027"/>
                <a:gd name="connsiteY1357" fmla="*/ 669706 h 1113404"/>
                <a:gd name="connsiteX1358" fmla="*/ 710425 w 1814027"/>
                <a:gd name="connsiteY1358" fmla="*/ 674002 h 1113404"/>
                <a:gd name="connsiteX1359" fmla="*/ 710515 w 1814027"/>
                <a:gd name="connsiteY1359" fmla="*/ 678842 h 1113404"/>
                <a:gd name="connsiteX1360" fmla="*/ 709487 w 1814027"/>
                <a:gd name="connsiteY1360" fmla="*/ 684015 h 1113404"/>
                <a:gd name="connsiteX1361" fmla="*/ 706885 w 1814027"/>
                <a:gd name="connsiteY1361" fmla="*/ 688190 h 1113404"/>
                <a:gd name="connsiteX1362" fmla="*/ 704314 w 1814027"/>
                <a:gd name="connsiteY1362" fmla="*/ 691366 h 1113404"/>
                <a:gd name="connsiteX1363" fmla="*/ 702983 w 1814027"/>
                <a:gd name="connsiteY1363" fmla="*/ 694966 h 1113404"/>
                <a:gd name="connsiteX1364" fmla="*/ 704284 w 1814027"/>
                <a:gd name="connsiteY1364" fmla="*/ 700442 h 1113404"/>
                <a:gd name="connsiteX1365" fmla="*/ 704284 w 1814027"/>
                <a:gd name="connsiteY1365" fmla="*/ 700442 h 1113404"/>
                <a:gd name="connsiteX1366" fmla="*/ 704284 w 1814027"/>
                <a:gd name="connsiteY1366" fmla="*/ 700502 h 1113404"/>
                <a:gd name="connsiteX1367" fmla="*/ 704949 w 1814027"/>
                <a:gd name="connsiteY1367" fmla="*/ 701712 h 1113404"/>
                <a:gd name="connsiteX1368" fmla="*/ 705221 w 1814027"/>
                <a:gd name="connsiteY1368" fmla="*/ 702257 h 1113404"/>
                <a:gd name="connsiteX1369" fmla="*/ 706795 w 1814027"/>
                <a:gd name="connsiteY1369" fmla="*/ 706371 h 1113404"/>
                <a:gd name="connsiteX1370" fmla="*/ 707611 w 1814027"/>
                <a:gd name="connsiteY1370" fmla="*/ 707823 h 1113404"/>
                <a:gd name="connsiteX1371" fmla="*/ 709457 w 1814027"/>
                <a:gd name="connsiteY1371" fmla="*/ 709124 h 1113404"/>
                <a:gd name="connsiteX1372" fmla="*/ 710485 w 1814027"/>
                <a:gd name="connsiteY1372" fmla="*/ 708307 h 1113404"/>
                <a:gd name="connsiteX1373" fmla="*/ 711423 w 1814027"/>
                <a:gd name="connsiteY1373" fmla="*/ 706855 h 1113404"/>
                <a:gd name="connsiteX1374" fmla="*/ 713087 w 1814027"/>
                <a:gd name="connsiteY1374" fmla="*/ 706159 h 1113404"/>
                <a:gd name="connsiteX1375" fmla="*/ 714509 w 1814027"/>
                <a:gd name="connsiteY1375" fmla="*/ 706885 h 1113404"/>
                <a:gd name="connsiteX1376" fmla="*/ 716354 w 1814027"/>
                <a:gd name="connsiteY1376" fmla="*/ 709759 h 1113404"/>
                <a:gd name="connsiteX1377" fmla="*/ 719440 w 1814027"/>
                <a:gd name="connsiteY1377" fmla="*/ 711635 h 1113404"/>
                <a:gd name="connsiteX1378" fmla="*/ 720136 w 1814027"/>
                <a:gd name="connsiteY1378" fmla="*/ 713087 h 1113404"/>
                <a:gd name="connsiteX1379" fmla="*/ 720589 w 1814027"/>
                <a:gd name="connsiteY1379" fmla="*/ 714690 h 1113404"/>
                <a:gd name="connsiteX1380" fmla="*/ 721406 w 1814027"/>
                <a:gd name="connsiteY1380" fmla="*/ 716142 h 1113404"/>
                <a:gd name="connsiteX1381" fmla="*/ 722798 w 1814027"/>
                <a:gd name="connsiteY1381" fmla="*/ 716898 h 1113404"/>
                <a:gd name="connsiteX1382" fmla="*/ 724401 w 1814027"/>
                <a:gd name="connsiteY1382" fmla="*/ 717201 h 1113404"/>
                <a:gd name="connsiteX1383" fmla="*/ 725974 w 1814027"/>
                <a:gd name="connsiteY1383" fmla="*/ 717836 h 1113404"/>
                <a:gd name="connsiteX1384" fmla="*/ 727275 w 1814027"/>
                <a:gd name="connsiteY1384" fmla="*/ 719621 h 1113404"/>
                <a:gd name="connsiteX1385" fmla="*/ 727789 w 1814027"/>
                <a:gd name="connsiteY1385" fmla="*/ 721769 h 1113404"/>
                <a:gd name="connsiteX1386" fmla="*/ 727789 w 1814027"/>
                <a:gd name="connsiteY1386" fmla="*/ 723735 h 1113404"/>
                <a:gd name="connsiteX1387" fmla="*/ 728152 w 1814027"/>
                <a:gd name="connsiteY1387" fmla="*/ 725671 h 1113404"/>
                <a:gd name="connsiteX1388" fmla="*/ 728485 w 1814027"/>
                <a:gd name="connsiteY1388" fmla="*/ 726186 h 1113404"/>
                <a:gd name="connsiteX1389" fmla="*/ 729483 w 1814027"/>
                <a:gd name="connsiteY1389" fmla="*/ 727728 h 1113404"/>
                <a:gd name="connsiteX1390" fmla="*/ 730845 w 1814027"/>
                <a:gd name="connsiteY1390" fmla="*/ 728878 h 1113404"/>
                <a:gd name="connsiteX1391" fmla="*/ 732357 w 1814027"/>
                <a:gd name="connsiteY1391" fmla="*/ 729544 h 1113404"/>
                <a:gd name="connsiteX1392" fmla="*/ 733960 w 1814027"/>
                <a:gd name="connsiteY1392" fmla="*/ 729695 h 1113404"/>
                <a:gd name="connsiteX1393" fmla="*/ 735594 w 1814027"/>
                <a:gd name="connsiteY1393" fmla="*/ 729211 h 1113404"/>
                <a:gd name="connsiteX1394" fmla="*/ 737348 w 1814027"/>
                <a:gd name="connsiteY1394" fmla="*/ 727668 h 1113404"/>
                <a:gd name="connsiteX1395" fmla="*/ 738045 w 1814027"/>
                <a:gd name="connsiteY1395" fmla="*/ 725762 h 1113404"/>
                <a:gd name="connsiteX1396" fmla="*/ 738498 w 1814027"/>
                <a:gd name="connsiteY1396" fmla="*/ 723705 h 1113404"/>
                <a:gd name="connsiteX1397" fmla="*/ 739527 w 1814027"/>
                <a:gd name="connsiteY1397" fmla="*/ 721588 h 1113404"/>
                <a:gd name="connsiteX1398" fmla="*/ 741553 w 1814027"/>
                <a:gd name="connsiteY1398" fmla="*/ 721376 h 1113404"/>
                <a:gd name="connsiteX1399" fmla="*/ 743550 w 1814027"/>
                <a:gd name="connsiteY1399" fmla="*/ 721497 h 1113404"/>
                <a:gd name="connsiteX1400" fmla="*/ 745456 w 1814027"/>
                <a:gd name="connsiteY1400" fmla="*/ 722132 h 1113404"/>
                <a:gd name="connsiteX1401" fmla="*/ 747120 w 1814027"/>
                <a:gd name="connsiteY1401" fmla="*/ 723524 h 1113404"/>
                <a:gd name="connsiteX1402" fmla="*/ 748481 w 1814027"/>
                <a:gd name="connsiteY1402" fmla="*/ 725883 h 1113404"/>
                <a:gd name="connsiteX1403" fmla="*/ 749389 w 1814027"/>
                <a:gd name="connsiteY1403" fmla="*/ 729029 h 1113404"/>
                <a:gd name="connsiteX1404" fmla="*/ 749479 w 1814027"/>
                <a:gd name="connsiteY1404" fmla="*/ 732176 h 1113404"/>
                <a:gd name="connsiteX1405" fmla="*/ 748330 w 1814027"/>
                <a:gd name="connsiteY1405" fmla="*/ 734535 h 1113404"/>
                <a:gd name="connsiteX1406" fmla="*/ 745849 w 1814027"/>
                <a:gd name="connsiteY1406" fmla="*/ 735745 h 1113404"/>
                <a:gd name="connsiteX1407" fmla="*/ 745486 w 1814027"/>
                <a:gd name="connsiteY1407" fmla="*/ 738710 h 1113404"/>
                <a:gd name="connsiteX1408" fmla="*/ 746515 w 1814027"/>
                <a:gd name="connsiteY1408" fmla="*/ 745819 h 1113404"/>
                <a:gd name="connsiteX1409" fmla="*/ 745940 w 1814027"/>
                <a:gd name="connsiteY1409" fmla="*/ 749147 h 1113404"/>
                <a:gd name="connsiteX1410" fmla="*/ 744488 w 1814027"/>
                <a:gd name="connsiteY1410" fmla="*/ 750750 h 1113404"/>
                <a:gd name="connsiteX1411" fmla="*/ 742310 w 1814027"/>
                <a:gd name="connsiteY1411" fmla="*/ 751355 h 1113404"/>
                <a:gd name="connsiteX1412" fmla="*/ 739527 w 1814027"/>
                <a:gd name="connsiteY1412" fmla="*/ 751597 h 1113404"/>
                <a:gd name="connsiteX1413" fmla="*/ 739285 w 1814027"/>
                <a:gd name="connsiteY1413" fmla="*/ 751990 h 1113404"/>
                <a:gd name="connsiteX1414" fmla="*/ 739194 w 1814027"/>
                <a:gd name="connsiteY1414" fmla="*/ 752414 h 1113404"/>
                <a:gd name="connsiteX1415" fmla="*/ 739285 w 1814027"/>
                <a:gd name="connsiteY1415" fmla="*/ 752837 h 1113404"/>
                <a:gd name="connsiteX1416" fmla="*/ 739527 w 1814027"/>
                <a:gd name="connsiteY1416" fmla="*/ 753291 h 1113404"/>
                <a:gd name="connsiteX1417" fmla="*/ 742612 w 1814027"/>
                <a:gd name="connsiteY1417" fmla="*/ 758615 h 1113404"/>
                <a:gd name="connsiteX1418" fmla="*/ 743459 w 1814027"/>
                <a:gd name="connsiteY1418" fmla="*/ 759462 h 1113404"/>
                <a:gd name="connsiteX1419" fmla="*/ 744548 w 1814027"/>
                <a:gd name="connsiteY1419" fmla="*/ 758615 h 1113404"/>
                <a:gd name="connsiteX1420" fmla="*/ 745426 w 1814027"/>
                <a:gd name="connsiteY1420" fmla="*/ 756891 h 1113404"/>
                <a:gd name="connsiteX1421" fmla="*/ 746606 w 1814027"/>
                <a:gd name="connsiteY1421" fmla="*/ 755348 h 1113404"/>
                <a:gd name="connsiteX1422" fmla="*/ 748481 w 1814027"/>
                <a:gd name="connsiteY1422" fmla="*/ 755167 h 1113404"/>
                <a:gd name="connsiteX1423" fmla="*/ 749812 w 1814027"/>
                <a:gd name="connsiteY1423" fmla="*/ 756014 h 1113404"/>
                <a:gd name="connsiteX1424" fmla="*/ 750962 w 1814027"/>
                <a:gd name="connsiteY1424" fmla="*/ 757466 h 1113404"/>
                <a:gd name="connsiteX1425" fmla="*/ 751688 w 1814027"/>
                <a:gd name="connsiteY1425" fmla="*/ 759311 h 1113404"/>
                <a:gd name="connsiteX1426" fmla="*/ 751778 w 1814027"/>
                <a:gd name="connsiteY1426" fmla="*/ 761398 h 1113404"/>
                <a:gd name="connsiteX1427" fmla="*/ 751022 w 1814027"/>
                <a:gd name="connsiteY1427" fmla="*/ 763244 h 1113404"/>
                <a:gd name="connsiteX1428" fmla="*/ 749812 w 1814027"/>
                <a:gd name="connsiteY1428" fmla="*/ 764514 h 1113404"/>
                <a:gd name="connsiteX1429" fmla="*/ 748723 w 1814027"/>
                <a:gd name="connsiteY1429" fmla="*/ 766027 h 1113404"/>
                <a:gd name="connsiteX1430" fmla="*/ 747967 w 1814027"/>
                <a:gd name="connsiteY1430" fmla="*/ 771079 h 1113404"/>
                <a:gd name="connsiteX1431" fmla="*/ 747543 w 1814027"/>
                <a:gd name="connsiteY1431" fmla="*/ 772864 h 1113404"/>
                <a:gd name="connsiteX1432" fmla="*/ 747453 w 1814027"/>
                <a:gd name="connsiteY1432" fmla="*/ 773196 h 1113404"/>
                <a:gd name="connsiteX1433" fmla="*/ 747332 w 1814027"/>
                <a:gd name="connsiteY1433" fmla="*/ 774981 h 1113404"/>
                <a:gd name="connsiteX1434" fmla="*/ 748209 w 1814027"/>
                <a:gd name="connsiteY1434" fmla="*/ 776494 h 1113404"/>
                <a:gd name="connsiteX1435" fmla="*/ 748784 w 1814027"/>
                <a:gd name="connsiteY1435" fmla="*/ 776615 h 1113404"/>
                <a:gd name="connsiteX1436" fmla="*/ 751325 w 1814027"/>
                <a:gd name="connsiteY1436" fmla="*/ 776403 h 1113404"/>
                <a:gd name="connsiteX1437" fmla="*/ 752232 w 1814027"/>
                <a:gd name="connsiteY1437" fmla="*/ 776857 h 1113404"/>
                <a:gd name="connsiteX1438" fmla="*/ 753805 w 1814027"/>
                <a:gd name="connsiteY1438" fmla="*/ 778551 h 1113404"/>
                <a:gd name="connsiteX1439" fmla="*/ 754683 w 1814027"/>
                <a:gd name="connsiteY1439" fmla="*/ 779247 h 1113404"/>
                <a:gd name="connsiteX1440" fmla="*/ 756316 w 1814027"/>
                <a:gd name="connsiteY1440" fmla="*/ 779791 h 1113404"/>
                <a:gd name="connsiteX1441" fmla="*/ 759614 w 1814027"/>
                <a:gd name="connsiteY1441" fmla="*/ 780033 h 1113404"/>
                <a:gd name="connsiteX1442" fmla="*/ 761157 w 1814027"/>
                <a:gd name="connsiteY1442" fmla="*/ 780548 h 1113404"/>
                <a:gd name="connsiteX1443" fmla="*/ 762790 w 1814027"/>
                <a:gd name="connsiteY1443" fmla="*/ 782060 h 1113404"/>
                <a:gd name="connsiteX1444" fmla="*/ 765150 w 1814027"/>
                <a:gd name="connsiteY1444" fmla="*/ 785599 h 1113404"/>
                <a:gd name="connsiteX1445" fmla="*/ 766995 w 1814027"/>
                <a:gd name="connsiteY1445" fmla="*/ 786840 h 1113404"/>
                <a:gd name="connsiteX1446" fmla="*/ 770172 w 1814027"/>
                <a:gd name="connsiteY1446" fmla="*/ 787294 h 1113404"/>
                <a:gd name="connsiteX1447" fmla="*/ 773136 w 1814027"/>
                <a:gd name="connsiteY1447" fmla="*/ 787021 h 1113404"/>
                <a:gd name="connsiteX1448" fmla="*/ 776010 w 1814027"/>
                <a:gd name="connsiteY1448" fmla="*/ 787354 h 1113404"/>
                <a:gd name="connsiteX1449" fmla="*/ 778884 w 1814027"/>
                <a:gd name="connsiteY1449" fmla="*/ 789562 h 1113404"/>
                <a:gd name="connsiteX1450" fmla="*/ 779337 w 1814027"/>
                <a:gd name="connsiteY1450" fmla="*/ 790500 h 1113404"/>
                <a:gd name="connsiteX1451" fmla="*/ 780154 w 1814027"/>
                <a:gd name="connsiteY1451" fmla="*/ 792951 h 1113404"/>
                <a:gd name="connsiteX1452" fmla="*/ 780638 w 1814027"/>
                <a:gd name="connsiteY1452" fmla="*/ 793707 h 1113404"/>
                <a:gd name="connsiteX1453" fmla="*/ 781516 w 1814027"/>
                <a:gd name="connsiteY1453" fmla="*/ 793767 h 1113404"/>
                <a:gd name="connsiteX1454" fmla="*/ 782453 w 1814027"/>
                <a:gd name="connsiteY1454" fmla="*/ 793192 h 1113404"/>
                <a:gd name="connsiteX1455" fmla="*/ 783422 w 1814027"/>
                <a:gd name="connsiteY1455" fmla="*/ 792799 h 1113404"/>
                <a:gd name="connsiteX1456" fmla="*/ 784511 w 1814027"/>
                <a:gd name="connsiteY1456" fmla="*/ 793344 h 1113404"/>
                <a:gd name="connsiteX1457" fmla="*/ 784753 w 1814027"/>
                <a:gd name="connsiteY1457" fmla="*/ 794252 h 1113404"/>
                <a:gd name="connsiteX1458" fmla="*/ 784753 w 1814027"/>
                <a:gd name="connsiteY1458" fmla="*/ 797156 h 1113404"/>
                <a:gd name="connsiteX1459" fmla="*/ 784843 w 1814027"/>
                <a:gd name="connsiteY1459" fmla="*/ 798396 h 1113404"/>
                <a:gd name="connsiteX1460" fmla="*/ 785237 w 1814027"/>
                <a:gd name="connsiteY1460" fmla="*/ 799364 h 1113404"/>
                <a:gd name="connsiteX1461" fmla="*/ 786356 w 1814027"/>
                <a:gd name="connsiteY1461" fmla="*/ 801300 h 1113404"/>
                <a:gd name="connsiteX1462" fmla="*/ 786810 w 1814027"/>
                <a:gd name="connsiteY1462" fmla="*/ 802328 h 1113404"/>
                <a:gd name="connsiteX1463" fmla="*/ 786961 w 1814027"/>
                <a:gd name="connsiteY1463" fmla="*/ 804809 h 1113404"/>
                <a:gd name="connsiteX1464" fmla="*/ 786144 w 1814027"/>
                <a:gd name="connsiteY1464" fmla="*/ 813159 h 1113404"/>
                <a:gd name="connsiteX1465" fmla="*/ 785721 w 1814027"/>
                <a:gd name="connsiteY1465" fmla="*/ 814731 h 1113404"/>
                <a:gd name="connsiteX1466" fmla="*/ 785237 w 1814027"/>
                <a:gd name="connsiteY1466" fmla="*/ 815942 h 1113404"/>
                <a:gd name="connsiteX1467" fmla="*/ 784874 w 1814027"/>
                <a:gd name="connsiteY1467" fmla="*/ 817212 h 1113404"/>
                <a:gd name="connsiteX1468" fmla="*/ 784813 w 1814027"/>
                <a:gd name="connsiteY1468" fmla="*/ 818967 h 1113404"/>
                <a:gd name="connsiteX1469" fmla="*/ 785176 w 1814027"/>
                <a:gd name="connsiteY1469" fmla="*/ 820358 h 1113404"/>
                <a:gd name="connsiteX1470" fmla="*/ 786417 w 1814027"/>
                <a:gd name="connsiteY1470" fmla="*/ 823111 h 1113404"/>
                <a:gd name="connsiteX1471" fmla="*/ 786658 w 1814027"/>
                <a:gd name="connsiteY1471" fmla="*/ 824382 h 1113404"/>
                <a:gd name="connsiteX1472" fmla="*/ 785509 w 1814027"/>
                <a:gd name="connsiteY1472" fmla="*/ 827286 h 1113404"/>
                <a:gd name="connsiteX1473" fmla="*/ 783301 w 1814027"/>
                <a:gd name="connsiteY1473" fmla="*/ 827679 h 1113404"/>
                <a:gd name="connsiteX1474" fmla="*/ 781576 w 1814027"/>
                <a:gd name="connsiteY1474" fmla="*/ 827861 h 1113404"/>
                <a:gd name="connsiteX1475" fmla="*/ 781879 w 1814027"/>
                <a:gd name="connsiteY1475" fmla="*/ 830856 h 1113404"/>
                <a:gd name="connsiteX1476" fmla="*/ 783301 w 1814027"/>
                <a:gd name="connsiteY1476" fmla="*/ 832459 h 1113404"/>
                <a:gd name="connsiteX1477" fmla="*/ 787747 w 1814027"/>
                <a:gd name="connsiteY1477" fmla="*/ 834183 h 1113404"/>
                <a:gd name="connsiteX1478" fmla="*/ 787929 w 1814027"/>
                <a:gd name="connsiteY1478" fmla="*/ 834516 h 1113404"/>
                <a:gd name="connsiteX1479" fmla="*/ 788443 w 1814027"/>
                <a:gd name="connsiteY1479" fmla="*/ 835787 h 1113404"/>
                <a:gd name="connsiteX1480" fmla="*/ 788806 w 1814027"/>
                <a:gd name="connsiteY1480" fmla="*/ 836059 h 1113404"/>
                <a:gd name="connsiteX1481" fmla="*/ 789472 w 1814027"/>
                <a:gd name="connsiteY1481" fmla="*/ 835877 h 1113404"/>
                <a:gd name="connsiteX1482" fmla="*/ 790682 w 1814027"/>
                <a:gd name="connsiteY1482" fmla="*/ 835151 h 1113404"/>
                <a:gd name="connsiteX1483" fmla="*/ 791257 w 1814027"/>
                <a:gd name="connsiteY1483" fmla="*/ 835151 h 1113404"/>
                <a:gd name="connsiteX1484" fmla="*/ 792043 w 1814027"/>
                <a:gd name="connsiteY1484" fmla="*/ 835756 h 1113404"/>
                <a:gd name="connsiteX1485" fmla="*/ 792678 w 1814027"/>
                <a:gd name="connsiteY1485" fmla="*/ 836573 h 1113404"/>
                <a:gd name="connsiteX1486" fmla="*/ 793919 w 1814027"/>
                <a:gd name="connsiteY1486" fmla="*/ 838902 h 1113404"/>
                <a:gd name="connsiteX1487" fmla="*/ 793132 w 1814027"/>
                <a:gd name="connsiteY1487" fmla="*/ 840052 h 1113404"/>
                <a:gd name="connsiteX1488" fmla="*/ 797761 w 1814027"/>
                <a:gd name="connsiteY1488" fmla="*/ 843410 h 1113404"/>
                <a:gd name="connsiteX1489" fmla="*/ 799485 w 1814027"/>
                <a:gd name="connsiteY1489" fmla="*/ 845286 h 1113404"/>
                <a:gd name="connsiteX1490" fmla="*/ 800484 w 1814027"/>
                <a:gd name="connsiteY1490" fmla="*/ 844469 h 1113404"/>
                <a:gd name="connsiteX1491" fmla="*/ 801996 w 1814027"/>
                <a:gd name="connsiteY1491" fmla="*/ 844227 h 1113404"/>
                <a:gd name="connsiteX1492" fmla="*/ 803629 w 1814027"/>
                <a:gd name="connsiteY1492" fmla="*/ 844499 h 1113404"/>
                <a:gd name="connsiteX1493" fmla="*/ 804961 w 1814027"/>
                <a:gd name="connsiteY1493" fmla="*/ 845286 h 1113404"/>
                <a:gd name="connsiteX1494" fmla="*/ 802510 w 1814027"/>
                <a:gd name="connsiteY1494" fmla="*/ 849430 h 1113404"/>
                <a:gd name="connsiteX1495" fmla="*/ 799878 w 1814027"/>
                <a:gd name="connsiteY1495" fmla="*/ 851820 h 1113404"/>
                <a:gd name="connsiteX1496" fmla="*/ 795462 w 1814027"/>
                <a:gd name="connsiteY1496" fmla="*/ 852515 h 1113404"/>
                <a:gd name="connsiteX1497" fmla="*/ 783512 w 1814027"/>
                <a:gd name="connsiteY1497" fmla="*/ 851880 h 1113404"/>
                <a:gd name="connsiteX1498" fmla="*/ 781879 w 1814027"/>
                <a:gd name="connsiteY1498" fmla="*/ 852213 h 1113404"/>
                <a:gd name="connsiteX1499" fmla="*/ 780064 w 1814027"/>
                <a:gd name="connsiteY1499" fmla="*/ 853151 h 1113404"/>
                <a:gd name="connsiteX1500" fmla="*/ 776343 w 1814027"/>
                <a:gd name="connsiteY1500" fmla="*/ 856176 h 1113404"/>
                <a:gd name="connsiteX1501" fmla="*/ 774377 w 1814027"/>
                <a:gd name="connsiteY1501" fmla="*/ 856448 h 1113404"/>
                <a:gd name="connsiteX1502" fmla="*/ 772380 w 1814027"/>
                <a:gd name="connsiteY1502" fmla="*/ 854421 h 1113404"/>
                <a:gd name="connsiteX1503" fmla="*/ 772168 w 1814027"/>
                <a:gd name="connsiteY1503" fmla="*/ 853484 h 1113404"/>
                <a:gd name="connsiteX1504" fmla="*/ 772228 w 1814027"/>
                <a:gd name="connsiteY1504" fmla="*/ 850912 h 1113404"/>
                <a:gd name="connsiteX1505" fmla="*/ 772047 w 1814027"/>
                <a:gd name="connsiteY1505" fmla="*/ 849702 h 1113404"/>
                <a:gd name="connsiteX1506" fmla="*/ 771563 w 1814027"/>
                <a:gd name="connsiteY1506" fmla="*/ 848583 h 1113404"/>
                <a:gd name="connsiteX1507" fmla="*/ 769476 w 1814027"/>
                <a:gd name="connsiteY1507" fmla="*/ 845558 h 1113404"/>
                <a:gd name="connsiteX1508" fmla="*/ 764182 w 1814027"/>
                <a:gd name="connsiteY1508" fmla="*/ 840899 h 1113404"/>
                <a:gd name="connsiteX1509" fmla="*/ 762881 w 1814027"/>
                <a:gd name="connsiteY1509" fmla="*/ 838842 h 1113404"/>
                <a:gd name="connsiteX1510" fmla="*/ 762881 w 1814027"/>
                <a:gd name="connsiteY1510" fmla="*/ 842593 h 1113404"/>
                <a:gd name="connsiteX1511" fmla="*/ 761762 w 1814027"/>
                <a:gd name="connsiteY1511" fmla="*/ 844559 h 1113404"/>
                <a:gd name="connsiteX1512" fmla="*/ 759735 w 1814027"/>
                <a:gd name="connsiteY1512" fmla="*/ 845286 h 1113404"/>
                <a:gd name="connsiteX1513" fmla="*/ 756891 w 1814027"/>
                <a:gd name="connsiteY1513" fmla="*/ 845286 h 1113404"/>
                <a:gd name="connsiteX1514" fmla="*/ 756256 w 1814027"/>
                <a:gd name="connsiteY1514" fmla="*/ 846163 h 1113404"/>
                <a:gd name="connsiteX1515" fmla="*/ 756740 w 1814027"/>
                <a:gd name="connsiteY1515" fmla="*/ 849430 h 1113404"/>
                <a:gd name="connsiteX1516" fmla="*/ 755983 w 1814027"/>
                <a:gd name="connsiteY1516" fmla="*/ 851608 h 1113404"/>
                <a:gd name="connsiteX1517" fmla="*/ 754622 w 1814027"/>
                <a:gd name="connsiteY1517" fmla="*/ 852878 h 1113404"/>
                <a:gd name="connsiteX1518" fmla="*/ 752958 w 1814027"/>
                <a:gd name="connsiteY1518" fmla="*/ 853453 h 1113404"/>
                <a:gd name="connsiteX1519" fmla="*/ 751234 w 1814027"/>
                <a:gd name="connsiteY1519" fmla="*/ 853302 h 1113404"/>
                <a:gd name="connsiteX1520" fmla="*/ 749661 w 1814027"/>
                <a:gd name="connsiteY1520" fmla="*/ 852425 h 1113404"/>
                <a:gd name="connsiteX1521" fmla="*/ 748300 w 1814027"/>
                <a:gd name="connsiteY1521" fmla="*/ 850731 h 1113404"/>
                <a:gd name="connsiteX1522" fmla="*/ 746908 w 1814027"/>
                <a:gd name="connsiteY1522" fmla="*/ 847796 h 1113404"/>
                <a:gd name="connsiteX1523" fmla="*/ 745486 w 1814027"/>
                <a:gd name="connsiteY1523" fmla="*/ 846617 h 1113404"/>
                <a:gd name="connsiteX1524" fmla="*/ 744095 w 1814027"/>
                <a:gd name="connsiteY1524" fmla="*/ 846132 h 1113404"/>
                <a:gd name="connsiteX1525" fmla="*/ 740918 w 1814027"/>
                <a:gd name="connsiteY1525" fmla="*/ 845558 h 1113404"/>
                <a:gd name="connsiteX1526" fmla="*/ 739375 w 1814027"/>
                <a:gd name="connsiteY1526" fmla="*/ 844983 h 1113404"/>
                <a:gd name="connsiteX1527" fmla="*/ 738801 w 1814027"/>
                <a:gd name="connsiteY1527" fmla="*/ 844015 h 1113404"/>
                <a:gd name="connsiteX1528" fmla="*/ 738619 w 1814027"/>
                <a:gd name="connsiteY1528" fmla="*/ 843017 h 1113404"/>
                <a:gd name="connsiteX1529" fmla="*/ 738831 w 1814027"/>
                <a:gd name="connsiteY1529" fmla="*/ 841988 h 1113404"/>
                <a:gd name="connsiteX1530" fmla="*/ 739406 w 1814027"/>
                <a:gd name="connsiteY1530" fmla="*/ 840929 h 1113404"/>
                <a:gd name="connsiteX1531" fmla="*/ 739950 w 1814027"/>
                <a:gd name="connsiteY1531" fmla="*/ 839992 h 1113404"/>
                <a:gd name="connsiteX1532" fmla="*/ 740162 w 1814027"/>
                <a:gd name="connsiteY1532" fmla="*/ 839054 h 1113404"/>
                <a:gd name="connsiteX1533" fmla="*/ 739981 w 1814027"/>
                <a:gd name="connsiteY1533" fmla="*/ 838176 h 1113404"/>
                <a:gd name="connsiteX1534" fmla="*/ 739436 w 1814027"/>
                <a:gd name="connsiteY1534" fmla="*/ 837360 h 1113404"/>
                <a:gd name="connsiteX1535" fmla="*/ 737107 w 1814027"/>
                <a:gd name="connsiteY1535" fmla="*/ 836996 h 1113404"/>
                <a:gd name="connsiteX1536" fmla="*/ 737016 w 1814027"/>
                <a:gd name="connsiteY1536" fmla="*/ 837057 h 1113404"/>
                <a:gd name="connsiteX1537" fmla="*/ 735019 w 1814027"/>
                <a:gd name="connsiteY1537" fmla="*/ 838086 h 1113404"/>
                <a:gd name="connsiteX1538" fmla="*/ 733144 w 1814027"/>
                <a:gd name="connsiteY1538" fmla="*/ 839992 h 1113404"/>
                <a:gd name="connsiteX1539" fmla="*/ 728787 w 1814027"/>
                <a:gd name="connsiteY1539" fmla="*/ 846193 h 1113404"/>
                <a:gd name="connsiteX1540" fmla="*/ 727517 w 1814027"/>
                <a:gd name="connsiteY1540" fmla="*/ 846193 h 1113404"/>
                <a:gd name="connsiteX1541" fmla="*/ 725702 w 1814027"/>
                <a:gd name="connsiteY1541" fmla="*/ 843773 h 1113404"/>
                <a:gd name="connsiteX1542" fmla="*/ 723342 w 1814027"/>
                <a:gd name="connsiteY1542" fmla="*/ 839145 h 1113404"/>
                <a:gd name="connsiteX1543" fmla="*/ 721920 w 1814027"/>
                <a:gd name="connsiteY1543" fmla="*/ 838691 h 1113404"/>
                <a:gd name="connsiteX1544" fmla="*/ 720166 w 1814027"/>
                <a:gd name="connsiteY1544" fmla="*/ 841413 h 1113404"/>
                <a:gd name="connsiteX1545" fmla="*/ 719863 w 1814027"/>
                <a:gd name="connsiteY1545" fmla="*/ 843047 h 1113404"/>
                <a:gd name="connsiteX1546" fmla="*/ 720317 w 1814027"/>
                <a:gd name="connsiteY1546" fmla="*/ 845739 h 1113404"/>
                <a:gd name="connsiteX1547" fmla="*/ 720257 w 1814027"/>
                <a:gd name="connsiteY1547" fmla="*/ 846949 h 1113404"/>
                <a:gd name="connsiteX1548" fmla="*/ 719591 w 1814027"/>
                <a:gd name="connsiteY1548" fmla="*/ 848674 h 1113404"/>
                <a:gd name="connsiteX1549" fmla="*/ 719077 w 1814027"/>
                <a:gd name="connsiteY1549" fmla="*/ 848885 h 1113404"/>
                <a:gd name="connsiteX1550" fmla="*/ 718381 w 1814027"/>
                <a:gd name="connsiteY1550" fmla="*/ 848674 h 1113404"/>
                <a:gd name="connsiteX1551" fmla="*/ 717171 w 1814027"/>
                <a:gd name="connsiteY1551" fmla="*/ 849097 h 1113404"/>
                <a:gd name="connsiteX1552" fmla="*/ 713511 w 1814027"/>
                <a:gd name="connsiteY1552" fmla="*/ 852818 h 1113404"/>
                <a:gd name="connsiteX1553" fmla="*/ 711272 w 1814027"/>
                <a:gd name="connsiteY1553" fmla="*/ 854058 h 1113404"/>
                <a:gd name="connsiteX1554" fmla="*/ 709548 w 1814027"/>
                <a:gd name="connsiteY1554" fmla="*/ 852727 h 1113404"/>
                <a:gd name="connsiteX1555" fmla="*/ 709548 w 1814027"/>
                <a:gd name="connsiteY1555" fmla="*/ 851336 h 1113404"/>
                <a:gd name="connsiteX1556" fmla="*/ 710213 w 1814027"/>
                <a:gd name="connsiteY1556" fmla="*/ 850035 h 1113404"/>
                <a:gd name="connsiteX1557" fmla="*/ 711121 w 1814027"/>
                <a:gd name="connsiteY1557" fmla="*/ 848795 h 1113404"/>
                <a:gd name="connsiteX1558" fmla="*/ 711756 w 1814027"/>
                <a:gd name="connsiteY1558" fmla="*/ 847494 h 1113404"/>
                <a:gd name="connsiteX1559" fmla="*/ 711938 w 1814027"/>
                <a:gd name="connsiteY1559" fmla="*/ 845921 h 1113404"/>
                <a:gd name="connsiteX1560" fmla="*/ 711847 w 1814027"/>
                <a:gd name="connsiteY1560" fmla="*/ 834607 h 1113404"/>
                <a:gd name="connsiteX1561" fmla="*/ 711181 w 1814027"/>
                <a:gd name="connsiteY1561" fmla="*/ 831733 h 1113404"/>
                <a:gd name="connsiteX1562" fmla="*/ 709578 w 1814027"/>
                <a:gd name="connsiteY1562" fmla="*/ 829827 h 1113404"/>
                <a:gd name="connsiteX1563" fmla="*/ 707400 w 1814027"/>
                <a:gd name="connsiteY1563" fmla="*/ 829827 h 1113404"/>
                <a:gd name="connsiteX1564" fmla="*/ 698566 w 1814027"/>
                <a:gd name="connsiteY1564" fmla="*/ 834455 h 1113404"/>
                <a:gd name="connsiteX1565" fmla="*/ 696660 w 1814027"/>
                <a:gd name="connsiteY1565" fmla="*/ 835091 h 1113404"/>
                <a:gd name="connsiteX1566" fmla="*/ 693091 w 1814027"/>
                <a:gd name="connsiteY1566" fmla="*/ 836331 h 1113404"/>
                <a:gd name="connsiteX1567" fmla="*/ 685588 w 1814027"/>
                <a:gd name="connsiteY1567" fmla="*/ 840990 h 1113404"/>
                <a:gd name="connsiteX1568" fmla="*/ 683531 w 1814027"/>
                <a:gd name="connsiteY1568" fmla="*/ 843924 h 1113404"/>
                <a:gd name="connsiteX1569" fmla="*/ 682896 w 1814027"/>
                <a:gd name="connsiteY1569" fmla="*/ 847675 h 1113404"/>
                <a:gd name="connsiteX1570" fmla="*/ 683713 w 1814027"/>
                <a:gd name="connsiteY1570" fmla="*/ 852576 h 1113404"/>
                <a:gd name="connsiteX1571" fmla="*/ 685467 w 1814027"/>
                <a:gd name="connsiteY1571" fmla="*/ 858899 h 1113404"/>
                <a:gd name="connsiteX1572" fmla="*/ 685558 w 1814027"/>
                <a:gd name="connsiteY1572" fmla="*/ 861016 h 1113404"/>
                <a:gd name="connsiteX1573" fmla="*/ 684953 w 1814027"/>
                <a:gd name="connsiteY1573" fmla="*/ 863406 h 1113404"/>
                <a:gd name="connsiteX1574" fmla="*/ 684257 w 1814027"/>
                <a:gd name="connsiteY1574" fmla="*/ 865312 h 1113404"/>
                <a:gd name="connsiteX1575" fmla="*/ 684318 w 1814027"/>
                <a:gd name="connsiteY1575" fmla="*/ 867157 h 1113404"/>
                <a:gd name="connsiteX1576" fmla="*/ 686042 w 1814027"/>
                <a:gd name="connsiteY1576" fmla="*/ 869275 h 1113404"/>
                <a:gd name="connsiteX1577" fmla="*/ 686042 w 1814027"/>
                <a:gd name="connsiteY1577" fmla="*/ 869275 h 1113404"/>
                <a:gd name="connsiteX1578" fmla="*/ 689400 w 1814027"/>
                <a:gd name="connsiteY1578" fmla="*/ 872209 h 1113404"/>
                <a:gd name="connsiteX1579" fmla="*/ 691971 w 1814027"/>
                <a:gd name="connsiteY1579" fmla="*/ 874448 h 1113404"/>
                <a:gd name="connsiteX1580" fmla="*/ 692546 w 1814027"/>
                <a:gd name="connsiteY1580" fmla="*/ 877352 h 1113404"/>
                <a:gd name="connsiteX1581" fmla="*/ 691336 w 1814027"/>
                <a:gd name="connsiteY1581" fmla="*/ 880498 h 1113404"/>
                <a:gd name="connsiteX1582" fmla="*/ 689067 w 1814027"/>
                <a:gd name="connsiteY1582" fmla="*/ 884068 h 1113404"/>
                <a:gd name="connsiteX1583" fmla="*/ 685588 w 1814027"/>
                <a:gd name="connsiteY1583" fmla="*/ 887668 h 1113404"/>
                <a:gd name="connsiteX1584" fmla="*/ 684832 w 1814027"/>
                <a:gd name="connsiteY1584" fmla="*/ 889755 h 1113404"/>
                <a:gd name="connsiteX1585" fmla="*/ 685074 w 1814027"/>
                <a:gd name="connsiteY1585" fmla="*/ 893022 h 1113404"/>
                <a:gd name="connsiteX1586" fmla="*/ 686859 w 1814027"/>
                <a:gd name="connsiteY1586" fmla="*/ 898831 h 1113404"/>
                <a:gd name="connsiteX1587" fmla="*/ 686647 w 1814027"/>
                <a:gd name="connsiteY1587" fmla="*/ 901432 h 1113404"/>
                <a:gd name="connsiteX1588" fmla="*/ 684136 w 1814027"/>
                <a:gd name="connsiteY1588" fmla="*/ 902521 h 1113404"/>
                <a:gd name="connsiteX1589" fmla="*/ 666591 w 1814027"/>
                <a:gd name="connsiteY1589" fmla="*/ 906787 h 1113404"/>
                <a:gd name="connsiteX1590" fmla="*/ 664866 w 1814027"/>
                <a:gd name="connsiteY1590" fmla="*/ 907845 h 1113404"/>
                <a:gd name="connsiteX1591" fmla="*/ 663747 w 1814027"/>
                <a:gd name="connsiteY1591" fmla="*/ 909782 h 1113404"/>
                <a:gd name="connsiteX1592" fmla="*/ 663656 w 1814027"/>
                <a:gd name="connsiteY1592" fmla="*/ 912020 h 1113404"/>
                <a:gd name="connsiteX1593" fmla="*/ 665048 w 1814027"/>
                <a:gd name="connsiteY1593" fmla="*/ 916618 h 1113404"/>
                <a:gd name="connsiteX1594" fmla="*/ 665471 w 1814027"/>
                <a:gd name="connsiteY1594" fmla="*/ 918827 h 1113404"/>
                <a:gd name="connsiteX1595" fmla="*/ 665320 w 1814027"/>
                <a:gd name="connsiteY1595" fmla="*/ 921489 h 1113404"/>
                <a:gd name="connsiteX1596" fmla="*/ 664624 w 1814027"/>
                <a:gd name="connsiteY1596" fmla="*/ 923183 h 1113404"/>
                <a:gd name="connsiteX1597" fmla="*/ 663354 w 1814027"/>
                <a:gd name="connsiteY1597" fmla="*/ 924333 h 1113404"/>
                <a:gd name="connsiteX1598" fmla="*/ 661448 w 1814027"/>
                <a:gd name="connsiteY1598" fmla="*/ 925361 h 1113404"/>
                <a:gd name="connsiteX1599" fmla="*/ 658513 w 1814027"/>
                <a:gd name="connsiteY1599" fmla="*/ 925966 h 1113404"/>
                <a:gd name="connsiteX1600" fmla="*/ 657757 w 1814027"/>
                <a:gd name="connsiteY1600" fmla="*/ 926571 h 1113404"/>
                <a:gd name="connsiteX1601" fmla="*/ 657757 w 1814027"/>
                <a:gd name="connsiteY1601" fmla="*/ 927328 h 1113404"/>
                <a:gd name="connsiteX1602" fmla="*/ 657969 w 1814027"/>
                <a:gd name="connsiteY1602" fmla="*/ 928507 h 1113404"/>
                <a:gd name="connsiteX1603" fmla="*/ 658120 w 1814027"/>
                <a:gd name="connsiteY1603" fmla="*/ 929899 h 1113404"/>
                <a:gd name="connsiteX1604" fmla="*/ 657757 w 1814027"/>
                <a:gd name="connsiteY1604" fmla="*/ 931169 h 1113404"/>
                <a:gd name="connsiteX1605" fmla="*/ 655125 w 1814027"/>
                <a:gd name="connsiteY1605" fmla="*/ 932591 h 1113404"/>
                <a:gd name="connsiteX1606" fmla="*/ 648409 w 1814027"/>
                <a:gd name="connsiteY1606" fmla="*/ 933196 h 1113404"/>
                <a:gd name="connsiteX1607" fmla="*/ 646776 w 1814027"/>
                <a:gd name="connsiteY1607" fmla="*/ 935677 h 1113404"/>
                <a:gd name="connsiteX1608" fmla="*/ 647048 w 1814027"/>
                <a:gd name="connsiteY1608" fmla="*/ 936705 h 1113404"/>
                <a:gd name="connsiteX1609" fmla="*/ 647472 w 1814027"/>
                <a:gd name="connsiteY1609" fmla="*/ 938157 h 1113404"/>
                <a:gd name="connsiteX1610" fmla="*/ 646836 w 1814027"/>
                <a:gd name="connsiteY1610" fmla="*/ 939216 h 1113404"/>
                <a:gd name="connsiteX1611" fmla="*/ 643932 w 1814027"/>
                <a:gd name="connsiteY1611" fmla="*/ 940094 h 1113404"/>
                <a:gd name="connsiteX1612" fmla="*/ 642208 w 1814027"/>
                <a:gd name="connsiteY1612" fmla="*/ 941152 h 1113404"/>
                <a:gd name="connsiteX1613" fmla="*/ 641089 w 1814027"/>
                <a:gd name="connsiteY1613" fmla="*/ 942241 h 1113404"/>
                <a:gd name="connsiteX1614" fmla="*/ 638759 w 1814027"/>
                <a:gd name="connsiteY1614" fmla="*/ 945448 h 1113404"/>
                <a:gd name="connsiteX1615" fmla="*/ 638063 w 1814027"/>
                <a:gd name="connsiteY1615" fmla="*/ 946961 h 1113404"/>
                <a:gd name="connsiteX1616" fmla="*/ 638941 w 1814027"/>
                <a:gd name="connsiteY1616" fmla="*/ 947898 h 1113404"/>
                <a:gd name="connsiteX1617" fmla="*/ 640514 w 1814027"/>
                <a:gd name="connsiteY1617" fmla="*/ 948745 h 1113404"/>
                <a:gd name="connsiteX1618" fmla="*/ 641815 w 1814027"/>
                <a:gd name="connsiteY1618" fmla="*/ 949956 h 1113404"/>
                <a:gd name="connsiteX1619" fmla="*/ 642359 w 1814027"/>
                <a:gd name="connsiteY1619" fmla="*/ 951831 h 1113404"/>
                <a:gd name="connsiteX1620" fmla="*/ 642571 w 1814027"/>
                <a:gd name="connsiteY1620" fmla="*/ 953676 h 1113404"/>
                <a:gd name="connsiteX1621" fmla="*/ 642994 w 1814027"/>
                <a:gd name="connsiteY1621" fmla="*/ 955491 h 1113404"/>
                <a:gd name="connsiteX1622" fmla="*/ 644386 w 1814027"/>
                <a:gd name="connsiteY1622" fmla="*/ 957276 h 1113404"/>
                <a:gd name="connsiteX1623" fmla="*/ 641724 w 1814027"/>
                <a:gd name="connsiteY1623" fmla="*/ 958426 h 1113404"/>
                <a:gd name="connsiteX1624" fmla="*/ 641119 w 1814027"/>
                <a:gd name="connsiteY1624" fmla="*/ 958910 h 1113404"/>
                <a:gd name="connsiteX1625" fmla="*/ 641028 w 1814027"/>
                <a:gd name="connsiteY1625" fmla="*/ 959061 h 1113404"/>
                <a:gd name="connsiteX1626" fmla="*/ 640484 w 1814027"/>
                <a:gd name="connsiteY1626" fmla="*/ 960029 h 1113404"/>
                <a:gd name="connsiteX1627" fmla="*/ 640484 w 1814027"/>
                <a:gd name="connsiteY1627" fmla="*/ 960332 h 1113404"/>
                <a:gd name="connsiteX1628" fmla="*/ 640665 w 1814027"/>
                <a:gd name="connsiteY1628" fmla="*/ 960574 h 1113404"/>
                <a:gd name="connsiteX1629" fmla="*/ 641300 w 1814027"/>
                <a:gd name="connsiteY1629" fmla="*/ 965051 h 1113404"/>
                <a:gd name="connsiteX1630" fmla="*/ 640847 w 1814027"/>
                <a:gd name="connsiteY1630" fmla="*/ 966624 h 1113404"/>
                <a:gd name="connsiteX1631" fmla="*/ 638729 w 1814027"/>
                <a:gd name="connsiteY1631" fmla="*/ 967501 h 1113404"/>
                <a:gd name="connsiteX1632" fmla="*/ 632285 w 1814027"/>
                <a:gd name="connsiteY1632" fmla="*/ 967259 h 1113404"/>
                <a:gd name="connsiteX1633" fmla="*/ 624753 w 1814027"/>
                <a:gd name="connsiteY1633" fmla="*/ 965444 h 1113404"/>
                <a:gd name="connsiteX1634" fmla="*/ 617553 w 1814027"/>
                <a:gd name="connsiteY1634" fmla="*/ 964930 h 1113404"/>
                <a:gd name="connsiteX1635" fmla="*/ 612198 w 1814027"/>
                <a:gd name="connsiteY1635" fmla="*/ 968651 h 1113404"/>
                <a:gd name="connsiteX1636" fmla="*/ 612198 w 1814027"/>
                <a:gd name="connsiteY1636" fmla="*/ 968651 h 1113404"/>
                <a:gd name="connsiteX1637" fmla="*/ 611321 w 1814027"/>
                <a:gd name="connsiteY1637" fmla="*/ 970224 h 1113404"/>
                <a:gd name="connsiteX1638" fmla="*/ 610625 w 1814027"/>
                <a:gd name="connsiteY1638" fmla="*/ 971888 h 1113404"/>
                <a:gd name="connsiteX1639" fmla="*/ 610414 w 1814027"/>
                <a:gd name="connsiteY1639" fmla="*/ 972795 h 1113404"/>
                <a:gd name="connsiteX1640" fmla="*/ 611775 w 1814027"/>
                <a:gd name="connsiteY1640" fmla="*/ 974338 h 1113404"/>
                <a:gd name="connsiteX1641" fmla="*/ 611987 w 1814027"/>
                <a:gd name="connsiteY1641" fmla="*/ 974338 h 1113404"/>
                <a:gd name="connsiteX1642" fmla="*/ 614256 w 1814027"/>
                <a:gd name="connsiteY1642" fmla="*/ 974096 h 1113404"/>
                <a:gd name="connsiteX1643" fmla="*/ 617190 w 1814027"/>
                <a:gd name="connsiteY1643" fmla="*/ 975609 h 1113404"/>
                <a:gd name="connsiteX1644" fmla="*/ 619156 w 1814027"/>
                <a:gd name="connsiteY1644" fmla="*/ 978089 h 1113404"/>
                <a:gd name="connsiteX1645" fmla="*/ 618642 w 1814027"/>
                <a:gd name="connsiteY1645" fmla="*/ 980691 h 1113404"/>
                <a:gd name="connsiteX1646" fmla="*/ 621607 w 1814027"/>
                <a:gd name="connsiteY1646" fmla="*/ 987800 h 1113404"/>
                <a:gd name="connsiteX1647" fmla="*/ 623573 w 1814027"/>
                <a:gd name="connsiteY1647" fmla="*/ 991067 h 1113404"/>
                <a:gd name="connsiteX1648" fmla="*/ 625902 w 1814027"/>
                <a:gd name="connsiteY1648" fmla="*/ 992428 h 1113404"/>
                <a:gd name="connsiteX1649" fmla="*/ 627596 w 1814027"/>
                <a:gd name="connsiteY1649" fmla="*/ 992852 h 1113404"/>
                <a:gd name="connsiteX1650" fmla="*/ 631105 w 1814027"/>
                <a:gd name="connsiteY1650" fmla="*/ 994697 h 1113404"/>
                <a:gd name="connsiteX1651" fmla="*/ 640060 w 1814027"/>
                <a:gd name="connsiteY1651" fmla="*/ 996815 h 1113404"/>
                <a:gd name="connsiteX1652" fmla="*/ 648409 w 1814027"/>
                <a:gd name="connsiteY1652" fmla="*/ 1000869 h 1113404"/>
                <a:gd name="connsiteX1653" fmla="*/ 661780 w 1814027"/>
                <a:gd name="connsiteY1653" fmla="*/ 1003652 h 1113404"/>
                <a:gd name="connsiteX1654" fmla="*/ 665532 w 1814027"/>
                <a:gd name="connsiteY1654" fmla="*/ 1003198 h 1113404"/>
                <a:gd name="connsiteX1655" fmla="*/ 668678 w 1814027"/>
                <a:gd name="connsiteY1655" fmla="*/ 1003107 h 1113404"/>
                <a:gd name="connsiteX1656" fmla="*/ 669948 w 1814027"/>
                <a:gd name="connsiteY1656" fmla="*/ 1002593 h 1113404"/>
                <a:gd name="connsiteX1657" fmla="*/ 671098 w 1814027"/>
                <a:gd name="connsiteY1657" fmla="*/ 1001383 h 1113404"/>
                <a:gd name="connsiteX1658" fmla="*/ 668254 w 1814027"/>
                <a:gd name="connsiteY1658" fmla="*/ 1000173 h 1113404"/>
                <a:gd name="connsiteX1659" fmla="*/ 667559 w 1814027"/>
                <a:gd name="connsiteY1659" fmla="*/ 999598 h 1113404"/>
                <a:gd name="connsiteX1660" fmla="*/ 667105 w 1814027"/>
                <a:gd name="connsiteY1660" fmla="*/ 998630 h 1113404"/>
                <a:gd name="connsiteX1661" fmla="*/ 666802 w 1814027"/>
                <a:gd name="connsiteY1661" fmla="*/ 997450 h 1113404"/>
                <a:gd name="connsiteX1662" fmla="*/ 666984 w 1814027"/>
                <a:gd name="connsiteY1662" fmla="*/ 996452 h 1113404"/>
                <a:gd name="connsiteX1663" fmla="*/ 669888 w 1814027"/>
                <a:gd name="connsiteY1663" fmla="*/ 995091 h 1113404"/>
                <a:gd name="connsiteX1664" fmla="*/ 669706 w 1814027"/>
                <a:gd name="connsiteY1664" fmla="*/ 993124 h 1113404"/>
                <a:gd name="connsiteX1665" fmla="*/ 669827 w 1814027"/>
                <a:gd name="connsiteY1665" fmla="*/ 991249 h 1113404"/>
                <a:gd name="connsiteX1666" fmla="*/ 672490 w 1814027"/>
                <a:gd name="connsiteY1666" fmla="*/ 990644 h 1113404"/>
                <a:gd name="connsiteX1667" fmla="*/ 674032 w 1814027"/>
                <a:gd name="connsiteY1667" fmla="*/ 991158 h 1113404"/>
                <a:gd name="connsiteX1668" fmla="*/ 676695 w 1814027"/>
                <a:gd name="connsiteY1668" fmla="*/ 992882 h 1113404"/>
                <a:gd name="connsiteX1669" fmla="*/ 678963 w 1814027"/>
                <a:gd name="connsiteY1669" fmla="*/ 993275 h 1113404"/>
                <a:gd name="connsiteX1670" fmla="*/ 680264 w 1814027"/>
                <a:gd name="connsiteY1670" fmla="*/ 994092 h 1113404"/>
                <a:gd name="connsiteX1671" fmla="*/ 681898 w 1814027"/>
                <a:gd name="connsiteY1671" fmla="*/ 995726 h 1113404"/>
                <a:gd name="connsiteX1672" fmla="*/ 683894 w 1814027"/>
                <a:gd name="connsiteY1672" fmla="*/ 996815 h 1113404"/>
                <a:gd name="connsiteX1673" fmla="*/ 686194 w 1814027"/>
                <a:gd name="connsiteY1673" fmla="*/ 996028 h 1113404"/>
                <a:gd name="connsiteX1674" fmla="*/ 686647 w 1814027"/>
                <a:gd name="connsiteY1674" fmla="*/ 995121 h 1113404"/>
                <a:gd name="connsiteX1675" fmla="*/ 686980 w 1814027"/>
                <a:gd name="connsiteY1675" fmla="*/ 992580 h 1113404"/>
                <a:gd name="connsiteX1676" fmla="*/ 687585 w 1814027"/>
                <a:gd name="connsiteY1676" fmla="*/ 991430 h 1113404"/>
                <a:gd name="connsiteX1677" fmla="*/ 688311 w 1814027"/>
                <a:gd name="connsiteY1677" fmla="*/ 990916 h 1113404"/>
                <a:gd name="connsiteX1678" fmla="*/ 689188 w 1814027"/>
                <a:gd name="connsiteY1678" fmla="*/ 990674 h 1113404"/>
                <a:gd name="connsiteX1679" fmla="*/ 691427 w 1814027"/>
                <a:gd name="connsiteY1679" fmla="*/ 990583 h 1113404"/>
                <a:gd name="connsiteX1680" fmla="*/ 692788 w 1814027"/>
                <a:gd name="connsiteY1680" fmla="*/ 989948 h 1113404"/>
                <a:gd name="connsiteX1681" fmla="*/ 697961 w 1814027"/>
                <a:gd name="connsiteY1681" fmla="*/ 986015 h 1113404"/>
                <a:gd name="connsiteX1682" fmla="*/ 702045 w 1814027"/>
                <a:gd name="connsiteY1682" fmla="*/ 984926 h 1113404"/>
                <a:gd name="connsiteX1683" fmla="*/ 703769 w 1814027"/>
                <a:gd name="connsiteY1683" fmla="*/ 984200 h 1113404"/>
                <a:gd name="connsiteX1684" fmla="*/ 705221 w 1814027"/>
                <a:gd name="connsiteY1684" fmla="*/ 982809 h 1113404"/>
                <a:gd name="connsiteX1685" fmla="*/ 706069 w 1814027"/>
                <a:gd name="connsiteY1685" fmla="*/ 982446 h 1113404"/>
                <a:gd name="connsiteX1686" fmla="*/ 708489 w 1814027"/>
                <a:gd name="connsiteY1686" fmla="*/ 982294 h 1113404"/>
                <a:gd name="connsiteX1687" fmla="*/ 709033 w 1814027"/>
                <a:gd name="connsiteY1687" fmla="*/ 981931 h 1113404"/>
                <a:gd name="connsiteX1688" fmla="*/ 709396 w 1814027"/>
                <a:gd name="connsiteY1688" fmla="*/ 980994 h 1113404"/>
                <a:gd name="connsiteX1689" fmla="*/ 710243 w 1814027"/>
                <a:gd name="connsiteY1689" fmla="*/ 980056 h 1113404"/>
                <a:gd name="connsiteX1690" fmla="*/ 711756 w 1814027"/>
                <a:gd name="connsiteY1690" fmla="*/ 978846 h 1113404"/>
                <a:gd name="connsiteX1691" fmla="*/ 713934 w 1814027"/>
                <a:gd name="connsiteY1691" fmla="*/ 977756 h 1113404"/>
                <a:gd name="connsiteX1692" fmla="*/ 715568 w 1814027"/>
                <a:gd name="connsiteY1692" fmla="*/ 977696 h 1113404"/>
                <a:gd name="connsiteX1693" fmla="*/ 717201 w 1814027"/>
                <a:gd name="connsiteY1693" fmla="*/ 977968 h 1113404"/>
                <a:gd name="connsiteX1694" fmla="*/ 719319 w 1814027"/>
                <a:gd name="connsiteY1694" fmla="*/ 977968 h 1113404"/>
                <a:gd name="connsiteX1695" fmla="*/ 720196 w 1814027"/>
                <a:gd name="connsiteY1695" fmla="*/ 977636 h 1113404"/>
                <a:gd name="connsiteX1696" fmla="*/ 721073 w 1814027"/>
                <a:gd name="connsiteY1696" fmla="*/ 977061 h 1113404"/>
                <a:gd name="connsiteX1697" fmla="*/ 721860 w 1814027"/>
                <a:gd name="connsiteY1697" fmla="*/ 976365 h 1113404"/>
                <a:gd name="connsiteX1698" fmla="*/ 722435 w 1814027"/>
                <a:gd name="connsiteY1698" fmla="*/ 975700 h 1113404"/>
                <a:gd name="connsiteX1699" fmla="*/ 723372 w 1814027"/>
                <a:gd name="connsiteY1699" fmla="*/ 975094 h 1113404"/>
                <a:gd name="connsiteX1700" fmla="*/ 724462 w 1814027"/>
                <a:gd name="connsiteY1700" fmla="*/ 975337 h 1113404"/>
                <a:gd name="connsiteX1701" fmla="*/ 725581 w 1814027"/>
                <a:gd name="connsiteY1701" fmla="*/ 975881 h 1113404"/>
                <a:gd name="connsiteX1702" fmla="*/ 726579 w 1814027"/>
                <a:gd name="connsiteY1702" fmla="*/ 976153 h 1113404"/>
                <a:gd name="connsiteX1703" fmla="*/ 734293 w 1814027"/>
                <a:gd name="connsiteY1703" fmla="*/ 976879 h 1113404"/>
                <a:gd name="connsiteX1704" fmla="*/ 748300 w 1814027"/>
                <a:gd name="connsiteY1704" fmla="*/ 981538 h 1113404"/>
                <a:gd name="connsiteX1705" fmla="*/ 752989 w 1814027"/>
                <a:gd name="connsiteY1705" fmla="*/ 985440 h 1113404"/>
                <a:gd name="connsiteX1706" fmla="*/ 754168 w 1814027"/>
                <a:gd name="connsiteY1706" fmla="*/ 986045 h 1113404"/>
                <a:gd name="connsiteX1707" fmla="*/ 756407 w 1814027"/>
                <a:gd name="connsiteY1707" fmla="*/ 987951 h 1113404"/>
                <a:gd name="connsiteX1708" fmla="*/ 758101 w 1814027"/>
                <a:gd name="connsiteY1708" fmla="*/ 992459 h 1113404"/>
                <a:gd name="connsiteX1709" fmla="*/ 758615 w 1814027"/>
                <a:gd name="connsiteY1709" fmla="*/ 997571 h 1113404"/>
                <a:gd name="connsiteX1710" fmla="*/ 757315 w 1814027"/>
                <a:gd name="connsiteY1710" fmla="*/ 1001353 h 1113404"/>
                <a:gd name="connsiteX1711" fmla="*/ 757889 w 1814027"/>
                <a:gd name="connsiteY1711" fmla="*/ 1002200 h 1113404"/>
                <a:gd name="connsiteX1712" fmla="*/ 758041 w 1814027"/>
                <a:gd name="connsiteY1712" fmla="*/ 1003137 h 1113404"/>
                <a:gd name="connsiteX1713" fmla="*/ 757798 w 1814027"/>
                <a:gd name="connsiteY1713" fmla="*/ 1004106 h 1113404"/>
                <a:gd name="connsiteX1714" fmla="*/ 757284 w 1814027"/>
                <a:gd name="connsiteY1714" fmla="*/ 1005074 h 1113404"/>
                <a:gd name="connsiteX1715" fmla="*/ 757284 w 1814027"/>
                <a:gd name="connsiteY1715" fmla="*/ 1005074 h 1113404"/>
                <a:gd name="connsiteX1716" fmla="*/ 758858 w 1814027"/>
                <a:gd name="connsiteY1716" fmla="*/ 1005376 h 1113404"/>
                <a:gd name="connsiteX1717" fmla="*/ 760642 w 1814027"/>
                <a:gd name="connsiteY1717" fmla="*/ 1004953 h 1113404"/>
                <a:gd name="connsiteX1718" fmla="*/ 762306 w 1814027"/>
                <a:gd name="connsiteY1718" fmla="*/ 1004106 h 1113404"/>
                <a:gd name="connsiteX1719" fmla="*/ 764242 w 1814027"/>
                <a:gd name="connsiteY1719" fmla="*/ 1002321 h 1113404"/>
                <a:gd name="connsiteX1720" fmla="*/ 764424 w 1814027"/>
                <a:gd name="connsiteY1720" fmla="*/ 1002200 h 1113404"/>
                <a:gd name="connsiteX1721" fmla="*/ 764303 w 1814027"/>
                <a:gd name="connsiteY1721" fmla="*/ 1001988 h 1113404"/>
                <a:gd name="connsiteX1722" fmla="*/ 764212 w 1814027"/>
                <a:gd name="connsiteY1722" fmla="*/ 1000869 h 1113404"/>
                <a:gd name="connsiteX1723" fmla="*/ 764424 w 1814027"/>
                <a:gd name="connsiteY1723" fmla="*/ 999507 h 1113404"/>
                <a:gd name="connsiteX1724" fmla="*/ 765573 w 1814027"/>
                <a:gd name="connsiteY1724" fmla="*/ 996331 h 1113404"/>
                <a:gd name="connsiteX1725" fmla="*/ 765755 w 1814027"/>
                <a:gd name="connsiteY1725" fmla="*/ 995242 h 1113404"/>
                <a:gd name="connsiteX1726" fmla="*/ 766632 w 1814027"/>
                <a:gd name="connsiteY1726" fmla="*/ 993457 h 1113404"/>
                <a:gd name="connsiteX1727" fmla="*/ 766965 w 1814027"/>
                <a:gd name="connsiteY1727" fmla="*/ 992338 h 1113404"/>
                <a:gd name="connsiteX1728" fmla="*/ 767086 w 1814027"/>
                <a:gd name="connsiteY1728" fmla="*/ 991219 h 1113404"/>
                <a:gd name="connsiteX1729" fmla="*/ 766874 w 1814027"/>
                <a:gd name="connsiteY1729" fmla="*/ 985592 h 1113404"/>
                <a:gd name="connsiteX1730" fmla="*/ 766511 w 1814027"/>
                <a:gd name="connsiteY1730" fmla="*/ 982748 h 1113404"/>
                <a:gd name="connsiteX1731" fmla="*/ 765664 w 1814027"/>
                <a:gd name="connsiteY1731" fmla="*/ 980268 h 1113404"/>
                <a:gd name="connsiteX1732" fmla="*/ 764242 w 1814027"/>
                <a:gd name="connsiteY1732" fmla="*/ 978815 h 1113404"/>
                <a:gd name="connsiteX1733" fmla="*/ 766269 w 1814027"/>
                <a:gd name="connsiteY1733" fmla="*/ 978997 h 1113404"/>
                <a:gd name="connsiteX1734" fmla="*/ 767086 w 1814027"/>
                <a:gd name="connsiteY1734" fmla="*/ 977212 h 1113404"/>
                <a:gd name="connsiteX1735" fmla="*/ 766965 w 1814027"/>
                <a:gd name="connsiteY1735" fmla="*/ 974671 h 1113404"/>
                <a:gd name="connsiteX1736" fmla="*/ 766239 w 1814027"/>
                <a:gd name="connsiteY1736" fmla="*/ 972523 h 1113404"/>
                <a:gd name="connsiteX1737" fmla="*/ 764726 w 1814027"/>
                <a:gd name="connsiteY1737" fmla="*/ 970920 h 1113404"/>
                <a:gd name="connsiteX1738" fmla="*/ 763940 w 1814027"/>
                <a:gd name="connsiteY1738" fmla="*/ 971918 h 1113404"/>
                <a:gd name="connsiteX1739" fmla="*/ 763486 w 1814027"/>
                <a:gd name="connsiteY1739" fmla="*/ 974126 h 1113404"/>
                <a:gd name="connsiteX1740" fmla="*/ 762820 w 1814027"/>
                <a:gd name="connsiteY1740" fmla="*/ 976123 h 1113404"/>
                <a:gd name="connsiteX1741" fmla="*/ 762336 w 1814027"/>
                <a:gd name="connsiteY1741" fmla="*/ 973945 h 1113404"/>
                <a:gd name="connsiteX1742" fmla="*/ 761671 w 1814027"/>
                <a:gd name="connsiteY1742" fmla="*/ 973431 h 1113404"/>
                <a:gd name="connsiteX1743" fmla="*/ 760884 w 1814027"/>
                <a:gd name="connsiteY1743" fmla="*/ 973582 h 1113404"/>
                <a:gd name="connsiteX1744" fmla="*/ 760037 w 1814027"/>
                <a:gd name="connsiteY1744" fmla="*/ 973370 h 1113404"/>
                <a:gd name="connsiteX1745" fmla="*/ 760098 w 1814027"/>
                <a:gd name="connsiteY1745" fmla="*/ 973854 h 1113404"/>
                <a:gd name="connsiteX1746" fmla="*/ 759584 w 1814027"/>
                <a:gd name="connsiteY1746" fmla="*/ 974308 h 1113404"/>
                <a:gd name="connsiteX1747" fmla="*/ 758948 w 1814027"/>
                <a:gd name="connsiteY1747" fmla="*/ 974399 h 1113404"/>
                <a:gd name="connsiteX1748" fmla="*/ 758676 w 1814027"/>
                <a:gd name="connsiteY1748" fmla="*/ 973824 h 1113404"/>
                <a:gd name="connsiteX1749" fmla="*/ 758676 w 1814027"/>
                <a:gd name="connsiteY1749" fmla="*/ 970769 h 1113404"/>
                <a:gd name="connsiteX1750" fmla="*/ 757042 w 1814027"/>
                <a:gd name="connsiteY1750" fmla="*/ 971132 h 1113404"/>
                <a:gd name="connsiteX1751" fmla="*/ 756800 w 1814027"/>
                <a:gd name="connsiteY1751" fmla="*/ 972462 h 1113404"/>
                <a:gd name="connsiteX1752" fmla="*/ 756982 w 1814027"/>
                <a:gd name="connsiteY1752" fmla="*/ 974066 h 1113404"/>
                <a:gd name="connsiteX1753" fmla="*/ 756589 w 1814027"/>
                <a:gd name="connsiteY1753" fmla="*/ 975215 h 1113404"/>
                <a:gd name="connsiteX1754" fmla="*/ 755469 w 1814027"/>
                <a:gd name="connsiteY1754" fmla="*/ 975367 h 1113404"/>
                <a:gd name="connsiteX1755" fmla="*/ 754320 w 1814027"/>
                <a:gd name="connsiteY1755" fmla="*/ 974701 h 1113404"/>
                <a:gd name="connsiteX1756" fmla="*/ 753473 w 1814027"/>
                <a:gd name="connsiteY1756" fmla="*/ 973733 h 1113404"/>
                <a:gd name="connsiteX1757" fmla="*/ 751930 w 1814027"/>
                <a:gd name="connsiteY1757" fmla="*/ 970587 h 1113404"/>
                <a:gd name="connsiteX1758" fmla="*/ 751869 w 1814027"/>
                <a:gd name="connsiteY1758" fmla="*/ 969407 h 1113404"/>
                <a:gd name="connsiteX1759" fmla="*/ 753442 w 1814027"/>
                <a:gd name="connsiteY1759" fmla="*/ 968923 h 1113404"/>
                <a:gd name="connsiteX1760" fmla="*/ 754047 w 1814027"/>
                <a:gd name="connsiteY1760" fmla="*/ 968379 h 1113404"/>
                <a:gd name="connsiteX1761" fmla="*/ 754531 w 1814027"/>
                <a:gd name="connsiteY1761" fmla="*/ 967138 h 1113404"/>
                <a:gd name="connsiteX1762" fmla="*/ 755167 w 1814027"/>
                <a:gd name="connsiteY1762" fmla="*/ 965898 h 1113404"/>
                <a:gd name="connsiteX1763" fmla="*/ 756226 w 1814027"/>
                <a:gd name="connsiteY1763" fmla="*/ 965323 h 1113404"/>
                <a:gd name="connsiteX1764" fmla="*/ 757557 w 1814027"/>
                <a:gd name="connsiteY1764" fmla="*/ 964295 h 1113404"/>
                <a:gd name="connsiteX1765" fmla="*/ 760854 w 1814027"/>
                <a:gd name="connsiteY1765" fmla="*/ 959515 h 1113404"/>
                <a:gd name="connsiteX1766" fmla="*/ 762125 w 1814027"/>
                <a:gd name="connsiteY1766" fmla="*/ 958063 h 1113404"/>
                <a:gd name="connsiteX1767" fmla="*/ 759523 w 1814027"/>
                <a:gd name="connsiteY1767" fmla="*/ 960453 h 1113404"/>
                <a:gd name="connsiteX1768" fmla="*/ 758071 w 1814027"/>
                <a:gd name="connsiteY1768" fmla="*/ 961391 h 1113404"/>
                <a:gd name="connsiteX1769" fmla="*/ 756226 w 1814027"/>
                <a:gd name="connsiteY1769" fmla="*/ 961754 h 1113404"/>
                <a:gd name="connsiteX1770" fmla="*/ 754259 w 1814027"/>
                <a:gd name="connsiteY1770" fmla="*/ 961572 h 1113404"/>
                <a:gd name="connsiteX1771" fmla="*/ 752867 w 1814027"/>
                <a:gd name="connsiteY1771" fmla="*/ 961118 h 1113404"/>
                <a:gd name="connsiteX1772" fmla="*/ 750326 w 1814027"/>
                <a:gd name="connsiteY1772" fmla="*/ 959938 h 1113404"/>
                <a:gd name="connsiteX1773" fmla="*/ 751295 w 1814027"/>
                <a:gd name="connsiteY1773" fmla="*/ 953949 h 1113404"/>
                <a:gd name="connsiteX1774" fmla="*/ 751052 w 1814027"/>
                <a:gd name="connsiteY1774" fmla="*/ 947626 h 1113404"/>
                <a:gd name="connsiteX1775" fmla="*/ 751658 w 1814027"/>
                <a:gd name="connsiteY1775" fmla="*/ 942453 h 1113404"/>
                <a:gd name="connsiteX1776" fmla="*/ 755106 w 1814027"/>
                <a:gd name="connsiteY1776" fmla="*/ 940003 h 1113404"/>
                <a:gd name="connsiteX1777" fmla="*/ 754441 w 1814027"/>
                <a:gd name="connsiteY1777" fmla="*/ 938460 h 1113404"/>
                <a:gd name="connsiteX1778" fmla="*/ 753896 w 1814027"/>
                <a:gd name="connsiteY1778" fmla="*/ 937553 h 1113404"/>
                <a:gd name="connsiteX1779" fmla="*/ 753624 w 1814027"/>
                <a:gd name="connsiteY1779" fmla="*/ 936493 h 1113404"/>
                <a:gd name="connsiteX1780" fmla="*/ 753745 w 1814027"/>
                <a:gd name="connsiteY1780" fmla="*/ 934467 h 1113404"/>
                <a:gd name="connsiteX1781" fmla="*/ 754320 w 1814027"/>
                <a:gd name="connsiteY1781" fmla="*/ 932894 h 1113404"/>
                <a:gd name="connsiteX1782" fmla="*/ 756165 w 1814027"/>
                <a:gd name="connsiteY1782" fmla="*/ 930534 h 1113404"/>
                <a:gd name="connsiteX1783" fmla="*/ 756558 w 1814027"/>
                <a:gd name="connsiteY1783" fmla="*/ 929506 h 1113404"/>
                <a:gd name="connsiteX1784" fmla="*/ 756256 w 1814027"/>
                <a:gd name="connsiteY1784" fmla="*/ 928900 h 1113404"/>
                <a:gd name="connsiteX1785" fmla="*/ 754834 w 1814027"/>
                <a:gd name="connsiteY1785" fmla="*/ 927176 h 1113404"/>
                <a:gd name="connsiteX1786" fmla="*/ 754501 w 1814027"/>
                <a:gd name="connsiteY1786" fmla="*/ 926268 h 1113404"/>
                <a:gd name="connsiteX1787" fmla="*/ 754713 w 1814027"/>
                <a:gd name="connsiteY1787" fmla="*/ 925240 h 1113404"/>
                <a:gd name="connsiteX1788" fmla="*/ 755167 w 1814027"/>
                <a:gd name="connsiteY1788" fmla="*/ 924575 h 1113404"/>
                <a:gd name="connsiteX1789" fmla="*/ 755620 w 1814027"/>
                <a:gd name="connsiteY1789" fmla="*/ 924453 h 1113404"/>
                <a:gd name="connsiteX1790" fmla="*/ 756105 w 1814027"/>
                <a:gd name="connsiteY1790" fmla="*/ 925603 h 1113404"/>
                <a:gd name="connsiteX1791" fmla="*/ 756709 w 1814027"/>
                <a:gd name="connsiteY1791" fmla="*/ 926238 h 1113404"/>
                <a:gd name="connsiteX1792" fmla="*/ 758797 w 1814027"/>
                <a:gd name="connsiteY1792" fmla="*/ 927872 h 1113404"/>
                <a:gd name="connsiteX1793" fmla="*/ 759160 w 1814027"/>
                <a:gd name="connsiteY1793" fmla="*/ 928054 h 1113404"/>
                <a:gd name="connsiteX1794" fmla="*/ 759432 w 1814027"/>
                <a:gd name="connsiteY1794" fmla="*/ 928326 h 1113404"/>
                <a:gd name="connsiteX1795" fmla="*/ 759977 w 1814027"/>
                <a:gd name="connsiteY1795" fmla="*/ 929082 h 1113404"/>
                <a:gd name="connsiteX1796" fmla="*/ 760763 w 1814027"/>
                <a:gd name="connsiteY1796" fmla="*/ 930564 h 1113404"/>
                <a:gd name="connsiteX1797" fmla="*/ 760612 w 1814027"/>
                <a:gd name="connsiteY1797" fmla="*/ 931351 h 1113404"/>
                <a:gd name="connsiteX1798" fmla="*/ 759947 w 1814027"/>
                <a:gd name="connsiteY1798" fmla="*/ 932349 h 1113404"/>
                <a:gd name="connsiteX1799" fmla="*/ 759281 w 1814027"/>
                <a:gd name="connsiteY1799" fmla="*/ 934497 h 1113404"/>
                <a:gd name="connsiteX1800" fmla="*/ 759916 w 1814027"/>
                <a:gd name="connsiteY1800" fmla="*/ 940759 h 1113404"/>
                <a:gd name="connsiteX1801" fmla="*/ 759644 w 1814027"/>
                <a:gd name="connsiteY1801" fmla="*/ 941727 h 1113404"/>
                <a:gd name="connsiteX1802" fmla="*/ 761913 w 1814027"/>
                <a:gd name="connsiteY1802" fmla="*/ 942847 h 1113404"/>
                <a:gd name="connsiteX1803" fmla="*/ 763789 w 1814027"/>
                <a:gd name="connsiteY1803" fmla="*/ 945629 h 1113404"/>
                <a:gd name="connsiteX1804" fmla="*/ 764908 w 1814027"/>
                <a:gd name="connsiteY1804" fmla="*/ 949169 h 1113404"/>
                <a:gd name="connsiteX1805" fmla="*/ 764787 w 1814027"/>
                <a:gd name="connsiteY1805" fmla="*/ 952648 h 1113404"/>
                <a:gd name="connsiteX1806" fmla="*/ 766027 w 1814027"/>
                <a:gd name="connsiteY1806" fmla="*/ 951559 h 1113404"/>
                <a:gd name="connsiteX1807" fmla="*/ 768871 w 1814027"/>
                <a:gd name="connsiteY1807" fmla="*/ 950651 h 1113404"/>
                <a:gd name="connsiteX1808" fmla="*/ 770383 w 1814027"/>
                <a:gd name="connsiteY1808" fmla="*/ 949865 h 1113404"/>
                <a:gd name="connsiteX1809" fmla="*/ 769899 w 1814027"/>
                <a:gd name="connsiteY1809" fmla="*/ 948806 h 1113404"/>
                <a:gd name="connsiteX1810" fmla="*/ 769899 w 1814027"/>
                <a:gd name="connsiteY1810" fmla="*/ 948413 h 1113404"/>
                <a:gd name="connsiteX1811" fmla="*/ 770081 w 1814027"/>
                <a:gd name="connsiteY1811" fmla="*/ 948110 h 1113404"/>
                <a:gd name="connsiteX1812" fmla="*/ 770383 w 1814027"/>
                <a:gd name="connsiteY1812" fmla="*/ 947263 h 1113404"/>
                <a:gd name="connsiteX1813" fmla="*/ 772440 w 1814027"/>
                <a:gd name="connsiteY1813" fmla="*/ 948141 h 1113404"/>
                <a:gd name="connsiteX1814" fmla="*/ 774165 w 1814027"/>
                <a:gd name="connsiteY1814" fmla="*/ 947414 h 1113404"/>
                <a:gd name="connsiteX1815" fmla="*/ 775768 w 1814027"/>
                <a:gd name="connsiteY1815" fmla="*/ 946144 h 1113404"/>
                <a:gd name="connsiteX1816" fmla="*/ 777522 w 1814027"/>
                <a:gd name="connsiteY1816" fmla="*/ 945478 h 1113404"/>
                <a:gd name="connsiteX1817" fmla="*/ 778007 w 1814027"/>
                <a:gd name="connsiteY1817" fmla="*/ 945025 h 1113404"/>
                <a:gd name="connsiteX1818" fmla="*/ 777341 w 1814027"/>
                <a:gd name="connsiteY1818" fmla="*/ 944026 h 1113404"/>
                <a:gd name="connsiteX1819" fmla="*/ 775798 w 1814027"/>
                <a:gd name="connsiteY1819" fmla="*/ 942604 h 1113404"/>
                <a:gd name="connsiteX1820" fmla="*/ 773136 w 1814027"/>
                <a:gd name="connsiteY1820" fmla="*/ 941667 h 1113404"/>
                <a:gd name="connsiteX1821" fmla="*/ 771805 w 1814027"/>
                <a:gd name="connsiteY1821" fmla="*/ 940820 h 1113404"/>
                <a:gd name="connsiteX1822" fmla="*/ 771049 w 1814027"/>
                <a:gd name="connsiteY1822" fmla="*/ 939065 h 1113404"/>
                <a:gd name="connsiteX1823" fmla="*/ 771714 w 1814027"/>
                <a:gd name="connsiteY1823" fmla="*/ 936403 h 1113404"/>
                <a:gd name="connsiteX1824" fmla="*/ 773862 w 1814027"/>
                <a:gd name="connsiteY1824" fmla="*/ 935041 h 1113404"/>
                <a:gd name="connsiteX1825" fmla="*/ 776585 w 1814027"/>
                <a:gd name="connsiteY1825" fmla="*/ 934588 h 1113404"/>
                <a:gd name="connsiteX1826" fmla="*/ 778914 w 1814027"/>
                <a:gd name="connsiteY1826" fmla="*/ 934527 h 1113404"/>
                <a:gd name="connsiteX1827" fmla="*/ 779186 w 1814027"/>
                <a:gd name="connsiteY1827" fmla="*/ 934255 h 1113404"/>
                <a:gd name="connsiteX1828" fmla="*/ 779398 w 1814027"/>
                <a:gd name="connsiteY1828" fmla="*/ 933620 h 1113404"/>
                <a:gd name="connsiteX1829" fmla="*/ 779700 w 1814027"/>
                <a:gd name="connsiteY1829" fmla="*/ 933015 h 1113404"/>
                <a:gd name="connsiteX1830" fmla="*/ 780306 w 1814027"/>
                <a:gd name="connsiteY1830" fmla="*/ 932742 h 1113404"/>
                <a:gd name="connsiteX1831" fmla="*/ 781153 w 1814027"/>
                <a:gd name="connsiteY1831" fmla="*/ 932924 h 1113404"/>
                <a:gd name="connsiteX1832" fmla="*/ 781213 w 1814027"/>
                <a:gd name="connsiteY1832" fmla="*/ 933408 h 1113404"/>
                <a:gd name="connsiteX1833" fmla="*/ 781123 w 1814027"/>
                <a:gd name="connsiteY1833" fmla="*/ 934013 h 1113404"/>
                <a:gd name="connsiteX1834" fmla="*/ 781364 w 1814027"/>
                <a:gd name="connsiteY1834" fmla="*/ 934527 h 1113404"/>
                <a:gd name="connsiteX1835" fmla="*/ 783542 w 1814027"/>
                <a:gd name="connsiteY1835" fmla="*/ 935979 h 1113404"/>
                <a:gd name="connsiteX1836" fmla="*/ 784329 w 1814027"/>
                <a:gd name="connsiteY1836" fmla="*/ 936887 h 1113404"/>
                <a:gd name="connsiteX1837" fmla="*/ 784813 w 1814027"/>
                <a:gd name="connsiteY1837" fmla="*/ 938157 h 1113404"/>
                <a:gd name="connsiteX1838" fmla="*/ 785509 w 1814027"/>
                <a:gd name="connsiteY1838" fmla="*/ 934527 h 1113404"/>
                <a:gd name="connsiteX1839" fmla="*/ 784602 w 1814027"/>
                <a:gd name="connsiteY1839" fmla="*/ 933529 h 1113404"/>
                <a:gd name="connsiteX1840" fmla="*/ 783815 w 1814027"/>
                <a:gd name="connsiteY1840" fmla="*/ 932168 h 1113404"/>
                <a:gd name="connsiteX1841" fmla="*/ 783331 w 1814027"/>
                <a:gd name="connsiteY1841" fmla="*/ 930383 h 1113404"/>
                <a:gd name="connsiteX1842" fmla="*/ 783422 w 1814027"/>
                <a:gd name="connsiteY1842" fmla="*/ 928144 h 1113404"/>
                <a:gd name="connsiteX1843" fmla="*/ 784178 w 1814027"/>
                <a:gd name="connsiteY1843" fmla="*/ 926299 h 1113404"/>
                <a:gd name="connsiteX1844" fmla="*/ 785085 w 1814027"/>
                <a:gd name="connsiteY1844" fmla="*/ 925996 h 1113404"/>
                <a:gd name="connsiteX1845" fmla="*/ 785479 w 1814027"/>
                <a:gd name="connsiteY1845" fmla="*/ 926753 h 1113404"/>
                <a:gd name="connsiteX1846" fmla="*/ 784813 w 1814027"/>
                <a:gd name="connsiteY1846" fmla="*/ 928144 h 1113404"/>
                <a:gd name="connsiteX1847" fmla="*/ 784813 w 1814027"/>
                <a:gd name="connsiteY1847" fmla="*/ 929143 h 1113404"/>
                <a:gd name="connsiteX1848" fmla="*/ 785872 w 1814027"/>
                <a:gd name="connsiteY1848" fmla="*/ 930322 h 1113404"/>
                <a:gd name="connsiteX1849" fmla="*/ 786870 w 1814027"/>
                <a:gd name="connsiteY1849" fmla="*/ 931865 h 1113404"/>
                <a:gd name="connsiteX1850" fmla="*/ 787415 w 1814027"/>
                <a:gd name="connsiteY1850" fmla="*/ 928870 h 1113404"/>
                <a:gd name="connsiteX1851" fmla="*/ 787627 w 1814027"/>
                <a:gd name="connsiteY1851" fmla="*/ 925603 h 1113404"/>
                <a:gd name="connsiteX1852" fmla="*/ 788443 w 1814027"/>
                <a:gd name="connsiteY1852" fmla="*/ 922971 h 1113404"/>
                <a:gd name="connsiteX1853" fmla="*/ 790682 w 1814027"/>
                <a:gd name="connsiteY1853" fmla="*/ 921882 h 1113404"/>
                <a:gd name="connsiteX1854" fmla="*/ 793072 w 1814027"/>
                <a:gd name="connsiteY1854" fmla="*/ 922850 h 1113404"/>
                <a:gd name="connsiteX1855" fmla="*/ 797761 w 1814027"/>
                <a:gd name="connsiteY1855" fmla="*/ 926329 h 1113404"/>
                <a:gd name="connsiteX1856" fmla="*/ 798608 w 1814027"/>
                <a:gd name="connsiteY1856" fmla="*/ 925905 h 1113404"/>
                <a:gd name="connsiteX1857" fmla="*/ 798910 w 1814027"/>
                <a:gd name="connsiteY1857" fmla="*/ 925331 h 1113404"/>
                <a:gd name="connsiteX1858" fmla="*/ 799515 w 1814027"/>
                <a:gd name="connsiteY1858" fmla="*/ 925542 h 1113404"/>
                <a:gd name="connsiteX1859" fmla="*/ 800120 w 1814027"/>
                <a:gd name="connsiteY1859" fmla="*/ 926027 h 1113404"/>
                <a:gd name="connsiteX1860" fmla="*/ 800362 w 1814027"/>
                <a:gd name="connsiteY1860" fmla="*/ 926299 h 1113404"/>
                <a:gd name="connsiteX1861" fmla="*/ 801149 w 1814027"/>
                <a:gd name="connsiteY1861" fmla="*/ 926148 h 1113404"/>
                <a:gd name="connsiteX1862" fmla="*/ 801330 w 1814027"/>
                <a:gd name="connsiteY1862" fmla="*/ 925664 h 1113404"/>
                <a:gd name="connsiteX1863" fmla="*/ 801330 w 1814027"/>
                <a:gd name="connsiteY1863" fmla="*/ 924968 h 1113404"/>
                <a:gd name="connsiteX1864" fmla="*/ 801754 w 1814027"/>
                <a:gd name="connsiteY1864" fmla="*/ 924090 h 1113404"/>
                <a:gd name="connsiteX1865" fmla="*/ 801905 w 1814027"/>
                <a:gd name="connsiteY1865" fmla="*/ 923213 h 1113404"/>
                <a:gd name="connsiteX1866" fmla="*/ 802268 w 1814027"/>
                <a:gd name="connsiteY1866" fmla="*/ 919704 h 1113404"/>
                <a:gd name="connsiteX1867" fmla="*/ 802752 w 1814027"/>
                <a:gd name="connsiteY1867" fmla="*/ 918161 h 1113404"/>
                <a:gd name="connsiteX1868" fmla="*/ 803509 w 1814027"/>
                <a:gd name="connsiteY1868" fmla="*/ 916921 h 1113404"/>
                <a:gd name="connsiteX1869" fmla="*/ 804446 w 1814027"/>
                <a:gd name="connsiteY1869" fmla="*/ 916014 h 1113404"/>
                <a:gd name="connsiteX1870" fmla="*/ 805233 w 1814027"/>
                <a:gd name="connsiteY1870" fmla="*/ 916316 h 1113404"/>
                <a:gd name="connsiteX1871" fmla="*/ 805807 w 1814027"/>
                <a:gd name="connsiteY1871" fmla="*/ 923758 h 1113404"/>
                <a:gd name="connsiteX1872" fmla="*/ 805566 w 1814027"/>
                <a:gd name="connsiteY1872" fmla="*/ 925512 h 1113404"/>
                <a:gd name="connsiteX1873" fmla="*/ 812251 w 1814027"/>
                <a:gd name="connsiteY1873" fmla="*/ 920733 h 1113404"/>
                <a:gd name="connsiteX1874" fmla="*/ 817939 w 1814027"/>
                <a:gd name="connsiteY1874" fmla="*/ 915499 h 1113404"/>
                <a:gd name="connsiteX1875" fmla="*/ 829010 w 1814027"/>
                <a:gd name="connsiteY1875" fmla="*/ 901886 h 1113404"/>
                <a:gd name="connsiteX1876" fmla="*/ 841383 w 1814027"/>
                <a:gd name="connsiteY1876" fmla="*/ 890905 h 1113404"/>
                <a:gd name="connsiteX1877" fmla="*/ 842321 w 1814027"/>
                <a:gd name="connsiteY1877" fmla="*/ 889059 h 1113404"/>
                <a:gd name="connsiteX1878" fmla="*/ 844318 w 1814027"/>
                <a:gd name="connsiteY1878" fmla="*/ 883826 h 1113404"/>
                <a:gd name="connsiteX1879" fmla="*/ 845195 w 1814027"/>
                <a:gd name="connsiteY1879" fmla="*/ 882737 h 1113404"/>
                <a:gd name="connsiteX1880" fmla="*/ 846768 w 1814027"/>
                <a:gd name="connsiteY1880" fmla="*/ 881950 h 1113404"/>
                <a:gd name="connsiteX1881" fmla="*/ 848190 w 1814027"/>
                <a:gd name="connsiteY1881" fmla="*/ 880105 h 1113404"/>
                <a:gd name="connsiteX1882" fmla="*/ 850368 w 1814027"/>
                <a:gd name="connsiteY1882" fmla="*/ 876293 h 1113404"/>
                <a:gd name="connsiteX1883" fmla="*/ 857416 w 1814027"/>
                <a:gd name="connsiteY1883" fmla="*/ 867067 h 1113404"/>
                <a:gd name="connsiteX1884" fmla="*/ 860321 w 1814027"/>
                <a:gd name="connsiteY1884" fmla="*/ 861712 h 1113404"/>
                <a:gd name="connsiteX1885" fmla="*/ 860774 w 1814027"/>
                <a:gd name="connsiteY1885" fmla="*/ 860441 h 1113404"/>
                <a:gd name="connsiteX1886" fmla="*/ 860774 w 1814027"/>
                <a:gd name="connsiteY1886" fmla="*/ 858989 h 1113404"/>
                <a:gd name="connsiteX1887" fmla="*/ 860018 w 1814027"/>
                <a:gd name="connsiteY1887" fmla="*/ 857870 h 1113404"/>
                <a:gd name="connsiteX1888" fmla="*/ 857719 w 1814027"/>
                <a:gd name="connsiteY1888" fmla="*/ 856448 h 1113404"/>
                <a:gd name="connsiteX1889" fmla="*/ 857266 w 1814027"/>
                <a:gd name="connsiteY1889" fmla="*/ 855722 h 1113404"/>
                <a:gd name="connsiteX1890" fmla="*/ 858172 w 1814027"/>
                <a:gd name="connsiteY1890" fmla="*/ 854845 h 1113404"/>
                <a:gd name="connsiteX1891" fmla="*/ 863588 w 1814027"/>
                <a:gd name="connsiteY1891" fmla="*/ 855238 h 1113404"/>
                <a:gd name="connsiteX1892" fmla="*/ 865282 w 1814027"/>
                <a:gd name="connsiteY1892" fmla="*/ 853816 h 1113404"/>
                <a:gd name="connsiteX1893" fmla="*/ 869427 w 1814027"/>
                <a:gd name="connsiteY1893" fmla="*/ 848764 h 1113404"/>
                <a:gd name="connsiteX1894" fmla="*/ 869638 w 1814027"/>
                <a:gd name="connsiteY1894" fmla="*/ 848190 h 1113404"/>
                <a:gd name="connsiteX1895" fmla="*/ 870515 w 1814027"/>
                <a:gd name="connsiteY1895" fmla="*/ 844136 h 1113404"/>
                <a:gd name="connsiteX1896" fmla="*/ 870848 w 1814027"/>
                <a:gd name="connsiteY1896" fmla="*/ 843380 h 1113404"/>
                <a:gd name="connsiteX1897" fmla="*/ 871211 w 1814027"/>
                <a:gd name="connsiteY1897" fmla="*/ 842714 h 1113404"/>
                <a:gd name="connsiteX1898" fmla="*/ 871453 w 1814027"/>
                <a:gd name="connsiteY1898" fmla="*/ 842442 h 1113404"/>
                <a:gd name="connsiteX1899" fmla="*/ 871998 w 1814027"/>
                <a:gd name="connsiteY1899" fmla="*/ 842079 h 1113404"/>
                <a:gd name="connsiteX1900" fmla="*/ 871514 w 1814027"/>
                <a:gd name="connsiteY1900" fmla="*/ 841292 h 1113404"/>
                <a:gd name="connsiteX1901" fmla="*/ 870758 w 1814027"/>
                <a:gd name="connsiteY1901" fmla="*/ 840627 h 1113404"/>
                <a:gd name="connsiteX1902" fmla="*/ 870364 w 1814027"/>
                <a:gd name="connsiteY1902" fmla="*/ 840627 h 1113404"/>
                <a:gd name="connsiteX1903" fmla="*/ 869698 w 1814027"/>
                <a:gd name="connsiteY1903" fmla="*/ 837904 h 1113404"/>
                <a:gd name="connsiteX1904" fmla="*/ 868004 w 1814027"/>
                <a:gd name="connsiteY1904" fmla="*/ 834577 h 1113404"/>
                <a:gd name="connsiteX1905" fmla="*/ 867642 w 1814027"/>
                <a:gd name="connsiteY1905" fmla="*/ 832792 h 1113404"/>
                <a:gd name="connsiteX1906" fmla="*/ 868246 w 1814027"/>
                <a:gd name="connsiteY1906" fmla="*/ 831673 h 1113404"/>
                <a:gd name="connsiteX1907" fmla="*/ 871241 w 1814027"/>
                <a:gd name="connsiteY1907" fmla="*/ 827831 h 1113404"/>
                <a:gd name="connsiteX1908" fmla="*/ 872452 w 1814027"/>
                <a:gd name="connsiteY1908" fmla="*/ 826862 h 1113404"/>
                <a:gd name="connsiteX1909" fmla="*/ 873450 w 1814027"/>
                <a:gd name="connsiteY1909" fmla="*/ 826862 h 1113404"/>
                <a:gd name="connsiteX1910" fmla="*/ 877685 w 1814027"/>
                <a:gd name="connsiteY1910" fmla="*/ 827770 h 1113404"/>
                <a:gd name="connsiteX1911" fmla="*/ 878925 w 1814027"/>
                <a:gd name="connsiteY1911" fmla="*/ 827468 h 1113404"/>
                <a:gd name="connsiteX1912" fmla="*/ 884885 w 1814027"/>
                <a:gd name="connsiteY1912" fmla="*/ 823626 h 1113404"/>
                <a:gd name="connsiteX1913" fmla="*/ 886216 w 1814027"/>
                <a:gd name="connsiteY1913" fmla="*/ 823172 h 1113404"/>
                <a:gd name="connsiteX1914" fmla="*/ 887366 w 1814027"/>
                <a:gd name="connsiteY1914" fmla="*/ 823656 h 1113404"/>
                <a:gd name="connsiteX1915" fmla="*/ 888243 w 1814027"/>
                <a:gd name="connsiteY1915" fmla="*/ 823777 h 1113404"/>
                <a:gd name="connsiteX1916" fmla="*/ 890603 w 1814027"/>
                <a:gd name="connsiteY1916" fmla="*/ 821901 h 1113404"/>
                <a:gd name="connsiteX1917" fmla="*/ 891510 w 1814027"/>
                <a:gd name="connsiteY1917" fmla="*/ 821387 h 1113404"/>
                <a:gd name="connsiteX1918" fmla="*/ 893688 w 1814027"/>
                <a:gd name="connsiteY1918" fmla="*/ 821114 h 1113404"/>
                <a:gd name="connsiteX1919" fmla="*/ 897863 w 1814027"/>
                <a:gd name="connsiteY1919" fmla="*/ 819844 h 1113404"/>
                <a:gd name="connsiteX1920" fmla="*/ 903278 w 1814027"/>
                <a:gd name="connsiteY1920" fmla="*/ 819179 h 1113404"/>
                <a:gd name="connsiteX1921" fmla="*/ 908451 w 1814027"/>
                <a:gd name="connsiteY1921" fmla="*/ 817666 h 1113404"/>
                <a:gd name="connsiteX1922" fmla="*/ 911203 w 1814027"/>
                <a:gd name="connsiteY1922" fmla="*/ 817666 h 1113404"/>
                <a:gd name="connsiteX1923" fmla="*/ 918252 w 1814027"/>
                <a:gd name="connsiteY1923" fmla="*/ 819360 h 1113404"/>
                <a:gd name="connsiteX1924" fmla="*/ 920158 w 1814027"/>
                <a:gd name="connsiteY1924" fmla="*/ 820570 h 1113404"/>
                <a:gd name="connsiteX1925" fmla="*/ 920915 w 1814027"/>
                <a:gd name="connsiteY1925" fmla="*/ 819572 h 1113404"/>
                <a:gd name="connsiteX1926" fmla="*/ 922215 w 1814027"/>
                <a:gd name="connsiteY1926" fmla="*/ 820358 h 1113404"/>
                <a:gd name="connsiteX1927" fmla="*/ 925059 w 1814027"/>
                <a:gd name="connsiteY1927" fmla="*/ 820722 h 1113404"/>
                <a:gd name="connsiteX1928" fmla="*/ 926450 w 1814027"/>
                <a:gd name="connsiteY1928" fmla="*/ 821387 h 1113404"/>
                <a:gd name="connsiteX1929" fmla="*/ 927902 w 1814027"/>
                <a:gd name="connsiteY1929" fmla="*/ 820298 h 1113404"/>
                <a:gd name="connsiteX1930" fmla="*/ 932379 w 1814027"/>
                <a:gd name="connsiteY1930" fmla="*/ 818059 h 1113404"/>
                <a:gd name="connsiteX1931" fmla="*/ 934346 w 1814027"/>
                <a:gd name="connsiteY1931" fmla="*/ 817636 h 1113404"/>
                <a:gd name="connsiteX1932" fmla="*/ 935586 w 1814027"/>
                <a:gd name="connsiteY1932" fmla="*/ 816486 h 1113404"/>
                <a:gd name="connsiteX1933" fmla="*/ 939035 w 1814027"/>
                <a:gd name="connsiteY1933" fmla="*/ 811434 h 1113404"/>
                <a:gd name="connsiteX1934" fmla="*/ 940578 w 1814027"/>
                <a:gd name="connsiteY1934" fmla="*/ 810285 h 1113404"/>
                <a:gd name="connsiteX1935" fmla="*/ 940729 w 1814027"/>
                <a:gd name="connsiteY1935" fmla="*/ 809800 h 1113404"/>
                <a:gd name="connsiteX1936" fmla="*/ 942605 w 1814027"/>
                <a:gd name="connsiteY1936" fmla="*/ 807048 h 1113404"/>
                <a:gd name="connsiteX1937" fmla="*/ 943391 w 1814027"/>
                <a:gd name="connsiteY1937" fmla="*/ 805354 h 1113404"/>
                <a:gd name="connsiteX1938" fmla="*/ 943028 w 1814027"/>
                <a:gd name="connsiteY1938" fmla="*/ 804355 h 1113404"/>
                <a:gd name="connsiteX1939" fmla="*/ 939882 w 1814027"/>
                <a:gd name="connsiteY1939" fmla="*/ 801996 h 1113404"/>
                <a:gd name="connsiteX1940" fmla="*/ 939005 w 1814027"/>
                <a:gd name="connsiteY1940" fmla="*/ 801542 h 1113404"/>
                <a:gd name="connsiteX1941" fmla="*/ 938399 w 1814027"/>
                <a:gd name="connsiteY1941" fmla="*/ 800755 h 1113404"/>
                <a:gd name="connsiteX1942" fmla="*/ 938188 w 1814027"/>
                <a:gd name="connsiteY1942" fmla="*/ 798789 h 1113404"/>
                <a:gd name="connsiteX1943" fmla="*/ 937976 w 1814027"/>
                <a:gd name="connsiteY1943" fmla="*/ 797942 h 1113404"/>
                <a:gd name="connsiteX1944" fmla="*/ 936856 w 1814027"/>
                <a:gd name="connsiteY1944" fmla="*/ 794554 h 1113404"/>
                <a:gd name="connsiteX1945" fmla="*/ 938399 w 1814027"/>
                <a:gd name="connsiteY1945" fmla="*/ 795159 h 1113404"/>
                <a:gd name="connsiteX1946" fmla="*/ 939489 w 1814027"/>
                <a:gd name="connsiteY1946" fmla="*/ 796853 h 1113404"/>
                <a:gd name="connsiteX1947" fmla="*/ 940971 w 1814027"/>
                <a:gd name="connsiteY1947" fmla="*/ 800181 h 1113404"/>
                <a:gd name="connsiteX1948" fmla="*/ 942393 w 1814027"/>
                <a:gd name="connsiteY1948" fmla="*/ 801270 h 1113404"/>
                <a:gd name="connsiteX1949" fmla="*/ 943663 w 1814027"/>
                <a:gd name="connsiteY1949" fmla="*/ 802026 h 1113404"/>
                <a:gd name="connsiteX1950" fmla="*/ 944813 w 1814027"/>
                <a:gd name="connsiteY1950" fmla="*/ 801724 h 1113404"/>
                <a:gd name="connsiteX1951" fmla="*/ 945145 w 1814027"/>
                <a:gd name="connsiteY1951" fmla="*/ 801330 h 1113404"/>
                <a:gd name="connsiteX1952" fmla="*/ 945266 w 1814027"/>
                <a:gd name="connsiteY1952" fmla="*/ 800846 h 1113404"/>
                <a:gd name="connsiteX1953" fmla="*/ 947203 w 1814027"/>
                <a:gd name="connsiteY1953" fmla="*/ 798033 h 1113404"/>
                <a:gd name="connsiteX1954" fmla="*/ 947808 w 1814027"/>
                <a:gd name="connsiteY1954" fmla="*/ 797337 h 1113404"/>
                <a:gd name="connsiteX1955" fmla="*/ 948625 w 1814027"/>
                <a:gd name="connsiteY1955" fmla="*/ 796823 h 1113404"/>
                <a:gd name="connsiteX1956" fmla="*/ 950560 w 1814027"/>
                <a:gd name="connsiteY1956" fmla="*/ 796067 h 1113404"/>
                <a:gd name="connsiteX1957" fmla="*/ 951286 w 1814027"/>
                <a:gd name="connsiteY1957" fmla="*/ 795492 h 1113404"/>
                <a:gd name="connsiteX1958" fmla="*/ 952043 w 1814027"/>
                <a:gd name="connsiteY1958" fmla="*/ 793828 h 1113404"/>
                <a:gd name="connsiteX1959" fmla="*/ 952708 w 1814027"/>
                <a:gd name="connsiteY1959" fmla="*/ 791892 h 1113404"/>
                <a:gd name="connsiteX1960" fmla="*/ 953555 w 1814027"/>
                <a:gd name="connsiteY1960" fmla="*/ 791075 h 1113404"/>
                <a:gd name="connsiteX1961" fmla="*/ 954766 w 1814027"/>
                <a:gd name="connsiteY1961" fmla="*/ 792829 h 1113404"/>
                <a:gd name="connsiteX1962" fmla="*/ 950137 w 1814027"/>
                <a:gd name="connsiteY1962" fmla="*/ 799182 h 1113404"/>
                <a:gd name="connsiteX1963" fmla="*/ 948897 w 1814027"/>
                <a:gd name="connsiteY1963" fmla="*/ 800181 h 1113404"/>
                <a:gd name="connsiteX1964" fmla="*/ 948897 w 1814027"/>
                <a:gd name="connsiteY1964" fmla="*/ 801512 h 1113404"/>
                <a:gd name="connsiteX1965" fmla="*/ 947505 w 1814027"/>
                <a:gd name="connsiteY1965" fmla="*/ 804416 h 1113404"/>
                <a:gd name="connsiteX1966" fmla="*/ 941939 w 1814027"/>
                <a:gd name="connsiteY1966" fmla="*/ 813068 h 1113404"/>
                <a:gd name="connsiteX1967" fmla="*/ 940941 w 1814027"/>
                <a:gd name="connsiteY1967" fmla="*/ 815337 h 1113404"/>
                <a:gd name="connsiteX1968" fmla="*/ 941334 w 1814027"/>
                <a:gd name="connsiteY1968" fmla="*/ 817243 h 1113404"/>
                <a:gd name="connsiteX1969" fmla="*/ 942150 w 1814027"/>
                <a:gd name="connsiteY1969" fmla="*/ 817726 h 1113404"/>
                <a:gd name="connsiteX1970" fmla="*/ 943270 w 1814027"/>
                <a:gd name="connsiteY1970" fmla="*/ 817817 h 1113404"/>
                <a:gd name="connsiteX1971" fmla="*/ 945418 w 1814027"/>
                <a:gd name="connsiteY1971" fmla="*/ 817666 h 1113404"/>
                <a:gd name="connsiteX1972" fmla="*/ 946326 w 1814027"/>
                <a:gd name="connsiteY1972" fmla="*/ 817938 h 1113404"/>
                <a:gd name="connsiteX1973" fmla="*/ 947747 w 1814027"/>
                <a:gd name="connsiteY1973" fmla="*/ 819179 h 1113404"/>
                <a:gd name="connsiteX1974" fmla="*/ 948594 w 1814027"/>
                <a:gd name="connsiteY1974" fmla="*/ 819602 h 1113404"/>
                <a:gd name="connsiteX1975" fmla="*/ 950803 w 1814027"/>
                <a:gd name="connsiteY1975" fmla="*/ 819269 h 1113404"/>
                <a:gd name="connsiteX1976" fmla="*/ 951801 w 1814027"/>
                <a:gd name="connsiteY1976" fmla="*/ 817636 h 1113404"/>
                <a:gd name="connsiteX1977" fmla="*/ 952648 w 1814027"/>
                <a:gd name="connsiteY1977" fmla="*/ 815820 h 1113404"/>
                <a:gd name="connsiteX1978" fmla="*/ 954372 w 1814027"/>
                <a:gd name="connsiteY1978" fmla="*/ 814974 h 1113404"/>
                <a:gd name="connsiteX1979" fmla="*/ 960392 w 1814027"/>
                <a:gd name="connsiteY1979" fmla="*/ 814490 h 1113404"/>
                <a:gd name="connsiteX1980" fmla="*/ 970194 w 1814027"/>
                <a:gd name="connsiteY1980" fmla="*/ 817938 h 1113404"/>
                <a:gd name="connsiteX1981" fmla="*/ 974550 w 1814027"/>
                <a:gd name="connsiteY1981" fmla="*/ 818543 h 1113404"/>
                <a:gd name="connsiteX1982" fmla="*/ 978937 w 1814027"/>
                <a:gd name="connsiteY1982" fmla="*/ 817726 h 1113404"/>
                <a:gd name="connsiteX1983" fmla="*/ 980116 w 1814027"/>
                <a:gd name="connsiteY1983" fmla="*/ 817182 h 1113404"/>
                <a:gd name="connsiteX1984" fmla="*/ 982324 w 1814027"/>
                <a:gd name="connsiteY1984" fmla="*/ 815760 h 1113404"/>
                <a:gd name="connsiteX1985" fmla="*/ 983050 w 1814027"/>
                <a:gd name="connsiteY1985" fmla="*/ 814943 h 1113404"/>
                <a:gd name="connsiteX1986" fmla="*/ 983958 w 1814027"/>
                <a:gd name="connsiteY1986" fmla="*/ 813189 h 1113404"/>
                <a:gd name="connsiteX1987" fmla="*/ 983867 w 1814027"/>
                <a:gd name="connsiteY1987" fmla="*/ 812312 h 1113404"/>
                <a:gd name="connsiteX1988" fmla="*/ 983353 w 1814027"/>
                <a:gd name="connsiteY1988" fmla="*/ 811283 h 1113404"/>
                <a:gd name="connsiteX1989" fmla="*/ 983050 w 1814027"/>
                <a:gd name="connsiteY1989" fmla="*/ 808984 h 1113404"/>
                <a:gd name="connsiteX1990" fmla="*/ 983776 w 1814027"/>
                <a:gd name="connsiteY1990" fmla="*/ 803024 h 1113404"/>
                <a:gd name="connsiteX1991" fmla="*/ 983384 w 1814027"/>
                <a:gd name="connsiteY1991" fmla="*/ 802087 h 1113404"/>
                <a:gd name="connsiteX1992" fmla="*/ 979602 w 1814027"/>
                <a:gd name="connsiteY1992" fmla="*/ 797397 h 1113404"/>
                <a:gd name="connsiteX1993" fmla="*/ 979602 w 1814027"/>
                <a:gd name="connsiteY1993" fmla="*/ 793798 h 1113404"/>
                <a:gd name="connsiteX1994" fmla="*/ 980842 w 1814027"/>
                <a:gd name="connsiteY1994" fmla="*/ 790863 h 1113404"/>
                <a:gd name="connsiteX1995" fmla="*/ 982960 w 1814027"/>
                <a:gd name="connsiteY1995" fmla="*/ 788867 h 1113404"/>
                <a:gd name="connsiteX1996" fmla="*/ 985440 w 1814027"/>
                <a:gd name="connsiteY1996" fmla="*/ 788141 h 1113404"/>
                <a:gd name="connsiteX1997" fmla="*/ 987649 w 1814027"/>
                <a:gd name="connsiteY1997" fmla="*/ 786628 h 1113404"/>
                <a:gd name="connsiteX1998" fmla="*/ 989494 w 1814027"/>
                <a:gd name="connsiteY1998" fmla="*/ 783089 h 1113404"/>
                <a:gd name="connsiteX1999" fmla="*/ 990432 w 1814027"/>
                <a:gd name="connsiteY1999" fmla="*/ 779096 h 1113404"/>
                <a:gd name="connsiteX2000" fmla="*/ 989948 w 1814027"/>
                <a:gd name="connsiteY2000" fmla="*/ 776161 h 1113404"/>
                <a:gd name="connsiteX2001" fmla="*/ 987891 w 1814027"/>
                <a:gd name="connsiteY2001" fmla="*/ 777341 h 1113404"/>
                <a:gd name="connsiteX2002" fmla="*/ 985683 w 1814027"/>
                <a:gd name="connsiteY2002" fmla="*/ 778036 h 1113404"/>
                <a:gd name="connsiteX2003" fmla="*/ 983898 w 1814027"/>
                <a:gd name="connsiteY2003" fmla="*/ 777553 h 1113404"/>
                <a:gd name="connsiteX2004" fmla="*/ 983050 w 1814027"/>
                <a:gd name="connsiteY2004" fmla="*/ 775193 h 1113404"/>
                <a:gd name="connsiteX2005" fmla="*/ 983535 w 1814027"/>
                <a:gd name="connsiteY2005" fmla="*/ 772924 h 1113404"/>
                <a:gd name="connsiteX2006" fmla="*/ 984896 w 1814027"/>
                <a:gd name="connsiteY2006" fmla="*/ 770776 h 1113404"/>
                <a:gd name="connsiteX2007" fmla="*/ 987830 w 1814027"/>
                <a:gd name="connsiteY2007" fmla="*/ 767691 h 1113404"/>
                <a:gd name="connsiteX2008" fmla="*/ 984502 w 1814027"/>
                <a:gd name="connsiteY2008" fmla="*/ 767146 h 1113404"/>
                <a:gd name="connsiteX2009" fmla="*/ 979965 w 1814027"/>
                <a:gd name="connsiteY2009" fmla="*/ 767691 h 1113404"/>
                <a:gd name="connsiteX2010" fmla="*/ 976789 w 1814027"/>
                <a:gd name="connsiteY2010" fmla="*/ 766390 h 1113404"/>
                <a:gd name="connsiteX2011" fmla="*/ 977515 w 1814027"/>
                <a:gd name="connsiteY2011" fmla="*/ 760249 h 1113404"/>
                <a:gd name="connsiteX2012" fmla="*/ 978271 w 1814027"/>
                <a:gd name="connsiteY2012" fmla="*/ 759311 h 1113404"/>
                <a:gd name="connsiteX2013" fmla="*/ 979693 w 1814027"/>
                <a:gd name="connsiteY2013" fmla="*/ 757072 h 1113404"/>
                <a:gd name="connsiteX2014" fmla="*/ 980480 w 1814027"/>
                <a:gd name="connsiteY2014" fmla="*/ 754804 h 1113404"/>
                <a:gd name="connsiteX2015" fmla="*/ 979239 w 1814027"/>
                <a:gd name="connsiteY2015" fmla="*/ 753775 h 1113404"/>
                <a:gd name="connsiteX2016" fmla="*/ 978725 w 1814027"/>
                <a:gd name="connsiteY2016" fmla="*/ 753472 h 1113404"/>
                <a:gd name="connsiteX2017" fmla="*/ 978211 w 1814027"/>
                <a:gd name="connsiteY2017" fmla="*/ 752837 h 1113404"/>
                <a:gd name="connsiteX2018" fmla="*/ 977545 w 1814027"/>
                <a:gd name="connsiteY2018" fmla="*/ 752202 h 1113404"/>
                <a:gd name="connsiteX2019" fmla="*/ 975034 w 1814027"/>
                <a:gd name="connsiteY2019" fmla="*/ 751657 h 1113404"/>
                <a:gd name="connsiteX2020" fmla="*/ 974581 w 1814027"/>
                <a:gd name="connsiteY2020" fmla="*/ 750901 h 1113404"/>
                <a:gd name="connsiteX2021" fmla="*/ 974640 w 1814027"/>
                <a:gd name="connsiteY2021" fmla="*/ 743005 h 1113404"/>
                <a:gd name="connsiteX2022" fmla="*/ 973612 w 1814027"/>
                <a:gd name="connsiteY2022" fmla="*/ 741402 h 1113404"/>
                <a:gd name="connsiteX2023" fmla="*/ 969135 w 1814027"/>
                <a:gd name="connsiteY2023" fmla="*/ 740343 h 1113404"/>
                <a:gd name="connsiteX2024" fmla="*/ 967199 w 1814027"/>
                <a:gd name="connsiteY2024" fmla="*/ 739163 h 1113404"/>
                <a:gd name="connsiteX2025" fmla="*/ 965626 w 1814027"/>
                <a:gd name="connsiteY2025" fmla="*/ 737621 h 1113404"/>
                <a:gd name="connsiteX2026" fmla="*/ 964990 w 1814027"/>
                <a:gd name="connsiteY2026" fmla="*/ 736078 h 1113404"/>
                <a:gd name="connsiteX2027" fmla="*/ 965324 w 1814027"/>
                <a:gd name="connsiteY2027" fmla="*/ 735321 h 1113404"/>
                <a:gd name="connsiteX2028" fmla="*/ 966715 w 1814027"/>
                <a:gd name="connsiteY2028" fmla="*/ 732902 h 1113404"/>
                <a:gd name="connsiteX2029" fmla="*/ 967108 w 1814027"/>
                <a:gd name="connsiteY2029" fmla="*/ 732387 h 1113404"/>
                <a:gd name="connsiteX2030" fmla="*/ 968167 w 1814027"/>
                <a:gd name="connsiteY2030" fmla="*/ 732811 h 1113404"/>
                <a:gd name="connsiteX2031" fmla="*/ 968288 w 1814027"/>
                <a:gd name="connsiteY2031" fmla="*/ 733809 h 1113404"/>
                <a:gd name="connsiteX2032" fmla="*/ 967804 w 1814027"/>
                <a:gd name="connsiteY2032" fmla="*/ 736532 h 1113404"/>
                <a:gd name="connsiteX2033" fmla="*/ 968711 w 1814027"/>
                <a:gd name="connsiteY2033" fmla="*/ 738196 h 1113404"/>
                <a:gd name="connsiteX2034" fmla="*/ 974640 w 1814027"/>
                <a:gd name="connsiteY2034" fmla="*/ 740797 h 1113404"/>
                <a:gd name="connsiteX2035" fmla="*/ 976033 w 1814027"/>
                <a:gd name="connsiteY2035" fmla="*/ 742219 h 1113404"/>
                <a:gd name="connsiteX2036" fmla="*/ 976426 w 1814027"/>
                <a:gd name="connsiteY2036" fmla="*/ 743278 h 1113404"/>
                <a:gd name="connsiteX2037" fmla="*/ 976426 w 1814027"/>
                <a:gd name="connsiteY2037" fmla="*/ 744730 h 1113404"/>
                <a:gd name="connsiteX2038" fmla="*/ 976759 w 1814027"/>
                <a:gd name="connsiteY2038" fmla="*/ 747301 h 1113404"/>
                <a:gd name="connsiteX2039" fmla="*/ 977515 w 1814027"/>
                <a:gd name="connsiteY2039" fmla="*/ 749388 h 1113404"/>
                <a:gd name="connsiteX2040" fmla="*/ 978543 w 1814027"/>
                <a:gd name="connsiteY2040" fmla="*/ 749994 h 1113404"/>
                <a:gd name="connsiteX2041" fmla="*/ 979784 w 1814027"/>
                <a:gd name="connsiteY2041" fmla="*/ 750296 h 1113404"/>
                <a:gd name="connsiteX2042" fmla="*/ 981206 w 1814027"/>
                <a:gd name="connsiteY2042" fmla="*/ 751476 h 1113404"/>
                <a:gd name="connsiteX2043" fmla="*/ 982658 w 1814027"/>
                <a:gd name="connsiteY2043" fmla="*/ 754985 h 1113404"/>
                <a:gd name="connsiteX2044" fmla="*/ 982294 w 1814027"/>
                <a:gd name="connsiteY2044" fmla="*/ 758283 h 1113404"/>
                <a:gd name="connsiteX2045" fmla="*/ 979481 w 1814027"/>
                <a:gd name="connsiteY2045" fmla="*/ 764000 h 1113404"/>
                <a:gd name="connsiteX2046" fmla="*/ 981084 w 1814027"/>
                <a:gd name="connsiteY2046" fmla="*/ 765513 h 1113404"/>
                <a:gd name="connsiteX2047" fmla="*/ 982990 w 1814027"/>
                <a:gd name="connsiteY2047" fmla="*/ 765694 h 1113404"/>
                <a:gd name="connsiteX2048" fmla="*/ 987377 w 1814027"/>
                <a:gd name="connsiteY2048" fmla="*/ 764968 h 1113404"/>
                <a:gd name="connsiteX2049" fmla="*/ 990099 w 1814027"/>
                <a:gd name="connsiteY2049" fmla="*/ 765331 h 1113404"/>
                <a:gd name="connsiteX2050" fmla="*/ 990704 w 1814027"/>
                <a:gd name="connsiteY2050" fmla="*/ 766269 h 1113404"/>
                <a:gd name="connsiteX2051" fmla="*/ 989887 w 1814027"/>
                <a:gd name="connsiteY2051" fmla="*/ 767691 h 1113404"/>
                <a:gd name="connsiteX2052" fmla="*/ 986892 w 1814027"/>
                <a:gd name="connsiteY2052" fmla="*/ 771865 h 1113404"/>
                <a:gd name="connsiteX2053" fmla="*/ 986560 w 1814027"/>
                <a:gd name="connsiteY2053" fmla="*/ 773650 h 1113404"/>
                <a:gd name="connsiteX2054" fmla="*/ 987588 w 1814027"/>
                <a:gd name="connsiteY2054" fmla="*/ 774739 h 1113404"/>
                <a:gd name="connsiteX2055" fmla="*/ 992610 w 1814027"/>
                <a:gd name="connsiteY2055" fmla="*/ 775617 h 1113404"/>
                <a:gd name="connsiteX2056" fmla="*/ 993699 w 1814027"/>
                <a:gd name="connsiteY2056" fmla="*/ 776947 h 1113404"/>
                <a:gd name="connsiteX2057" fmla="*/ 993790 w 1814027"/>
                <a:gd name="connsiteY2057" fmla="*/ 779005 h 1113404"/>
                <a:gd name="connsiteX2058" fmla="*/ 993276 w 1814027"/>
                <a:gd name="connsiteY2058" fmla="*/ 781667 h 1113404"/>
                <a:gd name="connsiteX2059" fmla="*/ 991189 w 1814027"/>
                <a:gd name="connsiteY2059" fmla="*/ 786416 h 1113404"/>
                <a:gd name="connsiteX2060" fmla="*/ 988466 w 1814027"/>
                <a:gd name="connsiteY2060" fmla="*/ 790319 h 1113404"/>
                <a:gd name="connsiteX2061" fmla="*/ 986590 w 1814027"/>
                <a:gd name="connsiteY2061" fmla="*/ 794493 h 1113404"/>
                <a:gd name="connsiteX2062" fmla="*/ 987014 w 1814027"/>
                <a:gd name="connsiteY2062" fmla="*/ 800090 h 1113404"/>
                <a:gd name="connsiteX2063" fmla="*/ 988012 w 1814027"/>
                <a:gd name="connsiteY2063" fmla="*/ 802389 h 1113404"/>
                <a:gd name="connsiteX2064" fmla="*/ 989161 w 1814027"/>
                <a:gd name="connsiteY2064" fmla="*/ 804295 h 1113404"/>
                <a:gd name="connsiteX2065" fmla="*/ 990099 w 1814027"/>
                <a:gd name="connsiteY2065" fmla="*/ 806292 h 1113404"/>
                <a:gd name="connsiteX2066" fmla="*/ 990463 w 1814027"/>
                <a:gd name="connsiteY2066" fmla="*/ 808833 h 1113404"/>
                <a:gd name="connsiteX2067" fmla="*/ 991007 w 1814027"/>
                <a:gd name="connsiteY2067" fmla="*/ 811101 h 1113404"/>
                <a:gd name="connsiteX2068" fmla="*/ 992338 w 1814027"/>
                <a:gd name="connsiteY2068" fmla="*/ 813733 h 1113404"/>
                <a:gd name="connsiteX2069" fmla="*/ 993941 w 1814027"/>
                <a:gd name="connsiteY2069" fmla="*/ 816123 h 1113404"/>
                <a:gd name="connsiteX2070" fmla="*/ 995333 w 1814027"/>
                <a:gd name="connsiteY2070" fmla="*/ 817545 h 1113404"/>
                <a:gd name="connsiteX2071" fmla="*/ 997027 w 1814027"/>
                <a:gd name="connsiteY2071" fmla="*/ 818301 h 1113404"/>
                <a:gd name="connsiteX2072" fmla="*/ 1003229 w 1814027"/>
                <a:gd name="connsiteY2072" fmla="*/ 819451 h 1113404"/>
                <a:gd name="connsiteX2073" fmla="*/ 1004922 w 1814027"/>
                <a:gd name="connsiteY2073" fmla="*/ 820540 h 1113404"/>
                <a:gd name="connsiteX2074" fmla="*/ 1006345 w 1814027"/>
                <a:gd name="connsiteY2074" fmla="*/ 825441 h 1113404"/>
                <a:gd name="connsiteX2075" fmla="*/ 1007766 w 1814027"/>
                <a:gd name="connsiteY2075" fmla="*/ 826802 h 1113404"/>
                <a:gd name="connsiteX2076" fmla="*/ 1010126 w 1814027"/>
                <a:gd name="connsiteY2076" fmla="*/ 824049 h 1113404"/>
                <a:gd name="connsiteX2077" fmla="*/ 1011154 w 1814027"/>
                <a:gd name="connsiteY2077" fmla="*/ 823898 h 1113404"/>
                <a:gd name="connsiteX2078" fmla="*/ 1013121 w 1814027"/>
                <a:gd name="connsiteY2078" fmla="*/ 823263 h 1113404"/>
                <a:gd name="connsiteX2079" fmla="*/ 1014240 w 1814027"/>
                <a:gd name="connsiteY2079" fmla="*/ 823111 h 1113404"/>
                <a:gd name="connsiteX2080" fmla="*/ 1015148 w 1814027"/>
                <a:gd name="connsiteY2080" fmla="*/ 822688 h 1113404"/>
                <a:gd name="connsiteX2081" fmla="*/ 1016842 w 1814027"/>
                <a:gd name="connsiteY2081" fmla="*/ 820842 h 1113404"/>
                <a:gd name="connsiteX2082" fmla="*/ 1017991 w 1814027"/>
                <a:gd name="connsiteY2082" fmla="*/ 820449 h 1113404"/>
                <a:gd name="connsiteX2083" fmla="*/ 1018535 w 1814027"/>
                <a:gd name="connsiteY2083" fmla="*/ 820812 h 1113404"/>
                <a:gd name="connsiteX2084" fmla="*/ 1020108 w 1814027"/>
                <a:gd name="connsiteY2084" fmla="*/ 823111 h 1113404"/>
                <a:gd name="connsiteX2085" fmla="*/ 1026795 w 1814027"/>
                <a:gd name="connsiteY2085" fmla="*/ 826530 h 1113404"/>
                <a:gd name="connsiteX2086" fmla="*/ 1034176 w 1814027"/>
                <a:gd name="connsiteY2086" fmla="*/ 825622 h 1113404"/>
                <a:gd name="connsiteX2087" fmla="*/ 1047728 w 1814027"/>
                <a:gd name="connsiteY2087" fmla="*/ 818513 h 1113404"/>
                <a:gd name="connsiteX2088" fmla="*/ 1050118 w 1814027"/>
                <a:gd name="connsiteY2088" fmla="*/ 818967 h 1113404"/>
                <a:gd name="connsiteX2089" fmla="*/ 1052841 w 1814027"/>
                <a:gd name="connsiteY2089" fmla="*/ 817636 h 1113404"/>
                <a:gd name="connsiteX2090" fmla="*/ 1055593 w 1814027"/>
                <a:gd name="connsiteY2090" fmla="*/ 815820 h 1113404"/>
                <a:gd name="connsiteX2091" fmla="*/ 1057983 w 1814027"/>
                <a:gd name="connsiteY2091" fmla="*/ 814792 h 1113404"/>
                <a:gd name="connsiteX2092" fmla="*/ 1056804 w 1814027"/>
                <a:gd name="connsiteY2092" fmla="*/ 817000 h 1113404"/>
                <a:gd name="connsiteX2093" fmla="*/ 1055352 w 1814027"/>
                <a:gd name="connsiteY2093" fmla="*/ 818301 h 1113404"/>
                <a:gd name="connsiteX2094" fmla="*/ 1053779 w 1814027"/>
                <a:gd name="connsiteY2094" fmla="*/ 819330 h 1113404"/>
                <a:gd name="connsiteX2095" fmla="*/ 1052236 w 1814027"/>
                <a:gd name="connsiteY2095" fmla="*/ 820873 h 1113404"/>
                <a:gd name="connsiteX2096" fmla="*/ 1050481 w 1814027"/>
                <a:gd name="connsiteY2096" fmla="*/ 821931 h 1113404"/>
                <a:gd name="connsiteX2097" fmla="*/ 1045822 w 1814027"/>
                <a:gd name="connsiteY2097" fmla="*/ 822415 h 1113404"/>
                <a:gd name="connsiteX2098" fmla="*/ 1043917 w 1814027"/>
                <a:gd name="connsiteY2098" fmla="*/ 823565 h 1113404"/>
                <a:gd name="connsiteX2099" fmla="*/ 1036868 w 1814027"/>
                <a:gd name="connsiteY2099" fmla="*/ 829071 h 1113404"/>
                <a:gd name="connsiteX2100" fmla="*/ 1034115 w 1814027"/>
                <a:gd name="connsiteY2100" fmla="*/ 832550 h 1113404"/>
                <a:gd name="connsiteX2101" fmla="*/ 1035990 w 1814027"/>
                <a:gd name="connsiteY2101" fmla="*/ 835000 h 1113404"/>
                <a:gd name="connsiteX2102" fmla="*/ 1033238 w 1814027"/>
                <a:gd name="connsiteY2102" fmla="*/ 837753 h 1113404"/>
                <a:gd name="connsiteX2103" fmla="*/ 1029335 w 1814027"/>
                <a:gd name="connsiteY2103" fmla="*/ 839296 h 1113404"/>
                <a:gd name="connsiteX2104" fmla="*/ 1024949 w 1814027"/>
                <a:gd name="connsiteY2104" fmla="*/ 839629 h 1113404"/>
                <a:gd name="connsiteX2105" fmla="*/ 1020774 w 1814027"/>
                <a:gd name="connsiteY2105" fmla="*/ 838751 h 1113404"/>
                <a:gd name="connsiteX2106" fmla="*/ 1015269 w 1814027"/>
                <a:gd name="connsiteY2106" fmla="*/ 835454 h 1113404"/>
                <a:gd name="connsiteX2107" fmla="*/ 1004226 w 1814027"/>
                <a:gd name="connsiteY2107" fmla="*/ 833185 h 1113404"/>
                <a:gd name="connsiteX2108" fmla="*/ 1002170 w 1814027"/>
                <a:gd name="connsiteY2108" fmla="*/ 833125 h 1113404"/>
                <a:gd name="connsiteX2109" fmla="*/ 996362 w 1814027"/>
                <a:gd name="connsiteY2109" fmla="*/ 834002 h 1113404"/>
                <a:gd name="connsiteX2110" fmla="*/ 987679 w 1814027"/>
                <a:gd name="connsiteY2110" fmla="*/ 832247 h 1113404"/>
                <a:gd name="connsiteX2111" fmla="*/ 979088 w 1814027"/>
                <a:gd name="connsiteY2111" fmla="*/ 832247 h 1113404"/>
                <a:gd name="connsiteX2112" fmla="*/ 978059 w 1814027"/>
                <a:gd name="connsiteY2112" fmla="*/ 831884 h 1113404"/>
                <a:gd name="connsiteX2113" fmla="*/ 977666 w 1814027"/>
                <a:gd name="connsiteY2113" fmla="*/ 831733 h 1113404"/>
                <a:gd name="connsiteX2114" fmla="*/ 971858 w 1814027"/>
                <a:gd name="connsiteY2114" fmla="*/ 828496 h 1113404"/>
                <a:gd name="connsiteX2115" fmla="*/ 968470 w 1814027"/>
                <a:gd name="connsiteY2115" fmla="*/ 827528 h 1113404"/>
                <a:gd name="connsiteX2116" fmla="*/ 950863 w 1814027"/>
                <a:gd name="connsiteY2116" fmla="*/ 828738 h 1113404"/>
                <a:gd name="connsiteX2117" fmla="*/ 949381 w 1814027"/>
                <a:gd name="connsiteY2117" fmla="*/ 828072 h 1113404"/>
                <a:gd name="connsiteX2118" fmla="*/ 946718 w 1814027"/>
                <a:gd name="connsiteY2118" fmla="*/ 825410 h 1113404"/>
                <a:gd name="connsiteX2119" fmla="*/ 943482 w 1814027"/>
                <a:gd name="connsiteY2119" fmla="*/ 823051 h 1113404"/>
                <a:gd name="connsiteX2120" fmla="*/ 945116 w 1814027"/>
                <a:gd name="connsiteY2120" fmla="*/ 826197 h 1113404"/>
                <a:gd name="connsiteX2121" fmla="*/ 956883 w 1814027"/>
                <a:gd name="connsiteY2121" fmla="*/ 837239 h 1113404"/>
                <a:gd name="connsiteX2122" fmla="*/ 958335 w 1814027"/>
                <a:gd name="connsiteY2122" fmla="*/ 837723 h 1113404"/>
                <a:gd name="connsiteX2123" fmla="*/ 959122 w 1814027"/>
                <a:gd name="connsiteY2123" fmla="*/ 838570 h 1113404"/>
                <a:gd name="connsiteX2124" fmla="*/ 961421 w 1814027"/>
                <a:gd name="connsiteY2124" fmla="*/ 844227 h 1113404"/>
                <a:gd name="connsiteX2125" fmla="*/ 961270 w 1814027"/>
                <a:gd name="connsiteY2125" fmla="*/ 839992 h 1113404"/>
                <a:gd name="connsiteX2126" fmla="*/ 961421 w 1814027"/>
                <a:gd name="connsiteY2126" fmla="*/ 838721 h 1113404"/>
                <a:gd name="connsiteX2127" fmla="*/ 961814 w 1814027"/>
                <a:gd name="connsiteY2127" fmla="*/ 837693 h 1113404"/>
                <a:gd name="connsiteX2128" fmla="*/ 962389 w 1814027"/>
                <a:gd name="connsiteY2128" fmla="*/ 836967 h 1113404"/>
                <a:gd name="connsiteX2129" fmla="*/ 963872 w 1814027"/>
                <a:gd name="connsiteY2129" fmla="*/ 835424 h 1113404"/>
                <a:gd name="connsiteX2130" fmla="*/ 965445 w 1814027"/>
                <a:gd name="connsiteY2130" fmla="*/ 834698 h 1113404"/>
                <a:gd name="connsiteX2131" fmla="*/ 967683 w 1814027"/>
                <a:gd name="connsiteY2131" fmla="*/ 834818 h 1113404"/>
                <a:gd name="connsiteX2132" fmla="*/ 970013 w 1814027"/>
                <a:gd name="connsiteY2132" fmla="*/ 835363 h 1113404"/>
                <a:gd name="connsiteX2133" fmla="*/ 983988 w 1814027"/>
                <a:gd name="connsiteY2133" fmla="*/ 840718 h 1113404"/>
                <a:gd name="connsiteX2134" fmla="*/ 988405 w 1814027"/>
                <a:gd name="connsiteY2134" fmla="*/ 841383 h 1113404"/>
                <a:gd name="connsiteX2135" fmla="*/ 992156 w 1814027"/>
                <a:gd name="connsiteY2135" fmla="*/ 841020 h 1113404"/>
                <a:gd name="connsiteX2136" fmla="*/ 993760 w 1814027"/>
                <a:gd name="connsiteY2136" fmla="*/ 841655 h 1113404"/>
                <a:gd name="connsiteX2137" fmla="*/ 998358 w 1814027"/>
                <a:gd name="connsiteY2137" fmla="*/ 847403 h 1113404"/>
                <a:gd name="connsiteX2138" fmla="*/ 999175 w 1814027"/>
                <a:gd name="connsiteY2138" fmla="*/ 849037 h 1113404"/>
                <a:gd name="connsiteX2139" fmla="*/ 998509 w 1814027"/>
                <a:gd name="connsiteY2139" fmla="*/ 849460 h 1113404"/>
                <a:gd name="connsiteX2140" fmla="*/ 997148 w 1814027"/>
                <a:gd name="connsiteY2140" fmla="*/ 849460 h 1113404"/>
                <a:gd name="connsiteX2141" fmla="*/ 995938 w 1814027"/>
                <a:gd name="connsiteY2141" fmla="*/ 849672 h 1113404"/>
                <a:gd name="connsiteX2142" fmla="*/ 990644 w 1814027"/>
                <a:gd name="connsiteY2142" fmla="*/ 854179 h 1113404"/>
                <a:gd name="connsiteX2143" fmla="*/ 989737 w 1814027"/>
                <a:gd name="connsiteY2143" fmla="*/ 854754 h 1113404"/>
                <a:gd name="connsiteX2144" fmla="*/ 982113 w 1814027"/>
                <a:gd name="connsiteY2144" fmla="*/ 856085 h 1113404"/>
                <a:gd name="connsiteX2145" fmla="*/ 976577 w 1814027"/>
                <a:gd name="connsiteY2145" fmla="*/ 854936 h 1113404"/>
                <a:gd name="connsiteX2146" fmla="*/ 974490 w 1814027"/>
                <a:gd name="connsiteY2146" fmla="*/ 855147 h 1113404"/>
                <a:gd name="connsiteX2147" fmla="*/ 972796 w 1814027"/>
                <a:gd name="connsiteY2147" fmla="*/ 855904 h 1113404"/>
                <a:gd name="connsiteX2148" fmla="*/ 970799 w 1814027"/>
                <a:gd name="connsiteY2148" fmla="*/ 857295 h 1113404"/>
                <a:gd name="connsiteX2149" fmla="*/ 969528 w 1814027"/>
                <a:gd name="connsiteY2149" fmla="*/ 859110 h 1113404"/>
                <a:gd name="connsiteX2150" fmla="*/ 970043 w 1814027"/>
                <a:gd name="connsiteY2150" fmla="*/ 861168 h 1113404"/>
                <a:gd name="connsiteX2151" fmla="*/ 971374 w 1814027"/>
                <a:gd name="connsiteY2151" fmla="*/ 862559 h 1113404"/>
                <a:gd name="connsiteX2152" fmla="*/ 972886 w 1814027"/>
                <a:gd name="connsiteY2152" fmla="*/ 863527 h 1113404"/>
                <a:gd name="connsiteX2153" fmla="*/ 974701 w 1814027"/>
                <a:gd name="connsiteY2153" fmla="*/ 864132 h 1113404"/>
                <a:gd name="connsiteX2154" fmla="*/ 981084 w 1814027"/>
                <a:gd name="connsiteY2154" fmla="*/ 864344 h 1113404"/>
                <a:gd name="connsiteX2155" fmla="*/ 981841 w 1814027"/>
                <a:gd name="connsiteY2155" fmla="*/ 863709 h 1113404"/>
                <a:gd name="connsiteX2156" fmla="*/ 981659 w 1814027"/>
                <a:gd name="connsiteY2156" fmla="*/ 862196 h 1113404"/>
                <a:gd name="connsiteX2157" fmla="*/ 981266 w 1814027"/>
                <a:gd name="connsiteY2157" fmla="*/ 860381 h 1113404"/>
                <a:gd name="connsiteX2158" fmla="*/ 981417 w 1814027"/>
                <a:gd name="connsiteY2158" fmla="*/ 858869 h 1113404"/>
                <a:gd name="connsiteX2159" fmla="*/ 989737 w 1814027"/>
                <a:gd name="connsiteY2159" fmla="*/ 864798 h 1113404"/>
                <a:gd name="connsiteX2160" fmla="*/ 994728 w 1814027"/>
                <a:gd name="connsiteY2160" fmla="*/ 867218 h 1113404"/>
                <a:gd name="connsiteX2161" fmla="*/ 997935 w 1814027"/>
                <a:gd name="connsiteY2161" fmla="*/ 866068 h 1113404"/>
                <a:gd name="connsiteX2162" fmla="*/ 1000718 w 1814027"/>
                <a:gd name="connsiteY2162" fmla="*/ 868277 h 1113404"/>
                <a:gd name="connsiteX2163" fmla="*/ 1004499 w 1814027"/>
                <a:gd name="connsiteY2163" fmla="*/ 872935 h 1113404"/>
                <a:gd name="connsiteX2164" fmla="*/ 1005830 w 1814027"/>
                <a:gd name="connsiteY2164" fmla="*/ 873571 h 1113404"/>
                <a:gd name="connsiteX2165" fmla="*/ 1007221 w 1814027"/>
                <a:gd name="connsiteY2165" fmla="*/ 873813 h 1113404"/>
                <a:gd name="connsiteX2166" fmla="*/ 1011729 w 1814027"/>
                <a:gd name="connsiteY2166" fmla="*/ 875325 h 1113404"/>
                <a:gd name="connsiteX2167" fmla="*/ 1014331 w 1814027"/>
                <a:gd name="connsiteY2167" fmla="*/ 875809 h 1113404"/>
                <a:gd name="connsiteX2168" fmla="*/ 1016963 w 1814027"/>
                <a:gd name="connsiteY2168" fmla="*/ 875507 h 1113404"/>
                <a:gd name="connsiteX2169" fmla="*/ 1019988 w 1814027"/>
                <a:gd name="connsiteY2169" fmla="*/ 874266 h 1113404"/>
                <a:gd name="connsiteX2170" fmla="*/ 1019746 w 1814027"/>
                <a:gd name="connsiteY2170" fmla="*/ 875567 h 1113404"/>
                <a:gd name="connsiteX2171" fmla="*/ 1019171 w 1814027"/>
                <a:gd name="connsiteY2171" fmla="*/ 876384 h 1113404"/>
                <a:gd name="connsiteX2172" fmla="*/ 1017265 w 1814027"/>
                <a:gd name="connsiteY2172" fmla="*/ 877987 h 1113404"/>
                <a:gd name="connsiteX2173" fmla="*/ 1017809 w 1814027"/>
                <a:gd name="connsiteY2173" fmla="*/ 878774 h 1113404"/>
                <a:gd name="connsiteX2174" fmla="*/ 1018264 w 1814027"/>
                <a:gd name="connsiteY2174" fmla="*/ 880619 h 1113404"/>
                <a:gd name="connsiteX2175" fmla="*/ 1018656 w 1814027"/>
                <a:gd name="connsiteY2175" fmla="*/ 881617 h 1113404"/>
                <a:gd name="connsiteX2176" fmla="*/ 1018838 w 1814027"/>
                <a:gd name="connsiteY2176" fmla="*/ 882192 h 1113404"/>
                <a:gd name="connsiteX2177" fmla="*/ 1019171 w 1814027"/>
                <a:gd name="connsiteY2177" fmla="*/ 883916 h 1113404"/>
                <a:gd name="connsiteX2178" fmla="*/ 1019352 w 1814027"/>
                <a:gd name="connsiteY2178" fmla="*/ 884431 h 1113404"/>
                <a:gd name="connsiteX2179" fmla="*/ 1019867 w 1814027"/>
                <a:gd name="connsiteY2179" fmla="*/ 884642 h 1113404"/>
                <a:gd name="connsiteX2180" fmla="*/ 1021168 w 1814027"/>
                <a:gd name="connsiteY2180" fmla="*/ 884522 h 1113404"/>
                <a:gd name="connsiteX2181" fmla="*/ 1023376 w 1814027"/>
                <a:gd name="connsiteY2181" fmla="*/ 885974 h 1113404"/>
                <a:gd name="connsiteX2182" fmla="*/ 1043584 w 1814027"/>
                <a:gd name="connsiteY2182" fmla="*/ 891389 h 1113404"/>
                <a:gd name="connsiteX2183" fmla="*/ 1047638 w 1814027"/>
                <a:gd name="connsiteY2183" fmla="*/ 890814 h 1113404"/>
                <a:gd name="connsiteX2184" fmla="*/ 1048364 w 1814027"/>
                <a:gd name="connsiteY2184" fmla="*/ 890300 h 1113404"/>
                <a:gd name="connsiteX2185" fmla="*/ 1050028 w 1814027"/>
                <a:gd name="connsiteY2185" fmla="*/ 888666 h 1113404"/>
                <a:gd name="connsiteX2186" fmla="*/ 1051056 w 1814027"/>
                <a:gd name="connsiteY2186" fmla="*/ 888001 h 1113404"/>
                <a:gd name="connsiteX2187" fmla="*/ 1052084 w 1814027"/>
                <a:gd name="connsiteY2187" fmla="*/ 887638 h 1113404"/>
                <a:gd name="connsiteX2188" fmla="*/ 1064760 w 1814027"/>
                <a:gd name="connsiteY2188" fmla="*/ 885550 h 1113404"/>
                <a:gd name="connsiteX2189" fmla="*/ 1068511 w 1814027"/>
                <a:gd name="connsiteY2189" fmla="*/ 883826 h 1113404"/>
                <a:gd name="connsiteX2190" fmla="*/ 1069993 w 1814027"/>
                <a:gd name="connsiteY2190" fmla="*/ 883463 h 1113404"/>
                <a:gd name="connsiteX2191" fmla="*/ 1072353 w 1814027"/>
                <a:gd name="connsiteY2191" fmla="*/ 883644 h 1113404"/>
                <a:gd name="connsiteX2192" fmla="*/ 1077889 w 1814027"/>
                <a:gd name="connsiteY2192" fmla="*/ 885369 h 1113404"/>
                <a:gd name="connsiteX2193" fmla="*/ 1078766 w 1814027"/>
                <a:gd name="connsiteY2193" fmla="*/ 885490 h 1113404"/>
                <a:gd name="connsiteX2194" fmla="*/ 1081066 w 1814027"/>
                <a:gd name="connsiteY2194" fmla="*/ 885369 h 1113404"/>
                <a:gd name="connsiteX2195" fmla="*/ 1081731 w 1814027"/>
                <a:gd name="connsiteY2195" fmla="*/ 885459 h 1113404"/>
                <a:gd name="connsiteX2196" fmla="*/ 1082639 w 1814027"/>
                <a:gd name="connsiteY2196" fmla="*/ 885974 h 1113404"/>
                <a:gd name="connsiteX2197" fmla="*/ 1083425 w 1814027"/>
                <a:gd name="connsiteY2197" fmla="*/ 886155 h 1113404"/>
                <a:gd name="connsiteX2198" fmla="*/ 1084817 w 1814027"/>
                <a:gd name="connsiteY2198" fmla="*/ 886155 h 1113404"/>
                <a:gd name="connsiteX2199" fmla="*/ 1095374 w 1814027"/>
                <a:gd name="connsiteY2199" fmla="*/ 884491 h 1113404"/>
                <a:gd name="connsiteX2200" fmla="*/ 1096796 w 1814027"/>
                <a:gd name="connsiteY2200" fmla="*/ 882707 h 1113404"/>
                <a:gd name="connsiteX2201" fmla="*/ 1095888 w 1814027"/>
                <a:gd name="connsiteY2201" fmla="*/ 878865 h 1113404"/>
                <a:gd name="connsiteX2202" fmla="*/ 1101757 w 1814027"/>
                <a:gd name="connsiteY2202" fmla="*/ 881617 h 1113404"/>
                <a:gd name="connsiteX2203" fmla="*/ 1103906 w 1814027"/>
                <a:gd name="connsiteY2203" fmla="*/ 883070 h 1113404"/>
                <a:gd name="connsiteX2204" fmla="*/ 1104873 w 1814027"/>
                <a:gd name="connsiteY2204" fmla="*/ 883433 h 1113404"/>
                <a:gd name="connsiteX2205" fmla="*/ 1105872 w 1814027"/>
                <a:gd name="connsiteY2205" fmla="*/ 883433 h 1113404"/>
                <a:gd name="connsiteX2206" fmla="*/ 1107142 w 1814027"/>
                <a:gd name="connsiteY2206" fmla="*/ 882767 h 1113404"/>
                <a:gd name="connsiteX2207" fmla="*/ 1107928 w 1814027"/>
                <a:gd name="connsiteY2207" fmla="*/ 882616 h 1113404"/>
                <a:gd name="connsiteX2208" fmla="*/ 1111135 w 1814027"/>
                <a:gd name="connsiteY2208" fmla="*/ 881103 h 1113404"/>
                <a:gd name="connsiteX2209" fmla="*/ 1113132 w 1814027"/>
                <a:gd name="connsiteY2209" fmla="*/ 877715 h 1113404"/>
                <a:gd name="connsiteX2210" fmla="*/ 1114826 w 1814027"/>
                <a:gd name="connsiteY2210" fmla="*/ 874025 h 1113404"/>
                <a:gd name="connsiteX2211" fmla="*/ 1117155 w 1814027"/>
                <a:gd name="connsiteY2211" fmla="*/ 871695 h 1113404"/>
                <a:gd name="connsiteX2212" fmla="*/ 1116187 w 1814027"/>
                <a:gd name="connsiteY2212" fmla="*/ 880982 h 1113404"/>
                <a:gd name="connsiteX2213" fmla="*/ 1115824 w 1814027"/>
                <a:gd name="connsiteY2213" fmla="*/ 882676 h 1113404"/>
                <a:gd name="connsiteX2214" fmla="*/ 1115098 w 1814027"/>
                <a:gd name="connsiteY2214" fmla="*/ 884431 h 1113404"/>
                <a:gd name="connsiteX2215" fmla="*/ 1123054 w 1814027"/>
                <a:gd name="connsiteY2215" fmla="*/ 883433 h 1113404"/>
                <a:gd name="connsiteX2216" fmla="*/ 1125262 w 1814027"/>
                <a:gd name="connsiteY2216" fmla="*/ 884068 h 1113404"/>
                <a:gd name="connsiteX2217" fmla="*/ 1125474 w 1814027"/>
                <a:gd name="connsiteY2217" fmla="*/ 885580 h 1113404"/>
                <a:gd name="connsiteX2218" fmla="*/ 1124385 w 1814027"/>
                <a:gd name="connsiteY2218" fmla="*/ 887395 h 1113404"/>
                <a:gd name="connsiteX2219" fmla="*/ 1122722 w 1814027"/>
                <a:gd name="connsiteY2219" fmla="*/ 888908 h 1113404"/>
                <a:gd name="connsiteX2220" fmla="*/ 1123327 w 1814027"/>
                <a:gd name="connsiteY2220" fmla="*/ 889059 h 1113404"/>
                <a:gd name="connsiteX2221" fmla="*/ 1123841 w 1814027"/>
                <a:gd name="connsiteY2221" fmla="*/ 889059 h 1113404"/>
                <a:gd name="connsiteX2222" fmla="*/ 1124265 w 1814027"/>
                <a:gd name="connsiteY2222" fmla="*/ 889210 h 1113404"/>
                <a:gd name="connsiteX2223" fmla="*/ 1124779 w 1814027"/>
                <a:gd name="connsiteY2223" fmla="*/ 889876 h 1113404"/>
                <a:gd name="connsiteX2224" fmla="*/ 1126805 w 1814027"/>
                <a:gd name="connsiteY2224" fmla="*/ 887184 h 1113404"/>
                <a:gd name="connsiteX2225" fmla="*/ 1129498 w 1814027"/>
                <a:gd name="connsiteY2225" fmla="*/ 887668 h 1113404"/>
                <a:gd name="connsiteX2226" fmla="*/ 1132160 w 1814027"/>
                <a:gd name="connsiteY2226" fmla="*/ 889816 h 1113404"/>
                <a:gd name="connsiteX2227" fmla="*/ 1135276 w 1814027"/>
                <a:gd name="connsiteY2227" fmla="*/ 893748 h 1113404"/>
                <a:gd name="connsiteX2228" fmla="*/ 1136153 w 1814027"/>
                <a:gd name="connsiteY2228" fmla="*/ 894384 h 1113404"/>
                <a:gd name="connsiteX2229" fmla="*/ 1142355 w 1814027"/>
                <a:gd name="connsiteY2229" fmla="*/ 894384 h 1113404"/>
                <a:gd name="connsiteX2230" fmla="*/ 1144442 w 1814027"/>
                <a:gd name="connsiteY2230" fmla="*/ 895230 h 1113404"/>
                <a:gd name="connsiteX2231" fmla="*/ 1145441 w 1814027"/>
                <a:gd name="connsiteY2231" fmla="*/ 895291 h 1113404"/>
                <a:gd name="connsiteX2232" fmla="*/ 1143383 w 1814027"/>
                <a:gd name="connsiteY2232" fmla="*/ 892417 h 1113404"/>
                <a:gd name="connsiteX2233" fmla="*/ 1144382 w 1814027"/>
                <a:gd name="connsiteY2233" fmla="*/ 890784 h 1113404"/>
                <a:gd name="connsiteX2234" fmla="*/ 1146953 w 1814027"/>
                <a:gd name="connsiteY2234" fmla="*/ 890027 h 1113404"/>
                <a:gd name="connsiteX2235" fmla="*/ 1149615 w 1814027"/>
                <a:gd name="connsiteY2235" fmla="*/ 889846 h 1113404"/>
                <a:gd name="connsiteX2236" fmla="*/ 1149615 w 1814027"/>
                <a:gd name="connsiteY2236" fmla="*/ 888878 h 1113404"/>
                <a:gd name="connsiteX2237" fmla="*/ 1146953 w 1814027"/>
                <a:gd name="connsiteY2237" fmla="*/ 887244 h 1113404"/>
                <a:gd name="connsiteX2238" fmla="*/ 1147074 w 1814027"/>
                <a:gd name="connsiteY2238" fmla="*/ 885308 h 1113404"/>
                <a:gd name="connsiteX2239" fmla="*/ 1148828 w 1814027"/>
                <a:gd name="connsiteY2239" fmla="*/ 883312 h 1113404"/>
                <a:gd name="connsiteX2240" fmla="*/ 1151006 w 1814027"/>
                <a:gd name="connsiteY2240" fmla="*/ 881587 h 1113404"/>
                <a:gd name="connsiteX2241" fmla="*/ 1153518 w 1814027"/>
                <a:gd name="connsiteY2241" fmla="*/ 880740 h 1113404"/>
                <a:gd name="connsiteX2242" fmla="*/ 1155242 w 1814027"/>
                <a:gd name="connsiteY2242" fmla="*/ 882132 h 1113404"/>
                <a:gd name="connsiteX2243" fmla="*/ 1158267 w 1814027"/>
                <a:gd name="connsiteY2243" fmla="*/ 887547 h 1113404"/>
                <a:gd name="connsiteX2244" fmla="*/ 1158751 w 1814027"/>
                <a:gd name="connsiteY2244" fmla="*/ 889483 h 1113404"/>
                <a:gd name="connsiteX2245" fmla="*/ 1157783 w 1814027"/>
                <a:gd name="connsiteY2245" fmla="*/ 891056 h 1113404"/>
                <a:gd name="connsiteX2246" fmla="*/ 1156664 w 1814027"/>
                <a:gd name="connsiteY2246" fmla="*/ 892448 h 1113404"/>
                <a:gd name="connsiteX2247" fmla="*/ 1156815 w 1814027"/>
                <a:gd name="connsiteY2247" fmla="*/ 893930 h 1113404"/>
                <a:gd name="connsiteX2248" fmla="*/ 1158086 w 1814027"/>
                <a:gd name="connsiteY2248" fmla="*/ 898528 h 1113404"/>
                <a:gd name="connsiteX2249" fmla="*/ 1158207 w 1814027"/>
                <a:gd name="connsiteY2249" fmla="*/ 899466 h 1113404"/>
                <a:gd name="connsiteX2250" fmla="*/ 1157511 w 1814027"/>
                <a:gd name="connsiteY2250" fmla="*/ 900615 h 1113404"/>
                <a:gd name="connsiteX2251" fmla="*/ 1156966 w 1814027"/>
                <a:gd name="connsiteY2251" fmla="*/ 901916 h 1113404"/>
                <a:gd name="connsiteX2252" fmla="*/ 1157057 w 1814027"/>
                <a:gd name="connsiteY2252" fmla="*/ 903005 h 1113404"/>
                <a:gd name="connsiteX2253" fmla="*/ 1158237 w 1814027"/>
                <a:gd name="connsiteY2253" fmla="*/ 903459 h 1113404"/>
                <a:gd name="connsiteX2254" fmla="*/ 1158569 w 1814027"/>
                <a:gd name="connsiteY2254" fmla="*/ 904155 h 1113404"/>
                <a:gd name="connsiteX2255" fmla="*/ 1157722 w 1814027"/>
                <a:gd name="connsiteY2255" fmla="*/ 905667 h 1113404"/>
                <a:gd name="connsiteX2256" fmla="*/ 1155847 w 1814027"/>
                <a:gd name="connsiteY2256" fmla="*/ 907997 h 1113404"/>
                <a:gd name="connsiteX2257" fmla="*/ 1157057 w 1814027"/>
                <a:gd name="connsiteY2257" fmla="*/ 908844 h 1113404"/>
                <a:gd name="connsiteX2258" fmla="*/ 1157753 w 1814027"/>
                <a:gd name="connsiteY2258" fmla="*/ 908451 h 1113404"/>
                <a:gd name="connsiteX2259" fmla="*/ 1158448 w 1814027"/>
                <a:gd name="connsiteY2259" fmla="*/ 907604 h 1113404"/>
                <a:gd name="connsiteX2260" fmla="*/ 1159598 w 1814027"/>
                <a:gd name="connsiteY2260" fmla="*/ 907150 h 1113404"/>
                <a:gd name="connsiteX2261" fmla="*/ 1162140 w 1814027"/>
                <a:gd name="connsiteY2261" fmla="*/ 906938 h 1113404"/>
                <a:gd name="connsiteX2262" fmla="*/ 1167887 w 1814027"/>
                <a:gd name="connsiteY2262" fmla="*/ 908360 h 1113404"/>
                <a:gd name="connsiteX2263" fmla="*/ 1169793 w 1814027"/>
                <a:gd name="connsiteY2263" fmla="*/ 909267 h 1113404"/>
                <a:gd name="connsiteX2264" fmla="*/ 1171638 w 1814027"/>
                <a:gd name="connsiteY2264" fmla="*/ 910749 h 1113404"/>
                <a:gd name="connsiteX2265" fmla="*/ 1169883 w 1814027"/>
                <a:gd name="connsiteY2265" fmla="*/ 911718 h 1113404"/>
                <a:gd name="connsiteX2266" fmla="*/ 1166435 w 1814027"/>
                <a:gd name="connsiteY2266" fmla="*/ 912535 h 1113404"/>
                <a:gd name="connsiteX2267" fmla="*/ 1164771 w 1814027"/>
                <a:gd name="connsiteY2267" fmla="*/ 913381 h 1113404"/>
                <a:gd name="connsiteX2268" fmla="*/ 1163258 w 1814027"/>
                <a:gd name="connsiteY2268" fmla="*/ 912746 h 1113404"/>
                <a:gd name="connsiteX2269" fmla="*/ 1163016 w 1814027"/>
                <a:gd name="connsiteY2269" fmla="*/ 915166 h 1113404"/>
                <a:gd name="connsiteX2270" fmla="*/ 1163228 w 1814027"/>
                <a:gd name="connsiteY2270" fmla="*/ 918312 h 1113404"/>
                <a:gd name="connsiteX2271" fmla="*/ 1163077 w 1814027"/>
                <a:gd name="connsiteY2271" fmla="*/ 919885 h 1113404"/>
                <a:gd name="connsiteX2272" fmla="*/ 1160929 w 1814027"/>
                <a:gd name="connsiteY2272" fmla="*/ 920158 h 1113404"/>
                <a:gd name="connsiteX2273" fmla="*/ 1159780 w 1814027"/>
                <a:gd name="connsiteY2273" fmla="*/ 920067 h 1113404"/>
                <a:gd name="connsiteX2274" fmla="*/ 1159295 w 1814027"/>
                <a:gd name="connsiteY2274" fmla="*/ 919402 h 1113404"/>
                <a:gd name="connsiteX2275" fmla="*/ 1158933 w 1814027"/>
                <a:gd name="connsiteY2275" fmla="*/ 918585 h 1113404"/>
                <a:gd name="connsiteX2276" fmla="*/ 1158025 w 1814027"/>
                <a:gd name="connsiteY2276" fmla="*/ 917859 h 1113404"/>
                <a:gd name="connsiteX2277" fmla="*/ 1156905 w 1814027"/>
                <a:gd name="connsiteY2277" fmla="*/ 917344 h 1113404"/>
                <a:gd name="connsiteX2278" fmla="*/ 1155847 w 1814027"/>
                <a:gd name="connsiteY2278" fmla="*/ 917103 h 1113404"/>
                <a:gd name="connsiteX2279" fmla="*/ 1154879 w 1814027"/>
                <a:gd name="connsiteY2279" fmla="*/ 917223 h 1113404"/>
                <a:gd name="connsiteX2280" fmla="*/ 1153730 w 1814027"/>
                <a:gd name="connsiteY2280" fmla="*/ 917677 h 1113404"/>
                <a:gd name="connsiteX2281" fmla="*/ 1151702 w 1814027"/>
                <a:gd name="connsiteY2281" fmla="*/ 918887 h 1113404"/>
                <a:gd name="connsiteX2282" fmla="*/ 1149283 w 1814027"/>
                <a:gd name="connsiteY2282" fmla="*/ 921671 h 1113404"/>
                <a:gd name="connsiteX2283" fmla="*/ 1146862 w 1814027"/>
                <a:gd name="connsiteY2283" fmla="*/ 922366 h 1113404"/>
                <a:gd name="connsiteX2284" fmla="*/ 1145834 w 1814027"/>
                <a:gd name="connsiteY2284" fmla="*/ 922487 h 1113404"/>
                <a:gd name="connsiteX2285" fmla="*/ 1144624 w 1814027"/>
                <a:gd name="connsiteY2285" fmla="*/ 922215 h 1113404"/>
                <a:gd name="connsiteX2286" fmla="*/ 1142778 w 1814027"/>
                <a:gd name="connsiteY2286" fmla="*/ 920974 h 1113404"/>
                <a:gd name="connsiteX2287" fmla="*/ 1142052 w 1814027"/>
                <a:gd name="connsiteY2287" fmla="*/ 920702 h 1113404"/>
                <a:gd name="connsiteX2288" fmla="*/ 1140540 w 1814027"/>
                <a:gd name="connsiteY2288" fmla="*/ 921277 h 1113404"/>
                <a:gd name="connsiteX2289" fmla="*/ 1136305 w 1814027"/>
                <a:gd name="connsiteY2289" fmla="*/ 923818 h 1113404"/>
                <a:gd name="connsiteX2290" fmla="*/ 1134792 w 1814027"/>
                <a:gd name="connsiteY2290" fmla="*/ 924393 h 1113404"/>
                <a:gd name="connsiteX2291" fmla="*/ 1131737 w 1814027"/>
                <a:gd name="connsiteY2291" fmla="*/ 927539 h 1113404"/>
                <a:gd name="connsiteX2292" fmla="*/ 1131192 w 1814027"/>
                <a:gd name="connsiteY2292" fmla="*/ 928417 h 1113404"/>
                <a:gd name="connsiteX2293" fmla="*/ 1127562 w 1814027"/>
                <a:gd name="connsiteY2293" fmla="*/ 929838 h 1113404"/>
                <a:gd name="connsiteX2294" fmla="*/ 1120241 w 1814027"/>
                <a:gd name="connsiteY2294" fmla="*/ 934043 h 1113404"/>
                <a:gd name="connsiteX2295" fmla="*/ 1116702 w 1814027"/>
                <a:gd name="connsiteY2295" fmla="*/ 934406 h 1113404"/>
                <a:gd name="connsiteX2296" fmla="*/ 1113132 w 1814027"/>
                <a:gd name="connsiteY2296" fmla="*/ 932531 h 1113404"/>
                <a:gd name="connsiteX2297" fmla="*/ 1111499 w 1814027"/>
                <a:gd name="connsiteY2297" fmla="*/ 930534 h 1113404"/>
                <a:gd name="connsiteX2298" fmla="*/ 1110561 w 1814027"/>
                <a:gd name="connsiteY2298" fmla="*/ 929990 h 1113404"/>
                <a:gd name="connsiteX2299" fmla="*/ 1109683 w 1814027"/>
                <a:gd name="connsiteY2299" fmla="*/ 930716 h 1113404"/>
                <a:gd name="connsiteX2300" fmla="*/ 1109532 w 1814027"/>
                <a:gd name="connsiteY2300" fmla="*/ 932077 h 1113404"/>
                <a:gd name="connsiteX2301" fmla="*/ 1110318 w 1814027"/>
                <a:gd name="connsiteY2301" fmla="*/ 932863 h 1113404"/>
                <a:gd name="connsiteX2302" fmla="*/ 1111287 w 1814027"/>
                <a:gd name="connsiteY2302" fmla="*/ 933348 h 1113404"/>
                <a:gd name="connsiteX2303" fmla="*/ 1111770 w 1814027"/>
                <a:gd name="connsiteY2303" fmla="*/ 933831 h 1113404"/>
                <a:gd name="connsiteX2304" fmla="*/ 1111256 w 1814027"/>
                <a:gd name="connsiteY2304" fmla="*/ 935435 h 1113404"/>
                <a:gd name="connsiteX2305" fmla="*/ 1109986 w 1814027"/>
                <a:gd name="connsiteY2305" fmla="*/ 936342 h 1113404"/>
                <a:gd name="connsiteX2306" fmla="*/ 1087176 w 1814027"/>
                <a:gd name="connsiteY2306" fmla="*/ 946083 h 1113404"/>
                <a:gd name="connsiteX2307" fmla="*/ 1080279 w 1814027"/>
                <a:gd name="connsiteY2307" fmla="*/ 950379 h 1113404"/>
                <a:gd name="connsiteX2308" fmla="*/ 1077224 w 1814027"/>
                <a:gd name="connsiteY2308" fmla="*/ 953283 h 1113404"/>
                <a:gd name="connsiteX2309" fmla="*/ 1076498 w 1814027"/>
                <a:gd name="connsiteY2309" fmla="*/ 954221 h 1113404"/>
                <a:gd name="connsiteX2310" fmla="*/ 1076134 w 1814027"/>
                <a:gd name="connsiteY2310" fmla="*/ 954947 h 1113404"/>
                <a:gd name="connsiteX2311" fmla="*/ 1075923 w 1814027"/>
                <a:gd name="connsiteY2311" fmla="*/ 956066 h 1113404"/>
                <a:gd name="connsiteX2312" fmla="*/ 1076074 w 1814027"/>
                <a:gd name="connsiteY2312" fmla="*/ 957065 h 1113404"/>
                <a:gd name="connsiteX2313" fmla="*/ 1076407 w 1814027"/>
                <a:gd name="connsiteY2313" fmla="*/ 958275 h 1113404"/>
                <a:gd name="connsiteX2314" fmla="*/ 1076225 w 1814027"/>
                <a:gd name="connsiteY2314" fmla="*/ 959303 h 1113404"/>
                <a:gd name="connsiteX2315" fmla="*/ 1074803 w 1814027"/>
                <a:gd name="connsiteY2315" fmla="*/ 959727 h 1113404"/>
                <a:gd name="connsiteX2316" fmla="*/ 1073654 w 1814027"/>
                <a:gd name="connsiteY2316" fmla="*/ 959575 h 1113404"/>
                <a:gd name="connsiteX2317" fmla="*/ 1071718 w 1814027"/>
                <a:gd name="connsiteY2317" fmla="*/ 958910 h 1113404"/>
                <a:gd name="connsiteX2318" fmla="*/ 1070689 w 1814027"/>
                <a:gd name="connsiteY2318" fmla="*/ 958759 h 1113404"/>
                <a:gd name="connsiteX2319" fmla="*/ 1069176 w 1814027"/>
                <a:gd name="connsiteY2319" fmla="*/ 959001 h 1113404"/>
                <a:gd name="connsiteX2320" fmla="*/ 1068360 w 1814027"/>
                <a:gd name="connsiteY2320" fmla="*/ 959666 h 1113404"/>
                <a:gd name="connsiteX2321" fmla="*/ 1067754 w 1814027"/>
                <a:gd name="connsiteY2321" fmla="*/ 960544 h 1113404"/>
                <a:gd name="connsiteX2322" fmla="*/ 1066848 w 1814027"/>
                <a:gd name="connsiteY2322" fmla="*/ 961542 h 1113404"/>
                <a:gd name="connsiteX2323" fmla="*/ 1065425 w 1814027"/>
                <a:gd name="connsiteY2323" fmla="*/ 962601 h 1113404"/>
                <a:gd name="connsiteX2324" fmla="*/ 1063853 w 1814027"/>
                <a:gd name="connsiteY2324" fmla="*/ 963417 h 1113404"/>
                <a:gd name="connsiteX2325" fmla="*/ 1061977 w 1814027"/>
                <a:gd name="connsiteY2325" fmla="*/ 963962 h 1113404"/>
                <a:gd name="connsiteX2326" fmla="*/ 1059647 w 1814027"/>
                <a:gd name="connsiteY2326" fmla="*/ 964143 h 1113404"/>
                <a:gd name="connsiteX2327" fmla="*/ 1057681 w 1814027"/>
                <a:gd name="connsiteY2327" fmla="*/ 964658 h 1113404"/>
                <a:gd name="connsiteX2328" fmla="*/ 1045762 w 1814027"/>
                <a:gd name="connsiteY2328" fmla="*/ 973007 h 1113404"/>
                <a:gd name="connsiteX2329" fmla="*/ 1042736 w 1814027"/>
                <a:gd name="connsiteY2329" fmla="*/ 975972 h 1113404"/>
                <a:gd name="connsiteX2330" fmla="*/ 1041375 w 1814027"/>
                <a:gd name="connsiteY2330" fmla="*/ 979481 h 1113404"/>
                <a:gd name="connsiteX2331" fmla="*/ 1041799 w 1814027"/>
                <a:gd name="connsiteY2331" fmla="*/ 981326 h 1113404"/>
                <a:gd name="connsiteX2332" fmla="*/ 1044522 w 1814027"/>
                <a:gd name="connsiteY2332" fmla="*/ 988466 h 1113404"/>
                <a:gd name="connsiteX2333" fmla="*/ 1046790 w 1814027"/>
                <a:gd name="connsiteY2333" fmla="*/ 988798 h 1113404"/>
                <a:gd name="connsiteX2334" fmla="*/ 1050269 w 1814027"/>
                <a:gd name="connsiteY2334" fmla="*/ 990493 h 1113404"/>
                <a:gd name="connsiteX2335" fmla="*/ 1052418 w 1814027"/>
                <a:gd name="connsiteY2335" fmla="*/ 991158 h 1113404"/>
                <a:gd name="connsiteX2336" fmla="*/ 1059617 w 1814027"/>
                <a:gd name="connsiteY2336" fmla="*/ 991158 h 1113404"/>
                <a:gd name="connsiteX2337" fmla="*/ 1061039 w 1814027"/>
                <a:gd name="connsiteY2337" fmla="*/ 990402 h 1113404"/>
                <a:gd name="connsiteX2338" fmla="*/ 1064609 w 1814027"/>
                <a:gd name="connsiteY2338" fmla="*/ 986832 h 1113404"/>
                <a:gd name="connsiteX2339" fmla="*/ 1066181 w 1814027"/>
                <a:gd name="connsiteY2339" fmla="*/ 985803 h 1113404"/>
                <a:gd name="connsiteX2340" fmla="*/ 1068360 w 1814027"/>
                <a:gd name="connsiteY2340" fmla="*/ 985501 h 1113404"/>
                <a:gd name="connsiteX2341" fmla="*/ 1083365 w 1814027"/>
                <a:gd name="connsiteY2341" fmla="*/ 986711 h 1113404"/>
                <a:gd name="connsiteX2342" fmla="*/ 1087539 w 1814027"/>
                <a:gd name="connsiteY2342" fmla="*/ 988254 h 1113404"/>
                <a:gd name="connsiteX2343" fmla="*/ 1091169 w 1814027"/>
                <a:gd name="connsiteY2343" fmla="*/ 990462 h 1113404"/>
                <a:gd name="connsiteX2344" fmla="*/ 1097886 w 1814027"/>
                <a:gd name="connsiteY2344" fmla="*/ 995756 h 1113404"/>
                <a:gd name="connsiteX2345" fmla="*/ 1098732 w 1814027"/>
                <a:gd name="connsiteY2345" fmla="*/ 996240 h 1113404"/>
                <a:gd name="connsiteX2346" fmla="*/ 1100517 w 1814027"/>
                <a:gd name="connsiteY2346" fmla="*/ 996906 h 1113404"/>
                <a:gd name="connsiteX2347" fmla="*/ 1101455 w 1814027"/>
                <a:gd name="connsiteY2347" fmla="*/ 997541 h 1113404"/>
                <a:gd name="connsiteX2348" fmla="*/ 1102604 w 1814027"/>
                <a:gd name="connsiteY2348" fmla="*/ 999507 h 1113404"/>
                <a:gd name="connsiteX2349" fmla="*/ 1103451 w 1814027"/>
                <a:gd name="connsiteY2349" fmla="*/ 1000627 h 1113404"/>
                <a:gd name="connsiteX2350" fmla="*/ 1105962 w 1814027"/>
                <a:gd name="connsiteY2350" fmla="*/ 1001988 h 1113404"/>
                <a:gd name="connsiteX2351" fmla="*/ 1109502 w 1814027"/>
                <a:gd name="connsiteY2351" fmla="*/ 1006042 h 1113404"/>
                <a:gd name="connsiteX2352" fmla="*/ 1111044 w 1814027"/>
                <a:gd name="connsiteY2352" fmla="*/ 1007373 h 1113404"/>
                <a:gd name="connsiteX2353" fmla="*/ 1115582 w 1814027"/>
                <a:gd name="connsiteY2353" fmla="*/ 1008583 h 1113404"/>
                <a:gd name="connsiteX2354" fmla="*/ 1117760 w 1814027"/>
                <a:gd name="connsiteY2354" fmla="*/ 1009611 h 1113404"/>
                <a:gd name="connsiteX2355" fmla="*/ 1118698 w 1814027"/>
                <a:gd name="connsiteY2355" fmla="*/ 1011457 h 1113404"/>
                <a:gd name="connsiteX2356" fmla="*/ 1119727 w 1814027"/>
                <a:gd name="connsiteY2356" fmla="*/ 1012727 h 1113404"/>
                <a:gd name="connsiteX2357" fmla="*/ 1122026 w 1814027"/>
                <a:gd name="connsiteY2357" fmla="*/ 1012122 h 1113404"/>
                <a:gd name="connsiteX2358" fmla="*/ 1125535 w 1814027"/>
                <a:gd name="connsiteY2358" fmla="*/ 1010156 h 1113404"/>
                <a:gd name="connsiteX2359" fmla="*/ 1129316 w 1814027"/>
                <a:gd name="connsiteY2359" fmla="*/ 1008825 h 1113404"/>
                <a:gd name="connsiteX2360" fmla="*/ 1133461 w 1814027"/>
                <a:gd name="connsiteY2360" fmla="*/ 1008310 h 1113404"/>
                <a:gd name="connsiteX2361" fmla="*/ 1135155 w 1814027"/>
                <a:gd name="connsiteY2361" fmla="*/ 1008976 h 1113404"/>
                <a:gd name="connsiteX2362" fmla="*/ 1140752 w 1814027"/>
                <a:gd name="connsiteY2362" fmla="*/ 1013635 h 1113404"/>
                <a:gd name="connsiteX2363" fmla="*/ 1147619 w 1814027"/>
                <a:gd name="connsiteY2363" fmla="*/ 1017749 h 1113404"/>
                <a:gd name="connsiteX2364" fmla="*/ 1150129 w 1814027"/>
                <a:gd name="connsiteY2364" fmla="*/ 1020804 h 1113404"/>
                <a:gd name="connsiteX2365" fmla="*/ 1151733 w 1814027"/>
                <a:gd name="connsiteY2365" fmla="*/ 1026129 h 1113404"/>
                <a:gd name="connsiteX2366" fmla="*/ 1152096 w 1814027"/>
                <a:gd name="connsiteY2366" fmla="*/ 1029486 h 1113404"/>
                <a:gd name="connsiteX2367" fmla="*/ 1152428 w 1814027"/>
                <a:gd name="connsiteY2367" fmla="*/ 1030666 h 1113404"/>
                <a:gd name="connsiteX2368" fmla="*/ 1154213 w 1814027"/>
                <a:gd name="connsiteY2368" fmla="*/ 1033934 h 1113404"/>
                <a:gd name="connsiteX2369" fmla="*/ 1154486 w 1814027"/>
                <a:gd name="connsiteY2369" fmla="*/ 1034690 h 1113404"/>
                <a:gd name="connsiteX2370" fmla="*/ 1154788 w 1814027"/>
                <a:gd name="connsiteY2370" fmla="*/ 1036898 h 1113404"/>
                <a:gd name="connsiteX2371" fmla="*/ 1155908 w 1814027"/>
                <a:gd name="connsiteY2371" fmla="*/ 1042011 h 1113404"/>
                <a:gd name="connsiteX2372" fmla="*/ 1155908 w 1814027"/>
                <a:gd name="connsiteY2372" fmla="*/ 1044975 h 1113404"/>
                <a:gd name="connsiteX2373" fmla="*/ 1155544 w 1814027"/>
                <a:gd name="connsiteY2373" fmla="*/ 1047516 h 1113404"/>
                <a:gd name="connsiteX2374" fmla="*/ 1154848 w 1814027"/>
                <a:gd name="connsiteY2374" fmla="*/ 1049785 h 1113404"/>
                <a:gd name="connsiteX2375" fmla="*/ 1153760 w 1814027"/>
                <a:gd name="connsiteY2375" fmla="*/ 1051419 h 1113404"/>
                <a:gd name="connsiteX2376" fmla="*/ 1149857 w 1814027"/>
                <a:gd name="connsiteY2376" fmla="*/ 1052659 h 1113404"/>
                <a:gd name="connsiteX2377" fmla="*/ 1148496 w 1814027"/>
                <a:gd name="connsiteY2377" fmla="*/ 1054323 h 1113404"/>
                <a:gd name="connsiteX2378" fmla="*/ 1147619 w 1814027"/>
                <a:gd name="connsiteY2378" fmla="*/ 1056653 h 1113404"/>
                <a:gd name="connsiteX2379" fmla="*/ 1146923 w 1814027"/>
                <a:gd name="connsiteY2379" fmla="*/ 1059284 h 1113404"/>
                <a:gd name="connsiteX2380" fmla="*/ 1146650 w 1814027"/>
                <a:gd name="connsiteY2380" fmla="*/ 1060010 h 1113404"/>
                <a:gd name="connsiteX2381" fmla="*/ 1146288 w 1814027"/>
                <a:gd name="connsiteY2381" fmla="*/ 1060464 h 1113404"/>
                <a:gd name="connsiteX2382" fmla="*/ 1145501 w 1814027"/>
                <a:gd name="connsiteY2382" fmla="*/ 1061069 h 1113404"/>
                <a:gd name="connsiteX2383" fmla="*/ 1146408 w 1814027"/>
                <a:gd name="connsiteY2383" fmla="*/ 1062703 h 1113404"/>
                <a:gd name="connsiteX2384" fmla="*/ 1146923 w 1814027"/>
                <a:gd name="connsiteY2384" fmla="*/ 1064669 h 1113404"/>
                <a:gd name="connsiteX2385" fmla="*/ 1147588 w 1814027"/>
                <a:gd name="connsiteY2385" fmla="*/ 1068239 h 1113404"/>
                <a:gd name="connsiteX2386" fmla="*/ 1148586 w 1814027"/>
                <a:gd name="connsiteY2386" fmla="*/ 1070871 h 1113404"/>
                <a:gd name="connsiteX2387" fmla="*/ 1148738 w 1814027"/>
                <a:gd name="connsiteY2387" fmla="*/ 1072292 h 1113404"/>
                <a:gd name="connsiteX2388" fmla="*/ 1148314 w 1814027"/>
                <a:gd name="connsiteY2388" fmla="*/ 1074380 h 1113404"/>
                <a:gd name="connsiteX2389" fmla="*/ 1147467 w 1814027"/>
                <a:gd name="connsiteY2389" fmla="*/ 1075741 h 1113404"/>
                <a:gd name="connsiteX2390" fmla="*/ 1146258 w 1814027"/>
                <a:gd name="connsiteY2390" fmla="*/ 1077132 h 1113404"/>
                <a:gd name="connsiteX2391" fmla="*/ 1145380 w 1814027"/>
                <a:gd name="connsiteY2391" fmla="*/ 1078706 h 1113404"/>
                <a:gd name="connsiteX2392" fmla="*/ 1145532 w 1814027"/>
                <a:gd name="connsiteY2392" fmla="*/ 1080642 h 1113404"/>
                <a:gd name="connsiteX2393" fmla="*/ 1146438 w 1814027"/>
                <a:gd name="connsiteY2393" fmla="*/ 1081337 h 1113404"/>
                <a:gd name="connsiteX2394" fmla="*/ 1149706 w 1814027"/>
                <a:gd name="connsiteY2394" fmla="*/ 1081912 h 1113404"/>
                <a:gd name="connsiteX2395" fmla="*/ 1151097 w 1814027"/>
                <a:gd name="connsiteY2395" fmla="*/ 1082397 h 1113404"/>
                <a:gd name="connsiteX2396" fmla="*/ 1149040 w 1814027"/>
                <a:gd name="connsiteY2396" fmla="*/ 1083153 h 1113404"/>
                <a:gd name="connsiteX2397" fmla="*/ 1143898 w 1814027"/>
                <a:gd name="connsiteY2397" fmla="*/ 1083243 h 1113404"/>
                <a:gd name="connsiteX2398" fmla="*/ 1142446 w 1814027"/>
                <a:gd name="connsiteY2398" fmla="*/ 1083697 h 1113404"/>
                <a:gd name="connsiteX2399" fmla="*/ 1141629 w 1814027"/>
                <a:gd name="connsiteY2399" fmla="*/ 1084181 h 1113404"/>
                <a:gd name="connsiteX2400" fmla="*/ 1140540 w 1814027"/>
                <a:gd name="connsiteY2400" fmla="*/ 1084302 h 1113404"/>
                <a:gd name="connsiteX2401" fmla="*/ 1138362 w 1814027"/>
                <a:gd name="connsiteY2401" fmla="*/ 1084151 h 1113404"/>
                <a:gd name="connsiteX2402" fmla="*/ 1137454 w 1814027"/>
                <a:gd name="connsiteY2402" fmla="*/ 1084363 h 1113404"/>
                <a:gd name="connsiteX2403" fmla="*/ 1135246 w 1814027"/>
                <a:gd name="connsiteY2403" fmla="*/ 1085905 h 1113404"/>
                <a:gd name="connsiteX2404" fmla="*/ 1134398 w 1814027"/>
                <a:gd name="connsiteY2404" fmla="*/ 1086299 h 1113404"/>
                <a:gd name="connsiteX2405" fmla="*/ 1131343 w 1814027"/>
                <a:gd name="connsiteY2405" fmla="*/ 1086934 h 1113404"/>
                <a:gd name="connsiteX2406" fmla="*/ 1130950 w 1814027"/>
                <a:gd name="connsiteY2406" fmla="*/ 1086541 h 1113404"/>
                <a:gd name="connsiteX2407" fmla="*/ 1130950 w 1814027"/>
                <a:gd name="connsiteY2407" fmla="*/ 1086601 h 1113404"/>
                <a:gd name="connsiteX2408" fmla="*/ 1131071 w 1814027"/>
                <a:gd name="connsiteY2408" fmla="*/ 1088083 h 1113404"/>
                <a:gd name="connsiteX2409" fmla="*/ 1131797 w 1814027"/>
                <a:gd name="connsiteY2409" fmla="*/ 1089626 h 1113404"/>
                <a:gd name="connsiteX2410" fmla="*/ 1142627 w 1814027"/>
                <a:gd name="connsiteY2410" fmla="*/ 1096645 h 1113404"/>
                <a:gd name="connsiteX2411" fmla="*/ 1143868 w 1814027"/>
                <a:gd name="connsiteY2411" fmla="*/ 1097885 h 1113404"/>
                <a:gd name="connsiteX2412" fmla="*/ 1145682 w 1814027"/>
                <a:gd name="connsiteY2412" fmla="*/ 1099216 h 1113404"/>
                <a:gd name="connsiteX2413" fmla="*/ 1147860 w 1814027"/>
                <a:gd name="connsiteY2413" fmla="*/ 1099095 h 1113404"/>
                <a:gd name="connsiteX2414" fmla="*/ 1150009 w 1814027"/>
                <a:gd name="connsiteY2414" fmla="*/ 1098490 h 1113404"/>
                <a:gd name="connsiteX2415" fmla="*/ 1151823 w 1814027"/>
                <a:gd name="connsiteY2415" fmla="*/ 1098399 h 1113404"/>
                <a:gd name="connsiteX2416" fmla="*/ 1152973 w 1814027"/>
                <a:gd name="connsiteY2416" fmla="*/ 1099307 h 1113404"/>
                <a:gd name="connsiteX2417" fmla="*/ 1155998 w 1814027"/>
                <a:gd name="connsiteY2417" fmla="*/ 1102907 h 1113404"/>
                <a:gd name="connsiteX2418" fmla="*/ 1156603 w 1814027"/>
                <a:gd name="connsiteY2418" fmla="*/ 1104087 h 1113404"/>
                <a:gd name="connsiteX2419" fmla="*/ 1157148 w 1814027"/>
                <a:gd name="connsiteY2419" fmla="*/ 1106507 h 1113404"/>
                <a:gd name="connsiteX2420" fmla="*/ 1158509 w 1814027"/>
                <a:gd name="connsiteY2420" fmla="*/ 1107687 h 1113404"/>
                <a:gd name="connsiteX2421" fmla="*/ 1166102 w 1814027"/>
                <a:gd name="connsiteY2421" fmla="*/ 1110984 h 1113404"/>
                <a:gd name="connsiteX2422" fmla="*/ 1168129 w 1814027"/>
                <a:gd name="connsiteY2422" fmla="*/ 1111468 h 1113404"/>
                <a:gd name="connsiteX2423" fmla="*/ 1174815 w 1814027"/>
                <a:gd name="connsiteY2423" fmla="*/ 1111619 h 1113404"/>
                <a:gd name="connsiteX2424" fmla="*/ 1175934 w 1814027"/>
                <a:gd name="connsiteY2424" fmla="*/ 1111468 h 1113404"/>
                <a:gd name="connsiteX2425" fmla="*/ 1178052 w 1814027"/>
                <a:gd name="connsiteY2425" fmla="*/ 1110802 h 1113404"/>
                <a:gd name="connsiteX2426" fmla="*/ 1179322 w 1814027"/>
                <a:gd name="connsiteY2426" fmla="*/ 1110742 h 1113404"/>
                <a:gd name="connsiteX2427" fmla="*/ 1185615 w 1814027"/>
                <a:gd name="connsiteY2427" fmla="*/ 1113041 h 1113404"/>
                <a:gd name="connsiteX2428" fmla="*/ 1187943 w 1814027"/>
                <a:gd name="connsiteY2428" fmla="*/ 1113404 h 1113404"/>
                <a:gd name="connsiteX2429" fmla="*/ 1189971 w 1814027"/>
                <a:gd name="connsiteY2429" fmla="*/ 1113162 h 1113404"/>
                <a:gd name="connsiteX2430" fmla="*/ 1200831 w 1814027"/>
                <a:gd name="connsiteY2430" fmla="*/ 1108413 h 1113404"/>
                <a:gd name="connsiteX2431" fmla="*/ 1203130 w 1814027"/>
                <a:gd name="connsiteY2431" fmla="*/ 1108110 h 1113404"/>
                <a:gd name="connsiteX2432" fmla="*/ 1204522 w 1814027"/>
                <a:gd name="connsiteY2432" fmla="*/ 1107717 h 1113404"/>
                <a:gd name="connsiteX2433" fmla="*/ 1207940 w 1814027"/>
                <a:gd name="connsiteY2433" fmla="*/ 1105539 h 1113404"/>
                <a:gd name="connsiteX2434" fmla="*/ 1209060 w 1814027"/>
                <a:gd name="connsiteY2434" fmla="*/ 1104510 h 1113404"/>
                <a:gd name="connsiteX2435" fmla="*/ 1210390 w 1814027"/>
                <a:gd name="connsiteY2435" fmla="*/ 1102362 h 1113404"/>
                <a:gd name="connsiteX2436" fmla="*/ 1211298 w 1814027"/>
                <a:gd name="connsiteY2436" fmla="*/ 1100396 h 1113404"/>
                <a:gd name="connsiteX2437" fmla="*/ 1212568 w 1814027"/>
                <a:gd name="connsiteY2437" fmla="*/ 1098944 h 1113404"/>
                <a:gd name="connsiteX2438" fmla="*/ 1217318 w 1814027"/>
                <a:gd name="connsiteY2438" fmla="*/ 1098036 h 1113404"/>
                <a:gd name="connsiteX2439" fmla="*/ 1218649 w 1814027"/>
                <a:gd name="connsiteY2439" fmla="*/ 1097038 h 1113404"/>
                <a:gd name="connsiteX2440" fmla="*/ 1220706 w 1814027"/>
                <a:gd name="connsiteY2440" fmla="*/ 1093862 h 1113404"/>
                <a:gd name="connsiteX2441" fmla="*/ 1220978 w 1814027"/>
                <a:gd name="connsiteY2441" fmla="*/ 1093348 h 1113404"/>
                <a:gd name="connsiteX2442" fmla="*/ 1220978 w 1814027"/>
                <a:gd name="connsiteY2442" fmla="*/ 1092561 h 1113404"/>
                <a:gd name="connsiteX2443" fmla="*/ 1221462 w 1814027"/>
                <a:gd name="connsiteY2443" fmla="*/ 1092107 h 1113404"/>
                <a:gd name="connsiteX2444" fmla="*/ 1221886 w 1814027"/>
                <a:gd name="connsiteY2444" fmla="*/ 1091986 h 1113404"/>
                <a:gd name="connsiteX2445" fmla="*/ 1222975 w 1814027"/>
                <a:gd name="connsiteY2445" fmla="*/ 1092107 h 1113404"/>
                <a:gd name="connsiteX2446" fmla="*/ 1224396 w 1814027"/>
                <a:gd name="connsiteY2446" fmla="*/ 1092107 h 1113404"/>
                <a:gd name="connsiteX2447" fmla="*/ 1226665 w 1814027"/>
                <a:gd name="connsiteY2447" fmla="*/ 1092349 h 1113404"/>
                <a:gd name="connsiteX2448" fmla="*/ 1227512 w 1814027"/>
                <a:gd name="connsiteY2448" fmla="*/ 1092107 h 1113404"/>
                <a:gd name="connsiteX2449" fmla="*/ 1228511 w 1814027"/>
                <a:gd name="connsiteY2449" fmla="*/ 1090413 h 1113404"/>
                <a:gd name="connsiteX2450" fmla="*/ 1232444 w 1814027"/>
                <a:gd name="connsiteY2450" fmla="*/ 1080974 h 1113404"/>
                <a:gd name="connsiteX2451" fmla="*/ 1235862 w 1814027"/>
                <a:gd name="connsiteY2451" fmla="*/ 1075469 h 1113404"/>
                <a:gd name="connsiteX2452" fmla="*/ 1236860 w 1814027"/>
                <a:gd name="connsiteY2452" fmla="*/ 1074319 h 1113404"/>
                <a:gd name="connsiteX2453" fmla="*/ 1237405 w 1814027"/>
                <a:gd name="connsiteY2453" fmla="*/ 1073412 h 1113404"/>
                <a:gd name="connsiteX2454" fmla="*/ 1241398 w 1814027"/>
                <a:gd name="connsiteY2454" fmla="*/ 1068208 h 1113404"/>
                <a:gd name="connsiteX2455" fmla="*/ 1241852 w 1814027"/>
                <a:gd name="connsiteY2455" fmla="*/ 1068148 h 1113404"/>
                <a:gd name="connsiteX2456" fmla="*/ 1241973 w 1814027"/>
                <a:gd name="connsiteY2456" fmla="*/ 1068330 h 1113404"/>
                <a:gd name="connsiteX2457" fmla="*/ 1241973 w 1814027"/>
                <a:gd name="connsiteY2457" fmla="*/ 1068662 h 1113404"/>
                <a:gd name="connsiteX2458" fmla="*/ 1242064 w 1814027"/>
                <a:gd name="connsiteY2458" fmla="*/ 1069025 h 1113404"/>
                <a:gd name="connsiteX2459" fmla="*/ 1244544 w 1814027"/>
                <a:gd name="connsiteY2459" fmla="*/ 1066544 h 1113404"/>
                <a:gd name="connsiteX2460" fmla="*/ 1247872 w 1814027"/>
                <a:gd name="connsiteY2460" fmla="*/ 1065214 h 1113404"/>
                <a:gd name="connsiteX2461" fmla="*/ 1255919 w 1814027"/>
                <a:gd name="connsiteY2461" fmla="*/ 1063610 h 1113404"/>
                <a:gd name="connsiteX2462" fmla="*/ 1259670 w 1814027"/>
                <a:gd name="connsiteY2462" fmla="*/ 1062037 h 1113404"/>
                <a:gd name="connsiteX2463" fmla="*/ 1266749 w 1814027"/>
                <a:gd name="connsiteY2463" fmla="*/ 1057651 h 1113404"/>
                <a:gd name="connsiteX2464" fmla="*/ 1270379 w 1814027"/>
                <a:gd name="connsiteY2464" fmla="*/ 1056410 h 1113404"/>
                <a:gd name="connsiteX2465" fmla="*/ 1277367 w 1814027"/>
                <a:gd name="connsiteY2465" fmla="*/ 1057560 h 1113404"/>
                <a:gd name="connsiteX2466" fmla="*/ 1279000 w 1814027"/>
                <a:gd name="connsiteY2466" fmla="*/ 1056925 h 1113404"/>
                <a:gd name="connsiteX2467" fmla="*/ 1280452 w 1814027"/>
                <a:gd name="connsiteY2467" fmla="*/ 1056017 h 1113404"/>
                <a:gd name="connsiteX2468" fmla="*/ 1283750 w 1814027"/>
                <a:gd name="connsiteY2468" fmla="*/ 1056743 h 1113404"/>
                <a:gd name="connsiteX2469" fmla="*/ 1285565 w 1814027"/>
                <a:gd name="connsiteY2469" fmla="*/ 1056441 h 1113404"/>
                <a:gd name="connsiteX2470" fmla="*/ 1286382 w 1814027"/>
                <a:gd name="connsiteY2470" fmla="*/ 1055805 h 1113404"/>
                <a:gd name="connsiteX2471" fmla="*/ 1287017 w 1814027"/>
                <a:gd name="connsiteY2471" fmla="*/ 1055079 h 1113404"/>
                <a:gd name="connsiteX2472" fmla="*/ 1287773 w 1814027"/>
                <a:gd name="connsiteY2472" fmla="*/ 1054384 h 1113404"/>
                <a:gd name="connsiteX2473" fmla="*/ 1288953 w 1814027"/>
                <a:gd name="connsiteY2473" fmla="*/ 1053839 h 1113404"/>
                <a:gd name="connsiteX2474" fmla="*/ 1290012 w 1814027"/>
                <a:gd name="connsiteY2474" fmla="*/ 1053688 h 1113404"/>
                <a:gd name="connsiteX2475" fmla="*/ 1293400 w 1814027"/>
                <a:gd name="connsiteY2475" fmla="*/ 1053839 h 1113404"/>
                <a:gd name="connsiteX2476" fmla="*/ 1295366 w 1814027"/>
                <a:gd name="connsiteY2476" fmla="*/ 1054504 h 1113404"/>
                <a:gd name="connsiteX2477" fmla="*/ 1296577 w 1814027"/>
                <a:gd name="connsiteY2477" fmla="*/ 1056047 h 1113404"/>
                <a:gd name="connsiteX2478" fmla="*/ 1297484 w 1814027"/>
                <a:gd name="connsiteY2478" fmla="*/ 1057862 h 1113404"/>
                <a:gd name="connsiteX2479" fmla="*/ 1298543 w 1814027"/>
                <a:gd name="connsiteY2479" fmla="*/ 1059254 h 1113404"/>
                <a:gd name="connsiteX2480" fmla="*/ 1302899 w 1814027"/>
                <a:gd name="connsiteY2480" fmla="*/ 1059920 h 1113404"/>
                <a:gd name="connsiteX2481" fmla="*/ 1305682 w 1814027"/>
                <a:gd name="connsiteY2481" fmla="*/ 1055866 h 1113404"/>
                <a:gd name="connsiteX2482" fmla="*/ 1307830 w 1814027"/>
                <a:gd name="connsiteY2482" fmla="*/ 1050179 h 1113404"/>
                <a:gd name="connsiteX2483" fmla="*/ 1310311 w 1814027"/>
                <a:gd name="connsiteY2483" fmla="*/ 1045943 h 1113404"/>
                <a:gd name="connsiteX2484" fmla="*/ 1312095 w 1814027"/>
                <a:gd name="connsiteY2484" fmla="*/ 1045157 h 1113404"/>
                <a:gd name="connsiteX2485" fmla="*/ 1316452 w 1814027"/>
                <a:gd name="connsiteY2485" fmla="*/ 1044219 h 1113404"/>
                <a:gd name="connsiteX2486" fmla="*/ 1318267 w 1814027"/>
                <a:gd name="connsiteY2486" fmla="*/ 1042737 h 1113404"/>
                <a:gd name="connsiteX2487" fmla="*/ 1320566 w 1814027"/>
                <a:gd name="connsiteY2487" fmla="*/ 1038441 h 1113404"/>
                <a:gd name="connsiteX2488" fmla="*/ 1322290 w 1814027"/>
                <a:gd name="connsiteY2488" fmla="*/ 1037352 h 1113404"/>
                <a:gd name="connsiteX2489" fmla="*/ 1324801 w 1814027"/>
                <a:gd name="connsiteY2489" fmla="*/ 1038743 h 1113404"/>
                <a:gd name="connsiteX2490" fmla="*/ 1325497 w 1814027"/>
                <a:gd name="connsiteY2490" fmla="*/ 1038139 h 1113404"/>
                <a:gd name="connsiteX2491" fmla="*/ 1326556 w 1814027"/>
                <a:gd name="connsiteY2491" fmla="*/ 1037473 h 1113404"/>
                <a:gd name="connsiteX2492" fmla="*/ 1326949 w 1814027"/>
                <a:gd name="connsiteY2492" fmla="*/ 1036959 h 1113404"/>
                <a:gd name="connsiteX2493" fmla="*/ 1331789 w 1814027"/>
                <a:gd name="connsiteY2493" fmla="*/ 1040437 h 1113404"/>
                <a:gd name="connsiteX2494" fmla="*/ 1331124 w 1814027"/>
                <a:gd name="connsiteY2494" fmla="*/ 1036505 h 1113404"/>
                <a:gd name="connsiteX2495" fmla="*/ 1331275 w 1814027"/>
                <a:gd name="connsiteY2495" fmla="*/ 1034811 h 1113404"/>
                <a:gd name="connsiteX2496" fmla="*/ 1332485 w 1814027"/>
                <a:gd name="connsiteY2496" fmla="*/ 1033328 h 1113404"/>
                <a:gd name="connsiteX2497" fmla="*/ 1334028 w 1814027"/>
                <a:gd name="connsiteY2497" fmla="*/ 1032814 h 1113404"/>
                <a:gd name="connsiteX2498" fmla="*/ 1337325 w 1814027"/>
                <a:gd name="connsiteY2498" fmla="*/ 1032996 h 1113404"/>
                <a:gd name="connsiteX2499" fmla="*/ 1338656 w 1814027"/>
                <a:gd name="connsiteY2499" fmla="*/ 1032421 h 1113404"/>
                <a:gd name="connsiteX2500" fmla="*/ 1338656 w 1814027"/>
                <a:gd name="connsiteY2500" fmla="*/ 1031634 h 1113404"/>
                <a:gd name="connsiteX2501" fmla="*/ 1335752 w 1814027"/>
                <a:gd name="connsiteY2501" fmla="*/ 1030455 h 1113404"/>
                <a:gd name="connsiteX2502" fmla="*/ 1335147 w 1814027"/>
                <a:gd name="connsiteY2502" fmla="*/ 1029849 h 1113404"/>
                <a:gd name="connsiteX2503" fmla="*/ 1334814 w 1814027"/>
                <a:gd name="connsiteY2503" fmla="*/ 1028488 h 1113404"/>
                <a:gd name="connsiteX2504" fmla="*/ 1335117 w 1814027"/>
                <a:gd name="connsiteY2504" fmla="*/ 1027460 h 1113404"/>
                <a:gd name="connsiteX2505" fmla="*/ 1335631 w 1814027"/>
                <a:gd name="connsiteY2505" fmla="*/ 1026401 h 1113404"/>
                <a:gd name="connsiteX2506" fmla="*/ 1335904 w 1814027"/>
                <a:gd name="connsiteY2506" fmla="*/ 1024888 h 1113404"/>
                <a:gd name="connsiteX2507" fmla="*/ 1336781 w 1814027"/>
                <a:gd name="connsiteY2507" fmla="*/ 1023799 h 1113404"/>
                <a:gd name="connsiteX2508" fmla="*/ 1342075 w 1814027"/>
                <a:gd name="connsiteY2508" fmla="*/ 1019867 h 1113404"/>
                <a:gd name="connsiteX2509" fmla="*/ 1345766 w 1814027"/>
                <a:gd name="connsiteY2509" fmla="*/ 1018233 h 1113404"/>
                <a:gd name="connsiteX2510" fmla="*/ 1349910 w 1814027"/>
                <a:gd name="connsiteY2510" fmla="*/ 1017416 h 1113404"/>
                <a:gd name="connsiteX2511" fmla="*/ 1354266 w 1814027"/>
                <a:gd name="connsiteY2511" fmla="*/ 1017416 h 1113404"/>
                <a:gd name="connsiteX2512" fmla="*/ 1358653 w 1814027"/>
                <a:gd name="connsiteY2512" fmla="*/ 1018052 h 1113404"/>
                <a:gd name="connsiteX2513" fmla="*/ 1365943 w 1814027"/>
                <a:gd name="connsiteY2513" fmla="*/ 1020683 h 1113404"/>
                <a:gd name="connsiteX2514" fmla="*/ 1372477 w 1814027"/>
                <a:gd name="connsiteY2514" fmla="*/ 1024495 h 1113404"/>
                <a:gd name="connsiteX2515" fmla="*/ 1373688 w 1814027"/>
                <a:gd name="connsiteY2515" fmla="*/ 1025554 h 1113404"/>
                <a:gd name="connsiteX2516" fmla="*/ 1376713 w 1814027"/>
                <a:gd name="connsiteY2516" fmla="*/ 1028942 h 1113404"/>
                <a:gd name="connsiteX2517" fmla="*/ 1377287 w 1814027"/>
                <a:gd name="connsiteY2517" fmla="*/ 1030243 h 1113404"/>
                <a:gd name="connsiteX2518" fmla="*/ 1378165 w 1814027"/>
                <a:gd name="connsiteY2518" fmla="*/ 1033147 h 1113404"/>
                <a:gd name="connsiteX2519" fmla="*/ 1380191 w 1814027"/>
                <a:gd name="connsiteY2519" fmla="*/ 1034024 h 1113404"/>
                <a:gd name="connsiteX2520" fmla="*/ 1387119 w 1814027"/>
                <a:gd name="connsiteY2520" fmla="*/ 1032875 h 1113404"/>
                <a:gd name="connsiteX2521" fmla="*/ 1394833 w 1814027"/>
                <a:gd name="connsiteY2521" fmla="*/ 1033328 h 1113404"/>
                <a:gd name="connsiteX2522" fmla="*/ 1396346 w 1814027"/>
                <a:gd name="connsiteY2522" fmla="*/ 1031786 h 1113404"/>
                <a:gd name="connsiteX2523" fmla="*/ 1398070 w 1814027"/>
                <a:gd name="connsiteY2523" fmla="*/ 1028760 h 1113404"/>
                <a:gd name="connsiteX2524" fmla="*/ 1400339 w 1814027"/>
                <a:gd name="connsiteY2524" fmla="*/ 1026703 h 1113404"/>
                <a:gd name="connsiteX2525" fmla="*/ 1403485 w 1814027"/>
                <a:gd name="connsiteY2525" fmla="*/ 1027974 h 1113404"/>
                <a:gd name="connsiteX2526" fmla="*/ 1403485 w 1814027"/>
                <a:gd name="connsiteY2526" fmla="*/ 1027006 h 1113404"/>
                <a:gd name="connsiteX2527" fmla="*/ 1409203 w 1814027"/>
                <a:gd name="connsiteY2527" fmla="*/ 1030273 h 1113404"/>
                <a:gd name="connsiteX2528" fmla="*/ 1418127 w 1814027"/>
                <a:gd name="connsiteY2528" fmla="*/ 1032088 h 1113404"/>
                <a:gd name="connsiteX2529" fmla="*/ 1420123 w 1814027"/>
                <a:gd name="connsiteY2529" fmla="*/ 1031634 h 1113404"/>
                <a:gd name="connsiteX2530" fmla="*/ 1420517 w 1814027"/>
                <a:gd name="connsiteY2530" fmla="*/ 1030969 h 1113404"/>
                <a:gd name="connsiteX2531" fmla="*/ 1421091 w 1814027"/>
                <a:gd name="connsiteY2531" fmla="*/ 1028730 h 1113404"/>
                <a:gd name="connsiteX2532" fmla="*/ 1421485 w 1814027"/>
                <a:gd name="connsiteY2532" fmla="*/ 1027974 h 1113404"/>
                <a:gd name="connsiteX2533" fmla="*/ 1422483 w 1814027"/>
                <a:gd name="connsiteY2533" fmla="*/ 1027369 h 1113404"/>
                <a:gd name="connsiteX2534" fmla="*/ 1423572 w 1814027"/>
                <a:gd name="connsiteY2534" fmla="*/ 1027097 h 1113404"/>
                <a:gd name="connsiteX2535" fmla="*/ 1432557 w 1814027"/>
                <a:gd name="connsiteY2535" fmla="*/ 1026703 h 1113404"/>
                <a:gd name="connsiteX2536" fmla="*/ 1439817 w 1814027"/>
                <a:gd name="connsiteY2536" fmla="*/ 1024253 h 1113404"/>
                <a:gd name="connsiteX2537" fmla="*/ 1441148 w 1814027"/>
                <a:gd name="connsiteY2537" fmla="*/ 1023073 h 1113404"/>
                <a:gd name="connsiteX2538" fmla="*/ 1441329 w 1814027"/>
                <a:gd name="connsiteY2538" fmla="*/ 1021107 h 1113404"/>
                <a:gd name="connsiteX2539" fmla="*/ 1439999 w 1814027"/>
                <a:gd name="connsiteY2539" fmla="*/ 1019141 h 1113404"/>
                <a:gd name="connsiteX2540" fmla="*/ 1437246 w 1814027"/>
                <a:gd name="connsiteY2540" fmla="*/ 1016297 h 1113404"/>
                <a:gd name="connsiteX2541" fmla="*/ 1436641 w 1814027"/>
                <a:gd name="connsiteY2541" fmla="*/ 1013544 h 1113404"/>
                <a:gd name="connsiteX2542" fmla="*/ 1436702 w 1814027"/>
                <a:gd name="connsiteY2542" fmla="*/ 1010731 h 1113404"/>
                <a:gd name="connsiteX2543" fmla="*/ 1437548 w 1814027"/>
                <a:gd name="connsiteY2543" fmla="*/ 1003016 h 1113404"/>
                <a:gd name="connsiteX2544" fmla="*/ 1438365 w 1814027"/>
                <a:gd name="connsiteY2544" fmla="*/ 1000173 h 1113404"/>
                <a:gd name="connsiteX2545" fmla="*/ 1439484 w 1814027"/>
                <a:gd name="connsiteY2545" fmla="*/ 997480 h 1113404"/>
                <a:gd name="connsiteX2546" fmla="*/ 1440815 w 1814027"/>
                <a:gd name="connsiteY2546" fmla="*/ 995756 h 1113404"/>
                <a:gd name="connsiteX2547" fmla="*/ 1441723 w 1814027"/>
                <a:gd name="connsiteY2547" fmla="*/ 995424 h 1113404"/>
                <a:gd name="connsiteX2548" fmla="*/ 1443992 w 1814027"/>
                <a:gd name="connsiteY2548" fmla="*/ 995302 h 1113404"/>
                <a:gd name="connsiteX2549" fmla="*/ 1444839 w 1814027"/>
                <a:gd name="connsiteY2549" fmla="*/ 994849 h 1113404"/>
                <a:gd name="connsiteX2550" fmla="*/ 1445504 w 1814027"/>
                <a:gd name="connsiteY2550" fmla="*/ 993729 h 1113404"/>
                <a:gd name="connsiteX2551" fmla="*/ 1445232 w 1814027"/>
                <a:gd name="connsiteY2551" fmla="*/ 993155 h 1113404"/>
                <a:gd name="connsiteX2552" fmla="*/ 1444597 w 1814027"/>
                <a:gd name="connsiteY2552" fmla="*/ 992610 h 1113404"/>
                <a:gd name="connsiteX2553" fmla="*/ 1444234 w 1814027"/>
                <a:gd name="connsiteY2553" fmla="*/ 991672 h 1113404"/>
                <a:gd name="connsiteX2554" fmla="*/ 1444718 w 1814027"/>
                <a:gd name="connsiteY2554" fmla="*/ 989071 h 1113404"/>
                <a:gd name="connsiteX2555" fmla="*/ 1446049 w 1814027"/>
                <a:gd name="connsiteY2555" fmla="*/ 987679 h 1113404"/>
                <a:gd name="connsiteX2556" fmla="*/ 1447985 w 1814027"/>
                <a:gd name="connsiteY2556" fmla="*/ 987286 h 1113404"/>
                <a:gd name="connsiteX2557" fmla="*/ 1450344 w 1814027"/>
                <a:gd name="connsiteY2557" fmla="*/ 987618 h 1113404"/>
                <a:gd name="connsiteX2558" fmla="*/ 1453340 w 1814027"/>
                <a:gd name="connsiteY2558" fmla="*/ 989101 h 1113404"/>
                <a:gd name="connsiteX2559" fmla="*/ 1454459 w 1814027"/>
                <a:gd name="connsiteY2559" fmla="*/ 989403 h 1113404"/>
                <a:gd name="connsiteX2560" fmla="*/ 1455669 w 1814027"/>
                <a:gd name="connsiteY2560" fmla="*/ 989343 h 1113404"/>
                <a:gd name="connsiteX2561" fmla="*/ 1458936 w 1814027"/>
                <a:gd name="connsiteY2561" fmla="*/ 988526 h 1113404"/>
                <a:gd name="connsiteX2562" fmla="*/ 1459692 w 1814027"/>
                <a:gd name="connsiteY2562" fmla="*/ 987134 h 1113404"/>
                <a:gd name="connsiteX2563" fmla="*/ 1458997 w 1814027"/>
                <a:gd name="connsiteY2563" fmla="*/ 984049 h 1113404"/>
                <a:gd name="connsiteX2564" fmla="*/ 1457211 w 1814027"/>
                <a:gd name="connsiteY2564" fmla="*/ 979572 h 1113404"/>
                <a:gd name="connsiteX2565" fmla="*/ 1455729 w 1814027"/>
                <a:gd name="connsiteY2565" fmla="*/ 977938 h 1113404"/>
                <a:gd name="connsiteX2566" fmla="*/ 1454186 w 1814027"/>
                <a:gd name="connsiteY2566" fmla="*/ 977152 h 1113404"/>
                <a:gd name="connsiteX2567" fmla="*/ 1452523 w 1814027"/>
                <a:gd name="connsiteY2567" fmla="*/ 977424 h 1113404"/>
                <a:gd name="connsiteX2568" fmla="*/ 1450708 w 1814027"/>
                <a:gd name="connsiteY2568" fmla="*/ 979118 h 1113404"/>
                <a:gd name="connsiteX2569" fmla="*/ 1449135 w 1814027"/>
                <a:gd name="connsiteY2569" fmla="*/ 979572 h 1113404"/>
                <a:gd name="connsiteX2570" fmla="*/ 1447410 w 1814027"/>
                <a:gd name="connsiteY2570" fmla="*/ 978150 h 1113404"/>
                <a:gd name="connsiteX2571" fmla="*/ 1444869 w 1814027"/>
                <a:gd name="connsiteY2571" fmla="*/ 975094 h 1113404"/>
                <a:gd name="connsiteX2572" fmla="*/ 1442872 w 1814027"/>
                <a:gd name="connsiteY2572" fmla="*/ 974731 h 1113404"/>
                <a:gd name="connsiteX2573" fmla="*/ 1436943 w 1814027"/>
                <a:gd name="connsiteY2573" fmla="*/ 975972 h 1113404"/>
                <a:gd name="connsiteX2574" fmla="*/ 1434916 w 1814027"/>
                <a:gd name="connsiteY2574" fmla="*/ 975518 h 1113404"/>
                <a:gd name="connsiteX2575" fmla="*/ 1431710 w 1814027"/>
                <a:gd name="connsiteY2575" fmla="*/ 973552 h 1113404"/>
                <a:gd name="connsiteX2576" fmla="*/ 1429804 w 1814027"/>
                <a:gd name="connsiteY2576" fmla="*/ 973189 h 1113404"/>
                <a:gd name="connsiteX2577" fmla="*/ 1428715 w 1814027"/>
                <a:gd name="connsiteY2577" fmla="*/ 973582 h 1113404"/>
                <a:gd name="connsiteX2578" fmla="*/ 1427837 w 1814027"/>
                <a:gd name="connsiteY2578" fmla="*/ 974338 h 1113404"/>
                <a:gd name="connsiteX2579" fmla="*/ 1426870 w 1814027"/>
                <a:gd name="connsiteY2579" fmla="*/ 975004 h 1113404"/>
                <a:gd name="connsiteX2580" fmla="*/ 1425599 w 1814027"/>
                <a:gd name="connsiteY2580" fmla="*/ 975064 h 1113404"/>
                <a:gd name="connsiteX2581" fmla="*/ 1426476 w 1814027"/>
                <a:gd name="connsiteY2581" fmla="*/ 972705 h 1113404"/>
                <a:gd name="connsiteX2582" fmla="*/ 1425720 w 1814027"/>
                <a:gd name="connsiteY2582" fmla="*/ 971071 h 1113404"/>
                <a:gd name="connsiteX2583" fmla="*/ 1424117 w 1814027"/>
                <a:gd name="connsiteY2583" fmla="*/ 970647 h 1113404"/>
                <a:gd name="connsiteX2584" fmla="*/ 1422483 w 1814027"/>
                <a:gd name="connsiteY2584" fmla="*/ 971888 h 1113404"/>
                <a:gd name="connsiteX2585" fmla="*/ 1420940 w 1814027"/>
                <a:gd name="connsiteY2585" fmla="*/ 972644 h 1113404"/>
                <a:gd name="connsiteX2586" fmla="*/ 1409354 w 1814027"/>
                <a:gd name="connsiteY2586" fmla="*/ 972553 h 1113404"/>
                <a:gd name="connsiteX2587" fmla="*/ 1407387 w 1814027"/>
                <a:gd name="connsiteY2587" fmla="*/ 973219 h 1113404"/>
                <a:gd name="connsiteX2588" fmla="*/ 1405209 w 1814027"/>
                <a:gd name="connsiteY2588" fmla="*/ 975215 h 1113404"/>
                <a:gd name="connsiteX2589" fmla="*/ 1402457 w 1814027"/>
                <a:gd name="connsiteY2589" fmla="*/ 976789 h 1113404"/>
                <a:gd name="connsiteX2590" fmla="*/ 1402093 w 1814027"/>
                <a:gd name="connsiteY2590" fmla="*/ 977363 h 1113404"/>
                <a:gd name="connsiteX2591" fmla="*/ 1400732 w 1814027"/>
                <a:gd name="connsiteY2591" fmla="*/ 981357 h 1113404"/>
                <a:gd name="connsiteX2592" fmla="*/ 1397768 w 1814027"/>
                <a:gd name="connsiteY2592" fmla="*/ 984926 h 1113404"/>
                <a:gd name="connsiteX2593" fmla="*/ 1394107 w 1814027"/>
                <a:gd name="connsiteY2593" fmla="*/ 985652 h 1113404"/>
                <a:gd name="connsiteX2594" fmla="*/ 1390144 w 1814027"/>
                <a:gd name="connsiteY2594" fmla="*/ 984412 h 1113404"/>
                <a:gd name="connsiteX2595" fmla="*/ 1382551 w 1814027"/>
                <a:gd name="connsiteY2595" fmla="*/ 980207 h 1113404"/>
                <a:gd name="connsiteX2596" fmla="*/ 1380827 w 1814027"/>
                <a:gd name="connsiteY2596" fmla="*/ 978906 h 1113404"/>
                <a:gd name="connsiteX2597" fmla="*/ 1380131 w 1814027"/>
                <a:gd name="connsiteY2597" fmla="*/ 977303 h 1113404"/>
                <a:gd name="connsiteX2598" fmla="*/ 1380676 w 1814027"/>
                <a:gd name="connsiteY2598" fmla="*/ 974943 h 1113404"/>
                <a:gd name="connsiteX2599" fmla="*/ 1381462 w 1814027"/>
                <a:gd name="connsiteY2599" fmla="*/ 972916 h 1113404"/>
                <a:gd name="connsiteX2600" fmla="*/ 1381220 w 1814027"/>
                <a:gd name="connsiteY2600" fmla="*/ 971615 h 1113404"/>
                <a:gd name="connsiteX2601" fmla="*/ 1378770 w 1814027"/>
                <a:gd name="connsiteY2601" fmla="*/ 971434 h 1113404"/>
                <a:gd name="connsiteX2602" fmla="*/ 1377136 w 1814027"/>
                <a:gd name="connsiteY2602" fmla="*/ 972342 h 1113404"/>
                <a:gd name="connsiteX2603" fmla="*/ 1375805 w 1814027"/>
                <a:gd name="connsiteY2603" fmla="*/ 974308 h 1113404"/>
                <a:gd name="connsiteX2604" fmla="*/ 1374897 w 1814027"/>
                <a:gd name="connsiteY2604" fmla="*/ 976758 h 1113404"/>
                <a:gd name="connsiteX2605" fmla="*/ 1374595 w 1814027"/>
                <a:gd name="connsiteY2605" fmla="*/ 979148 h 1113404"/>
                <a:gd name="connsiteX2606" fmla="*/ 1374262 w 1814027"/>
                <a:gd name="connsiteY2606" fmla="*/ 979783 h 1113404"/>
                <a:gd name="connsiteX2607" fmla="*/ 1372689 w 1814027"/>
                <a:gd name="connsiteY2607" fmla="*/ 981780 h 1113404"/>
                <a:gd name="connsiteX2608" fmla="*/ 1372145 w 1814027"/>
                <a:gd name="connsiteY2608" fmla="*/ 982203 h 1113404"/>
                <a:gd name="connsiteX2609" fmla="*/ 1370693 w 1814027"/>
                <a:gd name="connsiteY2609" fmla="*/ 982536 h 1113404"/>
                <a:gd name="connsiteX2610" fmla="*/ 1370269 w 1814027"/>
                <a:gd name="connsiteY2610" fmla="*/ 983414 h 1113404"/>
                <a:gd name="connsiteX2611" fmla="*/ 1370148 w 1814027"/>
                <a:gd name="connsiteY2611" fmla="*/ 984593 h 1113404"/>
                <a:gd name="connsiteX2612" fmla="*/ 1369724 w 1814027"/>
                <a:gd name="connsiteY2612" fmla="*/ 985864 h 1113404"/>
                <a:gd name="connsiteX2613" fmla="*/ 1366972 w 1814027"/>
                <a:gd name="connsiteY2613" fmla="*/ 988556 h 1113404"/>
                <a:gd name="connsiteX2614" fmla="*/ 1364854 w 1814027"/>
                <a:gd name="connsiteY2614" fmla="*/ 989887 h 1113404"/>
                <a:gd name="connsiteX2615" fmla="*/ 1347036 w 1814027"/>
                <a:gd name="connsiteY2615" fmla="*/ 994455 h 1113404"/>
                <a:gd name="connsiteX2616" fmla="*/ 1343315 w 1814027"/>
                <a:gd name="connsiteY2616" fmla="*/ 994153 h 1113404"/>
                <a:gd name="connsiteX2617" fmla="*/ 1328371 w 1814027"/>
                <a:gd name="connsiteY2617" fmla="*/ 984503 h 1113404"/>
                <a:gd name="connsiteX2618" fmla="*/ 1299420 w 1814027"/>
                <a:gd name="connsiteY2618" fmla="*/ 945145 h 1113404"/>
                <a:gd name="connsiteX2619" fmla="*/ 1290738 w 1814027"/>
                <a:gd name="connsiteY2619" fmla="*/ 929354 h 1113404"/>
                <a:gd name="connsiteX2620" fmla="*/ 1285384 w 1814027"/>
                <a:gd name="connsiteY2620" fmla="*/ 916225 h 1113404"/>
                <a:gd name="connsiteX2621" fmla="*/ 1284385 w 1814027"/>
                <a:gd name="connsiteY2621" fmla="*/ 914591 h 1113404"/>
                <a:gd name="connsiteX2622" fmla="*/ 1283205 w 1814027"/>
                <a:gd name="connsiteY2622" fmla="*/ 913018 h 1113404"/>
                <a:gd name="connsiteX2623" fmla="*/ 1282298 w 1814027"/>
                <a:gd name="connsiteY2623" fmla="*/ 911264 h 1113404"/>
                <a:gd name="connsiteX2624" fmla="*/ 1278698 w 1814027"/>
                <a:gd name="connsiteY2624" fmla="*/ 895140 h 1113404"/>
                <a:gd name="connsiteX2625" fmla="*/ 1277730 w 1814027"/>
                <a:gd name="connsiteY2625" fmla="*/ 893052 h 1113404"/>
                <a:gd name="connsiteX2626" fmla="*/ 1277246 w 1814027"/>
                <a:gd name="connsiteY2626" fmla="*/ 891116 h 1113404"/>
                <a:gd name="connsiteX2627" fmla="*/ 1276732 w 1814027"/>
                <a:gd name="connsiteY2627" fmla="*/ 882586 h 1113404"/>
                <a:gd name="connsiteX2628" fmla="*/ 1276127 w 1814027"/>
                <a:gd name="connsiteY2628" fmla="*/ 880408 h 1113404"/>
                <a:gd name="connsiteX2629" fmla="*/ 1275915 w 1814027"/>
                <a:gd name="connsiteY2629" fmla="*/ 879348 h 1113404"/>
                <a:gd name="connsiteX2630" fmla="*/ 1276006 w 1814027"/>
                <a:gd name="connsiteY2630" fmla="*/ 877957 h 1113404"/>
                <a:gd name="connsiteX2631" fmla="*/ 1276550 w 1814027"/>
                <a:gd name="connsiteY2631" fmla="*/ 876687 h 1113404"/>
                <a:gd name="connsiteX2632" fmla="*/ 1278305 w 1814027"/>
                <a:gd name="connsiteY2632" fmla="*/ 874418 h 1113404"/>
                <a:gd name="connsiteX2633" fmla="*/ 1278698 w 1814027"/>
                <a:gd name="connsiteY2633" fmla="*/ 873813 h 1113404"/>
                <a:gd name="connsiteX2634" fmla="*/ 1283054 w 1814027"/>
                <a:gd name="connsiteY2634" fmla="*/ 871937 h 1113404"/>
                <a:gd name="connsiteX2635" fmla="*/ 1283387 w 1814027"/>
                <a:gd name="connsiteY2635" fmla="*/ 870636 h 1113404"/>
                <a:gd name="connsiteX2636" fmla="*/ 1283478 w 1814027"/>
                <a:gd name="connsiteY2636" fmla="*/ 869124 h 1113404"/>
                <a:gd name="connsiteX2637" fmla="*/ 1284173 w 1814027"/>
                <a:gd name="connsiteY2637" fmla="*/ 867914 h 1113404"/>
                <a:gd name="connsiteX2638" fmla="*/ 1285323 w 1814027"/>
                <a:gd name="connsiteY2638" fmla="*/ 867399 h 1113404"/>
                <a:gd name="connsiteX2639" fmla="*/ 1285565 w 1814027"/>
                <a:gd name="connsiteY2639" fmla="*/ 867944 h 1113404"/>
                <a:gd name="connsiteX2640" fmla="*/ 1285656 w 1814027"/>
                <a:gd name="connsiteY2640" fmla="*/ 868912 h 1113404"/>
                <a:gd name="connsiteX2641" fmla="*/ 1286261 w 1814027"/>
                <a:gd name="connsiteY2641" fmla="*/ 869729 h 1113404"/>
                <a:gd name="connsiteX2642" fmla="*/ 1287501 w 1814027"/>
                <a:gd name="connsiteY2642" fmla="*/ 870122 h 1113404"/>
                <a:gd name="connsiteX2643" fmla="*/ 1288470 w 1814027"/>
                <a:gd name="connsiteY2643" fmla="*/ 870122 h 1113404"/>
                <a:gd name="connsiteX2644" fmla="*/ 1297998 w 1814027"/>
                <a:gd name="connsiteY2644" fmla="*/ 867883 h 1113404"/>
                <a:gd name="connsiteX2645" fmla="*/ 1302445 w 1814027"/>
                <a:gd name="connsiteY2645" fmla="*/ 865312 h 1113404"/>
                <a:gd name="connsiteX2646" fmla="*/ 1305470 w 1814027"/>
                <a:gd name="connsiteY2646" fmla="*/ 862105 h 1113404"/>
                <a:gd name="connsiteX2647" fmla="*/ 1305804 w 1814027"/>
                <a:gd name="connsiteY2647" fmla="*/ 861742 h 1113404"/>
                <a:gd name="connsiteX2648" fmla="*/ 1311763 w 1814027"/>
                <a:gd name="connsiteY2648" fmla="*/ 853272 h 1113404"/>
                <a:gd name="connsiteX2649" fmla="*/ 1315151 w 1814027"/>
                <a:gd name="connsiteY2649" fmla="*/ 850035 h 1113404"/>
                <a:gd name="connsiteX2650" fmla="*/ 1315968 w 1814027"/>
                <a:gd name="connsiteY2650" fmla="*/ 848553 h 1113404"/>
                <a:gd name="connsiteX2651" fmla="*/ 1316392 w 1814027"/>
                <a:gd name="connsiteY2651" fmla="*/ 846495 h 1113404"/>
                <a:gd name="connsiteX2652" fmla="*/ 1316089 w 1814027"/>
                <a:gd name="connsiteY2652" fmla="*/ 845376 h 1113404"/>
                <a:gd name="connsiteX2653" fmla="*/ 1315514 w 1814027"/>
                <a:gd name="connsiteY2653" fmla="*/ 844378 h 1113404"/>
                <a:gd name="connsiteX2654" fmla="*/ 1315211 w 1814027"/>
                <a:gd name="connsiteY2654" fmla="*/ 842654 h 1113404"/>
                <a:gd name="connsiteX2655" fmla="*/ 1314213 w 1814027"/>
                <a:gd name="connsiteY2655" fmla="*/ 840687 h 1113404"/>
                <a:gd name="connsiteX2656" fmla="*/ 1312398 w 1814027"/>
                <a:gd name="connsiteY2656" fmla="*/ 838237 h 1113404"/>
                <a:gd name="connsiteX2657" fmla="*/ 1311672 w 1814027"/>
                <a:gd name="connsiteY2657" fmla="*/ 835575 h 1113404"/>
                <a:gd name="connsiteX2658" fmla="*/ 1313850 w 1814027"/>
                <a:gd name="connsiteY2658" fmla="*/ 833003 h 1113404"/>
                <a:gd name="connsiteX2659" fmla="*/ 1314183 w 1814027"/>
                <a:gd name="connsiteY2659" fmla="*/ 835424 h 1113404"/>
                <a:gd name="connsiteX2660" fmla="*/ 1315211 w 1814027"/>
                <a:gd name="connsiteY2660" fmla="*/ 837844 h 1113404"/>
                <a:gd name="connsiteX2661" fmla="*/ 1316512 w 1814027"/>
                <a:gd name="connsiteY2661" fmla="*/ 839659 h 1113404"/>
                <a:gd name="connsiteX2662" fmla="*/ 1318085 w 1814027"/>
                <a:gd name="connsiteY2662" fmla="*/ 840627 h 1113404"/>
                <a:gd name="connsiteX2663" fmla="*/ 1319386 w 1814027"/>
                <a:gd name="connsiteY2663" fmla="*/ 841776 h 1113404"/>
                <a:gd name="connsiteX2664" fmla="*/ 1320112 w 1814027"/>
                <a:gd name="connsiteY2664" fmla="*/ 842230 h 1113404"/>
                <a:gd name="connsiteX2665" fmla="*/ 1321171 w 1814027"/>
                <a:gd name="connsiteY2665" fmla="*/ 842502 h 1113404"/>
                <a:gd name="connsiteX2666" fmla="*/ 1322804 w 1814027"/>
                <a:gd name="connsiteY2666" fmla="*/ 842624 h 1113404"/>
                <a:gd name="connsiteX2667" fmla="*/ 1323561 w 1814027"/>
                <a:gd name="connsiteY2667" fmla="*/ 843077 h 1113404"/>
                <a:gd name="connsiteX2668" fmla="*/ 1321564 w 1814027"/>
                <a:gd name="connsiteY2668" fmla="*/ 848099 h 1113404"/>
                <a:gd name="connsiteX2669" fmla="*/ 1320960 w 1814027"/>
                <a:gd name="connsiteY2669" fmla="*/ 851638 h 1113404"/>
                <a:gd name="connsiteX2670" fmla="*/ 1321867 w 1814027"/>
                <a:gd name="connsiteY2670" fmla="*/ 854633 h 1113404"/>
                <a:gd name="connsiteX2671" fmla="*/ 1324317 w 1814027"/>
                <a:gd name="connsiteY2671" fmla="*/ 856600 h 1113404"/>
                <a:gd name="connsiteX2672" fmla="*/ 1326313 w 1814027"/>
                <a:gd name="connsiteY2672" fmla="*/ 856418 h 1113404"/>
                <a:gd name="connsiteX2673" fmla="*/ 1328068 w 1814027"/>
                <a:gd name="connsiteY2673" fmla="*/ 855057 h 1113404"/>
                <a:gd name="connsiteX2674" fmla="*/ 1329793 w 1814027"/>
                <a:gd name="connsiteY2674" fmla="*/ 853302 h 1113404"/>
                <a:gd name="connsiteX2675" fmla="*/ 1329399 w 1814027"/>
                <a:gd name="connsiteY2675" fmla="*/ 856690 h 1113404"/>
                <a:gd name="connsiteX2676" fmla="*/ 1327977 w 1814027"/>
                <a:gd name="connsiteY2676" fmla="*/ 858899 h 1113404"/>
                <a:gd name="connsiteX2677" fmla="*/ 1324317 w 1814027"/>
                <a:gd name="connsiteY2677" fmla="*/ 862347 h 1113404"/>
                <a:gd name="connsiteX2678" fmla="*/ 1321383 w 1814027"/>
                <a:gd name="connsiteY2678" fmla="*/ 867157 h 1113404"/>
                <a:gd name="connsiteX2679" fmla="*/ 1320324 w 1814027"/>
                <a:gd name="connsiteY2679" fmla="*/ 869426 h 1113404"/>
                <a:gd name="connsiteX2680" fmla="*/ 1317904 w 1814027"/>
                <a:gd name="connsiteY2680" fmla="*/ 871907 h 1113404"/>
                <a:gd name="connsiteX2681" fmla="*/ 1315151 w 1814027"/>
                <a:gd name="connsiteY2681" fmla="*/ 877080 h 1113404"/>
                <a:gd name="connsiteX2682" fmla="*/ 1309948 w 1814027"/>
                <a:gd name="connsiteY2682" fmla="*/ 879591 h 1113404"/>
                <a:gd name="connsiteX2683" fmla="*/ 1299450 w 1814027"/>
                <a:gd name="connsiteY2683" fmla="*/ 882555 h 1113404"/>
                <a:gd name="connsiteX2684" fmla="*/ 1299934 w 1814027"/>
                <a:gd name="connsiteY2684" fmla="*/ 883856 h 1113404"/>
                <a:gd name="connsiteX2685" fmla="*/ 1300207 w 1814027"/>
                <a:gd name="connsiteY2685" fmla="*/ 884370 h 1113404"/>
                <a:gd name="connsiteX2686" fmla="*/ 1296698 w 1814027"/>
                <a:gd name="connsiteY2686" fmla="*/ 886428 h 1113404"/>
                <a:gd name="connsiteX2687" fmla="*/ 1293491 w 1814027"/>
                <a:gd name="connsiteY2687" fmla="*/ 889785 h 1113404"/>
                <a:gd name="connsiteX2688" fmla="*/ 1293158 w 1814027"/>
                <a:gd name="connsiteY2688" fmla="*/ 891056 h 1113404"/>
                <a:gd name="connsiteX2689" fmla="*/ 1294943 w 1814027"/>
                <a:gd name="connsiteY2689" fmla="*/ 891631 h 1113404"/>
                <a:gd name="connsiteX2690" fmla="*/ 1298846 w 1814027"/>
                <a:gd name="connsiteY2690" fmla="*/ 889967 h 1113404"/>
                <a:gd name="connsiteX2691" fmla="*/ 1301236 w 1814027"/>
                <a:gd name="connsiteY2691" fmla="*/ 888303 h 1113404"/>
                <a:gd name="connsiteX2692" fmla="*/ 1304684 w 1814027"/>
                <a:gd name="connsiteY2692" fmla="*/ 887547 h 1113404"/>
                <a:gd name="connsiteX2693" fmla="*/ 1307165 w 1814027"/>
                <a:gd name="connsiteY2693" fmla="*/ 885641 h 1113404"/>
                <a:gd name="connsiteX2694" fmla="*/ 1311248 w 1814027"/>
                <a:gd name="connsiteY2694" fmla="*/ 884340 h 1113404"/>
                <a:gd name="connsiteX2695" fmla="*/ 1313547 w 1814027"/>
                <a:gd name="connsiteY2695" fmla="*/ 882041 h 1113404"/>
                <a:gd name="connsiteX2696" fmla="*/ 1316028 w 1814027"/>
                <a:gd name="connsiteY2696" fmla="*/ 878804 h 1113404"/>
                <a:gd name="connsiteX2697" fmla="*/ 1321474 w 1814027"/>
                <a:gd name="connsiteY2697" fmla="*/ 869154 h 1113404"/>
                <a:gd name="connsiteX2698" fmla="*/ 1323107 w 1814027"/>
                <a:gd name="connsiteY2698" fmla="*/ 867430 h 1113404"/>
                <a:gd name="connsiteX2699" fmla="*/ 1323591 w 1814027"/>
                <a:gd name="connsiteY2699" fmla="*/ 866885 h 1113404"/>
                <a:gd name="connsiteX2700" fmla="*/ 1333211 w 1814027"/>
                <a:gd name="connsiteY2700" fmla="*/ 852274 h 1113404"/>
                <a:gd name="connsiteX2701" fmla="*/ 1334723 w 1814027"/>
                <a:gd name="connsiteY2701" fmla="*/ 850912 h 1113404"/>
                <a:gd name="connsiteX2702" fmla="*/ 1338233 w 1814027"/>
                <a:gd name="connsiteY2702" fmla="*/ 848644 h 1113404"/>
                <a:gd name="connsiteX2703" fmla="*/ 1339776 w 1814027"/>
                <a:gd name="connsiteY2703" fmla="*/ 847252 h 1113404"/>
                <a:gd name="connsiteX2704" fmla="*/ 1342801 w 1814027"/>
                <a:gd name="connsiteY2704" fmla="*/ 843259 h 1113404"/>
                <a:gd name="connsiteX2705" fmla="*/ 1344374 w 1814027"/>
                <a:gd name="connsiteY2705" fmla="*/ 841625 h 1113404"/>
                <a:gd name="connsiteX2706" fmla="*/ 1346280 w 1814027"/>
                <a:gd name="connsiteY2706" fmla="*/ 840385 h 1113404"/>
                <a:gd name="connsiteX2707" fmla="*/ 1358168 w 1814027"/>
                <a:gd name="connsiteY2707" fmla="*/ 834849 h 1113404"/>
                <a:gd name="connsiteX2708" fmla="*/ 1361466 w 1814027"/>
                <a:gd name="connsiteY2708" fmla="*/ 832066 h 1113404"/>
                <a:gd name="connsiteX2709" fmla="*/ 1369573 w 1814027"/>
                <a:gd name="connsiteY2709" fmla="*/ 823323 h 1113404"/>
                <a:gd name="connsiteX2710" fmla="*/ 1372538 w 1814027"/>
                <a:gd name="connsiteY2710" fmla="*/ 821054 h 1113404"/>
                <a:gd name="connsiteX2711" fmla="*/ 1378165 w 1814027"/>
                <a:gd name="connsiteY2711" fmla="*/ 818089 h 1113404"/>
                <a:gd name="connsiteX2712" fmla="*/ 1385637 w 1814027"/>
                <a:gd name="connsiteY2712" fmla="*/ 814157 h 1113404"/>
                <a:gd name="connsiteX2713" fmla="*/ 1388057 w 1814027"/>
                <a:gd name="connsiteY2713" fmla="*/ 814217 h 1113404"/>
                <a:gd name="connsiteX2714" fmla="*/ 1401791 w 1814027"/>
                <a:gd name="connsiteY2714" fmla="*/ 811827 h 1113404"/>
                <a:gd name="connsiteX2715" fmla="*/ 1409082 w 1814027"/>
                <a:gd name="connsiteY2715" fmla="*/ 812826 h 1113404"/>
                <a:gd name="connsiteX2716" fmla="*/ 1412833 w 1814027"/>
                <a:gd name="connsiteY2716" fmla="*/ 812039 h 1113404"/>
                <a:gd name="connsiteX2717" fmla="*/ 1414618 w 1814027"/>
                <a:gd name="connsiteY2717" fmla="*/ 811979 h 1113404"/>
                <a:gd name="connsiteX2718" fmla="*/ 1416675 w 1814027"/>
                <a:gd name="connsiteY2718" fmla="*/ 812826 h 1113404"/>
                <a:gd name="connsiteX2719" fmla="*/ 1417371 w 1814027"/>
                <a:gd name="connsiteY2719" fmla="*/ 813370 h 1113404"/>
                <a:gd name="connsiteX2720" fmla="*/ 1417885 w 1814027"/>
                <a:gd name="connsiteY2720" fmla="*/ 814005 h 1113404"/>
                <a:gd name="connsiteX2721" fmla="*/ 1418762 w 1814027"/>
                <a:gd name="connsiteY2721" fmla="*/ 815609 h 1113404"/>
                <a:gd name="connsiteX2722" fmla="*/ 1419004 w 1814027"/>
                <a:gd name="connsiteY2722" fmla="*/ 815791 h 1113404"/>
                <a:gd name="connsiteX2723" fmla="*/ 1420153 w 1814027"/>
                <a:gd name="connsiteY2723" fmla="*/ 816517 h 1113404"/>
                <a:gd name="connsiteX2724" fmla="*/ 1420153 w 1814027"/>
                <a:gd name="connsiteY2724" fmla="*/ 817182 h 1113404"/>
                <a:gd name="connsiteX2725" fmla="*/ 1420063 w 1814027"/>
                <a:gd name="connsiteY2725" fmla="*/ 818059 h 1113404"/>
                <a:gd name="connsiteX2726" fmla="*/ 1419821 w 1814027"/>
                <a:gd name="connsiteY2726" fmla="*/ 818634 h 1113404"/>
                <a:gd name="connsiteX2727" fmla="*/ 1420305 w 1814027"/>
                <a:gd name="connsiteY2727" fmla="*/ 819844 h 1113404"/>
                <a:gd name="connsiteX2728" fmla="*/ 1420396 w 1814027"/>
                <a:gd name="connsiteY2728" fmla="*/ 819602 h 1113404"/>
                <a:gd name="connsiteX2729" fmla="*/ 1420517 w 1814027"/>
                <a:gd name="connsiteY2729" fmla="*/ 818755 h 1113404"/>
                <a:gd name="connsiteX2730" fmla="*/ 1421515 w 1814027"/>
                <a:gd name="connsiteY2730" fmla="*/ 818392 h 1113404"/>
                <a:gd name="connsiteX2731" fmla="*/ 1422483 w 1814027"/>
                <a:gd name="connsiteY2731" fmla="*/ 817878 h 1113404"/>
                <a:gd name="connsiteX2732" fmla="*/ 1422846 w 1814027"/>
                <a:gd name="connsiteY2732" fmla="*/ 818332 h 1113404"/>
                <a:gd name="connsiteX2733" fmla="*/ 1422846 w 1814027"/>
                <a:gd name="connsiteY2733" fmla="*/ 820328 h 1113404"/>
                <a:gd name="connsiteX2734" fmla="*/ 1423572 w 1814027"/>
                <a:gd name="connsiteY2734" fmla="*/ 820328 h 1113404"/>
                <a:gd name="connsiteX2735" fmla="*/ 1424177 w 1814027"/>
                <a:gd name="connsiteY2735" fmla="*/ 816426 h 1113404"/>
                <a:gd name="connsiteX2736" fmla="*/ 1426114 w 1814027"/>
                <a:gd name="connsiteY2736" fmla="*/ 813370 h 1113404"/>
                <a:gd name="connsiteX2737" fmla="*/ 1432920 w 1814027"/>
                <a:gd name="connsiteY2737" fmla="*/ 806745 h 1113404"/>
                <a:gd name="connsiteX2738" fmla="*/ 1435854 w 1814027"/>
                <a:gd name="connsiteY2738" fmla="*/ 804658 h 1113404"/>
                <a:gd name="connsiteX2739" fmla="*/ 1439091 w 1814027"/>
                <a:gd name="connsiteY2739" fmla="*/ 803206 h 1113404"/>
                <a:gd name="connsiteX2740" fmla="*/ 1444143 w 1814027"/>
                <a:gd name="connsiteY2740" fmla="*/ 802268 h 1113404"/>
                <a:gd name="connsiteX2741" fmla="*/ 1448318 w 1814027"/>
                <a:gd name="connsiteY2741" fmla="*/ 799969 h 1113404"/>
                <a:gd name="connsiteX2742" fmla="*/ 1454943 w 1814027"/>
                <a:gd name="connsiteY2742" fmla="*/ 799969 h 1113404"/>
                <a:gd name="connsiteX2743" fmla="*/ 1455729 w 1814027"/>
                <a:gd name="connsiteY2743" fmla="*/ 799515 h 1113404"/>
                <a:gd name="connsiteX2744" fmla="*/ 1456546 w 1814027"/>
                <a:gd name="connsiteY2744" fmla="*/ 798547 h 1113404"/>
                <a:gd name="connsiteX2745" fmla="*/ 1457666 w 1814027"/>
                <a:gd name="connsiteY2745" fmla="*/ 797549 h 1113404"/>
                <a:gd name="connsiteX2746" fmla="*/ 1459390 w 1814027"/>
                <a:gd name="connsiteY2746" fmla="*/ 797095 h 1113404"/>
                <a:gd name="connsiteX2747" fmla="*/ 1462173 w 1814027"/>
                <a:gd name="connsiteY2747" fmla="*/ 797942 h 1113404"/>
                <a:gd name="connsiteX2748" fmla="*/ 1463957 w 1814027"/>
                <a:gd name="connsiteY2748" fmla="*/ 798033 h 1113404"/>
                <a:gd name="connsiteX2749" fmla="*/ 1465652 w 1814027"/>
                <a:gd name="connsiteY2749" fmla="*/ 797095 h 1113404"/>
                <a:gd name="connsiteX2750" fmla="*/ 1467073 w 1814027"/>
                <a:gd name="connsiteY2750" fmla="*/ 798063 h 1113404"/>
                <a:gd name="connsiteX2751" fmla="*/ 1470371 w 1814027"/>
                <a:gd name="connsiteY2751" fmla="*/ 799152 h 1113404"/>
                <a:gd name="connsiteX2752" fmla="*/ 1471914 w 1814027"/>
                <a:gd name="connsiteY2752" fmla="*/ 799938 h 1113404"/>
                <a:gd name="connsiteX2753" fmla="*/ 1475574 w 1814027"/>
                <a:gd name="connsiteY2753" fmla="*/ 803932 h 1113404"/>
                <a:gd name="connsiteX2754" fmla="*/ 1476391 w 1814027"/>
                <a:gd name="connsiteY2754" fmla="*/ 804537 h 1113404"/>
                <a:gd name="connsiteX2755" fmla="*/ 1476391 w 1814027"/>
                <a:gd name="connsiteY2755" fmla="*/ 806927 h 1113404"/>
                <a:gd name="connsiteX2756" fmla="*/ 1475151 w 1814027"/>
                <a:gd name="connsiteY2756" fmla="*/ 811737 h 1113404"/>
                <a:gd name="connsiteX2757" fmla="*/ 1473275 w 1814027"/>
                <a:gd name="connsiteY2757" fmla="*/ 815488 h 1113404"/>
                <a:gd name="connsiteX2758" fmla="*/ 1471218 w 1814027"/>
                <a:gd name="connsiteY2758" fmla="*/ 814671 h 1113404"/>
                <a:gd name="connsiteX2759" fmla="*/ 1470492 w 1814027"/>
                <a:gd name="connsiteY2759" fmla="*/ 814671 h 1113404"/>
                <a:gd name="connsiteX2760" fmla="*/ 1470492 w 1814027"/>
                <a:gd name="connsiteY2760" fmla="*/ 815669 h 1113404"/>
                <a:gd name="connsiteX2761" fmla="*/ 1473063 w 1814027"/>
                <a:gd name="connsiteY2761" fmla="*/ 816305 h 1113404"/>
                <a:gd name="connsiteX2762" fmla="*/ 1475514 w 1814027"/>
                <a:gd name="connsiteY2762" fmla="*/ 814127 h 1113404"/>
                <a:gd name="connsiteX2763" fmla="*/ 1477390 w 1814027"/>
                <a:gd name="connsiteY2763" fmla="*/ 810497 h 1113404"/>
                <a:gd name="connsiteX2764" fmla="*/ 1478116 w 1814027"/>
                <a:gd name="connsiteY2764" fmla="*/ 806836 h 1113404"/>
                <a:gd name="connsiteX2765" fmla="*/ 1479113 w 1814027"/>
                <a:gd name="connsiteY2765" fmla="*/ 803569 h 1113404"/>
                <a:gd name="connsiteX2766" fmla="*/ 1481080 w 1814027"/>
                <a:gd name="connsiteY2766" fmla="*/ 800513 h 1113404"/>
                <a:gd name="connsiteX2767" fmla="*/ 1482411 w 1814027"/>
                <a:gd name="connsiteY2767" fmla="*/ 797488 h 1113404"/>
                <a:gd name="connsiteX2768" fmla="*/ 1481534 w 1814027"/>
                <a:gd name="connsiteY2768" fmla="*/ 794312 h 1113404"/>
                <a:gd name="connsiteX2769" fmla="*/ 1484801 w 1814027"/>
                <a:gd name="connsiteY2769" fmla="*/ 793828 h 1113404"/>
                <a:gd name="connsiteX2770" fmla="*/ 1490095 w 1814027"/>
                <a:gd name="connsiteY2770" fmla="*/ 789048 h 1113404"/>
                <a:gd name="connsiteX2771" fmla="*/ 1493634 w 1814027"/>
                <a:gd name="connsiteY2771" fmla="*/ 787868 h 1113404"/>
                <a:gd name="connsiteX2772" fmla="*/ 1494754 w 1814027"/>
                <a:gd name="connsiteY2772" fmla="*/ 787294 h 1113404"/>
                <a:gd name="connsiteX2773" fmla="*/ 1498051 w 1814027"/>
                <a:gd name="connsiteY2773" fmla="*/ 784783 h 1113404"/>
                <a:gd name="connsiteX2774" fmla="*/ 1499170 w 1814027"/>
                <a:gd name="connsiteY2774" fmla="*/ 784208 h 1113404"/>
                <a:gd name="connsiteX2775" fmla="*/ 1500956 w 1814027"/>
                <a:gd name="connsiteY2775" fmla="*/ 783905 h 1113404"/>
                <a:gd name="connsiteX2776" fmla="*/ 1512602 w 1814027"/>
                <a:gd name="connsiteY2776" fmla="*/ 779670 h 1113404"/>
                <a:gd name="connsiteX2777" fmla="*/ 1517231 w 1814027"/>
                <a:gd name="connsiteY2777" fmla="*/ 776343 h 1113404"/>
                <a:gd name="connsiteX2778" fmla="*/ 1519137 w 1814027"/>
                <a:gd name="connsiteY2778" fmla="*/ 775889 h 1113404"/>
                <a:gd name="connsiteX2779" fmla="*/ 1522525 w 1814027"/>
                <a:gd name="connsiteY2779" fmla="*/ 776464 h 1113404"/>
                <a:gd name="connsiteX2780" fmla="*/ 1526003 w 1814027"/>
                <a:gd name="connsiteY2780" fmla="*/ 778158 h 1113404"/>
                <a:gd name="connsiteX2781" fmla="*/ 1528212 w 1814027"/>
                <a:gd name="connsiteY2781" fmla="*/ 780789 h 1113404"/>
                <a:gd name="connsiteX2782" fmla="*/ 1527758 w 1814027"/>
                <a:gd name="connsiteY2782" fmla="*/ 784208 h 1113404"/>
                <a:gd name="connsiteX2783" fmla="*/ 1529997 w 1814027"/>
                <a:gd name="connsiteY2783" fmla="*/ 783270 h 1113404"/>
                <a:gd name="connsiteX2784" fmla="*/ 1531661 w 1814027"/>
                <a:gd name="connsiteY2784" fmla="*/ 781062 h 1113404"/>
                <a:gd name="connsiteX2785" fmla="*/ 1534292 w 1814027"/>
                <a:gd name="connsiteY2785" fmla="*/ 776312 h 1113404"/>
                <a:gd name="connsiteX2786" fmla="*/ 1544850 w 1814027"/>
                <a:gd name="connsiteY2786" fmla="*/ 762488 h 1113404"/>
                <a:gd name="connsiteX2787" fmla="*/ 1551263 w 1814027"/>
                <a:gd name="connsiteY2787" fmla="*/ 756316 h 1113404"/>
                <a:gd name="connsiteX2788" fmla="*/ 1554712 w 1814027"/>
                <a:gd name="connsiteY2788" fmla="*/ 755136 h 1113404"/>
                <a:gd name="connsiteX2789" fmla="*/ 1567750 w 1814027"/>
                <a:gd name="connsiteY2789" fmla="*/ 757345 h 1113404"/>
                <a:gd name="connsiteX2790" fmla="*/ 1572077 w 1814027"/>
                <a:gd name="connsiteY2790" fmla="*/ 757194 h 1113404"/>
                <a:gd name="connsiteX2791" fmla="*/ 1582937 w 1814027"/>
                <a:gd name="connsiteY2791" fmla="*/ 753654 h 1113404"/>
                <a:gd name="connsiteX2792" fmla="*/ 1591921 w 1814027"/>
                <a:gd name="connsiteY2792" fmla="*/ 755045 h 1113404"/>
                <a:gd name="connsiteX2793" fmla="*/ 1593071 w 1814027"/>
                <a:gd name="connsiteY2793" fmla="*/ 754410 h 1113404"/>
                <a:gd name="connsiteX2794" fmla="*/ 1595642 w 1814027"/>
                <a:gd name="connsiteY2794" fmla="*/ 754955 h 1113404"/>
                <a:gd name="connsiteX2795" fmla="*/ 1599514 w 1814027"/>
                <a:gd name="connsiteY2795" fmla="*/ 756346 h 1113404"/>
                <a:gd name="connsiteX2796" fmla="*/ 1600422 w 1814027"/>
                <a:gd name="connsiteY2796" fmla="*/ 755983 h 1113404"/>
                <a:gd name="connsiteX2797" fmla="*/ 1603024 w 1814027"/>
                <a:gd name="connsiteY2797" fmla="*/ 754531 h 1113404"/>
                <a:gd name="connsiteX2798" fmla="*/ 1603568 w 1814027"/>
                <a:gd name="connsiteY2798" fmla="*/ 754108 h 1113404"/>
                <a:gd name="connsiteX2799" fmla="*/ 1604082 w 1814027"/>
                <a:gd name="connsiteY2799" fmla="*/ 753866 h 1113404"/>
                <a:gd name="connsiteX2800" fmla="*/ 1607380 w 1814027"/>
                <a:gd name="connsiteY2800" fmla="*/ 756346 h 1113404"/>
                <a:gd name="connsiteX2801" fmla="*/ 1609951 w 1814027"/>
                <a:gd name="connsiteY2801" fmla="*/ 757314 h 1113404"/>
                <a:gd name="connsiteX2802" fmla="*/ 1609951 w 1814027"/>
                <a:gd name="connsiteY2802" fmla="*/ 759492 h 1113404"/>
                <a:gd name="connsiteX2803" fmla="*/ 1607743 w 1814027"/>
                <a:gd name="connsiteY2803" fmla="*/ 763849 h 1113404"/>
                <a:gd name="connsiteX2804" fmla="*/ 1611192 w 1814027"/>
                <a:gd name="connsiteY2804" fmla="*/ 762336 h 1113404"/>
                <a:gd name="connsiteX2805" fmla="*/ 1616637 w 1814027"/>
                <a:gd name="connsiteY2805" fmla="*/ 755288 h 1113404"/>
                <a:gd name="connsiteX2806" fmla="*/ 1618664 w 1814027"/>
                <a:gd name="connsiteY2806" fmla="*/ 753442 h 1113404"/>
                <a:gd name="connsiteX2807" fmla="*/ 1618664 w 1814027"/>
                <a:gd name="connsiteY2807" fmla="*/ 753442 h 1113404"/>
                <a:gd name="connsiteX2808" fmla="*/ 1617121 w 1814027"/>
                <a:gd name="connsiteY2808" fmla="*/ 749691 h 1113404"/>
                <a:gd name="connsiteX2809" fmla="*/ 1616667 w 1814027"/>
                <a:gd name="connsiteY2809" fmla="*/ 745395 h 1113404"/>
                <a:gd name="connsiteX2810" fmla="*/ 1617333 w 1814027"/>
                <a:gd name="connsiteY2810" fmla="*/ 741341 h 1113404"/>
                <a:gd name="connsiteX2811" fmla="*/ 1619238 w 1814027"/>
                <a:gd name="connsiteY2811" fmla="*/ 738226 h 1113404"/>
                <a:gd name="connsiteX2812" fmla="*/ 1621144 w 1814027"/>
                <a:gd name="connsiteY2812" fmla="*/ 737046 h 1113404"/>
                <a:gd name="connsiteX2813" fmla="*/ 1623413 w 1814027"/>
                <a:gd name="connsiteY2813" fmla="*/ 736018 h 1113404"/>
                <a:gd name="connsiteX2814" fmla="*/ 1625501 w 1814027"/>
                <a:gd name="connsiteY2814" fmla="*/ 734717 h 1113404"/>
                <a:gd name="connsiteX2815" fmla="*/ 1626831 w 1814027"/>
                <a:gd name="connsiteY2815" fmla="*/ 732690 h 1113404"/>
                <a:gd name="connsiteX2816" fmla="*/ 1627134 w 1814027"/>
                <a:gd name="connsiteY2816" fmla="*/ 729967 h 1113404"/>
                <a:gd name="connsiteX2817" fmla="*/ 1626227 w 1814027"/>
                <a:gd name="connsiteY2817" fmla="*/ 728455 h 1113404"/>
                <a:gd name="connsiteX2818" fmla="*/ 1624623 w 1814027"/>
                <a:gd name="connsiteY2818" fmla="*/ 727789 h 1113404"/>
                <a:gd name="connsiteX2819" fmla="*/ 1622808 w 1814027"/>
                <a:gd name="connsiteY2819" fmla="*/ 727668 h 1113404"/>
                <a:gd name="connsiteX2820" fmla="*/ 1619057 w 1814027"/>
                <a:gd name="connsiteY2820" fmla="*/ 728212 h 1113404"/>
                <a:gd name="connsiteX2821" fmla="*/ 1617121 w 1814027"/>
                <a:gd name="connsiteY2821" fmla="*/ 727971 h 1113404"/>
                <a:gd name="connsiteX2822" fmla="*/ 1615881 w 1814027"/>
                <a:gd name="connsiteY2822" fmla="*/ 726549 h 1113404"/>
                <a:gd name="connsiteX2823" fmla="*/ 1616062 w 1814027"/>
                <a:gd name="connsiteY2823" fmla="*/ 724370 h 1113404"/>
                <a:gd name="connsiteX2824" fmla="*/ 1617363 w 1814027"/>
                <a:gd name="connsiteY2824" fmla="*/ 721951 h 1113404"/>
                <a:gd name="connsiteX2825" fmla="*/ 1620388 w 1814027"/>
                <a:gd name="connsiteY2825" fmla="*/ 718169 h 1113404"/>
                <a:gd name="connsiteX2826" fmla="*/ 1622868 w 1814027"/>
                <a:gd name="connsiteY2826" fmla="*/ 713964 h 1113404"/>
                <a:gd name="connsiteX2827" fmla="*/ 1623444 w 1814027"/>
                <a:gd name="connsiteY2827" fmla="*/ 710062 h 1113404"/>
                <a:gd name="connsiteX2828" fmla="*/ 1623111 w 1814027"/>
                <a:gd name="connsiteY2828" fmla="*/ 700351 h 1113404"/>
                <a:gd name="connsiteX2829" fmla="*/ 1624502 w 1814027"/>
                <a:gd name="connsiteY2829" fmla="*/ 695571 h 1113404"/>
                <a:gd name="connsiteX2830" fmla="*/ 1626408 w 1814027"/>
                <a:gd name="connsiteY2830" fmla="*/ 690791 h 1113404"/>
                <a:gd name="connsiteX2831" fmla="*/ 1628979 w 1814027"/>
                <a:gd name="connsiteY2831" fmla="*/ 686889 h 1113404"/>
                <a:gd name="connsiteX2832" fmla="*/ 1632398 w 1814027"/>
                <a:gd name="connsiteY2832" fmla="*/ 684711 h 1113404"/>
                <a:gd name="connsiteX2833" fmla="*/ 1653453 w 1814027"/>
                <a:gd name="connsiteY2833" fmla="*/ 682049 h 1113404"/>
                <a:gd name="connsiteX2834" fmla="*/ 1655994 w 1814027"/>
                <a:gd name="connsiteY2834" fmla="*/ 680990 h 1113404"/>
                <a:gd name="connsiteX2835" fmla="*/ 1657869 w 1814027"/>
                <a:gd name="connsiteY2835" fmla="*/ 679508 h 1113404"/>
                <a:gd name="connsiteX2836" fmla="*/ 1661590 w 1814027"/>
                <a:gd name="connsiteY2836" fmla="*/ 675605 h 1113404"/>
                <a:gd name="connsiteX2837" fmla="*/ 1663466 w 1814027"/>
                <a:gd name="connsiteY2837" fmla="*/ 674244 h 1113404"/>
                <a:gd name="connsiteX2838" fmla="*/ 1665039 w 1814027"/>
                <a:gd name="connsiteY2838" fmla="*/ 673972 h 1113404"/>
                <a:gd name="connsiteX2839" fmla="*/ 1668579 w 1814027"/>
                <a:gd name="connsiteY2839" fmla="*/ 675272 h 1113404"/>
                <a:gd name="connsiteX2840" fmla="*/ 1670726 w 1814027"/>
                <a:gd name="connsiteY2840" fmla="*/ 675061 h 1113404"/>
                <a:gd name="connsiteX2841" fmla="*/ 1671816 w 1814027"/>
                <a:gd name="connsiteY2841" fmla="*/ 672882 h 1113404"/>
                <a:gd name="connsiteX2842" fmla="*/ 1672632 w 1814027"/>
                <a:gd name="connsiteY2842" fmla="*/ 667105 h 1113404"/>
                <a:gd name="connsiteX2843" fmla="*/ 1674417 w 1814027"/>
                <a:gd name="connsiteY2843" fmla="*/ 660812 h 1113404"/>
                <a:gd name="connsiteX2844" fmla="*/ 1676958 w 1814027"/>
                <a:gd name="connsiteY2844" fmla="*/ 655428 h 1113404"/>
                <a:gd name="connsiteX2845" fmla="*/ 1680467 w 1814027"/>
                <a:gd name="connsiteY2845" fmla="*/ 651555 h 1113404"/>
                <a:gd name="connsiteX2846" fmla="*/ 1685096 w 1814027"/>
                <a:gd name="connsiteY2846" fmla="*/ 649771 h 1113404"/>
                <a:gd name="connsiteX2847" fmla="*/ 1701099 w 1814027"/>
                <a:gd name="connsiteY2847" fmla="*/ 650376 h 1113404"/>
                <a:gd name="connsiteX2848" fmla="*/ 1701402 w 1814027"/>
                <a:gd name="connsiteY2848" fmla="*/ 650376 h 1113404"/>
                <a:gd name="connsiteX2849" fmla="*/ 1706816 w 1814027"/>
                <a:gd name="connsiteY2849" fmla="*/ 653794 h 1113404"/>
                <a:gd name="connsiteX2850" fmla="*/ 1708904 w 1814027"/>
                <a:gd name="connsiteY2850" fmla="*/ 654278 h 1113404"/>
                <a:gd name="connsiteX2851" fmla="*/ 1710900 w 1814027"/>
                <a:gd name="connsiteY2851" fmla="*/ 654127 h 1113404"/>
                <a:gd name="connsiteX2852" fmla="*/ 1714954 w 1814027"/>
                <a:gd name="connsiteY2852" fmla="*/ 653098 h 1113404"/>
                <a:gd name="connsiteX2853" fmla="*/ 1729656 w 1814027"/>
                <a:gd name="connsiteY2853" fmla="*/ 651858 h 1113404"/>
                <a:gd name="connsiteX2854" fmla="*/ 1731683 w 1814027"/>
                <a:gd name="connsiteY2854" fmla="*/ 652191 h 1113404"/>
                <a:gd name="connsiteX2855" fmla="*/ 1735071 w 1814027"/>
                <a:gd name="connsiteY2855" fmla="*/ 654278 h 1113404"/>
                <a:gd name="connsiteX2856" fmla="*/ 1736886 w 1814027"/>
                <a:gd name="connsiteY2856" fmla="*/ 655065 h 1113404"/>
                <a:gd name="connsiteX2857" fmla="*/ 1739125 w 1814027"/>
                <a:gd name="connsiteY2857" fmla="*/ 654974 h 1113404"/>
                <a:gd name="connsiteX2858" fmla="*/ 1743451 w 1814027"/>
                <a:gd name="connsiteY2858" fmla="*/ 653855 h 1113404"/>
                <a:gd name="connsiteX2859" fmla="*/ 1745750 w 1814027"/>
                <a:gd name="connsiteY2859" fmla="*/ 654550 h 1113404"/>
                <a:gd name="connsiteX2860" fmla="*/ 1748715 w 1814027"/>
                <a:gd name="connsiteY2860" fmla="*/ 655034 h 1113404"/>
                <a:gd name="connsiteX2861" fmla="*/ 1754825 w 1814027"/>
                <a:gd name="connsiteY2861" fmla="*/ 653885 h 1113404"/>
                <a:gd name="connsiteX2862" fmla="*/ 1757911 w 1814027"/>
                <a:gd name="connsiteY2862" fmla="*/ 654096 h 1113404"/>
                <a:gd name="connsiteX2863" fmla="*/ 1767984 w 1814027"/>
                <a:gd name="connsiteY2863" fmla="*/ 656577 h 1113404"/>
                <a:gd name="connsiteX2864" fmla="*/ 1771312 w 1814027"/>
                <a:gd name="connsiteY2864" fmla="*/ 655942 h 1113404"/>
                <a:gd name="connsiteX2865" fmla="*/ 1773823 w 1814027"/>
                <a:gd name="connsiteY2865" fmla="*/ 653612 h 1113404"/>
                <a:gd name="connsiteX2866" fmla="*/ 1775518 w 1814027"/>
                <a:gd name="connsiteY2866" fmla="*/ 650164 h 1113404"/>
                <a:gd name="connsiteX2867" fmla="*/ 1776244 w 1814027"/>
                <a:gd name="connsiteY2867" fmla="*/ 646231 h 1113404"/>
                <a:gd name="connsiteX2868" fmla="*/ 1776153 w 1814027"/>
                <a:gd name="connsiteY2868" fmla="*/ 645354 h 1113404"/>
                <a:gd name="connsiteX2869" fmla="*/ 1775699 w 1814027"/>
                <a:gd name="connsiteY2869" fmla="*/ 643478 h 1113404"/>
                <a:gd name="connsiteX2870" fmla="*/ 1775638 w 1814027"/>
                <a:gd name="connsiteY2870" fmla="*/ 642480 h 1113404"/>
                <a:gd name="connsiteX2871" fmla="*/ 1775911 w 1814027"/>
                <a:gd name="connsiteY2871" fmla="*/ 641270 h 1113404"/>
                <a:gd name="connsiteX2872" fmla="*/ 1777000 w 1814027"/>
                <a:gd name="connsiteY2872" fmla="*/ 639183 h 1113404"/>
                <a:gd name="connsiteX2873" fmla="*/ 1777332 w 1814027"/>
                <a:gd name="connsiteY2873" fmla="*/ 638093 h 1113404"/>
                <a:gd name="connsiteX2874" fmla="*/ 1777575 w 1814027"/>
                <a:gd name="connsiteY2874" fmla="*/ 635915 h 1113404"/>
                <a:gd name="connsiteX2875" fmla="*/ 1777393 w 1814027"/>
                <a:gd name="connsiteY2875" fmla="*/ 634554 h 1113404"/>
                <a:gd name="connsiteX2876" fmla="*/ 1775971 w 1814027"/>
                <a:gd name="connsiteY2876" fmla="*/ 631529 h 1113404"/>
                <a:gd name="connsiteX2877" fmla="*/ 1774942 w 1814027"/>
                <a:gd name="connsiteY2877" fmla="*/ 630016 h 1113404"/>
                <a:gd name="connsiteX2878" fmla="*/ 1774125 w 1814027"/>
                <a:gd name="connsiteY2878" fmla="*/ 629230 h 1113404"/>
                <a:gd name="connsiteX2879" fmla="*/ 1773914 w 1814027"/>
                <a:gd name="connsiteY2879" fmla="*/ 628534 h 1113404"/>
                <a:gd name="connsiteX2880" fmla="*/ 1774731 w 1814027"/>
                <a:gd name="connsiteY2880" fmla="*/ 627263 h 1113404"/>
                <a:gd name="connsiteX2881" fmla="*/ 1775820 w 1814027"/>
                <a:gd name="connsiteY2881" fmla="*/ 626568 h 1113404"/>
                <a:gd name="connsiteX2882" fmla="*/ 1781326 w 1814027"/>
                <a:gd name="connsiteY2882" fmla="*/ 625600 h 1113404"/>
                <a:gd name="connsiteX2883" fmla="*/ 1781991 w 1814027"/>
                <a:gd name="connsiteY2883" fmla="*/ 625781 h 1113404"/>
                <a:gd name="connsiteX2884" fmla="*/ 1782264 w 1814027"/>
                <a:gd name="connsiteY2884" fmla="*/ 625570 h 1113404"/>
                <a:gd name="connsiteX2885" fmla="*/ 1782414 w 1814027"/>
                <a:gd name="connsiteY2885" fmla="*/ 624299 h 1113404"/>
                <a:gd name="connsiteX2886" fmla="*/ 1780871 w 1814027"/>
                <a:gd name="connsiteY2886" fmla="*/ 620003 h 1113404"/>
                <a:gd name="connsiteX2887" fmla="*/ 1781083 w 1814027"/>
                <a:gd name="connsiteY2887" fmla="*/ 616797 h 1113404"/>
                <a:gd name="connsiteX2888" fmla="*/ 1782294 w 1814027"/>
                <a:gd name="connsiteY2888" fmla="*/ 614044 h 1113404"/>
                <a:gd name="connsiteX2889" fmla="*/ 1787376 w 1814027"/>
                <a:gd name="connsiteY2889" fmla="*/ 605301 h 1113404"/>
                <a:gd name="connsiteX2890" fmla="*/ 1789281 w 1814027"/>
                <a:gd name="connsiteY2890" fmla="*/ 603274 h 1113404"/>
                <a:gd name="connsiteX2891" fmla="*/ 1794122 w 1814027"/>
                <a:gd name="connsiteY2891" fmla="*/ 599886 h 1113404"/>
                <a:gd name="connsiteX2892" fmla="*/ 1795846 w 1814027"/>
                <a:gd name="connsiteY2892" fmla="*/ 598040 h 1113404"/>
                <a:gd name="connsiteX2893" fmla="*/ 1797147 w 1814027"/>
                <a:gd name="connsiteY2893" fmla="*/ 595499 h 1113404"/>
                <a:gd name="connsiteX2894" fmla="*/ 1797389 w 1814027"/>
                <a:gd name="connsiteY2894" fmla="*/ 592807 h 1113404"/>
                <a:gd name="connsiteX2895" fmla="*/ 1795937 w 1814027"/>
                <a:gd name="connsiteY2895" fmla="*/ 590478 h 1113404"/>
                <a:gd name="connsiteX2896" fmla="*/ 1793789 w 1814027"/>
                <a:gd name="connsiteY2896" fmla="*/ 590024 h 1113404"/>
                <a:gd name="connsiteX2897" fmla="*/ 1788555 w 1814027"/>
                <a:gd name="connsiteY2897" fmla="*/ 591779 h 1113404"/>
                <a:gd name="connsiteX2898" fmla="*/ 1786499 w 1814027"/>
                <a:gd name="connsiteY2898" fmla="*/ 592020 h 1113404"/>
                <a:gd name="connsiteX2899" fmla="*/ 1779571 w 1814027"/>
                <a:gd name="connsiteY2899" fmla="*/ 587967 h 1113404"/>
                <a:gd name="connsiteX2900" fmla="*/ 1786438 w 1814027"/>
                <a:gd name="connsiteY2900" fmla="*/ 582673 h 1113404"/>
                <a:gd name="connsiteX2901" fmla="*/ 1788163 w 1814027"/>
                <a:gd name="connsiteY2901" fmla="*/ 580616 h 1113404"/>
                <a:gd name="connsiteX2902" fmla="*/ 1790431 w 1814027"/>
                <a:gd name="connsiteY2902" fmla="*/ 578559 h 1113404"/>
                <a:gd name="connsiteX2903" fmla="*/ 1789463 w 1814027"/>
                <a:gd name="connsiteY2903" fmla="*/ 577349 h 1113404"/>
                <a:gd name="connsiteX2904" fmla="*/ 1788677 w 1814027"/>
                <a:gd name="connsiteY2904" fmla="*/ 575443 h 1113404"/>
                <a:gd name="connsiteX2905" fmla="*/ 1787618 w 1814027"/>
                <a:gd name="connsiteY2905" fmla="*/ 571873 h 1113404"/>
                <a:gd name="connsiteX2906" fmla="*/ 1784472 w 1814027"/>
                <a:gd name="connsiteY2906" fmla="*/ 565460 h 1113404"/>
                <a:gd name="connsiteX2907" fmla="*/ 1783413 w 1814027"/>
                <a:gd name="connsiteY2907" fmla="*/ 564704 h 1113404"/>
                <a:gd name="connsiteX2908" fmla="*/ 1782445 w 1814027"/>
                <a:gd name="connsiteY2908" fmla="*/ 563584 h 1113404"/>
                <a:gd name="connsiteX2909" fmla="*/ 1782173 w 1814027"/>
                <a:gd name="connsiteY2909" fmla="*/ 561406 h 1113404"/>
                <a:gd name="connsiteX2910" fmla="*/ 1782626 w 1814027"/>
                <a:gd name="connsiteY2910" fmla="*/ 561285 h 1113404"/>
                <a:gd name="connsiteX2911" fmla="*/ 1783564 w 1814027"/>
                <a:gd name="connsiteY2911" fmla="*/ 561345 h 1113404"/>
                <a:gd name="connsiteX2912" fmla="*/ 1784502 w 1814027"/>
                <a:gd name="connsiteY2912" fmla="*/ 561073 h 1113404"/>
                <a:gd name="connsiteX2913" fmla="*/ 1784925 w 1814027"/>
                <a:gd name="connsiteY2913" fmla="*/ 559893 h 1113404"/>
                <a:gd name="connsiteX2914" fmla="*/ 1784804 w 1814027"/>
                <a:gd name="connsiteY2914" fmla="*/ 559470 h 1113404"/>
                <a:gd name="connsiteX2915" fmla="*/ 1784563 w 1814027"/>
                <a:gd name="connsiteY2915" fmla="*/ 558895 h 1113404"/>
                <a:gd name="connsiteX2916" fmla="*/ 1784321 w 1814027"/>
                <a:gd name="connsiteY2916" fmla="*/ 558109 h 1113404"/>
                <a:gd name="connsiteX2917" fmla="*/ 1784199 w 1814027"/>
                <a:gd name="connsiteY2917" fmla="*/ 557080 h 1113404"/>
                <a:gd name="connsiteX2918" fmla="*/ 1783443 w 1814027"/>
                <a:gd name="connsiteY2918" fmla="*/ 553450 h 1113404"/>
                <a:gd name="connsiteX2919" fmla="*/ 1781447 w 1814027"/>
                <a:gd name="connsiteY2919" fmla="*/ 551030 h 1113404"/>
                <a:gd name="connsiteX2920" fmla="*/ 1778815 w 1814027"/>
                <a:gd name="connsiteY2920" fmla="*/ 549608 h 1113404"/>
                <a:gd name="connsiteX2921" fmla="*/ 1766835 w 1814027"/>
                <a:gd name="connsiteY2921" fmla="*/ 548216 h 1113404"/>
                <a:gd name="connsiteX2922" fmla="*/ 1764839 w 1814027"/>
                <a:gd name="connsiteY2922" fmla="*/ 548942 h 1113404"/>
                <a:gd name="connsiteX2923" fmla="*/ 1760967 w 1814027"/>
                <a:gd name="connsiteY2923" fmla="*/ 549154 h 1113404"/>
                <a:gd name="connsiteX2924" fmla="*/ 1761964 w 1814027"/>
                <a:gd name="connsiteY2924" fmla="*/ 545675 h 1113404"/>
                <a:gd name="connsiteX2925" fmla="*/ 1768105 w 1814027"/>
                <a:gd name="connsiteY2925" fmla="*/ 526799 h 1113404"/>
                <a:gd name="connsiteX2926" fmla="*/ 1768953 w 1814027"/>
                <a:gd name="connsiteY2926" fmla="*/ 525649 h 1113404"/>
                <a:gd name="connsiteX2927" fmla="*/ 1771464 w 1814027"/>
                <a:gd name="connsiteY2927" fmla="*/ 524711 h 1113404"/>
                <a:gd name="connsiteX2928" fmla="*/ 1772281 w 1814027"/>
                <a:gd name="connsiteY2928" fmla="*/ 523441 h 1113404"/>
                <a:gd name="connsiteX2929" fmla="*/ 1772976 w 1814027"/>
                <a:gd name="connsiteY2929" fmla="*/ 521868 h 1113404"/>
                <a:gd name="connsiteX2930" fmla="*/ 1773793 w 1814027"/>
                <a:gd name="connsiteY2930" fmla="*/ 520325 h 1113404"/>
                <a:gd name="connsiteX2931" fmla="*/ 1775820 w 1814027"/>
                <a:gd name="connsiteY2931" fmla="*/ 518237 h 1113404"/>
                <a:gd name="connsiteX2932" fmla="*/ 1777998 w 1814027"/>
                <a:gd name="connsiteY2932" fmla="*/ 517239 h 1113404"/>
                <a:gd name="connsiteX2933" fmla="*/ 1780327 w 1814027"/>
                <a:gd name="connsiteY2933" fmla="*/ 517148 h 1113404"/>
                <a:gd name="connsiteX2934" fmla="*/ 1791459 w 1814027"/>
                <a:gd name="connsiteY2934" fmla="*/ 521202 h 1113404"/>
                <a:gd name="connsiteX2935" fmla="*/ 1795513 w 1814027"/>
                <a:gd name="connsiteY2935" fmla="*/ 520779 h 1113404"/>
                <a:gd name="connsiteX2936" fmla="*/ 1799960 w 1814027"/>
                <a:gd name="connsiteY2936" fmla="*/ 517481 h 1113404"/>
                <a:gd name="connsiteX2937" fmla="*/ 1801897 w 1814027"/>
                <a:gd name="connsiteY2937" fmla="*/ 515122 h 1113404"/>
                <a:gd name="connsiteX2938" fmla="*/ 1803319 w 1814027"/>
                <a:gd name="connsiteY2938" fmla="*/ 512338 h 1113404"/>
                <a:gd name="connsiteX2939" fmla="*/ 1803409 w 1814027"/>
                <a:gd name="connsiteY2939" fmla="*/ 509616 h 1113404"/>
                <a:gd name="connsiteX2940" fmla="*/ 1801443 w 1814027"/>
                <a:gd name="connsiteY2940" fmla="*/ 507316 h 1113404"/>
                <a:gd name="connsiteX2941" fmla="*/ 1798872 w 1814027"/>
                <a:gd name="connsiteY2941" fmla="*/ 507014 h 1113404"/>
                <a:gd name="connsiteX2942" fmla="*/ 1796965 w 1814027"/>
                <a:gd name="connsiteY2942" fmla="*/ 508739 h 1113404"/>
                <a:gd name="connsiteX2943" fmla="*/ 1795211 w 1814027"/>
                <a:gd name="connsiteY2943" fmla="*/ 510886 h 1113404"/>
                <a:gd name="connsiteX2944" fmla="*/ 1793002 w 1814027"/>
                <a:gd name="connsiteY2944" fmla="*/ 511945 h 1113404"/>
                <a:gd name="connsiteX2945" fmla="*/ 1791732 w 1814027"/>
                <a:gd name="connsiteY2945" fmla="*/ 511461 h 1113404"/>
                <a:gd name="connsiteX2946" fmla="*/ 1789826 w 1814027"/>
                <a:gd name="connsiteY2946" fmla="*/ 509192 h 1113404"/>
                <a:gd name="connsiteX2947" fmla="*/ 1788767 w 1814027"/>
                <a:gd name="connsiteY2947" fmla="*/ 508345 h 1113404"/>
                <a:gd name="connsiteX2948" fmla="*/ 1787588 w 1814027"/>
                <a:gd name="connsiteY2948" fmla="*/ 508133 h 1113404"/>
                <a:gd name="connsiteX2949" fmla="*/ 1784078 w 1814027"/>
                <a:gd name="connsiteY2949" fmla="*/ 508617 h 1113404"/>
                <a:gd name="connsiteX2950" fmla="*/ 1776092 w 1814027"/>
                <a:gd name="connsiteY2950" fmla="*/ 506923 h 1113404"/>
                <a:gd name="connsiteX2951" fmla="*/ 1773702 w 1814027"/>
                <a:gd name="connsiteY2951" fmla="*/ 505955 h 1113404"/>
                <a:gd name="connsiteX2952" fmla="*/ 1772552 w 1814027"/>
                <a:gd name="connsiteY2952" fmla="*/ 504564 h 1113404"/>
                <a:gd name="connsiteX2953" fmla="*/ 1771736 w 1814027"/>
                <a:gd name="connsiteY2953" fmla="*/ 502658 h 1113404"/>
                <a:gd name="connsiteX2954" fmla="*/ 1770374 w 1814027"/>
                <a:gd name="connsiteY2954" fmla="*/ 500117 h 1113404"/>
                <a:gd name="connsiteX2955" fmla="*/ 1768560 w 1814027"/>
                <a:gd name="connsiteY2955" fmla="*/ 498453 h 1113404"/>
                <a:gd name="connsiteX2956" fmla="*/ 1766532 w 1814027"/>
                <a:gd name="connsiteY2956" fmla="*/ 497213 h 1113404"/>
                <a:gd name="connsiteX2957" fmla="*/ 1765171 w 1814027"/>
                <a:gd name="connsiteY2957" fmla="*/ 495458 h 1113404"/>
                <a:gd name="connsiteX2958" fmla="*/ 1765897 w 1814027"/>
                <a:gd name="connsiteY2958" fmla="*/ 488409 h 1113404"/>
                <a:gd name="connsiteX2959" fmla="*/ 1767591 w 1814027"/>
                <a:gd name="connsiteY2959" fmla="*/ 487260 h 1113404"/>
                <a:gd name="connsiteX2960" fmla="*/ 1772704 w 1814027"/>
                <a:gd name="connsiteY2960" fmla="*/ 487563 h 1113404"/>
                <a:gd name="connsiteX2961" fmla="*/ 1781023 w 1814027"/>
                <a:gd name="connsiteY2961" fmla="*/ 484870 h 1113404"/>
                <a:gd name="connsiteX2962" fmla="*/ 1784078 w 1814027"/>
                <a:gd name="connsiteY2962" fmla="*/ 484870 h 1113404"/>
                <a:gd name="connsiteX2963" fmla="*/ 1787043 w 1814027"/>
                <a:gd name="connsiteY2963" fmla="*/ 485354 h 1113404"/>
                <a:gd name="connsiteX2964" fmla="*/ 1788646 w 1814027"/>
                <a:gd name="connsiteY2964" fmla="*/ 485233 h 1113404"/>
                <a:gd name="connsiteX2965" fmla="*/ 1789796 w 1814027"/>
                <a:gd name="connsiteY2965" fmla="*/ 484507 h 1113404"/>
                <a:gd name="connsiteX2966" fmla="*/ 1790280 w 1814027"/>
                <a:gd name="connsiteY2966" fmla="*/ 483085 h 1113404"/>
                <a:gd name="connsiteX2967" fmla="*/ 1790552 w 1814027"/>
                <a:gd name="connsiteY2967" fmla="*/ 479062 h 1113404"/>
                <a:gd name="connsiteX2968" fmla="*/ 1791036 w 1814027"/>
                <a:gd name="connsiteY2968" fmla="*/ 477065 h 1113404"/>
                <a:gd name="connsiteX2969" fmla="*/ 1793154 w 1814027"/>
                <a:gd name="connsiteY2969" fmla="*/ 473677 h 1113404"/>
                <a:gd name="connsiteX2970" fmla="*/ 1795937 w 1814027"/>
                <a:gd name="connsiteY2970" fmla="*/ 471227 h 1113404"/>
                <a:gd name="connsiteX2971" fmla="*/ 1801836 w 1814027"/>
                <a:gd name="connsiteY2971" fmla="*/ 467445 h 1113404"/>
                <a:gd name="connsiteX2972" fmla="*/ 1803772 w 1814027"/>
                <a:gd name="connsiteY2972" fmla="*/ 465449 h 1113404"/>
                <a:gd name="connsiteX2973" fmla="*/ 1807130 w 1814027"/>
                <a:gd name="connsiteY2973" fmla="*/ 460578 h 1113404"/>
                <a:gd name="connsiteX2974" fmla="*/ 1809066 w 1814027"/>
                <a:gd name="connsiteY2974" fmla="*/ 459096 h 1113404"/>
                <a:gd name="connsiteX2975" fmla="*/ 1811456 w 1814027"/>
                <a:gd name="connsiteY2975" fmla="*/ 457886 h 1113404"/>
                <a:gd name="connsiteX2976" fmla="*/ 1812243 w 1814027"/>
                <a:gd name="connsiteY2976" fmla="*/ 456555 h 1113404"/>
                <a:gd name="connsiteX2977" fmla="*/ 1812333 w 1814027"/>
                <a:gd name="connsiteY2977" fmla="*/ 451442 h 1113404"/>
                <a:gd name="connsiteX2978" fmla="*/ 1813785 w 1814027"/>
                <a:gd name="connsiteY2978" fmla="*/ 446632 h 1113404"/>
                <a:gd name="connsiteX2979" fmla="*/ 1814028 w 1814027"/>
                <a:gd name="connsiteY2979" fmla="*/ 444121 h 1113404"/>
                <a:gd name="connsiteX2980" fmla="*/ 1812878 w 1814027"/>
                <a:gd name="connsiteY2980" fmla="*/ 441852 h 111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Lst>
              <a:rect l="l" t="t" r="r" b="b"/>
              <a:pathLst>
                <a:path w="1814027" h="1113404">
                  <a:moveTo>
                    <a:pt x="782847" y="942544"/>
                  </a:moveTo>
                  <a:lnTo>
                    <a:pt x="781123" y="943905"/>
                  </a:lnTo>
                  <a:lnTo>
                    <a:pt x="778218" y="946840"/>
                  </a:lnTo>
                  <a:lnTo>
                    <a:pt x="776615" y="948050"/>
                  </a:lnTo>
                  <a:lnTo>
                    <a:pt x="775223" y="948443"/>
                  </a:lnTo>
                  <a:lnTo>
                    <a:pt x="773680" y="948655"/>
                  </a:lnTo>
                  <a:lnTo>
                    <a:pt x="772380" y="949139"/>
                  </a:lnTo>
                  <a:lnTo>
                    <a:pt x="771835" y="950379"/>
                  </a:lnTo>
                  <a:lnTo>
                    <a:pt x="771049" y="951649"/>
                  </a:lnTo>
                  <a:lnTo>
                    <a:pt x="769022" y="953132"/>
                  </a:lnTo>
                  <a:lnTo>
                    <a:pt x="763970" y="955673"/>
                  </a:lnTo>
                  <a:lnTo>
                    <a:pt x="771684" y="952648"/>
                  </a:lnTo>
                  <a:lnTo>
                    <a:pt x="781818" y="945781"/>
                  </a:lnTo>
                  <a:lnTo>
                    <a:pt x="803751" y="926602"/>
                  </a:lnTo>
                  <a:lnTo>
                    <a:pt x="798698" y="929112"/>
                  </a:lnTo>
                  <a:lnTo>
                    <a:pt x="782907" y="942574"/>
                  </a:lnTo>
                  <a:close/>
                  <a:moveTo>
                    <a:pt x="1098702" y="898195"/>
                  </a:moveTo>
                  <a:lnTo>
                    <a:pt x="1097462" y="896531"/>
                  </a:lnTo>
                  <a:lnTo>
                    <a:pt x="1092863" y="896864"/>
                  </a:lnTo>
                  <a:lnTo>
                    <a:pt x="1091835" y="895896"/>
                  </a:lnTo>
                  <a:lnTo>
                    <a:pt x="1090776" y="894474"/>
                  </a:lnTo>
                  <a:lnTo>
                    <a:pt x="1088386" y="894686"/>
                  </a:lnTo>
                  <a:lnTo>
                    <a:pt x="1084212" y="896410"/>
                  </a:lnTo>
                  <a:lnTo>
                    <a:pt x="1081005" y="894202"/>
                  </a:lnTo>
                  <a:lnTo>
                    <a:pt x="1078040" y="894081"/>
                  </a:lnTo>
                  <a:lnTo>
                    <a:pt x="1071113" y="895412"/>
                  </a:lnTo>
                  <a:lnTo>
                    <a:pt x="1056622" y="893597"/>
                  </a:lnTo>
                  <a:lnTo>
                    <a:pt x="1055836" y="892780"/>
                  </a:lnTo>
                  <a:lnTo>
                    <a:pt x="1055382" y="892780"/>
                  </a:lnTo>
                  <a:lnTo>
                    <a:pt x="1054656" y="893597"/>
                  </a:lnTo>
                  <a:lnTo>
                    <a:pt x="1096978" y="899980"/>
                  </a:lnTo>
                  <a:lnTo>
                    <a:pt x="1098732" y="898226"/>
                  </a:lnTo>
                  <a:close/>
                  <a:moveTo>
                    <a:pt x="999417" y="877261"/>
                  </a:moveTo>
                  <a:lnTo>
                    <a:pt x="986288" y="874327"/>
                  </a:lnTo>
                  <a:lnTo>
                    <a:pt x="953858" y="867036"/>
                  </a:lnTo>
                  <a:lnTo>
                    <a:pt x="949834" y="864858"/>
                  </a:lnTo>
                  <a:lnTo>
                    <a:pt x="947444" y="862075"/>
                  </a:lnTo>
                  <a:lnTo>
                    <a:pt x="945842" y="858143"/>
                  </a:lnTo>
                  <a:lnTo>
                    <a:pt x="944178" y="852455"/>
                  </a:lnTo>
                  <a:lnTo>
                    <a:pt x="942423" y="851789"/>
                  </a:lnTo>
                  <a:lnTo>
                    <a:pt x="942484" y="854240"/>
                  </a:lnTo>
                  <a:lnTo>
                    <a:pt x="943391" y="857658"/>
                  </a:lnTo>
                  <a:lnTo>
                    <a:pt x="944178" y="859806"/>
                  </a:lnTo>
                  <a:lnTo>
                    <a:pt x="946900" y="863920"/>
                  </a:lnTo>
                  <a:lnTo>
                    <a:pt x="950046" y="866552"/>
                  </a:lnTo>
                  <a:lnTo>
                    <a:pt x="965807" y="872149"/>
                  </a:lnTo>
                  <a:lnTo>
                    <a:pt x="1002503" y="879348"/>
                  </a:lnTo>
                  <a:lnTo>
                    <a:pt x="1006738" y="881224"/>
                  </a:lnTo>
                  <a:lnTo>
                    <a:pt x="1009006" y="881678"/>
                  </a:lnTo>
                  <a:lnTo>
                    <a:pt x="1007706" y="880801"/>
                  </a:lnTo>
                  <a:lnTo>
                    <a:pt x="999417" y="877261"/>
                  </a:lnTo>
                  <a:close/>
                  <a:moveTo>
                    <a:pt x="1812243" y="442004"/>
                  </a:moveTo>
                  <a:lnTo>
                    <a:pt x="1807553" y="436921"/>
                  </a:lnTo>
                  <a:lnTo>
                    <a:pt x="1803590" y="431204"/>
                  </a:lnTo>
                  <a:lnTo>
                    <a:pt x="1801473" y="426999"/>
                  </a:lnTo>
                  <a:lnTo>
                    <a:pt x="1800868" y="422522"/>
                  </a:lnTo>
                  <a:lnTo>
                    <a:pt x="1802834" y="417863"/>
                  </a:lnTo>
                  <a:lnTo>
                    <a:pt x="1804619" y="416320"/>
                  </a:lnTo>
                  <a:lnTo>
                    <a:pt x="1808522" y="414233"/>
                  </a:lnTo>
                  <a:lnTo>
                    <a:pt x="1810065" y="412267"/>
                  </a:lnTo>
                  <a:lnTo>
                    <a:pt x="1810518" y="409302"/>
                  </a:lnTo>
                  <a:lnTo>
                    <a:pt x="1809278" y="408062"/>
                  </a:lnTo>
                  <a:lnTo>
                    <a:pt x="1808975" y="407759"/>
                  </a:lnTo>
                  <a:lnTo>
                    <a:pt x="1799143" y="405278"/>
                  </a:lnTo>
                  <a:lnTo>
                    <a:pt x="1797177" y="405218"/>
                  </a:lnTo>
                  <a:lnTo>
                    <a:pt x="1794757" y="406035"/>
                  </a:lnTo>
                  <a:lnTo>
                    <a:pt x="1788798" y="411661"/>
                  </a:lnTo>
                  <a:lnTo>
                    <a:pt x="1786256" y="413053"/>
                  </a:lnTo>
                  <a:lnTo>
                    <a:pt x="1783261" y="414142"/>
                  </a:lnTo>
                  <a:lnTo>
                    <a:pt x="1780176" y="414717"/>
                  </a:lnTo>
                  <a:lnTo>
                    <a:pt x="1777453" y="414596"/>
                  </a:lnTo>
                  <a:lnTo>
                    <a:pt x="1775396" y="413719"/>
                  </a:lnTo>
                  <a:lnTo>
                    <a:pt x="1770163" y="409090"/>
                  </a:lnTo>
                  <a:lnTo>
                    <a:pt x="1766079" y="407275"/>
                  </a:lnTo>
                  <a:lnTo>
                    <a:pt x="1762509" y="406367"/>
                  </a:lnTo>
                  <a:lnTo>
                    <a:pt x="1759454" y="404431"/>
                  </a:lnTo>
                  <a:lnTo>
                    <a:pt x="1756882" y="399500"/>
                  </a:lnTo>
                  <a:lnTo>
                    <a:pt x="1755279" y="393420"/>
                  </a:lnTo>
                  <a:lnTo>
                    <a:pt x="1754160" y="390183"/>
                  </a:lnTo>
                  <a:lnTo>
                    <a:pt x="1752859" y="388640"/>
                  </a:lnTo>
                  <a:lnTo>
                    <a:pt x="1746990" y="388065"/>
                  </a:lnTo>
                  <a:lnTo>
                    <a:pt x="1745054" y="387279"/>
                  </a:lnTo>
                  <a:lnTo>
                    <a:pt x="1741394" y="385010"/>
                  </a:lnTo>
                  <a:lnTo>
                    <a:pt x="1737612" y="385766"/>
                  </a:lnTo>
                  <a:lnTo>
                    <a:pt x="1733710" y="387551"/>
                  </a:lnTo>
                  <a:lnTo>
                    <a:pt x="1729717" y="388338"/>
                  </a:lnTo>
                  <a:lnTo>
                    <a:pt x="1725935" y="387521"/>
                  </a:lnTo>
                  <a:lnTo>
                    <a:pt x="1723001" y="385736"/>
                  </a:lnTo>
                  <a:lnTo>
                    <a:pt x="1720702" y="382802"/>
                  </a:lnTo>
                  <a:lnTo>
                    <a:pt x="1715135" y="369431"/>
                  </a:lnTo>
                  <a:lnTo>
                    <a:pt x="1714984" y="369279"/>
                  </a:lnTo>
                  <a:lnTo>
                    <a:pt x="1712443" y="367252"/>
                  </a:lnTo>
                  <a:lnTo>
                    <a:pt x="1708541" y="368583"/>
                  </a:lnTo>
                  <a:lnTo>
                    <a:pt x="1706816" y="370398"/>
                  </a:lnTo>
                  <a:lnTo>
                    <a:pt x="1703640" y="374785"/>
                  </a:lnTo>
                  <a:lnTo>
                    <a:pt x="1701704" y="376298"/>
                  </a:lnTo>
                  <a:lnTo>
                    <a:pt x="1700009" y="376751"/>
                  </a:lnTo>
                  <a:lnTo>
                    <a:pt x="1690450" y="377296"/>
                  </a:lnTo>
                  <a:lnTo>
                    <a:pt x="1687728" y="374846"/>
                  </a:lnTo>
                  <a:lnTo>
                    <a:pt x="1685308" y="371336"/>
                  </a:lnTo>
                  <a:lnTo>
                    <a:pt x="1681889" y="368372"/>
                  </a:lnTo>
                  <a:lnTo>
                    <a:pt x="1671392" y="365558"/>
                  </a:lnTo>
                  <a:lnTo>
                    <a:pt x="1665281" y="361474"/>
                  </a:lnTo>
                  <a:lnTo>
                    <a:pt x="1664646" y="360839"/>
                  </a:lnTo>
                  <a:lnTo>
                    <a:pt x="1664101" y="359599"/>
                  </a:lnTo>
                  <a:lnTo>
                    <a:pt x="1663829" y="357300"/>
                  </a:lnTo>
                  <a:lnTo>
                    <a:pt x="1662951" y="354486"/>
                  </a:lnTo>
                  <a:lnTo>
                    <a:pt x="1662951" y="354123"/>
                  </a:lnTo>
                  <a:lnTo>
                    <a:pt x="1662740" y="354486"/>
                  </a:lnTo>
                  <a:lnTo>
                    <a:pt x="1660290" y="355242"/>
                  </a:lnTo>
                  <a:lnTo>
                    <a:pt x="1659382" y="355817"/>
                  </a:lnTo>
                  <a:lnTo>
                    <a:pt x="1658414" y="356180"/>
                  </a:lnTo>
                  <a:lnTo>
                    <a:pt x="1653453" y="355333"/>
                  </a:lnTo>
                  <a:lnTo>
                    <a:pt x="1646132" y="356574"/>
                  </a:lnTo>
                  <a:lnTo>
                    <a:pt x="1642471" y="355303"/>
                  </a:lnTo>
                  <a:lnTo>
                    <a:pt x="1640112" y="353790"/>
                  </a:lnTo>
                  <a:lnTo>
                    <a:pt x="1638327" y="353155"/>
                  </a:lnTo>
                  <a:lnTo>
                    <a:pt x="1633941" y="352701"/>
                  </a:lnTo>
                  <a:lnTo>
                    <a:pt x="1631913" y="351885"/>
                  </a:lnTo>
                  <a:lnTo>
                    <a:pt x="1630704" y="350221"/>
                  </a:lnTo>
                  <a:lnTo>
                    <a:pt x="1627679" y="341962"/>
                  </a:lnTo>
                  <a:lnTo>
                    <a:pt x="1626257" y="340389"/>
                  </a:lnTo>
                  <a:lnTo>
                    <a:pt x="1624381" y="340117"/>
                  </a:lnTo>
                  <a:lnTo>
                    <a:pt x="1621628" y="340601"/>
                  </a:lnTo>
                  <a:lnTo>
                    <a:pt x="1615185" y="340056"/>
                  </a:lnTo>
                  <a:lnTo>
                    <a:pt x="1613582" y="340419"/>
                  </a:lnTo>
                  <a:lnTo>
                    <a:pt x="1612613" y="344685"/>
                  </a:lnTo>
                  <a:lnTo>
                    <a:pt x="1613339" y="351340"/>
                  </a:lnTo>
                  <a:lnTo>
                    <a:pt x="1612825" y="357602"/>
                  </a:lnTo>
                  <a:lnTo>
                    <a:pt x="1608076" y="360658"/>
                  </a:lnTo>
                  <a:lnTo>
                    <a:pt x="1607017" y="360446"/>
                  </a:lnTo>
                  <a:lnTo>
                    <a:pt x="1605172" y="359327"/>
                  </a:lnTo>
                  <a:lnTo>
                    <a:pt x="1604052" y="359115"/>
                  </a:lnTo>
                  <a:lnTo>
                    <a:pt x="1602782" y="359508"/>
                  </a:lnTo>
                  <a:lnTo>
                    <a:pt x="1598395" y="362110"/>
                  </a:lnTo>
                  <a:lnTo>
                    <a:pt x="1596126" y="363441"/>
                  </a:lnTo>
                  <a:lnTo>
                    <a:pt x="1595672" y="362563"/>
                  </a:lnTo>
                  <a:lnTo>
                    <a:pt x="1595612" y="360355"/>
                  </a:lnTo>
                  <a:lnTo>
                    <a:pt x="1594069" y="357753"/>
                  </a:lnTo>
                  <a:lnTo>
                    <a:pt x="1593948" y="357481"/>
                  </a:lnTo>
                  <a:lnTo>
                    <a:pt x="1590681" y="352217"/>
                  </a:lnTo>
                  <a:lnTo>
                    <a:pt x="1587595" y="348618"/>
                  </a:lnTo>
                  <a:lnTo>
                    <a:pt x="1584147" y="345774"/>
                  </a:lnTo>
                  <a:lnTo>
                    <a:pt x="1580244" y="343445"/>
                  </a:lnTo>
                  <a:lnTo>
                    <a:pt x="1572258" y="340087"/>
                  </a:lnTo>
                  <a:lnTo>
                    <a:pt x="1568658" y="337757"/>
                  </a:lnTo>
                  <a:lnTo>
                    <a:pt x="1559008" y="324023"/>
                  </a:lnTo>
                  <a:lnTo>
                    <a:pt x="1555498" y="320726"/>
                  </a:lnTo>
                  <a:lnTo>
                    <a:pt x="1554803" y="319727"/>
                  </a:lnTo>
                  <a:lnTo>
                    <a:pt x="1554652" y="318154"/>
                  </a:lnTo>
                  <a:lnTo>
                    <a:pt x="1554954" y="316612"/>
                  </a:lnTo>
                  <a:lnTo>
                    <a:pt x="1555952" y="313193"/>
                  </a:lnTo>
                  <a:lnTo>
                    <a:pt x="1555710" y="307143"/>
                  </a:lnTo>
                  <a:lnTo>
                    <a:pt x="1552594" y="304027"/>
                  </a:lnTo>
                  <a:lnTo>
                    <a:pt x="1543731" y="300064"/>
                  </a:lnTo>
                  <a:lnTo>
                    <a:pt x="1542097" y="296222"/>
                  </a:lnTo>
                  <a:lnTo>
                    <a:pt x="1540706" y="291533"/>
                  </a:lnTo>
                  <a:lnTo>
                    <a:pt x="1539193" y="287752"/>
                  </a:lnTo>
                  <a:lnTo>
                    <a:pt x="1537197" y="286753"/>
                  </a:lnTo>
                  <a:lnTo>
                    <a:pt x="1527093" y="288054"/>
                  </a:lnTo>
                  <a:lnTo>
                    <a:pt x="1524098" y="289173"/>
                  </a:lnTo>
                  <a:lnTo>
                    <a:pt x="1518229" y="294710"/>
                  </a:lnTo>
                  <a:lnTo>
                    <a:pt x="1515234" y="296827"/>
                  </a:lnTo>
                  <a:lnTo>
                    <a:pt x="1500623" y="300730"/>
                  </a:lnTo>
                  <a:lnTo>
                    <a:pt x="1493423" y="299731"/>
                  </a:lnTo>
                  <a:lnTo>
                    <a:pt x="1486767" y="300185"/>
                  </a:lnTo>
                  <a:lnTo>
                    <a:pt x="1480203" y="302424"/>
                  </a:lnTo>
                  <a:lnTo>
                    <a:pt x="1463504" y="311529"/>
                  </a:lnTo>
                  <a:lnTo>
                    <a:pt x="1462234" y="312649"/>
                  </a:lnTo>
                  <a:lnTo>
                    <a:pt x="1461296" y="313980"/>
                  </a:lnTo>
                  <a:lnTo>
                    <a:pt x="1459662" y="317095"/>
                  </a:lnTo>
                  <a:lnTo>
                    <a:pt x="1458785" y="318275"/>
                  </a:lnTo>
                  <a:lnTo>
                    <a:pt x="1456879" y="319364"/>
                  </a:lnTo>
                  <a:lnTo>
                    <a:pt x="1454610" y="319637"/>
                  </a:lnTo>
                  <a:lnTo>
                    <a:pt x="1452250" y="319274"/>
                  </a:lnTo>
                  <a:lnTo>
                    <a:pt x="1450103" y="318517"/>
                  </a:lnTo>
                  <a:lnTo>
                    <a:pt x="1448590" y="317398"/>
                  </a:lnTo>
                  <a:lnTo>
                    <a:pt x="1448287" y="316097"/>
                  </a:lnTo>
                  <a:lnTo>
                    <a:pt x="1448530" y="314675"/>
                  </a:lnTo>
                  <a:lnTo>
                    <a:pt x="1448742" y="311469"/>
                  </a:lnTo>
                  <a:lnTo>
                    <a:pt x="1449013" y="310864"/>
                  </a:lnTo>
                  <a:lnTo>
                    <a:pt x="1448772" y="310501"/>
                  </a:lnTo>
                  <a:lnTo>
                    <a:pt x="1447229" y="309563"/>
                  </a:lnTo>
                  <a:lnTo>
                    <a:pt x="1446321" y="309230"/>
                  </a:lnTo>
                  <a:lnTo>
                    <a:pt x="1443115" y="308595"/>
                  </a:lnTo>
                  <a:lnTo>
                    <a:pt x="1440362" y="306750"/>
                  </a:lnTo>
                  <a:lnTo>
                    <a:pt x="1438123" y="306265"/>
                  </a:lnTo>
                  <a:lnTo>
                    <a:pt x="1436066" y="305146"/>
                  </a:lnTo>
                  <a:lnTo>
                    <a:pt x="1435068" y="304844"/>
                  </a:lnTo>
                  <a:lnTo>
                    <a:pt x="1433827" y="304844"/>
                  </a:lnTo>
                  <a:lnTo>
                    <a:pt x="1433131" y="305207"/>
                  </a:lnTo>
                  <a:lnTo>
                    <a:pt x="1431165" y="307022"/>
                  </a:lnTo>
                  <a:lnTo>
                    <a:pt x="1428957" y="308474"/>
                  </a:lnTo>
                  <a:lnTo>
                    <a:pt x="1426567" y="309442"/>
                  </a:lnTo>
                  <a:lnTo>
                    <a:pt x="1424147" y="309563"/>
                  </a:lnTo>
                  <a:lnTo>
                    <a:pt x="1421848" y="308504"/>
                  </a:lnTo>
                  <a:lnTo>
                    <a:pt x="1411804" y="293711"/>
                  </a:lnTo>
                  <a:lnTo>
                    <a:pt x="1408930" y="292380"/>
                  </a:lnTo>
                  <a:lnTo>
                    <a:pt x="1408174" y="289657"/>
                  </a:lnTo>
                  <a:lnTo>
                    <a:pt x="1405421" y="288296"/>
                  </a:lnTo>
                  <a:lnTo>
                    <a:pt x="1387906" y="286965"/>
                  </a:lnTo>
                  <a:lnTo>
                    <a:pt x="1378407" y="287963"/>
                  </a:lnTo>
                  <a:lnTo>
                    <a:pt x="1376592" y="288568"/>
                  </a:lnTo>
                  <a:lnTo>
                    <a:pt x="1375200" y="289567"/>
                  </a:lnTo>
                  <a:lnTo>
                    <a:pt x="1373203" y="292108"/>
                  </a:lnTo>
                  <a:lnTo>
                    <a:pt x="1372054" y="293227"/>
                  </a:lnTo>
                  <a:lnTo>
                    <a:pt x="1371146" y="293560"/>
                  </a:lnTo>
                  <a:lnTo>
                    <a:pt x="1369210" y="293651"/>
                  </a:lnTo>
                  <a:lnTo>
                    <a:pt x="1368363" y="294014"/>
                  </a:lnTo>
                  <a:lnTo>
                    <a:pt x="1366699" y="295889"/>
                  </a:lnTo>
                  <a:lnTo>
                    <a:pt x="1365611" y="297795"/>
                  </a:lnTo>
                  <a:lnTo>
                    <a:pt x="1364249" y="299308"/>
                  </a:lnTo>
                  <a:lnTo>
                    <a:pt x="1363765" y="299459"/>
                  </a:lnTo>
                  <a:lnTo>
                    <a:pt x="1361859" y="300034"/>
                  </a:lnTo>
                  <a:lnTo>
                    <a:pt x="1359741" y="299913"/>
                  </a:lnTo>
                  <a:lnTo>
                    <a:pt x="1357684" y="299338"/>
                  </a:lnTo>
                  <a:lnTo>
                    <a:pt x="1355658" y="298370"/>
                  </a:lnTo>
                  <a:lnTo>
                    <a:pt x="1353721" y="297099"/>
                  </a:lnTo>
                  <a:lnTo>
                    <a:pt x="1351513" y="294800"/>
                  </a:lnTo>
                  <a:lnTo>
                    <a:pt x="1350878" y="292562"/>
                  </a:lnTo>
                  <a:lnTo>
                    <a:pt x="1350727" y="289960"/>
                  </a:lnTo>
                  <a:lnTo>
                    <a:pt x="1349970" y="286542"/>
                  </a:lnTo>
                  <a:lnTo>
                    <a:pt x="1348579" y="284091"/>
                  </a:lnTo>
                  <a:lnTo>
                    <a:pt x="1346763" y="282730"/>
                  </a:lnTo>
                  <a:lnTo>
                    <a:pt x="1344676" y="282034"/>
                  </a:lnTo>
                  <a:lnTo>
                    <a:pt x="1342498" y="281641"/>
                  </a:lnTo>
                  <a:lnTo>
                    <a:pt x="1339080" y="280310"/>
                  </a:lnTo>
                  <a:lnTo>
                    <a:pt x="1336962" y="276770"/>
                  </a:lnTo>
                  <a:lnTo>
                    <a:pt x="1332183" y="259134"/>
                  </a:lnTo>
                  <a:lnTo>
                    <a:pt x="1332031" y="257258"/>
                  </a:lnTo>
                  <a:lnTo>
                    <a:pt x="1333574" y="255534"/>
                  </a:lnTo>
                  <a:lnTo>
                    <a:pt x="1341349" y="252297"/>
                  </a:lnTo>
                  <a:lnTo>
                    <a:pt x="1338989" y="249544"/>
                  </a:lnTo>
                  <a:lnTo>
                    <a:pt x="1338808" y="246337"/>
                  </a:lnTo>
                  <a:lnTo>
                    <a:pt x="1339170" y="242707"/>
                  </a:lnTo>
                  <a:lnTo>
                    <a:pt x="1338294" y="238623"/>
                  </a:lnTo>
                  <a:lnTo>
                    <a:pt x="1337356" y="237171"/>
                  </a:lnTo>
                  <a:lnTo>
                    <a:pt x="1336236" y="236203"/>
                  </a:lnTo>
                  <a:lnTo>
                    <a:pt x="1333695" y="234812"/>
                  </a:lnTo>
                  <a:lnTo>
                    <a:pt x="1332274" y="233511"/>
                  </a:lnTo>
                  <a:lnTo>
                    <a:pt x="1332122" y="231998"/>
                  </a:lnTo>
                  <a:lnTo>
                    <a:pt x="1332364" y="230244"/>
                  </a:lnTo>
                  <a:lnTo>
                    <a:pt x="1332152" y="228186"/>
                  </a:lnTo>
                  <a:lnTo>
                    <a:pt x="1331275" y="226371"/>
                  </a:lnTo>
                  <a:lnTo>
                    <a:pt x="1329218" y="223770"/>
                  </a:lnTo>
                  <a:lnTo>
                    <a:pt x="1328492" y="221894"/>
                  </a:lnTo>
                  <a:lnTo>
                    <a:pt x="1328401" y="219656"/>
                  </a:lnTo>
                  <a:lnTo>
                    <a:pt x="1328643" y="217871"/>
                  </a:lnTo>
                  <a:lnTo>
                    <a:pt x="1328522" y="216177"/>
                  </a:lnTo>
                  <a:lnTo>
                    <a:pt x="1327251" y="214240"/>
                  </a:lnTo>
                  <a:lnTo>
                    <a:pt x="1326042" y="213484"/>
                  </a:lnTo>
                  <a:lnTo>
                    <a:pt x="1323682" y="212970"/>
                  </a:lnTo>
                  <a:lnTo>
                    <a:pt x="1322774" y="212002"/>
                  </a:lnTo>
                  <a:lnTo>
                    <a:pt x="1322532" y="210550"/>
                  </a:lnTo>
                  <a:lnTo>
                    <a:pt x="1322532" y="206557"/>
                  </a:lnTo>
                  <a:lnTo>
                    <a:pt x="1322109" y="204923"/>
                  </a:lnTo>
                  <a:lnTo>
                    <a:pt x="1327584" y="203864"/>
                  </a:lnTo>
                  <a:lnTo>
                    <a:pt x="1329006" y="202624"/>
                  </a:lnTo>
                  <a:lnTo>
                    <a:pt x="1329853" y="200083"/>
                  </a:lnTo>
                  <a:lnTo>
                    <a:pt x="1328976" y="198480"/>
                  </a:lnTo>
                  <a:lnTo>
                    <a:pt x="1327191" y="197512"/>
                  </a:lnTo>
                  <a:lnTo>
                    <a:pt x="1325194" y="196906"/>
                  </a:lnTo>
                  <a:lnTo>
                    <a:pt x="1321746" y="196695"/>
                  </a:lnTo>
                  <a:lnTo>
                    <a:pt x="1314909" y="198147"/>
                  </a:lnTo>
                  <a:lnTo>
                    <a:pt x="1311521" y="197905"/>
                  </a:lnTo>
                  <a:lnTo>
                    <a:pt x="1308617" y="195273"/>
                  </a:lnTo>
                  <a:lnTo>
                    <a:pt x="1306620" y="190433"/>
                  </a:lnTo>
                  <a:lnTo>
                    <a:pt x="1304140" y="176910"/>
                  </a:lnTo>
                  <a:lnTo>
                    <a:pt x="1303353" y="174763"/>
                  </a:lnTo>
                  <a:lnTo>
                    <a:pt x="1302083" y="173311"/>
                  </a:lnTo>
                  <a:lnTo>
                    <a:pt x="1300146" y="172614"/>
                  </a:lnTo>
                  <a:lnTo>
                    <a:pt x="1298059" y="172948"/>
                  </a:lnTo>
                  <a:lnTo>
                    <a:pt x="1296062" y="173764"/>
                  </a:lnTo>
                  <a:lnTo>
                    <a:pt x="1294096" y="174127"/>
                  </a:lnTo>
                  <a:lnTo>
                    <a:pt x="1292190" y="173038"/>
                  </a:lnTo>
                  <a:lnTo>
                    <a:pt x="1290345" y="172161"/>
                  </a:lnTo>
                  <a:lnTo>
                    <a:pt x="1288741" y="172312"/>
                  </a:lnTo>
                  <a:lnTo>
                    <a:pt x="1284052" y="174944"/>
                  </a:lnTo>
                  <a:lnTo>
                    <a:pt x="1275794" y="178151"/>
                  </a:lnTo>
                  <a:lnTo>
                    <a:pt x="1268806" y="179603"/>
                  </a:lnTo>
                  <a:lnTo>
                    <a:pt x="1261455" y="179179"/>
                  </a:lnTo>
                  <a:lnTo>
                    <a:pt x="1259700" y="178574"/>
                  </a:lnTo>
                  <a:lnTo>
                    <a:pt x="1258218" y="177273"/>
                  </a:lnTo>
                  <a:lnTo>
                    <a:pt x="1257220" y="175065"/>
                  </a:lnTo>
                  <a:lnTo>
                    <a:pt x="1256735" y="172796"/>
                  </a:lnTo>
                  <a:lnTo>
                    <a:pt x="1256130" y="170799"/>
                  </a:lnTo>
                  <a:lnTo>
                    <a:pt x="1254708" y="169438"/>
                  </a:lnTo>
                  <a:lnTo>
                    <a:pt x="1251683" y="169045"/>
                  </a:lnTo>
                  <a:lnTo>
                    <a:pt x="1245180" y="170104"/>
                  </a:lnTo>
                  <a:lnTo>
                    <a:pt x="1241852" y="169015"/>
                  </a:lnTo>
                  <a:lnTo>
                    <a:pt x="1234682" y="166625"/>
                  </a:lnTo>
                  <a:lnTo>
                    <a:pt x="1230931" y="166080"/>
                  </a:lnTo>
                  <a:lnTo>
                    <a:pt x="1227422" y="166927"/>
                  </a:lnTo>
                  <a:lnTo>
                    <a:pt x="1223670" y="169832"/>
                  </a:lnTo>
                  <a:lnTo>
                    <a:pt x="1221886" y="170588"/>
                  </a:lnTo>
                  <a:lnTo>
                    <a:pt x="1219466" y="170134"/>
                  </a:lnTo>
                  <a:lnTo>
                    <a:pt x="1212235" y="167291"/>
                  </a:lnTo>
                  <a:lnTo>
                    <a:pt x="1218074" y="163569"/>
                  </a:lnTo>
                  <a:lnTo>
                    <a:pt x="1222067" y="159576"/>
                  </a:lnTo>
                  <a:lnTo>
                    <a:pt x="1224578" y="154645"/>
                  </a:lnTo>
                  <a:lnTo>
                    <a:pt x="1223731" y="149654"/>
                  </a:lnTo>
                  <a:lnTo>
                    <a:pt x="1221735" y="150712"/>
                  </a:lnTo>
                  <a:lnTo>
                    <a:pt x="1220131" y="150712"/>
                  </a:lnTo>
                  <a:lnTo>
                    <a:pt x="1218407" y="150380"/>
                  </a:lnTo>
                  <a:lnTo>
                    <a:pt x="1216713" y="149745"/>
                  </a:lnTo>
                  <a:lnTo>
                    <a:pt x="1215230" y="148837"/>
                  </a:lnTo>
                  <a:lnTo>
                    <a:pt x="1213264" y="147082"/>
                  </a:lnTo>
                  <a:lnTo>
                    <a:pt x="1212235" y="145842"/>
                  </a:lnTo>
                  <a:lnTo>
                    <a:pt x="1211842" y="144632"/>
                  </a:lnTo>
                  <a:lnTo>
                    <a:pt x="1212356" y="143755"/>
                  </a:lnTo>
                  <a:lnTo>
                    <a:pt x="1214565" y="143301"/>
                  </a:lnTo>
                  <a:lnTo>
                    <a:pt x="1215412" y="142484"/>
                  </a:lnTo>
                  <a:lnTo>
                    <a:pt x="1215684" y="140972"/>
                  </a:lnTo>
                  <a:lnTo>
                    <a:pt x="1215412" y="139671"/>
                  </a:lnTo>
                  <a:lnTo>
                    <a:pt x="1215019" y="138370"/>
                  </a:lnTo>
                  <a:lnTo>
                    <a:pt x="1214898" y="136857"/>
                  </a:lnTo>
                  <a:lnTo>
                    <a:pt x="1215170" y="135436"/>
                  </a:lnTo>
                  <a:lnTo>
                    <a:pt x="1216047" y="132804"/>
                  </a:lnTo>
                  <a:lnTo>
                    <a:pt x="1216289" y="131261"/>
                  </a:lnTo>
                  <a:lnTo>
                    <a:pt x="1216047" y="128024"/>
                  </a:lnTo>
                  <a:lnTo>
                    <a:pt x="1215200" y="125453"/>
                  </a:lnTo>
                  <a:lnTo>
                    <a:pt x="1213899" y="123365"/>
                  </a:lnTo>
                  <a:lnTo>
                    <a:pt x="1209664" y="118888"/>
                  </a:lnTo>
                  <a:lnTo>
                    <a:pt x="1208938" y="117739"/>
                  </a:lnTo>
                  <a:lnTo>
                    <a:pt x="1208514" y="116377"/>
                  </a:lnTo>
                  <a:lnTo>
                    <a:pt x="1208091" y="113322"/>
                  </a:lnTo>
                  <a:lnTo>
                    <a:pt x="1207637" y="112202"/>
                  </a:lnTo>
                  <a:lnTo>
                    <a:pt x="1206246" y="111325"/>
                  </a:lnTo>
                  <a:lnTo>
                    <a:pt x="1202676" y="110418"/>
                  </a:lnTo>
                  <a:lnTo>
                    <a:pt x="1201557" y="108935"/>
                  </a:lnTo>
                  <a:lnTo>
                    <a:pt x="1202525" y="105426"/>
                  </a:lnTo>
                  <a:lnTo>
                    <a:pt x="1206427" y="103339"/>
                  </a:lnTo>
                  <a:lnTo>
                    <a:pt x="1223549" y="99558"/>
                  </a:lnTo>
                  <a:lnTo>
                    <a:pt x="1229449" y="99648"/>
                  </a:lnTo>
                  <a:lnTo>
                    <a:pt x="1231415" y="99195"/>
                  </a:lnTo>
                  <a:lnTo>
                    <a:pt x="1235227" y="95020"/>
                  </a:lnTo>
                  <a:lnTo>
                    <a:pt x="1235075" y="88879"/>
                  </a:lnTo>
                  <a:lnTo>
                    <a:pt x="1232383" y="82889"/>
                  </a:lnTo>
                  <a:lnTo>
                    <a:pt x="1230901" y="81527"/>
                  </a:lnTo>
                  <a:lnTo>
                    <a:pt x="1228511" y="79289"/>
                  </a:lnTo>
                  <a:lnTo>
                    <a:pt x="1226544" y="77988"/>
                  </a:lnTo>
                  <a:lnTo>
                    <a:pt x="1223217" y="74479"/>
                  </a:lnTo>
                  <a:lnTo>
                    <a:pt x="1221402" y="73390"/>
                  </a:lnTo>
                  <a:lnTo>
                    <a:pt x="1220222" y="73390"/>
                  </a:lnTo>
                  <a:lnTo>
                    <a:pt x="1218316" y="74237"/>
                  </a:lnTo>
                  <a:lnTo>
                    <a:pt x="1217136" y="73814"/>
                  </a:lnTo>
                  <a:lnTo>
                    <a:pt x="1217136" y="73451"/>
                  </a:lnTo>
                  <a:lnTo>
                    <a:pt x="1216834" y="71393"/>
                  </a:lnTo>
                  <a:lnTo>
                    <a:pt x="1216562" y="70667"/>
                  </a:lnTo>
                  <a:lnTo>
                    <a:pt x="1215987" y="70093"/>
                  </a:lnTo>
                  <a:lnTo>
                    <a:pt x="1214656" y="69246"/>
                  </a:lnTo>
                  <a:lnTo>
                    <a:pt x="1214051" y="68731"/>
                  </a:lnTo>
                  <a:lnTo>
                    <a:pt x="1210330" y="64254"/>
                  </a:lnTo>
                  <a:lnTo>
                    <a:pt x="1208303" y="62832"/>
                  </a:lnTo>
                  <a:lnTo>
                    <a:pt x="1203281" y="62832"/>
                  </a:lnTo>
                  <a:lnTo>
                    <a:pt x="1203281" y="61501"/>
                  </a:lnTo>
                  <a:lnTo>
                    <a:pt x="1204098" y="59293"/>
                  </a:lnTo>
                  <a:lnTo>
                    <a:pt x="1203766" y="56721"/>
                  </a:lnTo>
                  <a:lnTo>
                    <a:pt x="1201678" y="53545"/>
                  </a:lnTo>
                  <a:lnTo>
                    <a:pt x="1200468" y="50943"/>
                  </a:lnTo>
                  <a:lnTo>
                    <a:pt x="1199893" y="48070"/>
                  </a:lnTo>
                  <a:lnTo>
                    <a:pt x="1199651" y="43108"/>
                  </a:lnTo>
                  <a:lnTo>
                    <a:pt x="1199318" y="40537"/>
                  </a:lnTo>
                  <a:lnTo>
                    <a:pt x="1199318" y="39720"/>
                  </a:lnTo>
                  <a:lnTo>
                    <a:pt x="1201042" y="36332"/>
                  </a:lnTo>
                  <a:lnTo>
                    <a:pt x="1201042" y="34638"/>
                  </a:lnTo>
                  <a:lnTo>
                    <a:pt x="1200740" y="33216"/>
                  </a:lnTo>
                  <a:lnTo>
                    <a:pt x="1200165" y="31764"/>
                  </a:lnTo>
                  <a:lnTo>
                    <a:pt x="1199198" y="30010"/>
                  </a:lnTo>
                  <a:lnTo>
                    <a:pt x="1197503" y="27559"/>
                  </a:lnTo>
                  <a:lnTo>
                    <a:pt x="1195809" y="25835"/>
                  </a:lnTo>
                  <a:lnTo>
                    <a:pt x="1189366" y="21811"/>
                  </a:lnTo>
                  <a:lnTo>
                    <a:pt x="1188004" y="20148"/>
                  </a:lnTo>
                  <a:lnTo>
                    <a:pt x="1185494" y="15005"/>
                  </a:lnTo>
                  <a:lnTo>
                    <a:pt x="1183618" y="12585"/>
                  </a:lnTo>
                  <a:lnTo>
                    <a:pt x="1179383" y="10104"/>
                  </a:lnTo>
                  <a:lnTo>
                    <a:pt x="1177416" y="8349"/>
                  </a:lnTo>
                  <a:lnTo>
                    <a:pt x="1175843" y="5687"/>
                  </a:lnTo>
                  <a:lnTo>
                    <a:pt x="1175027" y="3630"/>
                  </a:lnTo>
                  <a:lnTo>
                    <a:pt x="1173907" y="2178"/>
                  </a:lnTo>
                  <a:lnTo>
                    <a:pt x="1171396" y="1361"/>
                  </a:lnTo>
                  <a:lnTo>
                    <a:pt x="1166828" y="1210"/>
                  </a:lnTo>
                  <a:lnTo>
                    <a:pt x="1162230" y="1997"/>
                  </a:lnTo>
                  <a:lnTo>
                    <a:pt x="1153396" y="5778"/>
                  </a:lnTo>
                  <a:lnTo>
                    <a:pt x="1146499" y="12131"/>
                  </a:lnTo>
                  <a:lnTo>
                    <a:pt x="1144321" y="12312"/>
                  </a:lnTo>
                  <a:lnTo>
                    <a:pt x="1142597" y="9953"/>
                  </a:lnTo>
                  <a:lnTo>
                    <a:pt x="1143232" y="4235"/>
                  </a:lnTo>
                  <a:lnTo>
                    <a:pt x="1141326" y="1694"/>
                  </a:lnTo>
                  <a:lnTo>
                    <a:pt x="1139783" y="2450"/>
                  </a:lnTo>
                  <a:lnTo>
                    <a:pt x="1138422" y="3600"/>
                  </a:lnTo>
                  <a:lnTo>
                    <a:pt x="1136970" y="4507"/>
                  </a:lnTo>
                  <a:lnTo>
                    <a:pt x="1135155" y="4629"/>
                  </a:lnTo>
                  <a:lnTo>
                    <a:pt x="1133582" y="3933"/>
                  </a:lnTo>
                  <a:lnTo>
                    <a:pt x="1133280" y="3721"/>
                  </a:lnTo>
                  <a:lnTo>
                    <a:pt x="1130829" y="2087"/>
                  </a:lnTo>
                  <a:lnTo>
                    <a:pt x="1129104" y="1724"/>
                  </a:lnTo>
                  <a:lnTo>
                    <a:pt x="1122601" y="1724"/>
                  </a:lnTo>
                  <a:lnTo>
                    <a:pt x="1112769" y="0"/>
                  </a:lnTo>
                  <a:lnTo>
                    <a:pt x="1111408" y="242"/>
                  </a:lnTo>
                  <a:lnTo>
                    <a:pt x="1109774" y="1331"/>
                  </a:lnTo>
                  <a:lnTo>
                    <a:pt x="1107172" y="4296"/>
                  </a:lnTo>
                  <a:lnTo>
                    <a:pt x="1105872" y="5445"/>
                  </a:lnTo>
                  <a:lnTo>
                    <a:pt x="1103936" y="6111"/>
                  </a:lnTo>
                  <a:lnTo>
                    <a:pt x="1102937" y="6655"/>
                  </a:lnTo>
                  <a:lnTo>
                    <a:pt x="1101757" y="8773"/>
                  </a:lnTo>
                  <a:lnTo>
                    <a:pt x="1100971" y="9560"/>
                  </a:lnTo>
                  <a:lnTo>
                    <a:pt x="1100064" y="9771"/>
                  </a:lnTo>
                  <a:lnTo>
                    <a:pt x="1098732" y="9106"/>
                  </a:lnTo>
                  <a:lnTo>
                    <a:pt x="1097825" y="9045"/>
                  </a:lnTo>
                  <a:lnTo>
                    <a:pt x="1096010" y="9862"/>
                  </a:lnTo>
                  <a:lnTo>
                    <a:pt x="1085634" y="18423"/>
                  </a:lnTo>
                  <a:lnTo>
                    <a:pt x="1083818" y="19300"/>
                  </a:lnTo>
                  <a:lnTo>
                    <a:pt x="1082004" y="19119"/>
                  </a:lnTo>
                  <a:lnTo>
                    <a:pt x="1079008" y="16880"/>
                  </a:lnTo>
                  <a:lnTo>
                    <a:pt x="1077314" y="16124"/>
                  </a:lnTo>
                  <a:lnTo>
                    <a:pt x="1074350" y="16124"/>
                  </a:lnTo>
                  <a:lnTo>
                    <a:pt x="1068390" y="17636"/>
                  </a:lnTo>
                  <a:lnTo>
                    <a:pt x="1065365" y="17636"/>
                  </a:lnTo>
                  <a:lnTo>
                    <a:pt x="1045550" y="7986"/>
                  </a:lnTo>
                  <a:lnTo>
                    <a:pt x="1040740" y="9348"/>
                  </a:lnTo>
                  <a:lnTo>
                    <a:pt x="1032058" y="6383"/>
                  </a:lnTo>
                  <a:lnTo>
                    <a:pt x="1027944" y="7170"/>
                  </a:lnTo>
                  <a:lnTo>
                    <a:pt x="1026552" y="12342"/>
                  </a:lnTo>
                  <a:lnTo>
                    <a:pt x="1027036" y="13976"/>
                  </a:lnTo>
                  <a:lnTo>
                    <a:pt x="1028912" y="17122"/>
                  </a:lnTo>
                  <a:lnTo>
                    <a:pt x="1029305" y="18423"/>
                  </a:lnTo>
                  <a:lnTo>
                    <a:pt x="1028730" y="20117"/>
                  </a:lnTo>
                  <a:lnTo>
                    <a:pt x="1027611" y="21025"/>
                  </a:lnTo>
                  <a:lnTo>
                    <a:pt x="1026371" y="21690"/>
                  </a:lnTo>
                  <a:lnTo>
                    <a:pt x="1025402" y="22628"/>
                  </a:lnTo>
                  <a:lnTo>
                    <a:pt x="1024465" y="25290"/>
                  </a:lnTo>
                  <a:lnTo>
                    <a:pt x="1023255" y="34366"/>
                  </a:lnTo>
                  <a:lnTo>
                    <a:pt x="1020320" y="40174"/>
                  </a:lnTo>
                  <a:lnTo>
                    <a:pt x="1015843" y="43441"/>
                  </a:lnTo>
                  <a:lnTo>
                    <a:pt x="1001988" y="49491"/>
                  </a:lnTo>
                  <a:lnTo>
                    <a:pt x="1000113" y="49612"/>
                  </a:lnTo>
                  <a:lnTo>
                    <a:pt x="994062" y="48130"/>
                  </a:lnTo>
                  <a:lnTo>
                    <a:pt x="990402" y="48463"/>
                  </a:lnTo>
                  <a:lnTo>
                    <a:pt x="985017" y="50943"/>
                  </a:lnTo>
                  <a:lnTo>
                    <a:pt x="983323" y="51246"/>
                  </a:lnTo>
                  <a:lnTo>
                    <a:pt x="981477" y="50187"/>
                  </a:lnTo>
                  <a:lnTo>
                    <a:pt x="981054" y="47888"/>
                  </a:lnTo>
                  <a:lnTo>
                    <a:pt x="981054" y="45135"/>
                  </a:lnTo>
                  <a:lnTo>
                    <a:pt x="980480" y="42654"/>
                  </a:lnTo>
                  <a:lnTo>
                    <a:pt x="978120" y="40627"/>
                  </a:lnTo>
                  <a:lnTo>
                    <a:pt x="974822" y="39992"/>
                  </a:lnTo>
                  <a:lnTo>
                    <a:pt x="968620" y="40507"/>
                  </a:lnTo>
                  <a:lnTo>
                    <a:pt x="957126" y="41081"/>
                  </a:lnTo>
                  <a:lnTo>
                    <a:pt x="939519" y="37935"/>
                  </a:lnTo>
                  <a:lnTo>
                    <a:pt x="930292" y="37935"/>
                  </a:lnTo>
                  <a:lnTo>
                    <a:pt x="922367" y="40961"/>
                  </a:lnTo>
                  <a:lnTo>
                    <a:pt x="920339" y="43411"/>
                  </a:lnTo>
                  <a:lnTo>
                    <a:pt x="918766" y="46406"/>
                  </a:lnTo>
                  <a:lnTo>
                    <a:pt x="917133" y="48917"/>
                  </a:lnTo>
                  <a:lnTo>
                    <a:pt x="914774" y="49854"/>
                  </a:lnTo>
                  <a:lnTo>
                    <a:pt x="912353" y="48977"/>
                  </a:lnTo>
                  <a:lnTo>
                    <a:pt x="907755" y="45347"/>
                  </a:lnTo>
                  <a:lnTo>
                    <a:pt x="905304" y="44046"/>
                  </a:lnTo>
                  <a:lnTo>
                    <a:pt x="901432" y="43592"/>
                  </a:lnTo>
                  <a:lnTo>
                    <a:pt x="887638" y="44349"/>
                  </a:lnTo>
                  <a:lnTo>
                    <a:pt x="885127" y="45105"/>
                  </a:lnTo>
                  <a:lnTo>
                    <a:pt x="883554" y="46708"/>
                  </a:lnTo>
                  <a:lnTo>
                    <a:pt x="884159" y="49249"/>
                  </a:lnTo>
                  <a:lnTo>
                    <a:pt x="883645" y="50006"/>
                  </a:lnTo>
                  <a:lnTo>
                    <a:pt x="883342" y="50732"/>
                  </a:lnTo>
                  <a:lnTo>
                    <a:pt x="883130" y="51458"/>
                  </a:lnTo>
                  <a:lnTo>
                    <a:pt x="882798" y="52214"/>
                  </a:lnTo>
                  <a:lnTo>
                    <a:pt x="885732" y="52607"/>
                  </a:lnTo>
                  <a:lnTo>
                    <a:pt x="886700" y="54604"/>
                  </a:lnTo>
                  <a:lnTo>
                    <a:pt x="885823" y="56540"/>
                  </a:lnTo>
                  <a:lnTo>
                    <a:pt x="883190" y="56721"/>
                  </a:lnTo>
                  <a:lnTo>
                    <a:pt x="882495" y="55844"/>
                  </a:lnTo>
                  <a:lnTo>
                    <a:pt x="881950" y="55602"/>
                  </a:lnTo>
                  <a:lnTo>
                    <a:pt x="881346" y="55844"/>
                  </a:lnTo>
                  <a:lnTo>
                    <a:pt x="880529" y="56419"/>
                  </a:lnTo>
                  <a:lnTo>
                    <a:pt x="879742" y="57357"/>
                  </a:lnTo>
                  <a:lnTo>
                    <a:pt x="879560" y="58295"/>
                  </a:lnTo>
                  <a:lnTo>
                    <a:pt x="879621" y="59051"/>
                  </a:lnTo>
                  <a:lnTo>
                    <a:pt x="879621" y="59535"/>
                  </a:lnTo>
                  <a:lnTo>
                    <a:pt x="878563" y="60836"/>
                  </a:lnTo>
                  <a:lnTo>
                    <a:pt x="877443" y="61955"/>
                  </a:lnTo>
                  <a:lnTo>
                    <a:pt x="876203" y="62893"/>
                  </a:lnTo>
                  <a:lnTo>
                    <a:pt x="874781" y="63709"/>
                  </a:lnTo>
                  <a:lnTo>
                    <a:pt x="871937" y="64738"/>
                  </a:lnTo>
                  <a:lnTo>
                    <a:pt x="871876" y="65282"/>
                  </a:lnTo>
                  <a:lnTo>
                    <a:pt x="872149" y="66220"/>
                  </a:lnTo>
                  <a:lnTo>
                    <a:pt x="872693" y="66856"/>
                  </a:lnTo>
                  <a:lnTo>
                    <a:pt x="872693" y="67884"/>
                  </a:lnTo>
                  <a:lnTo>
                    <a:pt x="871332" y="69639"/>
                  </a:lnTo>
                  <a:lnTo>
                    <a:pt x="870424" y="70546"/>
                  </a:lnTo>
                  <a:lnTo>
                    <a:pt x="869577" y="70939"/>
                  </a:lnTo>
                  <a:lnTo>
                    <a:pt x="866582" y="70667"/>
                  </a:lnTo>
                  <a:lnTo>
                    <a:pt x="865766" y="70939"/>
                  </a:lnTo>
                  <a:lnTo>
                    <a:pt x="865373" y="71877"/>
                  </a:lnTo>
                  <a:lnTo>
                    <a:pt x="865312" y="73299"/>
                  </a:lnTo>
                  <a:lnTo>
                    <a:pt x="865040" y="74570"/>
                  </a:lnTo>
                  <a:lnTo>
                    <a:pt x="862952" y="75598"/>
                  </a:lnTo>
                  <a:lnTo>
                    <a:pt x="862287" y="76566"/>
                  </a:lnTo>
                  <a:lnTo>
                    <a:pt x="861833" y="77565"/>
                  </a:lnTo>
                  <a:lnTo>
                    <a:pt x="861288" y="78019"/>
                  </a:lnTo>
                  <a:lnTo>
                    <a:pt x="861017" y="78533"/>
                  </a:lnTo>
                  <a:lnTo>
                    <a:pt x="858808" y="81195"/>
                  </a:lnTo>
                  <a:lnTo>
                    <a:pt x="858172" y="82253"/>
                  </a:lnTo>
                  <a:lnTo>
                    <a:pt x="857749" y="82707"/>
                  </a:lnTo>
                  <a:lnTo>
                    <a:pt x="857749" y="83282"/>
                  </a:lnTo>
                  <a:lnTo>
                    <a:pt x="858506" y="84704"/>
                  </a:lnTo>
                  <a:lnTo>
                    <a:pt x="858596" y="87033"/>
                  </a:lnTo>
                  <a:lnTo>
                    <a:pt x="856811" y="88727"/>
                  </a:lnTo>
                  <a:lnTo>
                    <a:pt x="854542" y="90089"/>
                  </a:lnTo>
                  <a:lnTo>
                    <a:pt x="853302" y="91389"/>
                  </a:lnTo>
                  <a:lnTo>
                    <a:pt x="855329" y="92327"/>
                  </a:lnTo>
                  <a:lnTo>
                    <a:pt x="856146" y="92418"/>
                  </a:lnTo>
                  <a:lnTo>
                    <a:pt x="856146" y="93538"/>
                  </a:lnTo>
                  <a:lnTo>
                    <a:pt x="855027" y="94627"/>
                  </a:lnTo>
                  <a:lnTo>
                    <a:pt x="854724" y="96381"/>
                  </a:lnTo>
                  <a:lnTo>
                    <a:pt x="854603" y="98226"/>
                  </a:lnTo>
                  <a:lnTo>
                    <a:pt x="854028" y="99648"/>
                  </a:lnTo>
                  <a:lnTo>
                    <a:pt x="852909" y="100132"/>
                  </a:lnTo>
                  <a:lnTo>
                    <a:pt x="849793" y="100223"/>
                  </a:lnTo>
                  <a:lnTo>
                    <a:pt x="848522" y="100586"/>
                  </a:lnTo>
                  <a:lnTo>
                    <a:pt x="849097" y="102583"/>
                  </a:lnTo>
                  <a:lnTo>
                    <a:pt x="847918" y="105729"/>
                  </a:lnTo>
                  <a:lnTo>
                    <a:pt x="848522" y="107786"/>
                  </a:lnTo>
                  <a:lnTo>
                    <a:pt x="847827" y="108421"/>
                  </a:lnTo>
                  <a:lnTo>
                    <a:pt x="847010" y="109540"/>
                  </a:lnTo>
                  <a:lnTo>
                    <a:pt x="846466" y="109934"/>
                  </a:lnTo>
                  <a:lnTo>
                    <a:pt x="846768" y="110509"/>
                  </a:lnTo>
                  <a:lnTo>
                    <a:pt x="847131" y="111930"/>
                  </a:lnTo>
                  <a:lnTo>
                    <a:pt x="845861" y="112445"/>
                  </a:lnTo>
                  <a:lnTo>
                    <a:pt x="842957" y="114895"/>
                  </a:lnTo>
                  <a:lnTo>
                    <a:pt x="842957" y="115984"/>
                  </a:lnTo>
                  <a:lnTo>
                    <a:pt x="844923" y="117527"/>
                  </a:lnTo>
                  <a:lnTo>
                    <a:pt x="845800" y="118011"/>
                  </a:lnTo>
                  <a:lnTo>
                    <a:pt x="845800" y="118948"/>
                  </a:lnTo>
                  <a:lnTo>
                    <a:pt x="845014" y="119160"/>
                  </a:lnTo>
                  <a:lnTo>
                    <a:pt x="844590" y="119433"/>
                  </a:lnTo>
                  <a:lnTo>
                    <a:pt x="844257" y="119735"/>
                  </a:lnTo>
                  <a:lnTo>
                    <a:pt x="843743" y="120068"/>
                  </a:lnTo>
                  <a:lnTo>
                    <a:pt x="843743" y="120975"/>
                  </a:lnTo>
                  <a:lnTo>
                    <a:pt x="844923" y="122397"/>
                  </a:lnTo>
                  <a:lnTo>
                    <a:pt x="848281" y="123275"/>
                  </a:lnTo>
                  <a:lnTo>
                    <a:pt x="849944" y="124031"/>
                  </a:lnTo>
                  <a:lnTo>
                    <a:pt x="849188" y="125695"/>
                  </a:lnTo>
                  <a:lnTo>
                    <a:pt x="848674" y="126391"/>
                  </a:lnTo>
                  <a:lnTo>
                    <a:pt x="847827" y="127086"/>
                  </a:lnTo>
                  <a:lnTo>
                    <a:pt x="849037" y="127933"/>
                  </a:lnTo>
                  <a:lnTo>
                    <a:pt x="850065" y="128932"/>
                  </a:lnTo>
                  <a:lnTo>
                    <a:pt x="850519" y="130021"/>
                  </a:lnTo>
                  <a:lnTo>
                    <a:pt x="849944" y="131231"/>
                  </a:lnTo>
                  <a:lnTo>
                    <a:pt x="850429" y="133015"/>
                  </a:lnTo>
                  <a:lnTo>
                    <a:pt x="851276" y="134135"/>
                  </a:lnTo>
                  <a:lnTo>
                    <a:pt x="852304" y="134800"/>
                  </a:lnTo>
                  <a:lnTo>
                    <a:pt x="853363" y="135193"/>
                  </a:lnTo>
                  <a:lnTo>
                    <a:pt x="853363" y="136313"/>
                  </a:lnTo>
                  <a:lnTo>
                    <a:pt x="852032" y="136071"/>
                  </a:lnTo>
                  <a:lnTo>
                    <a:pt x="850882" y="136434"/>
                  </a:lnTo>
                  <a:lnTo>
                    <a:pt x="850126" y="137493"/>
                  </a:lnTo>
                  <a:lnTo>
                    <a:pt x="849944" y="139368"/>
                  </a:lnTo>
                  <a:lnTo>
                    <a:pt x="850338" y="141123"/>
                  </a:lnTo>
                  <a:lnTo>
                    <a:pt x="851124" y="141486"/>
                  </a:lnTo>
                  <a:lnTo>
                    <a:pt x="852152" y="141547"/>
                  </a:lnTo>
                  <a:lnTo>
                    <a:pt x="853363" y="142393"/>
                  </a:lnTo>
                  <a:lnTo>
                    <a:pt x="853816" y="143392"/>
                  </a:lnTo>
                  <a:lnTo>
                    <a:pt x="854815" y="147567"/>
                  </a:lnTo>
                  <a:lnTo>
                    <a:pt x="855329" y="148353"/>
                  </a:lnTo>
                  <a:lnTo>
                    <a:pt x="856025" y="149230"/>
                  </a:lnTo>
                  <a:lnTo>
                    <a:pt x="856116" y="150017"/>
                  </a:lnTo>
                  <a:lnTo>
                    <a:pt x="854815" y="150501"/>
                  </a:lnTo>
                  <a:lnTo>
                    <a:pt x="855420" y="154676"/>
                  </a:lnTo>
                  <a:lnTo>
                    <a:pt x="852607" y="157398"/>
                  </a:lnTo>
                  <a:lnTo>
                    <a:pt x="849551" y="159455"/>
                  </a:lnTo>
                  <a:lnTo>
                    <a:pt x="849279" y="161633"/>
                  </a:lnTo>
                  <a:lnTo>
                    <a:pt x="847494" y="164538"/>
                  </a:lnTo>
                  <a:lnTo>
                    <a:pt x="847222" y="164810"/>
                  </a:lnTo>
                  <a:lnTo>
                    <a:pt x="847101" y="168349"/>
                  </a:lnTo>
                  <a:lnTo>
                    <a:pt x="847040" y="168500"/>
                  </a:lnTo>
                  <a:lnTo>
                    <a:pt x="846647" y="169347"/>
                  </a:lnTo>
                  <a:lnTo>
                    <a:pt x="845528" y="169589"/>
                  </a:lnTo>
                  <a:lnTo>
                    <a:pt x="844771" y="168198"/>
                  </a:lnTo>
                  <a:lnTo>
                    <a:pt x="843622" y="167048"/>
                  </a:lnTo>
                  <a:lnTo>
                    <a:pt x="842351" y="166262"/>
                  </a:lnTo>
                  <a:lnTo>
                    <a:pt x="841020" y="165929"/>
                  </a:lnTo>
                  <a:lnTo>
                    <a:pt x="839598" y="166080"/>
                  </a:lnTo>
                  <a:lnTo>
                    <a:pt x="838025" y="165627"/>
                  </a:lnTo>
                  <a:lnTo>
                    <a:pt x="835787" y="162511"/>
                  </a:lnTo>
                  <a:lnTo>
                    <a:pt x="834304" y="161240"/>
                  </a:lnTo>
                  <a:lnTo>
                    <a:pt x="832852" y="160907"/>
                  </a:lnTo>
                  <a:lnTo>
                    <a:pt x="829858" y="160907"/>
                  </a:lnTo>
                  <a:lnTo>
                    <a:pt x="828315" y="160363"/>
                  </a:lnTo>
                  <a:lnTo>
                    <a:pt x="826984" y="159244"/>
                  </a:lnTo>
                  <a:lnTo>
                    <a:pt x="823898" y="155583"/>
                  </a:lnTo>
                  <a:lnTo>
                    <a:pt x="823172" y="154010"/>
                  </a:lnTo>
                  <a:lnTo>
                    <a:pt x="823444" y="153859"/>
                  </a:lnTo>
                  <a:lnTo>
                    <a:pt x="824291" y="150773"/>
                  </a:lnTo>
                  <a:lnTo>
                    <a:pt x="824473" y="149623"/>
                  </a:lnTo>
                  <a:lnTo>
                    <a:pt x="824473" y="148081"/>
                  </a:lnTo>
                  <a:lnTo>
                    <a:pt x="824382" y="146901"/>
                  </a:lnTo>
                  <a:lnTo>
                    <a:pt x="824110" y="145933"/>
                  </a:lnTo>
                  <a:lnTo>
                    <a:pt x="823504" y="144935"/>
                  </a:lnTo>
                  <a:lnTo>
                    <a:pt x="822204" y="143815"/>
                  </a:lnTo>
                  <a:lnTo>
                    <a:pt x="817122" y="141516"/>
                  </a:lnTo>
                  <a:lnTo>
                    <a:pt x="815700" y="140124"/>
                  </a:lnTo>
                  <a:lnTo>
                    <a:pt x="811949" y="135375"/>
                  </a:lnTo>
                  <a:lnTo>
                    <a:pt x="809135" y="133469"/>
                  </a:lnTo>
                  <a:lnTo>
                    <a:pt x="806231" y="132743"/>
                  </a:lnTo>
                  <a:lnTo>
                    <a:pt x="792134" y="133076"/>
                  </a:lnTo>
                  <a:lnTo>
                    <a:pt x="789835" y="133711"/>
                  </a:lnTo>
                  <a:lnTo>
                    <a:pt x="783724" y="136676"/>
                  </a:lnTo>
                  <a:lnTo>
                    <a:pt x="782453" y="136736"/>
                  </a:lnTo>
                  <a:lnTo>
                    <a:pt x="780850" y="135738"/>
                  </a:lnTo>
                  <a:lnTo>
                    <a:pt x="779822" y="135647"/>
                  </a:lnTo>
                  <a:lnTo>
                    <a:pt x="778551" y="136464"/>
                  </a:lnTo>
                  <a:lnTo>
                    <a:pt x="776857" y="139338"/>
                  </a:lnTo>
                  <a:lnTo>
                    <a:pt x="775829" y="140367"/>
                  </a:lnTo>
                  <a:lnTo>
                    <a:pt x="774043" y="140790"/>
                  </a:lnTo>
                  <a:lnTo>
                    <a:pt x="764908" y="139368"/>
                  </a:lnTo>
                  <a:lnTo>
                    <a:pt x="763637" y="137765"/>
                  </a:lnTo>
                  <a:lnTo>
                    <a:pt x="762760" y="135496"/>
                  </a:lnTo>
                  <a:lnTo>
                    <a:pt x="761096" y="132804"/>
                  </a:lnTo>
                  <a:lnTo>
                    <a:pt x="759341" y="131685"/>
                  </a:lnTo>
                  <a:lnTo>
                    <a:pt x="757133" y="131412"/>
                  </a:lnTo>
                  <a:lnTo>
                    <a:pt x="754804" y="131745"/>
                  </a:lnTo>
                  <a:lnTo>
                    <a:pt x="752807" y="132531"/>
                  </a:lnTo>
                  <a:lnTo>
                    <a:pt x="750720" y="134286"/>
                  </a:lnTo>
                  <a:lnTo>
                    <a:pt x="749298" y="136222"/>
                  </a:lnTo>
                  <a:lnTo>
                    <a:pt x="747785" y="137886"/>
                  </a:lnTo>
                  <a:lnTo>
                    <a:pt x="745456" y="138763"/>
                  </a:lnTo>
                  <a:lnTo>
                    <a:pt x="742824" y="139035"/>
                  </a:lnTo>
                  <a:lnTo>
                    <a:pt x="741463" y="139671"/>
                  </a:lnTo>
                  <a:lnTo>
                    <a:pt x="740464" y="141425"/>
                  </a:lnTo>
                  <a:lnTo>
                    <a:pt x="738982" y="145055"/>
                  </a:lnTo>
                  <a:lnTo>
                    <a:pt x="737500" y="147445"/>
                  </a:lnTo>
                  <a:lnTo>
                    <a:pt x="735503" y="147445"/>
                  </a:lnTo>
                  <a:lnTo>
                    <a:pt x="731117" y="145812"/>
                  </a:lnTo>
                  <a:lnTo>
                    <a:pt x="728818" y="146478"/>
                  </a:lnTo>
                  <a:lnTo>
                    <a:pt x="726156" y="148625"/>
                  </a:lnTo>
                  <a:lnTo>
                    <a:pt x="724885" y="149654"/>
                  </a:lnTo>
                  <a:lnTo>
                    <a:pt x="722828" y="150319"/>
                  </a:lnTo>
                  <a:lnTo>
                    <a:pt x="720529" y="149109"/>
                  </a:lnTo>
                  <a:lnTo>
                    <a:pt x="719288" y="146447"/>
                  </a:lnTo>
                  <a:lnTo>
                    <a:pt x="718441" y="143210"/>
                  </a:lnTo>
                  <a:lnTo>
                    <a:pt x="717292" y="140336"/>
                  </a:lnTo>
                  <a:lnTo>
                    <a:pt x="715235" y="138128"/>
                  </a:lnTo>
                  <a:lnTo>
                    <a:pt x="713571" y="136979"/>
                  </a:lnTo>
                  <a:lnTo>
                    <a:pt x="712875" y="135284"/>
                  </a:lnTo>
                  <a:lnTo>
                    <a:pt x="713843" y="131442"/>
                  </a:lnTo>
                  <a:lnTo>
                    <a:pt x="713450" y="127540"/>
                  </a:lnTo>
                  <a:lnTo>
                    <a:pt x="712270" y="125090"/>
                  </a:lnTo>
                  <a:lnTo>
                    <a:pt x="708912" y="120401"/>
                  </a:lnTo>
                  <a:lnTo>
                    <a:pt x="706795" y="115016"/>
                  </a:lnTo>
                  <a:lnTo>
                    <a:pt x="705554" y="113171"/>
                  </a:lnTo>
                  <a:lnTo>
                    <a:pt x="703134" y="111779"/>
                  </a:lnTo>
                  <a:lnTo>
                    <a:pt x="699081" y="110872"/>
                  </a:lnTo>
                  <a:lnTo>
                    <a:pt x="697023" y="110962"/>
                  </a:lnTo>
                  <a:lnTo>
                    <a:pt x="695057" y="111628"/>
                  </a:lnTo>
                  <a:lnTo>
                    <a:pt x="693061" y="113443"/>
                  </a:lnTo>
                  <a:lnTo>
                    <a:pt x="690671" y="118132"/>
                  </a:lnTo>
                  <a:lnTo>
                    <a:pt x="688765" y="120037"/>
                  </a:lnTo>
                  <a:lnTo>
                    <a:pt x="686103" y="120975"/>
                  </a:lnTo>
                  <a:lnTo>
                    <a:pt x="679901" y="121036"/>
                  </a:lnTo>
                  <a:lnTo>
                    <a:pt x="676967" y="121611"/>
                  </a:lnTo>
                  <a:lnTo>
                    <a:pt x="673790" y="123214"/>
                  </a:lnTo>
                  <a:lnTo>
                    <a:pt x="670553" y="125543"/>
                  </a:lnTo>
                  <a:lnTo>
                    <a:pt x="667740" y="128690"/>
                  </a:lnTo>
                  <a:lnTo>
                    <a:pt x="665744" y="132774"/>
                  </a:lnTo>
                  <a:lnTo>
                    <a:pt x="665471" y="135284"/>
                  </a:lnTo>
                  <a:lnTo>
                    <a:pt x="665683" y="140941"/>
                  </a:lnTo>
                  <a:lnTo>
                    <a:pt x="665199" y="143119"/>
                  </a:lnTo>
                  <a:lnTo>
                    <a:pt x="663384" y="144995"/>
                  </a:lnTo>
                  <a:lnTo>
                    <a:pt x="662325" y="143482"/>
                  </a:lnTo>
                  <a:lnTo>
                    <a:pt x="661599" y="140730"/>
                  </a:lnTo>
                  <a:lnTo>
                    <a:pt x="660903" y="138915"/>
                  </a:lnTo>
                  <a:lnTo>
                    <a:pt x="659602" y="138794"/>
                  </a:lnTo>
                  <a:lnTo>
                    <a:pt x="658271" y="139580"/>
                  </a:lnTo>
                  <a:lnTo>
                    <a:pt x="656819" y="140185"/>
                  </a:lnTo>
                  <a:lnTo>
                    <a:pt x="655156" y="139429"/>
                  </a:lnTo>
                  <a:lnTo>
                    <a:pt x="654187" y="137856"/>
                  </a:lnTo>
                  <a:lnTo>
                    <a:pt x="653522" y="135768"/>
                  </a:lnTo>
                  <a:lnTo>
                    <a:pt x="651949" y="127480"/>
                  </a:lnTo>
                  <a:lnTo>
                    <a:pt x="651707" y="124454"/>
                  </a:lnTo>
                  <a:lnTo>
                    <a:pt x="650829" y="122427"/>
                  </a:lnTo>
                  <a:lnTo>
                    <a:pt x="648228" y="121429"/>
                  </a:lnTo>
                  <a:lnTo>
                    <a:pt x="639213" y="119674"/>
                  </a:lnTo>
                  <a:lnTo>
                    <a:pt x="636460" y="119735"/>
                  </a:lnTo>
                  <a:lnTo>
                    <a:pt x="633858" y="120552"/>
                  </a:lnTo>
                  <a:lnTo>
                    <a:pt x="628837" y="123698"/>
                  </a:lnTo>
                  <a:lnTo>
                    <a:pt x="626235" y="126028"/>
                  </a:lnTo>
                  <a:lnTo>
                    <a:pt x="624934" y="126663"/>
                  </a:lnTo>
                  <a:lnTo>
                    <a:pt x="623633" y="126179"/>
                  </a:lnTo>
                  <a:lnTo>
                    <a:pt x="623059" y="124999"/>
                  </a:lnTo>
                  <a:lnTo>
                    <a:pt x="621970" y="120885"/>
                  </a:lnTo>
                  <a:lnTo>
                    <a:pt x="621304" y="119342"/>
                  </a:lnTo>
                  <a:lnTo>
                    <a:pt x="620064" y="118071"/>
                  </a:lnTo>
                  <a:lnTo>
                    <a:pt x="617160" y="116407"/>
                  </a:lnTo>
                  <a:lnTo>
                    <a:pt x="615980" y="115288"/>
                  </a:lnTo>
                  <a:lnTo>
                    <a:pt x="615133" y="113624"/>
                  </a:lnTo>
                  <a:lnTo>
                    <a:pt x="615042" y="112263"/>
                  </a:lnTo>
                  <a:lnTo>
                    <a:pt x="615103" y="110992"/>
                  </a:lnTo>
                  <a:lnTo>
                    <a:pt x="614740" y="109510"/>
                  </a:lnTo>
                  <a:lnTo>
                    <a:pt x="613257" y="107937"/>
                  </a:lnTo>
                  <a:lnTo>
                    <a:pt x="611200" y="107816"/>
                  </a:lnTo>
                  <a:lnTo>
                    <a:pt x="608931" y="108814"/>
                  </a:lnTo>
                  <a:lnTo>
                    <a:pt x="606783" y="110629"/>
                  </a:lnTo>
                  <a:lnTo>
                    <a:pt x="604817" y="113413"/>
                  </a:lnTo>
                  <a:lnTo>
                    <a:pt x="601550" y="119191"/>
                  </a:lnTo>
                  <a:lnTo>
                    <a:pt x="599130" y="121217"/>
                  </a:lnTo>
                  <a:lnTo>
                    <a:pt x="597194" y="121883"/>
                  </a:lnTo>
                  <a:lnTo>
                    <a:pt x="587362" y="121883"/>
                  </a:lnTo>
                  <a:lnTo>
                    <a:pt x="585517" y="121429"/>
                  </a:lnTo>
                  <a:lnTo>
                    <a:pt x="583641" y="120491"/>
                  </a:lnTo>
                  <a:lnTo>
                    <a:pt x="577561" y="114380"/>
                  </a:lnTo>
                  <a:lnTo>
                    <a:pt x="575413" y="113291"/>
                  </a:lnTo>
                  <a:lnTo>
                    <a:pt x="573083" y="113654"/>
                  </a:lnTo>
                  <a:lnTo>
                    <a:pt x="571208" y="115288"/>
                  </a:lnTo>
                  <a:lnTo>
                    <a:pt x="569907" y="117769"/>
                  </a:lnTo>
                  <a:lnTo>
                    <a:pt x="569272" y="120764"/>
                  </a:lnTo>
                  <a:lnTo>
                    <a:pt x="569332" y="122639"/>
                  </a:lnTo>
                  <a:lnTo>
                    <a:pt x="569604" y="124242"/>
                  </a:lnTo>
                  <a:lnTo>
                    <a:pt x="569695" y="125876"/>
                  </a:lnTo>
                  <a:lnTo>
                    <a:pt x="569211" y="127843"/>
                  </a:lnTo>
                  <a:lnTo>
                    <a:pt x="568697" y="128810"/>
                  </a:lnTo>
                  <a:lnTo>
                    <a:pt x="564008" y="134679"/>
                  </a:lnTo>
                  <a:lnTo>
                    <a:pt x="562949" y="135617"/>
                  </a:lnTo>
                  <a:lnTo>
                    <a:pt x="561346" y="135829"/>
                  </a:lnTo>
                  <a:lnTo>
                    <a:pt x="559924" y="135254"/>
                  </a:lnTo>
                  <a:lnTo>
                    <a:pt x="558290" y="134074"/>
                  </a:lnTo>
                  <a:lnTo>
                    <a:pt x="556929" y="132683"/>
                  </a:lnTo>
                  <a:lnTo>
                    <a:pt x="556506" y="131896"/>
                  </a:lnTo>
                  <a:lnTo>
                    <a:pt x="556294" y="131503"/>
                  </a:lnTo>
                  <a:lnTo>
                    <a:pt x="559652" y="124031"/>
                  </a:lnTo>
                  <a:lnTo>
                    <a:pt x="560438" y="120280"/>
                  </a:lnTo>
                  <a:lnTo>
                    <a:pt x="559198" y="117164"/>
                  </a:lnTo>
                  <a:lnTo>
                    <a:pt x="557595" y="116347"/>
                  </a:lnTo>
                  <a:lnTo>
                    <a:pt x="551938" y="116166"/>
                  </a:lnTo>
                  <a:lnTo>
                    <a:pt x="541047" y="112112"/>
                  </a:lnTo>
                  <a:lnTo>
                    <a:pt x="541047" y="112112"/>
                  </a:lnTo>
                  <a:lnTo>
                    <a:pt x="537508" y="112021"/>
                  </a:lnTo>
                  <a:lnTo>
                    <a:pt x="535662" y="112928"/>
                  </a:lnTo>
                  <a:lnTo>
                    <a:pt x="532879" y="115742"/>
                  </a:lnTo>
                  <a:lnTo>
                    <a:pt x="530671" y="116740"/>
                  </a:lnTo>
                  <a:lnTo>
                    <a:pt x="528584" y="116892"/>
                  </a:lnTo>
                  <a:lnTo>
                    <a:pt x="522624" y="115954"/>
                  </a:lnTo>
                  <a:lnTo>
                    <a:pt x="518600" y="117133"/>
                  </a:lnTo>
                  <a:lnTo>
                    <a:pt x="516392" y="117345"/>
                  </a:lnTo>
                  <a:lnTo>
                    <a:pt x="515061" y="116166"/>
                  </a:lnTo>
                  <a:lnTo>
                    <a:pt x="515636" y="113654"/>
                  </a:lnTo>
                  <a:lnTo>
                    <a:pt x="517118" y="110448"/>
                  </a:lnTo>
                  <a:lnTo>
                    <a:pt x="517421" y="107877"/>
                  </a:lnTo>
                  <a:lnTo>
                    <a:pt x="514456" y="107211"/>
                  </a:lnTo>
                  <a:lnTo>
                    <a:pt x="512036" y="107483"/>
                  </a:lnTo>
                  <a:lnTo>
                    <a:pt x="510009" y="107271"/>
                  </a:lnTo>
                  <a:lnTo>
                    <a:pt x="508557" y="105971"/>
                  </a:lnTo>
                  <a:lnTo>
                    <a:pt x="507740" y="103036"/>
                  </a:lnTo>
                  <a:lnTo>
                    <a:pt x="507801" y="99073"/>
                  </a:lnTo>
                  <a:lnTo>
                    <a:pt x="508073" y="95897"/>
                  </a:lnTo>
                  <a:lnTo>
                    <a:pt x="507438" y="93567"/>
                  </a:lnTo>
                  <a:lnTo>
                    <a:pt x="504745" y="92115"/>
                  </a:lnTo>
                  <a:lnTo>
                    <a:pt x="500601" y="91269"/>
                  </a:lnTo>
                  <a:lnTo>
                    <a:pt x="491707" y="90966"/>
                  </a:lnTo>
                  <a:lnTo>
                    <a:pt x="481573" y="94264"/>
                  </a:lnTo>
                  <a:lnTo>
                    <a:pt x="474917" y="93235"/>
                  </a:lnTo>
                  <a:lnTo>
                    <a:pt x="455889" y="85460"/>
                  </a:lnTo>
                  <a:lnTo>
                    <a:pt x="433745" y="84825"/>
                  </a:lnTo>
                  <a:lnTo>
                    <a:pt x="432323" y="84159"/>
                  </a:lnTo>
                  <a:lnTo>
                    <a:pt x="431083" y="82556"/>
                  </a:lnTo>
                  <a:lnTo>
                    <a:pt x="430841" y="81104"/>
                  </a:lnTo>
                  <a:lnTo>
                    <a:pt x="431143" y="79743"/>
                  </a:lnTo>
                  <a:lnTo>
                    <a:pt x="431143" y="78684"/>
                  </a:lnTo>
                  <a:lnTo>
                    <a:pt x="429903" y="78109"/>
                  </a:lnTo>
                  <a:lnTo>
                    <a:pt x="406519" y="77202"/>
                  </a:lnTo>
                  <a:lnTo>
                    <a:pt x="403494" y="75992"/>
                  </a:lnTo>
                  <a:lnTo>
                    <a:pt x="396990" y="70637"/>
                  </a:lnTo>
                  <a:lnTo>
                    <a:pt x="393965" y="70032"/>
                  </a:lnTo>
                  <a:lnTo>
                    <a:pt x="386976" y="70244"/>
                  </a:lnTo>
                  <a:lnTo>
                    <a:pt x="365528" y="66493"/>
                  </a:lnTo>
                  <a:lnTo>
                    <a:pt x="357027" y="68066"/>
                  </a:lnTo>
                  <a:lnTo>
                    <a:pt x="343354" y="67854"/>
                  </a:lnTo>
                  <a:lnTo>
                    <a:pt x="323690" y="67551"/>
                  </a:lnTo>
                  <a:lnTo>
                    <a:pt x="306719" y="63316"/>
                  </a:lnTo>
                  <a:lnTo>
                    <a:pt x="302182" y="63437"/>
                  </a:lnTo>
                  <a:lnTo>
                    <a:pt x="297614" y="64829"/>
                  </a:lnTo>
                  <a:lnTo>
                    <a:pt x="288568" y="69215"/>
                  </a:lnTo>
                  <a:lnTo>
                    <a:pt x="260314" y="73420"/>
                  </a:lnTo>
                  <a:lnTo>
                    <a:pt x="258227" y="73360"/>
                  </a:lnTo>
                  <a:lnTo>
                    <a:pt x="252055" y="71968"/>
                  </a:lnTo>
                  <a:lnTo>
                    <a:pt x="227007" y="73783"/>
                  </a:lnTo>
                  <a:lnTo>
                    <a:pt x="224859" y="74509"/>
                  </a:lnTo>
                  <a:lnTo>
                    <a:pt x="222681" y="76596"/>
                  </a:lnTo>
                  <a:lnTo>
                    <a:pt x="219020" y="81618"/>
                  </a:lnTo>
                  <a:lnTo>
                    <a:pt x="217478" y="84522"/>
                  </a:lnTo>
                  <a:lnTo>
                    <a:pt x="215088" y="94264"/>
                  </a:lnTo>
                  <a:lnTo>
                    <a:pt x="212244" y="97954"/>
                  </a:lnTo>
                  <a:lnTo>
                    <a:pt x="200839" y="105154"/>
                  </a:lnTo>
                  <a:lnTo>
                    <a:pt x="185804" y="117618"/>
                  </a:lnTo>
                  <a:lnTo>
                    <a:pt x="181781" y="118222"/>
                  </a:lnTo>
                  <a:lnTo>
                    <a:pt x="178907" y="115742"/>
                  </a:lnTo>
                  <a:lnTo>
                    <a:pt x="176124" y="112565"/>
                  </a:lnTo>
                  <a:lnTo>
                    <a:pt x="172131" y="111083"/>
                  </a:lnTo>
                  <a:lnTo>
                    <a:pt x="169620" y="110872"/>
                  </a:lnTo>
                  <a:lnTo>
                    <a:pt x="162511" y="108905"/>
                  </a:lnTo>
                  <a:lnTo>
                    <a:pt x="160151" y="108845"/>
                  </a:lnTo>
                  <a:lnTo>
                    <a:pt x="150380" y="111204"/>
                  </a:lnTo>
                  <a:lnTo>
                    <a:pt x="149140" y="111839"/>
                  </a:lnTo>
                  <a:lnTo>
                    <a:pt x="148111" y="112838"/>
                  </a:lnTo>
                  <a:lnTo>
                    <a:pt x="146901" y="114804"/>
                  </a:lnTo>
                  <a:lnTo>
                    <a:pt x="146810" y="115984"/>
                  </a:lnTo>
                  <a:lnTo>
                    <a:pt x="147385" y="117164"/>
                  </a:lnTo>
                  <a:lnTo>
                    <a:pt x="150138" y="124303"/>
                  </a:lnTo>
                  <a:lnTo>
                    <a:pt x="150380" y="125725"/>
                  </a:lnTo>
                  <a:lnTo>
                    <a:pt x="149926" y="127994"/>
                  </a:lnTo>
                  <a:lnTo>
                    <a:pt x="149079" y="128417"/>
                  </a:lnTo>
                  <a:lnTo>
                    <a:pt x="148142" y="127782"/>
                  </a:lnTo>
                  <a:lnTo>
                    <a:pt x="148353" y="128690"/>
                  </a:lnTo>
                  <a:lnTo>
                    <a:pt x="149019" y="130777"/>
                  </a:lnTo>
                  <a:lnTo>
                    <a:pt x="150622" y="131805"/>
                  </a:lnTo>
                  <a:lnTo>
                    <a:pt x="152437" y="132411"/>
                  </a:lnTo>
                  <a:lnTo>
                    <a:pt x="153859" y="133318"/>
                  </a:lnTo>
                  <a:lnTo>
                    <a:pt x="152286" y="136283"/>
                  </a:lnTo>
                  <a:lnTo>
                    <a:pt x="152437" y="137220"/>
                  </a:lnTo>
                  <a:lnTo>
                    <a:pt x="156521" y="142787"/>
                  </a:lnTo>
                  <a:lnTo>
                    <a:pt x="157338" y="144572"/>
                  </a:lnTo>
                  <a:lnTo>
                    <a:pt x="156158" y="145055"/>
                  </a:lnTo>
                  <a:lnTo>
                    <a:pt x="155432" y="146084"/>
                  </a:lnTo>
                  <a:lnTo>
                    <a:pt x="155311" y="147597"/>
                  </a:lnTo>
                  <a:lnTo>
                    <a:pt x="155946" y="149593"/>
                  </a:lnTo>
                  <a:lnTo>
                    <a:pt x="154131" y="150259"/>
                  </a:lnTo>
                  <a:lnTo>
                    <a:pt x="152347" y="152013"/>
                  </a:lnTo>
                  <a:lnTo>
                    <a:pt x="150955" y="154191"/>
                  </a:lnTo>
                  <a:lnTo>
                    <a:pt x="150410" y="156158"/>
                  </a:lnTo>
                  <a:lnTo>
                    <a:pt x="151076" y="159304"/>
                  </a:lnTo>
                  <a:lnTo>
                    <a:pt x="152649" y="160060"/>
                  </a:lnTo>
                  <a:lnTo>
                    <a:pt x="154585" y="160060"/>
                  </a:lnTo>
                  <a:lnTo>
                    <a:pt x="156309" y="161119"/>
                  </a:lnTo>
                  <a:lnTo>
                    <a:pt x="161875" y="172342"/>
                  </a:lnTo>
                  <a:lnTo>
                    <a:pt x="164144" y="174883"/>
                  </a:lnTo>
                  <a:lnTo>
                    <a:pt x="169257" y="177879"/>
                  </a:lnTo>
                  <a:lnTo>
                    <a:pt x="174037" y="182356"/>
                  </a:lnTo>
                  <a:lnTo>
                    <a:pt x="175156" y="184140"/>
                  </a:lnTo>
                  <a:lnTo>
                    <a:pt x="173492" y="184927"/>
                  </a:lnTo>
                  <a:lnTo>
                    <a:pt x="173129" y="186288"/>
                  </a:lnTo>
                  <a:lnTo>
                    <a:pt x="174612" y="189193"/>
                  </a:lnTo>
                  <a:lnTo>
                    <a:pt x="177243" y="192974"/>
                  </a:lnTo>
                  <a:lnTo>
                    <a:pt x="178120" y="194940"/>
                  </a:lnTo>
                  <a:lnTo>
                    <a:pt x="179300" y="201111"/>
                  </a:lnTo>
                  <a:lnTo>
                    <a:pt x="179300" y="202019"/>
                  </a:lnTo>
                  <a:lnTo>
                    <a:pt x="178877" y="203169"/>
                  </a:lnTo>
                  <a:lnTo>
                    <a:pt x="179633" y="203774"/>
                  </a:lnTo>
                  <a:lnTo>
                    <a:pt x="180904" y="204258"/>
                  </a:lnTo>
                  <a:lnTo>
                    <a:pt x="182114" y="205014"/>
                  </a:lnTo>
                  <a:lnTo>
                    <a:pt x="183233" y="206587"/>
                  </a:lnTo>
                  <a:lnTo>
                    <a:pt x="183505" y="207797"/>
                  </a:lnTo>
                  <a:lnTo>
                    <a:pt x="183596" y="209098"/>
                  </a:lnTo>
                  <a:lnTo>
                    <a:pt x="184140" y="211004"/>
                  </a:lnTo>
                  <a:lnTo>
                    <a:pt x="185653" y="213333"/>
                  </a:lnTo>
                  <a:lnTo>
                    <a:pt x="192460" y="219111"/>
                  </a:lnTo>
                  <a:lnTo>
                    <a:pt x="200839" y="223376"/>
                  </a:lnTo>
                  <a:lnTo>
                    <a:pt x="202140" y="225192"/>
                  </a:lnTo>
                  <a:lnTo>
                    <a:pt x="200900" y="227733"/>
                  </a:lnTo>
                  <a:lnTo>
                    <a:pt x="197844" y="228338"/>
                  </a:lnTo>
                  <a:lnTo>
                    <a:pt x="194487" y="228338"/>
                  </a:lnTo>
                  <a:lnTo>
                    <a:pt x="192460" y="229215"/>
                  </a:lnTo>
                  <a:lnTo>
                    <a:pt x="189797" y="227823"/>
                  </a:lnTo>
                  <a:lnTo>
                    <a:pt x="187015" y="228156"/>
                  </a:lnTo>
                  <a:lnTo>
                    <a:pt x="184715" y="229759"/>
                  </a:lnTo>
                  <a:lnTo>
                    <a:pt x="183475" y="232271"/>
                  </a:lnTo>
                  <a:lnTo>
                    <a:pt x="183657" y="235053"/>
                  </a:lnTo>
                  <a:lnTo>
                    <a:pt x="185139" y="236899"/>
                  </a:lnTo>
                  <a:lnTo>
                    <a:pt x="187529" y="237928"/>
                  </a:lnTo>
                  <a:lnTo>
                    <a:pt x="190342" y="238260"/>
                  </a:lnTo>
                  <a:lnTo>
                    <a:pt x="190342" y="239168"/>
                  </a:lnTo>
                  <a:lnTo>
                    <a:pt x="189041" y="241739"/>
                  </a:lnTo>
                  <a:lnTo>
                    <a:pt x="190433" y="243978"/>
                  </a:lnTo>
                  <a:lnTo>
                    <a:pt x="193186" y="245551"/>
                  </a:lnTo>
                  <a:lnTo>
                    <a:pt x="195908" y="246156"/>
                  </a:lnTo>
                  <a:lnTo>
                    <a:pt x="195273" y="249483"/>
                  </a:lnTo>
                  <a:lnTo>
                    <a:pt x="196060" y="252539"/>
                  </a:lnTo>
                  <a:lnTo>
                    <a:pt x="198601" y="258196"/>
                  </a:lnTo>
                  <a:lnTo>
                    <a:pt x="198601" y="258256"/>
                  </a:lnTo>
                  <a:lnTo>
                    <a:pt x="196302" y="261977"/>
                  </a:lnTo>
                  <a:lnTo>
                    <a:pt x="197330" y="268905"/>
                  </a:lnTo>
                  <a:lnTo>
                    <a:pt x="198026" y="270811"/>
                  </a:lnTo>
                  <a:lnTo>
                    <a:pt x="198570" y="271204"/>
                  </a:lnTo>
                  <a:lnTo>
                    <a:pt x="198450" y="271537"/>
                  </a:lnTo>
                  <a:lnTo>
                    <a:pt x="197179" y="273201"/>
                  </a:lnTo>
                  <a:lnTo>
                    <a:pt x="195273" y="275076"/>
                  </a:lnTo>
                  <a:lnTo>
                    <a:pt x="188799" y="278192"/>
                  </a:lnTo>
                  <a:lnTo>
                    <a:pt x="188527" y="279947"/>
                  </a:lnTo>
                  <a:lnTo>
                    <a:pt x="188678" y="282730"/>
                  </a:lnTo>
                  <a:lnTo>
                    <a:pt x="188527" y="284636"/>
                  </a:lnTo>
                  <a:lnTo>
                    <a:pt x="188043" y="286209"/>
                  </a:lnTo>
                  <a:lnTo>
                    <a:pt x="185835" y="290988"/>
                  </a:lnTo>
                  <a:lnTo>
                    <a:pt x="180541" y="293015"/>
                  </a:lnTo>
                  <a:lnTo>
                    <a:pt x="162299" y="293227"/>
                  </a:lnTo>
                  <a:lnTo>
                    <a:pt x="158820" y="294256"/>
                  </a:lnTo>
                  <a:lnTo>
                    <a:pt x="157096" y="295073"/>
                  </a:lnTo>
                  <a:lnTo>
                    <a:pt x="155735" y="296313"/>
                  </a:lnTo>
                  <a:lnTo>
                    <a:pt x="154645" y="298461"/>
                  </a:lnTo>
                  <a:lnTo>
                    <a:pt x="153375" y="302302"/>
                  </a:lnTo>
                  <a:lnTo>
                    <a:pt x="153314" y="302484"/>
                  </a:lnTo>
                  <a:lnTo>
                    <a:pt x="151923" y="304360"/>
                  </a:lnTo>
                  <a:lnTo>
                    <a:pt x="143997" y="312286"/>
                  </a:lnTo>
                  <a:lnTo>
                    <a:pt x="141093" y="314464"/>
                  </a:lnTo>
                  <a:lnTo>
                    <a:pt x="141093" y="314464"/>
                  </a:lnTo>
                  <a:lnTo>
                    <a:pt x="135617" y="318366"/>
                  </a:lnTo>
                  <a:lnTo>
                    <a:pt x="131080" y="321603"/>
                  </a:lnTo>
                  <a:lnTo>
                    <a:pt x="108089" y="344564"/>
                  </a:lnTo>
                  <a:lnTo>
                    <a:pt x="105064" y="348890"/>
                  </a:lnTo>
                  <a:lnTo>
                    <a:pt x="101373" y="351552"/>
                  </a:lnTo>
                  <a:lnTo>
                    <a:pt x="97380" y="355636"/>
                  </a:lnTo>
                  <a:lnTo>
                    <a:pt x="86459" y="370368"/>
                  </a:lnTo>
                  <a:lnTo>
                    <a:pt x="82254" y="374362"/>
                  </a:lnTo>
                  <a:lnTo>
                    <a:pt x="81739" y="375541"/>
                  </a:lnTo>
                  <a:lnTo>
                    <a:pt x="80923" y="378415"/>
                  </a:lnTo>
                  <a:lnTo>
                    <a:pt x="80469" y="379444"/>
                  </a:lnTo>
                  <a:lnTo>
                    <a:pt x="79592" y="380260"/>
                  </a:lnTo>
                  <a:lnTo>
                    <a:pt x="77807" y="380866"/>
                  </a:lnTo>
                  <a:lnTo>
                    <a:pt x="76930" y="381410"/>
                  </a:lnTo>
                  <a:lnTo>
                    <a:pt x="75962" y="382499"/>
                  </a:lnTo>
                  <a:lnTo>
                    <a:pt x="69760" y="392845"/>
                  </a:lnTo>
                  <a:lnTo>
                    <a:pt x="68066" y="394418"/>
                  </a:lnTo>
                  <a:lnTo>
                    <a:pt x="66946" y="394842"/>
                  </a:lnTo>
                  <a:lnTo>
                    <a:pt x="64799" y="395235"/>
                  </a:lnTo>
                  <a:lnTo>
                    <a:pt x="63679" y="396112"/>
                  </a:lnTo>
                  <a:lnTo>
                    <a:pt x="62953" y="397353"/>
                  </a:lnTo>
                  <a:lnTo>
                    <a:pt x="61229" y="401921"/>
                  </a:lnTo>
                  <a:lnTo>
                    <a:pt x="53606" y="411359"/>
                  </a:lnTo>
                  <a:lnTo>
                    <a:pt x="51095" y="416865"/>
                  </a:lnTo>
                  <a:lnTo>
                    <a:pt x="53031" y="421947"/>
                  </a:lnTo>
                  <a:lnTo>
                    <a:pt x="53727" y="424034"/>
                  </a:lnTo>
                  <a:lnTo>
                    <a:pt x="54362" y="430085"/>
                  </a:lnTo>
                  <a:lnTo>
                    <a:pt x="54725" y="431688"/>
                  </a:lnTo>
                  <a:lnTo>
                    <a:pt x="54997" y="432474"/>
                  </a:lnTo>
                  <a:lnTo>
                    <a:pt x="56298" y="434380"/>
                  </a:lnTo>
                  <a:lnTo>
                    <a:pt x="58476" y="436498"/>
                  </a:lnTo>
                  <a:lnTo>
                    <a:pt x="59021" y="437587"/>
                  </a:lnTo>
                  <a:lnTo>
                    <a:pt x="59474" y="439856"/>
                  </a:lnTo>
                  <a:lnTo>
                    <a:pt x="60836" y="452834"/>
                  </a:lnTo>
                  <a:lnTo>
                    <a:pt x="60443" y="454891"/>
                  </a:lnTo>
                  <a:lnTo>
                    <a:pt x="58748" y="459187"/>
                  </a:lnTo>
                  <a:lnTo>
                    <a:pt x="57327" y="464178"/>
                  </a:lnTo>
                  <a:lnTo>
                    <a:pt x="55723" y="467233"/>
                  </a:lnTo>
                  <a:lnTo>
                    <a:pt x="55179" y="468928"/>
                  </a:lnTo>
                  <a:lnTo>
                    <a:pt x="55814" y="469684"/>
                  </a:lnTo>
                  <a:lnTo>
                    <a:pt x="56268" y="469381"/>
                  </a:lnTo>
                  <a:lnTo>
                    <a:pt x="57599" y="467839"/>
                  </a:lnTo>
                  <a:lnTo>
                    <a:pt x="59172" y="468867"/>
                  </a:lnTo>
                  <a:lnTo>
                    <a:pt x="59051" y="468928"/>
                  </a:lnTo>
                  <a:lnTo>
                    <a:pt x="58658" y="469018"/>
                  </a:lnTo>
                  <a:lnTo>
                    <a:pt x="61925" y="471136"/>
                  </a:lnTo>
                  <a:lnTo>
                    <a:pt x="64859" y="474706"/>
                  </a:lnTo>
                  <a:lnTo>
                    <a:pt x="66705" y="475976"/>
                  </a:lnTo>
                  <a:lnTo>
                    <a:pt x="71242" y="478305"/>
                  </a:lnTo>
                  <a:lnTo>
                    <a:pt x="72452" y="479727"/>
                  </a:lnTo>
                  <a:lnTo>
                    <a:pt x="72452" y="480937"/>
                  </a:lnTo>
                  <a:lnTo>
                    <a:pt x="71545" y="483690"/>
                  </a:lnTo>
                  <a:lnTo>
                    <a:pt x="71424" y="485596"/>
                  </a:lnTo>
                  <a:lnTo>
                    <a:pt x="71847" y="486927"/>
                  </a:lnTo>
                  <a:lnTo>
                    <a:pt x="73481" y="489498"/>
                  </a:lnTo>
                  <a:lnTo>
                    <a:pt x="73602" y="489801"/>
                  </a:lnTo>
                  <a:lnTo>
                    <a:pt x="73814" y="490255"/>
                  </a:lnTo>
                  <a:lnTo>
                    <a:pt x="72634" y="492523"/>
                  </a:lnTo>
                  <a:lnTo>
                    <a:pt x="70607" y="491707"/>
                  </a:lnTo>
                  <a:lnTo>
                    <a:pt x="68369" y="489861"/>
                  </a:lnTo>
                  <a:lnTo>
                    <a:pt x="66583" y="489015"/>
                  </a:lnTo>
                  <a:lnTo>
                    <a:pt x="65464" y="488682"/>
                  </a:lnTo>
                  <a:lnTo>
                    <a:pt x="63589" y="486292"/>
                  </a:lnTo>
                  <a:lnTo>
                    <a:pt x="62560" y="485414"/>
                  </a:lnTo>
                  <a:lnTo>
                    <a:pt x="61471" y="485294"/>
                  </a:lnTo>
                  <a:lnTo>
                    <a:pt x="59202" y="485929"/>
                  </a:lnTo>
                  <a:lnTo>
                    <a:pt x="55572" y="485687"/>
                  </a:lnTo>
                  <a:lnTo>
                    <a:pt x="53424" y="485868"/>
                  </a:lnTo>
                  <a:lnTo>
                    <a:pt x="51276" y="485626"/>
                  </a:lnTo>
                  <a:lnTo>
                    <a:pt x="48796" y="484084"/>
                  </a:lnTo>
                  <a:lnTo>
                    <a:pt x="45014" y="480242"/>
                  </a:lnTo>
                  <a:lnTo>
                    <a:pt x="42988" y="479667"/>
                  </a:lnTo>
                  <a:lnTo>
                    <a:pt x="40870" y="481542"/>
                  </a:lnTo>
                  <a:lnTo>
                    <a:pt x="40113" y="483872"/>
                  </a:lnTo>
                  <a:lnTo>
                    <a:pt x="39387" y="487078"/>
                  </a:lnTo>
                  <a:lnTo>
                    <a:pt x="38904" y="490315"/>
                  </a:lnTo>
                  <a:lnTo>
                    <a:pt x="38904" y="492705"/>
                  </a:lnTo>
                  <a:lnTo>
                    <a:pt x="37391" y="493915"/>
                  </a:lnTo>
                  <a:lnTo>
                    <a:pt x="33519" y="494429"/>
                  </a:lnTo>
                  <a:lnTo>
                    <a:pt x="31764" y="495700"/>
                  </a:lnTo>
                  <a:lnTo>
                    <a:pt x="29586" y="501599"/>
                  </a:lnTo>
                  <a:lnTo>
                    <a:pt x="28346" y="504110"/>
                  </a:lnTo>
                  <a:lnTo>
                    <a:pt x="28225" y="504775"/>
                  </a:lnTo>
                  <a:lnTo>
                    <a:pt x="28225" y="506590"/>
                  </a:lnTo>
                  <a:lnTo>
                    <a:pt x="28043" y="507468"/>
                  </a:lnTo>
                  <a:lnTo>
                    <a:pt x="27106" y="508708"/>
                  </a:lnTo>
                  <a:lnTo>
                    <a:pt x="24685" y="510584"/>
                  </a:lnTo>
                  <a:lnTo>
                    <a:pt x="23929" y="511582"/>
                  </a:lnTo>
                  <a:lnTo>
                    <a:pt x="23717" y="511824"/>
                  </a:lnTo>
                  <a:lnTo>
                    <a:pt x="23052" y="513518"/>
                  </a:lnTo>
                  <a:lnTo>
                    <a:pt x="22961" y="514607"/>
                  </a:lnTo>
                  <a:lnTo>
                    <a:pt x="23173" y="515757"/>
                  </a:lnTo>
                  <a:lnTo>
                    <a:pt x="23415" y="520506"/>
                  </a:lnTo>
                  <a:lnTo>
                    <a:pt x="23173" y="521474"/>
                  </a:lnTo>
                  <a:lnTo>
                    <a:pt x="22477" y="523078"/>
                  </a:lnTo>
                  <a:lnTo>
                    <a:pt x="21600" y="524227"/>
                  </a:lnTo>
                  <a:lnTo>
                    <a:pt x="20662" y="524923"/>
                  </a:lnTo>
                  <a:lnTo>
                    <a:pt x="19906" y="525861"/>
                  </a:lnTo>
                  <a:lnTo>
                    <a:pt x="19603" y="527736"/>
                  </a:lnTo>
                  <a:lnTo>
                    <a:pt x="19724" y="530731"/>
                  </a:lnTo>
                  <a:lnTo>
                    <a:pt x="19059" y="533696"/>
                  </a:lnTo>
                  <a:lnTo>
                    <a:pt x="17818" y="536298"/>
                  </a:lnTo>
                  <a:lnTo>
                    <a:pt x="16215" y="538264"/>
                  </a:lnTo>
                  <a:lnTo>
                    <a:pt x="15005" y="538990"/>
                  </a:lnTo>
                  <a:lnTo>
                    <a:pt x="12343" y="539776"/>
                  </a:lnTo>
                  <a:lnTo>
                    <a:pt x="11102" y="540563"/>
                  </a:lnTo>
                  <a:lnTo>
                    <a:pt x="10346" y="541531"/>
                  </a:lnTo>
                  <a:lnTo>
                    <a:pt x="9287" y="543770"/>
                  </a:lnTo>
                  <a:lnTo>
                    <a:pt x="8652" y="544768"/>
                  </a:lnTo>
                  <a:lnTo>
                    <a:pt x="2088" y="549668"/>
                  </a:lnTo>
                  <a:lnTo>
                    <a:pt x="575" y="551937"/>
                  </a:lnTo>
                  <a:lnTo>
                    <a:pt x="363" y="554751"/>
                  </a:lnTo>
                  <a:lnTo>
                    <a:pt x="1543" y="560408"/>
                  </a:lnTo>
                  <a:lnTo>
                    <a:pt x="1180" y="562616"/>
                  </a:lnTo>
                  <a:lnTo>
                    <a:pt x="91" y="564885"/>
                  </a:lnTo>
                  <a:lnTo>
                    <a:pt x="0" y="574898"/>
                  </a:lnTo>
                  <a:lnTo>
                    <a:pt x="2390" y="575292"/>
                  </a:lnTo>
                  <a:lnTo>
                    <a:pt x="2662" y="575292"/>
                  </a:lnTo>
                  <a:lnTo>
                    <a:pt x="3661" y="574263"/>
                  </a:lnTo>
                  <a:lnTo>
                    <a:pt x="6958" y="573053"/>
                  </a:lnTo>
                  <a:lnTo>
                    <a:pt x="10376" y="573446"/>
                  </a:lnTo>
                  <a:lnTo>
                    <a:pt x="13976" y="575080"/>
                  </a:lnTo>
                  <a:lnTo>
                    <a:pt x="12464" y="579285"/>
                  </a:lnTo>
                  <a:lnTo>
                    <a:pt x="12464" y="581493"/>
                  </a:lnTo>
                  <a:lnTo>
                    <a:pt x="15217" y="581342"/>
                  </a:lnTo>
                  <a:lnTo>
                    <a:pt x="15912" y="581463"/>
                  </a:lnTo>
                  <a:lnTo>
                    <a:pt x="16638" y="582643"/>
                  </a:lnTo>
                  <a:lnTo>
                    <a:pt x="16638" y="584004"/>
                  </a:lnTo>
                  <a:lnTo>
                    <a:pt x="16396" y="585607"/>
                  </a:lnTo>
                  <a:lnTo>
                    <a:pt x="16487" y="587543"/>
                  </a:lnTo>
                  <a:lnTo>
                    <a:pt x="17576" y="590357"/>
                  </a:lnTo>
                  <a:lnTo>
                    <a:pt x="22507" y="597375"/>
                  </a:lnTo>
                  <a:lnTo>
                    <a:pt x="23173" y="597980"/>
                  </a:lnTo>
                  <a:lnTo>
                    <a:pt x="23899" y="598162"/>
                  </a:lnTo>
                  <a:lnTo>
                    <a:pt x="24685" y="597950"/>
                  </a:lnTo>
                  <a:lnTo>
                    <a:pt x="25472" y="597375"/>
                  </a:lnTo>
                  <a:lnTo>
                    <a:pt x="25895" y="597194"/>
                  </a:lnTo>
                  <a:lnTo>
                    <a:pt x="26289" y="597133"/>
                  </a:lnTo>
                  <a:lnTo>
                    <a:pt x="26712" y="597194"/>
                  </a:lnTo>
                  <a:lnTo>
                    <a:pt x="28709" y="597950"/>
                  </a:lnTo>
                  <a:lnTo>
                    <a:pt x="30282" y="598252"/>
                  </a:lnTo>
                  <a:lnTo>
                    <a:pt x="31855" y="598131"/>
                  </a:lnTo>
                  <a:lnTo>
                    <a:pt x="33791" y="597224"/>
                  </a:lnTo>
                  <a:lnTo>
                    <a:pt x="34638" y="597224"/>
                  </a:lnTo>
                  <a:lnTo>
                    <a:pt x="35062" y="597436"/>
                  </a:lnTo>
                  <a:lnTo>
                    <a:pt x="42534" y="606511"/>
                  </a:lnTo>
                  <a:lnTo>
                    <a:pt x="43865" y="609354"/>
                  </a:lnTo>
                  <a:lnTo>
                    <a:pt x="45287" y="613741"/>
                  </a:lnTo>
                  <a:lnTo>
                    <a:pt x="46981" y="617008"/>
                  </a:lnTo>
                  <a:lnTo>
                    <a:pt x="47525" y="617583"/>
                  </a:lnTo>
                  <a:lnTo>
                    <a:pt x="47797" y="617583"/>
                  </a:lnTo>
                  <a:lnTo>
                    <a:pt x="49128" y="616948"/>
                  </a:lnTo>
                  <a:lnTo>
                    <a:pt x="56389" y="616948"/>
                  </a:lnTo>
                  <a:lnTo>
                    <a:pt x="58234" y="616373"/>
                  </a:lnTo>
                  <a:lnTo>
                    <a:pt x="59959" y="615345"/>
                  </a:lnTo>
                  <a:lnTo>
                    <a:pt x="61683" y="614921"/>
                  </a:lnTo>
                  <a:lnTo>
                    <a:pt x="63316" y="615889"/>
                  </a:lnTo>
                  <a:lnTo>
                    <a:pt x="63679" y="616554"/>
                  </a:lnTo>
                  <a:lnTo>
                    <a:pt x="67309" y="618430"/>
                  </a:lnTo>
                  <a:lnTo>
                    <a:pt x="70274" y="621002"/>
                  </a:lnTo>
                  <a:lnTo>
                    <a:pt x="71605" y="622575"/>
                  </a:lnTo>
                  <a:lnTo>
                    <a:pt x="72634" y="624480"/>
                  </a:lnTo>
                  <a:lnTo>
                    <a:pt x="73329" y="627082"/>
                  </a:lnTo>
                  <a:lnTo>
                    <a:pt x="72966" y="628504"/>
                  </a:lnTo>
                  <a:lnTo>
                    <a:pt x="72301" y="629774"/>
                  </a:lnTo>
                  <a:lnTo>
                    <a:pt x="72120" y="631922"/>
                  </a:lnTo>
                  <a:lnTo>
                    <a:pt x="70395" y="633889"/>
                  </a:lnTo>
                  <a:lnTo>
                    <a:pt x="71242" y="635552"/>
                  </a:lnTo>
                  <a:lnTo>
                    <a:pt x="74933" y="638336"/>
                  </a:lnTo>
                  <a:lnTo>
                    <a:pt x="76960" y="637761"/>
                  </a:lnTo>
                  <a:lnTo>
                    <a:pt x="78775" y="636611"/>
                  </a:lnTo>
                  <a:lnTo>
                    <a:pt x="79622" y="634735"/>
                  </a:lnTo>
                  <a:lnTo>
                    <a:pt x="78775" y="631953"/>
                  </a:lnTo>
                  <a:lnTo>
                    <a:pt x="79622" y="630319"/>
                  </a:lnTo>
                  <a:lnTo>
                    <a:pt x="81135" y="630198"/>
                  </a:lnTo>
                  <a:lnTo>
                    <a:pt x="82919" y="630954"/>
                  </a:lnTo>
                  <a:lnTo>
                    <a:pt x="84462" y="631953"/>
                  </a:lnTo>
                  <a:lnTo>
                    <a:pt x="86066" y="632860"/>
                  </a:lnTo>
                  <a:lnTo>
                    <a:pt x="87699" y="633314"/>
                  </a:lnTo>
                  <a:lnTo>
                    <a:pt x="89302" y="633072"/>
                  </a:lnTo>
                  <a:lnTo>
                    <a:pt x="93628" y="629926"/>
                  </a:lnTo>
                  <a:lnTo>
                    <a:pt x="94959" y="627566"/>
                  </a:lnTo>
                  <a:lnTo>
                    <a:pt x="97228" y="621092"/>
                  </a:lnTo>
                  <a:lnTo>
                    <a:pt x="99195" y="618279"/>
                  </a:lnTo>
                  <a:lnTo>
                    <a:pt x="101252" y="617371"/>
                  </a:lnTo>
                  <a:lnTo>
                    <a:pt x="103521" y="617674"/>
                  </a:lnTo>
                  <a:lnTo>
                    <a:pt x="110539" y="619913"/>
                  </a:lnTo>
                  <a:lnTo>
                    <a:pt x="112293" y="621092"/>
                  </a:lnTo>
                  <a:lnTo>
                    <a:pt x="116438" y="625660"/>
                  </a:lnTo>
                  <a:lnTo>
                    <a:pt x="121248" y="629441"/>
                  </a:lnTo>
                  <a:lnTo>
                    <a:pt x="123517" y="631892"/>
                  </a:lnTo>
                  <a:lnTo>
                    <a:pt x="124243" y="632164"/>
                  </a:lnTo>
                  <a:lnTo>
                    <a:pt x="124999" y="632255"/>
                  </a:lnTo>
                  <a:lnTo>
                    <a:pt x="125755" y="632164"/>
                  </a:lnTo>
                  <a:lnTo>
                    <a:pt x="126542" y="631892"/>
                  </a:lnTo>
                  <a:lnTo>
                    <a:pt x="126693" y="631831"/>
                  </a:lnTo>
                  <a:lnTo>
                    <a:pt x="126996" y="631831"/>
                  </a:lnTo>
                  <a:lnTo>
                    <a:pt x="127147" y="631892"/>
                  </a:lnTo>
                  <a:lnTo>
                    <a:pt x="133681" y="634887"/>
                  </a:lnTo>
                  <a:lnTo>
                    <a:pt x="135768" y="634766"/>
                  </a:lnTo>
                  <a:lnTo>
                    <a:pt x="136162" y="634494"/>
                  </a:lnTo>
                  <a:lnTo>
                    <a:pt x="136465" y="634252"/>
                  </a:lnTo>
                  <a:lnTo>
                    <a:pt x="137039" y="633616"/>
                  </a:lnTo>
                  <a:lnTo>
                    <a:pt x="137554" y="632830"/>
                  </a:lnTo>
                  <a:lnTo>
                    <a:pt x="138007" y="631892"/>
                  </a:lnTo>
                  <a:lnTo>
                    <a:pt x="139096" y="631045"/>
                  </a:lnTo>
                  <a:lnTo>
                    <a:pt x="140216" y="630742"/>
                  </a:lnTo>
                  <a:lnTo>
                    <a:pt x="143997" y="630107"/>
                  </a:lnTo>
                  <a:lnTo>
                    <a:pt x="145873" y="630682"/>
                  </a:lnTo>
                  <a:lnTo>
                    <a:pt x="152347" y="631378"/>
                  </a:lnTo>
                  <a:lnTo>
                    <a:pt x="156491" y="632679"/>
                  </a:lnTo>
                  <a:lnTo>
                    <a:pt x="158820" y="632981"/>
                  </a:lnTo>
                  <a:lnTo>
                    <a:pt x="165808" y="632648"/>
                  </a:lnTo>
                  <a:lnTo>
                    <a:pt x="167472" y="633405"/>
                  </a:lnTo>
                  <a:lnTo>
                    <a:pt x="172706" y="637882"/>
                  </a:lnTo>
                  <a:lnTo>
                    <a:pt x="173371" y="639999"/>
                  </a:lnTo>
                  <a:lnTo>
                    <a:pt x="175519" y="639999"/>
                  </a:lnTo>
                  <a:lnTo>
                    <a:pt x="185653" y="636127"/>
                  </a:lnTo>
                  <a:lnTo>
                    <a:pt x="188830" y="636278"/>
                  </a:lnTo>
                  <a:lnTo>
                    <a:pt x="190494" y="637367"/>
                  </a:lnTo>
                  <a:lnTo>
                    <a:pt x="195485" y="638608"/>
                  </a:lnTo>
                  <a:lnTo>
                    <a:pt x="197481" y="639455"/>
                  </a:lnTo>
                  <a:lnTo>
                    <a:pt x="201142" y="642692"/>
                  </a:lnTo>
                  <a:lnTo>
                    <a:pt x="202897" y="643024"/>
                  </a:lnTo>
                  <a:lnTo>
                    <a:pt x="203048" y="642904"/>
                  </a:lnTo>
                  <a:lnTo>
                    <a:pt x="209007" y="645021"/>
                  </a:lnTo>
                  <a:lnTo>
                    <a:pt x="211185" y="645112"/>
                  </a:lnTo>
                  <a:lnTo>
                    <a:pt x="217901" y="641966"/>
                  </a:lnTo>
                  <a:lnTo>
                    <a:pt x="222862" y="641815"/>
                  </a:lnTo>
                  <a:lnTo>
                    <a:pt x="226795" y="638668"/>
                  </a:lnTo>
                  <a:lnTo>
                    <a:pt x="229094" y="637519"/>
                  </a:lnTo>
                  <a:lnTo>
                    <a:pt x="231030" y="637458"/>
                  </a:lnTo>
                  <a:lnTo>
                    <a:pt x="236778" y="638729"/>
                  </a:lnTo>
                  <a:lnTo>
                    <a:pt x="242465" y="638638"/>
                  </a:lnTo>
                  <a:lnTo>
                    <a:pt x="244432" y="639092"/>
                  </a:lnTo>
                  <a:lnTo>
                    <a:pt x="245249" y="639546"/>
                  </a:lnTo>
                  <a:lnTo>
                    <a:pt x="249121" y="641663"/>
                  </a:lnTo>
                  <a:lnTo>
                    <a:pt x="251662" y="643539"/>
                  </a:lnTo>
                  <a:lnTo>
                    <a:pt x="253235" y="645354"/>
                  </a:lnTo>
                  <a:lnTo>
                    <a:pt x="253900" y="647532"/>
                  </a:lnTo>
                  <a:lnTo>
                    <a:pt x="253991" y="649347"/>
                  </a:lnTo>
                  <a:lnTo>
                    <a:pt x="254445" y="651041"/>
                  </a:lnTo>
                  <a:lnTo>
                    <a:pt x="256230" y="652947"/>
                  </a:lnTo>
                  <a:lnTo>
                    <a:pt x="259618" y="654883"/>
                  </a:lnTo>
                  <a:lnTo>
                    <a:pt x="267755" y="657817"/>
                  </a:lnTo>
                  <a:lnTo>
                    <a:pt x="269238" y="659027"/>
                  </a:lnTo>
                  <a:lnTo>
                    <a:pt x="270508" y="660631"/>
                  </a:lnTo>
                  <a:lnTo>
                    <a:pt x="273897" y="666258"/>
                  </a:lnTo>
                  <a:lnTo>
                    <a:pt x="276226" y="669615"/>
                  </a:lnTo>
                  <a:lnTo>
                    <a:pt x="278132" y="670795"/>
                  </a:lnTo>
                  <a:lnTo>
                    <a:pt x="281399" y="670251"/>
                  </a:lnTo>
                  <a:lnTo>
                    <a:pt x="282760" y="670009"/>
                  </a:lnTo>
                  <a:lnTo>
                    <a:pt x="290293" y="668768"/>
                  </a:lnTo>
                  <a:lnTo>
                    <a:pt x="296585" y="666258"/>
                  </a:lnTo>
                  <a:lnTo>
                    <a:pt x="296585" y="666258"/>
                  </a:lnTo>
                  <a:lnTo>
                    <a:pt x="300790" y="662506"/>
                  </a:lnTo>
                  <a:lnTo>
                    <a:pt x="310531" y="647623"/>
                  </a:lnTo>
                  <a:lnTo>
                    <a:pt x="314857" y="644870"/>
                  </a:lnTo>
                  <a:lnTo>
                    <a:pt x="364227" y="639909"/>
                  </a:lnTo>
                  <a:lnTo>
                    <a:pt x="370883" y="637428"/>
                  </a:lnTo>
                  <a:lnTo>
                    <a:pt x="376177" y="636823"/>
                  </a:lnTo>
                  <a:lnTo>
                    <a:pt x="379232" y="635583"/>
                  </a:lnTo>
                  <a:lnTo>
                    <a:pt x="380926" y="635280"/>
                  </a:lnTo>
                  <a:lnTo>
                    <a:pt x="385706" y="635734"/>
                  </a:lnTo>
                  <a:lnTo>
                    <a:pt x="392089" y="633949"/>
                  </a:lnTo>
                  <a:lnTo>
                    <a:pt x="399470" y="633889"/>
                  </a:lnTo>
                  <a:lnTo>
                    <a:pt x="401800" y="633889"/>
                  </a:lnTo>
                  <a:lnTo>
                    <a:pt x="406579" y="631831"/>
                  </a:lnTo>
                  <a:lnTo>
                    <a:pt x="407548" y="630440"/>
                  </a:lnTo>
                  <a:lnTo>
                    <a:pt x="409786" y="625751"/>
                  </a:lnTo>
                  <a:lnTo>
                    <a:pt x="411026" y="624269"/>
                  </a:lnTo>
                  <a:lnTo>
                    <a:pt x="413658" y="622211"/>
                  </a:lnTo>
                  <a:lnTo>
                    <a:pt x="414868" y="620941"/>
                  </a:lnTo>
                  <a:lnTo>
                    <a:pt x="416441" y="618007"/>
                  </a:lnTo>
                  <a:lnTo>
                    <a:pt x="418075" y="613711"/>
                  </a:lnTo>
                  <a:lnTo>
                    <a:pt x="419134" y="609325"/>
                  </a:lnTo>
                  <a:lnTo>
                    <a:pt x="418982" y="606178"/>
                  </a:lnTo>
                  <a:lnTo>
                    <a:pt x="419708" y="601610"/>
                  </a:lnTo>
                  <a:lnTo>
                    <a:pt x="420555" y="601943"/>
                  </a:lnTo>
                  <a:lnTo>
                    <a:pt x="422431" y="602125"/>
                  </a:lnTo>
                  <a:lnTo>
                    <a:pt x="424156" y="601641"/>
                  </a:lnTo>
                  <a:lnTo>
                    <a:pt x="427483" y="600098"/>
                  </a:lnTo>
                  <a:lnTo>
                    <a:pt x="429177" y="599674"/>
                  </a:lnTo>
                  <a:lnTo>
                    <a:pt x="433927" y="599463"/>
                  </a:lnTo>
                  <a:lnTo>
                    <a:pt x="435590" y="599100"/>
                  </a:lnTo>
                  <a:lnTo>
                    <a:pt x="448296" y="596468"/>
                  </a:lnTo>
                  <a:lnTo>
                    <a:pt x="451352" y="595136"/>
                  </a:lnTo>
                  <a:lnTo>
                    <a:pt x="451442" y="593987"/>
                  </a:lnTo>
                  <a:lnTo>
                    <a:pt x="452078" y="591809"/>
                  </a:lnTo>
                  <a:lnTo>
                    <a:pt x="453197" y="590145"/>
                  </a:lnTo>
                  <a:lnTo>
                    <a:pt x="456524" y="588209"/>
                  </a:lnTo>
                  <a:lnTo>
                    <a:pt x="457009" y="586424"/>
                  </a:lnTo>
                  <a:lnTo>
                    <a:pt x="457583" y="585244"/>
                  </a:lnTo>
                  <a:lnTo>
                    <a:pt x="459580" y="585940"/>
                  </a:lnTo>
                  <a:lnTo>
                    <a:pt x="460941" y="587332"/>
                  </a:lnTo>
                  <a:lnTo>
                    <a:pt x="462000" y="589056"/>
                  </a:lnTo>
                  <a:lnTo>
                    <a:pt x="463240" y="590568"/>
                  </a:lnTo>
                  <a:lnTo>
                    <a:pt x="465116" y="591355"/>
                  </a:lnTo>
                  <a:lnTo>
                    <a:pt x="467112" y="591204"/>
                  </a:lnTo>
                  <a:lnTo>
                    <a:pt x="468262" y="590236"/>
                  </a:lnTo>
                  <a:lnTo>
                    <a:pt x="468716" y="588451"/>
                  </a:lnTo>
                  <a:lnTo>
                    <a:pt x="468655" y="585819"/>
                  </a:lnTo>
                  <a:lnTo>
                    <a:pt x="468111" y="583157"/>
                  </a:lnTo>
                  <a:lnTo>
                    <a:pt x="467536" y="581493"/>
                  </a:lnTo>
                  <a:lnTo>
                    <a:pt x="467475" y="580253"/>
                  </a:lnTo>
                  <a:lnTo>
                    <a:pt x="468534" y="578861"/>
                  </a:lnTo>
                  <a:lnTo>
                    <a:pt x="469079" y="578861"/>
                  </a:lnTo>
                  <a:lnTo>
                    <a:pt x="470743" y="579436"/>
                  </a:lnTo>
                  <a:lnTo>
                    <a:pt x="471439" y="579436"/>
                  </a:lnTo>
                  <a:lnTo>
                    <a:pt x="472316" y="578619"/>
                  </a:lnTo>
                  <a:lnTo>
                    <a:pt x="472588" y="577590"/>
                  </a:lnTo>
                  <a:lnTo>
                    <a:pt x="472951" y="576713"/>
                  </a:lnTo>
                  <a:lnTo>
                    <a:pt x="474040" y="576381"/>
                  </a:lnTo>
                  <a:lnTo>
                    <a:pt x="477368" y="577742"/>
                  </a:lnTo>
                  <a:lnTo>
                    <a:pt x="480665" y="580343"/>
                  </a:lnTo>
                  <a:lnTo>
                    <a:pt x="484144" y="582280"/>
                  </a:lnTo>
                  <a:lnTo>
                    <a:pt x="487956" y="581675"/>
                  </a:lnTo>
                  <a:lnTo>
                    <a:pt x="488924" y="580737"/>
                  </a:lnTo>
                  <a:lnTo>
                    <a:pt x="489650" y="580858"/>
                  </a:lnTo>
                  <a:lnTo>
                    <a:pt x="490346" y="581251"/>
                  </a:lnTo>
                  <a:lnTo>
                    <a:pt x="491435" y="581160"/>
                  </a:lnTo>
                  <a:lnTo>
                    <a:pt x="492645" y="581372"/>
                  </a:lnTo>
                  <a:lnTo>
                    <a:pt x="493189" y="581039"/>
                  </a:lnTo>
                  <a:lnTo>
                    <a:pt x="493068" y="580343"/>
                  </a:lnTo>
                  <a:lnTo>
                    <a:pt x="492735" y="579587"/>
                  </a:lnTo>
                  <a:lnTo>
                    <a:pt x="492645" y="579043"/>
                  </a:lnTo>
                  <a:lnTo>
                    <a:pt x="492645" y="578105"/>
                  </a:lnTo>
                  <a:lnTo>
                    <a:pt x="492403" y="576925"/>
                  </a:lnTo>
                  <a:lnTo>
                    <a:pt x="492493" y="575927"/>
                  </a:lnTo>
                  <a:lnTo>
                    <a:pt x="493613" y="575564"/>
                  </a:lnTo>
                  <a:lnTo>
                    <a:pt x="494671" y="575836"/>
                  </a:lnTo>
                  <a:lnTo>
                    <a:pt x="496789" y="577076"/>
                  </a:lnTo>
                  <a:lnTo>
                    <a:pt x="507559" y="580828"/>
                  </a:lnTo>
                  <a:lnTo>
                    <a:pt x="510856" y="581009"/>
                  </a:lnTo>
                  <a:lnTo>
                    <a:pt x="514698" y="579194"/>
                  </a:lnTo>
                  <a:lnTo>
                    <a:pt x="515243" y="578559"/>
                  </a:lnTo>
                  <a:lnTo>
                    <a:pt x="520688" y="572267"/>
                  </a:lnTo>
                  <a:lnTo>
                    <a:pt x="524348" y="570512"/>
                  </a:lnTo>
                  <a:lnTo>
                    <a:pt x="526284" y="570966"/>
                  </a:lnTo>
                  <a:lnTo>
                    <a:pt x="529158" y="573446"/>
                  </a:lnTo>
                  <a:lnTo>
                    <a:pt x="530550" y="573930"/>
                  </a:lnTo>
                  <a:lnTo>
                    <a:pt x="532214" y="573144"/>
                  </a:lnTo>
                  <a:lnTo>
                    <a:pt x="538324" y="568364"/>
                  </a:lnTo>
                  <a:lnTo>
                    <a:pt x="540624" y="565430"/>
                  </a:lnTo>
                  <a:lnTo>
                    <a:pt x="544768" y="565430"/>
                  </a:lnTo>
                  <a:lnTo>
                    <a:pt x="545948" y="565157"/>
                  </a:lnTo>
                  <a:lnTo>
                    <a:pt x="548580" y="563554"/>
                  </a:lnTo>
                  <a:lnTo>
                    <a:pt x="550758" y="563826"/>
                  </a:lnTo>
                  <a:lnTo>
                    <a:pt x="550969" y="567487"/>
                  </a:lnTo>
                  <a:lnTo>
                    <a:pt x="552996" y="568394"/>
                  </a:lnTo>
                  <a:lnTo>
                    <a:pt x="565551" y="568303"/>
                  </a:lnTo>
                  <a:lnTo>
                    <a:pt x="568939" y="569755"/>
                  </a:lnTo>
                  <a:lnTo>
                    <a:pt x="575443" y="574202"/>
                  </a:lnTo>
                  <a:lnTo>
                    <a:pt x="576956" y="575685"/>
                  </a:lnTo>
                  <a:lnTo>
                    <a:pt x="579013" y="578528"/>
                  </a:lnTo>
                  <a:lnTo>
                    <a:pt x="580162" y="580102"/>
                  </a:lnTo>
                  <a:lnTo>
                    <a:pt x="580949" y="580767"/>
                  </a:lnTo>
                  <a:lnTo>
                    <a:pt x="583157" y="583974"/>
                  </a:lnTo>
                  <a:lnTo>
                    <a:pt x="587241" y="585426"/>
                  </a:lnTo>
                  <a:lnTo>
                    <a:pt x="590871" y="585849"/>
                  </a:lnTo>
                  <a:lnTo>
                    <a:pt x="596165" y="586454"/>
                  </a:lnTo>
                  <a:lnTo>
                    <a:pt x="598222" y="587362"/>
                  </a:lnTo>
                  <a:lnTo>
                    <a:pt x="599856" y="589147"/>
                  </a:lnTo>
                  <a:lnTo>
                    <a:pt x="600400" y="591657"/>
                  </a:lnTo>
                  <a:lnTo>
                    <a:pt x="598434" y="597073"/>
                  </a:lnTo>
                  <a:lnTo>
                    <a:pt x="599886" y="598101"/>
                  </a:lnTo>
                  <a:lnTo>
                    <a:pt x="602155" y="598192"/>
                  </a:lnTo>
                  <a:lnTo>
                    <a:pt x="603728" y="597799"/>
                  </a:lnTo>
                  <a:lnTo>
                    <a:pt x="606844" y="595348"/>
                  </a:lnTo>
                  <a:lnTo>
                    <a:pt x="608477" y="595106"/>
                  </a:lnTo>
                  <a:lnTo>
                    <a:pt x="609203" y="597375"/>
                  </a:lnTo>
                  <a:lnTo>
                    <a:pt x="609566" y="600067"/>
                  </a:lnTo>
                  <a:lnTo>
                    <a:pt x="610625" y="601641"/>
                  </a:lnTo>
                  <a:lnTo>
                    <a:pt x="612350" y="602155"/>
                  </a:lnTo>
                  <a:lnTo>
                    <a:pt x="614709" y="601671"/>
                  </a:lnTo>
                  <a:lnTo>
                    <a:pt x="616887" y="600521"/>
                  </a:lnTo>
                  <a:lnTo>
                    <a:pt x="618461" y="599251"/>
                  </a:lnTo>
                  <a:lnTo>
                    <a:pt x="620154" y="598222"/>
                  </a:lnTo>
                  <a:lnTo>
                    <a:pt x="624783" y="597708"/>
                  </a:lnTo>
                  <a:lnTo>
                    <a:pt x="626507" y="597920"/>
                  </a:lnTo>
                  <a:lnTo>
                    <a:pt x="627566" y="599039"/>
                  </a:lnTo>
                  <a:lnTo>
                    <a:pt x="627748" y="601671"/>
                  </a:lnTo>
                  <a:lnTo>
                    <a:pt x="627082" y="604514"/>
                  </a:lnTo>
                  <a:lnTo>
                    <a:pt x="625963" y="605785"/>
                  </a:lnTo>
                  <a:lnTo>
                    <a:pt x="624511" y="606662"/>
                  </a:lnTo>
                  <a:lnTo>
                    <a:pt x="622938" y="608387"/>
                  </a:lnTo>
                  <a:lnTo>
                    <a:pt x="622272" y="610292"/>
                  </a:lnTo>
                  <a:lnTo>
                    <a:pt x="622454" y="612229"/>
                  </a:lnTo>
                  <a:lnTo>
                    <a:pt x="623573" y="613378"/>
                  </a:lnTo>
                  <a:lnTo>
                    <a:pt x="625691" y="613015"/>
                  </a:lnTo>
                  <a:lnTo>
                    <a:pt x="627233" y="611381"/>
                  </a:lnTo>
                  <a:lnTo>
                    <a:pt x="628322" y="609264"/>
                  </a:lnTo>
                  <a:lnTo>
                    <a:pt x="629623" y="607600"/>
                  </a:lnTo>
                  <a:lnTo>
                    <a:pt x="631922" y="607298"/>
                  </a:lnTo>
                  <a:lnTo>
                    <a:pt x="633526" y="608326"/>
                  </a:lnTo>
                  <a:lnTo>
                    <a:pt x="634494" y="610202"/>
                  </a:lnTo>
                  <a:lnTo>
                    <a:pt x="634373" y="612319"/>
                  </a:lnTo>
                  <a:lnTo>
                    <a:pt x="632709" y="614044"/>
                  </a:lnTo>
                  <a:lnTo>
                    <a:pt x="635583" y="619489"/>
                  </a:lnTo>
                  <a:lnTo>
                    <a:pt x="636762" y="620639"/>
                  </a:lnTo>
                  <a:lnTo>
                    <a:pt x="638789" y="621969"/>
                  </a:lnTo>
                  <a:lnTo>
                    <a:pt x="639848" y="621879"/>
                  </a:lnTo>
                  <a:lnTo>
                    <a:pt x="640211" y="620578"/>
                  </a:lnTo>
                  <a:lnTo>
                    <a:pt x="640211" y="618218"/>
                  </a:lnTo>
                  <a:lnTo>
                    <a:pt x="640816" y="615859"/>
                  </a:lnTo>
                  <a:lnTo>
                    <a:pt x="640967" y="615314"/>
                  </a:lnTo>
                  <a:lnTo>
                    <a:pt x="640967" y="615314"/>
                  </a:lnTo>
                  <a:lnTo>
                    <a:pt x="642813" y="610292"/>
                  </a:lnTo>
                  <a:lnTo>
                    <a:pt x="645052" y="609354"/>
                  </a:lnTo>
                  <a:lnTo>
                    <a:pt x="648288" y="609476"/>
                  </a:lnTo>
                  <a:lnTo>
                    <a:pt x="657545" y="613015"/>
                  </a:lnTo>
                  <a:lnTo>
                    <a:pt x="664533" y="613106"/>
                  </a:lnTo>
                  <a:lnTo>
                    <a:pt x="668163" y="613681"/>
                  </a:lnTo>
                  <a:lnTo>
                    <a:pt x="670977" y="615435"/>
                  </a:lnTo>
                  <a:lnTo>
                    <a:pt x="671642" y="616524"/>
                  </a:lnTo>
                  <a:lnTo>
                    <a:pt x="671885" y="617523"/>
                  </a:lnTo>
                  <a:lnTo>
                    <a:pt x="671945" y="618460"/>
                  </a:lnTo>
                  <a:lnTo>
                    <a:pt x="672187" y="619428"/>
                  </a:lnTo>
                  <a:lnTo>
                    <a:pt x="673820" y="622998"/>
                  </a:lnTo>
                  <a:lnTo>
                    <a:pt x="674153" y="626598"/>
                  </a:lnTo>
                  <a:lnTo>
                    <a:pt x="674305" y="627445"/>
                  </a:lnTo>
                  <a:lnTo>
                    <a:pt x="675000" y="628352"/>
                  </a:lnTo>
                  <a:lnTo>
                    <a:pt x="676634" y="629774"/>
                  </a:lnTo>
                  <a:lnTo>
                    <a:pt x="677299" y="630803"/>
                  </a:lnTo>
                  <a:lnTo>
                    <a:pt x="679357" y="634070"/>
                  </a:lnTo>
                  <a:lnTo>
                    <a:pt x="682593" y="637337"/>
                  </a:lnTo>
                  <a:lnTo>
                    <a:pt x="684741" y="638850"/>
                  </a:lnTo>
                  <a:lnTo>
                    <a:pt x="686163" y="639878"/>
                  </a:lnTo>
                  <a:lnTo>
                    <a:pt x="689249" y="641028"/>
                  </a:lnTo>
                  <a:lnTo>
                    <a:pt x="692909" y="640392"/>
                  </a:lnTo>
                  <a:lnTo>
                    <a:pt x="697296" y="635068"/>
                  </a:lnTo>
                  <a:lnTo>
                    <a:pt x="700472" y="633616"/>
                  </a:lnTo>
                  <a:lnTo>
                    <a:pt x="702227" y="633677"/>
                  </a:lnTo>
                  <a:lnTo>
                    <a:pt x="703649" y="634191"/>
                  </a:lnTo>
                  <a:lnTo>
                    <a:pt x="704889" y="635250"/>
                  </a:lnTo>
                  <a:lnTo>
                    <a:pt x="706069" y="637035"/>
                  </a:lnTo>
                  <a:lnTo>
                    <a:pt x="706855" y="639152"/>
                  </a:lnTo>
                  <a:lnTo>
                    <a:pt x="707733" y="643871"/>
                  </a:lnTo>
                  <a:lnTo>
                    <a:pt x="708519" y="645868"/>
                  </a:lnTo>
                  <a:lnTo>
                    <a:pt x="709941" y="646897"/>
                  </a:lnTo>
                  <a:lnTo>
                    <a:pt x="713904" y="648016"/>
                  </a:lnTo>
                  <a:lnTo>
                    <a:pt x="714902" y="648681"/>
                  </a:lnTo>
                  <a:lnTo>
                    <a:pt x="714569" y="650557"/>
                  </a:lnTo>
                  <a:lnTo>
                    <a:pt x="713027" y="652493"/>
                  </a:lnTo>
                  <a:lnTo>
                    <a:pt x="711181" y="654339"/>
                  </a:lnTo>
                  <a:lnTo>
                    <a:pt x="709971" y="655881"/>
                  </a:lnTo>
                  <a:lnTo>
                    <a:pt x="709063" y="658301"/>
                  </a:lnTo>
                  <a:lnTo>
                    <a:pt x="709063" y="659814"/>
                  </a:lnTo>
                  <a:lnTo>
                    <a:pt x="710032" y="660691"/>
                  </a:lnTo>
                  <a:lnTo>
                    <a:pt x="713511" y="661841"/>
                  </a:lnTo>
                  <a:lnTo>
                    <a:pt x="714781" y="662930"/>
                  </a:lnTo>
                  <a:lnTo>
                    <a:pt x="715174" y="664412"/>
                  </a:lnTo>
                  <a:lnTo>
                    <a:pt x="713964" y="666167"/>
                  </a:lnTo>
                  <a:lnTo>
                    <a:pt x="710969" y="669706"/>
                  </a:lnTo>
                  <a:lnTo>
                    <a:pt x="710425" y="674002"/>
                  </a:lnTo>
                  <a:lnTo>
                    <a:pt x="710515" y="678842"/>
                  </a:lnTo>
                  <a:lnTo>
                    <a:pt x="709487" y="684015"/>
                  </a:lnTo>
                  <a:lnTo>
                    <a:pt x="706885" y="688190"/>
                  </a:lnTo>
                  <a:lnTo>
                    <a:pt x="704314" y="691366"/>
                  </a:lnTo>
                  <a:lnTo>
                    <a:pt x="702983" y="694966"/>
                  </a:lnTo>
                  <a:lnTo>
                    <a:pt x="704284" y="700442"/>
                  </a:lnTo>
                  <a:lnTo>
                    <a:pt x="704284" y="700442"/>
                  </a:lnTo>
                  <a:lnTo>
                    <a:pt x="704284" y="700502"/>
                  </a:lnTo>
                  <a:lnTo>
                    <a:pt x="704949" y="701712"/>
                  </a:lnTo>
                  <a:lnTo>
                    <a:pt x="705221" y="702257"/>
                  </a:lnTo>
                  <a:lnTo>
                    <a:pt x="706795" y="706371"/>
                  </a:lnTo>
                  <a:lnTo>
                    <a:pt x="707611" y="707823"/>
                  </a:lnTo>
                  <a:lnTo>
                    <a:pt x="709457" y="709124"/>
                  </a:lnTo>
                  <a:lnTo>
                    <a:pt x="710485" y="708307"/>
                  </a:lnTo>
                  <a:lnTo>
                    <a:pt x="711423" y="706855"/>
                  </a:lnTo>
                  <a:lnTo>
                    <a:pt x="713087" y="706159"/>
                  </a:lnTo>
                  <a:lnTo>
                    <a:pt x="714509" y="706885"/>
                  </a:lnTo>
                  <a:lnTo>
                    <a:pt x="716354" y="709759"/>
                  </a:lnTo>
                  <a:lnTo>
                    <a:pt x="719440" y="711635"/>
                  </a:lnTo>
                  <a:lnTo>
                    <a:pt x="720136" y="713087"/>
                  </a:lnTo>
                  <a:lnTo>
                    <a:pt x="720589" y="714690"/>
                  </a:lnTo>
                  <a:lnTo>
                    <a:pt x="721406" y="716142"/>
                  </a:lnTo>
                  <a:lnTo>
                    <a:pt x="722798" y="716898"/>
                  </a:lnTo>
                  <a:lnTo>
                    <a:pt x="724401" y="717201"/>
                  </a:lnTo>
                  <a:lnTo>
                    <a:pt x="725974" y="717836"/>
                  </a:lnTo>
                  <a:lnTo>
                    <a:pt x="727275" y="719621"/>
                  </a:lnTo>
                  <a:lnTo>
                    <a:pt x="727789" y="721769"/>
                  </a:lnTo>
                  <a:lnTo>
                    <a:pt x="727789" y="723735"/>
                  </a:lnTo>
                  <a:lnTo>
                    <a:pt x="728152" y="725671"/>
                  </a:lnTo>
                  <a:lnTo>
                    <a:pt x="728485" y="726186"/>
                  </a:lnTo>
                  <a:lnTo>
                    <a:pt x="729483" y="727728"/>
                  </a:lnTo>
                  <a:lnTo>
                    <a:pt x="730845" y="728878"/>
                  </a:lnTo>
                  <a:lnTo>
                    <a:pt x="732357" y="729544"/>
                  </a:lnTo>
                  <a:lnTo>
                    <a:pt x="733960" y="729695"/>
                  </a:lnTo>
                  <a:lnTo>
                    <a:pt x="735594" y="729211"/>
                  </a:lnTo>
                  <a:lnTo>
                    <a:pt x="737348" y="727668"/>
                  </a:lnTo>
                  <a:lnTo>
                    <a:pt x="738045" y="725762"/>
                  </a:lnTo>
                  <a:lnTo>
                    <a:pt x="738498" y="723705"/>
                  </a:lnTo>
                  <a:lnTo>
                    <a:pt x="739527" y="721588"/>
                  </a:lnTo>
                  <a:lnTo>
                    <a:pt x="741553" y="721376"/>
                  </a:lnTo>
                  <a:lnTo>
                    <a:pt x="743550" y="721497"/>
                  </a:lnTo>
                  <a:lnTo>
                    <a:pt x="745456" y="722132"/>
                  </a:lnTo>
                  <a:lnTo>
                    <a:pt x="747120" y="723524"/>
                  </a:lnTo>
                  <a:lnTo>
                    <a:pt x="748481" y="725883"/>
                  </a:lnTo>
                  <a:lnTo>
                    <a:pt x="749389" y="729029"/>
                  </a:lnTo>
                  <a:lnTo>
                    <a:pt x="749479" y="732176"/>
                  </a:lnTo>
                  <a:lnTo>
                    <a:pt x="748330" y="734535"/>
                  </a:lnTo>
                  <a:lnTo>
                    <a:pt x="745849" y="735745"/>
                  </a:lnTo>
                  <a:lnTo>
                    <a:pt x="745486" y="738710"/>
                  </a:lnTo>
                  <a:lnTo>
                    <a:pt x="746515" y="745819"/>
                  </a:lnTo>
                  <a:lnTo>
                    <a:pt x="745940" y="749147"/>
                  </a:lnTo>
                  <a:lnTo>
                    <a:pt x="744488" y="750750"/>
                  </a:lnTo>
                  <a:lnTo>
                    <a:pt x="742310" y="751355"/>
                  </a:lnTo>
                  <a:lnTo>
                    <a:pt x="739527" y="751597"/>
                  </a:lnTo>
                  <a:lnTo>
                    <a:pt x="739285" y="751990"/>
                  </a:lnTo>
                  <a:lnTo>
                    <a:pt x="739194" y="752414"/>
                  </a:lnTo>
                  <a:lnTo>
                    <a:pt x="739285" y="752837"/>
                  </a:lnTo>
                  <a:lnTo>
                    <a:pt x="739527" y="753291"/>
                  </a:lnTo>
                  <a:lnTo>
                    <a:pt x="742612" y="758615"/>
                  </a:lnTo>
                  <a:lnTo>
                    <a:pt x="743459" y="759462"/>
                  </a:lnTo>
                  <a:lnTo>
                    <a:pt x="744548" y="758615"/>
                  </a:lnTo>
                  <a:lnTo>
                    <a:pt x="745426" y="756891"/>
                  </a:lnTo>
                  <a:lnTo>
                    <a:pt x="746606" y="755348"/>
                  </a:lnTo>
                  <a:lnTo>
                    <a:pt x="748481" y="755167"/>
                  </a:lnTo>
                  <a:lnTo>
                    <a:pt x="749812" y="756014"/>
                  </a:lnTo>
                  <a:lnTo>
                    <a:pt x="750962" y="757466"/>
                  </a:lnTo>
                  <a:lnTo>
                    <a:pt x="751688" y="759311"/>
                  </a:lnTo>
                  <a:lnTo>
                    <a:pt x="751778" y="761398"/>
                  </a:lnTo>
                  <a:lnTo>
                    <a:pt x="751022" y="763244"/>
                  </a:lnTo>
                  <a:lnTo>
                    <a:pt x="749812" y="764514"/>
                  </a:lnTo>
                  <a:lnTo>
                    <a:pt x="748723" y="766027"/>
                  </a:lnTo>
                  <a:lnTo>
                    <a:pt x="747967" y="771079"/>
                  </a:lnTo>
                  <a:lnTo>
                    <a:pt x="747543" y="772864"/>
                  </a:lnTo>
                  <a:lnTo>
                    <a:pt x="747453" y="773196"/>
                  </a:lnTo>
                  <a:lnTo>
                    <a:pt x="747332" y="774981"/>
                  </a:lnTo>
                  <a:lnTo>
                    <a:pt x="748209" y="776494"/>
                  </a:lnTo>
                  <a:lnTo>
                    <a:pt x="748784" y="776615"/>
                  </a:lnTo>
                  <a:lnTo>
                    <a:pt x="751325" y="776403"/>
                  </a:lnTo>
                  <a:lnTo>
                    <a:pt x="752232" y="776857"/>
                  </a:lnTo>
                  <a:lnTo>
                    <a:pt x="753805" y="778551"/>
                  </a:lnTo>
                  <a:lnTo>
                    <a:pt x="754683" y="779247"/>
                  </a:lnTo>
                  <a:lnTo>
                    <a:pt x="756316" y="779791"/>
                  </a:lnTo>
                  <a:lnTo>
                    <a:pt x="759614" y="780033"/>
                  </a:lnTo>
                  <a:lnTo>
                    <a:pt x="761157" y="780548"/>
                  </a:lnTo>
                  <a:lnTo>
                    <a:pt x="762790" y="782060"/>
                  </a:lnTo>
                  <a:lnTo>
                    <a:pt x="765150" y="785599"/>
                  </a:lnTo>
                  <a:lnTo>
                    <a:pt x="766995" y="786840"/>
                  </a:lnTo>
                  <a:lnTo>
                    <a:pt x="770172" y="787294"/>
                  </a:lnTo>
                  <a:lnTo>
                    <a:pt x="773136" y="787021"/>
                  </a:lnTo>
                  <a:lnTo>
                    <a:pt x="776010" y="787354"/>
                  </a:lnTo>
                  <a:lnTo>
                    <a:pt x="778884" y="789562"/>
                  </a:lnTo>
                  <a:lnTo>
                    <a:pt x="779337" y="790500"/>
                  </a:lnTo>
                  <a:lnTo>
                    <a:pt x="780154" y="792951"/>
                  </a:lnTo>
                  <a:lnTo>
                    <a:pt x="780638" y="793707"/>
                  </a:lnTo>
                  <a:lnTo>
                    <a:pt x="781516" y="793767"/>
                  </a:lnTo>
                  <a:lnTo>
                    <a:pt x="782453" y="793192"/>
                  </a:lnTo>
                  <a:lnTo>
                    <a:pt x="783422" y="792799"/>
                  </a:lnTo>
                  <a:lnTo>
                    <a:pt x="784511" y="793344"/>
                  </a:lnTo>
                  <a:lnTo>
                    <a:pt x="784753" y="794252"/>
                  </a:lnTo>
                  <a:lnTo>
                    <a:pt x="784753" y="797156"/>
                  </a:lnTo>
                  <a:lnTo>
                    <a:pt x="784843" y="798396"/>
                  </a:lnTo>
                  <a:lnTo>
                    <a:pt x="785237" y="799364"/>
                  </a:lnTo>
                  <a:lnTo>
                    <a:pt x="786356" y="801300"/>
                  </a:lnTo>
                  <a:lnTo>
                    <a:pt x="786810" y="802328"/>
                  </a:lnTo>
                  <a:lnTo>
                    <a:pt x="786961" y="804809"/>
                  </a:lnTo>
                  <a:lnTo>
                    <a:pt x="786144" y="813159"/>
                  </a:lnTo>
                  <a:lnTo>
                    <a:pt x="785721" y="814731"/>
                  </a:lnTo>
                  <a:lnTo>
                    <a:pt x="785237" y="815942"/>
                  </a:lnTo>
                  <a:lnTo>
                    <a:pt x="784874" y="817212"/>
                  </a:lnTo>
                  <a:lnTo>
                    <a:pt x="784813" y="818967"/>
                  </a:lnTo>
                  <a:lnTo>
                    <a:pt x="785176" y="820358"/>
                  </a:lnTo>
                  <a:lnTo>
                    <a:pt x="786417" y="823111"/>
                  </a:lnTo>
                  <a:lnTo>
                    <a:pt x="786658" y="824382"/>
                  </a:lnTo>
                  <a:lnTo>
                    <a:pt x="785509" y="827286"/>
                  </a:lnTo>
                  <a:lnTo>
                    <a:pt x="783301" y="827679"/>
                  </a:lnTo>
                  <a:lnTo>
                    <a:pt x="781576" y="827861"/>
                  </a:lnTo>
                  <a:lnTo>
                    <a:pt x="781879" y="830856"/>
                  </a:lnTo>
                  <a:lnTo>
                    <a:pt x="783301" y="832459"/>
                  </a:lnTo>
                  <a:lnTo>
                    <a:pt x="787747" y="834183"/>
                  </a:lnTo>
                  <a:lnTo>
                    <a:pt x="787929" y="834516"/>
                  </a:lnTo>
                  <a:lnTo>
                    <a:pt x="788443" y="835787"/>
                  </a:lnTo>
                  <a:lnTo>
                    <a:pt x="788806" y="836059"/>
                  </a:lnTo>
                  <a:lnTo>
                    <a:pt x="789472" y="835877"/>
                  </a:lnTo>
                  <a:lnTo>
                    <a:pt x="790682" y="835151"/>
                  </a:lnTo>
                  <a:lnTo>
                    <a:pt x="791257" y="835151"/>
                  </a:lnTo>
                  <a:lnTo>
                    <a:pt x="792043" y="835756"/>
                  </a:lnTo>
                  <a:lnTo>
                    <a:pt x="792678" y="836573"/>
                  </a:lnTo>
                  <a:lnTo>
                    <a:pt x="793919" y="838902"/>
                  </a:lnTo>
                  <a:lnTo>
                    <a:pt x="793132" y="840052"/>
                  </a:lnTo>
                  <a:lnTo>
                    <a:pt x="797761" y="843410"/>
                  </a:lnTo>
                  <a:lnTo>
                    <a:pt x="799485" y="845286"/>
                  </a:lnTo>
                  <a:lnTo>
                    <a:pt x="800484" y="844469"/>
                  </a:lnTo>
                  <a:lnTo>
                    <a:pt x="801996" y="844227"/>
                  </a:lnTo>
                  <a:lnTo>
                    <a:pt x="803629" y="844499"/>
                  </a:lnTo>
                  <a:lnTo>
                    <a:pt x="804961" y="845286"/>
                  </a:lnTo>
                  <a:lnTo>
                    <a:pt x="802510" y="849430"/>
                  </a:lnTo>
                  <a:lnTo>
                    <a:pt x="799878" y="851820"/>
                  </a:lnTo>
                  <a:lnTo>
                    <a:pt x="795462" y="852515"/>
                  </a:lnTo>
                  <a:lnTo>
                    <a:pt x="783512" y="851880"/>
                  </a:lnTo>
                  <a:lnTo>
                    <a:pt x="781879" y="852213"/>
                  </a:lnTo>
                  <a:lnTo>
                    <a:pt x="780064" y="853151"/>
                  </a:lnTo>
                  <a:lnTo>
                    <a:pt x="776343" y="856176"/>
                  </a:lnTo>
                  <a:lnTo>
                    <a:pt x="774377" y="856448"/>
                  </a:lnTo>
                  <a:lnTo>
                    <a:pt x="772380" y="854421"/>
                  </a:lnTo>
                  <a:lnTo>
                    <a:pt x="772168" y="853484"/>
                  </a:lnTo>
                  <a:lnTo>
                    <a:pt x="772228" y="850912"/>
                  </a:lnTo>
                  <a:lnTo>
                    <a:pt x="772047" y="849702"/>
                  </a:lnTo>
                  <a:lnTo>
                    <a:pt x="771563" y="848583"/>
                  </a:lnTo>
                  <a:lnTo>
                    <a:pt x="769476" y="845558"/>
                  </a:lnTo>
                  <a:lnTo>
                    <a:pt x="764182" y="840899"/>
                  </a:lnTo>
                  <a:lnTo>
                    <a:pt x="762881" y="838842"/>
                  </a:lnTo>
                  <a:lnTo>
                    <a:pt x="762881" y="842593"/>
                  </a:lnTo>
                  <a:lnTo>
                    <a:pt x="761762" y="844559"/>
                  </a:lnTo>
                  <a:lnTo>
                    <a:pt x="759735" y="845286"/>
                  </a:lnTo>
                  <a:lnTo>
                    <a:pt x="756891" y="845286"/>
                  </a:lnTo>
                  <a:lnTo>
                    <a:pt x="756256" y="846163"/>
                  </a:lnTo>
                  <a:lnTo>
                    <a:pt x="756740" y="849430"/>
                  </a:lnTo>
                  <a:lnTo>
                    <a:pt x="755983" y="851608"/>
                  </a:lnTo>
                  <a:lnTo>
                    <a:pt x="754622" y="852878"/>
                  </a:lnTo>
                  <a:lnTo>
                    <a:pt x="752958" y="853453"/>
                  </a:lnTo>
                  <a:lnTo>
                    <a:pt x="751234" y="853302"/>
                  </a:lnTo>
                  <a:lnTo>
                    <a:pt x="749661" y="852425"/>
                  </a:lnTo>
                  <a:lnTo>
                    <a:pt x="748300" y="850731"/>
                  </a:lnTo>
                  <a:lnTo>
                    <a:pt x="746908" y="847796"/>
                  </a:lnTo>
                  <a:lnTo>
                    <a:pt x="745486" y="846617"/>
                  </a:lnTo>
                  <a:lnTo>
                    <a:pt x="744095" y="846132"/>
                  </a:lnTo>
                  <a:lnTo>
                    <a:pt x="740918" y="845558"/>
                  </a:lnTo>
                  <a:lnTo>
                    <a:pt x="739375" y="844983"/>
                  </a:lnTo>
                  <a:lnTo>
                    <a:pt x="738801" y="844015"/>
                  </a:lnTo>
                  <a:lnTo>
                    <a:pt x="738619" y="843017"/>
                  </a:lnTo>
                  <a:lnTo>
                    <a:pt x="738831" y="841988"/>
                  </a:lnTo>
                  <a:lnTo>
                    <a:pt x="739406" y="840929"/>
                  </a:lnTo>
                  <a:lnTo>
                    <a:pt x="739950" y="839992"/>
                  </a:lnTo>
                  <a:lnTo>
                    <a:pt x="740162" y="839054"/>
                  </a:lnTo>
                  <a:lnTo>
                    <a:pt x="739981" y="838176"/>
                  </a:lnTo>
                  <a:lnTo>
                    <a:pt x="739436" y="837360"/>
                  </a:lnTo>
                  <a:lnTo>
                    <a:pt x="737107" y="836996"/>
                  </a:lnTo>
                  <a:lnTo>
                    <a:pt x="737016" y="837057"/>
                  </a:lnTo>
                  <a:lnTo>
                    <a:pt x="735019" y="838086"/>
                  </a:lnTo>
                  <a:lnTo>
                    <a:pt x="733144" y="839992"/>
                  </a:lnTo>
                  <a:lnTo>
                    <a:pt x="728787" y="846193"/>
                  </a:lnTo>
                  <a:lnTo>
                    <a:pt x="727517" y="846193"/>
                  </a:lnTo>
                  <a:lnTo>
                    <a:pt x="725702" y="843773"/>
                  </a:lnTo>
                  <a:lnTo>
                    <a:pt x="723342" y="839145"/>
                  </a:lnTo>
                  <a:lnTo>
                    <a:pt x="721920" y="838691"/>
                  </a:lnTo>
                  <a:lnTo>
                    <a:pt x="720166" y="841413"/>
                  </a:lnTo>
                  <a:lnTo>
                    <a:pt x="719863" y="843047"/>
                  </a:lnTo>
                  <a:lnTo>
                    <a:pt x="720317" y="845739"/>
                  </a:lnTo>
                  <a:lnTo>
                    <a:pt x="720257" y="846949"/>
                  </a:lnTo>
                  <a:lnTo>
                    <a:pt x="719591" y="848674"/>
                  </a:lnTo>
                  <a:lnTo>
                    <a:pt x="719077" y="848885"/>
                  </a:lnTo>
                  <a:lnTo>
                    <a:pt x="718381" y="848674"/>
                  </a:lnTo>
                  <a:lnTo>
                    <a:pt x="717171" y="849097"/>
                  </a:lnTo>
                  <a:lnTo>
                    <a:pt x="713511" y="852818"/>
                  </a:lnTo>
                  <a:lnTo>
                    <a:pt x="711272" y="854058"/>
                  </a:lnTo>
                  <a:lnTo>
                    <a:pt x="709548" y="852727"/>
                  </a:lnTo>
                  <a:lnTo>
                    <a:pt x="709548" y="851336"/>
                  </a:lnTo>
                  <a:lnTo>
                    <a:pt x="710213" y="850035"/>
                  </a:lnTo>
                  <a:lnTo>
                    <a:pt x="711121" y="848795"/>
                  </a:lnTo>
                  <a:lnTo>
                    <a:pt x="711756" y="847494"/>
                  </a:lnTo>
                  <a:lnTo>
                    <a:pt x="711938" y="845921"/>
                  </a:lnTo>
                  <a:lnTo>
                    <a:pt x="711847" y="834607"/>
                  </a:lnTo>
                  <a:lnTo>
                    <a:pt x="711181" y="831733"/>
                  </a:lnTo>
                  <a:lnTo>
                    <a:pt x="709578" y="829827"/>
                  </a:lnTo>
                  <a:lnTo>
                    <a:pt x="707400" y="829827"/>
                  </a:lnTo>
                  <a:lnTo>
                    <a:pt x="698566" y="834455"/>
                  </a:lnTo>
                  <a:lnTo>
                    <a:pt x="696660" y="835091"/>
                  </a:lnTo>
                  <a:lnTo>
                    <a:pt x="693091" y="836331"/>
                  </a:lnTo>
                  <a:lnTo>
                    <a:pt x="685588" y="840990"/>
                  </a:lnTo>
                  <a:lnTo>
                    <a:pt x="683531" y="843924"/>
                  </a:lnTo>
                  <a:lnTo>
                    <a:pt x="682896" y="847675"/>
                  </a:lnTo>
                  <a:lnTo>
                    <a:pt x="683713" y="852576"/>
                  </a:lnTo>
                  <a:lnTo>
                    <a:pt x="685467" y="858899"/>
                  </a:lnTo>
                  <a:lnTo>
                    <a:pt x="685558" y="861016"/>
                  </a:lnTo>
                  <a:lnTo>
                    <a:pt x="684953" y="863406"/>
                  </a:lnTo>
                  <a:lnTo>
                    <a:pt x="684257" y="865312"/>
                  </a:lnTo>
                  <a:lnTo>
                    <a:pt x="684318" y="867157"/>
                  </a:lnTo>
                  <a:lnTo>
                    <a:pt x="686042" y="869275"/>
                  </a:lnTo>
                  <a:lnTo>
                    <a:pt x="686042" y="869275"/>
                  </a:lnTo>
                  <a:lnTo>
                    <a:pt x="689400" y="872209"/>
                  </a:lnTo>
                  <a:lnTo>
                    <a:pt x="691971" y="874448"/>
                  </a:lnTo>
                  <a:lnTo>
                    <a:pt x="692546" y="877352"/>
                  </a:lnTo>
                  <a:lnTo>
                    <a:pt x="691336" y="880498"/>
                  </a:lnTo>
                  <a:lnTo>
                    <a:pt x="689067" y="884068"/>
                  </a:lnTo>
                  <a:lnTo>
                    <a:pt x="685588" y="887668"/>
                  </a:lnTo>
                  <a:lnTo>
                    <a:pt x="684832" y="889755"/>
                  </a:lnTo>
                  <a:lnTo>
                    <a:pt x="685074" y="893022"/>
                  </a:lnTo>
                  <a:lnTo>
                    <a:pt x="686859" y="898831"/>
                  </a:lnTo>
                  <a:lnTo>
                    <a:pt x="686647" y="901432"/>
                  </a:lnTo>
                  <a:lnTo>
                    <a:pt x="684136" y="902521"/>
                  </a:lnTo>
                  <a:lnTo>
                    <a:pt x="666591" y="906787"/>
                  </a:lnTo>
                  <a:lnTo>
                    <a:pt x="664866" y="907845"/>
                  </a:lnTo>
                  <a:lnTo>
                    <a:pt x="663747" y="909782"/>
                  </a:lnTo>
                  <a:lnTo>
                    <a:pt x="663656" y="912020"/>
                  </a:lnTo>
                  <a:lnTo>
                    <a:pt x="665048" y="916618"/>
                  </a:lnTo>
                  <a:lnTo>
                    <a:pt x="665471" y="918827"/>
                  </a:lnTo>
                  <a:lnTo>
                    <a:pt x="665320" y="921489"/>
                  </a:lnTo>
                  <a:lnTo>
                    <a:pt x="664624" y="923183"/>
                  </a:lnTo>
                  <a:lnTo>
                    <a:pt x="663354" y="924333"/>
                  </a:lnTo>
                  <a:lnTo>
                    <a:pt x="661448" y="925361"/>
                  </a:lnTo>
                  <a:lnTo>
                    <a:pt x="658513" y="925966"/>
                  </a:lnTo>
                  <a:lnTo>
                    <a:pt x="657757" y="926571"/>
                  </a:lnTo>
                  <a:lnTo>
                    <a:pt x="657757" y="927328"/>
                  </a:lnTo>
                  <a:lnTo>
                    <a:pt x="657969" y="928507"/>
                  </a:lnTo>
                  <a:lnTo>
                    <a:pt x="658120" y="929899"/>
                  </a:lnTo>
                  <a:lnTo>
                    <a:pt x="657757" y="931169"/>
                  </a:lnTo>
                  <a:lnTo>
                    <a:pt x="655125" y="932591"/>
                  </a:lnTo>
                  <a:lnTo>
                    <a:pt x="648409" y="933196"/>
                  </a:lnTo>
                  <a:lnTo>
                    <a:pt x="646776" y="935677"/>
                  </a:lnTo>
                  <a:lnTo>
                    <a:pt x="647048" y="936705"/>
                  </a:lnTo>
                  <a:lnTo>
                    <a:pt x="647472" y="938157"/>
                  </a:lnTo>
                  <a:lnTo>
                    <a:pt x="646836" y="939216"/>
                  </a:lnTo>
                  <a:lnTo>
                    <a:pt x="643932" y="940094"/>
                  </a:lnTo>
                  <a:lnTo>
                    <a:pt x="642208" y="941152"/>
                  </a:lnTo>
                  <a:lnTo>
                    <a:pt x="641089" y="942241"/>
                  </a:lnTo>
                  <a:lnTo>
                    <a:pt x="638759" y="945448"/>
                  </a:lnTo>
                  <a:lnTo>
                    <a:pt x="638063" y="946961"/>
                  </a:lnTo>
                  <a:lnTo>
                    <a:pt x="638941" y="947898"/>
                  </a:lnTo>
                  <a:lnTo>
                    <a:pt x="640514" y="948745"/>
                  </a:lnTo>
                  <a:lnTo>
                    <a:pt x="641815" y="949956"/>
                  </a:lnTo>
                  <a:lnTo>
                    <a:pt x="642359" y="951831"/>
                  </a:lnTo>
                  <a:lnTo>
                    <a:pt x="642571" y="953676"/>
                  </a:lnTo>
                  <a:lnTo>
                    <a:pt x="642994" y="955491"/>
                  </a:lnTo>
                  <a:lnTo>
                    <a:pt x="644386" y="957276"/>
                  </a:lnTo>
                  <a:lnTo>
                    <a:pt x="641724" y="958426"/>
                  </a:lnTo>
                  <a:lnTo>
                    <a:pt x="641119" y="958910"/>
                  </a:lnTo>
                  <a:lnTo>
                    <a:pt x="641028" y="959061"/>
                  </a:lnTo>
                  <a:lnTo>
                    <a:pt x="640484" y="960029"/>
                  </a:lnTo>
                  <a:lnTo>
                    <a:pt x="640484" y="960332"/>
                  </a:lnTo>
                  <a:lnTo>
                    <a:pt x="640665" y="960574"/>
                  </a:lnTo>
                  <a:lnTo>
                    <a:pt x="641300" y="965051"/>
                  </a:lnTo>
                  <a:lnTo>
                    <a:pt x="640847" y="966624"/>
                  </a:lnTo>
                  <a:lnTo>
                    <a:pt x="638729" y="967501"/>
                  </a:lnTo>
                  <a:lnTo>
                    <a:pt x="632285" y="967259"/>
                  </a:lnTo>
                  <a:lnTo>
                    <a:pt x="624753" y="965444"/>
                  </a:lnTo>
                  <a:lnTo>
                    <a:pt x="617553" y="964930"/>
                  </a:lnTo>
                  <a:lnTo>
                    <a:pt x="612198" y="968651"/>
                  </a:lnTo>
                  <a:lnTo>
                    <a:pt x="612198" y="968651"/>
                  </a:lnTo>
                  <a:lnTo>
                    <a:pt x="611321" y="970224"/>
                  </a:lnTo>
                  <a:lnTo>
                    <a:pt x="610625" y="971888"/>
                  </a:lnTo>
                  <a:lnTo>
                    <a:pt x="610414" y="972795"/>
                  </a:lnTo>
                  <a:lnTo>
                    <a:pt x="611775" y="974338"/>
                  </a:lnTo>
                  <a:lnTo>
                    <a:pt x="611987" y="974338"/>
                  </a:lnTo>
                  <a:lnTo>
                    <a:pt x="614256" y="974096"/>
                  </a:lnTo>
                  <a:lnTo>
                    <a:pt x="617190" y="975609"/>
                  </a:lnTo>
                  <a:lnTo>
                    <a:pt x="619156" y="978089"/>
                  </a:lnTo>
                  <a:lnTo>
                    <a:pt x="618642" y="980691"/>
                  </a:lnTo>
                  <a:lnTo>
                    <a:pt x="621607" y="987800"/>
                  </a:lnTo>
                  <a:lnTo>
                    <a:pt x="623573" y="991067"/>
                  </a:lnTo>
                  <a:lnTo>
                    <a:pt x="625902" y="992428"/>
                  </a:lnTo>
                  <a:lnTo>
                    <a:pt x="627596" y="992852"/>
                  </a:lnTo>
                  <a:lnTo>
                    <a:pt x="631105" y="994697"/>
                  </a:lnTo>
                  <a:lnTo>
                    <a:pt x="640060" y="996815"/>
                  </a:lnTo>
                  <a:lnTo>
                    <a:pt x="648409" y="1000869"/>
                  </a:lnTo>
                  <a:lnTo>
                    <a:pt x="661780" y="1003652"/>
                  </a:lnTo>
                  <a:lnTo>
                    <a:pt x="665532" y="1003198"/>
                  </a:lnTo>
                  <a:lnTo>
                    <a:pt x="668678" y="1003107"/>
                  </a:lnTo>
                  <a:lnTo>
                    <a:pt x="669948" y="1002593"/>
                  </a:lnTo>
                  <a:lnTo>
                    <a:pt x="671098" y="1001383"/>
                  </a:lnTo>
                  <a:lnTo>
                    <a:pt x="668254" y="1000173"/>
                  </a:lnTo>
                  <a:lnTo>
                    <a:pt x="667559" y="999598"/>
                  </a:lnTo>
                  <a:lnTo>
                    <a:pt x="667105" y="998630"/>
                  </a:lnTo>
                  <a:lnTo>
                    <a:pt x="666802" y="997450"/>
                  </a:lnTo>
                  <a:lnTo>
                    <a:pt x="666984" y="996452"/>
                  </a:lnTo>
                  <a:lnTo>
                    <a:pt x="669888" y="995091"/>
                  </a:lnTo>
                  <a:lnTo>
                    <a:pt x="669706" y="993124"/>
                  </a:lnTo>
                  <a:lnTo>
                    <a:pt x="669827" y="991249"/>
                  </a:lnTo>
                  <a:lnTo>
                    <a:pt x="672490" y="990644"/>
                  </a:lnTo>
                  <a:lnTo>
                    <a:pt x="674032" y="991158"/>
                  </a:lnTo>
                  <a:lnTo>
                    <a:pt x="676695" y="992882"/>
                  </a:lnTo>
                  <a:lnTo>
                    <a:pt x="678963" y="993275"/>
                  </a:lnTo>
                  <a:lnTo>
                    <a:pt x="680264" y="994092"/>
                  </a:lnTo>
                  <a:lnTo>
                    <a:pt x="681898" y="995726"/>
                  </a:lnTo>
                  <a:lnTo>
                    <a:pt x="683894" y="996815"/>
                  </a:lnTo>
                  <a:lnTo>
                    <a:pt x="686194" y="996028"/>
                  </a:lnTo>
                  <a:lnTo>
                    <a:pt x="686647" y="995121"/>
                  </a:lnTo>
                  <a:lnTo>
                    <a:pt x="686980" y="992580"/>
                  </a:lnTo>
                  <a:lnTo>
                    <a:pt x="687585" y="991430"/>
                  </a:lnTo>
                  <a:lnTo>
                    <a:pt x="688311" y="990916"/>
                  </a:lnTo>
                  <a:lnTo>
                    <a:pt x="689188" y="990674"/>
                  </a:lnTo>
                  <a:lnTo>
                    <a:pt x="691427" y="990583"/>
                  </a:lnTo>
                  <a:lnTo>
                    <a:pt x="692788" y="989948"/>
                  </a:lnTo>
                  <a:lnTo>
                    <a:pt x="697961" y="986015"/>
                  </a:lnTo>
                  <a:lnTo>
                    <a:pt x="702045" y="984926"/>
                  </a:lnTo>
                  <a:lnTo>
                    <a:pt x="703769" y="984200"/>
                  </a:lnTo>
                  <a:lnTo>
                    <a:pt x="705221" y="982809"/>
                  </a:lnTo>
                  <a:lnTo>
                    <a:pt x="706069" y="982446"/>
                  </a:lnTo>
                  <a:lnTo>
                    <a:pt x="708489" y="982294"/>
                  </a:lnTo>
                  <a:lnTo>
                    <a:pt x="709033" y="981931"/>
                  </a:lnTo>
                  <a:lnTo>
                    <a:pt x="709396" y="980994"/>
                  </a:lnTo>
                  <a:lnTo>
                    <a:pt x="710243" y="980056"/>
                  </a:lnTo>
                  <a:lnTo>
                    <a:pt x="711756" y="978846"/>
                  </a:lnTo>
                  <a:lnTo>
                    <a:pt x="713934" y="977756"/>
                  </a:lnTo>
                  <a:lnTo>
                    <a:pt x="715568" y="977696"/>
                  </a:lnTo>
                  <a:lnTo>
                    <a:pt x="717201" y="977968"/>
                  </a:lnTo>
                  <a:lnTo>
                    <a:pt x="719319" y="977968"/>
                  </a:lnTo>
                  <a:lnTo>
                    <a:pt x="720196" y="977636"/>
                  </a:lnTo>
                  <a:lnTo>
                    <a:pt x="721073" y="977061"/>
                  </a:lnTo>
                  <a:lnTo>
                    <a:pt x="721860" y="976365"/>
                  </a:lnTo>
                  <a:lnTo>
                    <a:pt x="722435" y="975700"/>
                  </a:lnTo>
                  <a:lnTo>
                    <a:pt x="723372" y="975094"/>
                  </a:lnTo>
                  <a:lnTo>
                    <a:pt x="724462" y="975337"/>
                  </a:lnTo>
                  <a:lnTo>
                    <a:pt x="725581" y="975881"/>
                  </a:lnTo>
                  <a:lnTo>
                    <a:pt x="726579" y="976153"/>
                  </a:lnTo>
                  <a:lnTo>
                    <a:pt x="734293" y="976879"/>
                  </a:lnTo>
                  <a:lnTo>
                    <a:pt x="748300" y="981538"/>
                  </a:lnTo>
                  <a:lnTo>
                    <a:pt x="752989" y="985440"/>
                  </a:lnTo>
                  <a:lnTo>
                    <a:pt x="754168" y="986045"/>
                  </a:lnTo>
                  <a:lnTo>
                    <a:pt x="756407" y="987951"/>
                  </a:lnTo>
                  <a:lnTo>
                    <a:pt x="758101" y="992459"/>
                  </a:lnTo>
                  <a:lnTo>
                    <a:pt x="758615" y="997571"/>
                  </a:lnTo>
                  <a:lnTo>
                    <a:pt x="757315" y="1001353"/>
                  </a:lnTo>
                  <a:lnTo>
                    <a:pt x="757889" y="1002200"/>
                  </a:lnTo>
                  <a:lnTo>
                    <a:pt x="758041" y="1003137"/>
                  </a:lnTo>
                  <a:lnTo>
                    <a:pt x="757798" y="1004106"/>
                  </a:lnTo>
                  <a:lnTo>
                    <a:pt x="757284" y="1005074"/>
                  </a:lnTo>
                  <a:lnTo>
                    <a:pt x="757284" y="1005074"/>
                  </a:lnTo>
                  <a:lnTo>
                    <a:pt x="758858" y="1005376"/>
                  </a:lnTo>
                  <a:lnTo>
                    <a:pt x="760642" y="1004953"/>
                  </a:lnTo>
                  <a:lnTo>
                    <a:pt x="762306" y="1004106"/>
                  </a:lnTo>
                  <a:lnTo>
                    <a:pt x="764242" y="1002321"/>
                  </a:lnTo>
                  <a:lnTo>
                    <a:pt x="764424" y="1002200"/>
                  </a:lnTo>
                  <a:lnTo>
                    <a:pt x="764303" y="1001988"/>
                  </a:lnTo>
                  <a:lnTo>
                    <a:pt x="764212" y="1000869"/>
                  </a:lnTo>
                  <a:lnTo>
                    <a:pt x="764424" y="999507"/>
                  </a:lnTo>
                  <a:lnTo>
                    <a:pt x="765573" y="996331"/>
                  </a:lnTo>
                  <a:lnTo>
                    <a:pt x="765755" y="995242"/>
                  </a:lnTo>
                  <a:lnTo>
                    <a:pt x="766632" y="993457"/>
                  </a:lnTo>
                  <a:lnTo>
                    <a:pt x="766965" y="992338"/>
                  </a:lnTo>
                  <a:lnTo>
                    <a:pt x="767086" y="991219"/>
                  </a:lnTo>
                  <a:lnTo>
                    <a:pt x="766874" y="985592"/>
                  </a:lnTo>
                  <a:lnTo>
                    <a:pt x="766511" y="982748"/>
                  </a:lnTo>
                  <a:lnTo>
                    <a:pt x="765664" y="980268"/>
                  </a:lnTo>
                  <a:lnTo>
                    <a:pt x="764242" y="978815"/>
                  </a:lnTo>
                  <a:lnTo>
                    <a:pt x="766269" y="978997"/>
                  </a:lnTo>
                  <a:lnTo>
                    <a:pt x="767086" y="977212"/>
                  </a:lnTo>
                  <a:lnTo>
                    <a:pt x="766965" y="974671"/>
                  </a:lnTo>
                  <a:lnTo>
                    <a:pt x="766239" y="972523"/>
                  </a:lnTo>
                  <a:lnTo>
                    <a:pt x="764726" y="970920"/>
                  </a:lnTo>
                  <a:lnTo>
                    <a:pt x="763940" y="971918"/>
                  </a:lnTo>
                  <a:lnTo>
                    <a:pt x="763486" y="974126"/>
                  </a:lnTo>
                  <a:lnTo>
                    <a:pt x="762820" y="976123"/>
                  </a:lnTo>
                  <a:lnTo>
                    <a:pt x="762336" y="973945"/>
                  </a:lnTo>
                  <a:lnTo>
                    <a:pt x="761671" y="973431"/>
                  </a:lnTo>
                  <a:lnTo>
                    <a:pt x="760884" y="973582"/>
                  </a:lnTo>
                  <a:lnTo>
                    <a:pt x="760037" y="973370"/>
                  </a:lnTo>
                  <a:lnTo>
                    <a:pt x="760098" y="973854"/>
                  </a:lnTo>
                  <a:lnTo>
                    <a:pt x="759584" y="974308"/>
                  </a:lnTo>
                  <a:lnTo>
                    <a:pt x="758948" y="974399"/>
                  </a:lnTo>
                  <a:lnTo>
                    <a:pt x="758676" y="973824"/>
                  </a:lnTo>
                  <a:lnTo>
                    <a:pt x="758676" y="970769"/>
                  </a:lnTo>
                  <a:lnTo>
                    <a:pt x="757042" y="971132"/>
                  </a:lnTo>
                  <a:lnTo>
                    <a:pt x="756800" y="972462"/>
                  </a:lnTo>
                  <a:lnTo>
                    <a:pt x="756982" y="974066"/>
                  </a:lnTo>
                  <a:lnTo>
                    <a:pt x="756589" y="975215"/>
                  </a:lnTo>
                  <a:lnTo>
                    <a:pt x="755469" y="975367"/>
                  </a:lnTo>
                  <a:lnTo>
                    <a:pt x="754320" y="974701"/>
                  </a:lnTo>
                  <a:lnTo>
                    <a:pt x="753473" y="973733"/>
                  </a:lnTo>
                  <a:lnTo>
                    <a:pt x="751930" y="970587"/>
                  </a:lnTo>
                  <a:lnTo>
                    <a:pt x="751869" y="969407"/>
                  </a:lnTo>
                  <a:lnTo>
                    <a:pt x="753442" y="968923"/>
                  </a:lnTo>
                  <a:lnTo>
                    <a:pt x="754047" y="968379"/>
                  </a:lnTo>
                  <a:lnTo>
                    <a:pt x="754531" y="967138"/>
                  </a:lnTo>
                  <a:lnTo>
                    <a:pt x="755167" y="965898"/>
                  </a:lnTo>
                  <a:lnTo>
                    <a:pt x="756226" y="965323"/>
                  </a:lnTo>
                  <a:lnTo>
                    <a:pt x="757557" y="964295"/>
                  </a:lnTo>
                  <a:lnTo>
                    <a:pt x="760854" y="959515"/>
                  </a:lnTo>
                  <a:lnTo>
                    <a:pt x="762125" y="958063"/>
                  </a:lnTo>
                  <a:lnTo>
                    <a:pt x="759523" y="960453"/>
                  </a:lnTo>
                  <a:lnTo>
                    <a:pt x="758071" y="961391"/>
                  </a:lnTo>
                  <a:lnTo>
                    <a:pt x="756226" y="961754"/>
                  </a:lnTo>
                  <a:lnTo>
                    <a:pt x="754259" y="961572"/>
                  </a:lnTo>
                  <a:lnTo>
                    <a:pt x="752867" y="961118"/>
                  </a:lnTo>
                  <a:lnTo>
                    <a:pt x="750326" y="959938"/>
                  </a:lnTo>
                  <a:lnTo>
                    <a:pt x="751295" y="953949"/>
                  </a:lnTo>
                  <a:lnTo>
                    <a:pt x="751052" y="947626"/>
                  </a:lnTo>
                  <a:lnTo>
                    <a:pt x="751658" y="942453"/>
                  </a:lnTo>
                  <a:lnTo>
                    <a:pt x="755106" y="940003"/>
                  </a:lnTo>
                  <a:lnTo>
                    <a:pt x="754441" y="938460"/>
                  </a:lnTo>
                  <a:lnTo>
                    <a:pt x="753896" y="937553"/>
                  </a:lnTo>
                  <a:lnTo>
                    <a:pt x="753624" y="936493"/>
                  </a:lnTo>
                  <a:lnTo>
                    <a:pt x="753745" y="934467"/>
                  </a:lnTo>
                  <a:lnTo>
                    <a:pt x="754320" y="932894"/>
                  </a:lnTo>
                  <a:lnTo>
                    <a:pt x="756165" y="930534"/>
                  </a:lnTo>
                  <a:lnTo>
                    <a:pt x="756558" y="929506"/>
                  </a:lnTo>
                  <a:lnTo>
                    <a:pt x="756256" y="928900"/>
                  </a:lnTo>
                  <a:lnTo>
                    <a:pt x="754834" y="927176"/>
                  </a:lnTo>
                  <a:lnTo>
                    <a:pt x="754501" y="926268"/>
                  </a:lnTo>
                  <a:lnTo>
                    <a:pt x="754713" y="925240"/>
                  </a:lnTo>
                  <a:lnTo>
                    <a:pt x="755167" y="924575"/>
                  </a:lnTo>
                  <a:lnTo>
                    <a:pt x="755620" y="924453"/>
                  </a:lnTo>
                  <a:lnTo>
                    <a:pt x="756105" y="925603"/>
                  </a:lnTo>
                  <a:lnTo>
                    <a:pt x="756709" y="926238"/>
                  </a:lnTo>
                  <a:lnTo>
                    <a:pt x="758797" y="927872"/>
                  </a:lnTo>
                  <a:lnTo>
                    <a:pt x="759160" y="928054"/>
                  </a:lnTo>
                  <a:lnTo>
                    <a:pt x="759432" y="928326"/>
                  </a:lnTo>
                  <a:lnTo>
                    <a:pt x="759977" y="929082"/>
                  </a:lnTo>
                  <a:lnTo>
                    <a:pt x="760763" y="930564"/>
                  </a:lnTo>
                  <a:lnTo>
                    <a:pt x="760612" y="931351"/>
                  </a:lnTo>
                  <a:lnTo>
                    <a:pt x="759947" y="932349"/>
                  </a:lnTo>
                  <a:lnTo>
                    <a:pt x="759281" y="934497"/>
                  </a:lnTo>
                  <a:lnTo>
                    <a:pt x="759916" y="940759"/>
                  </a:lnTo>
                  <a:lnTo>
                    <a:pt x="759644" y="941727"/>
                  </a:lnTo>
                  <a:lnTo>
                    <a:pt x="761913" y="942847"/>
                  </a:lnTo>
                  <a:lnTo>
                    <a:pt x="763789" y="945629"/>
                  </a:lnTo>
                  <a:lnTo>
                    <a:pt x="764908" y="949169"/>
                  </a:lnTo>
                  <a:lnTo>
                    <a:pt x="764787" y="952648"/>
                  </a:lnTo>
                  <a:lnTo>
                    <a:pt x="766027" y="951559"/>
                  </a:lnTo>
                  <a:lnTo>
                    <a:pt x="768871" y="950651"/>
                  </a:lnTo>
                  <a:lnTo>
                    <a:pt x="770383" y="949865"/>
                  </a:lnTo>
                  <a:lnTo>
                    <a:pt x="769899" y="948806"/>
                  </a:lnTo>
                  <a:lnTo>
                    <a:pt x="769899" y="948413"/>
                  </a:lnTo>
                  <a:lnTo>
                    <a:pt x="770081" y="948110"/>
                  </a:lnTo>
                  <a:lnTo>
                    <a:pt x="770383" y="947263"/>
                  </a:lnTo>
                  <a:lnTo>
                    <a:pt x="772440" y="948141"/>
                  </a:lnTo>
                  <a:lnTo>
                    <a:pt x="774165" y="947414"/>
                  </a:lnTo>
                  <a:lnTo>
                    <a:pt x="775768" y="946144"/>
                  </a:lnTo>
                  <a:lnTo>
                    <a:pt x="777522" y="945478"/>
                  </a:lnTo>
                  <a:lnTo>
                    <a:pt x="778007" y="945025"/>
                  </a:lnTo>
                  <a:lnTo>
                    <a:pt x="777341" y="944026"/>
                  </a:lnTo>
                  <a:lnTo>
                    <a:pt x="775798" y="942604"/>
                  </a:lnTo>
                  <a:lnTo>
                    <a:pt x="773136" y="941667"/>
                  </a:lnTo>
                  <a:lnTo>
                    <a:pt x="771805" y="940820"/>
                  </a:lnTo>
                  <a:lnTo>
                    <a:pt x="771049" y="939065"/>
                  </a:lnTo>
                  <a:lnTo>
                    <a:pt x="771714" y="936403"/>
                  </a:lnTo>
                  <a:lnTo>
                    <a:pt x="773862" y="935041"/>
                  </a:lnTo>
                  <a:lnTo>
                    <a:pt x="776585" y="934588"/>
                  </a:lnTo>
                  <a:lnTo>
                    <a:pt x="778914" y="934527"/>
                  </a:lnTo>
                  <a:lnTo>
                    <a:pt x="779186" y="934255"/>
                  </a:lnTo>
                  <a:lnTo>
                    <a:pt x="779398" y="933620"/>
                  </a:lnTo>
                  <a:lnTo>
                    <a:pt x="779700" y="933015"/>
                  </a:lnTo>
                  <a:lnTo>
                    <a:pt x="780306" y="932742"/>
                  </a:lnTo>
                  <a:lnTo>
                    <a:pt x="781153" y="932924"/>
                  </a:lnTo>
                  <a:lnTo>
                    <a:pt x="781213" y="933408"/>
                  </a:lnTo>
                  <a:lnTo>
                    <a:pt x="781123" y="934013"/>
                  </a:lnTo>
                  <a:lnTo>
                    <a:pt x="781364" y="934527"/>
                  </a:lnTo>
                  <a:lnTo>
                    <a:pt x="783542" y="935979"/>
                  </a:lnTo>
                  <a:lnTo>
                    <a:pt x="784329" y="936887"/>
                  </a:lnTo>
                  <a:lnTo>
                    <a:pt x="784813" y="938157"/>
                  </a:lnTo>
                  <a:lnTo>
                    <a:pt x="785509" y="934527"/>
                  </a:lnTo>
                  <a:lnTo>
                    <a:pt x="784602" y="933529"/>
                  </a:lnTo>
                  <a:lnTo>
                    <a:pt x="783815" y="932168"/>
                  </a:lnTo>
                  <a:lnTo>
                    <a:pt x="783331" y="930383"/>
                  </a:lnTo>
                  <a:lnTo>
                    <a:pt x="783422" y="928144"/>
                  </a:lnTo>
                  <a:lnTo>
                    <a:pt x="784178" y="926299"/>
                  </a:lnTo>
                  <a:lnTo>
                    <a:pt x="785085" y="925996"/>
                  </a:lnTo>
                  <a:lnTo>
                    <a:pt x="785479" y="926753"/>
                  </a:lnTo>
                  <a:lnTo>
                    <a:pt x="784813" y="928144"/>
                  </a:lnTo>
                  <a:lnTo>
                    <a:pt x="784813" y="929143"/>
                  </a:lnTo>
                  <a:lnTo>
                    <a:pt x="785872" y="930322"/>
                  </a:lnTo>
                  <a:lnTo>
                    <a:pt x="786870" y="931865"/>
                  </a:lnTo>
                  <a:lnTo>
                    <a:pt x="787415" y="928870"/>
                  </a:lnTo>
                  <a:lnTo>
                    <a:pt x="787627" y="925603"/>
                  </a:lnTo>
                  <a:lnTo>
                    <a:pt x="788443" y="922971"/>
                  </a:lnTo>
                  <a:lnTo>
                    <a:pt x="790682" y="921882"/>
                  </a:lnTo>
                  <a:lnTo>
                    <a:pt x="793072" y="922850"/>
                  </a:lnTo>
                  <a:lnTo>
                    <a:pt x="797761" y="926329"/>
                  </a:lnTo>
                  <a:lnTo>
                    <a:pt x="798608" y="925905"/>
                  </a:lnTo>
                  <a:lnTo>
                    <a:pt x="798910" y="925331"/>
                  </a:lnTo>
                  <a:lnTo>
                    <a:pt x="799515" y="925542"/>
                  </a:lnTo>
                  <a:lnTo>
                    <a:pt x="800120" y="926027"/>
                  </a:lnTo>
                  <a:lnTo>
                    <a:pt x="800362" y="926299"/>
                  </a:lnTo>
                  <a:lnTo>
                    <a:pt x="801149" y="926148"/>
                  </a:lnTo>
                  <a:lnTo>
                    <a:pt x="801330" y="925664"/>
                  </a:lnTo>
                  <a:lnTo>
                    <a:pt x="801330" y="924968"/>
                  </a:lnTo>
                  <a:lnTo>
                    <a:pt x="801754" y="924090"/>
                  </a:lnTo>
                  <a:lnTo>
                    <a:pt x="801905" y="923213"/>
                  </a:lnTo>
                  <a:lnTo>
                    <a:pt x="802268" y="919704"/>
                  </a:lnTo>
                  <a:lnTo>
                    <a:pt x="802752" y="918161"/>
                  </a:lnTo>
                  <a:lnTo>
                    <a:pt x="803509" y="916921"/>
                  </a:lnTo>
                  <a:lnTo>
                    <a:pt x="804446" y="916014"/>
                  </a:lnTo>
                  <a:lnTo>
                    <a:pt x="805233" y="916316"/>
                  </a:lnTo>
                  <a:lnTo>
                    <a:pt x="805807" y="923758"/>
                  </a:lnTo>
                  <a:lnTo>
                    <a:pt x="805566" y="925512"/>
                  </a:lnTo>
                  <a:lnTo>
                    <a:pt x="812251" y="920733"/>
                  </a:lnTo>
                  <a:lnTo>
                    <a:pt x="817939" y="915499"/>
                  </a:lnTo>
                  <a:lnTo>
                    <a:pt x="829010" y="901886"/>
                  </a:lnTo>
                  <a:lnTo>
                    <a:pt x="841383" y="890905"/>
                  </a:lnTo>
                  <a:lnTo>
                    <a:pt x="842321" y="889059"/>
                  </a:lnTo>
                  <a:lnTo>
                    <a:pt x="844318" y="883826"/>
                  </a:lnTo>
                  <a:lnTo>
                    <a:pt x="845195" y="882737"/>
                  </a:lnTo>
                  <a:lnTo>
                    <a:pt x="846768" y="881950"/>
                  </a:lnTo>
                  <a:lnTo>
                    <a:pt x="848190" y="880105"/>
                  </a:lnTo>
                  <a:lnTo>
                    <a:pt x="850368" y="876293"/>
                  </a:lnTo>
                  <a:lnTo>
                    <a:pt x="857416" y="867067"/>
                  </a:lnTo>
                  <a:lnTo>
                    <a:pt x="860321" y="861712"/>
                  </a:lnTo>
                  <a:lnTo>
                    <a:pt x="860774" y="860441"/>
                  </a:lnTo>
                  <a:lnTo>
                    <a:pt x="860774" y="858989"/>
                  </a:lnTo>
                  <a:lnTo>
                    <a:pt x="860018" y="857870"/>
                  </a:lnTo>
                  <a:lnTo>
                    <a:pt x="857719" y="856448"/>
                  </a:lnTo>
                  <a:lnTo>
                    <a:pt x="857266" y="855722"/>
                  </a:lnTo>
                  <a:lnTo>
                    <a:pt x="858172" y="854845"/>
                  </a:lnTo>
                  <a:lnTo>
                    <a:pt x="863588" y="855238"/>
                  </a:lnTo>
                  <a:lnTo>
                    <a:pt x="865282" y="853816"/>
                  </a:lnTo>
                  <a:lnTo>
                    <a:pt x="869427" y="848764"/>
                  </a:lnTo>
                  <a:lnTo>
                    <a:pt x="869638" y="848190"/>
                  </a:lnTo>
                  <a:lnTo>
                    <a:pt x="870515" y="844136"/>
                  </a:lnTo>
                  <a:lnTo>
                    <a:pt x="870848" y="843380"/>
                  </a:lnTo>
                  <a:lnTo>
                    <a:pt x="871211" y="842714"/>
                  </a:lnTo>
                  <a:lnTo>
                    <a:pt x="871453" y="842442"/>
                  </a:lnTo>
                  <a:lnTo>
                    <a:pt x="871998" y="842079"/>
                  </a:lnTo>
                  <a:lnTo>
                    <a:pt x="871514" y="841292"/>
                  </a:lnTo>
                  <a:lnTo>
                    <a:pt x="870758" y="840627"/>
                  </a:lnTo>
                  <a:lnTo>
                    <a:pt x="870364" y="840627"/>
                  </a:lnTo>
                  <a:lnTo>
                    <a:pt x="869698" y="837904"/>
                  </a:lnTo>
                  <a:lnTo>
                    <a:pt x="868004" y="834577"/>
                  </a:lnTo>
                  <a:lnTo>
                    <a:pt x="867642" y="832792"/>
                  </a:lnTo>
                  <a:lnTo>
                    <a:pt x="868246" y="831673"/>
                  </a:lnTo>
                  <a:lnTo>
                    <a:pt x="871241" y="827831"/>
                  </a:lnTo>
                  <a:lnTo>
                    <a:pt x="872452" y="826862"/>
                  </a:lnTo>
                  <a:lnTo>
                    <a:pt x="873450" y="826862"/>
                  </a:lnTo>
                  <a:lnTo>
                    <a:pt x="877685" y="827770"/>
                  </a:lnTo>
                  <a:lnTo>
                    <a:pt x="878925" y="827468"/>
                  </a:lnTo>
                  <a:lnTo>
                    <a:pt x="884885" y="823626"/>
                  </a:lnTo>
                  <a:lnTo>
                    <a:pt x="886216" y="823172"/>
                  </a:lnTo>
                  <a:lnTo>
                    <a:pt x="887366" y="823656"/>
                  </a:lnTo>
                  <a:lnTo>
                    <a:pt x="888243" y="823777"/>
                  </a:lnTo>
                  <a:lnTo>
                    <a:pt x="890603" y="821901"/>
                  </a:lnTo>
                  <a:lnTo>
                    <a:pt x="891510" y="821387"/>
                  </a:lnTo>
                  <a:lnTo>
                    <a:pt x="893688" y="821114"/>
                  </a:lnTo>
                  <a:lnTo>
                    <a:pt x="897863" y="819844"/>
                  </a:lnTo>
                  <a:lnTo>
                    <a:pt x="903278" y="819179"/>
                  </a:lnTo>
                  <a:lnTo>
                    <a:pt x="908451" y="817666"/>
                  </a:lnTo>
                  <a:lnTo>
                    <a:pt x="911203" y="817666"/>
                  </a:lnTo>
                  <a:lnTo>
                    <a:pt x="918252" y="819360"/>
                  </a:lnTo>
                  <a:lnTo>
                    <a:pt x="920158" y="820570"/>
                  </a:lnTo>
                  <a:lnTo>
                    <a:pt x="920915" y="819572"/>
                  </a:lnTo>
                  <a:lnTo>
                    <a:pt x="922215" y="820358"/>
                  </a:lnTo>
                  <a:lnTo>
                    <a:pt x="925059" y="820722"/>
                  </a:lnTo>
                  <a:lnTo>
                    <a:pt x="926450" y="821387"/>
                  </a:lnTo>
                  <a:lnTo>
                    <a:pt x="927902" y="820298"/>
                  </a:lnTo>
                  <a:lnTo>
                    <a:pt x="932379" y="818059"/>
                  </a:lnTo>
                  <a:lnTo>
                    <a:pt x="934346" y="817636"/>
                  </a:lnTo>
                  <a:lnTo>
                    <a:pt x="935586" y="816486"/>
                  </a:lnTo>
                  <a:lnTo>
                    <a:pt x="939035" y="811434"/>
                  </a:lnTo>
                  <a:lnTo>
                    <a:pt x="940578" y="810285"/>
                  </a:lnTo>
                  <a:lnTo>
                    <a:pt x="940729" y="809800"/>
                  </a:lnTo>
                  <a:lnTo>
                    <a:pt x="942605" y="807048"/>
                  </a:lnTo>
                  <a:lnTo>
                    <a:pt x="943391" y="805354"/>
                  </a:lnTo>
                  <a:lnTo>
                    <a:pt x="943028" y="804355"/>
                  </a:lnTo>
                  <a:lnTo>
                    <a:pt x="939882" y="801996"/>
                  </a:lnTo>
                  <a:lnTo>
                    <a:pt x="939005" y="801542"/>
                  </a:lnTo>
                  <a:lnTo>
                    <a:pt x="938399" y="800755"/>
                  </a:lnTo>
                  <a:lnTo>
                    <a:pt x="938188" y="798789"/>
                  </a:lnTo>
                  <a:lnTo>
                    <a:pt x="937976" y="797942"/>
                  </a:lnTo>
                  <a:lnTo>
                    <a:pt x="936856" y="794554"/>
                  </a:lnTo>
                  <a:lnTo>
                    <a:pt x="938399" y="795159"/>
                  </a:lnTo>
                  <a:lnTo>
                    <a:pt x="939489" y="796853"/>
                  </a:lnTo>
                  <a:lnTo>
                    <a:pt x="940971" y="800181"/>
                  </a:lnTo>
                  <a:lnTo>
                    <a:pt x="942393" y="801270"/>
                  </a:lnTo>
                  <a:lnTo>
                    <a:pt x="943663" y="802026"/>
                  </a:lnTo>
                  <a:lnTo>
                    <a:pt x="944813" y="801724"/>
                  </a:lnTo>
                  <a:lnTo>
                    <a:pt x="945145" y="801330"/>
                  </a:lnTo>
                  <a:lnTo>
                    <a:pt x="945266" y="800846"/>
                  </a:lnTo>
                  <a:lnTo>
                    <a:pt x="947203" y="798033"/>
                  </a:lnTo>
                  <a:lnTo>
                    <a:pt x="947808" y="797337"/>
                  </a:lnTo>
                  <a:lnTo>
                    <a:pt x="948625" y="796823"/>
                  </a:lnTo>
                  <a:lnTo>
                    <a:pt x="950560" y="796067"/>
                  </a:lnTo>
                  <a:lnTo>
                    <a:pt x="951286" y="795492"/>
                  </a:lnTo>
                  <a:lnTo>
                    <a:pt x="952043" y="793828"/>
                  </a:lnTo>
                  <a:lnTo>
                    <a:pt x="952708" y="791892"/>
                  </a:lnTo>
                  <a:lnTo>
                    <a:pt x="953555" y="791075"/>
                  </a:lnTo>
                  <a:lnTo>
                    <a:pt x="954766" y="792829"/>
                  </a:lnTo>
                  <a:lnTo>
                    <a:pt x="950137" y="799182"/>
                  </a:lnTo>
                  <a:lnTo>
                    <a:pt x="948897" y="800181"/>
                  </a:lnTo>
                  <a:lnTo>
                    <a:pt x="948897" y="801512"/>
                  </a:lnTo>
                  <a:lnTo>
                    <a:pt x="947505" y="804416"/>
                  </a:lnTo>
                  <a:lnTo>
                    <a:pt x="941939" y="813068"/>
                  </a:lnTo>
                  <a:lnTo>
                    <a:pt x="940941" y="815337"/>
                  </a:lnTo>
                  <a:lnTo>
                    <a:pt x="941334" y="817243"/>
                  </a:lnTo>
                  <a:lnTo>
                    <a:pt x="942150" y="817726"/>
                  </a:lnTo>
                  <a:lnTo>
                    <a:pt x="943270" y="817817"/>
                  </a:lnTo>
                  <a:lnTo>
                    <a:pt x="945418" y="817666"/>
                  </a:lnTo>
                  <a:lnTo>
                    <a:pt x="946326" y="817938"/>
                  </a:lnTo>
                  <a:lnTo>
                    <a:pt x="947747" y="819179"/>
                  </a:lnTo>
                  <a:lnTo>
                    <a:pt x="948594" y="819602"/>
                  </a:lnTo>
                  <a:lnTo>
                    <a:pt x="950803" y="819269"/>
                  </a:lnTo>
                  <a:lnTo>
                    <a:pt x="951801" y="817636"/>
                  </a:lnTo>
                  <a:lnTo>
                    <a:pt x="952648" y="815820"/>
                  </a:lnTo>
                  <a:lnTo>
                    <a:pt x="954372" y="814974"/>
                  </a:lnTo>
                  <a:lnTo>
                    <a:pt x="960392" y="814490"/>
                  </a:lnTo>
                  <a:lnTo>
                    <a:pt x="970194" y="817938"/>
                  </a:lnTo>
                  <a:lnTo>
                    <a:pt x="974550" y="818543"/>
                  </a:lnTo>
                  <a:lnTo>
                    <a:pt x="978937" y="817726"/>
                  </a:lnTo>
                  <a:lnTo>
                    <a:pt x="980116" y="817182"/>
                  </a:lnTo>
                  <a:lnTo>
                    <a:pt x="982324" y="815760"/>
                  </a:lnTo>
                  <a:lnTo>
                    <a:pt x="983050" y="814943"/>
                  </a:lnTo>
                  <a:lnTo>
                    <a:pt x="983958" y="813189"/>
                  </a:lnTo>
                  <a:lnTo>
                    <a:pt x="983867" y="812312"/>
                  </a:lnTo>
                  <a:lnTo>
                    <a:pt x="983353" y="811283"/>
                  </a:lnTo>
                  <a:lnTo>
                    <a:pt x="983050" y="808984"/>
                  </a:lnTo>
                  <a:lnTo>
                    <a:pt x="983776" y="803024"/>
                  </a:lnTo>
                  <a:lnTo>
                    <a:pt x="983384" y="802087"/>
                  </a:lnTo>
                  <a:lnTo>
                    <a:pt x="979602" y="797397"/>
                  </a:lnTo>
                  <a:lnTo>
                    <a:pt x="979602" y="793798"/>
                  </a:lnTo>
                  <a:lnTo>
                    <a:pt x="980842" y="790863"/>
                  </a:lnTo>
                  <a:lnTo>
                    <a:pt x="982960" y="788867"/>
                  </a:lnTo>
                  <a:lnTo>
                    <a:pt x="985440" y="788141"/>
                  </a:lnTo>
                  <a:lnTo>
                    <a:pt x="987649" y="786628"/>
                  </a:lnTo>
                  <a:lnTo>
                    <a:pt x="989494" y="783089"/>
                  </a:lnTo>
                  <a:lnTo>
                    <a:pt x="990432" y="779096"/>
                  </a:lnTo>
                  <a:lnTo>
                    <a:pt x="989948" y="776161"/>
                  </a:lnTo>
                  <a:lnTo>
                    <a:pt x="987891" y="777341"/>
                  </a:lnTo>
                  <a:lnTo>
                    <a:pt x="985683" y="778036"/>
                  </a:lnTo>
                  <a:lnTo>
                    <a:pt x="983898" y="777553"/>
                  </a:lnTo>
                  <a:lnTo>
                    <a:pt x="983050" y="775193"/>
                  </a:lnTo>
                  <a:lnTo>
                    <a:pt x="983535" y="772924"/>
                  </a:lnTo>
                  <a:lnTo>
                    <a:pt x="984896" y="770776"/>
                  </a:lnTo>
                  <a:lnTo>
                    <a:pt x="987830" y="767691"/>
                  </a:lnTo>
                  <a:lnTo>
                    <a:pt x="984502" y="767146"/>
                  </a:lnTo>
                  <a:lnTo>
                    <a:pt x="979965" y="767691"/>
                  </a:lnTo>
                  <a:lnTo>
                    <a:pt x="976789" y="766390"/>
                  </a:lnTo>
                  <a:lnTo>
                    <a:pt x="977515" y="760249"/>
                  </a:lnTo>
                  <a:lnTo>
                    <a:pt x="978271" y="759311"/>
                  </a:lnTo>
                  <a:lnTo>
                    <a:pt x="979693" y="757072"/>
                  </a:lnTo>
                  <a:lnTo>
                    <a:pt x="980480" y="754804"/>
                  </a:lnTo>
                  <a:lnTo>
                    <a:pt x="979239" y="753775"/>
                  </a:lnTo>
                  <a:lnTo>
                    <a:pt x="978725" y="753472"/>
                  </a:lnTo>
                  <a:lnTo>
                    <a:pt x="978211" y="752837"/>
                  </a:lnTo>
                  <a:lnTo>
                    <a:pt x="977545" y="752202"/>
                  </a:lnTo>
                  <a:lnTo>
                    <a:pt x="975034" y="751657"/>
                  </a:lnTo>
                  <a:lnTo>
                    <a:pt x="974581" y="750901"/>
                  </a:lnTo>
                  <a:lnTo>
                    <a:pt x="974640" y="743005"/>
                  </a:lnTo>
                  <a:lnTo>
                    <a:pt x="973612" y="741402"/>
                  </a:lnTo>
                  <a:lnTo>
                    <a:pt x="969135" y="740343"/>
                  </a:lnTo>
                  <a:lnTo>
                    <a:pt x="967199" y="739163"/>
                  </a:lnTo>
                  <a:lnTo>
                    <a:pt x="965626" y="737621"/>
                  </a:lnTo>
                  <a:lnTo>
                    <a:pt x="964990" y="736078"/>
                  </a:lnTo>
                  <a:lnTo>
                    <a:pt x="965324" y="735321"/>
                  </a:lnTo>
                  <a:lnTo>
                    <a:pt x="966715" y="732902"/>
                  </a:lnTo>
                  <a:lnTo>
                    <a:pt x="967108" y="732387"/>
                  </a:lnTo>
                  <a:lnTo>
                    <a:pt x="968167" y="732811"/>
                  </a:lnTo>
                  <a:lnTo>
                    <a:pt x="968288" y="733809"/>
                  </a:lnTo>
                  <a:lnTo>
                    <a:pt x="967804" y="736532"/>
                  </a:lnTo>
                  <a:lnTo>
                    <a:pt x="968711" y="738196"/>
                  </a:lnTo>
                  <a:lnTo>
                    <a:pt x="974640" y="740797"/>
                  </a:lnTo>
                  <a:lnTo>
                    <a:pt x="976033" y="742219"/>
                  </a:lnTo>
                  <a:lnTo>
                    <a:pt x="976426" y="743278"/>
                  </a:lnTo>
                  <a:lnTo>
                    <a:pt x="976426" y="744730"/>
                  </a:lnTo>
                  <a:lnTo>
                    <a:pt x="976759" y="747301"/>
                  </a:lnTo>
                  <a:lnTo>
                    <a:pt x="977515" y="749388"/>
                  </a:lnTo>
                  <a:lnTo>
                    <a:pt x="978543" y="749994"/>
                  </a:lnTo>
                  <a:lnTo>
                    <a:pt x="979784" y="750296"/>
                  </a:lnTo>
                  <a:lnTo>
                    <a:pt x="981206" y="751476"/>
                  </a:lnTo>
                  <a:lnTo>
                    <a:pt x="982658" y="754985"/>
                  </a:lnTo>
                  <a:lnTo>
                    <a:pt x="982294" y="758283"/>
                  </a:lnTo>
                  <a:lnTo>
                    <a:pt x="979481" y="764000"/>
                  </a:lnTo>
                  <a:lnTo>
                    <a:pt x="981084" y="765513"/>
                  </a:lnTo>
                  <a:lnTo>
                    <a:pt x="982990" y="765694"/>
                  </a:lnTo>
                  <a:lnTo>
                    <a:pt x="987377" y="764968"/>
                  </a:lnTo>
                  <a:lnTo>
                    <a:pt x="990099" y="765331"/>
                  </a:lnTo>
                  <a:lnTo>
                    <a:pt x="990704" y="766269"/>
                  </a:lnTo>
                  <a:lnTo>
                    <a:pt x="989887" y="767691"/>
                  </a:lnTo>
                  <a:lnTo>
                    <a:pt x="986892" y="771865"/>
                  </a:lnTo>
                  <a:lnTo>
                    <a:pt x="986560" y="773650"/>
                  </a:lnTo>
                  <a:lnTo>
                    <a:pt x="987588" y="774739"/>
                  </a:lnTo>
                  <a:lnTo>
                    <a:pt x="992610" y="775617"/>
                  </a:lnTo>
                  <a:lnTo>
                    <a:pt x="993699" y="776947"/>
                  </a:lnTo>
                  <a:lnTo>
                    <a:pt x="993790" y="779005"/>
                  </a:lnTo>
                  <a:lnTo>
                    <a:pt x="993276" y="781667"/>
                  </a:lnTo>
                  <a:lnTo>
                    <a:pt x="991189" y="786416"/>
                  </a:lnTo>
                  <a:lnTo>
                    <a:pt x="988466" y="790319"/>
                  </a:lnTo>
                  <a:lnTo>
                    <a:pt x="986590" y="794493"/>
                  </a:lnTo>
                  <a:lnTo>
                    <a:pt x="987014" y="800090"/>
                  </a:lnTo>
                  <a:lnTo>
                    <a:pt x="988012" y="802389"/>
                  </a:lnTo>
                  <a:lnTo>
                    <a:pt x="989161" y="804295"/>
                  </a:lnTo>
                  <a:lnTo>
                    <a:pt x="990099" y="806292"/>
                  </a:lnTo>
                  <a:lnTo>
                    <a:pt x="990463" y="808833"/>
                  </a:lnTo>
                  <a:lnTo>
                    <a:pt x="991007" y="811101"/>
                  </a:lnTo>
                  <a:lnTo>
                    <a:pt x="992338" y="813733"/>
                  </a:lnTo>
                  <a:lnTo>
                    <a:pt x="993941" y="816123"/>
                  </a:lnTo>
                  <a:lnTo>
                    <a:pt x="995333" y="817545"/>
                  </a:lnTo>
                  <a:lnTo>
                    <a:pt x="997027" y="818301"/>
                  </a:lnTo>
                  <a:lnTo>
                    <a:pt x="1003229" y="819451"/>
                  </a:lnTo>
                  <a:lnTo>
                    <a:pt x="1004922" y="820540"/>
                  </a:lnTo>
                  <a:lnTo>
                    <a:pt x="1006345" y="825441"/>
                  </a:lnTo>
                  <a:lnTo>
                    <a:pt x="1007766" y="826802"/>
                  </a:lnTo>
                  <a:lnTo>
                    <a:pt x="1010126" y="824049"/>
                  </a:lnTo>
                  <a:lnTo>
                    <a:pt x="1011154" y="823898"/>
                  </a:lnTo>
                  <a:lnTo>
                    <a:pt x="1013121" y="823263"/>
                  </a:lnTo>
                  <a:lnTo>
                    <a:pt x="1014240" y="823111"/>
                  </a:lnTo>
                  <a:lnTo>
                    <a:pt x="1015148" y="822688"/>
                  </a:lnTo>
                  <a:lnTo>
                    <a:pt x="1016842" y="820842"/>
                  </a:lnTo>
                  <a:lnTo>
                    <a:pt x="1017991" y="820449"/>
                  </a:lnTo>
                  <a:lnTo>
                    <a:pt x="1018535" y="820812"/>
                  </a:lnTo>
                  <a:lnTo>
                    <a:pt x="1020108" y="823111"/>
                  </a:lnTo>
                  <a:lnTo>
                    <a:pt x="1026795" y="826530"/>
                  </a:lnTo>
                  <a:lnTo>
                    <a:pt x="1034176" y="825622"/>
                  </a:lnTo>
                  <a:lnTo>
                    <a:pt x="1047728" y="818513"/>
                  </a:lnTo>
                  <a:lnTo>
                    <a:pt x="1050118" y="818967"/>
                  </a:lnTo>
                  <a:lnTo>
                    <a:pt x="1052841" y="817636"/>
                  </a:lnTo>
                  <a:lnTo>
                    <a:pt x="1055593" y="815820"/>
                  </a:lnTo>
                  <a:lnTo>
                    <a:pt x="1057983" y="814792"/>
                  </a:lnTo>
                  <a:lnTo>
                    <a:pt x="1056804" y="817000"/>
                  </a:lnTo>
                  <a:lnTo>
                    <a:pt x="1055352" y="818301"/>
                  </a:lnTo>
                  <a:lnTo>
                    <a:pt x="1053779" y="819330"/>
                  </a:lnTo>
                  <a:lnTo>
                    <a:pt x="1052236" y="820873"/>
                  </a:lnTo>
                  <a:lnTo>
                    <a:pt x="1050481" y="821931"/>
                  </a:lnTo>
                  <a:lnTo>
                    <a:pt x="1045822" y="822415"/>
                  </a:lnTo>
                  <a:lnTo>
                    <a:pt x="1043917" y="823565"/>
                  </a:lnTo>
                  <a:lnTo>
                    <a:pt x="1036868" y="829071"/>
                  </a:lnTo>
                  <a:lnTo>
                    <a:pt x="1034115" y="832550"/>
                  </a:lnTo>
                  <a:lnTo>
                    <a:pt x="1035990" y="835000"/>
                  </a:lnTo>
                  <a:lnTo>
                    <a:pt x="1033238" y="837753"/>
                  </a:lnTo>
                  <a:lnTo>
                    <a:pt x="1029335" y="839296"/>
                  </a:lnTo>
                  <a:lnTo>
                    <a:pt x="1024949" y="839629"/>
                  </a:lnTo>
                  <a:lnTo>
                    <a:pt x="1020774" y="838751"/>
                  </a:lnTo>
                  <a:lnTo>
                    <a:pt x="1015269" y="835454"/>
                  </a:lnTo>
                  <a:lnTo>
                    <a:pt x="1004226" y="833185"/>
                  </a:lnTo>
                  <a:lnTo>
                    <a:pt x="1002170" y="833125"/>
                  </a:lnTo>
                  <a:lnTo>
                    <a:pt x="996362" y="834002"/>
                  </a:lnTo>
                  <a:lnTo>
                    <a:pt x="987679" y="832247"/>
                  </a:lnTo>
                  <a:lnTo>
                    <a:pt x="979088" y="832247"/>
                  </a:lnTo>
                  <a:lnTo>
                    <a:pt x="978059" y="831884"/>
                  </a:lnTo>
                  <a:lnTo>
                    <a:pt x="977666" y="831733"/>
                  </a:lnTo>
                  <a:lnTo>
                    <a:pt x="971858" y="828496"/>
                  </a:lnTo>
                  <a:lnTo>
                    <a:pt x="968470" y="827528"/>
                  </a:lnTo>
                  <a:lnTo>
                    <a:pt x="950863" y="828738"/>
                  </a:lnTo>
                  <a:lnTo>
                    <a:pt x="949381" y="828072"/>
                  </a:lnTo>
                  <a:lnTo>
                    <a:pt x="946718" y="825410"/>
                  </a:lnTo>
                  <a:lnTo>
                    <a:pt x="943482" y="823051"/>
                  </a:lnTo>
                  <a:lnTo>
                    <a:pt x="945116" y="826197"/>
                  </a:lnTo>
                  <a:lnTo>
                    <a:pt x="956883" y="837239"/>
                  </a:lnTo>
                  <a:lnTo>
                    <a:pt x="958335" y="837723"/>
                  </a:lnTo>
                  <a:lnTo>
                    <a:pt x="959122" y="838570"/>
                  </a:lnTo>
                  <a:lnTo>
                    <a:pt x="961421" y="844227"/>
                  </a:lnTo>
                  <a:lnTo>
                    <a:pt x="961270" y="839992"/>
                  </a:lnTo>
                  <a:lnTo>
                    <a:pt x="961421" y="838721"/>
                  </a:lnTo>
                  <a:lnTo>
                    <a:pt x="961814" y="837693"/>
                  </a:lnTo>
                  <a:lnTo>
                    <a:pt x="962389" y="836967"/>
                  </a:lnTo>
                  <a:lnTo>
                    <a:pt x="963872" y="835424"/>
                  </a:lnTo>
                  <a:lnTo>
                    <a:pt x="965445" y="834698"/>
                  </a:lnTo>
                  <a:lnTo>
                    <a:pt x="967683" y="834818"/>
                  </a:lnTo>
                  <a:lnTo>
                    <a:pt x="970013" y="835363"/>
                  </a:lnTo>
                  <a:lnTo>
                    <a:pt x="983988" y="840718"/>
                  </a:lnTo>
                  <a:lnTo>
                    <a:pt x="988405" y="841383"/>
                  </a:lnTo>
                  <a:lnTo>
                    <a:pt x="992156" y="841020"/>
                  </a:lnTo>
                  <a:lnTo>
                    <a:pt x="993760" y="841655"/>
                  </a:lnTo>
                  <a:lnTo>
                    <a:pt x="998358" y="847403"/>
                  </a:lnTo>
                  <a:lnTo>
                    <a:pt x="999175" y="849037"/>
                  </a:lnTo>
                  <a:lnTo>
                    <a:pt x="998509" y="849460"/>
                  </a:lnTo>
                  <a:lnTo>
                    <a:pt x="997148" y="849460"/>
                  </a:lnTo>
                  <a:lnTo>
                    <a:pt x="995938" y="849672"/>
                  </a:lnTo>
                  <a:lnTo>
                    <a:pt x="990644" y="854179"/>
                  </a:lnTo>
                  <a:lnTo>
                    <a:pt x="989737" y="854754"/>
                  </a:lnTo>
                  <a:lnTo>
                    <a:pt x="982113" y="856085"/>
                  </a:lnTo>
                  <a:lnTo>
                    <a:pt x="976577" y="854936"/>
                  </a:lnTo>
                  <a:lnTo>
                    <a:pt x="974490" y="855147"/>
                  </a:lnTo>
                  <a:lnTo>
                    <a:pt x="972796" y="855904"/>
                  </a:lnTo>
                  <a:lnTo>
                    <a:pt x="970799" y="857295"/>
                  </a:lnTo>
                  <a:lnTo>
                    <a:pt x="969528" y="859110"/>
                  </a:lnTo>
                  <a:lnTo>
                    <a:pt x="970043" y="861168"/>
                  </a:lnTo>
                  <a:lnTo>
                    <a:pt x="971374" y="862559"/>
                  </a:lnTo>
                  <a:lnTo>
                    <a:pt x="972886" y="863527"/>
                  </a:lnTo>
                  <a:lnTo>
                    <a:pt x="974701" y="864132"/>
                  </a:lnTo>
                  <a:lnTo>
                    <a:pt x="981084" y="864344"/>
                  </a:lnTo>
                  <a:lnTo>
                    <a:pt x="981841" y="863709"/>
                  </a:lnTo>
                  <a:lnTo>
                    <a:pt x="981659" y="862196"/>
                  </a:lnTo>
                  <a:lnTo>
                    <a:pt x="981266" y="860381"/>
                  </a:lnTo>
                  <a:lnTo>
                    <a:pt x="981417" y="858869"/>
                  </a:lnTo>
                  <a:lnTo>
                    <a:pt x="989737" y="864798"/>
                  </a:lnTo>
                  <a:lnTo>
                    <a:pt x="994728" y="867218"/>
                  </a:lnTo>
                  <a:lnTo>
                    <a:pt x="997935" y="866068"/>
                  </a:lnTo>
                  <a:lnTo>
                    <a:pt x="1000718" y="868277"/>
                  </a:lnTo>
                  <a:lnTo>
                    <a:pt x="1004499" y="872935"/>
                  </a:lnTo>
                  <a:lnTo>
                    <a:pt x="1005830" y="873571"/>
                  </a:lnTo>
                  <a:lnTo>
                    <a:pt x="1007221" y="873813"/>
                  </a:lnTo>
                  <a:lnTo>
                    <a:pt x="1011729" y="875325"/>
                  </a:lnTo>
                  <a:lnTo>
                    <a:pt x="1014331" y="875809"/>
                  </a:lnTo>
                  <a:lnTo>
                    <a:pt x="1016963" y="875507"/>
                  </a:lnTo>
                  <a:lnTo>
                    <a:pt x="1019988" y="874266"/>
                  </a:lnTo>
                  <a:lnTo>
                    <a:pt x="1019746" y="875567"/>
                  </a:lnTo>
                  <a:lnTo>
                    <a:pt x="1019171" y="876384"/>
                  </a:lnTo>
                  <a:lnTo>
                    <a:pt x="1017265" y="877987"/>
                  </a:lnTo>
                  <a:lnTo>
                    <a:pt x="1017809" y="878774"/>
                  </a:lnTo>
                  <a:lnTo>
                    <a:pt x="1018264" y="880619"/>
                  </a:lnTo>
                  <a:lnTo>
                    <a:pt x="1018656" y="881617"/>
                  </a:lnTo>
                  <a:lnTo>
                    <a:pt x="1018838" y="882192"/>
                  </a:lnTo>
                  <a:lnTo>
                    <a:pt x="1019171" y="883916"/>
                  </a:lnTo>
                  <a:lnTo>
                    <a:pt x="1019352" y="884431"/>
                  </a:lnTo>
                  <a:lnTo>
                    <a:pt x="1019867" y="884642"/>
                  </a:lnTo>
                  <a:lnTo>
                    <a:pt x="1021168" y="884522"/>
                  </a:lnTo>
                  <a:lnTo>
                    <a:pt x="1023376" y="885974"/>
                  </a:lnTo>
                  <a:lnTo>
                    <a:pt x="1043584" y="891389"/>
                  </a:lnTo>
                  <a:lnTo>
                    <a:pt x="1047638" y="890814"/>
                  </a:lnTo>
                  <a:lnTo>
                    <a:pt x="1048364" y="890300"/>
                  </a:lnTo>
                  <a:lnTo>
                    <a:pt x="1050028" y="888666"/>
                  </a:lnTo>
                  <a:lnTo>
                    <a:pt x="1051056" y="888001"/>
                  </a:lnTo>
                  <a:lnTo>
                    <a:pt x="1052084" y="887638"/>
                  </a:lnTo>
                  <a:lnTo>
                    <a:pt x="1064760" y="885550"/>
                  </a:lnTo>
                  <a:lnTo>
                    <a:pt x="1068511" y="883826"/>
                  </a:lnTo>
                  <a:lnTo>
                    <a:pt x="1069993" y="883463"/>
                  </a:lnTo>
                  <a:lnTo>
                    <a:pt x="1072353" y="883644"/>
                  </a:lnTo>
                  <a:lnTo>
                    <a:pt x="1077889" y="885369"/>
                  </a:lnTo>
                  <a:lnTo>
                    <a:pt x="1078766" y="885490"/>
                  </a:lnTo>
                  <a:lnTo>
                    <a:pt x="1081066" y="885369"/>
                  </a:lnTo>
                  <a:lnTo>
                    <a:pt x="1081731" y="885459"/>
                  </a:lnTo>
                  <a:lnTo>
                    <a:pt x="1082639" y="885974"/>
                  </a:lnTo>
                  <a:lnTo>
                    <a:pt x="1083425" y="886155"/>
                  </a:lnTo>
                  <a:lnTo>
                    <a:pt x="1084817" y="886155"/>
                  </a:lnTo>
                  <a:lnTo>
                    <a:pt x="1095374" y="884491"/>
                  </a:lnTo>
                  <a:lnTo>
                    <a:pt x="1096796" y="882707"/>
                  </a:lnTo>
                  <a:lnTo>
                    <a:pt x="1095888" y="878865"/>
                  </a:lnTo>
                  <a:lnTo>
                    <a:pt x="1101757" y="881617"/>
                  </a:lnTo>
                  <a:lnTo>
                    <a:pt x="1103906" y="883070"/>
                  </a:lnTo>
                  <a:lnTo>
                    <a:pt x="1104873" y="883433"/>
                  </a:lnTo>
                  <a:lnTo>
                    <a:pt x="1105872" y="883433"/>
                  </a:lnTo>
                  <a:lnTo>
                    <a:pt x="1107142" y="882767"/>
                  </a:lnTo>
                  <a:lnTo>
                    <a:pt x="1107928" y="882616"/>
                  </a:lnTo>
                  <a:lnTo>
                    <a:pt x="1111135" y="881103"/>
                  </a:lnTo>
                  <a:lnTo>
                    <a:pt x="1113132" y="877715"/>
                  </a:lnTo>
                  <a:lnTo>
                    <a:pt x="1114826" y="874025"/>
                  </a:lnTo>
                  <a:lnTo>
                    <a:pt x="1117155" y="871695"/>
                  </a:lnTo>
                  <a:lnTo>
                    <a:pt x="1116187" y="880982"/>
                  </a:lnTo>
                  <a:lnTo>
                    <a:pt x="1115824" y="882676"/>
                  </a:lnTo>
                  <a:lnTo>
                    <a:pt x="1115098" y="884431"/>
                  </a:lnTo>
                  <a:lnTo>
                    <a:pt x="1123054" y="883433"/>
                  </a:lnTo>
                  <a:lnTo>
                    <a:pt x="1125262" y="884068"/>
                  </a:lnTo>
                  <a:lnTo>
                    <a:pt x="1125474" y="885580"/>
                  </a:lnTo>
                  <a:lnTo>
                    <a:pt x="1124385" y="887395"/>
                  </a:lnTo>
                  <a:lnTo>
                    <a:pt x="1122722" y="888908"/>
                  </a:lnTo>
                  <a:lnTo>
                    <a:pt x="1123327" y="889059"/>
                  </a:lnTo>
                  <a:lnTo>
                    <a:pt x="1123841" y="889059"/>
                  </a:lnTo>
                  <a:lnTo>
                    <a:pt x="1124265" y="889210"/>
                  </a:lnTo>
                  <a:lnTo>
                    <a:pt x="1124779" y="889876"/>
                  </a:lnTo>
                  <a:lnTo>
                    <a:pt x="1126805" y="887184"/>
                  </a:lnTo>
                  <a:lnTo>
                    <a:pt x="1129498" y="887668"/>
                  </a:lnTo>
                  <a:lnTo>
                    <a:pt x="1132160" y="889816"/>
                  </a:lnTo>
                  <a:lnTo>
                    <a:pt x="1135276" y="893748"/>
                  </a:lnTo>
                  <a:lnTo>
                    <a:pt x="1136153" y="894384"/>
                  </a:lnTo>
                  <a:lnTo>
                    <a:pt x="1142355" y="894384"/>
                  </a:lnTo>
                  <a:lnTo>
                    <a:pt x="1144442" y="895230"/>
                  </a:lnTo>
                  <a:lnTo>
                    <a:pt x="1145441" y="895291"/>
                  </a:lnTo>
                  <a:lnTo>
                    <a:pt x="1143383" y="892417"/>
                  </a:lnTo>
                  <a:lnTo>
                    <a:pt x="1144382" y="890784"/>
                  </a:lnTo>
                  <a:lnTo>
                    <a:pt x="1146953" y="890027"/>
                  </a:lnTo>
                  <a:lnTo>
                    <a:pt x="1149615" y="889846"/>
                  </a:lnTo>
                  <a:lnTo>
                    <a:pt x="1149615" y="888878"/>
                  </a:lnTo>
                  <a:lnTo>
                    <a:pt x="1146953" y="887244"/>
                  </a:lnTo>
                  <a:lnTo>
                    <a:pt x="1147074" y="885308"/>
                  </a:lnTo>
                  <a:lnTo>
                    <a:pt x="1148828" y="883312"/>
                  </a:lnTo>
                  <a:lnTo>
                    <a:pt x="1151006" y="881587"/>
                  </a:lnTo>
                  <a:lnTo>
                    <a:pt x="1153518" y="880740"/>
                  </a:lnTo>
                  <a:lnTo>
                    <a:pt x="1155242" y="882132"/>
                  </a:lnTo>
                  <a:lnTo>
                    <a:pt x="1158267" y="887547"/>
                  </a:lnTo>
                  <a:lnTo>
                    <a:pt x="1158751" y="889483"/>
                  </a:lnTo>
                  <a:lnTo>
                    <a:pt x="1157783" y="891056"/>
                  </a:lnTo>
                  <a:lnTo>
                    <a:pt x="1156664" y="892448"/>
                  </a:lnTo>
                  <a:lnTo>
                    <a:pt x="1156815" y="893930"/>
                  </a:lnTo>
                  <a:lnTo>
                    <a:pt x="1158086" y="898528"/>
                  </a:lnTo>
                  <a:lnTo>
                    <a:pt x="1158207" y="899466"/>
                  </a:lnTo>
                  <a:lnTo>
                    <a:pt x="1157511" y="900615"/>
                  </a:lnTo>
                  <a:lnTo>
                    <a:pt x="1156966" y="901916"/>
                  </a:lnTo>
                  <a:lnTo>
                    <a:pt x="1157057" y="903005"/>
                  </a:lnTo>
                  <a:lnTo>
                    <a:pt x="1158237" y="903459"/>
                  </a:lnTo>
                  <a:lnTo>
                    <a:pt x="1158569" y="904155"/>
                  </a:lnTo>
                  <a:lnTo>
                    <a:pt x="1157722" y="905667"/>
                  </a:lnTo>
                  <a:lnTo>
                    <a:pt x="1155847" y="907997"/>
                  </a:lnTo>
                  <a:lnTo>
                    <a:pt x="1157057" y="908844"/>
                  </a:lnTo>
                  <a:lnTo>
                    <a:pt x="1157753" y="908451"/>
                  </a:lnTo>
                  <a:lnTo>
                    <a:pt x="1158448" y="907604"/>
                  </a:lnTo>
                  <a:lnTo>
                    <a:pt x="1159598" y="907150"/>
                  </a:lnTo>
                  <a:lnTo>
                    <a:pt x="1162140" y="906938"/>
                  </a:lnTo>
                  <a:lnTo>
                    <a:pt x="1167887" y="908360"/>
                  </a:lnTo>
                  <a:lnTo>
                    <a:pt x="1169793" y="909267"/>
                  </a:lnTo>
                  <a:lnTo>
                    <a:pt x="1171638" y="910749"/>
                  </a:lnTo>
                  <a:lnTo>
                    <a:pt x="1169883" y="911718"/>
                  </a:lnTo>
                  <a:lnTo>
                    <a:pt x="1166435" y="912535"/>
                  </a:lnTo>
                  <a:lnTo>
                    <a:pt x="1164771" y="913381"/>
                  </a:lnTo>
                  <a:lnTo>
                    <a:pt x="1163258" y="912746"/>
                  </a:lnTo>
                  <a:lnTo>
                    <a:pt x="1163016" y="915166"/>
                  </a:lnTo>
                  <a:lnTo>
                    <a:pt x="1163228" y="918312"/>
                  </a:lnTo>
                  <a:lnTo>
                    <a:pt x="1163077" y="919885"/>
                  </a:lnTo>
                  <a:lnTo>
                    <a:pt x="1160929" y="920158"/>
                  </a:lnTo>
                  <a:lnTo>
                    <a:pt x="1159780" y="920067"/>
                  </a:lnTo>
                  <a:lnTo>
                    <a:pt x="1159295" y="919402"/>
                  </a:lnTo>
                  <a:lnTo>
                    <a:pt x="1158933" y="918585"/>
                  </a:lnTo>
                  <a:lnTo>
                    <a:pt x="1158025" y="917859"/>
                  </a:lnTo>
                  <a:lnTo>
                    <a:pt x="1156905" y="917344"/>
                  </a:lnTo>
                  <a:lnTo>
                    <a:pt x="1155847" y="917103"/>
                  </a:lnTo>
                  <a:lnTo>
                    <a:pt x="1154879" y="917223"/>
                  </a:lnTo>
                  <a:lnTo>
                    <a:pt x="1153730" y="917677"/>
                  </a:lnTo>
                  <a:lnTo>
                    <a:pt x="1151702" y="918887"/>
                  </a:lnTo>
                  <a:lnTo>
                    <a:pt x="1149283" y="921671"/>
                  </a:lnTo>
                  <a:lnTo>
                    <a:pt x="1146862" y="922366"/>
                  </a:lnTo>
                  <a:lnTo>
                    <a:pt x="1145834" y="922487"/>
                  </a:lnTo>
                  <a:lnTo>
                    <a:pt x="1144624" y="922215"/>
                  </a:lnTo>
                  <a:lnTo>
                    <a:pt x="1142778" y="920974"/>
                  </a:lnTo>
                  <a:lnTo>
                    <a:pt x="1142052" y="920702"/>
                  </a:lnTo>
                  <a:lnTo>
                    <a:pt x="1140540" y="921277"/>
                  </a:lnTo>
                  <a:lnTo>
                    <a:pt x="1136305" y="923818"/>
                  </a:lnTo>
                  <a:lnTo>
                    <a:pt x="1134792" y="924393"/>
                  </a:lnTo>
                  <a:lnTo>
                    <a:pt x="1131737" y="927539"/>
                  </a:lnTo>
                  <a:lnTo>
                    <a:pt x="1131192" y="928417"/>
                  </a:lnTo>
                  <a:lnTo>
                    <a:pt x="1127562" y="929838"/>
                  </a:lnTo>
                  <a:lnTo>
                    <a:pt x="1120241" y="934043"/>
                  </a:lnTo>
                  <a:lnTo>
                    <a:pt x="1116702" y="934406"/>
                  </a:lnTo>
                  <a:lnTo>
                    <a:pt x="1113132" y="932531"/>
                  </a:lnTo>
                  <a:lnTo>
                    <a:pt x="1111499" y="930534"/>
                  </a:lnTo>
                  <a:lnTo>
                    <a:pt x="1110561" y="929990"/>
                  </a:lnTo>
                  <a:lnTo>
                    <a:pt x="1109683" y="930716"/>
                  </a:lnTo>
                  <a:lnTo>
                    <a:pt x="1109532" y="932077"/>
                  </a:lnTo>
                  <a:lnTo>
                    <a:pt x="1110318" y="932863"/>
                  </a:lnTo>
                  <a:lnTo>
                    <a:pt x="1111287" y="933348"/>
                  </a:lnTo>
                  <a:lnTo>
                    <a:pt x="1111770" y="933831"/>
                  </a:lnTo>
                  <a:lnTo>
                    <a:pt x="1111256" y="935435"/>
                  </a:lnTo>
                  <a:lnTo>
                    <a:pt x="1109986" y="936342"/>
                  </a:lnTo>
                  <a:lnTo>
                    <a:pt x="1087176" y="946083"/>
                  </a:lnTo>
                  <a:lnTo>
                    <a:pt x="1080279" y="950379"/>
                  </a:lnTo>
                  <a:lnTo>
                    <a:pt x="1077224" y="953283"/>
                  </a:lnTo>
                  <a:lnTo>
                    <a:pt x="1076498" y="954221"/>
                  </a:lnTo>
                  <a:lnTo>
                    <a:pt x="1076134" y="954947"/>
                  </a:lnTo>
                  <a:lnTo>
                    <a:pt x="1075923" y="956066"/>
                  </a:lnTo>
                  <a:lnTo>
                    <a:pt x="1076074" y="957065"/>
                  </a:lnTo>
                  <a:lnTo>
                    <a:pt x="1076407" y="958275"/>
                  </a:lnTo>
                  <a:lnTo>
                    <a:pt x="1076225" y="959303"/>
                  </a:lnTo>
                  <a:lnTo>
                    <a:pt x="1074803" y="959727"/>
                  </a:lnTo>
                  <a:lnTo>
                    <a:pt x="1073654" y="959575"/>
                  </a:lnTo>
                  <a:lnTo>
                    <a:pt x="1071718" y="958910"/>
                  </a:lnTo>
                  <a:lnTo>
                    <a:pt x="1070689" y="958759"/>
                  </a:lnTo>
                  <a:lnTo>
                    <a:pt x="1069176" y="959001"/>
                  </a:lnTo>
                  <a:lnTo>
                    <a:pt x="1068360" y="959666"/>
                  </a:lnTo>
                  <a:lnTo>
                    <a:pt x="1067754" y="960544"/>
                  </a:lnTo>
                  <a:lnTo>
                    <a:pt x="1066848" y="961542"/>
                  </a:lnTo>
                  <a:lnTo>
                    <a:pt x="1065425" y="962601"/>
                  </a:lnTo>
                  <a:lnTo>
                    <a:pt x="1063853" y="963417"/>
                  </a:lnTo>
                  <a:lnTo>
                    <a:pt x="1061977" y="963962"/>
                  </a:lnTo>
                  <a:lnTo>
                    <a:pt x="1059647" y="964143"/>
                  </a:lnTo>
                  <a:lnTo>
                    <a:pt x="1057681" y="964658"/>
                  </a:lnTo>
                  <a:lnTo>
                    <a:pt x="1045762" y="973007"/>
                  </a:lnTo>
                  <a:lnTo>
                    <a:pt x="1042736" y="975972"/>
                  </a:lnTo>
                  <a:lnTo>
                    <a:pt x="1041375" y="979481"/>
                  </a:lnTo>
                  <a:lnTo>
                    <a:pt x="1041799" y="981326"/>
                  </a:lnTo>
                  <a:lnTo>
                    <a:pt x="1044522" y="988466"/>
                  </a:lnTo>
                  <a:lnTo>
                    <a:pt x="1046790" y="988798"/>
                  </a:lnTo>
                  <a:lnTo>
                    <a:pt x="1050269" y="990493"/>
                  </a:lnTo>
                  <a:lnTo>
                    <a:pt x="1052418" y="991158"/>
                  </a:lnTo>
                  <a:lnTo>
                    <a:pt x="1059617" y="991158"/>
                  </a:lnTo>
                  <a:lnTo>
                    <a:pt x="1061039" y="990402"/>
                  </a:lnTo>
                  <a:lnTo>
                    <a:pt x="1064609" y="986832"/>
                  </a:lnTo>
                  <a:lnTo>
                    <a:pt x="1066181" y="985803"/>
                  </a:lnTo>
                  <a:lnTo>
                    <a:pt x="1068360" y="985501"/>
                  </a:lnTo>
                  <a:lnTo>
                    <a:pt x="1083365" y="986711"/>
                  </a:lnTo>
                  <a:lnTo>
                    <a:pt x="1087539" y="988254"/>
                  </a:lnTo>
                  <a:lnTo>
                    <a:pt x="1091169" y="990462"/>
                  </a:lnTo>
                  <a:lnTo>
                    <a:pt x="1097886" y="995756"/>
                  </a:lnTo>
                  <a:lnTo>
                    <a:pt x="1098732" y="996240"/>
                  </a:lnTo>
                  <a:lnTo>
                    <a:pt x="1100517" y="996906"/>
                  </a:lnTo>
                  <a:lnTo>
                    <a:pt x="1101455" y="997541"/>
                  </a:lnTo>
                  <a:lnTo>
                    <a:pt x="1102604" y="999507"/>
                  </a:lnTo>
                  <a:lnTo>
                    <a:pt x="1103451" y="1000627"/>
                  </a:lnTo>
                  <a:lnTo>
                    <a:pt x="1105962" y="1001988"/>
                  </a:lnTo>
                  <a:lnTo>
                    <a:pt x="1109502" y="1006042"/>
                  </a:lnTo>
                  <a:lnTo>
                    <a:pt x="1111044" y="1007373"/>
                  </a:lnTo>
                  <a:lnTo>
                    <a:pt x="1115582" y="1008583"/>
                  </a:lnTo>
                  <a:lnTo>
                    <a:pt x="1117760" y="1009611"/>
                  </a:lnTo>
                  <a:lnTo>
                    <a:pt x="1118698" y="1011457"/>
                  </a:lnTo>
                  <a:lnTo>
                    <a:pt x="1119727" y="1012727"/>
                  </a:lnTo>
                  <a:lnTo>
                    <a:pt x="1122026" y="1012122"/>
                  </a:lnTo>
                  <a:lnTo>
                    <a:pt x="1125535" y="1010156"/>
                  </a:lnTo>
                  <a:lnTo>
                    <a:pt x="1129316" y="1008825"/>
                  </a:lnTo>
                  <a:lnTo>
                    <a:pt x="1133461" y="1008310"/>
                  </a:lnTo>
                  <a:lnTo>
                    <a:pt x="1135155" y="1008976"/>
                  </a:lnTo>
                  <a:lnTo>
                    <a:pt x="1140752" y="1013635"/>
                  </a:lnTo>
                  <a:lnTo>
                    <a:pt x="1147619" y="1017749"/>
                  </a:lnTo>
                  <a:lnTo>
                    <a:pt x="1150129" y="1020804"/>
                  </a:lnTo>
                  <a:lnTo>
                    <a:pt x="1151733" y="1026129"/>
                  </a:lnTo>
                  <a:lnTo>
                    <a:pt x="1152096" y="1029486"/>
                  </a:lnTo>
                  <a:lnTo>
                    <a:pt x="1152428" y="1030666"/>
                  </a:lnTo>
                  <a:lnTo>
                    <a:pt x="1154213" y="1033934"/>
                  </a:lnTo>
                  <a:lnTo>
                    <a:pt x="1154486" y="1034690"/>
                  </a:lnTo>
                  <a:lnTo>
                    <a:pt x="1154788" y="1036898"/>
                  </a:lnTo>
                  <a:lnTo>
                    <a:pt x="1155908" y="1042011"/>
                  </a:lnTo>
                  <a:lnTo>
                    <a:pt x="1155908" y="1044975"/>
                  </a:lnTo>
                  <a:lnTo>
                    <a:pt x="1155544" y="1047516"/>
                  </a:lnTo>
                  <a:lnTo>
                    <a:pt x="1154848" y="1049785"/>
                  </a:lnTo>
                  <a:lnTo>
                    <a:pt x="1153760" y="1051419"/>
                  </a:lnTo>
                  <a:lnTo>
                    <a:pt x="1149857" y="1052659"/>
                  </a:lnTo>
                  <a:lnTo>
                    <a:pt x="1148496" y="1054323"/>
                  </a:lnTo>
                  <a:lnTo>
                    <a:pt x="1147619" y="1056653"/>
                  </a:lnTo>
                  <a:lnTo>
                    <a:pt x="1146923" y="1059284"/>
                  </a:lnTo>
                  <a:lnTo>
                    <a:pt x="1146650" y="1060010"/>
                  </a:lnTo>
                  <a:lnTo>
                    <a:pt x="1146288" y="1060464"/>
                  </a:lnTo>
                  <a:lnTo>
                    <a:pt x="1145501" y="1061069"/>
                  </a:lnTo>
                  <a:lnTo>
                    <a:pt x="1146408" y="1062703"/>
                  </a:lnTo>
                  <a:lnTo>
                    <a:pt x="1146923" y="1064669"/>
                  </a:lnTo>
                  <a:lnTo>
                    <a:pt x="1147588" y="1068239"/>
                  </a:lnTo>
                  <a:lnTo>
                    <a:pt x="1148586" y="1070871"/>
                  </a:lnTo>
                  <a:lnTo>
                    <a:pt x="1148738" y="1072292"/>
                  </a:lnTo>
                  <a:lnTo>
                    <a:pt x="1148314" y="1074380"/>
                  </a:lnTo>
                  <a:lnTo>
                    <a:pt x="1147467" y="1075741"/>
                  </a:lnTo>
                  <a:lnTo>
                    <a:pt x="1146258" y="1077132"/>
                  </a:lnTo>
                  <a:lnTo>
                    <a:pt x="1145380" y="1078706"/>
                  </a:lnTo>
                  <a:lnTo>
                    <a:pt x="1145532" y="1080642"/>
                  </a:lnTo>
                  <a:lnTo>
                    <a:pt x="1146438" y="1081337"/>
                  </a:lnTo>
                  <a:lnTo>
                    <a:pt x="1149706" y="1081912"/>
                  </a:lnTo>
                  <a:lnTo>
                    <a:pt x="1151097" y="1082397"/>
                  </a:lnTo>
                  <a:lnTo>
                    <a:pt x="1149040" y="1083153"/>
                  </a:lnTo>
                  <a:lnTo>
                    <a:pt x="1143898" y="1083243"/>
                  </a:lnTo>
                  <a:lnTo>
                    <a:pt x="1142446" y="1083697"/>
                  </a:lnTo>
                  <a:lnTo>
                    <a:pt x="1141629" y="1084181"/>
                  </a:lnTo>
                  <a:lnTo>
                    <a:pt x="1140540" y="1084302"/>
                  </a:lnTo>
                  <a:lnTo>
                    <a:pt x="1138362" y="1084151"/>
                  </a:lnTo>
                  <a:lnTo>
                    <a:pt x="1137454" y="1084363"/>
                  </a:lnTo>
                  <a:lnTo>
                    <a:pt x="1135246" y="1085905"/>
                  </a:lnTo>
                  <a:lnTo>
                    <a:pt x="1134398" y="1086299"/>
                  </a:lnTo>
                  <a:lnTo>
                    <a:pt x="1131343" y="1086934"/>
                  </a:lnTo>
                  <a:lnTo>
                    <a:pt x="1130950" y="1086541"/>
                  </a:lnTo>
                  <a:lnTo>
                    <a:pt x="1130950" y="1086601"/>
                  </a:lnTo>
                  <a:lnTo>
                    <a:pt x="1131071" y="1088083"/>
                  </a:lnTo>
                  <a:lnTo>
                    <a:pt x="1131797" y="1089626"/>
                  </a:lnTo>
                  <a:lnTo>
                    <a:pt x="1142627" y="1096645"/>
                  </a:lnTo>
                  <a:lnTo>
                    <a:pt x="1143868" y="1097885"/>
                  </a:lnTo>
                  <a:lnTo>
                    <a:pt x="1145682" y="1099216"/>
                  </a:lnTo>
                  <a:lnTo>
                    <a:pt x="1147860" y="1099095"/>
                  </a:lnTo>
                  <a:lnTo>
                    <a:pt x="1150009" y="1098490"/>
                  </a:lnTo>
                  <a:lnTo>
                    <a:pt x="1151823" y="1098399"/>
                  </a:lnTo>
                  <a:lnTo>
                    <a:pt x="1152973" y="1099307"/>
                  </a:lnTo>
                  <a:lnTo>
                    <a:pt x="1155998" y="1102907"/>
                  </a:lnTo>
                  <a:lnTo>
                    <a:pt x="1156603" y="1104087"/>
                  </a:lnTo>
                  <a:lnTo>
                    <a:pt x="1157148" y="1106507"/>
                  </a:lnTo>
                  <a:lnTo>
                    <a:pt x="1158509" y="1107687"/>
                  </a:lnTo>
                  <a:lnTo>
                    <a:pt x="1166102" y="1110984"/>
                  </a:lnTo>
                  <a:lnTo>
                    <a:pt x="1168129" y="1111468"/>
                  </a:lnTo>
                  <a:lnTo>
                    <a:pt x="1174815" y="1111619"/>
                  </a:lnTo>
                  <a:lnTo>
                    <a:pt x="1175934" y="1111468"/>
                  </a:lnTo>
                  <a:lnTo>
                    <a:pt x="1178052" y="1110802"/>
                  </a:lnTo>
                  <a:lnTo>
                    <a:pt x="1179322" y="1110742"/>
                  </a:lnTo>
                  <a:lnTo>
                    <a:pt x="1185615" y="1113041"/>
                  </a:lnTo>
                  <a:lnTo>
                    <a:pt x="1187943" y="1113404"/>
                  </a:lnTo>
                  <a:lnTo>
                    <a:pt x="1189971" y="1113162"/>
                  </a:lnTo>
                  <a:lnTo>
                    <a:pt x="1200831" y="1108413"/>
                  </a:lnTo>
                  <a:lnTo>
                    <a:pt x="1203130" y="1108110"/>
                  </a:lnTo>
                  <a:lnTo>
                    <a:pt x="1204522" y="1107717"/>
                  </a:lnTo>
                  <a:lnTo>
                    <a:pt x="1207940" y="1105539"/>
                  </a:lnTo>
                  <a:lnTo>
                    <a:pt x="1209060" y="1104510"/>
                  </a:lnTo>
                  <a:lnTo>
                    <a:pt x="1210390" y="1102362"/>
                  </a:lnTo>
                  <a:lnTo>
                    <a:pt x="1211298" y="1100396"/>
                  </a:lnTo>
                  <a:lnTo>
                    <a:pt x="1212568" y="1098944"/>
                  </a:lnTo>
                  <a:lnTo>
                    <a:pt x="1217318" y="1098036"/>
                  </a:lnTo>
                  <a:lnTo>
                    <a:pt x="1218649" y="1097038"/>
                  </a:lnTo>
                  <a:lnTo>
                    <a:pt x="1220706" y="1093862"/>
                  </a:lnTo>
                  <a:lnTo>
                    <a:pt x="1220978" y="1093348"/>
                  </a:lnTo>
                  <a:lnTo>
                    <a:pt x="1220978" y="1092561"/>
                  </a:lnTo>
                  <a:lnTo>
                    <a:pt x="1221462" y="1092107"/>
                  </a:lnTo>
                  <a:lnTo>
                    <a:pt x="1221886" y="1091986"/>
                  </a:lnTo>
                  <a:lnTo>
                    <a:pt x="1222975" y="1092107"/>
                  </a:lnTo>
                  <a:lnTo>
                    <a:pt x="1224396" y="1092107"/>
                  </a:lnTo>
                  <a:lnTo>
                    <a:pt x="1226665" y="1092349"/>
                  </a:lnTo>
                  <a:lnTo>
                    <a:pt x="1227512" y="1092107"/>
                  </a:lnTo>
                  <a:lnTo>
                    <a:pt x="1228511" y="1090413"/>
                  </a:lnTo>
                  <a:lnTo>
                    <a:pt x="1232444" y="1080974"/>
                  </a:lnTo>
                  <a:lnTo>
                    <a:pt x="1235862" y="1075469"/>
                  </a:lnTo>
                  <a:lnTo>
                    <a:pt x="1236860" y="1074319"/>
                  </a:lnTo>
                  <a:lnTo>
                    <a:pt x="1237405" y="1073412"/>
                  </a:lnTo>
                  <a:lnTo>
                    <a:pt x="1241398" y="1068208"/>
                  </a:lnTo>
                  <a:lnTo>
                    <a:pt x="1241852" y="1068148"/>
                  </a:lnTo>
                  <a:lnTo>
                    <a:pt x="1241973" y="1068330"/>
                  </a:lnTo>
                  <a:lnTo>
                    <a:pt x="1241973" y="1068662"/>
                  </a:lnTo>
                  <a:lnTo>
                    <a:pt x="1242064" y="1069025"/>
                  </a:lnTo>
                  <a:lnTo>
                    <a:pt x="1244544" y="1066544"/>
                  </a:lnTo>
                  <a:lnTo>
                    <a:pt x="1247872" y="1065214"/>
                  </a:lnTo>
                  <a:lnTo>
                    <a:pt x="1255919" y="1063610"/>
                  </a:lnTo>
                  <a:lnTo>
                    <a:pt x="1259670" y="1062037"/>
                  </a:lnTo>
                  <a:lnTo>
                    <a:pt x="1266749" y="1057651"/>
                  </a:lnTo>
                  <a:lnTo>
                    <a:pt x="1270379" y="1056410"/>
                  </a:lnTo>
                  <a:lnTo>
                    <a:pt x="1277367" y="1057560"/>
                  </a:lnTo>
                  <a:lnTo>
                    <a:pt x="1279000" y="1056925"/>
                  </a:lnTo>
                  <a:lnTo>
                    <a:pt x="1280452" y="1056017"/>
                  </a:lnTo>
                  <a:lnTo>
                    <a:pt x="1283750" y="1056743"/>
                  </a:lnTo>
                  <a:lnTo>
                    <a:pt x="1285565" y="1056441"/>
                  </a:lnTo>
                  <a:lnTo>
                    <a:pt x="1286382" y="1055805"/>
                  </a:lnTo>
                  <a:lnTo>
                    <a:pt x="1287017" y="1055079"/>
                  </a:lnTo>
                  <a:lnTo>
                    <a:pt x="1287773" y="1054384"/>
                  </a:lnTo>
                  <a:lnTo>
                    <a:pt x="1288953" y="1053839"/>
                  </a:lnTo>
                  <a:lnTo>
                    <a:pt x="1290012" y="1053688"/>
                  </a:lnTo>
                  <a:lnTo>
                    <a:pt x="1293400" y="1053839"/>
                  </a:lnTo>
                  <a:lnTo>
                    <a:pt x="1295366" y="1054504"/>
                  </a:lnTo>
                  <a:lnTo>
                    <a:pt x="1296577" y="1056047"/>
                  </a:lnTo>
                  <a:lnTo>
                    <a:pt x="1297484" y="1057862"/>
                  </a:lnTo>
                  <a:lnTo>
                    <a:pt x="1298543" y="1059254"/>
                  </a:lnTo>
                  <a:lnTo>
                    <a:pt x="1302899" y="1059920"/>
                  </a:lnTo>
                  <a:lnTo>
                    <a:pt x="1305682" y="1055866"/>
                  </a:lnTo>
                  <a:lnTo>
                    <a:pt x="1307830" y="1050179"/>
                  </a:lnTo>
                  <a:lnTo>
                    <a:pt x="1310311" y="1045943"/>
                  </a:lnTo>
                  <a:lnTo>
                    <a:pt x="1312095" y="1045157"/>
                  </a:lnTo>
                  <a:lnTo>
                    <a:pt x="1316452" y="1044219"/>
                  </a:lnTo>
                  <a:lnTo>
                    <a:pt x="1318267" y="1042737"/>
                  </a:lnTo>
                  <a:lnTo>
                    <a:pt x="1320566" y="1038441"/>
                  </a:lnTo>
                  <a:lnTo>
                    <a:pt x="1322290" y="1037352"/>
                  </a:lnTo>
                  <a:lnTo>
                    <a:pt x="1324801" y="1038743"/>
                  </a:lnTo>
                  <a:lnTo>
                    <a:pt x="1325497" y="1038139"/>
                  </a:lnTo>
                  <a:lnTo>
                    <a:pt x="1326556" y="1037473"/>
                  </a:lnTo>
                  <a:lnTo>
                    <a:pt x="1326949" y="1036959"/>
                  </a:lnTo>
                  <a:lnTo>
                    <a:pt x="1331789" y="1040437"/>
                  </a:lnTo>
                  <a:lnTo>
                    <a:pt x="1331124" y="1036505"/>
                  </a:lnTo>
                  <a:lnTo>
                    <a:pt x="1331275" y="1034811"/>
                  </a:lnTo>
                  <a:lnTo>
                    <a:pt x="1332485" y="1033328"/>
                  </a:lnTo>
                  <a:lnTo>
                    <a:pt x="1334028" y="1032814"/>
                  </a:lnTo>
                  <a:lnTo>
                    <a:pt x="1337325" y="1032996"/>
                  </a:lnTo>
                  <a:lnTo>
                    <a:pt x="1338656" y="1032421"/>
                  </a:lnTo>
                  <a:lnTo>
                    <a:pt x="1338656" y="1031634"/>
                  </a:lnTo>
                  <a:lnTo>
                    <a:pt x="1335752" y="1030455"/>
                  </a:lnTo>
                  <a:lnTo>
                    <a:pt x="1335147" y="1029849"/>
                  </a:lnTo>
                  <a:lnTo>
                    <a:pt x="1334814" y="1028488"/>
                  </a:lnTo>
                  <a:lnTo>
                    <a:pt x="1335117" y="1027460"/>
                  </a:lnTo>
                  <a:lnTo>
                    <a:pt x="1335631" y="1026401"/>
                  </a:lnTo>
                  <a:lnTo>
                    <a:pt x="1335904" y="1024888"/>
                  </a:lnTo>
                  <a:lnTo>
                    <a:pt x="1336781" y="1023799"/>
                  </a:lnTo>
                  <a:lnTo>
                    <a:pt x="1342075" y="1019867"/>
                  </a:lnTo>
                  <a:lnTo>
                    <a:pt x="1345766" y="1018233"/>
                  </a:lnTo>
                  <a:lnTo>
                    <a:pt x="1349910" y="1017416"/>
                  </a:lnTo>
                  <a:lnTo>
                    <a:pt x="1354266" y="1017416"/>
                  </a:lnTo>
                  <a:lnTo>
                    <a:pt x="1358653" y="1018052"/>
                  </a:lnTo>
                  <a:lnTo>
                    <a:pt x="1365943" y="1020683"/>
                  </a:lnTo>
                  <a:lnTo>
                    <a:pt x="1372477" y="1024495"/>
                  </a:lnTo>
                  <a:lnTo>
                    <a:pt x="1373688" y="1025554"/>
                  </a:lnTo>
                  <a:lnTo>
                    <a:pt x="1376713" y="1028942"/>
                  </a:lnTo>
                  <a:lnTo>
                    <a:pt x="1377287" y="1030243"/>
                  </a:lnTo>
                  <a:lnTo>
                    <a:pt x="1378165" y="1033147"/>
                  </a:lnTo>
                  <a:lnTo>
                    <a:pt x="1380191" y="1034024"/>
                  </a:lnTo>
                  <a:lnTo>
                    <a:pt x="1387119" y="1032875"/>
                  </a:lnTo>
                  <a:lnTo>
                    <a:pt x="1394833" y="1033328"/>
                  </a:lnTo>
                  <a:lnTo>
                    <a:pt x="1396346" y="1031786"/>
                  </a:lnTo>
                  <a:lnTo>
                    <a:pt x="1398070" y="1028760"/>
                  </a:lnTo>
                  <a:lnTo>
                    <a:pt x="1400339" y="1026703"/>
                  </a:lnTo>
                  <a:lnTo>
                    <a:pt x="1403485" y="1027974"/>
                  </a:lnTo>
                  <a:lnTo>
                    <a:pt x="1403485" y="1027006"/>
                  </a:lnTo>
                  <a:lnTo>
                    <a:pt x="1409203" y="1030273"/>
                  </a:lnTo>
                  <a:lnTo>
                    <a:pt x="1418127" y="1032088"/>
                  </a:lnTo>
                  <a:lnTo>
                    <a:pt x="1420123" y="1031634"/>
                  </a:lnTo>
                  <a:lnTo>
                    <a:pt x="1420517" y="1030969"/>
                  </a:lnTo>
                  <a:lnTo>
                    <a:pt x="1421091" y="1028730"/>
                  </a:lnTo>
                  <a:lnTo>
                    <a:pt x="1421485" y="1027974"/>
                  </a:lnTo>
                  <a:lnTo>
                    <a:pt x="1422483" y="1027369"/>
                  </a:lnTo>
                  <a:lnTo>
                    <a:pt x="1423572" y="1027097"/>
                  </a:lnTo>
                  <a:lnTo>
                    <a:pt x="1432557" y="1026703"/>
                  </a:lnTo>
                  <a:lnTo>
                    <a:pt x="1439817" y="1024253"/>
                  </a:lnTo>
                  <a:lnTo>
                    <a:pt x="1441148" y="1023073"/>
                  </a:lnTo>
                  <a:lnTo>
                    <a:pt x="1441329" y="1021107"/>
                  </a:lnTo>
                  <a:lnTo>
                    <a:pt x="1439999" y="1019141"/>
                  </a:lnTo>
                  <a:lnTo>
                    <a:pt x="1437246" y="1016297"/>
                  </a:lnTo>
                  <a:lnTo>
                    <a:pt x="1436641" y="1013544"/>
                  </a:lnTo>
                  <a:lnTo>
                    <a:pt x="1436702" y="1010731"/>
                  </a:lnTo>
                  <a:lnTo>
                    <a:pt x="1437548" y="1003016"/>
                  </a:lnTo>
                  <a:lnTo>
                    <a:pt x="1438365" y="1000173"/>
                  </a:lnTo>
                  <a:lnTo>
                    <a:pt x="1439484" y="997480"/>
                  </a:lnTo>
                  <a:lnTo>
                    <a:pt x="1440815" y="995756"/>
                  </a:lnTo>
                  <a:lnTo>
                    <a:pt x="1441723" y="995424"/>
                  </a:lnTo>
                  <a:lnTo>
                    <a:pt x="1443992" y="995302"/>
                  </a:lnTo>
                  <a:lnTo>
                    <a:pt x="1444839" y="994849"/>
                  </a:lnTo>
                  <a:lnTo>
                    <a:pt x="1445504" y="993729"/>
                  </a:lnTo>
                  <a:lnTo>
                    <a:pt x="1445232" y="993155"/>
                  </a:lnTo>
                  <a:lnTo>
                    <a:pt x="1444597" y="992610"/>
                  </a:lnTo>
                  <a:lnTo>
                    <a:pt x="1444234" y="991672"/>
                  </a:lnTo>
                  <a:lnTo>
                    <a:pt x="1444718" y="989071"/>
                  </a:lnTo>
                  <a:lnTo>
                    <a:pt x="1446049" y="987679"/>
                  </a:lnTo>
                  <a:lnTo>
                    <a:pt x="1447985" y="987286"/>
                  </a:lnTo>
                  <a:lnTo>
                    <a:pt x="1450344" y="987618"/>
                  </a:lnTo>
                  <a:lnTo>
                    <a:pt x="1453340" y="989101"/>
                  </a:lnTo>
                  <a:lnTo>
                    <a:pt x="1454459" y="989403"/>
                  </a:lnTo>
                  <a:lnTo>
                    <a:pt x="1455669" y="989343"/>
                  </a:lnTo>
                  <a:lnTo>
                    <a:pt x="1458936" y="988526"/>
                  </a:lnTo>
                  <a:lnTo>
                    <a:pt x="1459692" y="987134"/>
                  </a:lnTo>
                  <a:lnTo>
                    <a:pt x="1458997" y="984049"/>
                  </a:lnTo>
                  <a:lnTo>
                    <a:pt x="1457211" y="979572"/>
                  </a:lnTo>
                  <a:lnTo>
                    <a:pt x="1455729" y="977938"/>
                  </a:lnTo>
                  <a:lnTo>
                    <a:pt x="1454186" y="977152"/>
                  </a:lnTo>
                  <a:lnTo>
                    <a:pt x="1452523" y="977424"/>
                  </a:lnTo>
                  <a:lnTo>
                    <a:pt x="1450708" y="979118"/>
                  </a:lnTo>
                  <a:lnTo>
                    <a:pt x="1449135" y="979572"/>
                  </a:lnTo>
                  <a:lnTo>
                    <a:pt x="1447410" y="978150"/>
                  </a:lnTo>
                  <a:lnTo>
                    <a:pt x="1444869" y="975094"/>
                  </a:lnTo>
                  <a:lnTo>
                    <a:pt x="1442872" y="974731"/>
                  </a:lnTo>
                  <a:lnTo>
                    <a:pt x="1436943" y="975972"/>
                  </a:lnTo>
                  <a:lnTo>
                    <a:pt x="1434916" y="975518"/>
                  </a:lnTo>
                  <a:lnTo>
                    <a:pt x="1431710" y="973552"/>
                  </a:lnTo>
                  <a:lnTo>
                    <a:pt x="1429804" y="973189"/>
                  </a:lnTo>
                  <a:lnTo>
                    <a:pt x="1428715" y="973582"/>
                  </a:lnTo>
                  <a:lnTo>
                    <a:pt x="1427837" y="974338"/>
                  </a:lnTo>
                  <a:lnTo>
                    <a:pt x="1426870" y="975004"/>
                  </a:lnTo>
                  <a:lnTo>
                    <a:pt x="1425599" y="975064"/>
                  </a:lnTo>
                  <a:lnTo>
                    <a:pt x="1426476" y="972705"/>
                  </a:lnTo>
                  <a:lnTo>
                    <a:pt x="1425720" y="971071"/>
                  </a:lnTo>
                  <a:lnTo>
                    <a:pt x="1424117" y="970647"/>
                  </a:lnTo>
                  <a:lnTo>
                    <a:pt x="1422483" y="971888"/>
                  </a:lnTo>
                  <a:lnTo>
                    <a:pt x="1420940" y="972644"/>
                  </a:lnTo>
                  <a:lnTo>
                    <a:pt x="1409354" y="972553"/>
                  </a:lnTo>
                  <a:lnTo>
                    <a:pt x="1407387" y="973219"/>
                  </a:lnTo>
                  <a:lnTo>
                    <a:pt x="1405209" y="975215"/>
                  </a:lnTo>
                  <a:lnTo>
                    <a:pt x="1402457" y="976789"/>
                  </a:lnTo>
                  <a:lnTo>
                    <a:pt x="1402093" y="977363"/>
                  </a:lnTo>
                  <a:lnTo>
                    <a:pt x="1400732" y="981357"/>
                  </a:lnTo>
                  <a:lnTo>
                    <a:pt x="1397768" y="984926"/>
                  </a:lnTo>
                  <a:lnTo>
                    <a:pt x="1394107" y="985652"/>
                  </a:lnTo>
                  <a:lnTo>
                    <a:pt x="1390144" y="984412"/>
                  </a:lnTo>
                  <a:lnTo>
                    <a:pt x="1382551" y="980207"/>
                  </a:lnTo>
                  <a:lnTo>
                    <a:pt x="1380827" y="978906"/>
                  </a:lnTo>
                  <a:lnTo>
                    <a:pt x="1380131" y="977303"/>
                  </a:lnTo>
                  <a:lnTo>
                    <a:pt x="1380676" y="974943"/>
                  </a:lnTo>
                  <a:lnTo>
                    <a:pt x="1381462" y="972916"/>
                  </a:lnTo>
                  <a:lnTo>
                    <a:pt x="1381220" y="971615"/>
                  </a:lnTo>
                  <a:lnTo>
                    <a:pt x="1378770" y="971434"/>
                  </a:lnTo>
                  <a:lnTo>
                    <a:pt x="1377136" y="972342"/>
                  </a:lnTo>
                  <a:lnTo>
                    <a:pt x="1375805" y="974308"/>
                  </a:lnTo>
                  <a:lnTo>
                    <a:pt x="1374897" y="976758"/>
                  </a:lnTo>
                  <a:lnTo>
                    <a:pt x="1374595" y="979148"/>
                  </a:lnTo>
                  <a:lnTo>
                    <a:pt x="1374262" y="979783"/>
                  </a:lnTo>
                  <a:lnTo>
                    <a:pt x="1372689" y="981780"/>
                  </a:lnTo>
                  <a:lnTo>
                    <a:pt x="1372145" y="982203"/>
                  </a:lnTo>
                  <a:lnTo>
                    <a:pt x="1370693" y="982536"/>
                  </a:lnTo>
                  <a:lnTo>
                    <a:pt x="1370269" y="983414"/>
                  </a:lnTo>
                  <a:lnTo>
                    <a:pt x="1370148" y="984593"/>
                  </a:lnTo>
                  <a:lnTo>
                    <a:pt x="1369724" y="985864"/>
                  </a:lnTo>
                  <a:lnTo>
                    <a:pt x="1366972" y="988556"/>
                  </a:lnTo>
                  <a:lnTo>
                    <a:pt x="1364854" y="989887"/>
                  </a:lnTo>
                  <a:lnTo>
                    <a:pt x="1347036" y="994455"/>
                  </a:lnTo>
                  <a:lnTo>
                    <a:pt x="1343315" y="994153"/>
                  </a:lnTo>
                  <a:lnTo>
                    <a:pt x="1328371" y="984503"/>
                  </a:lnTo>
                  <a:lnTo>
                    <a:pt x="1299420" y="945145"/>
                  </a:lnTo>
                  <a:lnTo>
                    <a:pt x="1290738" y="929354"/>
                  </a:lnTo>
                  <a:lnTo>
                    <a:pt x="1285384" y="916225"/>
                  </a:lnTo>
                  <a:lnTo>
                    <a:pt x="1284385" y="914591"/>
                  </a:lnTo>
                  <a:lnTo>
                    <a:pt x="1283205" y="913018"/>
                  </a:lnTo>
                  <a:lnTo>
                    <a:pt x="1282298" y="911264"/>
                  </a:lnTo>
                  <a:lnTo>
                    <a:pt x="1278698" y="895140"/>
                  </a:lnTo>
                  <a:lnTo>
                    <a:pt x="1277730" y="893052"/>
                  </a:lnTo>
                  <a:lnTo>
                    <a:pt x="1277246" y="891116"/>
                  </a:lnTo>
                  <a:lnTo>
                    <a:pt x="1276732" y="882586"/>
                  </a:lnTo>
                  <a:lnTo>
                    <a:pt x="1276127" y="880408"/>
                  </a:lnTo>
                  <a:lnTo>
                    <a:pt x="1275915" y="879348"/>
                  </a:lnTo>
                  <a:lnTo>
                    <a:pt x="1276006" y="877957"/>
                  </a:lnTo>
                  <a:lnTo>
                    <a:pt x="1276550" y="876687"/>
                  </a:lnTo>
                  <a:lnTo>
                    <a:pt x="1278305" y="874418"/>
                  </a:lnTo>
                  <a:lnTo>
                    <a:pt x="1278698" y="873813"/>
                  </a:lnTo>
                  <a:lnTo>
                    <a:pt x="1283054" y="871937"/>
                  </a:lnTo>
                  <a:lnTo>
                    <a:pt x="1283387" y="870636"/>
                  </a:lnTo>
                  <a:lnTo>
                    <a:pt x="1283478" y="869124"/>
                  </a:lnTo>
                  <a:lnTo>
                    <a:pt x="1284173" y="867914"/>
                  </a:lnTo>
                  <a:lnTo>
                    <a:pt x="1285323" y="867399"/>
                  </a:lnTo>
                  <a:lnTo>
                    <a:pt x="1285565" y="867944"/>
                  </a:lnTo>
                  <a:lnTo>
                    <a:pt x="1285656" y="868912"/>
                  </a:lnTo>
                  <a:lnTo>
                    <a:pt x="1286261" y="869729"/>
                  </a:lnTo>
                  <a:lnTo>
                    <a:pt x="1287501" y="870122"/>
                  </a:lnTo>
                  <a:lnTo>
                    <a:pt x="1288470" y="870122"/>
                  </a:lnTo>
                  <a:lnTo>
                    <a:pt x="1297998" y="867883"/>
                  </a:lnTo>
                  <a:lnTo>
                    <a:pt x="1302445" y="865312"/>
                  </a:lnTo>
                  <a:lnTo>
                    <a:pt x="1305470" y="862105"/>
                  </a:lnTo>
                  <a:lnTo>
                    <a:pt x="1305804" y="861742"/>
                  </a:lnTo>
                  <a:lnTo>
                    <a:pt x="1311763" y="853272"/>
                  </a:lnTo>
                  <a:lnTo>
                    <a:pt x="1315151" y="850035"/>
                  </a:lnTo>
                  <a:lnTo>
                    <a:pt x="1315968" y="848553"/>
                  </a:lnTo>
                  <a:lnTo>
                    <a:pt x="1316392" y="846495"/>
                  </a:lnTo>
                  <a:lnTo>
                    <a:pt x="1316089" y="845376"/>
                  </a:lnTo>
                  <a:lnTo>
                    <a:pt x="1315514" y="844378"/>
                  </a:lnTo>
                  <a:lnTo>
                    <a:pt x="1315211" y="842654"/>
                  </a:lnTo>
                  <a:lnTo>
                    <a:pt x="1314213" y="840687"/>
                  </a:lnTo>
                  <a:lnTo>
                    <a:pt x="1312398" y="838237"/>
                  </a:lnTo>
                  <a:lnTo>
                    <a:pt x="1311672" y="835575"/>
                  </a:lnTo>
                  <a:lnTo>
                    <a:pt x="1313850" y="833003"/>
                  </a:lnTo>
                  <a:lnTo>
                    <a:pt x="1314183" y="835424"/>
                  </a:lnTo>
                  <a:lnTo>
                    <a:pt x="1315211" y="837844"/>
                  </a:lnTo>
                  <a:lnTo>
                    <a:pt x="1316512" y="839659"/>
                  </a:lnTo>
                  <a:lnTo>
                    <a:pt x="1318085" y="840627"/>
                  </a:lnTo>
                  <a:lnTo>
                    <a:pt x="1319386" y="841776"/>
                  </a:lnTo>
                  <a:lnTo>
                    <a:pt x="1320112" y="842230"/>
                  </a:lnTo>
                  <a:lnTo>
                    <a:pt x="1321171" y="842502"/>
                  </a:lnTo>
                  <a:lnTo>
                    <a:pt x="1322804" y="842624"/>
                  </a:lnTo>
                  <a:lnTo>
                    <a:pt x="1323561" y="843077"/>
                  </a:lnTo>
                  <a:lnTo>
                    <a:pt x="1321564" y="848099"/>
                  </a:lnTo>
                  <a:lnTo>
                    <a:pt x="1320960" y="851638"/>
                  </a:lnTo>
                  <a:lnTo>
                    <a:pt x="1321867" y="854633"/>
                  </a:lnTo>
                  <a:lnTo>
                    <a:pt x="1324317" y="856600"/>
                  </a:lnTo>
                  <a:lnTo>
                    <a:pt x="1326313" y="856418"/>
                  </a:lnTo>
                  <a:lnTo>
                    <a:pt x="1328068" y="855057"/>
                  </a:lnTo>
                  <a:lnTo>
                    <a:pt x="1329793" y="853302"/>
                  </a:lnTo>
                  <a:lnTo>
                    <a:pt x="1329399" y="856690"/>
                  </a:lnTo>
                  <a:lnTo>
                    <a:pt x="1327977" y="858899"/>
                  </a:lnTo>
                  <a:lnTo>
                    <a:pt x="1324317" y="862347"/>
                  </a:lnTo>
                  <a:lnTo>
                    <a:pt x="1321383" y="867157"/>
                  </a:lnTo>
                  <a:lnTo>
                    <a:pt x="1320324" y="869426"/>
                  </a:lnTo>
                  <a:lnTo>
                    <a:pt x="1317904" y="871907"/>
                  </a:lnTo>
                  <a:lnTo>
                    <a:pt x="1315151" y="877080"/>
                  </a:lnTo>
                  <a:lnTo>
                    <a:pt x="1309948" y="879591"/>
                  </a:lnTo>
                  <a:lnTo>
                    <a:pt x="1299450" y="882555"/>
                  </a:lnTo>
                  <a:lnTo>
                    <a:pt x="1299934" y="883856"/>
                  </a:lnTo>
                  <a:lnTo>
                    <a:pt x="1300207" y="884370"/>
                  </a:lnTo>
                  <a:lnTo>
                    <a:pt x="1296698" y="886428"/>
                  </a:lnTo>
                  <a:lnTo>
                    <a:pt x="1293491" y="889785"/>
                  </a:lnTo>
                  <a:lnTo>
                    <a:pt x="1293158" y="891056"/>
                  </a:lnTo>
                  <a:lnTo>
                    <a:pt x="1294943" y="891631"/>
                  </a:lnTo>
                  <a:lnTo>
                    <a:pt x="1298846" y="889967"/>
                  </a:lnTo>
                  <a:lnTo>
                    <a:pt x="1301236" y="888303"/>
                  </a:lnTo>
                  <a:lnTo>
                    <a:pt x="1304684" y="887547"/>
                  </a:lnTo>
                  <a:lnTo>
                    <a:pt x="1307165" y="885641"/>
                  </a:lnTo>
                  <a:lnTo>
                    <a:pt x="1311248" y="884340"/>
                  </a:lnTo>
                  <a:lnTo>
                    <a:pt x="1313547" y="882041"/>
                  </a:lnTo>
                  <a:lnTo>
                    <a:pt x="1316028" y="878804"/>
                  </a:lnTo>
                  <a:lnTo>
                    <a:pt x="1321474" y="869154"/>
                  </a:lnTo>
                  <a:lnTo>
                    <a:pt x="1323107" y="867430"/>
                  </a:lnTo>
                  <a:lnTo>
                    <a:pt x="1323591" y="866885"/>
                  </a:lnTo>
                  <a:lnTo>
                    <a:pt x="1333211" y="852274"/>
                  </a:lnTo>
                  <a:lnTo>
                    <a:pt x="1334723" y="850912"/>
                  </a:lnTo>
                  <a:lnTo>
                    <a:pt x="1338233" y="848644"/>
                  </a:lnTo>
                  <a:lnTo>
                    <a:pt x="1339776" y="847252"/>
                  </a:lnTo>
                  <a:lnTo>
                    <a:pt x="1342801" y="843259"/>
                  </a:lnTo>
                  <a:lnTo>
                    <a:pt x="1344374" y="841625"/>
                  </a:lnTo>
                  <a:lnTo>
                    <a:pt x="1346280" y="840385"/>
                  </a:lnTo>
                  <a:lnTo>
                    <a:pt x="1358168" y="834849"/>
                  </a:lnTo>
                  <a:lnTo>
                    <a:pt x="1361466" y="832066"/>
                  </a:lnTo>
                  <a:lnTo>
                    <a:pt x="1369573" y="823323"/>
                  </a:lnTo>
                  <a:lnTo>
                    <a:pt x="1372538" y="821054"/>
                  </a:lnTo>
                  <a:lnTo>
                    <a:pt x="1378165" y="818089"/>
                  </a:lnTo>
                  <a:lnTo>
                    <a:pt x="1385637" y="814157"/>
                  </a:lnTo>
                  <a:lnTo>
                    <a:pt x="1388057" y="814217"/>
                  </a:lnTo>
                  <a:lnTo>
                    <a:pt x="1401791" y="811827"/>
                  </a:lnTo>
                  <a:lnTo>
                    <a:pt x="1409082" y="812826"/>
                  </a:lnTo>
                  <a:lnTo>
                    <a:pt x="1412833" y="812039"/>
                  </a:lnTo>
                  <a:lnTo>
                    <a:pt x="1414618" y="811979"/>
                  </a:lnTo>
                  <a:lnTo>
                    <a:pt x="1416675" y="812826"/>
                  </a:lnTo>
                  <a:lnTo>
                    <a:pt x="1417371" y="813370"/>
                  </a:lnTo>
                  <a:lnTo>
                    <a:pt x="1417885" y="814005"/>
                  </a:lnTo>
                  <a:lnTo>
                    <a:pt x="1418762" y="815609"/>
                  </a:lnTo>
                  <a:lnTo>
                    <a:pt x="1419004" y="815791"/>
                  </a:lnTo>
                  <a:lnTo>
                    <a:pt x="1420153" y="816517"/>
                  </a:lnTo>
                  <a:lnTo>
                    <a:pt x="1420153" y="817182"/>
                  </a:lnTo>
                  <a:lnTo>
                    <a:pt x="1420063" y="818059"/>
                  </a:lnTo>
                  <a:lnTo>
                    <a:pt x="1419821" y="818634"/>
                  </a:lnTo>
                  <a:lnTo>
                    <a:pt x="1420305" y="819844"/>
                  </a:lnTo>
                  <a:lnTo>
                    <a:pt x="1420396" y="819602"/>
                  </a:lnTo>
                  <a:lnTo>
                    <a:pt x="1420517" y="818755"/>
                  </a:lnTo>
                  <a:lnTo>
                    <a:pt x="1421515" y="818392"/>
                  </a:lnTo>
                  <a:lnTo>
                    <a:pt x="1422483" y="817878"/>
                  </a:lnTo>
                  <a:lnTo>
                    <a:pt x="1422846" y="818332"/>
                  </a:lnTo>
                  <a:lnTo>
                    <a:pt x="1422846" y="820328"/>
                  </a:lnTo>
                  <a:lnTo>
                    <a:pt x="1423572" y="820328"/>
                  </a:lnTo>
                  <a:lnTo>
                    <a:pt x="1424177" y="816426"/>
                  </a:lnTo>
                  <a:lnTo>
                    <a:pt x="1426114" y="813370"/>
                  </a:lnTo>
                  <a:lnTo>
                    <a:pt x="1432920" y="806745"/>
                  </a:lnTo>
                  <a:lnTo>
                    <a:pt x="1435854" y="804658"/>
                  </a:lnTo>
                  <a:lnTo>
                    <a:pt x="1439091" y="803206"/>
                  </a:lnTo>
                  <a:lnTo>
                    <a:pt x="1444143" y="802268"/>
                  </a:lnTo>
                  <a:lnTo>
                    <a:pt x="1448318" y="799969"/>
                  </a:lnTo>
                  <a:lnTo>
                    <a:pt x="1454943" y="799969"/>
                  </a:lnTo>
                  <a:lnTo>
                    <a:pt x="1455729" y="799515"/>
                  </a:lnTo>
                  <a:lnTo>
                    <a:pt x="1456546" y="798547"/>
                  </a:lnTo>
                  <a:lnTo>
                    <a:pt x="1457666" y="797549"/>
                  </a:lnTo>
                  <a:lnTo>
                    <a:pt x="1459390" y="797095"/>
                  </a:lnTo>
                  <a:lnTo>
                    <a:pt x="1462173" y="797942"/>
                  </a:lnTo>
                  <a:lnTo>
                    <a:pt x="1463957" y="798033"/>
                  </a:lnTo>
                  <a:lnTo>
                    <a:pt x="1465652" y="797095"/>
                  </a:lnTo>
                  <a:lnTo>
                    <a:pt x="1467073" y="798063"/>
                  </a:lnTo>
                  <a:lnTo>
                    <a:pt x="1470371" y="799152"/>
                  </a:lnTo>
                  <a:lnTo>
                    <a:pt x="1471914" y="799938"/>
                  </a:lnTo>
                  <a:lnTo>
                    <a:pt x="1475574" y="803932"/>
                  </a:lnTo>
                  <a:lnTo>
                    <a:pt x="1476391" y="804537"/>
                  </a:lnTo>
                  <a:lnTo>
                    <a:pt x="1476391" y="806927"/>
                  </a:lnTo>
                  <a:lnTo>
                    <a:pt x="1475151" y="811737"/>
                  </a:lnTo>
                  <a:lnTo>
                    <a:pt x="1473275" y="815488"/>
                  </a:lnTo>
                  <a:lnTo>
                    <a:pt x="1471218" y="814671"/>
                  </a:lnTo>
                  <a:lnTo>
                    <a:pt x="1470492" y="814671"/>
                  </a:lnTo>
                  <a:lnTo>
                    <a:pt x="1470492" y="815669"/>
                  </a:lnTo>
                  <a:lnTo>
                    <a:pt x="1473063" y="816305"/>
                  </a:lnTo>
                  <a:lnTo>
                    <a:pt x="1475514" y="814127"/>
                  </a:lnTo>
                  <a:lnTo>
                    <a:pt x="1477390" y="810497"/>
                  </a:lnTo>
                  <a:lnTo>
                    <a:pt x="1478116" y="806836"/>
                  </a:lnTo>
                  <a:lnTo>
                    <a:pt x="1479113" y="803569"/>
                  </a:lnTo>
                  <a:lnTo>
                    <a:pt x="1481080" y="800513"/>
                  </a:lnTo>
                  <a:lnTo>
                    <a:pt x="1482411" y="797488"/>
                  </a:lnTo>
                  <a:lnTo>
                    <a:pt x="1481534" y="794312"/>
                  </a:lnTo>
                  <a:lnTo>
                    <a:pt x="1484801" y="793828"/>
                  </a:lnTo>
                  <a:lnTo>
                    <a:pt x="1490095" y="789048"/>
                  </a:lnTo>
                  <a:lnTo>
                    <a:pt x="1493634" y="787868"/>
                  </a:lnTo>
                  <a:lnTo>
                    <a:pt x="1494754" y="787294"/>
                  </a:lnTo>
                  <a:lnTo>
                    <a:pt x="1498051" y="784783"/>
                  </a:lnTo>
                  <a:lnTo>
                    <a:pt x="1499170" y="784208"/>
                  </a:lnTo>
                  <a:lnTo>
                    <a:pt x="1500956" y="783905"/>
                  </a:lnTo>
                  <a:lnTo>
                    <a:pt x="1512602" y="779670"/>
                  </a:lnTo>
                  <a:lnTo>
                    <a:pt x="1517231" y="776343"/>
                  </a:lnTo>
                  <a:lnTo>
                    <a:pt x="1519137" y="775889"/>
                  </a:lnTo>
                  <a:lnTo>
                    <a:pt x="1522525" y="776464"/>
                  </a:lnTo>
                  <a:lnTo>
                    <a:pt x="1526003" y="778158"/>
                  </a:lnTo>
                  <a:lnTo>
                    <a:pt x="1528212" y="780789"/>
                  </a:lnTo>
                  <a:lnTo>
                    <a:pt x="1527758" y="784208"/>
                  </a:lnTo>
                  <a:lnTo>
                    <a:pt x="1529997" y="783270"/>
                  </a:lnTo>
                  <a:lnTo>
                    <a:pt x="1531661" y="781062"/>
                  </a:lnTo>
                  <a:lnTo>
                    <a:pt x="1534292" y="776312"/>
                  </a:lnTo>
                  <a:lnTo>
                    <a:pt x="1544850" y="762488"/>
                  </a:lnTo>
                  <a:lnTo>
                    <a:pt x="1551263" y="756316"/>
                  </a:lnTo>
                  <a:lnTo>
                    <a:pt x="1554712" y="755136"/>
                  </a:lnTo>
                  <a:lnTo>
                    <a:pt x="1567750" y="757345"/>
                  </a:lnTo>
                  <a:lnTo>
                    <a:pt x="1572077" y="757194"/>
                  </a:lnTo>
                  <a:lnTo>
                    <a:pt x="1582937" y="753654"/>
                  </a:lnTo>
                  <a:lnTo>
                    <a:pt x="1591921" y="755045"/>
                  </a:lnTo>
                  <a:lnTo>
                    <a:pt x="1593071" y="754410"/>
                  </a:lnTo>
                  <a:lnTo>
                    <a:pt x="1595642" y="754955"/>
                  </a:lnTo>
                  <a:lnTo>
                    <a:pt x="1599514" y="756346"/>
                  </a:lnTo>
                  <a:lnTo>
                    <a:pt x="1600422" y="755983"/>
                  </a:lnTo>
                  <a:lnTo>
                    <a:pt x="1603024" y="754531"/>
                  </a:lnTo>
                  <a:lnTo>
                    <a:pt x="1603568" y="754108"/>
                  </a:lnTo>
                  <a:lnTo>
                    <a:pt x="1604082" y="753866"/>
                  </a:lnTo>
                  <a:lnTo>
                    <a:pt x="1607380" y="756346"/>
                  </a:lnTo>
                  <a:lnTo>
                    <a:pt x="1609951" y="757314"/>
                  </a:lnTo>
                  <a:lnTo>
                    <a:pt x="1609951" y="759492"/>
                  </a:lnTo>
                  <a:lnTo>
                    <a:pt x="1607743" y="763849"/>
                  </a:lnTo>
                  <a:lnTo>
                    <a:pt x="1611192" y="762336"/>
                  </a:lnTo>
                  <a:lnTo>
                    <a:pt x="1616637" y="755288"/>
                  </a:lnTo>
                  <a:lnTo>
                    <a:pt x="1618664" y="753442"/>
                  </a:lnTo>
                  <a:lnTo>
                    <a:pt x="1618664" y="753442"/>
                  </a:lnTo>
                  <a:lnTo>
                    <a:pt x="1617121" y="749691"/>
                  </a:lnTo>
                  <a:lnTo>
                    <a:pt x="1616667" y="745395"/>
                  </a:lnTo>
                  <a:lnTo>
                    <a:pt x="1617333" y="741341"/>
                  </a:lnTo>
                  <a:lnTo>
                    <a:pt x="1619238" y="738226"/>
                  </a:lnTo>
                  <a:lnTo>
                    <a:pt x="1621144" y="737046"/>
                  </a:lnTo>
                  <a:lnTo>
                    <a:pt x="1623413" y="736018"/>
                  </a:lnTo>
                  <a:lnTo>
                    <a:pt x="1625501" y="734717"/>
                  </a:lnTo>
                  <a:lnTo>
                    <a:pt x="1626831" y="732690"/>
                  </a:lnTo>
                  <a:lnTo>
                    <a:pt x="1627134" y="729967"/>
                  </a:lnTo>
                  <a:lnTo>
                    <a:pt x="1626227" y="728455"/>
                  </a:lnTo>
                  <a:lnTo>
                    <a:pt x="1624623" y="727789"/>
                  </a:lnTo>
                  <a:lnTo>
                    <a:pt x="1622808" y="727668"/>
                  </a:lnTo>
                  <a:lnTo>
                    <a:pt x="1619057" y="728212"/>
                  </a:lnTo>
                  <a:lnTo>
                    <a:pt x="1617121" y="727971"/>
                  </a:lnTo>
                  <a:lnTo>
                    <a:pt x="1615881" y="726549"/>
                  </a:lnTo>
                  <a:lnTo>
                    <a:pt x="1616062" y="724370"/>
                  </a:lnTo>
                  <a:lnTo>
                    <a:pt x="1617363" y="721951"/>
                  </a:lnTo>
                  <a:lnTo>
                    <a:pt x="1620388" y="718169"/>
                  </a:lnTo>
                  <a:lnTo>
                    <a:pt x="1622868" y="713964"/>
                  </a:lnTo>
                  <a:lnTo>
                    <a:pt x="1623444" y="710062"/>
                  </a:lnTo>
                  <a:lnTo>
                    <a:pt x="1623111" y="700351"/>
                  </a:lnTo>
                  <a:lnTo>
                    <a:pt x="1624502" y="695571"/>
                  </a:lnTo>
                  <a:lnTo>
                    <a:pt x="1626408" y="690791"/>
                  </a:lnTo>
                  <a:lnTo>
                    <a:pt x="1628979" y="686889"/>
                  </a:lnTo>
                  <a:lnTo>
                    <a:pt x="1632398" y="684711"/>
                  </a:lnTo>
                  <a:lnTo>
                    <a:pt x="1653453" y="682049"/>
                  </a:lnTo>
                  <a:lnTo>
                    <a:pt x="1655994" y="680990"/>
                  </a:lnTo>
                  <a:lnTo>
                    <a:pt x="1657869" y="679508"/>
                  </a:lnTo>
                  <a:lnTo>
                    <a:pt x="1661590" y="675605"/>
                  </a:lnTo>
                  <a:lnTo>
                    <a:pt x="1663466" y="674244"/>
                  </a:lnTo>
                  <a:lnTo>
                    <a:pt x="1665039" y="673972"/>
                  </a:lnTo>
                  <a:lnTo>
                    <a:pt x="1668579" y="675272"/>
                  </a:lnTo>
                  <a:lnTo>
                    <a:pt x="1670726" y="675061"/>
                  </a:lnTo>
                  <a:lnTo>
                    <a:pt x="1671816" y="672882"/>
                  </a:lnTo>
                  <a:lnTo>
                    <a:pt x="1672632" y="667105"/>
                  </a:lnTo>
                  <a:lnTo>
                    <a:pt x="1674417" y="660812"/>
                  </a:lnTo>
                  <a:lnTo>
                    <a:pt x="1676958" y="655428"/>
                  </a:lnTo>
                  <a:lnTo>
                    <a:pt x="1680467" y="651555"/>
                  </a:lnTo>
                  <a:lnTo>
                    <a:pt x="1685096" y="649771"/>
                  </a:lnTo>
                  <a:lnTo>
                    <a:pt x="1701099" y="650376"/>
                  </a:lnTo>
                  <a:lnTo>
                    <a:pt x="1701402" y="650376"/>
                  </a:lnTo>
                  <a:lnTo>
                    <a:pt x="1706816" y="653794"/>
                  </a:lnTo>
                  <a:lnTo>
                    <a:pt x="1708904" y="654278"/>
                  </a:lnTo>
                  <a:lnTo>
                    <a:pt x="1710900" y="654127"/>
                  </a:lnTo>
                  <a:lnTo>
                    <a:pt x="1714954" y="653098"/>
                  </a:lnTo>
                  <a:lnTo>
                    <a:pt x="1729656" y="651858"/>
                  </a:lnTo>
                  <a:lnTo>
                    <a:pt x="1731683" y="652191"/>
                  </a:lnTo>
                  <a:lnTo>
                    <a:pt x="1735071" y="654278"/>
                  </a:lnTo>
                  <a:lnTo>
                    <a:pt x="1736886" y="655065"/>
                  </a:lnTo>
                  <a:lnTo>
                    <a:pt x="1739125" y="654974"/>
                  </a:lnTo>
                  <a:lnTo>
                    <a:pt x="1743451" y="653855"/>
                  </a:lnTo>
                  <a:lnTo>
                    <a:pt x="1745750" y="654550"/>
                  </a:lnTo>
                  <a:lnTo>
                    <a:pt x="1748715" y="655034"/>
                  </a:lnTo>
                  <a:lnTo>
                    <a:pt x="1754825" y="653885"/>
                  </a:lnTo>
                  <a:lnTo>
                    <a:pt x="1757911" y="654096"/>
                  </a:lnTo>
                  <a:lnTo>
                    <a:pt x="1767984" y="656577"/>
                  </a:lnTo>
                  <a:lnTo>
                    <a:pt x="1771312" y="655942"/>
                  </a:lnTo>
                  <a:lnTo>
                    <a:pt x="1773823" y="653612"/>
                  </a:lnTo>
                  <a:lnTo>
                    <a:pt x="1775518" y="650164"/>
                  </a:lnTo>
                  <a:lnTo>
                    <a:pt x="1776244" y="646231"/>
                  </a:lnTo>
                  <a:lnTo>
                    <a:pt x="1776153" y="645354"/>
                  </a:lnTo>
                  <a:lnTo>
                    <a:pt x="1775699" y="643478"/>
                  </a:lnTo>
                  <a:lnTo>
                    <a:pt x="1775638" y="642480"/>
                  </a:lnTo>
                  <a:lnTo>
                    <a:pt x="1775911" y="641270"/>
                  </a:lnTo>
                  <a:lnTo>
                    <a:pt x="1777000" y="639183"/>
                  </a:lnTo>
                  <a:lnTo>
                    <a:pt x="1777332" y="638093"/>
                  </a:lnTo>
                  <a:lnTo>
                    <a:pt x="1777575" y="635915"/>
                  </a:lnTo>
                  <a:lnTo>
                    <a:pt x="1777393" y="634554"/>
                  </a:lnTo>
                  <a:lnTo>
                    <a:pt x="1775971" y="631529"/>
                  </a:lnTo>
                  <a:lnTo>
                    <a:pt x="1774942" y="630016"/>
                  </a:lnTo>
                  <a:lnTo>
                    <a:pt x="1774125" y="629230"/>
                  </a:lnTo>
                  <a:lnTo>
                    <a:pt x="1773914" y="628534"/>
                  </a:lnTo>
                  <a:lnTo>
                    <a:pt x="1774731" y="627263"/>
                  </a:lnTo>
                  <a:lnTo>
                    <a:pt x="1775820" y="626568"/>
                  </a:lnTo>
                  <a:lnTo>
                    <a:pt x="1781326" y="625600"/>
                  </a:lnTo>
                  <a:lnTo>
                    <a:pt x="1781991" y="625781"/>
                  </a:lnTo>
                  <a:lnTo>
                    <a:pt x="1782264" y="625570"/>
                  </a:lnTo>
                  <a:lnTo>
                    <a:pt x="1782414" y="624299"/>
                  </a:lnTo>
                  <a:lnTo>
                    <a:pt x="1780871" y="620003"/>
                  </a:lnTo>
                  <a:lnTo>
                    <a:pt x="1781083" y="616797"/>
                  </a:lnTo>
                  <a:lnTo>
                    <a:pt x="1782294" y="614044"/>
                  </a:lnTo>
                  <a:lnTo>
                    <a:pt x="1787376" y="605301"/>
                  </a:lnTo>
                  <a:lnTo>
                    <a:pt x="1789281" y="603274"/>
                  </a:lnTo>
                  <a:lnTo>
                    <a:pt x="1794122" y="599886"/>
                  </a:lnTo>
                  <a:lnTo>
                    <a:pt x="1795846" y="598040"/>
                  </a:lnTo>
                  <a:lnTo>
                    <a:pt x="1797147" y="595499"/>
                  </a:lnTo>
                  <a:lnTo>
                    <a:pt x="1797389" y="592807"/>
                  </a:lnTo>
                  <a:lnTo>
                    <a:pt x="1795937" y="590478"/>
                  </a:lnTo>
                  <a:lnTo>
                    <a:pt x="1793789" y="590024"/>
                  </a:lnTo>
                  <a:lnTo>
                    <a:pt x="1788555" y="591779"/>
                  </a:lnTo>
                  <a:lnTo>
                    <a:pt x="1786499" y="592020"/>
                  </a:lnTo>
                  <a:lnTo>
                    <a:pt x="1779571" y="587967"/>
                  </a:lnTo>
                  <a:lnTo>
                    <a:pt x="1786438" y="582673"/>
                  </a:lnTo>
                  <a:lnTo>
                    <a:pt x="1788163" y="580616"/>
                  </a:lnTo>
                  <a:lnTo>
                    <a:pt x="1790431" y="578559"/>
                  </a:lnTo>
                  <a:lnTo>
                    <a:pt x="1789463" y="577349"/>
                  </a:lnTo>
                  <a:lnTo>
                    <a:pt x="1788677" y="575443"/>
                  </a:lnTo>
                  <a:lnTo>
                    <a:pt x="1787618" y="571873"/>
                  </a:lnTo>
                  <a:lnTo>
                    <a:pt x="1784472" y="565460"/>
                  </a:lnTo>
                  <a:lnTo>
                    <a:pt x="1783413" y="564704"/>
                  </a:lnTo>
                  <a:lnTo>
                    <a:pt x="1782445" y="563584"/>
                  </a:lnTo>
                  <a:lnTo>
                    <a:pt x="1782173" y="561406"/>
                  </a:lnTo>
                  <a:lnTo>
                    <a:pt x="1782626" y="561285"/>
                  </a:lnTo>
                  <a:lnTo>
                    <a:pt x="1783564" y="561345"/>
                  </a:lnTo>
                  <a:lnTo>
                    <a:pt x="1784502" y="561073"/>
                  </a:lnTo>
                  <a:lnTo>
                    <a:pt x="1784925" y="559893"/>
                  </a:lnTo>
                  <a:lnTo>
                    <a:pt x="1784804" y="559470"/>
                  </a:lnTo>
                  <a:lnTo>
                    <a:pt x="1784563" y="558895"/>
                  </a:lnTo>
                  <a:lnTo>
                    <a:pt x="1784321" y="558109"/>
                  </a:lnTo>
                  <a:lnTo>
                    <a:pt x="1784199" y="557080"/>
                  </a:lnTo>
                  <a:lnTo>
                    <a:pt x="1783443" y="553450"/>
                  </a:lnTo>
                  <a:lnTo>
                    <a:pt x="1781447" y="551030"/>
                  </a:lnTo>
                  <a:lnTo>
                    <a:pt x="1778815" y="549608"/>
                  </a:lnTo>
                  <a:lnTo>
                    <a:pt x="1766835" y="548216"/>
                  </a:lnTo>
                  <a:lnTo>
                    <a:pt x="1764839" y="548942"/>
                  </a:lnTo>
                  <a:lnTo>
                    <a:pt x="1760967" y="549154"/>
                  </a:lnTo>
                  <a:lnTo>
                    <a:pt x="1761964" y="545675"/>
                  </a:lnTo>
                  <a:lnTo>
                    <a:pt x="1768105" y="526799"/>
                  </a:lnTo>
                  <a:lnTo>
                    <a:pt x="1768953" y="525649"/>
                  </a:lnTo>
                  <a:lnTo>
                    <a:pt x="1771464" y="524711"/>
                  </a:lnTo>
                  <a:lnTo>
                    <a:pt x="1772281" y="523441"/>
                  </a:lnTo>
                  <a:lnTo>
                    <a:pt x="1772976" y="521868"/>
                  </a:lnTo>
                  <a:lnTo>
                    <a:pt x="1773793" y="520325"/>
                  </a:lnTo>
                  <a:lnTo>
                    <a:pt x="1775820" y="518237"/>
                  </a:lnTo>
                  <a:lnTo>
                    <a:pt x="1777998" y="517239"/>
                  </a:lnTo>
                  <a:lnTo>
                    <a:pt x="1780327" y="517148"/>
                  </a:lnTo>
                  <a:lnTo>
                    <a:pt x="1791459" y="521202"/>
                  </a:lnTo>
                  <a:lnTo>
                    <a:pt x="1795513" y="520779"/>
                  </a:lnTo>
                  <a:lnTo>
                    <a:pt x="1799960" y="517481"/>
                  </a:lnTo>
                  <a:lnTo>
                    <a:pt x="1801897" y="515122"/>
                  </a:lnTo>
                  <a:lnTo>
                    <a:pt x="1803319" y="512338"/>
                  </a:lnTo>
                  <a:lnTo>
                    <a:pt x="1803409" y="509616"/>
                  </a:lnTo>
                  <a:lnTo>
                    <a:pt x="1801443" y="507316"/>
                  </a:lnTo>
                  <a:lnTo>
                    <a:pt x="1798872" y="507014"/>
                  </a:lnTo>
                  <a:lnTo>
                    <a:pt x="1796965" y="508739"/>
                  </a:lnTo>
                  <a:lnTo>
                    <a:pt x="1795211" y="510886"/>
                  </a:lnTo>
                  <a:lnTo>
                    <a:pt x="1793002" y="511945"/>
                  </a:lnTo>
                  <a:lnTo>
                    <a:pt x="1791732" y="511461"/>
                  </a:lnTo>
                  <a:lnTo>
                    <a:pt x="1789826" y="509192"/>
                  </a:lnTo>
                  <a:lnTo>
                    <a:pt x="1788767" y="508345"/>
                  </a:lnTo>
                  <a:lnTo>
                    <a:pt x="1787588" y="508133"/>
                  </a:lnTo>
                  <a:lnTo>
                    <a:pt x="1784078" y="508617"/>
                  </a:lnTo>
                  <a:lnTo>
                    <a:pt x="1776092" y="506923"/>
                  </a:lnTo>
                  <a:lnTo>
                    <a:pt x="1773702" y="505955"/>
                  </a:lnTo>
                  <a:lnTo>
                    <a:pt x="1772552" y="504564"/>
                  </a:lnTo>
                  <a:lnTo>
                    <a:pt x="1771736" y="502658"/>
                  </a:lnTo>
                  <a:lnTo>
                    <a:pt x="1770374" y="500117"/>
                  </a:lnTo>
                  <a:lnTo>
                    <a:pt x="1768560" y="498453"/>
                  </a:lnTo>
                  <a:lnTo>
                    <a:pt x="1766532" y="497213"/>
                  </a:lnTo>
                  <a:lnTo>
                    <a:pt x="1765171" y="495458"/>
                  </a:lnTo>
                  <a:lnTo>
                    <a:pt x="1765897" y="488409"/>
                  </a:lnTo>
                  <a:lnTo>
                    <a:pt x="1767591" y="487260"/>
                  </a:lnTo>
                  <a:lnTo>
                    <a:pt x="1772704" y="487563"/>
                  </a:lnTo>
                  <a:lnTo>
                    <a:pt x="1781023" y="484870"/>
                  </a:lnTo>
                  <a:lnTo>
                    <a:pt x="1784078" y="484870"/>
                  </a:lnTo>
                  <a:lnTo>
                    <a:pt x="1787043" y="485354"/>
                  </a:lnTo>
                  <a:lnTo>
                    <a:pt x="1788646" y="485233"/>
                  </a:lnTo>
                  <a:lnTo>
                    <a:pt x="1789796" y="484507"/>
                  </a:lnTo>
                  <a:lnTo>
                    <a:pt x="1790280" y="483085"/>
                  </a:lnTo>
                  <a:lnTo>
                    <a:pt x="1790552" y="479062"/>
                  </a:lnTo>
                  <a:lnTo>
                    <a:pt x="1791036" y="477065"/>
                  </a:lnTo>
                  <a:lnTo>
                    <a:pt x="1793154" y="473677"/>
                  </a:lnTo>
                  <a:lnTo>
                    <a:pt x="1795937" y="471227"/>
                  </a:lnTo>
                  <a:lnTo>
                    <a:pt x="1801836" y="467445"/>
                  </a:lnTo>
                  <a:lnTo>
                    <a:pt x="1803772" y="465449"/>
                  </a:lnTo>
                  <a:lnTo>
                    <a:pt x="1807130" y="460578"/>
                  </a:lnTo>
                  <a:lnTo>
                    <a:pt x="1809066" y="459096"/>
                  </a:lnTo>
                  <a:lnTo>
                    <a:pt x="1811456" y="457886"/>
                  </a:lnTo>
                  <a:lnTo>
                    <a:pt x="1812243" y="456555"/>
                  </a:lnTo>
                  <a:lnTo>
                    <a:pt x="1812333" y="451442"/>
                  </a:lnTo>
                  <a:lnTo>
                    <a:pt x="1813785" y="446632"/>
                  </a:lnTo>
                  <a:lnTo>
                    <a:pt x="1814028" y="444121"/>
                  </a:lnTo>
                  <a:lnTo>
                    <a:pt x="1812878" y="441852"/>
                  </a:lnTo>
                  <a:close/>
                </a:path>
              </a:pathLst>
            </a:custGeom>
            <a:solidFill>
              <a:srgbClr val="96A3AC"/>
            </a:solidFill>
            <a:ln w="3175" cap="flat">
              <a:solidFill>
                <a:schemeClr val="bg1"/>
              </a:solidFill>
              <a:prstDash val="solid"/>
              <a:miter/>
            </a:ln>
          </p:spPr>
          <p:txBody>
            <a:bodyPr rtlCol="0" anchor="ctr"/>
            <a:lstStyle/>
            <a:p>
              <a:endParaRPr lang="en-ID"/>
            </a:p>
          </p:txBody>
        </p:sp>
        <p:sp>
          <p:nvSpPr>
            <p:cNvPr id="12" name="Freeform: Shape 11">
              <a:extLst>
                <a:ext uri="{FF2B5EF4-FFF2-40B4-BE49-F238E27FC236}">
                  <a16:creationId xmlns:a16="http://schemas.microsoft.com/office/drawing/2014/main" id="{365FB6F9-CDE6-7735-36C9-2BE9466054E0}"/>
                </a:ext>
              </a:extLst>
            </p:cNvPr>
            <p:cNvSpPr/>
            <p:nvPr/>
          </p:nvSpPr>
          <p:spPr>
            <a:xfrm>
              <a:off x="9888564" y="3780673"/>
              <a:ext cx="1410022" cy="865436"/>
            </a:xfrm>
            <a:custGeom>
              <a:avLst/>
              <a:gdLst>
                <a:gd name="connsiteX0" fmla="*/ 782847 w 1814027"/>
                <a:gd name="connsiteY0" fmla="*/ 942544 h 1113404"/>
                <a:gd name="connsiteX1" fmla="*/ 781123 w 1814027"/>
                <a:gd name="connsiteY1" fmla="*/ 943905 h 1113404"/>
                <a:gd name="connsiteX2" fmla="*/ 778218 w 1814027"/>
                <a:gd name="connsiteY2" fmla="*/ 946840 h 1113404"/>
                <a:gd name="connsiteX3" fmla="*/ 776615 w 1814027"/>
                <a:gd name="connsiteY3" fmla="*/ 948050 h 1113404"/>
                <a:gd name="connsiteX4" fmla="*/ 775223 w 1814027"/>
                <a:gd name="connsiteY4" fmla="*/ 948443 h 1113404"/>
                <a:gd name="connsiteX5" fmla="*/ 773680 w 1814027"/>
                <a:gd name="connsiteY5" fmla="*/ 948655 h 1113404"/>
                <a:gd name="connsiteX6" fmla="*/ 772380 w 1814027"/>
                <a:gd name="connsiteY6" fmla="*/ 949139 h 1113404"/>
                <a:gd name="connsiteX7" fmla="*/ 771835 w 1814027"/>
                <a:gd name="connsiteY7" fmla="*/ 950379 h 1113404"/>
                <a:gd name="connsiteX8" fmla="*/ 771049 w 1814027"/>
                <a:gd name="connsiteY8" fmla="*/ 951649 h 1113404"/>
                <a:gd name="connsiteX9" fmla="*/ 769022 w 1814027"/>
                <a:gd name="connsiteY9" fmla="*/ 953132 h 1113404"/>
                <a:gd name="connsiteX10" fmla="*/ 763970 w 1814027"/>
                <a:gd name="connsiteY10" fmla="*/ 955673 h 1113404"/>
                <a:gd name="connsiteX11" fmla="*/ 771684 w 1814027"/>
                <a:gd name="connsiteY11" fmla="*/ 952648 h 1113404"/>
                <a:gd name="connsiteX12" fmla="*/ 781818 w 1814027"/>
                <a:gd name="connsiteY12" fmla="*/ 945781 h 1113404"/>
                <a:gd name="connsiteX13" fmla="*/ 803751 w 1814027"/>
                <a:gd name="connsiteY13" fmla="*/ 926602 h 1113404"/>
                <a:gd name="connsiteX14" fmla="*/ 798698 w 1814027"/>
                <a:gd name="connsiteY14" fmla="*/ 929112 h 1113404"/>
                <a:gd name="connsiteX15" fmla="*/ 782907 w 1814027"/>
                <a:gd name="connsiteY15" fmla="*/ 942574 h 1113404"/>
                <a:gd name="connsiteX16" fmla="*/ 1098702 w 1814027"/>
                <a:gd name="connsiteY16" fmla="*/ 898195 h 1113404"/>
                <a:gd name="connsiteX17" fmla="*/ 1097462 w 1814027"/>
                <a:gd name="connsiteY17" fmla="*/ 896531 h 1113404"/>
                <a:gd name="connsiteX18" fmla="*/ 1092863 w 1814027"/>
                <a:gd name="connsiteY18" fmla="*/ 896864 h 1113404"/>
                <a:gd name="connsiteX19" fmla="*/ 1091835 w 1814027"/>
                <a:gd name="connsiteY19" fmla="*/ 895896 h 1113404"/>
                <a:gd name="connsiteX20" fmla="*/ 1090776 w 1814027"/>
                <a:gd name="connsiteY20" fmla="*/ 894474 h 1113404"/>
                <a:gd name="connsiteX21" fmla="*/ 1088386 w 1814027"/>
                <a:gd name="connsiteY21" fmla="*/ 894686 h 1113404"/>
                <a:gd name="connsiteX22" fmla="*/ 1084212 w 1814027"/>
                <a:gd name="connsiteY22" fmla="*/ 896410 h 1113404"/>
                <a:gd name="connsiteX23" fmla="*/ 1081005 w 1814027"/>
                <a:gd name="connsiteY23" fmla="*/ 894202 h 1113404"/>
                <a:gd name="connsiteX24" fmla="*/ 1078040 w 1814027"/>
                <a:gd name="connsiteY24" fmla="*/ 894081 h 1113404"/>
                <a:gd name="connsiteX25" fmla="*/ 1071113 w 1814027"/>
                <a:gd name="connsiteY25" fmla="*/ 895412 h 1113404"/>
                <a:gd name="connsiteX26" fmla="*/ 1056622 w 1814027"/>
                <a:gd name="connsiteY26" fmla="*/ 893597 h 1113404"/>
                <a:gd name="connsiteX27" fmla="*/ 1055836 w 1814027"/>
                <a:gd name="connsiteY27" fmla="*/ 892780 h 1113404"/>
                <a:gd name="connsiteX28" fmla="*/ 1055382 w 1814027"/>
                <a:gd name="connsiteY28" fmla="*/ 892780 h 1113404"/>
                <a:gd name="connsiteX29" fmla="*/ 1054656 w 1814027"/>
                <a:gd name="connsiteY29" fmla="*/ 893597 h 1113404"/>
                <a:gd name="connsiteX30" fmla="*/ 1096978 w 1814027"/>
                <a:gd name="connsiteY30" fmla="*/ 899980 h 1113404"/>
                <a:gd name="connsiteX31" fmla="*/ 1098732 w 1814027"/>
                <a:gd name="connsiteY31" fmla="*/ 898226 h 1113404"/>
                <a:gd name="connsiteX32" fmla="*/ 999417 w 1814027"/>
                <a:gd name="connsiteY32" fmla="*/ 877261 h 1113404"/>
                <a:gd name="connsiteX33" fmla="*/ 986288 w 1814027"/>
                <a:gd name="connsiteY33" fmla="*/ 874327 h 1113404"/>
                <a:gd name="connsiteX34" fmla="*/ 953858 w 1814027"/>
                <a:gd name="connsiteY34" fmla="*/ 867036 h 1113404"/>
                <a:gd name="connsiteX35" fmla="*/ 949834 w 1814027"/>
                <a:gd name="connsiteY35" fmla="*/ 864858 h 1113404"/>
                <a:gd name="connsiteX36" fmla="*/ 947444 w 1814027"/>
                <a:gd name="connsiteY36" fmla="*/ 862075 h 1113404"/>
                <a:gd name="connsiteX37" fmla="*/ 945842 w 1814027"/>
                <a:gd name="connsiteY37" fmla="*/ 858143 h 1113404"/>
                <a:gd name="connsiteX38" fmla="*/ 944178 w 1814027"/>
                <a:gd name="connsiteY38" fmla="*/ 852455 h 1113404"/>
                <a:gd name="connsiteX39" fmla="*/ 942423 w 1814027"/>
                <a:gd name="connsiteY39" fmla="*/ 851789 h 1113404"/>
                <a:gd name="connsiteX40" fmla="*/ 942484 w 1814027"/>
                <a:gd name="connsiteY40" fmla="*/ 854240 h 1113404"/>
                <a:gd name="connsiteX41" fmla="*/ 943391 w 1814027"/>
                <a:gd name="connsiteY41" fmla="*/ 857658 h 1113404"/>
                <a:gd name="connsiteX42" fmla="*/ 944178 w 1814027"/>
                <a:gd name="connsiteY42" fmla="*/ 859806 h 1113404"/>
                <a:gd name="connsiteX43" fmla="*/ 946900 w 1814027"/>
                <a:gd name="connsiteY43" fmla="*/ 863920 h 1113404"/>
                <a:gd name="connsiteX44" fmla="*/ 950046 w 1814027"/>
                <a:gd name="connsiteY44" fmla="*/ 866552 h 1113404"/>
                <a:gd name="connsiteX45" fmla="*/ 965807 w 1814027"/>
                <a:gd name="connsiteY45" fmla="*/ 872149 h 1113404"/>
                <a:gd name="connsiteX46" fmla="*/ 1002503 w 1814027"/>
                <a:gd name="connsiteY46" fmla="*/ 879348 h 1113404"/>
                <a:gd name="connsiteX47" fmla="*/ 1006738 w 1814027"/>
                <a:gd name="connsiteY47" fmla="*/ 881224 h 1113404"/>
                <a:gd name="connsiteX48" fmla="*/ 1009006 w 1814027"/>
                <a:gd name="connsiteY48" fmla="*/ 881678 h 1113404"/>
                <a:gd name="connsiteX49" fmla="*/ 1007706 w 1814027"/>
                <a:gd name="connsiteY49" fmla="*/ 880801 h 1113404"/>
                <a:gd name="connsiteX50" fmla="*/ 999417 w 1814027"/>
                <a:gd name="connsiteY50" fmla="*/ 877261 h 1113404"/>
                <a:gd name="connsiteX51" fmla="*/ 1812243 w 1814027"/>
                <a:gd name="connsiteY51" fmla="*/ 442004 h 1113404"/>
                <a:gd name="connsiteX52" fmla="*/ 1807553 w 1814027"/>
                <a:gd name="connsiteY52" fmla="*/ 436921 h 1113404"/>
                <a:gd name="connsiteX53" fmla="*/ 1803590 w 1814027"/>
                <a:gd name="connsiteY53" fmla="*/ 431204 h 1113404"/>
                <a:gd name="connsiteX54" fmla="*/ 1801473 w 1814027"/>
                <a:gd name="connsiteY54" fmla="*/ 426999 h 1113404"/>
                <a:gd name="connsiteX55" fmla="*/ 1800868 w 1814027"/>
                <a:gd name="connsiteY55" fmla="*/ 422522 h 1113404"/>
                <a:gd name="connsiteX56" fmla="*/ 1802834 w 1814027"/>
                <a:gd name="connsiteY56" fmla="*/ 417863 h 1113404"/>
                <a:gd name="connsiteX57" fmla="*/ 1804619 w 1814027"/>
                <a:gd name="connsiteY57" fmla="*/ 416320 h 1113404"/>
                <a:gd name="connsiteX58" fmla="*/ 1808522 w 1814027"/>
                <a:gd name="connsiteY58" fmla="*/ 414233 h 1113404"/>
                <a:gd name="connsiteX59" fmla="*/ 1810065 w 1814027"/>
                <a:gd name="connsiteY59" fmla="*/ 412267 h 1113404"/>
                <a:gd name="connsiteX60" fmla="*/ 1810518 w 1814027"/>
                <a:gd name="connsiteY60" fmla="*/ 409302 h 1113404"/>
                <a:gd name="connsiteX61" fmla="*/ 1809278 w 1814027"/>
                <a:gd name="connsiteY61" fmla="*/ 408062 h 1113404"/>
                <a:gd name="connsiteX62" fmla="*/ 1808975 w 1814027"/>
                <a:gd name="connsiteY62" fmla="*/ 407759 h 1113404"/>
                <a:gd name="connsiteX63" fmla="*/ 1799143 w 1814027"/>
                <a:gd name="connsiteY63" fmla="*/ 405278 h 1113404"/>
                <a:gd name="connsiteX64" fmla="*/ 1797177 w 1814027"/>
                <a:gd name="connsiteY64" fmla="*/ 405218 h 1113404"/>
                <a:gd name="connsiteX65" fmla="*/ 1794757 w 1814027"/>
                <a:gd name="connsiteY65" fmla="*/ 406035 h 1113404"/>
                <a:gd name="connsiteX66" fmla="*/ 1788798 w 1814027"/>
                <a:gd name="connsiteY66" fmla="*/ 411661 h 1113404"/>
                <a:gd name="connsiteX67" fmla="*/ 1786256 w 1814027"/>
                <a:gd name="connsiteY67" fmla="*/ 413053 h 1113404"/>
                <a:gd name="connsiteX68" fmla="*/ 1783261 w 1814027"/>
                <a:gd name="connsiteY68" fmla="*/ 414142 h 1113404"/>
                <a:gd name="connsiteX69" fmla="*/ 1780176 w 1814027"/>
                <a:gd name="connsiteY69" fmla="*/ 414717 h 1113404"/>
                <a:gd name="connsiteX70" fmla="*/ 1777453 w 1814027"/>
                <a:gd name="connsiteY70" fmla="*/ 414596 h 1113404"/>
                <a:gd name="connsiteX71" fmla="*/ 1775396 w 1814027"/>
                <a:gd name="connsiteY71" fmla="*/ 413719 h 1113404"/>
                <a:gd name="connsiteX72" fmla="*/ 1770163 w 1814027"/>
                <a:gd name="connsiteY72" fmla="*/ 409090 h 1113404"/>
                <a:gd name="connsiteX73" fmla="*/ 1766079 w 1814027"/>
                <a:gd name="connsiteY73" fmla="*/ 407275 h 1113404"/>
                <a:gd name="connsiteX74" fmla="*/ 1762509 w 1814027"/>
                <a:gd name="connsiteY74" fmla="*/ 406367 h 1113404"/>
                <a:gd name="connsiteX75" fmla="*/ 1759454 w 1814027"/>
                <a:gd name="connsiteY75" fmla="*/ 404431 h 1113404"/>
                <a:gd name="connsiteX76" fmla="*/ 1756882 w 1814027"/>
                <a:gd name="connsiteY76" fmla="*/ 399500 h 1113404"/>
                <a:gd name="connsiteX77" fmla="*/ 1755279 w 1814027"/>
                <a:gd name="connsiteY77" fmla="*/ 393420 h 1113404"/>
                <a:gd name="connsiteX78" fmla="*/ 1754160 w 1814027"/>
                <a:gd name="connsiteY78" fmla="*/ 390183 h 1113404"/>
                <a:gd name="connsiteX79" fmla="*/ 1752859 w 1814027"/>
                <a:gd name="connsiteY79" fmla="*/ 388640 h 1113404"/>
                <a:gd name="connsiteX80" fmla="*/ 1746990 w 1814027"/>
                <a:gd name="connsiteY80" fmla="*/ 388065 h 1113404"/>
                <a:gd name="connsiteX81" fmla="*/ 1745054 w 1814027"/>
                <a:gd name="connsiteY81" fmla="*/ 387279 h 1113404"/>
                <a:gd name="connsiteX82" fmla="*/ 1741394 w 1814027"/>
                <a:gd name="connsiteY82" fmla="*/ 385010 h 1113404"/>
                <a:gd name="connsiteX83" fmla="*/ 1737612 w 1814027"/>
                <a:gd name="connsiteY83" fmla="*/ 385766 h 1113404"/>
                <a:gd name="connsiteX84" fmla="*/ 1733710 w 1814027"/>
                <a:gd name="connsiteY84" fmla="*/ 387551 h 1113404"/>
                <a:gd name="connsiteX85" fmla="*/ 1729717 w 1814027"/>
                <a:gd name="connsiteY85" fmla="*/ 388338 h 1113404"/>
                <a:gd name="connsiteX86" fmla="*/ 1725935 w 1814027"/>
                <a:gd name="connsiteY86" fmla="*/ 387521 h 1113404"/>
                <a:gd name="connsiteX87" fmla="*/ 1723001 w 1814027"/>
                <a:gd name="connsiteY87" fmla="*/ 385736 h 1113404"/>
                <a:gd name="connsiteX88" fmla="*/ 1720702 w 1814027"/>
                <a:gd name="connsiteY88" fmla="*/ 382802 h 1113404"/>
                <a:gd name="connsiteX89" fmla="*/ 1715135 w 1814027"/>
                <a:gd name="connsiteY89" fmla="*/ 369431 h 1113404"/>
                <a:gd name="connsiteX90" fmla="*/ 1714984 w 1814027"/>
                <a:gd name="connsiteY90" fmla="*/ 369279 h 1113404"/>
                <a:gd name="connsiteX91" fmla="*/ 1712443 w 1814027"/>
                <a:gd name="connsiteY91" fmla="*/ 367252 h 1113404"/>
                <a:gd name="connsiteX92" fmla="*/ 1708541 w 1814027"/>
                <a:gd name="connsiteY92" fmla="*/ 368583 h 1113404"/>
                <a:gd name="connsiteX93" fmla="*/ 1706816 w 1814027"/>
                <a:gd name="connsiteY93" fmla="*/ 370398 h 1113404"/>
                <a:gd name="connsiteX94" fmla="*/ 1703640 w 1814027"/>
                <a:gd name="connsiteY94" fmla="*/ 374785 h 1113404"/>
                <a:gd name="connsiteX95" fmla="*/ 1701704 w 1814027"/>
                <a:gd name="connsiteY95" fmla="*/ 376298 h 1113404"/>
                <a:gd name="connsiteX96" fmla="*/ 1700009 w 1814027"/>
                <a:gd name="connsiteY96" fmla="*/ 376751 h 1113404"/>
                <a:gd name="connsiteX97" fmla="*/ 1690450 w 1814027"/>
                <a:gd name="connsiteY97" fmla="*/ 377296 h 1113404"/>
                <a:gd name="connsiteX98" fmla="*/ 1687728 w 1814027"/>
                <a:gd name="connsiteY98" fmla="*/ 374846 h 1113404"/>
                <a:gd name="connsiteX99" fmla="*/ 1685308 w 1814027"/>
                <a:gd name="connsiteY99" fmla="*/ 371336 h 1113404"/>
                <a:gd name="connsiteX100" fmla="*/ 1681889 w 1814027"/>
                <a:gd name="connsiteY100" fmla="*/ 368372 h 1113404"/>
                <a:gd name="connsiteX101" fmla="*/ 1671392 w 1814027"/>
                <a:gd name="connsiteY101" fmla="*/ 365558 h 1113404"/>
                <a:gd name="connsiteX102" fmla="*/ 1665281 w 1814027"/>
                <a:gd name="connsiteY102" fmla="*/ 361474 h 1113404"/>
                <a:gd name="connsiteX103" fmla="*/ 1664646 w 1814027"/>
                <a:gd name="connsiteY103" fmla="*/ 360839 h 1113404"/>
                <a:gd name="connsiteX104" fmla="*/ 1664101 w 1814027"/>
                <a:gd name="connsiteY104" fmla="*/ 359599 h 1113404"/>
                <a:gd name="connsiteX105" fmla="*/ 1663829 w 1814027"/>
                <a:gd name="connsiteY105" fmla="*/ 357300 h 1113404"/>
                <a:gd name="connsiteX106" fmla="*/ 1662951 w 1814027"/>
                <a:gd name="connsiteY106" fmla="*/ 354486 h 1113404"/>
                <a:gd name="connsiteX107" fmla="*/ 1662951 w 1814027"/>
                <a:gd name="connsiteY107" fmla="*/ 354123 h 1113404"/>
                <a:gd name="connsiteX108" fmla="*/ 1662740 w 1814027"/>
                <a:gd name="connsiteY108" fmla="*/ 354486 h 1113404"/>
                <a:gd name="connsiteX109" fmla="*/ 1660290 w 1814027"/>
                <a:gd name="connsiteY109" fmla="*/ 355242 h 1113404"/>
                <a:gd name="connsiteX110" fmla="*/ 1659382 w 1814027"/>
                <a:gd name="connsiteY110" fmla="*/ 355817 h 1113404"/>
                <a:gd name="connsiteX111" fmla="*/ 1658414 w 1814027"/>
                <a:gd name="connsiteY111" fmla="*/ 356180 h 1113404"/>
                <a:gd name="connsiteX112" fmla="*/ 1653453 w 1814027"/>
                <a:gd name="connsiteY112" fmla="*/ 355333 h 1113404"/>
                <a:gd name="connsiteX113" fmla="*/ 1646132 w 1814027"/>
                <a:gd name="connsiteY113" fmla="*/ 356574 h 1113404"/>
                <a:gd name="connsiteX114" fmla="*/ 1642471 w 1814027"/>
                <a:gd name="connsiteY114" fmla="*/ 355303 h 1113404"/>
                <a:gd name="connsiteX115" fmla="*/ 1640112 w 1814027"/>
                <a:gd name="connsiteY115" fmla="*/ 353790 h 1113404"/>
                <a:gd name="connsiteX116" fmla="*/ 1638327 w 1814027"/>
                <a:gd name="connsiteY116" fmla="*/ 353155 h 1113404"/>
                <a:gd name="connsiteX117" fmla="*/ 1633941 w 1814027"/>
                <a:gd name="connsiteY117" fmla="*/ 352701 h 1113404"/>
                <a:gd name="connsiteX118" fmla="*/ 1631913 w 1814027"/>
                <a:gd name="connsiteY118" fmla="*/ 351885 h 1113404"/>
                <a:gd name="connsiteX119" fmla="*/ 1630704 w 1814027"/>
                <a:gd name="connsiteY119" fmla="*/ 350221 h 1113404"/>
                <a:gd name="connsiteX120" fmla="*/ 1627679 w 1814027"/>
                <a:gd name="connsiteY120" fmla="*/ 341962 h 1113404"/>
                <a:gd name="connsiteX121" fmla="*/ 1626257 w 1814027"/>
                <a:gd name="connsiteY121" fmla="*/ 340389 h 1113404"/>
                <a:gd name="connsiteX122" fmla="*/ 1624381 w 1814027"/>
                <a:gd name="connsiteY122" fmla="*/ 340117 h 1113404"/>
                <a:gd name="connsiteX123" fmla="*/ 1621628 w 1814027"/>
                <a:gd name="connsiteY123" fmla="*/ 340601 h 1113404"/>
                <a:gd name="connsiteX124" fmla="*/ 1615185 w 1814027"/>
                <a:gd name="connsiteY124" fmla="*/ 340056 h 1113404"/>
                <a:gd name="connsiteX125" fmla="*/ 1613582 w 1814027"/>
                <a:gd name="connsiteY125" fmla="*/ 340419 h 1113404"/>
                <a:gd name="connsiteX126" fmla="*/ 1612613 w 1814027"/>
                <a:gd name="connsiteY126" fmla="*/ 344685 h 1113404"/>
                <a:gd name="connsiteX127" fmla="*/ 1613339 w 1814027"/>
                <a:gd name="connsiteY127" fmla="*/ 351340 h 1113404"/>
                <a:gd name="connsiteX128" fmla="*/ 1612825 w 1814027"/>
                <a:gd name="connsiteY128" fmla="*/ 357602 h 1113404"/>
                <a:gd name="connsiteX129" fmla="*/ 1608076 w 1814027"/>
                <a:gd name="connsiteY129" fmla="*/ 360658 h 1113404"/>
                <a:gd name="connsiteX130" fmla="*/ 1607017 w 1814027"/>
                <a:gd name="connsiteY130" fmla="*/ 360446 h 1113404"/>
                <a:gd name="connsiteX131" fmla="*/ 1605172 w 1814027"/>
                <a:gd name="connsiteY131" fmla="*/ 359327 h 1113404"/>
                <a:gd name="connsiteX132" fmla="*/ 1604052 w 1814027"/>
                <a:gd name="connsiteY132" fmla="*/ 359115 h 1113404"/>
                <a:gd name="connsiteX133" fmla="*/ 1602782 w 1814027"/>
                <a:gd name="connsiteY133" fmla="*/ 359508 h 1113404"/>
                <a:gd name="connsiteX134" fmla="*/ 1598395 w 1814027"/>
                <a:gd name="connsiteY134" fmla="*/ 362110 h 1113404"/>
                <a:gd name="connsiteX135" fmla="*/ 1596126 w 1814027"/>
                <a:gd name="connsiteY135" fmla="*/ 363441 h 1113404"/>
                <a:gd name="connsiteX136" fmla="*/ 1595672 w 1814027"/>
                <a:gd name="connsiteY136" fmla="*/ 362563 h 1113404"/>
                <a:gd name="connsiteX137" fmla="*/ 1595612 w 1814027"/>
                <a:gd name="connsiteY137" fmla="*/ 360355 h 1113404"/>
                <a:gd name="connsiteX138" fmla="*/ 1594069 w 1814027"/>
                <a:gd name="connsiteY138" fmla="*/ 357753 h 1113404"/>
                <a:gd name="connsiteX139" fmla="*/ 1593948 w 1814027"/>
                <a:gd name="connsiteY139" fmla="*/ 357481 h 1113404"/>
                <a:gd name="connsiteX140" fmla="*/ 1590681 w 1814027"/>
                <a:gd name="connsiteY140" fmla="*/ 352217 h 1113404"/>
                <a:gd name="connsiteX141" fmla="*/ 1587595 w 1814027"/>
                <a:gd name="connsiteY141" fmla="*/ 348618 h 1113404"/>
                <a:gd name="connsiteX142" fmla="*/ 1584147 w 1814027"/>
                <a:gd name="connsiteY142" fmla="*/ 345774 h 1113404"/>
                <a:gd name="connsiteX143" fmla="*/ 1580244 w 1814027"/>
                <a:gd name="connsiteY143" fmla="*/ 343445 h 1113404"/>
                <a:gd name="connsiteX144" fmla="*/ 1572258 w 1814027"/>
                <a:gd name="connsiteY144" fmla="*/ 340087 h 1113404"/>
                <a:gd name="connsiteX145" fmla="*/ 1568658 w 1814027"/>
                <a:gd name="connsiteY145" fmla="*/ 337757 h 1113404"/>
                <a:gd name="connsiteX146" fmla="*/ 1559008 w 1814027"/>
                <a:gd name="connsiteY146" fmla="*/ 324023 h 1113404"/>
                <a:gd name="connsiteX147" fmla="*/ 1555498 w 1814027"/>
                <a:gd name="connsiteY147" fmla="*/ 320726 h 1113404"/>
                <a:gd name="connsiteX148" fmla="*/ 1554803 w 1814027"/>
                <a:gd name="connsiteY148" fmla="*/ 319727 h 1113404"/>
                <a:gd name="connsiteX149" fmla="*/ 1554652 w 1814027"/>
                <a:gd name="connsiteY149" fmla="*/ 318154 h 1113404"/>
                <a:gd name="connsiteX150" fmla="*/ 1554954 w 1814027"/>
                <a:gd name="connsiteY150" fmla="*/ 316612 h 1113404"/>
                <a:gd name="connsiteX151" fmla="*/ 1555952 w 1814027"/>
                <a:gd name="connsiteY151" fmla="*/ 313193 h 1113404"/>
                <a:gd name="connsiteX152" fmla="*/ 1555710 w 1814027"/>
                <a:gd name="connsiteY152" fmla="*/ 307143 h 1113404"/>
                <a:gd name="connsiteX153" fmla="*/ 1552594 w 1814027"/>
                <a:gd name="connsiteY153" fmla="*/ 304027 h 1113404"/>
                <a:gd name="connsiteX154" fmla="*/ 1543731 w 1814027"/>
                <a:gd name="connsiteY154" fmla="*/ 300064 h 1113404"/>
                <a:gd name="connsiteX155" fmla="*/ 1542097 w 1814027"/>
                <a:gd name="connsiteY155" fmla="*/ 296222 h 1113404"/>
                <a:gd name="connsiteX156" fmla="*/ 1540706 w 1814027"/>
                <a:gd name="connsiteY156" fmla="*/ 291533 h 1113404"/>
                <a:gd name="connsiteX157" fmla="*/ 1539193 w 1814027"/>
                <a:gd name="connsiteY157" fmla="*/ 287752 h 1113404"/>
                <a:gd name="connsiteX158" fmla="*/ 1537197 w 1814027"/>
                <a:gd name="connsiteY158" fmla="*/ 286753 h 1113404"/>
                <a:gd name="connsiteX159" fmla="*/ 1527093 w 1814027"/>
                <a:gd name="connsiteY159" fmla="*/ 288054 h 1113404"/>
                <a:gd name="connsiteX160" fmla="*/ 1524098 w 1814027"/>
                <a:gd name="connsiteY160" fmla="*/ 289173 h 1113404"/>
                <a:gd name="connsiteX161" fmla="*/ 1518229 w 1814027"/>
                <a:gd name="connsiteY161" fmla="*/ 294710 h 1113404"/>
                <a:gd name="connsiteX162" fmla="*/ 1515234 w 1814027"/>
                <a:gd name="connsiteY162" fmla="*/ 296827 h 1113404"/>
                <a:gd name="connsiteX163" fmla="*/ 1500623 w 1814027"/>
                <a:gd name="connsiteY163" fmla="*/ 300730 h 1113404"/>
                <a:gd name="connsiteX164" fmla="*/ 1493423 w 1814027"/>
                <a:gd name="connsiteY164" fmla="*/ 299731 h 1113404"/>
                <a:gd name="connsiteX165" fmla="*/ 1486767 w 1814027"/>
                <a:gd name="connsiteY165" fmla="*/ 300185 h 1113404"/>
                <a:gd name="connsiteX166" fmla="*/ 1480203 w 1814027"/>
                <a:gd name="connsiteY166" fmla="*/ 302424 h 1113404"/>
                <a:gd name="connsiteX167" fmla="*/ 1463504 w 1814027"/>
                <a:gd name="connsiteY167" fmla="*/ 311529 h 1113404"/>
                <a:gd name="connsiteX168" fmla="*/ 1462234 w 1814027"/>
                <a:gd name="connsiteY168" fmla="*/ 312649 h 1113404"/>
                <a:gd name="connsiteX169" fmla="*/ 1461296 w 1814027"/>
                <a:gd name="connsiteY169" fmla="*/ 313980 h 1113404"/>
                <a:gd name="connsiteX170" fmla="*/ 1459662 w 1814027"/>
                <a:gd name="connsiteY170" fmla="*/ 317095 h 1113404"/>
                <a:gd name="connsiteX171" fmla="*/ 1458785 w 1814027"/>
                <a:gd name="connsiteY171" fmla="*/ 318275 h 1113404"/>
                <a:gd name="connsiteX172" fmla="*/ 1456879 w 1814027"/>
                <a:gd name="connsiteY172" fmla="*/ 319364 h 1113404"/>
                <a:gd name="connsiteX173" fmla="*/ 1454610 w 1814027"/>
                <a:gd name="connsiteY173" fmla="*/ 319637 h 1113404"/>
                <a:gd name="connsiteX174" fmla="*/ 1452250 w 1814027"/>
                <a:gd name="connsiteY174" fmla="*/ 319274 h 1113404"/>
                <a:gd name="connsiteX175" fmla="*/ 1450103 w 1814027"/>
                <a:gd name="connsiteY175" fmla="*/ 318517 h 1113404"/>
                <a:gd name="connsiteX176" fmla="*/ 1448590 w 1814027"/>
                <a:gd name="connsiteY176" fmla="*/ 317398 h 1113404"/>
                <a:gd name="connsiteX177" fmla="*/ 1448287 w 1814027"/>
                <a:gd name="connsiteY177" fmla="*/ 316097 h 1113404"/>
                <a:gd name="connsiteX178" fmla="*/ 1448530 w 1814027"/>
                <a:gd name="connsiteY178" fmla="*/ 314675 h 1113404"/>
                <a:gd name="connsiteX179" fmla="*/ 1448742 w 1814027"/>
                <a:gd name="connsiteY179" fmla="*/ 311469 h 1113404"/>
                <a:gd name="connsiteX180" fmla="*/ 1449013 w 1814027"/>
                <a:gd name="connsiteY180" fmla="*/ 310864 h 1113404"/>
                <a:gd name="connsiteX181" fmla="*/ 1448772 w 1814027"/>
                <a:gd name="connsiteY181" fmla="*/ 310501 h 1113404"/>
                <a:gd name="connsiteX182" fmla="*/ 1447229 w 1814027"/>
                <a:gd name="connsiteY182" fmla="*/ 309563 h 1113404"/>
                <a:gd name="connsiteX183" fmla="*/ 1446321 w 1814027"/>
                <a:gd name="connsiteY183" fmla="*/ 309230 h 1113404"/>
                <a:gd name="connsiteX184" fmla="*/ 1443115 w 1814027"/>
                <a:gd name="connsiteY184" fmla="*/ 308595 h 1113404"/>
                <a:gd name="connsiteX185" fmla="*/ 1440362 w 1814027"/>
                <a:gd name="connsiteY185" fmla="*/ 306750 h 1113404"/>
                <a:gd name="connsiteX186" fmla="*/ 1438123 w 1814027"/>
                <a:gd name="connsiteY186" fmla="*/ 306265 h 1113404"/>
                <a:gd name="connsiteX187" fmla="*/ 1436066 w 1814027"/>
                <a:gd name="connsiteY187" fmla="*/ 305146 h 1113404"/>
                <a:gd name="connsiteX188" fmla="*/ 1435068 w 1814027"/>
                <a:gd name="connsiteY188" fmla="*/ 304844 h 1113404"/>
                <a:gd name="connsiteX189" fmla="*/ 1433827 w 1814027"/>
                <a:gd name="connsiteY189" fmla="*/ 304844 h 1113404"/>
                <a:gd name="connsiteX190" fmla="*/ 1433131 w 1814027"/>
                <a:gd name="connsiteY190" fmla="*/ 305207 h 1113404"/>
                <a:gd name="connsiteX191" fmla="*/ 1431165 w 1814027"/>
                <a:gd name="connsiteY191" fmla="*/ 307022 h 1113404"/>
                <a:gd name="connsiteX192" fmla="*/ 1428957 w 1814027"/>
                <a:gd name="connsiteY192" fmla="*/ 308474 h 1113404"/>
                <a:gd name="connsiteX193" fmla="*/ 1426567 w 1814027"/>
                <a:gd name="connsiteY193" fmla="*/ 309442 h 1113404"/>
                <a:gd name="connsiteX194" fmla="*/ 1424147 w 1814027"/>
                <a:gd name="connsiteY194" fmla="*/ 309563 h 1113404"/>
                <a:gd name="connsiteX195" fmla="*/ 1421848 w 1814027"/>
                <a:gd name="connsiteY195" fmla="*/ 308504 h 1113404"/>
                <a:gd name="connsiteX196" fmla="*/ 1411804 w 1814027"/>
                <a:gd name="connsiteY196" fmla="*/ 293711 h 1113404"/>
                <a:gd name="connsiteX197" fmla="*/ 1408930 w 1814027"/>
                <a:gd name="connsiteY197" fmla="*/ 292380 h 1113404"/>
                <a:gd name="connsiteX198" fmla="*/ 1408174 w 1814027"/>
                <a:gd name="connsiteY198" fmla="*/ 289657 h 1113404"/>
                <a:gd name="connsiteX199" fmla="*/ 1405421 w 1814027"/>
                <a:gd name="connsiteY199" fmla="*/ 288296 h 1113404"/>
                <a:gd name="connsiteX200" fmla="*/ 1387906 w 1814027"/>
                <a:gd name="connsiteY200" fmla="*/ 286965 h 1113404"/>
                <a:gd name="connsiteX201" fmla="*/ 1378407 w 1814027"/>
                <a:gd name="connsiteY201" fmla="*/ 287963 h 1113404"/>
                <a:gd name="connsiteX202" fmla="*/ 1376592 w 1814027"/>
                <a:gd name="connsiteY202" fmla="*/ 288568 h 1113404"/>
                <a:gd name="connsiteX203" fmla="*/ 1375200 w 1814027"/>
                <a:gd name="connsiteY203" fmla="*/ 289567 h 1113404"/>
                <a:gd name="connsiteX204" fmla="*/ 1373203 w 1814027"/>
                <a:gd name="connsiteY204" fmla="*/ 292108 h 1113404"/>
                <a:gd name="connsiteX205" fmla="*/ 1372054 w 1814027"/>
                <a:gd name="connsiteY205" fmla="*/ 293227 h 1113404"/>
                <a:gd name="connsiteX206" fmla="*/ 1371146 w 1814027"/>
                <a:gd name="connsiteY206" fmla="*/ 293560 h 1113404"/>
                <a:gd name="connsiteX207" fmla="*/ 1369210 w 1814027"/>
                <a:gd name="connsiteY207" fmla="*/ 293651 h 1113404"/>
                <a:gd name="connsiteX208" fmla="*/ 1368363 w 1814027"/>
                <a:gd name="connsiteY208" fmla="*/ 294014 h 1113404"/>
                <a:gd name="connsiteX209" fmla="*/ 1366699 w 1814027"/>
                <a:gd name="connsiteY209" fmla="*/ 295889 h 1113404"/>
                <a:gd name="connsiteX210" fmla="*/ 1365611 w 1814027"/>
                <a:gd name="connsiteY210" fmla="*/ 297795 h 1113404"/>
                <a:gd name="connsiteX211" fmla="*/ 1364249 w 1814027"/>
                <a:gd name="connsiteY211" fmla="*/ 299308 h 1113404"/>
                <a:gd name="connsiteX212" fmla="*/ 1363765 w 1814027"/>
                <a:gd name="connsiteY212" fmla="*/ 299459 h 1113404"/>
                <a:gd name="connsiteX213" fmla="*/ 1361859 w 1814027"/>
                <a:gd name="connsiteY213" fmla="*/ 300034 h 1113404"/>
                <a:gd name="connsiteX214" fmla="*/ 1359741 w 1814027"/>
                <a:gd name="connsiteY214" fmla="*/ 299913 h 1113404"/>
                <a:gd name="connsiteX215" fmla="*/ 1357684 w 1814027"/>
                <a:gd name="connsiteY215" fmla="*/ 299338 h 1113404"/>
                <a:gd name="connsiteX216" fmla="*/ 1355658 w 1814027"/>
                <a:gd name="connsiteY216" fmla="*/ 298370 h 1113404"/>
                <a:gd name="connsiteX217" fmla="*/ 1353721 w 1814027"/>
                <a:gd name="connsiteY217" fmla="*/ 297099 h 1113404"/>
                <a:gd name="connsiteX218" fmla="*/ 1351513 w 1814027"/>
                <a:gd name="connsiteY218" fmla="*/ 294800 h 1113404"/>
                <a:gd name="connsiteX219" fmla="*/ 1350878 w 1814027"/>
                <a:gd name="connsiteY219" fmla="*/ 292562 h 1113404"/>
                <a:gd name="connsiteX220" fmla="*/ 1350727 w 1814027"/>
                <a:gd name="connsiteY220" fmla="*/ 289960 h 1113404"/>
                <a:gd name="connsiteX221" fmla="*/ 1349970 w 1814027"/>
                <a:gd name="connsiteY221" fmla="*/ 286542 h 1113404"/>
                <a:gd name="connsiteX222" fmla="*/ 1348579 w 1814027"/>
                <a:gd name="connsiteY222" fmla="*/ 284091 h 1113404"/>
                <a:gd name="connsiteX223" fmla="*/ 1346763 w 1814027"/>
                <a:gd name="connsiteY223" fmla="*/ 282730 h 1113404"/>
                <a:gd name="connsiteX224" fmla="*/ 1344676 w 1814027"/>
                <a:gd name="connsiteY224" fmla="*/ 282034 h 1113404"/>
                <a:gd name="connsiteX225" fmla="*/ 1342498 w 1814027"/>
                <a:gd name="connsiteY225" fmla="*/ 281641 h 1113404"/>
                <a:gd name="connsiteX226" fmla="*/ 1339080 w 1814027"/>
                <a:gd name="connsiteY226" fmla="*/ 280310 h 1113404"/>
                <a:gd name="connsiteX227" fmla="*/ 1336962 w 1814027"/>
                <a:gd name="connsiteY227" fmla="*/ 276770 h 1113404"/>
                <a:gd name="connsiteX228" fmla="*/ 1332183 w 1814027"/>
                <a:gd name="connsiteY228" fmla="*/ 259134 h 1113404"/>
                <a:gd name="connsiteX229" fmla="*/ 1332031 w 1814027"/>
                <a:gd name="connsiteY229" fmla="*/ 257258 h 1113404"/>
                <a:gd name="connsiteX230" fmla="*/ 1333574 w 1814027"/>
                <a:gd name="connsiteY230" fmla="*/ 255534 h 1113404"/>
                <a:gd name="connsiteX231" fmla="*/ 1341349 w 1814027"/>
                <a:gd name="connsiteY231" fmla="*/ 252297 h 1113404"/>
                <a:gd name="connsiteX232" fmla="*/ 1338989 w 1814027"/>
                <a:gd name="connsiteY232" fmla="*/ 249544 h 1113404"/>
                <a:gd name="connsiteX233" fmla="*/ 1338808 w 1814027"/>
                <a:gd name="connsiteY233" fmla="*/ 246337 h 1113404"/>
                <a:gd name="connsiteX234" fmla="*/ 1339170 w 1814027"/>
                <a:gd name="connsiteY234" fmla="*/ 242707 h 1113404"/>
                <a:gd name="connsiteX235" fmla="*/ 1338294 w 1814027"/>
                <a:gd name="connsiteY235" fmla="*/ 238623 h 1113404"/>
                <a:gd name="connsiteX236" fmla="*/ 1337356 w 1814027"/>
                <a:gd name="connsiteY236" fmla="*/ 237171 h 1113404"/>
                <a:gd name="connsiteX237" fmla="*/ 1336236 w 1814027"/>
                <a:gd name="connsiteY237" fmla="*/ 236203 h 1113404"/>
                <a:gd name="connsiteX238" fmla="*/ 1333695 w 1814027"/>
                <a:gd name="connsiteY238" fmla="*/ 234812 h 1113404"/>
                <a:gd name="connsiteX239" fmla="*/ 1332274 w 1814027"/>
                <a:gd name="connsiteY239" fmla="*/ 233511 h 1113404"/>
                <a:gd name="connsiteX240" fmla="*/ 1332122 w 1814027"/>
                <a:gd name="connsiteY240" fmla="*/ 231998 h 1113404"/>
                <a:gd name="connsiteX241" fmla="*/ 1332364 w 1814027"/>
                <a:gd name="connsiteY241" fmla="*/ 230244 h 1113404"/>
                <a:gd name="connsiteX242" fmla="*/ 1332152 w 1814027"/>
                <a:gd name="connsiteY242" fmla="*/ 228186 h 1113404"/>
                <a:gd name="connsiteX243" fmla="*/ 1331275 w 1814027"/>
                <a:gd name="connsiteY243" fmla="*/ 226371 h 1113404"/>
                <a:gd name="connsiteX244" fmla="*/ 1329218 w 1814027"/>
                <a:gd name="connsiteY244" fmla="*/ 223770 h 1113404"/>
                <a:gd name="connsiteX245" fmla="*/ 1328492 w 1814027"/>
                <a:gd name="connsiteY245" fmla="*/ 221894 h 1113404"/>
                <a:gd name="connsiteX246" fmla="*/ 1328401 w 1814027"/>
                <a:gd name="connsiteY246" fmla="*/ 219656 h 1113404"/>
                <a:gd name="connsiteX247" fmla="*/ 1328643 w 1814027"/>
                <a:gd name="connsiteY247" fmla="*/ 217871 h 1113404"/>
                <a:gd name="connsiteX248" fmla="*/ 1328522 w 1814027"/>
                <a:gd name="connsiteY248" fmla="*/ 216177 h 1113404"/>
                <a:gd name="connsiteX249" fmla="*/ 1327251 w 1814027"/>
                <a:gd name="connsiteY249" fmla="*/ 214240 h 1113404"/>
                <a:gd name="connsiteX250" fmla="*/ 1326042 w 1814027"/>
                <a:gd name="connsiteY250" fmla="*/ 213484 h 1113404"/>
                <a:gd name="connsiteX251" fmla="*/ 1323682 w 1814027"/>
                <a:gd name="connsiteY251" fmla="*/ 212970 h 1113404"/>
                <a:gd name="connsiteX252" fmla="*/ 1322774 w 1814027"/>
                <a:gd name="connsiteY252" fmla="*/ 212002 h 1113404"/>
                <a:gd name="connsiteX253" fmla="*/ 1322532 w 1814027"/>
                <a:gd name="connsiteY253" fmla="*/ 210550 h 1113404"/>
                <a:gd name="connsiteX254" fmla="*/ 1322532 w 1814027"/>
                <a:gd name="connsiteY254" fmla="*/ 206557 h 1113404"/>
                <a:gd name="connsiteX255" fmla="*/ 1322109 w 1814027"/>
                <a:gd name="connsiteY255" fmla="*/ 204923 h 1113404"/>
                <a:gd name="connsiteX256" fmla="*/ 1327584 w 1814027"/>
                <a:gd name="connsiteY256" fmla="*/ 203864 h 1113404"/>
                <a:gd name="connsiteX257" fmla="*/ 1329006 w 1814027"/>
                <a:gd name="connsiteY257" fmla="*/ 202624 h 1113404"/>
                <a:gd name="connsiteX258" fmla="*/ 1329853 w 1814027"/>
                <a:gd name="connsiteY258" fmla="*/ 200083 h 1113404"/>
                <a:gd name="connsiteX259" fmla="*/ 1328976 w 1814027"/>
                <a:gd name="connsiteY259" fmla="*/ 198480 h 1113404"/>
                <a:gd name="connsiteX260" fmla="*/ 1327191 w 1814027"/>
                <a:gd name="connsiteY260" fmla="*/ 197512 h 1113404"/>
                <a:gd name="connsiteX261" fmla="*/ 1325194 w 1814027"/>
                <a:gd name="connsiteY261" fmla="*/ 196906 h 1113404"/>
                <a:gd name="connsiteX262" fmla="*/ 1321746 w 1814027"/>
                <a:gd name="connsiteY262" fmla="*/ 196695 h 1113404"/>
                <a:gd name="connsiteX263" fmla="*/ 1314909 w 1814027"/>
                <a:gd name="connsiteY263" fmla="*/ 198147 h 1113404"/>
                <a:gd name="connsiteX264" fmla="*/ 1311521 w 1814027"/>
                <a:gd name="connsiteY264" fmla="*/ 197905 h 1113404"/>
                <a:gd name="connsiteX265" fmla="*/ 1308617 w 1814027"/>
                <a:gd name="connsiteY265" fmla="*/ 195273 h 1113404"/>
                <a:gd name="connsiteX266" fmla="*/ 1306620 w 1814027"/>
                <a:gd name="connsiteY266" fmla="*/ 190433 h 1113404"/>
                <a:gd name="connsiteX267" fmla="*/ 1304140 w 1814027"/>
                <a:gd name="connsiteY267" fmla="*/ 176910 h 1113404"/>
                <a:gd name="connsiteX268" fmla="*/ 1303353 w 1814027"/>
                <a:gd name="connsiteY268" fmla="*/ 174763 h 1113404"/>
                <a:gd name="connsiteX269" fmla="*/ 1302083 w 1814027"/>
                <a:gd name="connsiteY269" fmla="*/ 173311 h 1113404"/>
                <a:gd name="connsiteX270" fmla="*/ 1300146 w 1814027"/>
                <a:gd name="connsiteY270" fmla="*/ 172614 h 1113404"/>
                <a:gd name="connsiteX271" fmla="*/ 1298059 w 1814027"/>
                <a:gd name="connsiteY271" fmla="*/ 172948 h 1113404"/>
                <a:gd name="connsiteX272" fmla="*/ 1296062 w 1814027"/>
                <a:gd name="connsiteY272" fmla="*/ 173764 h 1113404"/>
                <a:gd name="connsiteX273" fmla="*/ 1294096 w 1814027"/>
                <a:gd name="connsiteY273" fmla="*/ 174127 h 1113404"/>
                <a:gd name="connsiteX274" fmla="*/ 1292190 w 1814027"/>
                <a:gd name="connsiteY274" fmla="*/ 173038 h 1113404"/>
                <a:gd name="connsiteX275" fmla="*/ 1290345 w 1814027"/>
                <a:gd name="connsiteY275" fmla="*/ 172161 h 1113404"/>
                <a:gd name="connsiteX276" fmla="*/ 1288741 w 1814027"/>
                <a:gd name="connsiteY276" fmla="*/ 172312 h 1113404"/>
                <a:gd name="connsiteX277" fmla="*/ 1284052 w 1814027"/>
                <a:gd name="connsiteY277" fmla="*/ 174944 h 1113404"/>
                <a:gd name="connsiteX278" fmla="*/ 1275794 w 1814027"/>
                <a:gd name="connsiteY278" fmla="*/ 178151 h 1113404"/>
                <a:gd name="connsiteX279" fmla="*/ 1268806 w 1814027"/>
                <a:gd name="connsiteY279" fmla="*/ 179603 h 1113404"/>
                <a:gd name="connsiteX280" fmla="*/ 1261455 w 1814027"/>
                <a:gd name="connsiteY280" fmla="*/ 179179 h 1113404"/>
                <a:gd name="connsiteX281" fmla="*/ 1259700 w 1814027"/>
                <a:gd name="connsiteY281" fmla="*/ 178574 h 1113404"/>
                <a:gd name="connsiteX282" fmla="*/ 1258218 w 1814027"/>
                <a:gd name="connsiteY282" fmla="*/ 177273 h 1113404"/>
                <a:gd name="connsiteX283" fmla="*/ 1257220 w 1814027"/>
                <a:gd name="connsiteY283" fmla="*/ 175065 h 1113404"/>
                <a:gd name="connsiteX284" fmla="*/ 1256735 w 1814027"/>
                <a:gd name="connsiteY284" fmla="*/ 172796 h 1113404"/>
                <a:gd name="connsiteX285" fmla="*/ 1256130 w 1814027"/>
                <a:gd name="connsiteY285" fmla="*/ 170799 h 1113404"/>
                <a:gd name="connsiteX286" fmla="*/ 1254708 w 1814027"/>
                <a:gd name="connsiteY286" fmla="*/ 169438 h 1113404"/>
                <a:gd name="connsiteX287" fmla="*/ 1251683 w 1814027"/>
                <a:gd name="connsiteY287" fmla="*/ 169045 h 1113404"/>
                <a:gd name="connsiteX288" fmla="*/ 1245180 w 1814027"/>
                <a:gd name="connsiteY288" fmla="*/ 170104 h 1113404"/>
                <a:gd name="connsiteX289" fmla="*/ 1241852 w 1814027"/>
                <a:gd name="connsiteY289" fmla="*/ 169015 h 1113404"/>
                <a:gd name="connsiteX290" fmla="*/ 1234682 w 1814027"/>
                <a:gd name="connsiteY290" fmla="*/ 166625 h 1113404"/>
                <a:gd name="connsiteX291" fmla="*/ 1230931 w 1814027"/>
                <a:gd name="connsiteY291" fmla="*/ 166080 h 1113404"/>
                <a:gd name="connsiteX292" fmla="*/ 1227422 w 1814027"/>
                <a:gd name="connsiteY292" fmla="*/ 166927 h 1113404"/>
                <a:gd name="connsiteX293" fmla="*/ 1223670 w 1814027"/>
                <a:gd name="connsiteY293" fmla="*/ 169832 h 1113404"/>
                <a:gd name="connsiteX294" fmla="*/ 1221886 w 1814027"/>
                <a:gd name="connsiteY294" fmla="*/ 170588 h 1113404"/>
                <a:gd name="connsiteX295" fmla="*/ 1219466 w 1814027"/>
                <a:gd name="connsiteY295" fmla="*/ 170134 h 1113404"/>
                <a:gd name="connsiteX296" fmla="*/ 1212235 w 1814027"/>
                <a:gd name="connsiteY296" fmla="*/ 167291 h 1113404"/>
                <a:gd name="connsiteX297" fmla="*/ 1218074 w 1814027"/>
                <a:gd name="connsiteY297" fmla="*/ 163569 h 1113404"/>
                <a:gd name="connsiteX298" fmla="*/ 1222067 w 1814027"/>
                <a:gd name="connsiteY298" fmla="*/ 159576 h 1113404"/>
                <a:gd name="connsiteX299" fmla="*/ 1224578 w 1814027"/>
                <a:gd name="connsiteY299" fmla="*/ 154645 h 1113404"/>
                <a:gd name="connsiteX300" fmla="*/ 1223731 w 1814027"/>
                <a:gd name="connsiteY300" fmla="*/ 149654 h 1113404"/>
                <a:gd name="connsiteX301" fmla="*/ 1221735 w 1814027"/>
                <a:gd name="connsiteY301" fmla="*/ 150712 h 1113404"/>
                <a:gd name="connsiteX302" fmla="*/ 1220131 w 1814027"/>
                <a:gd name="connsiteY302" fmla="*/ 150712 h 1113404"/>
                <a:gd name="connsiteX303" fmla="*/ 1218407 w 1814027"/>
                <a:gd name="connsiteY303" fmla="*/ 150380 h 1113404"/>
                <a:gd name="connsiteX304" fmla="*/ 1216713 w 1814027"/>
                <a:gd name="connsiteY304" fmla="*/ 149745 h 1113404"/>
                <a:gd name="connsiteX305" fmla="*/ 1215230 w 1814027"/>
                <a:gd name="connsiteY305" fmla="*/ 148837 h 1113404"/>
                <a:gd name="connsiteX306" fmla="*/ 1213264 w 1814027"/>
                <a:gd name="connsiteY306" fmla="*/ 147082 h 1113404"/>
                <a:gd name="connsiteX307" fmla="*/ 1212235 w 1814027"/>
                <a:gd name="connsiteY307" fmla="*/ 145842 h 1113404"/>
                <a:gd name="connsiteX308" fmla="*/ 1211842 w 1814027"/>
                <a:gd name="connsiteY308" fmla="*/ 144632 h 1113404"/>
                <a:gd name="connsiteX309" fmla="*/ 1212356 w 1814027"/>
                <a:gd name="connsiteY309" fmla="*/ 143755 h 1113404"/>
                <a:gd name="connsiteX310" fmla="*/ 1214565 w 1814027"/>
                <a:gd name="connsiteY310" fmla="*/ 143301 h 1113404"/>
                <a:gd name="connsiteX311" fmla="*/ 1215412 w 1814027"/>
                <a:gd name="connsiteY311" fmla="*/ 142484 h 1113404"/>
                <a:gd name="connsiteX312" fmla="*/ 1215684 w 1814027"/>
                <a:gd name="connsiteY312" fmla="*/ 140972 h 1113404"/>
                <a:gd name="connsiteX313" fmla="*/ 1215412 w 1814027"/>
                <a:gd name="connsiteY313" fmla="*/ 139671 h 1113404"/>
                <a:gd name="connsiteX314" fmla="*/ 1215019 w 1814027"/>
                <a:gd name="connsiteY314" fmla="*/ 138370 h 1113404"/>
                <a:gd name="connsiteX315" fmla="*/ 1214898 w 1814027"/>
                <a:gd name="connsiteY315" fmla="*/ 136857 h 1113404"/>
                <a:gd name="connsiteX316" fmla="*/ 1215170 w 1814027"/>
                <a:gd name="connsiteY316" fmla="*/ 135436 h 1113404"/>
                <a:gd name="connsiteX317" fmla="*/ 1216047 w 1814027"/>
                <a:gd name="connsiteY317" fmla="*/ 132804 h 1113404"/>
                <a:gd name="connsiteX318" fmla="*/ 1216289 w 1814027"/>
                <a:gd name="connsiteY318" fmla="*/ 131261 h 1113404"/>
                <a:gd name="connsiteX319" fmla="*/ 1216047 w 1814027"/>
                <a:gd name="connsiteY319" fmla="*/ 128024 h 1113404"/>
                <a:gd name="connsiteX320" fmla="*/ 1215200 w 1814027"/>
                <a:gd name="connsiteY320" fmla="*/ 125453 h 1113404"/>
                <a:gd name="connsiteX321" fmla="*/ 1213899 w 1814027"/>
                <a:gd name="connsiteY321" fmla="*/ 123365 h 1113404"/>
                <a:gd name="connsiteX322" fmla="*/ 1209664 w 1814027"/>
                <a:gd name="connsiteY322" fmla="*/ 118888 h 1113404"/>
                <a:gd name="connsiteX323" fmla="*/ 1208938 w 1814027"/>
                <a:gd name="connsiteY323" fmla="*/ 117739 h 1113404"/>
                <a:gd name="connsiteX324" fmla="*/ 1208514 w 1814027"/>
                <a:gd name="connsiteY324" fmla="*/ 116377 h 1113404"/>
                <a:gd name="connsiteX325" fmla="*/ 1208091 w 1814027"/>
                <a:gd name="connsiteY325" fmla="*/ 113322 h 1113404"/>
                <a:gd name="connsiteX326" fmla="*/ 1207637 w 1814027"/>
                <a:gd name="connsiteY326" fmla="*/ 112202 h 1113404"/>
                <a:gd name="connsiteX327" fmla="*/ 1206246 w 1814027"/>
                <a:gd name="connsiteY327" fmla="*/ 111325 h 1113404"/>
                <a:gd name="connsiteX328" fmla="*/ 1202676 w 1814027"/>
                <a:gd name="connsiteY328" fmla="*/ 110418 h 1113404"/>
                <a:gd name="connsiteX329" fmla="*/ 1201557 w 1814027"/>
                <a:gd name="connsiteY329" fmla="*/ 108935 h 1113404"/>
                <a:gd name="connsiteX330" fmla="*/ 1202525 w 1814027"/>
                <a:gd name="connsiteY330" fmla="*/ 105426 h 1113404"/>
                <a:gd name="connsiteX331" fmla="*/ 1206427 w 1814027"/>
                <a:gd name="connsiteY331" fmla="*/ 103339 h 1113404"/>
                <a:gd name="connsiteX332" fmla="*/ 1223549 w 1814027"/>
                <a:gd name="connsiteY332" fmla="*/ 99558 h 1113404"/>
                <a:gd name="connsiteX333" fmla="*/ 1229449 w 1814027"/>
                <a:gd name="connsiteY333" fmla="*/ 99648 h 1113404"/>
                <a:gd name="connsiteX334" fmla="*/ 1231415 w 1814027"/>
                <a:gd name="connsiteY334" fmla="*/ 99195 h 1113404"/>
                <a:gd name="connsiteX335" fmla="*/ 1235227 w 1814027"/>
                <a:gd name="connsiteY335" fmla="*/ 95020 h 1113404"/>
                <a:gd name="connsiteX336" fmla="*/ 1235075 w 1814027"/>
                <a:gd name="connsiteY336" fmla="*/ 88879 h 1113404"/>
                <a:gd name="connsiteX337" fmla="*/ 1232383 w 1814027"/>
                <a:gd name="connsiteY337" fmla="*/ 82889 h 1113404"/>
                <a:gd name="connsiteX338" fmla="*/ 1230901 w 1814027"/>
                <a:gd name="connsiteY338" fmla="*/ 81527 h 1113404"/>
                <a:gd name="connsiteX339" fmla="*/ 1228511 w 1814027"/>
                <a:gd name="connsiteY339" fmla="*/ 79289 h 1113404"/>
                <a:gd name="connsiteX340" fmla="*/ 1226544 w 1814027"/>
                <a:gd name="connsiteY340" fmla="*/ 77988 h 1113404"/>
                <a:gd name="connsiteX341" fmla="*/ 1223217 w 1814027"/>
                <a:gd name="connsiteY341" fmla="*/ 74479 h 1113404"/>
                <a:gd name="connsiteX342" fmla="*/ 1221402 w 1814027"/>
                <a:gd name="connsiteY342" fmla="*/ 73390 h 1113404"/>
                <a:gd name="connsiteX343" fmla="*/ 1220222 w 1814027"/>
                <a:gd name="connsiteY343" fmla="*/ 73390 h 1113404"/>
                <a:gd name="connsiteX344" fmla="*/ 1218316 w 1814027"/>
                <a:gd name="connsiteY344" fmla="*/ 74237 h 1113404"/>
                <a:gd name="connsiteX345" fmla="*/ 1217136 w 1814027"/>
                <a:gd name="connsiteY345" fmla="*/ 73814 h 1113404"/>
                <a:gd name="connsiteX346" fmla="*/ 1217136 w 1814027"/>
                <a:gd name="connsiteY346" fmla="*/ 73451 h 1113404"/>
                <a:gd name="connsiteX347" fmla="*/ 1216834 w 1814027"/>
                <a:gd name="connsiteY347" fmla="*/ 71393 h 1113404"/>
                <a:gd name="connsiteX348" fmla="*/ 1216562 w 1814027"/>
                <a:gd name="connsiteY348" fmla="*/ 70667 h 1113404"/>
                <a:gd name="connsiteX349" fmla="*/ 1215987 w 1814027"/>
                <a:gd name="connsiteY349" fmla="*/ 70093 h 1113404"/>
                <a:gd name="connsiteX350" fmla="*/ 1214656 w 1814027"/>
                <a:gd name="connsiteY350" fmla="*/ 69246 h 1113404"/>
                <a:gd name="connsiteX351" fmla="*/ 1214051 w 1814027"/>
                <a:gd name="connsiteY351" fmla="*/ 68731 h 1113404"/>
                <a:gd name="connsiteX352" fmla="*/ 1210330 w 1814027"/>
                <a:gd name="connsiteY352" fmla="*/ 64254 h 1113404"/>
                <a:gd name="connsiteX353" fmla="*/ 1208303 w 1814027"/>
                <a:gd name="connsiteY353" fmla="*/ 62832 h 1113404"/>
                <a:gd name="connsiteX354" fmla="*/ 1203281 w 1814027"/>
                <a:gd name="connsiteY354" fmla="*/ 62832 h 1113404"/>
                <a:gd name="connsiteX355" fmla="*/ 1203281 w 1814027"/>
                <a:gd name="connsiteY355" fmla="*/ 61501 h 1113404"/>
                <a:gd name="connsiteX356" fmla="*/ 1204098 w 1814027"/>
                <a:gd name="connsiteY356" fmla="*/ 59293 h 1113404"/>
                <a:gd name="connsiteX357" fmla="*/ 1203766 w 1814027"/>
                <a:gd name="connsiteY357" fmla="*/ 56721 h 1113404"/>
                <a:gd name="connsiteX358" fmla="*/ 1201678 w 1814027"/>
                <a:gd name="connsiteY358" fmla="*/ 53545 h 1113404"/>
                <a:gd name="connsiteX359" fmla="*/ 1200468 w 1814027"/>
                <a:gd name="connsiteY359" fmla="*/ 50943 h 1113404"/>
                <a:gd name="connsiteX360" fmla="*/ 1199893 w 1814027"/>
                <a:gd name="connsiteY360" fmla="*/ 48070 h 1113404"/>
                <a:gd name="connsiteX361" fmla="*/ 1199651 w 1814027"/>
                <a:gd name="connsiteY361" fmla="*/ 43108 h 1113404"/>
                <a:gd name="connsiteX362" fmla="*/ 1199318 w 1814027"/>
                <a:gd name="connsiteY362" fmla="*/ 40537 h 1113404"/>
                <a:gd name="connsiteX363" fmla="*/ 1199318 w 1814027"/>
                <a:gd name="connsiteY363" fmla="*/ 39720 h 1113404"/>
                <a:gd name="connsiteX364" fmla="*/ 1201042 w 1814027"/>
                <a:gd name="connsiteY364" fmla="*/ 36332 h 1113404"/>
                <a:gd name="connsiteX365" fmla="*/ 1201042 w 1814027"/>
                <a:gd name="connsiteY365" fmla="*/ 34638 h 1113404"/>
                <a:gd name="connsiteX366" fmla="*/ 1200740 w 1814027"/>
                <a:gd name="connsiteY366" fmla="*/ 33216 h 1113404"/>
                <a:gd name="connsiteX367" fmla="*/ 1200165 w 1814027"/>
                <a:gd name="connsiteY367" fmla="*/ 31764 h 1113404"/>
                <a:gd name="connsiteX368" fmla="*/ 1199198 w 1814027"/>
                <a:gd name="connsiteY368" fmla="*/ 30010 h 1113404"/>
                <a:gd name="connsiteX369" fmla="*/ 1197503 w 1814027"/>
                <a:gd name="connsiteY369" fmla="*/ 27559 h 1113404"/>
                <a:gd name="connsiteX370" fmla="*/ 1195809 w 1814027"/>
                <a:gd name="connsiteY370" fmla="*/ 25835 h 1113404"/>
                <a:gd name="connsiteX371" fmla="*/ 1189366 w 1814027"/>
                <a:gd name="connsiteY371" fmla="*/ 21811 h 1113404"/>
                <a:gd name="connsiteX372" fmla="*/ 1188004 w 1814027"/>
                <a:gd name="connsiteY372" fmla="*/ 20148 h 1113404"/>
                <a:gd name="connsiteX373" fmla="*/ 1185494 w 1814027"/>
                <a:gd name="connsiteY373" fmla="*/ 15005 h 1113404"/>
                <a:gd name="connsiteX374" fmla="*/ 1183618 w 1814027"/>
                <a:gd name="connsiteY374" fmla="*/ 12585 h 1113404"/>
                <a:gd name="connsiteX375" fmla="*/ 1179383 w 1814027"/>
                <a:gd name="connsiteY375" fmla="*/ 10104 h 1113404"/>
                <a:gd name="connsiteX376" fmla="*/ 1177416 w 1814027"/>
                <a:gd name="connsiteY376" fmla="*/ 8349 h 1113404"/>
                <a:gd name="connsiteX377" fmla="*/ 1175843 w 1814027"/>
                <a:gd name="connsiteY377" fmla="*/ 5687 h 1113404"/>
                <a:gd name="connsiteX378" fmla="*/ 1175027 w 1814027"/>
                <a:gd name="connsiteY378" fmla="*/ 3630 h 1113404"/>
                <a:gd name="connsiteX379" fmla="*/ 1173907 w 1814027"/>
                <a:gd name="connsiteY379" fmla="*/ 2178 h 1113404"/>
                <a:gd name="connsiteX380" fmla="*/ 1171396 w 1814027"/>
                <a:gd name="connsiteY380" fmla="*/ 1361 h 1113404"/>
                <a:gd name="connsiteX381" fmla="*/ 1166828 w 1814027"/>
                <a:gd name="connsiteY381" fmla="*/ 1210 h 1113404"/>
                <a:gd name="connsiteX382" fmla="*/ 1162230 w 1814027"/>
                <a:gd name="connsiteY382" fmla="*/ 1997 h 1113404"/>
                <a:gd name="connsiteX383" fmla="*/ 1153396 w 1814027"/>
                <a:gd name="connsiteY383" fmla="*/ 5778 h 1113404"/>
                <a:gd name="connsiteX384" fmla="*/ 1146499 w 1814027"/>
                <a:gd name="connsiteY384" fmla="*/ 12131 h 1113404"/>
                <a:gd name="connsiteX385" fmla="*/ 1144321 w 1814027"/>
                <a:gd name="connsiteY385" fmla="*/ 12312 h 1113404"/>
                <a:gd name="connsiteX386" fmla="*/ 1142597 w 1814027"/>
                <a:gd name="connsiteY386" fmla="*/ 9953 h 1113404"/>
                <a:gd name="connsiteX387" fmla="*/ 1143232 w 1814027"/>
                <a:gd name="connsiteY387" fmla="*/ 4235 h 1113404"/>
                <a:gd name="connsiteX388" fmla="*/ 1141326 w 1814027"/>
                <a:gd name="connsiteY388" fmla="*/ 1694 h 1113404"/>
                <a:gd name="connsiteX389" fmla="*/ 1139783 w 1814027"/>
                <a:gd name="connsiteY389" fmla="*/ 2450 h 1113404"/>
                <a:gd name="connsiteX390" fmla="*/ 1138422 w 1814027"/>
                <a:gd name="connsiteY390" fmla="*/ 3600 h 1113404"/>
                <a:gd name="connsiteX391" fmla="*/ 1136970 w 1814027"/>
                <a:gd name="connsiteY391" fmla="*/ 4507 h 1113404"/>
                <a:gd name="connsiteX392" fmla="*/ 1135155 w 1814027"/>
                <a:gd name="connsiteY392" fmla="*/ 4629 h 1113404"/>
                <a:gd name="connsiteX393" fmla="*/ 1133582 w 1814027"/>
                <a:gd name="connsiteY393" fmla="*/ 3933 h 1113404"/>
                <a:gd name="connsiteX394" fmla="*/ 1133280 w 1814027"/>
                <a:gd name="connsiteY394" fmla="*/ 3721 h 1113404"/>
                <a:gd name="connsiteX395" fmla="*/ 1130829 w 1814027"/>
                <a:gd name="connsiteY395" fmla="*/ 2087 h 1113404"/>
                <a:gd name="connsiteX396" fmla="*/ 1129104 w 1814027"/>
                <a:gd name="connsiteY396" fmla="*/ 1724 h 1113404"/>
                <a:gd name="connsiteX397" fmla="*/ 1122601 w 1814027"/>
                <a:gd name="connsiteY397" fmla="*/ 1724 h 1113404"/>
                <a:gd name="connsiteX398" fmla="*/ 1112769 w 1814027"/>
                <a:gd name="connsiteY398" fmla="*/ 0 h 1113404"/>
                <a:gd name="connsiteX399" fmla="*/ 1111408 w 1814027"/>
                <a:gd name="connsiteY399" fmla="*/ 242 h 1113404"/>
                <a:gd name="connsiteX400" fmla="*/ 1109774 w 1814027"/>
                <a:gd name="connsiteY400" fmla="*/ 1331 h 1113404"/>
                <a:gd name="connsiteX401" fmla="*/ 1107172 w 1814027"/>
                <a:gd name="connsiteY401" fmla="*/ 4296 h 1113404"/>
                <a:gd name="connsiteX402" fmla="*/ 1105872 w 1814027"/>
                <a:gd name="connsiteY402" fmla="*/ 5445 h 1113404"/>
                <a:gd name="connsiteX403" fmla="*/ 1103936 w 1814027"/>
                <a:gd name="connsiteY403" fmla="*/ 6111 h 1113404"/>
                <a:gd name="connsiteX404" fmla="*/ 1102937 w 1814027"/>
                <a:gd name="connsiteY404" fmla="*/ 6655 h 1113404"/>
                <a:gd name="connsiteX405" fmla="*/ 1101757 w 1814027"/>
                <a:gd name="connsiteY405" fmla="*/ 8773 h 1113404"/>
                <a:gd name="connsiteX406" fmla="*/ 1100971 w 1814027"/>
                <a:gd name="connsiteY406" fmla="*/ 9560 h 1113404"/>
                <a:gd name="connsiteX407" fmla="*/ 1100064 w 1814027"/>
                <a:gd name="connsiteY407" fmla="*/ 9771 h 1113404"/>
                <a:gd name="connsiteX408" fmla="*/ 1098732 w 1814027"/>
                <a:gd name="connsiteY408" fmla="*/ 9106 h 1113404"/>
                <a:gd name="connsiteX409" fmla="*/ 1097825 w 1814027"/>
                <a:gd name="connsiteY409" fmla="*/ 9045 h 1113404"/>
                <a:gd name="connsiteX410" fmla="*/ 1096010 w 1814027"/>
                <a:gd name="connsiteY410" fmla="*/ 9862 h 1113404"/>
                <a:gd name="connsiteX411" fmla="*/ 1085634 w 1814027"/>
                <a:gd name="connsiteY411" fmla="*/ 18423 h 1113404"/>
                <a:gd name="connsiteX412" fmla="*/ 1083818 w 1814027"/>
                <a:gd name="connsiteY412" fmla="*/ 19300 h 1113404"/>
                <a:gd name="connsiteX413" fmla="*/ 1082004 w 1814027"/>
                <a:gd name="connsiteY413" fmla="*/ 19119 h 1113404"/>
                <a:gd name="connsiteX414" fmla="*/ 1079008 w 1814027"/>
                <a:gd name="connsiteY414" fmla="*/ 16880 h 1113404"/>
                <a:gd name="connsiteX415" fmla="*/ 1077314 w 1814027"/>
                <a:gd name="connsiteY415" fmla="*/ 16124 h 1113404"/>
                <a:gd name="connsiteX416" fmla="*/ 1074350 w 1814027"/>
                <a:gd name="connsiteY416" fmla="*/ 16124 h 1113404"/>
                <a:gd name="connsiteX417" fmla="*/ 1068390 w 1814027"/>
                <a:gd name="connsiteY417" fmla="*/ 17636 h 1113404"/>
                <a:gd name="connsiteX418" fmla="*/ 1065365 w 1814027"/>
                <a:gd name="connsiteY418" fmla="*/ 17636 h 1113404"/>
                <a:gd name="connsiteX419" fmla="*/ 1045550 w 1814027"/>
                <a:gd name="connsiteY419" fmla="*/ 7986 h 1113404"/>
                <a:gd name="connsiteX420" fmla="*/ 1040740 w 1814027"/>
                <a:gd name="connsiteY420" fmla="*/ 9348 h 1113404"/>
                <a:gd name="connsiteX421" fmla="*/ 1032058 w 1814027"/>
                <a:gd name="connsiteY421" fmla="*/ 6383 h 1113404"/>
                <a:gd name="connsiteX422" fmla="*/ 1027944 w 1814027"/>
                <a:gd name="connsiteY422" fmla="*/ 7170 h 1113404"/>
                <a:gd name="connsiteX423" fmla="*/ 1026552 w 1814027"/>
                <a:gd name="connsiteY423" fmla="*/ 12342 h 1113404"/>
                <a:gd name="connsiteX424" fmla="*/ 1027036 w 1814027"/>
                <a:gd name="connsiteY424" fmla="*/ 13976 h 1113404"/>
                <a:gd name="connsiteX425" fmla="*/ 1028912 w 1814027"/>
                <a:gd name="connsiteY425" fmla="*/ 17122 h 1113404"/>
                <a:gd name="connsiteX426" fmla="*/ 1029305 w 1814027"/>
                <a:gd name="connsiteY426" fmla="*/ 18423 h 1113404"/>
                <a:gd name="connsiteX427" fmla="*/ 1028730 w 1814027"/>
                <a:gd name="connsiteY427" fmla="*/ 20117 h 1113404"/>
                <a:gd name="connsiteX428" fmla="*/ 1027611 w 1814027"/>
                <a:gd name="connsiteY428" fmla="*/ 21025 h 1113404"/>
                <a:gd name="connsiteX429" fmla="*/ 1026371 w 1814027"/>
                <a:gd name="connsiteY429" fmla="*/ 21690 h 1113404"/>
                <a:gd name="connsiteX430" fmla="*/ 1025402 w 1814027"/>
                <a:gd name="connsiteY430" fmla="*/ 22628 h 1113404"/>
                <a:gd name="connsiteX431" fmla="*/ 1024465 w 1814027"/>
                <a:gd name="connsiteY431" fmla="*/ 25290 h 1113404"/>
                <a:gd name="connsiteX432" fmla="*/ 1023255 w 1814027"/>
                <a:gd name="connsiteY432" fmla="*/ 34366 h 1113404"/>
                <a:gd name="connsiteX433" fmla="*/ 1020320 w 1814027"/>
                <a:gd name="connsiteY433" fmla="*/ 40174 h 1113404"/>
                <a:gd name="connsiteX434" fmla="*/ 1015843 w 1814027"/>
                <a:gd name="connsiteY434" fmla="*/ 43441 h 1113404"/>
                <a:gd name="connsiteX435" fmla="*/ 1001988 w 1814027"/>
                <a:gd name="connsiteY435" fmla="*/ 49491 h 1113404"/>
                <a:gd name="connsiteX436" fmla="*/ 1000113 w 1814027"/>
                <a:gd name="connsiteY436" fmla="*/ 49612 h 1113404"/>
                <a:gd name="connsiteX437" fmla="*/ 994062 w 1814027"/>
                <a:gd name="connsiteY437" fmla="*/ 48130 h 1113404"/>
                <a:gd name="connsiteX438" fmla="*/ 990402 w 1814027"/>
                <a:gd name="connsiteY438" fmla="*/ 48463 h 1113404"/>
                <a:gd name="connsiteX439" fmla="*/ 985017 w 1814027"/>
                <a:gd name="connsiteY439" fmla="*/ 50943 h 1113404"/>
                <a:gd name="connsiteX440" fmla="*/ 983323 w 1814027"/>
                <a:gd name="connsiteY440" fmla="*/ 51246 h 1113404"/>
                <a:gd name="connsiteX441" fmla="*/ 981477 w 1814027"/>
                <a:gd name="connsiteY441" fmla="*/ 50187 h 1113404"/>
                <a:gd name="connsiteX442" fmla="*/ 981054 w 1814027"/>
                <a:gd name="connsiteY442" fmla="*/ 47888 h 1113404"/>
                <a:gd name="connsiteX443" fmla="*/ 981054 w 1814027"/>
                <a:gd name="connsiteY443" fmla="*/ 45135 h 1113404"/>
                <a:gd name="connsiteX444" fmla="*/ 980480 w 1814027"/>
                <a:gd name="connsiteY444" fmla="*/ 42654 h 1113404"/>
                <a:gd name="connsiteX445" fmla="*/ 978120 w 1814027"/>
                <a:gd name="connsiteY445" fmla="*/ 40627 h 1113404"/>
                <a:gd name="connsiteX446" fmla="*/ 974822 w 1814027"/>
                <a:gd name="connsiteY446" fmla="*/ 39992 h 1113404"/>
                <a:gd name="connsiteX447" fmla="*/ 968620 w 1814027"/>
                <a:gd name="connsiteY447" fmla="*/ 40507 h 1113404"/>
                <a:gd name="connsiteX448" fmla="*/ 957126 w 1814027"/>
                <a:gd name="connsiteY448" fmla="*/ 41081 h 1113404"/>
                <a:gd name="connsiteX449" fmla="*/ 939519 w 1814027"/>
                <a:gd name="connsiteY449" fmla="*/ 37935 h 1113404"/>
                <a:gd name="connsiteX450" fmla="*/ 930292 w 1814027"/>
                <a:gd name="connsiteY450" fmla="*/ 37935 h 1113404"/>
                <a:gd name="connsiteX451" fmla="*/ 922367 w 1814027"/>
                <a:gd name="connsiteY451" fmla="*/ 40961 h 1113404"/>
                <a:gd name="connsiteX452" fmla="*/ 920339 w 1814027"/>
                <a:gd name="connsiteY452" fmla="*/ 43411 h 1113404"/>
                <a:gd name="connsiteX453" fmla="*/ 918766 w 1814027"/>
                <a:gd name="connsiteY453" fmla="*/ 46406 h 1113404"/>
                <a:gd name="connsiteX454" fmla="*/ 917133 w 1814027"/>
                <a:gd name="connsiteY454" fmla="*/ 48917 h 1113404"/>
                <a:gd name="connsiteX455" fmla="*/ 914774 w 1814027"/>
                <a:gd name="connsiteY455" fmla="*/ 49854 h 1113404"/>
                <a:gd name="connsiteX456" fmla="*/ 912353 w 1814027"/>
                <a:gd name="connsiteY456" fmla="*/ 48977 h 1113404"/>
                <a:gd name="connsiteX457" fmla="*/ 907755 w 1814027"/>
                <a:gd name="connsiteY457" fmla="*/ 45347 h 1113404"/>
                <a:gd name="connsiteX458" fmla="*/ 905304 w 1814027"/>
                <a:gd name="connsiteY458" fmla="*/ 44046 h 1113404"/>
                <a:gd name="connsiteX459" fmla="*/ 901432 w 1814027"/>
                <a:gd name="connsiteY459" fmla="*/ 43592 h 1113404"/>
                <a:gd name="connsiteX460" fmla="*/ 887638 w 1814027"/>
                <a:gd name="connsiteY460" fmla="*/ 44349 h 1113404"/>
                <a:gd name="connsiteX461" fmla="*/ 885127 w 1814027"/>
                <a:gd name="connsiteY461" fmla="*/ 45105 h 1113404"/>
                <a:gd name="connsiteX462" fmla="*/ 883554 w 1814027"/>
                <a:gd name="connsiteY462" fmla="*/ 46708 h 1113404"/>
                <a:gd name="connsiteX463" fmla="*/ 884159 w 1814027"/>
                <a:gd name="connsiteY463" fmla="*/ 49249 h 1113404"/>
                <a:gd name="connsiteX464" fmla="*/ 883645 w 1814027"/>
                <a:gd name="connsiteY464" fmla="*/ 50006 h 1113404"/>
                <a:gd name="connsiteX465" fmla="*/ 883342 w 1814027"/>
                <a:gd name="connsiteY465" fmla="*/ 50732 h 1113404"/>
                <a:gd name="connsiteX466" fmla="*/ 883130 w 1814027"/>
                <a:gd name="connsiteY466" fmla="*/ 51458 h 1113404"/>
                <a:gd name="connsiteX467" fmla="*/ 882798 w 1814027"/>
                <a:gd name="connsiteY467" fmla="*/ 52214 h 1113404"/>
                <a:gd name="connsiteX468" fmla="*/ 885732 w 1814027"/>
                <a:gd name="connsiteY468" fmla="*/ 52607 h 1113404"/>
                <a:gd name="connsiteX469" fmla="*/ 886700 w 1814027"/>
                <a:gd name="connsiteY469" fmla="*/ 54604 h 1113404"/>
                <a:gd name="connsiteX470" fmla="*/ 885823 w 1814027"/>
                <a:gd name="connsiteY470" fmla="*/ 56540 h 1113404"/>
                <a:gd name="connsiteX471" fmla="*/ 883190 w 1814027"/>
                <a:gd name="connsiteY471" fmla="*/ 56721 h 1113404"/>
                <a:gd name="connsiteX472" fmla="*/ 882495 w 1814027"/>
                <a:gd name="connsiteY472" fmla="*/ 55844 h 1113404"/>
                <a:gd name="connsiteX473" fmla="*/ 881950 w 1814027"/>
                <a:gd name="connsiteY473" fmla="*/ 55602 h 1113404"/>
                <a:gd name="connsiteX474" fmla="*/ 881346 w 1814027"/>
                <a:gd name="connsiteY474" fmla="*/ 55844 h 1113404"/>
                <a:gd name="connsiteX475" fmla="*/ 880529 w 1814027"/>
                <a:gd name="connsiteY475" fmla="*/ 56419 h 1113404"/>
                <a:gd name="connsiteX476" fmla="*/ 879742 w 1814027"/>
                <a:gd name="connsiteY476" fmla="*/ 57357 h 1113404"/>
                <a:gd name="connsiteX477" fmla="*/ 879560 w 1814027"/>
                <a:gd name="connsiteY477" fmla="*/ 58295 h 1113404"/>
                <a:gd name="connsiteX478" fmla="*/ 879621 w 1814027"/>
                <a:gd name="connsiteY478" fmla="*/ 59051 h 1113404"/>
                <a:gd name="connsiteX479" fmla="*/ 879621 w 1814027"/>
                <a:gd name="connsiteY479" fmla="*/ 59535 h 1113404"/>
                <a:gd name="connsiteX480" fmla="*/ 878563 w 1814027"/>
                <a:gd name="connsiteY480" fmla="*/ 60836 h 1113404"/>
                <a:gd name="connsiteX481" fmla="*/ 877443 w 1814027"/>
                <a:gd name="connsiteY481" fmla="*/ 61955 h 1113404"/>
                <a:gd name="connsiteX482" fmla="*/ 876203 w 1814027"/>
                <a:gd name="connsiteY482" fmla="*/ 62893 h 1113404"/>
                <a:gd name="connsiteX483" fmla="*/ 874781 w 1814027"/>
                <a:gd name="connsiteY483" fmla="*/ 63709 h 1113404"/>
                <a:gd name="connsiteX484" fmla="*/ 871937 w 1814027"/>
                <a:gd name="connsiteY484" fmla="*/ 64738 h 1113404"/>
                <a:gd name="connsiteX485" fmla="*/ 871876 w 1814027"/>
                <a:gd name="connsiteY485" fmla="*/ 65282 h 1113404"/>
                <a:gd name="connsiteX486" fmla="*/ 872149 w 1814027"/>
                <a:gd name="connsiteY486" fmla="*/ 66220 h 1113404"/>
                <a:gd name="connsiteX487" fmla="*/ 872693 w 1814027"/>
                <a:gd name="connsiteY487" fmla="*/ 66856 h 1113404"/>
                <a:gd name="connsiteX488" fmla="*/ 872693 w 1814027"/>
                <a:gd name="connsiteY488" fmla="*/ 67884 h 1113404"/>
                <a:gd name="connsiteX489" fmla="*/ 871332 w 1814027"/>
                <a:gd name="connsiteY489" fmla="*/ 69639 h 1113404"/>
                <a:gd name="connsiteX490" fmla="*/ 870424 w 1814027"/>
                <a:gd name="connsiteY490" fmla="*/ 70546 h 1113404"/>
                <a:gd name="connsiteX491" fmla="*/ 869577 w 1814027"/>
                <a:gd name="connsiteY491" fmla="*/ 70939 h 1113404"/>
                <a:gd name="connsiteX492" fmla="*/ 866582 w 1814027"/>
                <a:gd name="connsiteY492" fmla="*/ 70667 h 1113404"/>
                <a:gd name="connsiteX493" fmla="*/ 865766 w 1814027"/>
                <a:gd name="connsiteY493" fmla="*/ 70939 h 1113404"/>
                <a:gd name="connsiteX494" fmla="*/ 865373 w 1814027"/>
                <a:gd name="connsiteY494" fmla="*/ 71877 h 1113404"/>
                <a:gd name="connsiteX495" fmla="*/ 865312 w 1814027"/>
                <a:gd name="connsiteY495" fmla="*/ 73299 h 1113404"/>
                <a:gd name="connsiteX496" fmla="*/ 865040 w 1814027"/>
                <a:gd name="connsiteY496" fmla="*/ 74570 h 1113404"/>
                <a:gd name="connsiteX497" fmla="*/ 862952 w 1814027"/>
                <a:gd name="connsiteY497" fmla="*/ 75598 h 1113404"/>
                <a:gd name="connsiteX498" fmla="*/ 862287 w 1814027"/>
                <a:gd name="connsiteY498" fmla="*/ 76566 h 1113404"/>
                <a:gd name="connsiteX499" fmla="*/ 861833 w 1814027"/>
                <a:gd name="connsiteY499" fmla="*/ 77565 h 1113404"/>
                <a:gd name="connsiteX500" fmla="*/ 861288 w 1814027"/>
                <a:gd name="connsiteY500" fmla="*/ 78019 h 1113404"/>
                <a:gd name="connsiteX501" fmla="*/ 861017 w 1814027"/>
                <a:gd name="connsiteY501" fmla="*/ 78533 h 1113404"/>
                <a:gd name="connsiteX502" fmla="*/ 858808 w 1814027"/>
                <a:gd name="connsiteY502" fmla="*/ 81195 h 1113404"/>
                <a:gd name="connsiteX503" fmla="*/ 858172 w 1814027"/>
                <a:gd name="connsiteY503" fmla="*/ 82253 h 1113404"/>
                <a:gd name="connsiteX504" fmla="*/ 857749 w 1814027"/>
                <a:gd name="connsiteY504" fmla="*/ 82707 h 1113404"/>
                <a:gd name="connsiteX505" fmla="*/ 857749 w 1814027"/>
                <a:gd name="connsiteY505" fmla="*/ 83282 h 1113404"/>
                <a:gd name="connsiteX506" fmla="*/ 858506 w 1814027"/>
                <a:gd name="connsiteY506" fmla="*/ 84704 h 1113404"/>
                <a:gd name="connsiteX507" fmla="*/ 858596 w 1814027"/>
                <a:gd name="connsiteY507" fmla="*/ 87033 h 1113404"/>
                <a:gd name="connsiteX508" fmla="*/ 856811 w 1814027"/>
                <a:gd name="connsiteY508" fmla="*/ 88727 h 1113404"/>
                <a:gd name="connsiteX509" fmla="*/ 854542 w 1814027"/>
                <a:gd name="connsiteY509" fmla="*/ 90089 h 1113404"/>
                <a:gd name="connsiteX510" fmla="*/ 853302 w 1814027"/>
                <a:gd name="connsiteY510" fmla="*/ 91389 h 1113404"/>
                <a:gd name="connsiteX511" fmla="*/ 855329 w 1814027"/>
                <a:gd name="connsiteY511" fmla="*/ 92327 h 1113404"/>
                <a:gd name="connsiteX512" fmla="*/ 856146 w 1814027"/>
                <a:gd name="connsiteY512" fmla="*/ 92418 h 1113404"/>
                <a:gd name="connsiteX513" fmla="*/ 856146 w 1814027"/>
                <a:gd name="connsiteY513" fmla="*/ 93538 h 1113404"/>
                <a:gd name="connsiteX514" fmla="*/ 855027 w 1814027"/>
                <a:gd name="connsiteY514" fmla="*/ 94627 h 1113404"/>
                <a:gd name="connsiteX515" fmla="*/ 854724 w 1814027"/>
                <a:gd name="connsiteY515" fmla="*/ 96381 h 1113404"/>
                <a:gd name="connsiteX516" fmla="*/ 854603 w 1814027"/>
                <a:gd name="connsiteY516" fmla="*/ 98226 h 1113404"/>
                <a:gd name="connsiteX517" fmla="*/ 854028 w 1814027"/>
                <a:gd name="connsiteY517" fmla="*/ 99648 h 1113404"/>
                <a:gd name="connsiteX518" fmla="*/ 852909 w 1814027"/>
                <a:gd name="connsiteY518" fmla="*/ 100132 h 1113404"/>
                <a:gd name="connsiteX519" fmla="*/ 849793 w 1814027"/>
                <a:gd name="connsiteY519" fmla="*/ 100223 h 1113404"/>
                <a:gd name="connsiteX520" fmla="*/ 848522 w 1814027"/>
                <a:gd name="connsiteY520" fmla="*/ 100586 h 1113404"/>
                <a:gd name="connsiteX521" fmla="*/ 849097 w 1814027"/>
                <a:gd name="connsiteY521" fmla="*/ 102583 h 1113404"/>
                <a:gd name="connsiteX522" fmla="*/ 847918 w 1814027"/>
                <a:gd name="connsiteY522" fmla="*/ 105729 h 1113404"/>
                <a:gd name="connsiteX523" fmla="*/ 848522 w 1814027"/>
                <a:gd name="connsiteY523" fmla="*/ 107786 h 1113404"/>
                <a:gd name="connsiteX524" fmla="*/ 847827 w 1814027"/>
                <a:gd name="connsiteY524" fmla="*/ 108421 h 1113404"/>
                <a:gd name="connsiteX525" fmla="*/ 847010 w 1814027"/>
                <a:gd name="connsiteY525" fmla="*/ 109540 h 1113404"/>
                <a:gd name="connsiteX526" fmla="*/ 846466 w 1814027"/>
                <a:gd name="connsiteY526" fmla="*/ 109934 h 1113404"/>
                <a:gd name="connsiteX527" fmla="*/ 846768 w 1814027"/>
                <a:gd name="connsiteY527" fmla="*/ 110509 h 1113404"/>
                <a:gd name="connsiteX528" fmla="*/ 847131 w 1814027"/>
                <a:gd name="connsiteY528" fmla="*/ 111930 h 1113404"/>
                <a:gd name="connsiteX529" fmla="*/ 845861 w 1814027"/>
                <a:gd name="connsiteY529" fmla="*/ 112445 h 1113404"/>
                <a:gd name="connsiteX530" fmla="*/ 842957 w 1814027"/>
                <a:gd name="connsiteY530" fmla="*/ 114895 h 1113404"/>
                <a:gd name="connsiteX531" fmla="*/ 842957 w 1814027"/>
                <a:gd name="connsiteY531" fmla="*/ 115984 h 1113404"/>
                <a:gd name="connsiteX532" fmla="*/ 844923 w 1814027"/>
                <a:gd name="connsiteY532" fmla="*/ 117527 h 1113404"/>
                <a:gd name="connsiteX533" fmla="*/ 845800 w 1814027"/>
                <a:gd name="connsiteY533" fmla="*/ 118011 h 1113404"/>
                <a:gd name="connsiteX534" fmla="*/ 845800 w 1814027"/>
                <a:gd name="connsiteY534" fmla="*/ 118948 h 1113404"/>
                <a:gd name="connsiteX535" fmla="*/ 845014 w 1814027"/>
                <a:gd name="connsiteY535" fmla="*/ 119160 h 1113404"/>
                <a:gd name="connsiteX536" fmla="*/ 844590 w 1814027"/>
                <a:gd name="connsiteY536" fmla="*/ 119433 h 1113404"/>
                <a:gd name="connsiteX537" fmla="*/ 844257 w 1814027"/>
                <a:gd name="connsiteY537" fmla="*/ 119735 h 1113404"/>
                <a:gd name="connsiteX538" fmla="*/ 843743 w 1814027"/>
                <a:gd name="connsiteY538" fmla="*/ 120068 h 1113404"/>
                <a:gd name="connsiteX539" fmla="*/ 843743 w 1814027"/>
                <a:gd name="connsiteY539" fmla="*/ 120975 h 1113404"/>
                <a:gd name="connsiteX540" fmla="*/ 844923 w 1814027"/>
                <a:gd name="connsiteY540" fmla="*/ 122397 h 1113404"/>
                <a:gd name="connsiteX541" fmla="*/ 848281 w 1814027"/>
                <a:gd name="connsiteY541" fmla="*/ 123275 h 1113404"/>
                <a:gd name="connsiteX542" fmla="*/ 849944 w 1814027"/>
                <a:gd name="connsiteY542" fmla="*/ 124031 h 1113404"/>
                <a:gd name="connsiteX543" fmla="*/ 849188 w 1814027"/>
                <a:gd name="connsiteY543" fmla="*/ 125695 h 1113404"/>
                <a:gd name="connsiteX544" fmla="*/ 848674 w 1814027"/>
                <a:gd name="connsiteY544" fmla="*/ 126391 h 1113404"/>
                <a:gd name="connsiteX545" fmla="*/ 847827 w 1814027"/>
                <a:gd name="connsiteY545" fmla="*/ 127086 h 1113404"/>
                <a:gd name="connsiteX546" fmla="*/ 849037 w 1814027"/>
                <a:gd name="connsiteY546" fmla="*/ 127933 h 1113404"/>
                <a:gd name="connsiteX547" fmla="*/ 850065 w 1814027"/>
                <a:gd name="connsiteY547" fmla="*/ 128932 h 1113404"/>
                <a:gd name="connsiteX548" fmla="*/ 850519 w 1814027"/>
                <a:gd name="connsiteY548" fmla="*/ 130021 h 1113404"/>
                <a:gd name="connsiteX549" fmla="*/ 849944 w 1814027"/>
                <a:gd name="connsiteY549" fmla="*/ 131231 h 1113404"/>
                <a:gd name="connsiteX550" fmla="*/ 850429 w 1814027"/>
                <a:gd name="connsiteY550" fmla="*/ 133015 h 1113404"/>
                <a:gd name="connsiteX551" fmla="*/ 851276 w 1814027"/>
                <a:gd name="connsiteY551" fmla="*/ 134135 h 1113404"/>
                <a:gd name="connsiteX552" fmla="*/ 852304 w 1814027"/>
                <a:gd name="connsiteY552" fmla="*/ 134800 h 1113404"/>
                <a:gd name="connsiteX553" fmla="*/ 853363 w 1814027"/>
                <a:gd name="connsiteY553" fmla="*/ 135193 h 1113404"/>
                <a:gd name="connsiteX554" fmla="*/ 853363 w 1814027"/>
                <a:gd name="connsiteY554" fmla="*/ 136313 h 1113404"/>
                <a:gd name="connsiteX555" fmla="*/ 852032 w 1814027"/>
                <a:gd name="connsiteY555" fmla="*/ 136071 h 1113404"/>
                <a:gd name="connsiteX556" fmla="*/ 850882 w 1814027"/>
                <a:gd name="connsiteY556" fmla="*/ 136434 h 1113404"/>
                <a:gd name="connsiteX557" fmla="*/ 850126 w 1814027"/>
                <a:gd name="connsiteY557" fmla="*/ 137493 h 1113404"/>
                <a:gd name="connsiteX558" fmla="*/ 849944 w 1814027"/>
                <a:gd name="connsiteY558" fmla="*/ 139368 h 1113404"/>
                <a:gd name="connsiteX559" fmla="*/ 850338 w 1814027"/>
                <a:gd name="connsiteY559" fmla="*/ 141123 h 1113404"/>
                <a:gd name="connsiteX560" fmla="*/ 851124 w 1814027"/>
                <a:gd name="connsiteY560" fmla="*/ 141486 h 1113404"/>
                <a:gd name="connsiteX561" fmla="*/ 852152 w 1814027"/>
                <a:gd name="connsiteY561" fmla="*/ 141547 h 1113404"/>
                <a:gd name="connsiteX562" fmla="*/ 853363 w 1814027"/>
                <a:gd name="connsiteY562" fmla="*/ 142393 h 1113404"/>
                <a:gd name="connsiteX563" fmla="*/ 853816 w 1814027"/>
                <a:gd name="connsiteY563" fmla="*/ 143392 h 1113404"/>
                <a:gd name="connsiteX564" fmla="*/ 854815 w 1814027"/>
                <a:gd name="connsiteY564" fmla="*/ 147567 h 1113404"/>
                <a:gd name="connsiteX565" fmla="*/ 855329 w 1814027"/>
                <a:gd name="connsiteY565" fmla="*/ 148353 h 1113404"/>
                <a:gd name="connsiteX566" fmla="*/ 856025 w 1814027"/>
                <a:gd name="connsiteY566" fmla="*/ 149230 h 1113404"/>
                <a:gd name="connsiteX567" fmla="*/ 856116 w 1814027"/>
                <a:gd name="connsiteY567" fmla="*/ 150017 h 1113404"/>
                <a:gd name="connsiteX568" fmla="*/ 854815 w 1814027"/>
                <a:gd name="connsiteY568" fmla="*/ 150501 h 1113404"/>
                <a:gd name="connsiteX569" fmla="*/ 855420 w 1814027"/>
                <a:gd name="connsiteY569" fmla="*/ 154676 h 1113404"/>
                <a:gd name="connsiteX570" fmla="*/ 852607 w 1814027"/>
                <a:gd name="connsiteY570" fmla="*/ 157398 h 1113404"/>
                <a:gd name="connsiteX571" fmla="*/ 849551 w 1814027"/>
                <a:gd name="connsiteY571" fmla="*/ 159455 h 1113404"/>
                <a:gd name="connsiteX572" fmla="*/ 849279 w 1814027"/>
                <a:gd name="connsiteY572" fmla="*/ 161633 h 1113404"/>
                <a:gd name="connsiteX573" fmla="*/ 847494 w 1814027"/>
                <a:gd name="connsiteY573" fmla="*/ 164538 h 1113404"/>
                <a:gd name="connsiteX574" fmla="*/ 847222 w 1814027"/>
                <a:gd name="connsiteY574" fmla="*/ 164810 h 1113404"/>
                <a:gd name="connsiteX575" fmla="*/ 847101 w 1814027"/>
                <a:gd name="connsiteY575" fmla="*/ 168349 h 1113404"/>
                <a:gd name="connsiteX576" fmla="*/ 847040 w 1814027"/>
                <a:gd name="connsiteY576" fmla="*/ 168500 h 1113404"/>
                <a:gd name="connsiteX577" fmla="*/ 846647 w 1814027"/>
                <a:gd name="connsiteY577" fmla="*/ 169347 h 1113404"/>
                <a:gd name="connsiteX578" fmla="*/ 845528 w 1814027"/>
                <a:gd name="connsiteY578" fmla="*/ 169589 h 1113404"/>
                <a:gd name="connsiteX579" fmla="*/ 844771 w 1814027"/>
                <a:gd name="connsiteY579" fmla="*/ 168198 h 1113404"/>
                <a:gd name="connsiteX580" fmla="*/ 843622 w 1814027"/>
                <a:gd name="connsiteY580" fmla="*/ 167048 h 1113404"/>
                <a:gd name="connsiteX581" fmla="*/ 842351 w 1814027"/>
                <a:gd name="connsiteY581" fmla="*/ 166262 h 1113404"/>
                <a:gd name="connsiteX582" fmla="*/ 841020 w 1814027"/>
                <a:gd name="connsiteY582" fmla="*/ 165929 h 1113404"/>
                <a:gd name="connsiteX583" fmla="*/ 839598 w 1814027"/>
                <a:gd name="connsiteY583" fmla="*/ 166080 h 1113404"/>
                <a:gd name="connsiteX584" fmla="*/ 838025 w 1814027"/>
                <a:gd name="connsiteY584" fmla="*/ 165627 h 1113404"/>
                <a:gd name="connsiteX585" fmla="*/ 835787 w 1814027"/>
                <a:gd name="connsiteY585" fmla="*/ 162511 h 1113404"/>
                <a:gd name="connsiteX586" fmla="*/ 834304 w 1814027"/>
                <a:gd name="connsiteY586" fmla="*/ 161240 h 1113404"/>
                <a:gd name="connsiteX587" fmla="*/ 832852 w 1814027"/>
                <a:gd name="connsiteY587" fmla="*/ 160907 h 1113404"/>
                <a:gd name="connsiteX588" fmla="*/ 829858 w 1814027"/>
                <a:gd name="connsiteY588" fmla="*/ 160907 h 1113404"/>
                <a:gd name="connsiteX589" fmla="*/ 828315 w 1814027"/>
                <a:gd name="connsiteY589" fmla="*/ 160363 h 1113404"/>
                <a:gd name="connsiteX590" fmla="*/ 826984 w 1814027"/>
                <a:gd name="connsiteY590" fmla="*/ 159244 h 1113404"/>
                <a:gd name="connsiteX591" fmla="*/ 823898 w 1814027"/>
                <a:gd name="connsiteY591" fmla="*/ 155583 h 1113404"/>
                <a:gd name="connsiteX592" fmla="*/ 823172 w 1814027"/>
                <a:gd name="connsiteY592" fmla="*/ 154010 h 1113404"/>
                <a:gd name="connsiteX593" fmla="*/ 823444 w 1814027"/>
                <a:gd name="connsiteY593" fmla="*/ 153859 h 1113404"/>
                <a:gd name="connsiteX594" fmla="*/ 824291 w 1814027"/>
                <a:gd name="connsiteY594" fmla="*/ 150773 h 1113404"/>
                <a:gd name="connsiteX595" fmla="*/ 824473 w 1814027"/>
                <a:gd name="connsiteY595" fmla="*/ 149623 h 1113404"/>
                <a:gd name="connsiteX596" fmla="*/ 824473 w 1814027"/>
                <a:gd name="connsiteY596" fmla="*/ 148081 h 1113404"/>
                <a:gd name="connsiteX597" fmla="*/ 824382 w 1814027"/>
                <a:gd name="connsiteY597" fmla="*/ 146901 h 1113404"/>
                <a:gd name="connsiteX598" fmla="*/ 824110 w 1814027"/>
                <a:gd name="connsiteY598" fmla="*/ 145933 h 1113404"/>
                <a:gd name="connsiteX599" fmla="*/ 823504 w 1814027"/>
                <a:gd name="connsiteY599" fmla="*/ 144935 h 1113404"/>
                <a:gd name="connsiteX600" fmla="*/ 822204 w 1814027"/>
                <a:gd name="connsiteY600" fmla="*/ 143815 h 1113404"/>
                <a:gd name="connsiteX601" fmla="*/ 817122 w 1814027"/>
                <a:gd name="connsiteY601" fmla="*/ 141516 h 1113404"/>
                <a:gd name="connsiteX602" fmla="*/ 815700 w 1814027"/>
                <a:gd name="connsiteY602" fmla="*/ 140124 h 1113404"/>
                <a:gd name="connsiteX603" fmla="*/ 811949 w 1814027"/>
                <a:gd name="connsiteY603" fmla="*/ 135375 h 1113404"/>
                <a:gd name="connsiteX604" fmla="*/ 809135 w 1814027"/>
                <a:gd name="connsiteY604" fmla="*/ 133469 h 1113404"/>
                <a:gd name="connsiteX605" fmla="*/ 806231 w 1814027"/>
                <a:gd name="connsiteY605" fmla="*/ 132743 h 1113404"/>
                <a:gd name="connsiteX606" fmla="*/ 792134 w 1814027"/>
                <a:gd name="connsiteY606" fmla="*/ 133076 h 1113404"/>
                <a:gd name="connsiteX607" fmla="*/ 789835 w 1814027"/>
                <a:gd name="connsiteY607" fmla="*/ 133711 h 1113404"/>
                <a:gd name="connsiteX608" fmla="*/ 783724 w 1814027"/>
                <a:gd name="connsiteY608" fmla="*/ 136676 h 1113404"/>
                <a:gd name="connsiteX609" fmla="*/ 782453 w 1814027"/>
                <a:gd name="connsiteY609" fmla="*/ 136736 h 1113404"/>
                <a:gd name="connsiteX610" fmla="*/ 780850 w 1814027"/>
                <a:gd name="connsiteY610" fmla="*/ 135738 h 1113404"/>
                <a:gd name="connsiteX611" fmla="*/ 779822 w 1814027"/>
                <a:gd name="connsiteY611" fmla="*/ 135647 h 1113404"/>
                <a:gd name="connsiteX612" fmla="*/ 778551 w 1814027"/>
                <a:gd name="connsiteY612" fmla="*/ 136464 h 1113404"/>
                <a:gd name="connsiteX613" fmla="*/ 776857 w 1814027"/>
                <a:gd name="connsiteY613" fmla="*/ 139338 h 1113404"/>
                <a:gd name="connsiteX614" fmla="*/ 775829 w 1814027"/>
                <a:gd name="connsiteY614" fmla="*/ 140367 h 1113404"/>
                <a:gd name="connsiteX615" fmla="*/ 774043 w 1814027"/>
                <a:gd name="connsiteY615" fmla="*/ 140790 h 1113404"/>
                <a:gd name="connsiteX616" fmla="*/ 764908 w 1814027"/>
                <a:gd name="connsiteY616" fmla="*/ 139368 h 1113404"/>
                <a:gd name="connsiteX617" fmla="*/ 763637 w 1814027"/>
                <a:gd name="connsiteY617" fmla="*/ 137765 h 1113404"/>
                <a:gd name="connsiteX618" fmla="*/ 762760 w 1814027"/>
                <a:gd name="connsiteY618" fmla="*/ 135496 h 1113404"/>
                <a:gd name="connsiteX619" fmla="*/ 761096 w 1814027"/>
                <a:gd name="connsiteY619" fmla="*/ 132804 h 1113404"/>
                <a:gd name="connsiteX620" fmla="*/ 759341 w 1814027"/>
                <a:gd name="connsiteY620" fmla="*/ 131685 h 1113404"/>
                <a:gd name="connsiteX621" fmla="*/ 757133 w 1814027"/>
                <a:gd name="connsiteY621" fmla="*/ 131412 h 1113404"/>
                <a:gd name="connsiteX622" fmla="*/ 754804 w 1814027"/>
                <a:gd name="connsiteY622" fmla="*/ 131745 h 1113404"/>
                <a:gd name="connsiteX623" fmla="*/ 752807 w 1814027"/>
                <a:gd name="connsiteY623" fmla="*/ 132531 h 1113404"/>
                <a:gd name="connsiteX624" fmla="*/ 750720 w 1814027"/>
                <a:gd name="connsiteY624" fmla="*/ 134286 h 1113404"/>
                <a:gd name="connsiteX625" fmla="*/ 749298 w 1814027"/>
                <a:gd name="connsiteY625" fmla="*/ 136222 h 1113404"/>
                <a:gd name="connsiteX626" fmla="*/ 747785 w 1814027"/>
                <a:gd name="connsiteY626" fmla="*/ 137886 h 1113404"/>
                <a:gd name="connsiteX627" fmla="*/ 745456 w 1814027"/>
                <a:gd name="connsiteY627" fmla="*/ 138763 h 1113404"/>
                <a:gd name="connsiteX628" fmla="*/ 742824 w 1814027"/>
                <a:gd name="connsiteY628" fmla="*/ 139035 h 1113404"/>
                <a:gd name="connsiteX629" fmla="*/ 741463 w 1814027"/>
                <a:gd name="connsiteY629" fmla="*/ 139671 h 1113404"/>
                <a:gd name="connsiteX630" fmla="*/ 740464 w 1814027"/>
                <a:gd name="connsiteY630" fmla="*/ 141425 h 1113404"/>
                <a:gd name="connsiteX631" fmla="*/ 738982 w 1814027"/>
                <a:gd name="connsiteY631" fmla="*/ 145055 h 1113404"/>
                <a:gd name="connsiteX632" fmla="*/ 737500 w 1814027"/>
                <a:gd name="connsiteY632" fmla="*/ 147445 h 1113404"/>
                <a:gd name="connsiteX633" fmla="*/ 735503 w 1814027"/>
                <a:gd name="connsiteY633" fmla="*/ 147445 h 1113404"/>
                <a:gd name="connsiteX634" fmla="*/ 731117 w 1814027"/>
                <a:gd name="connsiteY634" fmla="*/ 145812 h 1113404"/>
                <a:gd name="connsiteX635" fmla="*/ 728818 w 1814027"/>
                <a:gd name="connsiteY635" fmla="*/ 146478 h 1113404"/>
                <a:gd name="connsiteX636" fmla="*/ 726156 w 1814027"/>
                <a:gd name="connsiteY636" fmla="*/ 148625 h 1113404"/>
                <a:gd name="connsiteX637" fmla="*/ 724885 w 1814027"/>
                <a:gd name="connsiteY637" fmla="*/ 149654 h 1113404"/>
                <a:gd name="connsiteX638" fmla="*/ 722828 w 1814027"/>
                <a:gd name="connsiteY638" fmla="*/ 150319 h 1113404"/>
                <a:gd name="connsiteX639" fmla="*/ 720529 w 1814027"/>
                <a:gd name="connsiteY639" fmla="*/ 149109 h 1113404"/>
                <a:gd name="connsiteX640" fmla="*/ 719288 w 1814027"/>
                <a:gd name="connsiteY640" fmla="*/ 146447 h 1113404"/>
                <a:gd name="connsiteX641" fmla="*/ 718441 w 1814027"/>
                <a:gd name="connsiteY641" fmla="*/ 143210 h 1113404"/>
                <a:gd name="connsiteX642" fmla="*/ 717292 w 1814027"/>
                <a:gd name="connsiteY642" fmla="*/ 140336 h 1113404"/>
                <a:gd name="connsiteX643" fmla="*/ 715235 w 1814027"/>
                <a:gd name="connsiteY643" fmla="*/ 138128 h 1113404"/>
                <a:gd name="connsiteX644" fmla="*/ 713571 w 1814027"/>
                <a:gd name="connsiteY644" fmla="*/ 136979 h 1113404"/>
                <a:gd name="connsiteX645" fmla="*/ 712875 w 1814027"/>
                <a:gd name="connsiteY645" fmla="*/ 135284 h 1113404"/>
                <a:gd name="connsiteX646" fmla="*/ 713843 w 1814027"/>
                <a:gd name="connsiteY646" fmla="*/ 131442 h 1113404"/>
                <a:gd name="connsiteX647" fmla="*/ 713450 w 1814027"/>
                <a:gd name="connsiteY647" fmla="*/ 127540 h 1113404"/>
                <a:gd name="connsiteX648" fmla="*/ 712270 w 1814027"/>
                <a:gd name="connsiteY648" fmla="*/ 125090 h 1113404"/>
                <a:gd name="connsiteX649" fmla="*/ 708912 w 1814027"/>
                <a:gd name="connsiteY649" fmla="*/ 120401 h 1113404"/>
                <a:gd name="connsiteX650" fmla="*/ 706795 w 1814027"/>
                <a:gd name="connsiteY650" fmla="*/ 115016 h 1113404"/>
                <a:gd name="connsiteX651" fmla="*/ 705554 w 1814027"/>
                <a:gd name="connsiteY651" fmla="*/ 113171 h 1113404"/>
                <a:gd name="connsiteX652" fmla="*/ 703134 w 1814027"/>
                <a:gd name="connsiteY652" fmla="*/ 111779 h 1113404"/>
                <a:gd name="connsiteX653" fmla="*/ 699081 w 1814027"/>
                <a:gd name="connsiteY653" fmla="*/ 110872 h 1113404"/>
                <a:gd name="connsiteX654" fmla="*/ 697023 w 1814027"/>
                <a:gd name="connsiteY654" fmla="*/ 110962 h 1113404"/>
                <a:gd name="connsiteX655" fmla="*/ 695057 w 1814027"/>
                <a:gd name="connsiteY655" fmla="*/ 111628 h 1113404"/>
                <a:gd name="connsiteX656" fmla="*/ 693061 w 1814027"/>
                <a:gd name="connsiteY656" fmla="*/ 113443 h 1113404"/>
                <a:gd name="connsiteX657" fmla="*/ 690671 w 1814027"/>
                <a:gd name="connsiteY657" fmla="*/ 118132 h 1113404"/>
                <a:gd name="connsiteX658" fmla="*/ 688765 w 1814027"/>
                <a:gd name="connsiteY658" fmla="*/ 120037 h 1113404"/>
                <a:gd name="connsiteX659" fmla="*/ 686103 w 1814027"/>
                <a:gd name="connsiteY659" fmla="*/ 120975 h 1113404"/>
                <a:gd name="connsiteX660" fmla="*/ 679901 w 1814027"/>
                <a:gd name="connsiteY660" fmla="*/ 121036 h 1113404"/>
                <a:gd name="connsiteX661" fmla="*/ 676967 w 1814027"/>
                <a:gd name="connsiteY661" fmla="*/ 121611 h 1113404"/>
                <a:gd name="connsiteX662" fmla="*/ 673790 w 1814027"/>
                <a:gd name="connsiteY662" fmla="*/ 123214 h 1113404"/>
                <a:gd name="connsiteX663" fmla="*/ 670553 w 1814027"/>
                <a:gd name="connsiteY663" fmla="*/ 125543 h 1113404"/>
                <a:gd name="connsiteX664" fmla="*/ 667740 w 1814027"/>
                <a:gd name="connsiteY664" fmla="*/ 128690 h 1113404"/>
                <a:gd name="connsiteX665" fmla="*/ 665744 w 1814027"/>
                <a:gd name="connsiteY665" fmla="*/ 132774 h 1113404"/>
                <a:gd name="connsiteX666" fmla="*/ 665471 w 1814027"/>
                <a:gd name="connsiteY666" fmla="*/ 135284 h 1113404"/>
                <a:gd name="connsiteX667" fmla="*/ 665683 w 1814027"/>
                <a:gd name="connsiteY667" fmla="*/ 140941 h 1113404"/>
                <a:gd name="connsiteX668" fmla="*/ 665199 w 1814027"/>
                <a:gd name="connsiteY668" fmla="*/ 143119 h 1113404"/>
                <a:gd name="connsiteX669" fmla="*/ 663384 w 1814027"/>
                <a:gd name="connsiteY669" fmla="*/ 144995 h 1113404"/>
                <a:gd name="connsiteX670" fmla="*/ 662325 w 1814027"/>
                <a:gd name="connsiteY670" fmla="*/ 143482 h 1113404"/>
                <a:gd name="connsiteX671" fmla="*/ 661599 w 1814027"/>
                <a:gd name="connsiteY671" fmla="*/ 140730 h 1113404"/>
                <a:gd name="connsiteX672" fmla="*/ 660903 w 1814027"/>
                <a:gd name="connsiteY672" fmla="*/ 138915 h 1113404"/>
                <a:gd name="connsiteX673" fmla="*/ 659602 w 1814027"/>
                <a:gd name="connsiteY673" fmla="*/ 138794 h 1113404"/>
                <a:gd name="connsiteX674" fmla="*/ 658271 w 1814027"/>
                <a:gd name="connsiteY674" fmla="*/ 139580 h 1113404"/>
                <a:gd name="connsiteX675" fmla="*/ 656819 w 1814027"/>
                <a:gd name="connsiteY675" fmla="*/ 140185 h 1113404"/>
                <a:gd name="connsiteX676" fmla="*/ 655156 w 1814027"/>
                <a:gd name="connsiteY676" fmla="*/ 139429 h 1113404"/>
                <a:gd name="connsiteX677" fmla="*/ 654187 w 1814027"/>
                <a:gd name="connsiteY677" fmla="*/ 137856 h 1113404"/>
                <a:gd name="connsiteX678" fmla="*/ 653522 w 1814027"/>
                <a:gd name="connsiteY678" fmla="*/ 135768 h 1113404"/>
                <a:gd name="connsiteX679" fmla="*/ 651949 w 1814027"/>
                <a:gd name="connsiteY679" fmla="*/ 127480 h 1113404"/>
                <a:gd name="connsiteX680" fmla="*/ 651707 w 1814027"/>
                <a:gd name="connsiteY680" fmla="*/ 124454 h 1113404"/>
                <a:gd name="connsiteX681" fmla="*/ 650829 w 1814027"/>
                <a:gd name="connsiteY681" fmla="*/ 122427 h 1113404"/>
                <a:gd name="connsiteX682" fmla="*/ 648228 w 1814027"/>
                <a:gd name="connsiteY682" fmla="*/ 121429 h 1113404"/>
                <a:gd name="connsiteX683" fmla="*/ 639213 w 1814027"/>
                <a:gd name="connsiteY683" fmla="*/ 119674 h 1113404"/>
                <a:gd name="connsiteX684" fmla="*/ 636460 w 1814027"/>
                <a:gd name="connsiteY684" fmla="*/ 119735 h 1113404"/>
                <a:gd name="connsiteX685" fmla="*/ 633858 w 1814027"/>
                <a:gd name="connsiteY685" fmla="*/ 120552 h 1113404"/>
                <a:gd name="connsiteX686" fmla="*/ 628837 w 1814027"/>
                <a:gd name="connsiteY686" fmla="*/ 123698 h 1113404"/>
                <a:gd name="connsiteX687" fmla="*/ 626235 w 1814027"/>
                <a:gd name="connsiteY687" fmla="*/ 126028 h 1113404"/>
                <a:gd name="connsiteX688" fmla="*/ 624934 w 1814027"/>
                <a:gd name="connsiteY688" fmla="*/ 126663 h 1113404"/>
                <a:gd name="connsiteX689" fmla="*/ 623633 w 1814027"/>
                <a:gd name="connsiteY689" fmla="*/ 126179 h 1113404"/>
                <a:gd name="connsiteX690" fmla="*/ 623059 w 1814027"/>
                <a:gd name="connsiteY690" fmla="*/ 124999 h 1113404"/>
                <a:gd name="connsiteX691" fmla="*/ 621970 w 1814027"/>
                <a:gd name="connsiteY691" fmla="*/ 120885 h 1113404"/>
                <a:gd name="connsiteX692" fmla="*/ 621304 w 1814027"/>
                <a:gd name="connsiteY692" fmla="*/ 119342 h 1113404"/>
                <a:gd name="connsiteX693" fmla="*/ 620064 w 1814027"/>
                <a:gd name="connsiteY693" fmla="*/ 118071 h 1113404"/>
                <a:gd name="connsiteX694" fmla="*/ 617160 w 1814027"/>
                <a:gd name="connsiteY694" fmla="*/ 116407 h 1113404"/>
                <a:gd name="connsiteX695" fmla="*/ 615980 w 1814027"/>
                <a:gd name="connsiteY695" fmla="*/ 115288 h 1113404"/>
                <a:gd name="connsiteX696" fmla="*/ 615133 w 1814027"/>
                <a:gd name="connsiteY696" fmla="*/ 113624 h 1113404"/>
                <a:gd name="connsiteX697" fmla="*/ 615042 w 1814027"/>
                <a:gd name="connsiteY697" fmla="*/ 112263 h 1113404"/>
                <a:gd name="connsiteX698" fmla="*/ 615103 w 1814027"/>
                <a:gd name="connsiteY698" fmla="*/ 110992 h 1113404"/>
                <a:gd name="connsiteX699" fmla="*/ 614740 w 1814027"/>
                <a:gd name="connsiteY699" fmla="*/ 109510 h 1113404"/>
                <a:gd name="connsiteX700" fmla="*/ 613257 w 1814027"/>
                <a:gd name="connsiteY700" fmla="*/ 107937 h 1113404"/>
                <a:gd name="connsiteX701" fmla="*/ 611200 w 1814027"/>
                <a:gd name="connsiteY701" fmla="*/ 107816 h 1113404"/>
                <a:gd name="connsiteX702" fmla="*/ 608931 w 1814027"/>
                <a:gd name="connsiteY702" fmla="*/ 108814 h 1113404"/>
                <a:gd name="connsiteX703" fmla="*/ 606783 w 1814027"/>
                <a:gd name="connsiteY703" fmla="*/ 110629 h 1113404"/>
                <a:gd name="connsiteX704" fmla="*/ 604817 w 1814027"/>
                <a:gd name="connsiteY704" fmla="*/ 113413 h 1113404"/>
                <a:gd name="connsiteX705" fmla="*/ 601550 w 1814027"/>
                <a:gd name="connsiteY705" fmla="*/ 119191 h 1113404"/>
                <a:gd name="connsiteX706" fmla="*/ 599130 w 1814027"/>
                <a:gd name="connsiteY706" fmla="*/ 121217 h 1113404"/>
                <a:gd name="connsiteX707" fmla="*/ 597194 w 1814027"/>
                <a:gd name="connsiteY707" fmla="*/ 121883 h 1113404"/>
                <a:gd name="connsiteX708" fmla="*/ 587362 w 1814027"/>
                <a:gd name="connsiteY708" fmla="*/ 121883 h 1113404"/>
                <a:gd name="connsiteX709" fmla="*/ 585517 w 1814027"/>
                <a:gd name="connsiteY709" fmla="*/ 121429 h 1113404"/>
                <a:gd name="connsiteX710" fmla="*/ 583641 w 1814027"/>
                <a:gd name="connsiteY710" fmla="*/ 120491 h 1113404"/>
                <a:gd name="connsiteX711" fmla="*/ 577561 w 1814027"/>
                <a:gd name="connsiteY711" fmla="*/ 114380 h 1113404"/>
                <a:gd name="connsiteX712" fmla="*/ 575413 w 1814027"/>
                <a:gd name="connsiteY712" fmla="*/ 113291 h 1113404"/>
                <a:gd name="connsiteX713" fmla="*/ 573083 w 1814027"/>
                <a:gd name="connsiteY713" fmla="*/ 113654 h 1113404"/>
                <a:gd name="connsiteX714" fmla="*/ 571208 w 1814027"/>
                <a:gd name="connsiteY714" fmla="*/ 115288 h 1113404"/>
                <a:gd name="connsiteX715" fmla="*/ 569907 w 1814027"/>
                <a:gd name="connsiteY715" fmla="*/ 117769 h 1113404"/>
                <a:gd name="connsiteX716" fmla="*/ 569272 w 1814027"/>
                <a:gd name="connsiteY716" fmla="*/ 120764 h 1113404"/>
                <a:gd name="connsiteX717" fmla="*/ 569332 w 1814027"/>
                <a:gd name="connsiteY717" fmla="*/ 122639 h 1113404"/>
                <a:gd name="connsiteX718" fmla="*/ 569604 w 1814027"/>
                <a:gd name="connsiteY718" fmla="*/ 124242 h 1113404"/>
                <a:gd name="connsiteX719" fmla="*/ 569695 w 1814027"/>
                <a:gd name="connsiteY719" fmla="*/ 125876 h 1113404"/>
                <a:gd name="connsiteX720" fmla="*/ 569211 w 1814027"/>
                <a:gd name="connsiteY720" fmla="*/ 127843 h 1113404"/>
                <a:gd name="connsiteX721" fmla="*/ 568697 w 1814027"/>
                <a:gd name="connsiteY721" fmla="*/ 128810 h 1113404"/>
                <a:gd name="connsiteX722" fmla="*/ 564008 w 1814027"/>
                <a:gd name="connsiteY722" fmla="*/ 134679 h 1113404"/>
                <a:gd name="connsiteX723" fmla="*/ 562949 w 1814027"/>
                <a:gd name="connsiteY723" fmla="*/ 135617 h 1113404"/>
                <a:gd name="connsiteX724" fmla="*/ 561346 w 1814027"/>
                <a:gd name="connsiteY724" fmla="*/ 135829 h 1113404"/>
                <a:gd name="connsiteX725" fmla="*/ 559924 w 1814027"/>
                <a:gd name="connsiteY725" fmla="*/ 135254 h 1113404"/>
                <a:gd name="connsiteX726" fmla="*/ 558290 w 1814027"/>
                <a:gd name="connsiteY726" fmla="*/ 134074 h 1113404"/>
                <a:gd name="connsiteX727" fmla="*/ 556929 w 1814027"/>
                <a:gd name="connsiteY727" fmla="*/ 132683 h 1113404"/>
                <a:gd name="connsiteX728" fmla="*/ 556506 w 1814027"/>
                <a:gd name="connsiteY728" fmla="*/ 131896 h 1113404"/>
                <a:gd name="connsiteX729" fmla="*/ 556294 w 1814027"/>
                <a:gd name="connsiteY729" fmla="*/ 131503 h 1113404"/>
                <a:gd name="connsiteX730" fmla="*/ 559652 w 1814027"/>
                <a:gd name="connsiteY730" fmla="*/ 124031 h 1113404"/>
                <a:gd name="connsiteX731" fmla="*/ 560438 w 1814027"/>
                <a:gd name="connsiteY731" fmla="*/ 120280 h 1113404"/>
                <a:gd name="connsiteX732" fmla="*/ 559198 w 1814027"/>
                <a:gd name="connsiteY732" fmla="*/ 117164 h 1113404"/>
                <a:gd name="connsiteX733" fmla="*/ 557595 w 1814027"/>
                <a:gd name="connsiteY733" fmla="*/ 116347 h 1113404"/>
                <a:gd name="connsiteX734" fmla="*/ 551938 w 1814027"/>
                <a:gd name="connsiteY734" fmla="*/ 116166 h 1113404"/>
                <a:gd name="connsiteX735" fmla="*/ 541047 w 1814027"/>
                <a:gd name="connsiteY735" fmla="*/ 112112 h 1113404"/>
                <a:gd name="connsiteX736" fmla="*/ 541047 w 1814027"/>
                <a:gd name="connsiteY736" fmla="*/ 112112 h 1113404"/>
                <a:gd name="connsiteX737" fmla="*/ 537508 w 1814027"/>
                <a:gd name="connsiteY737" fmla="*/ 112021 h 1113404"/>
                <a:gd name="connsiteX738" fmla="*/ 535662 w 1814027"/>
                <a:gd name="connsiteY738" fmla="*/ 112928 h 1113404"/>
                <a:gd name="connsiteX739" fmla="*/ 532879 w 1814027"/>
                <a:gd name="connsiteY739" fmla="*/ 115742 h 1113404"/>
                <a:gd name="connsiteX740" fmla="*/ 530671 w 1814027"/>
                <a:gd name="connsiteY740" fmla="*/ 116740 h 1113404"/>
                <a:gd name="connsiteX741" fmla="*/ 528584 w 1814027"/>
                <a:gd name="connsiteY741" fmla="*/ 116892 h 1113404"/>
                <a:gd name="connsiteX742" fmla="*/ 522624 w 1814027"/>
                <a:gd name="connsiteY742" fmla="*/ 115954 h 1113404"/>
                <a:gd name="connsiteX743" fmla="*/ 518600 w 1814027"/>
                <a:gd name="connsiteY743" fmla="*/ 117133 h 1113404"/>
                <a:gd name="connsiteX744" fmla="*/ 516392 w 1814027"/>
                <a:gd name="connsiteY744" fmla="*/ 117345 h 1113404"/>
                <a:gd name="connsiteX745" fmla="*/ 515061 w 1814027"/>
                <a:gd name="connsiteY745" fmla="*/ 116166 h 1113404"/>
                <a:gd name="connsiteX746" fmla="*/ 515636 w 1814027"/>
                <a:gd name="connsiteY746" fmla="*/ 113654 h 1113404"/>
                <a:gd name="connsiteX747" fmla="*/ 517118 w 1814027"/>
                <a:gd name="connsiteY747" fmla="*/ 110448 h 1113404"/>
                <a:gd name="connsiteX748" fmla="*/ 517421 w 1814027"/>
                <a:gd name="connsiteY748" fmla="*/ 107877 h 1113404"/>
                <a:gd name="connsiteX749" fmla="*/ 514456 w 1814027"/>
                <a:gd name="connsiteY749" fmla="*/ 107211 h 1113404"/>
                <a:gd name="connsiteX750" fmla="*/ 512036 w 1814027"/>
                <a:gd name="connsiteY750" fmla="*/ 107483 h 1113404"/>
                <a:gd name="connsiteX751" fmla="*/ 510009 w 1814027"/>
                <a:gd name="connsiteY751" fmla="*/ 107271 h 1113404"/>
                <a:gd name="connsiteX752" fmla="*/ 508557 w 1814027"/>
                <a:gd name="connsiteY752" fmla="*/ 105971 h 1113404"/>
                <a:gd name="connsiteX753" fmla="*/ 507740 w 1814027"/>
                <a:gd name="connsiteY753" fmla="*/ 103036 h 1113404"/>
                <a:gd name="connsiteX754" fmla="*/ 507801 w 1814027"/>
                <a:gd name="connsiteY754" fmla="*/ 99073 h 1113404"/>
                <a:gd name="connsiteX755" fmla="*/ 508073 w 1814027"/>
                <a:gd name="connsiteY755" fmla="*/ 95897 h 1113404"/>
                <a:gd name="connsiteX756" fmla="*/ 507438 w 1814027"/>
                <a:gd name="connsiteY756" fmla="*/ 93567 h 1113404"/>
                <a:gd name="connsiteX757" fmla="*/ 504745 w 1814027"/>
                <a:gd name="connsiteY757" fmla="*/ 92115 h 1113404"/>
                <a:gd name="connsiteX758" fmla="*/ 500601 w 1814027"/>
                <a:gd name="connsiteY758" fmla="*/ 91269 h 1113404"/>
                <a:gd name="connsiteX759" fmla="*/ 491707 w 1814027"/>
                <a:gd name="connsiteY759" fmla="*/ 90966 h 1113404"/>
                <a:gd name="connsiteX760" fmla="*/ 481573 w 1814027"/>
                <a:gd name="connsiteY760" fmla="*/ 94264 h 1113404"/>
                <a:gd name="connsiteX761" fmla="*/ 474917 w 1814027"/>
                <a:gd name="connsiteY761" fmla="*/ 93235 h 1113404"/>
                <a:gd name="connsiteX762" fmla="*/ 455889 w 1814027"/>
                <a:gd name="connsiteY762" fmla="*/ 85460 h 1113404"/>
                <a:gd name="connsiteX763" fmla="*/ 433745 w 1814027"/>
                <a:gd name="connsiteY763" fmla="*/ 84825 h 1113404"/>
                <a:gd name="connsiteX764" fmla="*/ 432323 w 1814027"/>
                <a:gd name="connsiteY764" fmla="*/ 84159 h 1113404"/>
                <a:gd name="connsiteX765" fmla="*/ 431083 w 1814027"/>
                <a:gd name="connsiteY765" fmla="*/ 82556 h 1113404"/>
                <a:gd name="connsiteX766" fmla="*/ 430841 w 1814027"/>
                <a:gd name="connsiteY766" fmla="*/ 81104 h 1113404"/>
                <a:gd name="connsiteX767" fmla="*/ 431143 w 1814027"/>
                <a:gd name="connsiteY767" fmla="*/ 79743 h 1113404"/>
                <a:gd name="connsiteX768" fmla="*/ 431143 w 1814027"/>
                <a:gd name="connsiteY768" fmla="*/ 78684 h 1113404"/>
                <a:gd name="connsiteX769" fmla="*/ 429903 w 1814027"/>
                <a:gd name="connsiteY769" fmla="*/ 78109 h 1113404"/>
                <a:gd name="connsiteX770" fmla="*/ 406519 w 1814027"/>
                <a:gd name="connsiteY770" fmla="*/ 77202 h 1113404"/>
                <a:gd name="connsiteX771" fmla="*/ 403494 w 1814027"/>
                <a:gd name="connsiteY771" fmla="*/ 75992 h 1113404"/>
                <a:gd name="connsiteX772" fmla="*/ 396990 w 1814027"/>
                <a:gd name="connsiteY772" fmla="*/ 70637 h 1113404"/>
                <a:gd name="connsiteX773" fmla="*/ 393965 w 1814027"/>
                <a:gd name="connsiteY773" fmla="*/ 70032 h 1113404"/>
                <a:gd name="connsiteX774" fmla="*/ 386976 w 1814027"/>
                <a:gd name="connsiteY774" fmla="*/ 70244 h 1113404"/>
                <a:gd name="connsiteX775" fmla="*/ 365528 w 1814027"/>
                <a:gd name="connsiteY775" fmla="*/ 66493 h 1113404"/>
                <a:gd name="connsiteX776" fmla="*/ 357027 w 1814027"/>
                <a:gd name="connsiteY776" fmla="*/ 68066 h 1113404"/>
                <a:gd name="connsiteX777" fmla="*/ 343354 w 1814027"/>
                <a:gd name="connsiteY777" fmla="*/ 67854 h 1113404"/>
                <a:gd name="connsiteX778" fmla="*/ 323690 w 1814027"/>
                <a:gd name="connsiteY778" fmla="*/ 67551 h 1113404"/>
                <a:gd name="connsiteX779" fmla="*/ 306719 w 1814027"/>
                <a:gd name="connsiteY779" fmla="*/ 63316 h 1113404"/>
                <a:gd name="connsiteX780" fmla="*/ 302182 w 1814027"/>
                <a:gd name="connsiteY780" fmla="*/ 63437 h 1113404"/>
                <a:gd name="connsiteX781" fmla="*/ 297614 w 1814027"/>
                <a:gd name="connsiteY781" fmla="*/ 64829 h 1113404"/>
                <a:gd name="connsiteX782" fmla="*/ 288568 w 1814027"/>
                <a:gd name="connsiteY782" fmla="*/ 69215 h 1113404"/>
                <a:gd name="connsiteX783" fmla="*/ 260314 w 1814027"/>
                <a:gd name="connsiteY783" fmla="*/ 73420 h 1113404"/>
                <a:gd name="connsiteX784" fmla="*/ 258227 w 1814027"/>
                <a:gd name="connsiteY784" fmla="*/ 73360 h 1113404"/>
                <a:gd name="connsiteX785" fmla="*/ 252055 w 1814027"/>
                <a:gd name="connsiteY785" fmla="*/ 71968 h 1113404"/>
                <a:gd name="connsiteX786" fmla="*/ 227007 w 1814027"/>
                <a:gd name="connsiteY786" fmla="*/ 73783 h 1113404"/>
                <a:gd name="connsiteX787" fmla="*/ 224859 w 1814027"/>
                <a:gd name="connsiteY787" fmla="*/ 74509 h 1113404"/>
                <a:gd name="connsiteX788" fmla="*/ 222681 w 1814027"/>
                <a:gd name="connsiteY788" fmla="*/ 76596 h 1113404"/>
                <a:gd name="connsiteX789" fmla="*/ 219020 w 1814027"/>
                <a:gd name="connsiteY789" fmla="*/ 81618 h 1113404"/>
                <a:gd name="connsiteX790" fmla="*/ 217478 w 1814027"/>
                <a:gd name="connsiteY790" fmla="*/ 84522 h 1113404"/>
                <a:gd name="connsiteX791" fmla="*/ 215088 w 1814027"/>
                <a:gd name="connsiteY791" fmla="*/ 94264 h 1113404"/>
                <a:gd name="connsiteX792" fmla="*/ 212244 w 1814027"/>
                <a:gd name="connsiteY792" fmla="*/ 97954 h 1113404"/>
                <a:gd name="connsiteX793" fmla="*/ 200839 w 1814027"/>
                <a:gd name="connsiteY793" fmla="*/ 105154 h 1113404"/>
                <a:gd name="connsiteX794" fmla="*/ 185804 w 1814027"/>
                <a:gd name="connsiteY794" fmla="*/ 117618 h 1113404"/>
                <a:gd name="connsiteX795" fmla="*/ 181781 w 1814027"/>
                <a:gd name="connsiteY795" fmla="*/ 118222 h 1113404"/>
                <a:gd name="connsiteX796" fmla="*/ 178907 w 1814027"/>
                <a:gd name="connsiteY796" fmla="*/ 115742 h 1113404"/>
                <a:gd name="connsiteX797" fmla="*/ 176124 w 1814027"/>
                <a:gd name="connsiteY797" fmla="*/ 112565 h 1113404"/>
                <a:gd name="connsiteX798" fmla="*/ 172131 w 1814027"/>
                <a:gd name="connsiteY798" fmla="*/ 111083 h 1113404"/>
                <a:gd name="connsiteX799" fmla="*/ 169620 w 1814027"/>
                <a:gd name="connsiteY799" fmla="*/ 110872 h 1113404"/>
                <a:gd name="connsiteX800" fmla="*/ 162511 w 1814027"/>
                <a:gd name="connsiteY800" fmla="*/ 108905 h 1113404"/>
                <a:gd name="connsiteX801" fmla="*/ 160151 w 1814027"/>
                <a:gd name="connsiteY801" fmla="*/ 108845 h 1113404"/>
                <a:gd name="connsiteX802" fmla="*/ 150380 w 1814027"/>
                <a:gd name="connsiteY802" fmla="*/ 111204 h 1113404"/>
                <a:gd name="connsiteX803" fmla="*/ 149140 w 1814027"/>
                <a:gd name="connsiteY803" fmla="*/ 111839 h 1113404"/>
                <a:gd name="connsiteX804" fmla="*/ 148111 w 1814027"/>
                <a:gd name="connsiteY804" fmla="*/ 112838 h 1113404"/>
                <a:gd name="connsiteX805" fmla="*/ 146901 w 1814027"/>
                <a:gd name="connsiteY805" fmla="*/ 114804 h 1113404"/>
                <a:gd name="connsiteX806" fmla="*/ 146810 w 1814027"/>
                <a:gd name="connsiteY806" fmla="*/ 115984 h 1113404"/>
                <a:gd name="connsiteX807" fmla="*/ 147385 w 1814027"/>
                <a:gd name="connsiteY807" fmla="*/ 117164 h 1113404"/>
                <a:gd name="connsiteX808" fmla="*/ 150138 w 1814027"/>
                <a:gd name="connsiteY808" fmla="*/ 124303 h 1113404"/>
                <a:gd name="connsiteX809" fmla="*/ 150380 w 1814027"/>
                <a:gd name="connsiteY809" fmla="*/ 125725 h 1113404"/>
                <a:gd name="connsiteX810" fmla="*/ 149926 w 1814027"/>
                <a:gd name="connsiteY810" fmla="*/ 127994 h 1113404"/>
                <a:gd name="connsiteX811" fmla="*/ 149079 w 1814027"/>
                <a:gd name="connsiteY811" fmla="*/ 128417 h 1113404"/>
                <a:gd name="connsiteX812" fmla="*/ 148142 w 1814027"/>
                <a:gd name="connsiteY812" fmla="*/ 127782 h 1113404"/>
                <a:gd name="connsiteX813" fmla="*/ 148353 w 1814027"/>
                <a:gd name="connsiteY813" fmla="*/ 128690 h 1113404"/>
                <a:gd name="connsiteX814" fmla="*/ 149019 w 1814027"/>
                <a:gd name="connsiteY814" fmla="*/ 130777 h 1113404"/>
                <a:gd name="connsiteX815" fmla="*/ 150622 w 1814027"/>
                <a:gd name="connsiteY815" fmla="*/ 131805 h 1113404"/>
                <a:gd name="connsiteX816" fmla="*/ 152437 w 1814027"/>
                <a:gd name="connsiteY816" fmla="*/ 132411 h 1113404"/>
                <a:gd name="connsiteX817" fmla="*/ 153859 w 1814027"/>
                <a:gd name="connsiteY817" fmla="*/ 133318 h 1113404"/>
                <a:gd name="connsiteX818" fmla="*/ 152286 w 1814027"/>
                <a:gd name="connsiteY818" fmla="*/ 136283 h 1113404"/>
                <a:gd name="connsiteX819" fmla="*/ 152437 w 1814027"/>
                <a:gd name="connsiteY819" fmla="*/ 137220 h 1113404"/>
                <a:gd name="connsiteX820" fmla="*/ 156521 w 1814027"/>
                <a:gd name="connsiteY820" fmla="*/ 142787 h 1113404"/>
                <a:gd name="connsiteX821" fmla="*/ 157338 w 1814027"/>
                <a:gd name="connsiteY821" fmla="*/ 144572 h 1113404"/>
                <a:gd name="connsiteX822" fmla="*/ 156158 w 1814027"/>
                <a:gd name="connsiteY822" fmla="*/ 145055 h 1113404"/>
                <a:gd name="connsiteX823" fmla="*/ 155432 w 1814027"/>
                <a:gd name="connsiteY823" fmla="*/ 146084 h 1113404"/>
                <a:gd name="connsiteX824" fmla="*/ 155311 w 1814027"/>
                <a:gd name="connsiteY824" fmla="*/ 147597 h 1113404"/>
                <a:gd name="connsiteX825" fmla="*/ 155946 w 1814027"/>
                <a:gd name="connsiteY825" fmla="*/ 149593 h 1113404"/>
                <a:gd name="connsiteX826" fmla="*/ 154131 w 1814027"/>
                <a:gd name="connsiteY826" fmla="*/ 150259 h 1113404"/>
                <a:gd name="connsiteX827" fmla="*/ 152347 w 1814027"/>
                <a:gd name="connsiteY827" fmla="*/ 152013 h 1113404"/>
                <a:gd name="connsiteX828" fmla="*/ 150955 w 1814027"/>
                <a:gd name="connsiteY828" fmla="*/ 154191 h 1113404"/>
                <a:gd name="connsiteX829" fmla="*/ 150410 w 1814027"/>
                <a:gd name="connsiteY829" fmla="*/ 156158 h 1113404"/>
                <a:gd name="connsiteX830" fmla="*/ 151076 w 1814027"/>
                <a:gd name="connsiteY830" fmla="*/ 159304 h 1113404"/>
                <a:gd name="connsiteX831" fmla="*/ 152649 w 1814027"/>
                <a:gd name="connsiteY831" fmla="*/ 160060 h 1113404"/>
                <a:gd name="connsiteX832" fmla="*/ 154585 w 1814027"/>
                <a:gd name="connsiteY832" fmla="*/ 160060 h 1113404"/>
                <a:gd name="connsiteX833" fmla="*/ 156309 w 1814027"/>
                <a:gd name="connsiteY833" fmla="*/ 161119 h 1113404"/>
                <a:gd name="connsiteX834" fmla="*/ 161875 w 1814027"/>
                <a:gd name="connsiteY834" fmla="*/ 172342 h 1113404"/>
                <a:gd name="connsiteX835" fmla="*/ 164144 w 1814027"/>
                <a:gd name="connsiteY835" fmla="*/ 174883 h 1113404"/>
                <a:gd name="connsiteX836" fmla="*/ 169257 w 1814027"/>
                <a:gd name="connsiteY836" fmla="*/ 177879 h 1113404"/>
                <a:gd name="connsiteX837" fmla="*/ 174037 w 1814027"/>
                <a:gd name="connsiteY837" fmla="*/ 182356 h 1113404"/>
                <a:gd name="connsiteX838" fmla="*/ 175156 w 1814027"/>
                <a:gd name="connsiteY838" fmla="*/ 184140 h 1113404"/>
                <a:gd name="connsiteX839" fmla="*/ 173492 w 1814027"/>
                <a:gd name="connsiteY839" fmla="*/ 184927 h 1113404"/>
                <a:gd name="connsiteX840" fmla="*/ 173129 w 1814027"/>
                <a:gd name="connsiteY840" fmla="*/ 186288 h 1113404"/>
                <a:gd name="connsiteX841" fmla="*/ 174612 w 1814027"/>
                <a:gd name="connsiteY841" fmla="*/ 189193 h 1113404"/>
                <a:gd name="connsiteX842" fmla="*/ 177243 w 1814027"/>
                <a:gd name="connsiteY842" fmla="*/ 192974 h 1113404"/>
                <a:gd name="connsiteX843" fmla="*/ 178120 w 1814027"/>
                <a:gd name="connsiteY843" fmla="*/ 194940 h 1113404"/>
                <a:gd name="connsiteX844" fmla="*/ 179300 w 1814027"/>
                <a:gd name="connsiteY844" fmla="*/ 201111 h 1113404"/>
                <a:gd name="connsiteX845" fmla="*/ 179300 w 1814027"/>
                <a:gd name="connsiteY845" fmla="*/ 202019 h 1113404"/>
                <a:gd name="connsiteX846" fmla="*/ 178877 w 1814027"/>
                <a:gd name="connsiteY846" fmla="*/ 203169 h 1113404"/>
                <a:gd name="connsiteX847" fmla="*/ 179633 w 1814027"/>
                <a:gd name="connsiteY847" fmla="*/ 203774 h 1113404"/>
                <a:gd name="connsiteX848" fmla="*/ 180904 w 1814027"/>
                <a:gd name="connsiteY848" fmla="*/ 204258 h 1113404"/>
                <a:gd name="connsiteX849" fmla="*/ 182114 w 1814027"/>
                <a:gd name="connsiteY849" fmla="*/ 205014 h 1113404"/>
                <a:gd name="connsiteX850" fmla="*/ 183233 w 1814027"/>
                <a:gd name="connsiteY850" fmla="*/ 206587 h 1113404"/>
                <a:gd name="connsiteX851" fmla="*/ 183505 w 1814027"/>
                <a:gd name="connsiteY851" fmla="*/ 207797 h 1113404"/>
                <a:gd name="connsiteX852" fmla="*/ 183596 w 1814027"/>
                <a:gd name="connsiteY852" fmla="*/ 209098 h 1113404"/>
                <a:gd name="connsiteX853" fmla="*/ 184140 w 1814027"/>
                <a:gd name="connsiteY853" fmla="*/ 211004 h 1113404"/>
                <a:gd name="connsiteX854" fmla="*/ 185653 w 1814027"/>
                <a:gd name="connsiteY854" fmla="*/ 213333 h 1113404"/>
                <a:gd name="connsiteX855" fmla="*/ 192460 w 1814027"/>
                <a:gd name="connsiteY855" fmla="*/ 219111 h 1113404"/>
                <a:gd name="connsiteX856" fmla="*/ 200839 w 1814027"/>
                <a:gd name="connsiteY856" fmla="*/ 223376 h 1113404"/>
                <a:gd name="connsiteX857" fmla="*/ 202140 w 1814027"/>
                <a:gd name="connsiteY857" fmla="*/ 225192 h 1113404"/>
                <a:gd name="connsiteX858" fmla="*/ 200900 w 1814027"/>
                <a:gd name="connsiteY858" fmla="*/ 227733 h 1113404"/>
                <a:gd name="connsiteX859" fmla="*/ 197844 w 1814027"/>
                <a:gd name="connsiteY859" fmla="*/ 228338 h 1113404"/>
                <a:gd name="connsiteX860" fmla="*/ 194487 w 1814027"/>
                <a:gd name="connsiteY860" fmla="*/ 228338 h 1113404"/>
                <a:gd name="connsiteX861" fmla="*/ 192460 w 1814027"/>
                <a:gd name="connsiteY861" fmla="*/ 229215 h 1113404"/>
                <a:gd name="connsiteX862" fmla="*/ 189797 w 1814027"/>
                <a:gd name="connsiteY862" fmla="*/ 227823 h 1113404"/>
                <a:gd name="connsiteX863" fmla="*/ 187015 w 1814027"/>
                <a:gd name="connsiteY863" fmla="*/ 228156 h 1113404"/>
                <a:gd name="connsiteX864" fmla="*/ 184715 w 1814027"/>
                <a:gd name="connsiteY864" fmla="*/ 229759 h 1113404"/>
                <a:gd name="connsiteX865" fmla="*/ 183475 w 1814027"/>
                <a:gd name="connsiteY865" fmla="*/ 232271 h 1113404"/>
                <a:gd name="connsiteX866" fmla="*/ 183657 w 1814027"/>
                <a:gd name="connsiteY866" fmla="*/ 235053 h 1113404"/>
                <a:gd name="connsiteX867" fmla="*/ 185139 w 1814027"/>
                <a:gd name="connsiteY867" fmla="*/ 236899 h 1113404"/>
                <a:gd name="connsiteX868" fmla="*/ 187529 w 1814027"/>
                <a:gd name="connsiteY868" fmla="*/ 237928 h 1113404"/>
                <a:gd name="connsiteX869" fmla="*/ 190342 w 1814027"/>
                <a:gd name="connsiteY869" fmla="*/ 238260 h 1113404"/>
                <a:gd name="connsiteX870" fmla="*/ 190342 w 1814027"/>
                <a:gd name="connsiteY870" fmla="*/ 239168 h 1113404"/>
                <a:gd name="connsiteX871" fmla="*/ 189041 w 1814027"/>
                <a:gd name="connsiteY871" fmla="*/ 241739 h 1113404"/>
                <a:gd name="connsiteX872" fmla="*/ 190433 w 1814027"/>
                <a:gd name="connsiteY872" fmla="*/ 243978 h 1113404"/>
                <a:gd name="connsiteX873" fmla="*/ 193186 w 1814027"/>
                <a:gd name="connsiteY873" fmla="*/ 245551 h 1113404"/>
                <a:gd name="connsiteX874" fmla="*/ 195908 w 1814027"/>
                <a:gd name="connsiteY874" fmla="*/ 246156 h 1113404"/>
                <a:gd name="connsiteX875" fmla="*/ 195273 w 1814027"/>
                <a:gd name="connsiteY875" fmla="*/ 249483 h 1113404"/>
                <a:gd name="connsiteX876" fmla="*/ 196060 w 1814027"/>
                <a:gd name="connsiteY876" fmla="*/ 252539 h 1113404"/>
                <a:gd name="connsiteX877" fmla="*/ 198601 w 1814027"/>
                <a:gd name="connsiteY877" fmla="*/ 258196 h 1113404"/>
                <a:gd name="connsiteX878" fmla="*/ 198601 w 1814027"/>
                <a:gd name="connsiteY878" fmla="*/ 258256 h 1113404"/>
                <a:gd name="connsiteX879" fmla="*/ 196302 w 1814027"/>
                <a:gd name="connsiteY879" fmla="*/ 261977 h 1113404"/>
                <a:gd name="connsiteX880" fmla="*/ 197330 w 1814027"/>
                <a:gd name="connsiteY880" fmla="*/ 268905 h 1113404"/>
                <a:gd name="connsiteX881" fmla="*/ 198026 w 1814027"/>
                <a:gd name="connsiteY881" fmla="*/ 270811 h 1113404"/>
                <a:gd name="connsiteX882" fmla="*/ 198570 w 1814027"/>
                <a:gd name="connsiteY882" fmla="*/ 271204 h 1113404"/>
                <a:gd name="connsiteX883" fmla="*/ 198450 w 1814027"/>
                <a:gd name="connsiteY883" fmla="*/ 271537 h 1113404"/>
                <a:gd name="connsiteX884" fmla="*/ 197179 w 1814027"/>
                <a:gd name="connsiteY884" fmla="*/ 273201 h 1113404"/>
                <a:gd name="connsiteX885" fmla="*/ 195273 w 1814027"/>
                <a:gd name="connsiteY885" fmla="*/ 275076 h 1113404"/>
                <a:gd name="connsiteX886" fmla="*/ 188799 w 1814027"/>
                <a:gd name="connsiteY886" fmla="*/ 278192 h 1113404"/>
                <a:gd name="connsiteX887" fmla="*/ 188527 w 1814027"/>
                <a:gd name="connsiteY887" fmla="*/ 279947 h 1113404"/>
                <a:gd name="connsiteX888" fmla="*/ 188678 w 1814027"/>
                <a:gd name="connsiteY888" fmla="*/ 282730 h 1113404"/>
                <a:gd name="connsiteX889" fmla="*/ 188527 w 1814027"/>
                <a:gd name="connsiteY889" fmla="*/ 284636 h 1113404"/>
                <a:gd name="connsiteX890" fmla="*/ 188043 w 1814027"/>
                <a:gd name="connsiteY890" fmla="*/ 286209 h 1113404"/>
                <a:gd name="connsiteX891" fmla="*/ 185835 w 1814027"/>
                <a:gd name="connsiteY891" fmla="*/ 290988 h 1113404"/>
                <a:gd name="connsiteX892" fmla="*/ 180541 w 1814027"/>
                <a:gd name="connsiteY892" fmla="*/ 293015 h 1113404"/>
                <a:gd name="connsiteX893" fmla="*/ 162299 w 1814027"/>
                <a:gd name="connsiteY893" fmla="*/ 293227 h 1113404"/>
                <a:gd name="connsiteX894" fmla="*/ 158820 w 1814027"/>
                <a:gd name="connsiteY894" fmla="*/ 294256 h 1113404"/>
                <a:gd name="connsiteX895" fmla="*/ 157096 w 1814027"/>
                <a:gd name="connsiteY895" fmla="*/ 295073 h 1113404"/>
                <a:gd name="connsiteX896" fmla="*/ 155735 w 1814027"/>
                <a:gd name="connsiteY896" fmla="*/ 296313 h 1113404"/>
                <a:gd name="connsiteX897" fmla="*/ 154645 w 1814027"/>
                <a:gd name="connsiteY897" fmla="*/ 298461 h 1113404"/>
                <a:gd name="connsiteX898" fmla="*/ 153375 w 1814027"/>
                <a:gd name="connsiteY898" fmla="*/ 302302 h 1113404"/>
                <a:gd name="connsiteX899" fmla="*/ 153314 w 1814027"/>
                <a:gd name="connsiteY899" fmla="*/ 302484 h 1113404"/>
                <a:gd name="connsiteX900" fmla="*/ 151923 w 1814027"/>
                <a:gd name="connsiteY900" fmla="*/ 304360 h 1113404"/>
                <a:gd name="connsiteX901" fmla="*/ 143997 w 1814027"/>
                <a:gd name="connsiteY901" fmla="*/ 312286 h 1113404"/>
                <a:gd name="connsiteX902" fmla="*/ 141093 w 1814027"/>
                <a:gd name="connsiteY902" fmla="*/ 314464 h 1113404"/>
                <a:gd name="connsiteX903" fmla="*/ 141093 w 1814027"/>
                <a:gd name="connsiteY903" fmla="*/ 314464 h 1113404"/>
                <a:gd name="connsiteX904" fmla="*/ 135617 w 1814027"/>
                <a:gd name="connsiteY904" fmla="*/ 318366 h 1113404"/>
                <a:gd name="connsiteX905" fmla="*/ 131080 w 1814027"/>
                <a:gd name="connsiteY905" fmla="*/ 321603 h 1113404"/>
                <a:gd name="connsiteX906" fmla="*/ 108089 w 1814027"/>
                <a:gd name="connsiteY906" fmla="*/ 344564 h 1113404"/>
                <a:gd name="connsiteX907" fmla="*/ 105064 w 1814027"/>
                <a:gd name="connsiteY907" fmla="*/ 348890 h 1113404"/>
                <a:gd name="connsiteX908" fmla="*/ 101373 w 1814027"/>
                <a:gd name="connsiteY908" fmla="*/ 351552 h 1113404"/>
                <a:gd name="connsiteX909" fmla="*/ 97380 w 1814027"/>
                <a:gd name="connsiteY909" fmla="*/ 355636 h 1113404"/>
                <a:gd name="connsiteX910" fmla="*/ 86459 w 1814027"/>
                <a:gd name="connsiteY910" fmla="*/ 370368 h 1113404"/>
                <a:gd name="connsiteX911" fmla="*/ 82254 w 1814027"/>
                <a:gd name="connsiteY911" fmla="*/ 374362 h 1113404"/>
                <a:gd name="connsiteX912" fmla="*/ 81739 w 1814027"/>
                <a:gd name="connsiteY912" fmla="*/ 375541 h 1113404"/>
                <a:gd name="connsiteX913" fmla="*/ 80923 w 1814027"/>
                <a:gd name="connsiteY913" fmla="*/ 378415 h 1113404"/>
                <a:gd name="connsiteX914" fmla="*/ 80469 w 1814027"/>
                <a:gd name="connsiteY914" fmla="*/ 379444 h 1113404"/>
                <a:gd name="connsiteX915" fmla="*/ 79592 w 1814027"/>
                <a:gd name="connsiteY915" fmla="*/ 380260 h 1113404"/>
                <a:gd name="connsiteX916" fmla="*/ 77807 w 1814027"/>
                <a:gd name="connsiteY916" fmla="*/ 380866 h 1113404"/>
                <a:gd name="connsiteX917" fmla="*/ 76930 w 1814027"/>
                <a:gd name="connsiteY917" fmla="*/ 381410 h 1113404"/>
                <a:gd name="connsiteX918" fmla="*/ 75962 w 1814027"/>
                <a:gd name="connsiteY918" fmla="*/ 382499 h 1113404"/>
                <a:gd name="connsiteX919" fmla="*/ 69760 w 1814027"/>
                <a:gd name="connsiteY919" fmla="*/ 392845 h 1113404"/>
                <a:gd name="connsiteX920" fmla="*/ 68066 w 1814027"/>
                <a:gd name="connsiteY920" fmla="*/ 394418 h 1113404"/>
                <a:gd name="connsiteX921" fmla="*/ 66946 w 1814027"/>
                <a:gd name="connsiteY921" fmla="*/ 394842 h 1113404"/>
                <a:gd name="connsiteX922" fmla="*/ 64799 w 1814027"/>
                <a:gd name="connsiteY922" fmla="*/ 395235 h 1113404"/>
                <a:gd name="connsiteX923" fmla="*/ 63679 w 1814027"/>
                <a:gd name="connsiteY923" fmla="*/ 396112 h 1113404"/>
                <a:gd name="connsiteX924" fmla="*/ 62953 w 1814027"/>
                <a:gd name="connsiteY924" fmla="*/ 397353 h 1113404"/>
                <a:gd name="connsiteX925" fmla="*/ 61229 w 1814027"/>
                <a:gd name="connsiteY925" fmla="*/ 401921 h 1113404"/>
                <a:gd name="connsiteX926" fmla="*/ 53606 w 1814027"/>
                <a:gd name="connsiteY926" fmla="*/ 411359 h 1113404"/>
                <a:gd name="connsiteX927" fmla="*/ 51095 w 1814027"/>
                <a:gd name="connsiteY927" fmla="*/ 416865 h 1113404"/>
                <a:gd name="connsiteX928" fmla="*/ 53031 w 1814027"/>
                <a:gd name="connsiteY928" fmla="*/ 421947 h 1113404"/>
                <a:gd name="connsiteX929" fmla="*/ 53727 w 1814027"/>
                <a:gd name="connsiteY929" fmla="*/ 424034 h 1113404"/>
                <a:gd name="connsiteX930" fmla="*/ 54362 w 1814027"/>
                <a:gd name="connsiteY930" fmla="*/ 430085 h 1113404"/>
                <a:gd name="connsiteX931" fmla="*/ 54725 w 1814027"/>
                <a:gd name="connsiteY931" fmla="*/ 431688 h 1113404"/>
                <a:gd name="connsiteX932" fmla="*/ 54997 w 1814027"/>
                <a:gd name="connsiteY932" fmla="*/ 432474 h 1113404"/>
                <a:gd name="connsiteX933" fmla="*/ 56298 w 1814027"/>
                <a:gd name="connsiteY933" fmla="*/ 434380 h 1113404"/>
                <a:gd name="connsiteX934" fmla="*/ 58476 w 1814027"/>
                <a:gd name="connsiteY934" fmla="*/ 436498 h 1113404"/>
                <a:gd name="connsiteX935" fmla="*/ 59021 w 1814027"/>
                <a:gd name="connsiteY935" fmla="*/ 437587 h 1113404"/>
                <a:gd name="connsiteX936" fmla="*/ 59474 w 1814027"/>
                <a:gd name="connsiteY936" fmla="*/ 439856 h 1113404"/>
                <a:gd name="connsiteX937" fmla="*/ 60836 w 1814027"/>
                <a:gd name="connsiteY937" fmla="*/ 452834 h 1113404"/>
                <a:gd name="connsiteX938" fmla="*/ 60443 w 1814027"/>
                <a:gd name="connsiteY938" fmla="*/ 454891 h 1113404"/>
                <a:gd name="connsiteX939" fmla="*/ 58748 w 1814027"/>
                <a:gd name="connsiteY939" fmla="*/ 459187 h 1113404"/>
                <a:gd name="connsiteX940" fmla="*/ 57327 w 1814027"/>
                <a:gd name="connsiteY940" fmla="*/ 464178 h 1113404"/>
                <a:gd name="connsiteX941" fmla="*/ 55723 w 1814027"/>
                <a:gd name="connsiteY941" fmla="*/ 467233 h 1113404"/>
                <a:gd name="connsiteX942" fmla="*/ 55179 w 1814027"/>
                <a:gd name="connsiteY942" fmla="*/ 468928 h 1113404"/>
                <a:gd name="connsiteX943" fmla="*/ 55814 w 1814027"/>
                <a:gd name="connsiteY943" fmla="*/ 469684 h 1113404"/>
                <a:gd name="connsiteX944" fmla="*/ 56268 w 1814027"/>
                <a:gd name="connsiteY944" fmla="*/ 469381 h 1113404"/>
                <a:gd name="connsiteX945" fmla="*/ 57599 w 1814027"/>
                <a:gd name="connsiteY945" fmla="*/ 467839 h 1113404"/>
                <a:gd name="connsiteX946" fmla="*/ 59172 w 1814027"/>
                <a:gd name="connsiteY946" fmla="*/ 468867 h 1113404"/>
                <a:gd name="connsiteX947" fmla="*/ 59051 w 1814027"/>
                <a:gd name="connsiteY947" fmla="*/ 468928 h 1113404"/>
                <a:gd name="connsiteX948" fmla="*/ 58658 w 1814027"/>
                <a:gd name="connsiteY948" fmla="*/ 469018 h 1113404"/>
                <a:gd name="connsiteX949" fmla="*/ 61925 w 1814027"/>
                <a:gd name="connsiteY949" fmla="*/ 471136 h 1113404"/>
                <a:gd name="connsiteX950" fmla="*/ 64859 w 1814027"/>
                <a:gd name="connsiteY950" fmla="*/ 474706 h 1113404"/>
                <a:gd name="connsiteX951" fmla="*/ 66705 w 1814027"/>
                <a:gd name="connsiteY951" fmla="*/ 475976 h 1113404"/>
                <a:gd name="connsiteX952" fmla="*/ 71242 w 1814027"/>
                <a:gd name="connsiteY952" fmla="*/ 478305 h 1113404"/>
                <a:gd name="connsiteX953" fmla="*/ 72452 w 1814027"/>
                <a:gd name="connsiteY953" fmla="*/ 479727 h 1113404"/>
                <a:gd name="connsiteX954" fmla="*/ 72452 w 1814027"/>
                <a:gd name="connsiteY954" fmla="*/ 480937 h 1113404"/>
                <a:gd name="connsiteX955" fmla="*/ 71545 w 1814027"/>
                <a:gd name="connsiteY955" fmla="*/ 483690 h 1113404"/>
                <a:gd name="connsiteX956" fmla="*/ 71424 w 1814027"/>
                <a:gd name="connsiteY956" fmla="*/ 485596 h 1113404"/>
                <a:gd name="connsiteX957" fmla="*/ 71847 w 1814027"/>
                <a:gd name="connsiteY957" fmla="*/ 486927 h 1113404"/>
                <a:gd name="connsiteX958" fmla="*/ 73481 w 1814027"/>
                <a:gd name="connsiteY958" fmla="*/ 489498 h 1113404"/>
                <a:gd name="connsiteX959" fmla="*/ 73602 w 1814027"/>
                <a:gd name="connsiteY959" fmla="*/ 489801 h 1113404"/>
                <a:gd name="connsiteX960" fmla="*/ 73814 w 1814027"/>
                <a:gd name="connsiteY960" fmla="*/ 490255 h 1113404"/>
                <a:gd name="connsiteX961" fmla="*/ 72634 w 1814027"/>
                <a:gd name="connsiteY961" fmla="*/ 492523 h 1113404"/>
                <a:gd name="connsiteX962" fmla="*/ 70607 w 1814027"/>
                <a:gd name="connsiteY962" fmla="*/ 491707 h 1113404"/>
                <a:gd name="connsiteX963" fmla="*/ 68369 w 1814027"/>
                <a:gd name="connsiteY963" fmla="*/ 489861 h 1113404"/>
                <a:gd name="connsiteX964" fmla="*/ 66583 w 1814027"/>
                <a:gd name="connsiteY964" fmla="*/ 489015 h 1113404"/>
                <a:gd name="connsiteX965" fmla="*/ 65464 w 1814027"/>
                <a:gd name="connsiteY965" fmla="*/ 488682 h 1113404"/>
                <a:gd name="connsiteX966" fmla="*/ 63589 w 1814027"/>
                <a:gd name="connsiteY966" fmla="*/ 486292 h 1113404"/>
                <a:gd name="connsiteX967" fmla="*/ 62560 w 1814027"/>
                <a:gd name="connsiteY967" fmla="*/ 485414 h 1113404"/>
                <a:gd name="connsiteX968" fmla="*/ 61471 w 1814027"/>
                <a:gd name="connsiteY968" fmla="*/ 485294 h 1113404"/>
                <a:gd name="connsiteX969" fmla="*/ 59202 w 1814027"/>
                <a:gd name="connsiteY969" fmla="*/ 485929 h 1113404"/>
                <a:gd name="connsiteX970" fmla="*/ 55572 w 1814027"/>
                <a:gd name="connsiteY970" fmla="*/ 485687 h 1113404"/>
                <a:gd name="connsiteX971" fmla="*/ 53424 w 1814027"/>
                <a:gd name="connsiteY971" fmla="*/ 485868 h 1113404"/>
                <a:gd name="connsiteX972" fmla="*/ 51276 w 1814027"/>
                <a:gd name="connsiteY972" fmla="*/ 485626 h 1113404"/>
                <a:gd name="connsiteX973" fmla="*/ 48796 w 1814027"/>
                <a:gd name="connsiteY973" fmla="*/ 484084 h 1113404"/>
                <a:gd name="connsiteX974" fmla="*/ 45014 w 1814027"/>
                <a:gd name="connsiteY974" fmla="*/ 480242 h 1113404"/>
                <a:gd name="connsiteX975" fmla="*/ 42988 w 1814027"/>
                <a:gd name="connsiteY975" fmla="*/ 479667 h 1113404"/>
                <a:gd name="connsiteX976" fmla="*/ 40870 w 1814027"/>
                <a:gd name="connsiteY976" fmla="*/ 481542 h 1113404"/>
                <a:gd name="connsiteX977" fmla="*/ 40113 w 1814027"/>
                <a:gd name="connsiteY977" fmla="*/ 483872 h 1113404"/>
                <a:gd name="connsiteX978" fmla="*/ 39387 w 1814027"/>
                <a:gd name="connsiteY978" fmla="*/ 487078 h 1113404"/>
                <a:gd name="connsiteX979" fmla="*/ 38904 w 1814027"/>
                <a:gd name="connsiteY979" fmla="*/ 490315 h 1113404"/>
                <a:gd name="connsiteX980" fmla="*/ 38904 w 1814027"/>
                <a:gd name="connsiteY980" fmla="*/ 492705 h 1113404"/>
                <a:gd name="connsiteX981" fmla="*/ 37391 w 1814027"/>
                <a:gd name="connsiteY981" fmla="*/ 493915 h 1113404"/>
                <a:gd name="connsiteX982" fmla="*/ 33519 w 1814027"/>
                <a:gd name="connsiteY982" fmla="*/ 494429 h 1113404"/>
                <a:gd name="connsiteX983" fmla="*/ 31764 w 1814027"/>
                <a:gd name="connsiteY983" fmla="*/ 495700 h 1113404"/>
                <a:gd name="connsiteX984" fmla="*/ 29586 w 1814027"/>
                <a:gd name="connsiteY984" fmla="*/ 501599 h 1113404"/>
                <a:gd name="connsiteX985" fmla="*/ 28346 w 1814027"/>
                <a:gd name="connsiteY985" fmla="*/ 504110 h 1113404"/>
                <a:gd name="connsiteX986" fmla="*/ 28225 w 1814027"/>
                <a:gd name="connsiteY986" fmla="*/ 504775 h 1113404"/>
                <a:gd name="connsiteX987" fmla="*/ 28225 w 1814027"/>
                <a:gd name="connsiteY987" fmla="*/ 506590 h 1113404"/>
                <a:gd name="connsiteX988" fmla="*/ 28043 w 1814027"/>
                <a:gd name="connsiteY988" fmla="*/ 507468 h 1113404"/>
                <a:gd name="connsiteX989" fmla="*/ 27106 w 1814027"/>
                <a:gd name="connsiteY989" fmla="*/ 508708 h 1113404"/>
                <a:gd name="connsiteX990" fmla="*/ 24685 w 1814027"/>
                <a:gd name="connsiteY990" fmla="*/ 510584 h 1113404"/>
                <a:gd name="connsiteX991" fmla="*/ 23929 w 1814027"/>
                <a:gd name="connsiteY991" fmla="*/ 511582 h 1113404"/>
                <a:gd name="connsiteX992" fmla="*/ 23717 w 1814027"/>
                <a:gd name="connsiteY992" fmla="*/ 511824 h 1113404"/>
                <a:gd name="connsiteX993" fmla="*/ 23052 w 1814027"/>
                <a:gd name="connsiteY993" fmla="*/ 513518 h 1113404"/>
                <a:gd name="connsiteX994" fmla="*/ 22961 w 1814027"/>
                <a:gd name="connsiteY994" fmla="*/ 514607 h 1113404"/>
                <a:gd name="connsiteX995" fmla="*/ 23173 w 1814027"/>
                <a:gd name="connsiteY995" fmla="*/ 515757 h 1113404"/>
                <a:gd name="connsiteX996" fmla="*/ 23415 w 1814027"/>
                <a:gd name="connsiteY996" fmla="*/ 520506 h 1113404"/>
                <a:gd name="connsiteX997" fmla="*/ 23173 w 1814027"/>
                <a:gd name="connsiteY997" fmla="*/ 521474 h 1113404"/>
                <a:gd name="connsiteX998" fmla="*/ 22477 w 1814027"/>
                <a:gd name="connsiteY998" fmla="*/ 523078 h 1113404"/>
                <a:gd name="connsiteX999" fmla="*/ 21600 w 1814027"/>
                <a:gd name="connsiteY999" fmla="*/ 524227 h 1113404"/>
                <a:gd name="connsiteX1000" fmla="*/ 20662 w 1814027"/>
                <a:gd name="connsiteY1000" fmla="*/ 524923 h 1113404"/>
                <a:gd name="connsiteX1001" fmla="*/ 19906 w 1814027"/>
                <a:gd name="connsiteY1001" fmla="*/ 525861 h 1113404"/>
                <a:gd name="connsiteX1002" fmla="*/ 19603 w 1814027"/>
                <a:gd name="connsiteY1002" fmla="*/ 527736 h 1113404"/>
                <a:gd name="connsiteX1003" fmla="*/ 19724 w 1814027"/>
                <a:gd name="connsiteY1003" fmla="*/ 530731 h 1113404"/>
                <a:gd name="connsiteX1004" fmla="*/ 19059 w 1814027"/>
                <a:gd name="connsiteY1004" fmla="*/ 533696 h 1113404"/>
                <a:gd name="connsiteX1005" fmla="*/ 17818 w 1814027"/>
                <a:gd name="connsiteY1005" fmla="*/ 536298 h 1113404"/>
                <a:gd name="connsiteX1006" fmla="*/ 16215 w 1814027"/>
                <a:gd name="connsiteY1006" fmla="*/ 538264 h 1113404"/>
                <a:gd name="connsiteX1007" fmla="*/ 15005 w 1814027"/>
                <a:gd name="connsiteY1007" fmla="*/ 538990 h 1113404"/>
                <a:gd name="connsiteX1008" fmla="*/ 12343 w 1814027"/>
                <a:gd name="connsiteY1008" fmla="*/ 539776 h 1113404"/>
                <a:gd name="connsiteX1009" fmla="*/ 11102 w 1814027"/>
                <a:gd name="connsiteY1009" fmla="*/ 540563 h 1113404"/>
                <a:gd name="connsiteX1010" fmla="*/ 10346 w 1814027"/>
                <a:gd name="connsiteY1010" fmla="*/ 541531 h 1113404"/>
                <a:gd name="connsiteX1011" fmla="*/ 9287 w 1814027"/>
                <a:gd name="connsiteY1011" fmla="*/ 543770 h 1113404"/>
                <a:gd name="connsiteX1012" fmla="*/ 8652 w 1814027"/>
                <a:gd name="connsiteY1012" fmla="*/ 544768 h 1113404"/>
                <a:gd name="connsiteX1013" fmla="*/ 2088 w 1814027"/>
                <a:gd name="connsiteY1013" fmla="*/ 549668 h 1113404"/>
                <a:gd name="connsiteX1014" fmla="*/ 575 w 1814027"/>
                <a:gd name="connsiteY1014" fmla="*/ 551937 h 1113404"/>
                <a:gd name="connsiteX1015" fmla="*/ 363 w 1814027"/>
                <a:gd name="connsiteY1015" fmla="*/ 554751 h 1113404"/>
                <a:gd name="connsiteX1016" fmla="*/ 1543 w 1814027"/>
                <a:gd name="connsiteY1016" fmla="*/ 560408 h 1113404"/>
                <a:gd name="connsiteX1017" fmla="*/ 1180 w 1814027"/>
                <a:gd name="connsiteY1017" fmla="*/ 562616 h 1113404"/>
                <a:gd name="connsiteX1018" fmla="*/ 91 w 1814027"/>
                <a:gd name="connsiteY1018" fmla="*/ 564885 h 1113404"/>
                <a:gd name="connsiteX1019" fmla="*/ 0 w 1814027"/>
                <a:gd name="connsiteY1019" fmla="*/ 574898 h 1113404"/>
                <a:gd name="connsiteX1020" fmla="*/ 2390 w 1814027"/>
                <a:gd name="connsiteY1020" fmla="*/ 575292 h 1113404"/>
                <a:gd name="connsiteX1021" fmla="*/ 2662 w 1814027"/>
                <a:gd name="connsiteY1021" fmla="*/ 575292 h 1113404"/>
                <a:gd name="connsiteX1022" fmla="*/ 3661 w 1814027"/>
                <a:gd name="connsiteY1022" fmla="*/ 574263 h 1113404"/>
                <a:gd name="connsiteX1023" fmla="*/ 6958 w 1814027"/>
                <a:gd name="connsiteY1023" fmla="*/ 573053 h 1113404"/>
                <a:gd name="connsiteX1024" fmla="*/ 10376 w 1814027"/>
                <a:gd name="connsiteY1024" fmla="*/ 573446 h 1113404"/>
                <a:gd name="connsiteX1025" fmla="*/ 13976 w 1814027"/>
                <a:gd name="connsiteY1025" fmla="*/ 575080 h 1113404"/>
                <a:gd name="connsiteX1026" fmla="*/ 12464 w 1814027"/>
                <a:gd name="connsiteY1026" fmla="*/ 579285 h 1113404"/>
                <a:gd name="connsiteX1027" fmla="*/ 12464 w 1814027"/>
                <a:gd name="connsiteY1027" fmla="*/ 581493 h 1113404"/>
                <a:gd name="connsiteX1028" fmla="*/ 15217 w 1814027"/>
                <a:gd name="connsiteY1028" fmla="*/ 581342 h 1113404"/>
                <a:gd name="connsiteX1029" fmla="*/ 15912 w 1814027"/>
                <a:gd name="connsiteY1029" fmla="*/ 581463 h 1113404"/>
                <a:gd name="connsiteX1030" fmla="*/ 16638 w 1814027"/>
                <a:gd name="connsiteY1030" fmla="*/ 582643 h 1113404"/>
                <a:gd name="connsiteX1031" fmla="*/ 16638 w 1814027"/>
                <a:gd name="connsiteY1031" fmla="*/ 584004 h 1113404"/>
                <a:gd name="connsiteX1032" fmla="*/ 16396 w 1814027"/>
                <a:gd name="connsiteY1032" fmla="*/ 585607 h 1113404"/>
                <a:gd name="connsiteX1033" fmla="*/ 16487 w 1814027"/>
                <a:gd name="connsiteY1033" fmla="*/ 587543 h 1113404"/>
                <a:gd name="connsiteX1034" fmla="*/ 17576 w 1814027"/>
                <a:gd name="connsiteY1034" fmla="*/ 590357 h 1113404"/>
                <a:gd name="connsiteX1035" fmla="*/ 22507 w 1814027"/>
                <a:gd name="connsiteY1035" fmla="*/ 597375 h 1113404"/>
                <a:gd name="connsiteX1036" fmla="*/ 23173 w 1814027"/>
                <a:gd name="connsiteY1036" fmla="*/ 597980 h 1113404"/>
                <a:gd name="connsiteX1037" fmla="*/ 23899 w 1814027"/>
                <a:gd name="connsiteY1037" fmla="*/ 598162 h 1113404"/>
                <a:gd name="connsiteX1038" fmla="*/ 24685 w 1814027"/>
                <a:gd name="connsiteY1038" fmla="*/ 597950 h 1113404"/>
                <a:gd name="connsiteX1039" fmla="*/ 25472 w 1814027"/>
                <a:gd name="connsiteY1039" fmla="*/ 597375 h 1113404"/>
                <a:gd name="connsiteX1040" fmla="*/ 25895 w 1814027"/>
                <a:gd name="connsiteY1040" fmla="*/ 597194 h 1113404"/>
                <a:gd name="connsiteX1041" fmla="*/ 26289 w 1814027"/>
                <a:gd name="connsiteY1041" fmla="*/ 597133 h 1113404"/>
                <a:gd name="connsiteX1042" fmla="*/ 26712 w 1814027"/>
                <a:gd name="connsiteY1042" fmla="*/ 597194 h 1113404"/>
                <a:gd name="connsiteX1043" fmla="*/ 28709 w 1814027"/>
                <a:gd name="connsiteY1043" fmla="*/ 597950 h 1113404"/>
                <a:gd name="connsiteX1044" fmla="*/ 30282 w 1814027"/>
                <a:gd name="connsiteY1044" fmla="*/ 598252 h 1113404"/>
                <a:gd name="connsiteX1045" fmla="*/ 31855 w 1814027"/>
                <a:gd name="connsiteY1045" fmla="*/ 598131 h 1113404"/>
                <a:gd name="connsiteX1046" fmla="*/ 33791 w 1814027"/>
                <a:gd name="connsiteY1046" fmla="*/ 597224 h 1113404"/>
                <a:gd name="connsiteX1047" fmla="*/ 34638 w 1814027"/>
                <a:gd name="connsiteY1047" fmla="*/ 597224 h 1113404"/>
                <a:gd name="connsiteX1048" fmla="*/ 35062 w 1814027"/>
                <a:gd name="connsiteY1048" fmla="*/ 597436 h 1113404"/>
                <a:gd name="connsiteX1049" fmla="*/ 42534 w 1814027"/>
                <a:gd name="connsiteY1049" fmla="*/ 606511 h 1113404"/>
                <a:gd name="connsiteX1050" fmla="*/ 43865 w 1814027"/>
                <a:gd name="connsiteY1050" fmla="*/ 609354 h 1113404"/>
                <a:gd name="connsiteX1051" fmla="*/ 45287 w 1814027"/>
                <a:gd name="connsiteY1051" fmla="*/ 613741 h 1113404"/>
                <a:gd name="connsiteX1052" fmla="*/ 46981 w 1814027"/>
                <a:gd name="connsiteY1052" fmla="*/ 617008 h 1113404"/>
                <a:gd name="connsiteX1053" fmla="*/ 47525 w 1814027"/>
                <a:gd name="connsiteY1053" fmla="*/ 617583 h 1113404"/>
                <a:gd name="connsiteX1054" fmla="*/ 47797 w 1814027"/>
                <a:gd name="connsiteY1054" fmla="*/ 617583 h 1113404"/>
                <a:gd name="connsiteX1055" fmla="*/ 49128 w 1814027"/>
                <a:gd name="connsiteY1055" fmla="*/ 616948 h 1113404"/>
                <a:gd name="connsiteX1056" fmla="*/ 56389 w 1814027"/>
                <a:gd name="connsiteY1056" fmla="*/ 616948 h 1113404"/>
                <a:gd name="connsiteX1057" fmla="*/ 58234 w 1814027"/>
                <a:gd name="connsiteY1057" fmla="*/ 616373 h 1113404"/>
                <a:gd name="connsiteX1058" fmla="*/ 59959 w 1814027"/>
                <a:gd name="connsiteY1058" fmla="*/ 615345 h 1113404"/>
                <a:gd name="connsiteX1059" fmla="*/ 61683 w 1814027"/>
                <a:gd name="connsiteY1059" fmla="*/ 614921 h 1113404"/>
                <a:gd name="connsiteX1060" fmla="*/ 63316 w 1814027"/>
                <a:gd name="connsiteY1060" fmla="*/ 615889 h 1113404"/>
                <a:gd name="connsiteX1061" fmla="*/ 63679 w 1814027"/>
                <a:gd name="connsiteY1061" fmla="*/ 616554 h 1113404"/>
                <a:gd name="connsiteX1062" fmla="*/ 67309 w 1814027"/>
                <a:gd name="connsiteY1062" fmla="*/ 618430 h 1113404"/>
                <a:gd name="connsiteX1063" fmla="*/ 70274 w 1814027"/>
                <a:gd name="connsiteY1063" fmla="*/ 621002 h 1113404"/>
                <a:gd name="connsiteX1064" fmla="*/ 71605 w 1814027"/>
                <a:gd name="connsiteY1064" fmla="*/ 622575 h 1113404"/>
                <a:gd name="connsiteX1065" fmla="*/ 72634 w 1814027"/>
                <a:gd name="connsiteY1065" fmla="*/ 624480 h 1113404"/>
                <a:gd name="connsiteX1066" fmla="*/ 73329 w 1814027"/>
                <a:gd name="connsiteY1066" fmla="*/ 627082 h 1113404"/>
                <a:gd name="connsiteX1067" fmla="*/ 72966 w 1814027"/>
                <a:gd name="connsiteY1067" fmla="*/ 628504 h 1113404"/>
                <a:gd name="connsiteX1068" fmla="*/ 72301 w 1814027"/>
                <a:gd name="connsiteY1068" fmla="*/ 629774 h 1113404"/>
                <a:gd name="connsiteX1069" fmla="*/ 72120 w 1814027"/>
                <a:gd name="connsiteY1069" fmla="*/ 631922 h 1113404"/>
                <a:gd name="connsiteX1070" fmla="*/ 70395 w 1814027"/>
                <a:gd name="connsiteY1070" fmla="*/ 633889 h 1113404"/>
                <a:gd name="connsiteX1071" fmla="*/ 71242 w 1814027"/>
                <a:gd name="connsiteY1071" fmla="*/ 635552 h 1113404"/>
                <a:gd name="connsiteX1072" fmla="*/ 74933 w 1814027"/>
                <a:gd name="connsiteY1072" fmla="*/ 638336 h 1113404"/>
                <a:gd name="connsiteX1073" fmla="*/ 76960 w 1814027"/>
                <a:gd name="connsiteY1073" fmla="*/ 637761 h 1113404"/>
                <a:gd name="connsiteX1074" fmla="*/ 78775 w 1814027"/>
                <a:gd name="connsiteY1074" fmla="*/ 636611 h 1113404"/>
                <a:gd name="connsiteX1075" fmla="*/ 79622 w 1814027"/>
                <a:gd name="connsiteY1075" fmla="*/ 634735 h 1113404"/>
                <a:gd name="connsiteX1076" fmla="*/ 78775 w 1814027"/>
                <a:gd name="connsiteY1076" fmla="*/ 631953 h 1113404"/>
                <a:gd name="connsiteX1077" fmla="*/ 79622 w 1814027"/>
                <a:gd name="connsiteY1077" fmla="*/ 630319 h 1113404"/>
                <a:gd name="connsiteX1078" fmla="*/ 81135 w 1814027"/>
                <a:gd name="connsiteY1078" fmla="*/ 630198 h 1113404"/>
                <a:gd name="connsiteX1079" fmla="*/ 82919 w 1814027"/>
                <a:gd name="connsiteY1079" fmla="*/ 630954 h 1113404"/>
                <a:gd name="connsiteX1080" fmla="*/ 84462 w 1814027"/>
                <a:gd name="connsiteY1080" fmla="*/ 631953 h 1113404"/>
                <a:gd name="connsiteX1081" fmla="*/ 86066 w 1814027"/>
                <a:gd name="connsiteY1081" fmla="*/ 632860 h 1113404"/>
                <a:gd name="connsiteX1082" fmla="*/ 87699 w 1814027"/>
                <a:gd name="connsiteY1082" fmla="*/ 633314 h 1113404"/>
                <a:gd name="connsiteX1083" fmla="*/ 89302 w 1814027"/>
                <a:gd name="connsiteY1083" fmla="*/ 633072 h 1113404"/>
                <a:gd name="connsiteX1084" fmla="*/ 93628 w 1814027"/>
                <a:gd name="connsiteY1084" fmla="*/ 629926 h 1113404"/>
                <a:gd name="connsiteX1085" fmla="*/ 94959 w 1814027"/>
                <a:gd name="connsiteY1085" fmla="*/ 627566 h 1113404"/>
                <a:gd name="connsiteX1086" fmla="*/ 97228 w 1814027"/>
                <a:gd name="connsiteY1086" fmla="*/ 621092 h 1113404"/>
                <a:gd name="connsiteX1087" fmla="*/ 99195 w 1814027"/>
                <a:gd name="connsiteY1087" fmla="*/ 618279 h 1113404"/>
                <a:gd name="connsiteX1088" fmla="*/ 101252 w 1814027"/>
                <a:gd name="connsiteY1088" fmla="*/ 617371 h 1113404"/>
                <a:gd name="connsiteX1089" fmla="*/ 103521 w 1814027"/>
                <a:gd name="connsiteY1089" fmla="*/ 617674 h 1113404"/>
                <a:gd name="connsiteX1090" fmla="*/ 110539 w 1814027"/>
                <a:gd name="connsiteY1090" fmla="*/ 619913 h 1113404"/>
                <a:gd name="connsiteX1091" fmla="*/ 112293 w 1814027"/>
                <a:gd name="connsiteY1091" fmla="*/ 621092 h 1113404"/>
                <a:gd name="connsiteX1092" fmla="*/ 116438 w 1814027"/>
                <a:gd name="connsiteY1092" fmla="*/ 625660 h 1113404"/>
                <a:gd name="connsiteX1093" fmla="*/ 121248 w 1814027"/>
                <a:gd name="connsiteY1093" fmla="*/ 629441 h 1113404"/>
                <a:gd name="connsiteX1094" fmla="*/ 123517 w 1814027"/>
                <a:gd name="connsiteY1094" fmla="*/ 631892 h 1113404"/>
                <a:gd name="connsiteX1095" fmla="*/ 124243 w 1814027"/>
                <a:gd name="connsiteY1095" fmla="*/ 632164 h 1113404"/>
                <a:gd name="connsiteX1096" fmla="*/ 124999 w 1814027"/>
                <a:gd name="connsiteY1096" fmla="*/ 632255 h 1113404"/>
                <a:gd name="connsiteX1097" fmla="*/ 125755 w 1814027"/>
                <a:gd name="connsiteY1097" fmla="*/ 632164 h 1113404"/>
                <a:gd name="connsiteX1098" fmla="*/ 126542 w 1814027"/>
                <a:gd name="connsiteY1098" fmla="*/ 631892 h 1113404"/>
                <a:gd name="connsiteX1099" fmla="*/ 126693 w 1814027"/>
                <a:gd name="connsiteY1099" fmla="*/ 631831 h 1113404"/>
                <a:gd name="connsiteX1100" fmla="*/ 126996 w 1814027"/>
                <a:gd name="connsiteY1100" fmla="*/ 631831 h 1113404"/>
                <a:gd name="connsiteX1101" fmla="*/ 127147 w 1814027"/>
                <a:gd name="connsiteY1101" fmla="*/ 631892 h 1113404"/>
                <a:gd name="connsiteX1102" fmla="*/ 133681 w 1814027"/>
                <a:gd name="connsiteY1102" fmla="*/ 634887 h 1113404"/>
                <a:gd name="connsiteX1103" fmla="*/ 135768 w 1814027"/>
                <a:gd name="connsiteY1103" fmla="*/ 634766 h 1113404"/>
                <a:gd name="connsiteX1104" fmla="*/ 136162 w 1814027"/>
                <a:gd name="connsiteY1104" fmla="*/ 634494 h 1113404"/>
                <a:gd name="connsiteX1105" fmla="*/ 136465 w 1814027"/>
                <a:gd name="connsiteY1105" fmla="*/ 634252 h 1113404"/>
                <a:gd name="connsiteX1106" fmla="*/ 137039 w 1814027"/>
                <a:gd name="connsiteY1106" fmla="*/ 633616 h 1113404"/>
                <a:gd name="connsiteX1107" fmla="*/ 137554 w 1814027"/>
                <a:gd name="connsiteY1107" fmla="*/ 632830 h 1113404"/>
                <a:gd name="connsiteX1108" fmla="*/ 138007 w 1814027"/>
                <a:gd name="connsiteY1108" fmla="*/ 631892 h 1113404"/>
                <a:gd name="connsiteX1109" fmla="*/ 139096 w 1814027"/>
                <a:gd name="connsiteY1109" fmla="*/ 631045 h 1113404"/>
                <a:gd name="connsiteX1110" fmla="*/ 140216 w 1814027"/>
                <a:gd name="connsiteY1110" fmla="*/ 630742 h 1113404"/>
                <a:gd name="connsiteX1111" fmla="*/ 143997 w 1814027"/>
                <a:gd name="connsiteY1111" fmla="*/ 630107 h 1113404"/>
                <a:gd name="connsiteX1112" fmla="*/ 145873 w 1814027"/>
                <a:gd name="connsiteY1112" fmla="*/ 630682 h 1113404"/>
                <a:gd name="connsiteX1113" fmla="*/ 152347 w 1814027"/>
                <a:gd name="connsiteY1113" fmla="*/ 631378 h 1113404"/>
                <a:gd name="connsiteX1114" fmla="*/ 156491 w 1814027"/>
                <a:gd name="connsiteY1114" fmla="*/ 632679 h 1113404"/>
                <a:gd name="connsiteX1115" fmla="*/ 158820 w 1814027"/>
                <a:gd name="connsiteY1115" fmla="*/ 632981 h 1113404"/>
                <a:gd name="connsiteX1116" fmla="*/ 165808 w 1814027"/>
                <a:gd name="connsiteY1116" fmla="*/ 632648 h 1113404"/>
                <a:gd name="connsiteX1117" fmla="*/ 167472 w 1814027"/>
                <a:gd name="connsiteY1117" fmla="*/ 633405 h 1113404"/>
                <a:gd name="connsiteX1118" fmla="*/ 172706 w 1814027"/>
                <a:gd name="connsiteY1118" fmla="*/ 637882 h 1113404"/>
                <a:gd name="connsiteX1119" fmla="*/ 173371 w 1814027"/>
                <a:gd name="connsiteY1119" fmla="*/ 639999 h 1113404"/>
                <a:gd name="connsiteX1120" fmla="*/ 175519 w 1814027"/>
                <a:gd name="connsiteY1120" fmla="*/ 639999 h 1113404"/>
                <a:gd name="connsiteX1121" fmla="*/ 185653 w 1814027"/>
                <a:gd name="connsiteY1121" fmla="*/ 636127 h 1113404"/>
                <a:gd name="connsiteX1122" fmla="*/ 188830 w 1814027"/>
                <a:gd name="connsiteY1122" fmla="*/ 636278 h 1113404"/>
                <a:gd name="connsiteX1123" fmla="*/ 190494 w 1814027"/>
                <a:gd name="connsiteY1123" fmla="*/ 637367 h 1113404"/>
                <a:gd name="connsiteX1124" fmla="*/ 195485 w 1814027"/>
                <a:gd name="connsiteY1124" fmla="*/ 638608 h 1113404"/>
                <a:gd name="connsiteX1125" fmla="*/ 197481 w 1814027"/>
                <a:gd name="connsiteY1125" fmla="*/ 639455 h 1113404"/>
                <a:gd name="connsiteX1126" fmla="*/ 201142 w 1814027"/>
                <a:gd name="connsiteY1126" fmla="*/ 642692 h 1113404"/>
                <a:gd name="connsiteX1127" fmla="*/ 202897 w 1814027"/>
                <a:gd name="connsiteY1127" fmla="*/ 643024 h 1113404"/>
                <a:gd name="connsiteX1128" fmla="*/ 203048 w 1814027"/>
                <a:gd name="connsiteY1128" fmla="*/ 642904 h 1113404"/>
                <a:gd name="connsiteX1129" fmla="*/ 209007 w 1814027"/>
                <a:gd name="connsiteY1129" fmla="*/ 645021 h 1113404"/>
                <a:gd name="connsiteX1130" fmla="*/ 211185 w 1814027"/>
                <a:gd name="connsiteY1130" fmla="*/ 645112 h 1113404"/>
                <a:gd name="connsiteX1131" fmla="*/ 217901 w 1814027"/>
                <a:gd name="connsiteY1131" fmla="*/ 641966 h 1113404"/>
                <a:gd name="connsiteX1132" fmla="*/ 222862 w 1814027"/>
                <a:gd name="connsiteY1132" fmla="*/ 641815 h 1113404"/>
                <a:gd name="connsiteX1133" fmla="*/ 226795 w 1814027"/>
                <a:gd name="connsiteY1133" fmla="*/ 638668 h 1113404"/>
                <a:gd name="connsiteX1134" fmla="*/ 229094 w 1814027"/>
                <a:gd name="connsiteY1134" fmla="*/ 637519 h 1113404"/>
                <a:gd name="connsiteX1135" fmla="*/ 231030 w 1814027"/>
                <a:gd name="connsiteY1135" fmla="*/ 637458 h 1113404"/>
                <a:gd name="connsiteX1136" fmla="*/ 236778 w 1814027"/>
                <a:gd name="connsiteY1136" fmla="*/ 638729 h 1113404"/>
                <a:gd name="connsiteX1137" fmla="*/ 242465 w 1814027"/>
                <a:gd name="connsiteY1137" fmla="*/ 638638 h 1113404"/>
                <a:gd name="connsiteX1138" fmla="*/ 244432 w 1814027"/>
                <a:gd name="connsiteY1138" fmla="*/ 639092 h 1113404"/>
                <a:gd name="connsiteX1139" fmla="*/ 245249 w 1814027"/>
                <a:gd name="connsiteY1139" fmla="*/ 639546 h 1113404"/>
                <a:gd name="connsiteX1140" fmla="*/ 249121 w 1814027"/>
                <a:gd name="connsiteY1140" fmla="*/ 641663 h 1113404"/>
                <a:gd name="connsiteX1141" fmla="*/ 251662 w 1814027"/>
                <a:gd name="connsiteY1141" fmla="*/ 643539 h 1113404"/>
                <a:gd name="connsiteX1142" fmla="*/ 253235 w 1814027"/>
                <a:gd name="connsiteY1142" fmla="*/ 645354 h 1113404"/>
                <a:gd name="connsiteX1143" fmla="*/ 253900 w 1814027"/>
                <a:gd name="connsiteY1143" fmla="*/ 647532 h 1113404"/>
                <a:gd name="connsiteX1144" fmla="*/ 253991 w 1814027"/>
                <a:gd name="connsiteY1144" fmla="*/ 649347 h 1113404"/>
                <a:gd name="connsiteX1145" fmla="*/ 254445 w 1814027"/>
                <a:gd name="connsiteY1145" fmla="*/ 651041 h 1113404"/>
                <a:gd name="connsiteX1146" fmla="*/ 256230 w 1814027"/>
                <a:gd name="connsiteY1146" fmla="*/ 652947 h 1113404"/>
                <a:gd name="connsiteX1147" fmla="*/ 259618 w 1814027"/>
                <a:gd name="connsiteY1147" fmla="*/ 654883 h 1113404"/>
                <a:gd name="connsiteX1148" fmla="*/ 267755 w 1814027"/>
                <a:gd name="connsiteY1148" fmla="*/ 657817 h 1113404"/>
                <a:gd name="connsiteX1149" fmla="*/ 269238 w 1814027"/>
                <a:gd name="connsiteY1149" fmla="*/ 659027 h 1113404"/>
                <a:gd name="connsiteX1150" fmla="*/ 270508 w 1814027"/>
                <a:gd name="connsiteY1150" fmla="*/ 660631 h 1113404"/>
                <a:gd name="connsiteX1151" fmla="*/ 273897 w 1814027"/>
                <a:gd name="connsiteY1151" fmla="*/ 666258 h 1113404"/>
                <a:gd name="connsiteX1152" fmla="*/ 276226 w 1814027"/>
                <a:gd name="connsiteY1152" fmla="*/ 669615 h 1113404"/>
                <a:gd name="connsiteX1153" fmla="*/ 278132 w 1814027"/>
                <a:gd name="connsiteY1153" fmla="*/ 670795 h 1113404"/>
                <a:gd name="connsiteX1154" fmla="*/ 281399 w 1814027"/>
                <a:gd name="connsiteY1154" fmla="*/ 670251 h 1113404"/>
                <a:gd name="connsiteX1155" fmla="*/ 282760 w 1814027"/>
                <a:gd name="connsiteY1155" fmla="*/ 670009 h 1113404"/>
                <a:gd name="connsiteX1156" fmla="*/ 290293 w 1814027"/>
                <a:gd name="connsiteY1156" fmla="*/ 668768 h 1113404"/>
                <a:gd name="connsiteX1157" fmla="*/ 296585 w 1814027"/>
                <a:gd name="connsiteY1157" fmla="*/ 666258 h 1113404"/>
                <a:gd name="connsiteX1158" fmla="*/ 296585 w 1814027"/>
                <a:gd name="connsiteY1158" fmla="*/ 666258 h 1113404"/>
                <a:gd name="connsiteX1159" fmla="*/ 300790 w 1814027"/>
                <a:gd name="connsiteY1159" fmla="*/ 662506 h 1113404"/>
                <a:gd name="connsiteX1160" fmla="*/ 310531 w 1814027"/>
                <a:gd name="connsiteY1160" fmla="*/ 647623 h 1113404"/>
                <a:gd name="connsiteX1161" fmla="*/ 314857 w 1814027"/>
                <a:gd name="connsiteY1161" fmla="*/ 644870 h 1113404"/>
                <a:gd name="connsiteX1162" fmla="*/ 364227 w 1814027"/>
                <a:gd name="connsiteY1162" fmla="*/ 639909 h 1113404"/>
                <a:gd name="connsiteX1163" fmla="*/ 370883 w 1814027"/>
                <a:gd name="connsiteY1163" fmla="*/ 637428 h 1113404"/>
                <a:gd name="connsiteX1164" fmla="*/ 376177 w 1814027"/>
                <a:gd name="connsiteY1164" fmla="*/ 636823 h 1113404"/>
                <a:gd name="connsiteX1165" fmla="*/ 379232 w 1814027"/>
                <a:gd name="connsiteY1165" fmla="*/ 635583 h 1113404"/>
                <a:gd name="connsiteX1166" fmla="*/ 380926 w 1814027"/>
                <a:gd name="connsiteY1166" fmla="*/ 635280 h 1113404"/>
                <a:gd name="connsiteX1167" fmla="*/ 385706 w 1814027"/>
                <a:gd name="connsiteY1167" fmla="*/ 635734 h 1113404"/>
                <a:gd name="connsiteX1168" fmla="*/ 392089 w 1814027"/>
                <a:gd name="connsiteY1168" fmla="*/ 633949 h 1113404"/>
                <a:gd name="connsiteX1169" fmla="*/ 399470 w 1814027"/>
                <a:gd name="connsiteY1169" fmla="*/ 633889 h 1113404"/>
                <a:gd name="connsiteX1170" fmla="*/ 401800 w 1814027"/>
                <a:gd name="connsiteY1170" fmla="*/ 633889 h 1113404"/>
                <a:gd name="connsiteX1171" fmla="*/ 406579 w 1814027"/>
                <a:gd name="connsiteY1171" fmla="*/ 631831 h 1113404"/>
                <a:gd name="connsiteX1172" fmla="*/ 407548 w 1814027"/>
                <a:gd name="connsiteY1172" fmla="*/ 630440 h 1113404"/>
                <a:gd name="connsiteX1173" fmla="*/ 409786 w 1814027"/>
                <a:gd name="connsiteY1173" fmla="*/ 625751 h 1113404"/>
                <a:gd name="connsiteX1174" fmla="*/ 411026 w 1814027"/>
                <a:gd name="connsiteY1174" fmla="*/ 624269 h 1113404"/>
                <a:gd name="connsiteX1175" fmla="*/ 413658 w 1814027"/>
                <a:gd name="connsiteY1175" fmla="*/ 622211 h 1113404"/>
                <a:gd name="connsiteX1176" fmla="*/ 414868 w 1814027"/>
                <a:gd name="connsiteY1176" fmla="*/ 620941 h 1113404"/>
                <a:gd name="connsiteX1177" fmla="*/ 416441 w 1814027"/>
                <a:gd name="connsiteY1177" fmla="*/ 618007 h 1113404"/>
                <a:gd name="connsiteX1178" fmla="*/ 418075 w 1814027"/>
                <a:gd name="connsiteY1178" fmla="*/ 613711 h 1113404"/>
                <a:gd name="connsiteX1179" fmla="*/ 419134 w 1814027"/>
                <a:gd name="connsiteY1179" fmla="*/ 609325 h 1113404"/>
                <a:gd name="connsiteX1180" fmla="*/ 418982 w 1814027"/>
                <a:gd name="connsiteY1180" fmla="*/ 606178 h 1113404"/>
                <a:gd name="connsiteX1181" fmla="*/ 419708 w 1814027"/>
                <a:gd name="connsiteY1181" fmla="*/ 601610 h 1113404"/>
                <a:gd name="connsiteX1182" fmla="*/ 420555 w 1814027"/>
                <a:gd name="connsiteY1182" fmla="*/ 601943 h 1113404"/>
                <a:gd name="connsiteX1183" fmla="*/ 422431 w 1814027"/>
                <a:gd name="connsiteY1183" fmla="*/ 602125 h 1113404"/>
                <a:gd name="connsiteX1184" fmla="*/ 424156 w 1814027"/>
                <a:gd name="connsiteY1184" fmla="*/ 601641 h 1113404"/>
                <a:gd name="connsiteX1185" fmla="*/ 427483 w 1814027"/>
                <a:gd name="connsiteY1185" fmla="*/ 600098 h 1113404"/>
                <a:gd name="connsiteX1186" fmla="*/ 429177 w 1814027"/>
                <a:gd name="connsiteY1186" fmla="*/ 599674 h 1113404"/>
                <a:gd name="connsiteX1187" fmla="*/ 433927 w 1814027"/>
                <a:gd name="connsiteY1187" fmla="*/ 599463 h 1113404"/>
                <a:gd name="connsiteX1188" fmla="*/ 435590 w 1814027"/>
                <a:gd name="connsiteY1188" fmla="*/ 599100 h 1113404"/>
                <a:gd name="connsiteX1189" fmla="*/ 448296 w 1814027"/>
                <a:gd name="connsiteY1189" fmla="*/ 596468 h 1113404"/>
                <a:gd name="connsiteX1190" fmla="*/ 451352 w 1814027"/>
                <a:gd name="connsiteY1190" fmla="*/ 595136 h 1113404"/>
                <a:gd name="connsiteX1191" fmla="*/ 451442 w 1814027"/>
                <a:gd name="connsiteY1191" fmla="*/ 593987 h 1113404"/>
                <a:gd name="connsiteX1192" fmla="*/ 452078 w 1814027"/>
                <a:gd name="connsiteY1192" fmla="*/ 591809 h 1113404"/>
                <a:gd name="connsiteX1193" fmla="*/ 453197 w 1814027"/>
                <a:gd name="connsiteY1193" fmla="*/ 590145 h 1113404"/>
                <a:gd name="connsiteX1194" fmla="*/ 456524 w 1814027"/>
                <a:gd name="connsiteY1194" fmla="*/ 588209 h 1113404"/>
                <a:gd name="connsiteX1195" fmla="*/ 457009 w 1814027"/>
                <a:gd name="connsiteY1195" fmla="*/ 586424 h 1113404"/>
                <a:gd name="connsiteX1196" fmla="*/ 457583 w 1814027"/>
                <a:gd name="connsiteY1196" fmla="*/ 585244 h 1113404"/>
                <a:gd name="connsiteX1197" fmla="*/ 459580 w 1814027"/>
                <a:gd name="connsiteY1197" fmla="*/ 585940 h 1113404"/>
                <a:gd name="connsiteX1198" fmla="*/ 460941 w 1814027"/>
                <a:gd name="connsiteY1198" fmla="*/ 587332 h 1113404"/>
                <a:gd name="connsiteX1199" fmla="*/ 462000 w 1814027"/>
                <a:gd name="connsiteY1199" fmla="*/ 589056 h 1113404"/>
                <a:gd name="connsiteX1200" fmla="*/ 463240 w 1814027"/>
                <a:gd name="connsiteY1200" fmla="*/ 590568 h 1113404"/>
                <a:gd name="connsiteX1201" fmla="*/ 465116 w 1814027"/>
                <a:gd name="connsiteY1201" fmla="*/ 591355 h 1113404"/>
                <a:gd name="connsiteX1202" fmla="*/ 467112 w 1814027"/>
                <a:gd name="connsiteY1202" fmla="*/ 591204 h 1113404"/>
                <a:gd name="connsiteX1203" fmla="*/ 468262 w 1814027"/>
                <a:gd name="connsiteY1203" fmla="*/ 590236 h 1113404"/>
                <a:gd name="connsiteX1204" fmla="*/ 468716 w 1814027"/>
                <a:gd name="connsiteY1204" fmla="*/ 588451 h 1113404"/>
                <a:gd name="connsiteX1205" fmla="*/ 468655 w 1814027"/>
                <a:gd name="connsiteY1205" fmla="*/ 585819 h 1113404"/>
                <a:gd name="connsiteX1206" fmla="*/ 468111 w 1814027"/>
                <a:gd name="connsiteY1206" fmla="*/ 583157 h 1113404"/>
                <a:gd name="connsiteX1207" fmla="*/ 467536 w 1814027"/>
                <a:gd name="connsiteY1207" fmla="*/ 581493 h 1113404"/>
                <a:gd name="connsiteX1208" fmla="*/ 467475 w 1814027"/>
                <a:gd name="connsiteY1208" fmla="*/ 580253 h 1113404"/>
                <a:gd name="connsiteX1209" fmla="*/ 468534 w 1814027"/>
                <a:gd name="connsiteY1209" fmla="*/ 578861 h 1113404"/>
                <a:gd name="connsiteX1210" fmla="*/ 469079 w 1814027"/>
                <a:gd name="connsiteY1210" fmla="*/ 578861 h 1113404"/>
                <a:gd name="connsiteX1211" fmla="*/ 470743 w 1814027"/>
                <a:gd name="connsiteY1211" fmla="*/ 579436 h 1113404"/>
                <a:gd name="connsiteX1212" fmla="*/ 471439 w 1814027"/>
                <a:gd name="connsiteY1212" fmla="*/ 579436 h 1113404"/>
                <a:gd name="connsiteX1213" fmla="*/ 472316 w 1814027"/>
                <a:gd name="connsiteY1213" fmla="*/ 578619 h 1113404"/>
                <a:gd name="connsiteX1214" fmla="*/ 472588 w 1814027"/>
                <a:gd name="connsiteY1214" fmla="*/ 577590 h 1113404"/>
                <a:gd name="connsiteX1215" fmla="*/ 472951 w 1814027"/>
                <a:gd name="connsiteY1215" fmla="*/ 576713 h 1113404"/>
                <a:gd name="connsiteX1216" fmla="*/ 474040 w 1814027"/>
                <a:gd name="connsiteY1216" fmla="*/ 576381 h 1113404"/>
                <a:gd name="connsiteX1217" fmla="*/ 477368 w 1814027"/>
                <a:gd name="connsiteY1217" fmla="*/ 577742 h 1113404"/>
                <a:gd name="connsiteX1218" fmla="*/ 480665 w 1814027"/>
                <a:gd name="connsiteY1218" fmla="*/ 580343 h 1113404"/>
                <a:gd name="connsiteX1219" fmla="*/ 484144 w 1814027"/>
                <a:gd name="connsiteY1219" fmla="*/ 582280 h 1113404"/>
                <a:gd name="connsiteX1220" fmla="*/ 487956 w 1814027"/>
                <a:gd name="connsiteY1220" fmla="*/ 581675 h 1113404"/>
                <a:gd name="connsiteX1221" fmla="*/ 488924 w 1814027"/>
                <a:gd name="connsiteY1221" fmla="*/ 580737 h 1113404"/>
                <a:gd name="connsiteX1222" fmla="*/ 489650 w 1814027"/>
                <a:gd name="connsiteY1222" fmla="*/ 580858 h 1113404"/>
                <a:gd name="connsiteX1223" fmla="*/ 490346 w 1814027"/>
                <a:gd name="connsiteY1223" fmla="*/ 581251 h 1113404"/>
                <a:gd name="connsiteX1224" fmla="*/ 491435 w 1814027"/>
                <a:gd name="connsiteY1224" fmla="*/ 581160 h 1113404"/>
                <a:gd name="connsiteX1225" fmla="*/ 492645 w 1814027"/>
                <a:gd name="connsiteY1225" fmla="*/ 581372 h 1113404"/>
                <a:gd name="connsiteX1226" fmla="*/ 493189 w 1814027"/>
                <a:gd name="connsiteY1226" fmla="*/ 581039 h 1113404"/>
                <a:gd name="connsiteX1227" fmla="*/ 493068 w 1814027"/>
                <a:gd name="connsiteY1227" fmla="*/ 580343 h 1113404"/>
                <a:gd name="connsiteX1228" fmla="*/ 492735 w 1814027"/>
                <a:gd name="connsiteY1228" fmla="*/ 579587 h 1113404"/>
                <a:gd name="connsiteX1229" fmla="*/ 492645 w 1814027"/>
                <a:gd name="connsiteY1229" fmla="*/ 579043 h 1113404"/>
                <a:gd name="connsiteX1230" fmla="*/ 492645 w 1814027"/>
                <a:gd name="connsiteY1230" fmla="*/ 578105 h 1113404"/>
                <a:gd name="connsiteX1231" fmla="*/ 492403 w 1814027"/>
                <a:gd name="connsiteY1231" fmla="*/ 576925 h 1113404"/>
                <a:gd name="connsiteX1232" fmla="*/ 492493 w 1814027"/>
                <a:gd name="connsiteY1232" fmla="*/ 575927 h 1113404"/>
                <a:gd name="connsiteX1233" fmla="*/ 493613 w 1814027"/>
                <a:gd name="connsiteY1233" fmla="*/ 575564 h 1113404"/>
                <a:gd name="connsiteX1234" fmla="*/ 494671 w 1814027"/>
                <a:gd name="connsiteY1234" fmla="*/ 575836 h 1113404"/>
                <a:gd name="connsiteX1235" fmla="*/ 496789 w 1814027"/>
                <a:gd name="connsiteY1235" fmla="*/ 577076 h 1113404"/>
                <a:gd name="connsiteX1236" fmla="*/ 507559 w 1814027"/>
                <a:gd name="connsiteY1236" fmla="*/ 580828 h 1113404"/>
                <a:gd name="connsiteX1237" fmla="*/ 510856 w 1814027"/>
                <a:gd name="connsiteY1237" fmla="*/ 581009 h 1113404"/>
                <a:gd name="connsiteX1238" fmla="*/ 514698 w 1814027"/>
                <a:gd name="connsiteY1238" fmla="*/ 579194 h 1113404"/>
                <a:gd name="connsiteX1239" fmla="*/ 515243 w 1814027"/>
                <a:gd name="connsiteY1239" fmla="*/ 578559 h 1113404"/>
                <a:gd name="connsiteX1240" fmla="*/ 520688 w 1814027"/>
                <a:gd name="connsiteY1240" fmla="*/ 572267 h 1113404"/>
                <a:gd name="connsiteX1241" fmla="*/ 524348 w 1814027"/>
                <a:gd name="connsiteY1241" fmla="*/ 570512 h 1113404"/>
                <a:gd name="connsiteX1242" fmla="*/ 526284 w 1814027"/>
                <a:gd name="connsiteY1242" fmla="*/ 570966 h 1113404"/>
                <a:gd name="connsiteX1243" fmla="*/ 529158 w 1814027"/>
                <a:gd name="connsiteY1243" fmla="*/ 573446 h 1113404"/>
                <a:gd name="connsiteX1244" fmla="*/ 530550 w 1814027"/>
                <a:gd name="connsiteY1244" fmla="*/ 573930 h 1113404"/>
                <a:gd name="connsiteX1245" fmla="*/ 532214 w 1814027"/>
                <a:gd name="connsiteY1245" fmla="*/ 573144 h 1113404"/>
                <a:gd name="connsiteX1246" fmla="*/ 538324 w 1814027"/>
                <a:gd name="connsiteY1246" fmla="*/ 568364 h 1113404"/>
                <a:gd name="connsiteX1247" fmla="*/ 540624 w 1814027"/>
                <a:gd name="connsiteY1247" fmla="*/ 565430 h 1113404"/>
                <a:gd name="connsiteX1248" fmla="*/ 544768 w 1814027"/>
                <a:gd name="connsiteY1248" fmla="*/ 565430 h 1113404"/>
                <a:gd name="connsiteX1249" fmla="*/ 545948 w 1814027"/>
                <a:gd name="connsiteY1249" fmla="*/ 565157 h 1113404"/>
                <a:gd name="connsiteX1250" fmla="*/ 548580 w 1814027"/>
                <a:gd name="connsiteY1250" fmla="*/ 563554 h 1113404"/>
                <a:gd name="connsiteX1251" fmla="*/ 550758 w 1814027"/>
                <a:gd name="connsiteY1251" fmla="*/ 563826 h 1113404"/>
                <a:gd name="connsiteX1252" fmla="*/ 550969 w 1814027"/>
                <a:gd name="connsiteY1252" fmla="*/ 567487 h 1113404"/>
                <a:gd name="connsiteX1253" fmla="*/ 552996 w 1814027"/>
                <a:gd name="connsiteY1253" fmla="*/ 568394 h 1113404"/>
                <a:gd name="connsiteX1254" fmla="*/ 565551 w 1814027"/>
                <a:gd name="connsiteY1254" fmla="*/ 568303 h 1113404"/>
                <a:gd name="connsiteX1255" fmla="*/ 568939 w 1814027"/>
                <a:gd name="connsiteY1255" fmla="*/ 569755 h 1113404"/>
                <a:gd name="connsiteX1256" fmla="*/ 575443 w 1814027"/>
                <a:gd name="connsiteY1256" fmla="*/ 574202 h 1113404"/>
                <a:gd name="connsiteX1257" fmla="*/ 576956 w 1814027"/>
                <a:gd name="connsiteY1257" fmla="*/ 575685 h 1113404"/>
                <a:gd name="connsiteX1258" fmla="*/ 579013 w 1814027"/>
                <a:gd name="connsiteY1258" fmla="*/ 578528 h 1113404"/>
                <a:gd name="connsiteX1259" fmla="*/ 580162 w 1814027"/>
                <a:gd name="connsiteY1259" fmla="*/ 580102 h 1113404"/>
                <a:gd name="connsiteX1260" fmla="*/ 580949 w 1814027"/>
                <a:gd name="connsiteY1260" fmla="*/ 580767 h 1113404"/>
                <a:gd name="connsiteX1261" fmla="*/ 583157 w 1814027"/>
                <a:gd name="connsiteY1261" fmla="*/ 583974 h 1113404"/>
                <a:gd name="connsiteX1262" fmla="*/ 587241 w 1814027"/>
                <a:gd name="connsiteY1262" fmla="*/ 585426 h 1113404"/>
                <a:gd name="connsiteX1263" fmla="*/ 590871 w 1814027"/>
                <a:gd name="connsiteY1263" fmla="*/ 585849 h 1113404"/>
                <a:gd name="connsiteX1264" fmla="*/ 596165 w 1814027"/>
                <a:gd name="connsiteY1264" fmla="*/ 586454 h 1113404"/>
                <a:gd name="connsiteX1265" fmla="*/ 598222 w 1814027"/>
                <a:gd name="connsiteY1265" fmla="*/ 587362 h 1113404"/>
                <a:gd name="connsiteX1266" fmla="*/ 599856 w 1814027"/>
                <a:gd name="connsiteY1266" fmla="*/ 589147 h 1113404"/>
                <a:gd name="connsiteX1267" fmla="*/ 600400 w 1814027"/>
                <a:gd name="connsiteY1267" fmla="*/ 591657 h 1113404"/>
                <a:gd name="connsiteX1268" fmla="*/ 598434 w 1814027"/>
                <a:gd name="connsiteY1268" fmla="*/ 597073 h 1113404"/>
                <a:gd name="connsiteX1269" fmla="*/ 599886 w 1814027"/>
                <a:gd name="connsiteY1269" fmla="*/ 598101 h 1113404"/>
                <a:gd name="connsiteX1270" fmla="*/ 602155 w 1814027"/>
                <a:gd name="connsiteY1270" fmla="*/ 598192 h 1113404"/>
                <a:gd name="connsiteX1271" fmla="*/ 603728 w 1814027"/>
                <a:gd name="connsiteY1271" fmla="*/ 597799 h 1113404"/>
                <a:gd name="connsiteX1272" fmla="*/ 606844 w 1814027"/>
                <a:gd name="connsiteY1272" fmla="*/ 595348 h 1113404"/>
                <a:gd name="connsiteX1273" fmla="*/ 608477 w 1814027"/>
                <a:gd name="connsiteY1273" fmla="*/ 595106 h 1113404"/>
                <a:gd name="connsiteX1274" fmla="*/ 609203 w 1814027"/>
                <a:gd name="connsiteY1274" fmla="*/ 597375 h 1113404"/>
                <a:gd name="connsiteX1275" fmla="*/ 609566 w 1814027"/>
                <a:gd name="connsiteY1275" fmla="*/ 600067 h 1113404"/>
                <a:gd name="connsiteX1276" fmla="*/ 610625 w 1814027"/>
                <a:gd name="connsiteY1276" fmla="*/ 601641 h 1113404"/>
                <a:gd name="connsiteX1277" fmla="*/ 612350 w 1814027"/>
                <a:gd name="connsiteY1277" fmla="*/ 602155 h 1113404"/>
                <a:gd name="connsiteX1278" fmla="*/ 614709 w 1814027"/>
                <a:gd name="connsiteY1278" fmla="*/ 601671 h 1113404"/>
                <a:gd name="connsiteX1279" fmla="*/ 616887 w 1814027"/>
                <a:gd name="connsiteY1279" fmla="*/ 600521 h 1113404"/>
                <a:gd name="connsiteX1280" fmla="*/ 618461 w 1814027"/>
                <a:gd name="connsiteY1280" fmla="*/ 599251 h 1113404"/>
                <a:gd name="connsiteX1281" fmla="*/ 620154 w 1814027"/>
                <a:gd name="connsiteY1281" fmla="*/ 598222 h 1113404"/>
                <a:gd name="connsiteX1282" fmla="*/ 624783 w 1814027"/>
                <a:gd name="connsiteY1282" fmla="*/ 597708 h 1113404"/>
                <a:gd name="connsiteX1283" fmla="*/ 626507 w 1814027"/>
                <a:gd name="connsiteY1283" fmla="*/ 597920 h 1113404"/>
                <a:gd name="connsiteX1284" fmla="*/ 627566 w 1814027"/>
                <a:gd name="connsiteY1284" fmla="*/ 599039 h 1113404"/>
                <a:gd name="connsiteX1285" fmla="*/ 627748 w 1814027"/>
                <a:gd name="connsiteY1285" fmla="*/ 601671 h 1113404"/>
                <a:gd name="connsiteX1286" fmla="*/ 627082 w 1814027"/>
                <a:gd name="connsiteY1286" fmla="*/ 604514 h 1113404"/>
                <a:gd name="connsiteX1287" fmla="*/ 625963 w 1814027"/>
                <a:gd name="connsiteY1287" fmla="*/ 605785 h 1113404"/>
                <a:gd name="connsiteX1288" fmla="*/ 624511 w 1814027"/>
                <a:gd name="connsiteY1288" fmla="*/ 606662 h 1113404"/>
                <a:gd name="connsiteX1289" fmla="*/ 622938 w 1814027"/>
                <a:gd name="connsiteY1289" fmla="*/ 608387 h 1113404"/>
                <a:gd name="connsiteX1290" fmla="*/ 622272 w 1814027"/>
                <a:gd name="connsiteY1290" fmla="*/ 610292 h 1113404"/>
                <a:gd name="connsiteX1291" fmla="*/ 622454 w 1814027"/>
                <a:gd name="connsiteY1291" fmla="*/ 612229 h 1113404"/>
                <a:gd name="connsiteX1292" fmla="*/ 623573 w 1814027"/>
                <a:gd name="connsiteY1292" fmla="*/ 613378 h 1113404"/>
                <a:gd name="connsiteX1293" fmla="*/ 625691 w 1814027"/>
                <a:gd name="connsiteY1293" fmla="*/ 613015 h 1113404"/>
                <a:gd name="connsiteX1294" fmla="*/ 627233 w 1814027"/>
                <a:gd name="connsiteY1294" fmla="*/ 611381 h 1113404"/>
                <a:gd name="connsiteX1295" fmla="*/ 628322 w 1814027"/>
                <a:gd name="connsiteY1295" fmla="*/ 609264 h 1113404"/>
                <a:gd name="connsiteX1296" fmla="*/ 629623 w 1814027"/>
                <a:gd name="connsiteY1296" fmla="*/ 607600 h 1113404"/>
                <a:gd name="connsiteX1297" fmla="*/ 631922 w 1814027"/>
                <a:gd name="connsiteY1297" fmla="*/ 607298 h 1113404"/>
                <a:gd name="connsiteX1298" fmla="*/ 633526 w 1814027"/>
                <a:gd name="connsiteY1298" fmla="*/ 608326 h 1113404"/>
                <a:gd name="connsiteX1299" fmla="*/ 634494 w 1814027"/>
                <a:gd name="connsiteY1299" fmla="*/ 610202 h 1113404"/>
                <a:gd name="connsiteX1300" fmla="*/ 634373 w 1814027"/>
                <a:gd name="connsiteY1300" fmla="*/ 612319 h 1113404"/>
                <a:gd name="connsiteX1301" fmla="*/ 632709 w 1814027"/>
                <a:gd name="connsiteY1301" fmla="*/ 614044 h 1113404"/>
                <a:gd name="connsiteX1302" fmla="*/ 635583 w 1814027"/>
                <a:gd name="connsiteY1302" fmla="*/ 619489 h 1113404"/>
                <a:gd name="connsiteX1303" fmla="*/ 636762 w 1814027"/>
                <a:gd name="connsiteY1303" fmla="*/ 620639 h 1113404"/>
                <a:gd name="connsiteX1304" fmla="*/ 638789 w 1814027"/>
                <a:gd name="connsiteY1304" fmla="*/ 621969 h 1113404"/>
                <a:gd name="connsiteX1305" fmla="*/ 639848 w 1814027"/>
                <a:gd name="connsiteY1305" fmla="*/ 621879 h 1113404"/>
                <a:gd name="connsiteX1306" fmla="*/ 640211 w 1814027"/>
                <a:gd name="connsiteY1306" fmla="*/ 620578 h 1113404"/>
                <a:gd name="connsiteX1307" fmla="*/ 640211 w 1814027"/>
                <a:gd name="connsiteY1307" fmla="*/ 618218 h 1113404"/>
                <a:gd name="connsiteX1308" fmla="*/ 640816 w 1814027"/>
                <a:gd name="connsiteY1308" fmla="*/ 615859 h 1113404"/>
                <a:gd name="connsiteX1309" fmla="*/ 640967 w 1814027"/>
                <a:gd name="connsiteY1309" fmla="*/ 615314 h 1113404"/>
                <a:gd name="connsiteX1310" fmla="*/ 640967 w 1814027"/>
                <a:gd name="connsiteY1310" fmla="*/ 615314 h 1113404"/>
                <a:gd name="connsiteX1311" fmla="*/ 642813 w 1814027"/>
                <a:gd name="connsiteY1311" fmla="*/ 610292 h 1113404"/>
                <a:gd name="connsiteX1312" fmla="*/ 645052 w 1814027"/>
                <a:gd name="connsiteY1312" fmla="*/ 609354 h 1113404"/>
                <a:gd name="connsiteX1313" fmla="*/ 648288 w 1814027"/>
                <a:gd name="connsiteY1313" fmla="*/ 609476 h 1113404"/>
                <a:gd name="connsiteX1314" fmla="*/ 657545 w 1814027"/>
                <a:gd name="connsiteY1314" fmla="*/ 613015 h 1113404"/>
                <a:gd name="connsiteX1315" fmla="*/ 664533 w 1814027"/>
                <a:gd name="connsiteY1315" fmla="*/ 613106 h 1113404"/>
                <a:gd name="connsiteX1316" fmla="*/ 668163 w 1814027"/>
                <a:gd name="connsiteY1316" fmla="*/ 613681 h 1113404"/>
                <a:gd name="connsiteX1317" fmla="*/ 670977 w 1814027"/>
                <a:gd name="connsiteY1317" fmla="*/ 615435 h 1113404"/>
                <a:gd name="connsiteX1318" fmla="*/ 671642 w 1814027"/>
                <a:gd name="connsiteY1318" fmla="*/ 616524 h 1113404"/>
                <a:gd name="connsiteX1319" fmla="*/ 671885 w 1814027"/>
                <a:gd name="connsiteY1319" fmla="*/ 617523 h 1113404"/>
                <a:gd name="connsiteX1320" fmla="*/ 671945 w 1814027"/>
                <a:gd name="connsiteY1320" fmla="*/ 618460 h 1113404"/>
                <a:gd name="connsiteX1321" fmla="*/ 672187 w 1814027"/>
                <a:gd name="connsiteY1321" fmla="*/ 619428 h 1113404"/>
                <a:gd name="connsiteX1322" fmla="*/ 673820 w 1814027"/>
                <a:gd name="connsiteY1322" fmla="*/ 622998 h 1113404"/>
                <a:gd name="connsiteX1323" fmla="*/ 674153 w 1814027"/>
                <a:gd name="connsiteY1323" fmla="*/ 626598 h 1113404"/>
                <a:gd name="connsiteX1324" fmla="*/ 674305 w 1814027"/>
                <a:gd name="connsiteY1324" fmla="*/ 627445 h 1113404"/>
                <a:gd name="connsiteX1325" fmla="*/ 675000 w 1814027"/>
                <a:gd name="connsiteY1325" fmla="*/ 628352 h 1113404"/>
                <a:gd name="connsiteX1326" fmla="*/ 676634 w 1814027"/>
                <a:gd name="connsiteY1326" fmla="*/ 629774 h 1113404"/>
                <a:gd name="connsiteX1327" fmla="*/ 677299 w 1814027"/>
                <a:gd name="connsiteY1327" fmla="*/ 630803 h 1113404"/>
                <a:gd name="connsiteX1328" fmla="*/ 679357 w 1814027"/>
                <a:gd name="connsiteY1328" fmla="*/ 634070 h 1113404"/>
                <a:gd name="connsiteX1329" fmla="*/ 682593 w 1814027"/>
                <a:gd name="connsiteY1329" fmla="*/ 637337 h 1113404"/>
                <a:gd name="connsiteX1330" fmla="*/ 684741 w 1814027"/>
                <a:gd name="connsiteY1330" fmla="*/ 638850 h 1113404"/>
                <a:gd name="connsiteX1331" fmla="*/ 686163 w 1814027"/>
                <a:gd name="connsiteY1331" fmla="*/ 639878 h 1113404"/>
                <a:gd name="connsiteX1332" fmla="*/ 689249 w 1814027"/>
                <a:gd name="connsiteY1332" fmla="*/ 641028 h 1113404"/>
                <a:gd name="connsiteX1333" fmla="*/ 692909 w 1814027"/>
                <a:gd name="connsiteY1333" fmla="*/ 640392 h 1113404"/>
                <a:gd name="connsiteX1334" fmla="*/ 697296 w 1814027"/>
                <a:gd name="connsiteY1334" fmla="*/ 635068 h 1113404"/>
                <a:gd name="connsiteX1335" fmla="*/ 700472 w 1814027"/>
                <a:gd name="connsiteY1335" fmla="*/ 633616 h 1113404"/>
                <a:gd name="connsiteX1336" fmla="*/ 702227 w 1814027"/>
                <a:gd name="connsiteY1336" fmla="*/ 633677 h 1113404"/>
                <a:gd name="connsiteX1337" fmla="*/ 703649 w 1814027"/>
                <a:gd name="connsiteY1337" fmla="*/ 634191 h 1113404"/>
                <a:gd name="connsiteX1338" fmla="*/ 704889 w 1814027"/>
                <a:gd name="connsiteY1338" fmla="*/ 635250 h 1113404"/>
                <a:gd name="connsiteX1339" fmla="*/ 706069 w 1814027"/>
                <a:gd name="connsiteY1339" fmla="*/ 637035 h 1113404"/>
                <a:gd name="connsiteX1340" fmla="*/ 706855 w 1814027"/>
                <a:gd name="connsiteY1340" fmla="*/ 639152 h 1113404"/>
                <a:gd name="connsiteX1341" fmla="*/ 707733 w 1814027"/>
                <a:gd name="connsiteY1341" fmla="*/ 643871 h 1113404"/>
                <a:gd name="connsiteX1342" fmla="*/ 708519 w 1814027"/>
                <a:gd name="connsiteY1342" fmla="*/ 645868 h 1113404"/>
                <a:gd name="connsiteX1343" fmla="*/ 709941 w 1814027"/>
                <a:gd name="connsiteY1343" fmla="*/ 646897 h 1113404"/>
                <a:gd name="connsiteX1344" fmla="*/ 713904 w 1814027"/>
                <a:gd name="connsiteY1344" fmla="*/ 648016 h 1113404"/>
                <a:gd name="connsiteX1345" fmla="*/ 714902 w 1814027"/>
                <a:gd name="connsiteY1345" fmla="*/ 648681 h 1113404"/>
                <a:gd name="connsiteX1346" fmla="*/ 714569 w 1814027"/>
                <a:gd name="connsiteY1346" fmla="*/ 650557 h 1113404"/>
                <a:gd name="connsiteX1347" fmla="*/ 713027 w 1814027"/>
                <a:gd name="connsiteY1347" fmla="*/ 652493 h 1113404"/>
                <a:gd name="connsiteX1348" fmla="*/ 711181 w 1814027"/>
                <a:gd name="connsiteY1348" fmla="*/ 654339 h 1113404"/>
                <a:gd name="connsiteX1349" fmla="*/ 709971 w 1814027"/>
                <a:gd name="connsiteY1349" fmla="*/ 655881 h 1113404"/>
                <a:gd name="connsiteX1350" fmla="*/ 709063 w 1814027"/>
                <a:gd name="connsiteY1350" fmla="*/ 658301 h 1113404"/>
                <a:gd name="connsiteX1351" fmla="*/ 709063 w 1814027"/>
                <a:gd name="connsiteY1351" fmla="*/ 659814 h 1113404"/>
                <a:gd name="connsiteX1352" fmla="*/ 710032 w 1814027"/>
                <a:gd name="connsiteY1352" fmla="*/ 660691 h 1113404"/>
                <a:gd name="connsiteX1353" fmla="*/ 713511 w 1814027"/>
                <a:gd name="connsiteY1353" fmla="*/ 661841 h 1113404"/>
                <a:gd name="connsiteX1354" fmla="*/ 714781 w 1814027"/>
                <a:gd name="connsiteY1354" fmla="*/ 662930 h 1113404"/>
                <a:gd name="connsiteX1355" fmla="*/ 715174 w 1814027"/>
                <a:gd name="connsiteY1355" fmla="*/ 664412 h 1113404"/>
                <a:gd name="connsiteX1356" fmla="*/ 713964 w 1814027"/>
                <a:gd name="connsiteY1356" fmla="*/ 666167 h 1113404"/>
                <a:gd name="connsiteX1357" fmla="*/ 710969 w 1814027"/>
                <a:gd name="connsiteY1357" fmla="*/ 669706 h 1113404"/>
                <a:gd name="connsiteX1358" fmla="*/ 710425 w 1814027"/>
                <a:gd name="connsiteY1358" fmla="*/ 674002 h 1113404"/>
                <a:gd name="connsiteX1359" fmla="*/ 710515 w 1814027"/>
                <a:gd name="connsiteY1359" fmla="*/ 678842 h 1113404"/>
                <a:gd name="connsiteX1360" fmla="*/ 709487 w 1814027"/>
                <a:gd name="connsiteY1360" fmla="*/ 684015 h 1113404"/>
                <a:gd name="connsiteX1361" fmla="*/ 706885 w 1814027"/>
                <a:gd name="connsiteY1361" fmla="*/ 688190 h 1113404"/>
                <a:gd name="connsiteX1362" fmla="*/ 704314 w 1814027"/>
                <a:gd name="connsiteY1362" fmla="*/ 691366 h 1113404"/>
                <a:gd name="connsiteX1363" fmla="*/ 702983 w 1814027"/>
                <a:gd name="connsiteY1363" fmla="*/ 694966 h 1113404"/>
                <a:gd name="connsiteX1364" fmla="*/ 704284 w 1814027"/>
                <a:gd name="connsiteY1364" fmla="*/ 700442 h 1113404"/>
                <a:gd name="connsiteX1365" fmla="*/ 704284 w 1814027"/>
                <a:gd name="connsiteY1365" fmla="*/ 700442 h 1113404"/>
                <a:gd name="connsiteX1366" fmla="*/ 704284 w 1814027"/>
                <a:gd name="connsiteY1366" fmla="*/ 700502 h 1113404"/>
                <a:gd name="connsiteX1367" fmla="*/ 704949 w 1814027"/>
                <a:gd name="connsiteY1367" fmla="*/ 701712 h 1113404"/>
                <a:gd name="connsiteX1368" fmla="*/ 705221 w 1814027"/>
                <a:gd name="connsiteY1368" fmla="*/ 702257 h 1113404"/>
                <a:gd name="connsiteX1369" fmla="*/ 706795 w 1814027"/>
                <a:gd name="connsiteY1369" fmla="*/ 706371 h 1113404"/>
                <a:gd name="connsiteX1370" fmla="*/ 707611 w 1814027"/>
                <a:gd name="connsiteY1370" fmla="*/ 707823 h 1113404"/>
                <a:gd name="connsiteX1371" fmla="*/ 709457 w 1814027"/>
                <a:gd name="connsiteY1371" fmla="*/ 709124 h 1113404"/>
                <a:gd name="connsiteX1372" fmla="*/ 710485 w 1814027"/>
                <a:gd name="connsiteY1372" fmla="*/ 708307 h 1113404"/>
                <a:gd name="connsiteX1373" fmla="*/ 711423 w 1814027"/>
                <a:gd name="connsiteY1373" fmla="*/ 706855 h 1113404"/>
                <a:gd name="connsiteX1374" fmla="*/ 713087 w 1814027"/>
                <a:gd name="connsiteY1374" fmla="*/ 706159 h 1113404"/>
                <a:gd name="connsiteX1375" fmla="*/ 714509 w 1814027"/>
                <a:gd name="connsiteY1375" fmla="*/ 706885 h 1113404"/>
                <a:gd name="connsiteX1376" fmla="*/ 716354 w 1814027"/>
                <a:gd name="connsiteY1376" fmla="*/ 709759 h 1113404"/>
                <a:gd name="connsiteX1377" fmla="*/ 719440 w 1814027"/>
                <a:gd name="connsiteY1377" fmla="*/ 711635 h 1113404"/>
                <a:gd name="connsiteX1378" fmla="*/ 720136 w 1814027"/>
                <a:gd name="connsiteY1378" fmla="*/ 713087 h 1113404"/>
                <a:gd name="connsiteX1379" fmla="*/ 720589 w 1814027"/>
                <a:gd name="connsiteY1379" fmla="*/ 714690 h 1113404"/>
                <a:gd name="connsiteX1380" fmla="*/ 721406 w 1814027"/>
                <a:gd name="connsiteY1380" fmla="*/ 716142 h 1113404"/>
                <a:gd name="connsiteX1381" fmla="*/ 722798 w 1814027"/>
                <a:gd name="connsiteY1381" fmla="*/ 716898 h 1113404"/>
                <a:gd name="connsiteX1382" fmla="*/ 724401 w 1814027"/>
                <a:gd name="connsiteY1382" fmla="*/ 717201 h 1113404"/>
                <a:gd name="connsiteX1383" fmla="*/ 725974 w 1814027"/>
                <a:gd name="connsiteY1383" fmla="*/ 717836 h 1113404"/>
                <a:gd name="connsiteX1384" fmla="*/ 727275 w 1814027"/>
                <a:gd name="connsiteY1384" fmla="*/ 719621 h 1113404"/>
                <a:gd name="connsiteX1385" fmla="*/ 727789 w 1814027"/>
                <a:gd name="connsiteY1385" fmla="*/ 721769 h 1113404"/>
                <a:gd name="connsiteX1386" fmla="*/ 727789 w 1814027"/>
                <a:gd name="connsiteY1386" fmla="*/ 723735 h 1113404"/>
                <a:gd name="connsiteX1387" fmla="*/ 728152 w 1814027"/>
                <a:gd name="connsiteY1387" fmla="*/ 725671 h 1113404"/>
                <a:gd name="connsiteX1388" fmla="*/ 728485 w 1814027"/>
                <a:gd name="connsiteY1388" fmla="*/ 726186 h 1113404"/>
                <a:gd name="connsiteX1389" fmla="*/ 729483 w 1814027"/>
                <a:gd name="connsiteY1389" fmla="*/ 727728 h 1113404"/>
                <a:gd name="connsiteX1390" fmla="*/ 730845 w 1814027"/>
                <a:gd name="connsiteY1390" fmla="*/ 728878 h 1113404"/>
                <a:gd name="connsiteX1391" fmla="*/ 732357 w 1814027"/>
                <a:gd name="connsiteY1391" fmla="*/ 729544 h 1113404"/>
                <a:gd name="connsiteX1392" fmla="*/ 733960 w 1814027"/>
                <a:gd name="connsiteY1392" fmla="*/ 729695 h 1113404"/>
                <a:gd name="connsiteX1393" fmla="*/ 735594 w 1814027"/>
                <a:gd name="connsiteY1393" fmla="*/ 729211 h 1113404"/>
                <a:gd name="connsiteX1394" fmla="*/ 737348 w 1814027"/>
                <a:gd name="connsiteY1394" fmla="*/ 727668 h 1113404"/>
                <a:gd name="connsiteX1395" fmla="*/ 738045 w 1814027"/>
                <a:gd name="connsiteY1395" fmla="*/ 725762 h 1113404"/>
                <a:gd name="connsiteX1396" fmla="*/ 738498 w 1814027"/>
                <a:gd name="connsiteY1396" fmla="*/ 723705 h 1113404"/>
                <a:gd name="connsiteX1397" fmla="*/ 739527 w 1814027"/>
                <a:gd name="connsiteY1397" fmla="*/ 721588 h 1113404"/>
                <a:gd name="connsiteX1398" fmla="*/ 741553 w 1814027"/>
                <a:gd name="connsiteY1398" fmla="*/ 721376 h 1113404"/>
                <a:gd name="connsiteX1399" fmla="*/ 743550 w 1814027"/>
                <a:gd name="connsiteY1399" fmla="*/ 721497 h 1113404"/>
                <a:gd name="connsiteX1400" fmla="*/ 745456 w 1814027"/>
                <a:gd name="connsiteY1400" fmla="*/ 722132 h 1113404"/>
                <a:gd name="connsiteX1401" fmla="*/ 747120 w 1814027"/>
                <a:gd name="connsiteY1401" fmla="*/ 723524 h 1113404"/>
                <a:gd name="connsiteX1402" fmla="*/ 748481 w 1814027"/>
                <a:gd name="connsiteY1402" fmla="*/ 725883 h 1113404"/>
                <a:gd name="connsiteX1403" fmla="*/ 749389 w 1814027"/>
                <a:gd name="connsiteY1403" fmla="*/ 729029 h 1113404"/>
                <a:gd name="connsiteX1404" fmla="*/ 749479 w 1814027"/>
                <a:gd name="connsiteY1404" fmla="*/ 732176 h 1113404"/>
                <a:gd name="connsiteX1405" fmla="*/ 748330 w 1814027"/>
                <a:gd name="connsiteY1405" fmla="*/ 734535 h 1113404"/>
                <a:gd name="connsiteX1406" fmla="*/ 745849 w 1814027"/>
                <a:gd name="connsiteY1406" fmla="*/ 735745 h 1113404"/>
                <a:gd name="connsiteX1407" fmla="*/ 745486 w 1814027"/>
                <a:gd name="connsiteY1407" fmla="*/ 738710 h 1113404"/>
                <a:gd name="connsiteX1408" fmla="*/ 746515 w 1814027"/>
                <a:gd name="connsiteY1408" fmla="*/ 745819 h 1113404"/>
                <a:gd name="connsiteX1409" fmla="*/ 745940 w 1814027"/>
                <a:gd name="connsiteY1409" fmla="*/ 749147 h 1113404"/>
                <a:gd name="connsiteX1410" fmla="*/ 744488 w 1814027"/>
                <a:gd name="connsiteY1410" fmla="*/ 750750 h 1113404"/>
                <a:gd name="connsiteX1411" fmla="*/ 742310 w 1814027"/>
                <a:gd name="connsiteY1411" fmla="*/ 751355 h 1113404"/>
                <a:gd name="connsiteX1412" fmla="*/ 739527 w 1814027"/>
                <a:gd name="connsiteY1412" fmla="*/ 751597 h 1113404"/>
                <a:gd name="connsiteX1413" fmla="*/ 739285 w 1814027"/>
                <a:gd name="connsiteY1413" fmla="*/ 751990 h 1113404"/>
                <a:gd name="connsiteX1414" fmla="*/ 739194 w 1814027"/>
                <a:gd name="connsiteY1414" fmla="*/ 752414 h 1113404"/>
                <a:gd name="connsiteX1415" fmla="*/ 739285 w 1814027"/>
                <a:gd name="connsiteY1415" fmla="*/ 752837 h 1113404"/>
                <a:gd name="connsiteX1416" fmla="*/ 739527 w 1814027"/>
                <a:gd name="connsiteY1416" fmla="*/ 753291 h 1113404"/>
                <a:gd name="connsiteX1417" fmla="*/ 742612 w 1814027"/>
                <a:gd name="connsiteY1417" fmla="*/ 758615 h 1113404"/>
                <a:gd name="connsiteX1418" fmla="*/ 743459 w 1814027"/>
                <a:gd name="connsiteY1418" fmla="*/ 759462 h 1113404"/>
                <a:gd name="connsiteX1419" fmla="*/ 744548 w 1814027"/>
                <a:gd name="connsiteY1419" fmla="*/ 758615 h 1113404"/>
                <a:gd name="connsiteX1420" fmla="*/ 745426 w 1814027"/>
                <a:gd name="connsiteY1420" fmla="*/ 756891 h 1113404"/>
                <a:gd name="connsiteX1421" fmla="*/ 746606 w 1814027"/>
                <a:gd name="connsiteY1421" fmla="*/ 755348 h 1113404"/>
                <a:gd name="connsiteX1422" fmla="*/ 748481 w 1814027"/>
                <a:gd name="connsiteY1422" fmla="*/ 755167 h 1113404"/>
                <a:gd name="connsiteX1423" fmla="*/ 749812 w 1814027"/>
                <a:gd name="connsiteY1423" fmla="*/ 756014 h 1113404"/>
                <a:gd name="connsiteX1424" fmla="*/ 750962 w 1814027"/>
                <a:gd name="connsiteY1424" fmla="*/ 757466 h 1113404"/>
                <a:gd name="connsiteX1425" fmla="*/ 751688 w 1814027"/>
                <a:gd name="connsiteY1425" fmla="*/ 759311 h 1113404"/>
                <a:gd name="connsiteX1426" fmla="*/ 751778 w 1814027"/>
                <a:gd name="connsiteY1426" fmla="*/ 761398 h 1113404"/>
                <a:gd name="connsiteX1427" fmla="*/ 751022 w 1814027"/>
                <a:gd name="connsiteY1427" fmla="*/ 763244 h 1113404"/>
                <a:gd name="connsiteX1428" fmla="*/ 749812 w 1814027"/>
                <a:gd name="connsiteY1428" fmla="*/ 764514 h 1113404"/>
                <a:gd name="connsiteX1429" fmla="*/ 748723 w 1814027"/>
                <a:gd name="connsiteY1429" fmla="*/ 766027 h 1113404"/>
                <a:gd name="connsiteX1430" fmla="*/ 747967 w 1814027"/>
                <a:gd name="connsiteY1430" fmla="*/ 771079 h 1113404"/>
                <a:gd name="connsiteX1431" fmla="*/ 747543 w 1814027"/>
                <a:gd name="connsiteY1431" fmla="*/ 772864 h 1113404"/>
                <a:gd name="connsiteX1432" fmla="*/ 747453 w 1814027"/>
                <a:gd name="connsiteY1432" fmla="*/ 773196 h 1113404"/>
                <a:gd name="connsiteX1433" fmla="*/ 747332 w 1814027"/>
                <a:gd name="connsiteY1433" fmla="*/ 774981 h 1113404"/>
                <a:gd name="connsiteX1434" fmla="*/ 748209 w 1814027"/>
                <a:gd name="connsiteY1434" fmla="*/ 776494 h 1113404"/>
                <a:gd name="connsiteX1435" fmla="*/ 748784 w 1814027"/>
                <a:gd name="connsiteY1435" fmla="*/ 776615 h 1113404"/>
                <a:gd name="connsiteX1436" fmla="*/ 751325 w 1814027"/>
                <a:gd name="connsiteY1436" fmla="*/ 776403 h 1113404"/>
                <a:gd name="connsiteX1437" fmla="*/ 752232 w 1814027"/>
                <a:gd name="connsiteY1437" fmla="*/ 776857 h 1113404"/>
                <a:gd name="connsiteX1438" fmla="*/ 753805 w 1814027"/>
                <a:gd name="connsiteY1438" fmla="*/ 778551 h 1113404"/>
                <a:gd name="connsiteX1439" fmla="*/ 754683 w 1814027"/>
                <a:gd name="connsiteY1439" fmla="*/ 779247 h 1113404"/>
                <a:gd name="connsiteX1440" fmla="*/ 756316 w 1814027"/>
                <a:gd name="connsiteY1440" fmla="*/ 779791 h 1113404"/>
                <a:gd name="connsiteX1441" fmla="*/ 759614 w 1814027"/>
                <a:gd name="connsiteY1441" fmla="*/ 780033 h 1113404"/>
                <a:gd name="connsiteX1442" fmla="*/ 761157 w 1814027"/>
                <a:gd name="connsiteY1442" fmla="*/ 780548 h 1113404"/>
                <a:gd name="connsiteX1443" fmla="*/ 762790 w 1814027"/>
                <a:gd name="connsiteY1443" fmla="*/ 782060 h 1113404"/>
                <a:gd name="connsiteX1444" fmla="*/ 765150 w 1814027"/>
                <a:gd name="connsiteY1444" fmla="*/ 785599 h 1113404"/>
                <a:gd name="connsiteX1445" fmla="*/ 766995 w 1814027"/>
                <a:gd name="connsiteY1445" fmla="*/ 786840 h 1113404"/>
                <a:gd name="connsiteX1446" fmla="*/ 770172 w 1814027"/>
                <a:gd name="connsiteY1446" fmla="*/ 787294 h 1113404"/>
                <a:gd name="connsiteX1447" fmla="*/ 773136 w 1814027"/>
                <a:gd name="connsiteY1447" fmla="*/ 787021 h 1113404"/>
                <a:gd name="connsiteX1448" fmla="*/ 776010 w 1814027"/>
                <a:gd name="connsiteY1448" fmla="*/ 787354 h 1113404"/>
                <a:gd name="connsiteX1449" fmla="*/ 778884 w 1814027"/>
                <a:gd name="connsiteY1449" fmla="*/ 789562 h 1113404"/>
                <a:gd name="connsiteX1450" fmla="*/ 779337 w 1814027"/>
                <a:gd name="connsiteY1450" fmla="*/ 790500 h 1113404"/>
                <a:gd name="connsiteX1451" fmla="*/ 780154 w 1814027"/>
                <a:gd name="connsiteY1451" fmla="*/ 792951 h 1113404"/>
                <a:gd name="connsiteX1452" fmla="*/ 780638 w 1814027"/>
                <a:gd name="connsiteY1452" fmla="*/ 793707 h 1113404"/>
                <a:gd name="connsiteX1453" fmla="*/ 781516 w 1814027"/>
                <a:gd name="connsiteY1453" fmla="*/ 793767 h 1113404"/>
                <a:gd name="connsiteX1454" fmla="*/ 782453 w 1814027"/>
                <a:gd name="connsiteY1454" fmla="*/ 793192 h 1113404"/>
                <a:gd name="connsiteX1455" fmla="*/ 783422 w 1814027"/>
                <a:gd name="connsiteY1455" fmla="*/ 792799 h 1113404"/>
                <a:gd name="connsiteX1456" fmla="*/ 784511 w 1814027"/>
                <a:gd name="connsiteY1456" fmla="*/ 793344 h 1113404"/>
                <a:gd name="connsiteX1457" fmla="*/ 784753 w 1814027"/>
                <a:gd name="connsiteY1457" fmla="*/ 794252 h 1113404"/>
                <a:gd name="connsiteX1458" fmla="*/ 784753 w 1814027"/>
                <a:gd name="connsiteY1458" fmla="*/ 797156 h 1113404"/>
                <a:gd name="connsiteX1459" fmla="*/ 784843 w 1814027"/>
                <a:gd name="connsiteY1459" fmla="*/ 798396 h 1113404"/>
                <a:gd name="connsiteX1460" fmla="*/ 785237 w 1814027"/>
                <a:gd name="connsiteY1460" fmla="*/ 799364 h 1113404"/>
                <a:gd name="connsiteX1461" fmla="*/ 786356 w 1814027"/>
                <a:gd name="connsiteY1461" fmla="*/ 801300 h 1113404"/>
                <a:gd name="connsiteX1462" fmla="*/ 786810 w 1814027"/>
                <a:gd name="connsiteY1462" fmla="*/ 802328 h 1113404"/>
                <a:gd name="connsiteX1463" fmla="*/ 786961 w 1814027"/>
                <a:gd name="connsiteY1463" fmla="*/ 804809 h 1113404"/>
                <a:gd name="connsiteX1464" fmla="*/ 786144 w 1814027"/>
                <a:gd name="connsiteY1464" fmla="*/ 813159 h 1113404"/>
                <a:gd name="connsiteX1465" fmla="*/ 785721 w 1814027"/>
                <a:gd name="connsiteY1465" fmla="*/ 814731 h 1113404"/>
                <a:gd name="connsiteX1466" fmla="*/ 785237 w 1814027"/>
                <a:gd name="connsiteY1466" fmla="*/ 815942 h 1113404"/>
                <a:gd name="connsiteX1467" fmla="*/ 784874 w 1814027"/>
                <a:gd name="connsiteY1467" fmla="*/ 817212 h 1113404"/>
                <a:gd name="connsiteX1468" fmla="*/ 784813 w 1814027"/>
                <a:gd name="connsiteY1468" fmla="*/ 818967 h 1113404"/>
                <a:gd name="connsiteX1469" fmla="*/ 785176 w 1814027"/>
                <a:gd name="connsiteY1469" fmla="*/ 820358 h 1113404"/>
                <a:gd name="connsiteX1470" fmla="*/ 786417 w 1814027"/>
                <a:gd name="connsiteY1470" fmla="*/ 823111 h 1113404"/>
                <a:gd name="connsiteX1471" fmla="*/ 786658 w 1814027"/>
                <a:gd name="connsiteY1471" fmla="*/ 824382 h 1113404"/>
                <a:gd name="connsiteX1472" fmla="*/ 785509 w 1814027"/>
                <a:gd name="connsiteY1472" fmla="*/ 827286 h 1113404"/>
                <a:gd name="connsiteX1473" fmla="*/ 783301 w 1814027"/>
                <a:gd name="connsiteY1473" fmla="*/ 827679 h 1113404"/>
                <a:gd name="connsiteX1474" fmla="*/ 781576 w 1814027"/>
                <a:gd name="connsiteY1474" fmla="*/ 827861 h 1113404"/>
                <a:gd name="connsiteX1475" fmla="*/ 781879 w 1814027"/>
                <a:gd name="connsiteY1475" fmla="*/ 830856 h 1113404"/>
                <a:gd name="connsiteX1476" fmla="*/ 783301 w 1814027"/>
                <a:gd name="connsiteY1476" fmla="*/ 832459 h 1113404"/>
                <a:gd name="connsiteX1477" fmla="*/ 787747 w 1814027"/>
                <a:gd name="connsiteY1477" fmla="*/ 834183 h 1113404"/>
                <a:gd name="connsiteX1478" fmla="*/ 787929 w 1814027"/>
                <a:gd name="connsiteY1478" fmla="*/ 834516 h 1113404"/>
                <a:gd name="connsiteX1479" fmla="*/ 788443 w 1814027"/>
                <a:gd name="connsiteY1479" fmla="*/ 835787 h 1113404"/>
                <a:gd name="connsiteX1480" fmla="*/ 788806 w 1814027"/>
                <a:gd name="connsiteY1480" fmla="*/ 836059 h 1113404"/>
                <a:gd name="connsiteX1481" fmla="*/ 789472 w 1814027"/>
                <a:gd name="connsiteY1481" fmla="*/ 835877 h 1113404"/>
                <a:gd name="connsiteX1482" fmla="*/ 790682 w 1814027"/>
                <a:gd name="connsiteY1482" fmla="*/ 835151 h 1113404"/>
                <a:gd name="connsiteX1483" fmla="*/ 791257 w 1814027"/>
                <a:gd name="connsiteY1483" fmla="*/ 835151 h 1113404"/>
                <a:gd name="connsiteX1484" fmla="*/ 792043 w 1814027"/>
                <a:gd name="connsiteY1484" fmla="*/ 835756 h 1113404"/>
                <a:gd name="connsiteX1485" fmla="*/ 792678 w 1814027"/>
                <a:gd name="connsiteY1485" fmla="*/ 836573 h 1113404"/>
                <a:gd name="connsiteX1486" fmla="*/ 793919 w 1814027"/>
                <a:gd name="connsiteY1486" fmla="*/ 838902 h 1113404"/>
                <a:gd name="connsiteX1487" fmla="*/ 793132 w 1814027"/>
                <a:gd name="connsiteY1487" fmla="*/ 840052 h 1113404"/>
                <a:gd name="connsiteX1488" fmla="*/ 797761 w 1814027"/>
                <a:gd name="connsiteY1488" fmla="*/ 843410 h 1113404"/>
                <a:gd name="connsiteX1489" fmla="*/ 799485 w 1814027"/>
                <a:gd name="connsiteY1489" fmla="*/ 845286 h 1113404"/>
                <a:gd name="connsiteX1490" fmla="*/ 800484 w 1814027"/>
                <a:gd name="connsiteY1490" fmla="*/ 844469 h 1113404"/>
                <a:gd name="connsiteX1491" fmla="*/ 801996 w 1814027"/>
                <a:gd name="connsiteY1491" fmla="*/ 844227 h 1113404"/>
                <a:gd name="connsiteX1492" fmla="*/ 803629 w 1814027"/>
                <a:gd name="connsiteY1492" fmla="*/ 844499 h 1113404"/>
                <a:gd name="connsiteX1493" fmla="*/ 804961 w 1814027"/>
                <a:gd name="connsiteY1493" fmla="*/ 845286 h 1113404"/>
                <a:gd name="connsiteX1494" fmla="*/ 802510 w 1814027"/>
                <a:gd name="connsiteY1494" fmla="*/ 849430 h 1113404"/>
                <a:gd name="connsiteX1495" fmla="*/ 799878 w 1814027"/>
                <a:gd name="connsiteY1495" fmla="*/ 851820 h 1113404"/>
                <a:gd name="connsiteX1496" fmla="*/ 795462 w 1814027"/>
                <a:gd name="connsiteY1496" fmla="*/ 852515 h 1113404"/>
                <a:gd name="connsiteX1497" fmla="*/ 783512 w 1814027"/>
                <a:gd name="connsiteY1497" fmla="*/ 851880 h 1113404"/>
                <a:gd name="connsiteX1498" fmla="*/ 781879 w 1814027"/>
                <a:gd name="connsiteY1498" fmla="*/ 852213 h 1113404"/>
                <a:gd name="connsiteX1499" fmla="*/ 780064 w 1814027"/>
                <a:gd name="connsiteY1499" fmla="*/ 853151 h 1113404"/>
                <a:gd name="connsiteX1500" fmla="*/ 776343 w 1814027"/>
                <a:gd name="connsiteY1500" fmla="*/ 856176 h 1113404"/>
                <a:gd name="connsiteX1501" fmla="*/ 774377 w 1814027"/>
                <a:gd name="connsiteY1501" fmla="*/ 856448 h 1113404"/>
                <a:gd name="connsiteX1502" fmla="*/ 772380 w 1814027"/>
                <a:gd name="connsiteY1502" fmla="*/ 854421 h 1113404"/>
                <a:gd name="connsiteX1503" fmla="*/ 772168 w 1814027"/>
                <a:gd name="connsiteY1503" fmla="*/ 853484 h 1113404"/>
                <a:gd name="connsiteX1504" fmla="*/ 772228 w 1814027"/>
                <a:gd name="connsiteY1504" fmla="*/ 850912 h 1113404"/>
                <a:gd name="connsiteX1505" fmla="*/ 772047 w 1814027"/>
                <a:gd name="connsiteY1505" fmla="*/ 849702 h 1113404"/>
                <a:gd name="connsiteX1506" fmla="*/ 771563 w 1814027"/>
                <a:gd name="connsiteY1506" fmla="*/ 848583 h 1113404"/>
                <a:gd name="connsiteX1507" fmla="*/ 769476 w 1814027"/>
                <a:gd name="connsiteY1507" fmla="*/ 845558 h 1113404"/>
                <a:gd name="connsiteX1508" fmla="*/ 764182 w 1814027"/>
                <a:gd name="connsiteY1508" fmla="*/ 840899 h 1113404"/>
                <a:gd name="connsiteX1509" fmla="*/ 762881 w 1814027"/>
                <a:gd name="connsiteY1509" fmla="*/ 838842 h 1113404"/>
                <a:gd name="connsiteX1510" fmla="*/ 762881 w 1814027"/>
                <a:gd name="connsiteY1510" fmla="*/ 842593 h 1113404"/>
                <a:gd name="connsiteX1511" fmla="*/ 761762 w 1814027"/>
                <a:gd name="connsiteY1511" fmla="*/ 844559 h 1113404"/>
                <a:gd name="connsiteX1512" fmla="*/ 759735 w 1814027"/>
                <a:gd name="connsiteY1512" fmla="*/ 845286 h 1113404"/>
                <a:gd name="connsiteX1513" fmla="*/ 756891 w 1814027"/>
                <a:gd name="connsiteY1513" fmla="*/ 845286 h 1113404"/>
                <a:gd name="connsiteX1514" fmla="*/ 756256 w 1814027"/>
                <a:gd name="connsiteY1514" fmla="*/ 846163 h 1113404"/>
                <a:gd name="connsiteX1515" fmla="*/ 756740 w 1814027"/>
                <a:gd name="connsiteY1515" fmla="*/ 849430 h 1113404"/>
                <a:gd name="connsiteX1516" fmla="*/ 755983 w 1814027"/>
                <a:gd name="connsiteY1516" fmla="*/ 851608 h 1113404"/>
                <a:gd name="connsiteX1517" fmla="*/ 754622 w 1814027"/>
                <a:gd name="connsiteY1517" fmla="*/ 852878 h 1113404"/>
                <a:gd name="connsiteX1518" fmla="*/ 752958 w 1814027"/>
                <a:gd name="connsiteY1518" fmla="*/ 853453 h 1113404"/>
                <a:gd name="connsiteX1519" fmla="*/ 751234 w 1814027"/>
                <a:gd name="connsiteY1519" fmla="*/ 853302 h 1113404"/>
                <a:gd name="connsiteX1520" fmla="*/ 749661 w 1814027"/>
                <a:gd name="connsiteY1520" fmla="*/ 852425 h 1113404"/>
                <a:gd name="connsiteX1521" fmla="*/ 748300 w 1814027"/>
                <a:gd name="connsiteY1521" fmla="*/ 850731 h 1113404"/>
                <a:gd name="connsiteX1522" fmla="*/ 746908 w 1814027"/>
                <a:gd name="connsiteY1522" fmla="*/ 847796 h 1113404"/>
                <a:gd name="connsiteX1523" fmla="*/ 745486 w 1814027"/>
                <a:gd name="connsiteY1523" fmla="*/ 846617 h 1113404"/>
                <a:gd name="connsiteX1524" fmla="*/ 744095 w 1814027"/>
                <a:gd name="connsiteY1524" fmla="*/ 846132 h 1113404"/>
                <a:gd name="connsiteX1525" fmla="*/ 740918 w 1814027"/>
                <a:gd name="connsiteY1525" fmla="*/ 845558 h 1113404"/>
                <a:gd name="connsiteX1526" fmla="*/ 739375 w 1814027"/>
                <a:gd name="connsiteY1526" fmla="*/ 844983 h 1113404"/>
                <a:gd name="connsiteX1527" fmla="*/ 738801 w 1814027"/>
                <a:gd name="connsiteY1527" fmla="*/ 844015 h 1113404"/>
                <a:gd name="connsiteX1528" fmla="*/ 738619 w 1814027"/>
                <a:gd name="connsiteY1528" fmla="*/ 843017 h 1113404"/>
                <a:gd name="connsiteX1529" fmla="*/ 738831 w 1814027"/>
                <a:gd name="connsiteY1529" fmla="*/ 841988 h 1113404"/>
                <a:gd name="connsiteX1530" fmla="*/ 739406 w 1814027"/>
                <a:gd name="connsiteY1530" fmla="*/ 840929 h 1113404"/>
                <a:gd name="connsiteX1531" fmla="*/ 739950 w 1814027"/>
                <a:gd name="connsiteY1531" fmla="*/ 839992 h 1113404"/>
                <a:gd name="connsiteX1532" fmla="*/ 740162 w 1814027"/>
                <a:gd name="connsiteY1532" fmla="*/ 839054 h 1113404"/>
                <a:gd name="connsiteX1533" fmla="*/ 739981 w 1814027"/>
                <a:gd name="connsiteY1533" fmla="*/ 838176 h 1113404"/>
                <a:gd name="connsiteX1534" fmla="*/ 739436 w 1814027"/>
                <a:gd name="connsiteY1534" fmla="*/ 837360 h 1113404"/>
                <a:gd name="connsiteX1535" fmla="*/ 737107 w 1814027"/>
                <a:gd name="connsiteY1535" fmla="*/ 836996 h 1113404"/>
                <a:gd name="connsiteX1536" fmla="*/ 737016 w 1814027"/>
                <a:gd name="connsiteY1536" fmla="*/ 837057 h 1113404"/>
                <a:gd name="connsiteX1537" fmla="*/ 735019 w 1814027"/>
                <a:gd name="connsiteY1537" fmla="*/ 838086 h 1113404"/>
                <a:gd name="connsiteX1538" fmla="*/ 733144 w 1814027"/>
                <a:gd name="connsiteY1538" fmla="*/ 839992 h 1113404"/>
                <a:gd name="connsiteX1539" fmla="*/ 728787 w 1814027"/>
                <a:gd name="connsiteY1539" fmla="*/ 846193 h 1113404"/>
                <a:gd name="connsiteX1540" fmla="*/ 727517 w 1814027"/>
                <a:gd name="connsiteY1540" fmla="*/ 846193 h 1113404"/>
                <a:gd name="connsiteX1541" fmla="*/ 725702 w 1814027"/>
                <a:gd name="connsiteY1541" fmla="*/ 843773 h 1113404"/>
                <a:gd name="connsiteX1542" fmla="*/ 723342 w 1814027"/>
                <a:gd name="connsiteY1542" fmla="*/ 839145 h 1113404"/>
                <a:gd name="connsiteX1543" fmla="*/ 721920 w 1814027"/>
                <a:gd name="connsiteY1543" fmla="*/ 838691 h 1113404"/>
                <a:gd name="connsiteX1544" fmla="*/ 720166 w 1814027"/>
                <a:gd name="connsiteY1544" fmla="*/ 841413 h 1113404"/>
                <a:gd name="connsiteX1545" fmla="*/ 719863 w 1814027"/>
                <a:gd name="connsiteY1545" fmla="*/ 843047 h 1113404"/>
                <a:gd name="connsiteX1546" fmla="*/ 720317 w 1814027"/>
                <a:gd name="connsiteY1546" fmla="*/ 845739 h 1113404"/>
                <a:gd name="connsiteX1547" fmla="*/ 720257 w 1814027"/>
                <a:gd name="connsiteY1547" fmla="*/ 846949 h 1113404"/>
                <a:gd name="connsiteX1548" fmla="*/ 719591 w 1814027"/>
                <a:gd name="connsiteY1548" fmla="*/ 848674 h 1113404"/>
                <a:gd name="connsiteX1549" fmla="*/ 719077 w 1814027"/>
                <a:gd name="connsiteY1549" fmla="*/ 848885 h 1113404"/>
                <a:gd name="connsiteX1550" fmla="*/ 718381 w 1814027"/>
                <a:gd name="connsiteY1550" fmla="*/ 848674 h 1113404"/>
                <a:gd name="connsiteX1551" fmla="*/ 717171 w 1814027"/>
                <a:gd name="connsiteY1551" fmla="*/ 849097 h 1113404"/>
                <a:gd name="connsiteX1552" fmla="*/ 713511 w 1814027"/>
                <a:gd name="connsiteY1552" fmla="*/ 852818 h 1113404"/>
                <a:gd name="connsiteX1553" fmla="*/ 711272 w 1814027"/>
                <a:gd name="connsiteY1553" fmla="*/ 854058 h 1113404"/>
                <a:gd name="connsiteX1554" fmla="*/ 709548 w 1814027"/>
                <a:gd name="connsiteY1554" fmla="*/ 852727 h 1113404"/>
                <a:gd name="connsiteX1555" fmla="*/ 709548 w 1814027"/>
                <a:gd name="connsiteY1555" fmla="*/ 851336 h 1113404"/>
                <a:gd name="connsiteX1556" fmla="*/ 710213 w 1814027"/>
                <a:gd name="connsiteY1556" fmla="*/ 850035 h 1113404"/>
                <a:gd name="connsiteX1557" fmla="*/ 711121 w 1814027"/>
                <a:gd name="connsiteY1557" fmla="*/ 848795 h 1113404"/>
                <a:gd name="connsiteX1558" fmla="*/ 711756 w 1814027"/>
                <a:gd name="connsiteY1558" fmla="*/ 847494 h 1113404"/>
                <a:gd name="connsiteX1559" fmla="*/ 711938 w 1814027"/>
                <a:gd name="connsiteY1559" fmla="*/ 845921 h 1113404"/>
                <a:gd name="connsiteX1560" fmla="*/ 711847 w 1814027"/>
                <a:gd name="connsiteY1560" fmla="*/ 834607 h 1113404"/>
                <a:gd name="connsiteX1561" fmla="*/ 711181 w 1814027"/>
                <a:gd name="connsiteY1561" fmla="*/ 831733 h 1113404"/>
                <a:gd name="connsiteX1562" fmla="*/ 709578 w 1814027"/>
                <a:gd name="connsiteY1562" fmla="*/ 829827 h 1113404"/>
                <a:gd name="connsiteX1563" fmla="*/ 707400 w 1814027"/>
                <a:gd name="connsiteY1563" fmla="*/ 829827 h 1113404"/>
                <a:gd name="connsiteX1564" fmla="*/ 698566 w 1814027"/>
                <a:gd name="connsiteY1564" fmla="*/ 834455 h 1113404"/>
                <a:gd name="connsiteX1565" fmla="*/ 696660 w 1814027"/>
                <a:gd name="connsiteY1565" fmla="*/ 835091 h 1113404"/>
                <a:gd name="connsiteX1566" fmla="*/ 693091 w 1814027"/>
                <a:gd name="connsiteY1566" fmla="*/ 836331 h 1113404"/>
                <a:gd name="connsiteX1567" fmla="*/ 685588 w 1814027"/>
                <a:gd name="connsiteY1567" fmla="*/ 840990 h 1113404"/>
                <a:gd name="connsiteX1568" fmla="*/ 683531 w 1814027"/>
                <a:gd name="connsiteY1568" fmla="*/ 843924 h 1113404"/>
                <a:gd name="connsiteX1569" fmla="*/ 682896 w 1814027"/>
                <a:gd name="connsiteY1569" fmla="*/ 847675 h 1113404"/>
                <a:gd name="connsiteX1570" fmla="*/ 683713 w 1814027"/>
                <a:gd name="connsiteY1570" fmla="*/ 852576 h 1113404"/>
                <a:gd name="connsiteX1571" fmla="*/ 685467 w 1814027"/>
                <a:gd name="connsiteY1571" fmla="*/ 858899 h 1113404"/>
                <a:gd name="connsiteX1572" fmla="*/ 685558 w 1814027"/>
                <a:gd name="connsiteY1572" fmla="*/ 861016 h 1113404"/>
                <a:gd name="connsiteX1573" fmla="*/ 684953 w 1814027"/>
                <a:gd name="connsiteY1573" fmla="*/ 863406 h 1113404"/>
                <a:gd name="connsiteX1574" fmla="*/ 684257 w 1814027"/>
                <a:gd name="connsiteY1574" fmla="*/ 865312 h 1113404"/>
                <a:gd name="connsiteX1575" fmla="*/ 684318 w 1814027"/>
                <a:gd name="connsiteY1575" fmla="*/ 867157 h 1113404"/>
                <a:gd name="connsiteX1576" fmla="*/ 686042 w 1814027"/>
                <a:gd name="connsiteY1576" fmla="*/ 869275 h 1113404"/>
                <a:gd name="connsiteX1577" fmla="*/ 686042 w 1814027"/>
                <a:gd name="connsiteY1577" fmla="*/ 869275 h 1113404"/>
                <a:gd name="connsiteX1578" fmla="*/ 689400 w 1814027"/>
                <a:gd name="connsiteY1578" fmla="*/ 872209 h 1113404"/>
                <a:gd name="connsiteX1579" fmla="*/ 691971 w 1814027"/>
                <a:gd name="connsiteY1579" fmla="*/ 874448 h 1113404"/>
                <a:gd name="connsiteX1580" fmla="*/ 692546 w 1814027"/>
                <a:gd name="connsiteY1580" fmla="*/ 877352 h 1113404"/>
                <a:gd name="connsiteX1581" fmla="*/ 691336 w 1814027"/>
                <a:gd name="connsiteY1581" fmla="*/ 880498 h 1113404"/>
                <a:gd name="connsiteX1582" fmla="*/ 689067 w 1814027"/>
                <a:gd name="connsiteY1582" fmla="*/ 884068 h 1113404"/>
                <a:gd name="connsiteX1583" fmla="*/ 685588 w 1814027"/>
                <a:gd name="connsiteY1583" fmla="*/ 887668 h 1113404"/>
                <a:gd name="connsiteX1584" fmla="*/ 684832 w 1814027"/>
                <a:gd name="connsiteY1584" fmla="*/ 889755 h 1113404"/>
                <a:gd name="connsiteX1585" fmla="*/ 685074 w 1814027"/>
                <a:gd name="connsiteY1585" fmla="*/ 893022 h 1113404"/>
                <a:gd name="connsiteX1586" fmla="*/ 686859 w 1814027"/>
                <a:gd name="connsiteY1586" fmla="*/ 898831 h 1113404"/>
                <a:gd name="connsiteX1587" fmla="*/ 686647 w 1814027"/>
                <a:gd name="connsiteY1587" fmla="*/ 901432 h 1113404"/>
                <a:gd name="connsiteX1588" fmla="*/ 684136 w 1814027"/>
                <a:gd name="connsiteY1588" fmla="*/ 902521 h 1113404"/>
                <a:gd name="connsiteX1589" fmla="*/ 666591 w 1814027"/>
                <a:gd name="connsiteY1589" fmla="*/ 906787 h 1113404"/>
                <a:gd name="connsiteX1590" fmla="*/ 664866 w 1814027"/>
                <a:gd name="connsiteY1590" fmla="*/ 907845 h 1113404"/>
                <a:gd name="connsiteX1591" fmla="*/ 663747 w 1814027"/>
                <a:gd name="connsiteY1591" fmla="*/ 909782 h 1113404"/>
                <a:gd name="connsiteX1592" fmla="*/ 663656 w 1814027"/>
                <a:gd name="connsiteY1592" fmla="*/ 912020 h 1113404"/>
                <a:gd name="connsiteX1593" fmla="*/ 665048 w 1814027"/>
                <a:gd name="connsiteY1593" fmla="*/ 916618 h 1113404"/>
                <a:gd name="connsiteX1594" fmla="*/ 665471 w 1814027"/>
                <a:gd name="connsiteY1594" fmla="*/ 918827 h 1113404"/>
                <a:gd name="connsiteX1595" fmla="*/ 665320 w 1814027"/>
                <a:gd name="connsiteY1595" fmla="*/ 921489 h 1113404"/>
                <a:gd name="connsiteX1596" fmla="*/ 664624 w 1814027"/>
                <a:gd name="connsiteY1596" fmla="*/ 923183 h 1113404"/>
                <a:gd name="connsiteX1597" fmla="*/ 663354 w 1814027"/>
                <a:gd name="connsiteY1597" fmla="*/ 924333 h 1113404"/>
                <a:gd name="connsiteX1598" fmla="*/ 661448 w 1814027"/>
                <a:gd name="connsiteY1598" fmla="*/ 925361 h 1113404"/>
                <a:gd name="connsiteX1599" fmla="*/ 658513 w 1814027"/>
                <a:gd name="connsiteY1599" fmla="*/ 925966 h 1113404"/>
                <a:gd name="connsiteX1600" fmla="*/ 657757 w 1814027"/>
                <a:gd name="connsiteY1600" fmla="*/ 926571 h 1113404"/>
                <a:gd name="connsiteX1601" fmla="*/ 657757 w 1814027"/>
                <a:gd name="connsiteY1601" fmla="*/ 927328 h 1113404"/>
                <a:gd name="connsiteX1602" fmla="*/ 657969 w 1814027"/>
                <a:gd name="connsiteY1602" fmla="*/ 928507 h 1113404"/>
                <a:gd name="connsiteX1603" fmla="*/ 658120 w 1814027"/>
                <a:gd name="connsiteY1603" fmla="*/ 929899 h 1113404"/>
                <a:gd name="connsiteX1604" fmla="*/ 657757 w 1814027"/>
                <a:gd name="connsiteY1604" fmla="*/ 931169 h 1113404"/>
                <a:gd name="connsiteX1605" fmla="*/ 655125 w 1814027"/>
                <a:gd name="connsiteY1605" fmla="*/ 932591 h 1113404"/>
                <a:gd name="connsiteX1606" fmla="*/ 648409 w 1814027"/>
                <a:gd name="connsiteY1606" fmla="*/ 933196 h 1113404"/>
                <a:gd name="connsiteX1607" fmla="*/ 646776 w 1814027"/>
                <a:gd name="connsiteY1607" fmla="*/ 935677 h 1113404"/>
                <a:gd name="connsiteX1608" fmla="*/ 647048 w 1814027"/>
                <a:gd name="connsiteY1608" fmla="*/ 936705 h 1113404"/>
                <a:gd name="connsiteX1609" fmla="*/ 647472 w 1814027"/>
                <a:gd name="connsiteY1609" fmla="*/ 938157 h 1113404"/>
                <a:gd name="connsiteX1610" fmla="*/ 646836 w 1814027"/>
                <a:gd name="connsiteY1610" fmla="*/ 939216 h 1113404"/>
                <a:gd name="connsiteX1611" fmla="*/ 643932 w 1814027"/>
                <a:gd name="connsiteY1611" fmla="*/ 940094 h 1113404"/>
                <a:gd name="connsiteX1612" fmla="*/ 642208 w 1814027"/>
                <a:gd name="connsiteY1612" fmla="*/ 941152 h 1113404"/>
                <a:gd name="connsiteX1613" fmla="*/ 641089 w 1814027"/>
                <a:gd name="connsiteY1613" fmla="*/ 942241 h 1113404"/>
                <a:gd name="connsiteX1614" fmla="*/ 638759 w 1814027"/>
                <a:gd name="connsiteY1614" fmla="*/ 945448 h 1113404"/>
                <a:gd name="connsiteX1615" fmla="*/ 638063 w 1814027"/>
                <a:gd name="connsiteY1615" fmla="*/ 946961 h 1113404"/>
                <a:gd name="connsiteX1616" fmla="*/ 638941 w 1814027"/>
                <a:gd name="connsiteY1616" fmla="*/ 947898 h 1113404"/>
                <a:gd name="connsiteX1617" fmla="*/ 640514 w 1814027"/>
                <a:gd name="connsiteY1617" fmla="*/ 948745 h 1113404"/>
                <a:gd name="connsiteX1618" fmla="*/ 641815 w 1814027"/>
                <a:gd name="connsiteY1618" fmla="*/ 949956 h 1113404"/>
                <a:gd name="connsiteX1619" fmla="*/ 642359 w 1814027"/>
                <a:gd name="connsiteY1619" fmla="*/ 951831 h 1113404"/>
                <a:gd name="connsiteX1620" fmla="*/ 642571 w 1814027"/>
                <a:gd name="connsiteY1620" fmla="*/ 953676 h 1113404"/>
                <a:gd name="connsiteX1621" fmla="*/ 642994 w 1814027"/>
                <a:gd name="connsiteY1621" fmla="*/ 955491 h 1113404"/>
                <a:gd name="connsiteX1622" fmla="*/ 644386 w 1814027"/>
                <a:gd name="connsiteY1622" fmla="*/ 957276 h 1113404"/>
                <a:gd name="connsiteX1623" fmla="*/ 641724 w 1814027"/>
                <a:gd name="connsiteY1623" fmla="*/ 958426 h 1113404"/>
                <a:gd name="connsiteX1624" fmla="*/ 641119 w 1814027"/>
                <a:gd name="connsiteY1624" fmla="*/ 958910 h 1113404"/>
                <a:gd name="connsiteX1625" fmla="*/ 641028 w 1814027"/>
                <a:gd name="connsiteY1625" fmla="*/ 959061 h 1113404"/>
                <a:gd name="connsiteX1626" fmla="*/ 640484 w 1814027"/>
                <a:gd name="connsiteY1626" fmla="*/ 960029 h 1113404"/>
                <a:gd name="connsiteX1627" fmla="*/ 640484 w 1814027"/>
                <a:gd name="connsiteY1627" fmla="*/ 960332 h 1113404"/>
                <a:gd name="connsiteX1628" fmla="*/ 640665 w 1814027"/>
                <a:gd name="connsiteY1628" fmla="*/ 960574 h 1113404"/>
                <a:gd name="connsiteX1629" fmla="*/ 641300 w 1814027"/>
                <a:gd name="connsiteY1629" fmla="*/ 965051 h 1113404"/>
                <a:gd name="connsiteX1630" fmla="*/ 640847 w 1814027"/>
                <a:gd name="connsiteY1630" fmla="*/ 966624 h 1113404"/>
                <a:gd name="connsiteX1631" fmla="*/ 638729 w 1814027"/>
                <a:gd name="connsiteY1631" fmla="*/ 967501 h 1113404"/>
                <a:gd name="connsiteX1632" fmla="*/ 632285 w 1814027"/>
                <a:gd name="connsiteY1632" fmla="*/ 967259 h 1113404"/>
                <a:gd name="connsiteX1633" fmla="*/ 624753 w 1814027"/>
                <a:gd name="connsiteY1633" fmla="*/ 965444 h 1113404"/>
                <a:gd name="connsiteX1634" fmla="*/ 617553 w 1814027"/>
                <a:gd name="connsiteY1634" fmla="*/ 964930 h 1113404"/>
                <a:gd name="connsiteX1635" fmla="*/ 612198 w 1814027"/>
                <a:gd name="connsiteY1635" fmla="*/ 968651 h 1113404"/>
                <a:gd name="connsiteX1636" fmla="*/ 612198 w 1814027"/>
                <a:gd name="connsiteY1636" fmla="*/ 968651 h 1113404"/>
                <a:gd name="connsiteX1637" fmla="*/ 611321 w 1814027"/>
                <a:gd name="connsiteY1637" fmla="*/ 970224 h 1113404"/>
                <a:gd name="connsiteX1638" fmla="*/ 610625 w 1814027"/>
                <a:gd name="connsiteY1638" fmla="*/ 971888 h 1113404"/>
                <a:gd name="connsiteX1639" fmla="*/ 610414 w 1814027"/>
                <a:gd name="connsiteY1639" fmla="*/ 972795 h 1113404"/>
                <a:gd name="connsiteX1640" fmla="*/ 611775 w 1814027"/>
                <a:gd name="connsiteY1640" fmla="*/ 974338 h 1113404"/>
                <a:gd name="connsiteX1641" fmla="*/ 611987 w 1814027"/>
                <a:gd name="connsiteY1641" fmla="*/ 974338 h 1113404"/>
                <a:gd name="connsiteX1642" fmla="*/ 614256 w 1814027"/>
                <a:gd name="connsiteY1642" fmla="*/ 974096 h 1113404"/>
                <a:gd name="connsiteX1643" fmla="*/ 617190 w 1814027"/>
                <a:gd name="connsiteY1643" fmla="*/ 975609 h 1113404"/>
                <a:gd name="connsiteX1644" fmla="*/ 619156 w 1814027"/>
                <a:gd name="connsiteY1644" fmla="*/ 978089 h 1113404"/>
                <a:gd name="connsiteX1645" fmla="*/ 618642 w 1814027"/>
                <a:gd name="connsiteY1645" fmla="*/ 980691 h 1113404"/>
                <a:gd name="connsiteX1646" fmla="*/ 621607 w 1814027"/>
                <a:gd name="connsiteY1646" fmla="*/ 987800 h 1113404"/>
                <a:gd name="connsiteX1647" fmla="*/ 623573 w 1814027"/>
                <a:gd name="connsiteY1647" fmla="*/ 991067 h 1113404"/>
                <a:gd name="connsiteX1648" fmla="*/ 625902 w 1814027"/>
                <a:gd name="connsiteY1648" fmla="*/ 992428 h 1113404"/>
                <a:gd name="connsiteX1649" fmla="*/ 627596 w 1814027"/>
                <a:gd name="connsiteY1649" fmla="*/ 992852 h 1113404"/>
                <a:gd name="connsiteX1650" fmla="*/ 631105 w 1814027"/>
                <a:gd name="connsiteY1650" fmla="*/ 994697 h 1113404"/>
                <a:gd name="connsiteX1651" fmla="*/ 640060 w 1814027"/>
                <a:gd name="connsiteY1651" fmla="*/ 996815 h 1113404"/>
                <a:gd name="connsiteX1652" fmla="*/ 648409 w 1814027"/>
                <a:gd name="connsiteY1652" fmla="*/ 1000869 h 1113404"/>
                <a:gd name="connsiteX1653" fmla="*/ 661780 w 1814027"/>
                <a:gd name="connsiteY1653" fmla="*/ 1003652 h 1113404"/>
                <a:gd name="connsiteX1654" fmla="*/ 665532 w 1814027"/>
                <a:gd name="connsiteY1654" fmla="*/ 1003198 h 1113404"/>
                <a:gd name="connsiteX1655" fmla="*/ 668678 w 1814027"/>
                <a:gd name="connsiteY1655" fmla="*/ 1003107 h 1113404"/>
                <a:gd name="connsiteX1656" fmla="*/ 669948 w 1814027"/>
                <a:gd name="connsiteY1656" fmla="*/ 1002593 h 1113404"/>
                <a:gd name="connsiteX1657" fmla="*/ 671098 w 1814027"/>
                <a:gd name="connsiteY1657" fmla="*/ 1001383 h 1113404"/>
                <a:gd name="connsiteX1658" fmla="*/ 668254 w 1814027"/>
                <a:gd name="connsiteY1658" fmla="*/ 1000173 h 1113404"/>
                <a:gd name="connsiteX1659" fmla="*/ 667559 w 1814027"/>
                <a:gd name="connsiteY1659" fmla="*/ 999598 h 1113404"/>
                <a:gd name="connsiteX1660" fmla="*/ 667105 w 1814027"/>
                <a:gd name="connsiteY1660" fmla="*/ 998630 h 1113404"/>
                <a:gd name="connsiteX1661" fmla="*/ 666802 w 1814027"/>
                <a:gd name="connsiteY1661" fmla="*/ 997450 h 1113404"/>
                <a:gd name="connsiteX1662" fmla="*/ 666984 w 1814027"/>
                <a:gd name="connsiteY1662" fmla="*/ 996452 h 1113404"/>
                <a:gd name="connsiteX1663" fmla="*/ 669888 w 1814027"/>
                <a:gd name="connsiteY1663" fmla="*/ 995091 h 1113404"/>
                <a:gd name="connsiteX1664" fmla="*/ 669706 w 1814027"/>
                <a:gd name="connsiteY1664" fmla="*/ 993124 h 1113404"/>
                <a:gd name="connsiteX1665" fmla="*/ 669827 w 1814027"/>
                <a:gd name="connsiteY1665" fmla="*/ 991249 h 1113404"/>
                <a:gd name="connsiteX1666" fmla="*/ 672490 w 1814027"/>
                <a:gd name="connsiteY1666" fmla="*/ 990644 h 1113404"/>
                <a:gd name="connsiteX1667" fmla="*/ 674032 w 1814027"/>
                <a:gd name="connsiteY1667" fmla="*/ 991158 h 1113404"/>
                <a:gd name="connsiteX1668" fmla="*/ 676695 w 1814027"/>
                <a:gd name="connsiteY1668" fmla="*/ 992882 h 1113404"/>
                <a:gd name="connsiteX1669" fmla="*/ 678963 w 1814027"/>
                <a:gd name="connsiteY1669" fmla="*/ 993275 h 1113404"/>
                <a:gd name="connsiteX1670" fmla="*/ 680264 w 1814027"/>
                <a:gd name="connsiteY1670" fmla="*/ 994092 h 1113404"/>
                <a:gd name="connsiteX1671" fmla="*/ 681898 w 1814027"/>
                <a:gd name="connsiteY1671" fmla="*/ 995726 h 1113404"/>
                <a:gd name="connsiteX1672" fmla="*/ 683894 w 1814027"/>
                <a:gd name="connsiteY1672" fmla="*/ 996815 h 1113404"/>
                <a:gd name="connsiteX1673" fmla="*/ 686194 w 1814027"/>
                <a:gd name="connsiteY1673" fmla="*/ 996028 h 1113404"/>
                <a:gd name="connsiteX1674" fmla="*/ 686647 w 1814027"/>
                <a:gd name="connsiteY1674" fmla="*/ 995121 h 1113404"/>
                <a:gd name="connsiteX1675" fmla="*/ 686980 w 1814027"/>
                <a:gd name="connsiteY1675" fmla="*/ 992580 h 1113404"/>
                <a:gd name="connsiteX1676" fmla="*/ 687585 w 1814027"/>
                <a:gd name="connsiteY1676" fmla="*/ 991430 h 1113404"/>
                <a:gd name="connsiteX1677" fmla="*/ 688311 w 1814027"/>
                <a:gd name="connsiteY1677" fmla="*/ 990916 h 1113404"/>
                <a:gd name="connsiteX1678" fmla="*/ 689188 w 1814027"/>
                <a:gd name="connsiteY1678" fmla="*/ 990674 h 1113404"/>
                <a:gd name="connsiteX1679" fmla="*/ 691427 w 1814027"/>
                <a:gd name="connsiteY1679" fmla="*/ 990583 h 1113404"/>
                <a:gd name="connsiteX1680" fmla="*/ 692788 w 1814027"/>
                <a:gd name="connsiteY1680" fmla="*/ 989948 h 1113404"/>
                <a:gd name="connsiteX1681" fmla="*/ 697961 w 1814027"/>
                <a:gd name="connsiteY1681" fmla="*/ 986015 h 1113404"/>
                <a:gd name="connsiteX1682" fmla="*/ 702045 w 1814027"/>
                <a:gd name="connsiteY1682" fmla="*/ 984926 h 1113404"/>
                <a:gd name="connsiteX1683" fmla="*/ 703769 w 1814027"/>
                <a:gd name="connsiteY1683" fmla="*/ 984200 h 1113404"/>
                <a:gd name="connsiteX1684" fmla="*/ 705221 w 1814027"/>
                <a:gd name="connsiteY1684" fmla="*/ 982809 h 1113404"/>
                <a:gd name="connsiteX1685" fmla="*/ 706069 w 1814027"/>
                <a:gd name="connsiteY1685" fmla="*/ 982446 h 1113404"/>
                <a:gd name="connsiteX1686" fmla="*/ 708489 w 1814027"/>
                <a:gd name="connsiteY1686" fmla="*/ 982294 h 1113404"/>
                <a:gd name="connsiteX1687" fmla="*/ 709033 w 1814027"/>
                <a:gd name="connsiteY1687" fmla="*/ 981931 h 1113404"/>
                <a:gd name="connsiteX1688" fmla="*/ 709396 w 1814027"/>
                <a:gd name="connsiteY1688" fmla="*/ 980994 h 1113404"/>
                <a:gd name="connsiteX1689" fmla="*/ 710243 w 1814027"/>
                <a:gd name="connsiteY1689" fmla="*/ 980056 h 1113404"/>
                <a:gd name="connsiteX1690" fmla="*/ 711756 w 1814027"/>
                <a:gd name="connsiteY1690" fmla="*/ 978846 h 1113404"/>
                <a:gd name="connsiteX1691" fmla="*/ 713934 w 1814027"/>
                <a:gd name="connsiteY1691" fmla="*/ 977756 h 1113404"/>
                <a:gd name="connsiteX1692" fmla="*/ 715568 w 1814027"/>
                <a:gd name="connsiteY1692" fmla="*/ 977696 h 1113404"/>
                <a:gd name="connsiteX1693" fmla="*/ 717201 w 1814027"/>
                <a:gd name="connsiteY1693" fmla="*/ 977968 h 1113404"/>
                <a:gd name="connsiteX1694" fmla="*/ 719319 w 1814027"/>
                <a:gd name="connsiteY1694" fmla="*/ 977968 h 1113404"/>
                <a:gd name="connsiteX1695" fmla="*/ 720196 w 1814027"/>
                <a:gd name="connsiteY1695" fmla="*/ 977636 h 1113404"/>
                <a:gd name="connsiteX1696" fmla="*/ 721073 w 1814027"/>
                <a:gd name="connsiteY1696" fmla="*/ 977061 h 1113404"/>
                <a:gd name="connsiteX1697" fmla="*/ 721860 w 1814027"/>
                <a:gd name="connsiteY1697" fmla="*/ 976365 h 1113404"/>
                <a:gd name="connsiteX1698" fmla="*/ 722435 w 1814027"/>
                <a:gd name="connsiteY1698" fmla="*/ 975700 h 1113404"/>
                <a:gd name="connsiteX1699" fmla="*/ 723372 w 1814027"/>
                <a:gd name="connsiteY1699" fmla="*/ 975094 h 1113404"/>
                <a:gd name="connsiteX1700" fmla="*/ 724462 w 1814027"/>
                <a:gd name="connsiteY1700" fmla="*/ 975337 h 1113404"/>
                <a:gd name="connsiteX1701" fmla="*/ 725581 w 1814027"/>
                <a:gd name="connsiteY1701" fmla="*/ 975881 h 1113404"/>
                <a:gd name="connsiteX1702" fmla="*/ 726579 w 1814027"/>
                <a:gd name="connsiteY1702" fmla="*/ 976153 h 1113404"/>
                <a:gd name="connsiteX1703" fmla="*/ 734293 w 1814027"/>
                <a:gd name="connsiteY1703" fmla="*/ 976879 h 1113404"/>
                <a:gd name="connsiteX1704" fmla="*/ 748300 w 1814027"/>
                <a:gd name="connsiteY1704" fmla="*/ 981538 h 1113404"/>
                <a:gd name="connsiteX1705" fmla="*/ 752989 w 1814027"/>
                <a:gd name="connsiteY1705" fmla="*/ 985440 h 1113404"/>
                <a:gd name="connsiteX1706" fmla="*/ 754168 w 1814027"/>
                <a:gd name="connsiteY1706" fmla="*/ 986045 h 1113404"/>
                <a:gd name="connsiteX1707" fmla="*/ 756407 w 1814027"/>
                <a:gd name="connsiteY1707" fmla="*/ 987951 h 1113404"/>
                <a:gd name="connsiteX1708" fmla="*/ 758101 w 1814027"/>
                <a:gd name="connsiteY1708" fmla="*/ 992459 h 1113404"/>
                <a:gd name="connsiteX1709" fmla="*/ 758615 w 1814027"/>
                <a:gd name="connsiteY1709" fmla="*/ 997571 h 1113404"/>
                <a:gd name="connsiteX1710" fmla="*/ 757315 w 1814027"/>
                <a:gd name="connsiteY1710" fmla="*/ 1001353 h 1113404"/>
                <a:gd name="connsiteX1711" fmla="*/ 757889 w 1814027"/>
                <a:gd name="connsiteY1711" fmla="*/ 1002200 h 1113404"/>
                <a:gd name="connsiteX1712" fmla="*/ 758041 w 1814027"/>
                <a:gd name="connsiteY1712" fmla="*/ 1003137 h 1113404"/>
                <a:gd name="connsiteX1713" fmla="*/ 757798 w 1814027"/>
                <a:gd name="connsiteY1713" fmla="*/ 1004106 h 1113404"/>
                <a:gd name="connsiteX1714" fmla="*/ 757284 w 1814027"/>
                <a:gd name="connsiteY1714" fmla="*/ 1005074 h 1113404"/>
                <a:gd name="connsiteX1715" fmla="*/ 757284 w 1814027"/>
                <a:gd name="connsiteY1715" fmla="*/ 1005074 h 1113404"/>
                <a:gd name="connsiteX1716" fmla="*/ 758858 w 1814027"/>
                <a:gd name="connsiteY1716" fmla="*/ 1005376 h 1113404"/>
                <a:gd name="connsiteX1717" fmla="*/ 760642 w 1814027"/>
                <a:gd name="connsiteY1717" fmla="*/ 1004953 h 1113404"/>
                <a:gd name="connsiteX1718" fmla="*/ 762306 w 1814027"/>
                <a:gd name="connsiteY1718" fmla="*/ 1004106 h 1113404"/>
                <a:gd name="connsiteX1719" fmla="*/ 764242 w 1814027"/>
                <a:gd name="connsiteY1719" fmla="*/ 1002321 h 1113404"/>
                <a:gd name="connsiteX1720" fmla="*/ 764424 w 1814027"/>
                <a:gd name="connsiteY1720" fmla="*/ 1002200 h 1113404"/>
                <a:gd name="connsiteX1721" fmla="*/ 764303 w 1814027"/>
                <a:gd name="connsiteY1721" fmla="*/ 1001988 h 1113404"/>
                <a:gd name="connsiteX1722" fmla="*/ 764212 w 1814027"/>
                <a:gd name="connsiteY1722" fmla="*/ 1000869 h 1113404"/>
                <a:gd name="connsiteX1723" fmla="*/ 764424 w 1814027"/>
                <a:gd name="connsiteY1723" fmla="*/ 999507 h 1113404"/>
                <a:gd name="connsiteX1724" fmla="*/ 765573 w 1814027"/>
                <a:gd name="connsiteY1724" fmla="*/ 996331 h 1113404"/>
                <a:gd name="connsiteX1725" fmla="*/ 765755 w 1814027"/>
                <a:gd name="connsiteY1725" fmla="*/ 995242 h 1113404"/>
                <a:gd name="connsiteX1726" fmla="*/ 766632 w 1814027"/>
                <a:gd name="connsiteY1726" fmla="*/ 993457 h 1113404"/>
                <a:gd name="connsiteX1727" fmla="*/ 766965 w 1814027"/>
                <a:gd name="connsiteY1727" fmla="*/ 992338 h 1113404"/>
                <a:gd name="connsiteX1728" fmla="*/ 767086 w 1814027"/>
                <a:gd name="connsiteY1728" fmla="*/ 991219 h 1113404"/>
                <a:gd name="connsiteX1729" fmla="*/ 766874 w 1814027"/>
                <a:gd name="connsiteY1729" fmla="*/ 985592 h 1113404"/>
                <a:gd name="connsiteX1730" fmla="*/ 766511 w 1814027"/>
                <a:gd name="connsiteY1730" fmla="*/ 982748 h 1113404"/>
                <a:gd name="connsiteX1731" fmla="*/ 765664 w 1814027"/>
                <a:gd name="connsiteY1731" fmla="*/ 980268 h 1113404"/>
                <a:gd name="connsiteX1732" fmla="*/ 764242 w 1814027"/>
                <a:gd name="connsiteY1732" fmla="*/ 978815 h 1113404"/>
                <a:gd name="connsiteX1733" fmla="*/ 766269 w 1814027"/>
                <a:gd name="connsiteY1733" fmla="*/ 978997 h 1113404"/>
                <a:gd name="connsiteX1734" fmla="*/ 767086 w 1814027"/>
                <a:gd name="connsiteY1734" fmla="*/ 977212 h 1113404"/>
                <a:gd name="connsiteX1735" fmla="*/ 766965 w 1814027"/>
                <a:gd name="connsiteY1735" fmla="*/ 974671 h 1113404"/>
                <a:gd name="connsiteX1736" fmla="*/ 766239 w 1814027"/>
                <a:gd name="connsiteY1736" fmla="*/ 972523 h 1113404"/>
                <a:gd name="connsiteX1737" fmla="*/ 764726 w 1814027"/>
                <a:gd name="connsiteY1737" fmla="*/ 970920 h 1113404"/>
                <a:gd name="connsiteX1738" fmla="*/ 763940 w 1814027"/>
                <a:gd name="connsiteY1738" fmla="*/ 971918 h 1113404"/>
                <a:gd name="connsiteX1739" fmla="*/ 763486 w 1814027"/>
                <a:gd name="connsiteY1739" fmla="*/ 974126 h 1113404"/>
                <a:gd name="connsiteX1740" fmla="*/ 762820 w 1814027"/>
                <a:gd name="connsiteY1740" fmla="*/ 976123 h 1113404"/>
                <a:gd name="connsiteX1741" fmla="*/ 762336 w 1814027"/>
                <a:gd name="connsiteY1741" fmla="*/ 973945 h 1113404"/>
                <a:gd name="connsiteX1742" fmla="*/ 761671 w 1814027"/>
                <a:gd name="connsiteY1742" fmla="*/ 973431 h 1113404"/>
                <a:gd name="connsiteX1743" fmla="*/ 760884 w 1814027"/>
                <a:gd name="connsiteY1743" fmla="*/ 973582 h 1113404"/>
                <a:gd name="connsiteX1744" fmla="*/ 760037 w 1814027"/>
                <a:gd name="connsiteY1744" fmla="*/ 973370 h 1113404"/>
                <a:gd name="connsiteX1745" fmla="*/ 760098 w 1814027"/>
                <a:gd name="connsiteY1745" fmla="*/ 973854 h 1113404"/>
                <a:gd name="connsiteX1746" fmla="*/ 759584 w 1814027"/>
                <a:gd name="connsiteY1746" fmla="*/ 974308 h 1113404"/>
                <a:gd name="connsiteX1747" fmla="*/ 758948 w 1814027"/>
                <a:gd name="connsiteY1747" fmla="*/ 974399 h 1113404"/>
                <a:gd name="connsiteX1748" fmla="*/ 758676 w 1814027"/>
                <a:gd name="connsiteY1748" fmla="*/ 973824 h 1113404"/>
                <a:gd name="connsiteX1749" fmla="*/ 758676 w 1814027"/>
                <a:gd name="connsiteY1749" fmla="*/ 970769 h 1113404"/>
                <a:gd name="connsiteX1750" fmla="*/ 757042 w 1814027"/>
                <a:gd name="connsiteY1750" fmla="*/ 971132 h 1113404"/>
                <a:gd name="connsiteX1751" fmla="*/ 756800 w 1814027"/>
                <a:gd name="connsiteY1751" fmla="*/ 972462 h 1113404"/>
                <a:gd name="connsiteX1752" fmla="*/ 756982 w 1814027"/>
                <a:gd name="connsiteY1752" fmla="*/ 974066 h 1113404"/>
                <a:gd name="connsiteX1753" fmla="*/ 756589 w 1814027"/>
                <a:gd name="connsiteY1753" fmla="*/ 975215 h 1113404"/>
                <a:gd name="connsiteX1754" fmla="*/ 755469 w 1814027"/>
                <a:gd name="connsiteY1754" fmla="*/ 975367 h 1113404"/>
                <a:gd name="connsiteX1755" fmla="*/ 754320 w 1814027"/>
                <a:gd name="connsiteY1755" fmla="*/ 974701 h 1113404"/>
                <a:gd name="connsiteX1756" fmla="*/ 753473 w 1814027"/>
                <a:gd name="connsiteY1756" fmla="*/ 973733 h 1113404"/>
                <a:gd name="connsiteX1757" fmla="*/ 751930 w 1814027"/>
                <a:gd name="connsiteY1757" fmla="*/ 970587 h 1113404"/>
                <a:gd name="connsiteX1758" fmla="*/ 751869 w 1814027"/>
                <a:gd name="connsiteY1758" fmla="*/ 969407 h 1113404"/>
                <a:gd name="connsiteX1759" fmla="*/ 753442 w 1814027"/>
                <a:gd name="connsiteY1759" fmla="*/ 968923 h 1113404"/>
                <a:gd name="connsiteX1760" fmla="*/ 754047 w 1814027"/>
                <a:gd name="connsiteY1760" fmla="*/ 968379 h 1113404"/>
                <a:gd name="connsiteX1761" fmla="*/ 754531 w 1814027"/>
                <a:gd name="connsiteY1761" fmla="*/ 967138 h 1113404"/>
                <a:gd name="connsiteX1762" fmla="*/ 755167 w 1814027"/>
                <a:gd name="connsiteY1762" fmla="*/ 965898 h 1113404"/>
                <a:gd name="connsiteX1763" fmla="*/ 756226 w 1814027"/>
                <a:gd name="connsiteY1763" fmla="*/ 965323 h 1113404"/>
                <a:gd name="connsiteX1764" fmla="*/ 757557 w 1814027"/>
                <a:gd name="connsiteY1764" fmla="*/ 964295 h 1113404"/>
                <a:gd name="connsiteX1765" fmla="*/ 760854 w 1814027"/>
                <a:gd name="connsiteY1765" fmla="*/ 959515 h 1113404"/>
                <a:gd name="connsiteX1766" fmla="*/ 762125 w 1814027"/>
                <a:gd name="connsiteY1766" fmla="*/ 958063 h 1113404"/>
                <a:gd name="connsiteX1767" fmla="*/ 759523 w 1814027"/>
                <a:gd name="connsiteY1767" fmla="*/ 960453 h 1113404"/>
                <a:gd name="connsiteX1768" fmla="*/ 758071 w 1814027"/>
                <a:gd name="connsiteY1768" fmla="*/ 961391 h 1113404"/>
                <a:gd name="connsiteX1769" fmla="*/ 756226 w 1814027"/>
                <a:gd name="connsiteY1769" fmla="*/ 961754 h 1113404"/>
                <a:gd name="connsiteX1770" fmla="*/ 754259 w 1814027"/>
                <a:gd name="connsiteY1770" fmla="*/ 961572 h 1113404"/>
                <a:gd name="connsiteX1771" fmla="*/ 752867 w 1814027"/>
                <a:gd name="connsiteY1771" fmla="*/ 961118 h 1113404"/>
                <a:gd name="connsiteX1772" fmla="*/ 750326 w 1814027"/>
                <a:gd name="connsiteY1772" fmla="*/ 959938 h 1113404"/>
                <a:gd name="connsiteX1773" fmla="*/ 751295 w 1814027"/>
                <a:gd name="connsiteY1773" fmla="*/ 953949 h 1113404"/>
                <a:gd name="connsiteX1774" fmla="*/ 751052 w 1814027"/>
                <a:gd name="connsiteY1774" fmla="*/ 947626 h 1113404"/>
                <a:gd name="connsiteX1775" fmla="*/ 751658 w 1814027"/>
                <a:gd name="connsiteY1775" fmla="*/ 942453 h 1113404"/>
                <a:gd name="connsiteX1776" fmla="*/ 755106 w 1814027"/>
                <a:gd name="connsiteY1776" fmla="*/ 940003 h 1113404"/>
                <a:gd name="connsiteX1777" fmla="*/ 754441 w 1814027"/>
                <a:gd name="connsiteY1777" fmla="*/ 938460 h 1113404"/>
                <a:gd name="connsiteX1778" fmla="*/ 753896 w 1814027"/>
                <a:gd name="connsiteY1778" fmla="*/ 937553 h 1113404"/>
                <a:gd name="connsiteX1779" fmla="*/ 753624 w 1814027"/>
                <a:gd name="connsiteY1779" fmla="*/ 936493 h 1113404"/>
                <a:gd name="connsiteX1780" fmla="*/ 753745 w 1814027"/>
                <a:gd name="connsiteY1780" fmla="*/ 934467 h 1113404"/>
                <a:gd name="connsiteX1781" fmla="*/ 754320 w 1814027"/>
                <a:gd name="connsiteY1781" fmla="*/ 932894 h 1113404"/>
                <a:gd name="connsiteX1782" fmla="*/ 756165 w 1814027"/>
                <a:gd name="connsiteY1782" fmla="*/ 930534 h 1113404"/>
                <a:gd name="connsiteX1783" fmla="*/ 756558 w 1814027"/>
                <a:gd name="connsiteY1783" fmla="*/ 929506 h 1113404"/>
                <a:gd name="connsiteX1784" fmla="*/ 756256 w 1814027"/>
                <a:gd name="connsiteY1784" fmla="*/ 928900 h 1113404"/>
                <a:gd name="connsiteX1785" fmla="*/ 754834 w 1814027"/>
                <a:gd name="connsiteY1785" fmla="*/ 927176 h 1113404"/>
                <a:gd name="connsiteX1786" fmla="*/ 754501 w 1814027"/>
                <a:gd name="connsiteY1786" fmla="*/ 926268 h 1113404"/>
                <a:gd name="connsiteX1787" fmla="*/ 754713 w 1814027"/>
                <a:gd name="connsiteY1787" fmla="*/ 925240 h 1113404"/>
                <a:gd name="connsiteX1788" fmla="*/ 755167 w 1814027"/>
                <a:gd name="connsiteY1788" fmla="*/ 924575 h 1113404"/>
                <a:gd name="connsiteX1789" fmla="*/ 755620 w 1814027"/>
                <a:gd name="connsiteY1789" fmla="*/ 924453 h 1113404"/>
                <a:gd name="connsiteX1790" fmla="*/ 756105 w 1814027"/>
                <a:gd name="connsiteY1790" fmla="*/ 925603 h 1113404"/>
                <a:gd name="connsiteX1791" fmla="*/ 756709 w 1814027"/>
                <a:gd name="connsiteY1791" fmla="*/ 926238 h 1113404"/>
                <a:gd name="connsiteX1792" fmla="*/ 758797 w 1814027"/>
                <a:gd name="connsiteY1792" fmla="*/ 927872 h 1113404"/>
                <a:gd name="connsiteX1793" fmla="*/ 759160 w 1814027"/>
                <a:gd name="connsiteY1793" fmla="*/ 928054 h 1113404"/>
                <a:gd name="connsiteX1794" fmla="*/ 759432 w 1814027"/>
                <a:gd name="connsiteY1794" fmla="*/ 928326 h 1113404"/>
                <a:gd name="connsiteX1795" fmla="*/ 759977 w 1814027"/>
                <a:gd name="connsiteY1795" fmla="*/ 929082 h 1113404"/>
                <a:gd name="connsiteX1796" fmla="*/ 760763 w 1814027"/>
                <a:gd name="connsiteY1796" fmla="*/ 930564 h 1113404"/>
                <a:gd name="connsiteX1797" fmla="*/ 760612 w 1814027"/>
                <a:gd name="connsiteY1797" fmla="*/ 931351 h 1113404"/>
                <a:gd name="connsiteX1798" fmla="*/ 759947 w 1814027"/>
                <a:gd name="connsiteY1798" fmla="*/ 932349 h 1113404"/>
                <a:gd name="connsiteX1799" fmla="*/ 759281 w 1814027"/>
                <a:gd name="connsiteY1799" fmla="*/ 934497 h 1113404"/>
                <a:gd name="connsiteX1800" fmla="*/ 759916 w 1814027"/>
                <a:gd name="connsiteY1800" fmla="*/ 940759 h 1113404"/>
                <a:gd name="connsiteX1801" fmla="*/ 759644 w 1814027"/>
                <a:gd name="connsiteY1801" fmla="*/ 941727 h 1113404"/>
                <a:gd name="connsiteX1802" fmla="*/ 761913 w 1814027"/>
                <a:gd name="connsiteY1802" fmla="*/ 942847 h 1113404"/>
                <a:gd name="connsiteX1803" fmla="*/ 763789 w 1814027"/>
                <a:gd name="connsiteY1803" fmla="*/ 945629 h 1113404"/>
                <a:gd name="connsiteX1804" fmla="*/ 764908 w 1814027"/>
                <a:gd name="connsiteY1804" fmla="*/ 949169 h 1113404"/>
                <a:gd name="connsiteX1805" fmla="*/ 764787 w 1814027"/>
                <a:gd name="connsiteY1805" fmla="*/ 952648 h 1113404"/>
                <a:gd name="connsiteX1806" fmla="*/ 766027 w 1814027"/>
                <a:gd name="connsiteY1806" fmla="*/ 951559 h 1113404"/>
                <a:gd name="connsiteX1807" fmla="*/ 768871 w 1814027"/>
                <a:gd name="connsiteY1807" fmla="*/ 950651 h 1113404"/>
                <a:gd name="connsiteX1808" fmla="*/ 770383 w 1814027"/>
                <a:gd name="connsiteY1808" fmla="*/ 949865 h 1113404"/>
                <a:gd name="connsiteX1809" fmla="*/ 769899 w 1814027"/>
                <a:gd name="connsiteY1809" fmla="*/ 948806 h 1113404"/>
                <a:gd name="connsiteX1810" fmla="*/ 769899 w 1814027"/>
                <a:gd name="connsiteY1810" fmla="*/ 948413 h 1113404"/>
                <a:gd name="connsiteX1811" fmla="*/ 770081 w 1814027"/>
                <a:gd name="connsiteY1811" fmla="*/ 948110 h 1113404"/>
                <a:gd name="connsiteX1812" fmla="*/ 770383 w 1814027"/>
                <a:gd name="connsiteY1812" fmla="*/ 947263 h 1113404"/>
                <a:gd name="connsiteX1813" fmla="*/ 772440 w 1814027"/>
                <a:gd name="connsiteY1813" fmla="*/ 948141 h 1113404"/>
                <a:gd name="connsiteX1814" fmla="*/ 774165 w 1814027"/>
                <a:gd name="connsiteY1814" fmla="*/ 947414 h 1113404"/>
                <a:gd name="connsiteX1815" fmla="*/ 775768 w 1814027"/>
                <a:gd name="connsiteY1815" fmla="*/ 946144 h 1113404"/>
                <a:gd name="connsiteX1816" fmla="*/ 777522 w 1814027"/>
                <a:gd name="connsiteY1816" fmla="*/ 945478 h 1113404"/>
                <a:gd name="connsiteX1817" fmla="*/ 778007 w 1814027"/>
                <a:gd name="connsiteY1817" fmla="*/ 945025 h 1113404"/>
                <a:gd name="connsiteX1818" fmla="*/ 777341 w 1814027"/>
                <a:gd name="connsiteY1818" fmla="*/ 944026 h 1113404"/>
                <a:gd name="connsiteX1819" fmla="*/ 775798 w 1814027"/>
                <a:gd name="connsiteY1819" fmla="*/ 942604 h 1113404"/>
                <a:gd name="connsiteX1820" fmla="*/ 773136 w 1814027"/>
                <a:gd name="connsiteY1820" fmla="*/ 941667 h 1113404"/>
                <a:gd name="connsiteX1821" fmla="*/ 771805 w 1814027"/>
                <a:gd name="connsiteY1821" fmla="*/ 940820 h 1113404"/>
                <a:gd name="connsiteX1822" fmla="*/ 771049 w 1814027"/>
                <a:gd name="connsiteY1822" fmla="*/ 939065 h 1113404"/>
                <a:gd name="connsiteX1823" fmla="*/ 771714 w 1814027"/>
                <a:gd name="connsiteY1823" fmla="*/ 936403 h 1113404"/>
                <a:gd name="connsiteX1824" fmla="*/ 773862 w 1814027"/>
                <a:gd name="connsiteY1824" fmla="*/ 935041 h 1113404"/>
                <a:gd name="connsiteX1825" fmla="*/ 776585 w 1814027"/>
                <a:gd name="connsiteY1825" fmla="*/ 934588 h 1113404"/>
                <a:gd name="connsiteX1826" fmla="*/ 778914 w 1814027"/>
                <a:gd name="connsiteY1826" fmla="*/ 934527 h 1113404"/>
                <a:gd name="connsiteX1827" fmla="*/ 779186 w 1814027"/>
                <a:gd name="connsiteY1827" fmla="*/ 934255 h 1113404"/>
                <a:gd name="connsiteX1828" fmla="*/ 779398 w 1814027"/>
                <a:gd name="connsiteY1828" fmla="*/ 933620 h 1113404"/>
                <a:gd name="connsiteX1829" fmla="*/ 779700 w 1814027"/>
                <a:gd name="connsiteY1829" fmla="*/ 933015 h 1113404"/>
                <a:gd name="connsiteX1830" fmla="*/ 780306 w 1814027"/>
                <a:gd name="connsiteY1830" fmla="*/ 932742 h 1113404"/>
                <a:gd name="connsiteX1831" fmla="*/ 781153 w 1814027"/>
                <a:gd name="connsiteY1831" fmla="*/ 932924 h 1113404"/>
                <a:gd name="connsiteX1832" fmla="*/ 781213 w 1814027"/>
                <a:gd name="connsiteY1832" fmla="*/ 933408 h 1113404"/>
                <a:gd name="connsiteX1833" fmla="*/ 781123 w 1814027"/>
                <a:gd name="connsiteY1833" fmla="*/ 934013 h 1113404"/>
                <a:gd name="connsiteX1834" fmla="*/ 781364 w 1814027"/>
                <a:gd name="connsiteY1834" fmla="*/ 934527 h 1113404"/>
                <a:gd name="connsiteX1835" fmla="*/ 783542 w 1814027"/>
                <a:gd name="connsiteY1835" fmla="*/ 935979 h 1113404"/>
                <a:gd name="connsiteX1836" fmla="*/ 784329 w 1814027"/>
                <a:gd name="connsiteY1836" fmla="*/ 936887 h 1113404"/>
                <a:gd name="connsiteX1837" fmla="*/ 784813 w 1814027"/>
                <a:gd name="connsiteY1837" fmla="*/ 938157 h 1113404"/>
                <a:gd name="connsiteX1838" fmla="*/ 785509 w 1814027"/>
                <a:gd name="connsiteY1838" fmla="*/ 934527 h 1113404"/>
                <a:gd name="connsiteX1839" fmla="*/ 784602 w 1814027"/>
                <a:gd name="connsiteY1839" fmla="*/ 933529 h 1113404"/>
                <a:gd name="connsiteX1840" fmla="*/ 783815 w 1814027"/>
                <a:gd name="connsiteY1840" fmla="*/ 932168 h 1113404"/>
                <a:gd name="connsiteX1841" fmla="*/ 783331 w 1814027"/>
                <a:gd name="connsiteY1841" fmla="*/ 930383 h 1113404"/>
                <a:gd name="connsiteX1842" fmla="*/ 783422 w 1814027"/>
                <a:gd name="connsiteY1842" fmla="*/ 928144 h 1113404"/>
                <a:gd name="connsiteX1843" fmla="*/ 784178 w 1814027"/>
                <a:gd name="connsiteY1843" fmla="*/ 926299 h 1113404"/>
                <a:gd name="connsiteX1844" fmla="*/ 785085 w 1814027"/>
                <a:gd name="connsiteY1844" fmla="*/ 925996 h 1113404"/>
                <a:gd name="connsiteX1845" fmla="*/ 785479 w 1814027"/>
                <a:gd name="connsiteY1845" fmla="*/ 926753 h 1113404"/>
                <a:gd name="connsiteX1846" fmla="*/ 784813 w 1814027"/>
                <a:gd name="connsiteY1846" fmla="*/ 928144 h 1113404"/>
                <a:gd name="connsiteX1847" fmla="*/ 784813 w 1814027"/>
                <a:gd name="connsiteY1847" fmla="*/ 929143 h 1113404"/>
                <a:gd name="connsiteX1848" fmla="*/ 785872 w 1814027"/>
                <a:gd name="connsiteY1848" fmla="*/ 930322 h 1113404"/>
                <a:gd name="connsiteX1849" fmla="*/ 786870 w 1814027"/>
                <a:gd name="connsiteY1849" fmla="*/ 931865 h 1113404"/>
                <a:gd name="connsiteX1850" fmla="*/ 787415 w 1814027"/>
                <a:gd name="connsiteY1850" fmla="*/ 928870 h 1113404"/>
                <a:gd name="connsiteX1851" fmla="*/ 787627 w 1814027"/>
                <a:gd name="connsiteY1851" fmla="*/ 925603 h 1113404"/>
                <a:gd name="connsiteX1852" fmla="*/ 788443 w 1814027"/>
                <a:gd name="connsiteY1852" fmla="*/ 922971 h 1113404"/>
                <a:gd name="connsiteX1853" fmla="*/ 790682 w 1814027"/>
                <a:gd name="connsiteY1853" fmla="*/ 921882 h 1113404"/>
                <a:gd name="connsiteX1854" fmla="*/ 793072 w 1814027"/>
                <a:gd name="connsiteY1854" fmla="*/ 922850 h 1113404"/>
                <a:gd name="connsiteX1855" fmla="*/ 797761 w 1814027"/>
                <a:gd name="connsiteY1855" fmla="*/ 926329 h 1113404"/>
                <a:gd name="connsiteX1856" fmla="*/ 798608 w 1814027"/>
                <a:gd name="connsiteY1856" fmla="*/ 925905 h 1113404"/>
                <a:gd name="connsiteX1857" fmla="*/ 798910 w 1814027"/>
                <a:gd name="connsiteY1857" fmla="*/ 925331 h 1113404"/>
                <a:gd name="connsiteX1858" fmla="*/ 799515 w 1814027"/>
                <a:gd name="connsiteY1858" fmla="*/ 925542 h 1113404"/>
                <a:gd name="connsiteX1859" fmla="*/ 800120 w 1814027"/>
                <a:gd name="connsiteY1859" fmla="*/ 926027 h 1113404"/>
                <a:gd name="connsiteX1860" fmla="*/ 800362 w 1814027"/>
                <a:gd name="connsiteY1860" fmla="*/ 926299 h 1113404"/>
                <a:gd name="connsiteX1861" fmla="*/ 801149 w 1814027"/>
                <a:gd name="connsiteY1861" fmla="*/ 926148 h 1113404"/>
                <a:gd name="connsiteX1862" fmla="*/ 801330 w 1814027"/>
                <a:gd name="connsiteY1862" fmla="*/ 925664 h 1113404"/>
                <a:gd name="connsiteX1863" fmla="*/ 801330 w 1814027"/>
                <a:gd name="connsiteY1863" fmla="*/ 924968 h 1113404"/>
                <a:gd name="connsiteX1864" fmla="*/ 801754 w 1814027"/>
                <a:gd name="connsiteY1864" fmla="*/ 924090 h 1113404"/>
                <a:gd name="connsiteX1865" fmla="*/ 801905 w 1814027"/>
                <a:gd name="connsiteY1865" fmla="*/ 923213 h 1113404"/>
                <a:gd name="connsiteX1866" fmla="*/ 802268 w 1814027"/>
                <a:gd name="connsiteY1866" fmla="*/ 919704 h 1113404"/>
                <a:gd name="connsiteX1867" fmla="*/ 802752 w 1814027"/>
                <a:gd name="connsiteY1867" fmla="*/ 918161 h 1113404"/>
                <a:gd name="connsiteX1868" fmla="*/ 803509 w 1814027"/>
                <a:gd name="connsiteY1868" fmla="*/ 916921 h 1113404"/>
                <a:gd name="connsiteX1869" fmla="*/ 804446 w 1814027"/>
                <a:gd name="connsiteY1869" fmla="*/ 916014 h 1113404"/>
                <a:gd name="connsiteX1870" fmla="*/ 805233 w 1814027"/>
                <a:gd name="connsiteY1870" fmla="*/ 916316 h 1113404"/>
                <a:gd name="connsiteX1871" fmla="*/ 805807 w 1814027"/>
                <a:gd name="connsiteY1871" fmla="*/ 923758 h 1113404"/>
                <a:gd name="connsiteX1872" fmla="*/ 805566 w 1814027"/>
                <a:gd name="connsiteY1872" fmla="*/ 925512 h 1113404"/>
                <a:gd name="connsiteX1873" fmla="*/ 812251 w 1814027"/>
                <a:gd name="connsiteY1873" fmla="*/ 920733 h 1113404"/>
                <a:gd name="connsiteX1874" fmla="*/ 817939 w 1814027"/>
                <a:gd name="connsiteY1874" fmla="*/ 915499 h 1113404"/>
                <a:gd name="connsiteX1875" fmla="*/ 829010 w 1814027"/>
                <a:gd name="connsiteY1875" fmla="*/ 901886 h 1113404"/>
                <a:gd name="connsiteX1876" fmla="*/ 841383 w 1814027"/>
                <a:gd name="connsiteY1876" fmla="*/ 890905 h 1113404"/>
                <a:gd name="connsiteX1877" fmla="*/ 842321 w 1814027"/>
                <a:gd name="connsiteY1877" fmla="*/ 889059 h 1113404"/>
                <a:gd name="connsiteX1878" fmla="*/ 844318 w 1814027"/>
                <a:gd name="connsiteY1878" fmla="*/ 883826 h 1113404"/>
                <a:gd name="connsiteX1879" fmla="*/ 845195 w 1814027"/>
                <a:gd name="connsiteY1879" fmla="*/ 882737 h 1113404"/>
                <a:gd name="connsiteX1880" fmla="*/ 846768 w 1814027"/>
                <a:gd name="connsiteY1880" fmla="*/ 881950 h 1113404"/>
                <a:gd name="connsiteX1881" fmla="*/ 848190 w 1814027"/>
                <a:gd name="connsiteY1881" fmla="*/ 880105 h 1113404"/>
                <a:gd name="connsiteX1882" fmla="*/ 850368 w 1814027"/>
                <a:gd name="connsiteY1882" fmla="*/ 876293 h 1113404"/>
                <a:gd name="connsiteX1883" fmla="*/ 857416 w 1814027"/>
                <a:gd name="connsiteY1883" fmla="*/ 867067 h 1113404"/>
                <a:gd name="connsiteX1884" fmla="*/ 860321 w 1814027"/>
                <a:gd name="connsiteY1884" fmla="*/ 861712 h 1113404"/>
                <a:gd name="connsiteX1885" fmla="*/ 860774 w 1814027"/>
                <a:gd name="connsiteY1885" fmla="*/ 860441 h 1113404"/>
                <a:gd name="connsiteX1886" fmla="*/ 860774 w 1814027"/>
                <a:gd name="connsiteY1886" fmla="*/ 858989 h 1113404"/>
                <a:gd name="connsiteX1887" fmla="*/ 860018 w 1814027"/>
                <a:gd name="connsiteY1887" fmla="*/ 857870 h 1113404"/>
                <a:gd name="connsiteX1888" fmla="*/ 857719 w 1814027"/>
                <a:gd name="connsiteY1888" fmla="*/ 856448 h 1113404"/>
                <a:gd name="connsiteX1889" fmla="*/ 857266 w 1814027"/>
                <a:gd name="connsiteY1889" fmla="*/ 855722 h 1113404"/>
                <a:gd name="connsiteX1890" fmla="*/ 858172 w 1814027"/>
                <a:gd name="connsiteY1890" fmla="*/ 854845 h 1113404"/>
                <a:gd name="connsiteX1891" fmla="*/ 863588 w 1814027"/>
                <a:gd name="connsiteY1891" fmla="*/ 855238 h 1113404"/>
                <a:gd name="connsiteX1892" fmla="*/ 865282 w 1814027"/>
                <a:gd name="connsiteY1892" fmla="*/ 853816 h 1113404"/>
                <a:gd name="connsiteX1893" fmla="*/ 869427 w 1814027"/>
                <a:gd name="connsiteY1893" fmla="*/ 848764 h 1113404"/>
                <a:gd name="connsiteX1894" fmla="*/ 869638 w 1814027"/>
                <a:gd name="connsiteY1894" fmla="*/ 848190 h 1113404"/>
                <a:gd name="connsiteX1895" fmla="*/ 870515 w 1814027"/>
                <a:gd name="connsiteY1895" fmla="*/ 844136 h 1113404"/>
                <a:gd name="connsiteX1896" fmla="*/ 870848 w 1814027"/>
                <a:gd name="connsiteY1896" fmla="*/ 843380 h 1113404"/>
                <a:gd name="connsiteX1897" fmla="*/ 871211 w 1814027"/>
                <a:gd name="connsiteY1897" fmla="*/ 842714 h 1113404"/>
                <a:gd name="connsiteX1898" fmla="*/ 871453 w 1814027"/>
                <a:gd name="connsiteY1898" fmla="*/ 842442 h 1113404"/>
                <a:gd name="connsiteX1899" fmla="*/ 871998 w 1814027"/>
                <a:gd name="connsiteY1899" fmla="*/ 842079 h 1113404"/>
                <a:gd name="connsiteX1900" fmla="*/ 871514 w 1814027"/>
                <a:gd name="connsiteY1900" fmla="*/ 841292 h 1113404"/>
                <a:gd name="connsiteX1901" fmla="*/ 870758 w 1814027"/>
                <a:gd name="connsiteY1901" fmla="*/ 840627 h 1113404"/>
                <a:gd name="connsiteX1902" fmla="*/ 870364 w 1814027"/>
                <a:gd name="connsiteY1902" fmla="*/ 840627 h 1113404"/>
                <a:gd name="connsiteX1903" fmla="*/ 869698 w 1814027"/>
                <a:gd name="connsiteY1903" fmla="*/ 837904 h 1113404"/>
                <a:gd name="connsiteX1904" fmla="*/ 868004 w 1814027"/>
                <a:gd name="connsiteY1904" fmla="*/ 834577 h 1113404"/>
                <a:gd name="connsiteX1905" fmla="*/ 867642 w 1814027"/>
                <a:gd name="connsiteY1905" fmla="*/ 832792 h 1113404"/>
                <a:gd name="connsiteX1906" fmla="*/ 868246 w 1814027"/>
                <a:gd name="connsiteY1906" fmla="*/ 831673 h 1113404"/>
                <a:gd name="connsiteX1907" fmla="*/ 871241 w 1814027"/>
                <a:gd name="connsiteY1907" fmla="*/ 827831 h 1113404"/>
                <a:gd name="connsiteX1908" fmla="*/ 872452 w 1814027"/>
                <a:gd name="connsiteY1908" fmla="*/ 826862 h 1113404"/>
                <a:gd name="connsiteX1909" fmla="*/ 873450 w 1814027"/>
                <a:gd name="connsiteY1909" fmla="*/ 826862 h 1113404"/>
                <a:gd name="connsiteX1910" fmla="*/ 877685 w 1814027"/>
                <a:gd name="connsiteY1910" fmla="*/ 827770 h 1113404"/>
                <a:gd name="connsiteX1911" fmla="*/ 878925 w 1814027"/>
                <a:gd name="connsiteY1911" fmla="*/ 827468 h 1113404"/>
                <a:gd name="connsiteX1912" fmla="*/ 884885 w 1814027"/>
                <a:gd name="connsiteY1912" fmla="*/ 823626 h 1113404"/>
                <a:gd name="connsiteX1913" fmla="*/ 886216 w 1814027"/>
                <a:gd name="connsiteY1913" fmla="*/ 823172 h 1113404"/>
                <a:gd name="connsiteX1914" fmla="*/ 887366 w 1814027"/>
                <a:gd name="connsiteY1914" fmla="*/ 823656 h 1113404"/>
                <a:gd name="connsiteX1915" fmla="*/ 888243 w 1814027"/>
                <a:gd name="connsiteY1915" fmla="*/ 823777 h 1113404"/>
                <a:gd name="connsiteX1916" fmla="*/ 890603 w 1814027"/>
                <a:gd name="connsiteY1916" fmla="*/ 821901 h 1113404"/>
                <a:gd name="connsiteX1917" fmla="*/ 891510 w 1814027"/>
                <a:gd name="connsiteY1917" fmla="*/ 821387 h 1113404"/>
                <a:gd name="connsiteX1918" fmla="*/ 893688 w 1814027"/>
                <a:gd name="connsiteY1918" fmla="*/ 821114 h 1113404"/>
                <a:gd name="connsiteX1919" fmla="*/ 897863 w 1814027"/>
                <a:gd name="connsiteY1919" fmla="*/ 819844 h 1113404"/>
                <a:gd name="connsiteX1920" fmla="*/ 903278 w 1814027"/>
                <a:gd name="connsiteY1920" fmla="*/ 819179 h 1113404"/>
                <a:gd name="connsiteX1921" fmla="*/ 908451 w 1814027"/>
                <a:gd name="connsiteY1921" fmla="*/ 817666 h 1113404"/>
                <a:gd name="connsiteX1922" fmla="*/ 911203 w 1814027"/>
                <a:gd name="connsiteY1922" fmla="*/ 817666 h 1113404"/>
                <a:gd name="connsiteX1923" fmla="*/ 918252 w 1814027"/>
                <a:gd name="connsiteY1923" fmla="*/ 819360 h 1113404"/>
                <a:gd name="connsiteX1924" fmla="*/ 920158 w 1814027"/>
                <a:gd name="connsiteY1924" fmla="*/ 820570 h 1113404"/>
                <a:gd name="connsiteX1925" fmla="*/ 920915 w 1814027"/>
                <a:gd name="connsiteY1925" fmla="*/ 819572 h 1113404"/>
                <a:gd name="connsiteX1926" fmla="*/ 922215 w 1814027"/>
                <a:gd name="connsiteY1926" fmla="*/ 820358 h 1113404"/>
                <a:gd name="connsiteX1927" fmla="*/ 925059 w 1814027"/>
                <a:gd name="connsiteY1927" fmla="*/ 820722 h 1113404"/>
                <a:gd name="connsiteX1928" fmla="*/ 926450 w 1814027"/>
                <a:gd name="connsiteY1928" fmla="*/ 821387 h 1113404"/>
                <a:gd name="connsiteX1929" fmla="*/ 927902 w 1814027"/>
                <a:gd name="connsiteY1929" fmla="*/ 820298 h 1113404"/>
                <a:gd name="connsiteX1930" fmla="*/ 932379 w 1814027"/>
                <a:gd name="connsiteY1930" fmla="*/ 818059 h 1113404"/>
                <a:gd name="connsiteX1931" fmla="*/ 934346 w 1814027"/>
                <a:gd name="connsiteY1931" fmla="*/ 817636 h 1113404"/>
                <a:gd name="connsiteX1932" fmla="*/ 935586 w 1814027"/>
                <a:gd name="connsiteY1932" fmla="*/ 816486 h 1113404"/>
                <a:gd name="connsiteX1933" fmla="*/ 939035 w 1814027"/>
                <a:gd name="connsiteY1933" fmla="*/ 811434 h 1113404"/>
                <a:gd name="connsiteX1934" fmla="*/ 940578 w 1814027"/>
                <a:gd name="connsiteY1934" fmla="*/ 810285 h 1113404"/>
                <a:gd name="connsiteX1935" fmla="*/ 940729 w 1814027"/>
                <a:gd name="connsiteY1935" fmla="*/ 809800 h 1113404"/>
                <a:gd name="connsiteX1936" fmla="*/ 942605 w 1814027"/>
                <a:gd name="connsiteY1936" fmla="*/ 807048 h 1113404"/>
                <a:gd name="connsiteX1937" fmla="*/ 943391 w 1814027"/>
                <a:gd name="connsiteY1937" fmla="*/ 805354 h 1113404"/>
                <a:gd name="connsiteX1938" fmla="*/ 943028 w 1814027"/>
                <a:gd name="connsiteY1938" fmla="*/ 804355 h 1113404"/>
                <a:gd name="connsiteX1939" fmla="*/ 939882 w 1814027"/>
                <a:gd name="connsiteY1939" fmla="*/ 801996 h 1113404"/>
                <a:gd name="connsiteX1940" fmla="*/ 939005 w 1814027"/>
                <a:gd name="connsiteY1940" fmla="*/ 801542 h 1113404"/>
                <a:gd name="connsiteX1941" fmla="*/ 938399 w 1814027"/>
                <a:gd name="connsiteY1941" fmla="*/ 800755 h 1113404"/>
                <a:gd name="connsiteX1942" fmla="*/ 938188 w 1814027"/>
                <a:gd name="connsiteY1942" fmla="*/ 798789 h 1113404"/>
                <a:gd name="connsiteX1943" fmla="*/ 937976 w 1814027"/>
                <a:gd name="connsiteY1943" fmla="*/ 797942 h 1113404"/>
                <a:gd name="connsiteX1944" fmla="*/ 936856 w 1814027"/>
                <a:gd name="connsiteY1944" fmla="*/ 794554 h 1113404"/>
                <a:gd name="connsiteX1945" fmla="*/ 938399 w 1814027"/>
                <a:gd name="connsiteY1945" fmla="*/ 795159 h 1113404"/>
                <a:gd name="connsiteX1946" fmla="*/ 939489 w 1814027"/>
                <a:gd name="connsiteY1946" fmla="*/ 796853 h 1113404"/>
                <a:gd name="connsiteX1947" fmla="*/ 940971 w 1814027"/>
                <a:gd name="connsiteY1947" fmla="*/ 800181 h 1113404"/>
                <a:gd name="connsiteX1948" fmla="*/ 942393 w 1814027"/>
                <a:gd name="connsiteY1948" fmla="*/ 801270 h 1113404"/>
                <a:gd name="connsiteX1949" fmla="*/ 943663 w 1814027"/>
                <a:gd name="connsiteY1949" fmla="*/ 802026 h 1113404"/>
                <a:gd name="connsiteX1950" fmla="*/ 944813 w 1814027"/>
                <a:gd name="connsiteY1950" fmla="*/ 801724 h 1113404"/>
                <a:gd name="connsiteX1951" fmla="*/ 945145 w 1814027"/>
                <a:gd name="connsiteY1951" fmla="*/ 801330 h 1113404"/>
                <a:gd name="connsiteX1952" fmla="*/ 945266 w 1814027"/>
                <a:gd name="connsiteY1952" fmla="*/ 800846 h 1113404"/>
                <a:gd name="connsiteX1953" fmla="*/ 947203 w 1814027"/>
                <a:gd name="connsiteY1953" fmla="*/ 798033 h 1113404"/>
                <a:gd name="connsiteX1954" fmla="*/ 947808 w 1814027"/>
                <a:gd name="connsiteY1954" fmla="*/ 797337 h 1113404"/>
                <a:gd name="connsiteX1955" fmla="*/ 948625 w 1814027"/>
                <a:gd name="connsiteY1955" fmla="*/ 796823 h 1113404"/>
                <a:gd name="connsiteX1956" fmla="*/ 950560 w 1814027"/>
                <a:gd name="connsiteY1956" fmla="*/ 796067 h 1113404"/>
                <a:gd name="connsiteX1957" fmla="*/ 951286 w 1814027"/>
                <a:gd name="connsiteY1957" fmla="*/ 795492 h 1113404"/>
                <a:gd name="connsiteX1958" fmla="*/ 952043 w 1814027"/>
                <a:gd name="connsiteY1958" fmla="*/ 793828 h 1113404"/>
                <a:gd name="connsiteX1959" fmla="*/ 952708 w 1814027"/>
                <a:gd name="connsiteY1959" fmla="*/ 791892 h 1113404"/>
                <a:gd name="connsiteX1960" fmla="*/ 953555 w 1814027"/>
                <a:gd name="connsiteY1960" fmla="*/ 791075 h 1113404"/>
                <a:gd name="connsiteX1961" fmla="*/ 954766 w 1814027"/>
                <a:gd name="connsiteY1961" fmla="*/ 792829 h 1113404"/>
                <a:gd name="connsiteX1962" fmla="*/ 950137 w 1814027"/>
                <a:gd name="connsiteY1962" fmla="*/ 799182 h 1113404"/>
                <a:gd name="connsiteX1963" fmla="*/ 948897 w 1814027"/>
                <a:gd name="connsiteY1963" fmla="*/ 800181 h 1113404"/>
                <a:gd name="connsiteX1964" fmla="*/ 948897 w 1814027"/>
                <a:gd name="connsiteY1964" fmla="*/ 801512 h 1113404"/>
                <a:gd name="connsiteX1965" fmla="*/ 947505 w 1814027"/>
                <a:gd name="connsiteY1965" fmla="*/ 804416 h 1113404"/>
                <a:gd name="connsiteX1966" fmla="*/ 941939 w 1814027"/>
                <a:gd name="connsiteY1966" fmla="*/ 813068 h 1113404"/>
                <a:gd name="connsiteX1967" fmla="*/ 940941 w 1814027"/>
                <a:gd name="connsiteY1967" fmla="*/ 815337 h 1113404"/>
                <a:gd name="connsiteX1968" fmla="*/ 941334 w 1814027"/>
                <a:gd name="connsiteY1968" fmla="*/ 817243 h 1113404"/>
                <a:gd name="connsiteX1969" fmla="*/ 942150 w 1814027"/>
                <a:gd name="connsiteY1969" fmla="*/ 817726 h 1113404"/>
                <a:gd name="connsiteX1970" fmla="*/ 943270 w 1814027"/>
                <a:gd name="connsiteY1970" fmla="*/ 817817 h 1113404"/>
                <a:gd name="connsiteX1971" fmla="*/ 945418 w 1814027"/>
                <a:gd name="connsiteY1971" fmla="*/ 817666 h 1113404"/>
                <a:gd name="connsiteX1972" fmla="*/ 946326 w 1814027"/>
                <a:gd name="connsiteY1972" fmla="*/ 817938 h 1113404"/>
                <a:gd name="connsiteX1973" fmla="*/ 947747 w 1814027"/>
                <a:gd name="connsiteY1973" fmla="*/ 819179 h 1113404"/>
                <a:gd name="connsiteX1974" fmla="*/ 948594 w 1814027"/>
                <a:gd name="connsiteY1974" fmla="*/ 819602 h 1113404"/>
                <a:gd name="connsiteX1975" fmla="*/ 950803 w 1814027"/>
                <a:gd name="connsiteY1975" fmla="*/ 819269 h 1113404"/>
                <a:gd name="connsiteX1976" fmla="*/ 951801 w 1814027"/>
                <a:gd name="connsiteY1976" fmla="*/ 817636 h 1113404"/>
                <a:gd name="connsiteX1977" fmla="*/ 952648 w 1814027"/>
                <a:gd name="connsiteY1977" fmla="*/ 815820 h 1113404"/>
                <a:gd name="connsiteX1978" fmla="*/ 954372 w 1814027"/>
                <a:gd name="connsiteY1978" fmla="*/ 814974 h 1113404"/>
                <a:gd name="connsiteX1979" fmla="*/ 960392 w 1814027"/>
                <a:gd name="connsiteY1979" fmla="*/ 814490 h 1113404"/>
                <a:gd name="connsiteX1980" fmla="*/ 970194 w 1814027"/>
                <a:gd name="connsiteY1980" fmla="*/ 817938 h 1113404"/>
                <a:gd name="connsiteX1981" fmla="*/ 974550 w 1814027"/>
                <a:gd name="connsiteY1981" fmla="*/ 818543 h 1113404"/>
                <a:gd name="connsiteX1982" fmla="*/ 978937 w 1814027"/>
                <a:gd name="connsiteY1982" fmla="*/ 817726 h 1113404"/>
                <a:gd name="connsiteX1983" fmla="*/ 980116 w 1814027"/>
                <a:gd name="connsiteY1983" fmla="*/ 817182 h 1113404"/>
                <a:gd name="connsiteX1984" fmla="*/ 982324 w 1814027"/>
                <a:gd name="connsiteY1984" fmla="*/ 815760 h 1113404"/>
                <a:gd name="connsiteX1985" fmla="*/ 983050 w 1814027"/>
                <a:gd name="connsiteY1985" fmla="*/ 814943 h 1113404"/>
                <a:gd name="connsiteX1986" fmla="*/ 983958 w 1814027"/>
                <a:gd name="connsiteY1986" fmla="*/ 813189 h 1113404"/>
                <a:gd name="connsiteX1987" fmla="*/ 983867 w 1814027"/>
                <a:gd name="connsiteY1987" fmla="*/ 812312 h 1113404"/>
                <a:gd name="connsiteX1988" fmla="*/ 983353 w 1814027"/>
                <a:gd name="connsiteY1988" fmla="*/ 811283 h 1113404"/>
                <a:gd name="connsiteX1989" fmla="*/ 983050 w 1814027"/>
                <a:gd name="connsiteY1989" fmla="*/ 808984 h 1113404"/>
                <a:gd name="connsiteX1990" fmla="*/ 983776 w 1814027"/>
                <a:gd name="connsiteY1990" fmla="*/ 803024 h 1113404"/>
                <a:gd name="connsiteX1991" fmla="*/ 983384 w 1814027"/>
                <a:gd name="connsiteY1991" fmla="*/ 802087 h 1113404"/>
                <a:gd name="connsiteX1992" fmla="*/ 979602 w 1814027"/>
                <a:gd name="connsiteY1992" fmla="*/ 797397 h 1113404"/>
                <a:gd name="connsiteX1993" fmla="*/ 979602 w 1814027"/>
                <a:gd name="connsiteY1993" fmla="*/ 793798 h 1113404"/>
                <a:gd name="connsiteX1994" fmla="*/ 980842 w 1814027"/>
                <a:gd name="connsiteY1994" fmla="*/ 790863 h 1113404"/>
                <a:gd name="connsiteX1995" fmla="*/ 982960 w 1814027"/>
                <a:gd name="connsiteY1995" fmla="*/ 788867 h 1113404"/>
                <a:gd name="connsiteX1996" fmla="*/ 985440 w 1814027"/>
                <a:gd name="connsiteY1996" fmla="*/ 788141 h 1113404"/>
                <a:gd name="connsiteX1997" fmla="*/ 987649 w 1814027"/>
                <a:gd name="connsiteY1997" fmla="*/ 786628 h 1113404"/>
                <a:gd name="connsiteX1998" fmla="*/ 989494 w 1814027"/>
                <a:gd name="connsiteY1998" fmla="*/ 783089 h 1113404"/>
                <a:gd name="connsiteX1999" fmla="*/ 990432 w 1814027"/>
                <a:gd name="connsiteY1999" fmla="*/ 779096 h 1113404"/>
                <a:gd name="connsiteX2000" fmla="*/ 989948 w 1814027"/>
                <a:gd name="connsiteY2000" fmla="*/ 776161 h 1113404"/>
                <a:gd name="connsiteX2001" fmla="*/ 987891 w 1814027"/>
                <a:gd name="connsiteY2001" fmla="*/ 777341 h 1113404"/>
                <a:gd name="connsiteX2002" fmla="*/ 985683 w 1814027"/>
                <a:gd name="connsiteY2002" fmla="*/ 778036 h 1113404"/>
                <a:gd name="connsiteX2003" fmla="*/ 983898 w 1814027"/>
                <a:gd name="connsiteY2003" fmla="*/ 777553 h 1113404"/>
                <a:gd name="connsiteX2004" fmla="*/ 983050 w 1814027"/>
                <a:gd name="connsiteY2004" fmla="*/ 775193 h 1113404"/>
                <a:gd name="connsiteX2005" fmla="*/ 983535 w 1814027"/>
                <a:gd name="connsiteY2005" fmla="*/ 772924 h 1113404"/>
                <a:gd name="connsiteX2006" fmla="*/ 984896 w 1814027"/>
                <a:gd name="connsiteY2006" fmla="*/ 770776 h 1113404"/>
                <a:gd name="connsiteX2007" fmla="*/ 987830 w 1814027"/>
                <a:gd name="connsiteY2007" fmla="*/ 767691 h 1113404"/>
                <a:gd name="connsiteX2008" fmla="*/ 984502 w 1814027"/>
                <a:gd name="connsiteY2008" fmla="*/ 767146 h 1113404"/>
                <a:gd name="connsiteX2009" fmla="*/ 979965 w 1814027"/>
                <a:gd name="connsiteY2009" fmla="*/ 767691 h 1113404"/>
                <a:gd name="connsiteX2010" fmla="*/ 976789 w 1814027"/>
                <a:gd name="connsiteY2010" fmla="*/ 766390 h 1113404"/>
                <a:gd name="connsiteX2011" fmla="*/ 977515 w 1814027"/>
                <a:gd name="connsiteY2011" fmla="*/ 760249 h 1113404"/>
                <a:gd name="connsiteX2012" fmla="*/ 978271 w 1814027"/>
                <a:gd name="connsiteY2012" fmla="*/ 759311 h 1113404"/>
                <a:gd name="connsiteX2013" fmla="*/ 979693 w 1814027"/>
                <a:gd name="connsiteY2013" fmla="*/ 757072 h 1113404"/>
                <a:gd name="connsiteX2014" fmla="*/ 980480 w 1814027"/>
                <a:gd name="connsiteY2014" fmla="*/ 754804 h 1113404"/>
                <a:gd name="connsiteX2015" fmla="*/ 979239 w 1814027"/>
                <a:gd name="connsiteY2015" fmla="*/ 753775 h 1113404"/>
                <a:gd name="connsiteX2016" fmla="*/ 978725 w 1814027"/>
                <a:gd name="connsiteY2016" fmla="*/ 753472 h 1113404"/>
                <a:gd name="connsiteX2017" fmla="*/ 978211 w 1814027"/>
                <a:gd name="connsiteY2017" fmla="*/ 752837 h 1113404"/>
                <a:gd name="connsiteX2018" fmla="*/ 977545 w 1814027"/>
                <a:gd name="connsiteY2018" fmla="*/ 752202 h 1113404"/>
                <a:gd name="connsiteX2019" fmla="*/ 975034 w 1814027"/>
                <a:gd name="connsiteY2019" fmla="*/ 751657 h 1113404"/>
                <a:gd name="connsiteX2020" fmla="*/ 974581 w 1814027"/>
                <a:gd name="connsiteY2020" fmla="*/ 750901 h 1113404"/>
                <a:gd name="connsiteX2021" fmla="*/ 974640 w 1814027"/>
                <a:gd name="connsiteY2021" fmla="*/ 743005 h 1113404"/>
                <a:gd name="connsiteX2022" fmla="*/ 973612 w 1814027"/>
                <a:gd name="connsiteY2022" fmla="*/ 741402 h 1113404"/>
                <a:gd name="connsiteX2023" fmla="*/ 969135 w 1814027"/>
                <a:gd name="connsiteY2023" fmla="*/ 740343 h 1113404"/>
                <a:gd name="connsiteX2024" fmla="*/ 967199 w 1814027"/>
                <a:gd name="connsiteY2024" fmla="*/ 739163 h 1113404"/>
                <a:gd name="connsiteX2025" fmla="*/ 965626 w 1814027"/>
                <a:gd name="connsiteY2025" fmla="*/ 737621 h 1113404"/>
                <a:gd name="connsiteX2026" fmla="*/ 964990 w 1814027"/>
                <a:gd name="connsiteY2026" fmla="*/ 736078 h 1113404"/>
                <a:gd name="connsiteX2027" fmla="*/ 965324 w 1814027"/>
                <a:gd name="connsiteY2027" fmla="*/ 735321 h 1113404"/>
                <a:gd name="connsiteX2028" fmla="*/ 966715 w 1814027"/>
                <a:gd name="connsiteY2028" fmla="*/ 732902 h 1113404"/>
                <a:gd name="connsiteX2029" fmla="*/ 967108 w 1814027"/>
                <a:gd name="connsiteY2029" fmla="*/ 732387 h 1113404"/>
                <a:gd name="connsiteX2030" fmla="*/ 968167 w 1814027"/>
                <a:gd name="connsiteY2030" fmla="*/ 732811 h 1113404"/>
                <a:gd name="connsiteX2031" fmla="*/ 968288 w 1814027"/>
                <a:gd name="connsiteY2031" fmla="*/ 733809 h 1113404"/>
                <a:gd name="connsiteX2032" fmla="*/ 967804 w 1814027"/>
                <a:gd name="connsiteY2032" fmla="*/ 736532 h 1113404"/>
                <a:gd name="connsiteX2033" fmla="*/ 968711 w 1814027"/>
                <a:gd name="connsiteY2033" fmla="*/ 738196 h 1113404"/>
                <a:gd name="connsiteX2034" fmla="*/ 974640 w 1814027"/>
                <a:gd name="connsiteY2034" fmla="*/ 740797 h 1113404"/>
                <a:gd name="connsiteX2035" fmla="*/ 976033 w 1814027"/>
                <a:gd name="connsiteY2035" fmla="*/ 742219 h 1113404"/>
                <a:gd name="connsiteX2036" fmla="*/ 976426 w 1814027"/>
                <a:gd name="connsiteY2036" fmla="*/ 743278 h 1113404"/>
                <a:gd name="connsiteX2037" fmla="*/ 976426 w 1814027"/>
                <a:gd name="connsiteY2037" fmla="*/ 744730 h 1113404"/>
                <a:gd name="connsiteX2038" fmla="*/ 976759 w 1814027"/>
                <a:gd name="connsiteY2038" fmla="*/ 747301 h 1113404"/>
                <a:gd name="connsiteX2039" fmla="*/ 977515 w 1814027"/>
                <a:gd name="connsiteY2039" fmla="*/ 749388 h 1113404"/>
                <a:gd name="connsiteX2040" fmla="*/ 978543 w 1814027"/>
                <a:gd name="connsiteY2040" fmla="*/ 749994 h 1113404"/>
                <a:gd name="connsiteX2041" fmla="*/ 979784 w 1814027"/>
                <a:gd name="connsiteY2041" fmla="*/ 750296 h 1113404"/>
                <a:gd name="connsiteX2042" fmla="*/ 981206 w 1814027"/>
                <a:gd name="connsiteY2042" fmla="*/ 751476 h 1113404"/>
                <a:gd name="connsiteX2043" fmla="*/ 982658 w 1814027"/>
                <a:gd name="connsiteY2043" fmla="*/ 754985 h 1113404"/>
                <a:gd name="connsiteX2044" fmla="*/ 982294 w 1814027"/>
                <a:gd name="connsiteY2044" fmla="*/ 758283 h 1113404"/>
                <a:gd name="connsiteX2045" fmla="*/ 979481 w 1814027"/>
                <a:gd name="connsiteY2045" fmla="*/ 764000 h 1113404"/>
                <a:gd name="connsiteX2046" fmla="*/ 981084 w 1814027"/>
                <a:gd name="connsiteY2046" fmla="*/ 765513 h 1113404"/>
                <a:gd name="connsiteX2047" fmla="*/ 982990 w 1814027"/>
                <a:gd name="connsiteY2047" fmla="*/ 765694 h 1113404"/>
                <a:gd name="connsiteX2048" fmla="*/ 987377 w 1814027"/>
                <a:gd name="connsiteY2048" fmla="*/ 764968 h 1113404"/>
                <a:gd name="connsiteX2049" fmla="*/ 990099 w 1814027"/>
                <a:gd name="connsiteY2049" fmla="*/ 765331 h 1113404"/>
                <a:gd name="connsiteX2050" fmla="*/ 990704 w 1814027"/>
                <a:gd name="connsiteY2050" fmla="*/ 766269 h 1113404"/>
                <a:gd name="connsiteX2051" fmla="*/ 989887 w 1814027"/>
                <a:gd name="connsiteY2051" fmla="*/ 767691 h 1113404"/>
                <a:gd name="connsiteX2052" fmla="*/ 986892 w 1814027"/>
                <a:gd name="connsiteY2052" fmla="*/ 771865 h 1113404"/>
                <a:gd name="connsiteX2053" fmla="*/ 986560 w 1814027"/>
                <a:gd name="connsiteY2053" fmla="*/ 773650 h 1113404"/>
                <a:gd name="connsiteX2054" fmla="*/ 987588 w 1814027"/>
                <a:gd name="connsiteY2054" fmla="*/ 774739 h 1113404"/>
                <a:gd name="connsiteX2055" fmla="*/ 992610 w 1814027"/>
                <a:gd name="connsiteY2055" fmla="*/ 775617 h 1113404"/>
                <a:gd name="connsiteX2056" fmla="*/ 993699 w 1814027"/>
                <a:gd name="connsiteY2056" fmla="*/ 776947 h 1113404"/>
                <a:gd name="connsiteX2057" fmla="*/ 993790 w 1814027"/>
                <a:gd name="connsiteY2057" fmla="*/ 779005 h 1113404"/>
                <a:gd name="connsiteX2058" fmla="*/ 993276 w 1814027"/>
                <a:gd name="connsiteY2058" fmla="*/ 781667 h 1113404"/>
                <a:gd name="connsiteX2059" fmla="*/ 991189 w 1814027"/>
                <a:gd name="connsiteY2059" fmla="*/ 786416 h 1113404"/>
                <a:gd name="connsiteX2060" fmla="*/ 988466 w 1814027"/>
                <a:gd name="connsiteY2060" fmla="*/ 790319 h 1113404"/>
                <a:gd name="connsiteX2061" fmla="*/ 986590 w 1814027"/>
                <a:gd name="connsiteY2061" fmla="*/ 794493 h 1113404"/>
                <a:gd name="connsiteX2062" fmla="*/ 987014 w 1814027"/>
                <a:gd name="connsiteY2062" fmla="*/ 800090 h 1113404"/>
                <a:gd name="connsiteX2063" fmla="*/ 988012 w 1814027"/>
                <a:gd name="connsiteY2063" fmla="*/ 802389 h 1113404"/>
                <a:gd name="connsiteX2064" fmla="*/ 989161 w 1814027"/>
                <a:gd name="connsiteY2064" fmla="*/ 804295 h 1113404"/>
                <a:gd name="connsiteX2065" fmla="*/ 990099 w 1814027"/>
                <a:gd name="connsiteY2065" fmla="*/ 806292 h 1113404"/>
                <a:gd name="connsiteX2066" fmla="*/ 990463 w 1814027"/>
                <a:gd name="connsiteY2066" fmla="*/ 808833 h 1113404"/>
                <a:gd name="connsiteX2067" fmla="*/ 991007 w 1814027"/>
                <a:gd name="connsiteY2067" fmla="*/ 811101 h 1113404"/>
                <a:gd name="connsiteX2068" fmla="*/ 992338 w 1814027"/>
                <a:gd name="connsiteY2068" fmla="*/ 813733 h 1113404"/>
                <a:gd name="connsiteX2069" fmla="*/ 993941 w 1814027"/>
                <a:gd name="connsiteY2069" fmla="*/ 816123 h 1113404"/>
                <a:gd name="connsiteX2070" fmla="*/ 995333 w 1814027"/>
                <a:gd name="connsiteY2070" fmla="*/ 817545 h 1113404"/>
                <a:gd name="connsiteX2071" fmla="*/ 997027 w 1814027"/>
                <a:gd name="connsiteY2071" fmla="*/ 818301 h 1113404"/>
                <a:gd name="connsiteX2072" fmla="*/ 1003229 w 1814027"/>
                <a:gd name="connsiteY2072" fmla="*/ 819451 h 1113404"/>
                <a:gd name="connsiteX2073" fmla="*/ 1004922 w 1814027"/>
                <a:gd name="connsiteY2073" fmla="*/ 820540 h 1113404"/>
                <a:gd name="connsiteX2074" fmla="*/ 1006345 w 1814027"/>
                <a:gd name="connsiteY2074" fmla="*/ 825441 h 1113404"/>
                <a:gd name="connsiteX2075" fmla="*/ 1007766 w 1814027"/>
                <a:gd name="connsiteY2075" fmla="*/ 826802 h 1113404"/>
                <a:gd name="connsiteX2076" fmla="*/ 1010126 w 1814027"/>
                <a:gd name="connsiteY2076" fmla="*/ 824049 h 1113404"/>
                <a:gd name="connsiteX2077" fmla="*/ 1011154 w 1814027"/>
                <a:gd name="connsiteY2077" fmla="*/ 823898 h 1113404"/>
                <a:gd name="connsiteX2078" fmla="*/ 1013121 w 1814027"/>
                <a:gd name="connsiteY2078" fmla="*/ 823263 h 1113404"/>
                <a:gd name="connsiteX2079" fmla="*/ 1014240 w 1814027"/>
                <a:gd name="connsiteY2079" fmla="*/ 823111 h 1113404"/>
                <a:gd name="connsiteX2080" fmla="*/ 1015148 w 1814027"/>
                <a:gd name="connsiteY2080" fmla="*/ 822688 h 1113404"/>
                <a:gd name="connsiteX2081" fmla="*/ 1016842 w 1814027"/>
                <a:gd name="connsiteY2081" fmla="*/ 820842 h 1113404"/>
                <a:gd name="connsiteX2082" fmla="*/ 1017991 w 1814027"/>
                <a:gd name="connsiteY2082" fmla="*/ 820449 h 1113404"/>
                <a:gd name="connsiteX2083" fmla="*/ 1018535 w 1814027"/>
                <a:gd name="connsiteY2083" fmla="*/ 820812 h 1113404"/>
                <a:gd name="connsiteX2084" fmla="*/ 1020108 w 1814027"/>
                <a:gd name="connsiteY2084" fmla="*/ 823111 h 1113404"/>
                <a:gd name="connsiteX2085" fmla="*/ 1026795 w 1814027"/>
                <a:gd name="connsiteY2085" fmla="*/ 826530 h 1113404"/>
                <a:gd name="connsiteX2086" fmla="*/ 1034176 w 1814027"/>
                <a:gd name="connsiteY2086" fmla="*/ 825622 h 1113404"/>
                <a:gd name="connsiteX2087" fmla="*/ 1047728 w 1814027"/>
                <a:gd name="connsiteY2087" fmla="*/ 818513 h 1113404"/>
                <a:gd name="connsiteX2088" fmla="*/ 1050118 w 1814027"/>
                <a:gd name="connsiteY2088" fmla="*/ 818967 h 1113404"/>
                <a:gd name="connsiteX2089" fmla="*/ 1052841 w 1814027"/>
                <a:gd name="connsiteY2089" fmla="*/ 817636 h 1113404"/>
                <a:gd name="connsiteX2090" fmla="*/ 1055593 w 1814027"/>
                <a:gd name="connsiteY2090" fmla="*/ 815820 h 1113404"/>
                <a:gd name="connsiteX2091" fmla="*/ 1057983 w 1814027"/>
                <a:gd name="connsiteY2091" fmla="*/ 814792 h 1113404"/>
                <a:gd name="connsiteX2092" fmla="*/ 1056804 w 1814027"/>
                <a:gd name="connsiteY2092" fmla="*/ 817000 h 1113404"/>
                <a:gd name="connsiteX2093" fmla="*/ 1055352 w 1814027"/>
                <a:gd name="connsiteY2093" fmla="*/ 818301 h 1113404"/>
                <a:gd name="connsiteX2094" fmla="*/ 1053779 w 1814027"/>
                <a:gd name="connsiteY2094" fmla="*/ 819330 h 1113404"/>
                <a:gd name="connsiteX2095" fmla="*/ 1052236 w 1814027"/>
                <a:gd name="connsiteY2095" fmla="*/ 820873 h 1113404"/>
                <a:gd name="connsiteX2096" fmla="*/ 1050481 w 1814027"/>
                <a:gd name="connsiteY2096" fmla="*/ 821931 h 1113404"/>
                <a:gd name="connsiteX2097" fmla="*/ 1045822 w 1814027"/>
                <a:gd name="connsiteY2097" fmla="*/ 822415 h 1113404"/>
                <a:gd name="connsiteX2098" fmla="*/ 1043917 w 1814027"/>
                <a:gd name="connsiteY2098" fmla="*/ 823565 h 1113404"/>
                <a:gd name="connsiteX2099" fmla="*/ 1036868 w 1814027"/>
                <a:gd name="connsiteY2099" fmla="*/ 829071 h 1113404"/>
                <a:gd name="connsiteX2100" fmla="*/ 1034115 w 1814027"/>
                <a:gd name="connsiteY2100" fmla="*/ 832550 h 1113404"/>
                <a:gd name="connsiteX2101" fmla="*/ 1035990 w 1814027"/>
                <a:gd name="connsiteY2101" fmla="*/ 835000 h 1113404"/>
                <a:gd name="connsiteX2102" fmla="*/ 1033238 w 1814027"/>
                <a:gd name="connsiteY2102" fmla="*/ 837753 h 1113404"/>
                <a:gd name="connsiteX2103" fmla="*/ 1029335 w 1814027"/>
                <a:gd name="connsiteY2103" fmla="*/ 839296 h 1113404"/>
                <a:gd name="connsiteX2104" fmla="*/ 1024949 w 1814027"/>
                <a:gd name="connsiteY2104" fmla="*/ 839629 h 1113404"/>
                <a:gd name="connsiteX2105" fmla="*/ 1020774 w 1814027"/>
                <a:gd name="connsiteY2105" fmla="*/ 838751 h 1113404"/>
                <a:gd name="connsiteX2106" fmla="*/ 1015269 w 1814027"/>
                <a:gd name="connsiteY2106" fmla="*/ 835454 h 1113404"/>
                <a:gd name="connsiteX2107" fmla="*/ 1004226 w 1814027"/>
                <a:gd name="connsiteY2107" fmla="*/ 833185 h 1113404"/>
                <a:gd name="connsiteX2108" fmla="*/ 1002170 w 1814027"/>
                <a:gd name="connsiteY2108" fmla="*/ 833125 h 1113404"/>
                <a:gd name="connsiteX2109" fmla="*/ 996362 w 1814027"/>
                <a:gd name="connsiteY2109" fmla="*/ 834002 h 1113404"/>
                <a:gd name="connsiteX2110" fmla="*/ 987679 w 1814027"/>
                <a:gd name="connsiteY2110" fmla="*/ 832247 h 1113404"/>
                <a:gd name="connsiteX2111" fmla="*/ 979088 w 1814027"/>
                <a:gd name="connsiteY2111" fmla="*/ 832247 h 1113404"/>
                <a:gd name="connsiteX2112" fmla="*/ 978059 w 1814027"/>
                <a:gd name="connsiteY2112" fmla="*/ 831884 h 1113404"/>
                <a:gd name="connsiteX2113" fmla="*/ 977666 w 1814027"/>
                <a:gd name="connsiteY2113" fmla="*/ 831733 h 1113404"/>
                <a:gd name="connsiteX2114" fmla="*/ 971858 w 1814027"/>
                <a:gd name="connsiteY2114" fmla="*/ 828496 h 1113404"/>
                <a:gd name="connsiteX2115" fmla="*/ 968470 w 1814027"/>
                <a:gd name="connsiteY2115" fmla="*/ 827528 h 1113404"/>
                <a:gd name="connsiteX2116" fmla="*/ 950863 w 1814027"/>
                <a:gd name="connsiteY2116" fmla="*/ 828738 h 1113404"/>
                <a:gd name="connsiteX2117" fmla="*/ 949381 w 1814027"/>
                <a:gd name="connsiteY2117" fmla="*/ 828072 h 1113404"/>
                <a:gd name="connsiteX2118" fmla="*/ 946718 w 1814027"/>
                <a:gd name="connsiteY2118" fmla="*/ 825410 h 1113404"/>
                <a:gd name="connsiteX2119" fmla="*/ 943482 w 1814027"/>
                <a:gd name="connsiteY2119" fmla="*/ 823051 h 1113404"/>
                <a:gd name="connsiteX2120" fmla="*/ 945116 w 1814027"/>
                <a:gd name="connsiteY2120" fmla="*/ 826197 h 1113404"/>
                <a:gd name="connsiteX2121" fmla="*/ 956883 w 1814027"/>
                <a:gd name="connsiteY2121" fmla="*/ 837239 h 1113404"/>
                <a:gd name="connsiteX2122" fmla="*/ 958335 w 1814027"/>
                <a:gd name="connsiteY2122" fmla="*/ 837723 h 1113404"/>
                <a:gd name="connsiteX2123" fmla="*/ 959122 w 1814027"/>
                <a:gd name="connsiteY2123" fmla="*/ 838570 h 1113404"/>
                <a:gd name="connsiteX2124" fmla="*/ 961421 w 1814027"/>
                <a:gd name="connsiteY2124" fmla="*/ 844227 h 1113404"/>
                <a:gd name="connsiteX2125" fmla="*/ 961270 w 1814027"/>
                <a:gd name="connsiteY2125" fmla="*/ 839992 h 1113404"/>
                <a:gd name="connsiteX2126" fmla="*/ 961421 w 1814027"/>
                <a:gd name="connsiteY2126" fmla="*/ 838721 h 1113404"/>
                <a:gd name="connsiteX2127" fmla="*/ 961814 w 1814027"/>
                <a:gd name="connsiteY2127" fmla="*/ 837693 h 1113404"/>
                <a:gd name="connsiteX2128" fmla="*/ 962389 w 1814027"/>
                <a:gd name="connsiteY2128" fmla="*/ 836967 h 1113404"/>
                <a:gd name="connsiteX2129" fmla="*/ 963872 w 1814027"/>
                <a:gd name="connsiteY2129" fmla="*/ 835424 h 1113404"/>
                <a:gd name="connsiteX2130" fmla="*/ 965445 w 1814027"/>
                <a:gd name="connsiteY2130" fmla="*/ 834698 h 1113404"/>
                <a:gd name="connsiteX2131" fmla="*/ 967683 w 1814027"/>
                <a:gd name="connsiteY2131" fmla="*/ 834818 h 1113404"/>
                <a:gd name="connsiteX2132" fmla="*/ 970013 w 1814027"/>
                <a:gd name="connsiteY2132" fmla="*/ 835363 h 1113404"/>
                <a:gd name="connsiteX2133" fmla="*/ 983988 w 1814027"/>
                <a:gd name="connsiteY2133" fmla="*/ 840718 h 1113404"/>
                <a:gd name="connsiteX2134" fmla="*/ 988405 w 1814027"/>
                <a:gd name="connsiteY2134" fmla="*/ 841383 h 1113404"/>
                <a:gd name="connsiteX2135" fmla="*/ 992156 w 1814027"/>
                <a:gd name="connsiteY2135" fmla="*/ 841020 h 1113404"/>
                <a:gd name="connsiteX2136" fmla="*/ 993760 w 1814027"/>
                <a:gd name="connsiteY2136" fmla="*/ 841655 h 1113404"/>
                <a:gd name="connsiteX2137" fmla="*/ 998358 w 1814027"/>
                <a:gd name="connsiteY2137" fmla="*/ 847403 h 1113404"/>
                <a:gd name="connsiteX2138" fmla="*/ 999175 w 1814027"/>
                <a:gd name="connsiteY2138" fmla="*/ 849037 h 1113404"/>
                <a:gd name="connsiteX2139" fmla="*/ 998509 w 1814027"/>
                <a:gd name="connsiteY2139" fmla="*/ 849460 h 1113404"/>
                <a:gd name="connsiteX2140" fmla="*/ 997148 w 1814027"/>
                <a:gd name="connsiteY2140" fmla="*/ 849460 h 1113404"/>
                <a:gd name="connsiteX2141" fmla="*/ 995938 w 1814027"/>
                <a:gd name="connsiteY2141" fmla="*/ 849672 h 1113404"/>
                <a:gd name="connsiteX2142" fmla="*/ 990644 w 1814027"/>
                <a:gd name="connsiteY2142" fmla="*/ 854179 h 1113404"/>
                <a:gd name="connsiteX2143" fmla="*/ 989737 w 1814027"/>
                <a:gd name="connsiteY2143" fmla="*/ 854754 h 1113404"/>
                <a:gd name="connsiteX2144" fmla="*/ 982113 w 1814027"/>
                <a:gd name="connsiteY2144" fmla="*/ 856085 h 1113404"/>
                <a:gd name="connsiteX2145" fmla="*/ 976577 w 1814027"/>
                <a:gd name="connsiteY2145" fmla="*/ 854936 h 1113404"/>
                <a:gd name="connsiteX2146" fmla="*/ 974490 w 1814027"/>
                <a:gd name="connsiteY2146" fmla="*/ 855147 h 1113404"/>
                <a:gd name="connsiteX2147" fmla="*/ 972796 w 1814027"/>
                <a:gd name="connsiteY2147" fmla="*/ 855904 h 1113404"/>
                <a:gd name="connsiteX2148" fmla="*/ 970799 w 1814027"/>
                <a:gd name="connsiteY2148" fmla="*/ 857295 h 1113404"/>
                <a:gd name="connsiteX2149" fmla="*/ 969528 w 1814027"/>
                <a:gd name="connsiteY2149" fmla="*/ 859110 h 1113404"/>
                <a:gd name="connsiteX2150" fmla="*/ 970043 w 1814027"/>
                <a:gd name="connsiteY2150" fmla="*/ 861168 h 1113404"/>
                <a:gd name="connsiteX2151" fmla="*/ 971374 w 1814027"/>
                <a:gd name="connsiteY2151" fmla="*/ 862559 h 1113404"/>
                <a:gd name="connsiteX2152" fmla="*/ 972886 w 1814027"/>
                <a:gd name="connsiteY2152" fmla="*/ 863527 h 1113404"/>
                <a:gd name="connsiteX2153" fmla="*/ 974701 w 1814027"/>
                <a:gd name="connsiteY2153" fmla="*/ 864132 h 1113404"/>
                <a:gd name="connsiteX2154" fmla="*/ 981084 w 1814027"/>
                <a:gd name="connsiteY2154" fmla="*/ 864344 h 1113404"/>
                <a:gd name="connsiteX2155" fmla="*/ 981841 w 1814027"/>
                <a:gd name="connsiteY2155" fmla="*/ 863709 h 1113404"/>
                <a:gd name="connsiteX2156" fmla="*/ 981659 w 1814027"/>
                <a:gd name="connsiteY2156" fmla="*/ 862196 h 1113404"/>
                <a:gd name="connsiteX2157" fmla="*/ 981266 w 1814027"/>
                <a:gd name="connsiteY2157" fmla="*/ 860381 h 1113404"/>
                <a:gd name="connsiteX2158" fmla="*/ 981417 w 1814027"/>
                <a:gd name="connsiteY2158" fmla="*/ 858869 h 1113404"/>
                <a:gd name="connsiteX2159" fmla="*/ 989737 w 1814027"/>
                <a:gd name="connsiteY2159" fmla="*/ 864798 h 1113404"/>
                <a:gd name="connsiteX2160" fmla="*/ 994728 w 1814027"/>
                <a:gd name="connsiteY2160" fmla="*/ 867218 h 1113404"/>
                <a:gd name="connsiteX2161" fmla="*/ 997935 w 1814027"/>
                <a:gd name="connsiteY2161" fmla="*/ 866068 h 1113404"/>
                <a:gd name="connsiteX2162" fmla="*/ 1000718 w 1814027"/>
                <a:gd name="connsiteY2162" fmla="*/ 868277 h 1113404"/>
                <a:gd name="connsiteX2163" fmla="*/ 1004499 w 1814027"/>
                <a:gd name="connsiteY2163" fmla="*/ 872935 h 1113404"/>
                <a:gd name="connsiteX2164" fmla="*/ 1005830 w 1814027"/>
                <a:gd name="connsiteY2164" fmla="*/ 873571 h 1113404"/>
                <a:gd name="connsiteX2165" fmla="*/ 1007221 w 1814027"/>
                <a:gd name="connsiteY2165" fmla="*/ 873813 h 1113404"/>
                <a:gd name="connsiteX2166" fmla="*/ 1011729 w 1814027"/>
                <a:gd name="connsiteY2166" fmla="*/ 875325 h 1113404"/>
                <a:gd name="connsiteX2167" fmla="*/ 1014331 w 1814027"/>
                <a:gd name="connsiteY2167" fmla="*/ 875809 h 1113404"/>
                <a:gd name="connsiteX2168" fmla="*/ 1016963 w 1814027"/>
                <a:gd name="connsiteY2168" fmla="*/ 875507 h 1113404"/>
                <a:gd name="connsiteX2169" fmla="*/ 1019988 w 1814027"/>
                <a:gd name="connsiteY2169" fmla="*/ 874266 h 1113404"/>
                <a:gd name="connsiteX2170" fmla="*/ 1019746 w 1814027"/>
                <a:gd name="connsiteY2170" fmla="*/ 875567 h 1113404"/>
                <a:gd name="connsiteX2171" fmla="*/ 1019171 w 1814027"/>
                <a:gd name="connsiteY2171" fmla="*/ 876384 h 1113404"/>
                <a:gd name="connsiteX2172" fmla="*/ 1017265 w 1814027"/>
                <a:gd name="connsiteY2172" fmla="*/ 877987 h 1113404"/>
                <a:gd name="connsiteX2173" fmla="*/ 1017809 w 1814027"/>
                <a:gd name="connsiteY2173" fmla="*/ 878774 h 1113404"/>
                <a:gd name="connsiteX2174" fmla="*/ 1018264 w 1814027"/>
                <a:gd name="connsiteY2174" fmla="*/ 880619 h 1113404"/>
                <a:gd name="connsiteX2175" fmla="*/ 1018656 w 1814027"/>
                <a:gd name="connsiteY2175" fmla="*/ 881617 h 1113404"/>
                <a:gd name="connsiteX2176" fmla="*/ 1018838 w 1814027"/>
                <a:gd name="connsiteY2176" fmla="*/ 882192 h 1113404"/>
                <a:gd name="connsiteX2177" fmla="*/ 1019171 w 1814027"/>
                <a:gd name="connsiteY2177" fmla="*/ 883916 h 1113404"/>
                <a:gd name="connsiteX2178" fmla="*/ 1019352 w 1814027"/>
                <a:gd name="connsiteY2178" fmla="*/ 884431 h 1113404"/>
                <a:gd name="connsiteX2179" fmla="*/ 1019867 w 1814027"/>
                <a:gd name="connsiteY2179" fmla="*/ 884642 h 1113404"/>
                <a:gd name="connsiteX2180" fmla="*/ 1021168 w 1814027"/>
                <a:gd name="connsiteY2180" fmla="*/ 884522 h 1113404"/>
                <a:gd name="connsiteX2181" fmla="*/ 1023376 w 1814027"/>
                <a:gd name="connsiteY2181" fmla="*/ 885974 h 1113404"/>
                <a:gd name="connsiteX2182" fmla="*/ 1043584 w 1814027"/>
                <a:gd name="connsiteY2182" fmla="*/ 891389 h 1113404"/>
                <a:gd name="connsiteX2183" fmla="*/ 1047638 w 1814027"/>
                <a:gd name="connsiteY2183" fmla="*/ 890814 h 1113404"/>
                <a:gd name="connsiteX2184" fmla="*/ 1048364 w 1814027"/>
                <a:gd name="connsiteY2184" fmla="*/ 890300 h 1113404"/>
                <a:gd name="connsiteX2185" fmla="*/ 1050028 w 1814027"/>
                <a:gd name="connsiteY2185" fmla="*/ 888666 h 1113404"/>
                <a:gd name="connsiteX2186" fmla="*/ 1051056 w 1814027"/>
                <a:gd name="connsiteY2186" fmla="*/ 888001 h 1113404"/>
                <a:gd name="connsiteX2187" fmla="*/ 1052084 w 1814027"/>
                <a:gd name="connsiteY2187" fmla="*/ 887638 h 1113404"/>
                <a:gd name="connsiteX2188" fmla="*/ 1064760 w 1814027"/>
                <a:gd name="connsiteY2188" fmla="*/ 885550 h 1113404"/>
                <a:gd name="connsiteX2189" fmla="*/ 1068511 w 1814027"/>
                <a:gd name="connsiteY2189" fmla="*/ 883826 h 1113404"/>
                <a:gd name="connsiteX2190" fmla="*/ 1069993 w 1814027"/>
                <a:gd name="connsiteY2190" fmla="*/ 883463 h 1113404"/>
                <a:gd name="connsiteX2191" fmla="*/ 1072353 w 1814027"/>
                <a:gd name="connsiteY2191" fmla="*/ 883644 h 1113404"/>
                <a:gd name="connsiteX2192" fmla="*/ 1077889 w 1814027"/>
                <a:gd name="connsiteY2192" fmla="*/ 885369 h 1113404"/>
                <a:gd name="connsiteX2193" fmla="*/ 1078766 w 1814027"/>
                <a:gd name="connsiteY2193" fmla="*/ 885490 h 1113404"/>
                <a:gd name="connsiteX2194" fmla="*/ 1081066 w 1814027"/>
                <a:gd name="connsiteY2194" fmla="*/ 885369 h 1113404"/>
                <a:gd name="connsiteX2195" fmla="*/ 1081731 w 1814027"/>
                <a:gd name="connsiteY2195" fmla="*/ 885459 h 1113404"/>
                <a:gd name="connsiteX2196" fmla="*/ 1082639 w 1814027"/>
                <a:gd name="connsiteY2196" fmla="*/ 885974 h 1113404"/>
                <a:gd name="connsiteX2197" fmla="*/ 1083425 w 1814027"/>
                <a:gd name="connsiteY2197" fmla="*/ 886155 h 1113404"/>
                <a:gd name="connsiteX2198" fmla="*/ 1084817 w 1814027"/>
                <a:gd name="connsiteY2198" fmla="*/ 886155 h 1113404"/>
                <a:gd name="connsiteX2199" fmla="*/ 1095374 w 1814027"/>
                <a:gd name="connsiteY2199" fmla="*/ 884491 h 1113404"/>
                <a:gd name="connsiteX2200" fmla="*/ 1096796 w 1814027"/>
                <a:gd name="connsiteY2200" fmla="*/ 882707 h 1113404"/>
                <a:gd name="connsiteX2201" fmla="*/ 1095888 w 1814027"/>
                <a:gd name="connsiteY2201" fmla="*/ 878865 h 1113404"/>
                <a:gd name="connsiteX2202" fmla="*/ 1101757 w 1814027"/>
                <a:gd name="connsiteY2202" fmla="*/ 881617 h 1113404"/>
                <a:gd name="connsiteX2203" fmla="*/ 1103906 w 1814027"/>
                <a:gd name="connsiteY2203" fmla="*/ 883070 h 1113404"/>
                <a:gd name="connsiteX2204" fmla="*/ 1104873 w 1814027"/>
                <a:gd name="connsiteY2204" fmla="*/ 883433 h 1113404"/>
                <a:gd name="connsiteX2205" fmla="*/ 1105872 w 1814027"/>
                <a:gd name="connsiteY2205" fmla="*/ 883433 h 1113404"/>
                <a:gd name="connsiteX2206" fmla="*/ 1107142 w 1814027"/>
                <a:gd name="connsiteY2206" fmla="*/ 882767 h 1113404"/>
                <a:gd name="connsiteX2207" fmla="*/ 1107928 w 1814027"/>
                <a:gd name="connsiteY2207" fmla="*/ 882616 h 1113404"/>
                <a:gd name="connsiteX2208" fmla="*/ 1111135 w 1814027"/>
                <a:gd name="connsiteY2208" fmla="*/ 881103 h 1113404"/>
                <a:gd name="connsiteX2209" fmla="*/ 1113132 w 1814027"/>
                <a:gd name="connsiteY2209" fmla="*/ 877715 h 1113404"/>
                <a:gd name="connsiteX2210" fmla="*/ 1114826 w 1814027"/>
                <a:gd name="connsiteY2210" fmla="*/ 874025 h 1113404"/>
                <a:gd name="connsiteX2211" fmla="*/ 1117155 w 1814027"/>
                <a:gd name="connsiteY2211" fmla="*/ 871695 h 1113404"/>
                <a:gd name="connsiteX2212" fmla="*/ 1116187 w 1814027"/>
                <a:gd name="connsiteY2212" fmla="*/ 880982 h 1113404"/>
                <a:gd name="connsiteX2213" fmla="*/ 1115824 w 1814027"/>
                <a:gd name="connsiteY2213" fmla="*/ 882676 h 1113404"/>
                <a:gd name="connsiteX2214" fmla="*/ 1115098 w 1814027"/>
                <a:gd name="connsiteY2214" fmla="*/ 884431 h 1113404"/>
                <a:gd name="connsiteX2215" fmla="*/ 1123054 w 1814027"/>
                <a:gd name="connsiteY2215" fmla="*/ 883433 h 1113404"/>
                <a:gd name="connsiteX2216" fmla="*/ 1125262 w 1814027"/>
                <a:gd name="connsiteY2216" fmla="*/ 884068 h 1113404"/>
                <a:gd name="connsiteX2217" fmla="*/ 1125474 w 1814027"/>
                <a:gd name="connsiteY2217" fmla="*/ 885580 h 1113404"/>
                <a:gd name="connsiteX2218" fmla="*/ 1124385 w 1814027"/>
                <a:gd name="connsiteY2218" fmla="*/ 887395 h 1113404"/>
                <a:gd name="connsiteX2219" fmla="*/ 1122722 w 1814027"/>
                <a:gd name="connsiteY2219" fmla="*/ 888908 h 1113404"/>
                <a:gd name="connsiteX2220" fmla="*/ 1123327 w 1814027"/>
                <a:gd name="connsiteY2220" fmla="*/ 889059 h 1113404"/>
                <a:gd name="connsiteX2221" fmla="*/ 1123841 w 1814027"/>
                <a:gd name="connsiteY2221" fmla="*/ 889059 h 1113404"/>
                <a:gd name="connsiteX2222" fmla="*/ 1124265 w 1814027"/>
                <a:gd name="connsiteY2222" fmla="*/ 889210 h 1113404"/>
                <a:gd name="connsiteX2223" fmla="*/ 1124779 w 1814027"/>
                <a:gd name="connsiteY2223" fmla="*/ 889876 h 1113404"/>
                <a:gd name="connsiteX2224" fmla="*/ 1126805 w 1814027"/>
                <a:gd name="connsiteY2224" fmla="*/ 887184 h 1113404"/>
                <a:gd name="connsiteX2225" fmla="*/ 1129498 w 1814027"/>
                <a:gd name="connsiteY2225" fmla="*/ 887668 h 1113404"/>
                <a:gd name="connsiteX2226" fmla="*/ 1132160 w 1814027"/>
                <a:gd name="connsiteY2226" fmla="*/ 889816 h 1113404"/>
                <a:gd name="connsiteX2227" fmla="*/ 1135276 w 1814027"/>
                <a:gd name="connsiteY2227" fmla="*/ 893748 h 1113404"/>
                <a:gd name="connsiteX2228" fmla="*/ 1136153 w 1814027"/>
                <a:gd name="connsiteY2228" fmla="*/ 894384 h 1113404"/>
                <a:gd name="connsiteX2229" fmla="*/ 1142355 w 1814027"/>
                <a:gd name="connsiteY2229" fmla="*/ 894384 h 1113404"/>
                <a:gd name="connsiteX2230" fmla="*/ 1144442 w 1814027"/>
                <a:gd name="connsiteY2230" fmla="*/ 895230 h 1113404"/>
                <a:gd name="connsiteX2231" fmla="*/ 1145441 w 1814027"/>
                <a:gd name="connsiteY2231" fmla="*/ 895291 h 1113404"/>
                <a:gd name="connsiteX2232" fmla="*/ 1143383 w 1814027"/>
                <a:gd name="connsiteY2232" fmla="*/ 892417 h 1113404"/>
                <a:gd name="connsiteX2233" fmla="*/ 1144382 w 1814027"/>
                <a:gd name="connsiteY2233" fmla="*/ 890784 h 1113404"/>
                <a:gd name="connsiteX2234" fmla="*/ 1146953 w 1814027"/>
                <a:gd name="connsiteY2234" fmla="*/ 890027 h 1113404"/>
                <a:gd name="connsiteX2235" fmla="*/ 1149615 w 1814027"/>
                <a:gd name="connsiteY2235" fmla="*/ 889846 h 1113404"/>
                <a:gd name="connsiteX2236" fmla="*/ 1149615 w 1814027"/>
                <a:gd name="connsiteY2236" fmla="*/ 888878 h 1113404"/>
                <a:gd name="connsiteX2237" fmla="*/ 1146953 w 1814027"/>
                <a:gd name="connsiteY2237" fmla="*/ 887244 h 1113404"/>
                <a:gd name="connsiteX2238" fmla="*/ 1147074 w 1814027"/>
                <a:gd name="connsiteY2238" fmla="*/ 885308 h 1113404"/>
                <a:gd name="connsiteX2239" fmla="*/ 1148828 w 1814027"/>
                <a:gd name="connsiteY2239" fmla="*/ 883312 h 1113404"/>
                <a:gd name="connsiteX2240" fmla="*/ 1151006 w 1814027"/>
                <a:gd name="connsiteY2240" fmla="*/ 881587 h 1113404"/>
                <a:gd name="connsiteX2241" fmla="*/ 1153518 w 1814027"/>
                <a:gd name="connsiteY2241" fmla="*/ 880740 h 1113404"/>
                <a:gd name="connsiteX2242" fmla="*/ 1155242 w 1814027"/>
                <a:gd name="connsiteY2242" fmla="*/ 882132 h 1113404"/>
                <a:gd name="connsiteX2243" fmla="*/ 1158267 w 1814027"/>
                <a:gd name="connsiteY2243" fmla="*/ 887547 h 1113404"/>
                <a:gd name="connsiteX2244" fmla="*/ 1158751 w 1814027"/>
                <a:gd name="connsiteY2244" fmla="*/ 889483 h 1113404"/>
                <a:gd name="connsiteX2245" fmla="*/ 1157783 w 1814027"/>
                <a:gd name="connsiteY2245" fmla="*/ 891056 h 1113404"/>
                <a:gd name="connsiteX2246" fmla="*/ 1156664 w 1814027"/>
                <a:gd name="connsiteY2246" fmla="*/ 892448 h 1113404"/>
                <a:gd name="connsiteX2247" fmla="*/ 1156815 w 1814027"/>
                <a:gd name="connsiteY2247" fmla="*/ 893930 h 1113404"/>
                <a:gd name="connsiteX2248" fmla="*/ 1158086 w 1814027"/>
                <a:gd name="connsiteY2248" fmla="*/ 898528 h 1113404"/>
                <a:gd name="connsiteX2249" fmla="*/ 1158207 w 1814027"/>
                <a:gd name="connsiteY2249" fmla="*/ 899466 h 1113404"/>
                <a:gd name="connsiteX2250" fmla="*/ 1157511 w 1814027"/>
                <a:gd name="connsiteY2250" fmla="*/ 900615 h 1113404"/>
                <a:gd name="connsiteX2251" fmla="*/ 1156966 w 1814027"/>
                <a:gd name="connsiteY2251" fmla="*/ 901916 h 1113404"/>
                <a:gd name="connsiteX2252" fmla="*/ 1157057 w 1814027"/>
                <a:gd name="connsiteY2252" fmla="*/ 903005 h 1113404"/>
                <a:gd name="connsiteX2253" fmla="*/ 1158237 w 1814027"/>
                <a:gd name="connsiteY2253" fmla="*/ 903459 h 1113404"/>
                <a:gd name="connsiteX2254" fmla="*/ 1158569 w 1814027"/>
                <a:gd name="connsiteY2254" fmla="*/ 904155 h 1113404"/>
                <a:gd name="connsiteX2255" fmla="*/ 1157722 w 1814027"/>
                <a:gd name="connsiteY2255" fmla="*/ 905667 h 1113404"/>
                <a:gd name="connsiteX2256" fmla="*/ 1155847 w 1814027"/>
                <a:gd name="connsiteY2256" fmla="*/ 907997 h 1113404"/>
                <a:gd name="connsiteX2257" fmla="*/ 1157057 w 1814027"/>
                <a:gd name="connsiteY2257" fmla="*/ 908844 h 1113404"/>
                <a:gd name="connsiteX2258" fmla="*/ 1157753 w 1814027"/>
                <a:gd name="connsiteY2258" fmla="*/ 908451 h 1113404"/>
                <a:gd name="connsiteX2259" fmla="*/ 1158448 w 1814027"/>
                <a:gd name="connsiteY2259" fmla="*/ 907604 h 1113404"/>
                <a:gd name="connsiteX2260" fmla="*/ 1159598 w 1814027"/>
                <a:gd name="connsiteY2260" fmla="*/ 907150 h 1113404"/>
                <a:gd name="connsiteX2261" fmla="*/ 1162140 w 1814027"/>
                <a:gd name="connsiteY2261" fmla="*/ 906938 h 1113404"/>
                <a:gd name="connsiteX2262" fmla="*/ 1167887 w 1814027"/>
                <a:gd name="connsiteY2262" fmla="*/ 908360 h 1113404"/>
                <a:gd name="connsiteX2263" fmla="*/ 1169793 w 1814027"/>
                <a:gd name="connsiteY2263" fmla="*/ 909267 h 1113404"/>
                <a:gd name="connsiteX2264" fmla="*/ 1171638 w 1814027"/>
                <a:gd name="connsiteY2264" fmla="*/ 910749 h 1113404"/>
                <a:gd name="connsiteX2265" fmla="*/ 1169883 w 1814027"/>
                <a:gd name="connsiteY2265" fmla="*/ 911718 h 1113404"/>
                <a:gd name="connsiteX2266" fmla="*/ 1166435 w 1814027"/>
                <a:gd name="connsiteY2266" fmla="*/ 912535 h 1113404"/>
                <a:gd name="connsiteX2267" fmla="*/ 1164771 w 1814027"/>
                <a:gd name="connsiteY2267" fmla="*/ 913381 h 1113404"/>
                <a:gd name="connsiteX2268" fmla="*/ 1163258 w 1814027"/>
                <a:gd name="connsiteY2268" fmla="*/ 912746 h 1113404"/>
                <a:gd name="connsiteX2269" fmla="*/ 1163016 w 1814027"/>
                <a:gd name="connsiteY2269" fmla="*/ 915166 h 1113404"/>
                <a:gd name="connsiteX2270" fmla="*/ 1163228 w 1814027"/>
                <a:gd name="connsiteY2270" fmla="*/ 918312 h 1113404"/>
                <a:gd name="connsiteX2271" fmla="*/ 1163077 w 1814027"/>
                <a:gd name="connsiteY2271" fmla="*/ 919885 h 1113404"/>
                <a:gd name="connsiteX2272" fmla="*/ 1160929 w 1814027"/>
                <a:gd name="connsiteY2272" fmla="*/ 920158 h 1113404"/>
                <a:gd name="connsiteX2273" fmla="*/ 1159780 w 1814027"/>
                <a:gd name="connsiteY2273" fmla="*/ 920067 h 1113404"/>
                <a:gd name="connsiteX2274" fmla="*/ 1159295 w 1814027"/>
                <a:gd name="connsiteY2274" fmla="*/ 919402 h 1113404"/>
                <a:gd name="connsiteX2275" fmla="*/ 1158933 w 1814027"/>
                <a:gd name="connsiteY2275" fmla="*/ 918585 h 1113404"/>
                <a:gd name="connsiteX2276" fmla="*/ 1158025 w 1814027"/>
                <a:gd name="connsiteY2276" fmla="*/ 917859 h 1113404"/>
                <a:gd name="connsiteX2277" fmla="*/ 1156905 w 1814027"/>
                <a:gd name="connsiteY2277" fmla="*/ 917344 h 1113404"/>
                <a:gd name="connsiteX2278" fmla="*/ 1155847 w 1814027"/>
                <a:gd name="connsiteY2278" fmla="*/ 917103 h 1113404"/>
                <a:gd name="connsiteX2279" fmla="*/ 1154879 w 1814027"/>
                <a:gd name="connsiteY2279" fmla="*/ 917223 h 1113404"/>
                <a:gd name="connsiteX2280" fmla="*/ 1153730 w 1814027"/>
                <a:gd name="connsiteY2280" fmla="*/ 917677 h 1113404"/>
                <a:gd name="connsiteX2281" fmla="*/ 1151702 w 1814027"/>
                <a:gd name="connsiteY2281" fmla="*/ 918887 h 1113404"/>
                <a:gd name="connsiteX2282" fmla="*/ 1149283 w 1814027"/>
                <a:gd name="connsiteY2282" fmla="*/ 921671 h 1113404"/>
                <a:gd name="connsiteX2283" fmla="*/ 1146862 w 1814027"/>
                <a:gd name="connsiteY2283" fmla="*/ 922366 h 1113404"/>
                <a:gd name="connsiteX2284" fmla="*/ 1145834 w 1814027"/>
                <a:gd name="connsiteY2284" fmla="*/ 922487 h 1113404"/>
                <a:gd name="connsiteX2285" fmla="*/ 1144624 w 1814027"/>
                <a:gd name="connsiteY2285" fmla="*/ 922215 h 1113404"/>
                <a:gd name="connsiteX2286" fmla="*/ 1142778 w 1814027"/>
                <a:gd name="connsiteY2286" fmla="*/ 920974 h 1113404"/>
                <a:gd name="connsiteX2287" fmla="*/ 1142052 w 1814027"/>
                <a:gd name="connsiteY2287" fmla="*/ 920702 h 1113404"/>
                <a:gd name="connsiteX2288" fmla="*/ 1140540 w 1814027"/>
                <a:gd name="connsiteY2288" fmla="*/ 921277 h 1113404"/>
                <a:gd name="connsiteX2289" fmla="*/ 1136305 w 1814027"/>
                <a:gd name="connsiteY2289" fmla="*/ 923818 h 1113404"/>
                <a:gd name="connsiteX2290" fmla="*/ 1134792 w 1814027"/>
                <a:gd name="connsiteY2290" fmla="*/ 924393 h 1113404"/>
                <a:gd name="connsiteX2291" fmla="*/ 1131737 w 1814027"/>
                <a:gd name="connsiteY2291" fmla="*/ 927539 h 1113404"/>
                <a:gd name="connsiteX2292" fmla="*/ 1131192 w 1814027"/>
                <a:gd name="connsiteY2292" fmla="*/ 928417 h 1113404"/>
                <a:gd name="connsiteX2293" fmla="*/ 1127562 w 1814027"/>
                <a:gd name="connsiteY2293" fmla="*/ 929838 h 1113404"/>
                <a:gd name="connsiteX2294" fmla="*/ 1120241 w 1814027"/>
                <a:gd name="connsiteY2294" fmla="*/ 934043 h 1113404"/>
                <a:gd name="connsiteX2295" fmla="*/ 1116702 w 1814027"/>
                <a:gd name="connsiteY2295" fmla="*/ 934406 h 1113404"/>
                <a:gd name="connsiteX2296" fmla="*/ 1113132 w 1814027"/>
                <a:gd name="connsiteY2296" fmla="*/ 932531 h 1113404"/>
                <a:gd name="connsiteX2297" fmla="*/ 1111499 w 1814027"/>
                <a:gd name="connsiteY2297" fmla="*/ 930534 h 1113404"/>
                <a:gd name="connsiteX2298" fmla="*/ 1110561 w 1814027"/>
                <a:gd name="connsiteY2298" fmla="*/ 929990 h 1113404"/>
                <a:gd name="connsiteX2299" fmla="*/ 1109683 w 1814027"/>
                <a:gd name="connsiteY2299" fmla="*/ 930716 h 1113404"/>
                <a:gd name="connsiteX2300" fmla="*/ 1109532 w 1814027"/>
                <a:gd name="connsiteY2300" fmla="*/ 932077 h 1113404"/>
                <a:gd name="connsiteX2301" fmla="*/ 1110318 w 1814027"/>
                <a:gd name="connsiteY2301" fmla="*/ 932863 h 1113404"/>
                <a:gd name="connsiteX2302" fmla="*/ 1111287 w 1814027"/>
                <a:gd name="connsiteY2302" fmla="*/ 933348 h 1113404"/>
                <a:gd name="connsiteX2303" fmla="*/ 1111770 w 1814027"/>
                <a:gd name="connsiteY2303" fmla="*/ 933831 h 1113404"/>
                <a:gd name="connsiteX2304" fmla="*/ 1111256 w 1814027"/>
                <a:gd name="connsiteY2304" fmla="*/ 935435 h 1113404"/>
                <a:gd name="connsiteX2305" fmla="*/ 1109986 w 1814027"/>
                <a:gd name="connsiteY2305" fmla="*/ 936342 h 1113404"/>
                <a:gd name="connsiteX2306" fmla="*/ 1087176 w 1814027"/>
                <a:gd name="connsiteY2306" fmla="*/ 946083 h 1113404"/>
                <a:gd name="connsiteX2307" fmla="*/ 1080279 w 1814027"/>
                <a:gd name="connsiteY2307" fmla="*/ 950379 h 1113404"/>
                <a:gd name="connsiteX2308" fmla="*/ 1077224 w 1814027"/>
                <a:gd name="connsiteY2308" fmla="*/ 953283 h 1113404"/>
                <a:gd name="connsiteX2309" fmla="*/ 1076498 w 1814027"/>
                <a:gd name="connsiteY2309" fmla="*/ 954221 h 1113404"/>
                <a:gd name="connsiteX2310" fmla="*/ 1076134 w 1814027"/>
                <a:gd name="connsiteY2310" fmla="*/ 954947 h 1113404"/>
                <a:gd name="connsiteX2311" fmla="*/ 1075923 w 1814027"/>
                <a:gd name="connsiteY2311" fmla="*/ 956066 h 1113404"/>
                <a:gd name="connsiteX2312" fmla="*/ 1076074 w 1814027"/>
                <a:gd name="connsiteY2312" fmla="*/ 957065 h 1113404"/>
                <a:gd name="connsiteX2313" fmla="*/ 1076407 w 1814027"/>
                <a:gd name="connsiteY2313" fmla="*/ 958275 h 1113404"/>
                <a:gd name="connsiteX2314" fmla="*/ 1076225 w 1814027"/>
                <a:gd name="connsiteY2314" fmla="*/ 959303 h 1113404"/>
                <a:gd name="connsiteX2315" fmla="*/ 1074803 w 1814027"/>
                <a:gd name="connsiteY2315" fmla="*/ 959727 h 1113404"/>
                <a:gd name="connsiteX2316" fmla="*/ 1073654 w 1814027"/>
                <a:gd name="connsiteY2316" fmla="*/ 959575 h 1113404"/>
                <a:gd name="connsiteX2317" fmla="*/ 1071718 w 1814027"/>
                <a:gd name="connsiteY2317" fmla="*/ 958910 h 1113404"/>
                <a:gd name="connsiteX2318" fmla="*/ 1070689 w 1814027"/>
                <a:gd name="connsiteY2318" fmla="*/ 958759 h 1113404"/>
                <a:gd name="connsiteX2319" fmla="*/ 1069176 w 1814027"/>
                <a:gd name="connsiteY2319" fmla="*/ 959001 h 1113404"/>
                <a:gd name="connsiteX2320" fmla="*/ 1068360 w 1814027"/>
                <a:gd name="connsiteY2320" fmla="*/ 959666 h 1113404"/>
                <a:gd name="connsiteX2321" fmla="*/ 1067754 w 1814027"/>
                <a:gd name="connsiteY2321" fmla="*/ 960544 h 1113404"/>
                <a:gd name="connsiteX2322" fmla="*/ 1066848 w 1814027"/>
                <a:gd name="connsiteY2322" fmla="*/ 961542 h 1113404"/>
                <a:gd name="connsiteX2323" fmla="*/ 1065425 w 1814027"/>
                <a:gd name="connsiteY2323" fmla="*/ 962601 h 1113404"/>
                <a:gd name="connsiteX2324" fmla="*/ 1063853 w 1814027"/>
                <a:gd name="connsiteY2324" fmla="*/ 963417 h 1113404"/>
                <a:gd name="connsiteX2325" fmla="*/ 1061977 w 1814027"/>
                <a:gd name="connsiteY2325" fmla="*/ 963962 h 1113404"/>
                <a:gd name="connsiteX2326" fmla="*/ 1059647 w 1814027"/>
                <a:gd name="connsiteY2326" fmla="*/ 964143 h 1113404"/>
                <a:gd name="connsiteX2327" fmla="*/ 1057681 w 1814027"/>
                <a:gd name="connsiteY2327" fmla="*/ 964658 h 1113404"/>
                <a:gd name="connsiteX2328" fmla="*/ 1045762 w 1814027"/>
                <a:gd name="connsiteY2328" fmla="*/ 973007 h 1113404"/>
                <a:gd name="connsiteX2329" fmla="*/ 1042736 w 1814027"/>
                <a:gd name="connsiteY2329" fmla="*/ 975972 h 1113404"/>
                <a:gd name="connsiteX2330" fmla="*/ 1041375 w 1814027"/>
                <a:gd name="connsiteY2330" fmla="*/ 979481 h 1113404"/>
                <a:gd name="connsiteX2331" fmla="*/ 1041799 w 1814027"/>
                <a:gd name="connsiteY2331" fmla="*/ 981326 h 1113404"/>
                <a:gd name="connsiteX2332" fmla="*/ 1044522 w 1814027"/>
                <a:gd name="connsiteY2332" fmla="*/ 988466 h 1113404"/>
                <a:gd name="connsiteX2333" fmla="*/ 1046790 w 1814027"/>
                <a:gd name="connsiteY2333" fmla="*/ 988798 h 1113404"/>
                <a:gd name="connsiteX2334" fmla="*/ 1050269 w 1814027"/>
                <a:gd name="connsiteY2334" fmla="*/ 990493 h 1113404"/>
                <a:gd name="connsiteX2335" fmla="*/ 1052418 w 1814027"/>
                <a:gd name="connsiteY2335" fmla="*/ 991158 h 1113404"/>
                <a:gd name="connsiteX2336" fmla="*/ 1059617 w 1814027"/>
                <a:gd name="connsiteY2336" fmla="*/ 991158 h 1113404"/>
                <a:gd name="connsiteX2337" fmla="*/ 1061039 w 1814027"/>
                <a:gd name="connsiteY2337" fmla="*/ 990402 h 1113404"/>
                <a:gd name="connsiteX2338" fmla="*/ 1064609 w 1814027"/>
                <a:gd name="connsiteY2338" fmla="*/ 986832 h 1113404"/>
                <a:gd name="connsiteX2339" fmla="*/ 1066181 w 1814027"/>
                <a:gd name="connsiteY2339" fmla="*/ 985803 h 1113404"/>
                <a:gd name="connsiteX2340" fmla="*/ 1068360 w 1814027"/>
                <a:gd name="connsiteY2340" fmla="*/ 985501 h 1113404"/>
                <a:gd name="connsiteX2341" fmla="*/ 1083365 w 1814027"/>
                <a:gd name="connsiteY2341" fmla="*/ 986711 h 1113404"/>
                <a:gd name="connsiteX2342" fmla="*/ 1087539 w 1814027"/>
                <a:gd name="connsiteY2342" fmla="*/ 988254 h 1113404"/>
                <a:gd name="connsiteX2343" fmla="*/ 1091169 w 1814027"/>
                <a:gd name="connsiteY2343" fmla="*/ 990462 h 1113404"/>
                <a:gd name="connsiteX2344" fmla="*/ 1097886 w 1814027"/>
                <a:gd name="connsiteY2344" fmla="*/ 995756 h 1113404"/>
                <a:gd name="connsiteX2345" fmla="*/ 1098732 w 1814027"/>
                <a:gd name="connsiteY2345" fmla="*/ 996240 h 1113404"/>
                <a:gd name="connsiteX2346" fmla="*/ 1100517 w 1814027"/>
                <a:gd name="connsiteY2346" fmla="*/ 996906 h 1113404"/>
                <a:gd name="connsiteX2347" fmla="*/ 1101455 w 1814027"/>
                <a:gd name="connsiteY2347" fmla="*/ 997541 h 1113404"/>
                <a:gd name="connsiteX2348" fmla="*/ 1102604 w 1814027"/>
                <a:gd name="connsiteY2348" fmla="*/ 999507 h 1113404"/>
                <a:gd name="connsiteX2349" fmla="*/ 1103451 w 1814027"/>
                <a:gd name="connsiteY2349" fmla="*/ 1000627 h 1113404"/>
                <a:gd name="connsiteX2350" fmla="*/ 1105962 w 1814027"/>
                <a:gd name="connsiteY2350" fmla="*/ 1001988 h 1113404"/>
                <a:gd name="connsiteX2351" fmla="*/ 1109502 w 1814027"/>
                <a:gd name="connsiteY2351" fmla="*/ 1006042 h 1113404"/>
                <a:gd name="connsiteX2352" fmla="*/ 1111044 w 1814027"/>
                <a:gd name="connsiteY2352" fmla="*/ 1007373 h 1113404"/>
                <a:gd name="connsiteX2353" fmla="*/ 1115582 w 1814027"/>
                <a:gd name="connsiteY2353" fmla="*/ 1008583 h 1113404"/>
                <a:gd name="connsiteX2354" fmla="*/ 1117760 w 1814027"/>
                <a:gd name="connsiteY2354" fmla="*/ 1009611 h 1113404"/>
                <a:gd name="connsiteX2355" fmla="*/ 1118698 w 1814027"/>
                <a:gd name="connsiteY2355" fmla="*/ 1011457 h 1113404"/>
                <a:gd name="connsiteX2356" fmla="*/ 1119727 w 1814027"/>
                <a:gd name="connsiteY2356" fmla="*/ 1012727 h 1113404"/>
                <a:gd name="connsiteX2357" fmla="*/ 1122026 w 1814027"/>
                <a:gd name="connsiteY2357" fmla="*/ 1012122 h 1113404"/>
                <a:gd name="connsiteX2358" fmla="*/ 1125535 w 1814027"/>
                <a:gd name="connsiteY2358" fmla="*/ 1010156 h 1113404"/>
                <a:gd name="connsiteX2359" fmla="*/ 1129316 w 1814027"/>
                <a:gd name="connsiteY2359" fmla="*/ 1008825 h 1113404"/>
                <a:gd name="connsiteX2360" fmla="*/ 1133461 w 1814027"/>
                <a:gd name="connsiteY2360" fmla="*/ 1008310 h 1113404"/>
                <a:gd name="connsiteX2361" fmla="*/ 1135155 w 1814027"/>
                <a:gd name="connsiteY2361" fmla="*/ 1008976 h 1113404"/>
                <a:gd name="connsiteX2362" fmla="*/ 1140752 w 1814027"/>
                <a:gd name="connsiteY2362" fmla="*/ 1013635 h 1113404"/>
                <a:gd name="connsiteX2363" fmla="*/ 1147619 w 1814027"/>
                <a:gd name="connsiteY2363" fmla="*/ 1017749 h 1113404"/>
                <a:gd name="connsiteX2364" fmla="*/ 1150129 w 1814027"/>
                <a:gd name="connsiteY2364" fmla="*/ 1020804 h 1113404"/>
                <a:gd name="connsiteX2365" fmla="*/ 1151733 w 1814027"/>
                <a:gd name="connsiteY2365" fmla="*/ 1026129 h 1113404"/>
                <a:gd name="connsiteX2366" fmla="*/ 1152096 w 1814027"/>
                <a:gd name="connsiteY2366" fmla="*/ 1029486 h 1113404"/>
                <a:gd name="connsiteX2367" fmla="*/ 1152428 w 1814027"/>
                <a:gd name="connsiteY2367" fmla="*/ 1030666 h 1113404"/>
                <a:gd name="connsiteX2368" fmla="*/ 1154213 w 1814027"/>
                <a:gd name="connsiteY2368" fmla="*/ 1033934 h 1113404"/>
                <a:gd name="connsiteX2369" fmla="*/ 1154486 w 1814027"/>
                <a:gd name="connsiteY2369" fmla="*/ 1034690 h 1113404"/>
                <a:gd name="connsiteX2370" fmla="*/ 1154788 w 1814027"/>
                <a:gd name="connsiteY2370" fmla="*/ 1036898 h 1113404"/>
                <a:gd name="connsiteX2371" fmla="*/ 1155908 w 1814027"/>
                <a:gd name="connsiteY2371" fmla="*/ 1042011 h 1113404"/>
                <a:gd name="connsiteX2372" fmla="*/ 1155908 w 1814027"/>
                <a:gd name="connsiteY2372" fmla="*/ 1044975 h 1113404"/>
                <a:gd name="connsiteX2373" fmla="*/ 1155544 w 1814027"/>
                <a:gd name="connsiteY2373" fmla="*/ 1047516 h 1113404"/>
                <a:gd name="connsiteX2374" fmla="*/ 1154848 w 1814027"/>
                <a:gd name="connsiteY2374" fmla="*/ 1049785 h 1113404"/>
                <a:gd name="connsiteX2375" fmla="*/ 1153760 w 1814027"/>
                <a:gd name="connsiteY2375" fmla="*/ 1051419 h 1113404"/>
                <a:gd name="connsiteX2376" fmla="*/ 1149857 w 1814027"/>
                <a:gd name="connsiteY2376" fmla="*/ 1052659 h 1113404"/>
                <a:gd name="connsiteX2377" fmla="*/ 1148496 w 1814027"/>
                <a:gd name="connsiteY2377" fmla="*/ 1054323 h 1113404"/>
                <a:gd name="connsiteX2378" fmla="*/ 1147619 w 1814027"/>
                <a:gd name="connsiteY2378" fmla="*/ 1056653 h 1113404"/>
                <a:gd name="connsiteX2379" fmla="*/ 1146923 w 1814027"/>
                <a:gd name="connsiteY2379" fmla="*/ 1059284 h 1113404"/>
                <a:gd name="connsiteX2380" fmla="*/ 1146650 w 1814027"/>
                <a:gd name="connsiteY2380" fmla="*/ 1060010 h 1113404"/>
                <a:gd name="connsiteX2381" fmla="*/ 1146288 w 1814027"/>
                <a:gd name="connsiteY2381" fmla="*/ 1060464 h 1113404"/>
                <a:gd name="connsiteX2382" fmla="*/ 1145501 w 1814027"/>
                <a:gd name="connsiteY2382" fmla="*/ 1061069 h 1113404"/>
                <a:gd name="connsiteX2383" fmla="*/ 1146408 w 1814027"/>
                <a:gd name="connsiteY2383" fmla="*/ 1062703 h 1113404"/>
                <a:gd name="connsiteX2384" fmla="*/ 1146923 w 1814027"/>
                <a:gd name="connsiteY2384" fmla="*/ 1064669 h 1113404"/>
                <a:gd name="connsiteX2385" fmla="*/ 1147588 w 1814027"/>
                <a:gd name="connsiteY2385" fmla="*/ 1068239 h 1113404"/>
                <a:gd name="connsiteX2386" fmla="*/ 1148586 w 1814027"/>
                <a:gd name="connsiteY2386" fmla="*/ 1070871 h 1113404"/>
                <a:gd name="connsiteX2387" fmla="*/ 1148738 w 1814027"/>
                <a:gd name="connsiteY2387" fmla="*/ 1072292 h 1113404"/>
                <a:gd name="connsiteX2388" fmla="*/ 1148314 w 1814027"/>
                <a:gd name="connsiteY2388" fmla="*/ 1074380 h 1113404"/>
                <a:gd name="connsiteX2389" fmla="*/ 1147467 w 1814027"/>
                <a:gd name="connsiteY2389" fmla="*/ 1075741 h 1113404"/>
                <a:gd name="connsiteX2390" fmla="*/ 1146258 w 1814027"/>
                <a:gd name="connsiteY2390" fmla="*/ 1077132 h 1113404"/>
                <a:gd name="connsiteX2391" fmla="*/ 1145380 w 1814027"/>
                <a:gd name="connsiteY2391" fmla="*/ 1078706 h 1113404"/>
                <a:gd name="connsiteX2392" fmla="*/ 1145532 w 1814027"/>
                <a:gd name="connsiteY2392" fmla="*/ 1080642 h 1113404"/>
                <a:gd name="connsiteX2393" fmla="*/ 1146438 w 1814027"/>
                <a:gd name="connsiteY2393" fmla="*/ 1081337 h 1113404"/>
                <a:gd name="connsiteX2394" fmla="*/ 1149706 w 1814027"/>
                <a:gd name="connsiteY2394" fmla="*/ 1081912 h 1113404"/>
                <a:gd name="connsiteX2395" fmla="*/ 1151097 w 1814027"/>
                <a:gd name="connsiteY2395" fmla="*/ 1082397 h 1113404"/>
                <a:gd name="connsiteX2396" fmla="*/ 1149040 w 1814027"/>
                <a:gd name="connsiteY2396" fmla="*/ 1083153 h 1113404"/>
                <a:gd name="connsiteX2397" fmla="*/ 1143898 w 1814027"/>
                <a:gd name="connsiteY2397" fmla="*/ 1083243 h 1113404"/>
                <a:gd name="connsiteX2398" fmla="*/ 1142446 w 1814027"/>
                <a:gd name="connsiteY2398" fmla="*/ 1083697 h 1113404"/>
                <a:gd name="connsiteX2399" fmla="*/ 1141629 w 1814027"/>
                <a:gd name="connsiteY2399" fmla="*/ 1084181 h 1113404"/>
                <a:gd name="connsiteX2400" fmla="*/ 1140540 w 1814027"/>
                <a:gd name="connsiteY2400" fmla="*/ 1084302 h 1113404"/>
                <a:gd name="connsiteX2401" fmla="*/ 1138362 w 1814027"/>
                <a:gd name="connsiteY2401" fmla="*/ 1084151 h 1113404"/>
                <a:gd name="connsiteX2402" fmla="*/ 1137454 w 1814027"/>
                <a:gd name="connsiteY2402" fmla="*/ 1084363 h 1113404"/>
                <a:gd name="connsiteX2403" fmla="*/ 1135246 w 1814027"/>
                <a:gd name="connsiteY2403" fmla="*/ 1085905 h 1113404"/>
                <a:gd name="connsiteX2404" fmla="*/ 1134398 w 1814027"/>
                <a:gd name="connsiteY2404" fmla="*/ 1086299 h 1113404"/>
                <a:gd name="connsiteX2405" fmla="*/ 1131343 w 1814027"/>
                <a:gd name="connsiteY2405" fmla="*/ 1086934 h 1113404"/>
                <a:gd name="connsiteX2406" fmla="*/ 1130950 w 1814027"/>
                <a:gd name="connsiteY2406" fmla="*/ 1086541 h 1113404"/>
                <a:gd name="connsiteX2407" fmla="*/ 1130950 w 1814027"/>
                <a:gd name="connsiteY2407" fmla="*/ 1086601 h 1113404"/>
                <a:gd name="connsiteX2408" fmla="*/ 1131071 w 1814027"/>
                <a:gd name="connsiteY2408" fmla="*/ 1088083 h 1113404"/>
                <a:gd name="connsiteX2409" fmla="*/ 1131797 w 1814027"/>
                <a:gd name="connsiteY2409" fmla="*/ 1089626 h 1113404"/>
                <a:gd name="connsiteX2410" fmla="*/ 1142627 w 1814027"/>
                <a:gd name="connsiteY2410" fmla="*/ 1096645 h 1113404"/>
                <a:gd name="connsiteX2411" fmla="*/ 1143868 w 1814027"/>
                <a:gd name="connsiteY2411" fmla="*/ 1097885 h 1113404"/>
                <a:gd name="connsiteX2412" fmla="*/ 1145682 w 1814027"/>
                <a:gd name="connsiteY2412" fmla="*/ 1099216 h 1113404"/>
                <a:gd name="connsiteX2413" fmla="*/ 1147860 w 1814027"/>
                <a:gd name="connsiteY2413" fmla="*/ 1099095 h 1113404"/>
                <a:gd name="connsiteX2414" fmla="*/ 1150009 w 1814027"/>
                <a:gd name="connsiteY2414" fmla="*/ 1098490 h 1113404"/>
                <a:gd name="connsiteX2415" fmla="*/ 1151823 w 1814027"/>
                <a:gd name="connsiteY2415" fmla="*/ 1098399 h 1113404"/>
                <a:gd name="connsiteX2416" fmla="*/ 1152973 w 1814027"/>
                <a:gd name="connsiteY2416" fmla="*/ 1099307 h 1113404"/>
                <a:gd name="connsiteX2417" fmla="*/ 1155998 w 1814027"/>
                <a:gd name="connsiteY2417" fmla="*/ 1102907 h 1113404"/>
                <a:gd name="connsiteX2418" fmla="*/ 1156603 w 1814027"/>
                <a:gd name="connsiteY2418" fmla="*/ 1104087 h 1113404"/>
                <a:gd name="connsiteX2419" fmla="*/ 1157148 w 1814027"/>
                <a:gd name="connsiteY2419" fmla="*/ 1106507 h 1113404"/>
                <a:gd name="connsiteX2420" fmla="*/ 1158509 w 1814027"/>
                <a:gd name="connsiteY2420" fmla="*/ 1107687 h 1113404"/>
                <a:gd name="connsiteX2421" fmla="*/ 1166102 w 1814027"/>
                <a:gd name="connsiteY2421" fmla="*/ 1110984 h 1113404"/>
                <a:gd name="connsiteX2422" fmla="*/ 1168129 w 1814027"/>
                <a:gd name="connsiteY2422" fmla="*/ 1111468 h 1113404"/>
                <a:gd name="connsiteX2423" fmla="*/ 1174815 w 1814027"/>
                <a:gd name="connsiteY2423" fmla="*/ 1111619 h 1113404"/>
                <a:gd name="connsiteX2424" fmla="*/ 1175934 w 1814027"/>
                <a:gd name="connsiteY2424" fmla="*/ 1111468 h 1113404"/>
                <a:gd name="connsiteX2425" fmla="*/ 1178052 w 1814027"/>
                <a:gd name="connsiteY2425" fmla="*/ 1110802 h 1113404"/>
                <a:gd name="connsiteX2426" fmla="*/ 1179322 w 1814027"/>
                <a:gd name="connsiteY2426" fmla="*/ 1110742 h 1113404"/>
                <a:gd name="connsiteX2427" fmla="*/ 1185615 w 1814027"/>
                <a:gd name="connsiteY2427" fmla="*/ 1113041 h 1113404"/>
                <a:gd name="connsiteX2428" fmla="*/ 1187943 w 1814027"/>
                <a:gd name="connsiteY2428" fmla="*/ 1113404 h 1113404"/>
                <a:gd name="connsiteX2429" fmla="*/ 1189971 w 1814027"/>
                <a:gd name="connsiteY2429" fmla="*/ 1113162 h 1113404"/>
                <a:gd name="connsiteX2430" fmla="*/ 1200831 w 1814027"/>
                <a:gd name="connsiteY2430" fmla="*/ 1108413 h 1113404"/>
                <a:gd name="connsiteX2431" fmla="*/ 1203130 w 1814027"/>
                <a:gd name="connsiteY2431" fmla="*/ 1108110 h 1113404"/>
                <a:gd name="connsiteX2432" fmla="*/ 1204522 w 1814027"/>
                <a:gd name="connsiteY2432" fmla="*/ 1107717 h 1113404"/>
                <a:gd name="connsiteX2433" fmla="*/ 1207940 w 1814027"/>
                <a:gd name="connsiteY2433" fmla="*/ 1105539 h 1113404"/>
                <a:gd name="connsiteX2434" fmla="*/ 1209060 w 1814027"/>
                <a:gd name="connsiteY2434" fmla="*/ 1104510 h 1113404"/>
                <a:gd name="connsiteX2435" fmla="*/ 1210390 w 1814027"/>
                <a:gd name="connsiteY2435" fmla="*/ 1102362 h 1113404"/>
                <a:gd name="connsiteX2436" fmla="*/ 1211298 w 1814027"/>
                <a:gd name="connsiteY2436" fmla="*/ 1100396 h 1113404"/>
                <a:gd name="connsiteX2437" fmla="*/ 1212568 w 1814027"/>
                <a:gd name="connsiteY2437" fmla="*/ 1098944 h 1113404"/>
                <a:gd name="connsiteX2438" fmla="*/ 1217318 w 1814027"/>
                <a:gd name="connsiteY2438" fmla="*/ 1098036 h 1113404"/>
                <a:gd name="connsiteX2439" fmla="*/ 1218649 w 1814027"/>
                <a:gd name="connsiteY2439" fmla="*/ 1097038 h 1113404"/>
                <a:gd name="connsiteX2440" fmla="*/ 1220706 w 1814027"/>
                <a:gd name="connsiteY2440" fmla="*/ 1093862 h 1113404"/>
                <a:gd name="connsiteX2441" fmla="*/ 1220978 w 1814027"/>
                <a:gd name="connsiteY2441" fmla="*/ 1093348 h 1113404"/>
                <a:gd name="connsiteX2442" fmla="*/ 1220978 w 1814027"/>
                <a:gd name="connsiteY2442" fmla="*/ 1092561 h 1113404"/>
                <a:gd name="connsiteX2443" fmla="*/ 1221462 w 1814027"/>
                <a:gd name="connsiteY2443" fmla="*/ 1092107 h 1113404"/>
                <a:gd name="connsiteX2444" fmla="*/ 1221886 w 1814027"/>
                <a:gd name="connsiteY2444" fmla="*/ 1091986 h 1113404"/>
                <a:gd name="connsiteX2445" fmla="*/ 1222975 w 1814027"/>
                <a:gd name="connsiteY2445" fmla="*/ 1092107 h 1113404"/>
                <a:gd name="connsiteX2446" fmla="*/ 1224396 w 1814027"/>
                <a:gd name="connsiteY2446" fmla="*/ 1092107 h 1113404"/>
                <a:gd name="connsiteX2447" fmla="*/ 1226665 w 1814027"/>
                <a:gd name="connsiteY2447" fmla="*/ 1092349 h 1113404"/>
                <a:gd name="connsiteX2448" fmla="*/ 1227512 w 1814027"/>
                <a:gd name="connsiteY2448" fmla="*/ 1092107 h 1113404"/>
                <a:gd name="connsiteX2449" fmla="*/ 1228511 w 1814027"/>
                <a:gd name="connsiteY2449" fmla="*/ 1090413 h 1113404"/>
                <a:gd name="connsiteX2450" fmla="*/ 1232444 w 1814027"/>
                <a:gd name="connsiteY2450" fmla="*/ 1080974 h 1113404"/>
                <a:gd name="connsiteX2451" fmla="*/ 1235862 w 1814027"/>
                <a:gd name="connsiteY2451" fmla="*/ 1075469 h 1113404"/>
                <a:gd name="connsiteX2452" fmla="*/ 1236860 w 1814027"/>
                <a:gd name="connsiteY2452" fmla="*/ 1074319 h 1113404"/>
                <a:gd name="connsiteX2453" fmla="*/ 1237405 w 1814027"/>
                <a:gd name="connsiteY2453" fmla="*/ 1073412 h 1113404"/>
                <a:gd name="connsiteX2454" fmla="*/ 1241398 w 1814027"/>
                <a:gd name="connsiteY2454" fmla="*/ 1068208 h 1113404"/>
                <a:gd name="connsiteX2455" fmla="*/ 1241852 w 1814027"/>
                <a:gd name="connsiteY2455" fmla="*/ 1068148 h 1113404"/>
                <a:gd name="connsiteX2456" fmla="*/ 1241973 w 1814027"/>
                <a:gd name="connsiteY2456" fmla="*/ 1068330 h 1113404"/>
                <a:gd name="connsiteX2457" fmla="*/ 1241973 w 1814027"/>
                <a:gd name="connsiteY2457" fmla="*/ 1068662 h 1113404"/>
                <a:gd name="connsiteX2458" fmla="*/ 1242064 w 1814027"/>
                <a:gd name="connsiteY2458" fmla="*/ 1069025 h 1113404"/>
                <a:gd name="connsiteX2459" fmla="*/ 1244544 w 1814027"/>
                <a:gd name="connsiteY2459" fmla="*/ 1066544 h 1113404"/>
                <a:gd name="connsiteX2460" fmla="*/ 1247872 w 1814027"/>
                <a:gd name="connsiteY2460" fmla="*/ 1065214 h 1113404"/>
                <a:gd name="connsiteX2461" fmla="*/ 1255919 w 1814027"/>
                <a:gd name="connsiteY2461" fmla="*/ 1063610 h 1113404"/>
                <a:gd name="connsiteX2462" fmla="*/ 1259670 w 1814027"/>
                <a:gd name="connsiteY2462" fmla="*/ 1062037 h 1113404"/>
                <a:gd name="connsiteX2463" fmla="*/ 1266749 w 1814027"/>
                <a:gd name="connsiteY2463" fmla="*/ 1057651 h 1113404"/>
                <a:gd name="connsiteX2464" fmla="*/ 1270379 w 1814027"/>
                <a:gd name="connsiteY2464" fmla="*/ 1056410 h 1113404"/>
                <a:gd name="connsiteX2465" fmla="*/ 1277367 w 1814027"/>
                <a:gd name="connsiteY2465" fmla="*/ 1057560 h 1113404"/>
                <a:gd name="connsiteX2466" fmla="*/ 1279000 w 1814027"/>
                <a:gd name="connsiteY2466" fmla="*/ 1056925 h 1113404"/>
                <a:gd name="connsiteX2467" fmla="*/ 1280452 w 1814027"/>
                <a:gd name="connsiteY2467" fmla="*/ 1056017 h 1113404"/>
                <a:gd name="connsiteX2468" fmla="*/ 1283750 w 1814027"/>
                <a:gd name="connsiteY2468" fmla="*/ 1056743 h 1113404"/>
                <a:gd name="connsiteX2469" fmla="*/ 1285565 w 1814027"/>
                <a:gd name="connsiteY2469" fmla="*/ 1056441 h 1113404"/>
                <a:gd name="connsiteX2470" fmla="*/ 1286382 w 1814027"/>
                <a:gd name="connsiteY2470" fmla="*/ 1055805 h 1113404"/>
                <a:gd name="connsiteX2471" fmla="*/ 1287017 w 1814027"/>
                <a:gd name="connsiteY2471" fmla="*/ 1055079 h 1113404"/>
                <a:gd name="connsiteX2472" fmla="*/ 1287773 w 1814027"/>
                <a:gd name="connsiteY2472" fmla="*/ 1054384 h 1113404"/>
                <a:gd name="connsiteX2473" fmla="*/ 1288953 w 1814027"/>
                <a:gd name="connsiteY2473" fmla="*/ 1053839 h 1113404"/>
                <a:gd name="connsiteX2474" fmla="*/ 1290012 w 1814027"/>
                <a:gd name="connsiteY2474" fmla="*/ 1053688 h 1113404"/>
                <a:gd name="connsiteX2475" fmla="*/ 1293400 w 1814027"/>
                <a:gd name="connsiteY2475" fmla="*/ 1053839 h 1113404"/>
                <a:gd name="connsiteX2476" fmla="*/ 1295366 w 1814027"/>
                <a:gd name="connsiteY2476" fmla="*/ 1054504 h 1113404"/>
                <a:gd name="connsiteX2477" fmla="*/ 1296577 w 1814027"/>
                <a:gd name="connsiteY2477" fmla="*/ 1056047 h 1113404"/>
                <a:gd name="connsiteX2478" fmla="*/ 1297484 w 1814027"/>
                <a:gd name="connsiteY2478" fmla="*/ 1057862 h 1113404"/>
                <a:gd name="connsiteX2479" fmla="*/ 1298543 w 1814027"/>
                <a:gd name="connsiteY2479" fmla="*/ 1059254 h 1113404"/>
                <a:gd name="connsiteX2480" fmla="*/ 1302899 w 1814027"/>
                <a:gd name="connsiteY2480" fmla="*/ 1059920 h 1113404"/>
                <a:gd name="connsiteX2481" fmla="*/ 1305682 w 1814027"/>
                <a:gd name="connsiteY2481" fmla="*/ 1055866 h 1113404"/>
                <a:gd name="connsiteX2482" fmla="*/ 1307830 w 1814027"/>
                <a:gd name="connsiteY2482" fmla="*/ 1050179 h 1113404"/>
                <a:gd name="connsiteX2483" fmla="*/ 1310311 w 1814027"/>
                <a:gd name="connsiteY2483" fmla="*/ 1045943 h 1113404"/>
                <a:gd name="connsiteX2484" fmla="*/ 1312095 w 1814027"/>
                <a:gd name="connsiteY2484" fmla="*/ 1045157 h 1113404"/>
                <a:gd name="connsiteX2485" fmla="*/ 1316452 w 1814027"/>
                <a:gd name="connsiteY2485" fmla="*/ 1044219 h 1113404"/>
                <a:gd name="connsiteX2486" fmla="*/ 1318267 w 1814027"/>
                <a:gd name="connsiteY2486" fmla="*/ 1042737 h 1113404"/>
                <a:gd name="connsiteX2487" fmla="*/ 1320566 w 1814027"/>
                <a:gd name="connsiteY2487" fmla="*/ 1038441 h 1113404"/>
                <a:gd name="connsiteX2488" fmla="*/ 1322290 w 1814027"/>
                <a:gd name="connsiteY2488" fmla="*/ 1037352 h 1113404"/>
                <a:gd name="connsiteX2489" fmla="*/ 1324801 w 1814027"/>
                <a:gd name="connsiteY2489" fmla="*/ 1038743 h 1113404"/>
                <a:gd name="connsiteX2490" fmla="*/ 1325497 w 1814027"/>
                <a:gd name="connsiteY2490" fmla="*/ 1038139 h 1113404"/>
                <a:gd name="connsiteX2491" fmla="*/ 1326556 w 1814027"/>
                <a:gd name="connsiteY2491" fmla="*/ 1037473 h 1113404"/>
                <a:gd name="connsiteX2492" fmla="*/ 1326949 w 1814027"/>
                <a:gd name="connsiteY2492" fmla="*/ 1036959 h 1113404"/>
                <a:gd name="connsiteX2493" fmla="*/ 1331789 w 1814027"/>
                <a:gd name="connsiteY2493" fmla="*/ 1040437 h 1113404"/>
                <a:gd name="connsiteX2494" fmla="*/ 1331124 w 1814027"/>
                <a:gd name="connsiteY2494" fmla="*/ 1036505 h 1113404"/>
                <a:gd name="connsiteX2495" fmla="*/ 1331275 w 1814027"/>
                <a:gd name="connsiteY2495" fmla="*/ 1034811 h 1113404"/>
                <a:gd name="connsiteX2496" fmla="*/ 1332485 w 1814027"/>
                <a:gd name="connsiteY2496" fmla="*/ 1033328 h 1113404"/>
                <a:gd name="connsiteX2497" fmla="*/ 1334028 w 1814027"/>
                <a:gd name="connsiteY2497" fmla="*/ 1032814 h 1113404"/>
                <a:gd name="connsiteX2498" fmla="*/ 1337325 w 1814027"/>
                <a:gd name="connsiteY2498" fmla="*/ 1032996 h 1113404"/>
                <a:gd name="connsiteX2499" fmla="*/ 1338656 w 1814027"/>
                <a:gd name="connsiteY2499" fmla="*/ 1032421 h 1113404"/>
                <a:gd name="connsiteX2500" fmla="*/ 1338656 w 1814027"/>
                <a:gd name="connsiteY2500" fmla="*/ 1031634 h 1113404"/>
                <a:gd name="connsiteX2501" fmla="*/ 1335752 w 1814027"/>
                <a:gd name="connsiteY2501" fmla="*/ 1030455 h 1113404"/>
                <a:gd name="connsiteX2502" fmla="*/ 1335147 w 1814027"/>
                <a:gd name="connsiteY2502" fmla="*/ 1029849 h 1113404"/>
                <a:gd name="connsiteX2503" fmla="*/ 1334814 w 1814027"/>
                <a:gd name="connsiteY2503" fmla="*/ 1028488 h 1113404"/>
                <a:gd name="connsiteX2504" fmla="*/ 1335117 w 1814027"/>
                <a:gd name="connsiteY2504" fmla="*/ 1027460 h 1113404"/>
                <a:gd name="connsiteX2505" fmla="*/ 1335631 w 1814027"/>
                <a:gd name="connsiteY2505" fmla="*/ 1026401 h 1113404"/>
                <a:gd name="connsiteX2506" fmla="*/ 1335904 w 1814027"/>
                <a:gd name="connsiteY2506" fmla="*/ 1024888 h 1113404"/>
                <a:gd name="connsiteX2507" fmla="*/ 1336781 w 1814027"/>
                <a:gd name="connsiteY2507" fmla="*/ 1023799 h 1113404"/>
                <a:gd name="connsiteX2508" fmla="*/ 1342075 w 1814027"/>
                <a:gd name="connsiteY2508" fmla="*/ 1019867 h 1113404"/>
                <a:gd name="connsiteX2509" fmla="*/ 1345766 w 1814027"/>
                <a:gd name="connsiteY2509" fmla="*/ 1018233 h 1113404"/>
                <a:gd name="connsiteX2510" fmla="*/ 1349910 w 1814027"/>
                <a:gd name="connsiteY2510" fmla="*/ 1017416 h 1113404"/>
                <a:gd name="connsiteX2511" fmla="*/ 1354266 w 1814027"/>
                <a:gd name="connsiteY2511" fmla="*/ 1017416 h 1113404"/>
                <a:gd name="connsiteX2512" fmla="*/ 1358653 w 1814027"/>
                <a:gd name="connsiteY2512" fmla="*/ 1018052 h 1113404"/>
                <a:gd name="connsiteX2513" fmla="*/ 1365943 w 1814027"/>
                <a:gd name="connsiteY2513" fmla="*/ 1020683 h 1113404"/>
                <a:gd name="connsiteX2514" fmla="*/ 1372477 w 1814027"/>
                <a:gd name="connsiteY2514" fmla="*/ 1024495 h 1113404"/>
                <a:gd name="connsiteX2515" fmla="*/ 1373688 w 1814027"/>
                <a:gd name="connsiteY2515" fmla="*/ 1025554 h 1113404"/>
                <a:gd name="connsiteX2516" fmla="*/ 1376713 w 1814027"/>
                <a:gd name="connsiteY2516" fmla="*/ 1028942 h 1113404"/>
                <a:gd name="connsiteX2517" fmla="*/ 1377287 w 1814027"/>
                <a:gd name="connsiteY2517" fmla="*/ 1030243 h 1113404"/>
                <a:gd name="connsiteX2518" fmla="*/ 1378165 w 1814027"/>
                <a:gd name="connsiteY2518" fmla="*/ 1033147 h 1113404"/>
                <a:gd name="connsiteX2519" fmla="*/ 1380191 w 1814027"/>
                <a:gd name="connsiteY2519" fmla="*/ 1034024 h 1113404"/>
                <a:gd name="connsiteX2520" fmla="*/ 1387119 w 1814027"/>
                <a:gd name="connsiteY2520" fmla="*/ 1032875 h 1113404"/>
                <a:gd name="connsiteX2521" fmla="*/ 1394833 w 1814027"/>
                <a:gd name="connsiteY2521" fmla="*/ 1033328 h 1113404"/>
                <a:gd name="connsiteX2522" fmla="*/ 1396346 w 1814027"/>
                <a:gd name="connsiteY2522" fmla="*/ 1031786 h 1113404"/>
                <a:gd name="connsiteX2523" fmla="*/ 1398070 w 1814027"/>
                <a:gd name="connsiteY2523" fmla="*/ 1028760 h 1113404"/>
                <a:gd name="connsiteX2524" fmla="*/ 1400339 w 1814027"/>
                <a:gd name="connsiteY2524" fmla="*/ 1026703 h 1113404"/>
                <a:gd name="connsiteX2525" fmla="*/ 1403485 w 1814027"/>
                <a:gd name="connsiteY2525" fmla="*/ 1027974 h 1113404"/>
                <a:gd name="connsiteX2526" fmla="*/ 1403485 w 1814027"/>
                <a:gd name="connsiteY2526" fmla="*/ 1027006 h 1113404"/>
                <a:gd name="connsiteX2527" fmla="*/ 1409203 w 1814027"/>
                <a:gd name="connsiteY2527" fmla="*/ 1030273 h 1113404"/>
                <a:gd name="connsiteX2528" fmla="*/ 1418127 w 1814027"/>
                <a:gd name="connsiteY2528" fmla="*/ 1032088 h 1113404"/>
                <a:gd name="connsiteX2529" fmla="*/ 1420123 w 1814027"/>
                <a:gd name="connsiteY2529" fmla="*/ 1031634 h 1113404"/>
                <a:gd name="connsiteX2530" fmla="*/ 1420517 w 1814027"/>
                <a:gd name="connsiteY2530" fmla="*/ 1030969 h 1113404"/>
                <a:gd name="connsiteX2531" fmla="*/ 1421091 w 1814027"/>
                <a:gd name="connsiteY2531" fmla="*/ 1028730 h 1113404"/>
                <a:gd name="connsiteX2532" fmla="*/ 1421485 w 1814027"/>
                <a:gd name="connsiteY2532" fmla="*/ 1027974 h 1113404"/>
                <a:gd name="connsiteX2533" fmla="*/ 1422483 w 1814027"/>
                <a:gd name="connsiteY2533" fmla="*/ 1027369 h 1113404"/>
                <a:gd name="connsiteX2534" fmla="*/ 1423572 w 1814027"/>
                <a:gd name="connsiteY2534" fmla="*/ 1027097 h 1113404"/>
                <a:gd name="connsiteX2535" fmla="*/ 1432557 w 1814027"/>
                <a:gd name="connsiteY2535" fmla="*/ 1026703 h 1113404"/>
                <a:gd name="connsiteX2536" fmla="*/ 1439817 w 1814027"/>
                <a:gd name="connsiteY2536" fmla="*/ 1024253 h 1113404"/>
                <a:gd name="connsiteX2537" fmla="*/ 1441148 w 1814027"/>
                <a:gd name="connsiteY2537" fmla="*/ 1023073 h 1113404"/>
                <a:gd name="connsiteX2538" fmla="*/ 1441329 w 1814027"/>
                <a:gd name="connsiteY2538" fmla="*/ 1021107 h 1113404"/>
                <a:gd name="connsiteX2539" fmla="*/ 1439999 w 1814027"/>
                <a:gd name="connsiteY2539" fmla="*/ 1019141 h 1113404"/>
                <a:gd name="connsiteX2540" fmla="*/ 1437246 w 1814027"/>
                <a:gd name="connsiteY2540" fmla="*/ 1016297 h 1113404"/>
                <a:gd name="connsiteX2541" fmla="*/ 1436641 w 1814027"/>
                <a:gd name="connsiteY2541" fmla="*/ 1013544 h 1113404"/>
                <a:gd name="connsiteX2542" fmla="*/ 1436702 w 1814027"/>
                <a:gd name="connsiteY2542" fmla="*/ 1010731 h 1113404"/>
                <a:gd name="connsiteX2543" fmla="*/ 1437548 w 1814027"/>
                <a:gd name="connsiteY2543" fmla="*/ 1003016 h 1113404"/>
                <a:gd name="connsiteX2544" fmla="*/ 1438365 w 1814027"/>
                <a:gd name="connsiteY2544" fmla="*/ 1000173 h 1113404"/>
                <a:gd name="connsiteX2545" fmla="*/ 1439484 w 1814027"/>
                <a:gd name="connsiteY2545" fmla="*/ 997480 h 1113404"/>
                <a:gd name="connsiteX2546" fmla="*/ 1440815 w 1814027"/>
                <a:gd name="connsiteY2546" fmla="*/ 995756 h 1113404"/>
                <a:gd name="connsiteX2547" fmla="*/ 1441723 w 1814027"/>
                <a:gd name="connsiteY2547" fmla="*/ 995424 h 1113404"/>
                <a:gd name="connsiteX2548" fmla="*/ 1443992 w 1814027"/>
                <a:gd name="connsiteY2548" fmla="*/ 995302 h 1113404"/>
                <a:gd name="connsiteX2549" fmla="*/ 1444839 w 1814027"/>
                <a:gd name="connsiteY2549" fmla="*/ 994849 h 1113404"/>
                <a:gd name="connsiteX2550" fmla="*/ 1445504 w 1814027"/>
                <a:gd name="connsiteY2550" fmla="*/ 993729 h 1113404"/>
                <a:gd name="connsiteX2551" fmla="*/ 1445232 w 1814027"/>
                <a:gd name="connsiteY2551" fmla="*/ 993155 h 1113404"/>
                <a:gd name="connsiteX2552" fmla="*/ 1444597 w 1814027"/>
                <a:gd name="connsiteY2552" fmla="*/ 992610 h 1113404"/>
                <a:gd name="connsiteX2553" fmla="*/ 1444234 w 1814027"/>
                <a:gd name="connsiteY2553" fmla="*/ 991672 h 1113404"/>
                <a:gd name="connsiteX2554" fmla="*/ 1444718 w 1814027"/>
                <a:gd name="connsiteY2554" fmla="*/ 989071 h 1113404"/>
                <a:gd name="connsiteX2555" fmla="*/ 1446049 w 1814027"/>
                <a:gd name="connsiteY2555" fmla="*/ 987679 h 1113404"/>
                <a:gd name="connsiteX2556" fmla="*/ 1447985 w 1814027"/>
                <a:gd name="connsiteY2556" fmla="*/ 987286 h 1113404"/>
                <a:gd name="connsiteX2557" fmla="*/ 1450344 w 1814027"/>
                <a:gd name="connsiteY2557" fmla="*/ 987618 h 1113404"/>
                <a:gd name="connsiteX2558" fmla="*/ 1453340 w 1814027"/>
                <a:gd name="connsiteY2558" fmla="*/ 989101 h 1113404"/>
                <a:gd name="connsiteX2559" fmla="*/ 1454459 w 1814027"/>
                <a:gd name="connsiteY2559" fmla="*/ 989403 h 1113404"/>
                <a:gd name="connsiteX2560" fmla="*/ 1455669 w 1814027"/>
                <a:gd name="connsiteY2560" fmla="*/ 989343 h 1113404"/>
                <a:gd name="connsiteX2561" fmla="*/ 1458936 w 1814027"/>
                <a:gd name="connsiteY2561" fmla="*/ 988526 h 1113404"/>
                <a:gd name="connsiteX2562" fmla="*/ 1459692 w 1814027"/>
                <a:gd name="connsiteY2562" fmla="*/ 987134 h 1113404"/>
                <a:gd name="connsiteX2563" fmla="*/ 1458997 w 1814027"/>
                <a:gd name="connsiteY2563" fmla="*/ 984049 h 1113404"/>
                <a:gd name="connsiteX2564" fmla="*/ 1457211 w 1814027"/>
                <a:gd name="connsiteY2564" fmla="*/ 979572 h 1113404"/>
                <a:gd name="connsiteX2565" fmla="*/ 1455729 w 1814027"/>
                <a:gd name="connsiteY2565" fmla="*/ 977938 h 1113404"/>
                <a:gd name="connsiteX2566" fmla="*/ 1454186 w 1814027"/>
                <a:gd name="connsiteY2566" fmla="*/ 977152 h 1113404"/>
                <a:gd name="connsiteX2567" fmla="*/ 1452523 w 1814027"/>
                <a:gd name="connsiteY2567" fmla="*/ 977424 h 1113404"/>
                <a:gd name="connsiteX2568" fmla="*/ 1450708 w 1814027"/>
                <a:gd name="connsiteY2568" fmla="*/ 979118 h 1113404"/>
                <a:gd name="connsiteX2569" fmla="*/ 1449135 w 1814027"/>
                <a:gd name="connsiteY2569" fmla="*/ 979572 h 1113404"/>
                <a:gd name="connsiteX2570" fmla="*/ 1447410 w 1814027"/>
                <a:gd name="connsiteY2570" fmla="*/ 978150 h 1113404"/>
                <a:gd name="connsiteX2571" fmla="*/ 1444869 w 1814027"/>
                <a:gd name="connsiteY2571" fmla="*/ 975094 h 1113404"/>
                <a:gd name="connsiteX2572" fmla="*/ 1442872 w 1814027"/>
                <a:gd name="connsiteY2572" fmla="*/ 974731 h 1113404"/>
                <a:gd name="connsiteX2573" fmla="*/ 1436943 w 1814027"/>
                <a:gd name="connsiteY2573" fmla="*/ 975972 h 1113404"/>
                <a:gd name="connsiteX2574" fmla="*/ 1434916 w 1814027"/>
                <a:gd name="connsiteY2574" fmla="*/ 975518 h 1113404"/>
                <a:gd name="connsiteX2575" fmla="*/ 1431710 w 1814027"/>
                <a:gd name="connsiteY2575" fmla="*/ 973552 h 1113404"/>
                <a:gd name="connsiteX2576" fmla="*/ 1429804 w 1814027"/>
                <a:gd name="connsiteY2576" fmla="*/ 973189 h 1113404"/>
                <a:gd name="connsiteX2577" fmla="*/ 1428715 w 1814027"/>
                <a:gd name="connsiteY2577" fmla="*/ 973582 h 1113404"/>
                <a:gd name="connsiteX2578" fmla="*/ 1427837 w 1814027"/>
                <a:gd name="connsiteY2578" fmla="*/ 974338 h 1113404"/>
                <a:gd name="connsiteX2579" fmla="*/ 1426870 w 1814027"/>
                <a:gd name="connsiteY2579" fmla="*/ 975004 h 1113404"/>
                <a:gd name="connsiteX2580" fmla="*/ 1425599 w 1814027"/>
                <a:gd name="connsiteY2580" fmla="*/ 975064 h 1113404"/>
                <a:gd name="connsiteX2581" fmla="*/ 1426476 w 1814027"/>
                <a:gd name="connsiteY2581" fmla="*/ 972705 h 1113404"/>
                <a:gd name="connsiteX2582" fmla="*/ 1425720 w 1814027"/>
                <a:gd name="connsiteY2582" fmla="*/ 971071 h 1113404"/>
                <a:gd name="connsiteX2583" fmla="*/ 1424117 w 1814027"/>
                <a:gd name="connsiteY2583" fmla="*/ 970647 h 1113404"/>
                <a:gd name="connsiteX2584" fmla="*/ 1422483 w 1814027"/>
                <a:gd name="connsiteY2584" fmla="*/ 971888 h 1113404"/>
                <a:gd name="connsiteX2585" fmla="*/ 1420940 w 1814027"/>
                <a:gd name="connsiteY2585" fmla="*/ 972644 h 1113404"/>
                <a:gd name="connsiteX2586" fmla="*/ 1409354 w 1814027"/>
                <a:gd name="connsiteY2586" fmla="*/ 972553 h 1113404"/>
                <a:gd name="connsiteX2587" fmla="*/ 1407387 w 1814027"/>
                <a:gd name="connsiteY2587" fmla="*/ 973219 h 1113404"/>
                <a:gd name="connsiteX2588" fmla="*/ 1405209 w 1814027"/>
                <a:gd name="connsiteY2588" fmla="*/ 975215 h 1113404"/>
                <a:gd name="connsiteX2589" fmla="*/ 1402457 w 1814027"/>
                <a:gd name="connsiteY2589" fmla="*/ 976789 h 1113404"/>
                <a:gd name="connsiteX2590" fmla="*/ 1402093 w 1814027"/>
                <a:gd name="connsiteY2590" fmla="*/ 977363 h 1113404"/>
                <a:gd name="connsiteX2591" fmla="*/ 1400732 w 1814027"/>
                <a:gd name="connsiteY2591" fmla="*/ 981357 h 1113404"/>
                <a:gd name="connsiteX2592" fmla="*/ 1397768 w 1814027"/>
                <a:gd name="connsiteY2592" fmla="*/ 984926 h 1113404"/>
                <a:gd name="connsiteX2593" fmla="*/ 1394107 w 1814027"/>
                <a:gd name="connsiteY2593" fmla="*/ 985652 h 1113404"/>
                <a:gd name="connsiteX2594" fmla="*/ 1390144 w 1814027"/>
                <a:gd name="connsiteY2594" fmla="*/ 984412 h 1113404"/>
                <a:gd name="connsiteX2595" fmla="*/ 1382551 w 1814027"/>
                <a:gd name="connsiteY2595" fmla="*/ 980207 h 1113404"/>
                <a:gd name="connsiteX2596" fmla="*/ 1380827 w 1814027"/>
                <a:gd name="connsiteY2596" fmla="*/ 978906 h 1113404"/>
                <a:gd name="connsiteX2597" fmla="*/ 1380131 w 1814027"/>
                <a:gd name="connsiteY2597" fmla="*/ 977303 h 1113404"/>
                <a:gd name="connsiteX2598" fmla="*/ 1380676 w 1814027"/>
                <a:gd name="connsiteY2598" fmla="*/ 974943 h 1113404"/>
                <a:gd name="connsiteX2599" fmla="*/ 1381462 w 1814027"/>
                <a:gd name="connsiteY2599" fmla="*/ 972916 h 1113404"/>
                <a:gd name="connsiteX2600" fmla="*/ 1381220 w 1814027"/>
                <a:gd name="connsiteY2600" fmla="*/ 971615 h 1113404"/>
                <a:gd name="connsiteX2601" fmla="*/ 1378770 w 1814027"/>
                <a:gd name="connsiteY2601" fmla="*/ 971434 h 1113404"/>
                <a:gd name="connsiteX2602" fmla="*/ 1377136 w 1814027"/>
                <a:gd name="connsiteY2602" fmla="*/ 972342 h 1113404"/>
                <a:gd name="connsiteX2603" fmla="*/ 1375805 w 1814027"/>
                <a:gd name="connsiteY2603" fmla="*/ 974308 h 1113404"/>
                <a:gd name="connsiteX2604" fmla="*/ 1374897 w 1814027"/>
                <a:gd name="connsiteY2604" fmla="*/ 976758 h 1113404"/>
                <a:gd name="connsiteX2605" fmla="*/ 1374595 w 1814027"/>
                <a:gd name="connsiteY2605" fmla="*/ 979148 h 1113404"/>
                <a:gd name="connsiteX2606" fmla="*/ 1374262 w 1814027"/>
                <a:gd name="connsiteY2606" fmla="*/ 979783 h 1113404"/>
                <a:gd name="connsiteX2607" fmla="*/ 1372689 w 1814027"/>
                <a:gd name="connsiteY2607" fmla="*/ 981780 h 1113404"/>
                <a:gd name="connsiteX2608" fmla="*/ 1372145 w 1814027"/>
                <a:gd name="connsiteY2608" fmla="*/ 982203 h 1113404"/>
                <a:gd name="connsiteX2609" fmla="*/ 1370693 w 1814027"/>
                <a:gd name="connsiteY2609" fmla="*/ 982536 h 1113404"/>
                <a:gd name="connsiteX2610" fmla="*/ 1370269 w 1814027"/>
                <a:gd name="connsiteY2610" fmla="*/ 983414 h 1113404"/>
                <a:gd name="connsiteX2611" fmla="*/ 1370148 w 1814027"/>
                <a:gd name="connsiteY2611" fmla="*/ 984593 h 1113404"/>
                <a:gd name="connsiteX2612" fmla="*/ 1369724 w 1814027"/>
                <a:gd name="connsiteY2612" fmla="*/ 985864 h 1113404"/>
                <a:gd name="connsiteX2613" fmla="*/ 1366972 w 1814027"/>
                <a:gd name="connsiteY2613" fmla="*/ 988556 h 1113404"/>
                <a:gd name="connsiteX2614" fmla="*/ 1364854 w 1814027"/>
                <a:gd name="connsiteY2614" fmla="*/ 989887 h 1113404"/>
                <a:gd name="connsiteX2615" fmla="*/ 1347036 w 1814027"/>
                <a:gd name="connsiteY2615" fmla="*/ 994455 h 1113404"/>
                <a:gd name="connsiteX2616" fmla="*/ 1343315 w 1814027"/>
                <a:gd name="connsiteY2616" fmla="*/ 994153 h 1113404"/>
                <a:gd name="connsiteX2617" fmla="*/ 1328371 w 1814027"/>
                <a:gd name="connsiteY2617" fmla="*/ 984503 h 1113404"/>
                <a:gd name="connsiteX2618" fmla="*/ 1299420 w 1814027"/>
                <a:gd name="connsiteY2618" fmla="*/ 945145 h 1113404"/>
                <a:gd name="connsiteX2619" fmla="*/ 1290738 w 1814027"/>
                <a:gd name="connsiteY2619" fmla="*/ 929354 h 1113404"/>
                <a:gd name="connsiteX2620" fmla="*/ 1285384 w 1814027"/>
                <a:gd name="connsiteY2620" fmla="*/ 916225 h 1113404"/>
                <a:gd name="connsiteX2621" fmla="*/ 1284385 w 1814027"/>
                <a:gd name="connsiteY2621" fmla="*/ 914591 h 1113404"/>
                <a:gd name="connsiteX2622" fmla="*/ 1283205 w 1814027"/>
                <a:gd name="connsiteY2622" fmla="*/ 913018 h 1113404"/>
                <a:gd name="connsiteX2623" fmla="*/ 1282298 w 1814027"/>
                <a:gd name="connsiteY2623" fmla="*/ 911264 h 1113404"/>
                <a:gd name="connsiteX2624" fmla="*/ 1278698 w 1814027"/>
                <a:gd name="connsiteY2624" fmla="*/ 895140 h 1113404"/>
                <a:gd name="connsiteX2625" fmla="*/ 1277730 w 1814027"/>
                <a:gd name="connsiteY2625" fmla="*/ 893052 h 1113404"/>
                <a:gd name="connsiteX2626" fmla="*/ 1277246 w 1814027"/>
                <a:gd name="connsiteY2626" fmla="*/ 891116 h 1113404"/>
                <a:gd name="connsiteX2627" fmla="*/ 1276732 w 1814027"/>
                <a:gd name="connsiteY2627" fmla="*/ 882586 h 1113404"/>
                <a:gd name="connsiteX2628" fmla="*/ 1276127 w 1814027"/>
                <a:gd name="connsiteY2628" fmla="*/ 880408 h 1113404"/>
                <a:gd name="connsiteX2629" fmla="*/ 1275915 w 1814027"/>
                <a:gd name="connsiteY2629" fmla="*/ 879348 h 1113404"/>
                <a:gd name="connsiteX2630" fmla="*/ 1276006 w 1814027"/>
                <a:gd name="connsiteY2630" fmla="*/ 877957 h 1113404"/>
                <a:gd name="connsiteX2631" fmla="*/ 1276550 w 1814027"/>
                <a:gd name="connsiteY2631" fmla="*/ 876687 h 1113404"/>
                <a:gd name="connsiteX2632" fmla="*/ 1278305 w 1814027"/>
                <a:gd name="connsiteY2632" fmla="*/ 874418 h 1113404"/>
                <a:gd name="connsiteX2633" fmla="*/ 1278698 w 1814027"/>
                <a:gd name="connsiteY2633" fmla="*/ 873813 h 1113404"/>
                <a:gd name="connsiteX2634" fmla="*/ 1283054 w 1814027"/>
                <a:gd name="connsiteY2634" fmla="*/ 871937 h 1113404"/>
                <a:gd name="connsiteX2635" fmla="*/ 1283387 w 1814027"/>
                <a:gd name="connsiteY2635" fmla="*/ 870636 h 1113404"/>
                <a:gd name="connsiteX2636" fmla="*/ 1283478 w 1814027"/>
                <a:gd name="connsiteY2636" fmla="*/ 869124 h 1113404"/>
                <a:gd name="connsiteX2637" fmla="*/ 1284173 w 1814027"/>
                <a:gd name="connsiteY2637" fmla="*/ 867914 h 1113404"/>
                <a:gd name="connsiteX2638" fmla="*/ 1285323 w 1814027"/>
                <a:gd name="connsiteY2638" fmla="*/ 867399 h 1113404"/>
                <a:gd name="connsiteX2639" fmla="*/ 1285565 w 1814027"/>
                <a:gd name="connsiteY2639" fmla="*/ 867944 h 1113404"/>
                <a:gd name="connsiteX2640" fmla="*/ 1285656 w 1814027"/>
                <a:gd name="connsiteY2640" fmla="*/ 868912 h 1113404"/>
                <a:gd name="connsiteX2641" fmla="*/ 1286261 w 1814027"/>
                <a:gd name="connsiteY2641" fmla="*/ 869729 h 1113404"/>
                <a:gd name="connsiteX2642" fmla="*/ 1287501 w 1814027"/>
                <a:gd name="connsiteY2642" fmla="*/ 870122 h 1113404"/>
                <a:gd name="connsiteX2643" fmla="*/ 1288470 w 1814027"/>
                <a:gd name="connsiteY2643" fmla="*/ 870122 h 1113404"/>
                <a:gd name="connsiteX2644" fmla="*/ 1297998 w 1814027"/>
                <a:gd name="connsiteY2644" fmla="*/ 867883 h 1113404"/>
                <a:gd name="connsiteX2645" fmla="*/ 1302445 w 1814027"/>
                <a:gd name="connsiteY2645" fmla="*/ 865312 h 1113404"/>
                <a:gd name="connsiteX2646" fmla="*/ 1305470 w 1814027"/>
                <a:gd name="connsiteY2646" fmla="*/ 862105 h 1113404"/>
                <a:gd name="connsiteX2647" fmla="*/ 1305804 w 1814027"/>
                <a:gd name="connsiteY2647" fmla="*/ 861742 h 1113404"/>
                <a:gd name="connsiteX2648" fmla="*/ 1311763 w 1814027"/>
                <a:gd name="connsiteY2648" fmla="*/ 853272 h 1113404"/>
                <a:gd name="connsiteX2649" fmla="*/ 1315151 w 1814027"/>
                <a:gd name="connsiteY2649" fmla="*/ 850035 h 1113404"/>
                <a:gd name="connsiteX2650" fmla="*/ 1315968 w 1814027"/>
                <a:gd name="connsiteY2650" fmla="*/ 848553 h 1113404"/>
                <a:gd name="connsiteX2651" fmla="*/ 1316392 w 1814027"/>
                <a:gd name="connsiteY2651" fmla="*/ 846495 h 1113404"/>
                <a:gd name="connsiteX2652" fmla="*/ 1316089 w 1814027"/>
                <a:gd name="connsiteY2652" fmla="*/ 845376 h 1113404"/>
                <a:gd name="connsiteX2653" fmla="*/ 1315514 w 1814027"/>
                <a:gd name="connsiteY2653" fmla="*/ 844378 h 1113404"/>
                <a:gd name="connsiteX2654" fmla="*/ 1315211 w 1814027"/>
                <a:gd name="connsiteY2654" fmla="*/ 842654 h 1113404"/>
                <a:gd name="connsiteX2655" fmla="*/ 1314213 w 1814027"/>
                <a:gd name="connsiteY2655" fmla="*/ 840687 h 1113404"/>
                <a:gd name="connsiteX2656" fmla="*/ 1312398 w 1814027"/>
                <a:gd name="connsiteY2656" fmla="*/ 838237 h 1113404"/>
                <a:gd name="connsiteX2657" fmla="*/ 1311672 w 1814027"/>
                <a:gd name="connsiteY2657" fmla="*/ 835575 h 1113404"/>
                <a:gd name="connsiteX2658" fmla="*/ 1313850 w 1814027"/>
                <a:gd name="connsiteY2658" fmla="*/ 833003 h 1113404"/>
                <a:gd name="connsiteX2659" fmla="*/ 1314183 w 1814027"/>
                <a:gd name="connsiteY2659" fmla="*/ 835424 h 1113404"/>
                <a:gd name="connsiteX2660" fmla="*/ 1315211 w 1814027"/>
                <a:gd name="connsiteY2660" fmla="*/ 837844 h 1113404"/>
                <a:gd name="connsiteX2661" fmla="*/ 1316512 w 1814027"/>
                <a:gd name="connsiteY2661" fmla="*/ 839659 h 1113404"/>
                <a:gd name="connsiteX2662" fmla="*/ 1318085 w 1814027"/>
                <a:gd name="connsiteY2662" fmla="*/ 840627 h 1113404"/>
                <a:gd name="connsiteX2663" fmla="*/ 1319386 w 1814027"/>
                <a:gd name="connsiteY2663" fmla="*/ 841776 h 1113404"/>
                <a:gd name="connsiteX2664" fmla="*/ 1320112 w 1814027"/>
                <a:gd name="connsiteY2664" fmla="*/ 842230 h 1113404"/>
                <a:gd name="connsiteX2665" fmla="*/ 1321171 w 1814027"/>
                <a:gd name="connsiteY2665" fmla="*/ 842502 h 1113404"/>
                <a:gd name="connsiteX2666" fmla="*/ 1322804 w 1814027"/>
                <a:gd name="connsiteY2666" fmla="*/ 842624 h 1113404"/>
                <a:gd name="connsiteX2667" fmla="*/ 1323561 w 1814027"/>
                <a:gd name="connsiteY2667" fmla="*/ 843077 h 1113404"/>
                <a:gd name="connsiteX2668" fmla="*/ 1321564 w 1814027"/>
                <a:gd name="connsiteY2668" fmla="*/ 848099 h 1113404"/>
                <a:gd name="connsiteX2669" fmla="*/ 1320960 w 1814027"/>
                <a:gd name="connsiteY2669" fmla="*/ 851638 h 1113404"/>
                <a:gd name="connsiteX2670" fmla="*/ 1321867 w 1814027"/>
                <a:gd name="connsiteY2670" fmla="*/ 854633 h 1113404"/>
                <a:gd name="connsiteX2671" fmla="*/ 1324317 w 1814027"/>
                <a:gd name="connsiteY2671" fmla="*/ 856600 h 1113404"/>
                <a:gd name="connsiteX2672" fmla="*/ 1326313 w 1814027"/>
                <a:gd name="connsiteY2672" fmla="*/ 856418 h 1113404"/>
                <a:gd name="connsiteX2673" fmla="*/ 1328068 w 1814027"/>
                <a:gd name="connsiteY2673" fmla="*/ 855057 h 1113404"/>
                <a:gd name="connsiteX2674" fmla="*/ 1329793 w 1814027"/>
                <a:gd name="connsiteY2674" fmla="*/ 853302 h 1113404"/>
                <a:gd name="connsiteX2675" fmla="*/ 1329399 w 1814027"/>
                <a:gd name="connsiteY2675" fmla="*/ 856690 h 1113404"/>
                <a:gd name="connsiteX2676" fmla="*/ 1327977 w 1814027"/>
                <a:gd name="connsiteY2676" fmla="*/ 858899 h 1113404"/>
                <a:gd name="connsiteX2677" fmla="*/ 1324317 w 1814027"/>
                <a:gd name="connsiteY2677" fmla="*/ 862347 h 1113404"/>
                <a:gd name="connsiteX2678" fmla="*/ 1321383 w 1814027"/>
                <a:gd name="connsiteY2678" fmla="*/ 867157 h 1113404"/>
                <a:gd name="connsiteX2679" fmla="*/ 1320324 w 1814027"/>
                <a:gd name="connsiteY2679" fmla="*/ 869426 h 1113404"/>
                <a:gd name="connsiteX2680" fmla="*/ 1317904 w 1814027"/>
                <a:gd name="connsiteY2680" fmla="*/ 871907 h 1113404"/>
                <a:gd name="connsiteX2681" fmla="*/ 1315151 w 1814027"/>
                <a:gd name="connsiteY2681" fmla="*/ 877080 h 1113404"/>
                <a:gd name="connsiteX2682" fmla="*/ 1309948 w 1814027"/>
                <a:gd name="connsiteY2682" fmla="*/ 879591 h 1113404"/>
                <a:gd name="connsiteX2683" fmla="*/ 1299450 w 1814027"/>
                <a:gd name="connsiteY2683" fmla="*/ 882555 h 1113404"/>
                <a:gd name="connsiteX2684" fmla="*/ 1299934 w 1814027"/>
                <a:gd name="connsiteY2684" fmla="*/ 883856 h 1113404"/>
                <a:gd name="connsiteX2685" fmla="*/ 1300207 w 1814027"/>
                <a:gd name="connsiteY2685" fmla="*/ 884370 h 1113404"/>
                <a:gd name="connsiteX2686" fmla="*/ 1296698 w 1814027"/>
                <a:gd name="connsiteY2686" fmla="*/ 886428 h 1113404"/>
                <a:gd name="connsiteX2687" fmla="*/ 1293491 w 1814027"/>
                <a:gd name="connsiteY2687" fmla="*/ 889785 h 1113404"/>
                <a:gd name="connsiteX2688" fmla="*/ 1293158 w 1814027"/>
                <a:gd name="connsiteY2688" fmla="*/ 891056 h 1113404"/>
                <a:gd name="connsiteX2689" fmla="*/ 1294943 w 1814027"/>
                <a:gd name="connsiteY2689" fmla="*/ 891631 h 1113404"/>
                <a:gd name="connsiteX2690" fmla="*/ 1298846 w 1814027"/>
                <a:gd name="connsiteY2690" fmla="*/ 889967 h 1113404"/>
                <a:gd name="connsiteX2691" fmla="*/ 1301236 w 1814027"/>
                <a:gd name="connsiteY2691" fmla="*/ 888303 h 1113404"/>
                <a:gd name="connsiteX2692" fmla="*/ 1304684 w 1814027"/>
                <a:gd name="connsiteY2692" fmla="*/ 887547 h 1113404"/>
                <a:gd name="connsiteX2693" fmla="*/ 1307165 w 1814027"/>
                <a:gd name="connsiteY2693" fmla="*/ 885641 h 1113404"/>
                <a:gd name="connsiteX2694" fmla="*/ 1311248 w 1814027"/>
                <a:gd name="connsiteY2694" fmla="*/ 884340 h 1113404"/>
                <a:gd name="connsiteX2695" fmla="*/ 1313547 w 1814027"/>
                <a:gd name="connsiteY2695" fmla="*/ 882041 h 1113404"/>
                <a:gd name="connsiteX2696" fmla="*/ 1316028 w 1814027"/>
                <a:gd name="connsiteY2696" fmla="*/ 878804 h 1113404"/>
                <a:gd name="connsiteX2697" fmla="*/ 1321474 w 1814027"/>
                <a:gd name="connsiteY2697" fmla="*/ 869154 h 1113404"/>
                <a:gd name="connsiteX2698" fmla="*/ 1323107 w 1814027"/>
                <a:gd name="connsiteY2698" fmla="*/ 867430 h 1113404"/>
                <a:gd name="connsiteX2699" fmla="*/ 1323591 w 1814027"/>
                <a:gd name="connsiteY2699" fmla="*/ 866885 h 1113404"/>
                <a:gd name="connsiteX2700" fmla="*/ 1333211 w 1814027"/>
                <a:gd name="connsiteY2700" fmla="*/ 852274 h 1113404"/>
                <a:gd name="connsiteX2701" fmla="*/ 1334723 w 1814027"/>
                <a:gd name="connsiteY2701" fmla="*/ 850912 h 1113404"/>
                <a:gd name="connsiteX2702" fmla="*/ 1338233 w 1814027"/>
                <a:gd name="connsiteY2702" fmla="*/ 848644 h 1113404"/>
                <a:gd name="connsiteX2703" fmla="*/ 1339776 w 1814027"/>
                <a:gd name="connsiteY2703" fmla="*/ 847252 h 1113404"/>
                <a:gd name="connsiteX2704" fmla="*/ 1342801 w 1814027"/>
                <a:gd name="connsiteY2704" fmla="*/ 843259 h 1113404"/>
                <a:gd name="connsiteX2705" fmla="*/ 1344374 w 1814027"/>
                <a:gd name="connsiteY2705" fmla="*/ 841625 h 1113404"/>
                <a:gd name="connsiteX2706" fmla="*/ 1346280 w 1814027"/>
                <a:gd name="connsiteY2706" fmla="*/ 840385 h 1113404"/>
                <a:gd name="connsiteX2707" fmla="*/ 1358168 w 1814027"/>
                <a:gd name="connsiteY2707" fmla="*/ 834849 h 1113404"/>
                <a:gd name="connsiteX2708" fmla="*/ 1361466 w 1814027"/>
                <a:gd name="connsiteY2708" fmla="*/ 832066 h 1113404"/>
                <a:gd name="connsiteX2709" fmla="*/ 1369573 w 1814027"/>
                <a:gd name="connsiteY2709" fmla="*/ 823323 h 1113404"/>
                <a:gd name="connsiteX2710" fmla="*/ 1372538 w 1814027"/>
                <a:gd name="connsiteY2710" fmla="*/ 821054 h 1113404"/>
                <a:gd name="connsiteX2711" fmla="*/ 1378165 w 1814027"/>
                <a:gd name="connsiteY2711" fmla="*/ 818089 h 1113404"/>
                <a:gd name="connsiteX2712" fmla="*/ 1385637 w 1814027"/>
                <a:gd name="connsiteY2712" fmla="*/ 814157 h 1113404"/>
                <a:gd name="connsiteX2713" fmla="*/ 1388057 w 1814027"/>
                <a:gd name="connsiteY2713" fmla="*/ 814217 h 1113404"/>
                <a:gd name="connsiteX2714" fmla="*/ 1401791 w 1814027"/>
                <a:gd name="connsiteY2714" fmla="*/ 811827 h 1113404"/>
                <a:gd name="connsiteX2715" fmla="*/ 1409082 w 1814027"/>
                <a:gd name="connsiteY2715" fmla="*/ 812826 h 1113404"/>
                <a:gd name="connsiteX2716" fmla="*/ 1412833 w 1814027"/>
                <a:gd name="connsiteY2716" fmla="*/ 812039 h 1113404"/>
                <a:gd name="connsiteX2717" fmla="*/ 1414618 w 1814027"/>
                <a:gd name="connsiteY2717" fmla="*/ 811979 h 1113404"/>
                <a:gd name="connsiteX2718" fmla="*/ 1416675 w 1814027"/>
                <a:gd name="connsiteY2718" fmla="*/ 812826 h 1113404"/>
                <a:gd name="connsiteX2719" fmla="*/ 1417371 w 1814027"/>
                <a:gd name="connsiteY2719" fmla="*/ 813370 h 1113404"/>
                <a:gd name="connsiteX2720" fmla="*/ 1417885 w 1814027"/>
                <a:gd name="connsiteY2720" fmla="*/ 814005 h 1113404"/>
                <a:gd name="connsiteX2721" fmla="*/ 1418762 w 1814027"/>
                <a:gd name="connsiteY2721" fmla="*/ 815609 h 1113404"/>
                <a:gd name="connsiteX2722" fmla="*/ 1419004 w 1814027"/>
                <a:gd name="connsiteY2722" fmla="*/ 815791 h 1113404"/>
                <a:gd name="connsiteX2723" fmla="*/ 1420153 w 1814027"/>
                <a:gd name="connsiteY2723" fmla="*/ 816517 h 1113404"/>
                <a:gd name="connsiteX2724" fmla="*/ 1420153 w 1814027"/>
                <a:gd name="connsiteY2724" fmla="*/ 817182 h 1113404"/>
                <a:gd name="connsiteX2725" fmla="*/ 1420063 w 1814027"/>
                <a:gd name="connsiteY2725" fmla="*/ 818059 h 1113404"/>
                <a:gd name="connsiteX2726" fmla="*/ 1419821 w 1814027"/>
                <a:gd name="connsiteY2726" fmla="*/ 818634 h 1113404"/>
                <a:gd name="connsiteX2727" fmla="*/ 1420305 w 1814027"/>
                <a:gd name="connsiteY2727" fmla="*/ 819844 h 1113404"/>
                <a:gd name="connsiteX2728" fmla="*/ 1420396 w 1814027"/>
                <a:gd name="connsiteY2728" fmla="*/ 819602 h 1113404"/>
                <a:gd name="connsiteX2729" fmla="*/ 1420517 w 1814027"/>
                <a:gd name="connsiteY2729" fmla="*/ 818755 h 1113404"/>
                <a:gd name="connsiteX2730" fmla="*/ 1421515 w 1814027"/>
                <a:gd name="connsiteY2730" fmla="*/ 818392 h 1113404"/>
                <a:gd name="connsiteX2731" fmla="*/ 1422483 w 1814027"/>
                <a:gd name="connsiteY2731" fmla="*/ 817878 h 1113404"/>
                <a:gd name="connsiteX2732" fmla="*/ 1422846 w 1814027"/>
                <a:gd name="connsiteY2732" fmla="*/ 818332 h 1113404"/>
                <a:gd name="connsiteX2733" fmla="*/ 1422846 w 1814027"/>
                <a:gd name="connsiteY2733" fmla="*/ 820328 h 1113404"/>
                <a:gd name="connsiteX2734" fmla="*/ 1423572 w 1814027"/>
                <a:gd name="connsiteY2734" fmla="*/ 820328 h 1113404"/>
                <a:gd name="connsiteX2735" fmla="*/ 1424177 w 1814027"/>
                <a:gd name="connsiteY2735" fmla="*/ 816426 h 1113404"/>
                <a:gd name="connsiteX2736" fmla="*/ 1426114 w 1814027"/>
                <a:gd name="connsiteY2736" fmla="*/ 813370 h 1113404"/>
                <a:gd name="connsiteX2737" fmla="*/ 1432920 w 1814027"/>
                <a:gd name="connsiteY2737" fmla="*/ 806745 h 1113404"/>
                <a:gd name="connsiteX2738" fmla="*/ 1435854 w 1814027"/>
                <a:gd name="connsiteY2738" fmla="*/ 804658 h 1113404"/>
                <a:gd name="connsiteX2739" fmla="*/ 1439091 w 1814027"/>
                <a:gd name="connsiteY2739" fmla="*/ 803206 h 1113404"/>
                <a:gd name="connsiteX2740" fmla="*/ 1444143 w 1814027"/>
                <a:gd name="connsiteY2740" fmla="*/ 802268 h 1113404"/>
                <a:gd name="connsiteX2741" fmla="*/ 1448318 w 1814027"/>
                <a:gd name="connsiteY2741" fmla="*/ 799969 h 1113404"/>
                <a:gd name="connsiteX2742" fmla="*/ 1454943 w 1814027"/>
                <a:gd name="connsiteY2742" fmla="*/ 799969 h 1113404"/>
                <a:gd name="connsiteX2743" fmla="*/ 1455729 w 1814027"/>
                <a:gd name="connsiteY2743" fmla="*/ 799515 h 1113404"/>
                <a:gd name="connsiteX2744" fmla="*/ 1456546 w 1814027"/>
                <a:gd name="connsiteY2744" fmla="*/ 798547 h 1113404"/>
                <a:gd name="connsiteX2745" fmla="*/ 1457666 w 1814027"/>
                <a:gd name="connsiteY2745" fmla="*/ 797549 h 1113404"/>
                <a:gd name="connsiteX2746" fmla="*/ 1459390 w 1814027"/>
                <a:gd name="connsiteY2746" fmla="*/ 797095 h 1113404"/>
                <a:gd name="connsiteX2747" fmla="*/ 1462173 w 1814027"/>
                <a:gd name="connsiteY2747" fmla="*/ 797942 h 1113404"/>
                <a:gd name="connsiteX2748" fmla="*/ 1463957 w 1814027"/>
                <a:gd name="connsiteY2748" fmla="*/ 798033 h 1113404"/>
                <a:gd name="connsiteX2749" fmla="*/ 1465652 w 1814027"/>
                <a:gd name="connsiteY2749" fmla="*/ 797095 h 1113404"/>
                <a:gd name="connsiteX2750" fmla="*/ 1467073 w 1814027"/>
                <a:gd name="connsiteY2750" fmla="*/ 798063 h 1113404"/>
                <a:gd name="connsiteX2751" fmla="*/ 1470371 w 1814027"/>
                <a:gd name="connsiteY2751" fmla="*/ 799152 h 1113404"/>
                <a:gd name="connsiteX2752" fmla="*/ 1471914 w 1814027"/>
                <a:gd name="connsiteY2752" fmla="*/ 799938 h 1113404"/>
                <a:gd name="connsiteX2753" fmla="*/ 1475574 w 1814027"/>
                <a:gd name="connsiteY2753" fmla="*/ 803932 h 1113404"/>
                <a:gd name="connsiteX2754" fmla="*/ 1476391 w 1814027"/>
                <a:gd name="connsiteY2754" fmla="*/ 804537 h 1113404"/>
                <a:gd name="connsiteX2755" fmla="*/ 1476391 w 1814027"/>
                <a:gd name="connsiteY2755" fmla="*/ 806927 h 1113404"/>
                <a:gd name="connsiteX2756" fmla="*/ 1475151 w 1814027"/>
                <a:gd name="connsiteY2756" fmla="*/ 811737 h 1113404"/>
                <a:gd name="connsiteX2757" fmla="*/ 1473275 w 1814027"/>
                <a:gd name="connsiteY2757" fmla="*/ 815488 h 1113404"/>
                <a:gd name="connsiteX2758" fmla="*/ 1471218 w 1814027"/>
                <a:gd name="connsiteY2758" fmla="*/ 814671 h 1113404"/>
                <a:gd name="connsiteX2759" fmla="*/ 1470492 w 1814027"/>
                <a:gd name="connsiteY2759" fmla="*/ 814671 h 1113404"/>
                <a:gd name="connsiteX2760" fmla="*/ 1470492 w 1814027"/>
                <a:gd name="connsiteY2760" fmla="*/ 815669 h 1113404"/>
                <a:gd name="connsiteX2761" fmla="*/ 1473063 w 1814027"/>
                <a:gd name="connsiteY2761" fmla="*/ 816305 h 1113404"/>
                <a:gd name="connsiteX2762" fmla="*/ 1475514 w 1814027"/>
                <a:gd name="connsiteY2762" fmla="*/ 814127 h 1113404"/>
                <a:gd name="connsiteX2763" fmla="*/ 1477390 w 1814027"/>
                <a:gd name="connsiteY2763" fmla="*/ 810497 h 1113404"/>
                <a:gd name="connsiteX2764" fmla="*/ 1478116 w 1814027"/>
                <a:gd name="connsiteY2764" fmla="*/ 806836 h 1113404"/>
                <a:gd name="connsiteX2765" fmla="*/ 1479113 w 1814027"/>
                <a:gd name="connsiteY2765" fmla="*/ 803569 h 1113404"/>
                <a:gd name="connsiteX2766" fmla="*/ 1481080 w 1814027"/>
                <a:gd name="connsiteY2766" fmla="*/ 800513 h 1113404"/>
                <a:gd name="connsiteX2767" fmla="*/ 1482411 w 1814027"/>
                <a:gd name="connsiteY2767" fmla="*/ 797488 h 1113404"/>
                <a:gd name="connsiteX2768" fmla="*/ 1481534 w 1814027"/>
                <a:gd name="connsiteY2768" fmla="*/ 794312 h 1113404"/>
                <a:gd name="connsiteX2769" fmla="*/ 1484801 w 1814027"/>
                <a:gd name="connsiteY2769" fmla="*/ 793828 h 1113404"/>
                <a:gd name="connsiteX2770" fmla="*/ 1490095 w 1814027"/>
                <a:gd name="connsiteY2770" fmla="*/ 789048 h 1113404"/>
                <a:gd name="connsiteX2771" fmla="*/ 1493634 w 1814027"/>
                <a:gd name="connsiteY2771" fmla="*/ 787868 h 1113404"/>
                <a:gd name="connsiteX2772" fmla="*/ 1494754 w 1814027"/>
                <a:gd name="connsiteY2772" fmla="*/ 787294 h 1113404"/>
                <a:gd name="connsiteX2773" fmla="*/ 1498051 w 1814027"/>
                <a:gd name="connsiteY2773" fmla="*/ 784783 h 1113404"/>
                <a:gd name="connsiteX2774" fmla="*/ 1499170 w 1814027"/>
                <a:gd name="connsiteY2774" fmla="*/ 784208 h 1113404"/>
                <a:gd name="connsiteX2775" fmla="*/ 1500956 w 1814027"/>
                <a:gd name="connsiteY2775" fmla="*/ 783905 h 1113404"/>
                <a:gd name="connsiteX2776" fmla="*/ 1512602 w 1814027"/>
                <a:gd name="connsiteY2776" fmla="*/ 779670 h 1113404"/>
                <a:gd name="connsiteX2777" fmla="*/ 1517231 w 1814027"/>
                <a:gd name="connsiteY2777" fmla="*/ 776343 h 1113404"/>
                <a:gd name="connsiteX2778" fmla="*/ 1519137 w 1814027"/>
                <a:gd name="connsiteY2778" fmla="*/ 775889 h 1113404"/>
                <a:gd name="connsiteX2779" fmla="*/ 1522525 w 1814027"/>
                <a:gd name="connsiteY2779" fmla="*/ 776464 h 1113404"/>
                <a:gd name="connsiteX2780" fmla="*/ 1526003 w 1814027"/>
                <a:gd name="connsiteY2780" fmla="*/ 778158 h 1113404"/>
                <a:gd name="connsiteX2781" fmla="*/ 1528212 w 1814027"/>
                <a:gd name="connsiteY2781" fmla="*/ 780789 h 1113404"/>
                <a:gd name="connsiteX2782" fmla="*/ 1527758 w 1814027"/>
                <a:gd name="connsiteY2782" fmla="*/ 784208 h 1113404"/>
                <a:gd name="connsiteX2783" fmla="*/ 1529997 w 1814027"/>
                <a:gd name="connsiteY2783" fmla="*/ 783270 h 1113404"/>
                <a:gd name="connsiteX2784" fmla="*/ 1531661 w 1814027"/>
                <a:gd name="connsiteY2784" fmla="*/ 781062 h 1113404"/>
                <a:gd name="connsiteX2785" fmla="*/ 1534292 w 1814027"/>
                <a:gd name="connsiteY2785" fmla="*/ 776312 h 1113404"/>
                <a:gd name="connsiteX2786" fmla="*/ 1544850 w 1814027"/>
                <a:gd name="connsiteY2786" fmla="*/ 762488 h 1113404"/>
                <a:gd name="connsiteX2787" fmla="*/ 1551263 w 1814027"/>
                <a:gd name="connsiteY2787" fmla="*/ 756316 h 1113404"/>
                <a:gd name="connsiteX2788" fmla="*/ 1554712 w 1814027"/>
                <a:gd name="connsiteY2788" fmla="*/ 755136 h 1113404"/>
                <a:gd name="connsiteX2789" fmla="*/ 1567750 w 1814027"/>
                <a:gd name="connsiteY2789" fmla="*/ 757345 h 1113404"/>
                <a:gd name="connsiteX2790" fmla="*/ 1572077 w 1814027"/>
                <a:gd name="connsiteY2790" fmla="*/ 757194 h 1113404"/>
                <a:gd name="connsiteX2791" fmla="*/ 1582937 w 1814027"/>
                <a:gd name="connsiteY2791" fmla="*/ 753654 h 1113404"/>
                <a:gd name="connsiteX2792" fmla="*/ 1591921 w 1814027"/>
                <a:gd name="connsiteY2792" fmla="*/ 755045 h 1113404"/>
                <a:gd name="connsiteX2793" fmla="*/ 1593071 w 1814027"/>
                <a:gd name="connsiteY2793" fmla="*/ 754410 h 1113404"/>
                <a:gd name="connsiteX2794" fmla="*/ 1595642 w 1814027"/>
                <a:gd name="connsiteY2794" fmla="*/ 754955 h 1113404"/>
                <a:gd name="connsiteX2795" fmla="*/ 1599514 w 1814027"/>
                <a:gd name="connsiteY2795" fmla="*/ 756346 h 1113404"/>
                <a:gd name="connsiteX2796" fmla="*/ 1600422 w 1814027"/>
                <a:gd name="connsiteY2796" fmla="*/ 755983 h 1113404"/>
                <a:gd name="connsiteX2797" fmla="*/ 1603024 w 1814027"/>
                <a:gd name="connsiteY2797" fmla="*/ 754531 h 1113404"/>
                <a:gd name="connsiteX2798" fmla="*/ 1603568 w 1814027"/>
                <a:gd name="connsiteY2798" fmla="*/ 754108 h 1113404"/>
                <a:gd name="connsiteX2799" fmla="*/ 1604082 w 1814027"/>
                <a:gd name="connsiteY2799" fmla="*/ 753866 h 1113404"/>
                <a:gd name="connsiteX2800" fmla="*/ 1607380 w 1814027"/>
                <a:gd name="connsiteY2800" fmla="*/ 756346 h 1113404"/>
                <a:gd name="connsiteX2801" fmla="*/ 1609951 w 1814027"/>
                <a:gd name="connsiteY2801" fmla="*/ 757314 h 1113404"/>
                <a:gd name="connsiteX2802" fmla="*/ 1609951 w 1814027"/>
                <a:gd name="connsiteY2802" fmla="*/ 759492 h 1113404"/>
                <a:gd name="connsiteX2803" fmla="*/ 1607743 w 1814027"/>
                <a:gd name="connsiteY2803" fmla="*/ 763849 h 1113404"/>
                <a:gd name="connsiteX2804" fmla="*/ 1611192 w 1814027"/>
                <a:gd name="connsiteY2804" fmla="*/ 762336 h 1113404"/>
                <a:gd name="connsiteX2805" fmla="*/ 1616637 w 1814027"/>
                <a:gd name="connsiteY2805" fmla="*/ 755288 h 1113404"/>
                <a:gd name="connsiteX2806" fmla="*/ 1618664 w 1814027"/>
                <a:gd name="connsiteY2806" fmla="*/ 753442 h 1113404"/>
                <a:gd name="connsiteX2807" fmla="*/ 1618664 w 1814027"/>
                <a:gd name="connsiteY2807" fmla="*/ 753442 h 1113404"/>
                <a:gd name="connsiteX2808" fmla="*/ 1617121 w 1814027"/>
                <a:gd name="connsiteY2808" fmla="*/ 749691 h 1113404"/>
                <a:gd name="connsiteX2809" fmla="*/ 1616667 w 1814027"/>
                <a:gd name="connsiteY2809" fmla="*/ 745395 h 1113404"/>
                <a:gd name="connsiteX2810" fmla="*/ 1617333 w 1814027"/>
                <a:gd name="connsiteY2810" fmla="*/ 741341 h 1113404"/>
                <a:gd name="connsiteX2811" fmla="*/ 1619238 w 1814027"/>
                <a:gd name="connsiteY2811" fmla="*/ 738226 h 1113404"/>
                <a:gd name="connsiteX2812" fmla="*/ 1621144 w 1814027"/>
                <a:gd name="connsiteY2812" fmla="*/ 737046 h 1113404"/>
                <a:gd name="connsiteX2813" fmla="*/ 1623413 w 1814027"/>
                <a:gd name="connsiteY2813" fmla="*/ 736018 h 1113404"/>
                <a:gd name="connsiteX2814" fmla="*/ 1625501 w 1814027"/>
                <a:gd name="connsiteY2814" fmla="*/ 734717 h 1113404"/>
                <a:gd name="connsiteX2815" fmla="*/ 1626831 w 1814027"/>
                <a:gd name="connsiteY2815" fmla="*/ 732690 h 1113404"/>
                <a:gd name="connsiteX2816" fmla="*/ 1627134 w 1814027"/>
                <a:gd name="connsiteY2816" fmla="*/ 729967 h 1113404"/>
                <a:gd name="connsiteX2817" fmla="*/ 1626227 w 1814027"/>
                <a:gd name="connsiteY2817" fmla="*/ 728455 h 1113404"/>
                <a:gd name="connsiteX2818" fmla="*/ 1624623 w 1814027"/>
                <a:gd name="connsiteY2818" fmla="*/ 727789 h 1113404"/>
                <a:gd name="connsiteX2819" fmla="*/ 1622808 w 1814027"/>
                <a:gd name="connsiteY2819" fmla="*/ 727668 h 1113404"/>
                <a:gd name="connsiteX2820" fmla="*/ 1619057 w 1814027"/>
                <a:gd name="connsiteY2820" fmla="*/ 728212 h 1113404"/>
                <a:gd name="connsiteX2821" fmla="*/ 1617121 w 1814027"/>
                <a:gd name="connsiteY2821" fmla="*/ 727971 h 1113404"/>
                <a:gd name="connsiteX2822" fmla="*/ 1615881 w 1814027"/>
                <a:gd name="connsiteY2822" fmla="*/ 726549 h 1113404"/>
                <a:gd name="connsiteX2823" fmla="*/ 1616062 w 1814027"/>
                <a:gd name="connsiteY2823" fmla="*/ 724370 h 1113404"/>
                <a:gd name="connsiteX2824" fmla="*/ 1617363 w 1814027"/>
                <a:gd name="connsiteY2824" fmla="*/ 721951 h 1113404"/>
                <a:gd name="connsiteX2825" fmla="*/ 1620388 w 1814027"/>
                <a:gd name="connsiteY2825" fmla="*/ 718169 h 1113404"/>
                <a:gd name="connsiteX2826" fmla="*/ 1622868 w 1814027"/>
                <a:gd name="connsiteY2826" fmla="*/ 713964 h 1113404"/>
                <a:gd name="connsiteX2827" fmla="*/ 1623444 w 1814027"/>
                <a:gd name="connsiteY2827" fmla="*/ 710062 h 1113404"/>
                <a:gd name="connsiteX2828" fmla="*/ 1623111 w 1814027"/>
                <a:gd name="connsiteY2828" fmla="*/ 700351 h 1113404"/>
                <a:gd name="connsiteX2829" fmla="*/ 1624502 w 1814027"/>
                <a:gd name="connsiteY2829" fmla="*/ 695571 h 1113404"/>
                <a:gd name="connsiteX2830" fmla="*/ 1626408 w 1814027"/>
                <a:gd name="connsiteY2830" fmla="*/ 690791 h 1113404"/>
                <a:gd name="connsiteX2831" fmla="*/ 1628979 w 1814027"/>
                <a:gd name="connsiteY2831" fmla="*/ 686889 h 1113404"/>
                <a:gd name="connsiteX2832" fmla="*/ 1632398 w 1814027"/>
                <a:gd name="connsiteY2832" fmla="*/ 684711 h 1113404"/>
                <a:gd name="connsiteX2833" fmla="*/ 1653453 w 1814027"/>
                <a:gd name="connsiteY2833" fmla="*/ 682049 h 1113404"/>
                <a:gd name="connsiteX2834" fmla="*/ 1655994 w 1814027"/>
                <a:gd name="connsiteY2834" fmla="*/ 680990 h 1113404"/>
                <a:gd name="connsiteX2835" fmla="*/ 1657869 w 1814027"/>
                <a:gd name="connsiteY2835" fmla="*/ 679508 h 1113404"/>
                <a:gd name="connsiteX2836" fmla="*/ 1661590 w 1814027"/>
                <a:gd name="connsiteY2836" fmla="*/ 675605 h 1113404"/>
                <a:gd name="connsiteX2837" fmla="*/ 1663466 w 1814027"/>
                <a:gd name="connsiteY2837" fmla="*/ 674244 h 1113404"/>
                <a:gd name="connsiteX2838" fmla="*/ 1665039 w 1814027"/>
                <a:gd name="connsiteY2838" fmla="*/ 673972 h 1113404"/>
                <a:gd name="connsiteX2839" fmla="*/ 1668579 w 1814027"/>
                <a:gd name="connsiteY2839" fmla="*/ 675272 h 1113404"/>
                <a:gd name="connsiteX2840" fmla="*/ 1670726 w 1814027"/>
                <a:gd name="connsiteY2840" fmla="*/ 675061 h 1113404"/>
                <a:gd name="connsiteX2841" fmla="*/ 1671816 w 1814027"/>
                <a:gd name="connsiteY2841" fmla="*/ 672882 h 1113404"/>
                <a:gd name="connsiteX2842" fmla="*/ 1672632 w 1814027"/>
                <a:gd name="connsiteY2842" fmla="*/ 667105 h 1113404"/>
                <a:gd name="connsiteX2843" fmla="*/ 1674417 w 1814027"/>
                <a:gd name="connsiteY2843" fmla="*/ 660812 h 1113404"/>
                <a:gd name="connsiteX2844" fmla="*/ 1676958 w 1814027"/>
                <a:gd name="connsiteY2844" fmla="*/ 655428 h 1113404"/>
                <a:gd name="connsiteX2845" fmla="*/ 1680467 w 1814027"/>
                <a:gd name="connsiteY2845" fmla="*/ 651555 h 1113404"/>
                <a:gd name="connsiteX2846" fmla="*/ 1685096 w 1814027"/>
                <a:gd name="connsiteY2846" fmla="*/ 649771 h 1113404"/>
                <a:gd name="connsiteX2847" fmla="*/ 1701099 w 1814027"/>
                <a:gd name="connsiteY2847" fmla="*/ 650376 h 1113404"/>
                <a:gd name="connsiteX2848" fmla="*/ 1701402 w 1814027"/>
                <a:gd name="connsiteY2848" fmla="*/ 650376 h 1113404"/>
                <a:gd name="connsiteX2849" fmla="*/ 1706816 w 1814027"/>
                <a:gd name="connsiteY2849" fmla="*/ 653794 h 1113404"/>
                <a:gd name="connsiteX2850" fmla="*/ 1708904 w 1814027"/>
                <a:gd name="connsiteY2850" fmla="*/ 654278 h 1113404"/>
                <a:gd name="connsiteX2851" fmla="*/ 1710900 w 1814027"/>
                <a:gd name="connsiteY2851" fmla="*/ 654127 h 1113404"/>
                <a:gd name="connsiteX2852" fmla="*/ 1714954 w 1814027"/>
                <a:gd name="connsiteY2852" fmla="*/ 653098 h 1113404"/>
                <a:gd name="connsiteX2853" fmla="*/ 1729656 w 1814027"/>
                <a:gd name="connsiteY2853" fmla="*/ 651858 h 1113404"/>
                <a:gd name="connsiteX2854" fmla="*/ 1731683 w 1814027"/>
                <a:gd name="connsiteY2854" fmla="*/ 652191 h 1113404"/>
                <a:gd name="connsiteX2855" fmla="*/ 1735071 w 1814027"/>
                <a:gd name="connsiteY2855" fmla="*/ 654278 h 1113404"/>
                <a:gd name="connsiteX2856" fmla="*/ 1736886 w 1814027"/>
                <a:gd name="connsiteY2856" fmla="*/ 655065 h 1113404"/>
                <a:gd name="connsiteX2857" fmla="*/ 1739125 w 1814027"/>
                <a:gd name="connsiteY2857" fmla="*/ 654974 h 1113404"/>
                <a:gd name="connsiteX2858" fmla="*/ 1743451 w 1814027"/>
                <a:gd name="connsiteY2858" fmla="*/ 653855 h 1113404"/>
                <a:gd name="connsiteX2859" fmla="*/ 1745750 w 1814027"/>
                <a:gd name="connsiteY2859" fmla="*/ 654550 h 1113404"/>
                <a:gd name="connsiteX2860" fmla="*/ 1748715 w 1814027"/>
                <a:gd name="connsiteY2860" fmla="*/ 655034 h 1113404"/>
                <a:gd name="connsiteX2861" fmla="*/ 1754825 w 1814027"/>
                <a:gd name="connsiteY2861" fmla="*/ 653885 h 1113404"/>
                <a:gd name="connsiteX2862" fmla="*/ 1757911 w 1814027"/>
                <a:gd name="connsiteY2862" fmla="*/ 654096 h 1113404"/>
                <a:gd name="connsiteX2863" fmla="*/ 1767984 w 1814027"/>
                <a:gd name="connsiteY2863" fmla="*/ 656577 h 1113404"/>
                <a:gd name="connsiteX2864" fmla="*/ 1771312 w 1814027"/>
                <a:gd name="connsiteY2864" fmla="*/ 655942 h 1113404"/>
                <a:gd name="connsiteX2865" fmla="*/ 1773823 w 1814027"/>
                <a:gd name="connsiteY2865" fmla="*/ 653612 h 1113404"/>
                <a:gd name="connsiteX2866" fmla="*/ 1775518 w 1814027"/>
                <a:gd name="connsiteY2866" fmla="*/ 650164 h 1113404"/>
                <a:gd name="connsiteX2867" fmla="*/ 1776244 w 1814027"/>
                <a:gd name="connsiteY2867" fmla="*/ 646231 h 1113404"/>
                <a:gd name="connsiteX2868" fmla="*/ 1776153 w 1814027"/>
                <a:gd name="connsiteY2868" fmla="*/ 645354 h 1113404"/>
                <a:gd name="connsiteX2869" fmla="*/ 1775699 w 1814027"/>
                <a:gd name="connsiteY2869" fmla="*/ 643478 h 1113404"/>
                <a:gd name="connsiteX2870" fmla="*/ 1775638 w 1814027"/>
                <a:gd name="connsiteY2870" fmla="*/ 642480 h 1113404"/>
                <a:gd name="connsiteX2871" fmla="*/ 1775911 w 1814027"/>
                <a:gd name="connsiteY2871" fmla="*/ 641270 h 1113404"/>
                <a:gd name="connsiteX2872" fmla="*/ 1777000 w 1814027"/>
                <a:gd name="connsiteY2872" fmla="*/ 639183 h 1113404"/>
                <a:gd name="connsiteX2873" fmla="*/ 1777332 w 1814027"/>
                <a:gd name="connsiteY2873" fmla="*/ 638093 h 1113404"/>
                <a:gd name="connsiteX2874" fmla="*/ 1777575 w 1814027"/>
                <a:gd name="connsiteY2874" fmla="*/ 635915 h 1113404"/>
                <a:gd name="connsiteX2875" fmla="*/ 1777393 w 1814027"/>
                <a:gd name="connsiteY2875" fmla="*/ 634554 h 1113404"/>
                <a:gd name="connsiteX2876" fmla="*/ 1775971 w 1814027"/>
                <a:gd name="connsiteY2876" fmla="*/ 631529 h 1113404"/>
                <a:gd name="connsiteX2877" fmla="*/ 1774942 w 1814027"/>
                <a:gd name="connsiteY2877" fmla="*/ 630016 h 1113404"/>
                <a:gd name="connsiteX2878" fmla="*/ 1774125 w 1814027"/>
                <a:gd name="connsiteY2878" fmla="*/ 629230 h 1113404"/>
                <a:gd name="connsiteX2879" fmla="*/ 1773914 w 1814027"/>
                <a:gd name="connsiteY2879" fmla="*/ 628534 h 1113404"/>
                <a:gd name="connsiteX2880" fmla="*/ 1774731 w 1814027"/>
                <a:gd name="connsiteY2880" fmla="*/ 627263 h 1113404"/>
                <a:gd name="connsiteX2881" fmla="*/ 1775820 w 1814027"/>
                <a:gd name="connsiteY2881" fmla="*/ 626568 h 1113404"/>
                <a:gd name="connsiteX2882" fmla="*/ 1781326 w 1814027"/>
                <a:gd name="connsiteY2882" fmla="*/ 625600 h 1113404"/>
                <a:gd name="connsiteX2883" fmla="*/ 1781991 w 1814027"/>
                <a:gd name="connsiteY2883" fmla="*/ 625781 h 1113404"/>
                <a:gd name="connsiteX2884" fmla="*/ 1782264 w 1814027"/>
                <a:gd name="connsiteY2884" fmla="*/ 625570 h 1113404"/>
                <a:gd name="connsiteX2885" fmla="*/ 1782414 w 1814027"/>
                <a:gd name="connsiteY2885" fmla="*/ 624299 h 1113404"/>
                <a:gd name="connsiteX2886" fmla="*/ 1780871 w 1814027"/>
                <a:gd name="connsiteY2886" fmla="*/ 620003 h 1113404"/>
                <a:gd name="connsiteX2887" fmla="*/ 1781083 w 1814027"/>
                <a:gd name="connsiteY2887" fmla="*/ 616797 h 1113404"/>
                <a:gd name="connsiteX2888" fmla="*/ 1782294 w 1814027"/>
                <a:gd name="connsiteY2888" fmla="*/ 614044 h 1113404"/>
                <a:gd name="connsiteX2889" fmla="*/ 1787376 w 1814027"/>
                <a:gd name="connsiteY2889" fmla="*/ 605301 h 1113404"/>
                <a:gd name="connsiteX2890" fmla="*/ 1789281 w 1814027"/>
                <a:gd name="connsiteY2890" fmla="*/ 603274 h 1113404"/>
                <a:gd name="connsiteX2891" fmla="*/ 1794122 w 1814027"/>
                <a:gd name="connsiteY2891" fmla="*/ 599886 h 1113404"/>
                <a:gd name="connsiteX2892" fmla="*/ 1795846 w 1814027"/>
                <a:gd name="connsiteY2892" fmla="*/ 598040 h 1113404"/>
                <a:gd name="connsiteX2893" fmla="*/ 1797147 w 1814027"/>
                <a:gd name="connsiteY2893" fmla="*/ 595499 h 1113404"/>
                <a:gd name="connsiteX2894" fmla="*/ 1797389 w 1814027"/>
                <a:gd name="connsiteY2894" fmla="*/ 592807 h 1113404"/>
                <a:gd name="connsiteX2895" fmla="*/ 1795937 w 1814027"/>
                <a:gd name="connsiteY2895" fmla="*/ 590478 h 1113404"/>
                <a:gd name="connsiteX2896" fmla="*/ 1793789 w 1814027"/>
                <a:gd name="connsiteY2896" fmla="*/ 590024 h 1113404"/>
                <a:gd name="connsiteX2897" fmla="*/ 1788555 w 1814027"/>
                <a:gd name="connsiteY2897" fmla="*/ 591779 h 1113404"/>
                <a:gd name="connsiteX2898" fmla="*/ 1786499 w 1814027"/>
                <a:gd name="connsiteY2898" fmla="*/ 592020 h 1113404"/>
                <a:gd name="connsiteX2899" fmla="*/ 1779571 w 1814027"/>
                <a:gd name="connsiteY2899" fmla="*/ 587967 h 1113404"/>
                <a:gd name="connsiteX2900" fmla="*/ 1786438 w 1814027"/>
                <a:gd name="connsiteY2900" fmla="*/ 582673 h 1113404"/>
                <a:gd name="connsiteX2901" fmla="*/ 1788163 w 1814027"/>
                <a:gd name="connsiteY2901" fmla="*/ 580616 h 1113404"/>
                <a:gd name="connsiteX2902" fmla="*/ 1790431 w 1814027"/>
                <a:gd name="connsiteY2902" fmla="*/ 578559 h 1113404"/>
                <a:gd name="connsiteX2903" fmla="*/ 1789463 w 1814027"/>
                <a:gd name="connsiteY2903" fmla="*/ 577349 h 1113404"/>
                <a:gd name="connsiteX2904" fmla="*/ 1788677 w 1814027"/>
                <a:gd name="connsiteY2904" fmla="*/ 575443 h 1113404"/>
                <a:gd name="connsiteX2905" fmla="*/ 1787618 w 1814027"/>
                <a:gd name="connsiteY2905" fmla="*/ 571873 h 1113404"/>
                <a:gd name="connsiteX2906" fmla="*/ 1784472 w 1814027"/>
                <a:gd name="connsiteY2906" fmla="*/ 565460 h 1113404"/>
                <a:gd name="connsiteX2907" fmla="*/ 1783413 w 1814027"/>
                <a:gd name="connsiteY2907" fmla="*/ 564704 h 1113404"/>
                <a:gd name="connsiteX2908" fmla="*/ 1782445 w 1814027"/>
                <a:gd name="connsiteY2908" fmla="*/ 563584 h 1113404"/>
                <a:gd name="connsiteX2909" fmla="*/ 1782173 w 1814027"/>
                <a:gd name="connsiteY2909" fmla="*/ 561406 h 1113404"/>
                <a:gd name="connsiteX2910" fmla="*/ 1782626 w 1814027"/>
                <a:gd name="connsiteY2910" fmla="*/ 561285 h 1113404"/>
                <a:gd name="connsiteX2911" fmla="*/ 1783564 w 1814027"/>
                <a:gd name="connsiteY2911" fmla="*/ 561345 h 1113404"/>
                <a:gd name="connsiteX2912" fmla="*/ 1784502 w 1814027"/>
                <a:gd name="connsiteY2912" fmla="*/ 561073 h 1113404"/>
                <a:gd name="connsiteX2913" fmla="*/ 1784925 w 1814027"/>
                <a:gd name="connsiteY2913" fmla="*/ 559893 h 1113404"/>
                <a:gd name="connsiteX2914" fmla="*/ 1784804 w 1814027"/>
                <a:gd name="connsiteY2914" fmla="*/ 559470 h 1113404"/>
                <a:gd name="connsiteX2915" fmla="*/ 1784563 w 1814027"/>
                <a:gd name="connsiteY2915" fmla="*/ 558895 h 1113404"/>
                <a:gd name="connsiteX2916" fmla="*/ 1784321 w 1814027"/>
                <a:gd name="connsiteY2916" fmla="*/ 558109 h 1113404"/>
                <a:gd name="connsiteX2917" fmla="*/ 1784199 w 1814027"/>
                <a:gd name="connsiteY2917" fmla="*/ 557080 h 1113404"/>
                <a:gd name="connsiteX2918" fmla="*/ 1783443 w 1814027"/>
                <a:gd name="connsiteY2918" fmla="*/ 553450 h 1113404"/>
                <a:gd name="connsiteX2919" fmla="*/ 1781447 w 1814027"/>
                <a:gd name="connsiteY2919" fmla="*/ 551030 h 1113404"/>
                <a:gd name="connsiteX2920" fmla="*/ 1778815 w 1814027"/>
                <a:gd name="connsiteY2920" fmla="*/ 549608 h 1113404"/>
                <a:gd name="connsiteX2921" fmla="*/ 1766835 w 1814027"/>
                <a:gd name="connsiteY2921" fmla="*/ 548216 h 1113404"/>
                <a:gd name="connsiteX2922" fmla="*/ 1764839 w 1814027"/>
                <a:gd name="connsiteY2922" fmla="*/ 548942 h 1113404"/>
                <a:gd name="connsiteX2923" fmla="*/ 1760967 w 1814027"/>
                <a:gd name="connsiteY2923" fmla="*/ 549154 h 1113404"/>
                <a:gd name="connsiteX2924" fmla="*/ 1761964 w 1814027"/>
                <a:gd name="connsiteY2924" fmla="*/ 545675 h 1113404"/>
                <a:gd name="connsiteX2925" fmla="*/ 1768105 w 1814027"/>
                <a:gd name="connsiteY2925" fmla="*/ 526799 h 1113404"/>
                <a:gd name="connsiteX2926" fmla="*/ 1768953 w 1814027"/>
                <a:gd name="connsiteY2926" fmla="*/ 525649 h 1113404"/>
                <a:gd name="connsiteX2927" fmla="*/ 1771464 w 1814027"/>
                <a:gd name="connsiteY2927" fmla="*/ 524711 h 1113404"/>
                <a:gd name="connsiteX2928" fmla="*/ 1772281 w 1814027"/>
                <a:gd name="connsiteY2928" fmla="*/ 523441 h 1113404"/>
                <a:gd name="connsiteX2929" fmla="*/ 1772976 w 1814027"/>
                <a:gd name="connsiteY2929" fmla="*/ 521868 h 1113404"/>
                <a:gd name="connsiteX2930" fmla="*/ 1773793 w 1814027"/>
                <a:gd name="connsiteY2930" fmla="*/ 520325 h 1113404"/>
                <a:gd name="connsiteX2931" fmla="*/ 1775820 w 1814027"/>
                <a:gd name="connsiteY2931" fmla="*/ 518237 h 1113404"/>
                <a:gd name="connsiteX2932" fmla="*/ 1777998 w 1814027"/>
                <a:gd name="connsiteY2932" fmla="*/ 517239 h 1113404"/>
                <a:gd name="connsiteX2933" fmla="*/ 1780327 w 1814027"/>
                <a:gd name="connsiteY2933" fmla="*/ 517148 h 1113404"/>
                <a:gd name="connsiteX2934" fmla="*/ 1791459 w 1814027"/>
                <a:gd name="connsiteY2934" fmla="*/ 521202 h 1113404"/>
                <a:gd name="connsiteX2935" fmla="*/ 1795513 w 1814027"/>
                <a:gd name="connsiteY2935" fmla="*/ 520779 h 1113404"/>
                <a:gd name="connsiteX2936" fmla="*/ 1799960 w 1814027"/>
                <a:gd name="connsiteY2936" fmla="*/ 517481 h 1113404"/>
                <a:gd name="connsiteX2937" fmla="*/ 1801897 w 1814027"/>
                <a:gd name="connsiteY2937" fmla="*/ 515122 h 1113404"/>
                <a:gd name="connsiteX2938" fmla="*/ 1803319 w 1814027"/>
                <a:gd name="connsiteY2938" fmla="*/ 512338 h 1113404"/>
                <a:gd name="connsiteX2939" fmla="*/ 1803409 w 1814027"/>
                <a:gd name="connsiteY2939" fmla="*/ 509616 h 1113404"/>
                <a:gd name="connsiteX2940" fmla="*/ 1801443 w 1814027"/>
                <a:gd name="connsiteY2940" fmla="*/ 507316 h 1113404"/>
                <a:gd name="connsiteX2941" fmla="*/ 1798872 w 1814027"/>
                <a:gd name="connsiteY2941" fmla="*/ 507014 h 1113404"/>
                <a:gd name="connsiteX2942" fmla="*/ 1796965 w 1814027"/>
                <a:gd name="connsiteY2942" fmla="*/ 508739 h 1113404"/>
                <a:gd name="connsiteX2943" fmla="*/ 1795211 w 1814027"/>
                <a:gd name="connsiteY2943" fmla="*/ 510886 h 1113404"/>
                <a:gd name="connsiteX2944" fmla="*/ 1793002 w 1814027"/>
                <a:gd name="connsiteY2944" fmla="*/ 511945 h 1113404"/>
                <a:gd name="connsiteX2945" fmla="*/ 1791732 w 1814027"/>
                <a:gd name="connsiteY2945" fmla="*/ 511461 h 1113404"/>
                <a:gd name="connsiteX2946" fmla="*/ 1789826 w 1814027"/>
                <a:gd name="connsiteY2946" fmla="*/ 509192 h 1113404"/>
                <a:gd name="connsiteX2947" fmla="*/ 1788767 w 1814027"/>
                <a:gd name="connsiteY2947" fmla="*/ 508345 h 1113404"/>
                <a:gd name="connsiteX2948" fmla="*/ 1787588 w 1814027"/>
                <a:gd name="connsiteY2948" fmla="*/ 508133 h 1113404"/>
                <a:gd name="connsiteX2949" fmla="*/ 1784078 w 1814027"/>
                <a:gd name="connsiteY2949" fmla="*/ 508617 h 1113404"/>
                <a:gd name="connsiteX2950" fmla="*/ 1776092 w 1814027"/>
                <a:gd name="connsiteY2950" fmla="*/ 506923 h 1113404"/>
                <a:gd name="connsiteX2951" fmla="*/ 1773702 w 1814027"/>
                <a:gd name="connsiteY2951" fmla="*/ 505955 h 1113404"/>
                <a:gd name="connsiteX2952" fmla="*/ 1772552 w 1814027"/>
                <a:gd name="connsiteY2952" fmla="*/ 504564 h 1113404"/>
                <a:gd name="connsiteX2953" fmla="*/ 1771736 w 1814027"/>
                <a:gd name="connsiteY2953" fmla="*/ 502658 h 1113404"/>
                <a:gd name="connsiteX2954" fmla="*/ 1770374 w 1814027"/>
                <a:gd name="connsiteY2954" fmla="*/ 500117 h 1113404"/>
                <a:gd name="connsiteX2955" fmla="*/ 1768560 w 1814027"/>
                <a:gd name="connsiteY2955" fmla="*/ 498453 h 1113404"/>
                <a:gd name="connsiteX2956" fmla="*/ 1766532 w 1814027"/>
                <a:gd name="connsiteY2956" fmla="*/ 497213 h 1113404"/>
                <a:gd name="connsiteX2957" fmla="*/ 1765171 w 1814027"/>
                <a:gd name="connsiteY2957" fmla="*/ 495458 h 1113404"/>
                <a:gd name="connsiteX2958" fmla="*/ 1765897 w 1814027"/>
                <a:gd name="connsiteY2958" fmla="*/ 488409 h 1113404"/>
                <a:gd name="connsiteX2959" fmla="*/ 1767591 w 1814027"/>
                <a:gd name="connsiteY2959" fmla="*/ 487260 h 1113404"/>
                <a:gd name="connsiteX2960" fmla="*/ 1772704 w 1814027"/>
                <a:gd name="connsiteY2960" fmla="*/ 487563 h 1113404"/>
                <a:gd name="connsiteX2961" fmla="*/ 1781023 w 1814027"/>
                <a:gd name="connsiteY2961" fmla="*/ 484870 h 1113404"/>
                <a:gd name="connsiteX2962" fmla="*/ 1784078 w 1814027"/>
                <a:gd name="connsiteY2962" fmla="*/ 484870 h 1113404"/>
                <a:gd name="connsiteX2963" fmla="*/ 1787043 w 1814027"/>
                <a:gd name="connsiteY2963" fmla="*/ 485354 h 1113404"/>
                <a:gd name="connsiteX2964" fmla="*/ 1788646 w 1814027"/>
                <a:gd name="connsiteY2964" fmla="*/ 485233 h 1113404"/>
                <a:gd name="connsiteX2965" fmla="*/ 1789796 w 1814027"/>
                <a:gd name="connsiteY2965" fmla="*/ 484507 h 1113404"/>
                <a:gd name="connsiteX2966" fmla="*/ 1790280 w 1814027"/>
                <a:gd name="connsiteY2966" fmla="*/ 483085 h 1113404"/>
                <a:gd name="connsiteX2967" fmla="*/ 1790552 w 1814027"/>
                <a:gd name="connsiteY2967" fmla="*/ 479062 h 1113404"/>
                <a:gd name="connsiteX2968" fmla="*/ 1791036 w 1814027"/>
                <a:gd name="connsiteY2968" fmla="*/ 477065 h 1113404"/>
                <a:gd name="connsiteX2969" fmla="*/ 1793154 w 1814027"/>
                <a:gd name="connsiteY2969" fmla="*/ 473677 h 1113404"/>
                <a:gd name="connsiteX2970" fmla="*/ 1795937 w 1814027"/>
                <a:gd name="connsiteY2970" fmla="*/ 471227 h 1113404"/>
                <a:gd name="connsiteX2971" fmla="*/ 1801836 w 1814027"/>
                <a:gd name="connsiteY2971" fmla="*/ 467445 h 1113404"/>
                <a:gd name="connsiteX2972" fmla="*/ 1803772 w 1814027"/>
                <a:gd name="connsiteY2972" fmla="*/ 465449 h 1113404"/>
                <a:gd name="connsiteX2973" fmla="*/ 1807130 w 1814027"/>
                <a:gd name="connsiteY2973" fmla="*/ 460578 h 1113404"/>
                <a:gd name="connsiteX2974" fmla="*/ 1809066 w 1814027"/>
                <a:gd name="connsiteY2974" fmla="*/ 459096 h 1113404"/>
                <a:gd name="connsiteX2975" fmla="*/ 1811456 w 1814027"/>
                <a:gd name="connsiteY2975" fmla="*/ 457886 h 1113404"/>
                <a:gd name="connsiteX2976" fmla="*/ 1812243 w 1814027"/>
                <a:gd name="connsiteY2976" fmla="*/ 456555 h 1113404"/>
                <a:gd name="connsiteX2977" fmla="*/ 1812333 w 1814027"/>
                <a:gd name="connsiteY2977" fmla="*/ 451442 h 1113404"/>
                <a:gd name="connsiteX2978" fmla="*/ 1813785 w 1814027"/>
                <a:gd name="connsiteY2978" fmla="*/ 446632 h 1113404"/>
                <a:gd name="connsiteX2979" fmla="*/ 1814028 w 1814027"/>
                <a:gd name="connsiteY2979" fmla="*/ 444121 h 1113404"/>
                <a:gd name="connsiteX2980" fmla="*/ 1812878 w 1814027"/>
                <a:gd name="connsiteY2980" fmla="*/ 441852 h 111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Lst>
              <a:rect l="l" t="t" r="r" b="b"/>
              <a:pathLst>
                <a:path w="1814027" h="1113404">
                  <a:moveTo>
                    <a:pt x="782847" y="942544"/>
                  </a:moveTo>
                  <a:lnTo>
                    <a:pt x="781123" y="943905"/>
                  </a:lnTo>
                  <a:lnTo>
                    <a:pt x="778218" y="946840"/>
                  </a:lnTo>
                  <a:lnTo>
                    <a:pt x="776615" y="948050"/>
                  </a:lnTo>
                  <a:lnTo>
                    <a:pt x="775223" y="948443"/>
                  </a:lnTo>
                  <a:lnTo>
                    <a:pt x="773680" y="948655"/>
                  </a:lnTo>
                  <a:lnTo>
                    <a:pt x="772380" y="949139"/>
                  </a:lnTo>
                  <a:lnTo>
                    <a:pt x="771835" y="950379"/>
                  </a:lnTo>
                  <a:lnTo>
                    <a:pt x="771049" y="951649"/>
                  </a:lnTo>
                  <a:lnTo>
                    <a:pt x="769022" y="953132"/>
                  </a:lnTo>
                  <a:lnTo>
                    <a:pt x="763970" y="955673"/>
                  </a:lnTo>
                  <a:lnTo>
                    <a:pt x="771684" y="952648"/>
                  </a:lnTo>
                  <a:lnTo>
                    <a:pt x="781818" y="945781"/>
                  </a:lnTo>
                  <a:lnTo>
                    <a:pt x="803751" y="926602"/>
                  </a:lnTo>
                  <a:lnTo>
                    <a:pt x="798698" y="929112"/>
                  </a:lnTo>
                  <a:lnTo>
                    <a:pt x="782907" y="942574"/>
                  </a:lnTo>
                  <a:close/>
                  <a:moveTo>
                    <a:pt x="1098702" y="898195"/>
                  </a:moveTo>
                  <a:lnTo>
                    <a:pt x="1097462" y="896531"/>
                  </a:lnTo>
                  <a:lnTo>
                    <a:pt x="1092863" y="896864"/>
                  </a:lnTo>
                  <a:lnTo>
                    <a:pt x="1091835" y="895896"/>
                  </a:lnTo>
                  <a:lnTo>
                    <a:pt x="1090776" y="894474"/>
                  </a:lnTo>
                  <a:lnTo>
                    <a:pt x="1088386" y="894686"/>
                  </a:lnTo>
                  <a:lnTo>
                    <a:pt x="1084212" y="896410"/>
                  </a:lnTo>
                  <a:lnTo>
                    <a:pt x="1081005" y="894202"/>
                  </a:lnTo>
                  <a:lnTo>
                    <a:pt x="1078040" y="894081"/>
                  </a:lnTo>
                  <a:lnTo>
                    <a:pt x="1071113" y="895412"/>
                  </a:lnTo>
                  <a:lnTo>
                    <a:pt x="1056622" y="893597"/>
                  </a:lnTo>
                  <a:lnTo>
                    <a:pt x="1055836" y="892780"/>
                  </a:lnTo>
                  <a:lnTo>
                    <a:pt x="1055382" y="892780"/>
                  </a:lnTo>
                  <a:lnTo>
                    <a:pt x="1054656" y="893597"/>
                  </a:lnTo>
                  <a:lnTo>
                    <a:pt x="1096978" y="899980"/>
                  </a:lnTo>
                  <a:lnTo>
                    <a:pt x="1098732" y="898226"/>
                  </a:lnTo>
                  <a:close/>
                  <a:moveTo>
                    <a:pt x="999417" y="877261"/>
                  </a:moveTo>
                  <a:lnTo>
                    <a:pt x="986288" y="874327"/>
                  </a:lnTo>
                  <a:lnTo>
                    <a:pt x="953858" y="867036"/>
                  </a:lnTo>
                  <a:lnTo>
                    <a:pt x="949834" y="864858"/>
                  </a:lnTo>
                  <a:lnTo>
                    <a:pt x="947444" y="862075"/>
                  </a:lnTo>
                  <a:lnTo>
                    <a:pt x="945842" y="858143"/>
                  </a:lnTo>
                  <a:lnTo>
                    <a:pt x="944178" y="852455"/>
                  </a:lnTo>
                  <a:lnTo>
                    <a:pt x="942423" y="851789"/>
                  </a:lnTo>
                  <a:lnTo>
                    <a:pt x="942484" y="854240"/>
                  </a:lnTo>
                  <a:lnTo>
                    <a:pt x="943391" y="857658"/>
                  </a:lnTo>
                  <a:lnTo>
                    <a:pt x="944178" y="859806"/>
                  </a:lnTo>
                  <a:lnTo>
                    <a:pt x="946900" y="863920"/>
                  </a:lnTo>
                  <a:lnTo>
                    <a:pt x="950046" y="866552"/>
                  </a:lnTo>
                  <a:lnTo>
                    <a:pt x="965807" y="872149"/>
                  </a:lnTo>
                  <a:lnTo>
                    <a:pt x="1002503" y="879348"/>
                  </a:lnTo>
                  <a:lnTo>
                    <a:pt x="1006738" y="881224"/>
                  </a:lnTo>
                  <a:lnTo>
                    <a:pt x="1009006" y="881678"/>
                  </a:lnTo>
                  <a:lnTo>
                    <a:pt x="1007706" y="880801"/>
                  </a:lnTo>
                  <a:lnTo>
                    <a:pt x="999417" y="877261"/>
                  </a:lnTo>
                  <a:close/>
                  <a:moveTo>
                    <a:pt x="1812243" y="442004"/>
                  </a:moveTo>
                  <a:lnTo>
                    <a:pt x="1807553" y="436921"/>
                  </a:lnTo>
                  <a:lnTo>
                    <a:pt x="1803590" y="431204"/>
                  </a:lnTo>
                  <a:lnTo>
                    <a:pt x="1801473" y="426999"/>
                  </a:lnTo>
                  <a:lnTo>
                    <a:pt x="1800868" y="422522"/>
                  </a:lnTo>
                  <a:lnTo>
                    <a:pt x="1802834" y="417863"/>
                  </a:lnTo>
                  <a:lnTo>
                    <a:pt x="1804619" y="416320"/>
                  </a:lnTo>
                  <a:lnTo>
                    <a:pt x="1808522" y="414233"/>
                  </a:lnTo>
                  <a:lnTo>
                    <a:pt x="1810065" y="412267"/>
                  </a:lnTo>
                  <a:lnTo>
                    <a:pt x="1810518" y="409302"/>
                  </a:lnTo>
                  <a:lnTo>
                    <a:pt x="1809278" y="408062"/>
                  </a:lnTo>
                  <a:lnTo>
                    <a:pt x="1808975" y="407759"/>
                  </a:lnTo>
                  <a:lnTo>
                    <a:pt x="1799143" y="405278"/>
                  </a:lnTo>
                  <a:lnTo>
                    <a:pt x="1797177" y="405218"/>
                  </a:lnTo>
                  <a:lnTo>
                    <a:pt x="1794757" y="406035"/>
                  </a:lnTo>
                  <a:lnTo>
                    <a:pt x="1788798" y="411661"/>
                  </a:lnTo>
                  <a:lnTo>
                    <a:pt x="1786256" y="413053"/>
                  </a:lnTo>
                  <a:lnTo>
                    <a:pt x="1783261" y="414142"/>
                  </a:lnTo>
                  <a:lnTo>
                    <a:pt x="1780176" y="414717"/>
                  </a:lnTo>
                  <a:lnTo>
                    <a:pt x="1777453" y="414596"/>
                  </a:lnTo>
                  <a:lnTo>
                    <a:pt x="1775396" y="413719"/>
                  </a:lnTo>
                  <a:lnTo>
                    <a:pt x="1770163" y="409090"/>
                  </a:lnTo>
                  <a:lnTo>
                    <a:pt x="1766079" y="407275"/>
                  </a:lnTo>
                  <a:lnTo>
                    <a:pt x="1762509" y="406367"/>
                  </a:lnTo>
                  <a:lnTo>
                    <a:pt x="1759454" y="404431"/>
                  </a:lnTo>
                  <a:lnTo>
                    <a:pt x="1756882" y="399500"/>
                  </a:lnTo>
                  <a:lnTo>
                    <a:pt x="1755279" y="393420"/>
                  </a:lnTo>
                  <a:lnTo>
                    <a:pt x="1754160" y="390183"/>
                  </a:lnTo>
                  <a:lnTo>
                    <a:pt x="1752859" y="388640"/>
                  </a:lnTo>
                  <a:lnTo>
                    <a:pt x="1746990" y="388065"/>
                  </a:lnTo>
                  <a:lnTo>
                    <a:pt x="1745054" y="387279"/>
                  </a:lnTo>
                  <a:lnTo>
                    <a:pt x="1741394" y="385010"/>
                  </a:lnTo>
                  <a:lnTo>
                    <a:pt x="1737612" y="385766"/>
                  </a:lnTo>
                  <a:lnTo>
                    <a:pt x="1733710" y="387551"/>
                  </a:lnTo>
                  <a:lnTo>
                    <a:pt x="1729717" y="388338"/>
                  </a:lnTo>
                  <a:lnTo>
                    <a:pt x="1725935" y="387521"/>
                  </a:lnTo>
                  <a:lnTo>
                    <a:pt x="1723001" y="385736"/>
                  </a:lnTo>
                  <a:lnTo>
                    <a:pt x="1720702" y="382802"/>
                  </a:lnTo>
                  <a:lnTo>
                    <a:pt x="1715135" y="369431"/>
                  </a:lnTo>
                  <a:lnTo>
                    <a:pt x="1714984" y="369279"/>
                  </a:lnTo>
                  <a:lnTo>
                    <a:pt x="1712443" y="367252"/>
                  </a:lnTo>
                  <a:lnTo>
                    <a:pt x="1708541" y="368583"/>
                  </a:lnTo>
                  <a:lnTo>
                    <a:pt x="1706816" y="370398"/>
                  </a:lnTo>
                  <a:lnTo>
                    <a:pt x="1703640" y="374785"/>
                  </a:lnTo>
                  <a:lnTo>
                    <a:pt x="1701704" y="376298"/>
                  </a:lnTo>
                  <a:lnTo>
                    <a:pt x="1700009" y="376751"/>
                  </a:lnTo>
                  <a:lnTo>
                    <a:pt x="1690450" y="377296"/>
                  </a:lnTo>
                  <a:lnTo>
                    <a:pt x="1687728" y="374846"/>
                  </a:lnTo>
                  <a:lnTo>
                    <a:pt x="1685308" y="371336"/>
                  </a:lnTo>
                  <a:lnTo>
                    <a:pt x="1681889" y="368372"/>
                  </a:lnTo>
                  <a:lnTo>
                    <a:pt x="1671392" y="365558"/>
                  </a:lnTo>
                  <a:lnTo>
                    <a:pt x="1665281" y="361474"/>
                  </a:lnTo>
                  <a:lnTo>
                    <a:pt x="1664646" y="360839"/>
                  </a:lnTo>
                  <a:lnTo>
                    <a:pt x="1664101" y="359599"/>
                  </a:lnTo>
                  <a:lnTo>
                    <a:pt x="1663829" y="357300"/>
                  </a:lnTo>
                  <a:lnTo>
                    <a:pt x="1662951" y="354486"/>
                  </a:lnTo>
                  <a:lnTo>
                    <a:pt x="1662951" y="354123"/>
                  </a:lnTo>
                  <a:lnTo>
                    <a:pt x="1662740" y="354486"/>
                  </a:lnTo>
                  <a:lnTo>
                    <a:pt x="1660290" y="355242"/>
                  </a:lnTo>
                  <a:lnTo>
                    <a:pt x="1659382" y="355817"/>
                  </a:lnTo>
                  <a:lnTo>
                    <a:pt x="1658414" y="356180"/>
                  </a:lnTo>
                  <a:lnTo>
                    <a:pt x="1653453" y="355333"/>
                  </a:lnTo>
                  <a:lnTo>
                    <a:pt x="1646132" y="356574"/>
                  </a:lnTo>
                  <a:lnTo>
                    <a:pt x="1642471" y="355303"/>
                  </a:lnTo>
                  <a:lnTo>
                    <a:pt x="1640112" y="353790"/>
                  </a:lnTo>
                  <a:lnTo>
                    <a:pt x="1638327" y="353155"/>
                  </a:lnTo>
                  <a:lnTo>
                    <a:pt x="1633941" y="352701"/>
                  </a:lnTo>
                  <a:lnTo>
                    <a:pt x="1631913" y="351885"/>
                  </a:lnTo>
                  <a:lnTo>
                    <a:pt x="1630704" y="350221"/>
                  </a:lnTo>
                  <a:lnTo>
                    <a:pt x="1627679" y="341962"/>
                  </a:lnTo>
                  <a:lnTo>
                    <a:pt x="1626257" y="340389"/>
                  </a:lnTo>
                  <a:lnTo>
                    <a:pt x="1624381" y="340117"/>
                  </a:lnTo>
                  <a:lnTo>
                    <a:pt x="1621628" y="340601"/>
                  </a:lnTo>
                  <a:lnTo>
                    <a:pt x="1615185" y="340056"/>
                  </a:lnTo>
                  <a:lnTo>
                    <a:pt x="1613582" y="340419"/>
                  </a:lnTo>
                  <a:lnTo>
                    <a:pt x="1612613" y="344685"/>
                  </a:lnTo>
                  <a:lnTo>
                    <a:pt x="1613339" y="351340"/>
                  </a:lnTo>
                  <a:lnTo>
                    <a:pt x="1612825" y="357602"/>
                  </a:lnTo>
                  <a:lnTo>
                    <a:pt x="1608076" y="360658"/>
                  </a:lnTo>
                  <a:lnTo>
                    <a:pt x="1607017" y="360446"/>
                  </a:lnTo>
                  <a:lnTo>
                    <a:pt x="1605172" y="359327"/>
                  </a:lnTo>
                  <a:lnTo>
                    <a:pt x="1604052" y="359115"/>
                  </a:lnTo>
                  <a:lnTo>
                    <a:pt x="1602782" y="359508"/>
                  </a:lnTo>
                  <a:lnTo>
                    <a:pt x="1598395" y="362110"/>
                  </a:lnTo>
                  <a:lnTo>
                    <a:pt x="1596126" y="363441"/>
                  </a:lnTo>
                  <a:lnTo>
                    <a:pt x="1595672" y="362563"/>
                  </a:lnTo>
                  <a:lnTo>
                    <a:pt x="1595612" y="360355"/>
                  </a:lnTo>
                  <a:lnTo>
                    <a:pt x="1594069" y="357753"/>
                  </a:lnTo>
                  <a:lnTo>
                    <a:pt x="1593948" y="357481"/>
                  </a:lnTo>
                  <a:lnTo>
                    <a:pt x="1590681" y="352217"/>
                  </a:lnTo>
                  <a:lnTo>
                    <a:pt x="1587595" y="348618"/>
                  </a:lnTo>
                  <a:lnTo>
                    <a:pt x="1584147" y="345774"/>
                  </a:lnTo>
                  <a:lnTo>
                    <a:pt x="1580244" y="343445"/>
                  </a:lnTo>
                  <a:lnTo>
                    <a:pt x="1572258" y="340087"/>
                  </a:lnTo>
                  <a:lnTo>
                    <a:pt x="1568658" y="337757"/>
                  </a:lnTo>
                  <a:lnTo>
                    <a:pt x="1559008" y="324023"/>
                  </a:lnTo>
                  <a:lnTo>
                    <a:pt x="1555498" y="320726"/>
                  </a:lnTo>
                  <a:lnTo>
                    <a:pt x="1554803" y="319727"/>
                  </a:lnTo>
                  <a:lnTo>
                    <a:pt x="1554652" y="318154"/>
                  </a:lnTo>
                  <a:lnTo>
                    <a:pt x="1554954" y="316612"/>
                  </a:lnTo>
                  <a:lnTo>
                    <a:pt x="1555952" y="313193"/>
                  </a:lnTo>
                  <a:lnTo>
                    <a:pt x="1555710" y="307143"/>
                  </a:lnTo>
                  <a:lnTo>
                    <a:pt x="1552594" y="304027"/>
                  </a:lnTo>
                  <a:lnTo>
                    <a:pt x="1543731" y="300064"/>
                  </a:lnTo>
                  <a:lnTo>
                    <a:pt x="1542097" y="296222"/>
                  </a:lnTo>
                  <a:lnTo>
                    <a:pt x="1540706" y="291533"/>
                  </a:lnTo>
                  <a:lnTo>
                    <a:pt x="1539193" y="287752"/>
                  </a:lnTo>
                  <a:lnTo>
                    <a:pt x="1537197" y="286753"/>
                  </a:lnTo>
                  <a:lnTo>
                    <a:pt x="1527093" y="288054"/>
                  </a:lnTo>
                  <a:lnTo>
                    <a:pt x="1524098" y="289173"/>
                  </a:lnTo>
                  <a:lnTo>
                    <a:pt x="1518229" y="294710"/>
                  </a:lnTo>
                  <a:lnTo>
                    <a:pt x="1515234" y="296827"/>
                  </a:lnTo>
                  <a:lnTo>
                    <a:pt x="1500623" y="300730"/>
                  </a:lnTo>
                  <a:lnTo>
                    <a:pt x="1493423" y="299731"/>
                  </a:lnTo>
                  <a:lnTo>
                    <a:pt x="1486767" y="300185"/>
                  </a:lnTo>
                  <a:lnTo>
                    <a:pt x="1480203" y="302424"/>
                  </a:lnTo>
                  <a:lnTo>
                    <a:pt x="1463504" y="311529"/>
                  </a:lnTo>
                  <a:lnTo>
                    <a:pt x="1462234" y="312649"/>
                  </a:lnTo>
                  <a:lnTo>
                    <a:pt x="1461296" y="313980"/>
                  </a:lnTo>
                  <a:lnTo>
                    <a:pt x="1459662" y="317095"/>
                  </a:lnTo>
                  <a:lnTo>
                    <a:pt x="1458785" y="318275"/>
                  </a:lnTo>
                  <a:lnTo>
                    <a:pt x="1456879" y="319364"/>
                  </a:lnTo>
                  <a:lnTo>
                    <a:pt x="1454610" y="319637"/>
                  </a:lnTo>
                  <a:lnTo>
                    <a:pt x="1452250" y="319274"/>
                  </a:lnTo>
                  <a:lnTo>
                    <a:pt x="1450103" y="318517"/>
                  </a:lnTo>
                  <a:lnTo>
                    <a:pt x="1448590" y="317398"/>
                  </a:lnTo>
                  <a:lnTo>
                    <a:pt x="1448287" y="316097"/>
                  </a:lnTo>
                  <a:lnTo>
                    <a:pt x="1448530" y="314675"/>
                  </a:lnTo>
                  <a:lnTo>
                    <a:pt x="1448742" y="311469"/>
                  </a:lnTo>
                  <a:lnTo>
                    <a:pt x="1449013" y="310864"/>
                  </a:lnTo>
                  <a:lnTo>
                    <a:pt x="1448772" y="310501"/>
                  </a:lnTo>
                  <a:lnTo>
                    <a:pt x="1447229" y="309563"/>
                  </a:lnTo>
                  <a:lnTo>
                    <a:pt x="1446321" y="309230"/>
                  </a:lnTo>
                  <a:lnTo>
                    <a:pt x="1443115" y="308595"/>
                  </a:lnTo>
                  <a:lnTo>
                    <a:pt x="1440362" y="306750"/>
                  </a:lnTo>
                  <a:lnTo>
                    <a:pt x="1438123" y="306265"/>
                  </a:lnTo>
                  <a:lnTo>
                    <a:pt x="1436066" y="305146"/>
                  </a:lnTo>
                  <a:lnTo>
                    <a:pt x="1435068" y="304844"/>
                  </a:lnTo>
                  <a:lnTo>
                    <a:pt x="1433827" y="304844"/>
                  </a:lnTo>
                  <a:lnTo>
                    <a:pt x="1433131" y="305207"/>
                  </a:lnTo>
                  <a:lnTo>
                    <a:pt x="1431165" y="307022"/>
                  </a:lnTo>
                  <a:lnTo>
                    <a:pt x="1428957" y="308474"/>
                  </a:lnTo>
                  <a:lnTo>
                    <a:pt x="1426567" y="309442"/>
                  </a:lnTo>
                  <a:lnTo>
                    <a:pt x="1424147" y="309563"/>
                  </a:lnTo>
                  <a:lnTo>
                    <a:pt x="1421848" y="308504"/>
                  </a:lnTo>
                  <a:lnTo>
                    <a:pt x="1411804" y="293711"/>
                  </a:lnTo>
                  <a:lnTo>
                    <a:pt x="1408930" y="292380"/>
                  </a:lnTo>
                  <a:lnTo>
                    <a:pt x="1408174" y="289657"/>
                  </a:lnTo>
                  <a:lnTo>
                    <a:pt x="1405421" y="288296"/>
                  </a:lnTo>
                  <a:lnTo>
                    <a:pt x="1387906" y="286965"/>
                  </a:lnTo>
                  <a:lnTo>
                    <a:pt x="1378407" y="287963"/>
                  </a:lnTo>
                  <a:lnTo>
                    <a:pt x="1376592" y="288568"/>
                  </a:lnTo>
                  <a:lnTo>
                    <a:pt x="1375200" y="289567"/>
                  </a:lnTo>
                  <a:lnTo>
                    <a:pt x="1373203" y="292108"/>
                  </a:lnTo>
                  <a:lnTo>
                    <a:pt x="1372054" y="293227"/>
                  </a:lnTo>
                  <a:lnTo>
                    <a:pt x="1371146" y="293560"/>
                  </a:lnTo>
                  <a:lnTo>
                    <a:pt x="1369210" y="293651"/>
                  </a:lnTo>
                  <a:lnTo>
                    <a:pt x="1368363" y="294014"/>
                  </a:lnTo>
                  <a:lnTo>
                    <a:pt x="1366699" y="295889"/>
                  </a:lnTo>
                  <a:lnTo>
                    <a:pt x="1365611" y="297795"/>
                  </a:lnTo>
                  <a:lnTo>
                    <a:pt x="1364249" y="299308"/>
                  </a:lnTo>
                  <a:lnTo>
                    <a:pt x="1363765" y="299459"/>
                  </a:lnTo>
                  <a:lnTo>
                    <a:pt x="1361859" y="300034"/>
                  </a:lnTo>
                  <a:lnTo>
                    <a:pt x="1359741" y="299913"/>
                  </a:lnTo>
                  <a:lnTo>
                    <a:pt x="1357684" y="299338"/>
                  </a:lnTo>
                  <a:lnTo>
                    <a:pt x="1355658" y="298370"/>
                  </a:lnTo>
                  <a:lnTo>
                    <a:pt x="1353721" y="297099"/>
                  </a:lnTo>
                  <a:lnTo>
                    <a:pt x="1351513" y="294800"/>
                  </a:lnTo>
                  <a:lnTo>
                    <a:pt x="1350878" y="292562"/>
                  </a:lnTo>
                  <a:lnTo>
                    <a:pt x="1350727" y="289960"/>
                  </a:lnTo>
                  <a:lnTo>
                    <a:pt x="1349970" y="286542"/>
                  </a:lnTo>
                  <a:lnTo>
                    <a:pt x="1348579" y="284091"/>
                  </a:lnTo>
                  <a:lnTo>
                    <a:pt x="1346763" y="282730"/>
                  </a:lnTo>
                  <a:lnTo>
                    <a:pt x="1344676" y="282034"/>
                  </a:lnTo>
                  <a:lnTo>
                    <a:pt x="1342498" y="281641"/>
                  </a:lnTo>
                  <a:lnTo>
                    <a:pt x="1339080" y="280310"/>
                  </a:lnTo>
                  <a:lnTo>
                    <a:pt x="1336962" y="276770"/>
                  </a:lnTo>
                  <a:lnTo>
                    <a:pt x="1332183" y="259134"/>
                  </a:lnTo>
                  <a:lnTo>
                    <a:pt x="1332031" y="257258"/>
                  </a:lnTo>
                  <a:lnTo>
                    <a:pt x="1333574" y="255534"/>
                  </a:lnTo>
                  <a:lnTo>
                    <a:pt x="1341349" y="252297"/>
                  </a:lnTo>
                  <a:lnTo>
                    <a:pt x="1338989" y="249544"/>
                  </a:lnTo>
                  <a:lnTo>
                    <a:pt x="1338808" y="246337"/>
                  </a:lnTo>
                  <a:lnTo>
                    <a:pt x="1339170" y="242707"/>
                  </a:lnTo>
                  <a:lnTo>
                    <a:pt x="1338294" y="238623"/>
                  </a:lnTo>
                  <a:lnTo>
                    <a:pt x="1337356" y="237171"/>
                  </a:lnTo>
                  <a:lnTo>
                    <a:pt x="1336236" y="236203"/>
                  </a:lnTo>
                  <a:lnTo>
                    <a:pt x="1333695" y="234812"/>
                  </a:lnTo>
                  <a:lnTo>
                    <a:pt x="1332274" y="233511"/>
                  </a:lnTo>
                  <a:lnTo>
                    <a:pt x="1332122" y="231998"/>
                  </a:lnTo>
                  <a:lnTo>
                    <a:pt x="1332364" y="230244"/>
                  </a:lnTo>
                  <a:lnTo>
                    <a:pt x="1332152" y="228186"/>
                  </a:lnTo>
                  <a:lnTo>
                    <a:pt x="1331275" y="226371"/>
                  </a:lnTo>
                  <a:lnTo>
                    <a:pt x="1329218" y="223770"/>
                  </a:lnTo>
                  <a:lnTo>
                    <a:pt x="1328492" y="221894"/>
                  </a:lnTo>
                  <a:lnTo>
                    <a:pt x="1328401" y="219656"/>
                  </a:lnTo>
                  <a:lnTo>
                    <a:pt x="1328643" y="217871"/>
                  </a:lnTo>
                  <a:lnTo>
                    <a:pt x="1328522" y="216177"/>
                  </a:lnTo>
                  <a:lnTo>
                    <a:pt x="1327251" y="214240"/>
                  </a:lnTo>
                  <a:lnTo>
                    <a:pt x="1326042" y="213484"/>
                  </a:lnTo>
                  <a:lnTo>
                    <a:pt x="1323682" y="212970"/>
                  </a:lnTo>
                  <a:lnTo>
                    <a:pt x="1322774" y="212002"/>
                  </a:lnTo>
                  <a:lnTo>
                    <a:pt x="1322532" y="210550"/>
                  </a:lnTo>
                  <a:lnTo>
                    <a:pt x="1322532" y="206557"/>
                  </a:lnTo>
                  <a:lnTo>
                    <a:pt x="1322109" y="204923"/>
                  </a:lnTo>
                  <a:lnTo>
                    <a:pt x="1327584" y="203864"/>
                  </a:lnTo>
                  <a:lnTo>
                    <a:pt x="1329006" y="202624"/>
                  </a:lnTo>
                  <a:lnTo>
                    <a:pt x="1329853" y="200083"/>
                  </a:lnTo>
                  <a:lnTo>
                    <a:pt x="1328976" y="198480"/>
                  </a:lnTo>
                  <a:lnTo>
                    <a:pt x="1327191" y="197512"/>
                  </a:lnTo>
                  <a:lnTo>
                    <a:pt x="1325194" y="196906"/>
                  </a:lnTo>
                  <a:lnTo>
                    <a:pt x="1321746" y="196695"/>
                  </a:lnTo>
                  <a:lnTo>
                    <a:pt x="1314909" y="198147"/>
                  </a:lnTo>
                  <a:lnTo>
                    <a:pt x="1311521" y="197905"/>
                  </a:lnTo>
                  <a:lnTo>
                    <a:pt x="1308617" y="195273"/>
                  </a:lnTo>
                  <a:lnTo>
                    <a:pt x="1306620" y="190433"/>
                  </a:lnTo>
                  <a:lnTo>
                    <a:pt x="1304140" y="176910"/>
                  </a:lnTo>
                  <a:lnTo>
                    <a:pt x="1303353" y="174763"/>
                  </a:lnTo>
                  <a:lnTo>
                    <a:pt x="1302083" y="173311"/>
                  </a:lnTo>
                  <a:lnTo>
                    <a:pt x="1300146" y="172614"/>
                  </a:lnTo>
                  <a:lnTo>
                    <a:pt x="1298059" y="172948"/>
                  </a:lnTo>
                  <a:lnTo>
                    <a:pt x="1296062" y="173764"/>
                  </a:lnTo>
                  <a:lnTo>
                    <a:pt x="1294096" y="174127"/>
                  </a:lnTo>
                  <a:lnTo>
                    <a:pt x="1292190" y="173038"/>
                  </a:lnTo>
                  <a:lnTo>
                    <a:pt x="1290345" y="172161"/>
                  </a:lnTo>
                  <a:lnTo>
                    <a:pt x="1288741" y="172312"/>
                  </a:lnTo>
                  <a:lnTo>
                    <a:pt x="1284052" y="174944"/>
                  </a:lnTo>
                  <a:lnTo>
                    <a:pt x="1275794" y="178151"/>
                  </a:lnTo>
                  <a:lnTo>
                    <a:pt x="1268806" y="179603"/>
                  </a:lnTo>
                  <a:lnTo>
                    <a:pt x="1261455" y="179179"/>
                  </a:lnTo>
                  <a:lnTo>
                    <a:pt x="1259700" y="178574"/>
                  </a:lnTo>
                  <a:lnTo>
                    <a:pt x="1258218" y="177273"/>
                  </a:lnTo>
                  <a:lnTo>
                    <a:pt x="1257220" y="175065"/>
                  </a:lnTo>
                  <a:lnTo>
                    <a:pt x="1256735" y="172796"/>
                  </a:lnTo>
                  <a:lnTo>
                    <a:pt x="1256130" y="170799"/>
                  </a:lnTo>
                  <a:lnTo>
                    <a:pt x="1254708" y="169438"/>
                  </a:lnTo>
                  <a:lnTo>
                    <a:pt x="1251683" y="169045"/>
                  </a:lnTo>
                  <a:lnTo>
                    <a:pt x="1245180" y="170104"/>
                  </a:lnTo>
                  <a:lnTo>
                    <a:pt x="1241852" y="169015"/>
                  </a:lnTo>
                  <a:lnTo>
                    <a:pt x="1234682" y="166625"/>
                  </a:lnTo>
                  <a:lnTo>
                    <a:pt x="1230931" y="166080"/>
                  </a:lnTo>
                  <a:lnTo>
                    <a:pt x="1227422" y="166927"/>
                  </a:lnTo>
                  <a:lnTo>
                    <a:pt x="1223670" y="169832"/>
                  </a:lnTo>
                  <a:lnTo>
                    <a:pt x="1221886" y="170588"/>
                  </a:lnTo>
                  <a:lnTo>
                    <a:pt x="1219466" y="170134"/>
                  </a:lnTo>
                  <a:lnTo>
                    <a:pt x="1212235" y="167291"/>
                  </a:lnTo>
                  <a:lnTo>
                    <a:pt x="1218074" y="163569"/>
                  </a:lnTo>
                  <a:lnTo>
                    <a:pt x="1222067" y="159576"/>
                  </a:lnTo>
                  <a:lnTo>
                    <a:pt x="1224578" y="154645"/>
                  </a:lnTo>
                  <a:lnTo>
                    <a:pt x="1223731" y="149654"/>
                  </a:lnTo>
                  <a:lnTo>
                    <a:pt x="1221735" y="150712"/>
                  </a:lnTo>
                  <a:lnTo>
                    <a:pt x="1220131" y="150712"/>
                  </a:lnTo>
                  <a:lnTo>
                    <a:pt x="1218407" y="150380"/>
                  </a:lnTo>
                  <a:lnTo>
                    <a:pt x="1216713" y="149745"/>
                  </a:lnTo>
                  <a:lnTo>
                    <a:pt x="1215230" y="148837"/>
                  </a:lnTo>
                  <a:lnTo>
                    <a:pt x="1213264" y="147082"/>
                  </a:lnTo>
                  <a:lnTo>
                    <a:pt x="1212235" y="145842"/>
                  </a:lnTo>
                  <a:lnTo>
                    <a:pt x="1211842" y="144632"/>
                  </a:lnTo>
                  <a:lnTo>
                    <a:pt x="1212356" y="143755"/>
                  </a:lnTo>
                  <a:lnTo>
                    <a:pt x="1214565" y="143301"/>
                  </a:lnTo>
                  <a:lnTo>
                    <a:pt x="1215412" y="142484"/>
                  </a:lnTo>
                  <a:lnTo>
                    <a:pt x="1215684" y="140972"/>
                  </a:lnTo>
                  <a:lnTo>
                    <a:pt x="1215412" y="139671"/>
                  </a:lnTo>
                  <a:lnTo>
                    <a:pt x="1215019" y="138370"/>
                  </a:lnTo>
                  <a:lnTo>
                    <a:pt x="1214898" y="136857"/>
                  </a:lnTo>
                  <a:lnTo>
                    <a:pt x="1215170" y="135436"/>
                  </a:lnTo>
                  <a:lnTo>
                    <a:pt x="1216047" y="132804"/>
                  </a:lnTo>
                  <a:lnTo>
                    <a:pt x="1216289" y="131261"/>
                  </a:lnTo>
                  <a:lnTo>
                    <a:pt x="1216047" y="128024"/>
                  </a:lnTo>
                  <a:lnTo>
                    <a:pt x="1215200" y="125453"/>
                  </a:lnTo>
                  <a:lnTo>
                    <a:pt x="1213899" y="123365"/>
                  </a:lnTo>
                  <a:lnTo>
                    <a:pt x="1209664" y="118888"/>
                  </a:lnTo>
                  <a:lnTo>
                    <a:pt x="1208938" y="117739"/>
                  </a:lnTo>
                  <a:lnTo>
                    <a:pt x="1208514" y="116377"/>
                  </a:lnTo>
                  <a:lnTo>
                    <a:pt x="1208091" y="113322"/>
                  </a:lnTo>
                  <a:lnTo>
                    <a:pt x="1207637" y="112202"/>
                  </a:lnTo>
                  <a:lnTo>
                    <a:pt x="1206246" y="111325"/>
                  </a:lnTo>
                  <a:lnTo>
                    <a:pt x="1202676" y="110418"/>
                  </a:lnTo>
                  <a:lnTo>
                    <a:pt x="1201557" y="108935"/>
                  </a:lnTo>
                  <a:lnTo>
                    <a:pt x="1202525" y="105426"/>
                  </a:lnTo>
                  <a:lnTo>
                    <a:pt x="1206427" y="103339"/>
                  </a:lnTo>
                  <a:lnTo>
                    <a:pt x="1223549" y="99558"/>
                  </a:lnTo>
                  <a:lnTo>
                    <a:pt x="1229449" y="99648"/>
                  </a:lnTo>
                  <a:lnTo>
                    <a:pt x="1231415" y="99195"/>
                  </a:lnTo>
                  <a:lnTo>
                    <a:pt x="1235227" y="95020"/>
                  </a:lnTo>
                  <a:lnTo>
                    <a:pt x="1235075" y="88879"/>
                  </a:lnTo>
                  <a:lnTo>
                    <a:pt x="1232383" y="82889"/>
                  </a:lnTo>
                  <a:lnTo>
                    <a:pt x="1230901" y="81527"/>
                  </a:lnTo>
                  <a:lnTo>
                    <a:pt x="1228511" y="79289"/>
                  </a:lnTo>
                  <a:lnTo>
                    <a:pt x="1226544" y="77988"/>
                  </a:lnTo>
                  <a:lnTo>
                    <a:pt x="1223217" y="74479"/>
                  </a:lnTo>
                  <a:lnTo>
                    <a:pt x="1221402" y="73390"/>
                  </a:lnTo>
                  <a:lnTo>
                    <a:pt x="1220222" y="73390"/>
                  </a:lnTo>
                  <a:lnTo>
                    <a:pt x="1218316" y="74237"/>
                  </a:lnTo>
                  <a:lnTo>
                    <a:pt x="1217136" y="73814"/>
                  </a:lnTo>
                  <a:lnTo>
                    <a:pt x="1217136" y="73451"/>
                  </a:lnTo>
                  <a:lnTo>
                    <a:pt x="1216834" y="71393"/>
                  </a:lnTo>
                  <a:lnTo>
                    <a:pt x="1216562" y="70667"/>
                  </a:lnTo>
                  <a:lnTo>
                    <a:pt x="1215987" y="70093"/>
                  </a:lnTo>
                  <a:lnTo>
                    <a:pt x="1214656" y="69246"/>
                  </a:lnTo>
                  <a:lnTo>
                    <a:pt x="1214051" y="68731"/>
                  </a:lnTo>
                  <a:lnTo>
                    <a:pt x="1210330" y="64254"/>
                  </a:lnTo>
                  <a:lnTo>
                    <a:pt x="1208303" y="62832"/>
                  </a:lnTo>
                  <a:lnTo>
                    <a:pt x="1203281" y="62832"/>
                  </a:lnTo>
                  <a:lnTo>
                    <a:pt x="1203281" y="61501"/>
                  </a:lnTo>
                  <a:lnTo>
                    <a:pt x="1204098" y="59293"/>
                  </a:lnTo>
                  <a:lnTo>
                    <a:pt x="1203766" y="56721"/>
                  </a:lnTo>
                  <a:lnTo>
                    <a:pt x="1201678" y="53545"/>
                  </a:lnTo>
                  <a:lnTo>
                    <a:pt x="1200468" y="50943"/>
                  </a:lnTo>
                  <a:lnTo>
                    <a:pt x="1199893" y="48070"/>
                  </a:lnTo>
                  <a:lnTo>
                    <a:pt x="1199651" y="43108"/>
                  </a:lnTo>
                  <a:lnTo>
                    <a:pt x="1199318" y="40537"/>
                  </a:lnTo>
                  <a:lnTo>
                    <a:pt x="1199318" y="39720"/>
                  </a:lnTo>
                  <a:lnTo>
                    <a:pt x="1201042" y="36332"/>
                  </a:lnTo>
                  <a:lnTo>
                    <a:pt x="1201042" y="34638"/>
                  </a:lnTo>
                  <a:lnTo>
                    <a:pt x="1200740" y="33216"/>
                  </a:lnTo>
                  <a:lnTo>
                    <a:pt x="1200165" y="31764"/>
                  </a:lnTo>
                  <a:lnTo>
                    <a:pt x="1199198" y="30010"/>
                  </a:lnTo>
                  <a:lnTo>
                    <a:pt x="1197503" y="27559"/>
                  </a:lnTo>
                  <a:lnTo>
                    <a:pt x="1195809" y="25835"/>
                  </a:lnTo>
                  <a:lnTo>
                    <a:pt x="1189366" y="21811"/>
                  </a:lnTo>
                  <a:lnTo>
                    <a:pt x="1188004" y="20148"/>
                  </a:lnTo>
                  <a:lnTo>
                    <a:pt x="1185494" y="15005"/>
                  </a:lnTo>
                  <a:lnTo>
                    <a:pt x="1183618" y="12585"/>
                  </a:lnTo>
                  <a:lnTo>
                    <a:pt x="1179383" y="10104"/>
                  </a:lnTo>
                  <a:lnTo>
                    <a:pt x="1177416" y="8349"/>
                  </a:lnTo>
                  <a:lnTo>
                    <a:pt x="1175843" y="5687"/>
                  </a:lnTo>
                  <a:lnTo>
                    <a:pt x="1175027" y="3630"/>
                  </a:lnTo>
                  <a:lnTo>
                    <a:pt x="1173907" y="2178"/>
                  </a:lnTo>
                  <a:lnTo>
                    <a:pt x="1171396" y="1361"/>
                  </a:lnTo>
                  <a:lnTo>
                    <a:pt x="1166828" y="1210"/>
                  </a:lnTo>
                  <a:lnTo>
                    <a:pt x="1162230" y="1997"/>
                  </a:lnTo>
                  <a:lnTo>
                    <a:pt x="1153396" y="5778"/>
                  </a:lnTo>
                  <a:lnTo>
                    <a:pt x="1146499" y="12131"/>
                  </a:lnTo>
                  <a:lnTo>
                    <a:pt x="1144321" y="12312"/>
                  </a:lnTo>
                  <a:lnTo>
                    <a:pt x="1142597" y="9953"/>
                  </a:lnTo>
                  <a:lnTo>
                    <a:pt x="1143232" y="4235"/>
                  </a:lnTo>
                  <a:lnTo>
                    <a:pt x="1141326" y="1694"/>
                  </a:lnTo>
                  <a:lnTo>
                    <a:pt x="1139783" y="2450"/>
                  </a:lnTo>
                  <a:lnTo>
                    <a:pt x="1138422" y="3600"/>
                  </a:lnTo>
                  <a:lnTo>
                    <a:pt x="1136970" y="4507"/>
                  </a:lnTo>
                  <a:lnTo>
                    <a:pt x="1135155" y="4629"/>
                  </a:lnTo>
                  <a:lnTo>
                    <a:pt x="1133582" y="3933"/>
                  </a:lnTo>
                  <a:lnTo>
                    <a:pt x="1133280" y="3721"/>
                  </a:lnTo>
                  <a:lnTo>
                    <a:pt x="1130829" y="2087"/>
                  </a:lnTo>
                  <a:lnTo>
                    <a:pt x="1129104" y="1724"/>
                  </a:lnTo>
                  <a:lnTo>
                    <a:pt x="1122601" y="1724"/>
                  </a:lnTo>
                  <a:lnTo>
                    <a:pt x="1112769" y="0"/>
                  </a:lnTo>
                  <a:lnTo>
                    <a:pt x="1111408" y="242"/>
                  </a:lnTo>
                  <a:lnTo>
                    <a:pt x="1109774" y="1331"/>
                  </a:lnTo>
                  <a:lnTo>
                    <a:pt x="1107172" y="4296"/>
                  </a:lnTo>
                  <a:lnTo>
                    <a:pt x="1105872" y="5445"/>
                  </a:lnTo>
                  <a:lnTo>
                    <a:pt x="1103936" y="6111"/>
                  </a:lnTo>
                  <a:lnTo>
                    <a:pt x="1102937" y="6655"/>
                  </a:lnTo>
                  <a:lnTo>
                    <a:pt x="1101757" y="8773"/>
                  </a:lnTo>
                  <a:lnTo>
                    <a:pt x="1100971" y="9560"/>
                  </a:lnTo>
                  <a:lnTo>
                    <a:pt x="1100064" y="9771"/>
                  </a:lnTo>
                  <a:lnTo>
                    <a:pt x="1098732" y="9106"/>
                  </a:lnTo>
                  <a:lnTo>
                    <a:pt x="1097825" y="9045"/>
                  </a:lnTo>
                  <a:lnTo>
                    <a:pt x="1096010" y="9862"/>
                  </a:lnTo>
                  <a:lnTo>
                    <a:pt x="1085634" y="18423"/>
                  </a:lnTo>
                  <a:lnTo>
                    <a:pt x="1083818" y="19300"/>
                  </a:lnTo>
                  <a:lnTo>
                    <a:pt x="1082004" y="19119"/>
                  </a:lnTo>
                  <a:lnTo>
                    <a:pt x="1079008" y="16880"/>
                  </a:lnTo>
                  <a:lnTo>
                    <a:pt x="1077314" y="16124"/>
                  </a:lnTo>
                  <a:lnTo>
                    <a:pt x="1074350" y="16124"/>
                  </a:lnTo>
                  <a:lnTo>
                    <a:pt x="1068390" y="17636"/>
                  </a:lnTo>
                  <a:lnTo>
                    <a:pt x="1065365" y="17636"/>
                  </a:lnTo>
                  <a:lnTo>
                    <a:pt x="1045550" y="7986"/>
                  </a:lnTo>
                  <a:lnTo>
                    <a:pt x="1040740" y="9348"/>
                  </a:lnTo>
                  <a:lnTo>
                    <a:pt x="1032058" y="6383"/>
                  </a:lnTo>
                  <a:lnTo>
                    <a:pt x="1027944" y="7170"/>
                  </a:lnTo>
                  <a:lnTo>
                    <a:pt x="1026552" y="12342"/>
                  </a:lnTo>
                  <a:lnTo>
                    <a:pt x="1027036" y="13976"/>
                  </a:lnTo>
                  <a:lnTo>
                    <a:pt x="1028912" y="17122"/>
                  </a:lnTo>
                  <a:lnTo>
                    <a:pt x="1029305" y="18423"/>
                  </a:lnTo>
                  <a:lnTo>
                    <a:pt x="1028730" y="20117"/>
                  </a:lnTo>
                  <a:lnTo>
                    <a:pt x="1027611" y="21025"/>
                  </a:lnTo>
                  <a:lnTo>
                    <a:pt x="1026371" y="21690"/>
                  </a:lnTo>
                  <a:lnTo>
                    <a:pt x="1025402" y="22628"/>
                  </a:lnTo>
                  <a:lnTo>
                    <a:pt x="1024465" y="25290"/>
                  </a:lnTo>
                  <a:lnTo>
                    <a:pt x="1023255" y="34366"/>
                  </a:lnTo>
                  <a:lnTo>
                    <a:pt x="1020320" y="40174"/>
                  </a:lnTo>
                  <a:lnTo>
                    <a:pt x="1015843" y="43441"/>
                  </a:lnTo>
                  <a:lnTo>
                    <a:pt x="1001988" y="49491"/>
                  </a:lnTo>
                  <a:lnTo>
                    <a:pt x="1000113" y="49612"/>
                  </a:lnTo>
                  <a:lnTo>
                    <a:pt x="994062" y="48130"/>
                  </a:lnTo>
                  <a:lnTo>
                    <a:pt x="990402" y="48463"/>
                  </a:lnTo>
                  <a:lnTo>
                    <a:pt x="985017" y="50943"/>
                  </a:lnTo>
                  <a:lnTo>
                    <a:pt x="983323" y="51246"/>
                  </a:lnTo>
                  <a:lnTo>
                    <a:pt x="981477" y="50187"/>
                  </a:lnTo>
                  <a:lnTo>
                    <a:pt x="981054" y="47888"/>
                  </a:lnTo>
                  <a:lnTo>
                    <a:pt x="981054" y="45135"/>
                  </a:lnTo>
                  <a:lnTo>
                    <a:pt x="980480" y="42654"/>
                  </a:lnTo>
                  <a:lnTo>
                    <a:pt x="978120" y="40627"/>
                  </a:lnTo>
                  <a:lnTo>
                    <a:pt x="974822" y="39992"/>
                  </a:lnTo>
                  <a:lnTo>
                    <a:pt x="968620" y="40507"/>
                  </a:lnTo>
                  <a:lnTo>
                    <a:pt x="957126" y="41081"/>
                  </a:lnTo>
                  <a:lnTo>
                    <a:pt x="939519" y="37935"/>
                  </a:lnTo>
                  <a:lnTo>
                    <a:pt x="930292" y="37935"/>
                  </a:lnTo>
                  <a:lnTo>
                    <a:pt x="922367" y="40961"/>
                  </a:lnTo>
                  <a:lnTo>
                    <a:pt x="920339" y="43411"/>
                  </a:lnTo>
                  <a:lnTo>
                    <a:pt x="918766" y="46406"/>
                  </a:lnTo>
                  <a:lnTo>
                    <a:pt x="917133" y="48917"/>
                  </a:lnTo>
                  <a:lnTo>
                    <a:pt x="914774" y="49854"/>
                  </a:lnTo>
                  <a:lnTo>
                    <a:pt x="912353" y="48977"/>
                  </a:lnTo>
                  <a:lnTo>
                    <a:pt x="907755" y="45347"/>
                  </a:lnTo>
                  <a:lnTo>
                    <a:pt x="905304" y="44046"/>
                  </a:lnTo>
                  <a:lnTo>
                    <a:pt x="901432" y="43592"/>
                  </a:lnTo>
                  <a:lnTo>
                    <a:pt x="887638" y="44349"/>
                  </a:lnTo>
                  <a:lnTo>
                    <a:pt x="885127" y="45105"/>
                  </a:lnTo>
                  <a:lnTo>
                    <a:pt x="883554" y="46708"/>
                  </a:lnTo>
                  <a:lnTo>
                    <a:pt x="884159" y="49249"/>
                  </a:lnTo>
                  <a:lnTo>
                    <a:pt x="883645" y="50006"/>
                  </a:lnTo>
                  <a:lnTo>
                    <a:pt x="883342" y="50732"/>
                  </a:lnTo>
                  <a:lnTo>
                    <a:pt x="883130" y="51458"/>
                  </a:lnTo>
                  <a:lnTo>
                    <a:pt x="882798" y="52214"/>
                  </a:lnTo>
                  <a:lnTo>
                    <a:pt x="885732" y="52607"/>
                  </a:lnTo>
                  <a:lnTo>
                    <a:pt x="886700" y="54604"/>
                  </a:lnTo>
                  <a:lnTo>
                    <a:pt x="885823" y="56540"/>
                  </a:lnTo>
                  <a:lnTo>
                    <a:pt x="883190" y="56721"/>
                  </a:lnTo>
                  <a:lnTo>
                    <a:pt x="882495" y="55844"/>
                  </a:lnTo>
                  <a:lnTo>
                    <a:pt x="881950" y="55602"/>
                  </a:lnTo>
                  <a:lnTo>
                    <a:pt x="881346" y="55844"/>
                  </a:lnTo>
                  <a:lnTo>
                    <a:pt x="880529" y="56419"/>
                  </a:lnTo>
                  <a:lnTo>
                    <a:pt x="879742" y="57357"/>
                  </a:lnTo>
                  <a:lnTo>
                    <a:pt x="879560" y="58295"/>
                  </a:lnTo>
                  <a:lnTo>
                    <a:pt x="879621" y="59051"/>
                  </a:lnTo>
                  <a:lnTo>
                    <a:pt x="879621" y="59535"/>
                  </a:lnTo>
                  <a:lnTo>
                    <a:pt x="878563" y="60836"/>
                  </a:lnTo>
                  <a:lnTo>
                    <a:pt x="877443" y="61955"/>
                  </a:lnTo>
                  <a:lnTo>
                    <a:pt x="876203" y="62893"/>
                  </a:lnTo>
                  <a:lnTo>
                    <a:pt x="874781" y="63709"/>
                  </a:lnTo>
                  <a:lnTo>
                    <a:pt x="871937" y="64738"/>
                  </a:lnTo>
                  <a:lnTo>
                    <a:pt x="871876" y="65282"/>
                  </a:lnTo>
                  <a:lnTo>
                    <a:pt x="872149" y="66220"/>
                  </a:lnTo>
                  <a:lnTo>
                    <a:pt x="872693" y="66856"/>
                  </a:lnTo>
                  <a:lnTo>
                    <a:pt x="872693" y="67884"/>
                  </a:lnTo>
                  <a:lnTo>
                    <a:pt x="871332" y="69639"/>
                  </a:lnTo>
                  <a:lnTo>
                    <a:pt x="870424" y="70546"/>
                  </a:lnTo>
                  <a:lnTo>
                    <a:pt x="869577" y="70939"/>
                  </a:lnTo>
                  <a:lnTo>
                    <a:pt x="866582" y="70667"/>
                  </a:lnTo>
                  <a:lnTo>
                    <a:pt x="865766" y="70939"/>
                  </a:lnTo>
                  <a:lnTo>
                    <a:pt x="865373" y="71877"/>
                  </a:lnTo>
                  <a:lnTo>
                    <a:pt x="865312" y="73299"/>
                  </a:lnTo>
                  <a:lnTo>
                    <a:pt x="865040" y="74570"/>
                  </a:lnTo>
                  <a:lnTo>
                    <a:pt x="862952" y="75598"/>
                  </a:lnTo>
                  <a:lnTo>
                    <a:pt x="862287" y="76566"/>
                  </a:lnTo>
                  <a:lnTo>
                    <a:pt x="861833" y="77565"/>
                  </a:lnTo>
                  <a:lnTo>
                    <a:pt x="861288" y="78019"/>
                  </a:lnTo>
                  <a:lnTo>
                    <a:pt x="861017" y="78533"/>
                  </a:lnTo>
                  <a:lnTo>
                    <a:pt x="858808" y="81195"/>
                  </a:lnTo>
                  <a:lnTo>
                    <a:pt x="858172" y="82253"/>
                  </a:lnTo>
                  <a:lnTo>
                    <a:pt x="857749" y="82707"/>
                  </a:lnTo>
                  <a:lnTo>
                    <a:pt x="857749" y="83282"/>
                  </a:lnTo>
                  <a:lnTo>
                    <a:pt x="858506" y="84704"/>
                  </a:lnTo>
                  <a:lnTo>
                    <a:pt x="858596" y="87033"/>
                  </a:lnTo>
                  <a:lnTo>
                    <a:pt x="856811" y="88727"/>
                  </a:lnTo>
                  <a:lnTo>
                    <a:pt x="854542" y="90089"/>
                  </a:lnTo>
                  <a:lnTo>
                    <a:pt x="853302" y="91389"/>
                  </a:lnTo>
                  <a:lnTo>
                    <a:pt x="855329" y="92327"/>
                  </a:lnTo>
                  <a:lnTo>
                    <a:pt x="856146" y="92418"/>
                  </a:lnTo>
                  <a:lnTo>
                    <a:pt x="856146" y="93538"/>
                  </a:lnTo>
                  <a:lnTo>
                    <a:pt x="855027" y="94627"/>
                  </a:lnTo>
                  <a:lnTo>
                    <a:pt x="854724" y="96381"/>
                  </a:lnTo>
                  <a:lnTo>
                    <a:pt x="854603" y="98226"/>
                  </a:lnTo>
                  <a:lnTo>
                    <a:pt x="854028" y="99648"/>
                  </a:lnTo>
                  <a:lnTo>
                    <a:pt x="852909" y="100132"/>
                  </a:lnTo>
                  <a:lnTo>
                    <a:pt x="849793" y="100223"/>
                  </a:lnTo>
                  <a:lnTo>
                    <a:pt x="848522" y="100586"/>
                  </a:lnTo>
                  <a:lnTo>
                    <a:pt x="849097" y="102583"/>
                  </a:lnTo>
                  <a:lnTo>
                    <a:pt x="847918" y="105729"/>
                  </a:lnTo>
                  <a:lnTo>
                    <a:pt x="848522" y="107786"/>
                  </a:lnTo>
                  <a:lnTo>
                    <a:pt x="847827" y="108421"/>
                  </a:lnTo>
                  <a:lnTo>
                    <a:pt x="847010" y="109540"/>
                  </a:lnTo>
                  <a:lnTo>
                    <a:pt x="846466" y="109934"/>
                  </a:lnTo>
                  <a:lnTo>
                    <a:pt x="846768" y="110509"/>
                  </a:lnTo>
                  <a:lnTo>
                    <a:pt x="847131" y="111930"/>
                  </a:lnTo>
                  <a:lnTo>
                    <a:pt x="845861" y="112445"/>
                  </a:lnTo>
                  <a:lnTo>
                    <a:pt x="842957" y="114895"/>
                  </a:lnTo>
                  <a:lnTo>
                    <a:pt x="842957" y="115984"/>
                  </a:lnTo>
                  <a:lnTo>
                    <a:pt x="844923" y="117527"/>
                  </a:lnTo>
                  <a:lnTo>
                    <a:pt x="845800" y="118011"/>
                  </a:lnTo>
                  <a:lnTo>
                    <a:pt x="845800" y="118948"/>
                  </a:lnTo>
                  <a:lnTo>
                    <a:pt x="845014" y="119160"/>
                  </a:lnTo>
                  <a:lnTo>
                    <a:pt x="844590" y="119433"/>
                  </a:lnTo>
                  <a:lnTo>
                    <a:pt x="844257" y="119735"/>
                  </a:lnTo>
                  <a:lnTo>
                    <a:pt x="843743" y="120068"/>
                  </a:lnTo>
                  <a:lnTo>
                    <a:pt x="843743" y="120975"/>
                  </a:lnTo>
                  <a:lnTo>
                    <a:pt x="844923" y="122397"/>
                  </a:lnTo>
                  <a:lnTo>
                    <a:pt x="848281" y="123275"/>
                  </a:lnTo>
                  <a:lnTo>
                    <a:pt x="849944" y="124031"/>
                  </a:lnTo>
                  <a:lnTo>
                    <a:pt x="849188" y="125695"/>
                  </a:lnTo>
                  <a:lnTo>
                    <a:pt x="848674" y="126391"/>
                  </a:lnTo>
                  <a:lnTo>
                    <a:pt x="847827" y="127086"/>
                  </a:lnTo>
                  <a:lnTo>
                    <a:pt x="849037" y="127933"/>
                  </a:lnTo>
                  <a:lnTo>
                    <a:pt x="850065" y="128932"/>
                  </a:lnTo>
                  <a:lnTo>
                    <a:pt x="850519" y="130021"/>
                  </a:lnTo>
                  <a:lnTo>
                    <a:pt x="849944" y="131231"/>
                  </a:lnTo>
                  <a:lnTo>
                    <a:pt x="850429" y="133015"/>
                  </a:lnTo>
                  <a:lnTo>
                    <a:pt x="851276" y="134135"/>
                  </a:lnTo>
                  <a:lnTo>
                    <a:pt x="852304" y="134800"/>
                  </a:lnTo>
                  <a:lnTo>
                    <a:pt x="853363" y="135193"/>
                  </a:lnTo>
                  <a:lnTo>
                    <a:pt x="853363" y="136313"/>
                  </a:lnTo>
                  <a:lnTo>
                    <a:pt x="852032" y="136071"/>
                  </a:lnTo>
                  <a:lnTo>
                    <a:pt x="850882" y="136434"/>
                  </a:lnTo>
                  <a:lnTo>
                    <a:pt x="850126" y="137493"/>
                  </a:lnTo>
                  <a:lnTo>
                    <a:pt x="849944" y="139368"/>
                  </a:lnTo>
                  <a:lnTo>
                    <a:pt x="850338" y="141123"/>
                  </a:lnTo>
                  <a:lnTo>
                    <a:pt x="851124" y="141486"/>
                  </a:lnTo>
                  <a:lnTo>
                    <a:pt x="852152" y="141547"/>
                  </a:lnTo>
                  <a:lnTo>
                    <a:pt x="853363" y="142393"/>
                  </a:lnTo>
                  <a:lnTo>
                    <a:pt x="853816" y="143392"/>
                  </a:lnTo>
                  <a:lnTo>
                    <a:pt x="854815" y="147567"/>
                  </a:lnTo>
                  <a:lnTo>
                    <a:pt x="855329" y="148353"/>
                  </a:lnTo>
                  <a:lnTo>
                    <a:pt x="856025" y="149230"/>
                  </a:lnTo>
                  <a:lnTo>
                    <a:pt x="856116" y="150017"/>
                  </a:lnTo>
                  <a:lnTo>
                    <a:pt x="854815" y="150501"/>
                  </a:lnTo>
                  <a:lnTo>
                    <a:pt x="855420" y="154676"/>
                  </a:lnTo>
                  <a:lnTo>
                    <a:pt x="852607" y="157398"/>
                  </a:lnTo>
                  <a:lnTo>
                    <a:pt x="849551" y="159455"/>
                  </a:lnTo>
                  <a:lnTo>
                    <a:pt x="849279" y="161633"/>
                  </a:lnTo>
                  <a:lnTo>
                    <a:pt x="847494" y="164538"/>
                  </a:lnTo>
                  <a:lnTo>
                    <a:pt x="847222" y="164810"/>
                  </a:lnTo>
                  <a:lnTo>
                    <a:pt x="847101" y="168349"/>
                  </a:lnTo>
                  <a:lnTo>
                    <a:pt x="847040" y="168500"/>
                  </a:lnTo>
                  <a:lnTo>
                    <a:pt x="846647" y="169347"/>
                  </a:lnTo>
                  <a:lnTo>
                    <a:pt x="845528" y="169589"/>
                  </a:lnTo>
                  <a:lnTo>
                    <a:pt x="844771" y="168198"/>
                  </a:lnTo>
                  <a:lnTo>
                    <a:pt x="843622" y="167048"/>
                  </a:lnTo>
                  <a:lnTo>
                    <a:pt x="842351" y="166262"/>
                  </a:lnTo>
                  <a:lnTo>
                    <a:pt x="841020" y="165929"/>
                  </a:lnTo>
                  <a:lnTo>
                    <a:pt x="839598" y="166080"/>
                  </a:lnTo>
                  <a:lnTo>
                    <a:pt x="838025" y="165627"/>
                  </a:lnTo>
                  <a:lnTo>
                    <a:pt x="835787" y="162511"/>
                  </a:lnTo>
                  <a:lnTo>
                    <a:pt x="834304" y="161240"/>
                  </a:lnTo>
                  <a:lnTo>
                    <a:pt x="832852" y="160907"/>
                  </a:lnTo>
                  <a:lnTo>
                    <a:pt x="829858" y="160907"/>
                  </a:lnTo>
                  <a:lnTo>
                    <a:pt x="828315" y="160363"/>
                  </a:lnTo>
                  <a:lnTo>
                    <a:pt x="826984" y="159244"/>
                  </a:lnTo>
                  <a:lnTo>
                    <a:pt x="823898" y="155583"/>
                  </a:lnTo>
                  <a:lnTo>
                    <a:pt x="823172" y="154010"/>
                  </a:lnTo>
                  <a:lnTo>
                    <a:pt x="823444" y="153859"/>
                  </a:lnTo>
                  <a:lnTo>
                    <a:pt x="824291" y="150773"/>
                  </a:lnTo>
                  <a:lnTo>
                    <a:pt x="824473" y="149623"/>
                  </a:lnTo>
                  <a:lnTo>
                    <a:pt x="824473" y="148081"/>
                  </a:lnTo>
                  <a:lnTo>
                    <a:pt x="824382" y="146901"/>
                  </a:lnTo>
                  <a:lnTo>
                    <a:pt x="824110" y="145933"/>
                  </a:lnTo>
                  <a:lnTo>
                    <a:pt x="823504" y="144935"/>
                  </a:lnTo>
                  <a:lnTo>
                    <a:pt x="822204" y="143815"/>
                  </a:lnTo>
                  <a:lnTo>
                    <a:pt x="817122" y="141516"/>
                  </a:lnTo>
                  <a:lnTo>
                    <a:pt x="815700" y="140124"/>
                  </a:lnTo>
                  <a:lnTo>
                    <a:pt x="811949" y="135375"/>
                  </a:lnTo>
                  <a:lnTo>
                    <a:pt x="809135" y="133469"/>
                  </a:lnTo>
                  <a:lnTo>
                    <a:pt x="806231" y="132743"/>
                  </a:lnTo>
                  <a:lnTo>
                    <a:pt x="792134" y="133076"/>
                  </a:lnTo>
                  <a:lnTo>
                    <a:pt x="789835" y="133711"/>
                  </a:lnTo>
                  <a:lnTo>
                    <a:pt x="783724" y="136676"/>
                  </a:lnTo>
                  <a:lnTo>
                    <a:pt x="782453" y="136736"/>
                  </a:lnTo>
                  <a:lnTo>
                    <a:pt x="780850" y="135738"/>
                  </a:lnTo>
                  <a:lnTo>
                    <a:pt x="779822" y="135647"/>
                  </a:lnTo>
                  <a:lnTo>
                    <a:pt x="778551" y="136464"/>
                  </a:lnTo>
                  <a:lnTo>
                    <a:pt x="776857" y="139338"/>
                  </a:lnTo>
                  <a:lnTo>
                    <a:pt x="775829" y="140367"/>
                  </a:lnTo>
                  <a:lnTo>
                    <a:pt x="774043" y="140790"/>
                  </a:lnTo>
                  <a:lnTo>
                    <a:pt x="764908" y="139368"/>
                  </a:lnTo>
                  <a:lnTo>
                    <a:pt x="763637" y="137765"/>
                  </a:lnTo>
                  <a:lnTo>
                    <a:pt x="762760" y="135496"/>
                  </a:lnTo>
                  <a:lnTo>
                    <a:pt x="761096" y="132804"/>
                  </a:lnTo>
                  <a:lnTo>
                    <a:pt x="759341" y="131685"/>
                  </a:lnTo>
                  <a:lnTo>
                    <a:pt x="757133" y="131412"/>
                  </a:lnTo>
                  <a:lnTo>
                    <a:pt x="754804" y="131745"/>
                  </a:lnTo>
                  <a:lnTo>
                    <a:pt x="752807" y="132531"/>
                  </a:lnTo>
                  <a:lnTo>
                    <a:pt x="750720" y="134286"/>
                  </a:lnTo>
                  <a:lnTo>
                    <a:pt x="749298" y="136222"/>
                  </a:lnTo>
                  <a:lnTo>
                    <a:pt x="747785" y="137886"/>
                  </a:lnTo>
                  <a:lnTo>
                    <a:pt x="745456" y="138763"/>
                  </a:lnTo>
                  <a:lnTo>
                    <a:pt x="742824" y="139035"/>
                  </a:lnTo>
                  <a:lnTo>
                    <a:pt x="741463" y="139671"/>
                  </a:lnTo>
                  <a:lnTo>
                    <a:pt x="740464" y="141425"/>
                  </a:lnTo>
                  <a:lnTo>
                    <a:pt x="738982" y="145055"/>
                  </a:lnTo>
                  <a:lnTo>
                    <a:pt x="737500" y="147445"/>
                  </a:lnTo>
                  <a:lnTo>
                    <a:pt x="735503" y="147445"/>
                  </a:lnTo>
                  <a:lnTo>
                    <a:pt x="731117" y="145812"/>
                  </a:lnTo>
                  <a:lnTo>
                    <a:pt x="728818" y="146478"/>
                  </a:lnTo>
                  <a:lnTo>
                    <a:pt x="726156" y="148625"/>
                  </a:lnTo>
                  <a:lnTo>
                    <a:pt x="724885" y="149654"/>
                  </a:lnTo>
                  <a:lnTo>
                    <a:pt x="722828" y="150319"/>
                  </a:lnTo>
                  <a:lnTo>
                    <a:pt x="720529" y="149109"/>
                  </a:lnTo>
                  <a:lnTo>
                    <a:pt x="719288" y="146447"/>
                  </a:lnTo>
                  <a:lnTo>
                    <a:pt x="718441" y="143210"/>
                  </a:lnTo>
                  <a:lnTo>
                    <a:pt x="717292" y="140336"/>
                  </a:lnTo>
                  <a:lnTo>
                    <a:pt x="715235" y="138128"/>
                  </a:lnTo>
                  <a:lnTo>
                    <a:pt x="713571" y="136979"/>
                  </a:lnTo>
                  <a:lnTo>
                    <a:pt x="712875" y="135284"/>
                  </a:lnTo>
                  <a:lnTo>
                    <a:pt x="713843" y="131442"/>
                  </a:lnTo>
                  <a:lnTo>
                    <a:pt x="713450" y="127540"/>
                  </a:lnTo>
                  <a:lnTo>
                    <a:pt x="712270" y="125090"/>
                  </a:lnTo>
                  <a:lnTo>
                    <a:pt x="708912" y="120401"/>
                  </a:lnTo>
                  <a:lnTo>
                    <a:pt x="706795" y="115016"/>
                  </a:lnTo>
                  <a:lnTo>
                    <a:pt x="705554" y="113171"/>
                  </a:lnTo>
                  <a:lnTo>
                    <a:pt x="703134" y="111779"/>
                  </a:lnTo>
                  <a:lnTo>
                    <a:pt x="699081" y="110872"/>
                  </a:lnTo>
                  <a:lnTo>
                    <a:pt x="697023" y="110962"/>
                  </a:lnTo>
                  <a:lnTo>
                    <a:pt x="695057" y="111628"/>
                  </a:lnTo>
                  <a:lnTo>
                    <a:pt x="693061" y="113443"/>
                  </a:lnTo>
                  <a:lnTo>
                    <a:pt x="690671" y="118132"/>
                  </a:lnTo>
                  <a:lnTo>
                    <a:pt x="688765" y="120037"/>
                  </a:lnTo>
                  <a:lnTo>
                    <a:pt x="686103" y="120975"/>
                  </a:lnTo>
                  <a:lnTo>
                    <a:pt x="679901" y="121036"/>
                  </a:lnTo>
                  <a:lnTo>
                    <a:pt x="676967" y="121611"/>
                  </a:lnTo>
                  <a:lnTo>
                    <a:pt x="673790" y="123214"/>
                  </a:lnTo>
                  <a:lnTo>
                    <a:pt x="670553" y="125543"/>
                  </a:lnTo>
                  <a:lnTo>
                    <a:pt x="667740" y="128690"/>
                  </a:lnTo>
                  <a:lnTo>
                    <a:pt x="665744" y="132774"/>
                  </a:lnTo>
                  <a:lnTo>
                    <a:pt x="665471" y="135284"/>
                  </a:lnTo>
                  <a:lnTo>
                    <a:pt x="665683" y="140941"/>
                  </a:lnTo>
                  <a:lnTo>
                    <a:pt x="665199" y="143119"/>
                  </a:lnTo>
                  <a:lnTo>
                    <a:pt x="663384" y="144995"/>
                  </a:lnTo>
                  <a:lnTo>
                    <a:pt x="662325" y="143482"/>
                  </a:lnTo>
                  <a:lnTo>
                    <a:pt x="661599" y="140730"/>
                  </a:lnTo>
                  <a:lnTo>
                    <a:pt x="660903" y="138915"/>
                  </a:lnTo>
                  <a:lnTo>
                    <a:pt x="659602" y="138794"/>
                  </a:lnTo>
                  <a:lnTo>
                    <a:pt x="658271" y="139580"/>
                  </a:lnTo>
                  <a:lnTo>
                    <a:pt x="656819" y="140185"/>
                  </a:lnTo>
                  <a:lnTo>
                    <a:pt x="655156" y="139429"/>
                  </a:lnTo>
                  <a:lnTo>
                    <a:pt x="654187" y="137856"/>
                  </a:lnTo>
                  <a:lnTo>
                    <a:pt x="653522" y="135768"/>
                  </a:lnTo>
                  <a:lnTo>
                    <a:pt x="651949" y="127480"/>
                  </a:lnTo>
                  <a:lnTo>
                    <a:pt x="651707" y="124454"/>
                  </a:lnTo>
                  <a:lnTo>
                    <a:pt x="650829" y="122427"/>
                  </a:lnTo>
                  <a:lnTo>
                    <a:pt x="648228" y="121429"/>
                  </a:lnTo>
                  <a:lnTo>
                    <a:pt x="639213" y="119674"/>
                  </a:lnTo>
                  <a:lnTo>
                    <a:pt x="636460" y="119735"/>
                  </a:lnTo>
                  <a:lnTo>
                    <a:pt x="633858" y="120552"/>
                  </a:lnTo>
                  <a:lnTo>
                    <a:pt x="628837" y="123698"/>
                  </a:lnTo>
                  <a:lnTo>
                    <a:pt x="626235" y="126028"/>
                  </a:lnTo>
                  <a:lnTo>
                    <a:pt x="624934" y="126663"/>
                  </a:lnTo>
                  <a:lnTo>
                    <a:pt x="623633" y="126179"/>
                  </a:lnTo>
                  <a:lnTo>
                    <a:pt x="623059" y="124999"/>
                  </a:lnTo>
                  <a:lnTo>
                    <a:pt x="621970" y="120885"/>
                  </a:lnTo>
                  <a:lnTo>
                    <a:pt x="621304" y="119342"/>
                  </a:lnTo>
                  <a:lnTo>
                    <a:pt x="620064" y="118071"/>
                  </a:lnTo>
                  <a:lnTo>
                    <a:pt x="617160" y="116407"/>
                  </a:lnTo>
                  <a:lnTo>
                    <a:pt x="615980" y="115288"/>
                  </a:lnTo>
                  <a:lnTo>
                    <a:pt x="615133" y="113624"/>
                  </a:lnTo>
                  <a:lnTo>
                    <a:pt x="615042" y="112263"/>
                  </a:lnTo>
                  <a:lnTo>
                    <a:pt x="615103" y="110992"/>
                  </a:lnTo>
                  <a:lnTo>
                    <a:pt x="614740" y="109510"/>
                  </a:lnTo>
                  <a:lnTo>
                    <a:pt x="613257" y="107937"/>
                  </a:lnTo>
                  <a:lnTo>
                    <a:pt x="611200" y="107816"/>
                  </a:lnTo>
                  <a:lnTo>
                    <a:pt x="608931" y="108814"/>
                  </a:lnTo>
                  <a:lnTo>
                    <a:pt x="606783" y="110629"/>
                  </a:lnTo>
                  <a:lnTo>
                    <a:pt x="604817" y="113413"/>
                  </a:lnTo>
                  <a:lnTo>
                    <a:pt x="601550" y="119191"/>
                  </a:lnTo>
                  <a:lnTo>
                    <a:pt x="599130" y="121217"/>
                  </a:lnTo>
                  <a:lnTo>
                    <a:pt x="597194" y="121883"/>
                  </a:lnTo>
                  <a:lnTo>
                    <a:pt x="587362" y="121883"/>
                  </a:lnTo>
                  <a:lnTo>
                    <a:pt x="585517" y="121429"/>
                  </a:lnTo>
                  <a:lnTo>
                    <a:pt x="583641" y="120491"/>
                  </a:lnTo>
                  <a:lnTo>
                    <a:pt x="577561" y="114380"/>
                  </a:lnTo>
                  <a:lnTo>
                    <a:pt x="575413" y="113291"/>
                  </a:lnTo>
                  <a:lnTo>
                    <a:pt x="573083" y="113654"/>
                  </a:lnTo>
                  <a:lnTo>
                    <a:pt x="571208" y="115288"/>
                  </a:lnTo>
                  <a:lnTo>
                    <a:pt x="569907" y="117769"/>
                  </a:lnTo>
                  <a:lnTo>
                    <a:pt x="569272" y="120764"/>
                  </a:lnTo>
                  <a:lnTo>
                    <a:pt x="569332" y="122639"/>
                  </a:lnTo>
                  <a:lnTo>
                    <a:pt x="569604" y="124242"/>
                  </a:lnTo>
                  <a:lnTo>
                    <a:pt x="569695" y="125876"/>
                  </a:lnTo>
                  <a:lnTo>
                    <a:pt x="569211" y="127843"/>
                  </a:lnTo>
                  <a:lnTo>
                    <a:pt x="568697" y="128810"/>
                  </a:lnTo>
                  <a:lnTo>
                    <a:pt x="564008" y="134679"/>
                  </a:lnTo>
                  <a:lnTo>
                    <a:pt x="562949" y="135617"/>
                  </a:lnTo>
                  <a:lnTo>
                    <a:pt x="561346" y="135829"/>
                  </a:lnTo>
                  <a:lnTo>
                    <a:pt x="559924" y="135254"/>
                  </a:lnTo>
                  <a:lnTo>
                    <a:pt x="558290" y="134074"/>
                  </a:lnTo>
                  <a:lnTo>
                    <a:pt x="556929" y="132683"/>
                  </a:lnTo>
                  <a:lnTo>
                    <a:pt x="556506" y="131896"/>
                  </a:lnTo>
                  <a:lnTo>
                    <a:pt x="556294" y="131503"/>
                  </a:lnTo>
                  <a:lnTo>
                    <a:pt x="559652" y="124031"/>
                  </a:lnTo>
                  <a:lnTo>
                    <a:pt x="560438" y="120280"/>
                  </a:lnTo>
                  <a:lnTo>
                    <a:pt x="559198" y="117164"/>
                  </a:lnTo>
                  <a:lnTo>
                    <a:pt x="557595" y="116347"/>
                  </a:lnTo>
                  <a:lnTo>
                    <a:pt x="551938" y="116166"/>
                  </a:lnTo>
                  <a:lnTo>
                    <a:pt x="541047" y="112112"/>
                  </a:lnTo>
                  <a:lnTo>
                    <a:pt x="541047" y="112112"/>
                  </a:lnTo>
                  <a:lnTo>
                    <a:pt x="537508" y="112021"/>
                  </a:lnTo>
                  <a:lnTo>
                    <a:pt x="535662" y="112928"/>
                  </a:lnTo>
                  <a:lnTo>
                    <a:pt x="532879" y="115742"/>
                  </a:lnTo>
                  <a:lnTo>
                    <a:pt x="530671" y="116740"/>
                  </a:lnTo>
                  <a:lnTo>
                    <a:pt x="528584" y="116892"/>
                  </a:lnTo>
                  <a:lnTo>
                    <a:pt x="522624" y="115954"/>
                  </a:lnTo>
                  <a:lnTo>
                    <a:pt x="518600" y="117133"/>
                  </a:lnTo>
                  <a:lnTo>
                    <a:pt x="516392" y="117345"/>
                  </a:lnTo>
                  <a:lnTo>
                    <a:pt x="515061" y="116166"/>
                  </a:lnTo>
                  <a:lnTo>
                    <a:pt x="515636" y="113654"/>
                  </a:lnTo>
                  <a:lnTo>
                    <a:pt x="517118" y="110448"/>
                  </a:lnTo>
                  <a:lnTo>
                    <a:pt x="517421" y="107877"/>
                  </a:lnTo>
                  <a:lnTo>
                    <a:pt x="514456" y="107211"/>
                  </a:lnTo>
                  <a:lnTo>
                    <a:pt x="512036" y="107483"/>
                  </a:lnTo>
                  <a:lnTo>
                    <a:pt x="510009" y="107271"/>
                  </a:lnTo>
                  <a:lnTo>
                    <a:pt x="508557" y="105971"/>
                  </a:lnTo>
                  <a:lnTo>
                    <a:pt x="507740" y="103036"/>
                  </a:lnTo>
                  <a:lnTo>
                    <a:pt x="507801" y="99073"/>
                  </a:lnTo>
                  <a:lnTo>
                    <a:pt x="508073" y="95897"/>
                  </a:lnTo>
                  <a:lnTo>
                    <a:pt x="507438" y="93567"/>
                  </a:lnTo>
                  <a:lnTo>
                    <a:pt x="504745" y="92115"/>
                  </a:lnTo>
                  <a:lnTo>
                    <a:pt x="500601" y="91269"/>
                  </a:lnTo>
                  <a:lnTo>
                    <a:pt x="491707" y="90966"/>
                  </a:lnTo>
                  <a:lnTo>
                    <a:pt x="481573" y="94264"/>
                  </a:lnTo>
                  <a:lnTo>
                    <a:pt x="474917" y="93235"/>
                  </a:lnTo>
                  <a:lnTo>
                    <a:pt x="455889" y="85460"/>
                  </a:lnTo>
                  <a:lnTo>
                    <a:pt x="433745" y="84825"/>
                  </a:lnTo>
                  <a:lnTo>
                    <a:pt x="432323" y="84159"/>
                  </a:lnTo>
                  <a:lnTo>
                    <a:pt x="431083" y="82556"/>
                  </a:lnTo>
                  <a:lnTo>
                    <a:pt x="430841" y="81104"/>
                  </a:lnTo>
                  <a:lnTo>
                    <a:pt x="431143" y="79743"/>
                  </a:lnTo>
                  <a:lnTo>
                    <a:pt x="431143" y="78684"/>
                  </a:lnTo>
                  <a:lnTo>
                    <a:pt x="429903" y="78109"/>
                  </a:lnTo>
                  <a:lnTo>
                    <a:pt x="406519" y="77202"/>
                  </a:lnTo>
                  <a:lnTo>
                    <a:pt x="403494" y="75992"/>
                  </a:lnTo>
                  <a:lnTo>
                    <a:pt x="396990" y="70637"/>
                  </a:lnTo>
                  <a:lnTo>
                    <a:pt x="393965" y="70032"/>
                  </a:lnTo>
                  <a:lnTo>
                    <a:pt x="386976" y="70244"/>
                  </a:lnTo>
                  <a:lnTo>
                    <a:pt x="365528" y="66493"/>
                  </a:lnTo>
                  <a:lnTo>
                    <a:pt x="357027" y="68066"/>
                  </a:lnTo>
                  <a:lnTo>
                    <a:pt x="343354" y="67854"/>
                  </a:lnTo>
                  <a:lnTo>
                    <a:pt x="323690" y="67551"/>
                  </a:lnTo>
                  <a:lnTo>
                    <a:pt x="306719" y="63316"/>
                  </a:lnTo>
                  <a:lnTo>
                    <a:pt x="302182" y="63437"/>
                  </a:lnTo>
                  <a:lnTo>
                    <a:pt x="297614" y="64829"/>
                  </a:lnTo>
                  <a:lnTo>
                    <a:pt x="288568" y="69215"/>
                  </a:lnTo>
                  <a:lnTo>
                    <a:pt x="260314" y="73420"/>
                  </a:lnTo>
                  <a:lnTo>
                    <a:pt x="258227" y="73360"/>
                  </a:lnTo>
                  <a:lnTo>
                    <a:pt x="252055" y="71968"/>
                  </a:lnTo>
                  <a:lnTo>
                    <a:pt x="227007" y="73783"/>
                  </a:lnTo>
                  <a:lnTo>
                    <a:pt x="224859" y="74509"/>
                  </a:lnTo>
                  <a:lnTo>
                    <a:pt x="222681" y="76596"/>
                  </a:lnTo>
                  <a:lnTo>
                    <a:pt x="219020" y="81618"/>
                  </a:lnTo>
                  <a:lnTo>
                    <a:pt x="217478" y="84522"/>
                  </a:lnTo>
                  <a:lnTo>
                    <a:pt x="215088" y="94264"/>
                  </a:lnTo>
                  <a:lnTo>
                    <a:pt x="212244" y="97954"/>
                  </a:lnTo>
                  <a:lnTo>
                    <a:pt x="200839" y="105154"/>
                  </a:lnTo>
                  <a:lnTo>
                    <a:pt x="185804" y="117618"/>
                  </a:lnTo>
                  <a:lnTo>
                    <a:pt x="181781" y="118222"/>
                  </a:lnTo>
                  <a:lnTo>
                    <a:pt x="178907" y="115742"/>
                  </a:lnTo>
                  <a:lnTo>
                    <a:pt x="176124" y="112565"/>
                  </a:lnTo>
                  <a:lnTo>
                    <a:pt x="172131" y="111083"/>
                  </a:lnTo>
                  <a:lnTo>
                    <a:pt x="169620" y="110872"/>
                  </a:lnTo>
                  <a:lnTo>
                    <a:pt x="162511" y="108905"/>
                  </a:lnTo>
                  <a:lnTo>
                    <a:pt x="160151" y="108845"/>
                  </a:lnTo>
                  <a:lnTo>
                    <a:pt x="150380" y="111204"/>
                  </a:lnTo>
                  <a:lnTo>
                    <a:pt x="149140" y="111839"/>
                  </a:lnTo>
                  <a:lnTo>
                    <a:pt x="148111" y="112838"/>
                  </a:lnTo>
                  <a:lnTo>
                    <a:pt x="146901" y="114804"/>
                  </a:lnTo>
                  <a:lnTo>
                    <a:pt x="146810" y="115984"/>
                  </a:lnTo>
                  <a:lnTo>
                    <a:pt x="147385" y="117164"/>
                  </a:lnTo>
                  <a:lnTo>
                    <a:pt x="150138" y="124303"/>
                  </a:lnTo>
                  <a:lnTo>
                    <a:pt x="150380" y="125725"/>
                  </a:lnTo>
                  <a:lnTo>
                    <a:pt x="149926" y="127994"/>
                  </a:lnTo>
                  <a:lnTo>
                    <a:pt x="149079" y="128417"/>
                  </a:lnTo>
                  <a:lnTo>
                    <a:pt x="148142" y="127782"/>
                  </a:lnTo>
                  <a:lnTo>
                    <a:pt x="148353" y="128690"/>
                  </a:lnTo>
                  <a:lnTo>
                    <a:pt x="149019" y="130777"/>
                  </a:lnTo>
                  <a:lnTo>
                    <a:pt x="150622" y="131805"/>
                  </a:lnTo>
                  <a:lnTo>
                    <a:pt x="152437" y="132411"/>
                  </a:lnTo>
                  <a:lnTo>
                    <a:pt x="153859" y="133318"/>
                  </a:lnTo>
                  <a:lnTo>
                    <a:pt x="152286" y="136283"/>
                  </a:lnTo>
                  <a:lnTo>
                    <a:pt x="152437" y="137220"/>
                  </a:lnTo>
                  <a:lnTo>
                    <a:pt x="156521" y="142787"/>
                  </a:lnTo>
                  <a:lnTo>
                    <a:pt x="157338" y="144572"/>
                  </a:lnTo>
                  <a:lnTo>
                    <a:pt x="156158" y="145055"/>
                  </a:lnTo>
                  <a:lnTo>
                    <a:pt x="155432" y="146084"/>
                  </a:lnTo>
                  <a:lnTo>
                    <a:pt x="155311" y="147597"/>
                  </a:lnTo>
                  <a:lnTo>
                    <a:pt x="155946" y="149593"/>
                  </a:lnTo>
                  <a:lnTo>
                    <a:pt x="154131" y="150259"/>
                  </a:lnTo>
                  <a:lnTo>
                    <a:pt x="152347" y="152013"/>
                  </a:lnTo>
                  <a:lnTo>
                    <a:pt x="150955" y="154191"/>
                  </a:lnTo>
                  <a:lnTo>
                    <a:pt x="150410" y="156158"/>
                  </a:lnTo>
                  <a:lnTo>
                    <a:pt x="151076" y="159304"/>
                  </a:lnTo>
                  <a:lnTo>
                    <a:pt x="152649" y="160060"/>
                  </a:lnTo>
                  <a:lnTo>
                    <a:pt x="154585" y="160060"/>
                  </a:lnTo>
                  <a:lnTo>
                    <a:pt x="156309" y="161119"/>
                  </a:lnTo>
                  <a:lnTo>
                    <a:pt x="161875" y="172342"/>
                  </a:lnTo>
                  <a:lnTo>
                    <a:pt x="164144" y="174883"/>
                  </a:lnTo>
                  <a:lnTo>
                    <a:pt x="169257" y="177879"/>
                  </a:lnTo>
                  <a:lnTo>
                    <a:pt x="174037" y="182356"/>
                  </a:lnTo>
                  <a:lnTo>
                    <a:pt x="175156" y="184140"/>
                  </a:lnTo>
                  <a:lnTo>
                    <a:pt x="173492" y="184927"/>
                  </a:lnTo>
                  <a:lnTo>
                    <a:pt x="173129" y="186288"/>
                  </a:lnTo>
                  <a:lnTo>
                    <a:pt x="174612" y="189193"/>
                  </a:lnTo>
                  <a:lnTo>
                    <a:pt x="177243" y="192974"/>
                  </a:lnTo>
                  <a:lnTo>
                    <a:pt x="178120" y="194940"/>
                  </a:lnTo>
                  <a:lnTo>
                    <a:pt x="179300" y="201111"/>
                  </a:lnTo>
                  <a:lnTo>
                    <a:pt x="179300" y="202019"/>
                  </a:lnTo>
                  <a:lnTo>
                    <a:pt x="178877" y="203169"/>
                  </a:lnTo>
                  <a:lnTo>
                    <a:pt x="179633" y="203774"/>
                  </a:lnTo>
                  <a:lnTo>
                    <a:pt x="180904" y="204258"/>
                  </a:lnTo>
                  <a:lnTo>
                    <a:pt x="182114" y="205014"/>
                  </a:lnTo>
                  <a:lnTo>
                    <a:pt x="183233" y="206587"/>
                  </a:lnTo>
                  <a:lnTo>
                    <a:pt x="183505" y="207797"/>
                  </a:lnTo>
                  <a:lnTo>
                    <a:pt x="183596" y="209098"/>
                  </a:lnTo>
                  <a:lnTo>
                    <a:pt x="184140" y="211004"/>
                  </a:lnTo>
                  <a:lnTo>
                    <a:pt x="185653" y="213333"/>
                  </a:lnTo>
                  <a:lnTo>
                    <a:pt x="192460" y="219111"/>
                  </a:lnTo>
                  <a:lnTo>
                    <a:pt x="200839" y="223376"/>
                  </a:lnTo>
                  <a:lnTo>
                    <a:pt x="202140" y="225192"/>
                  </a:lnTo>
                  <a:lnTo>
                    <a:pt x="200900" y="227733"/>
                  </a:lnTo>
                  <a:lnTo>
                    <a:pt x="197844" y="228338"/>
                  </a:lnTo>
                  <a:lnTo>
                    <a:pt x="194487" y="228338"/>
                  </a:lnTo>
                  <a:lnTo>
                    <a:pt x="192460" y="229215"/>
                  </a:lnTo>
                  <a:lnTo>
                    <a:pt x="189797" y="227823"/>
                  </a:lnTo>
                  <a:lnTo>
                    <a:pt x="187015" y="228156"/>
                  </a:lnTo>
                  <a:lnTo>
                    <a:pt x="184715" y="229759"/>
                  </a:lnTo>
                  <a:lnTo>
                    <a:pt x="183475" y="232271"/>
                  </a:lnTo>
                  <a:lnTo>
                    <a:pt x="183657" y="235053"/>
                  </a:lnTo>
                  <a:lnTo>
                    <a:pt x="185139" y="236899"/>
                  </a:lnTo>
                  <a:lnTo>
                    <a:pt x="187529" y="237928"/>
                  </a:lnTo>
                  <a:lnTo>
                    <a:pt x="190342" y="238260"/>
                  </a:lnTo>
                  <a:lnTo>
                    <a:pt x="190342" y="239168"/>
                  </a:lnTo>
                  <a:lnTo>
                    <a:pt x="189041" y="241739"/>
                  </a:lnTo>
                  <a:lnTo>
                    <a:pt x="190433" y="243978"/>
                  </a:lnTo>
                  <a:lnTo>
                    <a:pt x="193186" y="245551"/>
                  </a:lnTo>
                  <a:lnTo>
                    <a:pt x="195908" y="246156"/>
                  </a:lnTo>
                  <a:lnTo>
                    <a:pt x="195273" y="249483"/>
                  </a:lnTo>
                  <a:lnTo>
                    <a:pt x="196060" y="252539"/>
                  </a:lnTo>
                  <a:lnTo>
                    <a:pt x="198601" y="258196"/>
                  </a:lnTo>
                  <a:lnTo>
                    <a:pt x="198601" y="258256"/>
                  </a:lnTo>
                  <a:lnTo>
                    <a:pt x="196302" y="261977"/>
                  </a:lnTo>
                  <a:lnTo>
                    <a:pt x="197330" y="268905"/>
                  </a:lnTo>
                  <a:lnTo>
                    <a:pt x="198026" y="270811"/>
                  </a:lnTo>
                  <a:lnTo>
                    <a:pt x="198570" y="271204"/>
                  </a:lnTo>
                  <a:lnTo>
                    <a:pt x="198450" y="271537"/>
                  </a:lnTo>
                  <a:lnTo>
                    <a:pt x="197179" y="273201"/>
                  </a:lnTo>
                  <a:lnTo>
                    <a:pt x="195273" y="275076"/>
                  </a:lnTo>
                  <a:lnTo>
                    <a:pt x="188799" y="278192"/>
                  </a:lnTo>
                  <a:lnTo>
                    <a:pt x="188527" y="279947"/>
                  </a:lnTo>
                  <a:lnTo>
                    <a:pt x="188678" y="282730"/>
                  </a:lnTo>
                  <a:lnTo>
                    <a:pt x="188527" y="284636"/>
                  </a:lnTo>
                  <a:lnTo>
                    <a:pt x="188043" y="286209"/>
                  </a:lnTo>
                  <a:lnTo>
                    <a:pt x="185835" y="290988"/>
                  </a:lnTo>
                  <a:lnTo>
                    <a:pt x="180541" y="293015"/>
                  </a:lnTo>
                  <a:lnTo>
                    <a:pt x="162299" y="293227"/>
                  </a:lnTo>
                  <a:lnTo>
                    <a:pt x="158820" y="294256"/>
                  </a:lnTo>
                  <a:lnTo>
                    <a:pt x="157096" y="295073"/>
                  </a:lnTo>
                  <a:lnTo>
                    <a:pt x="155735" y="296313"/>
                  </a:lnTo>
                  <a:lnTo>
                    <a:pt x="154645" y="298461"/>
                  </a:lnTo>
                  <a:lnTo>
                    <a:pt x="153375" y="302302"/>
                  </a:lnTo>
                  <a:lnTo>
                    <a:pt x="153314" y="302484"/>
                  </a:lnTo>
                  <a:lnTo>
                    <a:pt x="151923" y="304360"/>
                  </a:lnTo>
                  <a:lnTo>
                    <a:pt x="143997" y="312286"/>
                  </a:lnTo>
                  <a:lnTo>
                    <a:pt x="141093" y="314464"/>
                  </a:lnTo>
                  <a:lnTo>
                    <a:pt x="141093" y="314464"/>
                  </a:lnTo>
                  <a:lnTo>
                    <a:pt x="135617" y="318366"/>
                  </a:lnTo>
                  <a:lnTo>
                    <a:pt x="131080" y="321603"/>
                  </a:lnTo>
                  <a:lnTo>
                    <a:pt x="108089" y="344564"/>
                  </a:lnTo>
                  <a:lnTo>
                    <a:pt x="105064" y="348890"/>
                  </a:lnTo>
                  <a:lnTo>
                    <a:pt x="101373" y="351552"/>
                  </a:lnTo>
                  <a:lnTo>
                    <a:pt x="97380" y="355636"/>
                  </a:lnTo>
                  <a:lnTo>
                    <a:pt x="86459" y="370368"/>
                  </a:lnTo>
                  <a:lnTo>
                    <a:pt x="82254" y="374362"/>
                  </a:lnTo>
                  <a:lnTo>
                    <a:pt x="81739" y="375541"/>
                  </a:lnTo>
                  <a:lnTo>
                    <a:pt x="80923" y="378415"/>
                  </a:lnTo>
                  <a:lnTo>
                    <a:pt x="80469" y="379444"/>
                  </a:lnTo>
                  <a:lnTo>
                    <a:pt x="79592" y="380260"/>
                  </a:lnTo>
                  <a:lnTo>
                    <a:pt x="77807" y="380866"/>
                  </a:lnTo>
                  <a:lnTo>
                    <a:pt x="76930" y="381410"/>
                  </a:lnTo>
                  <a:lnTo>
                    <a:pt x="75962" y="382499"/>
                  </a:lnTo>
                  <a:lnTo>
                    <a:pt x="69760" y="392845"/>
                  </a:lnTo>
                  <a:lnTo>
                    <a:pt x="68066" y="394418"/>
                  </a:lnTo>
                  <a:lnTo>
                    <a:pt x="66946" y="394842"/>
                  </a:lnTo>
                  <a:lnTo>
                    <a:pt x="64799" y="395235"/>
                  </a:lnTo>
                  <a:lnTo>
                    <a:pt x="63679" y="396112"/>
                  </a:lnTo>
                  <a:lnTo>
                    <a:pt x="62953" y="397353"/>
                  </a:lnTo>
                  <a:lnTo>
                    <a:pt x="61229" y="401921"/>
                  </a:lnTo>
                  <a:lnTo>
                    <a:pt x="53606" y="411359"/>
                  </a:lnTo>
                  <a:lnTo>
                    <a:pt x="51095" y="416865"/>
                  </a:lnTo>
                  <a:lnTo>
                    <a:pt x="53031" y="421947"/>
                  </a:lnTo>
                  <a:lnTo>
                    <a:pt x="53727" y="424034"/>
                  </a:lnTo>
                  <a:lnTo>
                    <a:pt x="54362" y="430085"/>
                  </a:lnTo>
                  <a:lnTo>
                    <a:pt x="54725" y="431688"/>
                  </a:lnTo>
                  <a:lnTo>
                    <a:pt x="54997" y="432474"/>
                  </a:lnTo>
                  <a:lnTo>
                    <a:pt x="56298" y="434380"/>
                  </a:lnTo>
                  <a:lnTo>
                    <a:pt x="58476" y="436498"/>
                  </a:lnTo>
                  <a:lnTo>
                    <a:pt x="59021" y="437587"/>
                  </a:lnTo>
                  <a:lnTo>
                    <a:pt x="59474" y="439856"/>
                  </a:lnTo>
                  <a:lnTo>
                    <a:pt x="60836" y="452834"/>
                  </a:lnTo>
                  <a:lnTo>
                    <a:pt x="60443" y="454891"/>
                  </a:lnTo>
                  <a:lnTo>
                    <a:pt x="58748" y="459187"/>
                  </a:lnTo>
                  <a:lnTo>
                    <a:pt x="57327" y="464178"/>
                  </a:lnTo>
                  <a:lnTo>
                    <a:pt x="55723" y="467233"/>
                  </a:lnTo>
                  <a:lnTo>
                    <a:pt x="55179" y="468928"/>
                  </a:lnTo>
                  <a:lnTo>
                    <a:pt x="55814" y="469684"/>
                  </a:lnTo>
                  <a:lnTo>
                    <a:pt x="56268" y="469381"/>
                  </a:lnTo>
                  <a:lnTo>
                    <a:pt x="57599" y="467839"/>
                  </a:lnTo>
                  <a:lnTo>
                    <a:pt x="59172" y="468867"/>
                  </a:lnTo>
                  <a:lnTo>
                    <a:pt x="59051" y="468928"/>
                  </a:lnTo>
                  <a:lnTo>
                    <a:pt x="58658" y="469018"/>
                  </a:lnTo>
                  <a:lnTo>
                    <a:pt x="61925" y="471136"/>
                  </a:lnTo>
                  <a:lnTo>
                    <a:pt x="64859" y="474706"/>
                  </a:lnTo>
                  <a:lnTo>
                    <a:pt x="66705" y="475976"/>
                  </a:lnTo>
                  <a:lnTo>
                    <a:pt x="71242" y="478305"/>
                  </a:lnTo>
                  <a:lnTo>
                    <a:pt x="72452" y="479727"/>
                  </a:lnTo>
                  <a:lnTo>
                    <a:pt x="72452" y="480937"/>
                  </a:lnTo>
                  <a:lnTo>
                    <a:pt x="71545" y="483690"/>
                  </a:lnTo>
                  <a:lnTo>
                    <a:pt x="71424" y="485596"/>
                  </a:lnTo>
                  <a:lnTo>
                    <a:pt x="71847" y="486927"/>
                  </a:lnTo>
                  <a:lnTo>
                    <a:pt x="73481" y="489498"/>
                  </a:lnTo>
                  <a:lnTo>
                    <a:pt x="73602" y="489801"/>
                  </a:lnTo>
                  <a:lnTo>
                    <a:pt x="73814" y="490255"/>
                  </a:lnTo>
                  <a:lnTo>
                    <a:pt x="72634" y="492523"/>
                  </a:lnTo>
                  <a:lnTo>
                    <a:pt x="70607" y="491707"/>
                  </a:lnTo>
                  <a:lnTo>
                    <a:pt x="68369" y="489861"/>
                  </a:lnTo>
                  <a:lnTo>
                    <a:pt x="66583" y="489015"/>
                  </a:lnTo>
                  <a:lnTo>
                    <a:pt x="65464" y="488682"/>
                  </a:lnTo>
                  <a:lnTo>
                    <a:pt x="63589" y="486292"/>
                  </a:lnTo>
                  <a:lnTo>
                    <a:pt x="62560" y="485414"/>
                  </a:lnTo>
                  <a:lnTo>
                    <a:pt x="61471" y="485294"/>
                  </a:lnTo>
                  <a:lnTo>
                    <a:pt x="59202" y="485929"/>
                  </a:lnTo>
                  <a:lnTo>
                    <a:pt x="55572" y="485687"/>
                  </a:lnTo>
                  <a:lnTo>
                    <a:pt x="53424" y="485868"/>
                  </a:lnTo>
                  <a:lnTo>
                    <a:pt x="51276" y="485626"/>
                  </a:lnTo>
                  <a:lnTo>
                    <a:pt x="48796" y="484084"/>
                  </a:lnTo>
                  <a:lnTo>
                    <a:pt x="45014" y="480242"/>
                  </a:lnTo>
                  <a:lnTo>
                    <a:pt x="42988" y="479667"/>
                  </a:lnTo>
                  <a:lnTo>
                    <a:pt x="40870" y="481542"/>
                  </a:lnTo>
                  <a:lnTo>
                    <a:pt x="40113" y="483872"/>
                  </a:lnTo>
                  <a:lnTo>
                    <a:pt x="39387" y="487078"/>
                  </a:lnTo>
                  <a:lnTo>
                    <a:pt x="38904" y="490315"/>
                  </a:lnTo>
                  <a:lnTo>
                    <a:pt x="38904" y="492705"/>
                  </a:lnTo>
                  <a:lnTo>
                    <a:pt x="37391" y="493915"/>
                  </a:lnTo>
                  <a:lnTo>
                    <a:pt x="33519" y="494429"/>
                  </a:lnTo>
                  <a:lnTo>
                    <a:pt x="31764" y="495700"/>
                  </a:lnTo>
                  <a:lnTo>
                    <a:pt x="29586" y="501599"/>
                  </a:lnTo>
                  <a:lnTo>
                    <a:pt x="28346" y="504110"/>
                  </a:lnTo>
                  <a:lnTo>
                    <a:pt x="28225" y="504775"/>
                  </a:lnTo>
                  <a:lnTo>
                    <a:pt x="28225" y="506590"/>
                  </a:lnTo>
                  <a:lnTo>
                    <a:pt x="28043" y="507468"/>
                  </a:lnTo>
                  <a:lnTo>
                    <a:pt x="27106" y="508708"/>
                  </a:lnTo>
                  <a:lnTo>
                    <a:pt x="24685" y="510584"/>
                  </a:lnTo>
                  <a:lnTo>
                    <a:pt x="23929" y="511582"/>
                  </a:lnTo>
                  <a:lnTo>
                    <a:pt x="23717" y="511824"/>
                  </a:lnTo>
                  <a:lnTo>
                    <a:pt x="23052" y="513518"/>
                  </a:lnTo>
                  <a:lnTo>
                    <a:pt x="22961" y="514607"/>
                  </a:lnTo>
                  <a:lnTo>
                    <a:pt x="23173" y="515757"/>
                  </a:lnTo>
                  <a:lnTo>
                    <a:pt x="23415" y="520506"/>
                  </a:lnTo>
                  <a:lnTo>
                    <a:pt x="23173" y="521474"/>
                  </a:lnTo>
                  <a:lnTo>
                    <a:pt x="22477" y="523078"/>
                  </a:lnTo>
                  <a:lnTo>
                    <a:pt x="21600" y="524227"/>
                  </a:lnTo>
                  <a:lnTo>
                    <a:pt x="20662" y="524923"/>
                  </a:lnTo>
                  <a:lnTo>
                    <a:pt x="19906" y="525861"/>
                  </a:lnTo>
                  <a:lnTo>
                    <a:pt x="19603" y="527736"/>
                  </a:lnTo>
                  <a:lnTo>
                    <a:pt x="19724" y="530731"/>
                  </a:lnTo>
                  <a:lnTo>
                    <a:pt x="19059" y="533696"/>
                  </a:lnTo>
                  <a:lnTo>
                    <a:pt x="17818" y="536298"/>
                  </a:lnTo>
                  <a:lnTo>
                    <a:pt x="16215" y="538264"/>
                  </a:lnTo>
                  <a:lnTo>
                    <a:pt x="15005" y="538990"/>
                  </a:lnTo>
                  <a:lnTo>
                    <a:pt x="12343" y="539776"/>
                  </a:lnTo>
                  <a:lnTo>
                    <a:pt x="11102" y="540563"/>
                  </a:lnTo>
                  <a:lnTo>
                    <a:pt x="10346" y="541531"/>
                  </a:lnTo>
                  <a:lnTo>
                    <a:pt x="9287" y="543770"/>
                  </a:lnTo>
                  <a:lnTo>
                    <a:pt x="8652" y="544768"/>
                  </a:lnTo>
                  <a:lnTo>
                    <a:pt x="2088" y="549668"/>
                  </a:lnTo>
                  <a:lnTo>
                    <a:pt x="575" y="551937"/>
                  </a:lnTo>
                  <a:lnTo>
                    <a:pt x="363" y="554751"/>
                  </a:lnTo>
                  <a:lnTo>
                    <a:pt x="1543" y="560408"/>
                  </a:lnTo>
                  <a:lnTo>
                    <a:pt x="1180" y="562616"/>
                  </a:lnTo>
                  <a:lnTo>
                    <a:pt x="91" y="564885"/>
                  </a:lnTo>
                  <a:lnTo>
                    <a:pt x="0" y="574898"/>
                  </a:lnTo>
                  <a:lnTo>
                    <a:pt x="2390" y="575292"/>
                  </a:lnTo>
                  <a:lnTo>
                    <a:pt x="2662" y="575292"/>
                  </a:lnTo>
                  <a:lnTo>
                    <a:pt x="3661" y="574263"/>
                  </a:lnTo>
                  <a:lnTo>
                    <a:pt x="6958" y="573053"/>
                  </a:lnTo>
                  <a:lnTo>
                    <a:pt x="10376" y="573446"/>
                  </a:lnTo>
                  <a:lnTo>
                    <a:pt x="13976" y="575080"/>
                  </a:lnTo>
                  <a:lnTo>
                    <a:pt x="12464" y="579285"/>
                  </a:lnTo>
                  <a:lnTo>
                    <a:pt x="12464" y="581493"/>
                  </a:lnTo>
                  <a:lnTo>
                    <a:pt x="15217" y="581342"/>
                  </a:lnTo>
                  <a:lnTo>
                    <a:pt x="15912" y="581463"/>
                  </a:lnTo>
                  <a:lnTo>
                    <a:pt x="16638" y="582643"/>
                  </a:lnTo>
                  <a:lnTo>
                    <a:pt x="16638" y="584004"/>
                  </a:lnTo>
                  <a:lnTo>
                    <a:pt x="16396" y="585607"/>
                  </a:lnTo>
                  <a:lnTo>
                    <a:pt x="16487" y="587543"/>
                  </a:lnTo>
                  <a:lnTo>
                    <a:pt x="17576" y="590357"/>
                  </a:lnTo>
                  <a:lnTo>
                    <a:pt x="22507" y="597375"/>
                  </a:lnTo>
                  <a:lnTo>
                    <a:pt x="23173" y="597980"/>
                  </a:lnTo>
                  <a:lnTo>
                    <a:pt x="23899" y="598162"/>
                  </a:lnTo>
                  <a:lnTo>
                    <a:pt x="24685" y="597950"/>
                  </a:lnTo>
                  <a:lnTo>
                    <a:pt x="25472" y="597375"/>
                  </a:lnTo>
                  <a:lnTo>
                    <a:pt x="25895" y="597194"/>
                  </a:lnTo>
                  <a:lnTo>
                    <a:pt x="26289" y="597133"/>
                  </a:lnTo>
                  <a:lnTo>
                    <a:pt x="26712" y="597194"/>
                  </a:lnTo>
                  <a:lnTo>
                    <a:pt x="28709" y="597950"/>
                  </a:lnTo>
                  <a:lnTo>
                    <a:pt x="30282" y="598252"/>
                  </a:lnTo>
                  <a:lnTo>
                    <a:pt x="31855" y="598131"/>
                  </a:lnTo>
                  <a:lnTo>
                    <a:pt x="33791" y="597224"/>
                  </a:lnTo>
                  <a:lnTo>
                    <a:pt x="34638" y="597224"/>
                  </a:lnTo>
                  <a:lnTo>
                    <a:pt x="35062" y="597436"/>
                  </a:lnTo>
                  <a:lnTo>
                    <a:pt x="42534" y="606511"/>
                  </a:lnTo>
                  <a:lnTo>
                    <a:pt x="43865" y="609354"/>
                  </a:lnTo>
                  <a:lnTo>
                    <a:pt x="45287" y="613741"/>
                  </a:lnTo>
                  <a:lnTo>
                    <a:pt x="46981" y="617008"/>
                  </a:lnTo>
                  <a:lnTo>
                    <a:pt x="47525" y="617583"/>
                  </a:lnTo>
                  <a:lnTo>
                    <a:pt x="47797" y="617583"/>
                  </a:lnTo>
                  <a:lnTo>
                    <a:pt x="49128" y="616948"/>
                  </a:lnTo>
                  <a:lnTo>
                    <a:pt x="56389" y="616948"/>
                  </a:lnTo>
                  <a:lnTo>
                    <a:pt x="58234" y="616373"/>
                  </a:lnTo>
                  <a:lnTo>
                    <a:pt x="59959" y="615345"/>
                  </a:lnTo>
                  <a:lnTo>
                    <a:pt x="61683" y="614921"/>
                  </a:lnTo>
                  <a:lnTo>
                    <a:pt x="63316" y="615889"/>
                  </a:lnTo>
                  <a:lnTo>
                    <a:pt x="63679" y="616554"/>
                  </a:lnTo>
                  <a:lnTo>
                    <a:pt x="67309" y="618430"/>
                  </a:lnTo>
                  <a:lnTo>
                    <a:pt x="70274" y="621002"/>
                  </a:lnTo>
                  <a:lnTo>
                    <a:pt x="71605" y="622575"/>
                  </a:lnTo>
                  <a:lnTo>
                    <a:pt x="72634" y="624480"/>
                  </a:lnTo>
                  <a:lnTo>
                    <a:pt x="73329" y="627082"/>
                  </a:lnTo>
                  <a:lnTo>
                    <a:pt x="72966" y="628504"/>
                  </a:lnTo>
                  <a:lnTo>
                    <a:pt x="72301" y="629774"/>
                  </a:lnTo>
                  <a:lnTo>
                    <a:pt x="72120" y="631922"/>
                  </a:lnTo>
                  <a:lnTo>
                    <a:pt x="70395" y="633889"/>
                  </a:lnTo>
                  <a:lnTo>
                    <a:pt x="71242" y="635552"/>
                  </a:lnTo>
                  <a:lnTo>
                    <a:pt x="74933" y="638336"/>
                  </a:lnTo>
                  <a:lnTo>
                    <a:pt x="76960" y="637761"/>
                  </a:lnTo>
                  <a:lnTo>
                    <a:pt x="78775" y="636611"/>
                  </a:lnTo>
                  <a:lnTo>
                    <a:pt x="79622" y="634735"/>
                  </a:lnTo>
                  <a:lnTo>
                    <a:pt x="78775" y="631953"/>
                  </a:lnTo>
                  <a:lnTo>
                    <a:pt x="79622" y="630319"/>
                  </a:lnTo>
                  <a:lnTo>
                    <a:pt x="81135" y="630198"/>
                  </a:lnTo>
                  <a:lnTo>
                    <a:pt x="82919" y="630954"/>
                  </a:lnTo>
                  <a:lnTo>
                    <a:pt x="84462" y="631953"/>
                  </a:lnTo>
                  <a:lnTo>
                    <a:pt x="86066" y="632860"/>
                  </a:lnTo>
                  <a:lnTo>
                    <a:pt x="87699" y="633314"/>
                  </a:lnTo>
                  <a:lnTo>
                    <a:pt x="89302" y="633072"/>
                  </a:lnTo>
                  <a:lnTo>
                    <a:pt x="93628" y="629926"/>
                  </a:lnTo>
                  <a:lnTo>
                    <a:pt x="94959" y="627566"/>
                  </a:lnTo>
                  <a:lnTo>
                    <a:pt x="97228" y="621092"/>
                  </a:lnTo>
                  <a:lnTo>
                    <a:pt x="99195" y="618279"/>
                  </a:lnTo>
                  <a:lnTo>
                    <a:pt x="101252" y="617371"/>
                  </a:lnTo>
                  <a:lnTo>
                    <a:pt x="103521" y="617674"/>
                  </a:lnTo>
                  <a:lnTo>
                    <a:pt x="110539" y="619913"/>
                  </a:lnTo>
                  <a:lnTo>
                    <a:pt x="112293" y="621092"/>
                  </a:lnTo>
                  <a:lnTo>
                    <a:pt x="116438" y="625660"/>
                  </a:lnTo>
                  <a:lnTo>
                    <a:pt x="121248" y="629441"/>
                  </a:lnTo>
                  <a:lnTo>
                    <a:pt x="123517" y="631892"/>
                  </a:lnTo>
                  <a:lnTo>
                    <a:pt x="124243" y="632164"/>
                  </a:lnTo>
                  <a:lnTo>
                    <a:pt x="124999" y="632255"/>
                  </a:lnTo>
                  <a:lnTo>
                    <a:pt x="125755" y="632164"/>
                  </a:lnTo>
                  <a:lnTo>
                    <a:pt x="126542" y="631892"/>
                  </a:lnTo>
                  <a:lnTo>
                    <a:pt x="126693" y="631831"/>
                  </a:lnTo>
                  <a:lnTo>
                    <a:pt x="126996" y="631831"/>
                  </a:lnTo>
                  <a:lnTo>
                    <a:pt x="127147" y="631892"/>
                  </a:lnTo>
                  <a:lnTo>
                    <a:pt x="133681" y="634887"/>
                  </a:lnTo>
                  <a:lnTo>
                    <a:pt x="135768" y="634766"/>
                  </a:lnTo>
                  <a:lnTo>
                    <a:pt x="136162" y="634494"/>
                  </a:lnTo>
                  <a:lnTo>
                    <a:pt x="136465" y="634252"/>
                  </a:lnTo>
                  <a:lnTo>
                    <a:pt x="137039" y="633616"/>
                  </a:lnTo>
                  <a:lnTo>
                    <a:pt x="137554" y="632830"/>
                  </a:lnTo>
                  <a:lnTo>
                    <a:pt x="138007" y="631892"/>
                  </a:lnTo>
                  <a:lnTo>
                    <a:pt x="139096" y="631045"/>
                  </a:lnTo>
                  <a:lnTo>
                    <a:pt x="140216" y="630742"/>
                  </a:lnTo>
                  <a:lnTo>
                    <a:pt x="143997" y="630107"/>
                  </a:lnTo>
                  <a:lnTo>
                    <a:pt x="145873" y="630682"/>
                  </a:lnTo>
                  <a:lnTo>
                    <a:pt x="152347" y="631378"/>
                  </a:lnTo>
                  <a:lnTo>
                    <a:pt x="156491" y="632679"/>
                  </a:lnTo>
                  <a:lnTo>
                    <a:pt x="158820" y="632981"/>
                  </a:lnTo>
                  <a:lnTo>
                    <a:pt x="165808" y="632648"/>
                  </a:lnTo>
                  <a:lnTo>
                    <a:pt x="167472" y="633405"/>
                  </a:lnTo>
                  <a:lnTo>
                    <a:pt x="172706" y="637882"/>
                  </a:lnTo>
                  <a:lnTo>
                    <a:pt x="173371" y="639999"/>
                  </a:lnTo>
                  <a:lnTo>
                    <a:pt x="175519" y="639999"/>
                  </a:lnTo>
                  <a:lnTo>
                    <a:pt x="185653" y="636127"/>
                  </a:lnTo>
                  <a:lnTo>
                    <a:pt x="188830" y="636278"/>
                  </a:lnTo>
                  <a:lnTo>
                    <a:pt x="190494" y="637367"/>
                  </a:lnTo>
                  <a:lnTo>
                    <a:pt x="195485" y="638608"/>
                  </a:lnTo>
                  <a:lnTo>
                    <a:pt x="197481" y="639455"/>
                  </a:lnTo>
                  <a:lnTo>
                    <a:pt x="201142" y="642692"/>
                  </a:lnTo>
                  <a:lnTo>
                    <a:pt x="202897" y="643024"/>
                  </a:lnTo>
                  <a:lnTo>
                    <a:pt x="203048" y="642904"/>
                  </a:lnTo>
                  <a:lnTo>
                    <a:pt x="209007" y="645021"/>
                  </a:lnTo>
                  <a:lnTo>
                    <a:pt x="211185" y="645112"/>
                  </a:lnTo>
                  <a:lnTo>
                    <a:pt x="217901" y="641966"/>
                  </a:lnTo>
                  <a:lnTo>
                    <a:pt x="222862" y="641815"/>
                  </a:lnTo>
                  <a:lnTo>
                    <a:pt x="226795" y="638668"/>
                  </a:lnTo>
                  <a:lnTo>
                    <a:pt x="229094" y="637519"/>
                  </a:lnTo>
                  <a:lnTo>
                    <a:pt x="231030" y="637458"/>
                  </a:lnTo>
                  <a:lnTo>
                    <a:pt x="236778" y="638729"/>
                  </a:lnTo>
                  <a:lnTo>
                    <a:pt x="242465" y="638638"/>
                  </a:lnTo>
                  <a:lnTo>
                    <a:pt x="244432" y="639092"/>
                  </a:lnTo>
                  <a:lnTo>
                    <a:pt x="245249" y="639546"/>
                  </a:lnTo>
                  <a:lnTo>
                    <a:pt x="249121" y="641663"/>
                  </a:lnTo>
                  <a:lnTo>
                    <a:pt x="251662" y="643539"/>
                  </a:lnTo>
                  <a:lnTo>
                    <a:pt x="253235" y="645354"/>
                  </a:lnTo>
                  <a:lnTo>
                    <a:pt x="253900" y="647532"/>
                  </a:lnTo>
                  <a:lnTo>
                    <a:pt x="253991" y="649347"/>
                  </a:lnTo>
                  <a:lnTo>
                    <a:pt x="254445" y="651041"/>
                  </a:lnTo>
                  <a:lnTo>
                    <a:pt x="256230" y="652947"/>
                  </a:lnTo>
                  <a:lnTo>
                    <a:pt x="259618" y="654883"/>
                  </a:lnTo>
                  <a:lnTo>
                    <a:pt x="267755" y="657817"/>
                  </a:lnTo>
                  <a:lnTo>
                    <a:pt x="269238" y="659027"/>
                  </a:lnTo>
                  <a:lnTo>
                    <a:pt x="270508" y="660631"/>
                  </a:lnTo>
                  <a:lnTo>
                    <a:pt x="273897" y="666258"/>
                  </a:lnTo>
                  <a:lnTo>
                    <a:pt x="276226" y="669615"/>
                  </a:lnTo>
                  <a:lnTo>
                    <a:pt x="278132" y="670795"/>
                  </a:lnTo>
                  <a:lnTo>
                    <a:pt x="281399" y="670251"/>
                  </a:lnTo>
                  <a:lnTo>
                    <a:pt x="282760" y="670009"/>
                  </a:lnTo>
                  <a:lnTo>
                    <a:pt x="290293" y="668768"/>
                  </a:lnTo>
                  <a:lnTo>
                    <a:pt x="296585" y="666258"/>
                  </a:lnTo>
                  <a:lnTo>
                    <a:pt x="296585" y="666258"/>
                  </a:lnTo>
                  <a:lnTo>
                    <a:pt x="300790" y="662506"/>
                  </a:lnTo>
                  <a:lnTo>
                    <a:pt x="310531" y="647623"/>
                  </a:lnTo>
                  <a:lnTo>
                    <a:pt x="314857" y="644870"/>
                  </a:lnTo>
                  <a:lnTo>
                    <a:pt x="364227" y="639909"/>
                  </a:lnTo>
                  <a:lnTo>
                    <a:pt x="370883" y="637428"/>
                  </a:lnTo>
                  <a:lnTo>
                    <a:pt x="376177" y="636823"/>
                  </a:lnTo>
                  <a:lnTo>
                    <a:pt x="379232" y="635583"/>
                  </a:lnTo>
                  <a:lnTo>
                    <a:pt x="380926" y="635280"/>
                  </a:lnTo>
                  <a:lnTo>
                    <a:pt x="385706" y="635734"/>
                  </a:lnTo>
                  <a:lnTo>
                    <a:pt x="392089" y="633949"/>
                  </a:lnTo>
                  <a:lnTo>
                    <a:pt x="399470" y="633889"/>
                  </a:lnTo>
                  <a:lnTo>
                    <a:pt x="401800" y="633889"/>
                  </a:lnTo>
                  <a:lnTo>
                    <a:pt x="406579" y="631831"/>
                  </a:lnTo>
                  <a:lnTo>
                    <a:pt x="407548" y="630440"/>
                  </a:lnTo>
                  <a:lnTo>
                    <a:pt x="409786" y="625751"/>
                  </a:lnTo>
                  <a:lnTo>
                    <a:pt x="411026" y="624269"/>
                  </a:lnTo>
                  <a:lnTo>
                    <a:pt x="413658" y="622211"/>
                  </a:lnTo>
                  <a:lnTo>
                    <a:pt x="414868" y="620941"/>
                  </a:lnTo>
                  <a:lnTo>
                    <a:pt x="416441" y="618007"/>
                  </a:lnTo>
                  <a:lnTo>
                    <a:pt x="418075" y="613711"/>
                  </a:lnTo>
                  <a:lnTo>
                    <a:pt x="419134" y="609325"/>
                  </a:lnTo>
                  <a:lnTo>
                    <a:pt x="418982" y="606178"/>
                  </a:lnTo>
                  <a:lnTo>
                    <a:pt x="419708" y="601610"/>
                  </a:lnTo>
                  <a:lnTo>
                    <a:pt x="420555" y="601943"/>
                  </a:lnTo>
                  <a:lnTo>
                    <a:pt x="422431" y="602125"/>
                  </a:lnTo>
                  <a:lnTo>
                    <a:pt x="424156" y="601641"/>
                  </a:lnTo>
                  <a:lnTo>
                    <a:pt x="427483" y="600098"/>
                  </a:lnTo>
                  <a:lnTo>
                    <a:pt x="429177" y="599674"/>
                  </a:lnTo>
                  <a:lnTo>
                    <a:pt x="433927" y="599463"/>
                  </a:lnTo>
                  <a:lnTo>
                    <a:pt x="435590" y="599100"/>
                  </a:lnTo>
                  <a:lnTo>
                    <a:pt x="448296" y="596468"/>
                  </a:lnTo>
                  <a:lnTo>
                    <a:pt x="451352" y="595136"/>
                  </a:lnTo>
                  <a:lnTo>
                    <a:pt x="451442" y="593987"/>
                  </a:lnTo>
                  <a:lnTo>
                    <a:pt x="452078" y="591809"/>
                  </a:lnTo>
                  <a:lnTo>
                    <a:pt x="453197" y="590145"/>
                  </a:lnTo>
                  <a:lnTo>
                    <a:pt x="456524" y="588209"/>
                  </a:lnTo>
                  <a:lnTo>
                    <a:pt x="457009" y="586424"/>
                  </a:lnTo>
                  <a:lnTo>
                    <a:pt x="457583" y="585244"/>
                  </a:lnTo>
                  <a:lnTo>
                    <a:pt x="459580" y="585940"/>
                  </a:lnTo>
                  <a:lnTo>
                    <a:pt x="460941" y="587332"/>
                  </a:lnTo>
                  <a:lnTo>
                    <a:pt x="462000" y="589056"/>
                  </a:lnTo>
                  <a:lnTo>
                    <a:pt x="463240" y="590568"/>
                  </a:lnTo>
                  <a:lnTo>
                    <a:pt x="465116" y="591355"/>
                  </a:lnTo>
                  <a:lnTo>
                    <a:pt x="467112" y="591204"/>
                  </a:lnTo>
                  <a:lnTo>
                    <a:pt x="468262" y="590236"/>
                  </a:lnTo>
                  <a:lnTo>
                    <a:pt x="468716" y="588451"/>
                  </a:lnTo>
                  <a:lnTo>
                    <a:pt x="468655" y="585819"/>
                  </a:lnTo>
                  <a:lnTo>
                    <a:pt x="468111" y="583157"/>
                  </a:lnTo>
                  <a:lnTo>
                    <a:pt x="467536" y="581493"/>
                  </a:lnTo>
                  <a:lnTo>
                    <a:pt x="467475" y="580253"/>
                  </a:lnTo>
                  <a:lnTo>
                    <a:pt x="468534" y="578861"/>
                  </a:lnTo>
                  <a:lnTo>
                    <a:pt x="469079" y="578861"/>
                  </a:lnTo>
                  <a:lnTo>
                    <a:pt x="470743" y="579436"/>
                  </a:lnTo>
                  <a:lnTo>
                    <a:pt x="471439" y="579436"/>
                  </a:lnTo>
                  <a:lnTo>
                    <a:pt x="472316" y="578619"/>
                  </a:lnTo>
                  <a:lnTo>
                    <a:pt x="472588" y="577590"/>
                  </a:lnTo>
                  <a:lnTo>
                    <a:pt x="472951" y="576713"/>
                  </a:lnTo>
                  <a:lnTo>
                    <a:pt x="474040" y="576381"/>
                  </a:lnTo>
                  <a:lnTo>
                    <a:pt x="477368" y="577742"/>
                  </a:lnTo>
                  <a:lnTo>
                    <a:pt x="480665" y="580343"/>
                  </a:lnTo>
                  <a:lnTo>
                    <a:pt x="484144" y="582280"/>
                  </a:lnTo>
                  <a:lnTo>
                    <a:pt x="487956" y="581675"/>
                  </a:lnTo>
                  <a:lnTo>
                    <a:pt x="488924" y="580737"/>
                  </a:lnTo>
                  <a:lnTo>
                    <a:pt x="489650" y="580858"/>
                  </a:lnTo>
                  <a:lnTo>
                    <a:pt x="490346" y="581251"/>
                  </a:lnTo>
                  <a:lnTo>
                    <a:pt x="491435" y="581160"/>
                  </a:lnTo>
                  <a:lnTo>
                    <a:pt x="492645" y="581372"/>
                  </a:lnTo>
                  <a:lnTo>
                    <a:pt x="493189" y="581039"/>
                  </a:lnTo>
                  <a:lnTo>
                    <a:pt x="493068" y="580343"/>
                  </a:lnTo>
                  <a:lnTo>
                    <a:pt x="492735" y="579587"/>
                  </a:lnTo>
                  <a:lnTo>
                    <a:pt x="492645" y="579043"/>
                  </a:lnTo>
                  <a:lnTo>
                    <a:pt x="492645" y="578105"/>
                  </a:lnTo>
                  <a:lnTo>
                    <a:pt x="492403" y="576925"/>
                  </a:lnTo>
                  <a:lnTo>
                    <a:pt x="492493" y="575927"/>
                  </a:lnTo>
                  <a:lnTo>
                    <a:pt x="493613" y="575564"/>
                  </a:lnTo>
                  <a:lnTo>
                    <a:pt x="494671" y="575836"/>
                  </a:lnTo>
                  <a:lnTo>
                    <a:pt x="496789" y="577076"/>
                  </a:lnTo>
                  <a:lnTo>
                    <a:pt x="507559" y="580828"/>
                  </a:lnTo>
                  <a:lnTo>
                    <a:pt x="510856" y="581009"/>
                  </a:lnTo>
                  <a:lnTo>
                    <a:pt x="514698" y="579194"/>
                  </a:lnTo>
                  <a:lnTo>
                    <a:pt x="515243" y="578559"/>
                  </a:lnTo>
                  <a:lnTo>
                    <a:pt x="520688" y="572267"/>
                  </a:lnTo>
                  <a:lnTo>
                    <a:pt x="524348" y="570512"/>
                  </a:lnTo>
                  <a:lnTo>
                    <a:pt x="526284" y="570966"/>
                  </a:lnTo>
                  <a:lnTo>
                    <a:pt x="529158" y="573446"/>
                  </a:lnTo>
                  <a:lnTo>
                    <a:pt x="530550" y="573930"/>
                  </a:lnTo>
                  <a:lnTo>
                    <a:pt x="532214" y="573144"/>
                  </a:lnTo>
                  <a:lnTo>
                    <a:pt x="538324" y="568364"/>
                  </a:lnTo>
                  <a:lnTo>
                    <a:pt x="540624" y="565430"/>
                  </a:lnTo>
                  <a:lnTo>
                    <a:pt x="544768" y="565430"/>
                  </a:lnTo>
                  <a:lnTo>
                    <a:pt x="545948" y="565157"/>
                  </a:lnTo>
                  <a:lnTo>
                    <a:pt x="548580" y="563554"/>
                  </a:lnTo>
                  <a:lnTo>
                    <a:pt x="550758" y="563826"/>
                  </a:lnTo>
                  <a:lnTo>
                    <a:pt x="550969" y="567487"/>
                  </a:lnTo>
                  <a:lnTo>
                    <a:pt x="552996" y="568394"/>
                  </a:lnTo>
                  <a:lnTo>
                    <a:pt x="565551" y="568303"/>
                  </a:lnTo>
                  <a:lnTo>
                    <a:pt x="568939" y="569755"/>
                  </a:lnTo>
                  <a:lnTo>
                    <a:pt x="575443" y="574202"/>
                  </a:lnTo>
                  <a:lnTo>
                    <a:pt x="576956" y="575685"/>
                  </a:lnTo>
                  <a:lnTo>
                    <a:pt x="579013" y="578528"/>
                  </a:lnTo>
                  <a:lnTo>
                    <a:pt x="580162" y="580102"/>
                  </a:lnTo>
                  <a:lnTo>
                    <a:pt x="580949" y="580767"/>
                  </a:lnTo>
                  <a:lnTo>
                    <a:pt x="583157" y="583974"/>
                  </a:lnTo>
                  <a:lnTo>
                    <a:pt x="587241" y="585426"/>
                  </a:lnTo>
                  <a:lnTo>
                    <a:pt x="590871" y="585849"/>
                  </a:lnTo>
                  <a:lnTo>
                    <a:pt x="596165" y="586454"/>
                  </a:lnTo>
                  <a:lnTo>
                    <a:pt x="598222" y="587362"/>
                  </a:lnTo>
                  <a:lnTo>
                    <a:pt x="599856" y="589147"/>
                  </a:lnTo>
                  <a:lnTo>
                    <a:pt x="600400" y="591657"/>
                  </a:lnTo>
                  <a:lnTo>
                    <a:pt x="598434" y="597073"/>
                  </a:lnTo>
                  <a:lnTo>
                    <a:pt x="599886" y="598101"/>
                  </a:lnTo>
                  <a:lnTo>
                    <a:pt x="602155" y="598192"/>
                  </a:lnTo>
                  <a:lnTo>
                    <a:pt x="603728" y="597799"/>
                  </a:lnTo>
                  <a:lnTo>
                    <a:pt x="606844" y="595348"/>
                  </a:lnTo>
                  <a:lnTo>
                    <a:pt x="608477" y="595106"/>
                  </a:lnTo>
                  <a:lnTo>
                    <a:pt x="609203" y="597375"/>
                  </a:lnTo>
                  <a:lnTo>
                    <a:pt x="609566" y="600067"/>
                  </a:lnTo>
                  <a:lnTo>
                    <a:pt x="610625" y="601641"/>
                  </a:lnTo>
                  <a:lnTo>
                    <a:pt x="612350" y="602155"/>
                  </a:lnTo>
                  <a:lnTo>
                    <a:pt x="614709" y="601671"/>
                  </a:lnTo>
                  <a:lnTo>
                    <a:pt x="616887" y="600521"/>
                  </a:lnTo>
                  <a:lnTo>
                    <a:pt x="618461" y="599251"/>
                  </a:lnTo>
                  <a:lnTo>
                    <a:pt x="620154" y="598222"/>
                  </a:lnTo>
                  <a:lnTo>
                    <a:pt x="624783" y="597708"/>
                  </a:lnTo>
                  <a:lnTo>
                    <a:pt x="626507" y="597920"/>
                  </a:lnTo>
                  <a:lnTo>
                    <a:pt x="627566" y="599039"/>
                  </a:lnTo>
                  <a:lnTo>
                    <a:pt x="627748" y="601671"/>
                  </a:lnTo>
                  <a:lnTo>
                    <a:pt x="627082" y="604514"/>
                  </a:lnTo>
                  <a:lnTo>
                    <a:pt x="625963" y="605785"/>
                  </a:lnTo>
                  <a:lnTo>
                    <a:pt x="624511" y="606662"/>
                  </a:lnTo>
                  <a:lnTo>
                    <a:pt x="622938" y="608387"/>
                  </a:lnTo>
                  <a:lnTo>
                    <a:pt x="622272" y="610292"/>
                  </a:lnTo>
                  <a:lnTo>
                    <a:pt x="622454" y="612229"/>
                  </a:lnTo>
                  <a:lnTo>
                    <a:pt x="623573" y="613378"/>
                  </a:lnTo>
                  <a:lnTo>
                    <a:pt x="625691" y="613015"/>
                  </a:lnTo>
                  <a:lnTo>
                    <a:pt x="627233" y="611381"/>
                  </a:lnTo>
                  <a:lnTo>
                    <a:pt x="628322" y="609264"/>
                  </a:lnTo>
                  <a:lnTo>
                    <a:pt x="629623" y="607600"/>
                  </a:lnTo>
                  <a:lnTo>
                    <a:pt x="631922" y="607298"/>
                  </a:lnTo>
                  <a:lnTo>
                    <a:pt x="633526" y="608326"/>
                  </a:lnTo>
                  <a:lnTo>
                    <a:pt x="634494" y="610202"/>
                  </a:lnTo>
                  <a:lnTo>
                    <a:pt x="634373" y="612319"/>
                  </a:lnTo>
                  <a:lnTo>
                    <a:pt x="632709" y="614044"/>
                  </a:lnTo>
                  <a:lnTo>
                    <a:pt x="635583" y="619489"/>
                  </a:lnTo>
                  <a:lnTo>
                    <a:pt x="636762" y="620639"/>
                  </a:lnTo>
                  <a:lnTo>
                    <a:pt x="638789" y="621969"/>
                  </a:lnTo>
                  <a:lnTo>
                    <a:pt x="639848" y="621879"/>
                  </a:lnTo>
                  <a:lnTo>
                    <a:pt x="640211" y="620578"/>
                  </a:lnTo>
                  <a:lnTo>
                    <a:pt x="640211" y="618218"/>
                  </a:lnTo>
                  <a:lnTo>
                    <a:pt x="640816" y="615859"/>
                  </a:lnTo>
                  <a:lnTo>
                    <a:pt x="640967" y="615314"/>
                  </a:lnTo>
                  <a:lnTo>
                    <a:pt x="640967" y="615314"/>
                  </a:lnTo>
                  <a:lnTo>
                    <a:pt x="642813" y="610292"/>
                  </a:lnTo>
                  <a:lnTo>
                    <a:pt x="645052" y="609354"/>
                  </a:lnTo>
                  <a:lnTo>
                    <a:pt x="648288" y="609476"/>
                  </a:lnTo>
                  <a:lnTo>
                    <a:pt x="657545" y="613015"/>
                  </a:lnTo>
                  <a:lnTo>
                    <a:pt x="664533" y="613106"/>
                  </a:lnTo>
                  <a:lnTo>
                    <a:pt x="668163" y="613681"/>
                  </a:lnTo>
                  <a:lnTo>
                    <a:pt x="670977" y="615435"/>
                  </a:lnTo>
                  <a:lnTo>
                    <a:pt x="671642" y="616524"/>
                  </a:lnTo>
                  <a:lnTo>
                    <a:pt x="671885" y="617523"/>
                  </a:lnTo>
                  <a:lnTo>
                    <a:pt x="671945" y="618460"/>
                  </a:lnTo>
                  <a:lnTo>
                    <a:pt x="672187" y="619428"/>
                  </a:lnTo>
                  <a:lnTo>
                    <a:pt x="673820" y="622998"/>
                  </a:lnTo>
                  <a:lnTo>
                    <a:pt x="674153" y="626598"/>
                  </a:lnTo>
                  <a:lnTo>
                    <a:pt x="674305" y="627445"/>
                  </a:lnTo>
                  <a:lnTo>
                    <a:pt x="675000" y="628352"/>
                  </a:lnTo>
                  <a:lnTo>
                    <a:pt x="676634" y="629774"/>
                  </a:lnTo>
                  <a:lnTo>
                    <a:pt x="677299" y="630803"/>
                  </a:lnTo>
                  <a:lnTo>
                    <a:pt x="679357" y="634070"/>
                  </a:lnTo>
                  <a:lnTo>
                    <a:pt x="682593" y="637337"/>
                  </a:lnTo>
                  <a:lnTo>
                    <a:pt x="684741" y="638850"/>
                  </a:lnTo>
                  <a:lnTo>
                    <a:pt x="686163" y="639878"/>
                  </a:lnTo>
                  <a:lnTo>
                    <a:pt x="689249" y="641028"/>
                  </a:lnTo>
                  <a:lnTo>
                    <a:pt x="692909" y="640392"/>
                  </a:lnTo>
                  <a:lnTo>
                    <a:pt x="697296" y="635068"/>
                  </a:lnTo>
                  <a:lnTo>
                    <a:pt x="700472" y="633616"/>
                  </a:lnTo>
                  <a:lnTo>
                    <a:pt x="702227" y="633677"/>
                  </a:lnTo>
                  <a:lnTo>
                    <a:pt x="703649" y="634191"/>
                  </a:lnTo>
                  <a:lnTo>
                    <a:pt x="704889" y="635250"/>
                  </a:lnTo>
                  <a:lnTo>
                    <a:pt x="706069" y="637035"/>
                  </a:lnTo>
                  <a:lnTo>
                    <a:pt x="706855" y="639152"/>
                  </a:lnTo>
                  <a:lnTo>
                    <a:pt x="707733" y="643871"/>
                  </a:lnTo>
                  <a:lnTo>
                    <a:pt x="708519" y="645868"/>
                  </a:lnTo>
                  <a:lnTo>
                    <a:pt x="709941" y="646897"/>
                  </a:lnTo>
                  <a:lnTo>
                    <a:pt x="713904" y="648016"/>
                  </a:lnTo>
                  <a:lnTo>
                    <a:pt x="714902" y="648681"/>
                  </a:lnTo>
                  <a:lnTo>
                    <a:pt x="714569" y="650557"/>
                  </a:lnTo>
                  <a:lnTo>
                    <a:pt x="713027" y="652493"/>
                  </a:lnTo>
                  <a:lnTo>
                    <a:pt x="711181" y="654339"/>
                  </a:lnTo>
                  <a:lnTo>
                    <a:pt x="709971" y="655881"/>
                  </a:lnTo>
                  <a:lnTo>
                    <a:pt x="709063" y="658301"/>
                  </a:lnTo>
                  <a:lnTo>
                    <a:pt x="709063" y="659814"/>
                  </a:lnTo>
                  <a:lnTo>
                    <a:pt x="710032" y="660691"/>
                  </a:lnTo>
                  <a:lnTo>
                    <a:pt x="713511" y="661841"/>
                  </a:lnTo>
                  <a:lnTo>
                    <a:pt x="714781" y="662930"/>
                  </a:lnTo>
                  <a:lnTo>
                    <a:pt x="715174" y="664412"/>
                  </a:lnTo>
                  <a:lnTo>
                    <a:pt x="713964" y="666167"/>
                  </a:lnTo>
                  <a:lnTo>
                    <a:pt x="710969" y="669706"/>
                  </a:lnTo>
                  <a:lnTo>
                    <a:pt x="710425" y="674002"/>
                  </a:lnTo>
                  <a:lnTo>
                    <a:pt x="710515" y="678842"/>
                  </a:lnTo>
                  <a:lnTo>
                    <a:pt x="709487" y="684015"/>
                  </a:lnTo>
                  <a:lnTo>
                    <a:pt x="706885" y="688190"/>
                  </a:lnTo>
                  <a:lnTo>
                    <a:pt x="704314" y="691366"/>
                  </a:lnTo>
                  <a:lnTo>
                    <a:pt x="702983" y="694966"/>
                  </a:lnTo>
                  <a:lnTo>
                    <a:pt x="704284" y="700442"/>
                  </a:lnTo>
                  <a:lnTo>
                    <a:pt x="704284" y="700442"/>
                  </a:lnTo>
                  <a:lnTo>
                    <a:pt x="704284" y="700502"/>
                  </a:lnTo>
                  <a:lnTo>
                    <a:pt x="704949" y="701712"/>
                  </a:lnTo>
                  <a:lnTo>
                    <a:pt x="705221" y="702257"/>
                  </a:lnTo>
                  <a:lnTo>
                    <a:pt x="706795" y="706371"/>
                  </a:lnTo>
                  <a:lnTo>
                    <a:pt x="707611" y="707823"/>
                  </a:lnTo>
                  <a:lnTo>
                    <a:pt x="709457" y="709124"/>
                  </a:lnTo>
                  <a:lnTo>
                    <a:pt x="710485" y="708307"/>
                  </a:lnTo>
                  <a:lnTo>
                    <a:pt x="711423" y="706855"/>
                  </a:lnTo>
                  <a:lnTo>
                    <a:pt x="713087" y="706159"/>
                  </a:lnTo>
                  <a:lnTo>
                    <a:pt x="714509" y="706885"/>
                  </a:lnTo>
                  <a:lnTo>
                    <a:pt x="716354" y="709759"/>
                  </a:lnTo>
                  <a:lnTo>
                    <a:pt x="719440" y="711635"/>
                  </a:lnTo>
                  <a:lnTo>
                    <a:pt x="720136" y="713087"/>
                  </a:lnTo>
                  <a:lnTo>
                    <a:pt x="720589" y="714690"/>
                  </a:lnTo>
                  <a:lnTo>
                    <a:pt x="721406" y="716142"/>
                  </a:lnTo>
                  <a:lnTo>
                    <a:pt x="722798" y="716898"/>
                  </a:lnTo>
                  <a:lnTo>
                    <a:pt x="724401" y="717201"/>
                  </a:lnTo>
                  <a:lnTo>
                    <a:pt x="725974" y="717836"/>
                  </a:lnTo>
                  <a:lnTo>
                    <a:pt x="727275" y="719621"/>
                  </a:lnTo>
                  <a:lnTo>
                    <a:pt x="727789" y="721769"/>
                  </a:lnTo>
                  <a:lnTo>
                    <a:pt x="727789" y="723735"/>
                  </a:lnTo>
                  <a:lnTo>
                    <a:pt x="728152" y="725671"/>
                  </a:lnTo>
                  <a:lnTo>
                    <a:pt x="728485" y="726186"/>
                  </a:lnTo>
                  <a:lnTo>
                    <a:pt x="729483" y="727728"/>
                  </a:lnTo>
                  <a:lnTo>
                    <a:pt x="730845" y="728878"/>
                  </a:lnTo>
                  <a:lnTo>
                    <a:pt x="732357" y="729544"/>
                  </a:lnTo>
                  <a:lnTo>
                    <a:pt x="733960" y="729695"/>
                  </a:lnTo>
                  <a:lnTo>
                    <a:pt x="735594" y="729211"/>
                  </a:lnTo>
                  <a:lnTo>
                    <a:pt x="737348" y="727668"/>
                  </a:lnTo>
                  <a:lnTo>
                    <a:pt x="738045" y="725762"/>
                  </a:lnTo>
                  <a:lnTo>
                    <a:pt x="738498" y="723705"/>
                  </a:lnTo>
                  <a:lnTo>
                    <a:pt x="739527" y="721588"/>
                  </a:lnTo>
                  <a:lnTo>
                    <a:pt x="741553" y="721376"/>
                  </a:lnTo>
                  <a:lnTo>
                    <a:pt x="743550" y="721497"/>
                  </a:lnTo>
                  <a:lnTo>
                    <a:pt x="745456" y="722132"/>
                  </a:lnTo>
                  <a:lnTo>
                    <a:pt x="747120" y="723524"/>
                  </a:lnTo>
                  <a:lnTo>
                    <a:pt x="748481" y="725883"/>
                  </a:lnTo>
                  <a:lnTo>
                    <a:pt x="749389" y="729029"/>
                  </a:lnTo>
                  <a:lnTo>
                    <a:pt x="749479" y="732176"/>
                  </a:lnTo>
                  <a:lnTo>
                    <a:pt x="748330" y="734535"/>
                  </a:lnTo>
                  <a:lnTo>
                    <a:pt x="745849" y="735745"/>
                  </a:lnTo>
                  <a:lnTo>
                    <a:pt x="745486" y="738710"/>
                  </a:lnTo>
                  <a:lnTo>
                    <a:pt x="746515" y="745819"/>
                  </a:lnTo>
                  <a:lnTo>
                    <a:pt x="745940" y="749147"/>
                  </a:lnTo>
                  <a:lnTo>
                    <a:pt x="744488" y="750750"/>
                  </a:lnTo>
                  <a:lnTo>
                    <a:pt x="742310" y="751355"/>
                  </a:lnTo>
                  <a:lnTo>
                    <a:pt x="739527" y="751597"/>
                  </a:lnTo>
                  <a:lnTo>
                    <a:pt x="739285" y="751990"/>
                  </a:lnTo>
                  <a:lnTo>
                    <a:pt x="739194" y="752414"/>
                  </a:lnTo>
                  <a:lnTo>
                    <a:pt x="739285" y="752837"/>
                  </a:lnTo>
                  <a:lnTo>
                    <a:pt x="739527" y="753291"/>
                  </a:lnTo>
                  <a:lnTo>
                    <a:pt x="742612" y="758615"/>
                  </a:lnTo>
                  <a:lnTo>
                    <a:pt x="743459" y="759462"/>
                  </a:lnTo>
                  <a:lnTo>
                    <a:pt x="744548" y="758615"/>
                  </a:lnTo>
                  <a:lnTo>
                    <a:pt x="745426" y="756891"/>
                  </a:lnTo>
                  <a:lnTo>
                    <a:pt x="746606" y="755348"/>
                  </a:lnTo>
                  <a:lnTo>
                    <a:pt x="748481" y="755167"/>
                  </a:lnTo>
                  <a:lnTo>
                    <a:pt x="749812" y="756014"/>
                  </a:lnTo>
                  <a:lnTo>
                    <a:pt x="750962" y="757466"/>
                  </a:lnTo>
                  <a:lnTo>
                    <a:pt x="751688" y="759311"/>
                  </a:lnTo>
                  <a:lnTo>
                    <a:pt x="751778" y="761398"/>
                  </a:lnTo>
                  <a:lnTo>
                    <a:pt x="751022" y="763244"/>
                  </a:lnTo>
                  <a:lnTo>
                    <a:pt x="749812" y="764514"/>
                  </a:lnTo>
                  <a:lnTo>
                    <a:pt x="748723" y="766027"/>
                  </a:lnTo>
                  <a:lnTo>
                    <a:pt x="747967" y="771079"/>
                  </a:lnTo>
                  <a:lnTo>
                    <a:pt x="747543" y="772864"/>
                  </a:lnTo>
                  <a:lnTo>
                    <a:pt x="747453" y="773196"/>
                  </a:lnTo>
                  <a:lnTo>
                    <a:pt x="747332" y="774981"/>
                  </a:lnTo>
                  <a:lnTo>
                    <a:pt x="748209" y="776494"/>
                  </a:lnTo>
                  <a:lnTo>
                    <a:pt x="748784" y="776615"/>
                  </a:lnTo>
                  <a:lnTo>
                    <a:pt x="751325" y="776403"/>
                  </a:lnTo>
                  <a:lnTo>
                    <a:pt x="752232" y="776857"/>
                  </a:lnTo>
                  <a:lnTo>
                    <a:pt x="753805" y="778551"/>
                  </a:lnTo>
                  <a:lnTo>
                    <a:pt x="754683" y="779247"/>
                  </a:lnTo>
                  <a:lnTo>
                    <a:pt x="756316" y="779791"/>
                  </a:lnTo>
                  <a:lnTo>
                    <a:pt x="759614" y="780033"/>
                  </a:lnTo>
                  <a:lnTo>
                    <a:pt x="761157" y="780548"/>
                  </a:lnTo>
                  <a:lnTo>
                    <a:pt x="762790" y="782060"/>
                  </a:lnTo>
                  <a:lnTo>
                    <a:pt x="765150" y="785599"/>
                  </a:lnTo>
                  <a:lnTo>
                    <a:pt x="766995" y="786840"/>
                  </a:lnTo>
                  <a:lnTo>
                    <a:pt x="770172" y="787294"/>
                  </a:lnTo>
                  <a:lnTo>
                    <a:pt x="773136" y="787021"/>
                  </a:lnTo>
                  <a:lnTo>
                    <a:pt x="776010" y="787354"/>
                  </a:lnTo>
                  <a:lnTo>
                    <a:pt x="778884" y="789562"/>
                  </a:lnTo>
                  <a:lnTo>
                    <a:pt x="779337" y="790500"/>
                  </a:lnTo>
                  <a:lnTo>
                    <a:pt x="780154" y="792951"/>
                  </a:lnTo>
                  <a:lnTo>
                    <a:pt x="780638" y="793707"/>
                  </a:lnTo>
                  <a:lnTo>
                    <a:pt x="781516" y="793767"/>
                  </a:lnTo>
                  <a:lnTo>
                    <a:pt x="782453" y="793192"/>
                  </a:lnTo>
                  <a:lnTo>
                    <a:pt x="783422" y="792799"/>
                  </a:lnTo>
                  <a:lnTo>
                    <a:pt x="784511" y="793344"/>
                  </a:lnTo>
                  <a:lnTo>
                    <a:pt x="784753" y="794252"/>
                  </a:lnTo>
                  <a:lnTo>
                    <a:pt x="784753" y="797156"/>
                  </a:lnTo>
                  <a:lnTo>
                    <a:pt x="784843" y="798396"/>
                  </a:lnTo>
                  <a:lnTo>
                    <a:pt x="785237" y="799364"/>
                  </a:lnTo>
                  <a:lnTo>
                    <a:pt x="786356" y="801300"/>
                  </a:lnTo>
                  <a:lnTo>
                    <a:pt x="786810" y="802328"/>
                  </a:lnTo>
                  <a:lnTo>
                    <a:pt x="786961" y="804809"/>
                  </a:lnTo>
                  <a:lnTo>
                    <a:pt x="786144" y="813159"/>
                  </a:lnTo>
                  <a:lnTo>
                    <a:pt x="785721" y="814731"/>
                  </a:lnTo>
                  <a:lnTo>
                    <a:pt x="785237" y="815942"/>
                  </a:lnTo>
                  <a:lnTo>
                    <a:pt x="784874" y="817212"/>
                  </a:lnTo>
                  <a:lnTo>
                    <a:pt x="784813" y="818967"/>
                  </a:lnTo>
                  <a:lnTo>
                    <a:pt x="785176" y="820358"/>
                  </a:lnTo>
                  <a:lnTo>
                    <a:pt x="786417" y="823111"/>
                  </a:lnTo>
                  <a:lnTo>
                    <a:pt x="786658" y="824382"/>
                  </a:lnTo>
                  <a:lnTo>
                    <a:pt x="785509" y="827286"/>
                  </a:lnTo>
                  <a:lnTo>
                    <a:pt x="783301" y="827679"/>
                  </a:lnTo>
                  <a:lnTo>
                    <a:pt x="781576" y="827861"/>
                  </a:lnTo>
                  <a:lnTo>
                    <a:pt x="781879" y="830856"/>
                  </a:lnTo>
                  <a:lnTo>
                    <a:pt x="783301" y="832459"/>
                  </a:lnTo>
                  <a:lnTo>
                    <a:pt x="787747" y="834183"/>
                  </a:lnTo>
                  <a:lnTo>
                    <a:pt x="787929" y="834516"/>
                  </a:lnTo>
                  <a:lnTo>
                    <a:pt x="788443" y="835787"/>
                  </a:lnTo>
                  <a:lnTo>
                    <a:pt x="788806" y="836059"/>
                  </a:lnTo>
                  <a:lnTo>
                    <a:pt x="789472" y="835877"/>
                  </a:lnTo>
                  <a:lnTo>
                    <a:pt x="790682" y="835151"/>
                  </a:lnTo>
                  <a:lnTo>
                    <a:pt x="791257" y="835151"/>
                  </a:lnTo>
                  <a:lnTo>
                    <a:pt x="792043" y="835756"/>
                  </a:lnTo>
                  <a:lnTo>
                    <a:pt x="792678" y="836573"/>
                  </a:lnTo>
                  <a:lnTo>
                    <a:pt x="793919" y="838902"/>
                  </a:lnTo>
                  <a:lnTo>
                    <a:pt x="793132" y="840052"/>
                  </a:lnTo>
                  <a:lnTo>
                    <a:pt x="797761" y="843410"/>
                  </a:lnTo>
                  <a:lnTo>
                    <a:pt x="799485" y="845286"/>
                  </a:lnTo>
                  <a:lnTo>
                    <a:pt x="800484" y="844469"/>
                  </a:lnTo>
                  <a:lnTo>
                    <a:pt x="801996" y="844227"/>
                  </a:lnTo>
                  <a:lnTo>
                    <a:pt x="803629" y="844499"/>
                  </a:lnTo>
                  <a:lnTo>
                    <a:pt x="804961" y="845286"/>
                  </a:lnTo>
                  <a:lnTo>
                    <a:pt x="802510" y="849430"/>
                  </a:lnTo>
                  <a:lnTo>
                    <a:pt x="799878" y="851820"/>
                  </a:lnTo>
                  <a:lnTo>
                    <a:pt x="795462" y="852515"/>
                  </a:lnTo>
                  <a:lnTo>
                    <a:pt x="783512" y="851880"/>
                  </a:lnTo>
                  <a:lnTo>
                    <a:pt x="781879" y="852213"/>
                  </a:lnTo>
                  <a:lnTo>
                    <a:pt x="780064" y="853151"/>
                  </a:lnTo>
                  <a:lnTo>
                    <a:pt x="776343" y="856176"/>
                  </a:lnTo>
                  <a:lnTo>
                    <a:pt x="774377" y="856448"/>
                  </a:lnTo>
                  <a:lnTo>
                    <a:pt x="772380" y="854421"/>
                  </a:lnTo>
                  <a:lnTo>
                    <a:pt x="772168" y="853484"/>
                  </a:lnTo>
                  <a:lnTo>
                    <a:pt x="772228" y="850912"/>
                  </a:lnTo>
                  <a:lnTo>
                    <a:pt x="772047" y="849702"/>
                  </a:lnTo>
                  <a:lnTo>
                    <a:pt x="771563" y="848583"/>
                  </a:lnTo>
                  <a:lnTo>
                    <a:pt x="769476" y="845558"/>
                  </a:lnTo>
                  <a:lnTo>
                    <a:pt x="764182" y="840899"/>
                  </a:lnTo>
                  <a:lnTo>
                    <a:pt x="762881" y="838842"/>
                  </a:lnTo>
                  <a:lnTo>
                    <a:pt x="762881" y="842593"/>
                  </a:lnTo>
                  <a:lnTo>
                    <a:pt x="761762" y="844559"/>
                  </a:lnTo>
                  <a:lnTo>
                    <a:pt x="759735" y="845286"/>
                  </a:lnTo>
                  <a:lnTo>
                    <a:pt x="756891" y="845286"/>
                  </a:lnTo>
                  <a:lnTo>
                    <a:pt x="756256" y="846163"/>
                  </a:lnTo>
                  <a:lnTo>
                    <a:pt x="756740" y="849430"/>
                  </a:lnTo>
                  <a:lnTo>
                    <a:pt x="755983" y="851608"/>
                  </a:lnTo>
                  <a:lnTo>
                    <a:pt x="754622" y="852878"/>
                  </a:lnTo>
                  <a:lnTo>
                    <a:pt x="752958" y="853453"/>
                  </a:lnTo>
                  <a:lnTo>
                    <a:pt x="751234" y="853302"/>
                  </a:lnTo>
                  <a:lnTo>
                    <a:pt x="749661" y="852425"/>
                  </a:lnTo>
                  <a:lnTo>
                    <a:pt x="748300" y="850731"/>
                  </a:lnTo>
                  <a:lnTo>
                    <a:pt x="746908" y="847796"/>
                  </a:lnTo>
                  <a:lnTo>
                    <a:pt x="745486" y="846617"/>
                  </a:lnTo>
                  <a:lnTo>
                    <a:pt x="744095" y="846132"/>
                  </a:lnTo>
                  <a:lnTo>
                    <a:pt x="740918" y="845558"/>
                  </a:lnTo>
                  <a:lnTo>
                    <a:pt x="739375" y="844983"/>
                  </a:lnTo>
                  <a:lnTo>
                    <a:pt x="738801" y="844015"/>
                  </a:lnTo>
                  <a:lnTo>
                    <a:pt x="738619" y="843017"/>
                  </a:lnTo>
                  <a:lnTo>
                    <a:pt x="738831" y="841988"/>
                  </a:lnTo>
                  <a:lnTo>
                    <a:pt x="739406" y="840929"/>
                  </a:lnTo>
                  <a:lnTo>
                    <a:pt x="739950" y="839992"/>
                  </a:lnTo>
                  <a:lnTo>
                    <a:pt x="740162" y="839054"/>
                  </a:lnTo>
                  <a:lnTo>
                    <a:pt x="739981" y="838176"/>
                  </a:lnTo>
                  <a:lnTo>
                    <a:pt x="739436" y="837360"/>
                  </a:lnTo>
                  <a:lnTo>
                    <a:pt x="737107" y="836996"/>
                  </a:lnTo>
                  <a:lnTo>
                    <a:pt x="737016" y="837057"/>
                  </a:lnTo>
                  <a:lnTo>
                    <a:pt x="735019" y="838086"/>
                  </a:lnTo>
                  <a:lnTo>
                    <a:pt x="733144" y="839992"/>
                  </a:lnTo>
                  <a:lnTo>
                    <a:pt x="728787" y="846193"/>
                  </a:lnTo>
                  <a:lnTo>
                    <a:pt x="727517" y="846193"/>
                  </a:lnTo>
                  <a:lnTo>
                    <a:pt x="725702" y="843773"/>
                  </a:lnTo>
                  <a:lnTo>
                    <a:pt x="723342" y="839145"/>
                  </a:lnTo>
                  <a:lnTo>
                    <a:pt x="721920" y="838691"/>
                  </a:lnTo>
                  <a:lnTo>
                    <a:pt x="720166" y="841413"/>
                  </a:lnTo>
                  <a:lnTo>
                    <a:pt x="719863" y="843047"/>
                  </a:lnTo>
                  <a:lnTo>
                    <a:pt x="720317" y="845739"/>
                  </a:lnTo>
                  <a:lnTo>
                    <a:pt x="720257" y="846949"/>
                  </a:lnTo>
                  <a:lnTo>
                    <a:pt x="719591" y="848674"/>
                  </a:lnTo>
                  <a:lnTo>
                    <a:pt x="719077" y="848885"/>
                  </a:lnTo>
                  <a:lnTo>
                    <a:pt x="718381" y="848674"/>
                  </a:lnTo>
                  <a:lnTo>
                    <a:pt x="717171" y="849097"/>
                  </a:lnTo>
                  <a:lnTo>
                    <a:pt x="713511" y="852818"/>
                  </a:lnTo>
                  <a:lnTo>
                    <a:pt x="711272" y="854058"/>
                  </a:lnTo>
                  <a:lnTo>
                    <a:pt x="709548" y="852727"/>
                  </a:lnTo>
                  <a:lnTo>
                    <a:pt x="709548" y="851336"/>
                  </a:lnTo>
                  <a:lnTo>
                    <a:pt x="710213" y="850035"/>
                  </a:lnTo>
                  <a:lnTo>
                    <a:pt x="711121" y="848795"/>
                  </a:lnTo>
                  <a:lnTo>
                    <a:pt x="711756" y="847494"/>
                  </a:lnTo>
                  <a:lnTo>
                    <a:pt x="711938" y="845921"/>
                  </a:lnTo>
                  <a:lnTo>
                    <a:pt x="711847" y="834607"/>
                  </a:lnTo>
                  <a:lnTo>
                    <a:pt x="711181" y="831733"/>
                  </a:lnTo>
                  <a:lnTo>
                    <a:pt x="709578" y="829827"/>
                  </a:lnTo>
                  <a:lnTo>
                    <a:pt x="707400" y="829827"/>
                  </a:lnTo>
                  <a:lnTo>
                    <a:pt x="698566" y="834455"/>
                  </a:lnTo>
                  <a:lnTo>
                    <a:pt x="696660" y="835091"/>
                  </a:lnTo>
                  <a:lnTo>
                    <a:pt x="693091" y="836331"/>
                  </a:lnTo>
                  <a:lnTo>
                    <a:pt x="685588" y="840990"/>
                  </a:lnTo>
                  <a:lnTo>
                    <a:pt x="683531" y="843924"/>
                  </a:lnTo>
                  <a:lnTo>
                    <a:pt x="682896" y="847675"/>
                  </a:lnTo>
                  <a:lnTo>
                    <a:pt x="683713" y="852576"/>
                  </a:lnTo>
                  <a:lnTo>
                    <a:pt x="685467" y="858899"/>
                  </a:lnTo>
                  <a:lnTo>
                    <a:pt x="685558" y="861016"/>
                  </a:lnTo>
                  <a:lnTo>
                    <a:pt x="684953" y="863406"/>
                  </a:lnTo>
                  <a:lnTo>
                    <a:pt x="684257" y="865312"/>
                  </a:lnTo>
                  <a:lnTo>
                    <a:pt x="684318" y="867157"/>
                  </a:lnTo>
                  <a:lnTo>
                    <a:pt x="686042" y="869275"/>
                  </a:lnTo>
                  <a:lnTo>
                    <a:pt x="686042" y="869275"/>
                  </a:lnTo>
                  <a:lnTo>
                    <a:pt x="689400" y="872209"/>
                  </a:lnTo>
                  <a:lnTo>
                    <a:pt x="691971" y="874448"/>
                  </a:lnTo>
                  <a:lnTo>
                    <a:pt x="692546" y="877352"/>
                  </a:lnTo>
                  <a:lnTo>
                    <a:pt x="691336" y="880498"/>
                  </a:lnTo>
                  <a:lnTo>
                    <a:pt x="689067" y="884068"/>
                  </a:lnTo>
                  <a:lnTo>
                    <a:pt x="685588" y="887668"/>
                  </a:lnTo>
                  <a:lnTo>
                    <a:pt x="684832" y="889755"/>
                  </a:lnTo>
                  <a:lnTo>
                    <a:pt x="685074" y="893022"/>
                  </a:lnTo>
                  <a:lnTo>
                    <a:pt x="686859" y="898831"/>
                  </a:lnTo>
                  <a:lnTo>
                    <a:pt x="686647" y="901432"/>
                  </a:lnTo>
                  <a:lnTo>
                    <a:pt x="684136" y="902521"/>
                  </a:lnTo>
                  <a:lnTo>
                    <a:pt x="666591" y="906787"/>
                  </a:lnTo>
                  <a:lnTo>
                    <a:pt x="664866" y="907845"/>
                  </a:lnTo>
                  <a:lnTo>
                    <a:pt x="663747" y="909782"/>
                  </a:lnTo>
                  <a:lnTo>
                    <a:pt x="663656" y="912020"/>
                  </a:lnTo>
                  <a:lnTo>
                    <a:pt x="665048" y="916618"/>
                  </a:lnTo>
                  <a:lnTo>
                    <a:pt x="665471" y="918827"/>
                  </a:lnTo>
                  <a:lnTo>
                    <a:pt x="665320" y="921489"/>
                  </a:lnTo>
                  <a:lnTo>
                    <a:pt x="664624" y="923183"/>
                  </a:lnTo>
                  <a:lnTo>
                    <a:pt x="663354" y="924333"/>
                  </a:lnTo>
                  <a:lnTo>
                    <a:pt x="661448" y="925361"/>
                  </a:lnTo>
                  <a:lnTo>
                    <a:pt x="658513" y="925966"/>
                  </a:lnTo>
                  <a:lnTo>
                    <a:pt x="657757" y="926571"/>
                  </a:lnTo>
                  <a:lnTo>
                    <a:pt x="657757" y="927328"/>
                  </a:lnTo>
                  <a:lnTo>
                    <a:pt x="657969" y="928507"/>
                  </a:lnTo>
                  <a:lnTo>
                    <a:pt x="658120" y="929899"/>
                  </a:lnTo>
                  <a:lnTo>
                    <a:pt x="657757" y="931169"/>
                  </a:lnTo>
                  <a:lnTo>
                    <a:pt x="655125" y="932591"/>
                  </a:lnTo>
                  <a:lnTo>
                    <a:pt x="648409" y="933196"/>
                  </a:lnTo>
                  <a:lnTo>
                    <a:pt x="646776" y="935677"/>
                  </a:lnTo>
                  <a:lnTo>
                    <a:pt x="647048" y="936705"/>
                  </a:lnTo>
                  <a:lnTo>
                    <a:pt x="647472" y="938157"/>
                  </a:lnTo>
                  <a:lnTo>
                    <a:pt x="646836" y="939216"/>
                  </a:lnTo>
                  <a:lnTo>
                    <a:pt x="643932" y="940094"/>
                  </a:lnTo>
                  <a:lnTo>
                    <a:pt x="642208" y="941152"/>
                  </a:lnTo>
                  <a:lnTo>
                    <a:pt x="641089" y="942241"/>
                  </a:lnTo>
                  <a:lnTo>
                    <a:pt x="638759" y="945448"/>
                  </a:lnTo>
                  <a:lnTo>
                    <a:pt x="638063" y="946961"/>
                  </a:lnTo>
                  <a:lnTo>
                    <a:pt x="638941" y="947898"/>
                  </a:lnTo>
                  <a:lnTo>
                    <a:pt x="640514" y="948745"/>
                  </a:lnTo>
                  <a:lnTo>
                    <a:pt x="641815" y="949956"/>
                  </a:lnTo>
                  <a:lnTo>
                    <a:pt x="642359" y="951831"/>
                  </a:lnTo>
                  <a:lnTo>
                    <a:pt x="642571" y="953676"/>
                  </a:lnTo>
                  <a:lnTo>
                    <a:pt x="642994" y="955491"/>
                  </a:lnTo>
                  <a:lnTo>
                    <a:pt x="644386" y="957276"/>
                  </a:lnTo>
                  <a:lnTo>
                    <a:pt x="641724" y="958426"/>
                  </a:lnTo>
                  <a:lnTo>
                    <a:pt x="641119" y="958910"/>
                  </a:lnTo>
                  <a:lnTo>
                    <a:pt x="641028" y="959061"/>
                  </a:lnTo>
                  <a:lnTo>
                    <a:pt x="640484" y="960029"/>
                  </a:lnTo>
                  <a:lnTo>
                    <a:pt x="640484" y="960332"/>
                  </a:lnTo>
                  <a:lnTo>
                    <a:pt x="640665" y="960574"/>
                  </a:lnTo>
                  <a:lnTo>
                    <a:pt x="641300" y="965051"/>
                  </a:lnTo>
                  <a:lnTo>
                    <a:pt x="640847" y="966624"/>
                  </a:lnTo>
                  <a:lnTo>
                    <a:pt x="638729" y="967501"/>
                  </a:lnTo>
                  <a:lnTo>
                    <a:pt x="632285" y="967259"/>
                  </a:lnTo>
                  <a:lnTo>
                    <a:pt x="624753" y="965444"/>
                  </a:lnTo>
                  <a:lnTo>
                    <a:pt x="617553" y="964930"/>
                  </a:lnTo>
                  <a:lnTo>
                    <a:pt x="612198" y="968651"/>
                  </a:lnTo>
                  <a:lnTo>
                    <a:pt x="612198" y="968651"/>
                  </a:lnTo>
                  <a:lnTo>
                    <a:pt x="611321" y="970224"/>
                  </a:lnTo>
                  <a:lnTo>
                    <a:pt x="610625" y="971888"/>
                  </a:lnTo>
                  <a:lnTo>
                    <a:pt x="610414" y="972795"/>
                  </a:lnTo>
                  <a:lnTo>
                    <a:pt x="611775" y="974338"/>
                  </a:lnTo>
                  <a:lnTo>
                    <a:pt x="611987" y="974338"/>
                  </a:lnTo>
                  <a:lnTo>
                    <a:pt x="614256" y="974096"/>
                  </a:lnTo>
                  <a:lnTo>
                    <a:pt x="617190" y="975609"/>
                  </a:lnTo>
                  <a:lnTo>
                    <a:pt x="619156" y="978089"/>
                  </a:lnTo>
                  <a:lnTo>
                    <a:pt x="618642" y="980691"/>
                  </a:lnTo>
                  <a:lnTo>
                    <a:pt x="621607" y="987800"/>
                  </a:lnTo>
                  <a:lnTo>
                    <a:pt x="623573" y="991067"/>
                  </a:lnTo>
                  <a:lnTo>
                    <a:pt x="625902" y="992428"/>
                  </a:lnTo>
                  <a:lnTo>
                    <a:pt x="627596" y="992852"/>
                  </a:lnTo>
                  <a:lnTo>
                    <a:pt x="631105" y="994697"/>
                  </a:lnTo>
                  <a:lnTo>
                    <a:pt x="640060" y="996815"/>
                  </a:lnTo>
                  <a:lnTo>
                    <a:pt x="648409" y="1000869"/>
                  </a:lnTo>
                  <a:lnTo>
                    <a:pt x="661780" y="1003652"/>
                  </a:lnTo>
                  <a:lnTo>
                    <a:pt x="665532" y="1003198"/>
                  </a:lnTo>
                  <a:lnTo>
                    <a:pt x="668678" y="1003107"/>
                  </a:lnTo>
                  <a:lnTo>
                    <a:pt x="669948" y="1002593"/>
                  </a:lnTo>
                  <a:lnTo>
                    <a:pt x="671098" y="1001383"/>
                  </a:lnTo>
                  <a:lnTo>
                    <a:pt x="668254" y="1000173"/>
                  </a:lnTo>
                  <a:lnTo>
                    <a:pt x="667559" y="999598"/>
                  </a:lnTo>
                  <a:lnTo>
                    <a:pt x="667105" y="998630"/>
                  </a:lnTo>
                  <a:lnTo>
                    <a:pt x="666802" y="997450"/>
                  </a:lnTo>
                  <a:lnTo>
                    <a:pt x="666984" y="996452"/>
                  </a:lnTo>
                  <a:lnTo>
                    <a:pt x="669888" y="995091"/>
                  </a:lnTo>
                  <a:lnTo>
                    <a:pt x="669706" y="993124"/>
                  </a:lnTo>
                  <a:lnTo>
                    <a:pt x="669827" y="991249"/>
                  </a:lnTo>
                  <a:lnTo>
                    <a:pt x="672490" y="990644"/>
                  </a:lnTo>
                  <a:lnTo>
                    <a:pt x="674032" y="991158"/>
                  </a:lnTo>
                  <a:lnTo>
                    <a:pt x="676695" y="992882"/>
                  </a:lnTo>
                  <a:lnTo>
                    <a:pt x="678963" y="993275"/>
                  </a:lnTo>
                  <a:lnTo>
                    <a:pt x="680264" y="994092"/>
                  </a:lnTo>
                  <a:lnTo>
                    <a:pt x="681898" y="995726"/>
                  </a:lnTo>
                  <a:lnTo>
                    <a:pt x="683894" y="996815"/>
                  </a:lnTo>
                  <a:lnTo>
                    <a:pt x="686194" y="996028"/>
                  </a:lnTo>
                  <a:lnTo>
                    <a:pt x="686647" y="995121"/>
                  </a:lnTo>
                  <a:lnTo>
                    <a:pt x="686980" y="992580"/>
                  </a:lnTo>
                  <a:lnTo>
                    <a:pt x="687585" y="991430"/>
                  </a:lnTo>
                  <a:lnTo>
                    <a:pt x="688311" y="990916"/>
                  </a:lnTo>
                  <a:lnTo>
                    <a:pt x="689188" y="990674"/>
                  </a:lnTo>
                  <a:lnTo>
                    <a:pt x="691427" y="990583"/>
                  </a:lnTo>
                  <a:lnTo>
                    <a:pt x="692788" y="989948"/>
                  </a:lnTo>
                  <a:lnTo>
                    <a:pt x="697961" y="986015"/>
                  </a:lnTo>
                  <a:lnTo>
                    <a:pt x="702045" y="984926"/>
                  </a:lnTo>
                  <a:lnTo>
                    <a:pt x="703769" y="984200"/>
                  </a:lnTo>
                  <a:lnTo>
                    <a:pt x="705221" y="982809"/>
                  </a:lnTo>
                  <a:lnTo>
                    <a:pt x="706069" y="982446"/>
                  </a:lnTo>
                  <a:lnTo>
                    <a:pt x="708489" y="982294"/>
                  </a:lnTo>
                  <a:lnTo>
                    <a:pt x="709033" y="981931"/>
                  </a:lnTo>
                  <a:lnTo>
                    <a:pt x="709396" y="980994"/>
                  </a:lnTo>
                  <a:lnTo>
                    <a:pt x="710243" y="980056"/>
                  </a:lnTo>
                  <a:lnTo>
                    <a:pt x="711756" y="978846"/>
                  </a:lnTo>
                  <a:lnTo>
                    <a:pt x="713934" y="977756"/>
                  </a:lnTo>
                  <a:lnTo>
                    <a:pt x="715568" y="977696"/>
                  </a:lnTo>
                  <a:lnTo>
                    <a:pt x="717201" y="977968"/>
                  </a:lnTo>
                  <a:lnTo>
                    <a:pt x="719319" y="977968"/>
                  </a:lnTo>
                  <a:lnTo>
                    <a:pt x="720196" y="977636"/>
                  </a:lnTo>
                  <a:lnTo>
                    <a:pt x="721073" y="977061"/>
                  </a:lnTo>
                  <a:lnTo>
                    <a:pt x="721860" y="976365"/>
                  </a:lnTo>
                  <a:lnTo>
                    <a:pt x="722435" y="975700"/>
                  </a:lnTo>
                  <a:lnTo>
                    <a:pt x="723372" y="975094"/>
                  </a:lnTo>
                  <a:lnTo>
                    <a:pt x="724462" y="975337"/>
                  </a:lnTo>
                  <a:lnTo>
                    <a:pt x="725581" y="975881"/>
                  </a:lnTo>
                  <a:lnTo>
                    <a:pt x="726579" y="976153"/>
                  </a:lnTo>
                  <a:lnTo>
                    <a:pt x="734293" y="976879"/>
                  </a:lnTo>
                  <a:lnTo>
                    <a:pt x="748300" y="981538"/>
                  </a:lnTo>
                  <a:lnTo>
                    <a:pt x="752989" y="985440"/>
                  </a:lnTo>
                  <a:lnTo>
                    <a:pt x="754168" y="986045"/>
                  </a:lnTo>
                  <a:lnTo>
                    <a:pt x="756407" y="987951"/>
                  </a:lnTo>
                  <a:lnTo>
                    <a:pt x="758101" y="992459"/>
                  </a:lnTo>
                  <a:lnTo>
                    <a:pt x="758615" y="997571"/>
                  </a:lnTo>
                  <a:lnTo>
                    <a:pt x="757315" y="1001353"/>
                  </a:lnTo>
                  <a:lnTo>
                    <a:pt x="757889" y="1002200"/>
                  </a:lnTo>
                  <a:lnTo>
                    <a:pt x="758041" y="1003137"/>
                  </a:lnTo>
                  <a:lnTo>
                    <a:pt x="757798" y="1004106"/>
                  </a:lnTo>
                  <a:lnTo>
                    <a:pt x="757284" y="1005074"/>
                  </a:lnTo>
                  <a:lnTo>
                    <a:pt x="757284" y="1005074"/>
                  </a:lnTo>
                  <a:lnTo>
                    <a:pt x="758858" y="1005376"/>
                  </a:lnTo>
                  <a:lnTo>
                    <a:pt x="760642" y="1004953"/>
                  </a:lnTo>
                  <a:lnTo>
                    <a:pt x="762306" y="1004106"/>
                  </a:lnTo>
                  <a:lnTo>
                    <a:pt x="764242" y="1002321"/>
                  </a:lnTo>
                  <a:lnTo>
                    <a:pt x="764424" y="1002200"/>
                  </a:lnTo>
                  <a:lnTo>
                    <a:pt x="764303" y="1001988"/>
                  </a:lnTo>
                  <a:lnTo>
                    <a:pt x="764212" y="1000869"/>
                  </a:lnTo>
                  <a:lnTo>
                    <a:pt x="764424" y="999507"/>
                  </a:lnTo>
                  <a:lnTo>
                    <a:pt x="765573" y="996331"/>
                  </a:lnTo>
                  <a:lnTo>
                    <a:pt x="765755" y="995242"/>
                  </a:lnTo>
                  <a:lnTo>
                    <a:pt x="766632" y="993457"/>
                  </a:lnTo>
                  <a:lnTo>
                    <a:pt x="766965" y="992338"/>
                  </a:lnTo>
                  <a:lnTo>
                    <a:pt x="767086" y="991219"/>
                  </a:lnTo>
                  <a:lnTo>
                    <a:pt x="766874" y="985592"/>
                  </a:lnTo>
                  <a:lnTo>
                    <a:pt x="766511" y="982748"/>
                  </a:lnTo>
                  <a:lnTo>
                    <a:pt x="765664" y="980268"/>
                  </a:lnTo>
                  <a:lnTo>
                    <a:pt x="764242" y="978815"/>
                  </a:lnTo>
                  <a:lnTo>
                    <a:pt x="766269" y="978997"/>
                  </a:lnTo>
                  <a:lnTo>
                    <a:pt x="767086" y="977212"/>
                  </a:lnTo>
                  <a:lnTo>
                    <a:pt x="766965" y="974671"/>
                  </a:lnTo>
                  <a:lnTo>
                    <a:pt x="766239" y="972523"/>
                  </a:lnTo>
                  <a:lnTo>
                    <a:pt x="764726" y="970920"/>
                  </a:lnTo>
                  <a:lnTo>
                    <a:pt x="763940" y="971918"/>
                  </a:lnTo>
                  <a:lnTo>
                    <a:pt x="763486" y="974126"/>
                  </a:lnTo>
                  <a:lnTo>
                    <a:pt x="762820" y="976123"/>
                  </a:lnTo>
                  <a:lnTo>
                    <a:pt x="762336" y="973945"/>
                  </a:lnTo>
                  <a:lnTo>
                    <a:pt x="761671" y="973431"/>
                  </a:lnTo>
                  <a:lnTo>
                    <a:pt x="760884" y="973582"/>
                  </a:lnTo>
                  <a:lnTo>
                    <a:pt x="760037" y="973370"/>
                  </a:lnTo>
                  <a:lnTo>
                    <a:pt x="760098" y="973854"/>
                  </a:lnTo>
                  <a:lnTo>
                    <a:pt x="759584" y="974308"/>
                  </a:lnTo>
                  <a:lnTo>
                    <a:pt x="758948" y="974399"/>
                  </a:lnTo>
                  <a:lnTo>
                    <a:pt x="758676" y="973824"/>
                  </a:lnTo>
                  <a:lnTo>
                    <a:pt x="758676" y="970769"/>
                  </a:lnTo>
                  <a:lnTo>
                    <a:pt x="757042" y="971132"/>
                  </a:lnTo>
                  <a:lnTo>
                    <a:pt x="756800" y="972462"/>
                  </a:lnTo>
                  <a:lnTo>
                    <a:pt x="756982" y="974066"/>
                  </a:lnTo>
                  <a:lnTo>
                    <a:pt x="756589" y="975215"/>
                  </a:lnTo>
                  <a:lnTo>
                    <a:pt x="755469" y="975367"/>
                  </a:lnTo>
                  <a:lnTo>
                    <a:pt x="754320" y="974701"/>
                  </a:lnTo>
                  <a:lnTo>
                    <a:pt x="753473" y="973733"/>
                  </a:lnTo>
                  <a:lnTo>
                    <a:pt x="751930" y="970587"/>
                  </a:lnTo>
                  <a:lnTo>
                    <a:pt x="751869" y="969407"/>
                  </a:lnTo>
                  <a:lnTo>
                    <a:pt x="753442" y="968923"/>
                  </a:lnTo>
                  <a:lnTo>
                    <a:pt x="754047" y="968379"/>
                  </a:lnTo>
                  <a:lnTo>
                    <a:pt x="754531" y="967138"/>
                  </a:lnTo>
                  <a:lnTo>
                    <a:pt x="755167" y="965898"/>
                  </a:lnTo>
                  <a:lnTo>
                    <a:pt x="756226" y="965323"/>
                  </a:lnTo>
                  <a:lnTo>
                    <a:pt x="757557" y="964295"/>
                  </a:lnTo>
                  <a:lnTo>
                    <a:pt x="760854" y="959515"/>
                  </a:lnTo>
                  <a:lnTo>
                    <a:pt x="762125" y="958063"/>
                  </a:lnTo>
                  <a:lnTo>
                    <a:pt x="759523" y="960453"/>
                  </a:lnTo>
                  <a:lnTo>
                    <a:pt x="758071" y="961391"/>
                  </a:lnTo>
                  <a:lnTo>
                    <a:pt x="756226" y="961754"/>
                  </a:lnTo>
                  <a:lnTo>
                    <a:pt x="754259" y="961572"/>
                  </a:lnTo>
                  <a:lnTo>
                    <a:pt x="752867" y="961118"/>
                  </a:lnTo>
                  <a:lnTo>
                    <a:pt x="750326" y="959938"/>
                  </a:lnTo>
                  <a:lnTo>
                    <a:pt x="751295" y="953949"/>
                  </a:lnTo>
                  <a:lnTo>
                    <a:pt x="751052" y="947626"/>
                  </a:lnTo>
                  <a:lnTo>
                    <a:pt x="751658" y="942453"/>
                  </a:lnTo>
                  <a:lnTo>
                    <a:pt x="755106" y="940003"/>
                  </a:lnTo>
                  <a:lnTo>
                    <a:pt x="754441" y="938460"/>
                  </a:lnTo>
                  <a:lnTo>
                    <a:pt x="753896" y="937553"/>
                  </a:lnTo>
                  <a:lnTo>
                    <a:pt x="753624" y="936493"/>
                  </a:lnTo>
                  <a:lnTo>
                    <a:pt x="753745" y="934467"/>
                  </a:lnTo>
                  <a:lnTo>
                    <a:pt x="754320" y="932894"/>
                  </a:lnTo>
                  <a:lnTo>
                    <a:pt x="756165" y="930534"/>
                  </a:lnTo>
                  <a:lnTo>
                    <a:pt x="756558" y="929506"/>
                  </a:lnTo>
                  <a:lnTo>
                    <a:pt x="756256" y="928900"/>
                  </a:lnTo>
                  <a:lnTo>
                    <a:pt x="754834" y="927176"/>
                  </a:lnTo>
                  <a:lnTo>
                    <a:pt x="754501" y="926268"/>
                  </a:lnTo>
                  <a:lnTo>
                    <a:pt x="754713" y="925240"/>
                  </a:lnTo>
                  <a:lnTo>
                    <a:pt x="755167" y="924575"/>
                  </a:lnTo>
                  <a:lnTo>
                    <a:pt x="755620" y="924453"/>
                  </a:lnTo>
                  <a:lnTo>
                    <a:pt x="756105" y="925603"/>
                  </a:lnTo>
                  <a:lnTo>
                    <a:pt x="756709" y="926238"/>
                  </a:lnTo>
                  <a:lnTo>
                    <a:pt x="758797" y="927872"/>
                  </a:lnTo>
                  <a:lnTo>
                    <a:pt x="759160" y="928054"/>
                  </a:lnTo>
                  <a:lnTo>
                    <a:pt x="759432" y="928326"/>
                  </a:lnTo>
                  <a:lnTo>
                    <a:pt x="759977" y="929082"/>
                  </a:lnTo>
                  <a:lnTo>
                    <a:pt x="760763" y="930564"/>
                  </a:lnTo>
                  <a:lnTo>
                    <a:pt x="760612" y="931351"/>
                  </a:lnTo>
                  <a:lnTo>
                    <a:pt x="759947" y="932349"/>
                  </a:lnTo>
                  <a:lnTo>
                    <a:pt x="759281" y="934497"/>
                  </a:lnTo>
                  <a:lnTo>
                    <a:pt x="759916" y="940759"/>
                  </a:lnTo>
                  <a:lnTo>
                    <a:pt x="759644" y="941727"/>
                  </a:lnTo>
                  <a:lnTo>
                    <a:pt x="761913" y="942847"/>
                  </a:lnTo>
                  <a:lnTo>
                    <a:pt x="763789" y="945629"/>
                  </a:lnTo>
                  <a:lnTo>
                    <a:pt x="764908" y="949169"/>
                  </a:lnTo>
                  <a:lnTo>
                    <a:pt x="764787" y="952648"/>
                  </a:lnTo>
                  <a:lnTo>
                    <a:pt x="766027" y="951559"/>
                  </a:lnTo>
                  <a:lnTo>
                    <a:pt x="768871" y="950651"/>
                  </a:lnTo>
                  <a:lnTo>
                    <a:pt x="770383" y="949865"/>
                  </a:lnTo>
                  <a:lnTo>
                    <a:pt x="769899" y="948806"/>
                  </a:lnTo>
                  <a:lnTo>
                    <a:pt x="769899" y="948413"/>
                  </a:lnTo>
                  <a:lnTo>
                    <a:pt x="770081" y="948110"/>
                  </a:lnTo>
                  <a:lnTo>
                    <a:pt x="770383" y="947263"/>
                  </a:lnTo>
                  <a:lnTo>
                    <a:pt x="772440" y="948141"/>
                  </a:lnTo>
                  <a:lnTo>
                    <a:pt x="774165" y="947414"/>
                  </a:lnTo>
                  <a:lnTo>
                    <a:pt x="775768" y="946144"/>
                  </a:lnTo>
                  <a:lnTo>
                    <a:pt x="777522" y="945478"/>
                  </a:lnTo>
                  <a:lnTo>
                    <a:pt x="778007" y="945025"/>
                  </a:lnTo>
                  <a:lnTo>
                    <a:pt x="777341" y="944026"/>
                  </a:lnTo>
                  <a:lnTo>
                    <a:pt x="775798" y="942604"/>
                  </a:lnTo>
                  <a:lnTo>
                    <a:pt x="773136" y="941667"/>
                  </a:lnTo>
                  <a:lnTo>
                    <a:pt x="771805" y="940820"/>
                  </a:lnTo>
                  <a:lnTo>
                    <a:pt x="771049" y="939065"/>
                  </a:lnTo>
                  <a:lnTo>
                    <a:pt x="771714" y="936403"/>
                  </a:lnTo>
                  <a:lnTo>
                    <a:pt x="773862" y="935041"/>
                  </a:lnTo>
                  <a:lnTo>
                    <a:pt x="776585" y="934588"/>
                  </a:lnTo>
                  <a:lnTo>
                    <a:pt x="778914" y="934527"/>
                  </a:lnTo>
                  <a:lnTo>
                    <a:pt x="779186" y="934255"/>
                  </a:lnTo>
                  <a:lnTo>
                    <a:pt x="779398" y="933620"/>
                  </a:lnTo>
                  <a:lnTo>
                    <a:pt x="779700" y="933015"/>
                  </a:lnTo>
                  <a:lnTo>
                    <a:pt x="780306" y="932742"/>
                  </a:lnTo>
                  <a:lnTo>
                    <a:pt x="781153" y="932924"/>
                  </a:lnTo>
                  <a:lnTo>
                    <a:pt x="781213" y="933408"/>
                  </a:lnTo>
                  <a:lnTo>
                    <a:pt x="781123" y="934013"/>
                  </a:lnTo>
                  <a:lnTo>
                    <a:pt x="781364" y="934527"/>
                  </a:lnTo>
                  <a:lnTo>
                    <a:pt x="783542" y="935979"/>
                  </a:lnTo>
                  <a:lnTo>
                    <a:pt x="784329" y="936887"/>
                  </a:lnTo>
                  <a:lnTo>
                    <a:pt x="784813" y="938157"/>
                  </a:lnTo>
                  <a:lnTo>
                    <a:pt x="785509" y="934527"/>
                  </a:lnTo>
                  <a:lnTo>
                    <a:pt x="784602" y="933529"/>
                  </a:lnTo>
                  <a:lnTo>
                    <a:pt x="783815" y="932168"/>
                  </a:lnTo>
                  <a:lnTo>
                    <a:pt x="783331" y="930383"/>
                  </a:lnTo>
                  <a:lnTo>
                    <a:pt x="783422" y="928144"/>
                  </a:lnTo>
                  <a:lnTo>
                    <a:pt x="784178" y="926299"/>
                  </a:lnTo>
                  <a:lnTo>
                    <a:pt x="785085" y="925996"/>
                  </a:lnTo>
                  <a:lnTo>
                    <a:pt x="785479" y="926753"/>
                  </a:lnTo>
                  <a:lnTo>
                    <a:pt x="784813" y="928144"/>
                  </a:lnTo>
                  <a:lnTo>
                    <a:pt x="784813" y="929143"/>
                  </a:lnTo>
                  <a:lnTo>
                    <a:pt x="785872" y="930322"/>
                  </a:lnTo>
                  <a:lnTo>
                    <a:pt x="786870" y="931865"/>
                  </a:lnTo>
                  <a:lnTo>
                    <a:pt x="787415" y="928870"/>
                  </a:lnTo>
                  <a:lnTo>
                    <a:pt x="787627" y="925603"/>
                  </a:lnTo>
                  <a:lnTo>
                    <a:pt x="788443" y="922971"/>
                  </a:lnTo>
                  <a:lnTo>
                    <a:pt x="790682" y="921882"/>
                  </a:lnTo>
                  <a:lnTo>
                    <a:pt x="793072" y="922850"/>
                  </a:lnTo>
                  <a:lnTo>
                    <a:pt x="797761" y="926329"/>
                  </a:lnTo>
                  <a:lnTo>
                    <a:pt x="798608" y="925905"/>
                  </a:lnTo>
                  <a:lnTo>
                    <a:pt x="798910" y="925331"/>
                  </a:lnTo>
                  <a:lnTo>
                    <a:pt x="799515" y="925542"/>
                  </a:lnTo>
                  <a:lnTo>
                    <a:pt x="800120" y="926027"/>
                  </a:lnTo>
                  <a:lnTo>
                    <a:pt x="800362" y="926299"/>
                  </a:lnTo>
                  <a:lnTo>
                    <a:pt x="801149" y="926148"/>
                  </a:lnTo>
                  <a:lnTo>
                    <a:pt x="801330" y="925664"/>
                  </a:lnTo>
                  <a:lnTo>
                    <a:pt x="801330" y="924968"/>
                  </a:lnTo>
                  <a:lnTo>
                    <a:pt x="801754" y="924090"/>
                  </a:lnTo>
                  <a:lnTo>
                    <a:pt x="801905" y="923213"/>
                  </a:lnTo>
                  <a:lnTo>
                    <a:pt x="802268" y="919704"/>
                  </a:lnTo>
                  <a:lnTo>
                    <a:pt x="802752" y="918161"/>
                  </a:lnTo>
                  <a:lnTo>
                    <a:pt x="803509" y="916921"/>
                  </a:lnTo>
                  <a:lnTo>
                    <a:pt x="804446" y="916014"/>
                  </a:lnTo>
                  <a:lnTo>
                    <a:pt x="805233" y="916316"/>
                  </a:lnTo>
                  <a:lnTo>
                    <a:pt x="805807" y="923758"/>
                  </a:lnTo>
                  <a:lnTo>
                    <a:pt x="805566" y="925512"/>
                  </a:lnTo>
                  <a:lnTo>
                    <a:pt x="812251" y="920733"/>
                  </a:lnTo>
                  <a:lnTo>
                    <a:pt x="817939" y="915499"/>
                  </a:lnTo>
                  <a:lnTo>
                    <a:pt x="829010" y="901886"/>
                  </a:lnTo>
                  <a:lnTo>
                    <a:pt x="841383" y="890905"/>
                  </a:lnTo>
                  <a:lnTo>
                    <a:pt x="842321" y="889059"/>
                  </a:lnTo>
                  <a:lnTo>
                    <a:pt x="844318" y="883826"/>
                  </a:lnTo>
                  <a:lnTo>
                    <a:pt x="845195" y="882737"/>
                  </a:lnTo>
                  <a:lnTo>
                    <a:pt x="846768" y="881950"/>
                  </a:lnTo>
                  <a:lnTo>
                    <a:pt x="848190" y="880105"/>
                  </a:lnTo>
                  <a:lnTo>
                    <a:pt x="850368" y="876293"/>
                  </a:lnTo>
                  <a:lnTo>
                    <a:pt x="857416" y="867067"/>
                  </a:lnTo>
                  <a:lnTo>
                    <a:pt x="860321" y="861712"/>
                  </a:lnTo>
                  <a:lnTo>
                    <a:pt x="860774" y="860441"/>
                  </a:lnTo>
                  <a:lnTo>
                    <a:pt x="860774" y="858989"/>
                  </a:lnTo>
                  <a:lnTo>
                    <a:pt x="860018" y="857870"/>
                  </a:lnTo>
                  <a:lnTo>
                    <a:pt x="857719" y="856448"/>
                  </a:lnTo>
                  <a:lnTo>
                    <a:pt x="857266" y="855722"/>
                  </a:lnTo>
                  <a:lnTo>
                    <a:pt x="858172" y="854845"/>
                  </a:lnTo>
                  <a:lnTo>
                    <a:pt x="863588" y="855238"/>
                  </a:lnTo>
                  <a:lnTo>
                    <a:pt x="865282" y="853816"/>
                  </a:lnTo>
                  <a:lnTo>
                    <a:pt x="869427" y="848764"/>
                  </a:lnTo>
                  <a:lnTo>
                    <a:pt x="869638" y="848190"/>
                  </a:lnTo>
                  <a:lnTo>
                    <a:pt x="870515" y="844136"/>
                  </a:lnTo>
                  <a:lnTo>
                    <a:pt x="870848" y="843380"/>
                  </a:lnTo>
                  <a:lnTo>
                    <a:pt x="871211" y="842714"/>
                  </a:lnTo>
                  <a:lnTo>
                    <a:pt x="871453" y="842442"/>
                  </a:lnTo>
                  <a:lnTo>
                    <a:pt x="871998" y="842079"/>
                  </a:lnTo>
                  <a:lnTo>
                    <a:pt x="871514" y="841292"/>
                  </a:lnTo>
                  <a:lnTo>
                    <a:pt x="870758" y="840627"/>
                  </a:lnTo>
                  <a:lnTo>
                    <a:pt x="870364" y="840627"/>
                  </a:lnTo>
                  <a:lnTo>
                    <a:pt x="869698" y="837904"/>
                  </a:lnTo>
                  <a:lnTo>
                    <a:pt x="868004" y="834577"/>
                  </a:lnTo>
                  <a:lnTo>
                    <a:pt x="867642" y="832792"/>
                  </a:lnTo>
                  <a:lnTo>
                    <a:pt x="868246" y="831673"/>
                  </a:lnTo>
                  <a:lnTo>
                    <a:pt x="871241" y="827831"/>
                  </a:lnTo>
                  <a:lnTo>
                    <a:pt x="872452" y="826862"/>
                  </a:lnTo>
                  <a:lnTo>
                    <a:pt x="873450" y="826862"/>
                  </a:lnTo>
                  <a:lnTo>
                    <a:pt x="877685" y="827770"/>
                  </a:lnTo>
                  <a:lnTo>
                    <a:pt x="878925" y="827468"/>
                  </a:lnTo>
                  <a:lnTo>
                    <a:pt x="884885" y="823626"/>
                  </a:lnTo>
                  <a:lnTo>
                    <a:pt x="886216" y="823172"/>
                  </a:lnTo>
                  <a:lnTo>
                    <a:pt x="887366" y="823656"/>
                  </a:lnTo>
                  <a:lnTo>
                    <a:pt x="888243" y="823777"/>
                  </a:lnTo>
                  <a:lnTo>
                    <a:pt x="890603" y="821901"/>
                  </a:lnTo>
                  <a:lnTo>
                    <a:pt x="891510" y="821387"/>
                  </a:lnTo>
                  <a:lnTo>
                    <a:pt x="893688" y="821114"/>
                  </a:lnTo>
                  <a:lnTo>
                    <a:pt x="897863" y="819844"/>
                  </a:lnTo>
                  <a:lnTo>
                    <a:pt x="903278" y="819179"/>
                  </a:lnTo>
                  <a:lnTo>
                    <a:pt x="908451" y="817666"/>
                  </a:lnTo>
                  <a:lnTo>
                    <a:pt x="911203" y="817666"/>
                  </a:lnTo>
                  <a:lnTo>
                    <a:pt x="918252" y="819360"/>
                  </a:lnTo>
                  <a:lnTo>
                    <a:pt x="920158" y="820570"/>
                  </a:lnTo>
                  <a:lnTo>
                    <a:pt x="920915" y="819572"/>
                  </a:lnTo>
                  <a:lnTo>
                    <a:pt x="922215" y="820358"/>
                  </a:lnTo>
                  <a:lnTo>
                    <a:pt x="925059" y="820722"/>
                  </a:lnTo>
                  <a:lnTo>
                    <a:pt x="926450" y="821387"/>
                  </a:lnTo>
                  <a:lnTo>
                    <a:pt x="927902" y="820298"/>
                  </a:lnTo>
                  <a:lnTo>
                    <a:pt x="932379" y="818059"/>
                  </a:lnTo>
                  <a:lnTo>
                    <a:pt x="934346" y="817636"/>
                  </a:lnTo>
                  <a:lnTo>
                    <a:pt x="935586" y="816486"/>
                  </a:lnTo>
                  <a:lnTo>
                    <a:pt x="939035" y="811434"/>
                  </a:lnTo>
                  <a:lnTo>
                    <a:pt x="940578" y="810285"/>
                  </a:lnTo>
                  <a:lnTo>
                    <a:pt x="940729" y="809800"/>
                  </a:lnTo>
                  <a:lnTo>
                    <a:pt x="942605" y="807048"/>
                  </a:lnTo>
                  <a:lnTo>
                    <a:pt x="943391" y="805354"/>
                  </a:lnTo>
                  <a:lnTo>
                    <a:pt x="943028" y="804355"/>
                  </a:lnTo>
                  <a:lnTo>
                    <a:pt x="939882" y="801996"/>
                  </a:lnTo>
                  <a:lnTo>
                    <a:pt x="939005" y="801542"/>
                  </a:lnTo>
                  <a:lnTo>
                    <a:pt x="938399" y="800755"/>
                  </a:lnTo>
                  <a:lnTo>
                    <a:pt x="938188" y="798789"/>
                  </a:lnTo>
                  <a:lnTo>
                    <a:pt x="937976" y="797942"/>
                  </a:lnTo>
                  <a:lnTo>
                    <a:pt x="936856" y="794554"/>
                  </a:lnTo>
                  <a:lnTo>
                    <a:pt x="938399" y="795159"/>
                  </a:lnTo>
                  <a:lnTo>
                    <a:pt x="939489" y="796853"/>
                  </a:lnTo>
                  <a:lnTo>
                    <a:pt x="940971" y="800181"/>
                  </a:lnTo>
                  <a:lnTo>
                    <a:pt x="942393" y="801270"/>
                  </a:lnTo>
                  <a:lnTo>
                    <a:pt x="943663" y="802026"/>
                  </a:lnTo>
                  <a:lnTo>
                    <a:pt x="944813" y="801724"/>
                  </a:lnTo>
                  <a:lnTo>
                    <a:pt x="945145" y="801330"/>
                  </a:lnTo>
                  <a:lnTo>
                    <a:pt x="945266" y="800846"/>
                  </a:lnTo>
                  <a:lnTo>
                    <a:pt x="947203" y="798033"/>
                  </a:lnTo>
                  <a:lnTo>
                    <a:pt x="947808" y="797337"/>
                  </a:lnTo>
                  <a:lnTo>
                    <a:pt x="948625" y="796823"/>
                  </a:lnTo>
                  <a:lnTo>
                    <a:pt x="950560" y="796067"/>
                  </a:lnTo>
                  <a:lnTo>
                    <a:pt x="951286" y="795492"/>
                  </a:lnTo>
                  <a:lnTo>
                    <a:pt x="952043" y="793828"/>
                  </a:lnTo>
                  <a:lnTo>
                    <a:pt x="952708" y="791892"/>
                  </a:lnTo>
                  <a:lnTo>
                    <a:pt x="953555" y="791075"/>
                  </a:lnTo>
                  <a:lnTo>
                    <a:pt x="954766" y="792829"/>
                  </a:lnTo>
                  <a:lnTo>
                    <a:pt x="950137" y="799182"/>
                  </a:lnTo>
                  <a:lnTo>
                    <a:pt x="948897" y="800181"/>
                  </a:lnTo>
                  <a:lnTo>
                    <a:pt x="948897" y="801512"/>
                  </a:lnTo>
                  <a:lnTo>
                    <a:pt x="947505" y="804416"/>
                  </a:lnTo>
                  <a:lnTo>
                    <a:pt x="941939" y="813068"/>
                  </a:lnTo>
                  <a:lnTo>
                    <a:pt x="940941" y="815337"/>
                  </a:lnTo>
                  <a:lnTo>
                    <a:pt x="941334" y="817243"/>
                  </a:lnTo>
                  <a:lnTo>
                    <a:pt x="942150" y="817726"/>
                  </a:lnTo>
                  <a:lnTo>
                    <a:pt x="943270" y="817817"/>
                  </a:lnTo>
                  <a:lnTo>
                    <a:pt x="945418" y="817666"/>
                  </a:lnTo>
                  <a:lnTo>
                    <a:pt x="946326" y="817938"/>
                  </a:lnTo>
                  <a:lnTo>
                    <a:pt x="947747" y="819179"/>
                  </a:lnTo>
                  <a:lnTo>
                    <a:pt x="948594" y="819602"/>
                  </a:lnTo>
                  <a:lnTo>
                    <a:pt x="950803" y="819269"/>
                  </a:lnTo>
                  <a:lnTo>
                    <a:pt x="951801" y="817636"/>
                  </a:lnTo>
                  <a:lnTo>
                    <a:pt x="952648" y="815820"/>
                  </a:lnTo>
                  <a:lnTo>
                    <a:pt x="954372" y="814974"/>
                  </a:lnTo>
                  <a:lnTo>
                    <a:pt x="960392" y="814490"/>
                  </a:lnTo>
                  <a:lnTo>
                    <a:pt x="970194" y="817938"/>
                  </a:lnTo>
                  <a:lnTo>
                    <a:pt x="974550" y="818543"/>
                  </a:lnTo>
                  <a:lnTo>
                    <a:pt x="978937" y="817726"/>
                  </a:lnTo>
                  <a:lnTo>
                    <a:pt x="980116" y="817182"/>
                  </a:lnTo>
                  <a:lnTo>
                    <a:pt x="982324" y="815760"/>
                  </a:lnTo>
                  <a:lnTo>
                    <a:pt x="983050" y="814943"/>
                  </a:lnTo>
                  <a:lnTo>
                    <a:pt x="983958" y="813189"/>
                  </a:lnTo>
                  <a:lnTo>
                    <a:pt x="983867" y="812312"/>
                  </a:lnTo>
                  <a:lnTo>
                    <a:pt x="983353" y="811283"/>
                  </a:lnTo>
                  <a:lnTo>
                    <a:pt x="983050" y="808984"/>
                  </a:lnTo>
                  <a:lnTo>
                    <a:pt x="983776" y="803024"/>
                  </a:lnTo>
                  <a:lnTo>
                    <a:pt x="983384" y="802087"/>
                  </a:lnTo>
                  <a:lnTo>
                    <a:pt x="979602" y="797397"/>
                  </a:lnTo>
                  <a:lnTo>
                    <a:pt x="979602" y="793798"/>
                  </a:lnTo>
                  <a:lnTo>
                    <a:pt x="980842" y="790863"/>
                  </a:lnTo>
                  <a:lnTo>
                    <a:pt x="982960" y="788867"/>
                  </a:lnTo>
                  <a:lnTo>
                    <a:pt x="985440" y="788141"/>
                  </a:lnTo>
                  <a:lnTo>
                    <a:pt x="987649" y="786628"/>
                  </a:lnTo>
                  <a:lnTo>
                    <a:pt x="989494" y="783089"/>
                  </a:lnTo>
                  <a:lnTo>
                    <a:pt x="990432" y="779096"/>
                  </a:lnTo>
                  <a:lnTo>
                    <a:pt x="989948" y="776161"/>
                  </a:lnTo>
                  <a:lnTo>
                    <a:pt x="987891" y="777341"/>
                  </a:lnTo>
                  <a:lnTo>
                    <a:pt x="985683" y="778036"/>
                  </a:lnTo>
                  <a:lnTo>
                    <a:pt x="983898" y="777553"/>
                  </a:lnTo>
                  <a:lnTo>
                    <a:pt x="983050" y="775193"/>
                  </a:lnTo>
                  <a:lnTo>
                    <a:pt x="983535" y="772924"/>
                  </a:lnTo>
                  <a:lnTo>
                    <a:pt x="984896" y="770776"/>
                  </a:lnTo>
                  <a:lnTo>
                    <a:pt x="987830" y="767691"/>
                  </a:lnTo>
                  <a:lnTo>
                    <a:pt x="984502" y="767146"/>
                  </a:lnTo>
                  <a:lnTo>
                    <a:pt x="979965" y="767691"/>
                  </a:lnTo>
                  <a:lnTo>
                    <a:pt x="976789" y="766390"/>
                  </a:lnTo>
                  <a:lnTo>
                    <a:pt x="977515" y="760249"/>
                  </a:lnTo>
                  <a:lnTo>
                    <a:pt x="978271" y="759311"/>
                  </a:lnTo>
                  <a:lnTo>
                    <a:pt x="979693" y="757072"/>
                  </a:lnTo>
                  <a:lnTo>
                    <a:pt x="980480" y="754804"/>
                  </a:lnTo>
                  <a:lnTo>
                    <a:pt x="979239" y="753775"/>
                  </a:lnTo>
                  <a:lnTo>
                    <a:pt x="978725" y="753472"/>
                  </a:lnTo>
                  <a:lnTo>
                    <a:pt x="978211" y="752837"/>
                  </a:lnTo>
                  <a:lnTo>
                    <a:pt x="977545" y="752202"/>
                  </a:lnTo>
                  <a:lnTo>
                    <a:pt x="975034" y="751657"/>
                  </a:lnTo>
                  <a:lnTo>
                    <a:pt x="974581" y="750901"/>
                  </a:lnTo>
                  <a:lnTo>
                    <a:pt x="974640" y="743005"/>
                  </a:lnTo>
                  <a:lnTo>
                    <a:pt x="973612" y="741402"/>
                  </a:lnTo>
                  <a:lnTo>
                    <a:pt x="969135" y="740343"/>
                  </a:lnTo>
                  <a:lnTo>
                    <a:pt x="967199" y="739163"/>
                  </a:lnTo>
                  <a:lnTo>
                    <a:pt x="965626" y="737621"/>
                  </a:lnTo>
                  <a:lnTo>
                    <a:pt x="964990" y="736078"/>
                  </a:lnTo>
                  <a:lnTo>
                    <a:pt x="965324" y="735321"/>
                  </a:lnTo>
                  <a:lnTo>
                    <a:pt x="966715" y="732902"/>
                  </a:lnTo>
                  <a:lnTo>
                    <a:pt x="967108" y="732387"/>
                  </a:lnTo>
                  <a:lnTo>
                    <a:pt x="968167" y="732811"/>
                  </a:lnTo>
                  <a:lnTo>
                    <a:pt x="968288" y="733809"/>
                  </a:lnTo>
                  <a:lnTo>
                    <a:pt x="967804" y="736532"/>
                  </a:lnTo>
                  <a:lnTo>
                    <a:pt x="968711" y="738196"/>
                  </a:lnTo>
                  <a:lnTo>
                    <a:pt x="974640" y="740797"/>
                  </a:lnTo>
                  <a:lnTo>
                    <a:pt x="976033" y="742219"/>
                  </a:lnTo>
                  <a:lnTo>
                    <a:pt x="976426" y="743278"/>
                  </a:lnTo>
                  <a:lnTo>
                    <a:pt x="976426" y="744730"/>
                  </a:lnTo>
                  <a:lnTo>
                    <a:pt x="976759" y="747301"/>
                  </a:lnTo>
                  <a:lnTo>
                    <a:pt x="977515" y="749388"/>
                  </a:lnTo>
                  <a:lnTo>
                    <a:pt x="978543" y="749994"/>
                  </a:lnTo>
                  <a:lnTo>
                    <a:pt x="979784" y="750296"/>
                  </a:lnTo>
                  <a:lnTo>
                    <a:pt x="981206" y="751476"/>
                  </a:lnTo>
                  <a:lnTo>
                    <a:pt x="982658" y="754985"/>
                  </a:lnTo>
                  <a:lnTo>
                    <a:pt x="982294" y="758283"/>
                  </a:lnTo>
                  <a:lnTo>
                    <a:pt x="979481" y="764000"/>
                  </a:lnTo>
                  <a:lnTo>
                    <a:pt x="981084" y="765513"/>
                  </a:lnTo>
                  <a:lnTo>
                    <a:pt x="982990" y="765694"/>
                  </a:lnTo>
                  <a:lnTo>
                    <a:pt x="987377" y="764968"/>
                  </a:lnTo>
                  <a:lnTo>
                    <a:pt x="990099" y="765331"/>
                  </a:lnTo>
                  <a:lnTo>
                    <a:pt x="990704" y="766269"/>
                  </a:lnTo>
                  <a:lnTo>
                    <a:pt x="989887" y="767691"/>
                  </a:lnTo>
                  <a:lnTo>
                    <a:pt x="986892" y="771865"/>
                  </a:lnTo>
                  <a:lnTo>
                    <a:pt x="986560" y="773650"/>
                  </a:lnTo>
                  <a:lnTo>
                    <a:pt x="987588" y="774739"/>
                  </a:lnTo>
                  <a:lnTo>
                    <a:pt x="992610" y="775617"/>
                  </a:lnTo>
                  <a:lnTo>
                    <a:pt x="993699" y="776947"/>
                  </a:lnTo>
                  <a:lnTo>
                    <a:pt x="993790" y="779005"/>
                  </a:lnTo>
                  <a:lnTo>
                    <a:pt x="993276" y="781667"/>
                  </a:lnTo>
                  <a:lnTo>
                    <a:pt x="991189" y="786416"/>
                  </a:lnTo>
                  <a:lnTo>
                    <a:pt x="988466" y="790319"/>
                  </a:lnTo>
                  <a:lnTo>
                    <a:pt x="986590" y="794493"/>
                  </a:lnTo>
                  <a:lnTo>
                    <a:pt x="987014" y="800090"/>
                  </a:lnTo>
                  <a:lnTo>
                    <a:pt x="988012" y="802389"/>
                  </a:lnTo>
                  <a:lnTo>
                    <a:pt x="989161" y="804295"/>
                  </a:lnTo>
                  <a:lnTo>
                    <a:pt x="990099" y="806292"/>
                  </a:lnTo>
                  <a:lnTo>
                    <a:pt x="990463" y="808833"/>
                  </a:lnTo>
                  <a:lnTo>
                    <a:pt x="991007" y="811101"/>
                  </a:lnTo>
                  <a:lnTo>
                    <a:pt x="992338" y="813733"/>
                  </a:lnTo>
                  <a:lnTo>
                    <a:pt x="993941" y="816123"/>
                  </a:lnTo>
                  <a:lnTo>
                    <a:pt x="995333" y="817545"/>
                  </a:lnTo>
                  <a:lnTo>
                    <a:pt x="997027" y="818301"/>
                  </a:lnTo>
                  <a:lnTo>
                    <a:pt x="1003229" y="819451"/>
                  </a:lnTo>
                  <a:lnTo>
                    <a:pt x="1004922" y="820540"/>
                  </a:lnTo>
                  <a:lnTo>
                    <a:pt x="1006345" y="825441"/>
                  </a:lnTo>
                  <a:lnTo>
                    <a:pt x="1007766" y="826802"/>
                  </a:lnTo>
                  <a:lnTo>
                    <a:pt x="1010126" y="824049"/>
                  </a:lnTo>
                  <a:lnTo>
                    <a:pt x="1011154" y="823898"/>
                  </a:lnTo>
                  <a:lnTo>
                    <a:pt x="1013121" y="823263"/>
                  </a:lnTo>
                  <a:lnTo>
                    <a:pt x="1014240" y="823111"/>
                  </a:lnTo>
                  <a:lnTo>
                    <a:pt x="1015148" y="822688"/>
                  </a:lnTo>
                  <a:lnTo>
                    <a:pt x="1016842" y="820842"/>
                  </a:lnTo>
                  <a:lnTo>
                    <a:pt x="1017991" y="820449"/>
                  </a:lnTo>
                  <a:lnTo>
                    <a:pt x="1018535" y="820812"/>
                  </a:lnTo>
                  <a:lnTo>
                    <a:pt x="1020108" y="823111"/>
                  </a:lnTo>
                  <a:lnTo>
                    <a:pt x="1026795" y="826530"/>
                  </a:lnTo>
                  <a:lnTo>
                    <a:pt x="1034176" y="825622"/>
                  </a:lnTo>
                  <a:lnTo>
                    <a:pt x="1047728" y="818513"/>
                  </a:lnTo>
                  <a:lnTo>
                    <a:pt x="1050118" y="818967"/>
                  </a:lnTo>
                  <a:lnTo>
                    <a:pt x="1052841" y="817636"/>
                  </a:lnTo>
                  <a:lnTo>
                    <a:pt x="1055593" y="815820"/>
                  </a:lnTo>
                  <a:lnTo>
                    <a:pt x="1057983" y="814792"/>
                  </a:lnTo>
                  <a:lnTo>
                    <a:pt x="1056804" y="817000"/>
                  </a:lnTo>
                  <a:lnTo>
                    <a:pt x="1055352" y="818301"/>
                  </a:lnTo>
                  <a:lnTo>
                    <a:pt x="1053779" y="819330"/>
                  </a:lnTo>
                  <a:lnTo>
                    <a:pt x="1052236" y="820873"/>
                  </a:lnTo>
                  <a:lnTo>
                    <a:pt x="1050481" y="821931"/>
                  </a:lnTo>
                  <a:lnTo>
                    <a:pt x="1045822" y="822415"/>
                  </a:lnTo>
                  <a:lnTo>
                    <a:pt x="1043917" y="823565"/>
                  </a:lnTo>
                  <a:lnTo>
                    <a:pt x="1036868" y="829071"/>
                  </a:lnTo>
                  <a:lnTo>
                    <a:pt x="1034115" y="832550"/>
                  </a:lnTo>
                  <a:lnTo>
                    <a:pt x="1035990" y="835000"/>
                  </a:lnTo>
                  <a:lnTo>
                    <a:pt x="1033238" y="837753"/>
                  </a:lnTo>
                  <a:lnTo>
                    <a:pt x="1029335" y="839296"/>
                  </a:lnTo>
                  <a:lnTo>
                    <a:pt x="1024949" y="839629"/>
                  </a:lnTo>
                  <a:lnTo>
                    <a:pt x="1020774" y="838751"/>
                  </a:lnTo>
                  <a:lnTo>
                    <a:pt x="1015269" y="835454"/>
                  </a:lnTo>
                  <a:lnTo>
                    <a:pt x="1004226" y="833185"/>
                  </a:lnTo>
                  <a:lnTo>
                    <a:pt x="1002170" y="833125"/>
                  </a:lnTo>
                  <a:lnTo>
                    <a:pt x="996362" y="834002"/>
                  </a:lnTo>
                  <a:lnTo>
                    <a:pt x="987679" y="832247"/>
                  </a:lnTo>
                  <a:lnTo>
                    <a:pt x="979088" y="832247"/>
                  </a:lnTo>
                  <a:lnTo>
                    <a:pt x="978059" y="831884"/>
                  </a:lnTo>
                  <a:lnTo>
                    <a:pt x="977666" y="831733"/>
                  </a:lnTo>
                  <a:lnTo>
                    <a:pt x="971858" y="828496"/>
                  </a:lnTo>
                  <a:lnTo>
                    <a:pt x="968470" y="827528"/>
                  </a:lnTo>
                  <a:lnTo>
                    <a:pt x="950863" y="828738"/>
                  </a:lnTo>
                  <a:lnTo>
                    <a:pt x="949381" y="828072"/>
                  </a:lnTo>
                  <a:lnTo>
                    <a:pt x="946718" y="825410"/>
                  </a:lnTo>
                  <a:lnTo>
                    <a:pt x="943482" y="823051"/>
                  </a:lnTo>
                  <a:lnTo>
                    <a:pt x="945116" y="826197"/>
                  </a:lnTo>
                  <a:lnTo>
                    <a:pt x="956883" y="837239"/>
                  </a:lnTo>
                  <a:lnTo>
                    <a:pt x="958335" y="837723"/>
                  </a:lnTo>
                  <a:lnTo>
                    <a:pt x="959122" y="838570"/>
                  </a:lnTo>
                  <a:lnTo>
                    <a:pt x="961421" y="844227"/>
                  </a:lnTo>
                  <a:lnTo>
                    <a:pt x="961270" y="839992"/>
                  </a:lnTo>
                  <a:lnTo>
                    <a:pt x="961421" y="838721"/>
                  </a:lnTo>
                  <a:lnTo>
                    <a:pt x="961814" y="837693"/>
                  </a:lnTo>
                  <a:lnTo>
                    <a:pt x="962389" y="836967"/>
                  </a:lnTo>
                  <a:lnTo>
                    <a:pt x="963872" y="835424"/>
                  </a:lnTo>
                  <a:lnTo>
                    <a:pt x="965445" y="834698"/>
                  </a:lnTo>
                  <a:lnTo>
                    <a:pt x="967683" y="834818"/>
                  </a:lnTo>
                  <a:lnTo>
                    <a:pt x="970013" y="835363"/>
                  </a:lnTo>
                  <a:lnTo>
                    <a:pt x="983988" y="840718"/>
                  </a:lnTo>
                  <a:lnTo>
                    <a:pt x="988405" y="841383"/>
                  </a:lnTo>
                  <a:lnTo>
                    <a:pt x="992156" y="841020"/>
                  </a:lnTo>
                  <a:lnTo>
                    <a:pt x="993760" y="841655"/>
                  </a:lnTo>
                  <a:lnTo>
                    <a:pt x="998358" y="847403"/>
                  </a:lnTo>
                  <a:lnTo>
                    <a:pt x="999175" y="849037"/>
                  </a:lnTo>
                  <a:lnTo>
                    <a:pt x="998509" y="849460"/>
                  </a:lnTo>
                  <a:lnTo>
                    <a:pt x="997148" y="849460"/>
                  </a:lnTo>
                  <a:lnTo>
                    <a:pt x="995938" y="849672"/>
                  </a:lnTo>
                  <a:lnTo>
                    <a:pt x="990644" y="854179"/>
                  </a:lnTo>
                  <a:lnTo>
                    <a:pt x="989737" y="854754"/>
                  </a:lnTo>
                  <a:lnTo>
                    <a:pt x="982113" y="856085"/>
                  </a:lnTo>
                  <a:lnTo>
                    <a:pt x="976577" y="854936"/>
                  </a:lnTo>
                  <a:lnTo>
                    <a:pt x="974490" y="855147"/>
                  </a:lnTo>
                  <a:lnTo>
                    <a:pt x="972796" y="855904"/>
                  </a:lnTo>
                  <a:lnTo>
                    <a:pt x="970799" y="857295"/>
                  </a:lnTo>
                  <a:lnTo>
                    <a:pt x="969528" y="859110"/>
                  </a:lnTo>
                  <a:lnTo>
                    <a:pt x="970043" y="861168"/>
                  </a:lnTo>
                  <a:lnTo>
                    <a:pt x="971374" y="862559"/>
                  </a:lnTo>
                  <a:lnTo>
                    <a:pt x="972886" y="863527"/>
                  </a:lnTo>
                  <a:lnTo>
                    <a:pt x="974701" y="864132"/>
                  </a:lnTo>
                  <a:lnTo>
                    <a:pt x="981084" y="864344"/>
                  </a:lnTo>
                  <a:lnTo>
                    <a:pt x="981841" y="863709"/>
                  </a:lnTo>
                  <a:lnTo>
                    <a:pt x="981659" y="862196"/>
                  </a:lnTo>
                  <a:lnTo>
                    <a:pt x="981266" y="860381"/>
                  </a:lnTo>
                  <a:lnTo>
                    <a:pt x="981417" y="858869"/>
                  </a:lnTo>
                  <a:lnTo>
                    <a:pt x="989737" y="864798"/>
                  </a:lnTo>
                  <a:lnTo>
                    <a:pt x="994728" y="867218"/>
                  </a:lnTo>
                  <a:lnTo>
                    <a:pt x="997935" y="866068"/>
                  </a:lnTo>
                  <a:lnTo>
                    <a:pt x="1000718" y="868277"/>
                  </a:lnTo>
                  <a:lnTo>
                    <a:pt x="1004499" y="872935"/>
                  </a:lnTo>
                  <a:lnTo>
                    <a:pt x="1005830" y="873571"/>
                  </a:lnTo>
                  <a:lnTo>
                    <a:pt x="1007221" y="873813"/>
                  </a:lnTo>
                  <a:lnTo>
                    <a:pt x="1011729" y="875325"/>
                  </a:lnTo>
                  <a:lnTo>
                    <a:pt x="1014331" y="875809"/>
                  </a:lnTo>
                  <a:lnTo>
                    <a:pt x="1016963" y="875507"/>
                  </a:lnTo>
                  <a:lnTo>
                    <a:pt x="1019988" y="874266"/>
                  </a:lnTo>
                  <a:lnTo>
                    <a:pt x="1019746" y="875567"/>
                  </a:lnTo>
                  <a:lnTo>
                    <a:pt x="1019171" y="876384"/>
                  </a:lnTo>
                  <a:lnTo>
                    <a:pt x="1017265" y="877987"/>
                  </a:lnTo>
                  <a:lnTo>
                    <a:pt x="1017809" y="878774"/>
                  </a:lnTo>
                  <a:lnTo>
                    <a:pt x="1018264" y="880619"/>
                  </a:lnTo>
                  <a:lnTo>
                    <a:pt x="1018656" y="881617"/>
                  </a:lnTo>
                  <a:lnTo>
                    <a:pt x="1018838" y="882192"/>
                  </a:lnTo>
                  <a:lnTo>
                    <a:pt x="1019171" y="883916"/>
                  </a:lnTo>
                  <a:lnTo>
                    <a:pt x="1019352" y="884431"/>
                  </a:lnTo>
                  <a:lnTo>
                    <a:pt x="1019867" y="884642"/>
                  </a:lnTo>
                  <a:lnTo>
                    <a:pt x="1021168" y="884522"/>
                  </a:lnTo>
                  <a:lnTo>
                    <a:pt x="1023376" y="885974"/>
                  </a:lnTo>
                  <a:lnTo>
                    <a:pt x="1043584" y="891389"/>
                  </a:lnTo>
                  <a:lnTo>
                    <a:pt x="1047638" y="890814"/>
                  </a:lnTo>
                  <a:lnTo>
                    <a:pt x="1048364" y="890300"/>
                  </a:lnTo>
                  <a:lnTo>
                    <a:pt x="1050028" y="888666"/>
                  </a:lnTo>
                  <a:lnTo>
                    <a:pt x="1051056" y="888001"/>
                  </a:lnTo>
                  <a:lnTo>
                    <a:pt x="1052084" y="887638"/>
                  </a:lnTo>
                  <a:lnTo>
                    <a:pt x="1064760" y="885550"/>
                  </a:lnTo>
                  <a:lnTo>
                    <a:pt x="1068511" y="883826"/>
                  </a:lnTo>
                  <a:lnTo>
                    <a:pt x="1069993" y="883463"/>
                  </a:lnTo>
                  <a:lnTo>
                    <a:pt x="1072353" y="883644"/>
                  </a:lnTo>
                  <a:lnTo>
                    <a:pt x="1077889" y="885369"/>
                  </a:lnTo>
                  <a:lnTo>
                    <a:pt x="1078766" y="885490"/>
                  </a:lnTo>
                  <a:lnTo>
                    <a:pt x="1081066" y="885369"/>
                  </a:lnTo>
                  <a:lnTo>
                    <a:pt x="1081731" y="885459"/>
                  </a:lnTo>
                  <a:lnTo>
                    <a:pt x="1082639" y="885974"/>
                  </a:lnTo>
                  <a:lnTo>
                    <a:pt x="1083425" y="886155"/>
                  </a:lnTo>
                  <a:lnTo>
                    <a:pt x="1084817" y="886155"/>
                  </a:lnTo>
                  <a:lnTo>
                    <a:pt x="1095374" y="884491"/>
                  </a:lnTo>
                  <a:lnTo>
                    <a:pt x="1096796" y="882707"/>
                  </a:lnTo>
                  <a:lnTo>
                    <a:pt x="1095888" y="878865"/>
                  </a:lnTo>
                  <a:lnTo>
                    <a:pt x="1101757" y="881617"/>
                  </a:lnTo>
                  <a:lnTo>
                    <a:pt x="1103906" y="883070"/>
                  </a:lnTo>
                  <a:lnTo>
                    <a:pt x="1104873" y="883433"/>
                  </a:lnTo>
                  <a:lnTo>
                    <a:pt x="1105872" y="883433"/>
                  </a:lnTo>
                  <a:lnTo>
                    <a:pt x="1107142" y="882767"/>
                  </a:lnTo>
                  <a:lnTo>
                    <a:pt x="1107928" y="882616"/>
                  </a:lnTo>
                  <a:lnTo>
                    <a:pt x="1111135" y="881103"/>
                  </a:lnTo>
                  <a:lnTo>
                    <a:pt x="1113132" y="877715"/>
                  </a:lnTo>
                  <a:lnTo>
                    <a:pt x="1114826" y="874025"/>
                  </a:lnTo>
                  <a:lnTo>
                    <a:pt x="1117155" y="871695"/>
                  </a:lnTo>
                  <a:lnTo>
                    <a:pt x="1116187" y="880982"/>
                  </a:lnTo>
                  <a:lnTo>
                    <a:pt x="1115824" y="882676"/>
                  </a:lnTo>
                  <a:lnTo>
                    <a:pt x="1115098" y="884431"/>
                  </a:lnTo>
                  <a:lnTo>
                    <a:pt x="1123054" y="883433"/>
                  </a:lnTo>
                  <a:lnTo>
                    <a:pt x="1125262" y="884068"/>
                  </a:lnTo>
                  <a:lnTo>
                    <a:pt x="1125474" y="885580"/>
                  </a:lnTo>
                  <a:lnTo>
                    <a:pt x="1124385" y="887395"/>
                  </a:lnTo>
                  <a:lnTo>
                    <a:pt x="1122722" y="888908"/>
                  </a:lnTo>
                  <a:lnTo>
                    <a:pt x="1123327" y="889059"/>
                  </a:lnTo>
                  <a:lnTo>
                    <a:pt x="1123841" y="889059"/>
                  </a:lnTo>
                  <a:lnTo>
                    <a:pt x="1124265" y="889210"/>
                  </a:lnTo>
                  <a:lnTo>
                    <a:pt x="1124779" y="889876"/>
                  </a:lnTo>
                  <a:lnTo>
                    <a:pt x="1126805" y="887184"/>
                  </a:lnTo>
                  <a:lnTo>
                    <a:pt x="1129498" y="887668"/>
                  </a:lnTo>
                  <a:lnTo>
                    <a:pt x="1132160" y="889816"/>
                  </a:lnTo>
                  <a:lnTo>
                    <a:pt x="1135276" y="893748"/>
                  </a:lnTo>
                  <a:lnTo>
                    <a:pt x="1136153" y="894384"/>
                  </a:lnTo>
                  <a:lnTo>
                    <a:pt x="1142355" y="894384"/>
                  </a:lnTo>
                  <a:lnTo>
                    <a:pt x="1144442" y="895230"/>
                  </a:lnTo>
                  <a:lnTo>
                    <a:pt x="1145441" y="895291"/>
                  </a:lnTo>
                  <a:lnTo>
                    <a:pt x="1143383" y="892417"/>
                  </a:lnTo>
                  <a:lnTo>
                    <a:pt x="1144382" y="890784"/>
                  </a:lnTo>
                  <a:lnTo>
                    <a:pt x="1146953" y="890027"/>
                  </a:lnTo>
                  <a:lnTo>
                    <a:pt x="1149615" y="889846"/>
                  </a:lnTo>
                  <a:lnTo>
                    <a:pt x="1149615" y="888878"/>
                  </a:lnTo>
                  <a:lnTo>
                    <a:pt x="1146953" y="887244"/>
                  </a:lnTo>
                  <a:lnTo>
                    <a:pt x="1147074" y="885308"/>
                  </a:lnTo>
                  <a:lnTo>
                    <a:pt x="1148828" y="883312"/>
                  </a:lnTo>
                  <a:lnTo>
                    <a:pt x="1151006" y="881587"/>
                  </a:lnTo>
                  <a:lnTo>
                    <a:pt x="1153518" y="880740"/>
                  </a:lnTo>
                  <a:lnTo>
                    <a:pt x="1155242" y="882132"/>
                  </a:lnTo>
                  <a:lnTo>
                    <a:pt x="1158267" y="887547"/>
                  </a:lnTo>
                  <a:lnTo>
                    <a:pt x="1158751" y="889483"/>
                  </a:lnTo>
                  <a:lnTo>
                    <a:pt x="1157783" y="891056"/>
                  </a:lnTo>
                  <a:lnTo>
                    <a:pt x="1156664" y="892448"/>
                  </a:lnTo>
                  <a:lnTo>
                    <a:pt x="1156815" y="893930"/>
                  </a:lnTo>
                  <a:lnTo>
                    <a:pt x="1158086" y="898528"/>
                  </a:lnTo>
                  <a:lnTo>
                    <a:pt x="1158207" y="899466"/>
                  </a:lnTo>
                  <a:lnTo>
                    <a:pt x="1157511" y="900615"/>
                  </a:lnTo>
                  <a:lnTo>
                    <a:pt x="1156966" y="901916"/>
                  </a:lnTo>
                  <a:lnTo>
                    <a:pt x="1157057" y="903005"/>
                  </a:lnTo>
                  <a:lnTo>
                    <a:pt x="1158237" y="903459"/>
                  </a:lnTo>
                  <a:lnTo>
                    <a:pt x="1158569" y="904155"/>
                  </a:lnTo>
                  <a:lnTo>
                    <a:pt x="1157722" y="905667"/>
                  </a:lnTo>
                  <a:lnTo>
                    <a:pt x="1155847" y="907997"/>
                  </a:lnTo>
                  <a:lnTo>
                    <a:pt x="1157057" y="908844"/>
                  </a:lnTo>
                  <a:lnTo>
                    <a:pt x="1157753" y="908451"/>
                  </a:lnTo>
                  <a:lnTo>
                    <a:pt x="1158448" y="907604"/>
                  </a:lnTo>
                  <a:lnTo>
                    <a:pt x="1159598" y="907150"/>
                  </a:lnTo>
                  <a:lnTo>
                    <a:pt x="1162140" y="906938"/>
                  </a:lnTo>
                  <a:lnTo>
                    <a:pt x="1167887" y="908360"/>
                  </a:lnTo>
                  <a:lnTo>
                    <a:pt x="1169793" y="909267"/>
                  </a:lnTo>
                  <a:lnTo>
                    <a:pt x="1171638" y="910749"/>
                  </a:lnTo>
                  <a:lnTo>
                    <a:pt x="1169883" y="911718"/>
                  </a:lnTo>
                  <a:lnTo>
                    <a:pt x="1166435" y="912535"/>
                  </a:lnTo>
                  <a:lnTo>
                    <a:pt x="1164771" y="913381"/>
                  </a:lnTo>
                  <a:lnTo>
                    <a:pt x="1163258" y="912746"/>
                  </a:lnTo>
                  <a:lnTo>
                    <a:pt x="1163016" y="915166"/>
                  </a:lnTo>
                  <a:lnTo>
                    <a:pt x="1163228" y="918312"/>
                  </a:lnTo>
                  <a:lnTo>
                    <a:pt x="1163077" y="919885"/>
                  </a:lnTo>
                  <a:lnTo>
                    <a:pt x="1160929" y="920158"/>
                  </a:lnTo>
                  <a:lnTo>
                    <a:pt x="1159780" y="920067"/>
                  </a:lnTo>
                  <a:lnTo>
                    <a:pt x="1159295" y="919402"/>
                  </a:lnTo>
                  <a:lnTo>
                    <a:pt x="1158933" y="918585"/>
                  </a:lnTo>
                  <a:lnTo>
                    <a:pt x="1158025" y="917859"/>
                  </a:lnTo>
                  <a:lnTo>
                    <a:pt x="1156905" y="917344"/>
                  </a:lnTo>
                  <a:lnTo>
                    <a:pt x="1155847" y="917103"/>
                  </a:lnTo>
                  <a:lnTo>
                    <a:pt x="1154879" y="917223"/>
                  </a:lnTo>
                  <a:lnTo>
                    <a:pt x="1153730" y="917677"/>
                  </a:lnTo>
                  <a:lnTo>
                    <a:pt x="1151702" y="918887"/>
                  </a:lnTo>
                  <a:lnTo>
                    <a:pt x="1149283" y="921671"/>
                  </a:lnTo>
                  <a:lnTo>
                    <a:pt x="1146862" y="922366"/>
                  </a:lnTo>
                  <a:lnTo>
                    <a:pt x="1145834" y="922487"/>
                  </a:lnTo>
                  <a:lnTo>
                    <a:pt x="1144624" y="922215"/>
                  </a:lnTo>
                  <a:lnTo>
                    <a:pt x="1142778" y="920974"/>
                  </a:lnTo>
                  <a:lnTo>
                    <a:pt x="1142052" y="920702"/>
                  </a:lnTo>
                  <a:lnTo>
                    <a:pt x="1140540" y="921277"/>
                  </a:lnTo>
                  <a:lnTo>
                    <a:pt x="1136305" y="923818"/>
                  </a:lnTo>
                  <a:lnTo>
                    <a:pt x="1134792" y="924393"/>
                  </a:lnTo>
                  <a:lnTo>
                    <a:pt x="1131737" y="927539"/>
                  </a:lnTo>
                  <a:lnTo>
                    <a:pt x="1131192" y="928417"/>
                  </a:lnTo>
                  <a:lnTo>
                    <a:pt x="1127562" y="929838"/>
                  </a:lnTo>
                  <a:lnTo>
                    <a:pt x="1120241" y="934043"/>
                  </a:lnTo>
                  <a:lnTo>
                    <a:pt x="1116702" y="934406"/>
                  </a:lnTo>
                  <a:lnTo>
                    <a:pt x="1113132" y="932531"/>
                  </a:lnTo>
                  <a:lnTo>
                    <a:pt x="1111499" y="930534"/>
                  </a:lnTo>
                  <a:lnTo>
                    <a:pt x="1110561" y="929990"/>
                  </a:lnTo>
                  <a:lnTo>
                    <a:pt x="1109683" y="930716"/>
                  </a:lnTo>
                  <a:lnTo>
                    <a:pt x="1109532" y="932077"/>
                  </a:lnTo>
                  <a:lnTo>
                    <a:pt x="1110318" y="932863"/>
                  </a:lnTo>
                  <a:lnTo>
                    <a:pt x="1111287" y="933348"/>
                  </a:lnTo>
                  <a:lnTo>
                    <a:pt x="1111770" y="933831"/>
                  </a:lnTo>
                  <a:lnTo>
                    <a:pt x="1111256" y="935435"/>
                  </a:lnTo>
                  <a:lnTo>
                    <a:pt x="1109986" y="936342"/>
                  </a:lnTo>
                  <a:lnTo>
                    <a:pt x="1087176" y="946083"/>
                  </a:lnTo>
                  <a:lnTo>
                    <a:pt x="1080279" y="950379"/>
                  </a:lnTo>
                  <a:lnTo>
                    <a:pt x="1077224" y="953283"/>
                  </a:lnTo>
                  <a:lnTo>
                    <a:pt x="1076498" y="954221"/>
                  </a:lnTo>
                  <a:lnTo>
                    <a:pt x="1076134" y="954947"/>
                  </a:lnTo>
                  <a:lnTo>
                    <a:pt x="1075923" y="956066"/>
                  </a:lnTo>
                  <a:lnTo>
                    <a:pt x="1076074" y="957065"/>
                  </a:lnTo>
                  <a:lnTo>
                    <a:pt x="1076407" y="958275"/>
                  </a:lnTo>
                  <a:lnTo>
                    <a:pt x="1076225" y="959303"/>
                  </a:lnTo>
                  <a:lnTo>
                    <a:pt x="1074803" y="959727"/>
                  </a:lnTo>
                  <a:lnTo>
                    <a:pt x="1073654" y="959575"/>
                  </a:lnTo>
                  <a:lnTo>
                    <a:pt x="1071718" y="958910"/>
                  </a:lnTo>
                  <a:lnTo>
                    <a:pt x="1070689" y="958759"/>
                  </a:lnTo>
                  <a:lnTo>
                    <a:pt x="1069176" y="959001"/>
                  </a:lnTo>
                  <a:lnTo>
                    <a:pt x="1068360" y="959666"/>
                  </a:lnTo>
                  <a:lnTo>
                    <a:pt x="1067754" y="960544"/>
                  </a:lnTo>
                  <a:lnTo>
                    <a:pt x="1066848" y="961542"/>
                  </a:lnTo>
                  <a:lnTo>
                    <a:pt x="1065425" y="962601"/>
                  </a:lnTo>
                  <a:lnTo>
                    <a:pt x="1063853" y="963417"/>
                  </a:lnTo>
                  <a:lnTo>
                    <a:pt x="1061977" y="963962"/>
                  </a:lnTo>
                  <a:lnTo>
                    <a:pt x="1059647" y="964143"/>
                  </a:lnTo>
                  <a:lnTo>
                    <a:pt x="1057681" y="964658"/>
                  </a:lnTo>
                  <a:lnTo>
                    <a:pt x="1045762" y="973007"/>
                  </a:lnTo>
                  <a:lnTo>
                    <a:pt x="1042736" y="975972"/>
                  </a:lnTo>
                  <a:lnTo>
                    <a:pt x="1041375" y="979481"/>
                  </a:lnTo>
                  <a:lnTo>
                    <a:pt x="1041799" y="981326"/>
                  </a:lnTo>
                  <a:lnTo>
                    <a:pt x="1044522" y="988466"/>
                  </a:lnTo>
                  <a:lnTo>
                    <a:pt x="1046790" y="988798"/>
                  </a:lnTo>
                  <a:lnTo>
                    <a:pt x="1050269" y="990493"/>
                  </a:lnTo>
                  <a:lnTo>
                    <a:pt x="1052418" y="991158"/>
                  </a:lnTo>
                  <a:lnTo>
                    <a:pt x="1059617" y="991158"/>
                  </a:lnTo>
                  <a:lnTo>
                    <a:pt x="1061039" y="990402"/>
                  </a:lnTo>
                  <a:lnTo>
                    <a:pt x="1064609" y="986832"/>
                  </a:lnTo>
                  <a:lnTo>
                    <a:pt x="1066181" y="985803"/>
                  </a:lnTo>
                  <a:lnTo>
                    <a:pt x="1068360" y="985501"/>
                  </a:lnTo>
                  <a:lnTo>
                    <a:pt x="1083365" y="986711"/>
                  </a:lnTo>
                  <a:lnTo>
                    <a:pt x="1087539" y="988254"/>
                  </a:lnTo>
                  <a:lnTo>
                    <a:pt x="1091169" y="990462"/>
                  </a:lnTo>
                  <a:lnTo>
                    <a:pt x="1097886" y="995756"/>
                  </a:lnTo>
                  <a:lnTo>
                    <a:pt x="1098732" y="996240"/>
                  </a:lnTo>
                  <a:lnTo>
                    <a:pt x="1100517" y="996906"/>
                  </a:lnTo>
                  <a:lnTo>
                    <a:pt x="1101455" y="997541"/>
                  </a:lnTo>
                  <a:lnTo>
                    <a:pt x="1102604" y="999507"/>
                  </a:lnTo>
                  <a:lnTo>
                    <a:pt x="1103451" y="1000627"/>
                  </a:lnTo>
                  <a:lnTo>
                    <a:pt x="1105962" y="1001988"/>
                  </a:lnTo>
                  <a:lnTo>
                    <a:pt x="1109502" y="1006042"/>
                  </a:lnTo>
                  <a:lnTo>
                    <a:pt x="1111044" y="1007373"/>
                  </a:lnTo>
                  <a:lnTo>
                    <a:pt x="1115582" y="1008583"/>
                  </a:lnTo>
                  <a:lnTo>
                    <a:pt x="1117760" y="1009611"/>
                  </a:lnTo>
                  <a:lnTo>
                    <a:pt x="1118698" y="1011457"/>
                  </a:lnTo>
                  <a:lnTo>
                    <a:pt x="1119727" y="1012727"/>
                  </a:lnTo>
                  <a:lnTo>
                    <a:pt x="1122026" y="1012122"/>
                  </a:lnTo>
                  <a:lnTo>
                    <a:pt x="1125535" y="1010156"/>
                  </a:lnTo>
                  <a:lnTo>
                    <a:pt x="1129316" y="1008825"/>
                  </a:lnTo>
                  <a:lnTo>
                    <a:pt x="1133461" y="1008310"/>
                  </a:lnTo>
                  <a:lnTo>
                    <a:pt x="1135155" y="1008976"/>
                  </a:lnTo>
                  <a:lnTo>
                    <a:pt x="1140752" y="1013635"/>
                  </a:lnTo>
                  <a:lnTo>
                    <a:pt x="1147619" y="1017749"/>
                  </a:lnTo>
                  <a:lnTo>
                    <a:pt x="1150129" y="1020804"/>
                  </a:lnTo>
                  <a:lnTo>
                    <a:pt x="1151733" y="1026129"/>
                  </a:lnTo>
                  <a:lnTo>
                    <a:pt x="1152096" y="1029486"/>
                  </a:lnTo>
                  <a:lnTo>
                    <a:pt x="1152428" y="1030666"/>
                  </a:lnTo>
                  <a:lnTo>
                    <a:pt x="1154213" y="1033934"/>
                  </a:lnTo>
                  <a:lnTo>
                    <a:pt x="1154486" y="1034690"/>
                  </a:lnTo>
                  <a:lnTo>
                    <a:pt x="1154788" y="1036898"/>
                  </a:lnTo>
                  <a:lnTo>
                    <a:pt x="1155908" y="1042011"/>
                  </a:lnTo>
                  <a:lnTo>
                    <a:pt x="1155908" y="1044975"/>
                  </a:lnTo>
                  <a:lnTo>
                    <a:pt x="1155544" y="1047516"/>
                  </a:lnTo>
                  <a:lnTo>
                    <a:pt x="1154848" y="1049785"/>
                  </a:lnTo>
                  <a:lnTo>
                    <a:pt x="1153760" y="1051419"/>
                  </a:lnTo>
                  <a:lnTo>
                    <a:pt x="1149857" y="1052659"/>
                  </a:lnTo>
                  <a:lnTo>
                    <a:pt x="1148496" y="1054323"/>
                  </a:lnTo>
                  <a:lnTo>
                    <a:pt x="1147619" y="1056653"/>
                  </a:lnTo>
                  <a:lnTo>
                    <a:pt x="1146923" y="1059284"/>
                  </a:lnTo>
                  <a:lnTo>
                    <a:pt x="1146650" y="1060010"/>
                  </a:lnTo>
                  <a:lnTo>
                    <a:pt x="1146288" y="1060464"/>
                  </a:lnTo>
                  <a:lnTo>
                    <a:pt x="1145501" y="1061069"/>
                  </a:lnTo>
                  <a:lnTo>
                    <a:pt x="1146408" y="1062703"/>
                  </a:lnTo>
                  <a:lnTo>
                    <a:pt x="1146923" y="1064669"/>
                  </a:lnTo>
                  <a:lnTo>
                    <a:pt x="1147588" y="1068239"/>
                  </a:lnTo>
                  <a:lnTo>
                    <a:pt x="1148586" y="1070871"/>
                  </a:lnTo>
                  <a:lnTo>
                    <a:pt x="1148738" y="1072292"/>
                  </a:lnTo>
                  <a:lnTo>
                    <a:pt x="1148314" y="1074380"/>
                  </a:lnTo>
                  <a:lnTo>
                    <a:pt x="1147467" y="1075741"/>
                  </a:lnTo>
                  <a:lnTo>
                    <a:pt x="1146258" y="1077132"/>
                  </a:lnTo>
                  <a:lnTo>
                    <a:pt x="1145380" y="1078706"/>
                  </a:lnTo>
                  <a:lnTo>
                    <a:pt x="1145532" y="1080642"/>
                  </a:lnTo>
                  <a:lnTo>
                    <a:pt x="1146438" y="1081337"/>
                  </a:lnTo>
                  <a:lnTo>
                    <a:pt x="1149706" y="1081912"/>
                  </a:lnTo>
                  <a:lnTo>
                    <a:pt x="1151097" y="1082397"/>
                  </a:lnTo>
                  <a:lnTo>
                    <a:pt x="1149040" y="1083153"/>
                  </a:lnTo>
                  <a:lnTo>
                    <a:pt x="1143898" y="1083243"/>
                  </a:lnTo>
                  <a:lnTo>
                    <a:pt x="1142446" y="1083697"/>
                  </a:lnTo>
                  <a:lnTo>
                    <a:pt x="1141629" y="1084181"/>
                  </a:lnTo>
                  <a:lnTo>
                    <a:pt x="1140540" y="1084302"/>
                  </a:lnTo>
                  <a:lnTo>
                    <a:pt x="1138362" y="1084151"/>
                  </a:lnTo>
                  <a:lnTo>
                    <a:pt x="1137454" y="1084363"/>
                  </a:lnTo>
                  <a:lnTo>
                    <a:pt x="1135246" y="1085905"/>
                  </a:lnTo>
                  <a:lnTo>
                    <a:pt x="1134398" y="1086299"/>
                  </a:lnTo>
                  <a:lnTo>
                    <a:pt x="1131343" y="1086934"/>
                  </a:lnTo>
                  <a:lnTo>
                    <a:pt x="1130950" y="1086541"/>
                  </a:lnTo>
                  <a:lnTo>
                    <a:pt x="1130950" y="1086601"/>
                  </a:lnTo>
                  <a:lnTo>
                    <a:pt x="1131071" y="1088083"/>
                  </a:lnTo>
                  <a:lnTo>
                    <a:pt x="1131797" y="1089626"/>
                  </a:lnTo>
                  <a:lnTo>
                    <a:pt x="1142627" y="1096645"/>
                  </a:lnTo>
                  <a:lnTo>
                    <a:pt x="1143868" y="1097885"/>
                  </a:lnTo>
                  <a:lnTo>
                    <a:pt x="1145682" y="1099216"/>
                  </a:lnTo>
                  <a:lnTo>
                    <a:pt x="1147860" y="1099095"/>
                  </a:lnTo>
                  <a:lnTo>
                    <a:pt x="1150009" y="1098490"/>
                  </a:lnTo>
                  <a:lnTo>
                    <a:pt x="1151823" y="1098399"/>
                  </a:lnTo>
                  <a:lnTo>
                    <a:pt x="1152973" y="1099307"/>
                  </a:lnTo>
                  <a:lnTo>
                    <a:pt x="1155998" y="1102907"/>
                  </a:lnTo>
                  <a:lnTo>
                    <a:pt x="1156603" y="1104087"/>
                  </a:lnTo>
                  <a:lnTo>
                    <a:pt x="1157148" y="1106507"/>
                  </a:lnTo>
                  <a:lnTo>
                    <a:pt x="1158509" y="1107687"/>
                  </a:lnTo>
                  <a:lnTo>
                    <a:pt x="1166102" y="1110984"/>
                  </a:lnTo>
                  <a:lnTo>
                    <a:pt x="1168129" y="1111468"/>
                  </a:lnTo>
                  <a:lnTo>
                    <a:pt x="1174815" y="1111619"/>
                  </a:lnTo>
                  <a:lnTo>
                    <a:pt x="1175934" y="1111468"/>
                  </a:lnTo>
                  <a:lnTo>
                    <a:pt x="1178052" y="1110802"/>
                  </a:lnTo>
                  <a:lnTo>
                    <a:pt x="1179322" y="1110742"/>
                  </a:lnTo>
                  <a:lnTo>
                    <a:pt x="1185615" y="1113041"/>
                  </a:lnTo>
                  <a:lnTo>
                    <a:pt x="1187943" y="1113404"/>
                  </a:lnTo>
                  <a:lnTo>
                    <a:pt x="1189971" y="1113162"/>
                  </a:lnTo>
                  <a:lnTo>
                    <a:pt x="1200831" y="1108413"/>
                  </a:lnTo>
                  <a:lnTo>
                    <a:pt x="1203130" y="1108110"/>
                  </a:lnTo>
                  <a:lnTo>
                    <a:pt x="1204522" y="1107717"/>
                  </a:lnTo>
                  <a:lnTo>
                    <a:pt x="1207940" y="1105539"/>
                  </a:lnTo>
                  <a:lnTo>
                    <a:pt x="1209060" y="1104510"/>
                  </a:lnTo>
                  <a:lnTo>
                    <a:pt x="1210390" y="1102362"/>
                  </a:lnTo>
                  <a:lnTo>
                    <a:pt x="1211298" y="1100396"/>
                  </a:lnTo>
                  <a:lnTo>
                    <a:pt x="1212568" y="1098944"/>
                  </a:lnTo>
                  <a:lnTo>
                    <a:pt x="1217318" y="1098036"/>
                  </a:lnTo>
                  <a:lnTo>
                    <a:pt x="1218649" y="1097038"/>
                  </a:lnTo>
                  <a:lnTo>
                    <a:pt x="1220706" y="1093862"/>
                  </a:lnTo>
                  <a:lnTo>
                    <a:pt x="1220978" y="1093348"/>
                  </a:lnTo>
                  <a:lnTo>
                    <a:pt x="1220978" y="1092561"/>
                  </a:lnTo>
                  <a:lnTo>
                    <a:pt x="1221462" y="1092107"/>
                  </a:lnTo>
                  <a:lnTo>
                    <a:pt x="1221886" y="1091986"/>
                  </a:lnTo>
                  <a:lnTo>
                    <a:pt x="1222975" y="1092107"/>
                  </a:lnTo>
                  <a:lnTo>
                    <a:pt x="1224396" y="1092107"/>
                  </a:lnTo>
                  <a:lnTo>
                    <a:pt x="1226665" y="1092349"/>
                  </a:lnTo>
                  <a:lnTo>
                    <a:pt x="1227512" y="1092107"/>
                  </a:lnTo>
                  <a:lnTo>
                    <a:pt x="1228511" y="1090413"/>
                  </a:lnTo>
                  <a:lnTo>
                    <a:pt x="1232444" y="1080974"/>
                  </a:lnTo>
                  <a:lnTo>
                    <a:pt x="1235862" y="1075469"/>
                  </a:lnTo>
                  <a:lnTo>
                    <a:pt x="1236860" y="1074319"/>
                  </a:lnTo>
                  <a:lnTo>
                    <a:pt x="1237405" y="1073412"/>
                  </a:lnTo>
                  <a:lnTo>
                    <a:pt x="1241398" y="1068208"/>
                  </a:lnTo>
                  <a:lnTo>
                    <a:pt x="1241852" y="1068148"/>
                  </a:lnTo>
                  <a:lnTo>
                    <a:pt x="1241973" y="1068330"/>
                  </a:lnTo>
                  <a:lnTo>
                    <a:pt x="1241973" y="1068662"/>
                  </a:lnTo>
                  <a:lnTo>
                    <a:pt x="1242064" y="1069025"/>
                  </a:lnTo>
                  <a:lnTo>
                    <a:pt x="1244544" y="1066544"/>
                  </a:lnTo>
                  <a:lnTo>
                    <a:pt x="1247872" y="1065214"/>
                  </a:lnTo>
                  <a:lnTo>
                    <a:pt x="1255919" y="1063610"/>
                  </a:lnTo>
                  <a:lnTo>
                    <a:pt x="1259670" y="1062037"/>
                  </a:lnTo>
                  <a:lnTo>
                    <a:pt x="1266749" y="1057651"/>
                  </a:lnTo>
                  <a:lnTo>
                    <a:pt x="1270379" y="1056410"/>
                  </a:lnTo>
                  <a:lnTo>
                    <a:pt x="1277367" y="1057560"/>
                  </a:lnTo>
                  <a:lnTo>
                    <a:pt x="1279000" y="1056925"/>
                  </a:lnTo>
                  <a:lnTo>
                    <a:pt x="1280452" y="1056017"/>
                  </a:lnTo>
                  <a:lnTo>
                    <a:pt x="1283750" y="1056743"/>
                  </a:lnTo>
                  <a:lnTo>
                    <a:pt x="1285565" y="1056441"/>
                  </a:lnTo>
                  <a:lnTo>
                    <a:pt x="1286382" y="1055805"/>
                  </a:lnTo>
                  <a:lnTo>
                    <a:pt x="1287017" y="1055079"/>
                  </a:lnTo>
                  <a:lnTo>
                    <a:pt x="1287773" y="1054384"/>
                  </a:lnTo>
                  <a:lnTo>
                    <a:pt x="1288953" y="1053839"/>
                  </a:lnTo>
                  <a:lnTo>
                    <a:pt x="1290012" y="1053688"/>
                  </a:lnTo>
                  <a:lnTo>
                    <a:pt x="1293400" y="1053839"/>
                  </a:lnTo>
                  <a:lnTo>
                    <a:pt x="1295366" y="1054504"/>
                  </a:lnTo>
                  <a:lnTo>
                    <a:pt x="1296577" y="1056047"/>
                  </a:lnTo>
                  <a:lnTo>
                    <a:pt x="1297484" y="1057862"/>
                  </a:lnTo>
                  <a:lnTo>
                    <a:pt x="1298543" y="1059254"/>
                  </a:lnTo>
                  <a:lnTo>
                    <a:pt x="1302899" y="1059920"/>
                  </a:lnTo>
                  <a:lnTo>
                    <a:pt x="1305682" y="1055866"/>
                  </a:lnTo>
                  <a:lnTo>
                    <a:pt x="1307830" y="1050179"/>
                  </a:lnTo>
                  <a:lnTo>
                    <a:pt x="1310311" y="1045943"/>
                  </a:lnTo>
                  <a:lnTo>
                    <a:pt x="1312095" y="1045157"/>
                  </a:lnTo>
                  <a:lnTo>
                    <a:pt x="1316452" y="1044219"/>
                  </a:lnTo>
                  <a:lnTo>
                    <a:pt x="1318267" y="1042737"/>
                  </a:lnTo>
                  <a:lnTo>
                    <a:pt x="1320566" y="1038441"/>
                  </a:lnTo>
                  <a:lnTo>
                    <a:pt x="1322290" y="1037352"/>
                  </a:lnTo>
                  <a:lnTo>
                    <a:pt x="1324801" y="1038743"/>
                  </a:lnTo>
                  <a:lnTo>
                    <a:pt x="1325497" y="1038139"/>
                  </a:lnTo>
                  <a:lnTo>
                    <a:pt x="1326556" y="1037473"/>
                  </a:lnTo>
                  <a:lnTo>
                    <a:pt x="1326949" y="1036959"/>
                  </a:lnTo>
                  <a:lnTo>
                    <a:pt x="1331789" y="1040437"/>
                  </a:lnTo>
                  <a:lnTo>
                    <a:pt x="1331124" y="1036505"/>
                  </a:lnTo>
                  <a:lnTo>
                    <a:pt x="1331275" y="1034811"/>
                  </a:lnTo>
                  <a:lnTo>
                    <a:pt x="1332485" y="1033328"/>
                  </a:lnTo>
                  <a:lnTo>
                    <a:pt x="1334028" y="1032814"/>
                  </a:lnTo>
                  <a:lnTo>
                    <a:pt x="1337325" y="1032996"/>
                  </a:lnTo>
                  <a:lnTo>
                    <a:pt x="1338656" y="1032421"/>
                  </a:lnTo>
                  <a:lnTo>
                    <a:pt x="1338656" y="1031634"/>
                  </a:lnTo>
                  <a:lnTo>
                    <a:pt x="1335752" y="1030455"/>
                  </a:lnTo>
                  <a:lnTo>
                    <a:pt x="1335147" y="1029849"/>
                  </a:lnTo>
                  <a:lnTo>
                    <a:pt x="1334814" y="1028488"/>
                  </a:lnTo>
                  <a:lnTo>
                    <a:pt x="1335117" y="1027460"/>
                  </a:lnTo>
                  <a:lnTo>
                    <a:pt x="1335631" y="1026401"/>
                  </a:lnTo>
                  <a:lnTo>
                    <a:pt x="1335904" y="1024888"/>
                  </a:lnTo>
                  <a:lnTo>
                    <a:pt x="1336781" y="1023799"/>
                  </a:lnTo>
                  <a:lnTo>
                    <a:pt x="1342075" y="1019867"/>
                  </a:lnTo>
                  <a:lnTo>
                    <a:pt x="1345766" y="1018233"/>
                  </a:lnTo>
                  <a:lnTo>
                    <a:pt x="1349910" y="1017416"/>
                  </a:lnTo>
                  <a:lnTo>
                    <a:pt x="1354266" y="1017416"/>
                  </a:lnTo>
                  <a:lnTo>
                    <a:pt x="1358653" y="1018052"/>
                  </a:lnTo>
                  <a:lnTo>
                    <a:pt x="1365943" y="1020683"/>
                  </a:lnTo>
                  <a:lnTo>
                    <a:pt x="1372477" y="1024495"/>
                  </a:lnTo>
                  <a:lnTo>
                    <a:pt x="1373688" y="1025554"/>
                  </a:lnTo>
                  <a:lnTo>
                    <a:pt x="1376713" y="1028942"/>
                  </a:lnTo>
                  <a:lnTo>
                    <a:pt x="1377287" y="1030243"/>
                  </a:lnTo>
                  <a:lnTo>
                    <a:pt x="1378165" y="1033147"/>
                  </a:lnTo>
                  <a:lnTo>
                    <a:pt x="1380191" y="1034024"/>
                  </a:lnTo>
                  <a:lnTo>
                    <a:pt x="1387119" y="1032875"/>
                  </a:lnTo>
                  <a:lnTo>
                    <a:pt x="1394833" y="1033328"/>
                  </a:lnTo>
                  <a:lnTo>
                    <a:pt x="1396346" y="1031786"/>
                  </a:lnTo>
                  <a:lnTo>
                    <a:pt x="1398070" y="1028760"/>
                  </a:lnTo>
                  <a:lnTo>
                    <a:pt x="1400339" y="1026703"/>
                  </a:lnTo>
                  <a:lnTo>
                    <a:pt x="1403485" y="1027974"/>
                  </a:lnTo>
                  <a:lnTo>
                    <a:pt x="1403485" y="1027006"/>
                  </a:lnTo>
                  <a:lnTo>
                    <a:pt x="1409203" y="1030273"/>
                  </a:lnTo>
                  <a:lnTo>
                    <a:pt x="1418127" y="1032088"/>
                  </a:lnTo>
                  <a:lnTo>
                    <a:pt x="1420123" y="1031634"/>
                  </a:lnTo>
                  <a:lnTo>
                    <a:pt x="1420517" y="1030969"/>
                  </a:lnTo>
                  <a:lnTo>
                    <a:pt x="1421091" y="1028730"/>
                  </a:lnTo>
                  <a:lnTo>
                    <a:pt x="1421485" y="1027974"/>
                  </a:lnTo>
                  <a:lnTo>
                    <a:pt x="1422483" y="1027369"/>
                  </a:lnTo>
                  <a:lnTo>
                    <a:pt x="1423572" y="1027097"/>
                  </a:lnTo>
                  <a:lnTo>
                    <a:pt x="1432557" y="1026703"/>
                  </a:lnTo>
                  <a:lnTo>
                    <a:pt x="1439817" y="1024253"/>
                  </a:lnTo>
                  <a:lnTo>
                    <a:pt x="1441148" y="1023073"/>
                  </a:lnTo>
                  <a:lnTo>
                    <a:pt x="1441329" y="1021107"/>
                  </a:lnTo>
                  <a:lnTo>
                    <a:pt x="1439999" y="1019141"/>
                  </a:lnTo>
                  <a:lnTo>
                    <a:pt x="1437246" y="1016297"/>
                  </a:lnTo>
                  <a:lnTo>
                    <a:pt x="1436641" y="1013544"/>
                  </a:lnTo>
                  <a:lnTo>
                    <a:pt x="1436702" y="1010731"/>
                  </a:lnTo>
                  <a:lnTo>
                    <a:pt x="1437548" y="1003016"/>
                  </a:lnTo>
                  <a:lnTo>
                    <a:pt x="1438365" y="1000173"/>
                  </a:lnTo>
                  <a:lnTo>
                    <a:pt x="1439484" y="997480"/>
                  </a:lnTo>
                  <a:lnTo>
                    <a:pt x="1440815" y="995756"/>
                  </a:lnTo>
                  <a:lnTo>
                    <a:pt x="1441723" y="995424"/>
                  </a:lnTo>
                  <a:lnTo>
                    <a:pt x="1443992" y="995302"/>
                  </a:lnTo>
                  <a:lnTo>
                    <a:pt x="1444839" y="994849"/>
                  </a:lnTo>
                  <a:lnTo>
                    <a:pt x="1445504" y="993729"/>
                  </a:lnTo>
                  <a:lnTo>
                    <a:pt x="1445232" y="993155"/>
                  </a:lnTo>
                  <a:lnTo>
                    <a:pt x="1444597" y="992610"/>
                  </a:lnTo>
                  <a:lnTo>
                    <a:pt x="1444234" y="991672"/>
                  </a:lnTo>
                  <a:lnTo>
                    <a:pt x="1444718" y="989071"/>
                  </a:lnTo>
                  <a:lnTo>
                    <a:pt x="1446049" y="987679"/>
                  </a:lnTo>
                  <a:lnTo>
                    <a:pt x="1447985" y="987286"/>
                  </a:lnTo>
                  <a:lnTo>
                    <a:pt x="1450344" y="987618"/>
                  </a:lnTo>
                  <a:lnTo>
                    <a:pt x="1453340" y="989101"/>
                  </a:lnTo>
                  <a:lnTo>
                    <a:pt x="1454459" y="989403"/>
                  </a:lnTo>
                  <a:lnTo>
                    <a:pt x="1455669" y="989343"/>
                  </a:lnTo>
                  <a:lnTo>
                    <a:pt x="1458936" y="988526"/>
                  </a:lnTo>
                  <a:lnTo>
                    <a:pt x="1459692" y="987134"/>
                  </a:lnTo>
                  <a:lnTo>
                    <a:pt x="1458997" y="984049"/>
                  </a:lnTo>
                  <a:lnTo>
                    <a:pt x="1457211" y="979572"/>
                  </a:lnTo>
                  <a:lnTo>
                    <a:pt x="1455729" y="977938"/>
                  </a:lnTo>
                  <a:lnTo>
                    <a:pt x="1454186" y="977152"/>
                  </a:lnTo>
                  <a:lnTo>
                    <a:pt x="1452523" y="977424"/>
                  </a:lnTo>
                  <a:lnTo>
                    <a:pt x="1450708" y="979118"/>
                  </a:lnTo>
                  <a:lnTo>
                    <a:pt x="1449135" y="979572"/>
                  </a:lnTo>
                  <a:lnTo>
                    <a:pt x="1447410" y="978150"/>
                  </a:lnTo>
                  <a:lnTo>
                    <a:pt x="1444869" y="975094"/>
                  </a:lnTo>
                  <a:lnTo>
                    <a:pt x="1442872" y="974731"/>
                  </a:lnTo>
                  <a:lnTo>
                    <a:pt x="1436943" y="975972"/>
                  </a:lnTo>
                  <a:lnTo>
                    <a:pt x="1434916" y="975518"/>
                  </a:lnTo>
                  <a:lnTo>
                    <a:pt x="1431710" y="973552"/>
                  </a:lnTo>
                  <a:lnTo>
                    <a:pt x="1429804" y="973189"/>
                  </a:lnTo>
                  <a:lnTo>
                    <a:pt x="1428715" y="973582"/>
                  </a:lnTo>
                  <a:lnTo>
                    <a:pt x="1427837" y="974338"/>
                  </a:lnTo>
                  <a:lnTo>
                    <a:pt x="1426870" y="975004"/>
                  </a:lnTo>
                  <a:lnTo>
                    <a:pt x="1425599" y="975064"/>
                  </a:lnTo>
                  <a:lnTo>
                    <a:pt x="1426476" y="972705"/>
                  </a:lnTo>
                  <a:lnTo>
                    <a:pt x="1425720" y="971071"/>
                  </a:lnTo>
                  <a:lnTo>
                    <a:pt x="1424117" y="970647"/>
                  </a:lnTo>
                  <a:lnTo>
                    <a:pt x="1422483" y="971888"/>
                  </a:lnTo>
                  <a:lnTo>
                    <a:pt x="1420940" y="972644"/>
                  </a:lnTo>
                  <a:lnTo>
                    <a:pt x="1409354" y="972553"/>
                  </a:lnTo>
                  <a:lnTo>
                    <a:pt x="1407387" y="973219"/>
                  </a:lnTo>
                  <a:lnTo>
                    <a:pt x="1405209" y="975215"/>
                  </a:lnTo>
                  <a:lnTo>
                    <a:pt x="1402457" y="976789"/>
                  </a:lnTo>
                  <a:lnTo>
                    <a:pt x="1402093" y="977363"/>
                  </a:lnTo>
                  <a:lnTo>
                    <a:pt x="1400732" y="981357"/>
                  </a:lnTo>
                  <a:lnTo>
                    <a:pt x="1397768" y="984926"/>
                  </a:lnTo>
                  <a:lnTo>
                    <a:pt x="1394107" y="985652"/>
                  </a:lnTo>
                  <a:lnTo>
                    <a:pt x="1390144" y="984412"/>
                  </a:lnTo>
                  <a:lnTo>
                    <a:pt x="1382551" y="980207"/>
                  </a:lnTo>
                  <a:lnTo>
                    <a:pt x="1380827" y="978906"/>
                  </a:lnTo>
                  <a:lnTo>
                    <a:pt x="1380131" y="977303"/>
                  </a:lnTo>
                  <a:lnTo>
                    <a:pt x="1380676" y="974943"/>
                  </a:lnTo>
                  <a:lnTo>
                    <a:pt x="1381462" y="972916"/>
                  </a:lnTo>
                  <a:lnTo>
                    <a:pt x="1381220" y="971615"/>
                  </a:lnTo>
                  <a:lnTo>
                    <a:pt x="1378770" y="971434"/>
                  </a:lnTo>
                  <a:lnTo>
                    <a:pt x="1377136" y="972342"/>
                  </a:lnTo>
                  <a:lnTo>
                    <a:pt x="1375805" y="974308"/>
                  </a:lnTo>
                  <a:lnTo>
                    <a:pt x="1374897" y="976758"/>
                  </a:lnTo>
                  <a:lnTo>
                    <a:pt x="1374595" y="979148"/>
                  </a:lnTo>
                  <a:lnTo>
                    <a:pt x="1374262" y="979783"/>
                  </a:lnTo>
                  <a:lnTo>
                    <a:pt x="1372689" y="981780"/>
                  </a:lnTo>
                  <a:lnTo>
                    <a:pt x="1372145" y="982203"/>
                  </a:lnTo>
                  <a:lnTo>
                    <a:pt x="1370693" y="982536"/>
                  </a:lnTo>
                  <a:lnTo>
                    <a:pt x="1370269" y="983414"/>
                  </a:lnTo>
                  <a:lnTo>
                    <a:pt x="1370148" y="984593"/>
                  </a:lnTo>
                  <a:lnTo>
                    <a:pt x="1369724" y="985864"/>
                  </a:lnTo>
                  <a:lnTo>
                    <a:pt x="1366972" y="988556"/>
                  </a:lnTo>
                  <a:lnTo>
                    <a:pt x="1364854" y="989887"/>
                  </a:lnTo>
                  <a:lnTo>
                    <a:pt x="1347036" y="994455"/>
                  </a:lnTo>
                  <a:lnTo>
                    <a:pt x="1343315" y="994153"/>
                  </a:lnTo>
                  <a:lnTo>
                    <a:pt x="1328371" y="984503"/>
                  </a:lnTo>
                  <a:lnTo>
                    <a:pt x="1299420" y="945145"/>
                  </a:lnTo>
                  <a:lnTo>
                    <a:pt x="1290738" y="929354"/>
                  </a:lnTo>
                  <a:lnTo>
                    <a:pt x="1285384" y="916225"/>
                  </a:lnTo>
                  <a:lnTo>
                    <a:pt x="1284385" y="914591"/>
                  </a:lnTo>
                  <a:lnTo>
                    <a:pt x="1283205" y="913018"/>
                  </a:lnTo>
                  <a:lnTo>
                    <a:pt x="1282298" y="911264"/>
                  </a:lnTo>
                  <a:lnTo>
                    <a:pt x="1278698" y="895140"/>
                  </a:lnTo>
                  <a:lnTo>
                    <a:pt x="1277730" y="893052"/>
                  </a:lnTo>
                  <a:lnTo>
                    <a:pt x="1277246" y="891116"/>
                  </a:lnTo>
                  <a:lnTo>
                    <a:pt x="1276732" y="882586"/>
                  </a:lnTo>
                  <a:lnTo>
                    <a:pt x="1276127" y="880408"/>
                  </a:lnTo>
                  <a:lnTo>
                    <a:pt x="1275915" y="879348"/>
                  </a:lnTo>
                  <a:lnTo>
                    <a:pt x="1276006" y="877957"/>
                  </a:lnTo>
                  <a:lnTo>
                    <a:pt x="1276550" y="876687"/>
                  </a:lnTo>
                  <a:lnTo>
                    <a:pt x="1278305" y="874418"/>
                  </a:lnTo>
                  <a:lnTo>
                    <a:pt x="1278698" y="873813"/>
                  </a:lnTo>
                  <a:lnTo>
                    <a:pt x="1283054" y="871937"/>
                  </a:lnTo>
                  <a:lnTo>
                    <a:pt x="1283387" y="870636"/>
                  </a:lnTo>
                  <a:lnTo>
                    <a:pt x="1283478" y="869124"/>
                  </a:lnTo>
                  <a:lnTo>
                    <a:pt x="1284173" y="867914"/>
                  </a:lnTo>
                  <a:lnTo>
                    <a:pt x="1285323" y="867399"/>
                  </a:lnTo>
                  <a:lnTo>
                    <a:pt x="1285565" y="867944"/>
                  </a:lnTo>
                  <a:lnTo>
                    <a:pt x="1285656" y="868912"/>
                  </a:lnTo>
                  <a:lnTo>
                    <a:pt x="1286261" y="869729"/>
                  </a:lnTo>
                  <a:lnTo>
                    <a:pt x="1287501" y="870122"/>
                  </a:lnTo>
                  <a:lnTo>
                    <a:pt x="1288470" y="870122"/>
                  </a:lnTo>
                  <a:lnTo>
                    <a:pt x="1297998" y="867883"/>
                  </a:lnTo>
                  <a:lnTo>
                    <a:pt x="1302445" y="865312"/>
                  </a:lnTo>
                  <a:lnTo>
                    <a:pt x="1305470" y="862105"/>
                  </a:lnTo>
                  <a:lnTo>
                    <a:pt x="1305804" y="861742"/>
                  </a:lnTo>
                  <a:lnTo>
                    <a:pt x="1311763" y="853272"/>
                  </a:lnTo>
                  <a:lnTo>
                    <a:pt x="1315151" y="850035"/>
                  </a:lnTo>
                  <a:lnTo>
                    <a:pt x="1315968" y="848553"/>
                  </a:lnTo>
                  <a:lnTo>
                    <a:pt x="1316392" y="846495"/>
                  </a:lnTo>
                  <a:lnTo>
                    <a:pt x="1316089" y="845376"/>
                  </a:lnTo>
                  <a:lnTo>
                    <a:pt x="1315514" y="844378"/>
                  </a:lnTo>
                  <a:lnTo>
                    <a:pt x="1315211" y="842654"/>
                  </a:lnTo>
                  <a:lnTo>
                    <a:pt x="1314213" y="840687"/>
                  </a:lnTo>
                  <a:lnTo>
                    <a:pt x="1312398" y="838237"/>
                  </a:lnTo>
                  <a:lnTo>
                    <a:pt x="1311672" y="835575"/>
                  </a:lnTo>
                  <a:lnTo>
                    <a:pt x="1313850" y="833003"/>
                  </a:lnTo>
                  <a:lnTo>
                    <a:pt x="1314183" y="835424"/>
                  </a:lnTo>
                  <a:lnTo>
                    <a:pt x="1315211" y="837844"/>
                  </a:lnTo>
                  <a:lnTo>
                    <a:pt x="1316512" y="839659"/>
                  </a:lnTo>
                  <a:lnTo>
                    <a:pt x="1318085" y="840627"/>
                  </a:lnTo>
                  <a:lnTo>
                    <a:pt x="1319386" y="841776"/>
                  </a:lnTo>
                  <a:lnTo>
                    <a:pt x="1320112" y="842230"/>
                  </a:lnTo>
                  <a:lnTo>
                    <a:pt x="1321171" y="842502"/>
                  </a:lnTo>
                  <a:lnTo>
                    <a:pt x="1322804" y="842624"/>
                  </a:lnTo>
                  <a:lnTo>
                    <a:pt x="1323561" y="843077"/>
                  </a:lnTo>
                  <a:lnTo>
                    <a:pt x="1321564" y="848099"/>
                  </a:lnTo>
                  <a:lnTo>
                    <a:pt x="1320960" y="851638"/>
                  </a:lnTo>
                  <a:lnTo>
                    <a:pt x="1321867" y="854633"/>
                  </a:lnTo>
                  <a:lnTo>
                    <a:pt x="1324317" y="856600"/>
                  </a:lnTo>
                  <a:lnTo>
                    <a:pt x="1326313" y="856418"/>
                  </a:lnTo>
                  <a:lnTo>
                    <a:pt x="1328068" y="855057"/>
                  </a:lnTo>
                  <a:lnTo>
                    <a:pt x="1329793" y="853302"/>
                  </a:lnTo>
                  <a:lnTo>
                    <a:pt x="1329399" y="856690"/>
                  </a:lnTo>
                  <a:lnTo>
                    <a:pt x="1327977" y="858899"/>
                  </a:lnTo>
                  <a:lnTo>
                    <a:pt x="1324317" y="862347"/>
                  </a:lnTo>
                  <a:lnTo>
                    <a:pt x="1321383" y="867157"/>
                  </a:lnTo>
                  <a:lnTo>
                    <a:pt x="1320324" y="869426"/>
                  </a:lnTo>
                  <a:lnTo>
                    <a:pt x="1317904" y="871907"/>
                  </a:lnTo>
                  <a:lnTo>
                    <a:pt x="1315151" y="877080"/>
                  </a:lnTo>
                  <a:lnTo>
                    <a:pt x="1309948" y="879591"/>
                  </a:lnTo>
                  <a:lnTo>
                    <a:pt x="1299450" y="882555"/>
                  </a:lnTo>
                  <a:lnTo>
                    <a:pt x="1299934" y="883856"/>
                  </a:lnTo>
                  <a:lnTo>
                    <a:pt x="1300207" y="884370"/>
                  </a:lnTo>
                  <a:lnTo>
                    <a:pt x="1296698" y="886428"/>
                  </a:lnTo>
                  <a:lnTo>
                    <a:pt x="1293491" y="889785"/>
                  </a:lnTo>
                  <a:lnTo>
                    <a:pt x="1293158" y="891056"/>
                  </a:lnTo>
                  <a:lnTo>
                    <a:pt x="1294943" y="891631"/>
                  </a:lnTo>
                  <a:lnTo>
                    <a:pt x="1298846" y="889967"/>
                  </a:lnTo>
                  <a:lnTo>
                    <a:pt x="1301236" y="888303"/>
                  </a:lnTo>
                  <a:lnTo>
                    <a:pt x="1304684" y="887547"/>
                  </a:lnTo>
                  <a:lnTo>
                    <a:pt x="1307165" y="885641"/>
                  </a:lnTo>
                  <a:lnTo>
                    <a:pt x="1311248" y="884340"/>
                  </a:lnTo>
                  <a:lnTo>
                    <a:pt x="1313547" y="882041"/>
                  </a:lnTo>
                  <a:lnTo>
                    <a:pt x="1316028" y="878804"/>
                  </a:lnTo>
                  <a:lnTo>
                    <a:pt x="1321474" y="869154"/>
                  </a:lnTo>
                  <a:lnTo>
                    <a:pt x="1323107" y="867430"/>
                  </a:lnTo>
                  <a:lnTo>
                    <a:pt x="1323591" y="866885"/>
                  </a:lnTo>
                  <a:lnTo>
                    <a:pt x="1333211" y="852274"/>
                  </a:lnTo>
                  <a:lnTo>
                    <a:pt x="1334723" y="850912"/>
                  </a:lnTo>
                  <a:lnTo>
                    <a:pt x="1338233" y="848644"/>
                  </a:lnTo>
                  <a:lnTo>
                    <a:pt x="1339776" y="847252"/>
                  </a:lnTo>
                  <a:lnTo>
                    <a:pt x="1342801" y="843259"/>
                  </a:lnTo>
                  <a:lnTo>
                    <a:pt x="1344374" y="841625"/>
                  </a:lnTo>
                  <a:lnTo>
                    <a:pt x="1346280" y="840385"/>
                  </a:lnTo>
                  <a:lnTo>
                    <a:pt x="1358168" y="834849"/>
                  </a:lnTo>
                  <a:lnTo>
                    <a:pt x="1361466" y="832066"/>
                  </a:lnTo>
                  <a:lnTo>
                    <a:pt x="1369573" y="823323"/>
                  </a:lnTo>
                  <a:lnTo>
                    <a:pt x="1372538" y="821054"/>
                  </a:lnTo>
                  <a:lnTo>
                    <a:pt x="1378165" y="818089"/>
                  </a:lnTo>
                  <a:lnTo>
                    <a:pt x="1385637" y="814157"/>
                  </a:lnTo>
                  <a:lnTo>
                    <a:pt x="1388057" y="814217"/>
                  </a:lnTo>
                  <a:lnTo>
                    <a:pt x="1401791" y="811827"/>
                  </a:lnTo>
                  <a:lnTo>
                    <a:pt x="1409082" y="812826"/>
                  </a:lnTo>
                  <a:lnTo>
                    <a:pt x="1412833" y="812039"/>
                  </a:lnTo>
                  <a:lnTo>
                    <a:pt x="1414618" y="811979"/>
                  </a:lnTo>
                  <a:lnTo>
                    <a:pt x="1416675" y="812826"/>
                  </a:lnTo>
                  <a:lnTo>
                    <a:pt x="1417371" y="813370"/>
                  </a:lnTo>
                  <a:lnTo>
                    <a:pt x="1417885" y="814005"/>
                  </a:lnTo>
                  <a:lnTo>
                    <a:pt x="1418762" y="815609"/>
                  </a:lnTo>
                  <a:lnTo>
                    <a:pt x="1419004" y="815791"/>
                  </a:lnTo>
                  <a:lnTo>
                    <a:pt x="1420153" y="816517"/>
                  </a:lnTo>
                  <a:lnTo>
                    <a:pt x="1420153" y="817182"/>
                  </a:lnTo>
                  <a:lnTo>
                    <a:pt x="1420063" y="818059"/>
                  </a:lnTo>
                  <a:lnTo>
                    <a:pt x="1419821" y="818634"/>
                  </a:lnTo>
                  <a:lnTo>
                    <a:pt x="1420305" y="819844"/>
                  </a:lnTo>
                  <a:lnTo>
                    <a:pt x="1420396" y="819602"/>
                  </a:lnTo>
                  <a:lnTo>
                    <a:pt x="1420517" y="818755"/>
                  </a:lnTo>
                  <a:lnTo>
                    <a:pt x="1421515" y="818392"/>
                  </a:lnTo>
                  <a:lnTo>
                    <a:pt x="1422483" y="817878"/>
                  </a:lnTo>
                  <a:lnTo>
                    <a:pt x="1422846" y="818332"/>
                  </a:lnTo>
                  <a:lnTo>
                    <a:pt x="1422846" y="820328"/>
                  </a:lnTo>
                  <a:lnTo>
                    <a:pt x="1423572" y="820328"/>
                  </a:lnTo>
                  <a:lnTo>
                    <a:pt x="1424177" y="816426"/>
                  </a:lnTo>
                  <a:lnTo>
                    <a:pt x="1426114" y="813370"/>
                  </a:lnTo>
                  <a:lnTo>
                    <a:pt x="1432920" y="806745"/>
                  </a:lnTo>
                  <a:lnTo>
                    <a:pt x="1435854" y="804658"/>
                  </a:lnTo>
                  <a:lnTo>
                    <a:pt x="1439091" y="803206"/>
                  </a:lnTo>
                  <a:lnTo>
                    <a:pt x="1444143" y="802268"/>
                  </a:lnTo>
                  <a:lnTo>
                    <a:pt x="1448318" y="799969"/>
                  </a:lnTo>
                  <a:lnTo>
                    <a:pt x="1454943" y="799969"/>
                  </a:lnTo>
                  <a:lnTo>
                    <a:pt x="1455729" y="799515"/>
                  </a:lnTo>
                  <a:lnTo>
                    <a:pt x="1456546" y="798547"/>
                  </a:lnTo>
                  <a:lnTo>
                    <a:pt x="1457666" y="797549"/>
                  </a:lnTo>
                  <a:lnTo>
                    <a:pt x="1459390" y="797095"/>
                  </a:lnTo>
                  <a:lnTo>
                    <a:pt x="1462173" y="797942"/>
                  </a:lnTo>
                  <a:lnTo>
                    <a:pt x="1463957" y="798033"/>
                  </a:lnTo>
                  <a:lnTo>
                    <a:pt x="1465652" y="797095"/>
                  </a:lnTo>
                  <a:lnTo>
                    <a:pt x="1467073" y="798063"/>
                  </a:lnTo>
                  <a:lnTo>
                    <a:pt x="1470371" y="799152"/>
                  </a:lnTo>
                  <a:lnTo>
                    <a:pt x="1471914" y="799938"/>
                  </a:lnTo>
                  <a:lnTo>
                    <a:pt x="1475574" y="803932"/>
                  </a:lnTo>
                  <a:lnTo>
                    <a:pt x="1476391" y="804537"/>
                  </a:lnTo>
                  <a:lnTo>
                    <a:pt x="1476391" y="806927"/>
                  </a:lnTo>
                  <a:lnTo>
                    <a:pt x="1475151" y="811737"/>
                  </a:lnTo>
                  <a:lnTo>
                    <a:pt x="1473275" y="815488"/>
                  </a:lnTo>
                  <a:lnTo>
                    <a:pt x="1471218" y="814671"/>
                  </a:lnTo>
                  <a:lnTo>
                    <a:pt x="1470492" y="814671"/>
                  </a:lnTo>
                  <a:lnTo>
                    <a:pt x="1470492" y="815669"/>
                  </a:lnTo>
                  <a:lnTo>
                    <a:pt x="1473063" y="816305"/>
                  </a:lnTo>
                  <a:lnTo>
                    <a:pt x="1475514" y="814127"/>
                  </a:lnTo>
                  <a:lnTo>
                    <a:pt x="1477390" y="810497"/>
                  </a:lnTo>
                  <a:lnTo>
                    <a:pt x="1478116" y="806836"/>
                  </a:lnTo>
                  <a:lnTo>
                    <a:pt x="1479113" y="803569"/>
                  </a:lnTo>
                  <a:lnTo>
                    <a:pt x="1481080" y="800513"/>
                  </a:lnTo>
                  <a:lnTo>
                    <a:pt x="1482411" y="797488"/>
                  </a:lnTo>
                  <a:lnTo>
                    <a:pt x="1481534" y="794312"/>
                  </a:lnTo>
                  <a:lnTo>
                    <a:pt x="1484801" y="793828"/>
                  </a:lnTo>
                  <a:lnTo>
                    <a:pt x="1490095" y="789048"/>
                  </a:lnTo>
                  <a:lnTo>
                    <a:pt x="1493634" y="787868"/>
                  </a:lnTo>
                  <a:lnTo>
                    <a:pt x="1494754" y="787294"/>
                  </a:lnTo>
                  <a:lnTo>
                    <a:pt x="1498051" y="784783"/>
                  </a:lnTo>
                  <a:lnTo>
                    <a:pt x="1499170" y="784208"/>
                  </a:lnTo>
                  <a:lnTo>
                    <a:pt x="1500956" y="783905"/>
                  </a:lnTo>
                  <a:lnTo>
                    <a:pt x="1512602" y="779670"/>
                  </a:lnTo>
                  <a:lnTo>
                    <a:pt x="1517231" y="776343"/>
                  </a:lnTo>
                  <a:lnTo>
                    <a:pt x="1519137" y="775889"/>
                  </a:lnTo>
                  <a:lnTo>
                    <a:pt x="1522525" y="776464"/>
                  </a:lnTo>
                  <a:lnTo>
                    <a:pt x="1526003" y="778158"/>
                  </a:lnTo>
                  <a:lnTo>
                    <a:pt x="1528212" y="780789"/>
                  </a:lnTo>
                  <a:lnTo>
                    <a:pt x="1527758" y="784208"/>
                  </a:lnTo>
                  <a:lnTo>
                    <a:pt x="1529997" y="783270"/>
                  </a:lnTo>
                  <a:lnTo>
                    <a:pt x="1531661" y="781062"/>
                  </a:lnTo>
                  <a:lnTo>
                    <a:pt x="1534292" y="776312"/>
                  </a:lnTo>
                  <a:lnTo>
                    <a:pt x="1544850" y="762488"/>
                  </a:lnTo>
                  <a:lnTo>
                    <a:pt x="1551263" y="756316"/>
                  </a:lnTo>
                  <a:lnTo>
                    <a:pt x="1554712" y="755136"/>
                  </a:lnTo>
                  <a:lnTo>
                    <a:pt x="1567750" y="757345"/>
                  </a:lnTo>
                  <a:lnTo>
                    <a:pt x="1572077" y="757194"/>
                  </a:lnTo>
                  <a:lnTo>
                    <a:pt x="1582937" y="753654"/>
                  </a:lnTo>
                  <a:lnTo>
                    <a:pt x="1591921" y="755045"/>
                  </a:lnTo>
                  <a:lnTo>
                    <a:pt x="1593071" y="754410"/>
                  </a:lnTo>
                  <a:lnTo>
                    <a:pt x="1595642" y="754955"/>
                  </a:lnTo>
                  <a:lnTo>
                    <a:pt x="1599514" y="756346"/>
                  </a:lnTo>
                  <a:lnTo>
                    <a:pt x="1600422" y="755983"/>
                  </a:lnTo>
                  <a:lnTo>
                    <a:pt x="1603024" y="754531"/>
                  </a:lnTo>
                  <a:lnTo>
                    <a:pt x="1603568" y="754108"/>
                  </a:lnTo>
                  <a:lnTo>
                    <a:pt x="1604082" y="753866"/>
                  </a:lnTo>
                  <a:lnTo>
                    <a:pt x="1607380" y="756346"/>
                  </a:lnTo>
                  <a:lnTo>
                    <a:pt x="1609951" y="757314"/>
                  </a:lnTo>
                  <a:lnTo>
                    <a:pt x="1609951" y="759492"/>
                  </a:lnTo>
                  <a:lnTo>
                    <a:pt x="1607743" y="763849"/>
                  </a:lnTo>
                  <a:lnTo>
                    <a:pt x="1611192" y="762336"/>
                  </a:lnTo>
                  <a:lnTo>
                    <a:pt x="1616637" y="755288"/>
                  </a:lnTo>
                  <a:lnTo>
                    <a:pt x="1618664" y="753442"/>
                  </a:lnTo>
                  <a:lnTo>
                    <a:pt x="1618664" y="753442"/>
                  </a:lnTo>
                  <a:lnTo>
                    <a:pt x="1617121" y="749691"/>
                  </a:lnTo>
                  <a:lnTo>
                    <a:pt x="1616667" y="745395"/>
                  </a:lnTo>
                  <a:lnTo>
                    <a:pt x="1617333" y="741341"/>
                  </a:lnTo>
                  <a:lnTo>
                    <a:pt x="1619238" y="738226"/>
                  </a:lnTo>
                  <a:lnTo>
                    <a:pt x="1621144" y="737046"/>
                  </a:lnTo>
                  <a:lnTo>
                    <a:pt x="1623413" y="736018"/>
                  </a:lnTo>
                  <a:lnTo>
                    <a:pt x="1625501" y="734717"/>
                  </a:lnTo>
                  <a:lnTo>
                    <a:pt x="1626831" y="732690"/>
                  </a:lnTo>
                  <a:lnTo>
                    <a:pt x="1627134" y="729967"/>
                  </a:lnTo>
                  <a:lnTo>
                    <a:pt x="1626227" y="728455"/>
                  </a:lnTo>
                  <a:lnTo>
                    <a:pt x="1624623" y="727789"/>
                  </a:lnTo>
                  <a:lnTo>
                    <a:pt x="1622808" y="727668"/>
                  </a:lnTo>
                  <a:lnTo>
                    <a:pt x="1619057" y="728212"/>
                  </a:lnTo>
                  <a:lnTo>
                    <a:pt x="1617121" y="727971"/>
                  </a:lnTo>
                  <a:lnTo>
                    <a:pt x="1615881" y="726549"/>
                  </a:lnTo>
                  <a:lnTo>
                    <a:pt x="1616062" y="724370"/>
                  </a:lnTo>
                  <a:lnTo>
                    <a:pt x="1617363" y="721951"/>
                  </a:lnTo>
                  <a:lnTo>
                    <a:pt x="1620388" y="718169"/>
                  </a:lnTo>
                  <a:lnTo>
                    <a:pt x="1622868" y="713964"/>
                  </a:lnTo>
                  <a:lnTo>
                    <a:pt x="1623444" y="710062"/>
                  </a:lnTo>
                  <a:lnTo>
                    <a:pt x="1623111" y="700351"/>
                  </a:lnTo>
                  <a:lnTo>
                    <a:pt x="1624502" y="695571"/>
                  </a:lnTo>
                  <a:lnTo>
                    <a:pt x="1626408" y="690791"/>
                  </a:lnTo>
                  <a:lnTo>
                    <a:pt x="1628979" y="686889"/>
                  </a:lnTo>
                  <a:lnTo>
                    <a:pt x="1632398" y="684711"/>
                  </a:lnTo>
                  <a:lnTo>
                    <a:pt x="1653453" y="682049"/>
                  </a:lnTo>
                  <a:lnTo>
                    <a:pt x="1655994" y="680990"/>
                  </a:lnTo>
                  <a:lnTo>
                    <a:pt x="1657869" y="679508"/>
                  </a:lnTo>
                  <a:lnTo>
                    <a:pt x="1661590" y="675605"/>
                  </a:lnTo>
                  <a:lnTo>
                    <a:pt x="1663466" y="674244"/>
                  </a:lnTo>
                  <a:lnTo>
                    <a:pt x="1665039" y="673972"/>
                  </a:lnTo>
                  <a:lnTo>
                    <a:pt x="1668579" y="675272"/>
                  </a:lnTo>
                  <a:lnTo>
                    <a:pt x="1670726" y="675061"/>
                  </a:lnTo>
                  <a:lnTo>
                    <a:pt x="1671816" y="672882"/>
                  </a:lnTo>
                  <a:lnTo>
                    <a:pt x="1672632" y="667105"/>
                  </a:lnTo>
                  <a:lnTo>
                    <a:pt x="1674417" y="660812"/>
                  </a:lnTo>
                  <a:lnTo>
                    <a:pt x="1676958" y="655428"/>
                  </a:lnTo>
                  <a:lnTo>
                    <a:pt x="1680467" y="651555"/>
                  </a:lnTo>
                  <a:lnTo>
                    <a:pt x="1685096" y="649771"/>
                  </a:lnTo>
                  <a:lnTo>
                    <a:pt x="1701099" y="650376"/>
                  </a:lnTo>
                  <a:lnTo>
                    <a:pt x="1701402" y="650376"/>
                  </a:lnTo>
                  <a:lnTo>
                    <a:pt x="1706816" y="653794"/>
                  </a:lnTo>
                  <a:lnTo>
                    <a:pt x="1708904" y="654278"/>
                  </a:lnTo>
                  <a:lnTo>
                    <a:pt x="1710900" y="654127"/>
                  </a:lnTo>
                  <a:lnTo>
                    <a:pt x="1714954" y="653098"/>
                  </a:lnTo>
                  <a:lnTo>
                    <a:pt x="1729656" y="651858"/>
                  </a:lnTo>
                  <a:lnTo>
                    <a:pt x="1731683" y="652191"/>
                  </a:lnTo>
                  <a:lnTo>
                    <a:pt x="1735071" y="654278"/>
                  </a:lnTo>
                  <a:lnTo>
                    <a:pt x="1736886" y="655065"/>
                  </a:lnTo>
                  <a:lnTo>
                    <a:pt x="1739125" y="654974"/>
                  </a:lnTo>
                  <a:lnTo>
                    <a:pt x="1743451" y="653855"/>
                  </a:lnTo>
                  <a:lnTo>
                    <a:pt x="1745750" y="654550"/>
                  </a:lnTo>
                  <a:lnTo>
                    <a:pt x="1748715" y="655034"/>
                  </a:lnTo>
                  <a:lnTo>
                    <a:pt x="1754825" y="653885"/>
                  </a:lnTo>
                  <a:lnTo>
                    <a:pt x="1757911" y="654096"/>
                  </a:lnTo>
                  <a:lnTo>
                    <a:pt x="1767984" y="656577"/>
                  </a:lnTo>
                  <a:lnTo>
                    <a:pt x="1771312" y="655942"/>
                  </a:lnTo>
                  <a:lnTo>
                    <a:pt x="1773823" y="653612"/>
                  </a:lnTo>
                  <a:lnTo>
                    <a:pt x="1775518" y="650164"/>
                  </a:lnTo>
                  <a:lnTo>
                    <a:pt x="1776244" y="646231"/>
                  </a:lnTo>
                  <a:lnTo>
                    <a:pt x="1776153" y="645354"/>
                  </a:lnTo>
                  <a:lnTo>
                    <a:pt x="1775699" y="643478"/>
                  </a:lnTo>
                  <a:lnTo>
                    <a:pt x="1775638" y="642480"/>
                  </a:lnTo>
                  <a:lnTo>
                    <a:pt x="1775911" y="641270"/>
                  </a:lnTo>
                  <a:lnTo>
                    <a:pt x="1777000" y="639183"/>
                  </a:lnTo>
                  <a:lnTo>
                    <a:pt x="1777332" y="638093"/>
                  </a:lnTo>
                  <a:lnTo>
                    <a:pt x="1777575" y="635915"/>
                  </a:lnTo>
                  <a:lnTo>
                    <a:pt x="1777393" y="634554"/>
                  </a:lnTo>
                  <a:lnTo>
                    <a:pt x="1775971" y="631529"/>
                  </a:lnTo>
                  <a:lnTo>
                    <a:pt x="1774942" y="630016"/>
                  </a:lnTo>
                  <a:lnTo>
                    <a:pt x="1774125" y="629230"/>
                  </a:lnTo>
                  <a:lnTo>
                    <a:pt x="1773914" y="628534"/>
                  </a:lnTo>
                  <a:lnTo>
                    <a:pt x="1774731" y="627263"/>
                  </a:lnTo>
                  <a:lnTo>
                    <a:pt x="1775820" y="626568"/>
                  </a:lnTo>
                  <a:lnTo>
                    <a:pt x="1781326" y="625600"/>
                  </a:lnTo>
                  <a:lnTo>
                    <a:pt x="1781991" y="625781"/>
                  </a:lnTo>
                  <a:lnTo>
                    <a:pt x="1782264" y="625570"/>
                  </a:lnTo>
                  <a:lnTo>
                    <a:pt x="1782414" y="624299"/>
                  </a:lnTo>
                  <a:lnTo>
                    <a:pt x="1780871" y="620003"/>
                  </a:lnTo>
                  <a:lnTo>
                    <a:pt x="1781083" y="616797"/>
                  </a:lnTo>
                  <a:lnTo>
                    <a:pt x="1782294" y="614044"/>
                  </a:lnTo>
                  <a:lnTo>
                    <a:pt x="1787376" y="605301"/>
                  </a:lnTo>
                  <a:lnTo>
                    <a:pt x="1789281" y="603274"/>
                  </a:lnTo>
                  <a:lnTo>
                    <a:pt x="1794122" y="599886"/>
                  </a:lnTo>
                  <a:lnTo>
                    <a:pt x="1795846" y="598040"/>
                  </a:lnTo>
                  <a:lnTo>
                    <a:pt x="1797147" y="595499"/>
                  </a:lnTo>
                  <a:lnTo>
                    <a:pt x="1797389" y="592807"/>
                  </a:lnTo>
                  <a:lnTo>
                    <a:pt x="1795937" y="590478"/>
                  </a:lnTo>
                  <a:lnTo>
                    <a:pt x="1793789" y="590024"/>
                  </a:lnTo>
                  <a:lnTo>
                    <a:pt x="1788555" y="591779"/>
                  </a:lnTo>
                  <a:lnTo>
                    <a:pt x="1786499" y="592020"/>
                  </a:lnTo>
                  <a:lnTo>
                    <a:pt x="1779571" y="587967"/>
                  </a:lnTo>
                  <a:lnTo>
                    <a:pt x="1786438" y="582673"/>
                  </a:lnTo>
                  <a:lnTo>
                    <a:pt x="1788163" y="580616"/>
                  </a:lnTo>
                  <a:lnTo>
                    <a:pt x="1790431" y="578559"/>
                  </a:lnTo>
                  <a:lnTo>
                    <a:pt x="1789463" y="577349"/>
                  </a:lnTo>
                  <a:lnTo>
                    <a:pt x="1788677" y="575443"/>
                  </a:lnTo>
                  <a:lnTo>
                    <a:pt x="1787618" y="571873"/>
                  </a:lnTo>
                  <a:lnTo>
                    <a:pt x="1784472" y="565460"/>
                  </a:lnTo>
                  <a:lnTo>
                    <a:pt x="1783413" y="564704"/>
                  </a:lnTo>
                  <a:lnTo>
                    <a:pt x="1782445" y="563584"/>
                  </a:lnTo>
                  <a:lnTo>
                    <a:pt x="1782173" y="561406"/>
                  </a:lnTo>
                  <a:lnTo>
                    <a:pt x="1782626" y="561285"/>
                  </a:lnTo>
                  <a:lnTo>
                    <a:pt x="1783564" y="561345"/>
                  </a:lnTo>
                  <a:lnTo>
                    <a:pt x="1784502" y="561073"/>
                  </a:lnTo>
                  <a:lnTo>
                    <a:pt x="1784925" y="559893"/>
                  </a:lnTo>
                  <a:lnTo>
                    <a:pt x="1784804" y="559470"/>
                  </a:lnTo>
                  <a:lnTo>
                    <a:pt x="1784563" y="558895"/>
                  </a:lnTo>
                  <a:lnTo>
                    <a:pt x="1784321" y="558109"/>
                  </a:lnTo>
                  <a:lnTo>
                    <a:pt x="1784199" y="557080"/>
                  </a:lnTo>
                  <a:lnTo>
                    <a:pt x="1783443" y="553450"/>
                  </a:lnTo>
                  <a:lnTo>
                    <a:pt x="1781447" y="551030"/>
                  </a:lnTo>
                  <a:lnTo>
                    <a:pt x="1778815" y="549608"/>
                  </a:lnTo>
                  <a:lnTo>
                    <a:pt x="1766835" y="548216"/>
                  </a:lnTo>
                  <a:lnTo>
                    <a:pt x="1764839" y="548942"/>
                  </a:lnTo>
                  <a:lnTo>
                    <a:pt x="1760967" y="549154"/>
                  </a:lnTo>
                  <a:lnTo>
                    <a:pt x="1761964" y="545675"/>
                  </a:lnTo>
                  <a:lnTo>
                    <a:pt x="1768105" y="526799"/>
                  </a:lnTo>
                  <a:lnTo>
                    <a:pt x="1768953" y="525649"/>
                  </a:lnTo>
                  <a:lnTo>
                    <a:pt x="1771464" y="524711"/>
                  </a:lnTo>
                  <a:lnTo>
                    <a:pt x="1772281" y="523441"/>
                  </a:lnTo>
                  <a:lnTo>
                    <a:pt x="1772976" y="521868"/>
                  </a:lnTo>
                  <a:lnTo>
                    <a:pt x="1773793" y="520325"/>
                  </a:lnTo>
                  <a:lnTo>
                    <a:pt x="1775820" y="518237"/>
                  </a:lnTo>
                  <a:lnTo>
                    <a:pt x="1777998" y="517239"/>
                  </a:lnTo>
                  <a:lnTo>
                    <a:pt x="1780327" y="517148"/>
                  </a:lnTo>
                  <a:lnTo>
                    <a:pt x="1791459" y="521202"/>
                  </a:lnTo>
                  <a:lnTo>
                    <a:pt x="1795513" y="520779"/>
                  </a:lnTo>
                  <a:lnTo>
                    <a:pt x="1799960" y="517481"/>
                  </a:lnTo>
                  <a:lnTo>
                    <a:pt x="1801897" y="515122"/>
                  </a:lnTo>
                  <a:lnTo>
                    <a:pt x="1803319" y="512338"/>
                  </a:lnTo>
                  <a:lnTo>
                    <a:pt x="1803409" y="509616"/>
                  </a:lnTo>
                  <a:lnTo>
                    <a:pt x="1801443" y="507316"/>
                  </a:lnTo>
                  <a:lnTo>
                    <a:pt x="1798872" y="507014"/>
                  </a:lnTo>
                  <a:lnTo>
                    <a:pt x="1796965" y="508739"/>
                  </a:lnTo>
                  <a:lnTo>
                    <a:pt x="1795211" y="510886"/>
                  </a:lnTo>
                  <a:lnTo>
                    <a:pt x="1793002" y="511945"/>
                  </a:lnTo>
                  <a:lnTo>
                    <a:pt x="1791732" y="511461"/>
                  </a:lnTo>
                  <a:lnTo>
                    <a:pt x="1789826" y="509192"/>
                  </a:lnTo>
                  <a:lnTo>
                    <a:pt x="1788767" y="508345"/>
                  </a:lnTo>
                  <a:lnTo>
                    <a:pt x="1787588" y="508133"/>
                  </a:lnTo>
                  <a:lnTo>
                    <a:pt x="1784078" y="508617"/>
                  </a:lnTo>
                  <a:lnTo>
                    <a:pt x="1776092" y="506923"/>
                  </a:lnTo>
                  <a:lnTo>
                    <a:pt x="1773702" y="505955"/>
                  </a:lnTo>
                  <a:lnTo>
                    <a:pt x="1772552" y="504564"/>
                  </a:lnTo>
                  <a:lnTo>
                    <a:pt x="1771736" y="502658"/>
                  </a:lnTo>
                  <a:lnTo>
                    <a:pt x="1770374" y="500117"/>
                  </a:lnTo>
                  <a:lnTo>
                    <a:pt x="1768560" y="498453"/>
                  </a:lnTo>
                  <a:lnTo>
                    <a:pt x="1766532" y="497213"/>
                  </a:lnTo>
                  <a:lnTo>
                    <a:pt x="1765171" y="495458"/>
                  </a:lnTo>
                  <a:lnTo>
                    <a:pt x="1765897" y="488409"/>
                  </a:lnTo>
                  <a:lnTo>
                    <a:pt x="1767591" y="487260"/>
                  </a:lnTo>
                  <a:lnTo>
                    <a:pt x="1772704" y="487563"/>
                  </a:lnTo>
                  <a:lnTo>
                    <a:pt x="1781023" y="484870"/>
                  </a:lnTo>
                  <a:lnTo>
                    <a:pt x="1784078" y="484870"/>
                  </a:lnTo>
                  <a:lnTo>
                    <a:pt x="1787043" y="485354"/>
                  </a:lnTo>
                  <a:lnTo>
                    <a:pt x="1788646" y="485233"/>
                  </a:lnTo>
                  <a:lnTo>
                    <a:pt x="1789796" y="484507"/>
                  </a:lnTo>
                  <a:lnTo>
                    <a:pt x="1790280" y="483085"/>
                  </a:lnTo>
                  <a:lnTo>
                    <a:pt x="1790552" y="479062"/>
                  </a:lnTo>
                  <a:lnTo>
                    <a:pt x="1791036" y="477065"/>
                  </a:lnTo>
                  <a:lnTo>
                    <a:pt x="1793154" y="473677"/>
                  </a:lnTo>
                  <a:lnTo>
                    <a:pt x="1795937" y="471227"/>
                  </a:lnTo>
                  <a:lnTo>
                    <a:pt x="1801836" y="467445"/>
                  </a:lnTo>
                  <a:lnTo>
                    <a:pt x="1803772" y="465449"/>
                  </a:lnTo>
                  <a:lnTo>
                    <a:pt x="1807130" y="460578"/>
                  </a:lnTo>
                  <a:lnTo>
                    <a:pt x="1809066" y="459096"/>
                  </a:lnTo>
                  <a:lnTo>
                    <a:pt x="1811456" y="457886"/>
                  </a:lnTo>
                  <a:lnTo>
                    <a:pt x="1812243" y="456555"/>
                  </a:lnTo>
                  <a:lnTo>
                    <a:pt x="1812333" y="451442"/>
                  </a:lnTo>
                  <a:lnTo>
                    <a:pt x="1813785" y="446632"/>
                  </a:lnTo>
                  <a:lnTo>
                    <a:pt x="1814028" y="444121"/>
                  </a:lnTo>
                  <a:lnTo>
                    <a:pt x="1812878" y="441852"/>
                  </a:lnTo>
                  <a:close/>
                </a:path>
              </a:pathLst>
            </a:custGeom>
            <a:solidFill>
              <a:srgbClr val="96A3AC"/>
            </a:solidFill>
            <a:ln w="3175" cap="rnd">
              <a:solidFill>
                <a:schemeClr val="bg1"/>
              </a:solidFill>
              <a:prstDash val="solid"/>
              <a:round/>
            </a:ln>
          </p:spPr>
          <p:txBody>
            <a:bodyPr rtlCol="0" anchor="ctr"/>
            <a:lstStyle/>
            <a:p>
              <a:endParaRPr lang="en-ID"/>
            </a:p>
          </p:txBody>
        </p:sp>
        <p:sp>
          <p:nvSpPr>
            <p:cNvPr id="13" name="Freeform: Shape 12">
              <a:extLst>
                <a:ext uri="{FF2B5EF4-FFF2-40B4-BE49-F238E27FC236}">
                  <a16:creationId xmlns:a16="http://schemas.microsoft.com/office/drawing/2014/main" id="{69C39115-EA92-A394-A2B9-DDD2F2965276}"/>
                </a:ext>
              </a:extLst>
            </p:cNvPr>
            <p:cNvSpPr/>
            <p:nvPr/>
          </p:nvSpPr>
          <p:spPr>
            <a:xfrm>
              <a:off x="10164196" y="4870856"/>
              <a:ext cx="1497352" cy="579527"/>
            </a:xfrm>
            <a:custGeom>
              <a:avLst/>
              <a:gdLst>
                <a:gd name="connsiteX0" fmla="*/ 42110 w 1926380"/>
                <a:gd name="connsiteY0" fmla="*/ 281066 h 745576"/>
                <a:gd name="connsiteX1" fmla="*/ 42261 w 1926380"/>
                <a:gd name="connsiteY1" fmla="*/ 276861 h 745576"/>
                <a:gd name="connsiteX2" fmla="*/ 41656 w 1926380"/>
                <a:gd name="connsiteY2" fmla="*/ 275681 h 745576"/>
                <a:gd name="connsiteX3" fmla="*/ 39992 w 1926380"/>
                <a:gd name="connsiteY3" fmla="*/ 276559 h 745576"/>
                <a:gd name="connsiteX4" fmla="*/ 39478 w 1926380"/>
                <a:gd name="connsiteY4" fmla="*/ 275923 h 745576"/>
                <a:gd name="connsiteX5" fmla="*/ 39054 w 1926380"/>
                <a:gd name="connsiteY5" fmla="*/ 275772 h 745576"/>
                <a:gd name="connsiteX6" fmla="*/ 38571 w 1926380"/>
                <a:gd name="connsiteY6" fmla="*/ 275772 h 745576"/>
                <a:gd name="connsiteX7" fmla="*/ 37935 w 1926380"/>
                <a:gd name="connsiteY7" fmla="*/ 275651 h 745576"/>
                <a:gd name="connsiteX8" fmla="*/ 34335 w 1926380"/>
                <a:gd name="connsiteY8" fmla="*/ 275651 h 745576"/>
                <a:gd name="connsiteX9" fmla="*/ 32490 w 1926380"/>
                <a:gd name="connsiteY9" fmla="*/ 275984 h 745576"/>
                <a:gd name="connsiteX10" fmla="*/ 31703 w 1926380"/>
                <a:gd name="connsiteY10" fmla="*/ 276952 h 745576"/>
                <a:gd name="connsiteX11" fmla="*/ 32278 w 1926380"/>
                <a:gd name="connsiteY11" fmla="*/ 278404 h 745576"/>
                <a:gd name="connsiteX12" fmla="*/ 33640 w 1926380"/>
                <a:gd name="connsiteY12" fmla="*/ 279372 h 745576"/>
                <a:gd name="connsiteX13" fmla="*/ 36604 w 1926380"/>
                <a:gd name="connsiteY13" fmla="*/ 280643 h 745576"/>
                <a:gd name="connsiteX14" fmla="*/ 39871 w 1926380"/>
                <a:gd name="connsiteY14" fmla="*/ 282730 h 745576"/>
                <a:gd name="connsiteX15" fmla="*/ 41475 w 1926380"/>
                <a:gd name="connsiteY15" fmla="*/ 282851 h 745576"/>
                <a:gd name="connsiteX16" fmla="*/ 42140 w 1926380"/>
                <a:gd name="connsiteY16" fmla="*/ 281066 h 745576"/>
                <a:gd name="connsiteX17" fmla="*/ 35122 w 1926380"/>
                <a:gd name="connsiteY17" fmla="*/ 239410 h 745576"/>
                <a:gd name="connsiteX18" fmla="*/ 35122 w 1926380"/>
                <a:gd name="connsiteY18" fmla="*/ 236929 h 745576"/>
                <a:gd name="connsiteX19" fmla="*/ 34486 w 1926380"/>
                <a:gd name="connsiteY19" fmla="*/ 236929 h 745576"/>
                <a:gd name="connsiteX20" fmla="*/ 32974 w 1926380"/>
                <a:gd name="connsiteY20" fmla="*/ 238018 h 745576"/>
                <a:gd name="connsiteX21" fmla="*/ 31159 w 1926380"/>
                <a:gd name="connsiteY21" fmla="*/ 238532 h 745576"/>
                <a:gd name="connsiteX22" fmla="*/ 30161 w 1926380"/>
                <a:gd name="connsiteY22" fmla="*/ 238048 h 745576"/>
                <a:gd name="connsiteX23" fmla="*/ 31038 w 1926380"/>
                <a:gd name="connsiteY23" fmla="*/ 236173 h 745576"/>
                <a:gd name="connsiteX24" fmla="*/ 30614 w 1926380"/>
                <a:gd name="connsiteY24" fmla="*/ 235235 h 745576"/>
                <a:gd name="connsiteX25" fmla="*/ 30614 w 1926380"/>
                <a:gd name="connsiteY25" fmla="*/ 233723 h 745576"/>
                <a:gd name="connsiteX26" fmla="*/ 30796 w 1926380"/>
                <a:gd name="connsiteY26" fmla="*/ 232180 h 745576"/>
                <a:gd name="connsiteX27" fmla="*/ 31068 w 1926380"/>
                <a:gd name="connsiteY27" fmla="*/ 231182 h 745576"/>
                <a:gd name="connsiteX28" fmla="*/ 31068 w 1926380"/>
                <a:gd name="connsiteY28" fmla="*/ 230365 h 745576"/>
                <a:gd name="connsiteX29" fmla="*/ 29676 w 1926380"/>
                <a:gd name="connsiteY29" fmla="*/ 230123 h 745576"/>
                <a:gd name="connsiteX30" fmla="*/ 28890 w 1926380"/>
                <a:gd name="connsiteY30" fmla="*/ 229336 h 745576"/>
                <a:gd name="connsiteX31" fmla="*/ 28346 w 1926380"/>
                <a:gd name="connsiteY31" fmla="*/ 228459 h 745576"/>
                <a:gd name="connsiteX32" fmla="*/ 27680 w 1926380"/>
                <a:gd name="connsiteY32" fmla="*/ 227884 h 745576"/>
                <a:gd name="connsiteX33" fmla="*/ 26440 w 1926380"/>
                <a:gd name="connsiteY33" fmla="*/ 227733 h 745576"/>
                <a:gd name="connsiteX34" fmla="*/ 25169 w 1926380"/>
                <a:gd name="connsiteY34" fmla="*/ 227944 h 745576"/>
                <a:gd name="connsiteX35" fmla="*/ 16457 w 1926380"/>
                <a:gd name="connsiteY35" fmla="*/ 230909 h 745576"/>
                <a:gd name="connsiteX36" fmla="*/ 9620 w 1926380"/>
                <a:gd name="connsiteY36" fmla="*/ 232119 h 745576"/>
                <a:gd name="connsiteX37" fmla="*/ 5596 w 1926380"/>
                <a:gd name="connsiteY37" fmla="*/ 234479 h 745576"/>
                <a:gd name="connsiteX38" fmla="*/ 2299 w 1926380"/>
                <a:gd name="connsiteY38" fmla="*/ 237655 h 745576"/>
                <a:gd name="connsiteX39" fmla="*/ 0 w 1926380"/>
                <a:gd name="connsiteY39" fmla="*/ 241104 h 745576"/>
                <a:gd name="connsiteX40" fmla="*/ 0 w 1926380"/>
                <a:gd name="connsiteY40" fmla="*/ 241860 h 745576"/>
                <a:gd name="connsiteX41" fmla="*/ 4144 w 1926380"/>
                <a:gd name="connsiteY41" fmla="*/ 243161 h 745576"/>
                <a:gd name="connsiteX42" fmla="*/ 4628 w 1926380"/>
                <a:gd name="connsiteY42" fmla="*/ 243826 h 745576"/>
                <a:gd name="connsiteX43" fmla="*/ 5838 w 1926380"/>
                <a:gd name="connsiteY43" fmla="*/ 244431 h 745576"/>
                <a:gd name="connsiteX44" fmla="*/ 8259 w 1926380"/>
                <a:gd name="connsiteY44" fmla="*/ 245218 h 745576"/>
                <a:gd name="connsiteX45" fmla="*/ 10346 w 1926380"/>
                <a:gd name="connsiteY45" fmla="*/ 245369 h 745576"/>
                <a:gd name="connsiteX46" fmla="*/ 19421 w 1926380"/>
                <a:gd name="connsiteY46" fmla="*/ 244068 h 745576"/>
                <a:gd name="connsiteX47" fmla="*/ 23868 w 1926380"/>
                <a:gd name="connsiteY47" fmla="*/ 242284 h 745576"/>
                <a:gd name="connsiteX48" fmla="*/ 30645 w 1926380"/>
                <a:gd name="connsiteY48" fmla="*/ 241316 h 745576"/>
                <a:gd name="connsiteX49" fmla="*/ 32883 w 1926380"/>
                <a:gd name="connsiteY49" fmla="*/ 240590 h 745576"/>
                <a:gd name="connsiteX50" fmla="*/ 35092 w 1926380"/>
                <a:gd name="connsiteY50" fmla="*/ 239501 h 745576"/>
                <a:gd name="connsiteX51" fmla="*/ 199145 w 1926380"/>
                <a:gd name="connsiteY51" fmla="*/ 198117 h 745576"/>
                <a:gd name="connsiteX52" fmla="*/ 198963 w 1926380"/>
                <a:gd name="connsiteY52" fmla="*/ 197269 h 745576"/>
                <a:gd name="connsiteX53" fmla="*/ 195636 w 1926380"/>
                <a:gd name="connsiteY53" fmla="*/ 195908 h 745576"/>
                <a:gd name="connsiteX54" fmla="*/ 194819 w 1926380"/>
                <a:gd name="connsiteY54" fmla="*/ 196997 h 745576"/>
                <a:gd name="connsiteX55" fmla="*/ 193972 w 1926380"/>
                <a:gd name="connsiteY55" fmla="*/ 198540 h 745576"/>
                <a:gd name="connsiteX56" fmla="*/ 192883 w 1926380"/>
                <a:gd name="connsiteY56" fmla="*/ 199418 h 745576"/>
                <a:gd name="connsiteX57" fmla="*/ 193095 w 1926380"/>
                <a:gd name="connsiteY57" fmla="*/ 200748 h 745576"/>
                <a:gd name="connsiteX58" fmla="*/ 194547 w 1926380"/>
                <a:gd name="connsiteY58" fmla="*/ 201656 h 745576"/>
                <a:gd name="connsiteX59" fmla="*/ 196422 w 1926380"/>
                <a:gd name="connsiteY59" fmla="*/ 201807 h 745576"/>
                <a:gd name="connsiteX60" fmla="*/ 198086 w 1926380"/>
                <a:gd name="connsiteY60" fmla="*/ 202170 h 745576"/>
                <a:gd name="connsiteX61" fmla="*/ 199508 w 1926380"/>
                <a:gd name="connsiteY61" fmla="*/ 202896 h 745576"/>
                <a:gd name="connsiteX62" fmla="*/ 200627 w 1926380"/>
                <a:gd name="connsiteY62" fmla="*/ 202685 h 745576"/>
                <a:gd name="connsiteX63" fmla="*/ 200627 w 1926380"/>
                <a:gd name="connsiteY63" fmla="*/ 201716 h 745576"/>
                <a:gd name="connsiteX64" fmla="*/ 200264 w 1926380"/>
                <a:gd name="connsiteY64" fmla="*/ 201384 h 745576"/>
                <a:gd name="connsiteX65" fmla="*/ 199478 w 1926380"/>
                <a:gd name="connsiteY65" fmla="*/ 201444 h 745576"/>
                <a:gd name="connsiteX66" fmla="*/ 198449 w 1926380"/>
                <a:gd name="connsiteY66" fmla="*/ 200597 h 745576"/>
                <a:gd name="connsiteX67" fmla="*/ 198631 w 1926380"/>
                <a:gd name="connsiteY67" fmla="*/ 199206 h 745576"/>
                <a:gd name="connsiteX68" fmla="*/ 199175 w 1926380"/>
                <a:gd name="connsiteY68" fmla="*/ 198117 h 745576"/>
                <a:gd name="connsiteX69" fmla="*/ 202624 w 1926380"/>
                <a:gd name="connsiteY69" fmla="*/ 183172 h 745576"/>
                <a:gd name="connsiteX70" fmla="*/ 206405 w 1926380"/>
                <a:gd name="connsiteY70" fmla="*/ 182628 h 745576"/>
                <a:gd name="connsiteX71" fmla="*/ 208251 w 1926380"/>
                <a:gd name="connsiteY71" fmla="*/ 181357 h 745576"/>
                <a:gd name="connsiteX72" fmla="*/ 207767 w 1926380"/>
                <a:gd name="connsiteY72" fmla="*/ 179240 h 745576"/>
                <a:gd name="connsiteX73" fmla="*/ 205226 w 1926380"/>
                <a:gd name="connsiteY73" fmla="*/ 177969 h 745576"/>
                <a:gd name="connsiteX74" fmla="*/ 202291 w 1926380"/>
                <a:gd name="connsiteY74" fmla="*/ 177576 h 745576"/>
                <a:gd name="connsiteX75" fmla="*/ 200688 w 1926380"/>
                <a:gd name="connsiteY75" fmla="*/ 177969 h 745576"/>
                <a:gd name="connsiteX76" fmla="*/ 198056 w 1926380"/>
                <a:gd name="connsiteY76" fmla="*/ 176699 h 745576"/>
                <a:gd name="connsiteX77" fmla="*/ 195424 w 1926380"/>
                <a:gd name="connsiteY77" fmla="*/ 176699 h 745576"/>
                <a:gd name="connsiteX78" fmla="*/ 192823 w 1926380"/>
                <a:gd name="connsiteY78" fmla="*/ 177545 h 745576"/>
                <a:gd name="connsiteX79" fmla="*/ 190312 w 1926380"/>
                <a:gd name="connsiteY79" fmla="*/ 178695 h 745576"/>
                <a:gd name="connsiteX80" fmla="*/ 190009 w 1926380"/>
                <a:gd name="connsiteY80" fmla="*/ 177394 h 745576"/>
                <a:gd name="connsiteX81" fmla="*/ 189434 w 1926380"/>
                <a:gd name="connsiteY81" fmla="*/ 177062 h 745576"/>
                <a:gd name="connsiteX82" fmla="*/ 188739 w 1926380"/>
                <a:gd name="connsiteY82" fmla="*/ 177485 h 745576"/>
                <a:gd name="connsiteX83" fmla="*/ 187952 w 1926380"/>
                <a:gd name="connsiteY83" fmla="*/ 178302 h 745576"/>
                <a:gd name="connsiteX84" fmla="*/ 187498 w 1926380"/>
                <a:gd name="connsiteY84" fmla="*/ 179633 h 745576"/>
                <a:gd name="connsiteX85" fmla="*/ 188073 w 1926380"/>
                <a:gd name="connsiteY85" fmla="*/ 180661 h 745576"/>
                <a:gd name="connsiteX86" fmla="*/ 188769 w 1926380"/>
                <a:gd name="connsiteY86" fmla="*/ 181569 h 745576"/>
                <a:gd name="connsiteX87" fmla="*/ 188466 w 1926380"/>
                <a:gd name="connsiteY87" fmla="*/ 184171 h 745576"/>
                <a:gd name="connsiteX88" fmla="*/ 190039 w 1926380"/>
                <a:gd name="connsiteY88" fmla="*/ 185502 h 745576"/>
                <a:gd name="connsiteX89" fmla="*/ 192036 w 1926380"/>
                <a:gd name="connsiteY89" fmla="*/ 186288 h 745576"/>
                <a:gd name="connsiteX90" fmla="*/ 193125 w 1926380"/>
                <a:gd name="connsiteY90" fmla="*/ 186288 h 745576"/>
                <a:gd name="connsiteX91" fmla="*/ 195364 w 1926380"/>
                <a:gd name="connsiteY91" fmla="*/ 187226 h 745576"/>
                <a:gd name="connsiteX92" fmla="*/ 197330 w 1926380"/>
                <a:gd name="connsiteY92" fmla="*/ 186470 h 745576"/>
                <a:gd name="connsiteX93" fmla="*/ 200658 w 1926380"/>
                <a:gd name="connsiteY93" fmla="*/ 183747 h 745576"/>
                <a:gd name="connsiteX94" fmla="*/ 202563 w 1926380"/>
                <a:gd name="connsiteY94" fmla="*/ 183172 h 745576"/>
                <a:gd name="connsiteX95" fmla="*/ 39780 w 1926380"/>
                <a:gd name="connsiteY95" fmla="*/ 172524 h 745576"/>
                <a:gd name="connsiteX96" fmla="*/ 40053 w 1926380"/>
                <a:gd name="connsiteY96" fmla="*/ 175186 h 745576"/>
                <a:gd name="connsiteX97" fmla="*/ 39327 w 1926380"/>
                <a:gd name="connsiteY97" fmla="*/ 177031 h 745576"/>
                <a:gd name="connsiteX98" fmla="*/ 40174 w 1926380"/>
                <a:gd name="connsiteY98" fmla="*/ 178877 h 745576"/>
                <a:gd name="connsiteX99" fmla="*/ 40809 w 1926380"/>
                <a:gd name="connsiteY99" fmla="*/ 181115 h 745576"/>
                <a:gd name="connsiteX100" fmla="*/ 41656 w 1926380"/>
                <a:gd name="connsiteY100" fmla="*/ 182961 h 745576"/>
                <a:gd name="connsiteX101" fmla="*/ 43108 w 1926380"/>
                <a:gd name="connsiteY101" fmla="*/ 183747 h 745576"/>
                <a:gd name="connsiteX102" fmla="*/ 45710 w 1926380"/>
                <a:gd name="connsiteY102" fmla="*/ 184171 h 745576"/>
                <a:gd name="connsiteX103" fmla="*/ 64344 w 1926380"/>
                <a:gd name="connsiteY103" fmla="*/ 184292 h 745576"/>
                <a:gd name="connsiteX104" fmla="*/ 69729 w 1926380"/>
                <a:gd name="connsiteY104" fmla="*/ 182839 h 745576"/>
                <a:gd name="connsiteX105" fmla="*/ 71424 w 1926380"/>
                <a:gd name="connsiteY105" fmla="*/ 182688 h 745576"/>
                <a:gd name="connsiteX106" fmla="*/ 74116 w 1926380"/>
                <a:gd name="connsiteY106" fmla="*/ 183929 h 745576"/>
                <a:gd name="connsiteX107" fmla="*/ 75689 w 1926380"/>
                <a:gd name="connsiteY107" fmla="*/ 183445 h 745576"/>
                <a:gd name="connsiteX108" fmla="*/ 77262 w 1926380"/>
                <a:gd name="connsiteY108" fmla="*/ 182598 h 745576"/>
                <a:gd name="connsiteX109" fmla="*/ 78623 w 1926380"/>
                <a:gd name="connsiteY109" fmla="*/ 182144 h 745576"/>
                <a:gd name="connsiteX110" fmla="*/ 80287 w 1926380"/>
                <a:gd name="connsiteY110" fmla="*/ 182295 h 745576"/>
                <a:gd name="connsiteX111" fmla="*/ 81890 w 1926380"/>
                <a:gd name="connsiteY111" fmla="*/ 182839 h 745576"/>
                <a:gd name="connsiteX112" fmla="*/ 84764 w 1926380"/>
                <a:gd name="connsiteY112" fmla="*/ 184594 h 745576"/>
                <a:gd name="connsiteX113" fmla="*/ 92448 w 1926380"/>
                <a:gd name="connsiteY113" fmla="*/ 180420 h 745576"/>
                <a:gd name="connsiteX114" fmla="*/ 95201 w 1926380"/>
                <a:gd name="connsiteY114" fmla="*/ 179633 h 745576"/>
                <a:gd name="connsiteX115" fmla="*/ 102068 w 1926380"/>
                <a:gd name="connsiteY115" fmla="*/ 179633 h 745576"/>
                <a:gd name="connsiteX116" fmla="*/ 103399 w 1926380"/>
                <a:gd name="connsiteY116" fmla="*/ 179270 h 745576"/>
                <a:gd name="connsiteX117" fmla="*/ 105759 w 1926380"/>
                <a:gd name="connsiteY117" fmla="*/ 178211 h 745576"/>
                <a:gd name="connsiteX118" fmla="*/ 112444 w 1926380"/>
                <a:gd name="connsiteY118" fmla="*/ 177243 h 745576"/>
                <a:gd name="connsiteX119" fmla="*/ 113443 w 1926380"/>
                <a:gd name="connsiteY119" fmla="*/ 177092 h 745576"/>
                <a:gd name="connsiteX120" fmla="*/ 114259 w 1926380"/>
                <a:gd name="connsiteY120" fmla="*/ 178181 h 745576"/>
                <a:gd name="connsiteX121" fmla="*/ 117345 w 1926380"/>
                <a:gd name="connsiteY121" fmla="*/ 184201 h 745576"/>
                <a:gd name="connsiteX122" fmla="*/ 116105 w 1926380"/>
                <a:gd name="connsiteY122" fmla="*/ 186742 h 745576"/>
                <a:gd name="connsiteX123" fmla="*/ 113231 w 1926380"/>
                <a:gd name="connsiteY123" fmla="*/ 188920 h 745576"/>
                <a:gd name="connsiteX124" fmla="*/ 109994 w 1926380"/>
                <a:gd name="connsiteY124" fmla="*/ 189919 h 745576"/>
                <a:gd name="connsiteX125" fmla="*/ 107634 w 1926380"/>
                <a:gd name="connsiteY125" fmla="*/ 188830 h 745576"/>
                <a:gd name="connsiteX126" fmla="*/ 106182 w 1926380"/>
                <a:gd name="connsiteY126" fmla="*/ 190312 h 745576"/>
                <a:gd name="connsiteX127" fmla="*/ 104065 w 1926380"/>
                <a:gd name="connsiteY127" fmla="*/ 193367 h 745576"/>
                <a:gd name="connsiteX128" fmla="*/ 102734 w 1926380"/>
                <a:gd name="connsiteY128" fmla="*/ 194698 h 745576"/>
                <a:gd name="connsiteX129" fmla="*/ 101312 w 1926380"/>
                <a:gd name="connsiteY129" fmla="*/ 195243 h 745576"/>
                <a:gd name="connsiteX130" fmla="*/ 96623 w 1926380"/>
                <a:gd name="connsiteY130" fmla="*/ 194698 h 745576"/>
                <a:gd name="connsiteX131" fmla="*/ 93870 w 1926380"/>
                <a:gd name="connsiteY131" fmla="*/ 195303 h 745576"/>
                <a:gd name="connsiteX132" fmla="*/ 90754 w 1926380"/>
                <a:gd name="connsiteY132" fmla="*/ 196634 h 745576"/>
                <a:gd name="connsiteX133" fmla="*/ 87880 w 1926380"/>
                <a:gd name="connsiteY133" fmla="*/ 198328 h 745576"/>
                <a:gd name="connsiteX134" fmla="*/ 83433 w 1926380"/>
                <a:gd name="connsiteY134" fmla="*/ 201837 h 745576"/>
                <a:gd name="connsiteX135" fmla="*/ 77504 w 1926380"/>
                <a:gd name="connsiteY135" fmla="*/ 203864 h 745576"/>
                <a:gd name="connsiteX136" fmla="*/ 72785 w 1926380"/>
                <a:gd name="connsiteY136" fmla="*/ 207494 h 745576"/>
                <a:gd name="connsiteX137" fmla="*/ 67793 w 1926380"/>
                <a:gd name="connsiteY137" fmla="*/ 210459 h 745576"/>
                <a:gd name="connsiteX138" fmla="*/ 66281 w 1926380"/>
                <a:gd name="connsiteY138" fmla="*/ 212879 h 745576"/>
                <a:gd name="connsiteX139" fmla="*/ 64315 w 1926380"/>
                <a:gd name="connsiteY139" fmla="*/ 212940 h 745576"/>
                <a:gd name="connsiteX140" fmla="*/ 59141 w 1926380"/>
                <a:gd name="connsiteY140" fmla="*/ 214785 h 745576"/>
                <a:gd name="connsiteX141" fmla="*/ 57992 w 1926380"/>
                <a:gd name="connsiteY141" fmla="*/ 215753 h 745576"/>
                <a:gd name="connsiteX142" fmla="*/ 57326 w 1926380"/>
                <a:gd name="connsiteY142" fmla="*/ 215935 h 745576"/>
                <a:gd name="connsiteX143" fmla="*/ 55995 w 1926380"/>
                <a:gd name="connsiteY143" fmla="*/ 216963 h 745576"/>
                <a:gd name="connsiteX144" fmla="*/ 55057 w 1926380"/>
                <a:gd name="connsiteY144" fmla="*/ 218143 h 745576"/>
                <a:gd name="connsiteX145" fmla="*/ 55542 w 1926380"/>
                <a:gd name="connsiteY145" fmla="*/ 218688 h 745576"/>
                <a:gd name="connsiteX146" fmla="*/ 56812 w 1926380"/>
                <a:gd name="connsiteY146" fmla="*/ 218930 h 745576"/>
                <a:gd name="connsiteX147" fmla="*/ 57235 w 1926380"/>
                <a:gd name="connsiteY147" fmla="*/ 219565 h 745576"/>
                <a:gd name="connsiteX148" fmla="*/ 56903 w 1926380"/>
                <a:gd name="connsiteY148" fmla="*/ 220382 h 745576"/>
                <a:gd name="connsiteX149" fmla="*/ 55844 w 1926380"/>
                <a:gd name="connsiteY149" fmla="*/ 221168 h 745576"/>
                <a:gd name="connsiteX150" fmla="*/ 58869 w 1926380"/>
                <a:gd name="connsiteY150" fmla="*/ 223316 h 745576"/>
                <a:gd name="connsiteX151" fmla="*/ 60775 w 1926380"/>
                <a:gd name="connsiteY151" fmla="*/ 225918 h 745576"/>
                <a:gd name="connsiteX152" fmla="*/ 61289 w 1926380"/>
                <a:gd name="connsiteY152" fmla="*/ 229215 h 745576"/>
                <a:gd name="connsiteX153" fmla="*/ 60049 w 1926380"/>
                <a:gd name="connsiteY153" fmla="*/ 233571 h 745576"/>
                <a:gd name="connsiteX154" fmla="*/ 55511 w 1926380"/>
                <a:gd name="connsiteY154" fmla="*/ 239410 h 745576"/>
                <a:gd name="connsiteX155" fmla="*/ 54967 w 1926380"/>
                <a:gd name="connsiteY155" fmla="*/ 240559 h 745576"/>
                <a:gd name="connsiteX156" fmla="*/ 54180 w 1926380"/>
                <a:gd name="connsiteY156" fmla="*/ 243100 h 745576"/>
                <a:gd name="connsiteX157" fmla="*/ 53061 w 1926380"/>
                <a:gd name="connsiteY157" fmla="*/ 245642 h 745576"/>
                <a:gd name="connsiteX158" fmla="*/ 51427 w 1926380"/>
                <a:gd name="connsiteY158" fmla="*/ 246791 h 745576"/>
                <a:gd name="connsiteX159" fmla="*/ 50852 w 1926380"/>
                <a:gd name="connsiteY159" fmla="*/ 247457 h 745576"/>
                <a:gd name="connsiteX160" fmla="*/ 50036 w 1926380"/>
                <a:gd name="connsiteY160" fmla="*/ 248909 h 745576"/>
                <a:gd name="connsiteX161" fmla="*/ 49794 w 1926380"/>
                <a:gd name="connsiteY161" fmla="*/ 250331 h 745576"/>
                <a:gd name="connsiteX162" fmla="*/ 50762 w 1926380"/>
                <a:gd name="connsiteY162" fmla="*/ 250996 h 745576"/>
                <a:gd name="connsiteX163" fmla="*/ 51821 w 1926380"/>
                <a:gd name="connsiteY163" fmla="*/ 250905 h 745576"/>
                <a:gd name="connsiteX164" fmla="*/ 57145 w 1926380"/>
                <a:gd name="connsiteY164" fmla="*/ 249181 h 745576"/>
                <a:gd name="connsiteX165" fmla="*/ 58385 w 1926380"/>
                <a:gd name="connsiteY165" fmla="*/ 248485 h 745576"/>
                <a:gd name="connsiteX166" fmla="*/ 61440 w 1926380"/>
                <a:gd name="connsiteY166" fmla="*/ 245853 h 745576"/>
                <a:gd name="connsiteX167" fmla="*/ 65464 w 1926380"/>
                <a:gd name="connsiteY167" fmla="*/ 243736 h 745576"/>
                <a:gd name="connsiteX168" fmla="*/ 66977 w 1926380"/>
                <a:gd name="connsiteY168" fmla="*/ 242677 h 745576"/>
                <a:gd name="connsiteX169" fmla="*/ 71787 w 1926380"/>
                <a:gd name="connsiteY169" fmla="*/ 238472 h 745576"/>
                <a:gd name="connsiteX170" fmla="*/ 70335 w 1926380"/>
                <a:gd name="connsiteY170" fmla="*/ 237383 h 745576"/>
                <a:gd name="connsiteX171" fmla="*/ 69064 w 1926380"/>
                <a:gd name="connsiteY171" fmla="*/ 235114 h 745576"/>
                <a:gd name="connsiteX172" fmla="*/ 68731 w 1926380"/>
                <a:gd name="connsiteY172" fmla="*/ 232906 h 745576"/>
                <a:gd name="connsiteX173" fmla="*/ 70092 w 1926380"/>
                <a:gd name="connsiteY173" fmla="*/ 231877 h 745576"/>
                <a:gd name="connsiteX174" fmla="*/ 72180 w 1926380"/>
                <a:gd name="connsiteY174" fmla="*/ 231484 h 745576"/>
                <a:gd name="connsiteX175" fmla="*/ 74569 w 1926380"/>
                <a:gd name="connsiteY175" fmla="*/ 230516 h 745576"/>
                <a:gd name="connsiteX176" fmla="*/ 76869 w 1926380"/>
                <a:gd name="connsiteY176" fmla="*/ 229215 h 745576"/>
                <a:gd name="connsiteX177" fmla="*/ 78714 w 1926380"/>
                <a:gd name="connsiteY177" fmla="*/ 227823 h 745576"/>
                <a:gd name="connsiteX178" fmla="*/ 81346 w 1926380"/>
                <a:gd name="connsiteY178" fmla="*/ 224889 h 745576"/>
                <a:gd name="connsiteX179" fmla="*/ 81830 w 1926380"/>
                <a:gd name="connsiteY179" fmla="*/ 224435 h 745576"/>
                <a:gd name="connsiteX180" fmla="*/ 81830 w 1926380"/>
                <a:gd name="connsiteY180" fmla="*/ 223982 h 745576"/>
                <a:gd name="connsiteX181" fmla="*/ 83978 w 1926380"/>
                <a:gd name="connsiteY181" fmla="*/ 221985 h 745576"/>
                <a:gd name="connsiteX182" fmla="*/ 85309 w 1926380"/>
                <a:gd name="connsiteY182" fmla="*/ 220987 h 745576"/>
                <a:gd name="connsiteX183" fmla="*/ 88243 w 1926380"/>
                <a:gd name="connsiteY183" fmla="*/ 220321 h 745576"/>
                <a:gd name="connsiteX184" fmla="*/ 88939 w 1926380"/>
                <a:gd name="connsiteY184" fmla="*/ 219867 h 745576"/>
                <a:gd name="connsiteX185" fmla="*/ 94475 w 1926380"/>
                <a:gd name="connsiteY185" fmla="*/ 215178 h 745576"/>
                <a:gd name="connsiteX186" fmla="*/ 95988 w 1926380"/>
                <a:gd name="connsiteY186" fmla="*/ 213545 h 745576"/>
                <a:gd name="connsiteX187" fmla="*/ 96623 w 1926380"/>
                <a:gd name="connsiteY187" fmla="*/ 211578 h 745576"/>
                <a:gd name="connsiteX188" fmla="*/ 96805 w 1926380"/>
                <a:gd name="connsiteY188" fmla="*/ 209552 h 745576"/>
                <a:gd name="connsiteX189" fmla="*/ 97470 w 1926380"/>
                <a:gd name="connsiteY189" fmla="*/ 208644 h 745576"/>
                <a:gd name="connsiteX190" fmla="*/ 100737 w 1926380"/>
                <a:gd name="connsiteY190" fmla="*/ 207010 h 745576"/>
                <a:gd name="connsiteX191" fmla="*/ 101796 w 1926380"/>
                <a:gd name="connsiteY191" fmla="*/ 205558 h 745576"/>
                <a:gd name="connsiteX192" fmla="*/ 102703 w 1926380"/>
                <a:gd name="connsiteY192" fmla="*/ 201959 h 745576"/>
                <a:gd name="connsiteX193" fmla="*/ 103823 w 1926380"/>
                <a:gd name="connsiteY193" fmla="*/ 201233 h 745576"/>
                <a:gd name="connsiteX194" fmla="*/ 105214 w 1926380"/>
                <a:gd name="connsiteY194" fmla="*/ 200718 h 745576"/>
                <a:gd name="connsiteX195" fmla="*/ 108482 w 1926380"/>
                <a:gd name="connsiteY195" fmla="*/ 198086 h 745576"/>
                <a:gd name="connsiteX196" fmla="*/ 110357 w 1926380"/>
                <a:gd name="connsiteY196" fmla="*/ 197028 h 745576"/>
                <a:gd name="connsiteX197" fmla="*/ 116558 w 1926380"/>
                <a:gd name="connsiteY197" fmla="*/ 196180 h 745576"/>
                <a:gd name="connsiteX198" fmla="*/ 118344 w 1926380"/>
                <a:gd name="connsiteY198" fmla="*/ 195061 h 745576"/>
                <a:gd name="connsiteX199" fmla="*/ 119856 w 1926380"/>
                <a:gd name="connsiteY199" fmla="*/ 193730 h 745576"/>
                <a:gd name="connsiteX200" fmla="*/ 125694 w 1926380"/>
                <a:gd name="connsiteY200" fmla="*/ 190402 h 745576"/>
                <a:gd name="connsiteX201" fmla="*/ 129536 w 1926380"/>
                <a:gd name="connsiteY201" fmla="*/ 189344 h 745576"/>
                <a:gd name="connsiteX202" fmla="*/ 130928 w 1926380"/>
                <a:gd name="connsiteY202" fmla="*/ 189162 h 745576"/>
                <a:gd name="connsiteX203" fmla="*/ 133560 w 1926380"/>
                <a:gd name="connsiteY203" fmla="*/ 188830 h 745576"/>
                <a:gd name="connsiteX204" fmla="*/ 134740 w 1926380"/>
                <a:gd name="connsiteY204" fmla="*/ 188043 h 745576"/>
                <a:gd name="connsiteX205" fmla="*/ 137674 w 1926380"/>
                <a:gd name="connsiteY205" fmla="*/ 184231 h 745576"/>
                <a:gd name="connsiteX206" fmla="*/ 139368 w 1926380"/>
                <a:gd name="connsiteY206" fmla="*/ 182961 h 745576"/>
                <a:gd name="connsiteX207" fmla="*/ 141486 w 1926380"/>
                <a:gd name="connsiteY207" fmla="*/ 182688 h 745576"/>
                <a:gd name="connsiteX208" fmla="*/ 146175 w 1926380"/>
                <a:gd name="connsiteY208" fmla="*/ 182779 h 745576"/>
                <a:gd name="connsiteX209" fmla="*/ 148958 w 1926380"/>
                <a:gd name="connsiteY209" fmla="*/ 181115 h 745576"/>
                <a:gd name="connsiteX210" fmla="*/ 151378 w 1926380"/>
                <a:gd name="connsiteY210" fmla="*/ 180813 h 745576"/>
                <a:gd name="connsiteX211" fmla="*/ 152467 w 1926380"/>
                <a:gd name="connsiteY211" fmla="*/ 180480 h 745576"/>
                <a:gd name="connsiteX212" fmla="*/ 152921 w 1926380"/>
                <a:gd name="connsiteY212" fmla="*/ 180026 h 745576"/>
                <a:gd name="connsiteX213" fmla="*/ 153980 w 1926380"/>
                <a:gd name="connsiteY213" fmla="*/ 178574 h 745576"/>
                <a:gd name="connsiteX214" fmla="*/ 154524 w 1926380"/>
                <a:gd name="connsiteY214" fmla="*/ 177999 h 745576"/>
                <a:gd name="connsiteX215" fmla="*/ 163569 w 1926380"/>
                <a:gd name="connsiteY215" fmla="*/ 171858 h 745576"/>
                <a:gd name="connsiteX216" fmla="*/ 167865 w 1926380"/>
                <a:gd name="connsiteY216" fmla="*/ 164870 h 745576"/>
                <a:gd name="connsiteX217" fmla="*/ 177334 w 1926380"/>
                <a:gd name="connsiteY217" fmla="*/ 156309 h 745576"/>
                <a:gd name="connsiteX218" fmla="*/ 179512 w 1926380"/>
                <a:gd name="connsiteY218" fmla="*/ 152618 h 745576"/>
                <a:gd name="connsiteX219" fmla="*/ 182053 w 1926380"/>
                <a:gd name="connsiteY219" fmla="*/ 142847 h 745576"/>
                <a:gd name="connsiteX220" fmla="*/ 184201 w 1926380"/>
                <a:gd name="connsiteY220" fmla="*/ 138733 h 745576"/>
                <a:gd name="connsiteX221" fmla="*/ 187317 w 1926380"/>
                <a:gd name="connsiteY221" fmla="*/ 137039 h 745576"/>
                <a:gd name="connsiteX222" fmla="*/ 208825 w 1926380"/>
                <a:gd name="connsiteY222" fmla="*/ 134195 h 745576"/>
                <a:gd name="connsiteX223" fmla="*/ 212667 w 1926380"/>
                <a:gd name="connsiteY223" fmla="*/ 134407 h 745576"/>
                <a:gd name="connsiteX224" fmla="*/ 216600 w 1926380"/>
                <a:gd name="connsiteY224" fmla="*/ 135405 h 745576"/>
                <a:gd name="connsiteX225" fmla="*/ 218234 w 1926380"/>
                <a:gd name="connsiteY225" fmla="*/ 136343 h 745576"/>
                <a:gd name="connsiteX226" fmla="*/ 219656 w 1926380"/>
                <a:gd name="connsiteY226" fmla="*/ 137462 h 745576"/>
                <a:gd name="connsiteX227" fmla="*/ 221168 w 1926380"/>
                <a:gd name="connsiteY227" fmla="*/ 138400 h 745576"/>
                <a:gd name="connsiteX228" fmla="*/ 229275 w 1926380"/>
                <a:gd name="connsiteY228" fmla="*/ 139308 h 745576"/>
                <a:gd name="connsiteX229" fmla="*/ 231091 w 1926380"/>
                <a:gd name="connsiteY229" fmla="*/ 138794 h 745576"/>
                <a:gd name="connsiteX230" fmla="*/ 230939 w 1926380"/>
                <a:gd name="connsiteY230" fmla="*/ 137825 h 745576"/>
                <a:gd name="connsiteX231" fmla="*/ 231605 w 1926380"/>
                <a:gd name="connsiteY231" fmla="*/ 136253 h 745576"/>
                <a:gd name="connsiteX232" fmla="*/ 233843 w 1926380"/>
                <a:gd name="connsiteY232" fmla="*/ 132894 h 745576"/>
                <a:gd name="connsiteX233" fmla="*/ 234932 w 1926380"/>
                <a:gd name="connsiteY233" fmla="*/ 131866 h 745576"/>
                <a:gd name="connsiteX234" fmla="*/ 236505 w 1926380"/>
                <a:gd name="connsiteY234" fmla="*/ 130807 h 745576"/>
                <a:gd name="connsiteX235" fmla="*/ 238200 w 1926380"/>
                <a:gd name="connsiteY235" fmla="*/ 129960 h 745576"/>
                <a:gd name="connsiteX236" fmla="*/ 239682 w 1926380"/>
                <a:gd name="connsiteY236" fmla="*/ 129597 h 745576"/>
                <a:gd name="connsiteX237" fmla="*/ 245248 w 1926380"/>
                <a:gd name="connsiteY237" fmla="*/ 127449 h 745576"/>
                <a:gd name="connsiteX238" fmla="*/ 246216 w 1926380"/>
                <a:gd name="connsiteY238" fmla="*/ 127449 h 745576"/>
                <a:gd name="connsiteX239" fmla="*/ 246973 w 1926380"/>
                <a:gd name="connsiteY239" fmla="*/ 127026 h 745576"/>
                <a:gd name="connsiteX240" fmla="*/ 251783 w 1926380"/>
                <a:gd name="connsiteY240" fmla="*/ 125302 h 745576"/>
                <a:gd name="connsiteX241" fmla="*/ 252720 w 1926380"/>
                <a:gd name="connsiteY241" fmla="*/ 125816 h 745576"/>
                <a:gd name="connsiteX242" fmla="*/ 253416 w 1926380"/>
                <a:gd name="connsiteY242" fmla="*/ 126209 h 745576"/>
                <a:gd name="connsiteX243" fmla="*/ 255201 w 1926380"/>
                <a:gd name="connsiteY243" fmla="*/ 126088 h 745576"/>
                <a:gd name="connsiteX244" fmla="*/ 258952 w 1926380"/>
                <a:gd name="connsiteY244" fmla="*/ 125271 h 745576"/>
                <a:gd name="connsiteX245" fmla="*/ 259799 w 1926380"/>
                <a:gd name="connsiteY245" fmla="*/ 125543 h 745576"/>
                <a:gd name="connsiteX246" fmla="*/ 260888 w 1926380"/>
                <a:gd name="connsiteY246" fmla="*/ 126723 h 745576"/>
                <a:gd name="connsiteX247" fmla="*/ 261705 w 1926380"/>
                <a:gd name="connsiteY247" fmla="*/ 126995 h 745576"/>
                <a:gd name="connsiteX248" fmla="*/ 265124 w 1926380"/>
                <a:gd name="connsiteY248" fmla="*/ 126995 h 745576"/>
                <a:gd name="connsiteX249" fmla="*/ 268602 w 1926380"/>
                <a:gd name="connsiteY249" fmla="*/ 127510 h 745576"/>
                <a:gd name="connsiteX250" fmla="*/ 275590 w 1926380"/>
                <a:gd name="connsiteY250" fmla="*/ 129869 h 745576"/>
                <a:gd name="connsiteX251" fmla="*/ 278918 w 1926380"/>
                <a:gd name="connsiteY251" fmla="*/ 130414 h 745576"/>
                <a:gd name="connsiteX252" fmla="*/ 281459 w 1926380"/>
                <a:gd name="connsiteY252" fmla="*/ 131624 h 745576"/>
                <a:gd name="connsiteX253" fmla="*/ 286663 w 1926380"/>
                <a:gd name="connsiteY253" fmla="*/ 136555 h 745576"/>
                <a:gd name="connsiteX254" fmla="*/ 289567 w 1926380"/>
                <a:gd name="connsiteY254" fmla="*/ 136918 h 745576"/>
                <a:gd name="connsiteX255" fmla="*/ 290807 w 1926380"/>
                <a:gd name="connsiteY255" fmla="*/ 135829 h 745576"/>
                <a:gd name="connsiteX256" fmla="*/ 291503 w 1926380"/>
                <a:gd name="connsiteY256" fmla="*/ 134135 h 745576"/>
                <a:gd name="connsiteX257" fmla="*/ 291745 w 1926380"/>
                <a:gd name="connsiteY257" fmla="*/ 132380 h 745576"/>
                <a:gd name="connsiteX258" fmla="*/ 291745 w 1926380"/>
                <a:gd name="connsiteY258" fmla="*/ 131170 h 745576"/>
                <a:gd name="connsiteX259" fmla="*/ 290928 w 1926380"/>
                <a:gd name="connsiteY259" fmla="*/ 129083 h 745576"/>
                <a:gd name="connsiteX260" fmla="*/ 288750 w 1926380"/>
                <a:gd name="connsiteY260" fmla="*/ 127026 h 745576"/>
                <a:gd name="connsiteX261" fmla="*/ 288235 w 1926380"/>
                <a:gd name="connsiteY261" fmla="*/ 125241 h 745576"/>
                <a:gd name="connsiteX262" fmla="*/ 290656 w 1926380"/>
                <a:gd name="connsiteY262" fmla="*/ 125816 h 745576"/>
                <a:gd name="connsiteX263" fmla="*/ 292743 w 1926380"/>
                <a:gd name="connsiteY263" fmla="*/ 127540 h 745576"/>
                <a:gd name="connsiteX264" fmla="*/ 293741 w 1926380"/>
                <a:gd name="connsiteY264" fmla="*/ 129990 h 745576"/>
                <a:gd name="connsiteX265" fmla="*/ 293046 w 1926380"/>
                <a:gd name="connsiteY265" fmla="*/ 132774 h 745576"/>
                <a:gd name="connsiteX266" fmla="*/ 293983 w 1926380"/>
                <a:gd name="connsiteY266" fmla="*/ 132985 h 745576"/>
                <a:gd name="connsiteX267" fmla="*/ 294709 w 1926380"/>
                <a:gd name="connsiteY267" fmla="*/ 133348 h 745576"/>
                <a:gd name="connsiteX268" fmla="*/ 295889 w 1926380"/>
                <a:gd name="connsiteY268" fmla="*/ 134498 h 745576"/>
                <a:gd name="connsiteX269" fmla="*/ 295042 w 1926380"/>
                <a:gd name="connsiteY269" fmla="*/ 138340 h 745576"/>
                <a:gd name="connsiteX270" fmla="*/ 298067 w 1926380"/>
                <a:gd name="connsiteY270" fmla="*/ 139520 h 745576"/>
                <a:gd name="connsiteX271" fmla="*/ 310137 w 1926380"/>
                <a:gd name="connsiteY271" fmla="*/ 138068 h 745576"/>
                <a:gd name="connsiteX272" fmla="*/ 312648 w 1926380"/>
                <a:gd name="connsiteY272" fmla="*/ 138188 h 745576"/>
                <a:gd name="connsiteX273" fmla="*/ 313738 w 1926380"/>
                <a:gd name="connsiteY273" fmla="*/ 139096 h 745576"/>
                <a:gd name="connsiteX274" fmla="*/ 314222 w 1926380"/>
                <a:gd name="connsiteY274" fmla="*/ 139852 h 745576"/>
                <a:gd name="connsiteX275" fmla="*/ 315371 w 1926380"/>
                <a:gd name="connsiteY275" fmla="*/ 140215 h 745576"/>
                <a:gd name="connsiteX276" fmla="*/ 317821 w 1926380"/>
                <a:gd name="connsiteY276" fmla="*/ 140306 h 745576"/>
                <a:gd name="connsiteX277" fmla="*/ 319001 w 1926380"/>
                <a:gd name="connsiteY277" fmla="*/ 140034 h 745576"/>
                <a:gd name="connsiteX278" fmla="*/ 319636 w 1926380"/>
                <a:gd name="connsiteY278" fmla="*/ 139580 h 745576"/>
                <a:gd name="connsiteX279" fmla="*/ 320060 w 1926380"/>
                <a:gd name="connsiteY279" fmla="*/ 139066 h 745576"/>
                <a:gd name="connsiteX280" fmla="*/ 320635 w 1926380"/>
                <a:gd name="connsiteY280" fmla="*/ 138642 h 745576"/>
                <a:gd name="connsiteX281" fmla="*/ 321603 w 1926380"/>
                <a:gd name="connsiteY281" fmla="*/ 138309 h 745576"/>
                <a:gd name="connsiteX282" fmla="*/ 325596 w 1926380"/>
                <a:gd name="connsiteY282" fmla="*/ 137553 h 745576"/>
                <a:gd name="connsiteX283" fmla="*/ 327411 w 1926380"/>
                <a:gd name="connsiteY283" fmla="*/ 136434 h 745576"/>
                <a:gd name="connsiteX284" fmla="*/ 328500 w 1926380"/>
                <a:gd name="connsiteY284" fmla="*/ 136162 h 745576"/>
                <a:gd name="connsiteX285" fmla="*/ 328833 w 1926380"/>
                <a:gd name="connsiteY285" fmla="*/ 135919 h 745576"/>
                <a:gd name="connsiteX286" fmla="*/ 329710 w 1926380"/>
                <a:gd name="connsiteY286" fmla="*/ 134800 h 745576"/>
                <a:gd name="connsiteX287" fmla="*/ 330285 w 1926380"/>
                <a:gd name="connsiteY287" fmla="*/ 134467 h 745576"/>
                <a:gd name="connsiteX288" fmla="*/ 330860 w 1926380"/>
                <a:gd name="connsiteY288" fmla="*/ 134558 h 745576"/>
                <a:gd name="connsiteX289" fmla="*/ 331737 w 1926380"/>
                <a:gd name="connsiteY289" fmla="*/ 135254 h 745576"/>
                <a:gd name="connsiteX290" fmla="*/ 333885 w 1926380"/>
                <a:gd name="connsiteY290" fmla="*/ 135405 h 745576"/>
                <a:gd name="connsiteX291" fmla="*/ 334369 w 1926380"/>
                <a:gd name="connsiteY291" fmla="*/ 135284 h 745576"/>
                <a:gd name="connsiteX292" fmla="*/ 334944 w 1926380"/>
                <a:gd name="connsiteY292" fmla="*/ 134619 h 745576"/>
                <a:gd name="connsiteX293" fmla="*/ 334944 w 1926380"/>
                <a:gd name="connsiteY293" fmla="*/ 133953 h 745576"/>
                <a:gd name="connsiteX294" fmla="*/ 334672 w 1926380"/>
                <a:gd name="connsiteY294" fmla="*/ 133530 h 745576"/>
                <a:gd name="connsiteX295" fmla="*/ 334551 w 1926380"/>
                <a:gd name="connsiteY295" fmla="*/ 132985 h 745576"/>
                <a:gd name="connsiteX296" fmla="*/ 334490 w 1926380"/>
                <a:gd name="connsiteY296" fmla="*/ 132471 h 745576"/>
                <a:gd name="connsiteX297" fmla="*/ 334641 w 1926380"/>
                <a:gd name="connsiteY297" fmla="*/ 131836 h 745576"/>
                <a:gd name="connsiteX298" fmla="*/ 335428 w 1926380"/>
                <a:gd name="connsiteY298" fmla="*/ 130777 h 745576"/>
                <a:gd name="connsiteX299" fmla="*/ 336244 w 1926380"/>
                <a:gd name="connsiteY299" fmla="*/ 130202 h 745576"/>
                <a:gd name="connsiteX300" fmla="*/ 338029 w 1926380"/>
                <a:gd name="connsiteY300" fmla="*/ 129688 h 745576"/>
                <a:gd name="connsiteX301" fmla="*/ 338846 w 1926380"/>
                <a:gd name="connsiteY301" fmla="*/ 129053 h 745576"/>
                <a:gd name="connsiteX302" fmla="*/ 339935 w 1926380"/>
                <a:gd name="connsiteY302" fmla="*/ 127540 h 745576"/>
                <a:gd name="connsiteX303" fmla="*/ 340873 w 1926380"/>
                <a:gd name="connsiteY303" fmla="*/ 125665 h 745576"/>
                <a:gd name="connsiteX304" fmla="*/ 341569 w 1926380"/>
                <a:gd name="connsiteY304" fmla="*/ 123456 h 745576"/>
                <a:gd name="connsiteX305" fmla="*/ 341932 w 1926380"/>
                <a:gd name="connsiteY305" fmla="*/ 121036 h 745576"/>
                <a:gd name="connsiteX306" fmla="*/ 342144 w 1926380"/>
                <a:gd name="connsiteY306" fmla="*/ 121036 h 745576"/>
                <a:gd name="connsiteX307" fmla="*/ 342567 w 1926380"/>
                <a:gd name="connsiteY307" fmla="*/ 120400 h 745576"/>
                <a:gd name="connsiteX308" fmla="*/ 342749 w 1926380"/>
                <a:gd name="connsiteY308" fmla="*/ 119705 h 745576"/>
                <a:gd name="connsiteX309" fmla="*/ 342265 w 1926380"/>
                <a:gd name="connsiteY309" fmla="*/ 119372 h 745576"/>
                <a:gd name="connsiteX310" fmla="*/ 342053 w 1926380"/>
                <a:gd name="connsiteY310" fmla="*/ 119191 h 745576"/>
                <a:gd name="connsiteX311" fmla="*/ 341418 w 1926380"/>
                <a:gd name="connsiteY311" fmla="*/ 118344 h 745576"/>
                <a:gd name="connsiteX312" fmla="*/ 340812 w 1926380"/>
                <a:gd name="connsiteY312" fmla="*/ 117315 h 745576"/>
                <a:gd name="connsiteX313" fmla="*/ 339996 w 1926380"/>
                <a:gd name="connsiteY313" fmla="*/ 116377 h 745576"/>
                <a:gd name="connsiteX314" fmla="*/ 339754 w 1926380"/>
                <a:gd name="connsiteY314" fmla="*/ 115560 h 745576"/>
                <a:gd name="connsiteX315" fmla="*/ 340903 w 1926380"/>
                <a:gd name="connsiteY315" fmla="*/ 115228 h 745576"/>
                <a:gd name="connsiteX316" fmla="*/ 342628 w 1926380"/>
                <a:gd name="connsiteY316" fmla="*/ 114290 h 745576"/>
                <a:gd name="connsiteX317" fmla="*/ 344382 w 1926380"/>
                <a:gd name="connsiteY317" fmla="*/ 112172 h 745576"/>
                <a:gd name="connsiteX318" fmla="*/ 345713 w 1926380"/>
                <a:gd name="connsiteY318" fmla="*/ 109903 h 745576"/>
                <a:gd name="connsiteX319" fmla="*/ 346651 w 1926380"/>
                <a:gd name="connsiteY319" fmla="*/ 106848 h 745576"/>
                <a:gd name="connsiteX320" fmla="*/ 345108 w 1926380"/>
                <a:gd name="connsiteY320" fmla="*/ 105487 h 745576"/>
                <a:gd name="connsiteX321" fmla="*/ 342567 w 1926380"/>
                <a:gd name="connsiteY321" fmla="*/ 104579 h 745576"/>
                <a:gd name="connsiteX322" fmla="*/ 340177 w 1926380"/>
                <a:gd name="connsiteY322" fmla="*/ 104246 h 745576"/>
                <a:gd name="connsiteX323" fmla="*/ 339481 w 1926380"/>
                <a:gd name="connsiteY323" fmla="*/ 104489 h 745576"/>
                <a:gd name="connsiteX324" fmla="*/ 338846 w 1926380"/>
                <a:gd name="connsiteY324" fmla="*/ 105638 h 745576"/>
                <a:gd name="connsiteX325" fmla="*/ 338060 w 1926380"/>
                <a:gd name="connsiteY325" fmla="*/ 105880 h 745576"/>
                <a:gd name="connsiteX326" fmla="*/ 337394 w 1926380"/>
                <a:gd name="connsiteY326" fmla="*/ 105789 h 745576"/>
                <a:gd name="connsiteX327" fmla="*/ 337122 w 1926380"/>
                <a:gd name="connsiteY327" fmla="*/ 105517 h 745576"/>
                <a:gd name="connsiteX328" fmla="*/ 336910 w 1926380"/>
                <a:gd name="connsiteY328" fmla="*/ 105245 h 745576"/>
                <a:gd name="connsiteX329" fmla="*/ 336366 w 1926380"/>
                <a:gd name="connsiteY329" fmla="*/ 105033 h 745576"/>
                <a:gd name="connsiteX330" fmla="*/ 326383 w 1926380"/>
                <a:gd name="connsiteY330" fmla="*/ 102946 h 745576"/>
                <a:gd name="connsiteX331" fmla="*/ 295435 w 1926380"/>
                <a:gd name="connsiteY331" fmla="*/ 89333 h 745576"/>
                <a:gd name="connsiteX332" fmla="*/ 273624 w 1926380"/>
                <a:gd name="connsiteY332" fmla="*/ 80741 h 745576"/>
                <a:gd name="connsiteX333" fmla="*/ 258377 w 1926380"/>
                <a:gd name="connsiteY333" fmla="*/ 71938 h 745576"/>
                <a:gd name="connsiteX334" fmla="*/ 252841 w 1926380"/>
                <a:gd name="connsiteY334" fmla="*/ 67097 h 745576"/>
                <a:gd name="connsiteX335" fmla="*/ 250694 w 1926380"/>
                <a:gd name="connsiteY335" fmla="*/ 63891 h 745576"/>
                <a:gd name="connsiteX336" fmla="*/ 249211 w 1926380"/>
                <a:gd name="connsiteY336" fmla="*/ 62076 h 745576"/>
                <a:gd name="connsiteX337" fmla="*/ 246337 w 1926380"/>
                <a:gd name="connsiteY337" fmla="*/ 60533 h 745576"/>
                <a:gd name="connsiteX338" fmla="*/ 244734 w 1926380"/>
                <a:gd name="connsiteY338" fmla="*/ 58658 h 745576"/>
                <a:gd name="connsiteX339" fmla="*/ 243342 w 1926380"/>
                <a:gd name="connsiteY339" fmla="*/ 56389 h 745576"/>
                <a:gd name="connsiteX340" fmla="*/ 242586 w 1926380"/>
                <a:gd name="connsiteY340" fmla="*/ 54453 h 745576"/>
                <a:gd name="connsiteX341" fmla="*/ 242677 w 1926380"/>
                <a:gd name="connsiteY341" fmla="*/ 53696 h 745576"/>
                <a:gd name="connsiteX342" fmla="*/ 243161 w 1926380"/>
                <a:gd name="connsiteY342" fmla="*/ 53636 h 745576"/>
                <a:gd name="connsiteX343" fmla="*/ 243736 w 1926380"/>
                <a:gd name="connsiteY343" fmla="*/ 53636 h 745576"/>
                <a:gd name="connsiteX344" fmla="*/ 243978 w 1926380"/>
                <a:gd name="connsiteY344" fmla="*/ 53212 h 745576"/>
                <a:gd name="connsiteX345" fmla="*/ 243857 w 1926380"/>
                <a:gd name="connsiteY345" fmla="*/ 52456 h 745576"/>
                <a:gd name="connsiteX346" fmla="*/ 243584 w 1926380"/>
                <a:gd name="connsiteY346" fmla="*/ 52093 h 745576"/>
                <a:gd name="connsiteX347" fmla="*/ 243342 w 1926380"/>
                <a:gd name="connsiteY347" fmla="*/ 51881 h 745576"/>
                <a:gd name="connsiteX348" fmla="*/ 242858 w 1926380"/>
                <a:gd name="connsiteY348" fmla="*/ 50580 h 745576"/>
                <a:gd name="connsiteX349" fmla="*/ 242042 w 1926380"/>
                <a:gd name="connsiteY349" fmla="*/ 49673 h 745576"/>
                <a:gd name="connsiteX350" fmla="*/ 240196 w 1926380"/>
                <a:gd name="connsiteY350" fmla="*/ 48100 h 745576"/>
                <a:gd name="connsiteX351" fmla="*/ 239017 w 1926380"/>
                <a:gd name="connsiteY351" fmla="*/ 46466 h 745576"/>
                <a:gd name="connsiteX352" fmla="*/ 237111 w 1926380"/>
                <a:gd name="connsiteY352" fmla="*/ 40900 h 745576"/>
                <a:gd name="connsiteX353" fmla="*/ 235447 w 1926380"/>
                <a:gd name="connsiteY353" fmla="*/ 38661 h 745576"/>
                <a:gd name="connsiteX354" fmla="*/ 233632 w 1926380"/>
                <a:gd name="connsiteY354" fmla="*/ 36756 h 745576"/>
                <a:gd name="connsiteX355" fmla="*/ 232149 w 1926380"/>
                <a:gd name="connsiteY355" fmla="*/ 34517 h 745576"/>
                <a:gd name="connsiteX356" fmla="*/ 231544 w 1926380"/>
                <a:gd name="connsiteY356" fmla="*/ 31189 h 745576"/>
                <a:gd name="connsiteX357" fmla="*/ 231847 w 1926380"/>
                <a:gd name="connsiteY357" fmla="*/ 28134 h 745576"/>
                <a:gd name="connsiteX358" fmla="*/ 232694 w 1926380"/>
                <a:gd name="connsiteY358" fmla="*/ 26440 h 745576"/>
                <a:gd name="connsiteX359" fmla="*/ 234025 w 1926380"/>
                <a:gd name="connsiteY359" fmla="*/ 25774 h 745576"/>
                <a:gd name="connsiteX360" fmla="*/ 235658 w 1926380"/>
                <a:gd name="connsiteY360" fmla="*/ 25714 h 745576"/>
                <a:gd name="connsiteX361" fmla="*/ 237534 w 1926380"/>
                <a:gd name="connsiteY361" fmla="*/ 26470 h 745576"/>
                <a:gd name="connsiteX362" fmla="*/ 238563 w 1926380"/>
                <a:gd name="connsiteY362" fmla="*/ 26651 h 745576"/>
                <a:gd name="connsiteX363" fmla="*/ 239470 w 1926380"/>
                <a:gd name="connsiteY363" fmla="*/ 26107 h 745576"/>
                <a:gd name="connsiteX364" fmla="*/ 239621 w 1926380"/>
                <a:gd name="connsiteY364" fmla="*/ 25260 h 745576"/>
                <a:gd name="connsiteX365" fmla="*/ 239198 w 1926380"/>
                <a:gd name="connsiteY365" fmla="*/ 24292 h 745576"/>
                <a:gd name="connsiteX366" fmla="*/ 238563 w 1926380"/>
                <a:gd name="connsiteY366" fmla="*/ 23505 h 745576"/>
                <a:gd name="connsiteX367" fmla="*/ 238048 w 1926380"/>
                <a:gd name="connsiteY367" fmla="*/ 23203 h 745576"/>
                <a:gd name="connsiteX368" fmla="*/ 238048 w 1926380"/>
                <a:gd name="connsiteY368" fmla="*/ 21872 h 745576"/>
                <a:gd name="connsiteX369" fmla="*/ 236627 w 1926380"/>
                <a:gd name="connsiteY369" fmla="*/ 15912 h 745576"/>
                <a:gd name="connsiteX370" fmla="*/ 233027 w 1926380"/>
                <a:gd name="connsiteY370" fmla="*/ 15156 h 745576"/>
                <a:gd name="connsiteX371" fmla="*/ 231514 w 1926380"/>
                <a:gd name="connsiteY371" fmla="*/ 14702 h 745576"/>
                <a:gd name="connsiteX372" fmla="*/ 226583 w 1926380"/>
                <a:gd name="connsiteY372" fmla="*/ 15217 h 745576"/>
                <a:gd name="connsiteX373" fmla="*/ 225222 w 1926380"/>
                <a:gd name="connsiteY373" fmla="*/ 14823 h 745576"/>
                <a:gd name="connsiteX374" fmla="*/ 222560 w 1926380"/>
                <a:gd name="connsiteY374" fmla="*/ 13613 h 745576"/>
                <a:gd name="connsiteX375" fmla="*/ 220079 w 1926380"/>
                <a:gd name="connsiteY375" fmla="*/ 13038 h 745576"/>
                <a:gd name="connsiteX376" fmla="*/ 219141 w 1926380"/>
                <a:gd name="connsiteY376" fmla="*/ 13038 h 745576"/>
                <a:gd name="connsiteX377" fmla="*/ 217235 w 1926380"/>
                <a:gd name="connsiteY377" fmla="*/ 13280 h 745576"/>
                <a:gd name="connsiteX378" fmla="*/ 216812 w 1926380"/>
                <a:gd name="connsiteY378" fmla="*/ 13129 h 745576"/>
                <a:gd name="connsiteX379" fmla="*/ 216419 w 1926380"/>
                <a:gd name="connsiteY379" fmla="*/ 13068 h 745576"/>
                <a:gd name="connsiteX380" fmla="*/ 215995 w 1926380"/>
                <a:gd name="connsiteY380" fmla="*/ 13129 h 745576"/>
                <a:gd name="connsiteX381" fmla="*/ 215602 w 1926380"/>
                <a:gd name="connsiteY381" fmla="*/ 13280 h 745576"/>
                <a:gd name="connsiteX382" fmla="*/ 215299 w 1926380"/>
                <a:gd name="connsiteY382" fmla="*/ 14520 h 745576"/>
                <a:gd name="connsiteX383" fmla="*/ 215299 w 1926380"/>
                <a:gd name="connsiteY383" fmla="*/ 16184 h 745576"/>
                <a:gd name="connsiteX384" fmla="*/ 215088 w 1926380"/>
                <a:gd name="connsiteY384" fmla="*/ 17425 h 745576"/>
                <a:gd name="connsiteX385" fmla="*/ 216661 w 1926380"/>
                <a:gd name="connsiteY385" fmla="*/ 18302 h 745576"/>
                <a:gd name="connsiteX386" fmla="*/ 216358 w 1926380"/>
                <a:gd name="connsiteY386" fmla="*/ 19058 h 745576"/>
                <a:gd name="connsiteX387" fmla="*/ 215088 w 1926380"/>
                <a:gd name="connsiteY387" fmla="*/ 19512 h 745576"/>
                <a:gd name="connsiteX388" fmla="*/ 213787 w 1926380"/>
                <a:gd name="connsiteY388" fmla="*/ 19573 h 745576"/>
                <a:gd name="connsiteX389" fmla="*/ 212395 w 1926380"/>
                <a:gd name="connsiteY389" fmla="*/ 19149 h 745576"/>
                <a:gd name="connsiteX390" fmla="*/ 207131 w 1926380"/>
                <a:gd name="connsiteY390" fmla="*/ 16487 h 745576"/>
                <a:gd name="connsiteX391" fmla="*/ 203411 w 1926380"/>
                <a:gd name="connsiteY391" fmla="*/ 16366 h 745576"/>
                <a:gd name="connsiteX392" fmla="*/ 195575 w 1926380"/>
                <a:gd name="connsiteY392" fmla="*/ 18242 h 745576"/>
                <a:gd name="connsiteX393" fmla="*/ 195333 w 1926380"/>
                <a:gd name="connsiteY393" fmla="*/ 19482 h 745576"/>
                <a:gd name="connsiteX394" fmla="*/ 194970 w 1926380"/>
                <a:gd name="connsiteY394" fmla="*/ 20087 h 745576"/>
                <a:gd name="connsiteX395" fmla="*/ 194456 w 1926380"/>
                <a:gd name="connsiteY395" fmla="*/ 20087 h 745576"/>
                <a:gd name="connsiteX396" fmla="*/ 193700 w 1926380"/>
                <a:gd name="connsiteY396" fmla="*/ 19542 h 745576"/>
                <a:gd name="connsiteX397" fmla="*/ 192883 w 1926380"/>
                <a:gd name="connsiteY397" fmla="*/ 20541 h 745576"/>
                <a:gd name="connsiteX398" fmla="*/ 191854 w 1926380"/>
                <a:gd name="connsiteY398" fmla="*/ 21176 h 745576"/>
                <a:gd name="connsiteX399" fmla="*/ 189707 w 1926380"/>
                <a:gd name="connsiteY399" fmla="*/ 21872 h 745576"/>
                <a:gd name="connsiteX400" fmla="*/ 189828 w 1926380"/>
                <a:gd name="connsiteY400" fmla="*/ 22174 h 745576"/>
                <a:gd name="connsiteX401" fmla="*/ 190100 w 1926380"/>
                <a:gd name="connsiteY401" fmla="*/ 22356 h 745576"/>
                <a:gd name="connsiteX402" fmla="*/ 190402 w 1926380"/>
                <a:gd name="connsiteY402" fmla="*/ 22507 h 745576"/>
                <a:gd name="connsiteX403" fmla="*/ 190675 w 1926380"/>
                <a:gd name="connsiteY403" fmla="*/ 22689 h 745576"/>
                <a:gd name="connsiteX404" fmla="*/ 190342 w 1926380"/>
                <a:gd name="connsiteY404" fmla="*/ 22961 h 745576"/>
                <a:gd name="connsiteX405" fmla="*/ 189707 w 1926380"/>
                <a:gd name="connsiteY405" fmla="*/ 23263 h 745576"/>
                <a:gd name="connsiteX406" fmla="*/ 189465 w 1926380"/>
                <a:gd name="connsiteY406" fmla="*/ 23536 h 745576"/>
                <a:gd name="connsiteX407" fmla="*/ 190856 w 1926380"/>
                <a:gd name="connsiteY407" fmla="*/ 24080 h 745576"/>
                <a:gd name="connsiteX408" fmla="*/ 189222 w 1926380"/>
                <a:gd name="connsiteY408" fmla="*/ 24745 h 745576"/>
                <a:gd name="connsiteX409" fmla="*/ 187892 w 1926380"/>
                <a:gd name="connsiteY409" fmla="*/ 23899 h 745576"/>
                <a:gd name="connsiteX410" fmla="*/ 185502 w 1926380"/>
                <a:gd name="connsiteY410" fmla="*/ 20783 h 745576"/>
                <a:gd name="connsiteX411" fmla="*/ 183959 w 1926380"/>
                <a:gd name="connsiteY411" fmla="*/ 19573 h 745576"/>
                <a:gd name="connsiteX412" fmla="*/ 176578 w 1926380"/>
                <a:gd name="connsiteY412" fmla="*/ 15761 h 745576"/>
                <a:gd name="connsiteX413" fmla="*/ 174157 w 1926380"/>
                <a:gd name="connsiteY413" fmla="*/ 13825 h 745576"/>
                <a:gd name="connsiteX414" fmla="*/ 171919 w 1926380"/>
                <a:gd name="connsiteY414" fmla="*/ 11405 h 745576"/>
                <a:gd name="connsiteX415" fmla="*/ 167653 w 1926380"/>
                <a:gd name="connsiteY415" fmla="*/ 5355 h 745576"/>
                <a:gd name="connsiteX416" fmla="*/ 164931 w 1926380"/>
                <a:gd name="connsiteY416" fmla="*/ 2843 h 745576"/>
                <a:gd name="connsiteX417" fmla="*/ 161694 w 1926380"/>
                <a:gd name="connsiteY417" fmla="*/ 1089 h 745576"/>
                <a:gd name="connsiteX418" fmla="*/ 158154 w 1926380"/>
                <a:gd name="connsiteY418" fmla="*/ 333 h 745576"/>
                <a:gd name="connsiteX419" fmla="*/ 155946 w 1926380"/>
                <a:gd name="connsiteY419" fmla="*/ 605 h 745576"/>
                <a:gd name="connsiteX420" fmla="*/ 154676 w 1926380"/>
                <a:gd name="connsiteY420" fmla="*/ 1543 h 745576"/>
                <a:gd name="connsiteX421" fmla="*/ 152437 w 1926380"/>
                <a:gd name="connsiteY421" fmla="*/ 4296 h 745576"/>
                <a:gd name="connsiteX422" fmla="*/ 152195 w 1926380"/>
                <a:gd name="connsiteY422" fmla="*/ 4810 h 745576"/>
                <a:gd name="connsiteX423" fmla="*/ 152104 w 1926380"/>
                <a:gd name="connsiteY423" fmla="*/ 5233 h 745576"/>
                <a:gd name="connsiteX424" fmla="*/ 151650 w 1926380"/>
                <a:gd name="connsiteY424" fmla="*/ 5415 h 745576"/>
                <a:gd name="connsiteX425" fmla="*/ 149200 w 1926380"/>
                <a:gd name="connsiteY425" fmla="*/ 4840 h 745576"/>
                <a:gd name="connsiteX426" fmla="*/ 146961 w 1926380"/>
                <a:gd name="connsiteY426" fmla="*/ 4719 h 745576"/>
                <a:gd name="connsiteX427" fmla="*/ 145842 w 1926380"/>
                <a:gd name="connsiteY427" fmla="*/ 4840 h 745576"/>
                <a:gd name="connsiteX428" fmla="*/ 144299 w 1926380"/>
                <a:gd name="connsiteY428" fmla="*/ 3660 h 745576"/>
                <a:gd name="connsiteX429" fmla="*/ 142605 w 1926380"/>
                <a:gd name="connsiteY429" fmla="*/ 2753 h 745576"/>
                <a:gd name="connsiteX430" fmla="*/ 140760 w 1926380"/>
                <a:gd name="connsiteY430" fmla="*/ 2208 h 745576"/>
                <a:gd name="connsiteX431" fmla="*/ 138854 w 1926380"/>
                <a:gd name="connsiteY431" fmla="*/ 2208 h 745576"/>
                <a:gd name="connsiteX432" fmla="*/ 136434 w 1926380"/>
                <a:gd name="connsiteY432" fmla="*/ 3297 h 745576"/>
                <a:gd name="connsiteX433" fmla="*/ 134195 w 1926380"/>
                <a:gd name="connsiteY433" fmla="*/ 7170 h 745576"/>
                <a:gd name="connsiteX434" fmla="*/ 132259 w 1926380"/>
                <a:gd name="connsiteY434" fmla="*/ 8380 h 745576"/>
                <a:gd name="connsiteX435" fmla="*/ 130868 w 1926380"/>
                <a:gd name="connsiteY435" fmla="*/ 8924 h 745576"/>
                <a:gd name="connsiteX436" fmla="*/ 129960 w 1926380"/>
                <a:gd name="connsiteY436" fmla="*/ 10195 h 745576"/>
                <a:gd name="connsiteX437" fmla="*/ 129143 w 1926380"/>
                <a:gd name="connsiteY437" fmla="*/ 11707 h 745576"/>
                <a:gd name="connsiteX438" fmla="*/ 128024 w 1926380"/>
                <a:gd name="connsiteY438" fmla="*/ 12948 h 745576"/>
                <a:gd name="connsiteX439" fmla="*/ 127146 w 1926380"/>
                <a:gd name="connsiteY439" fmla="*/ 13159 h 745576"/>
                <a:gd name="connsiteX440" fmla="*/ 125271 w 1926380"/>
                <a:gd name="connsiteY440" fmla="*/ 12887 h 745576"/>
                <a:gd name="connsiteX441" fmla="*/ 124242 w 1926380"/>
                <a:gd name="connsiteY441" fmla="*/ 13311 h 745576"/>
                <a:gd name="connsiteX442" fmla="*/ 123153 w 1926380"/>
                <a:gd name="connsiteY442" fmla="*/ 14309 h 745576"/>
                <a:gd name="connsiteX443" fmla="*/ 122246 w 1926380"/>
                <a:gd name="connsiteY443" fmla="*/ 14309 h 745576"/>
                <a:gd name="connsiteX444" fmla="*/ 121308 w 1926380"/>
                <a:gd name="connsiteY444" fmla="*/ 13976 h 745576"/>
                <a:gd name="connsiteX445" fmla="*/ 120219 w 1926380"/>
                <a:gd name="connsiteY445" fmla="*/ 13976 h 745576"/>
                <a:gd name="connsiteX446" fmla="*/ 119130 w 1926380"/>
                <a:gd name="connsiteY446" fmla="*/ 14642 h 745576"/>
                <a:gd name="connsiteX447" fmla="*/ 117890 w 1926380"/>
                <a:gd name="connsiteY447" fmla="*/ 15580 h 745576"/>
                <a:gd name="connsiteX448" fmla="*/ 116861 w 1926380"/>
                <a:gd name="connsiteY448" fmla="*/ 16366 h 745576"/>
                <a:gd name="connsiteX449" fmla="*/ 116014 w 1926380"/>
                <a:gd name="connsiteY449" fmla="*/ 16759 h 745576"/>
                <a:gd name="connsiteX450" fmla="*/ 114895 w 1926380"/>
                <a:gd name="connsiteY450" fmla="*/ 16457 h 745576"/>
                <a:gd name="connsiteX451" fmla="*/ 113050 w 1926380"/>
                <a:gd name="connsiteY451" fmla="*/ 14974 h 745576"/>
                <a:gd name="connsiteX452" fmla="*/ 112112 w 1926380"/>
                <a:gd name="connsiteY452" fmla="*/ 14551 h 745576"/>
                <a:gd name="connsiteX453" fmla="*/ 110901 w 1926380"/>
                <a:gd name="connsiteY453" fmla="*/ 14884 h 745576"/>
                <a:gd name="connsiteX454" fmla="*/ 108723 w 1926380"/>
                <a:gd name="connsiteY454" fmla="*/ 16910 h 745576"/>
                <a:gd name="connsiteX455" fmla="*/ 107695 w 1926380"/>
                <a:gd name="connsiteY455" fmla="*/ 17606 h 745576"/>
                <a:gd name="connsiteX456" fmla="*/ 105759 w 1926380"/>
                <a:gd name="connsiteY456" fmla="*/ 17818 h 745576"/>
                <a:gd name="connsiteX457" fmla="*/ 96320 w 1926380"/>
                <a:gd name="connsiteY457" fmla="*/ 16366 h 745576"/>
                <a:gd name="connsiteX458" fmla="*/ 94505 w 1926380"/>
                <a:gd name="connsiteY458" fmla="*/ 16578 h 745576"/>
                <a:gd name="connsiteX459" fmla="*/ 92872 w 1926380"/>
                <a:gd name="connsiteY459" fmla="*/ 17667 h 745576"/>
                <a:gd name="connsiteX460" fmla="*/ 89968 w 1926380"/>
                <a:gd name="connsiteY460" fmla="*/ 20541 h 745576"/>
                <a:gd name="connsiteX461" fmla="*/ 89211 w 1926380"/>
                <a:gd name="connsiteY461" fmla="*/ 21055 h 745576"/>
                <a:gd name="connsiteX462" fmla="*/ 88576 w 1926380"/>
                <a:gd name="connsiteY462" fmla="*/ 21630 h 745576"/>
                <a:gd name="connsiteX463" fmla="*/ 88153 w 1926380"/>
                <a:gd name="connsiteY463" fmla="*/ 22447 h 745576"/>
                <a:gd name="connsiteX464" fmla="*/ 88334 w 1926380"/>
                <a:gd name="connsiteY464" fmla="*/ 22930 h 745576"/>
                <a:gd name="connsiteX465" fmla="*/ 89544 w 1926380"/>
                <a:gd name="connsiteY465" fmla="*/ 23626 h 745576"/>
                <a:gd name="connsiteX466" fmla="*/ 89847 w 1926380"/>
                <a:gd name="connsiteY466" fmla="*/ 24050 h 745576"/>
                <a:gd name="connsiteX467" fmla="*/ 89756 w 1926380"/>
                <a:gd name="connsiteY467" fmla="*/ 24745 h 745576"/>
                <a:gd name="connsiteX468" fmla="*/ 89332 w 1926380"/>
                <a:gd name="connsiteY468" fmla="*/ 25835 h 745576"/>
                <a:gd name="connsiteX469" fmla="*/ 89211 w 1926380"/>
                <a:gd name="connsiteY469" fmla="*/ 26500 h 745576"/>
                <a:gd name="connsiteX470" fmla="*/ 89151 w 1926380"/>
                <a:gd name="connsiteY470" fmla="*/ 27257 h 745576"/>
                <a:gd name="connsiteX471" fmla="*/ 89060 w 1926380"/>
                <a:gd name="connsiteY471" fmla="*/ 28134 h 745576"/>
                <a:gd name="connsiteX472" fmla="*/ 88636 w 1926380"/>
                <a:gd name="connsiteY472" fmla="*/ 30402 h 745576"/>
                <a:gd name="connsiteX473" fmla="*/ 87789 w 1926380"/>
                <a:gd name="connsiteY473" fmla="*/ 32671 h 745576"/>
                <a:gd name="connsiteX474" fmla="*/ 86458 w 1926380"/>
                <a:gd name="connsiteY474" fmla="*/ 34366 h 745576"/>
                <a:gd name="connsiteX475" fmla="*/ 81649 w 1926380"/>
                <a:gd name="connsiteY475" fmla="*/ 35696 h 745576"/>
                <a:gd name="connsiteX476" fmla="*/ 71302 w 1926380"/>
                <a:gd name="connsiteY476" fmla="*/ 35304 h 745576"/>
                <a:gd name="connsiteX477" fmla="*/ 67128 w 1926380"/>
                <a:gd name="connsiteY477" fmla="*/ 38661 h 745576"/>
                <a:gd name="connsiteX478" fmla="*/ 65706 w 1926380"/>
                <a:gd name="connsiteY478" fmla="*/ 41626 h 745576"/>
                <a:gd name="connsiteX479" fmla="*/ 65313 w 1926380"/>
                <a:gd name="connsiteY479" fmla="*/ 44318 h 745576"/>
                <a:gd name="connsiteX480" fmla="*/ 66008 w 1926380"/>
                <a:gd name="connsiteY480" fmla="*/ 46799 h 745576"/>
                <a:gd name="connsiteX481" fmla="*/ 67037 w 1926380"/>
                <a:gd name="connsiteY481" fmla="*/ 48130 h 745576"/>
                <a:gd name="connsiteX482" fmla="*/ 69669 w 1926380"/>
                <a:gd name="connsiteY482" fmla="*/ 47888 h 745576"/>
                <a:gd name="connsiteX483" fmla="*/ 71484 w 1926380"/>
                <a:gd name="connsiteY483" fmla="*/ 48402 h 745576"/>
                <a:gd name="connsiteX484" fmla="*/ 74176 w 1926380"/>
                <a:gd name="connsiteY484" fmla="*/ 50732 h 745576"/>
                <a:gd name="connsiteX485" fmla="*/ 78048 w 1926380"/>
                <a:gd name="connsiteY485" fmla="*/ 51639 h 745576"/>
                <a:gd name="connsiteX486" fmla="*/ 79803 w 1926380"/>
                <a:gd name="connsiteY486" fmla="*/ 52335 h 745576"/>
                <a:gd name="connsiteX487" fmla="*/ 81406 w 1926380"/>
                <a:gd name="connsiteY487" fmla="*/ 52698 h 745576"/>
                <a:gd name="connsiteX488" fmla="*/ 81104 w 1926380"/>
                <a:gd name="connsiteY488" fmla="*/ 54513 h 745576"/>
                <a:gd name="connsiteX489" fmla="*/ 80226 w 1926380"/>
                <a:gd name="connsiteY489" fmla="*/ 56056 h 745576"/>
                <a:gd name="connsiteX490" fmla="*/ 85944 w 1926380"/>
                <a:gd name="connsiteY490" fmla="*/ 60019 h 745576"/>
                <a:gd name="connsiteX491" fmla="*/ 90512 w 1926380"/>
                <a:gd name="connsiteY491" fmla="*/ 62197 h 745576"/>
                <a:gd name="connsiteX492" fmla="*/ 91511 w 1926380"/>
                <a:gd name="connsiteY492" fmla="*/ 63165 h 745576"/>
                <a:gd name="connsiteX493" fmla="*/ 93416 w 1926380"/>
                <a:gd name="connsiteY493" fmla="*/ 60503 h 745576"/>
                <a:gd name="connsiteX494" fmla="*/ 93416 w 1926380"/>
                <a:gd name="connsiteY494" fmla="*/ 61440 h 745576"/>
                <a:gd name="connsiteX495" fmla="*/ 93507 w 1926380"/>
                <a:gd name="connsiteY495" fmla="*/ 62348 h 745576"/>
                <a:gd name="connsiteX496" fmla="*/ 93719 w 1926380"/>
                <a:gd name="connsiteY496" fmla="*/ 63195 h 745576"/>
                <a:gd name="connsiteX497" fmla="*/ 94082 w 1926380"/>
                <a:gd name="connsiteY497" fmla="*/ 63891 h 745576"/>
                <a:gd name="connsiteX498" fmla="*/ 93658 w 1926380"/>
                <a:gd name="connsiteY498" fmla="*/ 65343 h 745576"/>
                <a:gd name="connsiteX499" fmla="*/ 94021 w 1926380"/>
                <a:gd name="connsiteY499" fmla="*/ 68550 h 745576"/>
                <a:gd name="connsiteX500" fmla="*/ 93386 w 1926380"/>
                <a:gd name="connsiteY500" fmla="*/ 69790 h 745576"/>
                <a:gd name="connsiteX501" fmla="*/ 94475 w 1926380"/>
                <a:gd name="connsiteY501" fmla="*/ 71545 h 745576"/>
                <a:gd name="connsiteX502" fmla="*/ 94959 w 1926380"/>
                <a:gd name="connsiteY502" fmla="*/ 73692 h 745576"/>
                <a:gd name="connsiteX503" fmla="*/ 95443 w 1926380"/>
                <a:gd name="connsiteY503" fmla="*/ 78260 h 745576"/>
                <a:gd name="connsiteX504" fmla="*/ 97077 w 1926380"/>
                <a:gd name="connsiteY504" fmla="*/ 84280 h 745576"/>
                <a:gd name="connsiteX505" fmla="*/ 97500 w 1926380"/>
                <a:gd name="connsiteY505" fmla="*/ 86761 h 745576"/>
                <a:gd name="connsiteX506" fmla="*/ 97500 w 1926380"/>
                <a:gd name="connsiteY506" fmla="*/ 89363 h 745576"/>
                <a:gd name="connsiteX507" fmla="*/ 97016 w 1926380"/>
                <a:gd name="connsiteY507" fmla="*/ 91934 h 745576"/>
                <a:gd name="connsiteX508" fmla="*/ 96108 w 1926380"/>
                <a:gd name="connsiteY508" fmla="*/ 94052 h 745576"/>
                <a:gd name="connsiteX509" fmla="*/ 94808 w 1926380"/>
                <a:gd name="connsiteY509" fmla="*/ 95231 h 745576"/>
                <a:gd name="connsiteX510" fmla="*/ 92932 w 1926380"/>
                <a:gd name="connsiteY510" fmla="*/ 95383 h 745576"/>
                <a:gd name="connsiteX511" fmla="*/ 90785 w 1926380"/>
                <a:gd name="connsiteY511" fmla="*/ 94838 h 745576"/>
                <a:gd name="connsiteX512" fmla="*/ 88879 w 1926380"/>
                <a:gd name="connsiteY512" fmla="*/ 93840 h 745576"/>
                <a:gd name="connsiteX513" fmla="*/ 87820 w 1926380"/>
                <a:gd name="connsiteY513" fmla="*/ 92600 h 745576"/>
                <a:gd name="connsiteX514" fmla="*/ 82707 w 1926380"/>
                <a:gd name="connsiteY514" fmla="*/ 97621 h 745576"/>
                <a:gd name="connsiteX515" fmla="*/ 81649 w 1926380"/>
                <a:gd name="connsiteY515" fmla="*/ 97772 h 745576"/>
                <a:gd name="connsiteX516" fmla="*/ 81225 w 1926380"/>
                <a:gd name="connsiteY516" fmla="*/ 98166 h 745576"/>
                <a:gd name="connsiteX517" fmla="*/ 80983 w 1926380"/>
                <a:gd name="connsiteY517" fmla="*/ 98710 h 745576"/>
                <a:gd name="connsiteX518" fmla="*/ 80408 w 1926380"/>
                <a:gd name="connsiteY518" fmla="*/ 99285 h 745576"/>
                <a:gd name="connsiteX519" fmla="*/ 77595 w 1926380"/>
                <a:gd name="connsiteY519" fmla="*/ 100949 h 745576"/>
                <a:gd name="connsiteX520" fmla="*/ 74932 w 1926380"/>
                <a:gd name="connsiteY520" fmla="*/ 103157 h 745576"/>
                <a:gd name="connsiteX521" fmla="*/ 73208 w 1926380"/>
                <a:gd name="connsiteY521" fmla="*/ 103974 h 745576"/>
                <a:gd name="connsiteX522" fmla="*/ 66825 w 1926380"/>
                <a:gd name="connsiteY522" fmla="*/ 104579 h 745576"/>
                <a:gd name="connsiteX523" fmla="*/ 65706 w 1926380"/>
                <a:gd name="connsiteY523" fmla="*/ 105547 h 745576"/>
                <a:gd name="connsiteX524" fmla="*/ 67249 w 1926380"/>
                <a:gd name="connsiteY524" fmla="*/ 107665 h 745576"/>
                <a:gd name="connsiteX525" fmla="*/ 66190 w 1926380"/>
                <a:gd name="connsiteY525" fmla="*/ 110357 h 745576"/>
                <a:gd name="connsiteX526" fmla="*/ 65736 w 1926380"/>
                <a:gd name="connsiteY526" fmla="*/ 112717 h 745576"/>
                <a:gd name="connsiteX527" fmla="*/ 66069 w 1926380"/>
                <a:gd name="connsiteY527" fmla="*/ 114895 h 745576"/>
                <a:gd name="connsiteX528" fmla="*/ 67249 w 1926380"/>
                <a:gd name="connsiteY528" fmla="*/ 117012 h 745576"/>
                <a:gd name="connsiteX529" fmla="*/ 65373 w 1926380"/>
                <a:gd name="connsiteY529" fmla="*/ 119735 h 745576"/>
                <a:gd name="connsiteX530" fmla="*/ 65373 w 1926380"/>
                <a:gd name="connsiteY530" fmla="*/ 120734 h 745576"/>
                <a:gd name="connsiteX531" fmla="*/ 66886 w 1926380"/>
                <a:gd name="connsiteY531" fmla="*/ 121127 h 745576"/>
                <a:gd name="connsiteX532" fmla="*/ 67582 w 1926380"/>
                <a:gd name="connsiteY532" fmla="*/ 121701 h 745576"/>
                <a:gd name="connsiteX533" fmla="*/ 65857 w 1926380"/>
                <a:gd name="connsiteY533" fmla="*/ 124878 h 745576"/>
                <a:gd name="connsiteX534" fmla="*/ 66130 w 1926380"/>
                <a:gd name="connsiteY534" fmla="*/ 126663 h 745576"/>
                <a:gd name="connsiteX535" fmla="*/ 67521 w 1926380"/>
                <a:gd name="connsiteY535" fmla="*/ 129416 h 745576"/>
                <a:gd name="connsiteX536" fmla="*/ 68398 w 1926380"/>
                <a:gd name="connsiteY536" fmla="*/ 130716 h 745576"/>
                <a:gd name="connsiteX537" fmla="*/ 71091 w 1926380"/>
                <a:gd name="connsiteY537" fmla="*/ 131926 h 745576"/>
                <a:gd name="connsiteX538" fmla="*/ 71181 w 1926380"/>
                <a:gd name="connsiteY538" fmla="*/ 133348 h 745576"/>
                <a:gd name="connsiteX539" fmla="*/ 70486 w 1926380"/>
                <a:gd name="connsiteY539" fmla="*/ 134770 h 745576"/>
                <a:gd name="connsiteX540" fmla="*/ 69609 w 1926380"/>
                <a:gd name="connsiteY540" fmla="*/ 135436 h 745576"/>
                <a:gd name="connsiteX541" fmla="*/ 68096 w 1926380"/>
                <a:gd name="connsiteY541" fmla="*/ 135587 h 745576"/>
                <a:gd name="connsiteX542" fmla="*/ 67219 w 1926380"/>
                <a:gd name="connsiteY542" fmla="*/ 136071 h 745576"/>
                <a:gd name="connsiteX543" fmla="*/ 66946 w 1926380"/>
                <a:gd name="connsiteY543" fmla="*/ 136857 h 745576"/>
                <a:gd name="connsiteX544" fmla="*/ 67219 w 1926380"/>
                <a:gd name="connsiteY544" fmla="*/ 137946 h 745576"/>
                <a:gd name="connsiteX545" fmla="*/ 68277 w 1926380"/>
                <a:gd name="connsiteY545" fmla="*/ 139187 h 745576"/>
                <a:gd name="connsiteX546" fmla="*/ 69246 w 1926380"/>
                <a:gd name="connsiteY546" fmla="*/ 139610 h 745576"/>
                <a:gd name="connsiteX547" fmla="*/ 69548 w 1926380"/>
                <a:gd name="connsiteY547" fmla="*/ 140034 h 745576"/>
                <a:gd name="connsiteX548" fmla="*/ 68549 w 1926380"/>
                <a:gd name="connsiteY548" fmla="*/ 141274 h 745576"/>
                <a:gd name="connsiteX549" fmla="*/ 67128 w 1926380"/>
                <a:gd name="connsiteY549" fmla="*/ 142273 h 745576"/>
                <a:gd name="connsiteX550" fmla="*/ 64254 w 1926380"/>
                <a:gd name="connsiteY550" fmla="*/ 143543 h 745576"/>
                <a:gd name="connsiteX551" fmla="*/ 63044 w 1926380"/>
                <a:gd name="connsiteY551" fmla="*/ 144692 h 745576"/>
                <a:gd name="connsiteX552" fmla="*/ 63346 w 1926380"/>
                <a:gd name="connsiteY552" fmla="*/ 145207 h 745576"/>
                <a:gd name="connsiteX553" fmla="*/ 63952 w 1926380"/>
                <a:gd name="connsiteY553" fmla="*/ 146054 h 745576"/>
                <a:gd name="connsiteX554" fmla="*/ 64012 w 1926380"/>
                <a:gd name="connsiteY554" fmla="*/ 146841 h 745576"/>
                <a:gd name="connsiteX555" fmla="*/ 62681 w 1926380"/>
                <a:gd name="connsiteY555" fmla="*/ 147204 h 745576"/>
                <a:gd name="connsiteX556" fmla="*/ 61834 w 1926380"/>
                <a:gd name="connsiteY556" fmla="*/ 147052 h 745576"/>
                <a:gd name="connsiteX557" fmla="*/ 61108 w 1926380"/>
                <a:gd name="connsiteY557" fmla="*/ 146689 h 745576"/>
                <a:gd name="connsiteX558" fmla="*/ 60593 w 1926380"/>
                <a:gd name="connsiteY558" fmla="*/ 146114 h 745576"/>
                <a:gd name="connsiteX559" fmla="*/ 60261 w 1926380"/>
                <a:gd name="connsiteY559" fmla="*/ 145449 h 745576"/>
                <a:gd name="connsiteX560" fmla="*/ 59625 w 1926380"/>
                <a:gd name="connsiteY560" fmla="*/ 145449 h 745576"/>
                <a:gd name="connsiteX561" fmla="*/ 58809 w 1926380"/>
                <a:gd name="connsiteY561" fmla="*/ 147869 h 745576"/>
                <a:gd name="connsiteX562" fmla="*/ 58234 w 1926380"/>
                <a:gd name="connsiteY562" fmla="*/ 148988 h 745576"/>
                <a:gd name="connsiteX563" fmla="*/ 57508 w 1926380"/>
                <a:gd name="connsiteY563" fmla="*/ 149684 h 745576"/>
                <a:gd name="connsiteX564" fmla="*/ 56812 w 1926380"/>
                <a:gd name="connsiteY564" fmla="*/ 149684 h 745576"/>
                <a:gd name="connsiteX565" fmla="*/ 56691 w 1926380"/>
                <a:gd name="connsiteY565" fmla="*/ 149170 h 745576"/>
                <a:gd name="connsiteX566" fmla="*/ 56177 w 1926380"/>
                <a:gd name="connsiteY566" fmla="*/ 148020 h 745576"/>
                <a:gd name="connsiteX567" fmla="*/ 56177 w 1926380"/>
                <a:gd name="connsiteY567" fmla="*/ 149321 h 745576"/>
                <a:gd name="connsiteX568" fmla="*/ 56086 w 1926380"/>
                <a:gd name="connsiteY568" fmla="*/ 149956 h 745576"/>
                <a:gd name="connsiteX569" fmla="*/ 55632 w 1926380"/>
                <a:gd name="connsiteY569" fmla="*/ 150259 h 745576"/>
                <a:gd name="connsiteX570" fmla="*/ 54725 w 1926380"/>
                <a:gd name="connsiteY570" fmla="*/ 150471 h 745576"/>
                <a:gd name="connsiteX571" fmla="*/ 54664 w 1926380"/>
                <a:gd name="connsiteY571" fmla="*/ 151045 h 745576"/>
                <a:gd name="connsiteX572" fmla="*/ 54816 w 1926380"/>
                <a:gd name="connsiteY572" fmla="*/ 151227 h 745576"/>
                <a:gd name="connsiteX573" fmla="*/ 55057 w 1926380"/>
                <a:gd name="connsiteY573" fmla="*/ 151227 h 745576"/>
                <a:gd name="connsiteX574" fmla="*/ 55420 w 1926380"/>
                <a:gd name="connsiteY574" fmla="*/ 151378 h 745576"/>
                <a:gd name="connsiteX575" fmla="*/ 54422 w 1926380"/>
                <a:gd name="connsiteY575" fmla="*/ 151801 h 745576"/>
                <a:gd name="connsiteX576" fmla="*/ 54120 w 1926380"/>
                <a:gd name="connsiteY576" fmla="*/ 152225 h 745576"/>
                <a:gd name="connsiteX577" fmla="*/ 54059 w 1926380"/>
                <a:gd name="connsiteY577" fmla="*/ 153042 h 745576"/>
                <a:gd name="connsiteX578" fmla="*/ 54755 w 1926380"/>
                <a:gd name="connsiteY578" fmla="*/ 154373 h 745576"/>
                <a:gd name="connsiteX579" fmla="*/ 49370 w 1926380"/>
                <a:gd name="connsiteY579" fmla="*/ 158669 h 745576"/>
                <a:gd name="connsiteX580" fmla="*/ 47827 w 1926380"/>
                <a:gd name="connsiteY580" fmla="*/ 160907 h 745576"/>
                <a:gd name="connsiteX581" fmla="*/ 46980 w 1926380"/>
                <a:gd name="connsiteY581" fmla="*/ 164144 h 745576"/>
                <a:gd name="connsiteX582" fmla="*/ 44742 w 1926380"/>
                <a:gd name="connsiteY582" fmla="*/ 166594 h 745576"/>
                <a:gd name="connsiteX583" fmla="*/ 41656 w 1926380"/>
                <a:gd name="connsiteY583" fmla="*/ 167986 h 745576"/>
                <a:gd name="connsiteX584" fmla="*/ 37874 w 1926380"/>
                <a:gd name="connsiteY584" fmla="*/ 167623 h 745576"/>
                <a:gd name="connsiteX585" fmla="*/ 37542 w 1926380"/>
                <a:gd name="connsiteY585" fmla="*/ 167865 h 745576"/>
                <a:gd name="connsiteX586" fmla="*/ 36785 w 1926380"/>
                <a:gd name="connsiteY586" fmla="*/ 168046 h 745576"/>
                <a:gd name="connsiteX587" fmla="*/ 38298 w 1926380"/>
                <a:gd name="connsiteY587" fmla="*/ 169922 h 745576"/>
                <a:gd name="connsiteX588" fmla="*/ 39297 w 1926380"/>
                <a:gd name="connsiteY588" fmla="*/ 172614 h 745576"/>
                <a:gd name="connsiteX589" fmla="*/ 1917850 w 1926380"/>
                <a:gd name="connsiteY589" fmla="*/ 570875 h 745576"/>
                <a:gd name="connsiteX590" fmla="*/ 1917003 w 1926380"/>
                <a:gd name="connsiteY590" fmla="*/ 569302 h 745576"/>
                <a:gd name="connsiteX591" fmla="*/ 1916398 w 1926380"/>
                <a:gd name="connsiteY591" fmla="*/ 567668 h 745576"/>
                <a:gd name="connsiteX592" fmla="*/ 1915491 w 1926380"/>
                <a:gd name="connsiteY592" fmla="*/ 566639 h 745576"/>
                <a:gd name="connsiteX593" fmla="*/ 1911830 w 1926380"/>
                <a:gd name="connsiteY593" fmla="*/ 567154 h 745576"/>
                <a:gd name="connsiteX594" fmla="*/ 1910892 w 1926380"/>
                <a:gd name="connsiteY594" fmla="*/ 566156 h 745576"/>
                <a:gd name="connsiteX595" fmla="*/ 1909471 w 1926380"/>
                <a:gd name="connsiteY595" fmla="*/ 562828 h 745576"/>
                <a:gd name="connsiteX596" fmla="*/ 1907898 w 1926380"/>
                <a:gd name="connsiteY596" fmla="*/ 561739 h 745576"/>
                <a:gd name="connsiteX597" fmla="*/ 1904177 w 1926380"/>
                <a:gd name="connsiteY597" fmla="*/ 561436 h 745576"/>
                <a:gd name="connsiteX598" fmla="*/ 1902815 w 1926380"/>
                <a:gd name="connsiteY598" fmla="*/ 560710 h 745576"/>
                <a:gd name="connsiteX599" fmla="*/ 1902180 w 1926380"/>
                <a:gd name="connsiteY599" fmla="*/ 558835 h 745576"/>
                <a:gd name="connsiteX600" fmla="*/ 1903541 w 1926380"/>
                <a:gd name="connsiteY600" fmla="*/ 555356 h 745576"/>
                <a:gd name="connsiteX601" fmla="*/ 1903118 w 1926380"/>
                <a:gd name="connsiteY601" fmla="*/ 553389 h 745576"/>
                <a:gd name="connsiteX602" fmla="*/ 1903118 w 1926380"/>
                <a:gd name="connsiteY602" fmla="*/ 553389 h 745576"/>
                <a:gd name="connsiteX603" fmla="*/ 1902573 w 1926380"/>
                <a:gd name="connsiteY603" fmla="*/ 551000 h 745576"/>
                <a:gd name="connsiteX604" fmla="*/ 1902754 w 1926380"/>
                <a:gd name="connsiteY604" fmla="*/ 548126 h 745576"/>
                <a:gd name="connsiteX605" fmla="*/ 1903390 w 1926380"/>
                <a:gd name="connsiteY605" fmla="*/ 545252 h 745576"/>
                <a:gd name="connsiteX606" fmla="*/ 1904297 w 1926380"/>
                <a:gd name="connsiteY606" fmla="*/ 542922 h 745576"/>
                <a:gd name="connsiteX607" fmla="*/ 1903904 w 1926380"/>
                <a:gd name="connsiteY607" fmla="*/ 540926 h 745576"/>
                <a:gd name="connsiteX608" fmla="*/ 1901635 w 1926380"/>
                <a:gd name="connsiteY608" fmla="*/ 539353 h 745576"/>
                <a:gd name="connsiteX609" fmla="*/ 1899609 w 1926380"/>
                <a:gd name="connsiteY609" fmla="*/ 537265 h 745576"/>
                <a:gd name="connsiteX610" fmla="*/ 1900062 w 1926380"/>
                <a:gd name="connsiteY610" fmla="*/ 533726 h 745576"/>
                <a:gd name="connsiteX611" fmla="*/ 1900879 w 1926380"/>
                <a:gd name="connsiteY611" fmla="*/ 532697 h 745576"/>
                <a:gd name="connsiteX612" fmla="*/ 1904358 w 1926380"/>
                <a:gd name="connsiteY612" fmla="*/ 530126 h 745576"/>
                <a:gd name="connsiteX613" fmla="*/ 1905386 w 1926380"/>
                <a:gd name="connsiteY613" fmla="*/ 528614 h 745576"/>
                <a:gd name="connsiteX614" fmla="*/ 1905144 w 1926380"/>
                <a:gd name="connsiteY614" fmla="*/ 527525 h 745576"/>
                <a:gd name="connsiteX615" fmla="*/ 1901454 w 1926380"/>
                <a:gd name="connsiteY615" fmla="*/ 523380 h 745576"/>
                <a:gd name="connsiteX616" fmla="*/ 1898943 w 1926380"/>
                <a:gd name="connsiteY616" fmla="*/ 521383 h 745576"/>
                <a:gd name="connsiteX617" fmla="*/ 1896129 w 1926380"/>
                <a:gd name="connsiteY617" fmla="*/ 520204 h 745576"/>
                <a:gd name="connsiteX618" fmla="*/ 1893407 w 1926380"/>
                <a:gd name="connsiteY618" fmla="*/ 520506 h 745576"/>
                <a:gd name="connsiteX619" fmla="*/ 1892136 w 1926380"/>
                <a:gd name="connsiteY619" fmla="*/ 521172 h 745576"/>
                <a:gd name="connsiteX620" fmla="*/ 1890533 w 1926380"/>
                <a:gd name="connsiteY620" fmla="*/ 521686 h 745576"/>
                <a:gd name="connsiteX621" fmla="*/ 1889111 w 1926380"/>
                <a:gd name="connsiteY621" fmla="*/ 521535 h 745576"/>
                <a:gd name="connsiteX622" fmla="*/ 1888385 w 1926380"/>
                <a:gd name="connsiteY622" fmla="*/ 520204 h 745576"/>
                <a:gd name="connsiteX623" fmla="*/ 1888445 w 1926380"/>
                <a:gd name="connsiteY623" fmla="*/ 519508 h 745576"/>
                <a:gd name="connsiteX624" fmla="*/ 1888839 w 1926380"/>
                <a:gd name="connsiteY624" fmla="*/ 517632 h 745576"/>
                <a:gd name="connsiteX625" fmla="*/ 1888778 w 1926380"/>
                <a:gd name="connsiteY625" fmla="*/ 517058 h 745576"/>
                <a:gd name="connsiteX626" fmla="*/ 1888022 w 1926380"/>
                <a:gd name="connsiteY626" fmla="*/ 516513 h 745576"/>
                <a:gd name="connsiteX627" fmla="*/ 1887357 w 1926380"/>
                <a:gd name="connsiteY627" fmla="*/ 516664 h 745576"/>
                <a:gd name="connsiteX628" fmla="*/ 1886661 w 1926380"/>
                <a:gd name="connsiteY628" fmla="*/ 516906 h 745576"/>
                <a:gd name="connsiteX629" fmla="*/ 1885905 w 1926380"/>
                <a:gd name="connsiteY629" fmla="*/ 516664 h 745576"/>
                <a:gd name="connsiteX630" fmla="*/ 1884785 w 1926380"/>
                <a:gd name="connsiteY630" fmla="*/ 515333 h 745576"/>
                <a:gd name="connsiteX631" fmla="*/ 1884210 w 1926380"/>
                <a:gd name="connsiteY631" fmla="*/ 513911 h 745576"/>
                <a:gd name="connsiteX632" fmla="*/ 1883847 w 1926380"/>
                <a:gd name="connsiteY632" fmla="*/ 512550 h 745576"/>
                <a:gd name="connsiteX633" fmla="*/ 1883242 w 1926380"/>
                <a:gd name="connsiteY633" fmla="*/ 511491 h 745576"/>
                <a:gd name="connsiteX634" fmla="*/ 1882154 w 1926380"/>
                <a:gd name="connsiteY634" fmla="*/ 510765 h 745576"/>
                <a:gd name="connsiteX635" fmla="*/ 1878523 w 1926380"/>
                <a:gd name="connsiteY635" fmla="*/ 509162 h 745576"/>
                <a:gd name="connsiteX636" fmla="*/ 1877313 w 1926380"/>
                <a:gd name="connsiteY636" fmla="*/ 508829 h 745576"/>
                <a:gd name="connsiteX637" fmla="*/ 1870809 w 1926380"/>
                <a:gd name="connsiteY637" fmla="*/ 509525 h 745576"/>
                <a:gd name="connsiteX638" fmla="*/ 1867300 w 1926380"/>
                <a:gd name="connsiteY638" fmla="*/ 509011 h 745576"/>
                <a:gd name="connsiteX639" fmla="*/ 1865515 w 1926380"/>
                <a:gd name="connsiteY639" fmla="*/ 506439 h 745576"/>
                <a:gd name="connsiteX640" fmla="*/ 1865817 w 1926380"/>
                <a:gd name="connsiteY640" fmla="*/ 505562 h 745576"/>
                <a:gd name="connsiteX641" fmla="*/ 1865969 w 1926380"/>
                <a:gd name="connsiteY641" fmla="*/ 505138 h 745576"/>
                <a:gd name="connsiteX642" fmla="*/ 1866998 w 1926380"/>
                <a:gd name="connsiteY642" fmla="*/ 503928 h 745576"/>
                <a:gd name="connsiteX643" fmla="*/ 1867875 w 1926380"/>
                <a:gd name="connsiteY643" fmla="*/ 502688 h 745576"/>
                <a:gd name="connsiteX644" fmla="*/ 1867784 w 1926380"/>
                <a:gd name="connsiteY644" fmla="*/ 501206 h 745576"/>
                <a:gd name="connsiteX645" fmla="*/ 1867269 w 1926380"/>
                <a:gd name="connsiteY645" fmla="*/ 499542 h 745576"/>
                <a:gd name="connsiteX646" fmla="*/ 1867451 w 1926380"/>
                <a:gd name="connsiteY646" fmla="*/ 498060 h 745576"/>
                <a:gd name="connsiteX647" fmla="*/ 1868056 w 1926380"/>
                <a:gd name="connsiteY647" fmla="*/ 496638 h 745576"/>
                <a:gd name="connsiteX648" fmla="*/ 1868903 w 1926380"/>
                <a:gd name="connsiteY648" fmla="*/ 495125 h 745576"/>
                <a:gd name="connsiteX649" fmla="*/ 1868903 w 1926380"/>
                <a:gd name="connsiteY649" fmla="*/ 495125 h 745576"/>
                <a:gd name="connsiteX650" fmla="*/ 1869841 w 1926380"/>
                <a:gd name="connsiteY650" fmla="*/ 493431 h 745576"/>
                <a:gd name="connsiteX651" fmla="*/ 1872261 w 1926380"/>
                <a:gd name="connsiteY651" fmla="*/ 490890 h 745576"/>
                <a:gd name="connsiteX652" fmla="*/ 1873139 w 1926380"/>
                <a:gd name="connsiteY652" fmla="*/ 489075 h 745576"/>
                <a:gd name="connsiteX653" fmla="*/ 1873985 w 1926380"/>
                <a:gd name="connsiteY653" fmla="*/ 486625 h 745576"/>
                <a:gd name="connsiteX654" fmla="*/ 1874923 w 1926380"/>
                <a:gd name="connsiteY654" fmla="*/ 485142 h 745576"/>
                <a:gd name="connsiteX655" fmla="*/ 1876224 w 1926380"/>
                <a:gd name="connsiteY655" fmla="*/ 484174 h 745576"/>
                <a:gd name="connsiteX656" fmla="*/ 1878160 w 1926380"/>
                <a:gd name="connsiteY656" fmla="*/ 483297 h 745576"/>
                <a:gd name="connsiteX657" fmla="*/ 1878704 w 1926380"/>
                <a:gd name="connsiteY657" fmla="*/ 482541 h 745576"/>
                <a:gd name="connsiteX658" fmla="*/ 1877888 w 1926380"/>
                <a:gd name="connsiteY658" fmla="*/ 480363 h 745576"/>
                <a:gd name="connsiteX659" fmla="*/ 1878039 w 1926380"/>
                <a:gd name="connsiteY659" fmla="*/ 479334 h 745576"/>
                <a:gd name="connsiteX660" fmla="*/ 1878886 w 1926380"/>
                <a:gd name="connsiteY660" fmla="*/ 478668 h 745576"/>
                <a:gd name="connsiteX661" fmla="*/ 1880671 w 1926380"/>
                <a:gd name="connsiteY661" fmla="*/ 477973 h 745576"/>
                <a:gd name="connsiteX662" fmla="*/ 1881428 w 1926380"/>
                <a:gd name="connsiteY662" fmla="*/ 477065 h 745576"/>
                <a:gd name="connsiteX663" fmla="*/ 1882063 w 1926380"/>
                <a:gd name="connsiteY663" fmla="*/ 475341 h 745576"/>
                <a:gd name="connsiteX664" fmla="*/ 1882698 w 1926380"/>
                <a:gd name="connsiteY664" fmla="*/ 473042 h 745576"/>
                <a:gd name="connsiteX665" fmla="*/ 1883030 w 1926380"/>
                <a:gd name="connsiteY665" fmla="*/ 470773 h 745576"/>
                <a:gd name="connsiteX666" fmla="*/ 1882607 w 1926380"/>
                <a:gd name="connsiteY666" fmla="*/ 465146 h 745576"/>
                <a:gd name="connsiteX667" fmla="*/ 1885450 w 1926380"/>
                <a:gd name="connsiteY667" fmla="*/ 462182 h 745576"/>
                <a:gd name="connsiteX668" fmla="*/ 1889081 w 1926380"/>
                <a:gd name="connsiteY668" fmla="*/ 459580 h 745576"/>
                <a:gd name="connsiteX669" fmla="*/ 1891349 w 1926380"/>
                <a:gd name="connsiteY669" fmla="*/ 456585 h 745576"/>
                <a:gd name="connsiteX670" fmla="*/ 1891349 w 1926380"/>
                <a:gd name="connsiteY670" fmla="*/ 454709 h 745576"/>
                <a:gd name="connsiteX671" fmla="*/ 1890533 w 1926380"/>
                <a:gd name="connsiteY671" fmla="*/ 452864 h 745576"/>
                <a:gd name="connsiteX672" fmla="*/ 1889292 w 1926380"/>
                <a:gd name="connsiteY672" fmla="*/ 451261 h 745576"/>
                <a:gd name="connsiteX673" fmla="*/ 1887871 w 1926380"/>
                <a:gd name="connsiteY673" fmla="*/ 450141 h 745576"/>
                <a:gd name="connsiteX674" fmla="*/ 1886298 w 1926380"/>
                <a:gd name="connsiteY674" fmla="*/ 449567 h 745576"/>
                <a:gd name="connsiteX675" fmla="*/ 1885027 w 1926380"/>
                <a:gd name="connsiteY675" fmla="*/ 449808 h 745576"/>
                <a:gd name="connsiteX676" fmla="*/ 1881699 w 1926380"/>
                <a:gd name="connsiteY676" fmla="*/ 451594 h 745576"/>
                <a:gd name="connsiteX677" fmla="*/ 1876648 w 1926380"/>
                <a:gd name="connsiteY677" fmla="*/ 450746 h 745576"/>
                <a:gd name="connsiteX678" fmla="*/ 1875165 w 1926380"/>
                <a:gd name="connsiteY678" fmla="*/ 450111 h 745576"/>
                <a:gd name="connsiteX679" fmla="*/ 1874227 w 1926380"/>
                <a:gd name="connsiteY679" fmla="*/ 449506 h 745576"/>
                <a:gd name="connsiteX680" fmla="*/ 1873925 w 1926380"/>
                <a:gd name="connsiteY680" fmla="*/ 448478 h 745576"/>
                <a:gd name="connsiteX681" fmla="*/ 1874258 w 1926380"/>
                <a:gd name="connsiteY681" fmla="*/ 446541 h 745576"/>
                <a:gd name="connsiteX682" fmla="*/ 1874318 w 1926380"/>
                <a:gd name="connsiteY682" fmla="*/ 445452 h 745576"/>
                <a:gd name="connsiteX683" fmla="*/ 1874015 w 1926380"/>
                <a:gd name="connsiteY683" fmla="*/ 442458 h 745576"/>
                <a:gd name="connsiteX684" fmla="*/ 1874015 w 1926380"/>
                <a:gd name="connsiteY684" fmla="*/ 441066 h 745576"/>
                <a:gd name="connsiteX685" fmla="*/ 1875286 w 1926380"/>
                <a:gd name="connsiteY685" fmla="*/ 436316 h 745576"/>
                <a:gd name="connsiteX686" fmla="*/ 1875408 w 1926380"/>
                <a:gd name="connsiteY686" fmla="*/ 434289 h 745576"/>
                <a:gd name="connsiteX687" fmla="*/ 1874470 w 1926380"/>
                <a:gd name="connsiteY687" fmla="*/ 428300 h 745576"/>
                <a:gd name="connsiteX688" fmla="*/ 1874923 w 1926380"/>
                <a:gd name="connsiteY688" fmla="*/ 423641 h 745576"/>
                <a:gd name="connsiteX689" fmla="*/ 1874923 w 1926380"/>
                <a:gd name="connsiteY689" fmla="*/ 421191 h 745576"/>
                <a:gd name="connsiteX690" fmla="*/ 1874227 w 1926380"/>
                <a:gd name="connsiteY690" fmla="*/ 419224 h 745576"/>
                <a:gd name="connsiteX691" fmla="*/ 1873501 w 1926380"/>
                <a:gd name="connsiteY691" fmla="*/ 418468 h 745576"/>
                <a:gd name="connsiteX692" fmla="*/ 1872745 w 1926380"/>
                <a:gd name="connsiteY692" fmla="*/ 417984 h 745576"/>
                <a:gd name="connsiteX693" fmla="*/ 1870930 w 1926380"/>
                <a:gd name="connsiteY693" fmla="*/ 417440 h 745576"/>
                <a:gd name="connsiteX694" fmla="*/ 1869659 w 1926380"/>
                <a:gd name="connsiteY694" fmla="*/ 416835 h 745576"/>
                <a:gd name="connsiteX695" fmla="*/ 1869962 w 1926380"/>
                <a:gd name="connsiteY695" fmla="*/ 416108 h 745576"/>
                <a:gd name="connsiteX696" fmla="*/ 1870840 w 1926380"/>
                <a:gd name="connsiteY696" fmla="*/ 415292 h 745576"/>
                <a:gd name="connsiteX697" fmla="*/ 1871293 w 1926380"/>
                <a:gd name="connsiteY697" fmla="*/ 414414 h 745576"/>
                <a:gd name="connsiteX698" fmla="*/ 1870779 w 1926380"/>
                <a:gd name="connsiteY698" fmla="*/ 412297 h 745576"/>
                <a:gd name="connsiteX699" fmla="*/ 1870294 w 1926380"/>
                <a:gd name="connsiteY699" fmla="*/ 410875 h 745576"/>
                <a:gd name="connsiteX700" fmla="*/ 1870114 w 1926380"/>
                <a:gd name="connsiteY700" fmla="*/ 409362 h 745576"/>
                <a:gd name="connsiteX701" fmla="*/ 1870506 w 1926380"/>
                <a:gd name="connsiteY701" fmla="*/ 407003 h 745576"/>
                <a:gd name="connsiteX702" fmla="*/ 1873229 w 1926380"/>
                <a:gd name="connsiteY702" fmla="*/ 398442 h 745576"/>
                <a:gd name="connsiteX703" fmla="*/ 1872745 w 1926380"/>
                <a:gd name="connsiteY703" fmla="*/ 394963 h 745576"/>
                <a:gd name="connsiteX704" fmla="*/ 1867390 w 1926380"/>
                <a:gd name="connsiteY704" fmla="*/ 392603 h 745576"/>
                <a:gd name="connsiteX705" fmla="*/ 1865757 w 1926380"/>
                <a:gd name="connsiteY705" fmla="*/ 391151 h 745576"/>
                <a:gd name="connsiteX706" fmla="*/ 1864396 w 1926380"/>
                <a:gd name="connsiteY706" fmla="*/ 389366 h 745576"/>
                <a:gd name="connsiteX707" fmla="*/ 1863427 w 1926380"/>
                <a:gd name="connsiteY707" fmla="*/ 386704 h 745576"/>
                <a:gd name="connsiteX708" fmla="*/ 1862974 w 1926380"/>
                <a:gd name="connsiteY708" fmla="*/ 385797 h 745576"/>
                <a:gd name="connsiteX709" fmla="*/ 1862641 w 1926380"/>
                <a:gd name="connsiteY709" fmla="*/ 384889 h 745576"/>
                <a:gd name="connsiteX710" fmla="*/ 1862701 w 1926380"/>
                <a:gd name="connsiteY710" fmla="*/ 383891 h 745576"/>
                <a:gd name="connsiteX711" fmla="*/ 1862641 w 1926380"/>
                <a:gd name="connsiteY711" fmla="*/ 382832 h 745576"/>
                <a:gd name="connsiteX712" fmla="*/ 1861885 w 1926380"/>
                <a:gd name="connsiteY712" fmla="*/ 382106 h 745576"/>
                <a:gd name="connsiteX713" fmla="*/ 1860978 w 1926380"/>
                <a:gd name="connsiteY713" fmla="*/ 381440 h 745576"/>
                <a:gd name="connsiteX714" fmla="*/ 1860342 w 1926380"/>
                <a:gd name="connsiteY714" fmla="*/ 380593 h 745576"/>
                <a:gd name="connsiteX715" fmla="*/ 1859918 w 1926380"/>
                <a:gd name="connsiteY715" fmla="*/ 378778 h 745576"/>
                <a:gd name="connsiteX716" fmla="*/ 1859616 w 1926380"/>
                <a:gd name="connsiteY716" fmla="*/ 377961 h 745576"/>
                <a:gd name="connsiteX717" fmla="*/ 1859071 w 1926380"/>
                <a:gd name="connsiteY717" fmla="*/ 377145 h 745576"/>
                <a:gd name="connsiteX718" fmla="*/ 1859071 w 1926380"/>
                <a:gd name="connsiteY718" fmla="*/ 377145 h 745576"/>
                <a:gd name="connsiteX719" fmla="*/ 1860493 w 1926380"/>
                <a:gd name="connsiteY719" fmla="*/ 374906 h 745576"/>
                <a:gd name="connsiteX720" fmla="*/ 1862127 w 1926380"/>
                <a:gd name="connsiteY720" fmla="*/ 373666 h 745576"/>
                <a:gd name="connsiteX721" fmla="*/ 1863095 w 1926380"/>
                <a:gd name="connsiteY721" fmla="*/ 372274 h 745576"/>
                <a:gd name="connsiteX722" fmla="*/ 1862187 w 1926380"/>
                <a:gd name="connsiteY722" fmla="*/ 367585 h 745576"/>
                <a:gd name="connsiteX723" fmla="*/ 1862701 w 1926380"/>
                <a:gd name="connsiteY723" fmla="*/ 365710 h 745576"/>
                <a:gd name="connsiteX724" fmla="*/ 1864698 w 1926380"/>
                <a:gd name="connsiteY724" fmla="*/ 362110 h 745576"/>
                <a:gd name="connsiteX725" fmla="*/ 1863882 w 1926380"/>
                <a:gd name="connsiteY725" fmla="*/ 359206 h 745576"/>
                <a:gd name="connsiteX726" fmla="*/ 1860009 w 1926380"/>
                <a:gd name="connsiteY726" fmla="*/ 356664 h 745576"/>
                <a:gd name="connsiteX727" fmla="*/ 1855532 w 1926380"/>
                <a:gd name="connsiteY727" fmla="*/ 354486 h 745576"/>
                <a:gd name="connsiteX728" fmla="*/ 1852930 w 1926380"/>
                <a:gd name="connsiteY728" fmla="*/ 352641 h 745576"/>
                <a:gd name="connsiteX729" fmla="*/ 1852809 w 1926380"/>
                <a:gd name="connsiteY729" fmla="*/ 351612 h 745576"/>
                <a:gd name="connsiteX730" fmla="*/ 1853506 w 1926380"/>
                <a:gd name="connsiteY730" fmla="*/ 349465 h 745576"/>
                <a:gd name="connsiteX731" fmla="*/ 1853415 w 1926380"/>
                <a:gd name="connsiteY731" fmla="*/ 348406 h 745576"/>
                <a:gd name="connsiteX732" fmla="*/ 1852204 w 1926380"/>
                <a:gd name="connsiteY732" fmla="*/ 346046 h 745576"/>
                <a:gd name="connsiteX733" fmla="*/ 1851872 w 1926380"/>
                <a:gd name="connsiteY733" fmla="*/ 345017 h 745576"/>
                <a:gd name="connsiteX734" fmla="*/ 1851811 w 1926380"/>
                <a:gd name="connsiteY734" fmla="*/ 343959 h 745576"/>
                <a:gd name="connsiteX735" fmla="*/ 1852053 w 1926380"/>
                <a:gd name="connsiteY735" fmla="*/ 343172 h 745576"/>
                <a:gd name="connsiteX736" fmla="*/ 1852053 w 1926380"/>
                <a:gd name="connsiteY736" fmla="*/ 342295 h 745576"/>
                <a:gd name="connsiteX737" fmla="*/ 1850873 w 1926380"/>
                <a:gd name="connsiteY737" fmla="*/ 339935 h 745576"/>
                <a:gd name="connsiteX738" fmla="*/ 1850299 w 1926380"/>
                <a:gd name="connsiteY738" fmla="*/ 337425 h 745576"/>
                <a:gd name="connsiteX739" fmla="*/ 1849844 w 1926380"/>
                <a:gd name="connsiteY739" fmla="*/ 336275 h 745576"/>
                <a:gd name="connsiteX740" fmla="*/ 1849844 w 1926380"/>
                <a:gd name="connsiteY740" fmla="*/ 336214 h 745576"/>
                <a:gd name="connsiteX741" fmla="*/ 1847213 w 1926380"/>
                <a:gd name="connsiteY741" fmla="*/ 333340 h 745576"/>
                <a:gd name="connsiteX742" fmla="*/ 1846608 w 1926380"/>
                <a:gd name="connsiteY742" fmla="*/ 331888 h 745576"/>
                <a:gd name="connsiteX743" fmla="*/ 1847727 w 1926380"/>
                <a:gd name="connsiteY743" fmla="*/ 330436 h 745576"/>
                <a:gd name="connsiteX744" fmla="*/ 1849784 w 1926380"/>
                <a:gd name="connsiteY744" fmla="*/ 329257 h 745576"/>
                <a:gd name="connsiteX745" fmla="*/ 1851297 w 1926380"/>
                <a:gd name="connsiteY745" fmla="*/ 328742 h 745576"/>
                <a:gd name="connsiteX746" fmla="*/ 1852839 w 1926380"/>
                <a:gd name="connsiteY746" fmla="*/ 328742 h 745576"/>
                <a:gd name="connsiteX747" fmla="*/ 1855078 w 1926380"/>
                <a:gd name="connsiteY747" fmla="*/ 328954 h 745576"/>
                <a:gd name="connsiteX748" fmla="*/ 1857407 w 1926380"/>
                <a:gd name="connsiteY748" fmla="*/ 328712 h 745576"/>
                <a:gd name="connsiteX749" fmla="*/ 1862883 w 1926380"/>
                <a:gd name="connsiteY749" fmla="*/ 327381 h 745576"/>
                <a:gd name="connsiteX750" fmla="*/ 1865273 w 1926380"/>
                <a:gd name="connsiteY750" fmla="*/ 327623 h 745576"/>
                <a:gd name="connsiteX751" fmla="*/ 1872231 w 1926380"/>
                <a:gd name="connsiteY751" fmla="*/ 330799 h 745576"/>
                <a:gd name="connsiteX752" fmla="*/ 1874772 w 1926380"/>
                <a:gd name="connsiteY752" fmla="*/ 331011 h 745576"/>
                <a:gd name="connsiteX753" fmla="*/ 1876980 w 1926380"/>
                <a:gd name="connsiteY753" fmla="*/ 330527 h 745576"/>
                <a:gd name="connsiteX754" fmla="*/ 1882184 w 1926380"/>
                <a:gd name="connsiteY754" fmla="*/ 328349 h 745576"/>
                <a:gd name="connsiteX755" fmla="*/ 1884120 w 1926380"/>
                <a:gd name="connsiteY755" fmla="*/ 327048 h 745576"/>
                <a:gd name="connsiteX756" fmla="*/ 1885814 w 1926380"/>
                <a:gd name="connsiteY756" fmla="*/ 324658 h 745576"/>
                <a:gd name="connsiteX757" fmla="*/ 1885814 w 1926380"/>
                <a:gd name="connsiteY757" fmla="*/ 322511 h 745576"/>
                <a:gd name="connsiteX758" fmla="*/ 1885511 w 1926380"/>
                <a:gd name="connsiteY758" fmla="*/ 320272 h 745576"/>
                <a:gd name="connsiteX759" fmla="*/ 1885996 w 1926380"/>
                <a:gd name="connsiteY759" fmla="*/ 317610 h 745576"/>
                <a:gd name="connsiteX760" fmla="*/ 1885996 w 1926380"/>
                <a:gd name="connsiteY760" fmla="*/ 317610 h 745576"/>
                <a:gd name="connsiteX761" fmla="*/ 1886993 w 1926380"/>
                <a:gd name="connsiteY761" fmla="*/ 316188 h 745576"/>
                <a:gd name="connsiteX762" fmla="*/ 1887054 w 1926380"/>
                <a:gd name="connsiteY762" fmla="*/ 314766 h 745576"/>
                <a:gd name="connsiteX763" fmla="*/ 1886722 w 1926380"/>
                <a:gd name="connsiteY763" fmla="*/ 313223 h 745576"/>
                <a:gd name="connsiteX764" fmla="*/ 1886510 w 1926380"/>
                <a:gd name="connsiteY764" fmla="*/ 311529 h 745576"/>
                <a:gd name="connsiteX765" fmla="*/ 1886722 w 1926380"/>
                <a:gd name="connsiteY765" fmla="*/ 309563 h 745576"/>
                <a:gd name="connsiteX766" fmla="*/ 1887175 w 1926380"/>
                <a:gd name="connsiteY766" fmla="*/ 307959 h 745576"/>
                <a:gd name="connsiteX767" fmla="*/ 1890503 w 1926380"/>
                <a:gd name="connsiteY767" fmla="*/ 301788 h 745576"/>
                <a:gd name="connsiteX768" fmla="*/ 1891138 w 1926380"/>
                <a:gd name="connsiteY768" fmla="*/ 300245 h 745576"/>
                <a:gd name="connsiteX769" fmla="*/ 1891199 w 1926380"/>
                <a:gd name="connsiteY769" fmla="*/ 299792 h 745576"/>
                <a:gd name="connsiteX770" fmla="*/ 1891410 w 1926380"/>
                <a:gd name="connsiteY770" fmla="*/ 298340 h 745576"/>
                <a:gd name="connsiteX771" fmla="*/ 1890896 w 1926380"/>
                <a:gd name="connsiteY771" fmla="*/ 294437 h 745576"/>
                <a:gd name="connsiteX772" fmla="*/ 1891349 w 1926380"/>
                <a:gd name="connsiteY772" fmla="*/ 293076 h 745576"/>
                <a:gd name="connsiteX773" fmla="*/ 1902058 w 1926380"/>
                <a:gd name="connsiteY773" fmla="*/ 284999 h 745576"/>
                <a:gd name="connsiteX774" fmla="*/ 1904539 w 1926380"/>
                <a:gd name="connsiteY774" fmla="*/ 284333 h 745576"/>
                <a:gd name="connsiteX775" fmla="*/ 1906082 w 1926380"/>
                <a:gd name="connsiteY775" fmla="*/ 285331 h 745576"/>
                <a:gd name="connsiteX776" fmla="*/ 1908805 w 1926380"/>
                <a:gd name="connsiteY776" fmla="*/ 289113 h 745576"/>
                <a:gd name="connsiteX777" fmla="*/ 1910197 w 1926380"/>
                <a:gd name="connsiteY777" fmla="*/ 290565 h 745576"/>
                <a:gd name="connsiteX778" fmla="*/ 1916217 w 1926380"/>
                <a:gd name="connsiteY778" fmla="*/ 293167 h 745576"/>
                <a:gd name="connsiteX779" fmla="*/ 1918183 w 1926380"/>
                <a:gd name="connsiteY779" fmla="*/ 294679 h 745576"/>
                <a:gd name="connsiteX780" fmla="*/ 1926381 w 1926380"/>
                <a:gd name="connsiteY780" fmla="*/ 300124 h 745576"/>
                <a:gd name="connsiteX781" fmla="*/ 1925262 w 1926380"/>
                <a:gd name="connsiteY781" fmla="*/ 298612 h 745576"/>
                <a:gd name="connsiteX782" fmla="*/ 1924112 w 1926380"/>
                <a:gd name="connsiteY782" fmla="*/ 294074 h 745576"/>
                <a:gd name="connsiteX783" fmla="*/ 1923113 w 1926380"/>
                <a:gd name="connsiteY783" fmla="*/ 292562 h 745576"/>
                <a:gd name="connsiteX784" fmla="*/ 1921571 w 1926380"/>
                <a:gd name="connsiteY784" fmla="*/ 290142 h 745576"/>
                <a:gd name="connsiteX785" fmla="*/ 1915400 w 1926380"/>
                <a:gd name="connsiteY785" fmla="*/ 282669 h 745576"/>
                <a:gd name="connsiteX786" fmla="*/ 1914825 w 1926380"/>
                <a:gd name="connsiteY786" fmla="*/ 281732 h 745576"/>
                <a:gd name="connsiteX787" fmla="*/ 1914310 w 1926380"/>
                <a:gd name="connsiteY787" fmla="*/ 281338 h 745576"/>
                <a:gd name="connsiteX788" fmla="*/ 1913857 w 1926380"/>
                <a:gd name="connsiteY788" fmla="*/ 281217 h 745576"/>
                <a:gd name="connsiteX789" fmla="*/ 1912737 w 1926380"/>
                <a:gd name="connsiteY789" fmla="*/ 281399 h 745576"/>
                <a:gd name="connsiteX790" fmla="*/ 1912223 w 1926380"/>
                <a:gd name="connsiteY790" fmla="*/ 281338 h 745576"/>
                <a:gd name="connsiteX791" fmla="*/ 1910347 w 1926380"/>
                <a:gd name="connsiteY791" fmla="*/ 280280 h 745576"/>
                <a:gd name="connsiteX792" fmla="*/ 1906717 w 1926380"/>
                <a:gd name="connsiteY792" fmla="*/ 276407 h 745576"/>
                <a:gd name="connsiteX793" fmla="*/ 1905386 w 1926380"/>
                <a:gd name="connsiteY793" fmla="*/ 277164 h 745576"/>
                <a:gd name="connsiteX794" fmla="*/ 1904993 w 1926380"/>
                <a:gd name="connsiteY794" fmla="*/ 276468 h 745576"/>
                <a:gd name="connsiteX795" fmla="*/ 1904993 w 1926380"/>
                <a:gd name="connsiteY795" fmla="*/ 275106 h 745576"/>
                <a:gd name="connsiteX796" fmla="*/ 1904660 w 1926380"/>
                <a:gd name="connsiteY796" fmla="*/ 273927 h 745576"/>
                <a:gd name="connsiteX797" fmla="*/ 1903148 w 1926380"/>
                <a:gd name="connsiteY797" fmla="*/ 272898 h 745576"/>
                <a:gd name="connsiteX798" fmla="*/ 1902301 w 1926380"/>
                <a:gd name="connsiteY798" fmla="*/ 272081 h 745576"/>
                <a:gd name="connsiteX799" fmla="*/ 1901937 w 1926380"/>
                <a:gd name="connsiteY799" fmla="*/ 271053 h 745576"/>
                <a:gd name="connsiteX800" fmla="*/ 1901484 w 1926380"/>
                <a:gd name="connsiteY800" fmla="*/ 269238 h 745576"/>
                <a:gd name="connsiteX801" fmla="*/ 1900335 w 1926380"/>
                <a:gd name="connsiteY801" fmla="*/ 267483 h 745576"/>
                <a:gd name="connsiteX802" fmla="*/ 1897763 w 1926380"/>
                <a:gd name="connsiteY802" fmla="*/ 264821 h 745576"/>
                <a:gd name="connsiteX803" fmla="*/ 1891925 w 1926380"/>
                <a:gd name="connsiteY803" fmla="*/ 260162 h 745576"/>
                <a:gd name="connsiteX804" fmla="*/ 1883545 w 1926380"/>
                <a:gd name="connsiteY804" fmla="*/ 255625 h 745576"/>
                <a:gd name="connsiteX805" fmla="*/ 1877978 w 1926380"/>
                <a:gd name="connsiteY805" fmla="*/ 252630 h 745576"/>
                <a:gd name="connsiteX806" fmla="*/ 1874288 w 1926380"/>
                <a:gd name="connsiteY806" fmla="*/ 251571 h 745576"/>
                <a:gd name="connsiteX807" fmla="*/ 1870900 w 1926380"/>
                <a:gd name="connsiteY807" fmla="*/ 251571 h 745576"/>
                <a:gd name="connsiteX808" fmla="*/ 1864820 w 1926380"/>
                <a:gd name="connsiteY808" fmla="*/ 253084 h 745576"/>
                <a:gd name="connsiteX809" fmla="*/ 1861945 w 1926380"/>
                <a:gd name="connsiteY809" fmla="*/ 253416 h 745576"/>
                <a:gd name="connsiteX810" fmla="*/ 1859888 w 1926380"/>
                <a:gd name="connsiteY810" fmla="*/ 253961 h 745576"/>
                <a:gd name="connsiteX811" fmla="*/ 1858829 w 1926380"/>
                <a:gd name="connsiteY811" fmla="*/ 254082 h 745576"/>
                <a:gd name="connsiteX812" fmla="*/ 1857952 w 1926380"/>
                <a:gd name="connsiteY812" fmla="*/ 253810 h 745576"/>
                <a:gd name="connsiteX813" fmla="*/ 1856681 w 1926380"/>
                <a:gd name="connsiteY813" fmla="*/ 252660 h 745576"/>
                <a:gd name="connsiteX814" fmla="*/ 1855714 w 1926380"/>
                <a:gd name="connsiteY814" fmla="*/ 252418 h 745576"/>
                <a:gd name="connsiteX815" fmla="*/ 1853565 w 1926380"/>
                <a:gd name="connsiteY815" fmla="*/ 252932 h 745576"/>
                <a:gd name="connsiteX816" fmla="*/ 1850056 w 1926380"/>
                <a:gd name="connsiteY816" fmla="*/ 255201 h 745576"/>
                <a:gd name="connsiteX817" fmla="*/ 1848453 w 1926380"/>
                <a:gd name="connsiteY817" fmla="*/ 255715 h 745576"/>
                <a:gd name="connsiteX818" fmla="*/ 1836352 w 1926380"/>
                <a:gd name="connsiteY818" fmla="*/ 253840 h 745576"/>
                <a:gd name="connsiteX819" fmla="*/ 1825341 w 1926380"/>
                <a:gd name="connsiteY819" fmla="*/ 248243 h 745576"/>
                <a:gd name="connsiteX820" fmla="*/ 1816114 w 1926380"/>
                <a:gd name="connsiteY820" fmla="*/ 245823 h 745576"/>
                <a:gd name="connsiteX821" fmla="*/ 1811516 w 1926380"/>
                <a:gd name="connsiteY821" fmla="*/ 243494 h 745576"/>
                <a:gd name="connsiteX822" fmla="*/ 1810216 w 1926380"/>
                <a:gd name="connsiteY822" fmla="*/ 240015 h 745576"/>
                <a:gd name="connsiteX823" fmla="*/ 1811607 w 1926380"/>
                <a:gd name="connsiteY823" fmla="*/ 238805 h 745576"/>
                <a:gd name="connsiteX824" fmla="*/ 1816175 w 1926380"/>
                <a:gd name="connsiteY824" fmla="*/ 237897 h 745576"/>
                <a:gd name="connsiteX825" fmla="*/ 1817143 w 1926380"/>
                <a:gd name="connsiteY825" fmla="*/ 236324 h 745576"/>
                <a:gd name="connsiteX826" fmla="*/ 1816507 w 1926380"/>
                <a:gd name="connsiteY826" fmla="*/ 234963 h 745576"/>
                <a:gd name="connsiteX827" fmla="*/ 1813362 w 1926380"/>
                <a:gd name="connsiteY827" fmla="*/ 231393 h 745576"/>
                <a:gd name="connsiteX828" fmla="*/ 1812272 w 1926380"/>
                <a:gd name="connsiteY828" fmla="*/ 229245 h 745576"/>
                <a:gd name="connsiteX829" fmla="*/ 1814118 w 1926380"/>
                <a:gd name="connsiteY829" fmla="*/ 227944 h 745576"/>
                <a:gd name="connsiteX830" fmla="*/ 1814027 w 1926380"/>
                <a:gd name="connsiteY830" fmla="*/ 227733 h 745576"/>
                <a:gd name="connsiteX831" fmla="*/ 1812575 w 1926380"/>
                <a:gd name="connsiteY831" fmla="*/ 224647 h 745576"/>
                <a:gd name="connsiteX832" fmla="*/ 1808098 w 1926380"/>
                <a:gd name="connsiteY832" fmla="*/ 219293 h 745576"/>
                <a:gd name="connsiteX833" fmla="*/ 1805375 w 1926380"/>
                <a:gd name="connsiteY833" fmla="*/ 216933 h 745576"/>
                <a:gd name="connsiteX834" fmla="*/ 1804347 w 1926380"/>
                <a:gd name="connsiteY834" fmla="*/ 215027 h 745576"/>
                <a:gd name="connsiteX835" fmla="*/ 1805043 w 1926380"/>
                <a:gd name="connsiteY835" fmla="*/ 213061 h 745576"/>
                <a:gd name="connsiteX836" fmla="*/ 1805889 w 1926380"/>
                <a:gd name="connsiteY836" fmla="*/ 211699 h 745576"/>
                <a:gd name="connsiteX837" fmla="*/ 1807372 w 1926380"/>
                <a:gd name="connsiteY837" fmla="*/ 207071 h 745576"/>
                <a:gd name="connsiteX838" fmla="*/ 1807462 w 1926380"/>
                <a:gd name="connsiteY838" fmla="*/ 206799 h 745576"/>
                <a:gd name="connsiteX839" fmla="*/ 1807462 w 1926380"/>
                <a:gd name="connsiteY839" fmla="*/ 205982 h 745576"/>
                <a:gd name="connsiteX840" fmla="*/ 1803379 w 1926380"/>
                <a:gd name="connsiteY840" fmla="*/ 202775 h 745576"/>
                <a:gd name="connsiteX841" fmla="*/ 1801261 w 1926380"/>
                <a:gd name="connsiteY841" fmla="*/ 200567 h 745576"/>
                <a:gd name="connsiteX842" fmla="*/ 1800837 w 1926380"/>
                <a:gd name="connsiteY842" fmla="*/ 198964 h 745576"/>
                <a:gd name="connsiteX843" fmla="*/ 1804286 w 1926380"/>
                <a:gd name="connsiteY843" fmla="*/ 195182 h 745576"/>
                <a:gd name="connsiteX844" fmla="*/ 1806464 w 1926380"/>
                <a:gd name="connsiteY844" fmla="*/ 193790 h 745576"/>
                <a:gd name="connsiteX845" fmla="*/ 1808854 w 1926380"/>
                <a:gd name="connsiteY845" fmla="*/ 193518 h 745576"/>
                <a:gd name="connsiteX846" fmla="*/ 1808582 w 1926380"/>
                <a:gd name="connsiteY846" fmla="*/ 192671 h 745576"/>
                <a:gd name="connsiteX847" fmla="*/ 1808430 w 1926380"/>
                <a:gd name="connsiteY847" fmla="*/ 192308 h 745576"/>
                <a:gd name="connsiteX848" fmla="*/ 1808098 w 1926380"/>
                <a:gd name="connsiteY848" fmla="*/ 191824 h 745576"/>
                <a:gd name="connsiteX849" fmla="*/ 1808703 w 1926380"/>
                <a:gd name="connsiteY849" fmla="*/ 192036 h 745576"/>
                <a:gd name="connsiteX850" fmla="*/ 1809156 w 1926380"/>
                <a:gd name="connsiteY850" fmla="*/ 192127 h 745576"/>
                <a:gd name="connsiteX851" fmla="*/ 1809611 w 1926380"/>
                <a:gd name="connsiteY851" fmla="*/ 192278 h 745576"/>
                <a:gd name="connsiteX852" fmla="*/ 1810216 w 1926380"/>
                <a:gd name="connsiteY852" fmla="*/ 192732 h 745576"/>
                <a:gd name="connsiteX853" fmla="*/ 1810094 w 1926380"/>
                <a:gd name="connsiteY853" fmla="*/ 189828 h 745576"/>
                <a:gd name="connsiteX854" fmla="*/ 1811456 w 1926380"/>
                <a:gd name="connsiteY854" fmla="*/ 187317 h 745576"/>
                <a:gd name="connsiteX855" fmla="*/ 1815721 w 1926380"/>
                <a:gd name="connsiteY855" fmla="*/ 182719 h 745576"/>
                <a:gd name="connsiteX856" fmla="*/ 1814935 w 1926380"/>
                <a:gd name="connsiteY856" fmla="*/ 179966 h 745576"/>
                <a:gd name="connsiteX857" fmla="*/ 1815540 w 1926380"/>
                <a:gd name="connsiteY857" fmla="*/ 179209 h 745576"/>
                <a:gd name="connsiteX858" fmla="*/ 1817657 w 1926380"/>
                <a:gd name="connsiteY858" fmla="*/ 175791 h 745576"/>
                <a:gd name="connsiteX859" fmla="*/ 1817960 w 1926380"/>
                <a:gd name="connsiteY859" fmla="*/ 174793 h 745576"/>
                <a:gd name="connsiteX860" fmla="*/ 1817445 w 1926380"/>
                <a:gd name="connsiteY860" fmla="*/ 166353 h 745576"/>
                <a:gd name="connsiteX861" fmla="*/ 1817083 w 1926380"/>
                <a:gd name="connsiteY861" fmla="*/ 164356 h 745576"/>
                <a:gd name="connsiteX862" fmla="*/ 1816145 w 1926380"/>
                <a:gd name="connsiteY862" fmla="*/ 162087 h 745576"/>
                <a:gd name="connsiteX863" fmla="*/ 1811970 w 1926380"/>
                <a:gd name="connsiteY863" fmla="*/ 155916 h 745576"/>
                <a:gd name="connsiteX864" fmla="*/ 1810942 w 1926380"/>
                <a:gd name="connsiteY864" fmla="*/ 153496 h 745576"/>
                <a:gd name="connsiteX865" fmla="*/ 1810397 w 1926380"/>
                <a:gd name="connsiteY865" fmla="*/ 150712 h 745576"/>
                <a:gd name="connsiteX866" fmla="*/ 1810155 w 1926380"/>
                <a:gd name="connsiteY866" fmla="*/ 148293 h 745576"/>
                <a:gd name="connsiteX867" fmla="*/ 1809731 w 1926380"/>
                <a:gd name="connsiteY867" fmla="*/ 145963 h 745576"/>
                <a:gd name="connsiteX868" fmla="*/ 1808582 w 1926380"/>
                <a:gd name="connsiteY868" fmla="*/ 143573 h 745576"/>
                <a:gd name="connsiteX869" fmla="*/ 1805436 w 1926380"/>
                <a:gd name="connsiteY869" fmla="*/ 139943 h 745576"/>
                <a:gd name="connsiteX870" fmla="*/ 1801472 w 1926380"/>
                <a:gd name="connsiteY870" fmla="*/ 136918 h 745576"/>
                <a:gd name="connsiteX871" fmla="*/ 1797147 w 1926380"/>
                <a:gd name="connsiteY871" fmla="*/ 134921 h 745576"/>
                <a:gd name="connsiteX872" fmla="*/ 1792851 w 1926380"/>
                <a:gd name="connsiteY872" fmla="*/ 134347 h 745576"/>
                <a:gd name="connsiteX873" fmla="*/ 1790915 w 1926380"/>
                <a:gd name="connsiteY873" fmla="*/ 132652 h 745576"/>
                <a:gd name="connsiteX874" fmla="*/ 1789311 w 1926380"/>
                <a:gd name="connsiteY874" fmla="*/ 129143 h 745576"/>
                <a:gd name="connsiteX875" fmla="*/ 1788465 w 1926380"/>
                <a:gd name="connsiteY875" fmla="*/ 125241 h 745576"/>
                <a:gd name="connsiteX876" fmla="*/ 1788888 w 1926380"/>
                <a:gd name="connsiteY876" fmla="*/ 122397 h 745576"/>
                <a:gd name="connsiteX877" fmla="*/ 1790007 w 1926380"/>
                <a:gd name="connsiteY877" fmla="*/ 119221 h 745576"/>
                <a:gd name="connsiteX878" fmla="*/ 1788585 w 1926380"/>
                <a:gd name="connsiteY878" fmla="*/ 116317 h 745576"/>
                <a:gd name="connsiteX879" fmla="*/ 1785893 w 1926380"/>
                <a:gd name="connsiteY879" fmla="*/ 113987 h 745576"/>
                <a:gd name="connsiteX880" fmla="*/ 1783141 w 1926380"/>
                <a:gd name="connsiteY880" fmla="*/ 112505 h 745576"/>
                <a:gd name="connsiteX881" fmla="*/ 1779964 w 1926380"/>
                <a:gd name="connsiteY881" fmla="*/ 111718 h 745576"/>
                <a:gd name="connsiteX882" fmla="*/ 1777030 w 1926380"/>
                <a:gd name="connsiteY882" fmla="*/ 111900 h 745576"/>
                <a:gd name="connsiteX883" fmla="*/ 1767773 w 1926380"/>
                <a:gd name="connsiteY883" fmla="*/ 114290 h 745576"/>
                <a:gd name="connsiteX884" fmla="*/ 1766321 w 1926380"/>
                <a:gd name="connsiteY884" fmla="*/ 113322 h 745576"/>
                <a:gd name="connsiteX885" fmla="*/ 1763900 w 1926380"/>
                <a:gd name="connsiteY885" fmla="*/ 107877 h 745576"/>
                <a:gd name="connsiteX886" fmla="*/ 1761874 w 1926380"/>
                <a:gd name="connsiteY886" fmla="*/ 105759 h 745576"/>
                <a:gd name="connsiteX887" fmla="*/ 1759907 w 1926380"/>
                <a:gd name="connsiteY887" fmla="*/ 105547 h 745576"/>
                <a:gd name="connsiteX888" fmla="*/ 1757699 w 1926380"/>
                <a:gd name="connsiteY888" fmla="*/ 105759 h 745576"/>
                <a:gd name="connsiteX889" fmla="*/ 1754976 w 1926380"/>
                <a:gd name="connsiteY889" fmla="*/ 104972 h 745576"/>
                <a:gd name="connsiteX890" fmla="*/ 1760422 w 1926380"/>
                <a:gd name="connsiteY890" fmla="*/ 102401 h 745576"/>
                <a:gd name="connsiteX891" fmla="*/ 1761904 w 1926380"/>
                <a:gd name="connsiteY891" fmla="*/ 101221 h 745576"/>
                <a:gd name="connsiteX892" fmla="*/ 1763265 w 1926380"/>
                <a:gd name="connsiteY892" fmla="*/ 99436 h 745576"/>
                <a:gd name="connsiteX893" fmla="*/ 1763114 w 1926380"/>
                <a:gd name="connsiteY893" fmla="*/ 98801 h 745576"/>
                <a:gd name="connsiteX894" fmla="*/ 1760149 w 1926380"/>
                <a:gd name="connsiteY894" fmla="*/ 98438 h 745576"/>
                <a:gd name="connsiteX895" fmla="*/ 1757064 w 1926380"/>
                <a:gd name="connsiteY895" fmla="*/ 97077 h 745576"/>
                <a:gd name="connsiteX896" fmla="*/ 1752193 w 1926380"/>
                <a:gd name="connsiteY896" fmla="*/ 93144 h 745576"/>
                <a:gd name="connsiteX897" fmla="*/ 1744781 w 1926380"/>
                <a:gd name="connsiteY897" fmla="*/ 88516 h 745576"/>
                <a:gd name="connsiteX898" fmla="*/ 1743329 w 1926380"/>
                <a:gd name="connsiteY898" fmla="*/ 87033 h 745576"/>
                <a:gd name="connsiteX899" fmla="*/ 1740334 w 1926380"/>
                <a:gd name="connsiteY899" fmla="*/ 81830 h 745576"/>
                <a:gd name="connsiteX900" fmla="*/ 1739548 w 1926380"/>
                <a:gd name="connsiteY900" fmla="*/ 81013 h 745576"/>
                <a:gd name="connsiteX901" fmla="*/ 1738640 w 1926380"/>
                <a:gd name="connsiteY901" fmla="*/ 80681 h 745576"/>
                <a:gd name="connsiteX902" fmla="*/ 1738156 w 1926380"/>
                <a:gd name="connsiteY902" fmla="*/ 80197 h 745576"/>
                <a:gd name="connsiteX903" fmla="*/ 1737764 w 1926380"/>
                <a:gd name="connsiteY903" fmla="*/ 79622 h 745576"/>
                <a:gd name="connsiteX904" fmla="*/ 1737158 w 1926380"/>
                <a:gd name="connsiteY904" fmla="*/ 79108 h 745576"/>
                <a:gd name="connsiteX905" fmla="*/ 1734193 w 1926380"/>
                <a:gd name="connsiteY905" fmla="*/ 78170 h 745576"/>
                <a:gd name="connsiteX906" fmla="*/ 1733407 w 1926380"/>
                <a:gd name="connsiteY906" fmla="*/ 77746 h 745576"/>
                <a:gd name="connsiteX907" fmla="*/ 1732590 w 1926380"/>
                <a:gd name="connsiteY907" fmla="*/ 76355 h 745576"/>
                <a:gd name="connsiteX908" fmla="*/ 1732015 w 1926380"/>
                <a:gd name="connsiteY908" fmla="*/ 74812 h 745576"/>
                <a:gd name="connsiteX909" fmla="*/ 1731320 w 1926380"/>
                <a:gd name="connsiteY909" fmla="*/ 74025 h 745576"/>
                <a:gd name="connsiteX910" fmla="*/ 1729958 w 1926380"/>
                <a:gd name="connsiteY910" fmla="*/ 74812 h 745576"/>
                <a:gd name="connsiteX911" fmla="*/ 1727478 w 1926380"/>
                <a:gd name="connsiteY911" fmla="*/ 77444 h 745576"/>
                <a:gd name="connsiteX912" fmla="*/ 1725572 w 1926380"/>
                <a:gd name="connsiteY912" fmla="*/ 76869 h 745576"/>
                <a:gd name="connsiteX913" fmla="*/ 1723666 w 1926380"/>
                <a:gd name="connsiteY913" fmla="*/ 74933 h 745576"/>
                <a:gd name="connsiteX914" fmla="*/ 1721095 w 1926380"/>
                <a:gd name="connsiteY914" fmla="*/ 73511 h 745576"/>
                <a:gd name="connsiteX915" fmla="*/ 1721941 w 1926380"/>
                <a:gd name="connsiteY915" fmla="*/ 72301 h 745576"/>
                <a:gd name="connsiteX916" fmla="*/ 1723938 w 1926380"/>
                <a:gd name="connsiteY916" fmla="*/ 70758 h 745576"/>
                <a:gd name="connsiteX917" fmla="*/ 1724755 w 1926380"/>
                <a:gd name="connsiteY917" fmla="*/ 69850 h 745576"/>
                <a:gd name="connsiteX918" fmla="*/ 1725178 w 1926380"/>
                <a:gd name="connsiteY918" fmla="*/ 68761 h 745576"/>
                <a:gd name="connsiteX919" fmla="*/ 1725390 w 1926380"/>
                <a:gd name="connsiteY919" fmla="*/ 67551 h 745576"/>
                <a:gd name="connsiteX920" fmla="*/ 1725723 w 1926380"/>
                <a:gd name="connsiteY920" fmla="*/ 66311 h 745576"/>
                <a:gd name="connsiteX921" fmla="*/ 1726509 w 1926380"/>
                <a:gd name="connsiteY921" fmla="*/ 65162 h 745576"/>
                <a:gd name="connsiteX922" fmla="*/ 1724574 w 1926380"/>
                <a:gd name="connsiteY922" fmla="*/ 64315 h 745576"/>
                <a:gd name="connsiteX923" fmla="*/ 1710507 w 1926380"/>
                <a:gd name="connsiteY923" fmla="*/ 63195 h 745576"/>
                <a:gd name="connsiteX924" fmla="*/ 1705424 w 1926380"/>
                <a:gd name="connsiteY924" fmla="*/ 63589 h 745576"/>
                <a:gd name="connsiteX925" fmla="*/ 1703428 w 1926380"/>
                <a:gd name="connsiteY925" fmla="*/ 64193 h 745576"/>
                <a:gd name="connsiteX926" fmla="*/ 1703005 w 1926380"/>
                <a:gd name="connsiteY926" fmla="*/ 64315 h 745576"/>
                <a:gd name="connsiteX927" fmla="*/ 1702853 w 1926380"/>
                <a:gd name="connsiteY927" fmla="*/ 64315 h 745576"/>
                <a:gd name="connsiteX928" fmla="*/ 1700826 w 1926380"/>
                <a:gd name="connsiteY928" fmla="*/ 65797 h 745576"/>
                <a:gd name="connsiteX929" fmla="*/ 1699798 w 1926380"/>
                <a:gd name="connsiteY929" fmla="*/ 67884 h 745576"/>
                <a:gd name="connsiteX930" fmla="*/ 1698860 w 1926380"/>
                <a:gd name="connsiteY930" fmla="*/ 72906 h 745576"/>
                <a:gd name="connsiteX931" fmla="*/ 1697831 w 1926380"/>
                <a:gd name="connsiteY931" fmla="*/ 74903 h 745576"/>
                <a:gd name="connsiteX932" fmla="*/ 1695653 w 1926380"/>
                <a:gd name="connsiteY932" fmla="*/ 77020 h 745576"/>
                <a:gd name="connsiteX933" fmla="*/ 1692628 w 1926380"/>
                <a:gd name="connsiteY933" fmla="*/ 81225 h 745576"/>
                <a:gd name="connsiteX934" fmla="*/ 1690541 w 1926380"/>
                <a:gd name="connsiteY934" fmla="*/ 82496 h 745576"/>
                <a:gd name="connsiteX935" fmla="*/ 1689331 w 1926380"/>
                <a:gd name="connsiteY935" fmla="*/ 82556 h 745576"/>
                <a:gd name="connsiteX936" fmla="*/ 1687999 w 1926380"/>
                <a:gd name="connsiteY936" fmla="*/ 82616 h 745576"/>
                <a:gd name="connsiteX937" fmla="*/ 1670363 w 1926380"/>
                <a:gd name="connsiteY937" fmla="*/ 76294 h 745576"/>
                <a:gd name="connsiteX938" fmla="*/ 1665402 w 1926380"/>
                <a:gd name="connsiteY938" fmla="*/ 76566 h 745576"/>
                <a:gd name="connsiteX939" fmla="*/ 1662981 w 1926380"/>
                <a:gd name="connsiteY939" fmla="*/ 76385 h 745576"/>
                <a:gd name="connsiteX940" fmla="*/ 1661318 w 1926380"/>
                <a:gd name="connsiteY940" fmla="*/ 74933 h 745576"/>
                <a:gd name="connsiteX941" fmla="*/ 1659896 w 1926380"/>
                <a:gd name="connsiteY941" fmla="*/ 74146 h 745576"/>
                <a:gd name="connsiteX942" fmla="*/ 1658354 w 1926380"/>
                <a:gd name="connsiteY942" fmla="*/ 74086 h 745576"/>
                <a:gd name="connsiteX943" fmla="*/ 1655177 w 1926380"/>
                <a:gd name="connsiteY943" fmla="*/ 74933 h 745576"/>
                <a:gd name="connsiteX944" fmla="*/ 1653755 w 1926380"/>
                <a:gd name="connsiteY944" fmla="*/ 74328 h 745576"/>
                <a:gd name="connsiteX945" fmla="*/ 1652334 w 1926380"/>
                <a:gd name="connsiteY945" fmla="*/ 74116 h 745576"/>
                <a:gd name="connsiteX946" fmla="*/ 1650911 w 1926380"/>
                <a:gd name="connsiteY946" fmla="*/ 74297 h 745576"/>
                <a:gd name="connsiteX947" fmla="*/ 1649459 w 1926380"/>
                <a:gd name="connsiteY947" fmla="*/ 74933 h 745576"/>
                <a:gd name="connsiteX948" fmla="*/ 1645890 w 1926380"/>
                <a:gd name="connsiteY948" fmla="*/ 75992 h 745576"/>
                <a:gd name="connsiteX949" fmla="*/ 1638690 w 1926380"/>
                <a:gd name="connsiteY949" fmla="*/ 73451 h 745576"/>
                <a:gd name="connsiteX950" fmla="*/ 1634636 w 1926380"/>
                <a:gd name="connsiteY950" fmla="*/ 74933 h 745576"/>
                <a:gd name="connsiteX951" fmla="*/ 1633245 w 1926380"/>
                <a:gd name="connsiteY951" fmla="*/ 75901 h 745576"/>
                <a:gd name="connsiteX952" fmla="*/ 1630098 w 1926380"/>
                <a:gd name="connsiteY952" fmla="*/ 80075 h 745576"/>
                <a:gd name="connsiteX953" fmla="*/ 1626075 w 1926380"/>
                <a:gd name="connsiteY953" fmla="*/ 83252 h 745576"/>
                <a:gd name="connsiteX954" fmla="*/ 1625107 w 1926380"/>
                <a:gd name="connsiteY954" fmla="*/ 83766 h 745576"/>
                <a:gd name="connsiteX955" fmla="*/ 1623897 w 1926380"/>
                <a:gd name="connsiteY955" fmla="*/ 83313 h 745576"/>
                <a:gd name="connsiteX956" fmla="*/ 1619873 w 1926380"/>
                <a:gd name="connsiteY956" fmla="*/ 79864 h 745576"/>
                <a:gd name="connsiteX957" fmla="*/ 1618542 w 1926380"/>
                <a:gd name="connsiteY957" fmla="*/ 79471 h 745576"/>
                <a:gd name="connsiteX958" fmla="*/ 1615608 w 1926380"/>
                <a:gd name="connsiteY958" fmla="*/ 79138 h 745576"/>
                <a:gd name="connsiteX959" fmla="*/ 1614428 w 1926380"/>
                <a:gd name="connsiteY959" fmla="*/ 78714 h 745576"/>
                <a:gd name="connsiteX960" fmla="*/ 1614004 w 1926380"/>
                <a:gd name="connsiteY960" fmla="*/ 77928 h 745576"/>
                <a:gd name="connsiteX961" fmla="*/ 1614004 w 1926380"/>
                <a:gd name="connsiteY961" fmla="*/ 76929 h 745576"/>
                <a:gd name="connsiteX962" fmla="*/ 1614126 w 1926380"/>
                <a:gd name="connsiteY962" fmla="*/ 76022 h 745576"/>
                <a:gd name="connsiteX963" fmla="*/ 1614004 w 1926380"/>
                <a:gd name="connsiteY963" fmla="*/ 75538 h 745576"/>
                <a:gd name="connsiteX964" fmla="*/ 1613248 w 1926380"/>
                <a:gd name="connsiteY964" fmla="*/ 75538 h 745576"/>
                <a:gd name="connsiteX965" fmla="*/ 1610708 w 1926380"/>
                <a:gd name="connsiteY965" fmla="*/ 76596 h 745576"/>
                <a:gd name="connsiteX966" fmla="*/ 1607682 w 1926380"/>
                <a:gd name="connsiteY966" fmla="*/ 76808 h 745576"/>
                <a:gd name="connsiteX967" fmla="*/ 1606411 w 1926380"/>
                <a:gd name="connsiteY967" fmla="*/ 76596 h 745576"/>
                <a:gd name="connsiteX968" fmla="*/ 1595702 w 1926380"/>
                <a:gd name="connsiteY968" fmla="*/ 72452 h 745576"/>
                <a:gd name="connsiteX969" fmla="*/ 1594311 w 1926380"/>
                <a:gd name="connsiteY969" fmla="*/ 74751 h 745576"/>
                <a:gd name="connsiteX970" fmla="*/ 1588412 w 1926380"/>
                <a:gd name="connsiteY970" fmla="*/ 79591 h 745576"/>
                <a:gd name="connsiteX971" fmla="*/ 1587383 w 1926380"/>
                <a:gd name="connsiteY971" fmla="*/ 80197 h 745576"/>
                <a:gd name="connsiteX972" fmla="*/ 1586990 w 1926380"/>
                <a:gd name="connsiteY972" fmla="*/ 82919 h 745576"/>
                <a:gd name="connsiteX973" fmla="*/ 1585992 w 1926380"/>
                <a:gd name="connsiteY973" fmla="*/ 85551 h 745576"/>
                <a:gd name="connsiteX974" fmla="*/ 1584449 w 1926380"/>
                <a:gd name="connsiteY974" fmla="*/ 87699 h 745576"/>
                <a:gd name="connsiteX975" fmla="*/ 1582574 w 1926380"/>
                <a:gd name="connsiteY975" fmla="*/ 89060 h 745576"/>
                <a:gd name="connsiteX976" fmla="*/ 1581272 w 1926380"/>
                <a:gd name="connsiteY976" fmla="*/ 89453 h 745576"/>
                <a:gd name="connsiteX977" fmla="*/ 1577763 w 1926380"/>
                <a:gd name="connsiteY977" fmla="*/ 89877 h 745576"/>
                <a:gd name="connsiteX978" fmla="*/ 1576675 w 1926380"/>
                <a:gd name="connsiteY978" fmla="*/ 90210 h 745576"/>
                <a:gd name="connsiteX979" fmla="*/ 1574496 w 1926380"/>
                <a:gd name="connsiteY979" fmla="*/ 91299 h 745576"/>
                <a:gd name="connsiteX980" fmla="*/ 1571955 w 1926380"/>
                <a:gd name="connsiteY980" fmla="*/ 92146 h 745576"/>
                <a:gd name="connsiteX981" fmla="*/ 1562456 w 1926380"/>
                <a:gd name="connsiteY981" fmla="*/ 99285 h 745576"/>
                <a:gd name="connsiteX982" fmla="*/ 1560611 w 1926380"/>
                <a:gd name="connsiteY982" fmla="*/ 99830 h 745576"/>
                <a:gd name="connsiteX983" fmla="*/ 1558009 w 1926380"/>
                <a:gd name="connsiteY983" fmla="*/ 99981 h 745576"/>
                <a:gd name="connsiteX984" fmla="*/ 1555468 w 1926380"/>
                <a:gd name="connsiteY984" fmla="*/ 100525 h 745576"/>
                <a:gd name="connsiteX985" fmla="*/ 1553411 w 1926380"/>
                <a:gd name="connsiteY985" fmla="*/ 101917 h 745576"/>
                <a:gd name="connsiteX986" fmla="*/ 1549448 w 1926380"/>
                <a:gd name="connsiteY986" fmla="*/ 105759 h 745576"/>
                <a:gd name="connsiteX987" fmla="*/ 1547572 w 1926380"/>
                <a:gd name="connsiteY987" fmla="*/ 107030 h 745576"/>
                <a:gd name="connsiteX988" fmla="*/ 1545304 w 1926380"/>
                <a:gd name="connsiteY988" fmla="*/ 108119 h 745576"/>
                <a:gd name="connsiteX989" fmla="*/ 1542974 w 1926380"/>
                <a:gd name="connsiteY989" fmla="*/ 108845 h 745576"/>
                <a:gd name="connsiteX990" fmla="*/ 1540857 w 1926380"/>
                <a:gd name="connsiteY990" fmla="*/ 109117 h 745576"/>
                <a:gd name="connsiteX991" fmla="*/ 1539223 w 1926380"/>
                <a:gd name="connsiteY991" fmla="*/ 109722 h 745576"/>
                <a:gd name="connsiteX992" fmla="*/ 1535442 w 1926380"/>
                <a:gd name="connsiteY992" fmla="*/ 112172 h 745576"/>
                <a:gd name="connsiteX993" fmla="*/ 1532900 w 1926380"/>
                <a:gd name="connsiteY993" fmla="*/ 112565 h 745576"/>
                <a:gd name="connsiteX994" fmla="*/ 1528605 w 1926380"/>
                <a:gd name="connsiteY994" fmla="*/ 111113 h 745576"/>
                <a:gd name="connsiteX995" fmla="*/ 1527092 w 1926380"/>
                <a:gd name="connsiteY995" fmla="*/ 110872 h 745576"/>
                <a:gd name="connsiteX996" fmla="*/ 1525943 w 1926380"/>
                <a:gd name="connsiteY996" fmla="*/ 111265 h 745576"/>
                <a:gd name="connsiteX997" fmla="*/ 1518924 w 1926380"/>
                <a:gd name="connsiteY997" fmla="*/ 116105 h 745576"/>
                <a:gd name="connsiteX998" fmla="*/ 1512965 w 1926380"/>
                <a:gd name="connsiteY998" fmla="*/ 123486 h 745576"/>
                <a:gd name="connsiteX999" fmla="*/ 1511724 w 1926380"/>
                <a:gd name="connsiteY999" fmla="*/ 124242 h 745576"/>
                <a:gd name="connsiteX1000" fmla="*/ 1510181 w 1926380"/>
                <a:gd name="connsiteY1000" fmla="*/ 124727 h 745576"/>
                <a:gd name="connsiteX1001" fmla="*/ 1507066 w 1926380"/>
                <a:gd name="connsiteY1001" fmla="*/ 125059 h 745576"/>
                <a:gd name="connsiteX1002" fmla="*/ 1505704 w 1926380"/>
                <a:gd name="connsiteY1002" fmla="*/ 125422 h 745576"/>
                <a:gd name="connsiteX1003" fmla="*/ 1501892 w 1926380"/>
                <a:gd name="connsiteY1003" fmla="*/ 128447 h 745576"/>
                <a:gd name="connsiteX1004" fmla="*/ 1498777 w 1926380"/>
                <a:gd name="connsiteY1004" fmla="*/ 130262 h 745576"/>
                <a:gd name="connsiteX1005" fmla="*/ 1495933 w 1926380"/>
                <a:gd name="connsiteY1005" fmla="*/ 131019 h 745576"/>
                <a:gd name="connsiteX1006" fmla="*/ 1492968 w 1926380"/>
                <a:gd name="connsiteY1006" fmla="*/ 130716 h 745576"/>
                <a:gd name="connsiteX1007" fmla="*/ 1489460 w 1926380"/>
                <a:gd name="connsiteY1007" fmla="*/ 129295 h 745576"/>
                <a:gd name="connsiteX1008" fmla="*/ 1472973 w 1926380"/>
                <a:gd name="connsiteY1008" fmla="*/ 139308 h 745576"/>
                <a:gd name="connsiteX1009" fmla="*/ 1468314 w 1926380"/>
                <a:gd name="connsiteY1009" fmla="*/ 140518 h 745576"/>
                <a:gd name="connsiteX1010" fmla="*/ 1465984 w 1926380"/>
                <a:gd name="connsiteY1010" fmla="*/ 141970 h 745576"/>
                <a:gd name="connsiteX1011" fmla="*/ 1462385 w 1926380"/>
                <a:gd name="connsiteY1011" fmla="*/ 143240 h 745576"/>
                <a:gd name="connsiteX1012" fmla="*/ 1460055 w 1926380"/>
                <a:gd name="connsiteY1012" fmla="*/ 143755 h 745576"/>
                <a:gd name="connsiteX1013" fmla="*/ 1457060 w 1926380"/>
                <a:gd name="connsiteY1013" fmla="*/ 144904 h 745576"/>
                <a:gd name="connsiteX1014" fmla="*/ 1455366 w 1926380"/>
                <a:gd name="connsiteY1014" fmla="*/ 145177 h 745576"/>
                <a:gd name="connsiteX1015" fmla="*/ 1451312 w 1926380"/>
                <a:gd name="connsiteY1015" fmla="*/ 144451 h 745576"/>
                <a:gd name="connsiteX1016" fmla="*/ 1448408 w 1926380"/>
                <a:gd name="connsiteY1016" fmla="*/ 142636 h 745576"/>
                <a:gd name="connsiteX1017" fmla="*/ 1442630 w 1926380"/>
                <a:gd name="connsiteY1017" fmla="*/ 137644 h 745576"/>
                <a:gd name="connsiteX1018" fmla="*/ 1440150 w 1926380"/>
                <a:gd name="connsiteY1018" fmla="*/ 137886 h 745576"/>
                <a:gd name="connsiteX1019" fmla="*/ 1433827 w 1926380"/>
                <a:gd name="connsiteY1019" fmla="*/ 139913 h 745576"/>
                <a:gd name="connsiteX1020" fmla="*/ 1432194 w 1926380"/>
                <a:gd name="connsiteY1020" fmla="*/ 141002 h 745576"/>
                <a:gd name="connsiteX1021" fmla="*/ 1430257 w 1926380"/>
                <a:gd name="connsiteY1021" fmla="*/ 140639 h 745576"/>
                <a:gd name="connsiteX1022" fmla="*/ 1428473 w 1926380"/>
                <a:gd name="connsiteY1022" fmla="*/ 139852 h 745576"/>
                <a:gd name="connsiteX1023" fmla="*/ 1422482 w 1926380"/>
                <a:gd name="connsiteY1023" fmla="*/ 135436 h 745576"/>
                <a:gd name="connsiteX1024" fmla="*/ 1421606 w 1926380"/>
                <a:gd name="connsiteY1024" fmla="*/ 135133 h 745576"/>
                <a:gd name="connsiteX1025" fmla="*/ 1419397 w 1926380"/>
                <a:gd name="connsiteY1025" fmla="*/ 135284 h 745576"/>
                <a:gd name="connsiteX1026" fmla="*/ 1418278 w 1926380"/>
                <a:gd name="connsiteY1026" fmla="*/ 135163 h 745576"/>
                <a:gd name="connsiteX1027" fmla="*/ 1415555 w 1926380"/>
                <a:gd name="connsiteY1027" fmla="*/ 133348 h 745576"/>
                <a:gd name="connsiteX1028" fmla="*/ 1413558 w 1926380"/>
                <a:gd name="connsiteY1028" fmla="*/ 133621 h 745576"/>
                <a:gd name="connsiteX1029" fmla="*/ 1411532 w 1926380"/>
                <a:gd name="connsiteY1029" fmla="*/ 134558 h 745576"/>
                <a:gd name="connsiteX1030" fmla="*/ 1409505 w 1926380"/>
                <a:gd name="connsiteY1030" fmla="*/ 135163 h 745576"/>
                <a:gd name="connsiteX1031" fmla="*/ 1405512 w 1926380"/>
                <a:gd name="connsiteY1031" fmla="*/ 134437 h 745576"/>
                <a:gd name="connsiteX1032" fmla="*/ 1401700 w 1926380"/>
                <a:gd name="connsiteY1032" fmla="*/ 132411 h 745576"/>
                <a:gd name="connsiteX1033" fmla="*/ 1395710 w 1926380"/>
                <a:gd name="connsiteY1033" fmla="*/ 127570 h 745576"/>
                <a:gd name="connsiteX1034" fmla="*/ 1393169 w 1926380"/>
                <a:gd name="connsiteY1034" fmla="*/ 124454 h 745576"/>
                <a:gd name="connsiteX1035" fmla="*/ 1391747 w 1926380"/>
                <a:gd name="connsiteY1035" fmla="*/ 123123 h 745576"/>
                <a:gd name="connsiteX1036" fmla="*/ 1385424 w 1926380"/>
                <a:gd name="connsiteY1036" fmla="*/ 121732 h 745576"/>
                <a:gd name="connsiteX1037" fmla="*/ 1384215 w 1926380"/>
                <a:gd name="connsiteY1037" fmla="*/ 122034 h 745576"/>
                <a:gd name="connsiteX1038" fmla="*/ 1383640 w 1926380"/>
                <a:gd name="connsiteY1038" fmla="*/ 122458 h 745576"/>
                <a:gd name="connsiteX1039" fmla="*/ 1383277 w 1926380"/>
                <a:gd name="connsiteY1039" fmla="*/ 122942 h 745576"/>
                <a:gd name="connsiteX1040" fmla="*/ 1382672 w 1926380"/>
                <a:gd name="connsiteY1040" fmla="*/ 123456 h 745576"/>
                <a:gd name="connsiteX1041" fmla="*/ 1377287 w 1926380"/>
                <a:gd name="connsiteY1041" fmla="*/ 126421 h 745576"/>
                <a:gd name="connsiteX1042" fmla="*/ 1376108 w 1926380"/>
                <a:gd name="connsiteY1042" fmla="*/ 126784 h 745576"/>
                <a:gd name="connsiteX1043" fmla="*/ 1374050 w 1926380"/>
                <a:gd name="connsiteY1043" fmla="*/ 127117 h 745576"/>
                <a:gd name="connsiteX1044" fmla="*/ 1371297 w 1926380"/>
                <a:gd name="connsiteY1044" fmla="*/ 128750 h 745576"/>
                <a:gd name="connsiteX1045" fmla="*/ 1369603 w 1926380"/>
                <a:gd name="connsiteY1045" fmla="*/ 129295 h 745576"/>
                <a:gd name="connsiteX1046" fmla="*/ 1367364 w 1926380"/>
                <a:gd name="connsiteY1046" fmla="*/ 128962 h 745576"/>
                <a:gd name="connsiteX1047" fmla="*/ 1364248 w 1926380"/>
                <a:gd name="connsiteY1047" fmla="*/ 126542 h 745576"/>
                <a:gd name="connsiteX1048" fmla="*/ 1362343 w 1926380"/>
                <a:gd name="connsiteY1048" fmla="*/ 125937 h 745576"/>
                <a:gd name="connsiteX1049" fmla="*/ 1359045 w 1926380"/>
                <a:gd name="connsiteY1049" fmla="*/ 125694 h 745576"/>
                <a:gd name="connsiteX1050" fmla="*/ 1357866 w 1926380"/>
                <a:gd name="connsiteY1050" fmla="*/ 125937 h 745576"/>
                <a:gd name="connsiteX1051" fmla="*/ 1355294 w 1926380"/>
                <a:gd name="connsiteY1051" fmla="*/ 127933 h 745576"/>
                <a:gd name="connsiteX1052" fmla="*/ 1354417 w 1926380"/>
                <a:gd name="connsiteY1052" fmla="*/ 128447 h 745576"/>
                <a:gd name="connsiteX1053" fmla="*/ 1346310 w 1926380"/>
                <a:gd name="connsiteY1053" fmla="*/ 130142 h 745576"/>
                <a:gd name="connsiteX1054" fmla="*/ 1334814 w 1926380"/>
                <a:gd name="connsiteY1054" fmla="*/ 130232 h 745576"/>
                <a:gd name="connsiteX1055" fmla="*/ 1332878 w 1926380"/>
                <a:gd name="connsiteY1055" fmla="*/ 130837 h 745576"/>
                <a:gd name="connsiteX1056" fmla="*/ 1331244 w 1926380"/>
                <a:gd name="connsiteY1056" fmla="*/ 132138 h 745576"/>
                <a:gd name="connsiteX1057" fmla="*/ 1329580 w 1926380"/>
                <a:gd name="connsiteY1057" fmla="*/ 133137 h 745576"/>
                <a:gd name="connsiteX1058" fmla="*/ 1322563 w 1926380"/>
                <a:gd name="connsiteY1058" fmla="*/ 134498 h 745576"/>
                <a:gd name="connsiteX1059" fmla="*/ 1320324 w 1926380"/>
                <a:gd name="connsiteY1059" fmla="*/ 135224 h 745576"/>
                <a:gd name="connsiteX1060" fmla="*/ 1319840 w 1926380"/>
                <a:gd name="connsiteY1060" fmla="*/ 135526 h 745576"/>
                <a:gd name="connsiteX1061" fmla="*/ 1319477 w 1926380"/>
                <a:gd name="connsiteY1061" fmla="*/ 136253 h 745576"/>
                <a:gd name="connsiteX1062" fmla="*/ 1317450 w 1926380"/>
                <a:gd name="connsiteY1062" fmla="*/ 138461 h 745576"/>
                <a:gd name="connsiteX1063" fmla="*/ 1316270 w 1926380"/>
                <a:gd name="connsiteY1063" fmla="*/ 138824 h 745576"/>
                <a:gd name="connsiteX1064" fmla="*/ 1315241 w 1926380"/>
                <a:gd name="connsiteY1064" fmla="*/ 139580 h 745576"/>
                <a:gd name="connsiteX1065" fmla="*/ 1314394 w 1926380"/>
                <a:gd name="connsiteY1065" fmla="*/ 140427 h 745576"/>
                <a:gd name="connsiteX1066" fmla="*/ 1313698 w 1926380"/>
                <a:gd name="connsiteY1066" fmla="*/ 140972 h 745576"/>
                <a:gd name="connsiteX1067" fmla="*/ 1312610 w 1926380"/>
                <a:gd name="connsiteY1067" fmla="*/ 141213 h 745576"/>
                <a:gd name="connsiteX1068" fmla="*/ 1310673 w 1926380"/>
                <a:gd name="connsiteY1068" fmla="*/ 141213 h 745576"/>
                <a:gd name="connsiteX1069" fmla="*/ 1309675 w 1926380"/>
                <a:gd name="connsiteY1069" fmla="*/ 141728 h 745576"/>
                <a:gd name="connsiteX1070" fmla="*/ 1308980 w 1926380"/>
                <a:gd name="connsiteY1070" fmla="*/ 141002 h 745576"/>
                <a:gd name="connsiteX1071" fmla="*/ 1307407 w 1926380"/>
                <a:gd name="connsiteY1071" fmla="*/ 138975 h 745576"/>
                <a:gd name="connsiteX1072" fmla="*/ 1306801 w 1926380"/>
                <a:gd name="connsiteY1072" fmla="*/ 138461 h 745576"/>
                <a:gd name="connsiteX1073" fmla="*/ 1305561 w 1926380"/>
                <a:gd name="connsiteY1073" fmla="*/ 138370 h 745576"/>
                <a:gd name="connsiteX1074" fmla="*/ 1302324 w 1926380"/>
                <a:gd name="connsiteY1074" fmla="*/ 139278 h 745576"/>
                <a:gd name="connsiteX1075" fmla="*/ 1300993 w 1926380"/>
                <a:gd name="connsiteY1075" fmla="*/ 140004 h 745576"/>
                <a:gd name="connsiteX1076" fmla="*/ 1297302 w 1926380"/>
                <a:gd name="connsiteY1076" fmla="*/ 143362 h 745576"/>
                <a:gd name="connsiteX1077" fmla="*/ 1295729 w 1926380"/>
                <a:gd name="connsiteY1077" fmla="*/ 144360 h 745576"/>
                <a:gd name="connsiteX1078" fmla="*/ 1288106 w 1926380"/>
                <a:gd name="connsiteY1078" fmla="*/ 144753 h 745576"/>
                <a:gd name="connsiteX1079" fmla="*/ 1286957 w 1926380"/>
                <a:gd name="connsiteY1079" fmla="*/ 145600 h 745576"/>
                <a:gd name="connsiteX1080" fmla="*/ 1284415 w 1926380"/>
                <a:gd name="connsiteY1080" fmla="*/ 145388 h 745576"/>
                <a:gd name="connsiteX1081" fmla="*/ 1280634 w 1926380"/>
                <a:gd name="connsiteY1081" fmla="*/ 144390 h 745576"/>
                <a:gd name="connsiteX1082" fmla="*/ 1276792 w 1926380"/>
                <a:gd name="connsiteY1082" fmla="*/ 145509 h 745576"/>
                <a:gd name="connsiteX1083" fmla="*/ 1274735 w 1926380"/>
                <a:gd name="connsiteY1083" fmla="*/ 145509 h 745576"/>
                <a:gd name="connsiteX1084" fmla="*/ 1270349 w 1926380"/>
                <a:gd name="connsiteY1084" fmla="*/ 141910 h 745576"/>
                <a:gd name="connsiteX1085" fmla="*/ 1268442 w 1926380"/>
                <a:gd name="connsiteY1085" fmla="*/ 141516 h 745576"/>
                <a:gd name="connsiteX1086" fmla="*/ 1263996 w 1926380"/>
                <a:gd name="connsiteY1086" fmla="*/ 142636 h 745576"/>
                <a:gd name="connsiteX1087" fmla="*/ 1261727 w 1926380"/>
                <a:gd name="connsiteY1087" fmla="*/ 142636 h 745576"/>
                <a:gd name="connsiteX1088" fmla="*/ 1257673 w 1926380"/>
                <a:gd name="connsiteY1088" fmla="*/ 141304 h 745576"/>
                <a:gd name="connsiteX1089" fmla="*/ 1251744 w 1926380"/>
                <a:gd name="connsiteY1089" fmla="*/ 140367 h 745576"/>
                <a:gd name="connsiteX1090" fmla="*/ 1239613 w 1926380"/>
                <a:gd name="connsiteY1090" fmla="*/ 136646 h 745576"/>
                <a:gd name="connsiteX1091" fmla="*/ 1234893 w 1926380"/>
                <a:gd name="connsiteY1091" fmla="*/ 136041 h 745576"/>
                <a:gd name="connsiteX1092" fmla="*/ 1230991 w 1926380"/>
                <a:gd name="connsiteY1092" fmla="*/ 137614 h 745576"/>
                <a:gd name="connsiteX1093" fmla="*/ 1229237 w 1926380"/>
                <a:gd name="connsiteY1093" fmla="*/ 134770 h 745576"/>
                <a:gd name="connsiteX1094" fmla="*/ 1228208 w 1926380"/>
                <a:gd name="connsiteY1094" fmla="*/ 133530 h 745576"/>
                <a:gd name="connsiteX1095" fmla="*/ 1226847 w 1926380"/>
                <a:gd name="connsiteY1095" fmla="*/ 132531 h 745576"/>
                <a:gd name="connsiteX1096" fmla="*/ 1221674 w 1926380"/>
                <a:gd name="connsiteY1096" fmla="*/ 130172 h 745576"/>
                <a:gd name="connsiteX1097" fmla="*/ 1219889 w 1926380"/>
                <a:gd name="connsiteY1097" fmla="*/ 128084 h 745576"/>
                <a:gd name="connsiteX1098" fmla="*/ 1219768 w 1926380"/>
                <a:gd name="connsiteY1098" fmla="*/ 120400 h 745576"/>
                <a:gd name="connsiteX1099" fmla="*/ 1217166 w 1926380"/>
                <a:gd name="connsiteY1099" fmla="*/ 120794 h 745576"/>
                <a:gd name="connsiteX1100" fmla="*/ 1216471 w 1926380"/>
                <a:gd name="connsiteY1100" fmla="*/ 119977 h 745576"/>
                <a:gd name="connsiteX1101" fmla="*/ 1214746 w 1926380"/>
                <a:gd name="connsiteY1101" fmla="*/ 121369 h 745576"/>
                <a:gd name="connsiteX1102" fmla="*/ 1212841 w 1926380"/>
                <a:gd name="connsiteY1102" fmla="*/ 121369 h 745576"/>
                <a:gd name="connsiteX1103" fmla="*/ 1211146 w 1926380"/>
                <a:gd name="connsiteY1103" fmla="*/ 120219 h 745576"/>
                <a:gd name="connsiteX1104" fmla="*/ 1210269 w 1926380"/>
                <a:gd name="connsiteY1104" fmla="*/ 118222 h 745576"/>
                <a:gd name="connsiteX1105" fmla="*/ 1208484 w 1926380"/>
                <a:gd name="connsiteY1105" fmla="*/ 119342 h 745576"/>
                <a:gd name="connsiteX1106" fmla="*/ 1206760 w 1926380"/>
                <a:gd name="connsiteY1106" fmla="*/ 121006 h 745576"/>
                <a:gd name="connsiteX1107" fmla="*/ 1205278 w 1926380"/>
                <a:gd name="connsiteY1107" fmla="*/ 122972 h 745576"/>
                <a:gd name="connsiteX1108" fmla="*/ 1204067 w 1926380"/>
                <a:gd name="connsiteY1108" fmla="*/ 124968 h 745576"/>
                <a:gd name="connsiteX1109" fmla="*/ 1202767 w 1926380"/>
                <a:gd name="connsiteY1109" fmla="*/ 128236 h 745576"/>
                <a:gd name="connsiteX1110" fmla="*/ 1202041 w 1926380"/>
                <a:gd name="connsiteY1110" fmla="*/ 129234 h 745576"/>
                <a:gd name="connsiteX1111" fmla="*/ 1201284 w 1926380"/>
                <a:gd name="connsiteY1111" fmla="*/ 129718 h 745576"/>
                <a:gd name="connsiteX1112" fmla="*/ 1199893 w 1926380"/>
                <a:gd name="connsiteY1112" fmla="*/ 130232 h 745576"/>
                <a:gd name="connsiteX1113" fmla="*/ 1199288 w 1926380"/>
                <a:gd name="connsiteY1113" fmla="*/ 130898 h 745576"/>
                <a:gd name="connsiteX1114" fmla="*/ 1197685 w 1926380"/>
                <a:gd name="connsiteY1114" fmla="*/ 130444 h 745576"/>
                <a:gd name="connsiteX1115" fmla="*/ 1193661 w 1926380"/>
                <a:gd name="connsiteY1115" fmla="*/ 130837 h 745576"/>
                <a:gd name="connsiteX1116" fmla="*/ 1191634 w 1926380"/>
                <a:gd name="connsiteY1116" fmla="*/ 130142 h 745576"/>
                <a:gd name="connsiteX1117" fmla="*/ 1189275 w 1926380"/>
                <a:gd name="connsiteY1117" fmla="*/ 127782 h 745576"/>
                <a:gd name="connsiteX1118" fmla="*/ 1188881 w 1926380"/>
                <a:gd name="connsiteY1118" fmla="*/ 127117 h 745576"/>
                <a:gd name="connsiteX1119" fmla="*/ 1184767 w 1926380"/>
                <a:gd name="connsiteY1119" fmla="*/ 125906 h 745576"/>
                <a:gd name="connsiteX1120" fmla="*/ 1183043 w 1926380"/>
                <a:gd name="connsiteY1120" fmla="*/ 124696 h 745576"/>
                <a:gd name="connsiteX1121" fmla="*/ 1180622 w 1926380"/>
                <a:gd name="connsiteY1121" fmla="*/ 122155 h 745576"/>
                <a:gd name="connsiteX1122" fmla="*/ 1178868 w 1926380"/>
                <a:gd name="connsiteY1122" fmla="*/ 121671 h 745576"/>
                <a:gd name="connsiteX1123" fmla="*/ 1176509 w 1926380"/>
                <a:gd name="connsiteY1123" fmla="*/ 121460 h 745576"/>
                <a:gd name="connsiteX1124" fmla="*/ 1174390 w 1926380"/>
                <a:gd name="connsiteY1124" fmla="*/ 120824 h 745576"/>
                <a:gd name="connsiteX1125" fmla="*/ 1173272 w 1926380"/>
                <a:gd name="connsiteY1125" fmla="*/ 120249 h 745576"/>
                <a:gd name="connsiteX1126" fmla="*/ 1170942 w 1926380"/>
                <a:gd name="connsiteY1126" fmla="*/ 118253 h 745576"/>
                <a:gd name="connsiteX1127" fmla="*/ 1167342 w 1926380"/>
                <a:gd name="connsiteY1127" fmla="*/ 117345 h 745576"/>
                <a:gd name="connsiteX1128" fmla="*/ 1154455 w 1926380"/>
                <a:gd name="connsiteY1128" fmla="*/ 117496 h 745576"/>
                <a:gd name="connsiteX1129" fmla="*/ 1152458 w 1926380"/>
                <a:gd name="connsiteY1129" fmla="*/ 116710 h 745576"/>
                <a:gd name="connsiteX1130" fmla="*/ 1148587 w 1926380"/>
                <a:gd name="connsiteY1130" fmla="*/ 114562 h 745576"/>
                <a:gd name="connsiteX1131" fmla="*/ 1146468 w 1926380"/>
                <a:gd name="connsiteY1131" fmla="*/ 114108 h 745576"/>
                <a:gd name="connsiteX1132" fmla="*/ 1144775 w 1926380"/>
                <a:gd name="connsiteY1132" fmla="*/ 113261 h 745576"/>
                <a:gd name="connsiteX1133" fmla="*/ 1144200 w 1926380"/>
                <a:gd name="connsiteY1133" fmla="*/ 111144 h 745576"/>
                <a:gd name="connsiteX1134" fmla="*/ 1144019 w 1926380"/>
                <a:gd name="connsiteY1134" fmla="*/ 105729 h 745576"/>
                <a:gd name="connsiteX1135" fmla="*/ 1142355 w 1926380"/>
                <a:gd name="connsiteY1135" fmla="*/ 101826 h 745576"/>
                <a:gd name="connsiteX1136" fmla="*/ 1139299 w 1926380"/>
                <a:gd name="connsiteY1136" fmla="*/ 99376 h 745576"/>
                <a:gd name="connsiteX1137" fmla="*/ 1124385 w 1926380"/>
                <a:gd name="connsiteY1137" fmla="*/ 92478 h 745576"/>
                <a:gd name="connsiteX1138" fmla="*/ 1116459 w 1926380"/>
                <a:gd name="connsiteY1138" fmla="*/ 90573 h 745576"/>
                <a:gd name="connsiteX1139" fmla="*/ 1107777 w 1926380"/>
                <a:gd name="connsiteY1139" fmla="*/ 90573 h 745576"/>
                <a:gd name="connsiteX1140" fmla="*/ 1105599 w 1926380"/>
                <a:gd name="connsiteY1140" fmla="*/ 90210 h 745576"/>
                <a:gd name="connsiteX1141" fmla="*/ 1103935 w 1926380"/>
                <a:gd name="connsiteY1141" fmla="*/ 89635 h 745576"/>
                <a:gd name="connsiteX1142" fmla="*/ 1102574 w 1926380"/>
                <a:gd name="connsiteY1142" fmla="*/ 89514 h 745576"/>
                <a:gd name="connsiteX1143" fmla="*/ 1101243 w 1926380"/>
                <a:gd name="connsiteY1143" fmla="*/ 90603 h 745576"/>
                <a:gd name="connsiteX1144" fmla="*/ 1101424 w 1926380"/>
                <a:gd name="connsiteY1144" fmla="*/ 90754 h 745576"/>
                <a:gd name="connsiteX1145" fmla="*/ 1100759 w 1926380"/>
                <a:gd name="connsiteY1145" fmla="*/ 93356 h 745576"/>
                <a:gd name="connsiteX1146" fmla="*/ 1100547 w 1926380"/>
                <a:gd name="connsiteY1146" fmla="*/ 93628 h 745576"/>
                <a:gd name="connsiteX1147" fmla="*/ 1100215 w 1926380"/>
                <a:gd name="connsiteY1147" fmla="*/ 94384 h 745576"/>
                <a:gd name="connsiteX1148" fmla="*/ 1098792 w 1926380"/>
                <a:gd name="connsiteY1148" fmla="*/ 96623 h 745576"/>
                <a:gd name="connsiteX1149" fmla="*/ 1098490 w 1926380"/>
                <a:gd name="connsiteY1149" fmla="*/ 97833 h 745576"/>
                <a:gd name="connsiteX1150" fmla="*/ 1097613 w 1926380"/>
                <a:gd name="connsiteY1150" fmla="*/ 98983 h 745576"/>
                <a:gd name="connsiteX1151" fmla="*/ 1092288 w 1926380"/>
                <a:gd name="connsiteY1151" fmla="*/ 103309 h 745576"/>
                <a:gd name="connsiteX1152" fmla="*/ 1088084 w 1926380"/>
                <a:gd name="connsiteY1152" fmla="*/ 105487 h 745576"/>
                <a:gd name="connsiteX1153" fmla="*/ 1085573 w 1926380"/>
                <a:gd name="connsiteY1153" fmla="*/ 106031 h 745576"/>
                <a:gd name="connsiteX1154" fmla="*/ 1083697 w 1926380"/>
                <a:gd name="connsiteY1154" fmla="*/ 105305 h 745576"/>
                <a:gd name="connsiteX1155" fmla="*/ 1082820 w 1926380"/>
                <a:gd name="connsiteY1155" fmla="*/ 104640 h 745576"/>
                <a:gd name="connsiteX1156" fmla="*/ 1080944 w 1926380"/>
                <a:gd name="connsiteY1156" fmla="*/ 104398 h 745576"/>
                <a:gd name="connsiteX1157" fmla="*/ 1079915 w 1926380"/>
                <a:gd name="connsiteY1157" fmla="*/ 104065 h 745576"/>
                <a:gd name="connsiteX1158" fmla="*/ 1079432 w 1926380"/>
                <a:gd name="connsiteY1158" fmla="*/ 103581 h 745576"/>
                <a:gd name="connsiteX1159" fmla="*/ 1078433 w 1926380"/>
                <a:gd name="connsiteY1159" fmla="*/ 102129 h 745576"/>
                <a:gd name="connsiteX1160" fmla="*/ 1077858 w 1926380"/>
                <a:gd name="connsiteY1160" fmla="*/ 101524 h 745576"/>
                <a:gd name="connsiteX1161" fmla="*/ 1076739 w 1926380"/>
                <a:gd name="connsiteY1161" fmla="*/ 101010 h 745576"/>
                <a:gd name="connsiteX1162" fmla="*/ 1075620 w 1926380"/>
                <a:gd name="connsiteY1162" fmla="*/ 100707 h 745576"/>
                <a:gd name="connsiteX1163" fmla="*/ 1074773 w 1926380"/>
                <a:gd name="connsiteY1163" fmla="*/ 100072 h 745576"/>
                <a:gd name="connsiteX1164" fmla="*/ 1074440 w 1926380"/>
                <a:gd name="connsiteY1164" fmla="*/ 98620 h 745576"/>
                <a:gd name="connsiteX1165" fmla="*/ 1074349 w 1926380"/>
                <a:gd name="connsiteY1165" fmla="*/ 97349 h 745576"/>
                <a:gd name="connsiteX1166" fmla="*/ 1074107 w 1926380"/>
                <a:gd name="connsiteY1166" fmla="*/ 96411 h 745576"/>
                <a:gd name="connsiteX1167" fmla="*/ 1073563 w 1926380"/>
                <a:gd name="connsiteY1167" fmla="*/ 95836 h 745576"/>
                <a:gd name="connsiteX1168" fmla="*/ 1070689 w 1926380"/>
                <a:gd name="connsiteY1168" fmla="*/ 95171 h 745576"/>
                <a:gd name="connsiteX1169" fmla="*/ 1065667 w 1926380"/>
                <a:gd name="connsiteY1169" fmla="*/ 92690 h 745576"/>
                <a:gd name="connsiteX1170" fmla="*/ 1064003 w 1926380"/>
                <a:gd name="connsiteY1170" fmla="*/ 91450 h 745576"/>
                <a:gd name="connsiteX1171" fmla="*/ 1060767 w 1926380"/>
                <a:gd name="connsiteY1171" fmla="*/ 85611 h 745576"/>
                <a:gd name="connsiteX1172" fmla="*/ 1058165 w 1926380"/>
                <a:gd name="connsiteY1172" fmla="*/ 83948 h 745576"/>
                <a:gd name="connsiteX1173" fmla="*/ 1053688 w 1926380"/>
                <a:gd name="connsiteY1173" fmla="*/ 78775 h 745576"/>
                <a:gd name="connsiteX1174" fmla="*/ 1052628 w 1926380"/>
                <a:gd name="connsiteY1174" fmla="*/ 76657 h 745576"/>
                <a:gd name="connsiteX1175" fmla="*/ 1052266 w 1926380"/>
                <a:gd name="connsiteY1175" fmla="*/ 74781 h 745576"/>
                <a:gd name="connsiteX1176" fmla="*/ 1052326 w 1926380"/>
                <a:gd name="connsiteY1176" fmla="*/ 70758 h 745576"/>
                <a:gd name="connsiteX1177" fmla="*/ 1052478 w 1926380"/>
                <a:gd name="connsiteY1177" fmla="*/ 70183 h 745576"/>
                <a:gd name="connsiteX1178" fmla="*/ 1053355 w 1926380"/>
                <a:gd name="connsiteY1178" fmla="*/ 68157 h 745576"/>
                <a:gd name="connsiteX1179" fmla="*/ 1053688 w 1926380"/>
                <a:gd name="connsiteY1179" fmla="*/ 66916 h 745576"/>
                <a:gd name="connsiteX1180" fmla="*/ 1053688 w 1926380"/>
                <a:gd name="connsiteY1180" fmla="*/ 61894 h 745576"/>
                <a:gd name="connsiteX1181" fmla="*/ 1052296 w 1926380"/>
                <a:gd name="connsiteY1181" fmla="*/ 58355 h 745576"/>
                <a:gd name="connsiteX1182" fmla="*/ 1044703 w 1926380"/>
                <a:gd name="connsiteY1182" fmla="*/ 49249 h 745576"/>
                <a:gd name="connsiteX1183" fmla="*/ 1044007 w 1926380"/>
                <a:gd name="connsiteY1183" fmla="*/ 49249 h 745576"/>
                <a:gd name="connsiteX1184" fmla="*/ 1044007 w 1926380"/>
                <a:gd name="connsiteY1184" fmla="*/ 50943 h 745576"/>
                <a:gd name="connsiteX1185" fmla="*/ 1037957 w 1926380"/>
                <a:gd name="connsiteY1185" fmla="*/ 45770 h 745576"/>
                <a:gd name="connsiteX1186" fmla="*/ 1037443 w 1926380"/>
                <a:gd name="connsiteY1186" fmla="*/ 45892 h 745576"/>
                <a:gd name="connsiteX1187" fmla="*/ 1036384 w 1926380"/>
                <a:gd name="connsiteY1187" fmla="*/ 46708 h 745576"/>
                <a:gd name="connsiteX1188" fmla="*/ 1034932 w 1926380"/>
                <a:gd name="connsiteY1188" fmla="*/ 48190 h 745576"/>
                <a:gd name="connsiteX1189" fmla="*/ 1033540 w 1926380"/>
                <a:gd name="connsiteY1189" fmla="*/ 50399 h 745576"/>
                <a:gd name="connsiteX1190" fmla="*/ 1032602 w 1926380"/>
                <a:gd name="connsiteY1190" fmla="*/ 53091 h 745576"/>
                <a:gd name="connsiteX1191" fmla="*/ 1032390 w 1926380"/>
                <a:gd name="connsiteY1191" fmla="*/ 56056 h 745576"/>
                <a:gd name="connsiteX1192" fmla="*/ 1031634 w 1926380"/>
                <a:gd name="connsiteY1192" fmla="*/ 56056 h 745576"/>
                <a:gd name="connsiteX1193" fmla="*/ 1031271 w 1926380"/>
                <a:gd name="connsiteY1193" fmla="*/ 53999 h 745576"/>
                <a:gd name="connsiteX1194" fmla="*/ 1033177 w 1926380"/>
                <a:gd name="connsiteY1194" fmla="*/ 50187 h 745576"/>
                <a:gd name="connsiteX1195" fmla="*/ 1033026 w 1926380"/>
                <a:gd name="connsiteY1195" fmla="*/ 48311 h 745576"/>
                <a:gd name="connsiteX1196" fmla="*/ 1034024 w 1926380"/>
                <a:gd name="connsiteY1196" fmla="*/ 47918 h 745576"/>
                <a:gd name="connsiteX1197" fmla="*/ 1034811 w 1926380"/>
                <a:gd name="connsiteY1197" fmla="*/ 47283 h 745576"/>
                <a:gd name="connsiteX1198" fmla="*/ 1035385 w 1926380"/>
                <a:gd name="connsiteY1198" fmla="*/ 46527 h 745576"/>
                <a:gd name="connsiteX1199" fmla="*/ 1035809 w 1926380"/>
                <a:gd name="connsiteY1199" fmla="*/ 45770 h 745576"/>
                <a:gd name="connsiteX1200" fmla="*/ 1035809 w 1926380"/>
                <a:gd name="connsiteY1200" fmla="*/ 44923 h 745576"/>
                <a:gd name="connsiteX1201" fmla="*/ 1033601 w 1926380"/>
                <a:gd name="connsiteY1201" fmla="*/ 45407 h 745576"/>
                <a:gd name="connsiteX1202" fmla="*/ 1029486 w 1926380"/>
                <a:gd name="connsiteY1202" fmla="*/ 48493 h 745576"/>
                <a:gd name="connsiteX1203" fmla="*/ 1027096 w 1926380"/>
                <a:gd name="connsiteY1203" fmla="*/ 49219 h 745576"/>
                <a:gd name="connsiteX1204" fmla="*/ 1024676 w 1926380"/>
                <a:gd name="connsiteY1204" fmla="*/ 49552 h 745576"/>
                <a:gd name="connsiteX1205" fmla="*/ 1014058 w 1926380"/>
                <a:gd name="connsiteY1205" fmla="*/ 53727 h 745576"/>
                <a:gd name="connsiteX1206" fmla="*/ 1007827 w 1926380"/>
                <a:gd name="connsiteY1206" fmla="*/ 54725 h 745576"/>
                <a:gd name="connsiteX1207" fmla="*/ 1004015 w 1926380"/>
                <a:gd name="connsiteY1207" fmla="*/ 56903 h 745576"/>
                <a:gd name="connsiteX1208" fmla="*/ 1001897 w 1926380"/>
                <a:gd name="connsiteY1208" fmla="*/ 57720 h 745576"/>
                <a:gd name="connsiteX1209" fmla="*/ 997571 w 1926380"/>
                <a:gd name="connsiteY1209" fmla="*/ 58083 h 745576"/>
                <a:gd name="connsiteX1210" fmla="*/ 992882 w 1926380"/>
                <a:gd name="connsiteY1210" fmla="*/ 57508 h 745576"/>
                <a:gd name="connsiteX1211" fmla="*/ 988435 w 1926380"/>
                <a:gd name="connsiteY1211" fmla="*/ 56177 h 745576"/>
                <a:gd name="connsiteX1212" fmla="*/ 984744 w 1926380"/>
                <a:gd name="connsiteY1212" fmla="*/ 54241 h 745576"/>
                <a:gd name="connsiteX1213" fmla="*/ 981538 w 1926380"/>
                <a:gd name="connsiteY1213" fmla="*/ 51427 h 745576"/>
                <a:gd name="connsiteX1214" fmla="*/ 979905 w 1926380"/>
                <a:gd name="connsiteY1214" fmla="*/ 50429 h 745576"/>
                <a:gd name="connsiteX1215" fmla="*/ 975548 w 1926380"/>
                <a:gd name="connsiteY1215" fmla="*/ 49763 h 745576"/>
                <a:gd name="connsiteX1216" fmla="*/ 969558 w 1926380"/>
                <a:gd name="connsiteY1216" fmla="*/ 47525 h 745576"/>
                <a:gd name="connsiteX1217" fmla="*/ 968015 w 1926380"/>
                <a:gd name="connsiteY1217" fmla="*/ 46406 h 745576"/>
                <a:gd name="connsiteX1218" fmla="*/ 965081 w 1926380"/>
                <a:gd name="connsiteY1218" fmla="*/ 43139 h 745576"/>
                <a:gd name="connsiteX1219" fmla="*/ 962177 w 1926380"/>
                <a:gd name="connsiteY1219" fmla="*/ 41747 h 745576"/>
                <a:gd name="connsiteX1220" fmla="*/ 960846 w 1926380"/>
                <a:gd name="connsiteY1220" fmla="*/ 40083 h 745576"/>
                <a:gd name="connsiteX1221" fmla="*/ 959847 w 1926380"/>
                <a:gd name="connsiteY1221" fmla="*/ 38086 h 745576"/>
                <a:gd name="connsiteX1222" fmla="*/ 959243 w 1926380"/>
                <a:gd name="connsiteY1222" fmla="*/ 36483 h 745576"/>
                <a:gd name="connsiteX1223" fmla="*/ 960604 w 1926380"/>
                <a:gd name="connsiteY1223" fmla="*/ 36483 h 745576"/>
                <a:gd name="connsiteX1224" fmla="*/ 960604 w 1926380"/>
                <a:gd name="connsiteY1224" fmla="*/ 35636 h 745576"/>
                <a:gd name="connsiteX1225" fmla="*/ 955189 w 1926380"/>
                <a:gd name="connsiteY1225" fmla="*/ 31371 h 745576"/>
                <a:gd name="connsiteX1226" fmla="*/ 952163 w 1926380"/>
                <a:gd name="connsiteY1226" fmla="*/ 27710 h 745576"/>
                <a:gd name="connsiteX1227" fmla="*/ 949441 w 1926380"/>
                <a:gd name="connsiteY1227" fmla="*/ 23082 h 745576"/>
                <a:gd name="connsiteX1228" fmla="*/ 948806 w 1926380"/>
                <a:gd name="connsiteY1228" fmla="*/ 21176 h 745576"/>
                <a:gd name="connsiteX1229" fmla="*/ 948897 w 1926380"/>
                <a:gd name="connsiteY1229" fmla="*/ 18847 h 745576"/>
                <a:gd name="connsiteX1230" fmla="*/ 949502 w 1926380"/>
                <a:gd name="connsiteY1230" fmla="*/ 16003 h 745576"/>
                <a:gd name="connsiteX1231" fmla="*/ 950379 w 1926380"/>
                <a:gd name="connsiteY1231" fmla="*/ 13280 h 745576"/>
                <a:gd name="connsiteX1232" fmla="*/ 951316 w 1926380"/>
                <a:gd name="connsiteY1232" fmla="*/ 11375 h 745576"/>
                <a:gd name="connsiteX1233" fmla="*/ 953404 w 1926380"/>
                <a:gd name="connsiteY1233" fmla="*/ 9801 h 745576"/>
                <a:gd name="connsiteX1234" fmla="*/ 955915 w 1926380"/>
                <a:gd name="connsiteY1234" fmla="*/ 9529 h 745576"/>
                <a:gd name="connsiteX1235" fmla="*/ 961330 w 1926380"/>
                <a:gd name="connsiteY1235" fmla="*/ 10134 h 745576"/>
                <a:gd name="connsiteX1236" fmla="*/ 961330 w 1926380"/>
                <a:gd name="connsiteY1236" fmla="*/ 9287 h 745576"/>
                <a:gd name="connsiteX1237" fmla="*/ 959273 w 1926380"/>
                <a:gd name="connsiteY1237" fmla="*/ 7502 h 745576"/>
                <a:gd name="connsiteX1238" fmla="*/ 958305 w 1926380"/>
                <a:gd name="connsiteY1238" fmla="*/ 6958 h 745576"/>
                <a:gd name="connsiteX1239" fmla="*/ 956792 w 1926380"/>
                <a:gd name="connsiteY1239" fmla="*/ 6746 h 745576"/>
                <a:gd name="connsiteX1240" fmla="*/ 955703 w 1926380"/>
                <a:gd name="connsiteY1240" fmla="*/ 7079 h 745576"/>
                <a:gd name="connsiteX1241" fmla="*/ 954070 w 1926380"/>
                <a:gd name="connsiteY1241" fmla="*/ 8712 h 745576"/>
                <a:gd name="connsiteX1242" fmla="*/ 953011 w 1926380"/>
                <a:gd name="connsiteY1242" fmla="*/ 9317 h 745576"/>
                <a:gd name="connsiteX1243" fmla="*/ 950046 w 1926380"/>
                <a:gd name="connsiteY1243" fmla="*/ 9529 h 745576"/>
                <a:gd name="connsiteX1244" fmla="*/ 947747 w 1926380"/>
                <a:gd name="connsiteY1244" fmla="*/ 8622 h 745576"/>
                <a:gd name="connsiteX1245" fmla="*/ 944026 w 1926380"/>
                <a:gd name="connsiteY1245" fmla="*/ 5838 h 745576"/>
                <a:gd name="connsiteX1246" fmla="*/ 944026 w 1926380"/>
                <a:gd name="connsiteY1246" fmla="*/ 5082 h 745576"/>
                <a:gd name="connsiteX1247" fmla="*/ 944450 w 1926380"/>
                <a:gd name="connsiteY1247" fmla="*/ 4175 h 745576"/>
                <a:gd name="connsiteX1248" fmla="*/ 943754 w 1926380"/>
                <a:gd name="connsiteY1248" fmla="*/ 3297 h 745576"/>
                <a:gd name="connsiteX1249" fmla="*/ 942665 w 1926380"/>
                <a:gd name="connsiteY1249" fmla="*/ 2239 h 745576"/>
                <a:gd name="connsiteX1250" fmla="*/ 941939 w 1926380"/>
                <a:gd name="connsiteY1250" fmla="*/ 756 h 745576"/>
                <a:gd name="connsiteX1251" fmla="*/ 940547 w 1926380"/>
                <a:gd name="connsiteY1251" fmla="*/ 756 h 745576"/>
                <a:gd name="connsiteX1252" fmla="*/ 940123 w 1926380"/>
                <a:gd name="connsiteY1252" fmla="*/ 907 h 745576"/>
                <a:gd name="connsiteX1253" fmla="*/ 939882 w 1926380"/>
                <a:gd name="connsiteY1253" fmla="*/ 1694 h 745576"/>
                <a:gd name="connsiteX1254" fmla="*/ 938611 w 1926380"/>
                <a:gd name="connsiteY1254" fmla="*/ 938 h 745576"/>
                <a:gd name="connsiteX1255" fmla="*/ 935737 w 1926380"/>
                <a:gd name="connsiteY1255" fmla="*/ 454 h 745576"/>
                <a:gd name="connsiteX1256" fmla="*/ 934346 w 1926380"/>
                <a:gd name="connsiteY1256" fmla="*/ 0 h 745576"/>
                <a:gd name="connsiteX1257" fmla="*/ 933711 w 1926380"/>
                <a:gd name="connsiteY1257" fmla="*/ 3660 h 745576"/>
                <a:gd name="connsiteX1258" fmla="*/ 931381 w 1926380"/>
                <a:gd name="connsiteY1258" fmla="*/ 7865 h 745576"/>
                <a:gd name="connsiteX1259" fmla="*/ 928386 w 1926380"/>
                <a:gd name="connsiteY1259" fmla="*/ 11314 h 745576"/>
                <a:gd name="connsiteX1260" fmla="*/ 924756 w 1926380"/>
                <a:gd name="connsiteY1260" fmla="*/ 13341 h 745576"/>
                <a:gd name="connsiteX1261" fmla="*/ 920945 w 1926380"/>
                <a:gd name="connsiteY1261" fmla="*/ 16124 h 745576"/>
                <a:gd name="connsiteX1262" fmla="*/ 919281 w 1926380"/>
                <a:gd name="connsiteY1262" fmla="*/ 16971 h 745576"/>
                <a:gd name="connsiteX1263" fmla="*/ 914017 w 1926380"/>
                <a:gd name="connsiteY1263" fmla="*/ 18453 h 745576"/>
                <a:gd name="connsiteX1264" fmla="*/ 908753 w 1926380"/>
                <a:gd name="connsiteY1264" fmla="*/ 18998 h 745576"/>
                <a:gd name="connsiteX1265" fmla="*/ 895442 w 1926380"/>
                <a:gd name="connsiteY1265" fmla="*/ 18272 h 745576"/>
                <a:gd name="connsiteX1266" fmla="*/ 891933 w 1926380"/>
                <a:gd name="connsiteY1266" fmla="*/ 17183 h 745576"/>
                <a:gd name="connsiteX1267" fmla="*/ 889090 w 1926380"/>
                <a:gd name="connsiteY1267" fmla="*/ 15791 h 745576"/>
                <a:gd name="connsiteX1268" fmla="*/ 887486 w 1926380"/>
                <a:gd name="connsiteY1268" fmla="*/ 15368 h 745576"/>
                <a:gd name="connsiteX1269" fmla="*/ 883735 w 1926380"/>
                <a:gd name="connsiteY1269" fmla="*/ 15670 h 745576"/>
                <a:gd name="connsiteX1270" fmla="*/ 872239 w 1926380"/>
                <a:gd name="connsiteY1270" fmla="*/ 18756 h 745576"/>
                <a:gd name="connsiteX1271" fmla="*/ 839266 w 1926380"/>
                <a:gd name="connsiteY1271" fmla="*/ 14460 h 745576"/>
                <a:gd name="connsiteX1272" fmla="*/ 826167 w 1926380"/>
                <a:gd name="connsiteY1272" fmla="*/ 15458 h 745576"/>
                <a:gd name="connsiteX1273" fmla="*/ 823323 w 1926380"/>
                <a:gd name="connsiteY1273" fmla="*/ 14460 h 745576"/>
                <a:gd name="connsiteX1274" fmla="*/ 821508 w 1926380"/>
                <a:gd name="connsiteY1274" fmla="*/ 15065 h 745576"/>
                <a:gd name="connsiteX1275" fmla="*/ 799999 w 1926380"/>
                <a:gd name="connsiteY1275" fmla="*/ 13068 h 745576"/>
                <a:gd name="connsiteX1276" fmla="*/ 794947 w 1926380"/>
                <a:gd name="connsiteY1276" fmla="*/ 11314 h 745576"/>
                <a:gd name="connsiteX1277" fmla="*/ 792678 w 1926380"/>
                <a:gd name="connsiteY1277" fmla="*/ 10951 h 745576"/>
                <a:gd name="connsiteX1278" fmla="*/ 781999 w 1926380"/>
                <a:gd name="connsiteY1278" fmla="*/ 10951 h 745576"/>
                <a:gd name="connsiteX1279" fmla="*/ 774618 w 1926380"/>
                <a:gd name="connsiteY1279" fmla="*/ 9680 h 745576"/>
                <a:gd name="connsiteX1280" fmla="*/ 770958 w 1926380"/>
                <a:gd name="connsiteY1280" fmla="*/ 9892 h 745576"/>
                <a:gd name="connsiteX1281" fmla="*/ 754955 w 1926380"/>
                <a:gd name="connsiteY1281" fmla="*/ 17606 h 745576"/>
                <a:gd name="connsiteX1282" fmla="*/ 739103 w 1926380"/>
                <a:gd name="connsiteY1282" fmla="*/ 22537 h 745576"/>
                <a:gd name="connsiteX1283" fmla="*/ 734444 w 1926380"/>
                <a:gd name="connsiteY1283" fmla="*/ 25411 h 745576"/>
                <a:gd name="connsiteX1284" fmla="*/ 730844 w 1926380"/>
                <a:gd name="connsiteY1284" fmla="*/ 26924 h 745576"/>
                <a:gd name="connsiteX1285" fmla="*/ 723765 w 1926380"/>
                <a:gd name="connsiteY1285" fmla="*/ 28587 h 745576"/>
                <a:gd name="connsiteX1286" fmla="*/ 722677 w 1926380"/>
                <a:gd name="connsiteY1286" fmla="*/ 28043 h 745576"/>
                <a:gd name="connsiteX1287" fmla="*/ 720952 w 1926380"/>
                <a:gd name="connsiteY1287" fmla="*/ 29041 h 745576"/>
                <a:gd name="connsiteX1288" fmla="*/ 718048 w 1926380"/>
                <a:gd name="connsiteY1288" fmla="*/ 29646 h 745576"/>
                <a:gd name="connsiteX1289" fmla="*/ 715205 w 1926380"/>
                <a:gd name="connsiteY1289" fmla="*/ 29858 h 745576"/>
                <a:gd name="connsiteX1290" fmla="*/ 713722 w 1926380"/>
                <a:gd name="connsiteY1290" fmla="*/ 29737 h 745576"/>
                <a:gd name="connsiteX1291" fmla="*/ 712210 w 1926380"/>
                <a:gd name="connsiteY1291" fmla="*/ 30463 h 745576"/>
                <a:gd name="connsiteX1292" fmla="*/ 706038 w 1926380"/>
                <a:gd name="connsiteY1292" fmla="*/ 32551 h 745576"/>
                <a:gd name="connsiteX1293" fmla="*/ 704435 w 1926380"/>
                <a:gd name="connsiteY1293" fmla="*/ 32702 h 745576"/>
                <a:gd name="connsiteX1294" fmla="*/ 702075 w 1926380"/>
                <a:gd name="connsiteY1294" fmla="*/ 31582 h 745576"/>
                <a:gd name="connsiteX1295" fmla="*/ 699353 w 1926380"/>
                <a:gd name="connsiteY1295" fmla="*/ 32127 h 745576"/>
                <a:gd name="connsiteX1296" fmla="*/ 697023 w 1926380"/>
                <a:gd name="connsiteY1296" fmla="*/ 33700 h 745576"/>
                <a:gd name="connsiteX1297" fmla="*/ 695843 w 1926380"/>
                <a:gd name="connsiteY1297" fmla="*/ 35636 h 745576"/>
                <a:gd name="connsiteX1298" fmla="*/ 694331 w 1926380"/>
                <a:gd name="connsiteY1298" fmla="*/ 34940 h 745576"/>
                <a:gd name="connsiteX1299" fmla="*/ 692879 w 1926380"/>
                <a:gd name="connsiteY1299" fmla="*/ 35092 h 745576"/>
                <a:gd name="connsiteX1300" fmla="*/ 691517 w 1926380"/>
                <a:gd name="connsiteY1300" fmla="*/ 35727 h 745576"/>
                <a:gd name="connsiteX1301" fmla="*/ 690338 w 1926380"/>
                <a:gd name="connsiteY1301" fmla="*/ 36513 h 745576"/>
                <a:gd name="connsiteX1302" fmla="*/ 683410 w 1926380"/>
                <a:gd name="connsiteY1302" fmla="*/ 39871 h 745576"/>
                <a:gd name="connsiteX1303" fmla="*/ 681928 w 1926380"/>
                <a:gd name="connsiteY1303" fmla="*/ 41081 h 745576"/>
                <a:gd name="connsiteX1304" fmla="*/ 679689 w 1926380"/>
                <a:gd name="connsiteY1304" fmla="*/ 43380 h 745576"/>
                <a:gd name="connsiteX1305" fmla="*/ 677935 w 1926380"/>
                <a:gd name="connsiteY1305" fmla="*/ 44167 h 745576"/>
                <a:gd name="connsiteX1306" fmla="*/ 677571 w 1926380"/>
                <a:gd name="connsiteY1306" fmla="*/ 43955 h 745576"/>
                <a:gd name="connsiteX1307" fmla="*/ 676664 w 1926380"/>
                <a:gd name="connsiteY1307" fmla="*/ 42776 h 745576"/>
                <a:gd name="connsiteX1308" fmla="*/ 676210 w 1926380"/>
                <a:gd name="connsiteY1308" fmla="*/ 42503 h 745576"/>
                <a:gd name="connsiteX1309" fmla="*/ 675666 w 1926380"/>
                <a:gd name="connsiteY1309" fmla="*/ 42745 h 745576"/>
                <a:gd name="connsiteX1310" fmla="*/ 675363 w 1926380"/>
                <a:gd name="connsiteY1310" fmla="*/ 43320 h 745576"/>
                <a:gd name="connsiteX1311" fmla="*/ 675152 w 1926380"/>
                <a:gd name="connsiteY1311" fmla="*/ 44167 h 745576"/>
                <a:gd name="connsiteX1312" fmla="*/ 674093 w 1926380"/>
                <a:gd name="connsiteY1312" fmla="*/ 44742 h 745576"/>
                <a:gd name="connsiteX1313" fmla="*/ 673276 w 1926380"/>
                <a:gd name="connsiteY1313" fmla="*/ 45014 h 745576"/>
                <a:gd name="connsiteX1314" fmla="*/ 673094 w 1926380"/>
                <a:gd name="connsiteY1314" fmla="*/ 45801 h 745576"/>
                <a:gd name="connsiteX1315" fmla="*/ 667559 w 1926380"/>
                <a:gd name="connsiteY1315" fmla="*/ 46073 h 745576"/>
                <a:gd name="connsiteX1316" fmla="*/ 664170 w 1926380"/>
                <a:gd name="connsiteY1316" fmla="*/ 46950 h 745576"/>
                <a:gd name="connsiteX1317" fmla="*/ 662657 w 1926380"/>
                <a:gd name="connsiteY1317" fmla="*/ 49673 h 745576"/>
                <a:gd name="connsiteX1318" fmla="*/ 662174 w 1926380"/>
                <a:gd name="connsiteY1318" fmla="*/ 50308 h 745576"/>
                <a:gd name="connsiteX1319" fmla="*/ 655609 w 1926380"/>
                <a:gd name="connsiteY1319" fmla="*/ 57236 h 745576"/>
                <a:gd name="connsiteX1320" fmla="*/ 653945 w 1926380"/>
                <a:gd name="connsiteY1320" fmla="*/ 60321 h 745576"/>
                <a:gd name="connsiteX1321" fmla="*/ 651162 w 1926380"/>
                <a:gd name="connsiteY1321" fmla="*/ 61864 h 745576"/>
                <a:gd name="connsiteX1322" fmla="*/ 641633 w 1926380"/>
                <a:gd name="connsiteY1322" fmla="*/ 64799 h 745576"/>
                <a:gd name="connsiteX1323" fmla="*/ 640665 w 1926380"/>
                <a:gd name="connsiteY1323" fmla="*/ 65343 h 745576"/>
                <a:gd name="connsiteX1324" fmla="*/ 637004 w 1926380"/>
                <a:gd name="connsiteY1324" fmla="*/ 68005 h 745576"/>
                <a:gd name="connsiteX1325" fmla="*/ 624752 w 1926380"/>
                <a:gd name="connsiteY1325" fmla="*/ 73541 h 745576"/>
                <a:gd name="connsiteX1326" fmla="*/ 603365 w 1926380"/>
                <a:gd name="connsiteY1326" fmla="*/ 86670 h 745576"/>
                <a:gd name="connsiteX1327" fmla="*/ 588239 w 1926380"/>
                <a:gd name="connsiteY1327" fmla="*/ 92085 h 745576"/>
                <a:gd name="connsiteX1328" fmla="*/ 587211 w 1926380"/>
                <a:gd name="connsiteY1328" fmla="*/ 92297 h 745576"/>
                <a:gd name="connsiteX1329" fmla="*/ 586666 w 1926380"/>
                <a:gd name="connsiteY1329" fmla="*/ 92811 h 745576"/>
                <a:gd name="connsiteX1330" fmla="*/ 585033 w 1926380"/>
                <a:gd name="connsiteY1330" fmla="*/ 95110 h 745576"/>
                <a:gd name="connsiteX1331" fmla="*/ 584487 w 1926380"/>
                <a:gd name="connsiteY1331" fmla="*/ 95625 h 745576"/>
                <a:gd name="connsiteX1332" fmla="*/ 579860 w 1926380"/>
                <a:gd name="connsiteY1332" fmla="*/ 95897 h 745576"/>
                <a:gd name="connsiteX1333" fmla="*/ 577681 w 1926380"/>
                <a:gd name="connsiteY1333" fmla="*/ 96653 h 745576"/>
                <a:gd name="connsiteX1334" fmla="*/ 576592 w 1926380"/>
                <a:gd name="connsiteY1334" fmla="*/ 98226 h 745576"/>
                <a:gd name="connsiteX1335" fmla="*/ 576925 w 1926380"/>
                <a:gd name="connsiteY1335" fmla="*/ 99224 h 745576"/>
                <a:gd name="connsiteX1336" fmla="*/ 578831 w 1926380"/>
                <a:gd name="connsiteY1336" fmla="*/ 100404 h 745576"/>
                <a:gd name="connsiteX1337" fmla="*/ 579284 w 1926380"/>
                <a:gd name="connsiteY1337" fmla="*/ 101100 h 745576"/>
                <a:gd name="connsiteX1338" fmla="*/ 579073 w 1926380"/>
                <a:gd name="connsiteY1338" fmla="*/ 102583 h 745576"/>
                <a:gd name="connsiteX1339" fmla="*/ 578135 w 1926380"/>
                <a:gd name="connsiteY1339" fmla="*/ 105033 h 745576"/>
                <a:gd name="connsiteX1340" fmla="*/ 577953 w 1926380"/>
                <a:gd name="connsiteY1340" fmla="*/ 106152 h 745576"/>
                <a:gd name="connsiteX1341" fmla="*/ 577863 w 1926380"/>
                <a:gd name="connsiteY1341" fmla="*/ 108754 h 745576"/>
                <a:gd name="connsiteX1342" fmla="*/ 577470 w 1926380"/>
                <a:gd name="connsiteY1342" fmla="*/ 110720 h 745576"/>
                <a:gd name="connsiteX1343" fmla="*/ 576653 w 1926380"/>
                <a:gd name="connsiteY1343" fmla="*/ 112414 h 745576"/>
                <a:gd name="connsiteX1344" fmla="*/ 575231 w 1926380"/>
                <a:gd name="connsiteY1344" fmla="*/ 114108 h 745576"/>
                <a:gd name="connsiteX1345" fmla="*/ 569695 w 1926380"/>
                <a:gd name="connsiteY1345" fmla="*/ 119100 h 745576"/>
                <a:gd name="connsiteX1346" fmla="*/ 566337 w 1926380"/>
                <a:gd name="connsiteY1346" fmla="*/ 121066 h 745576"/>
                <a:gd name="connsiteX1347" fmla="*/ 562162 w 1926380"/>
                <a:gd name="connsiteY1347" fmla="*/ 122579 h 745576"/>
                <a:gd name="connsiteX1348" fmla="*/ 561588 w 1926380"/>
                <a:gd name="connsiteY1348" fmla="*/ 122972 h 745576"/>
                <a:gd name="connsiteX1349" fmla="*/ 561376 w 1926380"/>
                <a:gd name="connsiteY1349" fmla="*/ 123516 h 745576"/>
                <a:gd name="connsiteX1350" fmla="*/ 561164 w 1926380"/>
                <a:gd name="connsiteY1350" fmla="*/ 124031 h 745576"/>
                <a:gd name="connsiteX1351" fmla="*/ 560407 w 1926380"/>
                <a:gd name="connsiteY1351" fmla="*/ 124242 h 745576"/>
                <a:gd name="connsiteX1352" fmla="*/ 559893 w 1926380"/>
                <a:gd name="connsiteY1352" fmla="*/ 124122 h 745576"/>
                <a:gd name="connsiteX1353" fmla="*/ 558925 w 1926380"/>
                <a:gd name="connsiteY1353" fmla="*/ 123607 h 745576"/>
                <a:gd name="connsiteX1354" fmla="*/ 558320 w 1926380"/>
                <a:gd name="connsiteY1354" fmla="*/ 123486 h 745576"/>
                <a:gd name="connsiteX1355" fmla="*/ 554206 w 1926380"/>
                <a:gd name="connsiteY1355" fmla="*/ 124242 h 745576"/>
                <a:gd name="connsiteX1356" fmla="*/ 553087 w 1926380"/>
                <a:gd name="connsiteY1356" fmla="*/ 124122 h 745576"/>
                <a:gd name="connsiteX1357" fmla="*/ 550939 w 1926380"/>
                <a:gd name="connsiteY1357" fmla="*/ 123547 h 745576"/>
                <a:gd name="connsiteX1358" fmla="*/ 549698 w 1926380"/>
                <a:gd name="connsiteY1358" fmla="*/ 123486 h 745576"/>
                <a:gd name="connsiteX1359" fmla="*/ 548731 w 1926380"/>
                <a:gd name="connsiteY1359" fmla="*/ 123759 h 745576"/>
                <a:gd name="connsiteX1360" fmla="*/ 546250 w 1926380"/>
                <a:gd name="connsiteY1360" fmla="*/ 125090 h 745576"/>
                <a:gd name="connsiteX1361" fmla="*/ 520355 w 1926380"/>
                <a:gd name="connsiteY1361" fmla="*/ 125725 h 745576"/>
                <a:gd name="connsiteX1362" fmla="*/ 511794 w 1926380"/>
                <a:gd name="connsiteY1362" fmla="*/ 124242 h 745576"/>
                <a:gd name="connsiteX1363" fmla="*/ 510221 w 1926380"/>
                <a:gd name="connsiteY1363" fmla="*/ 123335 h 745576"/>
                <a:gd name="connsiteX1364" fmla="*/ 506863 w 1926380"/>
                <a:gd name="connsiteY1364" fmla="*/ 120643 h 745576"/>
                <a:gd name="connsiteX1365" fmla="*/ 473737 w 1926380"/>
                <a:gd name="connsiteY1365" fmla="*/ 113322 h 745576"/>
                <a:gd name="connsiteX1366" fmla="*/ 470379 w 1926380"/>
                <a:gd name="connsiteY1366" fmla="*/ 110932 h 745576"/>
                <a:gd name="connsiteX1367" fmla="*/ 466235 w 1926380"/>
                <a:gd name="connsiteY1367" fmla="*/ 110115 h 745576"/>
                <a:gd name="connsiteX1368" fmla="*/ 464934 w 1926380"/>
                <a:gd name="connsiteY1368" fmla="*/ 109117 h 745576"/>
                <a:gd name="connsiteX1369" fmla="*/ 463785 w 1926380"/>
                <a:gd name="connsiteY1369" fmla="*/ 109661 h 745576"/>
                <a:gd name="connsiteX1370" fmla="*/ 462574 w 1926380"/>
                <a:gd name="connsiteY1370" fmla="*/ 111567 h 745576"/>
                <a:gd name="connsiteX1371" fmla="*/ 461485 w 1926380"/>
                <a:gd name="connsiteY1371" fmla="*/ 112565 h 745576"/>
                <a:gd name="connsiteX1372" fmla="*/ 460699 w 1926380"/>
                <a:gd name="connsiteY1372" fmla="*/ 111961 h 745576"/>
                <a:gd name="connsiteX1373" fmla="*/ 460033 w 1926380"/>
                <a:gd name="connsiteY1373" fmla="*/ 112928 h 745576"/>
                <a:gd name="connsiteX1374" fmla="*/ 459307 w 1926380"/>
                <a:gd name="connsiteY1374" fmla="*/ 114350 h 745576"/>
                <a:gd name="connsiteX1375" fmla="*/ 458369 w 1926380"/>
                <a:gd name="connsiteY1375" fmla="*/ 115077 h 745576"/>
                <a:gd name="connsiteX1376" fmla="*/ 457008 w 1926380"/>
                <a:gd name="connsiteY1376" fmla="*/ 115379 h 745576"/>
                <a:gd name="connsiteX1377" fmla="*/ 454649 w 1926380"/>
                <a:gd name="connsiteY1377" fmla="*/ 116952 h 745576"/>
                <a:gd name="connsiteX1378" fmla="*/ 453166 w 1926380"/>
                <a:gd name="connsiteY1378" fmla="*/ 117557 h 745576"/>
                <a:gd name="connsiteX1379" fmla="*/ 450323 w 1926380"/>
                <a:gd name="connsiteY1379" fmla="*/ 117920 h 745576"/>
                <a:gd name="connsiteX1380" fmla="*/ 424942 w 1926380"/>
                <a:gd name="connsiteY1380" fmla="*/ 117285 h 745576"/>
                <a:gd name="connsiteX1381" fmla="*/ 398200 w 1926380"/>
                <a:gd name="connsiteY1381" fmla="*/ 113624 h 745576"/>
                <a:gd name="connsiteX1382" fmla="*/ 378143 w 1926380"/>
                <a:gd name="connsiteY1382" fmla="*/ 109298 h 745576"/>
                <a:gd name="connsiteX1383" fmla="*/ 359236 w 1926380"/>
                <a:gd name="connsiteY1383" fmla="*/ 106031 h 745576"/>
                <a:gd name="connsiteX1384" fmla="*/ 357663 w 1926380"/>
                <a:gd name="connsiteY1384" fmla="*/ 106213 h 745576"/>
                <a:gd name="connsiteX1385" fmla="*/ 356664 w 1926380"/>
                <a:gd name="connsiteY1385" fmla="*/ 107453 h 745576"/>
                <a:gd name="connsiteX1386" fmla="*/ 356029 w 1926380"/>
                <a:gd name="connsiteY1386" fmla="*/ 107453 h 745576"/>
                <a:gd name="connsiteX1387" fmla="*/ 353004 w 1926380"/>
                <a:gd name="connsiteY1387" fmla="*/ 106969 h 745576"/>
                <a:gd name="connsiteX1388" fmla="*/ 349011 w 1926380"/>
                <a:gd name="connsiteY1388" fmla="*/ 109571 h 745576"/>
                <a:gd name="connsiteX1389" fmla="*/ 345260 w 1926380"/>
                <a:gd name="connsiteY1389" fmla="*/ 113443 h 745576"/>
                <a:gd name="connsiteX1390" fmla="*/ 342900 w 1926380"/>
                <a:gd name="connsiteY1390" fmla="*/ 116831 h 745576"/>
                <a:gd name="connsiteX1391" fmla="*/ 345048 w 1926380"/>
                <a:gd name="connsiteY1391" fmla="*/ 118283 h 745576"/>
                <a:gd name="connsiteX1392" fmla="*/ 344806 w 1926380"/>
                <a:gd name="connsiteY1392" fmla="*/ 119765 h 745576"/>
                <a:gd name="connsiteX1393" fmla="*/ 343596 w 1926380"/>
                <a:gd name="connsiteY1393" fmla="*/ 121550 h 745576"/>
                <a:gd name="connsiteX1394" fmla="*/ 342204 w 1926380"/>
                <a:gd name="connsiteY1394" fmla="*/ 126209 h 745576"/>
                <a:gd name="connsiteX1395" fmla="*/ 340571 w 1926380"/>
                <a:gd name="connsiteY1395" fmla="*/ 128750 h 745576"/>
                <a:gd name="connsiteX1396" fmla="*/ 338544 w 1926380"/>
                <a:gd name="connsiteY1396" fmla="*/ 130868 h 745576"/>
                <a:gd name="connsiteX1397" fmla="*/ 336698 w 1926380"/>
                <a:gd name="connsiteY1397" fmla="*/ 131805 h 745576"/>
                <a:gd name="connsiteX1398" fmla="*/ 337424 w 1926380"/>
                <a:gd name="connsiteY1398" fmla="*/ 133409 h 745576"/>
                <a:gd name="connsiteX1399" fmla="*/ 337787 w 1926380"/>
                <a:gd name="connsiteY1399" fmla="*/ 135073 h 745576"/>
                <a:gd name="connsiteX1400" fmla="*/ 338302 w 1926380"/>
                <a:gd name="connsiteY1400" fmla="*/ 136343 h 745576"/>
                <a:gd name="connsiteX1401" fmla="*/ 339451 w 1926380"/>
                <a:gd name="connsiteY1401" fmla="*/ 136827 h 745576"/>
                <a:gd name="connsiteX1402" fmla="*/ 339240 w 1926380"/>
                <a:gd name="connsiteY1402" fmla="*/ 137311 h 745576"/>
                <a:gd name="connsiteX1403" fmla="*/ 339240 w 1926380"/>
                <a:gd name="connsiteY1403" fmla="*/ 137462 h 745576"/>
                <a:gd name="connsiteX1404" fmla="*/ 339149 w 1926380"/>
                <a:gd name="connsiteY1404" fmla="*/ 137523 h 745576"/>
                <a:gd name="connsiteX1405" fmla="*/ 338755 w 1926380"/>
                <a:gd name="connsiteY1405" fmla="*/ 137735 h 745576"/>
                <a:gd name="connsiteX1406" fmla="*/ 344291 w 1926380"/>
                <a:gd name="connsiteY1406" fmla="*/ 140487 h 745576"/>
                <a:gd name="connsiteX1407" fmla="*/ 346318 w 1926380"/>
                <a:gd name="connsiteY1407" fmla="*/ 142061 h 745576"/>
                <a:gd name="connsiteX1408" fmla="*/ 348406 w 1926380"/>
                <a:gd name="connsiteY1408" fmla="*/ 144481 h 745576"/>
                <a:gd name="connsiteX1409" fmla="*/ 350463 w 1926380"/>
                <a:gd name="connsiteY1409" fmla="*/ 146054 h 745576"/>
                <a:gd name="connsiteX1410" fmla="*/ 356150 w 1926380"/>
                <a:gd name="connsiteY1410" fmla="*/ 148534 h 745576"/>
                <a:gd name="connsiteX1411" fmla="*/ 358086 w 1926380"/>
                <a:gd name="connsiteY1411" fmla="*/ 150259 h 745576"/>
                <a:gd name="connsiteX1412" fmla="*/ 360173 w 1926380"/>
                <a:gd name="connsiteY1412" fmla="*/ 149896 h 745576"/>
                <a:gd name="connsiteX1413" fmla="*/ 361444 w 1926380"/>
                <a:gd name="connsiteY1413" fmla="*/ 150773 h 745576"/>
                <a:gd name="connsiteX1414" fmla="*/ 362473 w 1926380"/>
                <a:gd name="connsiteY1414" fmla="*/ 151469 h 745576"/>
                <a:gd name="connsiteX1415" fmla="*/ 364499 w 1926380"/>
                <a:gd name="connsiteY1415" fmla="*/ 153677 h 745576"/>
                <a:gd name="connsiteX1416" fmla="*/ 365619 w 1926380"/>
                <a:gd name="connsiteY1416" fmla="*/ 155250 h 745576"/>
                <a:gd name="connsiteX1417" fmla="*/ 365225 w 1926380"/>
                <a:gd name="connsiteY1417" fmla="*/ 155250 h 745576"/>
                <a:gd name="connsiteX1418" fmla="*/ 364953 w 1926380"/>
                <a:gd name="connsiteY1418" fmla="*/ 155371 h 745576"/>
                <a:gd name="connsiteX1419" fmla="*/ 364862 w 1926380"/>
                <a:gd name="connsiteY1419" fmla="*/ 155643 h 745576"/>
                <a:gd name="connsiteX1420" fmla="*/ 364923 w 1926380"/>
                <a:gd name="connsiteY1420" fmla="*/ 156158 h 745576"/>
                <a:gd name="connsiteX1421" fmla="*/ 364499 w 1926380"/>
                <a:gd name="connsiteY1421" fmla="*/ 155855 h 745576"/>
                <a:gd name="connsiteX1422" fmla="*/ 363531 w 1926380"/>
                <a:gd name="connsiteY1422" fmla="*/ 155250 h 745576"/>
                <a:gd name="connsiteX1423" fmla="*/ 363531 w 1926380"/>
                <a:gd name="connsiteY1423" fmla="*/ 156460 h 745576"/>
                <a:gd name="connsiteX1424" fmla="*/ 363138 w 1926380"/>
                <a:gd name="connsiteY1424" fmla="*/ 157307 h 745576"/>
                <a:gd name="connsiteX1425" fmla="*/ 362473 w 1926380"/>
                <a:gd name="connsiteY1425" fmla="*/ 157792 h 745576"/>
                <a:gd name="connsiteX1426" fmla="*/ 361505 w 1926380"/>
                <a:gd name="connsiteY1426" fmla="*/ 157912 h 745576"/>
                <a:gd name="connsiteX1427" fmla="*/ 361505 w 1926380"/>
                <a:gd name="connsiteY1427" fmla="*/ 158669 h 745576"/>
                <a:gd name="connsiteX1428" fmla="*/ 364227 w 1926380"/>
                <a:gd name="connsiteY1428" fmla="*/ 158094 h 745576"/>
                <a:gd name="connsiteX1429" fmla="*/ 365407 w 1926380"/>
                <a:gd name="connsiteY1429" fmla="*/ 157701 h 745576"/>
                <a:gd name="connsiteX1430" fmla="*/ 366254 w 1926380"/>
                <a:gd name="connsiteY1430" fmla="*/ 157005 h 745576"/>
                <a:gd name="connsiteX1431" fmla="*/ 367192 w 1926380"/>
                <a:gd name="connsiteY1431" fmla="*/ 157761 h 745576"/>
                <a:gd name="connsiteX1432" fmla="*/ 367645 w 1926380"/>
                <a:gd name="connsiteY1432" fmla="*/ 157005 h 745576"/>
                <a:gd name="connsiteX1433" fmla="*/ 368644 w 1926380"/>
                <a:gd name="connsiteY1433" fmla="*/ 157549 h 745576"/>
                <a:gd name="connsiteX1434" fmla="*/ 369461 w 1926380"/>
                <a:gd name="connsiteY1434" fmla="*/ 158185 h 745576"/>
                <a:gd name="connsiteX1435" fmla="*/ 370066 w 1926380"/>
                <a:gd name="connsiteY1435" fmla="*/ 159062 h 745576"/>
                <a:gd name="connsiteX1436" fmla="*/ 370459 w 1926380"/>
                <a:gd name="connsiteY1436" fmla="*/ 160272 h 745576"/>
                <a:gd name="connsiteX1437" fmla="*/ 369975 w 1926380"/>
                <a:gd name="connsiteY1437" fmla="*/ 160423 h 745576"/>
                <a:gd name="connsiteX1438" fmla="*/ 369672 w 1926380"/>
                <a:gd name="connsiteY1438" fmla="*/ 160665 h 745576"/>
                <a:gd name="connsiteX1439" fmla="*/ 369430 w 1926380"/>
                <a:gd name="connsiteY1439" fmla="*/ 160907 h 745576"/>
                <a:gd name="connsiteX1440" fmla="*/ 369037 w 1926380"/>
                <a:gd name="connsiteY1440" fmla="*/ 161180 h 745576"/>
                <a:gd name="connsiteX1441" fmla="*/ 370096 w 1926380"/>
                <a:gd name="connsiteY1441" fmla="*/ 161512 h 745576"/>
                <a:gd name="connsiteX1442" fmla="*/ 370580 w 1926380"/>
                <a:gd name="connsiteY1442" fmla="*/ 162420 h 745576"/>
                <a:gd name="connsiteX1443" fmla="*/ 371004 w 1926380"/>
                <a:gd name="connsiteY1443" fmla="*/ 163569 h 745576"/>
                <a:gd name="connsiteX1444" fmla="*/ 371850 w 1926380"/>
                <a:gd name="connsiteY1444" fmla="*/ 164598 h 745576"/>
                <a:gd name="connsiteX1445" fmla="*/ 373968 w 1926380"/>
                <a:gd name="connsiteY1445" fmla="*/ 165324 h 745576"/>
                <a:gd name="connsiteX1446" fmla="*/ 375632 w 1926380"/>
                <a:gd name="connsiteY1446" fmla="*/ 164658 h 745576"/>
                <a:gd name="connsiteX1447" fmla="*/ 377205 w 1926380"/>
                <a:gd name="connsiteY1447" fmla="*/ 163539 h 745576"/>
                <a:gd name="connsiteX1448" fmla="*/ 379081 w 1926380"/>
                <a:gd name="connsiteY1448" fmla="*/ 162934 h 745576"/>
                <a:gd name="connsiteX1449" fmla="*/ 402979 w 1926380"/>
                <a:gd name="connsiteY1449" fmla="*/ 162026 h 745576"/>
                <a:gd name="connsiteX1450" fmla="*/ 405006 w 1926380"/>
                <a:gd name="connsiteY1450" fmla="*/ 162269 h 745576"/>
                <a:gd name="connsiteX1451" fmla="*/ 408515 w 1926380"/>
                <a:gd name="connsiteY1451" fmla="*/ 163418 h 745576"/>
                <a:gd name="connsiteX1452" fmla="*/ 410119 w 1926380"/>
                <a:gd name="connsiteY1452" fmla="*/ 163690 h 745576"/>
                <a:gd name="connsiteX1453" fmla="*/ 410754 w 1926380"/>
                <a:gd name="connsiteY1453" fmla="*/ 164053 h 745576"/>
                <a:gd name="connsiteX1454" fmla="*/ 412750 w 1926380"/>
                <a:gd name="connsiteY1454" fmla="*/ 165778 h 745576"/>
                <a:gd name="connsiteX1455" fmla="*/ 413900 w 1926380"/>
                <a:gd name="connsiteY1455" fmla="*/ 166262 h 745576"/>
                <a:gd name="connsiteX1456" fmla="*/ 415019 w 1926380"/>
                <a:gd name="connsiteY1456" fmla="*/ 166262 h 745576"/>
                <a:gd name="connsiteX1457" fmla="*/ 415897 w 1926380"/>
                <a:gd name="connsiteY1457" fmla="*/ 165959 h 745576"/>
                <a:gd name="connsiteX1458" fmla="*/ 416623 w 1926380"/>
                <a:gd name="connsiteY1458" fmla="*/ 165627 h 745576"/>
                <a:gd name="connsiteX1459" fmla="*/ 417318 w 1926380"/>
                <a:gd name="connsiteY1459" fmla="*/ 165415 h 745576"/>
                <a:gd name="connsiteX1460" fmla="*/ 425456 w 1926380"/>
                <a:gd name="connsiteY1460" fmla="*/ 164447 h 745576"/>
                <a:gd name="connsiteX1461" fmla="*/ 429389 w 1926380"/>
                <a:gd name="connsiteY1461" fmla="*/ 165112 h 745576"/>
                <a:gd name="connsiteX1462" fmla="*/ 430417 w 1926380"/>
                <a:gd name="connsiteY1462" fmla="*/ 167926 h 745576"/>
                <a:gd name="connsiteX1463" fmla="*/ 428874 w 1926380"/>
                <a:gd name="connsiteY1463" fmla="*/ 170195 h 745576"/>
                <a:gd name="connsiteX1464" fmla="*/ 426817 w 1926380"/>
                <a:gd name="connsiteY1464" fmla="*/ 170195 h 745576"/>
                <a:gd name="connsiteX1465" fmla="*/ 423157 w 1926380"/>
                <a:gd name="connsiteY1465" fmla="*/ 168682 h 745576"/>
                <a:gd name="connsiteX1466" fmla="*/ 411692 w 1926380"/>
                <a:gd name="connsiteY1466" fmla="*/ 169196 h 745576"/>
                <a:gd name="connsiteX1467" fmla="*/ 392240 w 1926380"/>
                <a:gd name="connsiteY1467" fmla="*/ 173280 h 745576"/>
                <a:gd name="connsiteX1468" fmla="*/ 391121 w 1926380"/>
                <a:gd name="connsiteY1468" fmla="*/ 173280 h 745576"/>
                <a:gd name="connsiteX1469" fmla="*/ 390455 w 1926380"/>
                <a:gd name="connsiteY1469" fmla="*/ 171011 h 745576"/>
                <a:gd name="connsiteX1470" fmla="*/ 388973 w 1926380"/>
                <a:gd name="connsiteY1470" fmla="*/ 169589 h 745576"/>
                <a:gd name="connsiteX1471" fmla="*/ 387309 w 1926380"/>
                <a:gd name="connsiteY1471" fmla="*/ 168863 h 745576"/>
                <a:gd name="connsiteX1472" fmla="*/ 386311 w 1926380"/>
                <a:gd name="connsiteY1472" fmla="*/ 168712 h 745576"/>
                <a:gd name="connsiteX1473" fmla="*/ 385252 w 1926380"/>
                <a:gd name="connsiteY1473" fmla="*/ 168894 h 745576"/>
                <a:gd name="connsiteX1474" fmla="*/ 384102 w 1926380"/>
                <a:gd name="connsiteY1474" fmla="*/ 169287 h 745576"/>
                <a:gd name="connsiteX1475" fmla="*/ 383195 w 1926380"/>
                <a:gd name="connsiteY1475" fmla="*/ 169922 h 745576"/>
                <a:gd name="connsiteX1476" fmla="*/ 382801 w 1926380"/>
                <a:gd name="connsiteY1476" fmla="*/ 170830 h 745576"/>
                <a:gd name="connsiteX1477" fmla="*/ 382348 w 1926380"/>
                <a:gd name="connsiteY1477" fmla="*/ 171737 h 745576"/>
                <a:gd name="connsiteX1478" fmla="*/ 381228 w 1926380"/>
                <a:gd name="connsiteY1478" fmla="*/ 172312 h 745576"/>
                <a:gd name="connsiteX1479" fmla="*/ 379958 w 1926380"/>
                <a:gd name="connsiteY1479" fmla="*/ 172796 h 745576"/>
                <a:gd name="connsiteX1480" fmla="*/ 379050 w 1926380"/>
                <a:gd name="connsiteY1480" fmla="*/ 173341 h 745576"/>
                <a:gd name="connsiteX1481" fmla="*/ 377840 w 1926380"/>
                <a:gd name="connsiteY1481" fmla="*/ 173855 h 745576"/>
                <a:gd name="connsiteX1482" fmla="*/ 376872 w 1926380"/>
                <a:gd name="connsiteY1482" fmla="*/ 173099 h 745576"/>
                <a:gd name="connsiteX1483" fmla="*/ 376055 w 1926380"/>
                <a:gd name="connsiteY1483" fmla="*/ 171919 h 745576"/>
                <a:gd name="connsiteX1484" fmla="*/ 375329 w 1926380"/>
                <a:gd name="connsiteY1484" fmla="*/ 171284 h 745576"/>
                <a:gd name="connsiteX1485" fmla="*/ 374603 w 1926380"/>
                <a:gd name="connsiteY1485" fmla="*/ 171435 h 745576"/>
                <a:gd name="connsiteX1486" fmla="*/ 372516 w 1926380"/>
                <a:gd name="connsiteY1486" fmla="*/ 172948 h 745576"/>
                <a:gd name="connsiteX1487" fmla="*/ 368432 w 1926380"/>
                <a:gd name="connsiteY1487" fmla="*/ 175065 h 745576"/>
                <a:gd name="connsiteX1488" fmla="*/ 364257 w 1926380"/>
                <a:gd name="connsiteY1488" fmla="*/ 176366 h 745576"/>
                <a:gd name="connsiteX1489" fmla="*/ 334551 w 1926380"/>
                <a:gd name="connsiteY1489" fmla="*/ 178937 h 745576"/>
                <a:gd name="connsiteX1490" fmla="*/ 332917 w 1926380"/>
                <a:gd name="connsiteY1490" fmla="*/ 179572 h 745576"/>
                <a:gd name="connsiteX1491" fmla="*/ 328652 w 1926380"/>
                <a:gd name="connsiteY1491" fmla="*/ 183566 h 745576"/>
                <a:gd name="connsiteX1492" fmla="*/ 325626 w 1926380"/>
                <a:gd name="connsiteY1492" fmla="*/ 185351 h 745576"/>
                <a:gd name="connsiteX1493" fmla="*/ 318487 w 1926380"/>
                <a:gd name="connsiteY1493" fmla="*/ 187922 h 745576"/>
                <a:gd name="connsiteX1494" fmla="*/ 315038 w 1926380"/>
                <a:gd name="connsiteY1494" fmla="*/ 190009 h 745576"/>
                <a:gd name="connsiteX1495" fmla="*/ 313193 w 1926380"/>
                <a:gd name="connsiteY1495" fmla="*/ 193730 h 745576"/>
                <a:gd name="connsiteX1496" fmla="*/ 318638 w 1926380"/>
                <a:gd name="connsiteY1496" fmla="*/ 194910 h 745576"/>
                <a:gd name="connsiteX1497" fmla="*/ 327502 w 1926380"/>
                <a:gd name="connsiteY1497" fmla="*/ 200022 h 745576"/>
                <a:gd name="connsiteX1498" fmla="*/ 332826 w 1926380"/>
                <a:gd name="connsiteY1498" fmla="*/ 201172 h 745576"/>
                <a:gd name="connsiteX1499" fmla="*/ 333915 w 1926380"/>
                <a:gd name="connsiteY1499" fmla="*/ 200809 h 745576"/>
                <a:gd name="connsiteX1500" fmla="*/ 336154 w 1926380"/>
                <a:gd name="connsiteY1500" fmla="*/ 199115 h 745576"/>
                <a:gd name="connsiteX1501" fmla="*/ 337031 w 1926380"/>
                <a:gd name="connsiteY1501" fmla="*/ 198721 h 745576"/>
                <a:gd name="connsiteX1502" fmla="*/ 342537 w 1926380"/>
                <a:gd name="connsiteY1502" fmla="*/ 198721 h 745576"/>
                <a:gd name="connsiteX1503" fmla="*/ 344775 w 1926380"/>
                <a:gd name="connsiteY1503" fmla="*/ 199266 h 745576"/>
                <a:gd name="connsiteX1504" fmla="*/ 347165 w 1926380"/>
                <a:gd name="connsiteY1504" fmla="*/ 200627 h 745576"/>
                <a:gd name="connsiteX1505" fmla="*/ 349374 w 1926380"/>
                <a:gd name="connsiteY1505" fmla="*/ 202503 h 745576"/>
                <a:gd name="connsiteX1506" fmla="*/ 351189 w 1926380"/>
                <a:gd name="connsiteY1506" fmla="*/ 204530 h 745576"/>
                <a:gd name="connsiteX1507" fmla="*/ 349646 w 1926380"/>
                <a:gd name="connsiteY1507" fmla="*/ 205286 h 745576"/>
                <a:gd name="connsiteX1508" fmla="*/ 347891 w 1926380"/>
                <a:gd name="connsiteY1508" fmla="*/ 205801 h 745576"/>
                <a:gd name="connsiteX1509" fmla="*/ 346258 w 1926380"/>
                <a:gd name="connsiteY1509" fmla="*/ 205861 h 745576"/>
                <a:gd name="connsiteX1510" fmla="*/ 344987 w 1926380"/>
                <a:gd name="connsiteY1510" fmla="*/ 205347 h 745576"/>
                <a:gd name="connsiteX1511" fmla="*/ 344231 w 1926380"/>
                <a:gd name="connsiteY1511" fmla="*/ 206738 h 745576"/>
                <a:gd name="connsiteX1512" fmla="*/ 343354 w 1926380"/>
                <a:gd name="connsiteY1512" fmla="*/ 210006 h 745576"/>
                <a:gd name="connsiteX1513" fmla="*/ 342537 w 1926380"/>
                <a:gd name="connsiteY1513" fmla="*/ 211578 h 745576"/>
                <a:gd name="connsiteX1514" fmla="*/ 341115 w 1926380"/>
                <a:gd name="connsiteY1514" fmla="*/ 212577 h 745576"/>
                <a:gd name="connsiteX1515" fmla="*/ 339330 w 1926380"/>
                <a:gd name="connsiteY1515" fmla="*/ 212940 h 745576"/>
                <a:gd name="connsiteX1516" fmla="*/ 331556 w 1926380"/>
                <a:gd name="connsiteY1516" fmla="*/ 213091 h 745576"/>
                <a:gd name="connsiteX1517" fmla="*/ 329771 w 1926380"/>
                <a:gd name="connsiteY1517" fmla="*/ 212849 h 745576"/>
                <a:gd name="connsiteX1518" fmla="*/ 328016 w 1926380"/>
                <a:gd name="connsiteY1518" fmla="*/ 212274 h 745576"/>
                <a:gd name="connsiteX1519" fmla="*/ 325656 w 1926380"/>
                <a:gd name="connsiteY1519" fmla="*/ 210913 h 745576"/>
                <a:gd name="connsiteX1520" fmla="*/ 324265 w 1926380"/>
                <a:gd name="connsiteY1520" fmla="*/ 210308 h 745576"/>
                <a:gd name="connsiteX1521" fmla="*/ 321391 w 1926380"/>
                <a:gd name="connsiteY1521" fmla="*/ 209703 h 745576"/>
                <a:gd name="connsiteX1522" fmla="*/ 318366 w 1926380"/>
                <a:gd name="connsiteY1522" fmla="*/ 209552 h 745576"/>
                <a:gd name="connsiteX1523" fmla="*/ 314917 w 1926380"/>
                <a:gd name="connsiteY1523" fmla="*/ 208583 h 745576"/>
                <a:gd name="connsiteX1524" fmla="*/ 312981 w 1926380"/>
                <a:gd name="connsiteY1524" fmla="*/ 208342 h 745576"/>
                <a:gd name="connsiteX1525" fmla="*/ 311469 w 1926380"/>
                <a:gd name="connsiteY1525" fmla="*/ 209098 h 745576"/>
                <a:gd name="connsiteX1526" fmla="*/ 309926 w 1926380"/>
                <a:gd name="connsiteY1526" fmla="*/ 210278 h 745576"/>
                <a:gd name="connsiteX1527" fmla="*/ 304239 w 1926380"/>
                <a:gd name="connsiteY1527" fmla="*/ 211125 h 745576"/>
                <a:gd name="connsiteX1528" fmla="*/ 303452 w 1926380"/>
                <a:gd name="connsiteY1528" fmla="*/ 211548 h 745576"/>
                <a:gd name="connsiteX1529" fmla="*/ 302363 w 1926380"/>
                <a:gd name="connsiteY1529" fmla="*/ 212516 h 745576"/>
                <a:gd name="connsiteX1530" fmla="*/ 301486 w 1926380"/>
                <a:gd name="connsiteY1530" fmla="*/ 212879 h 745576"/>
                <a:gd name="connsiteX1531" fmla="*/ 300820 w 1926380"/>
                <a:gd name="connsiteY1531" fmla="*/ 212728 h 745576"/>
                <a:gd name="connsiteX1532" fmla="*/ 300427 w 1926380"/>
                <a:gd name="connsiteY1532" fmla="*/ 212304 h 745576"/>
                <a:gd name="connsiteX1533" fmla="*/ 300064 w 1926380"/>
                <a:gd name="connsiteY1533" fmla="*/ 212153 h 745576"/>
                <a:gd name="connsiteX1534" fmla="*/ 299459 w 1926380"/>
                <a:gd name="connsiteY1534" fmla="*/ 212879 h 745576"/>
                <a:gd name="connsiteX1535" fmla="*/ 294921 w 1926380"/>
                <a:gd name="connsiteY1535" fmla="*/ 210852 h 745576"/>
                <a:gd name="connsiteX1536" fmla="*/ 290172 w 1926380"/>
                <a:gd name="connsiteY1536" fmla="*/ 209733 h 745576"/>
                <a:gd name="connsiteX1537" fmla="*/ 285543 w 1926380"/>
                <a:gd name="connsiteY1537" fmla="*/ 209733 h 745576"/>
                <a:gd name="connsiteX1538" fmla="*/ 281459 w 1926380"/>
                <a:gd name="connsiteY1538" fmla="*/ 211155 h 745576"/>
                <a:gd name="connsiteX1539" fmla="*/ 281762 w 1926380"/>
                <a:gd name="connsiteY1539" fmla="*/ 210066 h 745576"/>
                <a:gd name="connsiteX1540" fmla="*/ 282336 w 1926380"/>
                <a:gd name="connsiteY1540" fmla="*/ 209340 h 745576"/>
                <a:gd name="connsiteX1541" fmla="*/ 283214 w 1926380"/>
                <a:gd name="connsiteY1541" fmla="*/ 208886 h 745576"/>
                <a:gd name="connsiteX1542" fmla="*/ 284303 w 1926380"/>
                <a:gd name="connsiteY1542" fmla="*/ 208644 h 745576"/>
                <a:gd name="connsiteX1543" fmla="*/ 275621 w 1926380"/>
                <a:gd name="connsiteY1543" fmla="*/ 208946 h 745576"/>
                <a:gd name="connsiteX1544" fmla="*/ 270327 w 1926380"/>
                <a:gd name="connsiteY1544" fmla="*/ 208160 h 745576"/>
                <a:gd name="connsiteX1545" fmla="*/ 246579 w 1926380"/>
                <a:gd name="connsiteY1545" fmla="*/ 209128 h 745576"/>
                <a:gd name="connsiteX1546" fmla="*/ 238079 w 1926380"/>
                <a:gd name="connsiteY1546" fmla="*/ 212032 h 745576"/>
                <a:gd name="connsiteX1547" fmla="*/ 229729 w 1926380"/>
                <a:gd name="connsiteY1547" fmla="*/ 212758 h 745576"/>
                <a:gd name="connsiteX1548" fmla="*/ 226069 w 1926380"/>
                <a:gd name="connsiteY1548" fmla="*/ 211760 h 745576"/>
                <a:gd name="connsiteX1549" fmla="*/ 225615 w 1926380"/>
                <a:gd name="connsiteY1549" fmla="*/ 208644 h 745576"/>
                <a:gd name="connsiteX1550" fmla="*/ 228217 w 1926380"/>
                <a:gd name="connsiteY1550" fmla="*/ 206587 h 745576"/>
                <a:gd name="connsiteX1551" fmla="*/ 236959 w 1926380"/>
                <a:gd name="connsiteY1551" fmla="*/ 202443 h 745576"/>
                <a:gd name="connsiteX1552" fmla="*/ 238744 w 1926380"/>
                <a:gd name="connsiteY1552" fmla="*/ 199599 h 745576"/>
                <a:gd name="connsiteX1553" fmla="*/ 236687 w 1926380"/>
                <a:gd name="connsiteY1553" fmla="*/ 197572 h 745576"/>
                <a:gd name="connsiteX1554" fmla="*/ 232240 w 1926380"/>
                <a:gd name="connsiteY1554" fmla="*/ 196150 h 745576"/>
                <a:gd name="connsiteX1555" fmla="*/ 215632 w 1926380"/>
                <a:gd name="connsiteY1555" fmla="*/ 193760 h 745576"/>
                <a:gd name="connsiteX1556" fmla="*/ 214664 w 1926380"/>
                <a:gd name="connsiteY1556" fmla="*/ 193972 h 745576"/>
                <a:gd name="connsiteX1557" fmla="*/ 214362 w 1926380"/>
                <a:gd name="connsiteY1557" fmla="*/ 194456 h 745576"/>
                <a:gd name="connsiteX1558" fmla="*/ 214089 w 1926380"/>
                <a:gd name="connsiteY1558" fmla="*/ 194789 h 745576"/>
                <a:gd name="connsiteX1559" fmla="*/ 213212 w 1926380"/>
                <a:gd name="connsiteY1559" fmla="*/ 194668 h 745576"/>
                <a:gd name="connsiteX1560" fmla="*/ 213061 w 1926380"/>
                <a:gd name="connsiteY1560" fmla="*/ 194305 h 745576"/>
                <a:gd name="connsiteX1561" fmla="*/ 211155 w 1926380"/>
                <a:gd name="connsiteY1561" fmla="*/ 192006 h 745576"/>
                <a:gd name="connsiteX1562" fmla="*/ 210157 w 1926380"/>
                <a:gd name="connsiteY1562" fmla="*/ 193518 h 745576"/>
                <a:gd name="connsiteX1563" fmla="*/ 209309 w 1926380"/>
                <a:gd name="connsiteY1563" fmla="*/ 193307 h 745576"/>
                <a:gd name="connsiteX1564" fmla="*/ 208432 w 1926380"/>
                <a:gd name="connsiteY1564" fmla="*/ 192792 h 745576"/>
                <a:gd name="connsiteX1565" fmla="*/ 207373 w 1926380"/>
                <a:gd name="connsiteY1565" fmla="*/ 193307 h 745576"/>
                <a:gd name="connsiteX1566" fmla="*/ 205710 w 1926380"/>
                <a:gd name="connsiteY1566" fmla="*/ 195061 h 745576"/>
                <a:gd name="connsiteX1567" fmla="*/ 204711 w 1926380"/>
                <a:gd name="connsiteY1567" fmla="*/ 195727 h 745576"/>
                <a:gd name="connsiteX1568" fmla="*/ 203501 w 1926380"/>
                <a:gd name="connsiteY1568" fmla="*/ 196211 h 745576"/>
                <a:gd name="connsiteX1569" fmla="*/ 203501 w 1926380"/>
                <a:gd name="connsiteY1569" fmla="*/ 196967 h 745576"/>
                <a:gd name="connsiteX1570" fmla="*/ 204409 w 1926380"/>
                <a:gd name="connsiteY1570" fmla="*/ 198177 h 745576"/>
                <a:gd name="connsiteX1571" fmla="*/ 207676 w 1926380"/>
                <a:gd name="connsiteY1571" fmla="*/ 201172 h 745576"/>
                <a:gd name="connsiteX1572" fmla="*/ 208462 w 1926380"/>
                <a:gd name="connsiteY1572" fmla="*/ 201474 h 745576"/>
                <a:gd name="connsiteX1573" fmla="*/ 209370 w 1926380"/>
                <a:gd name="connsiteY1573" fmla="*/ 201474 h 745576"/>
                <a:gd name="connsiteX1574" fmla="*/ 210126 w 1926380"/>
                <a:gd name="connsiteY1574" fmla="*/ 201656 h 745576"/>
                <a:gd name="connsiteX1575" fmla="*/ 210429 w 1926380"/>
                <a:gd name="connsiteY1575" fmla="*/ 202473 h 745576"/>
                <a:gd name="connsiteX1576" fmla="*/ 210520 w 1926380"/>
                <a:gd name="connsiteY1576" fmla="*/ 203985 h 745576"/>
                <a:gd name="connsiteX1577" fmla="*/ 210761 w 1926380"/>
                <a:gd name="connsiteY1577" fmla="*/ 204681 h 745576"/>
                <a:gd name="connsiteX1578" fmla="*/ 211215 w 1926380"/>
                <a:gd name="connsiteY1578" fmla="*/ 205195 h 745576"/>
                <a:gd name="connsiteX1579" fmla="*/ 211881 w 1926380"/>
                <a:gd name="connsiteY1579" fmla="*/ 206164 h 745576"/>
                <a:gd name="connsiteX1580" fmla="*/ 212486 w 1926380"/>
                <a:gd name="connsiteY1580" fmla="*/ 206647 h 745576"/>
                <a:gd name="connsiteX1581" fmla="*/ 213151 w 1926380"/>
                <a:gd name="connsiteY1581" fmla="*/ 206738 h 745576"/>
                <a:gd name="connsiteX1582" fmla="*/ 213726 w 1926380"/>
                <a:gd name="connsiteY1582" fmla="*/ 207071 h 745576"/>
                <a:gd name="connsiteX1583" fmla="*/ 213908 w 1926380"/>
                <a:gd name="connsiteY1583" fmla="*/ 208281 h 745576"/>
                <a:gd name="connsiteX1584" fmla="*/ 214301 w 1926380"/>
                <a:gd name="connsiteY1584" fmla="*/ 209491 h 745576"/>
                <a:gd name="connsiteX1585" fmla="*/ 215178 w 1926380"/>
                <a:gd name="connsiteY1585" fmla="*/ 209491 h 745576"/>
                <a:gd name="connsiteX1586" fmla="*/ 216691 w 1926380"/>
                <a:gd name="connsiteY1586" fmla="*/ 208644 h 745576"/>
                <a:gd name="connsiteX1587" fmla="*/ 221713 w 1926380"/>
                <a:gd name="connsiteY1587" fmla="*/ 210247 h 745576"/>
                <a:gd name="connsiteX1588" fmla="*/ 223558 w 1926380"/>
                <a:gd name="connsiteY1588" fmla="*/ 210308 h 745576"/>
                <a:gd name="connsiteX1589" fmla="*/ 221924 w 1926380"/>
                <a:gd name="connsiteY1589" fmla="*/ 212395 h 745576"/>
                <a:gd name="connsiteX1590" fmla="*/ 216479 w 1926380"/>
                <a:gd name="connsiteY1590" fmla="*/ 215027 h 745576"/>
                <a:gd name="connsiteX1591" fmla="*/ 214119 w 1926380"/>
                <a:gd name="connsiteY1591" fmla="*/ 218234 h 745576"/>
                <a:gd name="connsiteX1592" fmla="*/ 211397 w 1926380"/>
                <a:gd name="connsiteY1592" fmla="*/ 218839 h 745576"/>
                <a:gd name="connsiteX1593" fmla="*/ 208372 w 1926380"/>
                <a:gd name="connsiteY1593" fmla="*/ 218627 h 745576"/>
                <a:gd name="connsiteX1594" fmla="*/ 206345 w 1926380"/>
                <a:gd name="connsiteY1594" fmla="*/ 217780 h 745576"/>
                <a:gd name="connsiteX1595" fmla="*/ 203894 w 1926380"/>
                <a:gd name="connsiteY1595" fmla="*/ 219051 h 745576"/>
                <a:gd name="connsiteX1596" fmla="*/ 201565 w 1926380"/>
                <a:gd name="connsiteY1596" fmla="*/ 218597 h 745576"/>
                <a:gd name="connsiteX1597" fmla="*/ 199145 w 1926380"/>
                <a:gd name="connsiteY1597" fmla="*/ 217538 h 745576"/>
                <a:gd name="connsiteX1598" fmla="*/ 196332 w 1926380"/>
                <a:gd name="connsiteY1598" fmla="*/ 216933 h 745576"/>
                <a:gd name="connsiteX1599" fmla="*/ 194728 w 1926380"/>
                <a:gd name="connsiteY1599" fmla="*/ 217266 h 745576"/>
                <a:gd name="connsiteX1600" fmla="*/ 191219 w 1926380"/>
                <a:gd name="connsiteY1600" fmla="*/ 219444 h 745576"/>
                <a:gd name="connsiteX1601" fmla="*/ 190130 w 1926380"/>
                <a:gd name="connsiteY1601" fmla="*/ 219625 h 745576"/>
                <a:gd name="connsiteX1602" fmla="*/ 187317 w 1926380"/>
                <a:gd name="connsiteY1602" fmla="*/ 219625 h 745576"/>
                <a:gd name="connsiteX1603" fmla="*/ 180177 w 1926380"/>
                <a:gd name="connsiteY1603" fmla="*/ 218022 h 745576"/>
                <a:gd name="connsiteX1604" fmla="*/ 174218 w 1926380"/>
                <a:gd name="connsiteY1604" fmla="*/ 215572 h 745576"/>
                <a:gd name="connsiteX1605" fmla="*/ 168652 w 1926380"/>
                <a:gd name="connsiteY1605" fmla="*/ 212184 h 745576"/>
                <a:gd name="connsiteX1606" fmla="*/ 164326 w 1926380"/>
                <a:gd name="connsiteY1606" fmla="*/ 207827 h 745576"/>
                <a:gd name="connsiteX1607" fmla="*/ 165052 w 1926380"/>
                <a:gd name="connsiteY1607" fmla="*/ 207494 h 745576"/>
                <a:gd name="connsiteX1608" fmla="*/ 165203 w 1926380"/>
                <a:gd name="connsiteY1608" fmla="*/ 207253 h 745576"/>
                <a:gd name="connsiteX1609" fmla="*/ 165203 w 1926380"/>
                <a:gd name="connsiteY1609" fmla="*/ 207313 h 745576"/>
                <a:gd name="connsiteX1610" fmla="*/ 165687 w 1926380"/>
                <a:gd name="connsiteY1610" fmla="*/ 207827 h 745576"/>
                <a:gd name="connsiteX1611" fmla="*/ 166383 w 1926380"/>
                <a:gd name="connsiteY1611" fmla="*/ 207827 h 745576"/>
                <a:gd name="connsiteX1612" fmla="*/ 167744 w 1926380"/>
                <a:gd name="connsiteY1612" fmla="*/ 206920 h 745576"/>
                <a:gd name="connsiteX1613" fmla="*/ 166262 w 1926380"/>
                <a:gd name="connsiteY1613" fmla="*/ 203229 h 745576"/>
                <a:gd name="connsiteX1614" fmla="*/ 165233 w 1926380"/>
                <a:gd name="connsiteY1614" fmla="*/ 201505 h 745576"/>
                <a:gd name="connsiteX1615" fmla="*/ 163569 w 1926380"/>
                <a:gd name="connsiteY1615" fmla="*/ 200295 h 745576"/>
                <a:gd name="connsiteX1616" fmla="*/ 161996 w 1926380"/>
                <a:gd name="connsiteY1616" fmla="*/ 200295 h 745576"/>
                <a:gd name="connsiteX1617" fmla="*/ 158578 w 1926380"/>
                <a:gd name="connsiteY1617" fmla="*/ 202291 h 745576"/>
                <a:gd name="connsiteX1618" fmla="*/ 156339 w 1926380"/>
                <a:gd name="connsiteY1618" fmla="*/ 202806 h 745576"/>
                <a:gd name="connsiteX1619" fmla="*/ 152467 w 1926380"/>
                <a:gd name="connsiteY1619" fmla="*/ 202685 h 745576"/>
                <a:gd name="connsiteX1620" fmla="*/ 149049 w 1926380"/>
                <a:gd name="connsiteY1620" fmla="*/ 202079 h 745576"/>
                <a:gd name="connsiteX1621" fmla="*/ 144329 w 1926380"/>
                <a:gd name="connsiteY1621" fmla="*/ 202261 h 745576"/>
                <a:gd name="connsiteX1622" fmla="*/ 141244 w 1926380"/>
                <a:gd name="connsiteY1622" fmla="*/ 204530 h 745576"/>
                <a:gd name="connsiteX1623" fmla="*/ 138763 w 1926380"/>
                <a:gd name="connsiteY1623" fmla="*/ 207434 h 745576"/>
                <a:gd name="connsiteX1624" fmla="*/ 135950 w 1926380"/>
                <a:gd name="connsiteY1624" fmla="*/ 209491 h 745576"/>
                <a:gd name="connsiteX1625" fmla="*/ 133741 w 1926380"/>
                <a:gd name="connsiteY1625" fmla="*/ 209975 h 745576"/>
                <a:gd name="connsiteX1626" fmla="*/ 127994 w 1926380"/>
                <a:gd name="connsiteY1626" fmla="*/ 209491 h 745576"/>
                <a:gd name="connsiteX1627" fmla="*/ 125362 w 1926380"/>
                <a:gd name="connsiteY1627" fmla="*/ 208130 h 745576"/>
                <a:gd name="connsiteX1628" fmla="*/ 124242 w 1926380"/>
                <a:gd name="connsiteY1628" fmla="*/ 207827 h 745576"/>
                <a:gd name="connsiteX1629" fmla="*/ 120824 w 1926380"/>
                <a:gd name="connsiteY1629" fmla="*/ 208583 h 745576"/>
                <a:gd name="connsiteX1630" fmla="*/ 112112 w 1926380"/>
                <a:gd name="connsiteY1630" fmla="*/ 207888 h 745576"/>
                <a:gd name="connsiteX1631" fmla="*/ 107967 w 1926380"/>
                <a:gd name="connsiteY1631" fmla="*/ 208130 h 745576"/>
                <a:gd name="connsiteX1632" fmla="*/ 105880 w 1926380"/>
                <a:gd name="connsiteY1632" fmla="*/ 209703 h 745576"/>
                <a:gd name="connsiteX1633" fmla="*/ 95110 w 1926380"/>
                <a:gd name="connsiteY1633" fmla="*/ 221834 h 745576"/>
                <a:gd name="connsiteX1634" fmla="*/ 93840 w 1926380"/>
                <a:gd name="connsiteY1634" fmla="*/ 222802 h 745576"/>
                <a:gd name="connsiteX1635" fmla="*/ 92448 w 1926380"/>
                <a:gd name="connsiteY1635" fmla="*/ 223467 h 745576"/>
                <a:gd name="connsiteX1636" fmla="*/ 91571 w 1926380"/>
                <a:gd name="connsiteY1636" fmla="*/ 223770 h 745576"/>
                <a:gd name="connsiteX1637" fmla="*/ 90694 w 1926380"/>
                <a:gd name="connsiteY1637" fmla="*/ 224284 h 745576"/>
                <a:gd name="connsiteX1638" fmla="*/ 86247 w 1926380"/>
                <a:gd name="connsiteY1638" fmla="*/ 229729 h 745576"/>
                <a:gd name="connsiteX1639" fmla="*/ 84371 w 1926380"/>
                <a:gd name="connsiteY1639" fmla="*/ 231212 h 745576"/>
                <a:gd name="connsiteX1640" fmla="*/ 81013 w 1926380"/>
                <a:gd name="connsiteY1640" fmla="*/ 232028 h 745576"/>
                <a:gd name="connsiteX1641" fmla="*/ 78381 w 1926380"/>
                <a:gd name="connsiteY1641" fmla="*/ 233178 h 745576"/>
                <a:gd name="connsiteX1642" fmla="*/ 76990 w 1926380"/>
                <a:gd name="connsiteY1642" fmla="*/ 233450 h 745576"/>
                <a:gd name="connsiteX1643" fmla="*/ 75719 w 1926380"/>
                <a:gd name="connsiteY1643" fmla="*/ 233390 h 745576"/>
                <a:gd name="connsiteX1644" fmla="*/ 75023 w 1926380"/>
                <a:gd name="connsiteY1644" fmla="*/ 233541 h 745576"/>
                <a:gd name="connsiteX1645" fmla="*/ 74509 w 1926380"/>
                <a:gd name="connsiteY1645" fmla="*/ 234297 h 745576"/>
                <a:gd name="connsiteX1646" fmla="*/ 73843 w 1926380"/>
                <a:gd name="connsiteY1646" fmla="*/ 236082 h 745576"/>
                <a:gd name="connsiteX1647" fmla="*/ 74509 w 1926380"/>
                <a:gd name="connsiteY1647" fmla="*/ 237867 h 745576"/>
                <a:gd name="connsiteX1648" fmla="*/ 74569 w 1926380"/>
                <a:gd name="connsiteY1648" fmla="*/ 240136 h 745576"/>
                <a:gd name="connsiteX1649" fmla="*/ 74176 w 1926380"/>
                <a:gd name="connsiteY1649" fmla="*/ 242314 h 745576"/>
                <a:gd name="connsiteX1650" fmla="*/ 73541 w 1926380"/>
                <a:gd name="connsiteY1650" fmla="*/ 243826 h 745576"/>
                <a:gd name="connsiteX1651" fmla="*/ 73117 w 1926380"/>
                <a:gd name="connsiteY1651" fmla="*/ 244189 h 745576"/>
                <a:gd name="connsiteX1652" fmla="*/ 72603 w 1926380"/>
                <a:gd name="connsiteY1652" fmla="*/ 244311 h 745576"/>
                <a:gd name="connsiteX1653" fmla="*/ 71514 w 1926380"/>
                <a:gd name="connsiteY1653" fmla="*/ 244311 h 745576"/>
                <a:gd name="connsiteX1654" fmla="*/ 71181 w 1926380"/>
                <a:gd name="connsiteY1654" fmla="*/ 244462 h 745576"/>
                <a:gd name="connsiteX1655" fmla="*/ 71181 w 1926380"/>
                <a:gd name="connsiteY1655" fmla="*/ 244915 h 745576"/>
                <a:gd name="connsiteX1656" fmla="*/ 71272 w 1926380"/>
                <a:gd name="connsiteY1656" fmla="*/ 245460 h 745576"/>
                <a:gd name="connsiteX1657" fmla="*/ 71212 w 1926380"/>
                <a:gd name="connsiteY1657" fmla="*/ 245944 h 745576"/>
                <a:gd name="connsiteX1658" fmla="*/ 70849 w 1926380"/>
                <a:gd name="connsiteY1658" fmla="*/ 246700 h 745576"/>
                <a:gd name="connsiteX1659" fmla="*/ 70728 w 1926380"/>
                <a:gd name="connsiteY1659" fmla="*/ 248243 h 745576"/>
                <a:gd name="connsiteX1660" fmla="*/ 70425 w 1926380"/>
                <a:gd name="connsiteY1660" fmla="*/ 249242 h 745576"/>
                <a:gd name="connsiteX1661" fmla="*/ 69518 w 1926380"/>
                <a:gd name="connsiteY1661" fmla="*/ 250603 h 745576"/>
                <a:gd name="connsiteX1662" fmla="*/ 65282 w 1926380"/>
                <a:gd name="connsiteY1662" fmla="*/ 254536 h 745576"/>
                <a:gd name="connsiteX1663" fmla="*/ 64193 w 1926380"/>
                <a:gd name="connsiteY1663" fmla="*/ 255140 h 745576"/>
                <a:gd name="connsiteX1664" fmla="*/ 60836 w 1926380"/>
                <a:gd name="connsiteY1664" fmla="*/ 256502 h 745576"/>
                <a:gd name="connsiteX1665" fmla="*/ 59232 w 1926380"/>
                <a:gd name="connsiteY1665" fmla="*/ 257500 h 745576"/>
                <a:gd name="connsiteX1666" fmla="*/ 53847 w 1926380"/>
                <a:gd name="connsiteY1666" fmla="*/ 255806 h 745576"/>
                <a:gd name="connsiteX1667" fmla="*/ 52940 w 1926380"/>
                <a:gd name="connsiteY1667" fmla="*/ 256683 h 745576"/>
                <a:gd name="connsiteX1668" fmla="*/ 50822 w 1926380"/>
                <a:gd name="connsiteY1668" fmla="*/ 260071 h 745576"/>
                <a:gd name="connsiteX1669" fmla="*/ 50399 w 1926380"/>
                <a:gd name="connsiteY1669" fmla="*/ 261161 h 745576"/>
                <a:gd name="connsiteX1670" fmla="*/ 50217 w 1926380"/>
                <a:gd name="connsiteY1670" fmla="*/ 262159 h 745576"/>
                <a:gd name="connsiteX1671" fmla="*/ 49310 w 1926380"/>
                <a:gd name="connsiteY1671" fmla="*/ 263792 h 745576"/>
                <a:gd name="connsiteX1672" fmla="*/ 49037 w 1926380"/>
                <a:gd name="connsiteY1672" fmla="*/ 264851 h 745576"/>
                <a:gd name="connsiteX1673" fmla="*/ 49128 w 1926380"/>
                <a:gd name="connsiteY1673" fmla="*/ 265940 h 745576"/>
                <a:gd name="connsiteX1674" fmla="*/ 49673 w 1926380"/>
                <a:gd name="connsiteY1674" fmla="*/ 268300 h 745576"/>
                <a:gd name="connsiteX1675" fmla="*/ 49733 w 1926380"/>
                <a:gd name="connsiteY1675" fmla="*/ 269026 h 745576"/>
                <a:gd name="connsiteX1676" fmla="*/ 48221 w 1926380"/>
                <a:gd name="connsiteY1676" fmla="*/ 275046 h 745576"/>
                <a:gd name="connsiteX1677" fmla="*/ 47676 w 1926380"/>
                <a:gd name="connsiteY1677" fmla="*/ 276438 h 745576"/>
                <a:gd name="connsiteX1678" fmla="*/ 49219 w 1926380"/>
                <a:gd name="connsiteY1678" fmla="*/ 276740 h 745576"/>
                <a:gd name="connsiteX1679" fmla="*/ 49552 w 1926380"/>
                <a:gd name="connsiteY1679" fmla="*/ 277829 h 745576"/>
                <a:gd name="connsiteX1680" fmla="*/ 49037 w 1926380"/>
                <a:gd name="connsiteY1680" fmla="*/ 280975 h 745576"/>
                <a:gd name="connsiteX1681" fmla="*/ 49037 w 1926380"/>
                <a:gd name="connsiteY1681" fmla="*/ 283819 h 745576"/>
                <a:gd name="connsiteX1682" fmla="*/ 48735 w 1926380"/>
                <a:gd name="connsiteY1682" fmla="*/ 284545 h 745576"/>
                <a:gd name="connsiteX1683" fmla="*/ 48251 w 1926380"/>
                <a:gd name="connsiteY1683" fmla="*/ 284817 h 745576"/>
                <a:gd name="connsiteX1684" fmla="*/ 47827 w 1926380"/>
                <a:gd name="connsiteY1684" fmla="*/ 285211 h 745576"/>
                <a:gd name="connsiteX1685" fmla="*/ 47676 w 1926380"/>
                <a:gd name="connsiteY1685" fmla="*/ 286269 h 745576"/>
                <a:gd name="connsiteX1686" fmla="*/ 48099 w 1926380"/>
                <a:gd name="connsiteY1686" fmla="*/ 287812 h 745576"/>
                <a:gd name="connsiteX1687" fmla="*/ 49975 w 1926380"/>
                <a:gd name="connsiteY1687" fmla="*/ 291140 h 745576"/>
                <a:gd name="connsiteX1688" fmla="*/ 50399 w 1926380"/>
                <a:gd name="connsiteY1688" fmla="*/ 292410 h 745576"/>
                <a:gd name="connsiteX1689" fmla="*/ 49733 w 1926380"/>
                <a:gd name="connsiteY1689" fmla="*/ 299005 h 745576"/>
                <a:gd name="connsiteX1690" fmla="*/ 48856 w 1926380"/>
                <a:gd name="connsiteY1690" fmla="*/ 301788 h 745576"/>
                <a:gd name="connsiteX1691" fmla="*/ 45074 w 1926380"/>
                <a:gd name="connsiteY1691" fmla="*/ 305146 h 745576"/>
                <a:gd name="connsiteX1692" fmla="*/ 43502 w 1926380"/>
                <a:gd name="connsiteY1692" fmla="*/ 311045 h 745576"/>
                <a:gd name="connsiteX1693" fmla="*/ 40990 w 1926380"/>
                <a:gd name="connsiteY1693" fmla="*/ 317307 h 745576"/>
                <a:gd name="connsiteX1694" fmla="*/ 41414 w 1926380"/>
                <a:gd name="connsiteY1694" fmla="*/ 319909 h 745576"/>
                <a:gd name="connsiteX1695" fmla="*/ 45317 w 1926380"/>
                <a:gd name="connsiteY1695" fmla="*/ 321724 h 745576"/>
                <a:gd name="connsiteX1696" fmla="*/ 49340 w 1926380"/>
                <a:gd name="connsiteY1696" fmla="*/ 321724 h 745576"/>
                <a:gd name="connsiteX1697" fmla="*/ 57266 w 1926380"/>
                <a:gd name="connsiteY1697" fmla="*/ 319909 h 745576"/>
                <a:gd name="connsiteX1698" fmla="*/ 58355 w 1926380"/>
                <a:gd name="connsiteY1698" fmla="*/ 320726 h 745576"/>
                <a:gd name="connsiteX1699" fmla="*/ 59050 w 1926380"/>
                <a:gd name="connsiteY1699" fmla="*/ 320968 h 745576"/>
                <a:gd name="connsiteX1700" fmla="*/ 59353 w 1926380"/>
                <a:gd name="connsiteY1700" fmla="*/ 320363 h 745576"/>
                <a:gd name="connsiteX1701" fmla="*/ 59504 w 1926380"/>
                <a:gd name="connsiteY1701" fmla="*/ 320121 h 745576"/>
                <a:gd name="connsiteX1702" fmla="*/ 60412 w 1926380"/>
                <a:gd name="connsiteY1702" fmla="*/ 319092 h 745576"/>
                <a:gd name="connsiteX1703" fmla="*/ 61501 w 1926380"/>
                <a:gd name="connsiteY1703" fmla="*/ 318971 h 745576"/>
                <a:gd name="connsiteX1704" fmla="*/ 62832 w 1926380"/>
                <a:gd name="connsiteY1704" fmla="*/ 318336 h 745576"/>
                <a:gd name="connsiteX1705" fmla="*/ 63921 w 1926380"/>
                <a:gd name="connsiteY1705" fmla="*/ 318215 h 745576"/>
                <a:gd name="connsiteX1706" fmla="*/ 69215 w 1926380"/>
                <a:gd name="connsiteY1706" fmla="*/ 319092 h 745576"/>
                <a:gd name="connsiteX1707" fmla="*/ 70425 w 1926380"/>
                <a:gd name="connsiteY1707" fmla="*/ 319092 h 745576"/>
                <a:gd name="connsiteX1708" fmla="*/ 71212 w 1926380"/>
                <a:gd name="connsiteY1708" fmla="*/ 318578 h 745576"/>
                <a:gd name="connsiteX1709" fmla="*/ 75629 w 1926380"/>
                <a:gd name="connsiteY1709" fmla="*/ 316249 h 745576"/>
                <a:gd name="connsiteX1710" fmla="*/ 76657 w 1926380"/>
                <a:gd name="connsiteY1710" fmla="*/ 316249 h 745576"/>
                <a:gd name="connsiteX1711" fmla="*/ 77685 w 1926380"/>
                <a:gd name="connsiteY1711" fmla="*/ 315190 h 745576"/>
                <a:gd name="connsiteX1712" fmla="*/ 79954 w 1926380"/>
                <a:gd name="connsiteY1712" fmla="*/ 314312 h 745576"/>
                <a:gd name="connsiteX1713" fmla="*/ 101130 w 1926380"/>
                <a:gd name="connsiteY1713" fmla="*/ 310773 h 745576"/>
                <a:gd name="connsiteX1714" fmla="*/ 115288 w 1926380"/>
                <a:gd name="connsiteY1714" fmla="*/ 308383 h 745576"/>
                <a:gd name="connsiteX1715" fmla="*/ 117829 w 1926380"/>
                <a:gd name="connsiteY1715" fmla="*/ 310047 h 745576"/>
                <a:gd name="connsiteX1716" fmla="*/ 119765 w 1926380"/>
                <a:gd name="connsiteY1716" fmla="*/ 309260 h 745576"/>
                <a:gd name="connsiteX1717" fmla="*/ 121611 w 1926380"/>
                <a:gd name="connsiteY1717" fmla="*/ 307657 h 745576"/>
                <a:gd name="connsiteX1718" fmla="*/ 123910 w 1926380"/>
                <a:gd name="connsiteY1718" fmla="*/ 306750 h 745576"/>
                <a:gd name="connsiteX1719" fmla="*/ 126814 w 1926380"/>
                <a:gd name="connsiteY1719" fmla="*/ 307022 h 745576"/>
                <a:gd name="connsiteX1720" fmla="*/ 128357 w 1926380"/>
                <a:gd name="connsiteY1720" fmla="*/ 307899 h 745576"/>
                <a:gd name="connsiteX1721" fmla="*/ 128992 w 1926380"/>
                <a:gd name="connsiteY1721" fmla="*/ 309563 h 745576"/>
                <a:gd name="connsiteX1722" fmla="*/ 129113 w 1926380"/>
                <a:gd name="connsiteY1722" fmla="*/ 312104 h 745576"/>
                <a:gd name="connsiteX1723" fmla="*/ 127752 w 1926380"/>
                <a:gd name="connsiteY1723" fmla="*/ 316642 h 745576"/>
                <a:gd name="connsiteX1724" fmla="*/ 127570 w 1926380"/>
                <a:gd name="connsiteY1724" fmla="*/ 317882 h 745576"/>
                <a:gd name="connsiteX1725" fmla="*/ 127570 w 1926380"/>
                <a:gd name="connsiteY1725" fmla="*/ 318336 h 745576"/>
                <a:gd name="connsiteX1726" fmla="*/ 127177 w 1926380"/>
                <a:gd name="connsiteY1726" fmla="*/ 318547 h 745576"/>
                <a:gd name="connsiteX1727" fmla="*/ 121338 w 1926380"/>
                <a:gd name="connsiteY1727" fmla="*/ 320272 h 745576"/>
                <a:gd name="connsiteX1728" fmla="*/ 119735 w 1926380"/>
                <a:gd name="connsiteY1728" fmla="*/ 321452 h 745576"/>
                <a:gd name="connsiteX1729" fmla="*/ 120854 w 1926380"/>
                <a:gd name="connsiteY1729" fmla="*/ 323206 h 745576"/>
                <a:gd name="connsiteX1730" fmla="*/ 119614 w 1926380"/>
                <a:gd name="connsiteY1730" fmla="*/ 324084 h 745576"/>
                <a:gd name="connsiteX1731" fmla="*/ 118253 w 1926380"/>
                <a:gd name="connsiteY1731" fmla="*/ 324568 h 745576"/>
                <a:gd name="connsiteX1732" fmla="*/ 114592 w 1926380"/>
                <a:gd name="connsiteY1732" fmla="*/ 324810 h 745576"/>
                <a:gd name="connsiteX1733" fmla="*/ 114743 w 1926380"/>
                <a:gd name="connsiteY1733" fmla="*/ 325808 h 745576"/>
                <a:gd name="connsiteX1734" fmla="*/ 114743 w 1926380"/>
                <a:gd name="connsiteY1734" fmla="*/ 326504 h 745576"/>
                <a:gd name="connsiteX1735" fmla="*/ 114592 w 1926380"/>
                <a:gd name="connsiteY1735" fmla="*/ 327320 h 745576"/>
                <a:gd name="connsiteX1736" fmla="*/ 114592 w 1926380"/>
                <a:gd name="connsiteY1736" fmla="*/ 328046 h 745576"/>
                <a:gd name="connsiteX1737" fmla="*/ 115016 w 1926380"/>
                <a:gd name="connsiteY1737" fmla="*/ 328168 h 745576"/>
                <a:gd name="connsiteX1738" fmla="*/ 115954 w 1926380"/>
                <a:gd name="connsiteY1738" fmla="*/ 328863 h 745576"/>
                <a:gd name="connsiteX1739" fmla="*/ 105275 w 1926380"/>
                <a:gd name="connsiteY1739" fmla="*/ 336305 h 745576"/>
                <a:gd name="connsiteX1740" fmla="*/ 103490 w 1926380"/>
                <a:gd name="connsiteY1740" fmla="*/ 338756 h 745576"/>
                <a:gd name="connsiteX1741" fmla="*/ 102492 w 1926380"/>
                <a:gd name="connsiteY1741" fmla="*/ 339421 h 745576"/>
                <a:gd name="connsiteX1742" fmla="*/ 101402 w 1926380"/>
                <a:gd name="connsiteY1742" fmla="*/ 339966 h 745576"/>
                <a:gd name="connsiteX1743" fmla="*/ 100858 w 1926380"/>
                <a:gd name="connsiteY1743" fmla="*/ 340903 h 745576"/>
                <a:gd name="connsiteX1744" fmla="*/ 101463 w 1926380"/>
                <a:gd name="connsiteY1744" fmla="*/ 342749 h 745576"/>
                <a:gd name="connsiteX1745" fmla="*/ 100767 w 1926380"/>
                <a:gd name="connsiteY1745" fmla="*/ 341992 h 745576"/>
                <a:gd name="connsiteX1746" fmla="*/ 99981 w 1926380"/>
                <a:gd name="connsiteY1746" fmla="*/ 341357 h 745576"/>
                <a:gd name="connsiteX1747" fmla="*/ 99043 w 1926380"/>
                <a:gd name="connsiteY1747" fmla="*/ 340994 h 745576"/>
                <a:gd name="connsiteX1748" fmla="*/ 97954 w 1926380"/>
                <a:gd name="connsiteY1748" fmla="*/ 341055 h 745576"/>
                <a:gd name="connsiteX1749" fmla="*/ 97954 w 1926380"/>
                <a:gd name="connsiteY1749" fmla="*/ 340298 h 745576"/>
                <a:gd name="connsiteX1750" fmla="*/ 99769 w 1926380"/>
                <a:gd name="connsiteY1750" fmla="*/ 339905 h 745576"/>
                <a:gd name="connsiteX1751" fmla="*/ 99890 w 1926380"/>
                <a:gd name="connsiteY1751" fmla="*/ 339088 h 745576"/>
                <a:gd name="connsiteX1752" fmla="*/ 98952 w 1926380"/>
                <a:gd name="connsiteY1752" fmla="*/ 338574 h 745576"/>
                <a:gd name="connsiteX1753" fmla="*/ 97651 w 1926380"/>
                <a:gd name="connsiteY1753" fmla="*/ 339058 h 745576"/>
                <a:gd name="connsiteX1754" fmla="*/ 96925 w 1926380"/>
                <a:gd name="connsiteY1754" fmla="*/ 340268 h 745576"/>
                <a:gd name="connsiteX1755" fmla="*/ 96320 w 1926380"/>
                <a:gd name="connsiteY1755" fmla="*/ 342658 h 745576"/>
                <a:gd name="connsiteX1756" fmla="*/ 95322 w 1926380"/>
                <a:gd name="connsiteY1756" fmla="*/ 343596 h 745576"/>
                <a:gd name="connsiteX1757" fmla="*/ 97319 w 1926380"/>
                <a:gd name="connsiteY1757" fmla="*/ 344413 h 745576"/>
                <a:gd name="connsiteX1758" fmla="*/ 99769 w 1926380"/>
                <a:gd name="connsiteY1758" fmla="*/ 344594 h 745576"/>
                <a:gd name="connsiteX1759" fmla="*/ 104609 w 1926380"/>
                <a:gd name="connsiteY1759" fmla="*/ 344352 h 745576"/>
                <a:gd name="connsiteX1760" fmla="*/ 106333 w 1926380"/>
                <a:gd name="connsiteY1760" fmla="*/ 345078 h 745576"/>
                <a:gd name="connsiteX1761" fmla="*/ 107120 w 1926380"/>
                <a:gd name="connsiteY1761" fmla="*/ 346923 h 745576"/>
                <a:gd name="connsiteX1762" fmla="*/ 107574 w 1926380"/>
                <a:gd name="connsiteY1762" fmla="*/ 349283 h 745576"/>
                <a:gd name="connsiteX1763" fmla="*/ 108391 w 1926380"/>
                <a:gd name="connsiteY1763" fmla="*/ 351673 h 745576"/>
                <a:gd name="connsiteX1764" fmla="*/ 108270 w 1926380"/>
                <a:gd name="connsiteY1764" fmla="*/ 352913 h 745576"/>
                <a:gd name="connsiteX1765" fmla="*/ 109661 w 1926380"/>
                <a:gd name="connsiteY1765" fmla="*/ 354396 h 745576"/>
                <a:gd name="connsiteX1766" fmla="*/ 111627 w 1926380"/>
                <a:gd name="connsiteY1766" fmla="*/ 355787 h 745576"/>
                <a:gd name="connsiteX1767" fmla="*/ 112384 w 1926380"/>
                <a:gd name="connsiteY1767" fmla="*/ 356150 h 745576"/>
                <a:gd name="connsiteX1768" fmla="*/ 115500 w 1926380"/>
                <a:gd name="connsiteY1768" fmla="*/ 357632 h 745576"/>
                <a:gd name="connsiteX1769" fmla="*/ 116892 w 1926380"/>
                <a:gd name="connsiteY1769" fmla="*/ 358631 h 745576"/>
                <a:gd name="connsiteX1770" fmla="*/ 119735 w 1926380"/>
                <a:gd name="connsiteY1770" fmla="*/ 361928 h 745576"/>
                <a:gd name="connsiteX1771" fmla="*/ 122095 w 1926380"/>
                <a:gd name="connsiteY1771" fmla="*/ 365528 h 745576"/>
                <a:gd name="connsiteX1772" fmla="*/ 122881 w 1926380"/>
                <a:gd name="connsiteY1772" fmla="*/ 367797 h 745576"/>
                <a:gd name="connsiteX1773" fmla="*/ 121883 w 1926380"/>
                <a:gd name="connsiteY1773" fmla="*/ 368826 h 745576"/>
                <a:gd name="connsiteX1774" fmla="*/ 119977 w 1926380"/>
                <a:gd name="connsiteY1774" fmla="*/ 369370 h 745576"/>
                <a:gd name="connsiteX1775" fmla="*/ 117466 w 1926380"/>
                <a:gd name="connsiteY1775" fmla="*/ 370671 h 745576"/>
                <a:gd name="connsiteX1776" fmla="*/ 115197 w 1926380"/>
                <a:gd name="connsiteY1776" fmla="*/ 372274 h 745576"/>
                <a:gd name="connsiteX1777" fmla="*/ 113896 w 1926380"/>
                <a:gd name="connsiteY1777" fmla="*/ 373696 h 745576"/>
                <a:gd name="connsiteX1778" fmla="*/ 115500 w 1926380"/>
                <a:gd name="connsiteY1778" fmla="*/ 373756 h 745576"/>
                <a:gd name="connsiteX1779" fmla="*/ 116014 w 1926380"/>
                <a:gd name="connsiteY1779" fmla="*/ 373696 h 745576"/>
                <a:gd name="connsiteX1780" fmla="*/ 116014 w 1926380"/>
                <a:gd name="connsiteY1780" fmla="*/ 374513 h 745576"/>
                <a:gd name="connsiteX1781" fmla="*/ 114441 w 1926380"/>
                <a:gd name="connsiteY1781" fmla="*/ 376509 h 745576"/>
                <a:gd name="connsiteX1782" fmla="*/ 114229 w 1926380"/>
                <a:gd name="connsiteY1782" fmla="*/ 379504 h 745576"/>
                <a:gd name="connsiteX1783" fmla="*/ 115167 w 1926380"/>
                <a:gd name="connsiteY1783" fmla="*/ 382227 h 745576"/>
                <a:gd name="connsiteX1784" fmla="*/ 117043 w 1926380"/>
                <a:gd name="connsiteY1784" fmla="*/ 383407 h 745576"/>
                <a:gd name="connsiteX1785" fmla="*/ 118555 w 1926380"/>
                <a:gd name="connsiteY1785" fmla="*/ 383921 h 745576"/>
                <a:gd name="connsiteX1786" fmla="*/ 120128 w 1926380"/>
                <a:gd name="connsiteY1786" fmla="*/ 386069 h 745576"/>
                <a:gd name="connsiteX1787" fmla="*/ 121187 w 1926380"/>
                <a:gd name="connsiteY1787" fmla="*/ 386583 h 745576"/>
                <a:gd name="connsiteX1788" fmla="*/ 122488 w 1926380"/>
                <a:gd name="connsiteY1788" fmla="*/ 386250 h 745576"/>
                <a:gd name="connsiteX1789" fmla="*/ 125937 w 1926380"/>
                <a:gd name="connsiteY1789" fmla="*/ 384375 h 745576"/>
                <a:gd name="connsiteX1790" fmla="*/ 127056 w 1926380"/>
                <a:gd name="connsiteY1790" fmla="*/ 383407 h 745576"/>
                <a:gd name="connsiteX1791" fmla="*/ 128024 w 1926380"/>
                <a:gd name="connsiteY1791" fmla="*/ 384496 h 745576"/>
                <a:gd name="connsiteX1792" fmla="*/ 128750 w 1926380"/>
                <a:gd name="connsiteY1792" fmla="*/ 384375 h 745576"/>
                <a:gd name="connsiteX1793" fmla="*/ 129597 w 1926380"/>
                <a:gd name="connsiteY1793" fmla="*/ 383770 h 745576"/>
                <a:gd name="connsiteX1794" fmla="*/ 130837 w 1926380"/>
                <a:gd name="connsiteY1794" fmla="*/ 383407 h 745576"/>
                <a:gd name="connsiteX1795" fmla="*/ 131351 w 1926380"/>
                <a:gd name="connsiteY1795" fmla="*/ 383770 h 745576"/>
                <a:gd name="connsiteX1796" fmla="*/ 132350 w 1926380"/>
                <a:gd name="connsiteY1796" fmla="*/ 385464 h 745576"/>
                <a:gd name="connsiteX1797" fmla="*/ 132864 w 1926380"/>
                <a:gd name="connsiteY1797" fmla="*/ 385827 h 745576"/>
                <a:gd name="connsiteX1798" fmla="*/ 134740 w 1926380"/>
                <a:gd name="connsiteY1798" fmla="*/ 385827 h 745576"/>
                <a:gd name="connsiteX1799" fmla="*/ 135919 w 1926380"/>
                <a:gd name="connsiteY1799" fmla="*/ 385524 h 745576"/>
                <a:gd name="connsiteX1800" fmla="*/ 137069 w 1926380"/>
                <a:gd name="connsiteY1800" fmla="*/ 384798 h 745576"/>
                <a:gd name="connsiteX1801" fmla="*/ 138794 w 1926380"/>
                <a:gd name="connsiteY1801" fmla="*/ 383376 h 745576"/>
                <a:gd name="connsiteX1802" fmla="*/ 140457 w 1926380"/>
                <a:gd name="connsiteY1802" fmla="*/ 384587 h 745576"/>
                <a:gd name="connsiteX1803" fmla="*/ 140457 w 1926380"/>
                <a:gd name="connsiteY1803" fmla="*/ 385917 h 745576"/>
                <a:gd name="connsiteX1804" fmla="*/ 138794 w 1926380"/>
                <a:gd name="connsiteY1804" fmla="*/ 389094 h 745576"/>
                <a:gd name="connsiteX1805" fmla="*/ 140941 w 1926380"/>
                <a:gd name="connsiteY1805" fmla="*/ 389669 h 745576"/>
                <a:gd name="connsiteX1806" fmla="*/ 140185 w 1926380"/>
                <a:gd name="connsiteY1806" fmla="*/ 391544 h 745576"/>
                <a:gd name="connsiteX1807" fmla="*/ 138037 w 1926380"/>
                <a:gd name="connsiteY1807" fmla="*/ 392785 h 745576"/>
                <a:gd name="connsiteX1808" fmla="*/ 135980 w 1926380"/>
                <a:gd name="connsiteY1808" fmla="*/ 391514 h 745576"/>
                <a:gd name="connsiteX1809" fmla="*/ 135042 w 1926380"/>
                <a:gd name="connsiteY1809" fmla="*/ 392482 h 745576"/>
                <a:gd name="connsiteX1810" fmla="*/ 133741 w 1926380"/>
                <a:gd name="connsiteY1810" fmla="*/ 393420 h 745576"/>
                <a:gd name="connsiteX1811" fmla="*/ 132199 w 1926380"/>
                <a:gd name="connsiteY1811" fmla="*/ 394176 h 745576"/>
                <a:gd name="connsiteX1812" fmla="*/ 130535 w 1926380"/>
                <a:gd name="connsiteY1812" fmla="*/ 394660 h 745576"/>
                <a:gd name="connsiteX1813" fmla="*/ 131805 w 1926380"/>
                <a:gd name="connsiteY1813" fmla="*/ 397655 h 745576"/>
                <a:gd name="connsiteX1814" fmla="*/ 130716 w 1926380"/>
                <a:gd name="connsiteY1814" fmla="*/ 399198 h 745576"/>
                <a:gd name="connsiteX1815" fmla="*/ 129022 w 1926380"/>
                <a:gd name="connsiteY1815" fmla="*/ 398895 h 745576"/>
                <a:gd name="connsiteX1816" fmla="*/ 128387 w 1926380"/>
                <a:gd name="connsiteY1816" fmla="*/ 396354 h 745576"/>
                <a:gd name="connsiteX1817" fmla="*/ 124303 w 1926380"/>
                <a:gd name="connsiteY1817" fmla="*/ 397957 h 745576"/>
                <a:gd name="connsiteX1818" fmla="*/ 125029 w 1926380"/>
                <a:gd name="connsiteY1818" fmla="*/ 398744 h 745576"/>
                <a:gd name="connsiteX1819" fmla="*/ 127056 w 1926380"/>
                <a:gd name="connsiteY1819" fmla="*/ 402072 h 745576"/>
                <a:gd name="connsiteX1820" fmla="*/ 127752 w 1926380"/>
                <a:gd name="connsiteY1820" fmla="*/ 401164 h 745576"/>
                <a:gd name="connsiteX1821" fmla="*/ 127994 w 1926380"/>
                <a:gd name="connsiteY1821" fmla="*/ 402405 h 745576"/>
                <a:gd name="connsiteX1822" fmla="*/ 128115 w 1926380"/>
                <a:gd name="connsiteY1822" fmla="*/ 403403 h 745576"/>
                <a:gd name="connsiteX1823" fmla="*/ 128054 w 1926380"/>
                <a:gd name="connsiteY1823" fmla="*/ 404280 h 745576"/>
                <a:gd name="connsiteX1824" fmla="*/ 127752 w 1926380"/>
                <a:gd name="connsiteY1824" fmla="*/ 405188 h 745576"/>
                <a:gd name="connsiteX1825" fmla="*/ 126905 w 1926380"/>
                <a:gd name="connsiteY1825" fmla="*/ 404341 h 745576"/>
                <a:gd name="connsiteX1826" fmla="*/ 126118 w 1926380"/>
                <a:gd name="connsiteY1826" fmla="*/ 404613 h 745576"/>
                <a:gd name="connsiteX1827" fmla="*/ 125301 w 1926380"/>
                <a:gd name="connsiteY1827" fmla="*/ 405369 h 745576"/>
                <a:gd name="connsiteX1828" fmla="*/ 124303 w 1926380"/>
                <a:gd name="connsiteY1828" fmla="*/ 406004 h 745576"/>
                <a:gd name="connsiteX1829" fmla="*/ 124938 w 1926380"/>
                <a:gd name="connsiteY1829" fmla="*/ 407638 h 745576"/>
                <a:gd name="connsiteX1830" fmla="*/ 123426 w 1926380"/>
                <a:gd name="connsiteY1830" fmla="*/ 407699 h 745576"/>
                <a:gd name="connsiteX1831" fmla="*/ 122004 w 1926380"/>
                <a:gd name="connsiteY1831" fmla="*/ 407275 h 745576"/>
                <a:gd name="connsiteX1832" fmla="*/ 119705 w 1926380"/>
                <a:gd name="connsiteY1832" fmla="*/ 406307 h 745576"/>
                <a:gd name="connsiteX1833" fmla="*/ 118737 w 1926380"/>
                <a:gd name="connsiteY1833" fmla="*/ 406307 h 745576"/>
                <a:gd name="connsiteX1834" fmla="*/ 117587 w 1926380"/>
                <a:gd name="connsiteY1834" fmla="*/ 406126 h 745576"/>
                <a:gd name="connsiteX1835" fmla="*/ 117436 w 1926380"/>
                <a:gd name="connsiteY1835" fmla="*/ 406004 h 745576"/>
                <a:gd name="connsiteX1836" fmla="*/ 117284 w 1926380"/>
                <a:gd name="connsiteY1836" fmla="*/ 405763 h 745576"/>
                <a:gd name="connsiteX1837" fmla="*/ 116921 w 1926380"/>
                <a:gd name="connsiteY1837" fmla="*/ 405339 h 745576"/>
                <a:gd name="connsiteX1838" fmla="*/ 116377 w 1926380"/>
                <a:gd name="connsiteY1838" fmla="*/ 405157 h 745576"/>
                <a:gd name="connsiteX1839" fmla="*/ 113413 w 1926380"/>
                <a:gd name="connsiteY1839" fmla="*/ 407033 h 745576"/>
                <a:gd name="connsiteX1840" fmla="*/ 108239 w 1926380"/>
                <a:gd name="connsiteY1840" fmla="*/ 408062 h 745576"/>
                <a:gd name="connsiteX1841" fmla="*/ 106364 w 1926380"/>
                <a:gd name="connsiteY1841" fmla="*/ 409211 h 745576"/>
                <a:gd name="connsiteX1842" fmla="*/ 107060 w 1926380"/>
                <a:gd name="connsiteY1842" fmla="*/ 411389 h 745576"/>
                <a:gd name="connsiteX1843" fmla="*/ 107786 w 1926380"/>
                <a:gd name="connsiteY1843" fmla="*/ 412932 h 745576"/>
                <a:gd name="connsiteX1844" fmla="*/ 109782 w 1926380"/>
                <a:gd name="connsiteY1844" fmla="*/ 415685 h 745576"/>
                <a:gd name="connsiteX1845" fmla="*/ 108693 w 1926380"/>
                <a:gd name="connsiteY1845" fmla="*/ 415685 h 745576"/>
                <a:gd name="connsiteX1846" fmla="*/ 107816 w 1926380"/>
                <a:gd name="connsiteY1846" fmla="*/ 415988 h 745576"/>
                <a:gd name="connsiteX1847" fmla="*/ 107060 w 1926380"/>
                <a:gd name="connsiteY1847" fmla="*/ 416532 h 745576"/>
                <a:gd name="connsiteX1848" fmla="*/ 106333 w 1926380"/>
                <a:gd name="connsiteY1848" fmla="*/ 417288 h 745576"/>
                <a:gd name="connsiteX1849" fmla="*/ 108149 w 1926380"/>
                <a:gd name="connsiteY1849" fmla="*/ 418498 h 745576"/>
                <a:gd name="connsiteX1850" fmla="*/ 109086 w 1926380"/>
                <a:gd name="connsiteY1850" fmla="*/ 418952 h 745576"/>
                <a:gd name="connsiteX1851" fmla="*/ 110418 w 1926380"/>
                <a:gd name="connsiteY1851" fmla="*/ 418952 h 745576"/>
                <a:gd name="connsiteX1852" fmla="*/ 110206 w 1926380"/>
                <a:gd name="connsiteY1852" fmla="*/ 419527 h 745576"/>
                <a:gd name="connsiteX1853" fmla="*/ 109964 w 1926380"/>
                <a:gd name="connsiteY1853" fmla="*/ 420858 h 745576"/>
                <a:gd name="connsiteX1854" fmla="*/ 109782 w 1926380"/>
                <a:gd name="connsiteY1854" fmla="*/ 421402 h 745576"/>
                <a:gd name="connsiteX1855" fmla="*/ 111174 w 1926380"/>
                <a:gd name="connsiteY1855" fmla="*/ 421282 h 745576"/>
                <a:gd name="connsiteX1856" fmla="*/ 112414 w 1926380"/>
                <a:gd name="connsiteY1856" fmla="*/ 421433 h 745576"/>
                <a:gd name="connsiteX1857" fmla="*/ 114623 w 1926380"/>
                <a:gd name="connsiteY1857" fmla="*/ 422159 h 745576"/>
                <a:gd name="connsiteX1858" fmla="*/ 114320 w 1926380"/>
                <a:gd name="connsiteY1858" fmla="*/ 422612 h 745576"/>
                <a:gd name="connsiteX1859" fmla="*/ 113866 w 1926380"/>
                <a:gd name="connsiteY1859" fmla="*/ 423823 h 745576"/>
                <a:gd name="connsiteX1860" fmla="*/ 115893 w 1926380"/>
                <a:gd name="connsiteY1860" fmla="*/ 423823 h 745576"/>
                <a:gd name="connsiteX1861" fmla="*/ 117012 w 1926380"/>
                <a:gd name="connsiteY1861" fmla="*/ 422945 h 745576"/>
                <a:gd name="connsiteX1862" fmla="*/ 117950 w 1926380"/>
                <a:gd name="connsiteY1862" fmla="*/ 422552 h 745576"/>
                <a:gd name="connsiteX1863" fmla="*/ 119433 w 1926380"/>
                <a:gd name="connsiteY1863" fmla="*/ 423823 h 745576"/>
                <a:gd name="connsiteX1864" fmla="*/ 119009 w 1926380"/>
                <a:gd name="connsiteY1864" fmla="*/ 425244 h 745576"/>
                <a:gd name="connsiteX1865" fmla="*/ 118495 w 1926380"/>
                <a:gd name="connsiteY1865" fmla="*/ 428149 h 745576"/>
                <a:gd name="connsiteX1866" fmla="*/ 118071 w 1926380"/>
                <a:gd name="connsiteY1866" fmla="*/ 429540 h 745576"/>
                <a:gd name="connsiteX1867" fmla="*/ 119705 w 1926380"/>
                <a:gd name="connsiteY1867" fmla="*/ 430266 h 745576"/>
                <a:gd name="connsiteX1868" fmla="*/ 121096 w 1926380"/>
                <a:gd name="connsiteY1868" fmla="*/ 431113 h 745576"/>
                <a:gd name="connsiteX1869" fmla="*/ 122367 w 1926380"/>
                <a:gd name="connsiteY1869" fmla="*/ 432202 h 745576"/>
                <a:gd name="connsiteX1870" fmla="*/ 123577 w 1926380"/>
                <a:gd name="connsiteY1870" fmla="*/ 433563 h 745576"/>
                <a:gd name="connsiteX1871" fmla="*/ 123577 w 1926380"/>
                <a:gd name="connsiteY1871" fmla="*/ 434380 h 745576"/>
                <a:gd name="connsiteX1872" fmla="*/ 122004 w 1926380"/>
                <a:gd name="connsiteY1872" fmla="*/ 434441 h 745576"/>
                <a:gd name="connsiteX1873" fmla="*/ 119251 w 1926380"/>
                <a:gd name="connsiteY1873" fmla="*/ 432898 h 745576"/>
                <a:gd name="connsiteX1874" fmla="*/ 117466 w 1926380"/>
                <a:gd name="connsiteY1874" fmla="*/ 431658 h 745576"/>
                <a:gd name="connsiteX1875" fmla="*/ 116014 w 1926380"/>
                <a:gd name="connsiteY1875" fmla="*/ 430296 h 745576"/>
                <a:gd name="connsiteX1876" fmla="*/ 117224 w 1926380"/>
                <a:gd name="connsiteY1876" fmla="*/ 432263 h 745576"/>
                <a:gd name="connsiteX1877" fmla="*/ 119463 w 1926380"/>
                <a:gd name="connsiteY1877" fmla="*/ 433896 h 745576"/>
                <a:gd name="connsiteX1878" fmla="*/ 120461 w 1926380"/>
                <a:gd name="connsiteY1878" fmla="*/ 434471 h 745576"/>
                <a:gd name="connsiteX1879" fmla="*/ 122972 w 1926380"/>
                <a:gd name="connsiteY1879" fmla="*/ 435227 h 745576"/>
                <a:gd name="connsiteX1880" fmla="*/ 124333 w 1926380"/>
                <a:gd name="connsiteY1880" fmla="*/ 435984 h 745576"/>
                <a:gd name="connsiteX1881" fmla="*/ 127389 w 1926380"/>
                <a:gd name="connsiteY1881" fmla="*/ 440552 h 745576"/>
                <a:gd name="connsiteX1882" fmla="*/ 129113 w 1926380"/>
                <a:gd name="connsiteY1882" fmla="*/ 441671 h 745576"/>
                <a:gd name="connsiteX1883" fmla="*/ 128145 w 1926380"/>
                <a:gd name="connsiteY1883" fmla="*/ 443062 h 745576"/>
                <a:gd name="connsiteX1884" fmla="*/ 128478 w 1926380"/>
                <a:gd name="connsiteY1884" fmla="*/ 443153 h 745576"/>
                <a:gd name="connsiteX1885" fmla="*/ 130595 w 1926380"/>
                <a:gd name="connsiteY1885" fmla="*/ 442246 h 745576"/>
                <a:gd name="connsiteX1886" fmla="*/ 136918 w 1926380"/>
                <a:gd name="connsiteY1886" fmla="*/ 439826 h 745576"/>
                <a:gd name="connsiteX1887" fmla="*/ 139610 w 1926380"/>
                <a:gd name="connsiteY1887" fmla="*/ 439735 h 745576"/>
                <a:gd name="connsiteX1888" fmla="*/ 142182 w 1926380"/>
                <a:gd name="connsiteY1888" fmla="*/ 440884 h 745576"/>
                <a:gd name="connsiteX1889" fmla="*/ 143059 w 1926380"/>
                <a:gd name="connsiteY1889" fmla="*/ 440491 h 745576"/>
                <a:gd name="connsiteX1890" fmla="*/ 146447 w 1926380"/>
                <a:gd name="connsiteY1890" fmla="*/ 440824 h 745576"/>
                <a:gd name="connsiteX1891" fmla="*/ 148383 w 1926380"/>
                <a:gd name="connsiteY1891" fmla="*/ 440007 h 745576"/>
                <a:gd name="connsiteX1892" fmla="*/ 149079 w 1926380"/>
                <a:gd name="connsiteY1892" fmla="*/ 440884 h 745576"/>
                <a:gd name="connsiteX1893" fmla="*/ 149775 w 1926380"/>
                <a:gd name="connsiteY1893" fmla="*/ 440249 h 745576"/>
                <a:gd name="connsiteX1894" fmla="*/ 150198 w 1926380"/>
                <a:gd name="connsiteY1894" fmla="*/ 440158 h 745576"/>
                <a:gd name="connsiteX1895" fmla="*/ 151166 w 1926380"/>
                <a:gd name="connsiteY1895" fmla="*/ 440854 h 745576"/>
                <a:gd name="connsiteX1896" fmla="*/ 151166 w 1926380"/>
                <a:gd name="connsiteY1896" fmla="*/ 441641 h 745576"/>
                <a:gd name="connsiteX1897" fmla="*/ 148292 w 1926380"/>
                <a:gd name="connsiteY1897" fmla="*/ 443153 h 745576"/>
                <a:gd name="connsiteX1898" fmla="*/ 145903 w 1926380"/>
                <a:gd name="connsiteY1898" fmla="*/ 445452 h 745576"/>
                <a:gd name="connsiteX1899" fmla="*/ 143573 w 1926380"/>
                <a:gd name="connsiteY1899" fmla="*/ 446844 h 745576"/>
                <a:gd name="connsiteX1900" fmla="*/ 140790 w 1926380"/>
                <a:gd name="connsiteY1900" fmla="*/ 445634 h 745576"/>
                <a:gd name="connsiteX1901" fmla="*/ 140246 w 1926380"/>
                <a:gd name="connsiteY1901" fmla="*/ 446118 h 745576"/>
                <a:gd name="connsiteX1902" fmla="*/ 140064 w 1926380"/>
                <a:gd name="connsiteY1902" fmla="*/ 445634 h 745576"/>
                <a:gd name="connsiteX1903" fmla="*/ 138884 w 1926380"/>
                <a:gd name="connsiteY1903" fmla="*/ 446209 h 745576"/>
                <a:gd name="connsiteX1904" fmla="*/ 137916 w 1926380"/>
                <a:gd name="connsiteY1904" fmla="*/ 446057 h 745576"/>
                <a:gd name="connsiteX1905" fmla="*/ 136978 w 1926380"/>
                <a:gd name="connsiteY1905" fmla="*/ 445694 h 745576"/>
                <a:gd name="connsiteX1906" fmla="*/ 135950 w 1926380"/>
                <a:gd name="connsiteY1906" fmla="*/ 445634 h 745576"/>
                <a:gd name="connsiteX1907" fmla="*/ 135375 w 1926380"/>
                <a:gd name="connsiteY1907" fmla="*/ 445967 h 745576"/>
                <a:gd name="connsiteX1908" fmla="*/ 134044 w 1926380"/>
                <a:gd name="connsiteY1908" fmla="*/ 447026 h 745576"/>
                <a:gd name="connsiteX1909" fmla="*/ 133590 w 1926380"/>
                <a:gd name="connsiteY1909" fmla="*/ 447237 h 745576"/>
                <a:gd name="connsiteX1910" fmla="*/ 131987 w 1926380"/>
                <a:gd name="connsiteY1910" fmla="*/ 447540 h 745576"/>
                <a:gd name="connsiteX1911" fmla="*/ 127026 w 1926380"/>
                <a:gd name="connsiteY1911" fmla="*/ 449718 h 745576"/>
                <a:gd name="connsiteX1912" fmla="*/ 119070 w 1926380"/>
                <a:gd name="connsiteY1912" fmla="*/ 450444 h 745576"/>
                <a:gd name="connsiteX1913" fmla="*/ 117284 w 1926380"/>
                <a:gd name="connsiteY1913" fmla="*/ 450958 h 745576"/>
                <a:gd name="connsiteX1914" fmla="*/ 115469 w 1926380"/>
                <a:gd name="connsiteY1914" fmla="*/ 451805 h 745576"/>
                <a:gd name="connsiteX1915" fmla="*/ 113987 w 1926380"/>
                <a:gd name="connsiteY1915" fmla="*/ 451987 h 745576"/>
                <a:gd name="connsiteX1916" fmla="*/ 113201 w 1926380"/>
                <a:gd name="connsiteY1916" fmla="*/ 450474 h 745576"/>
                <a:gd name="connsiteX1917" fmla="*/ 112747 w 1926380"/>
                <a:gd name="connsiteY1917" fmla="*/ 450746 h 745576"/>
                <a:gd name="connsiteX1918" fmla="*/ 111598 w 1926380"/>
                <a:gd name="connsiteY1918" fmla="*/ 451109 h 745576"/>
                <a:gd name="connsiteX1919" fmla="*/ 111113 w 1926380"/>
                <a:gd name="connsiteY1919" fmla="*/ 451351 h 745576"/>
                <a:gd name="connsiteX1920" fmla="*/ 109238 w 1926380"/>
                <a:gd name="connsiteY1920" fmla="*/ 446572 h 745576"/>
                <a:gd name="connsiteX1921" fmla="*/ 108088 w 1926380"/>
                <a:gd name="connsiteY1921" fmla="*/ 444424 h 745576"/>
                <a:gd name="connsiteX1922" fmla="*/ 106939 w 1926380"/>
                <a:gd name="connsiteY1922" fmla="*/ 443244 h 745576"/>
                <a:gd name="connsiteX1923" fmla="*/ 106304 w 1926380"/>
                <a:gd name="connsiteY1923" fmla="*/ 443244 h 745576"/>
                <a:gd name="connsiteX1924" fmla="*/ 106304 w 1926380"/>
                <a:gd name="connsiteY1924" fmla="*/ 444031 h 745576"/>
                <a:gd name="connsiteX1925" fmla="*/ 104640 w 1926380"/>
                <a:gd name="connsiteY1925" fmla="*/ 443547 h 745576"/>
                <a:gd name="connsiteX1926" fmla="*/ 103097 w 1926380"/>
                <a:gd name="connsiteY1926" fmla="*/ 444787 h 745576"/>
                <a:gd name="connsiteX1927" fmla="*/ 101977 w 1926380"/>
                <a:gd name="connsiteY1927" fmla="*/ 446844 h 745576"/>
                <a:gd name="connsiteX1928" fmla="*/ 101463 w 1926380"/>
                <a:gd name="connsiteY1928" fmla="*/ 448871 h 745576"/>
                <a:gd name="connsiteX1929" fmla="*/ 102159 w 1926380"/>
                <a:gd name="connsiteY1929" fmla="*/ 453741 h 745576"/>
                <a:gd name="connsiteX1930" fmla="*/ 103762 w 1926380"/>
                <a:gd name="connsiteY1930" fmla="*/ 454830 h 745576"/>
                <a:gd name="connsiteX1931" fmla="*/ 104428 w 1926380"/>
                <a:gd name="connsiteY1931" fmla="*/ 455828 h 745576"/>
                <a:gd name="connsiteX1932" fmla="*/ 103883 w 1926380"/>
                <a:gd name="connsiteY1932" fmla="*/ 457311 h 745576"/>
                <a:gd name="connsiteX1933" fmla="*/ 101736 w 1926380"/>
                <a:gd name="connsiteY1933" fmla="*/ 458007 h 745576"/>
                <a:gd name="connsiteX1934" fmla="*/ 100132 w 1926380"/>
                <a:gd name="connsiteY1934" fmla="*/ 455465 h 745576"/>
                <a:gd name="connsiteX1935" fmla="*/ 98377 w 1926380"/>
                <a:gd name="connsiteY1935" fmla="*/ 450081 h 745576"/>
                <a:gd name="connsiteX1936" fmla="*/ 97228 w 1926380"/>
                <a:gd name="connsiteY1936" fmla="*/ 448266 h 745576"/>
                <a:gd name="connsiteX1937" fmla="*/ 96593 w 1926380"/>
                <a:gd name="connsiteY1937" fmla="*/ 446481 h 745576"/>
                <a:gd name="connsiteX1938" fmla="*/ 95564 w 1926380"/>
                <a:gd name="connsiteY1938" fmla="*/ 445180 h 745576"/>
                <a:gd name="connsiteX1939" fmla="*/ 93174 w 1926380"/>
                <a:gd name="connsiteY1939" fmla="*/ 444877 h 745576"/>
                <a:gd name="connsiteX1940" fmla="*/ 93991 w 1926380"/>
                <a:gd name="connsiteY1940" fmla="*/ 443184 h 745576"/>
                <a:gd name="connsiteX1941" fmla="*/ 94868 w 1926380"/>
                <a:gd name="connsiteY1941" fmla="*/ 441822 h 745576"/>
                <a:gd name="connsiteX1942" fmla="*/ 94868 w 1926380"/>
                <a:gd name="connsiteY1942" fmla="*/ 440763 h 745576"/>
                <a:gd name="connsiteX1943" fmla="*/ 93174 w 1926380"/>
                <a:gd name="connsiteY1943" fmla="*/ 439946 h 745576"/>
                <a:gd name="connsiteX1944" fmla="*/ 94293 w 1926380"/>
                <a:gd name="connsiteY1944" fmla="*/ 439311 h 745576"/>
                <a:gd name="connsiteX1945" fmla="*/ 95443 w 1926380"/>
                <a:gd name="connsiteY1945" fmla="*/ 439069 h 745576"/>
                <a:gd name="connsiteX1946" fmla="*/ 96502 w 1926380"/>
                <a:gd name="connsiteY1946" fmla="*/ 439281 h 745576"/>
                <a:gd name="connsiteX1947" fmla="*/ 97288 w 1926380"/>
                <a:gd name="connsiteY1947" fmla="*/ 439946 h 745576"/>
                <a:gd name="connsiteX1948" fmla="*/ 97682 w 1926380"/>
                <a:gd name="connsiteY1948" fmla="*/ 439826 h 745576"/>
                <a:gd name="connsiteX1949" fmla="*/ 98045 w 1926380"/>
                <a:gd name="connsiteY1949" fmla="*/ 439644 h 745576"/>
                <a:gd name="connsiteX1950" fmla="*/ 98710 w 1926380"/>
                <a:gd name="connsiteY1950" fmla="*/ 439160 h 745576"/>
                <a:gd name="connsiteX1951" fmla="*/ 98166 w 1926380"/>
                <a:gd name="connsiteY1951" fmla="*/ 437980 h 745576"/>
                <a:gd name="connsiteX1952" fmla="*/ 98105 w 1926380"/>
                <a:gd name="connsiteY1952" fmla="*/ 436861 h 745576"/>
                <a:gd name="connsiteX1953" fmla="*/ 98105 w 1926380"/>
                <a:gd name="connsiteY1953" fmla="*/ 435712 h 745576"/>
                <a:gd name="connsiteX1954" fmla="*/ 97954 w 1926380"/>
                <a:gd name="connsiteY1954" fmla="*/ 434411 h 745576"/>
                <a:gd name="connsiteX1955" fmla="*/ 97409 w 1926380"/>
                <a:gd name="connsiteY1955" fmla="*/ 433080 h 745576"/>
                <a:gd name="connsiteX1956" fmla="*/ 96835 w 1926380"/>
                <a:gd name="connsiteY1956" fmla="*/ 432444 h 745576"/>
                <a:gd name="connsiteX1957" fmla="*/ 96169 w 1926380"/>
                <a:gd name="connsiteY1957" fmla="*/ 431960 h 745576"/>
                <a:gd name="connsiteX1958" fmla="*/ 95292 w 1926380"/>
                <a:gd name="connsiteY1958" fmla="*/ 431174 h 745576"/>
                <a:gd name="connsiteX1959" fmla="*/ 92751 w 1926380"/>
                <a:gd name="connsiteY1959" fmla="*/ 428149 h 745576"/>
                <a:gd name="connsiteX1960" fmla="*/ 90422 w 1926380"/>
                <a:gd name="connsiteY1960" fmla="*/ 424730 h 745576"/>
                <a:gd name="connsiteX1961" fmla="*/ 89907 w 1926380"/>
                <a:gd name="connsiteY1961" fmla="*/ 422915 h 745576"/>
                <a:gd name="connsiteX1962" fmla="*/ 88273 w 1926380"/>
                <a:gd name="connsiteY1962" fmla="*/ 420767 h 745576"/>
                <a:gd name="connsiteX1963" fmla="*/ 84885 w 1926380"/>
                <a:gd name="connsiteY1963" fmla="*/ 417349 h 745576"/>
                <a:gd name="connsiteX1964" fmla="*/ 83070 w 1926380"/>
                <a:gd name="connsiteY1964" fmla="*/ 415957 h 745576"/>
                <a:gd name="connsiteX1965" fmla="*/ 80862 w 1926380"/>
                <a:gd name="connsiteY1965" fmla="*/ 414959 h 745576"/>
                <a:gd name="connsiteX1966" fmla="*/ 78351 w 1926380"/>
                <a:gd name="connsiteY1966" fmla="*/ 414384 h 745576"/>
                <a:gd name="connsiteX1967" fmla="*/ 75689 w 1926380"/>
                <a:gd name="connsiteY1967" fmla="*/ 414203 h 745576"/>
                <a:gd name="connsiteX1968" fmla="*/ 74569 w 1926380"/>
                <a:gd name="connsiteY1968" fmla="*/ 414445 h 745576"/>
                <a:gd name="connsiteX1969" fmla="*/ 72361 w 1926380"/>
                <a:gd name="connsiteY1969" fmla="*/ 415503 h 745576"/>
                <a:gd name="connsiteX1970" fmla="*/ 70849 w 1926380"/>
                <a:gd name="connsiteY1970" fmla="*/ 415745 h 745576"/>
                <a:gd name="connsiteX1971" fmla="*/ 69881 w 1926380"/>
                <a:gd name="connsiteY1971" fmla="*/ 416290 h 745576"/>
                <a:gd name="connsiteX1972" fmla="*/ 69366 w 1926380"/>
                <a:gd name="connsiteY1972" fmla="*/ 417651 h 745576"/>
                <a:gd name="connsiteX1973" fmla="*/ 69155 w 1926380"/>
                <a:gd name="connsiteY1973" fmla="*/ 419376 h 745576"/>
                <a:gd name="connsiteX1974" fmla="*/ 69155 w 1926380"/>
                <a:gd name="connsiteY1974" fmla="*/ 421039 h 745576"/>
                <a:gd name="connsiteX1975" fmla="*/ 70274 w 1926380"/>
                <a:gd name="connsiteY1975" fmla="*/ 425487 h 745576"/>
                <a:gd name="connsiteX1976" fmla="*/ 70183 w 1926380"/>
                <a:gd name="connsiteY1976" fmla="*/ 426273 h 745576"/>
                <a:gd name="connsiteX1977" fmla="*/ 70335 w 1926380"/>
                <a:gd name="connsiteY1977" fmla="*/ 426969 h 745576"/>
                <a:gd name="connsiteX1978" fmla="*/ 71575 w 1926380"/>
                <a:gd name="connsiteY1978" fmla="*/ 430538 h 745576"/>
                <a:gd name="connsiteX1979" fmla="*/ 71847 w 1926380"/>
                <a:gd name="connsiteY1979" fmla="*/ 431960 h 745576"/>
                <a:gd name="connsiteX1980" fmla="*/ 71212 w 1926380"/>
                <a:gd name="connsiteY1980" fmla="*/ 431144 h 745576"/>
                <a:gd name="connsiteX1981" fmla="*/ 74237 w 1926380"/>
                <a:gd name="connsiteY1981" fmla="*/ 435349 h 745576"/>
                <a:gd name="connsiteX1982" fmla="*/ 74630 w 1926380"/>
                <a:gd name="connsiteY1982" fmla="*/ 436770 h 745576"/>
                <a:gd name="connsiteX1983" fmla="*/ 73965 w 1926380"/>
                <a:gd name="connsiteY1983" fmla="*/ 438979 h 745576"/>
                <a:gd name="connsiteX1984" fmla="*/ 73057 w 1926380"/>
                <a:gd name="connsiteY1984" fmla="*/ 440189 h 745576"/>
                <a:gd name="connsiteX1985" fmla="*/ 73057 w 1926380"/>
                <a:gd name="connsiteY1985" fmla="*/ 440673 h 745576"/>
                <a:gd name="connsiteX1986" fmla="*/ 74963 w 1926380"/>
                <a:gd name="connsiteY1986" fmla="*/ 440794 h 745576"/>
                <a:gd name="connsiteX1987" fmla="*/ 75659 w 1926380"/>
                <a:gd name="connsiteY1987" fmla="*/ 440461 h 745576"/>
                <a:gd name="connsiteX1988" fmla="*/ 76445 w 1926380"/>
                <a:gd name="connsiteY1988" fmla="*/ 438888 h 745576"/>
                <a:gd name="connsiteX1989" fmla="*/ 77353 w 1926380"/>
                <a:gd name="connsiteY1989" fmla="*/ 438374 h 745576"/>
                <a:gd name="connsiteX1990" fmla="*/ 78321 w 1926380"/>
                <a:gd name="connsiteY1990" fmla="*/ 438494 h 745576"/>
                <a:gd name="connsiteX1991" fmla="*/ 79622 w 1926380"/>
                <a:gd name="connsiteY1991" fmla="*/ 439644 h 745576"/>
                <a:gd name="connsiteX1992" fmla="*/ 81679 w 1926380"/>
                <a:gd name="connsiteY1992" fmla="*/ 440340 h 745576"/>
                <a:gd name="connsiteX1993" fmla="*/ 84159 w 1926380"/>
                <a:gd name="connsiteY1993" fmla="*/ 442427 h 745576"/>
                <a:gd name="connsiteX1994" fmla="*/ 85581 w 1926380"/>
                <a:gd name="connsiteY1994" fmla="*/ 443214 h 745576"/>
                <a:gd name="connsiteX1995" fmla="*/ 84068 w 1926380"/>
                <a:gd name="connsiteY1995" fmla="*/ 446239 h 745576"/>
                <a:gd name="connsiteX1996" fmla="*/ 83161 w 1926380"/>
                <a:gd name="connsiteY1996" fmla="*/ 446360 h 745576"/>
                <a:gd name="connsiteX1997" fmla="*/ 81951 w 1926380"/>
                <a:gd name="connsiteY1997" fmla="*/ 445120 h 745576"/>
                <a:gd name="connsiteX1998" fmla="*/ 79380 w 1926380"/>
                <a:gd name="connsiteY1998" fmla="*/ 444000 h 745576"/>
                <a:gd name="connsiteX1999" fmla="*/ 79380 w 1926380"/>
                <a:gd name="connsiteY1999" fmla="*/ 444877 h 745576"/>
                <a:gd name="connsiteX2000" fmla="*/ 81043 w 1926380"/>
                <a:gd name="connsiteY2000" fmla="*/ 446178 h 745576"/>
                <a:gd name="connsiteX2001" fmla="*/ 81951 w 1926380"/>
                <a:gd name="connsiteY2001" fmla="*/ 448629 h 745576"/>
                <a:gd name="connsiteX2002" fmla="*/ 81830 w 1926380"/>
                <a:gd name="connsiteY2002" fmla="*/ 450988 h 745576"/>
                <a:gd name="connsiteX2003" fmla="*/ 80438 w 1926380"/>
                <a:gd name="connsiteY2003" fmla="*/ 452047 h 745576"/>
                <a:gd name="connsiteX2004" fmla="*/ 79682 w 1926380"/>
                <a:gd name="connsiteY2004" fmla="*/ 452410 h 745576"/>
                <a:gd name="connsiteX2005" fmla="*/ 77111 w 1926380"/>
                <a:gd name="connsiteY2005" fmla="*/ 454074 h 745576"/>
                <a:gd name="connsiteX2006" fmla="*/ 75931 w 1926380"/>
                <a:gd name="connsiteY2006" fmla="*/ 454558 h 745576"/>
                <a:gd name="connsiteX2007" fmla="*/ 74691 w 1926380"/>
                <a:gd name="connsiteY2007" fmla="*/ 454709 h 745576"/>
                <a:gd name="connsiteX2008" fmla="*/ 74086 w 1926380"/>
                <a:gd name="connsiteY2008" fmla="*/ 454709 h 745576"/>
                <a:gd name="connsiteX2009" fmla="*/ 72482 w 1926380"/>
                <a:gd name="connsiteY2009" fmla="*/ 453741 h 745576"/>
                <a:gd name="connsiteX2010" fmla="*/ 72482 w 1926380"/>
                <a:gd name="connsiteY2010" fmla="*/ 454558 h 745576"/>
                <a:gd name="connsiteX2011" fmla="*/ 73360 w 1926380"/>
                <a:gd name="connsiteY2011" fmla="*/ 455950 h 745576"/>
                <a:gd name="connsiteX2012" fmla="*/ 72664 w 1926380"/>
                <a:gd name="connsiteY2012" fmla="*/ 456706 h 745576"/>
                <a:gd name="connsiteX2013" fmla="*/ 71212 w 1926380"/>
                <a:gd name="connsiteY2013" fmla="*/ 456978 h 745576"/>
                <a:gd name="connsiteX2014" fmla="*/ 69760 w 1926380"/>
                <a:gd name="connsiteY2014" fmla="*/ 456888 h 745576"/>
                <a:gd name="connsiteX2015" fmla="*/ 69124 w 1926380"/>
                <a:gd name="connsiteY2015" fmla="*/ 456525 h 745576"/>
                <a:gd name="connsiteX2016" fmla="*/ 68973 w 1926380"/>
                <a:gd name="connsiteY2016" fmla="*/ 455980 h 745576"/>
                <a:gd name="connsiteX2017" fmla="*/ 68792 w 1926380"/>
                <a:gd name="connsiteY2017" fmla="*/ 455496 h 745576"/>
                <a:gd name="connsiteX2018" fmla="*/ 68035 w 1926380"/>
                <a:gd name="connsiteY2018" fmla="*/ 455284 h 745576"/>
                <a:gd name="connsiteX2019" fmla="*/ 67219 w 1926380"/>
                <a:gd name="connsiteY2019" fmla="*/ 455284 h 745576"/>
                <a:gd name="connsiteX2020" fmla="*/ 66613 w 1926380"/>
                <a:gd name="connsiteY2020" fmla="*/ 455133 h 745576"/>
                <a:gd name="connsiteX2021" fmla="*/ 66099 w 1926380"/>
                <a:gd name="connsiteY2021" fmla="*/ 454921 h 745576"/>
                <a:gd name="connsiteX2022" fmla="*/ 65585 w 1926380"/>
                <a:gd name="connsiteY2022" fmla="*/ 454558 h 745576"/>
                <a:gd name="connsiteX2023" fmla="*/ 66432 w 1926380"/>
                <a:gd name="connsiteY2023" fmla="*/ 453530 h 745576"/>
                <a:gd name="connsiteX2024" fmla="*/ 66734 w 1926380"/>
                <a:gd name="connsiteY2024" fmla="*/ 452410 h 745576"/>
                <a:gd name="connsiteX2025" fmla="*/ 66674 w 1926380"/>
                <a:gd name="connsiteY2025" fmla="*/ 451170 h 745576"/>
                <a:gd name="connsiteX2026" fmla="*/ 66250 w 1926380"/>
                <a:gd name="connsiteY2026" fmla="*/ 449748 h 745576"/>
                <a:gd name="connsiteX2027" fmla="*/ 65706 w 1926380"/>
                <a:gd name="connsiteY2027" fmla="*/ 450232 h 745576"/>
                <a:gd name="connsiteX2028" fmla="*/ 65313 w 1926380"/>
                <a:gd name="connsiteY2028" fmla="*/ 450504 h 745576"/>
                <a:gd name="connsiteX2029" fmla="*/ 65071 w 1926380"/>
                <a:gd name="connsiteY2029" fmla="*/ 450988 h 745576"/>
                <a:gd name="connsiteX2030" fmla="*/ 64889 w 1926380"/>
                <a:gd name="connsiteY2030" fmla="*/ 452077 h 745576"/>
                <a:gd name="connsiteX2031" fmla="*/ 63528 w 1926380"/>
                <a:gd name="connsiteY2031" fmla="*/ 450686 h 745576"/>
                <a:gd name="connsiteX2032" fmla="*/ 62711 w 1926380"/>
                <a:gd name="connsiteY2032" fmla="*/ 451957 h 745576"/>
                <a:gd name="connsiteX2033" fmla="*/ 62983 w 1926380"/>
                <a:gd name="connsiteY2033" fmla="*/ 454104 h 745576"/>
                <a:gd name="connsiteX2034" fmla="*/ 64859 w 1926380"/>
                <a:gd name="connsiteY2034" fmla="*/ 455284 h 745576"/>
                <a:gd name="connsiteX2035" fmla="*/ 64859 w 1926380"/>
                <a:gd name="connsiteY2035" fmla="*/ 456162 h 745576"/>
                <a:gd name="connsiteX2036" fmla="*/ 62651 w 1926380"/>
                <a:gd name="connsiteY2036" fmla="*/ 456676 h 745576"/>
                <a:gd name="connsiteX2037" fmla="*/ 61713 w 1926380"/>
                <a:gd name="connsiteY2037" fmla="*/ 458824 h 745576"/>
                <a:gd name="connsiteX2038" fmla="*/ 60624 w 1926380"/>
                <a:gd name="connsiteY2038" fmla="*/ 460457 h 745576"/>
                <a:gd name="connsiteX2039" fmla="*/ 57931 w 1926380"/>
                <a:gd name="connsiteY2039" fmla="*/ 459398 h 745576"/>
                <a:gd name="connsiteX2040" fmla="*/ 57357 w 1926380"/>
                <a:gd name="connsiteY2040" fmla="*/ 461244 h 745576"/>
                <a:gd name="connsiteX2041" fmla="*/ 57508 w 1926380"/>
                <a:gd name="connsiteY2041" fmla="*/ 461970 h 745576"/>
                <a:gd name="connsiteX2042" fmla="*/ 62741 w 1926380"/>
                <a:gd name="connsiteY2042" fmla="*/ 463482 h 745576"/>
                <a:gd name="connsiteX2043" fmla="*/ 63679 w 1926380"/>
                <a:gd name="connsiteY2043" fmla="*/ 464027 h 745576"/>
                <a:gd name="connsiteX2044" fmla="*/ 66946 w 1926380"/>
                <a:gd name="connsiteY2044" fmla="*/ 466538 h 745576"/>
                <a:gd name="connsiteX2045" fmla="*/ 69487 w 1926380"/>
                <a:gd name="connsiteY2045" fmla="*/ 467354 h 745576"/>
                <a:gd name="connsiteX2046" fmla="*/ 71605 w 1926380"/>
                <a:gd name="connsiteY2046" fmla="*/ 466598 h 745576"/>
                <a:gd name="connsiteX2047" fmla="*/ 72422 w 1926380"/>
                <a:gd name="connsiteY2047" fmla="*/ 463422 h 745576"/>
                <a:gd name="connsiteX2048" fmla="*/ 73117 w 1926380"/>
                <a:gd name="connsiteY2048" fmla="*/ 463422 h 745576"/>
                <a:gd name="connsiteX2049" fmla="*/ 73602 w 1926380"/>
                <a:gd name="connsiteY2049" fmla="*/ 464601 h 745576"/>
                <a:gd name="connsiteX2050" fmla="*/ 73541 w 1926380"/>
                <a:gd name="connsiteY2050" fmla="*/ 465630 h 745576"/>
                <a:gd name="connsiteX2051" fmla="*/ 73269 w 1926380"/>
                <a:gd name="connsiteY2051" fmla="*/ 466689 h 745576"/>
                <a:gd name="connsiteX2052" fmla="*/ 73087 w 1926380"/>
                <a:gd name="connsiteY2052" fmla="*/ 467899 h 745576"/>
                <a:gd name="connsiteX2053" fmla="*/ 75296 w 1926380"/>
                <a:gd name="connsiteY2053" fmla="*/ 469956 h 745576"/>
                <a:gd name="connsiteX2054" fmla="*/ 75840 w 1926380"/>
                <a:gd name="connsiteY2054" fmla="*/ 470682 h 745576"/>
                <a:gd name="connsiteX2055" fmla="*/ 76506 w 1926380"/>
                <a:gd name="connsiteY2055" fmla="*/ 470682 h 745576"/>
                <a:gd name="connsiteX2056" fmla="*/ 76294 w 1926380"/>
                <a:gd name="connsiteY2056" fmla="*/ 470138 h 745576"/>
                <a:gd name="connsiteX2057" fmla="*/ 75840 w 1926380"/>
                <a:gd name="connsiteY2057" fmla="*/ 468262 h 745576"/>
                <a:gd name="connsiteX2058" fmla="*/ 78351 w 1926380"/>
                <a:gd name="connsiteY2058" fmla="*/ 469260 h 745576"/>
                <a:gd name="connsiteX2059" fmla="*/ 80801 w 1926380"/>
                <a:gd name="connsiteY2059" fmla="*/ 471771 h 745576"/>
                <a:gd name="connsiteX2060" fmla="*/ 83342 w 1926380"/>
                <a:gd name="connsiteY2060" fmla="*/ 473707 h 745576"/>
                <a:gd name="connsiteX2061" fmla="*/ 86126 w 1926380"/>
                <a:gd name="connsiteY2061" fmla="*/ 473042 h 745576"/>
                <a:gd name="connsiteX2062" fmla="*/ 85732 w 1926380"/>
                <a:gd name="connsiteY2062" fmla="*/ 474675 h 745576"/>
                <a:gd name="connsiteX2063" fmla="*/ 85914 w 1926380"/>
                <a:gd name="connsiteY2063" fmla="*/ 475855 h 745576"/>
                <a:gd name="connsiteX2064" fmla="*/ 86549 w 1926380"/>
                <a:gd name="connsiteY2064" fmla="*/ 476823 h 745576"/>
                <a:gd name="connsiteX2065" fmla="*/ 88516 w 1926380"/>
                <a:gd name="connsiteY2065" fmla="*/ 478790 h 745576"/>
                <a:gd name="connsiteX2066" fmla="*/ 89877 w 1926380"/>
                <a:gd name="connsiteY2066" fmla="*/ 479757 h 745576"/>
                <a:gd name="connsiteX2067" fmla="*/ 90905 w 1926380"/>
                <a:gd name="connsiteY2067" fmla="*/ 479576 h 745576"/>
                <a:gd name="connsiteX2068" fmla="*/ 90905 w 1926380"/>
                <a:gd name="connsiteY2068" fmla="*/ 477095 h 745576"/>
                <a:gd name="connsiteX2069" fmla="*/ 91874 w 1926380"/>
                <a:gd name="connsiteY2069" fmla="*/ 478547 h 745576"/>
                <a:gd name="connsiteX2070" fmla="*/ 93053 w 1926380"/>
                <a:gd name="connsiteY2070" fmla="*/ 481391 h 745576"/>
                <a:gd name="connsiteX2071" fmla="*/ 93689 w 1926380"/>
                <a:gd name="connsiteY2071" fmla="*/ 481905 h 745576"/>
                <a:gd name="connsiteX2072" fmla="*/ 94899 w 1926380"/>
                <a:gd name="connsiteY2072" fmla="*/ 481391 h 745576"/>
                <a:gd name="connsiteX2073" fmla="*/ 95413 w 1926380"/>
                <a:gd name="connsiteY2073" fmla="*/ 480272 h 745576"/>
                <a:gd name="connsiteX2074" fmla="*/ 95413 w 1926380"/>
                <a:gd name="connsiteY2074" fmla="*/ 478759 h 745576"/>
                <a:gd name="connsiteX2075" fmla="*/ 95110 w 1926380"/>
                <a:gd name="connsiteY2075" fmla="*/ 477095 h 745576"/>
                <a:gd name="connsiteX2076" fmla="*/ 95745 w 1926380"/>
                <a:gd name="connsiteY2076" fmla="*/ 477095 h 745576"/>
                <a:gd name="connsiteX2077" fmla="*/ 95988 w 1926380"/>
                <a:gd name="connsiteY2077" fmla="*/ 477398 h 745576"/>
                <a:gd name="connsiteX2078" fmla="*/ 95988 w 1926380"/>
                <a:gd name="connsiteY2078" fmla="*/ 477489 h 745576"/>
                <a:gd name="connsiteX2079" fmla="*/ 96502 w 1926380"/>
                <a:gd name="connsiteY2079" fmla="*/ 477821 h 745576"/>
                <a:gd name="connsiteX2080" fmla="*/ 97803 w 1926380"/>
                <a:gd name="connsiteY2080" fmla="*/ 470198 h 745576"/>
                <a:gd name="connsiteX2081" fmla="*/ 98801 w 1926380"/>
                <a:gd name="connsiteY2081" fmla="*/ 469835 h 745576"/>
                <a:gd name="connsiteX2082" fmla="*/ 105093 w 1926380"/>
                <a:gd name="connsiteY2082" fmla="*/ 469835 h 745576"/>
                <a:gd name="connsiteX2083" fmla="*/ 107030 w 1926380"/>
                <a:gd name="connsiteY2083" fmla="*/ 469412 h 745576"/>
                <a:gd name="connsiteX2084" fmla="*/ 108784 w 1926380"/>
                <a:gd name="connsiteY2084" fmla="*/ 468776 h 745576"/>
                <a:gd name="connsiteX2085" fmla="*/ 110327 w 1926380"/>
                <a:gd name="connsiteY2085" fmla="*/ 468655 h 745576"/>
                <a:gd name="connsiteX2086" fmla="*/ 111688 w 1926380"/>
                <a:gd name="connsiteY2086" fmla="*/ 469805 h 745576"/>
                <a:gd name="connsiteX2087" fmla="*/ 111476 w 1926380"/>
                <a:gd name="connsiteY2087" fmla="*/ 473253 h 745576"/>
                <a:gd name="connsiteX2088" fmla="*/ 111930 w 1926380"/>
                <a:gd name="connsiteY2088" fmla="*/ 474675 h 745576"/>
                <a:gd name="connsiteX2089" fmla="*/ 113685 w 1926380"/>
                <a:gd name="connsiteY2089" fmla="*/ 473859 h 745576"/>
                <a:gd name="connsiteX2090" fmla="*/ 114623 w 1926380"/>
                <a:gd name="connsiteY2090" fmla="*/ 475008 h 745576"/>
                <a:gd name="connsiteX2091" fmla="*/ 116831 w 1926380"/>
                <a:gd name="connsiteY2091" fmla="*/ 477035 h 745576"/>
                <a:gd name="connsiteX2092" fmla="*/ 117859 w 1926380"/>
                <a:gd name="connsiteY2092" fmla="*/ 478638 h 745576"/>
                <a:gd name="connsiteX2093" fmla="*/ 118495 w 1926380"/>
                <a:gd name="connsiteY2093" fmla="*/ 480181 h 745576"/>
                <a:gd name="connsiteX2094" fmla="*/ 118979 w 1926380"/>
                <a:gd name="connsiteY2094" fmla="*/ 481905 h 745576"/>
                <a:gd name="connsiteX2095" fmla="*/ 119070 w 1926380"/>
                <a:gd name="connsiteY2095" fmla="*/ 483630 h 745576"/>
                <a:gd name="connsiteX2096" fmla="*/ 118525 w 1926380"/>
                <a:gd name="connsiteY2096" fmla="*/ 485112 h 745576"/>
                <a:gd name="connsiteX2097" fmla="*/ 120824 w 1926380"/>
                <a:gd name="connsiteY2097" fmla="*/ 489317 h 745576"/>
                <a:gd name="connsiteX2098" fmla="*/ 121641 w 1926380"/>
                <a:gd name="connsiteY2098" fmla="*/ 489922 h 745576"/>
                <a:gd name="connsiteX2099" fmla="*/ 122488 w 1926380"/>
                <a:gd name="connsiteY2099" fmla="*/ 489529 h 745576"/>
                <a:gd name="connsiteX2100" fmla="*/ 122881 w 1926380"/>
                <a:gd name="connsiteY2100" fmla="*/ 488682 h 745576"/>
                <a:gd name="connsiteX2101" fmla="*/ 123184 w 1926380"/>
                <a:gd name="connsiteY2101" fmla="*/ 487835 h 745576"/>
                <a:gd name="connsiteX2102" fmla="*/ 123668 w 1926380"/>
                <a:gd name="connsiteY2102" fmla="*/ 487441 h 745576"/>
                <a:gd name="connsiteX2103" fmla="*/ 124333 w 1926380"/>
                <a:gd name="connsiteY2103" fmla="*/ 487381 h 745576"/>
                <a:gd name="connsiteX2104" fmla="*/ 126088 w 1926380"/>
                <a:gd name="connsiteY2104" fmla="*/ 486715 h 745576"/>
                <a:gd name="connsiteX2105" fmla="*/ 129264 w 1926380"/>
                <a:gd name="connsiteY2105" fmla="*/ 486140 h 745576"/>
                <a:gd name="connsiteX2106" fmla="*/ 131896 w 1926380"/>
                <a:gd name="connsiteY2106" fmla="*/ 486383 h 745576"/>
                <a:gd name="connsiteX2107" fmla="*/ 137069 w 1926380"/>
                <a:gd name="connsiteY2107" fmla="*/ 488258 h 745576"/>
                <a:gd name="connsiteX2108" fmla="*/ 139973 w 1926380"/>
                <a:gd name="connsiteY2108" fmla="*/ 488682 h 745576"/>
                <a:gd name="connsiteX2109" fmla="*/ 140850 w 1926380"/>
                <a:gd name="connsiteY2109" fmla="*/ 489287 h 745576"/>
                <a:gd name="connsiteX2110" fmla="*/ 141153 w 1926380"/>
                <a:gd name="connsiteY2110" fmla="*/ 491102 h 745576"/>
                <a:gd name="connsiteX2111" fmla="*/ 141365 w 1926380"/>
                <a:gd name="connsiteY2111" fmla="*/ 491707 h 745576"/>
                <a:gd name="connsiteX2112" fmla="*/ 141939 w 1926380"/>
                <a:gd name="connsiteY2112" fmla="*/ 492070 h 745576"/>
                <a:gd name="connsiteX2113" fmla="*/ 142726 w 1926380"/>
                <a:gd name="connsiteY2113" fmla="*/ 492251 h 745576"/>
                <a:gd name="connsiteX2114" fmla="*/ 143543 w 1926380"/>
                <a:gd name="connsiteY2114" fmla="*/ 492251 h 745576"/>
                <a:gd name="connsiteX2115" fmla="*/ 144541 w 1926380"/>
                <a:gd name="connsiteY2115" fmla="*/ 492584 h 745576"/>
                <a:gd name="connsiteX2116" fmla="*/ 145116 w 1926380"/>
                <a:gd name="connsiteY2116" fmla="*/ 493280 h 745576"/>
                <a:gd name="connsiteX2117" fmla="*/ 145479 w 1926380"/>
                <a:gd name="connsiteY2117" fmla="*/ 494097 h 745576"/>
                <a:gd name="connsiteX2118" fmla="*/ 145993 w 1926380"/>
                <a:gd name="connsiteY2118" fmla="*/ 494762 h 745576"/>
                <a:gd name="connsiteX2119" fmla="*/ 148474 w 1926380"/>
                <a:gd name="connsiteY2119" fmla="*/ 495700 h 745576"/>
                <a:gd name="connsiteX2120" fmla="*/ 152134 w 1926380"/>
                <a:gd name="connsiteY2120" fmla="*/ 496305 h 745576"/>
                <a:gd name="connsiteX2121" fmla="*/ 155795 w 1926380"/>
                <a:gd name="connsiteY2121" fmla="*/ 496305 h 745576"/>
                <a:gd name="connsiteX2122" fmla="*/ 158306 w 1926380"/>
                <a:gd name="connsiteY2122" fmla="*/ 495488 h 745576"/>
                <a:gd name="connsiteX2123" fmla="*/ 161028 w 1926380"/>
                <a:gd name="connsiteY2123" fmla="*/ 499784 h 745576"/>
                <a:gd name="connsiteX2124" fmla="*/ 161875 w 1926380"/>
                <a:gd name="connsiteY2124" fmla="*/ 502385 h 745576"/>
                <a:gd name="connsiteX2125" fmla="*/ 160453 w 1926380"/>
                <a:gd name="connsiteY2125" fmla="*/ 503565 h 745576"/>
                <a:gd name="connsiteX2126" fmla="*/ 160877 w 1926380"/>
                <a:gd name="connsiteY2126" fmla="*/ 504624 h 745576"/>
                <a:gd name="connsiteX2127" fmla="*/ 160937 w 1926380"/>
                <a:gd name="connsiteY2127" fmla="*/ 505562 h 745576"/>
                <a:gd name="connsiteX2128" fmla="*/ 160756 w 1926380"/>
                <a:gd name="connsiteY2128" fmla="*/ 506530 h 745576"/>
                <a:gd name="connsiteX2129" fmla="*/ 160453 w 1926380"/>
                <a:gd name="connsiteY2129" fmla="*/ 507619 h 745576"/>
                <a:gd name="connsiteX2130" fmla="*/ 159970 w 1926380"/>
                <a:gd name="connsiteY2130" fmla="*/ 508466 h 745576"/>
                <a:gd name="connsiteX2131" fmla="*/ 158638 w 1926380"/>
                <a:gd name="connsiteY2131" fmla="*/ 509525 h 745576"/>
                <a:gd name="connsiteX2132" fmla="*/ 158306 w 1926380"/>
                <a:gd name="connsiteY2132" fmla="*/ 509948 h 745576"/>
                <a:gd name="connsiteX2133" fmla="*/ 158094 w 1926380"/>
                <a:gd name="connsiteY2133" fmla="*/ 512157 h 745576"/>
                <a:gd name="connsiteX2134" fmla="*/ 158729 w 1926380"/>
                <a:gd name="connsiteY2134" fmla="*/ 513518 h 745576"/>
                <a:gd name="connsiteX2135" fmla="*/ 159667 w 1926380"/>
                <a:gd name="connsiteY2135" fmla="*/ 514516 h 745576"/>
                <a:gd name="connsiteX2136" fmla="*/ 160453 w 1926380"/>
                <a:gd name="connsiteY2136" fmla="*/ 515605 h 745576"/>
                <a:gd name="connsiteX2137" fmla="*/ 160574 w 1926380"/>
                <a:gd name="connsiteY2137" fmla="*/ 517058 h 745576"/>
                <a:gd name="connsiteX2138" fmla="*/ 160453 w 1926380"/>
                <a:gd name="connsiteY2138" fmla="*/ 519568 h 745576"/>
                <a:gd name="connsiteX2139" fmla="*/ 160060 w 1926380"/>
                <a:gd name="connsiteY2139" fmla="*/ 522200 h 745576"/>
                <a:gd name="connsiteX2140" fmla="*/ 159364 w 1926380"/>
                <a:gd name="connsiteY2140" fmla="*/ 523955 h 745576"/>
                <a:gd name="connsiteX2141" fmla="*/ 157035 w 1926380"/>
                <a:gd name="connsiteY2141" fmla="*/ 526677 h 745576"/>
                <a:gd name="connsiteX2142" fmla="*/ 155704 w 1926380"/>
                <a:gd name="connsiteY2142" fmla="*/ 527555 h 745576"/>
                <a:gd name="connsiteX2143" fmla="*/ 147052 w 1926380"/>
                <a:gd name="connsiteY2143" fmla="*/ 530459 h 745576"/>
                <a:gd name="connsiteX2144" fmla="*/ 144874 w 1926380"/>
                <a:gd name="connsiteY2144" fmla="*/ 530731 h 745576"/>
                <a:gd name="connsiteX2145" fmla="*/ 138128 w 1926380"/>
                <a:gd name="connsiteY2145" fmla="*/ 530278 h 745576"/>
                <a:gd name="connsiteX2146" fmla="*/ 136343 w 1926380"/>
                <a:gd name="connsiteY2146" fmla="*/ 530731 h 745576"/>
                <a:gd name="connsiteX2147" fmla="*/ 135405 w 1926380"/>
                <a:gd name="connsiteY2147" fmla="*/ 533121 h 745576"/>
                <a:gd name="connsiteX2148" fmla="*/ 139157 w 1926380"/>
                <a:gd name="connsiteY2148" fmla="*/ 534936 h 745576"/>
                <a:gd name="connsiteX2149" fmla="*/ 147959 w 1926380"/>
                <a:gd name="connsiteY2149" fmla="*/ 537144 h 745576"/>
                <a:gd name="connsiteX2150" fmla="*/ 153768 w 1926380"/>
                <a:gd name="connsiteY2150" fmla="*/ 540654 h 745576"/>
                <a:gd name="connsiteX2151" fmla="*/ 155250 w 1926380"/>
                <a:gd name="connsiteY2151" fmla="*/ 541138 h 745576"/>
                <a:gd name="connsiteX2152" fmla="*/ 155613 w 1926380"/>
                <a:gd name="connsiteY2152" fmla="*/ 542438 h 745576"/>
                <a:gd name="connsiteX2153" fmla="*/ 155341 w 1926380"/>
                <a:gd name="connsiteY2153" fmla="*/ 545040 h 745576"/>
                <a:gd name="connsiteX2154" fmla="*/ 154433 w 1926380"/>
                <a:gd name="connsiteY2154" fmla="*/ 546886 h 745576"/>
                <a:gd name="connsiteX2155" fmla="*/ 152860 w 1926380"/>
                <a:gd name="connsiteY2155" fmla="*/ 545917 h 745576"/>
                <a:gd name="connsiteX2156" fmla="*/ 152437 w 1926380"/>
                <a:gd name="connsiteY2156" fmla="*/ 547218 h 745576"/>
                <a:gd name="connsiteX2157" fmla="*/ 152830 w 1926380"/>
                <a:gd name="connsiteY2157" fmla="*/ 547884 h 745576"/>
                <a:gd name="connsiteX2158" fmla="*/ 153223 w 1926380"/>
                <a:gd name="connsiteY2158" fmla="*/ 548398 h 745576"/>
                <a:gd name="connsiteX2159" fmla="*/ 152860 w 1926380"/>
                <a:gd name="connsiteY2159" fmla="*/ 549154 h 745576"/>
                <a:gd name="connsiteX2160" fmla="*/ 153465 w 1926380"/>
                <a:gd name="connsiteY2160" fmla="*/ 550909 h 745576"/>
                <a:gd name="connsiteX2161" fmla="*/ 153223 w 1926380"/>
                <a:gd name="connsiteY2161" fmla="*/ 552603 h 745576"/>
                <a:gd name="connsiteX2162" fmla="*/ 152618 w 1926380"/>
                <a:gd name="connsiteY2162" fmla="*/ 554327 h 745576"/>
                <a:gd name="connsiteX2163" fmla="*/ 152195 w 1926380"/>
                <a:gd name="connsiteY2163" fmla="*/ 556294 h 745576"/>
                <a:gd name="connsiteX2164" fmla="*/ 152951 w 1926380"/>
                <a:gd name="connsiteY2164" fmla="*/ 555416 h 745576"/>
                <a:gd name="connsiteX2165" fmla="*/ 153677 w 1926380"/>
                <a:gd name="connsiteY2165" fmla="*/ 554872 h 745576"/>
                <a:gd name="connsiteX2166" fmla="*/ 154343 w 1926380"/>
                <a:gd name="connsiteY2166" fmla="*/ 554872 h 745576"/>
                <a:gd name="connsiteX2167" fmla="*/ 154917 w 1926380"/>
                <a:gd name="connsiteY2167" fmla="*/ 555568 h 745576"/>
                <a:gd name="connsiteX2168" fmla="*/ 156672 w 1926380"/>
                <a:gd name="connsiteY2168" fmla="*/ 555084 h 745576"/>
                <a:gd name="connsiteX2169" fmla="*/ 156188 w 1926380"/>
                <a:gd name="connsiteY2169" fmla="*/ 560378 h 745576"/>
                <a:gd name="connsiteX2170" fmla="*/ 157065 w 1926380"/>
                <a:gd name="connsiteY2170" fmla="*/ 562616 h 745576"/>
                <a:gd name="connsiteX2171" fmla="*/ 157065 w 1926380"/>
                <a:gd name="connsiteY2171" fmla="*/ 563403 h 745576"/>
                <a:gd name="connsiteX2172" fmla="*/ 156460 w 1926380"/>
                <a:gd name="connsiteY2172" fmla="*/ 563524 h 745576"/>
                <a:gd name="connsiteX2173" fmla="*/ 154948 w 1926380"/>
                <a:gd name="connsiteY2173" fmla="*/ 564189 h 745576"/>
                <a:gd name="connsiteX2174" fmla="*/ 155402 w 1926380"/>
                <a:gd name="connsiteY2174" fmla="*/ 565490 h 745576"/>
                <a:gd name="connsiteX2175" fmla="*/ 155190 w 1926380"/>
                <a:gd name="connsiteY2175" fmla="*/ 566700 h 745576"/>
                <a:gd name="connsiteX2176" fmla="*/ 154494 w 1926380"/>
                <a:gd name="connsiteY2176" fmla="*/ 567850 h 745576"/>
                <a:gd name="connsiteX2177" fmla="*/ 153496 w 1926380"/>
                <a:gd name="connsiteY2177" fmla="*/ 568908 h 745576"/>
                <a:gd name="connsiteX2178" fmla="*/ 154282 w 1926380"/>
                <a:gd name="connsiteY2178" fmla="*/ 569241 h 745576"/>
                <a:gd name="connsiteX2179" fmla="*/ 154554 w 1926380"/>
                <a:gd name="connsiteY2179" fmla="*/ 569453 h 745576"/>
                <a:gd name="connsiteX2180" fmla="*/ 154827 w 1926380"/>
                <a:gd name="connsiteY2180" fmla="*/ 569392 h 745576"/>
                <a:gd name="connsiteX2181" fmla="*/ 155613 w 1926380"/>
                <a:gd name="connsiteY2181" fmla="*/ 568878 h 745576"/>
                <a:gd name="connsiteX2182" fmla="*/ 155976 w 1926380"/>
                <a:gd name="connsiteY2182" fmla="*/ 569241 h 745576"/>
                <a:gd name="connsiteX2183" fmla="*/ 156128 w 1926380"/>
                <a:gd name="connsiteY2183" fmla="*/ 569604 h 745576"/>
                <a:gd name="connsiteX2184" fmla="*/ 156309 w 1926380"/>
                <a:gd name="connsiteY2184" fmla="*/ 570451 h 745576"/>
                <a:gd name="connsiteX2185" fmla="*/ 156944 w 1926380"/>
                <a:gd name="connsiteY2185" fmla="*/ 569937 h 745576"/>
                <a:gd name="connsiteX2186" fmla="*/ 157640 w 1926380"/>
                <a:gd name="connsiteY2186" fmla="*/ 569937 h 745576"/>
                <a:gd name="connsiteX2187" fmla="*/ 158336 w 1926380"/>
                <a:gd name="connsiteY2187" fmla="*/ 570421 h 745576"/>
                <a:gd name="connsiteX2188" fmla="*/ 159092 w 1926380"/>
                <a:gd name="connsiteY2188" fmla="*/ 571329 h 745576"/>
                <a:gd name="connsiteX2189" fmla="*/ 160242 w 1926380"/>
                <a:gd name="connsiteY2189" fmla="*/ 570330 h 745576"/>
                <a:gd name="connsiteX2190" fmla="*/ 161633 w 1926380"/>
                <a:gd name="connsiteY2190" fmla="*/ 569877 h 745576"/>
                <a:gd name="connsiteX2191" fmla="*/ 167563 w 1926380"/>
                <a:gd name="connsiteY2191" fmla="*/ 569514 h 745576"/>
                <a:gd name="connsiteX2192" fmla="*/ 168168 w 1926380"/>
                <a:gd name="connsiteY2192" fmla="*/ 569029 h 745576"/>
                <a:gd name="connsiteX2193" fmla="*/ 166685 w 1926380"/>
                <a:gd name="connsiteY2193" fmla="*/ 568122 h 745576"/>
                <a:gd name="connsiteX2194" fmla="*/ 166685 w 1926380"/>
                <a:gd name="connsiteY2194" fmla="*/ 567275 h 745576"/>
                <a:gd name="connsiteX2195" fmla="*/ 169135 w 1926380"/>
                <a:gd name="connsiteY2195" fmla="*/ 567275 h 745576"/>
                <a:gd name="connsiteX2196" fmla="*/ 170164 w 1926380"/>
                <a:gd name="connsiteY2196" fmla="*/ 566307 h 745576"/>
                <a:gd name="connsiteX2197" fmla="*/ 170618 w 1926380"/>
                <a:gd name="connsiteY2197" fmla="*/ 564794 h 745576"/>
                <a:gd name="connsiteX2198" fmla="*/ 171556 w 1926380"/>
                <a:gd name="connsiteY2198" fmla="*/ 563282 h 745576"/>
                <a:gd name="connsiteX2199" fmla="*/ 173189 w 1926380"/>
                <a:gd name="connsiteY2199" fmla="*/ 562465 h 745576"/>
                <a:gd name="connsiteX2200" fmla="*/ 174883 w 1926380"/>
                <a:gd name="connsiteY2200" fmla="*/ 562405 h 745576"/>
                <a:gd name="connsiteX2201" fmla="*/ 175246 w 1926380"/>
                <a:gd name="connsiteY2201" fmla="*/ 562405 h 745576"/>
                <a:gd name="connsiteX2202" fmla="*/ 177182 w 1926380"/>
                <a:gd name="connsiteY2202" fmla="*/ 563191 h 745576"/>
                <a:gd name="connsiteX2203" fmla="*/ 178393 w 1926380"/>
                <a:gd name="connsiteY2203" fmla="*/ 564946 h 745576"/>
                <a:gd name="connsiteX2204" fmla="*/ 176063 w 1926380"/>
                <a:gd name="connsiteY2204" fmla="*/ 566004 h 745576"/>
                <a:gd name="connsiteX2205" fmla="*/ 174218 w 1926380"/>
                <a:gd name="connsiteY2205" fmla="*/ 567880 h 745576"/>
                <a:gd name="connsiteX2206" fmla="*/ 173401 w 1926380"/>
                <a:gd name="connsiteY2206" fmla="*/ 570240 h 745576"/>
                <a:gd name="connsiteX2207" fmla="*/ 174218 w 1926380"/>
                <a:gd name="connsiteY2207" fmla="*/ 572781 h 745576"/>
                <a:gd name="connsiteX2208" fmla="*/ 176396 w 1926380"/>
                <a:gd name="connsiteY2208" fmla="*/ 574384 h 745576"/>
                <a:gd name="connsiteX2209" fmla="*/ 179179 w 1926380"/>
                <a:gd name="connsiteY2209" fmla="*/ 574838 h 745576"/>
                <a:gd name="connsiteX2210" fmla="*/ 181448 w 1926380"/>
                <a:gd name="connsiteY2210" fmla="*/ 573658 h 745576"/>
                <a:gd name="connsiteX2211" fmla="*/ 181872 w 1926380"/>
                <a:gd name="connsiteY2211" fmla="*/ 570421 h 745576"/>
                <a:gd name="connsiteX2212" fmla="*/ 182628 w 1926380"/>
                <a:gd name="connsiteY2212" fmla="*/ 570421 h 745576"/>
                <a:gd name="connsiteX2213" fmla="*/ 183777 w 1926380"/>
                <a:gd name="connsiteY2213" fmla="*/ 572327 h 745576"/>
                <a:gd name="connsiteX2214" fmla="*/ 183626 w 1926380"/>
                <a:gd name="connsiteY2214" fmla="*/ 573900 h 745576"/>
                <a:gd name="connsiteX2215" fmla="*/ 183142 w 1926380"/>
                <a:gd name="connsiteY2215" fmla="*/ 575140 h 745576"/>
                <a:gd name="connsiteX2216" fmla="*/ 183263 w 1926380"/>
                <a:gd name="connsiteY2216" fmla="*/ 576048 h 745576"/>
                <a:gd name="connsiteX2217" fmla="*/ 181418 w 1926380"/>
                <a:gd name="connsiteY2217" fmla="*/ 578165 h 745576"/>
                <a:gd name="connsiteX2218" fmla="*/ 180752 w 1926380"/>
                <a:gd name="connsiteY2218" fmla="*/ 579254 h 745576"/>
                <a:gd name="connsiteX2219" fmla="*/ 180480 w 1926380"/>
                <a:gd name="connsiteY2219" fmla="*/ 580374 h 745576"/>
                <a:gd name="connsiteX2220" fmla="*/ 180964 w 1926380"/>
                <a:gd name="connsiteY2220" fmla="*/ 581069 h 745576"/>
                <a:gd name="connsiteX2221" fmla="*/ 181992 w 1926380"/>
                <a:gd name="connsiteY2221" fmla="*/ 580555 h 745576"/>
                <a:gd name="connsiteX2222" fmla="*/ 182930 w 1926380"/>
                <a:gd name="connsiteY2222" fmla="*/ 579678 h 745576"/>
                <a:gd name="connsiteX2223" fmla="*/ 183263 w 1926380"/>
                <a:gd name="connsiteY2223" fmla="*/ 579224 h 745576"/>
                <a:gd name="connsiteX2224" fmla="*/ 185532 w 1926380"/>
                <a:gd name="connsiteY2224" fmla="*/ 579224 h 745576"/>
                <a:gd name="connsiteX2225" fmla="*/ 186651 w 1926380"/>
                <a:gd name="connsiteY2225" fmla="*/ 580253 h 745576"/>
                <a:gd name="connsiteX2226" fmla="*/ 186440 w 1926380"/>
                <a:gd name="connsiteY2226" fmla="*/ 581765 h 745576"/>
                <a:gd name="connsiteX2227" fmla="*/ 184654 w 1926380"/>
                <a:gd name="connsiteY2227" fmla="*/ 583187 h 745576"/>
                <a:gd name="connsiteX2228" fmla="*/ 186107 w 1926380"/>
                <a:gd name="connsiteY2228" fmla="*/ 583701 h 745576"/>
                <a:gd name="connsiteX2229" fmla="*/ 187710 w 1926380"/>
                <a:gd name="connsiteY2229" fmla="*/ 582884 h 745576"/>
                <a:gd name="connsiteX2230" fmla="*/ 188981 w 1926380"/>
                <a:gd name="connsiteY2230" fmla="*/ 581312 h 745576"/>
                <a:gd name="connsiteX2231" fmla="*/ 189495 w 1926380"/>
                <a:gd name="connsiteY2231" fmla="*/ 579557 h 745576"/>
                <a:gd name="connsiteX2232" fmla="*/ 189979 w 1926380"/>
                <a:gd name="connsiteY2232" fmla="*/ 578619 h 745576"/>
                <a:gd name="connsiteX2233" fmla="*/ 191159 w 1926380"/>
                <a:gd name="connsiteY2233" fmla="*/ 578317 h 745576"/>
                <a:gd name="connsiteX2234" fmla="*/ 193639 w 1926380"/>
                <a:gd name="connsiteY2234" fmla="*/ 578407 h 745576"/>
                <a:gd name="connsiteX2235" fmla="*/ 193851 w 1926380"/>
                <a:gd name="connsiteY2235" fmla="*/ 578135 h 745576"/>
                <a:gd name="connsiteX2236" fmla="*/ 193912 w 1926380"/>
                <a:gd name="connsiteY2236" fmla="*/ 577681 h 745576"/>
                <a:gd name="connsiteX2237" fmla="*/ 194153 w 1926380"/>
                <a:gd name="connsiteY2237" fmla="*/ 577379 h 745576"/>
                <a:gd name="connsiteX2238" fmla="*/ 195031 w 1926380"/>
                <a:gd name="connsiteY2238" fmla="*/ 577561 h 745576"/>
                <a:gd name="connsiteX2239" fmla="*/ 195091 w 1926380"/>
                <a:gd name="connsiteY2239" fmla="*/ 577651 h 745576"/>
                <a:gd name="connsiteX2240" fmla="*/ 196332 w 1926380"/>
                <a:gd name="connsiteY2240" fmla="*/ 578438 h 745576"/>
                <a:gd name="connsiteX2241" fmla="*/ 196150 w 1926380"/>
                <a:gd name="connsiteY2241" fmla="*/ 579254 h 745576"/>
                <a:gd name="connsiteX2242" fmla="*/ 196029 w 1926380"/>
                <a:gd name="connsiteY2242" fmla="*/ 580767 h 745576"/>
                <a:gd name="connsiteX2243" fmla="*/ 195727 w 1926380"/>
                <a:gd name="connsiteY2243" fmla="*/ 581584 h 745576"/>
                <a:gd name="connsiteX2244" fmla="*/ 195152 w 1926380"/>
                <a:gd name="connsiteY2244" fmla="*/ 582189 h 745576"/>
                <a:gd name="connsiteX2245" fmla="*/ 193881 w 1926380"/>
                <a:gd name="connsiteY2245" fmla="*/ 583036 h 745576"/>
                <a:gd name="connsiteX2246" fmla="*/ 193639 w 1926380"/>
                <a:gd name="connsiteY2246" fmla="*/ 583520 h 745576"/>
                <a:gd name="connsiteX2247" fmla="*/ 193549 w 1926380"/>
                <a:gd name="connsiteY2247" fmla="*/ 585789 h 745576"/>
                <a:gd name="connsiteX2248" fmla="*/ 194123 w 1926380"/>
                <a:gd name="connsiteY2248" fmla="*/ 586575 h 745576"/>
                <a:gd name="connsiteX2249" fmla="*/ 195696 w 1926380"/>
                <a:gd name="connsiteY2249" fmla="*/ 587120 h 745576"/>
                <a:gd name="connsiteX2250" fmla="*/ 194184 w 1926380"/>
                <a:gd name="connsiteY2250" fmla="*/ 588693 h 745576"/>
                <a:gd name="connsiteX2251" fmla="*/ 193367 w 1926380"/>
                <a:gd name="connsiteY2251" fmla="*/ 589207 h 745576"/>
                <a:gd name="connsiteX2252" fmla="*/ 192248 w 1926380"/>
                <a:gd name="connsiteY2252" fmla="*/ 589540 h 745576"/>
                <a:gd name="connsiteX2253" fmla="*/ 193458 w 1926380"/>
                <a:gd name="connsiteY2253" fmla="*/ 587180 h 745576"/>
                <a:gd name="connsiteX2254" fmla="*/ 192157 w 1926380"/>
                <a:gd name="connsiteY2254" fmla="*/ 586908 h 745576"/>
                <a:gd name="connsiteX2255" fmla="*/ 187438 w 1926380"/>
                <a:gd name="connsiteY2255" fmla="*/ 587876 h 745576"/>
                <a:gd name="connsiteX2256" fmla="*/ 187438 w 1926380"/>
                <a:gd name="connsiteY2256" fmla="*/ 588753 h 745576"/>
                <a:gd name="connsiteX2257" fmla="*/ 188618 w 1926380"/>
                <a:gd name="connsiteY2257" fmla="*/ 589570 h 745576"/>
                <a:gd name="connsiteX2258" fmla="*/ 189404 w 1926380"/>
                <a:gd name="connsiteY2258" fmla="*/ 591476 h 745576"/>
                <a:gd name="connsiteX2259" fmla="*/ 190130 w 1926380"/>
                <a:gd name="connsiteY2259" fmla="*/ 595136 h 745576"/>
                <a:gd name="connsiteX2260" fmla="*/ 190614 w 1926380"/>
                <a:gd name="connsiteY2260" fmla="*/ 594652 h 745576"/>
                <a:gd name="connsiteX2261" fmla="*/ 190947 w 1926380"/>
                <a:gd name="connsiteY2261" fmla="*/ 594471 h 745576"/>
                <a:gd name="connsiteX2262" fmla="*/ 192278 w 1926380"/>
                <a:gd name="connsiteY2262" fmla="*/ 594259 h 745576"/>
                <a:gd name="connsiteX2263" fmla="*/ 192278 w 1926380"/>
                <a:gd name="connsiteY2263" fmla="*/ 595106 h 745576"/>
                <a:gd name="connsiteX2264" fmla="*/ 191219 w 1926380"/>
                <a:gd name="connsiteY2264" fmla="*/ 595621 h 745576"/>
                <a:gd name="connsiteX2265" fmla="*/ 188829 w 1926380"/>
                <a:gd name="connsiteY2265" fmla="*/ 595621 h 745576"/>
                <a:gd name="connsiteX2266" fmla="*/ 187770 w 1926380"/>
                <a:gd name="connsiteY2266" fmla="*/ 596195 h 745576"/>
                <a:gd name="connsiteX2267" fmla="*/ 186863 w 1926380"/>
                <a:gd name="connsiteY2267" fmla="*/ 596861 h 745576"/>
                <a:gd name="connsiteX2268" fmla="*/ 184776 w 1926380"/>
                <a:gd name="connsiteY2268" fmla="*/ 597738 h 745576"/>
                <a:gd name="connsiteX2269" fmla="*/ 182144 w 1926380"/>
                <a:gd name="connsiteY2269" fmla="*/ 599463 h 745576"/>
                <a:gd name="connsiteX2270" fmla="*/ 180601 w 1926380"/>
                <a:gd name="connsiteY2270" fmla="*/ 599826 h 745576"/>
                <a:gd name="connsiteX2271" fmla="*/ 179179 w 1926380"/>
                <a:gd name="connsiteY2271" fmla="*/ 598978 h 745576"/>
                <a:gd name="connsiteX2272" fmla="*/ 177727 w 1926380"/>
                <a:gd name="connsiteY2272" fmla="*/ 596588 h 745576"/>
                <a:gd name="connsiteX2273" fmla="*/ 177969 w 1926380"/>
                <a:gd name="connsiteY2273" fmla="*/ 596377 h 745576"/>
                <a:gd name="connsiteX2274" fmla="*/ 178120 w 1926380"/>
                <a:gd name="connsiteY2274" fmla="*/ 596286 h 745576"/>
                <a:gd name="connsiteX2275" fmla="*/ 178241 w 1926380"/>
                <a:gd name="connsiteY2275" fmla="*/ 596195 h 745576"/>
                <a:gd name="connsiteX2276" fmla="*/ 178453 w 1926380"/>
                <a:gd name="connsiteY2276" fmla="*/ 595893 h 745576"/>
                <a:gd name="connsiteX2277" fmla="*/ 177152 w 1926380"/>
                <a:gd name="connsiteY2277" fmla="*/ 596407 h 745576"/>
                <a:gd name="connsiteX2278" fmla="*/ 176426 w 1926380"/>
                <a:gd name="connsiteY2278" fmla="*/ 596225 h 745576"/>
                <a:gd name="connsiteX2279" fmla="*/ 175852 w 1926380"/>
                <a:gd name="connsiteY2279" fmla="*/ 595711 h 745576"/>
                <a:gd name="connsiteX2280" fmla="*/ 175035 w 1926380"/>
                <a:gd name="connsiteY2280" fmla="*/ 595197 h 745576"/>
                <a:gd name="connsiteX2281" fmla="*/ 173976 w 1926380"/>
                <a:gd name="connsiteY2281" fmla="*/ 595106 h 745576"/>
                <a:gd name="connsiteX2282" fmla="*/ 173250 w 1926380"/>
                <a:gd name="connsiteY2282" fmla="*/ 595197 h 745576"/>
                <a:gd name="connsiteX2283" fmla="*/ 172887 w 1926380"/>
                <a:gd name="connsiteY2283" fmla="*/ 594652 h 745576"/>
                <a:gd name="connsiteX2284" fmla="*/ 172887 w 1926380"/>
                <a:gd name="connsiteY2284" fmla="*/ 592656 h 745576"/>
                <a:gd name="connsiteX2285" fmla="*/ 172705 w 1926380"/>
                <a:gd name="connsiteY2285" fmla="*/ 592928 h 745576"/>
                <a:gd name="connsiteX2286" fmla="*/ 172645 w 1926380"/>
                <a:gd name="connsiteY2286" fmla="*/ 593079 h 745576"/>
                <a:gd name="connsiteX2287" fmla="*/ 172524 w 1926380"/>
                <a:gd name="connsiteY2287" fmla="*/ 593231 h 745576"/>
                <a:gd name="connsiteX2288" fmla="*/ 172221 w 1926380"/>
                <a:gd name="connsiteY2288" fmla="*/ 593472 h 745576"/>
                <a:gd name="connsiteX2289" fmla="*/ 171495 w 1926380"/>
                <a:gd name="connsiteY2289" fmla="*/ 592746 h 745576"/>
                <a:gd name="connsiteX2290" fmla="*/ 170709 w 1926380"/>
                <a:gd name="connsiteY2290" fmla="*/ 592989 h 745576"/>
                <a:gd name="connsiteX2291" fmla="*/ 169983 w 1926380"/>
                <a:gd name="connsiteY2291" fmla="*/ 593896 h 745576"/>
                <a:gd name="connsiteX2292" fmla="*/ 169468 w 1926380"/>
                <a:gd name="connsiteY2292" fmla="*/ 595136 h 745576"/>
                <a:gd name="connsiteX2293" fmla="*/ 168772 w 1926380"/>
                <a:gd name="connsiteY2293" fmla="*/ 595136 h 745576"/>
                <a:gd name="connsiteX2294" fmla="*/ 168863 w 1926380"/>
                <a:gd name="connsiteY2294" fmla="*/ 593806 h 745576"/>
                <a:gd name="connsiteX2295" fmla="*/ 168500 w 1926380"/>
                <a:gd name="connsiteY2295" fmla="*/ 592807 h 745576"/>
                <a:gd name="connsiteX2296" fmla="*/ 167774 w 1926380"/>
                <a:gd name="connsiteY2296" fmla="*/ 592142 h 745576"/>
                <a:gd name="connsiteX2297" fmla="*/ 166685 w 1926380"/>
                <a:gd name="connsiteY2297" fmla="*/ 591869 h 745576"/>
                <a:gd name="connsiteX2298" fmla="*/ 166988 w 1926380"/>
                <a:gd name="connsiteY2298" fmla="*/ 593109 h 745576"/>
                <a:gd name="connsiteX2299" fmla="*/ 166867 w 1926380"/>
                <a:gd name="connsiteY2299" fmla="*/ 594138 h 745576"/>
                <a:gd name="connsiteX2300" fmla="*/ 166625 w 1926380"/>
                <a:gd name="connsiteY2300" fmla="*/ 595046 h 745576"/>
                <a:gd name="connsiteX2301" fmla="*/ 166685 w 1926380"/>
                <a:gd name="connsiteY2301" fmla="*/ 595862 h 745576"/>
                <a:gd name="connsiteX2302" fmla="*/ 164779 w 1926380"/>
                <a:gd name="connsiteY2302" fmla="*/ 596377 h 745576"/>
                <a:gd name="connsiteX2303" fmla="*/ 161633 w 1926380"/>
                <a:gd name="connsiteY2303" fmla="*/ 595288 h 745576"/>
                <a:gd name="connsiteX2304" fmla="*/ 160514 w 1926380"/>
                <a:gd name="connsiteY2304" fmla="*/ 596588 h 745576"/>
                <a:gd name="connsiteX2305" fmla="*/ 159758 w 1926380"/>
                <a:gd name="connsiteY2305" fmla="*/ 595862 h 745576"/>
                <a:gd name="connsiteX2306" fmla="*/ 159939 w 1926380"/>
                <a:gd name="connsiteY2306" fmla="*/ 596740 h 745576"/>
                <a:gd name="connsiteX2307" fmla="*/ 160090 w 1926380"/>
                <a:gd name="connsiteY2307" fmla="*/ 597073 h 745576"/>
                <a:gd name="connsiteX2308" fmla="*/ 160484 w 1926380"/>
                <a:gd name="connsiteY2308" fmla="*/ 597466 h 745576"/>
                <a:gd name="connsiteX2309" fmla="*/ 161452 w 1926380"/>
                <a:gd name="connsiteY2309" fmla="*/ 596800 h 745576"/>
                <a:gd name="connsiteX2310" fmla="*/ 162359 w 1926380"/>
                <a:gd name="connsiteY2310" fmla="*/ 596619 h 745576"/>
                <a:gd name="connsiteX2311" fmla="*/ 163206 w 1926380"/>
                <a:gd name="connsiteY2311" fmla="*/ 596891 h 745576"/>
                <a:gd name="connsiteX2312" fmla="*/ 163932 w 1926380"/>
                <a:gd name="connsiteY2312" fmla="*/ 597496 h 745576"/>
                <a:gd name="connsiteX2313" fmla="*/ 162662 w 1926380"/>
                <a:gd name="connsiteY2313" fmla="*/ 598888 h 745576"/>
                <a:gd name="connsiteX2314" fmla="*/ 160877 w 1926380"/>
                <a:gd name="connsiteY2314" fmla="*/ 599977 h 745576"/>
                <a:gd name="connsiteX2315" fmla="*/ 159213 w 1926380"/>
                <a:gd name="connsiteY2315" fmla="*/ 600612 h 745576"/>
                <a:gd name="connsiteX2316" fmla="*/ 158336 w 1926380"/>
                <a:gd name="connsiteY2316" fmla="*/ 600672 h 745576"/>
                <a:gd name="connsiteX2317" fmla="*/ 157307 w 1926380"/>
                <a:gd name="connsiteY2317" fmla="*/ 603123 h 745576"/>
                <a:gd name="connsiteX2318" fmla="*/ 157670 w 1926380"/>
                <a:gd name="connsiteY2318" fmla="*/ 604817 h 745576"/>
                <a:gd name="connsiteX2319" fmla="*/ 158547 w 1926380"/>
                <a:gd name="connsiteY2319" fmla="*/ 606299 h 745576"/>
                <a:gd name="connsiteX2320" fmla="*/ 159032 w 1926380"/>
                <a:gd name="connsiteY2320" fmla="*/ 608205 h 745576"/>
                <a:gd name="connsiteX2321" fmla="*/ 159153 w 1926380"/>
                <a:gd name="connsiteY2321" fmla="*/ 610232 h 745576"/>
                <a:gd name="connsiteX2322" fmla="*/ 159697 w 1926380"/>
                <a:gd name="connsiteY2322" fmla="*/ 612743 h 745576"/>
                <a:gd name="connsiteX2323" fmla="*/ 160756 w 1926380"/>
                <a:gd name="connsiteY2323" fmla="*/ 614467 h 745576"/>
                <a:gd name="connsiteX2324" fmla="*/ 162541 w 1926380"/>
                <a:gd name="connsiteY2324" fmla="*/ 614074 h 745576"/>
                <a:gd name="connsiteX2325" fmla="*/ 163146 w 1926380"/>
                <a:gd name="connsiteY2325" fmla="*/ 614921 h 745576"/>
                <a:gd name="connsiteX2326" fmla="*/ 163841 w 1926380"/>
                <a:gd name="connsiteY2326" fmla="*/ 614679 h 745576"/>
                <a:gd name="connsiteX2327" fmla="*/ 164356 w 1926380"/>
                <a:gd name="connsiteY2327" fmla="*/ 614679 h 745576"/>
                <a:gd name="connsiteX2328" fmla="*/ 165264 w 1926380"/>
                <a:gd name="connsiteY2328" fmla="*/ 614921 h 745576"/>
                <a:gd name="connsiteX2329" fmla="*/ 164991 w 1926380"/>
                <a:gd name="connsiteY2329" fmla="*/ 614467 h 745576"/>
                <a:gd name="connsiteX2330" fmla="*/ 164507 w 1926380"/>
                <a:gd name="connsiteY2330" fmla="*/ 613318 h 745576"/>
                <a:gd name="connsiteX2331" fmla="*/ 165899 w 1926380"/>
                <a:gd name="connsiteY2331" fmla="*/ 612864 h 745576"/>
                <a:gd name="connsiteX2332" fmla="*/ 167079 w 1926380"/>
                <a:gd name="connsiteY2332" fmla="*/ 611835 h 745576"/>
                <a:gd name="connsiteX2333" fmla="*/ 167714 w 1926380"/>
                <a:gd name="connsiteY2333" fmla="*/ 610565 h 745576"/>
                <a:gd name="connsiteX2334" fmla="*/ 167290 w 1926380"/>
                <a:gd name="connsiteY2334" fmla="*/ 609325 h 745576"/>
                <a:gd name="connsiteX2335" fmla="*/ 167290 w 1926380"/>
                <a:gd name="connsiteY2335" fmla="*/ 608598 h 745576"/>
                <a:gd name="connsiteX2336" fmla="*/ 168531 w 1926380"/>
                <a:gd name="connsiteY2336" fmla="*/ 608084 h 745576"/>
                <a:gd name="connsiteX2337" fmla="*/ 171193 w 1926380"/>
                <a:gd name="connsiteY2337" fmla="*/ 607570 h 745576"/>
                <a:gd name="connsiteX2338" fmla="*/ 172100 w 1926380"/>
                <a:gd name="connsiteY2338" fmla="*/ 606995 h 745576"/>
                <a:gd name="connsiteX2339" fmla="*/ 172433 w 1926380"/>
                <a:gd name="connsiteY2339" fmla="*/ 607782 h 745576"/>
                <a:gd name="connsiteX2340" fmla="*/ 172614 w 1926380"/>
                <a:gd name="connsiteY2340" fmla="*/ 608024 h 745576"/>
                <a:gd name="connsiteX2341" fmla="*/ 172524 w 1926380"/>
                <a:gd name="connsiteY2341" fmla="*/ 608145 h 745576"/>
                <a:gd name="connsiteX2342" fmla="*/ 172070 w 1926380"/>
                <a:gd name="connsiteY2342" fmla="*/ 608598 h 745576"/>
                <a:gd name="connsiteX2343" fmla="*/ 172221 w 1926380"/>
                <a:gd name="connsiteY2343" fmla="*/ 609052 h 745576"/>
                <a:gd name="connsiteX2344" fmla="*/ 172433 w 1926380"/>
                <a:gd name="connsiteY2344" fmla="*/ 609173 h 745576"/>
                <a:gd name="connsiteX2345" fmla="*/ 172645 w 1926380"/>
                <a:gd name="connsiteY2345" fmla="*/ 609173 h 745576"/>
                <a:gd name="connsiteX2346" fmla="*/ 172796 w 1926380"/>
                <a:gd name="connsiteY2346" fmla="*/ 609325 h 745576"/>
                <a:gd name="connsiteX2347" fmla="*/ 172524 w 1926380"/>
                <a:gd name="connsiteY2347" fmla="*/ 609960 h 745576"/>
                <a:gd name="connsiteX2348" fmla="*/ 172342 w 1926380"/>
                <a:gd name="connsiteY2348" fmla="*/ 610171 h 745576"/>
                <a:gd name="connsiteX2349" fmla="*/ 172403 w 1926380"/>
                <a:gd name="connsiteY2349" fmla="*/ 610383 h 745576"/>
                <a:gd name="connsiteX2350" fmla="*/ 172796 w 1926380"/>
                <a:gd name="connsiteY2350" fmla="*/ 610988 h 745576"/>
                <a:gd name="connsiteX2351" fmla="*/ 173946 w 1926380"/>
                <a:gd name="connsiteY2351" fmla="*/ 608145 h 745576"/>
                <a:gd name="connsiteX2352" fmla="*/ 174157 w 1926380"/>
                <a:gd name="connsiteY2352" fmla="*/ 607056 h 745576"/>
                <a:gd name="connsiteX2353" fmla="*/ 174914 w 1926380"/>
                <a:gd name="connsiteY2353" fmla="*/ 607056 h 745576"/>
                <a:gd name="connsiteX2354" fmla="*/ 174702 w 1926380"/>
                <a:gd name="connsiteY2354" fmla="*/ 607509 h 745576"/>
                <a:gd name="connsiteX2355" fmla="*/ 175277 w 1926380"/>
                <a:gd name="connsiteY2355" fmla="*/ 608326 h 745576"/>
                <a:gd name="connsiteX2356" fmla="*/ 176819 w 1926380"/>
                <a:gd name="connsiteY2356" fmla="*/ 607116 h 745576"/>
                <a:gd name="connsiteX2357" fmla="*/ 178332 w 1926380"/>
                <a:gd name="connsiteY2357" fmla="*/ 607056 h 745576"/>
                <a:gd name="connsiteX2358" fmla="*/ 178967 w 1926380"/>
                <a:gd name="connsiteY2358" fmla="*/ 607661 h 745576"/>
                <a:gd name="connsiteX2359" fmla="*/ 180783 w 1926380"/>
                <a:gd name="connsiteY2359" fmla="*/ 610141 h 745576"/>
                <a:gd name="connsiteX2360" fmla="*/ 181781 w 1926380"/>
                <a:gd name="connsiteY2360" fmla="*/ 611018 h 745576"/>
                <a:gd name="connsiteX2361" fmla="*/ 182870 w 1926380"/>
                <a:gd name="connsiteY2361" fmla="*/ 611351 h 745576"/>
                <a:gd name="connsiteX2362" fmla="*/ 185925 w 1926380"/>
                <a:gd name="connsiteY2362" fmla="*/ 611018 h 745576"/>
                <a:gd name="connsiteX2363" fmla="*/ 187377 w 1926380"/>
                <a:gd name="connsiteY2363" fmla="*/ 611291 h 745576"/>
                <a:gd name="connsiteX2364" fmla="*/ 188436 w 1926380"/>
                <a:gd name="connsiteY2364" fmla="*/ 611805 h 745576"/>
                <a:gd name="connsiteX2365" fmla="*/ 190765 w 1926380"/>
                <a:gd name="connsiteY2365" fmla="*/ 613378 h 745576"/>
                <a:gd name="connsiteX2366" fmla="*/ 191280 w 1926380"/>
                <a:gd name="connsiteY2366" fmla="*/ 610655 h 745576"/>
                <a:gd name="connsiteX2367" fmla="*/ 193609 w 1926380"/>
                <a:gd name="connsiteY2367" fmla="*/ 610474 h 745576"/>
                <a:gd name="connsiteX2368" fmla="*/ 196392 w 1926380"/>
                <a:gd name="connsiteY2368" fmla="*/ 611533 h 745576"/>
                <a:gd name="connsiteX2369" fmla="*/ 198237 w 1926380"/>
                <a:gd name="connsiteY2369" fmla="*/ 612531 h 745576"/>
                <a:gd name="connsiteX2370" fmla="*/ 200173 w 1926380"/>
                <a:gd name="connsiteY2370" fmla="*/ 610686 h 745576"/>
                <a:gd name="connsiteX2371" fmla="*/ 203380 w 1926380"/>
                <a:gd name="connsiteY2371" fmla="*/ 609657 h 745576"/>
                <a:gd name="connsiteX2372" fmla="*/ 206617 w 1926380"/>
                <a:gd name="connsiteY2372" fmla="*/ 609657 h 745576"/>
                <a:gd name="connsiteX2373" fmla="*/ 208614 w 1926380"/>
                <a:gd name="connsiteY2373" fmla="*/ 611018 h 745576"/>
                <a:gd name="connsiteX2374" fmla="*/ 209794 w 1926380"/>
                <a:gd name="connsiteY2374" fmla="*/ 610625 h 745576"/>
                <a:gd name="connsiteX2375" fmla="*/ 210973 w 1926380"/>
                <a:gd name="connsiteY2375" fmla="*/ 610565 h 745576"/>
                <a:gd name="connsiteX2376" fmla="*/ 212002 w 1926380"/>
                <a:gd name="connsiteY2376" fmla="*/ 610746 h 745576"/>
                <a:gd name="connsiteX2377" fmla="*/ 212758 w 1926380"/>
                <a:gd name="connsiteY2377" fmla="*/ 611018 h 745576"/>
                <a:gd name="connsiteX2378" fmla="*/ 213363 w 1926380"/>
                <a:gd name="connsiteY2378" fmla="*/ 609869 h 745576"/>
                <a:gd name="connsiteX2379" fmla="*/ 213514 w 1926380"/>
                <a:gd name="connsiteY2379" fmla="*/ 609385 h 745576"/>
                <a:gd name="connsiteX2380" fmla="*/ 214150 w 1926380"/>
                <a:gd name="connsiteY2380" fmla="*/ 609385 h 745576"/>
                <a:gd name="connsiteX2381" fmla="*/ 215209 w 1926380"/>
                <a:gd name="connsiteY2381" fmla="*/ 609748 h 745576"/>
                <a:gd name="connsiteX2382" fmla="*/ 223407 w 1926380"/>
                <a:gd name="connsiteY2382" fmla="*/ 607237 h 745576"/>
                <a:gd name="connsiteX2383" fmla="*/ 225948 w 1926380"/>
                <a:gd name="connsiteY2383" fmla="*/ 607056 h 745576"/>
                <a:gd name="connsiteX2384" fmla="*/ 228912 w 1926380"/>
                <a:gd name="connsiteY2384" fmla="*/ 607691 h 745576"/>
                <a:gd name="connsiteX2385" fmla="*/ 230032 w 1926380"/>
                <a:gd name="connsiteY2385" fmla="*/ 607782 h 745576"/>
                <a:gd name="connsiteX2386" fmla="*/ 231181 w 1926380"/>
                <a:gd name="connsiteY2386" fmla="*/ 607539 h 745576"/>
                <a:gd name="connsiteX2387" fmla="*/ 232422 w 1926380"/>
                <a:gd name="connsiteY2387" fmla="*/ 606541 h 745576"/>
                <a:gd name="connsiteX2388" fmla="*/ 233541 w 1926380"/>
                <a:gd name="connsiteY2388" fmla="*/ 606209 h 745576"/>
                <a:gd name="connsiteX2389" fmla="*/ 244250 w 1926380"/>
                <a:gd name="connsiteY2389" fmla="*/ 607782 h 745576"/>
                <a:gd name="connsiteX2390" fmla="*/ 245974 w 1926380"/>
                <a:gd name="connsiteY2390" fmla="*/ 608628 h 745576"/>
                <a:gd name="connsiteX2391" fmla="*/ 245974 w 1926380"/>
                <a:gd name="connsiteY2391" fmla="*/ 607782 h 745576"/>
                <a:gd name="connsiteX2392" fmla="*/ 245702 w 1926380"/>
                <a:gd name="connsiteY2392" fmla="*/ 606541 h 745576"/>
                <a:gd name="connsiteX2393" fmla="*/ 247608 w 1926380"/>
                <a:gd name="connsiteY2393" fmla="*/ 606118 h 745576"/>
                <a:gd name="connsiteX2394" fmla="*/ 252448 w 1926380"/>
                <a:gd name="connsiteY2394" fmla="*/ 606209 h 745576"/>
                <a:gd name="connsiteX2395" fmla="*/ 265577 w 1926380"/>
                <a:gd name="connsiteY2395" fmla="*/ 604363 h 745576"/>
                <a:gd name="connsiteX2396" fmla="*/ 266606 w 1926380"/>
                <a:gd name="connsiteY2396" fmla="*/ 604605 h 745576"/>
                <a:gd name="connsiteX2397" fmla="*/ 267392 w 1926380"/>
                <a:gd name="connsiteY2397" fmla="*/ 605180 h 745576"/>
                <a:gd name="connsiteX2398" fmla="*/ 268058 w 1926380"/>
                <a:gd name="connsiteY2398" fmla="*/ 605997 h 745576"/>
                <a:gd name="connsiteX2399" fmla="*/ 268058 w 1926380"/>
                <a:gd name="connsiteY2399" fmla="*/ 606723 h 745576"/>
                <a:gd name="connsiteX2400" fmla="*/ 265124 w 1926380"/>
                <a:gd name="connsiteY2400" fmla="*/ 607358 h 745576"/>
                <a:gd name="connsiteX2401" fmla="*/ 259739 w 1926380"/>
                <a:gd name="connsiteY2401" fmla="*/ 609325 h 745576"/>
                <a:gd name="connsiteX2402" fmla="*/ 260404 w 1926380"/>
                <a:gd name="connsiteY2402" fmla="*/ 610958 h 745576"/>
                <a:gd name="connsiteX2403" fmla="*/ 259557 w 1926380"/>
                <a:gd name="connsiteY2403" fmla="*/ 611593 h 745576"/>
                <a:gd name="connsiteX2404" fmla="*/ 257924 w 1926380"/>
                <a:gd name="connsiteY2404" fmla="*/ 611321 h 745576"/>
                <a:gd name="connsiteX2405" fmla="*/ 256320 w 1926380"/>
                <a:gd name="connsiteY2405" fmla="*/ 610171 h 745576"/>
                <a:gd name="connsiteX2406" fmla="*/ 255776 w 1926380"/>
                <a:gd name="connsiteY2406" fmla="*/ 611351 h 745576"/>
                <a:gd name="connsiteX2407" fmla="*/ 254959 w 1926380"/>
                <a:gd name="connsiteY2407" fmla="*/ 612470 h 745576"/>
                <a:gd name="connsiteX2408" fmla="*/ 256320 w 1926380"/>
                <a:gd name="connsiteY2408" fmla="*/ 612470 h 745576"/>
                <a:gd name="connsiteX2409" fmla="*/ 256320 w 1926380"/>
                <a:gd name="connsiteY2409" fmla="*/ 613318 h 745576"/>
                <a:gd name="connsiteX2410" fmla="*/ 255564 w 1926380"/>
                <a:gd name="connsiteY2410" fmla="*/ 614134 h 745576"/>
                <a:gd name="connsiteX2411" fmla="*/ 253567 w 1926380"/>
                <a:gd name="connsiteY2411" fmla="*/ 617280 h 745576"/>
                <a:gd name="connsiteX2412" fmla="*/ 253114 w 1926380"/>
                <a:gd name="connsiteY2412" fmla="*/ 616766 h 745576"/>
                <a:gd name="connsiteX2413" fmla="*/ 252478 w 1926380"/>
                <a:gd name="connsiteY2413" fmla="*/ 616464 h 745576"/>
                <a:gd name="connsiteX2414" fmla="*/ 251661 w 1926380"/>
                <a:gd name="connsiteY2414" fmla="*/ 616373 h 745576"/>
                <a:gd name="connsiteX2415" fmla="*/ 250724 w 1926380"/>
                <a:gd name="connsiteY2415" fmla="*/ 616494 h 745576"/>
                <a:gd name="connsiteX2416" fmla="*/ 250724 w 1926380"/>
                <a:gd name="connsiteY2416" fmla="*/ 617280 h 745576"/>
                <a:gd name="connsiteX2417" fmla="*/ 251420 w 1926380"/>
                <a:gd name="connsiteY2417" fmla="*/ 617613 h 745576"/>
                <a:gd name="connsiteX2418" fmla="*/ 251813 w 1926380"/>
                <a:gd name="connsiteY2418" fmla="*/ 617916 h 745576"/>
                <a:gd name="connsiteX2419" fmla="*/ 251813 w 1926380"/>
                <a:gd name="connsiteY2419" fmla="*/ 618279 h 745576"/>
                <a:gd name="connsiteX2420" fmla="*/ 251540 w 1926380"/>
                <a:gd name="connsiteY2420" fmla="*/ 618763 h 745576"/>
                <a:gd name="connsiteX2421" fmla="*/ 251722 w 1926380"/>
                <a:gd name="connsiteY2421" fmla="*/ 619368 h 745576"/>
                <a:gd name="connsiteX2422" fmla="*/ 251843 w 1926380"/>
                <a:gd name="connsiteY2422" fmla="*/ 619579 h 745576"/>
                <a:gd name="connsiteX2423" fmla="*/ 251843 w 1926380"/>
                <a:gd name="connsiteY2423" fmla="*/ 619822 h 745576"/>
                <a:gd name="connsiteX2424" fmla="*/ 251510 w 1926380"/>
                <a:gd name="connsiteY2424" fmla="*/ 620427 h 745576"/>
                <a:gd name="connsiteX2425" fmla="*/ 250875 w 1926380"/>
                <a:gd name="connsiteY2425" fmla="*/ 618914 h 745576"/>
                <a:gd name="connsiteX2426" fmla="*/ 250694 w 1926380"/>
                <a:gd name="connsiteY2426" fmla="*/ 618037 h 745576"/>
                <a:gd name="connsiteX2427" fmla="*/ 250149 w 1926380"/>
                <a:gd name="connsiteY2427" fmla="*/ 618037 h 745576"/>
                <a:gd name="connsiteX2428" fmla="*/ 249181 w 1926380"/>
                <a:gd name="connsiteY2428" fmla="*/ 618430 h 745576"/>
                <a:gd name="connsiteX2429" fmla="*/ 246973 w 1926380"/>
                <a:gd name="connsiteY2429" fmla="*/ 617401 h 745576"/>
                <a:gd name="connsiteX2430" fmla="*/ 245944 w 1926380"/>
                <a:gd name="connsiteY2430" fmla="*/ 618037 h 745576"/>
                <a:gd name="connsiteX2431" fmla="*/ 245278 w 1926380"/>
                <a:gd name="connsiteY2431" fmla="*/ 618037 h 745576"/>
                <a:gd name="connsiteX2432" fmla="*/ 244764 w 1926380"/>
                <a:gd name="connsiteY2432" fmla="*/ 617583 h 745576"/>
                <a:gd name="connsiteX2433" fmla="*/ 244311 w 1926380"/>
                <a:gd name="connsiteY2433" fmla="*/ 617371 h 745576"/>
                <a:gd name="connsiteX2434" fmla="*/ 243796 w 1926380"/>
                <a:gd name="connsiteY2434" fmla="*/ 617523 h 745576"/>
                <a:gd name="connsiteX2435" fmla="*/ 243161 w 1926380"/>
                <a:gd name="connsiteY2435" fmla="*/ 618037 h 745576"/>
                <a:gd name="connsiteX2436" fmla="*/ 242435 w 1926380"/>
                <a:gd name="connsiteY2436" fmla="*/ 617432 h 745576"/>
                <a:gd name="connsiteX2437" fmla="*/ 241467 w 1926380"/>
                <a:gd name="connsiteY2437" fmla="*/ 617190 h 745576"/>
                <a:gd name="connsiteX2438" fmla="*/ 239077 w 1926380"/>
                <a:gd name="connsiteY2438" fmla="*/ 617250 h 745576"/>
                <a:gd name="connsiteX2439" fmla="*/ 239077 w 1926380"/>
                <a:gd name="connsiteY2439" fmla="*/ 618037 h 745576"/>
                <a:gd name="connsiteX2440" fmla="*/ 241073 w 1926380"/>
                <a:gd name="connsiteY2440" fmla="*/ 618037 h 745576"/>
                <a:gd name="connsiteX2441" fmla="*/ 241073 w 1926380"/>
                <a:gd name="connsiteY2441" fmla="*/ 618763 h 745576"/>
                <a:gd name="connsiteX2442" fmla="*/ 240226 w 1926380"/>
                <a:gd name="connsiteY2442" fmla="*/ 618702 h 745576"/>
                <a:gd name="connsiteX2443" fmla="*/ 238502 w 1926380"/>
                <a:gd name="connsiteY2443" fmla="*/ 618853 h 745576"/>
                <a:gd name="connsiteX2444" fmla="*/ 237655 w 1926380"/>
                <a:gd name="connsiteY2444" fmla="*/ 618793 h 745576"/>
                <a:gd name="connsiteX2445" fmla="*/ 238018 w 1926380"/>
                <a:gd name="connsiteY2445" fmla="*/ 619338 h 745576"/>
                <a:gd name="connsiteX2446" fmla="*/ 238230 w 1926380"/>
                <a:gd name="connsiteY2446" fmla="*/ 619761 h 745576"/>
                <a:gd name="connsiteX2447" fmla="*/ 238502 w 1926380"/>
                <a:gd name="connsiteY2447" fmla="*/ 620124 h 745576"/>
                <a:gd name="connsiteX2448" fmla="*/ 239107 w 1926380"/>
                <a:gd name="connsiteY2448" fmla="*/ 620487 h 745576"/>
                <a:gd name="connsiteX2449" fmla="*/ 238381 w 1926380"/>
                <a:gd name="connsiteY2449" fmla="*/ 621334 h 745576"/>
                <a:gd name="connsiteX2450" fmla="*/ 237050 w 1926380"/>
                <a:gd name="connsiteY2450" fmla="*/ 620487 h 745576"/>
                <a:gd name="connsiteX2451" fmla="*/ 237685 w 1926380"/>
                <a:gd name="connsiteY2451" fmla="*/ 621516 h 745576"/>
                <a:gd name="connsiteX2452" fmla="*/ 238472 w 1926380"/>
                <a:gd name="connsiteY2452" fmla="*/ 622574 h 745576"/>
                <a:gd name="connsiteX2453" fmla="*/ 240499 w 1926380"/>
                <a:gd name="connsiteY2453" fmla="*/ 624480 h 745576"/>
                <a:gd name="connsiteX2454" fmla="*/ 240499 w 1926380"/>
                <a:gd name="connsiteY2454" fmla="*/ 625207 h 745576"/>
                <a:gd name="connsiteX2455" fmla="*/ 239440 w 1926380"/>
                <a:gd name="connsiteY2455" fmla="*/ 625599 h 745576"/>
                <a:gd name="connsiteX2456" fmla="*/ 238563 w 1926380"/>
                <a:gd name="connsiteY2456" fmla="*/ 626144 h 745576"/>
                <a:gd name="connsiteX2457" fmla="*/ 237806 w 1926380"/>
                <a:gd name="connsiteY2457" fmla="*/ 626416 h 745576"/>
                <a:gd name="connsiteX2458" fmla="*/ 237050 w 1926380"/>
                <a:gd name="connsiteY2458" fmla="*/ 626053 h 745576"/>
                <a:gd name="connsiteX2459" fmla="*/ 236657 w 1926380"/>
                <a:gd name="connsiteY2459" fmla="*/ 626296 h 745576"/>
                <a:gd name="connsiteX2460" fmla="*/ 236354 w 1926380"/>
                <a:gd name="connsiteY2460" fmla="*/ 626537 h 745576"/>
                <a:gd name="connsiteX2461" fmla="*/ 236082 w 1926380"/>
                <a:gd name="connsiteY2461" fmla="*/ 626719 h 745576"/>
                <a:gd name="connsiteX2462" fmla="*/ 235628 w 1926380"/>
                <a:gd name="connsiteY2462" fmla="*/ 626779 h 745576"/>
                <a:gd name="connsiteX2463" fmla="*/ 236808 w 1926380"/>
                <a:gd name="connsiteY2463" fmla="*/ 627748 h 745576"/>
                <a:gd name="connsiteX2464" fmla="*/ 237413 w 1926380"/>
                <a:gd name="connsiteY2464" fmla="*/ 628867 h 745576"/>
                <a:gd name="connsiteX2465" fmla="*/ 237292 w 1926380"/>
                <a:gd name="connsiteY2465" fmla="*/ 629532 h 745576"/>
                <a:gd name="connsiteX2466" fmla="*/ 236354 w 1926380"/>
                <a:gd name="connsiteY2466" fmla="*/ 629230 h 745576"/>
                <a:gd name="connsiteX2467" fmla="*/ 235658 w 1926380"/>
                <a:gd name="connsiteY2467" fmla="*/ 630016 h 745576"/>
                <a:gd name="connsiteX2468" fmla="*/ 237534 w 1926380"/>
                <a:gd name="connsiteY2468" fmla="*/ 630016 h 745576"/>
                <a:gd name="connsiteX2469" fmla="*/ 238926 w 1926380"/>
                <a:gd name="connsiteY2469" fmla="*/ 630289 h 745576"/>
                <a:gd name="connsiteX2470" fmla="*/ 239894 w 1926380"/>
                <a:gd name="connsiteY2470" fmla="*/ 630984 h 745576"/>
                <a:gd name="connsiteX2471" fmla="*/ 240529 w 1926380"/>
                <a:gd name="connsiteY2471" fmla="*/ 632376 h 745576"/>
                <a:gd name="connsiteX2472" fmla="*/ 238654 w 1926380"/>
                <a:gd name="connsiteY2472" fmla="*/ 633677 h 745576"/>
                <a:gd name="connsiteX2473" fmla="*/ 238048 w 1926380"/>
                <a:gd name="connsiteY2473" fmla="*/ 634312 h 745576"/>
                <a:gd name="connsiteX2474" fmla="*/ 237716 w 1926380"/>
                <a:gd name="connsiteY2474" fmla="*/ 635522 h 745576"/>
                <a:gd name="connsiteX2475" fmla="*/ 235991 w 1926380"/>
                <a:gd name="connsiteY2475" fmla="*/ 634009 h 745576"/>
                <a:gd name="connsiteX2476" fmla="*/ 234358 w 1926380"/>
                <a:gd name="connsiteY2476" fmla="*/ 633556 h 745576"/>
                <a:gd name="connsiteX2477" fmla="*/ 230848 w 1926380"/>
                <a:gd name="connsiteY2477" fmla="*/ 633949 h 745576"/>
                <a:gd name="connsiteX2478" fmla="*/ 228912 w 1926380"/>
                <a:gd name="connsiteY2478" fmla="*/ 633858 h 745576"/>
                <a:gd name="connsiteX2479" fmla="*/ 226886 w 1926380"/>
                <a:gd name="connsiteY2479" fmla="*/ 633405 h 745576"/>
                <a:gd name="connsiteX2480" fmla="*/ 225252 w 1926380"/>
                <a:gd name="connsiteY2480" fmla="*/ 632709 h 745576"/>
                <a:gd name="connsiteX2481" fmla="*/ 224617 w 1926380"/>
                <a:gd name="connsiteY2481" fmla="*/ 631953 h 745576"/>
                <a:gd name="connsiteX2482" fmla="*/ 223558 w 1926380"/>
                <a:gd name="connsiteY2482" fmla="*/ 632346 h 745576"/>
                <a:gd name="connsiteX2483" fmla="*/ 214755 w 1926380"/>
                <a:gd name="connsiteY2483" fmla="*/ 632588 h 745576"/>
                <a:gd name="connsiteX2484" fmla="*/ 213393 w 1926380"/>
                <a:gd name="connsiteY2484" fmla="*/ 633223 h 745576"/>
                <a:gd name="connsiteX2485" fmla="*/ 210822 w 1926380"/>
                <a:gd name="connsiteY2485" fmla="*/ 635492 h 745576"/>
                <a:gd name="connsiteX2486" fmla="*/ 209642 w 1926380"/>
                <a:gd name="connsiteY2486" fmla="*/ 635129 h 745576"/>
                <a:gd name="connsiteX2487" fmla="*/ 208342 w 1926380"/>
                <a:gd name="connsiteY2487" fmla="*/ 635371 h 745576"/>
                <a:gd name="connsiteX2488" fmla="*/ 206920 w 1926380"/>
                <a:gd name="connsiteY2488" fmla="*/ 635461 h 745576"/>
                <a:gd name="connsiteX2489" fmla="*/ 205347 w 1926380"/>
                <a:gd name="connsiteY2489" fmla="*/ 634645 h 745576"/>
                <a:gd name="connsiteX2490" fmla="*/ 203894 w 1926380"/>
                <a:gd name="connsiteY2490" fmla="*/ 635159 h 745576"/>
                <a:gd name="connsiteX2491" fmla="*/ 199296 w 1926380"/>
                <a:gd name="connsiteY2491" fmla="*/ 632588 h 745576"/>
                <a:gd name="connsiteX2492" fmla="*/ 197088 w 1926380"/>
                <a:gd name="connsiteY2492" fmla="*/ 633132 h 745576"/>
                <a:gd name="connsiteX2493" fmla="*/ 196543 w 1926380"/>
                <a:gd name="connsiteY2493" fmla="*/ 634524 h 745576"/>
                <a:gd name="connsiteX2494" fmla="*/ 196453 w 1926380"/>
                <a:gd name="connsiteY2494" fmla="*/ 636067 h 745576"/>
                <a:gd name="connsiteX2495" fmla="*/ 195908 w 1926380"/>
                <a:gd name="connsiteY2495" fmla="*/ 637307 h 745576"/>
                <a:gd name="connsiteX2496" fmla="*/ 194002 w 1926380"/>
                <a:gd name="connsiteY2496" fmla="*/ 637821 h 745576"/>
                <a:gd name="connsiteX2497" fmla="*/ 190402 w 1926380"/>
                <a:gd name="connsiteY2497" fmla="*/ 637610 h 745576"/>
                <a:gd name="connsiteX2498" fmla="*/ 182991 w 1926380"/>
                <a:gd name="connsiteY2498" fmla="*/ 638608 h 745576"/>
                <a:gd name="connsiteX2499" fmla="*/ 180540 w 1926380"/>
                <a:gd name="connsiteY2499" fmla="*/ 638396 h 745576"/>
                <a:gd name="connsiteX2500" fmla="*/ 179603 w 1926380"/>
                <a:gd name="connsiteY2500" fmla="*/ 638608 h 745576"/>
                <a:gd name="connsiteX2501" fmla="*/ 178483 w 1926380"/>
                <a:gd name="connsiteY2501" fmla="*/ 639394 h 745576"/>
                <a:gd name="connsiteX2502" fmla="*/ 177334 w 1926380"/>
                <a:gd name="connsiteY2502" fmla="*/ 640725 h 745576"/>
                <a:gd name="connsiteX2503" fmla="*/ 176910 w 1926380"/>
                <a:gd name="connsiteY2503" fmla="*/ 642571 h 745576"/>
                <a:gd name="connsiteX2504" fmla="*/ 176033 w 1926380"/>
                <a:gd name="connsiteY2504" fmla="*/ 643750 h 745576"/>
                <a:gd name="connsiteX2505" fmla="*/ 174762 w 1926380"/>
                <a:gd name="connsiteY2505" fmla="*/ 644295 h 745576"/>
                <a:gd name="connsiteX2506" fmla="*/ 173068 w 1926380"/>
                <a:gd name="connsiteY2506" fmla="*/ 644295 h 745576"/>
                <a:gd name="connsiteX2507" fmla="*/ 171404 w 1926380"/>
                <a:gd name="connsiteY2507" fmla="*/ 643902 h 745576"/>
                <a:gd name="connsiteX2508" fmla="*/ 170134 w 1926380"/>
                <a:gd name="connsiteY2508" fmla="*/ 643418 h 745576"/>
                <a:gd name="connsiteX2509" fmla="*/ 170134 w 1926380"/>
                <a:gd name="connsiteY2509" fmla="*/ 644144 h 745576"/>
                <a:gd name="connsiteX2510" fmla="*/ 170981 w 1926380"/>
                <a:gd name="connsiteY2510" fmla="*/ 644567 h 745576"/>
                <a:gd name="connsiteX2511" fmla="*/ 171435 w 1926380"/>
                <a:gd name="connsiteY2511" fmla="*/ 645142 h 745576"/>
                <a:gd name="connsiteX2512" fmla="*/ 171435 w 1926380"/>
                <a:gd name="connsiteY2512" fmla="*/ 645838 h 745576"/>
                <a:gd name="connsiteX2513" fmla="*/ 170830 w 1926380"/>
                <a:gd name="connsiteY2513" fmla="*/ 646534 h 745576"/>
                <a:gd name="connsiteX2514" fmla="*/ 171193 w 1926380"/>
                <a:gd name="connsiteY2514" fmla="*/ 646624 h 745576"/>
                <a:gd name="connsiteX2515" fmla="*/ 171465 w 1926380"/>
                <a:gd name="connsiteY2515" fmla="*/ 646624 h 745576"/>
                <a:gd name="connsiteX2516" fmla="*/ 171616 w 1926380"/>
                <a:gd name="connsiteY2516" fmla="*/ 646775 h 745576"/>
                <a:gd name="connsiteX2517" fmla="*/ 171616 w 1926380"/>
                <a:gd name="connsiteY2517" fmla="*/ 647260 h 745576"/>
                <a:gd name="connsiteX2518" fmla="*/ 172857 w 1926380"/>
                <a:gd name="connsiteY2518" fmla="*/ 646594 h 745576"/>
                <a:gd name="connsiteX2519" fmla="*/ 173976 w 1926380"/>
                <a:gd name="connsiteY2519" fmla="*/ 646655 h 745576"/>
                <a:gd name="connsiteX2520" fmla="*/ 174762 w 1926380"/>
                <a:gd name="connsiteY2520" fmla="*/ 647411 h 745576"/>
                <a:gd name="connsiteX2521" fmla="*/ 175004 w 1926380"/>
                <a:gd name="connsiteY2521" fmla="*/ 648833 h 745576"/>
                <a:gd name="connsiteX2522" fmla="*/ 176154 w 1926380"/>
                <a:gd name="connsiteY2522" fmla="*/ 648409 h 745576"/>
                <a:gd name="connsiteX2523" fmla="*/ 177152 w 1926380"/>
                <a:gd name="connsiteY2523" fmla="*/ 648470 h 745576"/>
                <a:gd name="connsiteX2524" fmla="*/ 179421 w 1926380"/>
                <a:gd name="connsiteY2524" fmla="*/ 648863 h 745576"/>
                <a:gd name="connsiteX2525" fmla="*/ 180177 w 1926380"/>
                <a:gd name="connsiteY2525" fmla="*/ 649135 h 745576"/>
                <a:gd name="connsiteX2526" fmla="*/ 181418 w 1926380"/>
                <a:gd name="connsiteY2526" fmla="*/ 650285 h 745576"/>
                <a:gd name="connsiteX2527" fmla="*/ 181872 w 1926380"/>
                <a:gd name="connsiteY2527" fmla="*/ 650497 h 745576"/>
                <a:gd name="connsiteX2528" fmla="*/ 182355 w 1926380"/>
                <a:gd name="connsiteY2528" fmla="*/ 650224 h 745576"/>
                <a:gd name="connsiteX2529" fmla="*/ 182779 w 1926380"/>
                <a:gd name="connsiteY2529" fmla="*/ 649650 h 745576"/>
                <a:gd name="connsiteX2530" fmla="*/ 183233 w 1926380"/>
                <a:gd name="connsiteY2530" fmla="*/ 648863 h 745576"/>
                <a:gd name="connsiteX2531" fmla="*/ 190070 w 1926380"/>
                <a:gd name="connsiteY2531" fmla="*/ 646564 h 745576"/>
                <a:gd name="connsiteX2532" fmla="*/ 190614 w 1926380"/>
                <a:gd name="connsiteY2532" fmla="*/ 647774 h 745576"/>
                <a:gd name="connsiteX2533" fmla="*/ 191673 w 1926380"/>
                <a:gd name="connsiteY2533" fmla="*/ 647865 h 745576"/>
                <a:gd name="connsiteX2534" fmla="*/ 193155 w 1926380"/>
                <a:gd name="connsiteY2534" fmla="*/ 647472 h 745576"/>
                <a:gd name="connsiteX2535" fmla="*/ 194970 w 1926380"/>
                <a:gd name="connsiteY2535" fmla="*/ 647260 h 745576"/>
                <a:gd name="connsiteX2536" fmla="*/ 196634 w 1926380"/>
                <a:gd name="connsiteY2536" fmla="*/ 647532 h 745576"/>
                <a:gd name="connsiteX2537" fmla="*/ 198449 w 1926380"/>
                <a:gd name="connsiteY2537" fmla="*/ 648137 h 745576"/>
                <a:gd name="connsiteX2538" fmla="*/ 201777 w 1926380"/>
                <a:gd name="connsiteY2538" fmla="*/ 649680 h 745576"/>
                <a:gd name="connsiteX2539" fmla="*/ 201989 w 1926380"/>
                <a:gd name="connsiteY2539" fmla="*/ 647169 h 745576"/>
                <a:gd name="connsiteX2540" fmla="*/ 203380 w 1926380"/>
                <a:gd name="connsiteY2540" fmla="*/ 643539 h 745576"/>
                <a:gd name="connsiteX2541" fmla="*/ 203108 w 1926380"/>
                <a:gd name="connsiteY2541" fmla="*/ 642541 h 745576"/>
                <a:gd name="connsiteX2542" fmla="*/ 203108 w 1926380"/>
                <a:gd name="connsiteY2542" fmla="*/ 641754 h 745576"/>
                <a:gd name="connsiteX2543" fmla="*/ 204560 w 1926380"/>
                <a:gd name="connsiteY2543" fmla="*/ 640877 h 745576"/>
                <a:gd name="connsiteX2544" fmla="*/ 206678 w 1926380"/>
                <a:gd name="connsiteY2544" fmla="*/ 638336 h 745576"/>
                <a:gd name="connsiteX2545" fmla="*/ 208342 w 1926380"/>
                <a:gd name="connsiteY2545" fmla="*/ 637821 h 745576"/>
                <a:gd name="connsiteX2546" fmla="*/ 209915 w 1926380"/>
                <a:gd name="connsiteY2546" fmla="*/ 638003 h 745576"/>
                <a:gd name="connsiteX2547" fmla="*/ 211185 w 1926380"/>
                <a:gd name="connsiteY2547" fmla="*/ 638336 h 745576"/>
                <a:gd name="connsiteX2548" fmla="*/ 212335 w 1926380"/>
                <a:gd name="connsiteY2548" fmla="*/ 638396 h 745576"/>
                <a:gd name="connsiteX2549" fmla="*/ 213514 w 1926380"/>
                <a:gd name="connsiteY2549" fmla="*/ 637821 h 745576"/>
                <a:gd name="connsiteX2550" fmla="*/ 213514 w 1926380"/>
                <a:gd name="connsiteY2550" fmla="*/ 638608 h 745576"/>
                <a:gd name="connsiteX2551" fmla="*/ 215390 w 1926380"/>
                <a:gd name="connsiteY2551" fmla="*/ 637821 h 745576"/>
                <a:gd name="connsiteX2552" fmla="*/ 217387 w 1926380"/>
                <a:gd name="connsiteY2552" fmla="*/ 638214 h 745576"/>
                <a:gd name="connsiteX2553" fmla="*/ 219141 w 1926380"/>
                <a:gd name="connsiteY2553" fmla="*/ 639213 h 745576"/>
                <a:gd name="connsiteX2554" fmla="*/ 220382 w 1926380"/>
                <a:gd name="connsiteY2554" fmla="*/ 640181 h 745576"/>
                <a:gd name="connsiteX2555" fmla="*/ 221077 w 1926380"/>
                <a:gd name="connsiteY2555" fmla="*/ 640181 h 745576"/>
                <a:gd name="connsiteX2556" fmla="*/ 221834 w 1926380"/>
                <a:gd name="connsiteY2556" fmla="*/ 638789 h 745576"/>
                <a:gd name="connsiteX2557" fmla="*/ 222469 w 1926380"/>
                <a:gd name="connsiteY2557" fmla="*/ 639001 h 745576"/>
                <a:gd name="connsiteX2558" fmla="*/ 223104 w 1926380"/>
                <a:gd name="connsiteY2558" fmla="*/ 639788 h 745576"/>
                <a:gd name="connsiteX2559" fmla="*/ 223830 w 1926380"/>
                <a:gd name="connsiteY2559" fmla="*/ 640181 h 745576"/>
                <a:gd name="connsiteX2560" fmla="*/ 224587 w 1926380"/>
                <a:gd name="connsiteY2560" fmla="*/ 639606 h 745576"/>
                <a:gd name="connsiteX2561" fmla="*/ 225373 w 1926380"/>
                <a:gd name="connsiteY2561" fmla="*/ 638729 h 745576"/>
                <a:gd name="connsiteX2562" fmla="*/ 226069 w 1926380"/>
                <a:gd name="connsiteY2562" fmla="*/ 638577 h 745576"/>
                <a:gd name="connsiteX2563" fmla="*/ 226583 w 1926380"/>
                <a:gd name="connsiteY2563" fmla="*/ 640151 h 745576"/>
                <a:gd name="connsiteX2564" fmla="*/ 228066 w 1926380"/>
                <a:gd name="connsiteY2564" fmla="*/ 639455 h 745576"/>
                <a:gd name="connsiteX2565" fmla="*/ 229306 w 1926380"/>
                <a:gd name="connsiteY2565" fmla="*/ 638336 h 745576"/>
                <a:gd name="connsiteX2566" fmla="*/ 230244 w 1926380"/>
                <a:gd name="connsiteY2566" fmla="*/ 637942 h 745576"/>
                <a:gd name="connsiteX2567" fmla="*/ 230758 w 1926380"/>
                <a:gd name="connsiteY2567" fmla="*/ 639364 h 745576"/>
                <a:gd name="connsiteX2568" fmla="*/ 231454 w 1926380"/>
                <a:gd name="connsiteY2568" fmla="*/ 639364 h 745576"/>
                <a:gd name="connsiteX2569" fmla="*/ 232936 w 1926380"/>
                <a:gd name="connsiteY2569" fmla="*/ 638608 h 745576"/>
                <a:gd name="connsiteX2570" fmla="*/ 236838 w 1926380"/>
                <a:gd name="connsiteY2570" fmla="*/ 637519 h 745576"/>
                <a:gd name="connsiteX2571" fmla="*/ 238321 w 1926380"/>
                <a:gd name="connsiteY2571" fmla="*/ 636127 h 745576"/>
                <a:gd name="connsiteX2572" fmla="*/ 238835 w 1926380"/>
                <a:gd name="connsiteY2572" fmla="*/ 637337 h 745576"/>
                <a:gd name="connsiteX2573" fmla="*/ 239621 w 1926380"/>
                <a:gd name="connsiteY2573" fmla="*/ 637458 h 745576"/>
                <a:gd name="connsiteX2574" fmla="*/ 241799 w 1926380"/>
                <a:gd name="connsiteY2574" fmla="*/ 636097 h 745576"/>
                <a:gd name="connsiteX2575" fmla="*/ 243524 w 1926380"/>
                <a:gd name="connsiteY2575" fmla="*/ 633616 h 745576"/>
                <a:gd name="connsiteX2576" fmla="*/ 244401 w 1926380"/>
                <a:gd name="connsiteY2576" fmla="*/ 633072 h 745576"/>
                <a:gd name="connsiteX2577" fmla="*/ 245581 w 1926380"/>
                <a:gd name="connsiteY2577" fmla="*/ 632890 h 745576"/>
                <a:gd name="connsiteX2578" fmla="*/ 246761 w 1926380"/>
                <a:gd name="connsiteY2578" fmla="*/ 633162 h 745576"/>
                <a:gd name="connsiteX2579" fmla="*/ 247275 w 1926380"/>
                <a:gd name="connsiteY2579" fmla="*/ 634161 h 745576"/>
                <a:gd name="connsiteX2580" fmla="*/ 247426 w 1926380"/>
                <a:gd name="connsiteY2580" fmla="*/ 636551 h 745576"/>
                <a:gd name="connsiteX2581" fmla="*/ 247971 w 1926380"/>
                <a:gd name="connsiteY2581" fmla="*/ 638547 h 745576"/>
                <a:gd name="connsiteX2582" fmla="*/ 246640 w 1926380"/>
                <a:gd name="connsiteY2582" fmla="*/ 637398 h 745576"/>
                <a:gd name="connsiteX2583" fmla="*/ 246246 w 1926380"/>
                <a:gd name="connsiteY2583" fmla="*/ 636914 h 745576"/>
                <a:gd name="connsiteX2584" fmla="*/ 245883 w 1926380"/>
                <a:gd name="connsiteY2584" fmla="*/ 636127 h 745576"/>
                <a:gd name="connsiteX2585" fmla="*/ 245218 w 1926380"/>
                <a:gd name="connsiteY2585" fmla="*/ 636974 h 745576"/>
                <a:gd name="connsiteX2586" fmla="*/ 244038 w 1926380"/>
                <a:gd name="connsiteY2586" fmla="*/ 637912 h 745576"/>
                <a:gd name="connsiteX2587" fmla="*/ 243282 w 1926380"/>
                <a:gd name="connsiteY2587" fmla="*/ 638577 h 745576"/>
                <a:gd name="connsiteX2588" fmla="*/ 243070 w 1926380"/>
                <a:gd name="connsiteY2588" fmla="*/ 639334 h 745576"/>
                <a:gd name="connsiteX2589" fmla="*/ 243615 w 1926380"/>
                <a:gd name="connsiteY2589" fmla="*/ 640060 h 745576"/>
                <a:gd name="connsiteX2590" fmla="*/ 245611 w 1926380"/>
                <a:gd name="connsiteY2590" fmla="*/ 640241 h 745576"/>
                <a:gd name="connsiteX2591" fmla="*/ 246579 w 1926380"/>
                <a:gd name="connsiteY2591" fmla="*/ 640907 h 745576"/>
                <a:gd name="connsiteX2592" fmla="*/ 246519 w 1926380"/>
                <a:gd name="connsiteY2592" fmla="*/ 642571 h 745576"/>
                <a:gd name="connsiteX2593" fmla="*/ 244946 w 1926380"/>
                <a:gd name="connsiteY2593" fmla="*/ 643630 h 745576"/>
                <a:gd name="connsiteX2594" fmla="*/ 243463 w 1926380"/>
                <a:gd name="connsiteY2594" fmla="*/ 643508 h 745576"/>
                <a:gd name="connsiteX2595" fmla="*/ 243826 w 1926380"/>
                <a:gd name="connsiteY2595" fmla="*/ 641663 h 745576"/>
                <a:gd name="connsiteX2596" fmla="*/ 242828 w 1926380"/>
                <a:gd name="connsiteY2596" fmla="*/ 642208 h 745576"/>
                <a:gd name="connsiteX2597" fmla="*/ 239017 w 1926380"/>
                <a:gd name="connsiteY2597" fmla="*/ 642450 h 745576"/>
                <a:gd name="connsiteX2598" fmla="*/ 239077 w 1926380"/>
                <a:gd name="connsiteY2598" fmla="*/ 642601 h 745576"/>
                <a:gd name="connsiteX2599" fmla="*/ 238654 w 1926380"/>
                <a:gd name="connsiteY2599" fmla="*/ 643115 h 745576"/>
                <a:gd name="connsiteX2600" fmla="*/ 238048 w 1926380"/>
                <a:gd name="connsiteY2600" fmla="*/ 643690 h 745576"/>
                <a:gd name="connsiteX2601" fmla="*/ 237595 w 1926380"/>
                <a:gd name="connsiteY2601" fmla="*/ 644053 h 745576"/>
                <a:gd name="connsiteX2602" fmla="*/ 236959 w 1926380"/>
                <a:gd name="connsiteY2602" fmla="*/ 644174 h 745576"/>
                <a:gd name="connsiteX2603" fmla="*/ 234842 w 1926380"/>
                <a:gd name="connsiteY2603" fmla="*/ 644053 h 745576"/>
                <a:gd name="connsiteX2604" fmla="*/ 235507 w 1926380"/>
                <a:gd name="connsiteY2604" fmla="*/ 644840 h 745576"/>
                <a:gd name="connsiteX2605" fmla="*/ 231907 w 1926380"/>
                <a:gd name="connsiteY2605" fmla="*/ 645626 h 745576"/>
                <a:gd name="connsiteX2606" fmla="*/ 231393 w 1926380"/>
                <a:gd name="connsiteY2606" fmla="*/ 646049 h 745576"/>
                <a:gd name="connsiteX2607" fmla="*/ 231817 w 1926380"/>
                <a:gd name="connsiteY2607" fmla="*/ 647078 h 745576"/>
                <a:gd name="connsiteX2608" fmla="*/ 232815 w 1926380"/>
                <a:gd name="connsiteY2608" fmla="*/ 647532 h 745576"/>
                <a:gd name="connsiteX2609" fmla="*/ 233964 w 1926380"/>
                <a:gd name="connsiteY2609" fmla="*/ 647532 h 745576"/>
                <a:gd name="connsiteX2610" fmla="*/ 234842 w 1926380"/>
                <a:gd name="connsiteY2610" fmla="*/ 647169 h 745576"/>
                <a:gd name="connsiteX2611" fmla="*/ 235568 w 1926380"/>
                <a:gd name="connsiteY2611" fmla="*/ 647592 h 745576"/>
                <a:gd name="connsiteX2612" fmla="*/ 236748 w 1926380"/>
                <a:gd name="connsiteY2612" fmla="*/ 648046 h 745576"/>
                <a:gd name="connsiteX2613" fmla="*/ 237837 w 1926380"/>
                <a:gd name="connsiteY2613" fmla="*/ 648167 h 745576"/>
                <a:gd name="connsiteX2614" fmla="*/ 238321 w 1926380"/>
                <a:gd name="connsiteY2614" fmla="*/ 647623 h 745576"/>
                <a:gd name="connsiteX2615" fmla="*/ 238411 w 1926380"/>
                <a:gd name="connsiteY2615" fmla="*/ 646201 h 745576"/>
                <a:gd name="connsiteX2616" fmla="*/ 238684 w 1926380"/>
                <a:gd name="connsiteY2616" fmla="*/ 645838 h 745576"/>
                <a:gd name="connsiteX2617" fmla="*/ 239682 w 1926380"/>
                <a:gd name="connsiteY2617" fmla="*/ 646473 h 745576"/>
                <a:gd name="connsiteX2618" fmla="*/ 240680 w 1926380"/>
                <a:gd name="connsiteY2618" fmla="*/ 647441 h 745576"/>
                <a:gd name="connsiteX2619" fmla="*/ 241013 w 1926380"/>
                <a:gd name="connsiteY2619" fmla="*/ 648833 h 745576"/>
                <a:gd name="connsiteX2620" fmla="*/ 240680 w 1926380"/>
                <a:gd name="connsiteY2620" fmla="*/ 650194 h 745576"/>
                <a:gd name="connsiteX2621" fmla="*/ 239682 w 1926380"/>
                <a:gd name="connsiteY2621" fmla="*/ 651192 h 745576"/>
                <a:gd name="connsiteX2622" fmla="*/ 239682 w 1926380"/>
                <a:gd name="connsiteY2622" fmla="*/ 651918 h 745576"/>
                <a:gd name="connsiteX2623" fmla="*/ 240559 w 1926380"/>
                <a:gd name="connsiteY2623" fmla="*/ 651313 h 745576"/>
                <a:gd name="connsiteX2624" fmla="*/ 242495 w 1926380"/>
                <a:gd name="connsiteY2624" fmla="*/ 649619 h 745576"/>
                <a:gd name="connsiteX2625" fmla="*/ 243857 w 1926380"/>
                <a:gd name="connsiteY2625" fmla="*/ 651192 h 745576"/>
                <a:gd name="connsiteX2626" fmla="*/ 242435 w 1926380"/>
                <a:gd name="connsiteY2626" fmla="*/ 652675 h 745576"/>
                <a:gd name="connsiteX2627" fmla="*/ 241436 w 1926380"/>
                <a:gd name="connsiteY2627" fmla="*/ 654036 h 745576"/>
                <a:gd name="connsiteX2628" fmla="*/ 240287 w 1926380"/>
                <a:gd name="connsiteY2628" fmla="*/ 655155 h 745576"/>
                <a:gd name="connsiteX2629" fmla="*/ 238321 w 1926380"/>
                <a:gd name="connsiteY2629" fmla="*/ 655972 h 745576"/>
                <a:gd name="connsiteX2630" fmla="*/ 230758 w 1926380"/>
                <a:gd name="connsiteY2630" fmla="*/ 655972 h 745576"/>
                <a:gd name="connsiteX2631" fmla="*/ 231302 w 1926380"/>
                <a:gd name="connsiteY2631" fmla="*/ 656759 h 745576"/>
                <a:gd name="connsiteX2632" fmla="*/ 231605 w 1926380"/>
                <a:gd name="connsiteY2632" fmla="*/ 657122 h 745576"/>
                <a:gd name="connsiteX2633" fmla="*/ 232119 w 1926380"/>
                <a:gd name="connsiteY2633" fmla="*/ 657485 h 745576"/>
                <a:gd name="connsiteX2634" fmla="*/ 231907 w 1926380"/>
                <a:gd name="connsiteY2634" fmla="*/ 657848 h 745576"/>
                <a:gd name="connsiteX2635" fmla="*/ 231635 w 1926380"/>
                <a:gd name="connsiteY2635" fmla="*/ 658695 h 745576"/>
                <a:gd name="connsiteX2636" fmla="*/ 231423 w 1926380"/>
                <a:gd name="connsiteY2636" fmla="*/ 659058 h 745576"/>
                <a:gd name="connsiteX2637" fmla="*/ 232573 w 1926380"/>
                <a:gd name="connsiteY2637" fmla="*/ 660238 h 745576"/>
                <a:gd name="connsiteX2638" fmla="*/ 233904 w 1926380"/>
                <a:gd name="connsiteY2638" fmla="*/ 660933 h 745576"/>
                <a:gd name="connsiteX2639" fmla="*/ 235205 w 1926380"/>
                <a:gd name="connsiteY2639" fmla="*/ 660691 h 745576"/>
                <a:gd name="connsiteX2640" fmla="*/ 236233 w 1926380"/>
                <a:gd name="connsiteY2640" fmla="*/ 659088 h 745576"/>
                <a:gd name="connsiteX2641" fmla="*/ 236687 w 1926380"/>
                <a:gd name="connsiteY2641" fmla="*/ 660116 h 745576"/>
                <a:gd name="connsiteX2642" fmla="*/ 237443 w 1926380"/>
                <a:gd name="connsiteY2642" fmla="*/ 660479 h 745576"/>
                <a:gd name="connsiteX2643" fmla="*/ 238442 w 1926380"/>
                <a:gd name="connsiteY2643" fmla="*/ 660359 h 745576"/>
                <a:gd name="connsiteX2644" fmla="*/ 239652 w 1926380"/>
                <a:gd name="connsiteY2644" fmla="*/ 659875 h 745576"/>
                <a:gd name="connsiteX2645" fmla="*/ 239470 w 1926380"/>
                <a:gd name="connsiteY2645" fmla="*/ 659481 h 745576"/>
                <a:gd name="connsiteX2646" fmla="*/ 239228 w 1926380"/>
                <a:gd name="connsiteY2646" fmla="*/ 658664 h 745576"/>
                <a:gd name="connsiteX2647" fmla="*/ 239017 w 1926380"/>
                <a:gd name="connsiteY2647" fmla="*/ 658301 h 745576"/>
                <a:gd name="connsiteX2648" fmla="*/ 239924 w 1926380"/>
                <a:gd name="connsiteY2648" fmla="*/ 658060 h 745576"/>
                <a:gd name="connsiteX2649" fmla="*/ 240378 w 1926380"/>
                <a:gd name="connsiteY2649" fmla="*/ 657848 h 745576"/>
                <a:gd name="connsiteX2650" fmla="*/ 240650 w 1926380"/>
                <a:gd name="connsiteY2650" fmla="*/ 657454 h 745576"/>
                <a:gd name="connsiteX2651" fmla="*/ 241043 w 1926380"/>
                <a:gd name="connsiteY2651" fmla="*/ 656728 h 745576"/>
                <a:gd name="connsiteX2652" fmla="*/ 243705 w 1926380"/>
                <a:gd name="connsiteY2652" fmla="*/ 657575 h 745576"/>
                <a:gd name="connsiteX2653" fmla="*/ 246065 w 1926380"/>
                <a:gd name="connsiteY2653" fmla="*/ 655821 h 745576"/>
                <a:gd name="connsiteX2654" fmla="*/ 248001 w 1926380"/>
                <a:gd name="connsiteY2654" fmla="*/ 652977 h 745576"/>
                <a:gd name="connsiteX2655" fmla="*/ 249362 w 1926380"/>
                <a:gd name="connsiteY2655" fmla="*/ 650436 h 745576"/>
                <a:gd name="connsiteX2656" fmla="*/ 251177 w 1926380"/>
                <a:gd name="connsiteY2656" fmla="*/ 647955 h 745576"/>
                <a:gd name="connsiteX2657" fmla="*/ 253144 w 1926380"/>
                <a:gd name="connsiteY2657" fmla="*/ 646594 h 745576"/>
                <a:gd name="connsiteX2658" fmla="*/ 258347 w 1926380"/>
                <a:gd name="connsiteY2658" fmla="*/ 644900 h 745576"/>
                <a:gd name="connsiteX2659" fmla="*/ 258166 w 1926380"/>
                <a:gd name="connsiteY2659" fmla="*/ 644295 h 745576"/>
                <a:gd name="connsiteX2660" fmla="*/ 258045 w 1926380"/>
                <a:gd name="connsiteY2660" fmla="*/ 644295 h 745576"/>
                <a:gd name="connsiteX2661" fmla="*/ 257561 w 1926380"/>
                <a:gd name="connsiteY2661" fmla="*/ 644114 h 745576"/>
                <a:gd name="connsiteX2662" fmla="*/ 257954 w 1926380"/>
                <a:gd name="connsiteY2662" fmla="*/ 643750 h 745576"/>
                <a:gd name="connsiteX2663" fmla="*/ 258196 w 1926380"/>
                <a:gd name="connsiteY2663" fmla="*/ 643478 h 745576"/>
                <a:gd name="connsiteX2664" fmla="*/ 258347 w 1926380"/>
                <a:gd name="connsiteY2664" fmla="*/ 643115 h 745576"/>
                <a:gd name="connsiteX2665" fmla="*/ 258347 w 1926380"/>
                <a:gd name="connsiteY2665" fmla="*/ 642541 h 745576"/>
                <a:gd name="connsiteX2666" fmla="*/ 259013 w 1926380"/>
                <a:gd name="connsiteY2666" fmla="*/ 643055 h 745576"/>
                <a:gd name="connsiteX2667" fmla="*/ 259678 w 1926380"/>
                <a:gd name="connsiteY2667" fmla="*/ 643418 h 745576"/>
                <a:gd name="connsiteX2668" fmla="*/ 260344 w 1926380"/>
                <a:gd name="connsiteY2668" fmla="*/ 641633 h 745576"/>
                <a:gd name="connsiteX2669" fmla="*/ 261765 w 1926380"/>
                <a:gd name="connsiteY2669" fmla="*/ 641270 h 745576"/>
                <a:gd name="connsiteX2670" fmla="*/ 263369 w 1926380"/>
                <a:gd name="connsiteY2670" fmla="*/ 641754 h 745576"/>
                <a:gd name="connsiteX2671" fmla="*/ 264579 w 1926380"/>
                <a:gd name="connsiteY2671" fmla="*/ 642541 h 745576"/>
                <a:gd name="connsiteX2672" fmla="*/ 263913 w 1926380"/>
                <a:gd name="connsiteY2672" fmla="*/ 639939 h 745576"/>
                <a:gd name="connsiteX2673" fmla="*/ 259920 w 1926380"/>
                <a:gd name="connsiteY2673" fmla="*/ 637156 h 745576"/>
                <a:gd name="connsiteX2674" fmla="*/ 260374 w 1926380"/>
                <a:gd name="connsiteY2674" fmla="*/ 634645 h 745576"/>
                <a:gd name="connsiteX2675" fmla="*/ 258982 w 1926380"/>
                <a:gd name="connsiteY2675" fmla="*/ 633495 h 745576"/>
                <a:gd name="connsiteX2676" fmla="*/ 258710 w 1926380"/>
                <a:gd name="connsiteY2676" fmla="*/ 631831 h 745576"/>
                <a:gd name="connsiteX2677" fmla="*/ 259376 w 1926380"/>
                <a:gd name="connsiteY2677" fmla="*/ 629926 h 745576"/>
                <a:gd name="connsiteX2678" fmla="*/ 260797 w 1926380"/>
                <a:gd name="connsiteY2678" fmla="*/ 628050 h 745576"/>
                <a:gd name="connsiteX2679" fmla="*/ 262401 w 1926380"/>
                <a:gd name="connsiteY2679" fmla="*/ 627385 h 745576"/>
                <a:gd name="connsiteX2680" fmla="*/ 263944 w 1926380"/>
                <a:gd name="connsiteY2680" fmla="*/ 628080 h 745576"/>
                <a:gd name="connsiteX2681" fmla="*/ 265365 w 1926380"/>
                <a:gd name="connsiteY2681" fmla="*/ 629260 h 745576"/>
                <a:gd name="connsiteX2682" fmla="*/ 266576 w 1926380"/>
                <a:gd name="connsiteY2682" fmla="*/ 630016 h 745576"/>
                <a:gd name="connsiteX2683" fmla="*/ 266576 w 1926380"/>
                <a:gd name="connsiteY2683" fmla="*/ 630803 h 745576"/>
                <a:gd name="connsiteX2684" fmla="*/ 263974 w 1926380"/>
                <a:gd name="connsiteY2684" fmla="*/ 631257 h 745576"/>
                <a:gd name="connsiteX2685" fmla="*/ 262915 w 1926380"/>
                <a:gd name="connsiteY2685" fmla="*/ 631741 h 745576"/>
                <a:gd name="connsiteX2686" fmla="*/ 262461 w 1926380"/>
                <a:gd name="connsiteY2686" fmla="*/ 632769 h 745576"/>
                <a:gd name="connsiteX2687" fmla="*/ 262885 w 1926380"/>
                <a:gd name="connsiteY2687" fmla="*/ 633768 h 745576"/>
                <a:gd name="connsiteX2688" fmla="*/ 263944 w 1926380"/>
                <a:gd name="connsiteY2688" fmla="*/ 634070 h 745576"/>
                <a:gd name="connsiteX2689" fmla="*/ 266606 w 1926380"/>
                <a:gd name="connsiteY2689" fmla="*/ 633919 h 745576"/>
                <a:gd name="connsiteX2690" fmla="*/ 266394 w 1926380"/>
                <a:gd name="connsiteY2690" fmla="*/ 633283 h 745576"/>
                <a:gd name="connsiteX2691" fmla="*/ 266001 w 1926380"/>
                <a:gd name="connsiteY2691" fmla="*/ 631468 h 745576"/>
                <a:gd name="connsiteX2692" fmla="*/ 266606 w 1926380"/>
                <a:gd name="connsiteY2692" fmla="*/ 631468 h 745576"/>
                <a:gd name="connsiteX2693" fmla="*/ 267634 w 1926380"/>
                <a:gd name="connsiteY2693" fmla="*/ 632134 h 745576"/>
                <a:gd name="connsiteX2694" fmla="*/ 272838 w 1926380"/>
                <a:gd name="connsiteY2694" fmla="*/ 634584 h 745576"/>
                <a:gd name="connsiteX2695" fmla="*/ 274774 w 1926380"/>
                <a:gd name="connsiteY2695" fmla="*/ 634494 h 745576"/>
                <a:gd name="connsiteX2696" fmla="*/ 275832 w 1926380"/>
                <a:gd name="connsiteY2696" fmla="*/ 633314 h 745576"/>
                <a:gd name="connsiteX2697" fmla="*/ 276619 w 1926380"/>
                <a:gd name="connsiteY2697" fmla="*/ 631590 h 745576"/>
                <a:gd name="connsiteX2698" fmla="*/ 277678 w 1926380"/>
                <a:gd name="connsiteY2698" fmla="*/ 629926 h 745576"/>
                <a:gd name="connsiteX2699" fmla="*/ 276649 w 1926380"/>
                <a:gd name="connsiteY2699" fmla="*/ 628988 h 745576"/>
                <a:gd name="connsiteX2700" fmla="*/ 275681 w 1926380"/>
                <a:gd name="connsiteY2700" fmla="*/ 628927 h 745576"/>
                <a:gd name="connsiteX2701" fmla="*/ 274834 w 1926380"/>
                <a:gd name="connsiteY2701" fmla="*/ 629169 h 745576"/>
                <a:gd name="connsiteX2702" fmla="*/ 274199 w 1926380"/>
                <a:gd name="connsiteY2702" fmla="*/ 629109 h 745576"/>
                <a:gd name="connsiteX2703" fmla="*/ 273533 w 1926380"/>
                <a:gd name="connsiteY2703" fmla="*/ 628474 h 745576"/>
                <a:gd name="connsiteX2704" fmla="*/ 272898 w 1926380"/>
                <a:gd name="connsiteY2704" fmla="*/ 627687 h 745576"/>
                <a:gd name="connsiteX2705" fmla="*/ 272838 w 1926380"/>
                <a:gd name="connsiteY2705" fmla="*/ 626991 h 745576"/>
                <a:gd name="connsiteX2706" fmla="*/ 273866 w 1926380"/>
                <a:gd name="connsiteY2706" fmla="*/ 626689 h 745576"/>
                <a:gd name="connsiteX2707" fmla="*/ 276801 w 1926380"/>
                <a:gd name="connsiteY2707" fmla="*/ 626386 h 745576"/>
                <a:gd name="connsiteX2708" fmla="*/ 278827 w 1926380"/>
                <a:gd name="connsiteY2708" fmla="*/ 625811 h 745576"/>
                <a:gd name="connsiteX2709" fmla="*/ 279735 w 1926380"/>
                <a:gd name="connsiteY2709" fmla="*/ 624753 h 745576"/>
                <a:gd name="connsiteX2710" fmla="*/ 279977 w 1926380"/>
                <a:gd name="connsiteY2710" fmla="*/ 623694 h 745576"/>
                <a:gd name="connsiteX2711" fmla="*/ 280431 w 1926380"/>
                <a:gd name="connsiteY2711" fmla="*/ 623633 h 745576"/>
                <a:gd name="connsiteX2712" fmla="*/ 280884 w 1926380"/>
                <a:gd name="connsiteY2712" fmla="*/ 624329 h 745576"/>
                <a:gd name="connsiteX2713" fmla="*/ 281096 w 1926380"/>
                <a:gd name="connsiteY2713" fmla="*/ 625570 h 745576"/>
                <a:gd name="connsiteX2714" fmla="*/ 281247 w 1926380"/>
                <a:gd name="connsiteY2714" fmla="*/ 625933 h 745576"/>
                <a:gd name="connsiteX2715" fmla="*/ 281489 w 1926380"/>
                <a:gd name="connsiteY2715" fmla="*/ 626144 h 745576"/>
                <a:gd name="connsiteX2716" fmla="*/ 281762 w 1926380"/>
                <a:gd name="connsiteY2716" fmla="*/ 626447 h 745576"/>
                <a:gd name="connsiteX2717" fmla="*/ 281883 w 1926380"/>
                <a:gd name="connsiteY2717" fmla="*/ 627142 h 745576"/>
                <a:gd name="connsiteX2718" fmla="*/ 281671 w 1926380"/>
                <a:gd name="connsiteY2718" fmla="*/ 627536 h 745576"/>
                <a:gd name="connsiteX2719" fmla="*/ 281217 w 1926380"/>
                <a:gd name="connsiteY2719" fmla="*/ 627626 h 745576"/>
                <a:gd name="connsiteX2720" fmla="*/ 280521 w 1926380"/>
                <a:gd name="connsiteY2720" fmla="*/ 627566 h 745576"/>
                <a:gd name="connsiteX2721" fmla="*/ 280884 w 1926380"/>
                <a:gd name="connsiteY2721" fmla="*/ 629986 h 745576"/>
                <a:gd name="connsiteX2722" fmla="*/ 281671 w 1926380"/>
                <a:gd name="connsiteY2722" fmla="*/ 631105 h 745576"/>
                <a:gd name="connsiteX2723" fmla="*/ 283093 w 1926380"/>
                <a:gd name="connsiteY2723" fmla="*/ 631438 h 745576"/>
                <a:gd name="connsiteX2724" fmla="*/ 285362 w 1926380"/>
                <a:gd name="connsiteY2724" fmla="*/ 631438 h 745576"/>
                <a:gd name="connsiteX2725" fmla="*/ 285362 w 1926380"/>
                <a:gd name="connsiteY2725" fmla="*/ 632285 h 745576"/>
                <a:gd name="connsiteX2726" fmla="*/ 283970 w 1926380"/>
                <a:gd name="connsiteY2726" fmla="*/ 633072 h 745576"/>
                <a:gd name="connsiteX2727" fmla="*/ 285089 w 1926380"/>
                <a:gd name="connsiteY2727" fmla="*/ 633435 h 745576"/>
                <a:gd name="connsiteX2728" fmla="*/ 286088 w 1926380"/>
                <a:gd name="connsiteY2728" fmla="*/ 633526 h 745576"/>
                <a:gd name="connsiteX2729" fmla="*/ 287056 w 1926380"/>
                <a:gd name="connsiteY2729" fmla="*/ 633737 h 745576"/>
                <a:gd name="connsiteX2730" fmla="*/ 288084 w 1926380"/>
                <a:gd name="connsiteY2730" fmla="*/ 634524 h 745576"/>
                <a:gd name="connsiteX2731" fmla="*/ 287752 w 1926380"/>
                <a:gd name="connsiteY2731" fmla="*/ 631680 h 745576"/>
                <a:gd name="connsiteX2732" fmla="*/ 289930 w 1926380"/>
                <a:gd name="connsiteY2732" fmla="*/ 630530 h 745576"/>
                <a:gd name="connsiteX2733" fmla="*/ 292925 w 1926380"/>
                <a:gd name="connsiteY2733" fmla="*/ 630984 h 745576"/>
                <a:gd name="connsiteX2734" fmla="*/ 294195 w 1926380"/>
                <a:gd name="connsiteY2734" fmla="*/ 632316 h 745576"/>
                <a:gd name="connsiteX2735" fmla="*/ 294437 w 1926380"/>
                <a:gd name="connsiteY2735" fmla="*/ 633223 h 745576"/>
                <a:gd name="connsiteX2736" fmla="*/ 294437 w 1926380"/>
                <a:gd name="connsiteY2736" fmla="*/ 633344 h 745576"/>
                <a:gd name="connsiteX2737" fmla="*/ 295012 w 1926380"/>
                <a:gd name="connsiteY2737" fmla="*/ 633828 h 745576"/>
                <a:gd name="connsiteX2738" fmla="*/ 295072 w 1926380"/>
                <a:gd name="connsiteY2738" fmla="*/ 632951 h 745576"/>
                <a:gd name="connsiteX2739" fmla="*/ 295224 w 1926380"/>
                <a:gd name="connsiteY2739" fmla="*/ 632467 h 745576"/>
                <a:gd name="connsiteX2740" fmla="*/ 295677 w 1926380"/>
                <a:gd name="connsiteY2740" fmla="*/ 631408 h 745576"/>
                <a:gd name="connsiteX2741" fmla="*/ 296373 w 1926380"/>
                <a:gd name="connsiteY2741" fmla="*/ 631408 h 745576"/>
                <a:gd name="connsiteX2742" fmla="*/ 295950 w 1926380"/>
                <a:gd name="connsiteY2742" fmla="*/ 632073 h 745576"/>
                <a:gd name="connsiteX2743" fmla="*/ 295950 w 1926380"/>
                <a:gd name="connsiteY2743" fmla="*/ 632467 h 745576"/>
                <a:gd name="connsiteX2744" fmla="*/ 296192 w 1926380"/>
                <a:gd name="connsiteY2744" fmla="*/ 632709 h 745576"/>
                <a:gd name="connsiteX2745" fmla="*/ 296373 w 1926380"/>
                <a:gd name="connsiteY2745" fmla="*/ 633042 h 745576"/>
                <a:gd name="connsiteX2746" fmla="*/ 296040 w 1926380"/>
                <a:gd name="connsiteY2746" fmla="*/ 633132 h 745576"/>
                <a:gd name="connsiteX2747" fmla="*/ 295768 w 1926380"/>
                <a:gd name="connsiteY2747" fmla="*/ 633132 h 745576"/>
                <a:gd name="connsiteX2748" fmla="*/ 295617 w 1926380"/>
                <a:gd name="connsiteY2748" fmla="*/ 633283 h 745576"/>
                <a:gd name="connsiteX2749" fmla="*/ 295617 w 1926380"/>
                <a:gd name="connsiteY2749" fmla="*/ 633828 h 745576"/>
                <a:gd name="connsiteX2750" fmla="*/ 296736 w 1926380"/>
                <a:gd name="connsiteY2750" fmla="*/ 634947 h 745576"/>
                <a:gd name="connsiteX2751" fmla="*/ 297008 w 1926380"/>
                <a:gd name="connsiteY2751" fmla="*/ 637065 h 745576"/>
                <a:gd name="connsiteX2752" fmla="*/ 296585 w 1926380"/>
                <a:gd name="connsiteY2752" fmla="*/ 639334 h 745576"/>
                <a:gd name="connsiteX2753" fmla="*/ 295677 w 1926380"/>
                <a:gd name="connsiteY2753" fmla="*/ 640907 h 745576"/>
                <a:gd name="connsiteX2754" fmla="*/ 296948 w 1926380"/>
                <a:gd name="connsiteY2754" fmla="*/ 644083 h 745576"/>
                <a:gd name="connsiteX2755" fmla="*/ 297674 w 1926380"/>
                <a:gd name="connsiteY2755" fmla="*/ 644840 h 745576"/>
                <a:gd name="connsiteX2756" fmla="*/ 298945 w 1926380"/>
                <a:gd name="connsiteY2756" fmla="*/ 643085 h 745576"/>
                <a:gd name="connsiteX2757" fmla="*/ 300276 w 1926380"/>
                <a:gd name="connsiteY2757" fmla="*/ 642661 h 745576"/>
                <a:gd name="connsiteX2758" fmla="*/ 301334 w 1926380"/>
                <a:gd name="connsiteY2758" fmla="*/ 643508 h 745576"/>
                <a:gd name="connsiteX2759" fmla="*/ 301849 w 1926380"/>
                <a:gd name="connsiteY2759" fmla="*/ 645626 h 745576"/>
                <a:gd name="connsiteX2760" fmla="*/ 302545 w 1926380"/>
                <a:gd name="connsiteY2760" fmla="*/ 645626 h 745576"/>
                <a:gd name="connsiteX2761" fmla="*/ 305570 w 1926380"/>
                <a:gd name="connsiteY2761" fmla="*/ 644204 h 745576"/>
                <a:gd name="connsiteX2762" fmla="*/ 310077 w 1926380"/>
                <a:gd name="connsiteY2762" fmla="*/ 645051 h 745576"/>
                <a:gd name="connsiteX2763" fmla="*/ 313738 w 1926380"/>
                <a:gd name="connsiteY2763" fmla="*/ 647381 h 745576"/>
                <a:gd name="connsiteX2764" fmla="*/ 314252 w 1926380"/>
                <a:gd name="connsiteY2764" fmla="*/ 650406 h 745576"/>
                <a:gd name="connsiteX2765" fmla="*/ 315976 w 1926380"/>
                <a:gd name="connsiteY2765" fmla="*/ 649922 h 745576"/>
                <a:gd name="connsiteX2766" fmla="*/ 316974 w 1926380"/>
                <a:gd name="connsiteY2766" fmla="*/ 650315 h 745576"/>
                <a:gd name="connsiteX2767" fmla="*/ 318003 w 1926380"/>
                <a:gd name="connsiteY2767" fmla="*/ 651132 h 745576"/>
                <a:gd name="connsiteX2768" fmla="*/ 319727 w 1926380"/>
                <a:gd name="connsiteY2768" fmla="*/ 651918 h 745576"/>
                <a:gd name="connsiteX2769" fmla="*/ 319727 w 1926380"/>
                <a:gd name="connsiteY2769" fmla="*/ 652766 h 745576"/>
                <a:gd name="connsiteX2770" fmla="*/ 318184 w 1926380"/>
                <a:gd name="connsiteY2770" fmla="*/ 653098 h 745576"/>
                <a:gd name="connsiteX2771" fmla="*/ 317307 w 1926380"/>
                <a:gd name="connsiteY2771" fmla="*/ 653885 h 745576"/>
                <a:gd name="connsiteX2772" fmla="*/ 317307 w 1926380"/>
                <a:gd name="connsiteY2772" fmla="*/ 654944 h 745576"/>
                <a:gd name="connsiteX2773" fmla="*/ 318336 w 1926380"/>
                <a:gd name="connsiteY2773" fmla="*/ 656002 h 745576"/>
                <a:gd name="connsiteX2774" fmla="*/ 319606 w 1926380"/>
                <a:gd name="connsiteY2774" fmla="*/ 656274 h 745576"/>
                <a:gd name="connsiteX2775" fmla="*/ 321331 w 1926380"/>
                <a:gd name="connsiteY2775" fmla="*/ 656154 h 745576"/>
                <a:gd name="connsiteX2776" fmla="*/ 322450 w 1926380"/>
                <a:gd name="connsiteY2776" fmla="*/ 655548 h 745576"/>
                <a:gd name="connsiteX2777" fmla="*/ 321815 w 1926380"/>
                <a:gd name="connsiteY2777" fmla="*/ 654369 h 745576"/>
                <a:gd name="connsiteX2778" fmla="*/ 323327 w 1926380"/>
                <a:gd name="connsiteY2778" fmla="*/ 653340 h 745576"/>
                <a:gd name="connsiteX2779" fmla="*/ 325021 w 1926380"/>
                <a:gd name="connsiteY2779" fmla="*/ 651555 h 745576"/>
                <a:gd name="connsiteX2780" fmla="*/ 325656 w 1926380"/>
                <a:gd name="connsiteY2780" fmla="*/ 649619 h 745576"/>
                <a:gd name="connsiteX2781" fmla="*/ 323872 w 1926380"/>
                <a:gd name="connsiteY2781" fmla="*/ 648107 h 745576"/>
                <a:gd name="connsiteX2782" fmla="*/ 324477 w 1926380"/>
                <a:gd name="connsiteY2782" fmla="*/ 649710 h 745576"/>
                <a:gd name="connsiteX2783" fmla="*/ 324265 w 1926380"/>
                <a:gd name="connsiteY2783" fmla="*/ 650769 h 745576"/>
                <a:gd name="connsiteX2784" fmla="*/ 323690 w 1926380"/>
                <a:gd name="connsiteY2784" fmla="*/ 651677 h 745576"/>
                <a:gd name="connsiteX2785" fmla="*/ 323115 w 1926380"/>
                <a:gd name="connsiteY2785" fmla="*/ 652826 h 745576"/>
                <a:gd name="connsiteX2786" fmla="*/ 322480 w 1926380"/>
                <a:gd name="connsiteY2786" fmla="*/ 652826 h 745576"/>
                <a:gd name="connsiteX2787" fmla="*/ 322117 w 1926380"/>
                <a:gd name="connsiteY2787" fmla="*/ 652342 h 745576"/>
                <a:gd name="connsiteX2788" fmla="*/ 321089 w 1926380"/>
                <a:gd name="connsiteY2788" fmla="*/ 651283 h 745576"/>
                <a:gd name="connsiteX2789" fmla="*/ 321754 w 1926380"/>
                <a:gd name="connsiteY2789" fmla="*/ 650466 h 745576"/>
                <a:gd name="connsiteX2790" fmla="*/ 321179 w 1926380"/>
                <a:gd name="connsiteY2790" fmla="*/ 650164 h 745576"/>
                <a:gd name="connsiteX2791" fmla="*/ 320907 w 1926380"/>
                <a:gd name="connsiteY2791" fmla="*/ 649831 h 745576"/>
                <a:gd name="connsiteX2792" fmla="*/ 320393 w 1926380"/>
                <a:gd name="connsiteY2792" fmla="*/ 648833 h 745576"/>
                <a:gd name="connsiteX2793" fmla="*/ 321663 w 1926380"/>
                <a:gd name="connsiteY2793" fmla="*/ 648530 h 745576"/>
                <a:gd name="connsiteX2794" fmla="*/ 321663 w 1926380"/>
                <a:gd name="connsiteY2794" fmla="*/ 647713 h 745576"/>
                <a:gd name="connsiteX2795" fmla="*/ 321391 w 1926380"/>
                <a:gd name="connsiteY2795" fmla="*/ 646655 h 745576"/>
                <a:gd name="connsiteX2796" fmla="*/ 321754 w 1926380"/>
                <a:gd name="connsiteY2796" fmla="*/ 645717 h 745576"/>
                <a:gd name="connsiteX2797" fmla="*/ 322480 w 1926380"/>
                <a:gd name="connsiteY2797" fmla="*/ 645293 h 745576"/>
                <a:gd name="connsiteX2798" fmla="*/ 323297 w 1926380"/>
                <a:gd name="connsiteY2798" fmla="*/ 645082 h 745576"/>
                <a:gd name="connsiteX2799" fmla="*/ 325203 w 1926380"/>
                <a:gd name="connsiteY2799" fmla="*/ 644930 h 745576"/>
                <a:gd name="connsiteX2800" fmla="*/ 325203 w 1926380"/>
                <a:gd name="connsiteY2800" fmla="*/ 644144 h 745576"/>
                <a:gd name="connsiteX2801" fmla="*/ 324507 w 1926380"/>
                <a:gd name="connsiteY2801" fmla="*/ 644144 h 745576"/>
                <a:gd name="connsiteX2802" fmla="*/ 324507 w 1926380"/>
                <a:gd name="connsiteY2802" fmla="*/ 643418 h 745576"/>
                <a:gd name="connsiteX2803" fmla="*/ 325838 w 1926380"/>
                <a:gd name="connsiteY2803" fmla="*/ 642178 h 745576"/>
                <a:gd name="connsiteX2804" fmla="*/ 327714 w 1926380"/>
                <a:gd name="connsiteY2804" fmla="*/ 640090 h 745576"/>
                <a:gd name="connsiteX2805" fmla="*/ 329347 w 1926380"/>
                <a:gd name="connsiteY2805" fmla="*/ 638940 h 745576"/>
                <a:gd name="connsiteX2806" fmla="*/ 330043 w 1926380"/>
                <a:gd name="connsiteY2806" fmla="*/ 640604 h 745576"/>
                <a:gd name="connsiteX2807" fmla="*/ 331072 w 1926380"/>
                <a:gd name="connsiteY2807" fmla="*/ 641693 h 745576"/>
                <a:gd name="connsiteX2808" fmla="*/ 338907 w 1926380"/>
                <a:gd name="connsiteY2808" fmla="*/ 644749 h 745576"/>
                <a:gd name="connsiteX2809" fmla="*/ 345169 w 1926380"/>
                <a:gd name="connsiteY2809" fmla="*/ 648863 h 745576"/>
                <a:gd name="connsiteX2810" fmla="*/ 345774 w 1926380"/>
                <a:gd name="connsiteY2810" fmla="*/ 649498 h 745576"/>
                <a:gd name="connsiteX2811" fmla="*/ 346469 w 1926380"/>
                <a:gd name="connsiteY2811" fmla="*/ 650376 h 745576"/>
                <a:gd name="connsiteX2812" fmla="*/ 346984 w 1926380"/>
                <a:gd name="connsiteY2812" fmla="*/ 651404 h 745576"/>
                <a:gd name="connsiteX2813" fmla="*/ 347226 w 1926380"/>
                <a:gd name="connsiteY2813" fmla="*/ 652433 h 745576"/>
                <a:gd name="connsiteX2814" fmla="*/ 346591 w 1926380"/>
                <a:gd name="connsiteY2814" fmla="*/ 653340 h 745576"/>
                <a:gd name="connsiteX2815" fmla="*/ 345411 w 1926380"/>
                <a:gd name="connsiteY2815" fmla="*/ 653643 h 745576"/>
                <a:gd name="connsiteX2816" fmla="*/ 344564 w 1926380"/>
                <a:gd name="connsiteY2816" fmla="*/ 653249 h 745576"/>
                <a:gd name="connsiteX2817" fmla="*/ 345139 w 1926380"/>
                <a:gd name="connsiteY2817" fmla="*/ 652009 h 745576"/>
                <a:gd name="connsiteX2818" fmla="*/ 345139 w 1926380"/>
                <a:gd name="connsiteY2818" fmla="*/ 651283 h 745576"/>
                <a:gd name="connsiteX2819" fmla="*/ 343596 w 1926380"/>
                <a:gd name="connsiteY2819" fmla="*/ 651918 h 745576"/>
                <a:gd name="connsiteX2820" fmla="*/ 342295 w 1926380"/>
                <a:gd name="connsiteY2820" fmla="*/ 653612 h 745576"/>
                <a:gd name="connsiteX2821" fmla="*/ 341055 w 1926380"/>
                <a:gd name="connsiteY2821" fmla="*/ 654732 h 745576"/>
                <a:gd name="connsiteX2822" fmla="*/ 339633 w 1926380"/>
                <a:gd name="connsiteY2822" fmla="*/ 653582 h 745576"/>
                <a:gd name="connsiteX2823" fmla="*/ 338937 w 1926380"/>
                <a:gd name="connsiteY2823" fmla="*/ 654671 h 745576"/>
                <a:gd name="connsiteX2824" fmla="*/ 338060 w 1926380"/>
                <a:gd name="connsiteY2824" fmla="*/ 656789 h 745576"/>
                <a:gd name="connsiteX2825" fmla="*/ 337485 w 1926380"/>
                <a:gd name="connsiteY2825" fmla="*/ 657545 h 745576"/>
                <a:gd name="connsiteX2826" fmla="*/ 338604 w 1926380"/>
                <a:gd name="connsiteY2826" fmla="*/ 659239 h 745576"/>
                <a:gd name="connsiteX2827" fmla="*/ 339149 w 1926380"/>
                <a:gd name="connsiteY2827" fmla="*/ 660782 h 745576"/>
                <a:gd name="connsiteX2828" fmla="*/ 338725 w 1926380"/>
                <a:gd name="connsiteY2828" fmla="*/ 661901 h 745576"/>
                <a:gd name="connsiteX2829" fmla="*/ 336880 w 1926380"/>
                <a:gd name="connsiteY2829" fmla="*/ 662355 h 745576"/>
                <a:gd name="connsiteX2830" fmla="*/ 339088 w 1926380"/>
                <a:gd name="connsiteY2830" fmla="*/ 662657 h 745576"/>
                <a:gd name="connsiteX2831" fmla="*/ 343898 w 1926380"/>
                <a:gd name="connsiteY2831" fmla="*/ 660933 h 745576"/>
                <a:gd name="connsiteX2832" fmla="*/ 345108 w 1926380"/>
                <a:gd name="connsiteY2832" fmla="*/ 662355 h 745576"/>
                <a:gd name="connsiteX2833" fmla="*/ 345865 w 1926380"/>
                <a:gd name="connsiteY2833" fmla="*/ 662355 h 745576"/>
                <a:gd name="connsiteX2834" fmla="*/ 346984 w 1926380"/>
                <a:gd name="connsiteY2834" fmla="*/ 661811 h 745576"/>
                <a:gd name="connsiteX2835" fmla="*/ 347528 w 1926380"/>
                <a:gd name="connsiteY2835" fmla="*/ 663777 h 745576"/>
                <a:gd name="connsiteX2836" fmla="*/ 347922 w 1926380"/>
                <a:gd name="connsiteY2836" fmla="*/ 667770 h 745576"/>
                <a:gd name="connsiteX2837" fmla="*/ 347922 w 1926380"/>
                <a:gd name="connsiteY2837" fmla="*/ 668617 h 745576"/>
                <a:gd name="connsiteX2838" fmla="*/ 347075 w 1926380"/>
                <a:gd name="connsiteY2838" fmla="*/ 668829 h 745576"/>
                <a:gd name="connsiteX2839" fmla="*/ 346469 w 1926380"/>
                <a:gd name="connsiteY2839" fmla="*/ 669162 h 745576"/>
                <a:gd name="connsiteX2840" fmla="*/ 345139 w 1926380"/>
                <a:gd name="connsiteY2840" fmla="*/ 670190 h 745576"/>
                <a:gd name="connsiteX2841" fmla="*/ 345139 w 1926380"/>
                <a:gd name="connsiteY2841" fmla="*/ 670916 h 745576"/>
                <a:gd name="connsiteX2842" fmla="*/ 346651 w 1926380"/>
                <a:gd name="connsiteY2842" fmla="*/ 671673 h 745576"/>
                <a:gd name="connsiteX2843" fmla="*/ 347922 w 1926380"/>
                <a:gd name="connsiteY2843" fmla="*/ 673185 h 745576"/>
                <a:gd name="connsiteX2844" fmla="*/ 348527 w 1926380"/>
                <a:gd name="connsiteY2844" fmla="*/ 675151 h 745576"/>
                <a:gd name="connsiteX2845" fmla="*/ 347922 w 1926380"/>
                <a:gd name="connsiteY2845" fmla="*/ 677239 h 745576"/>
                <a:gd name="connsiteX2846" fmla="*/ 348285 w 1926380"/>
                <a:gd name="connsiteY2846" fmla="*/ 677390 h 745576"/>
                <a:gd name="connsiteX2847" fmla="*/ 348436 w 1926380"/>
                <a:gd name="connsiteY2847" fmla="*/ 677390 h 745576"/>
                <a:gd name="connsiteX2848" fmla="*/ 348496 w 1926380"/>
                <a:gd name="connsiteY2848" fmla="*/ 677511 h 745576"/>
                <a:gd name="connsiteX2849" fmla="*/ 348557 w 1926380"/>
                <a:gd name="connsiteY2849" fmla="*/ 678025 h 745576"/>
                <a:gd name="connsiteX2850" fmla="*/ 347407 w 1926380"/>
                <a:gd name="connsiteY2850" fmla="*/ 678176 h 745576"/>
                <a:gd name="connsiteX2851" fmla="*/ 346409 w 1926380"/>
                <a:gd name="connsiteY2851" fmla="*/ 678600 h 745576"/>
                <a:gd name="connsiteX2852" fmla="*/ 345653 w 1926380"/>
                <a:gd name="connsiteY2852" fmla="*/ 679326 h 745576"/>
                <a:gd name="connsiteX2853" fmla="*/ 345139 w 1926380"/>
                <a:gd name="connsiteY2853" fmla="*/ 680385 h 745576"/>
                <a:gd name="connsiteX2854" fmla="*/ 346137 w 1926380"/>
                <a:gd name="connsiteY2854" fmla="*/ 680385 h 745576"/>
                <a:gd name="connsiteX2855" fmla="*/ 346802 w 1926380"/>
                <a:gd name="connsiteY2855" fmla="*/ 680566 h 745576"/>
                <a:gd name="connsiteX2856" fmla="*/ 347952 w 1926380"/>
                <a:gd name="connsiteY2856" fmla="*/ 681262 h 745576"/>
                <a:gd name="connsiteX2857" fmla="*/ 347226 w 1926380"/>
                <a:gd name="connsiteY2857" fmla="*/ 681988 h 745576"/>
                <a:gd name="connsiteX2858" fmla="*/ 350009 w 1926380"/>
                <a:gd name="connsiteY2858" fmla="*/ 681988 h 745576"/>
                <a:gd name="connsiteX2859" fmla="*/ 350009 w 1926380"/>
                <a:gd name="connsiteY2859" fmla="*/ 682835 h 745576"/>
                <a:gd name="connsiteX2860" fmla="*/ 349737 w 1926380"/>
                <a:gd name="connsiteY2860" fmla="*/ 683319 h 745576"/>
                <a:gd name="connsiteX2861" fmla="*/ 349646 w 1926380"/>
                <a:gd name="connsiteY2861" fmla="*/ 683652 h 745576"/>
                <a:gd name="connsiteX2862" fmla="*/ 350009 w 1926380"/>
                <a:gd name="connsiteY2862" fmla="*/ 685165 h 745576"/>
                <a:gd name="connsiteX2863" fmla="*/ 351400 w 1926380"/>
                <a:gd name="connsiteY2863" fmla="*/ 684287 h 745576"/>
                <a:gd name="connsiteX2864" fmla="*/ 353064 w 1926380"/>
                <a:gd name="connsiteY2864" fmla="*/ 686223 h 745576"/>
                <a:gd name="connsiteX2865" fmla="*/ 359084 w 1926380"/>
                <a:gd name="connsiteY2865" fmla="*/ 688008 h 745576"/>
                <a:gd name="connsiteX2866" fmla="*/ 360385 w 1926380"/>
                <a:gd name="connsiteY2866" fmla="*/ 689430 h 745576"/>
                <a:gd name="connsiteX2867" fmla="*/ 361262 w 1926380"/>
                <a:gd name="connsiteY2867" fmla="*/ 691124 h 745576"/>
                <a:gd name="connsiteX2868" fmla="*/ 361716 w 1926380"/>
                <a:gd name="connsiteY2868" fmla="*/ 691517 h 745576"/>
                <a:gd name="connsiteX2869" fmla="*/ 367857 w 1926380"/>
                <a:gd name="connsiteY2869" fmla="*/ 696842 h 745576"/>
                <a:gd name="connsiteX2870" fmla="*/ 368583 w 1926380"/>
                <a:gd name="connsiteY2870" fmla="*/ 696025 h 745576"/>
                <a:gd name="connsiteX2871" fmla="*/ 369128 w 1926380"/>
                <a:gd name="connsiteY2871" fmla="*/ 696751 h 745576"/>
                <a:gd name="connsiteX2872" fmla="*/ 369733 w 1926380"/>
                <a:gd name="connsiteY2872" fmla="*/ 697961 h 745576"/>
                <a:gd name="connsiteX2873" fmla="*/ 370610 w 1926380"/>
                <a:gd name="connsiteY2873" fmla="*/ 698506 h 745576"/>
                <a:gd name="connsiteX2874" fmla="*/ 371367 w 1926380"/>
                <a:gd name="connsiteY2874" fmla="*/ 698143 h 745576"/>
                <a:gd name="connsiteX2875" fmla="*/ 371790 w 1926380"/>
                <a:gd name="connsiteY2875" fmla="*/ 697477 h 745576"/>
                <a:gd name="connsiteX2876" fmla="*/ 372153 w 1926380"/>
                <a:gd name="connsiteY2876" fmla="*/ 696690 h 745576"/>
                <a:gd name="connsiteX2877" fmla="*/ 372667 w 1926380"/>
                <a:gd name="connsiteY2877" fmla="*/ 695995 h 745576"/>
                <a:gd name="connsiteX2878" fmla="*/ 373182 w 1926380"/>
                <a:gd name="connsiteY2878" fmla="*/ 695481 h 745576"/>
                <a:gd name="connsiteX2879" fmla="*/ 373424 w 1926380"/>
                <a:gd name="connsiteY2879" fmla="*/ 695148 h 745576"/>
                <a:gd name="connsiteX2880" fmla="*/ 373817 w 1926380"/>
                <a:gd name="connsiteY2880" fmla="*/ 694906 h 745576"/>
                <a:gd name="connsiteX2881" fmla="*/ 374845 w 1926380"/>
                <a:gd name="connsiteY2881" fmla="*/ 694512 h 745576"/>
                <a:gd name="connsiteX2882" fmla="*/ 375481 w 1926380"/>
                <a:gd name="connsiteY2882" fmla="*/ 694633 h 745576"/>
                <a:gd name="connsiteX2883" fmla="*/ 375844 w 1926380"/>
                <a:gd name="connsiteY2883" fmla="*/ 695148 h 745576"/>
                <a:gd name="connsiteX2884" fmla="*/ 376237 w 1926380"/>
                <a:gd name="connsiteY2884" fmla="*/ 695329 h 745576"/>
                <a:gd name="connsiteX2885" fmla="*/ 376812 w 1926380"/>
                <a:gd name="connsiteY2885" fmla="*/ 694512 h 745576"/>
                <a:gd name="connsiteX2886" fmla="*/ 377175 w 1926380"/>
                <a:gd name="connsiteY2886" fmla="*/ 697689 h 745576"/>
                <a:gd name="connsiteX2887" fmla="*/ 377689 w 1926380"/>
                <a:gd name="connsiteY2887" fmla="*/ 698717 h 745576"/>
                <a:gd name="connsiteX2888" fmla="*/ 378869 w 1926380"/>
                <a:gd name="connsiteY2888" fmla="*/ 697628 h 745576"/>
                <a:gd name="connsiteX2889" fmla="*/ 385131 w 1926380"/>
                <a:gd name="connsiteY2889" fmla="*/ 700956 h 745576"/>
                <a:gd name="connsiteX2890" fmla="*/ 387854 w 1926380"/>
                <a:gd name="connsiteY2890" fmla="*/ 701531 h 745576"/>
                <a:gd name="connsiteX2891" fmla="*/ 395961 w 1926380"/>
                <a:gd name="connsiteY2891" fmla="*/ 701410 h 745576"/>
                <a:gd name="connsiteX2892" fmla="*/ 398139 w 1926380"/>
                <a:gd name="connsiteY2892" fmla="*/ 702317 h 745576"/>
                <a:gd name="connsiteX2893" fmla="*/ 397020 w 1926380"/>
                <a:gd name="connsiteY2893" fmla="*/ 702227 h 745576"/>
                <a:gd name="connsiteX2894" fmla="*/ 395961 w 1926380"/>
                <a:gd name="connsiteY2894" fmla="*/ 702348 h 745576"/>
                <a:gd name="connsiteX2895" fmla="*/ 394963 w 1926380"/>
                <a:gd name="connsiteY2895" fmla="*/ 702680 h 745576"/>
                <a:gd name="connsiteX2896" fmla="*/ 394055 w 1926380"/>
                <a:gd name="connsiteY2896" fmla="*/ 703134 h 745576"/>
                <a:gd name="connsiteX2897" fmla="*/ 394055 w 1926380"/>
                <a:gd name="connsiteY2897" fmla="*/ 703830 h 745576"/>
                <a:gd name="connsiteX2898" fmla="*/ 399198 w 1926380"/>
                <a:gd name="connsiteY2898" fmla="*/ 703134 h 745576"/>
                <a:gd name="connsiteX2899" fmla="*/ 399954 w 1926380"/>
                <a:gd name="connsiteY2899" fmla="*/ 703679 h 745576"/>
                <a:gd name="connsiteX2900" fmla="*/ 400075 w 1926380"/>
                <a:gd name="connsiteY2900" fmla="*/ 704707 h 745576"/>
                <a:gd name="connsiteX2901" fmla="*/ 399470 w 1926380"/>
                <a:gd name="connsiteY2901" fmla="*/ 705343 h 745576"/>
                <a:gd name="connsiteX2902" fmla="*/ 398109 w 1926380"/>
                <a:gd name="connsiteY2902" fmla="*/ 704707 h 745576"/>
                <a:gd name="connsiteX2903" fmla="*/ 399107 w 1926380"/>
                <a:gd name="connsiteY2903" fmla="*/ 707097 h 745576"/>
                <a:gd name="connsiteX2904" fmla="*/ 402556 w 1926380"/>
                <a:gd name="connsiteY2904" fmla="*/ 708610 h 745576"/>
                <a:gd name="connsiteX2905" fmla="*/ 402979 w 1926380"/>
                <a:gd name="connsiteY2905" fmla="*/ 710939 h 745576"/>
                <a:gd name="connsiteX2906" fmla="*/ 404613 w 1926380"/>
                <a:gd name="connsiteY2906" fmla="*/ 708882 h 745576"/>
                <a:gd name="connsiteX2907" fmla="*/ 404673 w 1926380"/>
                <a:gd name="connsiteY2907" fmla="*/ 708519 h 745576"/>
                <a:gd name="connsiteX2908" fmla="*/ 405762 w 1926380"/>
                <a:gd name="connsiteY2908" fmla="*/ 708307 h 745576"/>
                <a:gd name="connsiteX2909" fmla="*/ 406065 w 1926380"/>
                <a:gd name="connsiteY2909" fmla="*/ 707884 h 745576"/>
                <a:gd name="connsiteX2910" fmla="*/ 406125 w 1926380"/>
                <a:gd name="connsiteY2910" fmla="*/ 707369 h 745576"/>
                <a:gd name="connsiteX2911" fmla="*/ 406458 w 1926380"/>
                <a:gd name="connsiteY2911" fmla="*/ 706946 h 745576"/>
                <a:gd name="connsiteX2912" fmla="*/ 407668 w 1926380"/>
                <a:gd name="connsiteY2912" fmla="*/ 706432 h 745576"/>
                <a:gd name="connsiteX2913" fmla="*/ 408908 w 1926380"/>
                <a:gd name="connsiteY2913" fmla="*/ 706250 h 745576"/>
                <a:gd name="connsiteX2914" fmla="*/ 410119 w 1926380"/>
                <a:gd name="connsiteY2914" fmla="*/ 706643 h 745576"/>
                <a:gd name="connsiteX2915" fmla="*/ 411268 w 1926380"/>
                <a:gd name="connsiteY2915" fmla="*/ 707823 h 745576"/>
                <a:gd name="connsiteX2916" fmla="*/ 411722 w 1926380"/>
                <a:gd name="connsiteY2916" fmla="*/ 707339 h 745576"/>
                <a:gd name="connsiteX2917" fmla="*/ 412024 w 1926380"/>
                <a:gd name="connsiteY2917" fmla="*/ 707158 h 745576"/>
                <a:gd name="connsiteX2918" fmla="*/ 413356 w 1926380"/>
                <a:gd name="connsiteY2918" fmla="*/ 706976 h 745576"/>
                <a:gd name="connsiteX2919" fmla="*/ 413023 w 1926380"/>
                <a:gd name="connsiteY2919" fmla="*/ 707430 h 745576"/>
                <a:gd name="connsiteX2920" fmla="*/ 412811 w 1926380"/>
                <a:gd name="connsiteY2920" fmla="*/ 707793 h 745576"/>
                <a:gd name="connsiteX2921" fmla="*/ 412509 w 1926380"/>
                <a:gd name="connsiteY2921" fmla="*/ 708156 h 745576"/>
                <a:gd name="connsiteX2922" fmla="*/ 411964 w 1926380"/>
                <a:gd name="connsiteY2922" fmla="*/ 708549 h 745576"/>
                <a:gd name="connsiteX2923" fmla="*/ 411964 w 1926380"/>
                <a:gd name="connsiteY2923" fmla="*/ 709396 h 745576"/>
                <a:gd name="connsiteX2924" fmla="*/ 413749 w 1926380"/>
                <a:gd name="connsiteY2924" fmla="*/ 709124 h 745576"/>
                <a:gd name="connsiteX2925" fmla="*/ 415352 w 1926380"/>
                <a:gd name="connsiteY2925" fmla="*/ 708458 h 745576"/>
                <a:gd name="connsiteX2926" fmla="*/ 416774 w 1926380"/>
                <a:gd name="connsiteY2926" fmla="*/ 707460 h 745576"/>
                <a:gd name="connsiteX2927" fmla="*/ 418135 w 1926380"/>
                <a:gd name="connsiteY2927" fmla="*/ 706189 h 745576"/>
                <a:gd name="connsiteX2928" fmla="*/ 416078 w 1926380"/>
                <a:gd name="connsiteY2928" fmla="*/ 706189 h 745576"/>
                <a:gd name="connsiteX2929" fmla="*/ 416078 w 1926380"/>
                <a:gd name="connsiteY2929" fmla="*/ 705403 h 745576"/>
                <a:gd name="connsiteX2930" fmla="*/ 418559 w 1926380"/>
                <a:gd name="connsiteY2930" fmla="*/ 704677 h 745576"/>
                <a:gd name="connsiteX2931" fmla="*/ 419527 w 1926380"/>
                <a:gd name="connsiteY2931" fmla="*/ 704677 h 745576"/>
                <a:gd name="connsiteX2932" fmla="*/ 419587 w 1926380"/>
                <a:gd name="connsiteY2932" fmla="*/ 704132 h 745576"/>
                <a:gd name="connsiteX2933" fmla="*/ 419436 w 1926380"/>
                <a:gd name="connsiteY2933" fmla="*/ 703981 h 745576"/>
                <a:gd name="connsiteX2934" fmla="*/ 419164 w 1926380"/>
                <a:gd name="connsiteY2934" fmla="*/ 703981 h 745576"/>
                <a:gd name="connsiteX2935" fmla="*/ 418831 w 1926380"/>
                <a:gd name="connsiteY2935" fmla="*/ 703830 h 745576"/>
                <a:gd name="connsiteX2936" fmla="*/ 420222 w 1926380"/>
                <a:gd name="connsiteY2936" fmla="*/ 703164 h 745576"/>
                <a:gd name="connsiteX2937" fmla="*/ 423974 w 1926380"/>
                <a:gd name="connsiteY2937" fmla="*/ 702378 h 745576"/>
                <a:gd name="connsiteX2938" fmla="*/ 425668 w 1926380"/>
                <a:gd name="connsiteY2938" fmla="*/ 701531 h 745576"/>
                <a:gd name="connsiteX2939" fmla="*/ 427029 w 1926380"/>
                <a:gd name="connsiteY2939" fmla="*/ 700260 h 745576"/>
                <a:gd name="connsiteX2940" fmla="*/ 427513 w 1926380"/>
                <a:gd name="connsiteY2940" fmla="*/ 700018 h 745576"/>
                <a:gd name="connsiteX2941" fmla="*/ 428421 w 1926380"/>
                <a:gd name="connsiteY2941" fmla="*/ 699958 h 745576"/>
                <a:gd name="connsiteX2942" fmla="*/ 429691 w 1926380"/>
                <a:gd name="connsiteY2942" fmla="*/ 700169 h 745576"/>
                <a:gd name="connsiteX2943" fmla="*/ 430871 w 1926380"/>
                <a:gd name="connsiteY2943" fmla="*/ 700532 h 745576"/>
                <a:gd name="connsiteX2944" fmla="*/ 432021 w 1926380"/>
                <a:gd name="connsiteY2944" fmla="*/ 700593 h 745576"/>
                <a:gd name="connsiteX2945" fmla="*/ 433231 w 1926380"/>
                <a:gd name="connsiteY2945" fmla="*/ 699927 h 745576"/>
                <a:gd name="connsiteX2946" fmla="*/ 434743 w 1926380"/>
                <a:gd name="connsiteY2946" fmla="*/ 700139 h 745576"/>
                <a:gd name="connsiteX2947" fmla="*/ 441520 w 1926380"/>
                <a:gd name="connsiteY2947" fmla="*/ 696811 h 745576"/>
                <a:gd name="connsiteX2948" fmla="*/ 441520 w 1926380"/>
                <a:gd name="connsiteY2948" fmla="*/ 695964 h 745576"/>
                <a:gd name="connsiteX2949" fmla="*/ 439402 w 1926380"/>
                <a:gd name="connsiteY2949" fmla="*/ 695964 h 745576"/>
                <a:gd name="connsiteX2950" fmla="*/ 440733 w 1926380"/>
                <a:gd name="connsiteY2950" fmla="*/ 695450 h 745576"/>
                <a:gd name="connsiteX2951" fmla="*/ 441731 w 1926380"/>
                <a:gd name="connsiteY2951" fmla="*/ 695813 h 745576"/>
                <a:gd name="connsiteX2952" fmla="*/ 442518 w 1926380"/>
                <a:gd name="connsiteY2952" fmla="*/ 696479 h 745576"/>
                <a:gd name="connsiteX2953" fmla="*/ 443244 w 1926380"/>
                <a:gd name="connsiteY2953" fmla="*/ 696811 h 745576"/>
                <a:gd name="connsiteX2954" fmla="*/ 447025 w 1926380"/>
                <a:gd name="connsiteY2954" fmla="*/ 697598 h 745576"/>
                <a:gd name="connsiteX2955" fmla="*/ 447086 w 1926380"/>
                <a:gd name="connsiteY2955" fmla="*/ 696781 h 745576"/>
                <a:gd name="connsiteX2956" fmla="*/ 447025 w 1926380"/>
                <a:gd name="connsiteY2956" fmla="*/ 695964 h 745576"/>
                <a:gd name="connsiteX2957" fmla="*/ 448447 w 1926380"/>
                <a:gd name="connsiteY2957" fmla="*/ 696811 h 745576"/>
                <a:gd name="connsiteX2958" fmla="*/ 448447 w 1926380"/>
                <a:gd name="connsiteY2958" fmla="*/ 695874 h 745576"/>
                <a:gd name="connsiteX2959" fmla="*/ 449082 w 1926380"/>
                <a:gd name="connsiteY2959" fmla="*/ 693695 h 745576"/>
                <a:gd name="connsiteX2960" fmla="*/ 449718 w 1926380"/>
                <a:gd name="connsiteY2960" fmla="*/ 695238 h 745576"/>
                <a:gd name="connsiteX2961" fmla="*/ 449839 w 1926380"/>
                <a:gd name="connsiteY2961" fmla="*/ 695964 h 745576"/>
                <a:gd name="connsiteX2962" fmla="*/ 450474 w 1926380"/>
                <a:gd name="connsiteY2962" fmla="*/ 695964 h 745576"/>
                <a:gd name="connsiteX2963" fmla="*/ 450565 w 1926380"/>
                <a:gd name="connsiteY2963" fmla="*/ 693575 h 745576"/>
                <a:gd name="connsiteX2964" fmla="*/ 450958 w 1926380"/>
                <a:gd name="connsiteY2964" fmla="*/ 691880 h 745576"/>
                <a:gd name="connsiteX2965" fmla="*/ 451866 w 1926380"/>
                <a:gd name="connsiteY2965" fmla="*/ 690882 h 745576"/>
                <a:gd name="connsiteX2966" fmla="*/ 459429 w 1926380"/>
                <a:gd name="connsiteY2966" fmla="*/ 689702 h 745576"/>
                <a:gd name="connsiteX2967" fmla="*/ 461516 w 1926380"/>
                <a:gd name="connsiteY2967" fmla="*/ 689763 h 745576"/>
                <a:gd name="connsiteX2968" fmla="*/ 472164 w 1926380"/>
                <a:gd name="connsiteY2968" fmla="*/ 694301 h 745576"/>
                <a:gd name="connsiteX2969" fmla="*/ 474554 w 1926380"/>
                <a:gd name="connsiteY2969" fmla="*/ 693665 h 745576"/>
                <a:gd name="connsiteX2970" fmla="*/ 475734 w 1926380"/>
                <a:gd name="connsiteY2970" fmla="*/ 694664 h 745576"/>
                <a:gd name="connsiteX2971" fmla="*/ 476158 w 1926380"/>
                <a:gd name="connsiteY2971" fmla="*/ 696660 h 745576"/>
                <a:gd name="connsiteX2972" fmla="*/ 475976 w 1926380"/>
                <a:gd name="connsiteY2972" fmla="*/ 701470 h 745576"/>
                <a:gd name="connsiteX2973" fmla="*/ 478880 w 1926380"/>
                <a:gd name="connsiteY2973" fmla="*/ 699141 h 745576"/>
                <a:gd name="connsiteX2974" fmla="*/ 480241 w 1926380"/>
                <a:gd name="connsiteY2974" fmla="*/ 697659 h 745576"/>
                <a:gd name="connsiteX2975" fmla="*/ 481331 w 1926380"/>
                <a:gd name="connsiteY2975" fmla="*/ 695087 h 745576"/>
                <a:gd name="connsiteX2976" fmla="*/ 482540 w 1926380"/>
                <a:gd name="connsiteY2976" fmla="*/ 694029 h 745576"/>
                <a:gd name="connsiteX2977" fmla="*/ 483962 w 1926380"/>
                <a:gd name="connsiteY2977" fmla="*/ 693060 h 745576"/>
                <a:gd name="connsiteX2978" fmla="*/ 484991 w 1926380"/>
                <a:gd name="connsiteY2978" fmla="*/ 692123 h 745576"/>
                <a:gd name="connsiteX2979" fmla="*/ 484235 w 1926380"/>
                <a:gd name="connsiteY2979" fmla="*/ 691911 h 745576"/>
                <a:gd name="connsiteX2980" fmla="*/ 484053 w 1926380"/>
                <a:gd name="connsiteY2980" fmla="*/ 691639 h 745576"/>
                <a:gd name="connsiteX2981" fmla="*/ 483992 w 1926380"/>
                <a:gd name="connsiteY2981" fmla="*/ 691578 h 745576"/>
                <a:gd name="connsiteX2982" fmla="*/ 483539 w 1926380"/>
                <a:gd name="connsiteY2982" fmla="*/ 692092 h 745576"/>
                <a:gd name="connsiteX2983" fmla="*/ 482843 w 1926380"/>
                <a:gd name="connsiteY2983" fmla="*/ 692092 h 745576"/>
                <a:gd name="connsiteX2984" fmla="*/ 484053 w 1926380"/>
                <a:gd name="connsiteY2984" fmla="*/ 689733 h 745576"/>
                <a:gd name="connsiteX2985" fmla="*/ 486746 w 1926380"/>
                <a:gd name="connsiteY2985" fmla="*/ 687585 h 745576"/>
                <a:gd name="connsiteX2986" fmla="*/ 488198 w 1926380"/>
                <a:gd name="connsiteY2986" fmla="*/ 685921 h 745576"/>
                <a:gd name="connsiteX2987" fmla="*/ 485596 w 1926380"/>
                <a:gd name="connsiteY2987" fmla="*/ 685074 h 745576"/>
                <a:gd name="connsiteX2988" fmla="*/ 486352 w 1926380"/>
                <a:gd name="connsiteY2988" fmla="*/ 683410 h 745576"/>
                <a:gd name="connsiteX2989" fmla="*/ 484900 w 1926380"/>
                <a:gd name="connsiteY2989" fmla="*/ 682654 h 745576"/>
                <a:gd name="connsiteX2990" fmla="*/ 483811 w 1926380"/>
                <a:gd name="connsiteY2990" fmla="*/ 681051 h 745576"/>
                <a:gd name="connsiteX2991" fmla="*/ 483630 w 1926380"/>
                <a:gd name="connsiteY2991" fmla="*/ 679084 h 745576"/>
                <a:gd name="connsiteX2992" fmla="*/ 484991 w 1926380"/>
                <a:gd name="connsiteY2992" fmla="*/ 677178 h 745576"/>
                <a:gd name="connsiteX2993" fmla="*/ 484900 w 1926380"/>
                <a:gd name="connsiteY2993" fmla="*/ 676180 h 745576"/>
                <a:gd name="connsiteX2994" fmla="*/ 487108 w 1926380"/>
                <a:gd name="connsiteY2994" fmla="*/ 673064 h 745576"/>
                <a:gd name="connsiteX2995" fmla="*/ 488319 w 1926380"/>
                <a:gd name="connsiteY2995" fmla="*/ 669011 h 745576"/>
                <a:gd name="connsiteX2996" fmla="*/ 489862 w 1926380"/>
                <a:gd name="connsiteY2996" fmla="*/ 667225 h 745576"/>
                <a:gd name="connsiteX2997" fmla="*/ 493249 w 1926380"/>
                <a:gd name="connsiteY2997" fmla="*/ 664594 h 745576"/>
                <a:gd name="connsiteX2998" fmla="*/ 492977 w 1926380"/>
                <a:gd name="connsiteY2998" fmla="*/ 663232 h 745576"/>
                <a:gd name="connsiteX2999" fmla="*/ 494369 w 1926380"/>
                <a:gd name="connsiteY2999" fmla="*/ 659179 h 745576"/>
                <a:gd name="connsiteX3000" fmla="*/ 494611 w 1926380"/>
                <a:gd name="connsiteY3000" fmla="*/ 656759 h 745576"/>
                <a:gd name="connsiteX3001" fmla="*/ 493945 w 1926380"/>
                <a:gd name="connsiteY3001" fmla="*/ 657545 h 745576"/>
                <a:gd name="connsiteX3002" fmla="*/ 493371 w 1926380"/>
                <a:gd name="connsiteY3002" fmla="*/ 656214 h 745576"/>
                <a:gd name="connsiteX3003" fmla="*/ 492645 w 1926380"/>
                <a:gd name="connsiteY3003" fmla="*/ 655276 h 745576"/>
                <a:gd name="connsiteX3004" fmla="*/ 492040 w 1926380"/>
                <a:gd name="connsiteY3004" fmla="*/ 654096 h 745576"/>
                <a:gd name="connsiteX3005" fmla="*/ 491858 w 1926380"/>
                <a:gd name="connsiteY3005" fmla="*/ 652009 h 745576"/>
                <a:gd name="connsiteX3006" fmla="*/ 492100 w 1926380"/>
                <a:gd name="connsiteY3006" fmla="*/ 650345 h 745576"/>
                <a:gd name="connsiteX3007" fmla="*/ 492523 w 1926380"/>
                <a:gd name="connsiteY3007" fmla="*/ 649165 h 745576"/>
                <a:gd name="connsiteX3008" fmla="*/ 493159 w 1926380"/>
                <a:gd name="connsiteY3008" fmla="*/ 648228 h 745576"/>
                <a:gd name="connsiteX3009" fmla="*/ 493945 w 1926380"/>
                <a:gd name="connsiteY3009" fmla="*/ 647290 h 745576"/>
                <a:gd name="connsiteX3010" fmla="*/ 493945 w 1926380"/>
                <a:gd name="connsiteY3010" fmla="*/ 646564 h 745576"/>
                <a:gd name="connsiteX3011" fmla="*/ 492856 w 1926380"/>
                <a:gd name="connsiteY3011" fmla="*/ 644840 h 745576"/>
                <a:gd name="connsiteX3012" fmla="*/ 492735 w 1926380"/>
                <a:gd name="connsiteY3012" fmla="*/ 642782 h 745576"/>
                <a:gd name="connsiteX3013" fmla="*/ 493249 w 1926380"/>
                <a:gd name="connsiteY3013" fmla="*/ 639031 h 745576"/>
                <a:gd name="connsiteX3014" fmla="*/ 493249 w 1926380"/>
                <a:gd name="connsiteY3014" fmla="*/ 635492 h 745576"/>
                <a:gd name="connsiteX3015" fmla="*/ 493733 w 1926380"/>
                <a:gd name="connsiteY3015" fmla="*/ 634554 h 745576"/>
                <a:gd name="connsiteX3016" fmla="*/ 495034 w 1926380"/>
                <a:gd name="connsiteY3016" fmla="*/ 632527 h 745576"/>
                <a:gd name="connsiteX3017" fmla="*/ 496456 w 1926380"/>
                <a:gd name="connsiteY3017" fmla="*/ 628958 h 745576"/>
                <a:gd name="connsiteX3018" fmla="*/ 499179 w 1926380"/>
                <a:gd name="connsiteY3018" fmla="*/ 626507 h 745576"/>
                <a:gd name="connsiteX3019" fmla="*/ 504987 w 1926380"/>
                <a:gd name="connsiteY3019" fmla="*/ 622877 h 745576"/>
                <a:gd name="connsiteX3020" fmla="*/ 509041 w 1926380"/>
                <a:gd name="connsiteY3020" fmla="*/ 625781 h 745576"/>
                <a:gd name="connsiteX3021" fmla="*/ 511188 w 1926380"/>
                <a:gd name="connsiteY3021" fmla="*/ 626961 h 745576"/>
                <a:gd name="connsiteX3022" fmla="*/ 513972 w 1926380"/>
                <a:gd name="connsiteY3022" fmla="*/ 627657 h 745576"/>
                <a:gd name="connsiteX3023" fmla="*/ 530459 w 1926380"/>
                <a:gd name="connsiteY3023" fmla="*/ 626779 h 745576"/>
                <a:gd name="connsiteX3024" fmla="*/ 570814 w 1926380"/>
                <a:gd name="connsiteY3024" fmla="*/ 632376 h 745576"/>
                <a:gd name="connsiteX3025" fmla="*/ 574384 w 1926380"/>
                <a:gd name="connsiteY3025" fmla="*/ 634282 h 745576"/>
                <a:gd name="connsiteX3026" fmla="*/ 574626 w 1926380"/>
                <a:gd name="connsiteY3026" fmla="*/ 637065 h 745576"/>
                <a:gd name="connsiteX3027" fmla="*/ 577530 w 1926380"/>
                <a:gd name="connsiteY3027" fmla="*/ 637549 h 745576"/>
                <a:gd name="connsiteX3028" fmla="*/ 596498 w 1926380"/>
                <a:gd name="connsiteY3028" fmla="*/ 645323 h 745576"/>
                <a:gd name="connsiteX3029" fmla="*/ 597950 w 1926380"/>
                <a:gd name="connsiteY3029" fmla="*/ 646897 h 745576"/>
                <a:gd name="connsiteX3030" fmla="*/ 599643 w 1926380"/>
                <a:gd name="connsiteY3030" fmla="*/ 648198 h 745576"/>
                <a:gd name="connsiteX3031" fmla="*/ 607267 w 1926380"/>
                <a:gd name="connsiteY3031" fmla="*/ 651313 h 745576"/>
                <a:gd name="connsiteX3032" fmla="*/ 609355 w 1926380"/>
                <a:gd name="connsiteY3032" fmla="*/ 651616 h 745576"/>
                <a:gd name="connsiteX3033" fmla="*/ 610595 w 1926380"/>
                <a:gd name="connsiteY3033" fmla="*/ 651465 h 745576"/>
                <a:gd name="connsiteX3034" fmla="*/ 611865 w 1926380"/>
                <a:gd name="connsiteY3034" fmla="*/ 652614 h 745576"/>
                <a:gd name="connsiteX3035" fmla="*/ 613862 w 1926380"/>
                <a:gd name="connsiteY3035" fmla="*/ 655185 h 745576"/>
                <a:gd name="connsiteX3036" fmla="*/ 617704 w 1926380"/>
                <a:gd name="connsiteY3036" fmla="*/ 656698 h 745576"/>
                <a:gd name="connsiteX3037" fmla="*/ 618641 w 1926380"/>
                <a:gd name="connsiteY3037" fmla="*/ 657515 h 745576"/>
                <a:gd name="connsiteX3038" fmla="*/ 620427 w 1926380"/>
                <a:gd name="connsiteY3038" fmla="*/ 657182 h 745576"/>
                <a:gd name="connsiteX3039" fmla="*/ 623240 w 1926380"/>
                <a:gd name="connsiteY3039" fmla="*/ 657606 h 745576"/>
                <a:gd name="connsiteX3040" fmla="*/ 625811 w 1926380"/>
                <a:gd name="connsiteY3040" fmla="*/ 658453 h 745576"/>
                <a:gd name="connsiteX3041" fmla="*/ 626961 w 1926380"/>
                <a:gd name="connsiteY3041" fmla="*/ 659451 h 745576"/>
                <a:gd name="connsiteX3042" fmla="*/ 627838 w 1926380"/>
                <a:gd name="connsiteY3042" fmla="*/ 660570 h 745576"/>
                <a:gd name="connsiteX3043" fmla="*/ 629865 w 1926380"/>
                <a:gd name="connsiteY3043" fmla="*/ 660842 h 745576"/>
                <a:gd name="connsiteX3044" fmla="*/ 633919 w 1926380"/>
                <a:gd name="connsiteY3044" fmla="*/ 660691 h 745576"/>
                <a:gd name="connsiteX3045" fmla="*/ 634523 w 1926380"/>
                <a:gd name="connsiteY3045" fmla="*/ 660994 h 745576"/>
                <a:gd name="connsiteX3046" fmla="*/ 635129 w 1926380"/>
                <a:gd name="connsiteY3046" fmla="*/ 661508 h 745576"/>
                <a:gd name="connsiteX3047" fmla="*/ 635915 w 1926380"/>
                <a:gd name="connsiteY3047" fmla="*/ 662022 h 745576"/>
                <a:gd name="connsiteX3048" fmla="*/ 637004 w 1926380"/>
                <a:gd name="connsiteY3048" fmla="*/ 662265 h 745576"/>
                <a:gd name="connsiteX3049" fmla="*/ 638154 w 1926380"/>
                <a:gd name="connsiteY3049" fmla="*/ 662265 h 745576"/>
                <a:gd name="connsiteX3050" fmla="*/ 639031 w 1926380"/>
                <a:gd name="connsiteY3050" fmla="*/ 662416 h 745576"/>
                <a:gd name="connsiteX3051" fmla="*/ 639757 w 1926380"/>
                <a:gd name="connsiteY3051" fmla="*/ 662779 h 745576"/>
                <a:gd name="connsiteX3052" fmla="*/ 645898 w 1926380"/>
                <a:gd name="connsiteY3052" fmla="*/ 668526 h 745576"/>
                <a:gd name="connsiteX3053" fmla="*/ 647411 w 1926380"/>
                <a:gd name="connsiteY3053" fmla="*/ 669343 h 745576"/>
                <a:gd name="connsiteX3054" fmla="*/ 648651 w 1926380"/>
                <a:gd name="connsiteY3054" fmla="*/ 671219 h 745576"/>
                <a:gd name="connsiteX3055" fmla="*/ 650405 w 1926380"/>
                <a:gd name="connsiteY3055" fmla="*/ 674758 h 745576"/>
                <a:gd name="connsiteX3056" fmla="*/ 650708 w 1926380"/>
                <a:gd name="connsiteY3056" fmla="*/ 674819 h 745576"/>
                <a:gd name="connsiteX3057" fmla="*/ 652069 w 1926380"/>
                <a:gd name="connsiteY3057" fmla="*/ 675333 h 745576"/>
                <a:gd name="connsiteX3058" fmla="*/ 652372 w 1926380"/>
                <a:gd name="connsiteY3058" fmla="*/ 675726 h 745576"/>
                <a:gd name="connsiteX3059" fmla="*/ 653521 w 1926380"/>
                <a:gd name="connsiteY3059" fmla="*/ 677511 h 745576"/>
                <a:gd name="connsiteX3060" fmla="*/ 654671 w 1926380"/>
                <a:gd name="connsiteY3060" fmla="*/ 678933 h 745576"/>
                <a:gd name="connsiteX3061" fmla="*/ 655064 w 1926380"/>
                <a:gd name="connsiteY3061" fmla="*/ 679750 h 745576"/>
                <a:gd name="connsiteX3062" fmla="*/ 655216 w 1926380"/>
                <a:gd name="connsiteY3062" fmla="*/ 680688 h 745576"/>
                <a:gd name="connsiteX3063" fmla="*/ 656456 w 1926380"/>
                <a:gd name="connsiteY3063" fmla="*/ 683985 h 745576"/>
                <a:gd name="connsiteX3064" fmla="*/ 662567 w 1926380"/>
                <a:gd name="connsiteY3064" fmla="*/ 688916 h 745576"/>
                <a:gd name="connsiteX3065" fmla="*/ 664926 w 1926380"/>
                <a:gd name="connsiteY3065" fmla="*/ 692062 h 745576"/>
                <a:gd name="connsiteX3066" fmla="*/ 665199 w 1926380"/>
                <a:gd name="connsiteY3066" fmla="*/ 693060 h 745576"/>
                <a:gd name="connsiteX3067" fmla="*/ 665592 w 1926380"/>
                <a:gd name="connsiteY3067" fmla="*/ 696297 h 745576"/>
                <a:gd name="connsiteX3068" fmla="*/ 666046 w 1926380"/>
                <a:gd name="connsiteY3068" fmla="*/ 696963 h 745576"/>
                <a:gd name="connsiteX3069" fmla="*/ 667921 w 1926380"/>
                <a:gd name="connsiteY3069" fmla="*/ 698143 h 745576"/>
                <a:gd name="connsiteX3070" fmla="*/ 668345 w 1926380"/>
                <a:gd name="connsiteY3070" fmla="*/ 698717 h 745576"/>
                <a:gd name="connsiteX3071" fmla="*/ 669191 w 1926380"/>
                <a:gd name="connsiteY3071" fmla="*/ 698808 h 745576"/>
                <a:gd name="connsiteX3072" fmla="*/ 673881 w 1926380"/>
                <a:gd name="connsiteY3072" fmla="*/ 704586 h 745576"/>
                <a:gd name="connsiteX3073" fmla="*/ 675514 w 1926380"/>
                <a:gd name="connsiteY3073" fmla="*/ 705463 h 745576"/>
                <a:gd name="connsiteX3074" fmla="*/ 677571 w 1926380"/>
                <a:gd name="connsiteY3074" fmla="*/ 706008 h 745576"/>
                <a:gd name="connsiteX3075" fmla="*/ 679326 w 1926380"/>
                <a:gd name="connsiteY3075" fmla="*/ 706704 h 745576"/>
                <a:gd name="connsiteX3076" fmla="*/ 680052 w 1926380"/>
                <a:gd name="connsiteY3076" fmla="*/ 708065 h 745576"/>
                <a:gd name="connsiteX3077" fmla="*/ 681081 w 1926380"/>
                <a:gd name="connsiteY3077" fmla="*/ 709094 h 745576"/>
                <a:gd name="connsiteX3078" fmla="*/ 688765 w 1926380"/>
                <a:gd name="connsiteY3078" fmla="*/ 713178 h 745576"/>
                <a:gd name="connsiteX3079" fmla="*/ 690579 w 1926380"/>
                <a:gd name="connsiteY3079" fmla="*/ 713631 h 745576"/>
                <a:gd name="connsiteX3080" fmla="*/ 694240 w 1926380"/>
                <a:gd name="connsiteY3080" fmla="*/ 713934 h 745576"/>
                <a:gd name="connsiteX3081" fmla="*/ 694633 w 1926380"/>
                <a:gd name="connsiteY3081" fmla="*/ 714176 h 745576"/>
                <a:gd name="connsiteX3082" fmla="*/ 700744 w 1926380"/>
                <a:gd name="connsiteY3082" fmla="*/ 717836 h 745576"/>
                <a:gd name="connsiteX3083" fmla="*/ 704586 w 1926380"/>
                <a:gd name="connsiteY3083" fmla="*/ 719561 h 745576"/>
                <a:gd name="connsiteX3084" fmla="*/ 713631 w 1926380"/>
                <a:gd name="connsiteY3084" fmla="*/ 721527 h 745576"/>
                <a:gd name="connsiteX3085" fmla="*/ 717957 w 1926380"/>
                <a:gd name="connsiteY3085" fmla="*/ 721799 h 745576"/>
                <a:gd name="connsiteX3086" fmla="*/ 723281 w 1926380"/>
                <a:gd name="connsiteY3086" fmla="*/ 717927 h 745576"/>
                <a:gd name="connsiteX3087" fmla="*/ 724129 w 1926380"/>
                <a:gd name="connsiteY3087" fmla="*/ 716687 h 745576"/>
                <a:gd name="connsiteX3088" fmla="*/ 725278 w 1926380"/>
                <a:gd name="connsiteY3088" fmla="*/ 716324 h 745576"/>
                <a:gd name="connsiteX3089" fmla="*/ 731752 w 1926380"/>
                <a:gd name="connsiteY3089" fmla="*/ 713087 h 745576"/>
                <a:gd name="connsiteX3090" fmla="*/ 733718 w 1926380"/>
                <a:gd name="connsiteY3090" fmla="*/ 713178 h 745576"/>
                <a:gd name="connsiteX3091" fmla="*/ 740403 w 1926380"/>
                <a:gd name="connsiteY3091" fmla="*/ 714720 h 745576"/>
                <a:gd name="connsiteX3092" fmla="*/ 743580 w 1926380"/>
                <a:gd name="connsiteY3092" fmla="*/ 714569 h 745576"/>
                <a:gd name="connsiteX3093" fmla="*/ 744850 w 1926380"/>
                <a:gd name="connsiteY3093" fmla="*/ 714720 h 745576"/>
                <a:gd name="connsiteX3094" fmla="*/ 745788 w 1926380"/>
                <a:gd name="connsiteY3094" fmla="*/ 715083 h 745576"/>
                <a:gd name="connsiteX3095" fmla="*/ 746121 w 1926380"/>
                <a:gd name="connsiteY3095" fmla="*/ 715446 h 745576"/>
                <a:gd name="connsiteX3096" fmla="*/ 746514 w 1926380"/>
                <a:gd name="connsiteY3096" fmla="*/ 715446 h 745576"/>
                <a:gd name="connsiteX3097" fmla="*/ 747604 w 1926380"/>
                <a:gd name="connsiteY3097" fmla="*/ 714690 h 745576"/>
                <a:gd name="connsiteX3098" fmla="*/ 748965 w 1926380"/>
                <a:gd name="connsiteY3098" fmla="*/ 713056 h 745576"/>
                <a:gd name="connsiteX3099" fmla="*/ 749903 w 1926380"/>
                <a:gd name="connsiteY3099" fmla="*/ 711272 h 745576"/>
                <a:gd name="connsiteX3100" fmla="*/ 751173 w 1926380"/>
                <a:gd name="connsiteY3100" fmla="*/ 709820 h 745576"/>
                <a:gd name="connsiteX3101" fmla="*/ 753472 w 1926380"/>
                <a:gd name="connsiteY3101" fmla="*/ 709214 h 745576"/>
                <a:gd name="connsiteX3102" fmla="*/ 754501 w 1926380"/>
                <a:gd name="connsiteY3102" fmla="*/ 709457 h 745576"/>
                <a:gd name="connsiteX3103" fmla="*/ 756649 w 1926380"/>
                <a:gd name="connsiteY3103" fmla="*/ 710515 h 745576"/>
                <a:gd name="connsiteX3104" fmla="*/ 757889 w 1926380"/>
                <a:gd name="connsiteY3104" fmla="*/ 710818 h 745576"/>
                <a:gd name="connsiteX3105" fmla="*/ 759039 w 1926380"/>
                <a:gd name="connsiteY3105" fmla="*/ 710727 h 745576"/>
                <a:gd name="connsiteX3106" fmla="*/ 762003 w 1926380"/>
                <a:gd name="connsiteY3106" fmla="*/ 709971 h 745576"/>
                <a:gd name="connsiteX3107" fmla="*/ 766481 w 1926380"/>
                <a:gd name="connsiteY3107" fmla="*/ 710062 h 745576"/>
                <a:gd name="connsiteX3108" fmla="*/ 768689 w 1926380"/>
                <a:gd name="connsiteY3108" fmla="*/ 709820 h 745576"/>
                <a:gd name="connsiteX3109" fmla="*/ 770564 w 1926380"/>
                <a:gd name="connsiteY3109" fmla="*/ 707793 h 745576"/>
                <a:gd name="connsiteX3110" fmla="*/ 772682 w 1926380"/>
                <a:gd name="connsiteY3110" fmla="*/ 708035 h 745576"/>
                <a:gd name="connsiteX3111" fmla="*/ 776555 w 1926380"/>
                <a:gd name="connsiteY3111" fmla="*/ 709275 h 745576"/>
                <a:gd name="connsiteX3112" fmla="*/ 778037 w 1926380"/>
                <a:gd name="connsiteY3112" fmla="*/ 708942 h 745576"/>
                <a:gd name="connsiteX3113" fmla="*/ 781606 w 1926380"/>
                <a:gd name="connsiteY3113" fmla="*/ 707248 h 745576"/>
                <a:gd name="connsiteX3114" fmla="*/ 783784 w 1926380"/>
                <a:gd name="connsiteY3114" fmla="*/ 706855 h 745576"/>
                <a:gd name="connsiteX3115" fmla="*/ 785811 w 1926380"/>
                <a:gd name="connsiteY3115" fmla="*/ 707127 h 745576"/>
                <a:gd name="connsiteX3116" fmla="*/ 790107 w 1926380"/>
                <a:gd name="connsiteY3116" fmla="*/ 708186 h 745576"/>
                <a:gd name="connsiteX3117" fmla="*/ 792437 w 1926380"/>
                <a:gd name="connsiteY3117" fmla="*/ 708428 h 745576"/>
                <a:gd name="connsiteX3118" fmla="*/ 792437 w 1926380"/>
                <a:gd name="connsiteY3118" fmla="*/ 709275 h 745576"/>
                <a:gd name="connsiteX3119" fmla="*/ 791044 w 1926380"/>
                <a:gd name="connsiteY3119" fmla="*/ 710001 h 745576"/>
                <a:gd name="connsiteX3120" fmla="*/ 793222 w 1926380"/>
                <a:gd name="connsiteY3120" fmla="*/ 710364 h 745576"/>
                <a:gd name="connsiteX3121" fmla="*/ 795431 w 1926380"/>
                <a:gd name="connsiteY3121" fmla="*/ 708398 h 745576"/>
                <a:gd name="connsiteX3122" fmla="*/ 797700 w 1926380"/>
                <a:gd name="connsiteY3122" fmla="*/ 705645 h 745576"/>
                <a:gd name="connsiteX3123" fmla="*/ 800059 w 1926380"/>
                <a:gd name="connsiteY3123" fmla="*/ 703739 h 745576"/>
                <a:gd name="connsiteX3124" fmla="*/ 801512 w 1926380"/>
                <a:gd name="connsiteY3124" fmla="*/ 703194 h 745576"/>
                <a:gd name="connsiteX3125" fmla="*/ 802843 w 1926380"/>
                <a:gd name="connsiteY3125" fmla="*/ 702922 h 745576"/>
                <a:gd name="connsiteX3126" fmla="*/ 803781 w 1926380"/>
                <a:gd name="connsiteY3126" fmla="*/ 703376 h 745576"/>
                <a:gd name="connsiteX3127" fmla="*/ 804143 w 1926380"/>
                <a:gd name="connsiteY3127" fmla="*/ 704949 h 745576"/>
                <a:gd name="connsiteX3128" fmla="*/ 806655 w 1926380"/>
                <a:gd name="connsiteY3128" fmla="*/ 708579 h 745576"/>
                <a:gd name="connsiteX3129" fmla="*/ 806957 w 1926380"/>
                <a:gd name="connsiteY3129" fmla="*/ 709275 h 745576"/>
                <a:gd name="connsiteX3130" fmla="*/ 807532 w 1926380"/>
                <a:gd name="connsiteY3130" fmla="*/ 708458 h 745576"/>
                <a:gd name="connsiteX3131" fmla="*/ 808197 w 1926380"/>
                <a:gd name="connsiteY3131" fmla="*/ 705373 h 745576"/>
                <a:gd name="connsiteX3132" fmla="*/ 808681 w 1926380"/>
                <a:gd name="connsiteY3132" fmla="*/ 704163 h 745576"/>
                <a:gd name="connsiteX3133" fmla="*/ 811737 w 1926380"/>
                <a:gd name="connsiteY3133" fmla="*/ 701077 h 745576"/>
                <a:gd name="connsiteX3134" fmla="*/ 812493 w 1926380"/>
                <a:gd name="connsiteY3134" fmla="*/ 700532 h 745576"/>
                <a:gd name="connsiteX3135" fmla="*/ 815911 w 1926380"/>
                <a:gd name="connsiteY3135" fmla="*/ 699201 h 745576"/>
                <a:gd name="connsiteX3136" fmla="*/ 816909 w 1926380"/>
                <a:gd name="connsiteY3136" fmla="*/ 699050 h 745576"/>
                <a:gd name="connsiteX3137" fmla="*/ 818150 w 1926380"/>
                <a:gd name="connsiteY3137" fmla="*/ 698566 h 745576"/>
                <a:gd name="connsiteX3138" fmla="*/ 819633 w 1926380"/>
                <a:gd name="connsiteY3138" fmla="*/ 696176 h 745576"/>
                <a:gd name="connsiteX3139" fmla="*/ 820751 w 1926380"/>
                <a:gd name="connsiteY3139" fmla="*/ 695208 h 745576"/>
                <a:gd name="connsiteX3140" fmla="*/ 820449 w 1926380"/>
                <a:gd name="connsiteY3140" fmla="*/ 694755 h 745576"/>
                <a:gd name="connsiteX3141" fmla="*/ 820147 w 1926380"/>
                <a:gd name="connsiteY3141" fmla="*/ 694543 h 745576"/>
                <a:gd name="connsiteX3142" fmla="*/ 819390 w 1926380"/>
                <a:gd name="connsiteY3142" fmla="*/ 694361 h 745576"/>
                <a:gd name="connsiteX3143" fmla="*/ 821085 w 1926380"/>
                <a:gd name="connsiteY3143" fmla="*/ 693847 h 745576"/>
                <a:gd name="connsiteX3144" fmla="*/ 822052 w 1926380"/>
                <a:gd name="connsiteY3144" fmla="*/ 692849 h 745576"/>
                <a:gd name="connsiteX3145" fmla="*/ 823837 w 1926380"/>
                <a:gd name="connsiteY3145" fmla="*/ 690035 h 745576"/>
                <a:gd name="connsiteX3146" fmla="*/ 825410 w 1926380"/>
                <a:gd name="connsiteY3146" fmla="*/ 688886 h 745576"/>
                <a:gd name="connsiteX3147" fmla="*/ 826620 w 1926380"/>
                <a:gd name="connsiteY3147" fmla="*/ 689188 h 745576"/>
                <a:gd name="connsiteX3148" fmla="*/ 827831 w 1926380"/>
                <a:gd name="connsiteY3148" fmla="*/ 689975 h 745576"/>
                <a:gd name="connsiteX3149" fmla="*/ 829373 w 1926380"/>
                <a:gd name="connsiteY3149" fmla="*/ 690428 h 745576"/>
                <a:gd name="connsiteX3150" fmla="*/ 831430 w 1926380"/>
                <a:gd name="connsiteY3150" fmla="*/ 691699 h 745576"/>
                <a:gd name="connsiteX3151" fmla="*/ 832943 w 1926380"/>
                <a:gd name="connsiteY3151" fmla="*/ 694573 h 745576"/>
                <a:gd name="connsiteX3152" fmla="*/ 833427 w 1926380"/>
                <a:gd name="connsiteY3152" fmla="*/ 697719 h 745576"/>
                <a:gd name="connsiteX3153" fmla="*/ 832489 w 1926380"/>
                <a:gd name="connsiteY3153" fmla="*/ 699776 h 745576"/>
                <a:gd name="connsiteX3154" fmla="*/ 832489 w 1926380"/>
                <a:gd name="connsiteY3154" fmla="*/ 700502 h 745576"/>
                <a:gd name="connsiteX3155" fmla="*/ 834243 w 1926380"/>
                <a:gd name="connsiteY3155" fmla="*/ 700502 h 745576"/>
                <a:gd name="connsiteX3156" fmla="*/ 834789 w 1926380"/>
                <a:gd name="connsiteY3156" fmla="*/ 699686 h 745576"/>
                <a:gd name="connsiteX3157" fmla="*/ 834848 w 1926380"/>
                <a:gd name="connsiteY3157" fmla="*/ 698324 h 745576"/>
                <a:gd name="connsiteX3158" fmla="*/ 835212 w 1926380"/>
                <a:gd name="connsiteY3158" fmla="*/ 696660 h 745576"/>
                <a:gd name="connsiteX3159" fmla="*/ 836059 w 1926380"/>
                <a:gd name="connsiteY3159" fmla="*/ 695238 h 745576"/>
                <a:gd name="connsiteX3160" fmla="*/ 837934 w 1926380"/>
                <a:gd name="connsiteY3160" fmla="*/ 692909 h 745576"/>
                <a:gd name="connsiteX3161" fmla="*/ 838176 w 1926380"/>
                <a:gd name="connsiteY3161" fmla="*/ 692183 h 745576"/>
                <a:gd name="connsiteX3162" fmla="*/ 837843 w 1926380"/>
                <a:gd name="connsiteY3162" fmla="*/ 692516 h 745576"/>
                <a:gd name="connsiteX3163" fmla="*/ 837269 w 1926380"/>
                <a:gd name="connsiteY3163" fmla="*/ 692697 h 745576"/>
                <a:gd name="connsiteX3164" fmla="*/ 838328 w 1926380"/>
                <a:gd name="connsiteY3164" fmla="*/ 690277 h 745576"/>
                <a:gd name="connsiteX3165" fmla="*/ 841080 w 1926380"/>
                <a:gd name="connsiteY3165" fmla="*/ 689400 h 745576"/>
                <a:gd name="connsiteX3166" fmla="*/ 844166 w 1926380"/>
                <a:gd name="connsiteY3166" fmla="*/ 688795 h 745576"/>
                <a:gd name="connsiteX3167" fmla="*/ 846193 w 1926380"/>
                <a:gd name="connsiteY3167" fmla="*/ 687312 h 745576"/>
                <a:gd name="connsiteX3168" fmla="*/ 846405 w 1926380"/>
                <a:gd name="connsiteY3168" fmla="*/ 684257 h 745576"/>
                <a:gd name="connsiteX3169" fmla="*/ 845891 w 1926380"/>
                <a:gd name="connsiteY3169" fmla="*/ 680627 h 745576"/>
                <a:gd name="connsiteX3170" fmla="*/ 846133 w 1926380"/>
                <a:gd name="connsiteY3170" fmla="*/ 677572 h 745576"/>
                <a:gd name="connsiteX3171" fmla="*/ 849611 w 1926380"/>
                <a:gd name="connsiteY3171" fmla="*/ 675787 h 745576"/>
                <a:gd name="connsiteX3172" fmla="*/ 853181 w 1926380"/>
                <a:gd name="connsiteY3172" fmla="*/ 672399 h 745576"/>
                <a:gd name="connsiteX3173" fmla="*/ 855268 w 1926380"/>
                <a:gd name="connsiteY3173" fmla="*/ 671491 h 745576"/>
                <a:gd name="connsiteX3174" fmla="*/ 856236 w 1926380"/>
                <a:gd name="connsiteY3174" fmla="*/ 670765 h 745576"/>
                <a:gd name="connsiteX3175" fmla="*/ 856630 w 1926380"/>
                <a:gd name="connsiteY3175" fmla="*/ 669615 h 745576"/>
                <a:gd name="connsiteX3176" fmla="*/ 857507 w 1926380"/>
                <a:gd name="connsiteY3176" fmla="*/ 667891 h 745576"/>
                <a:gd name="connsiteX3177" fmla="*/ 866129 w 1926380"/>
                <a:gd name="connsiteY3177" fmla="*/ 657727 h 745576"/>
                <a:gd name="connsiteX3178" fmla="*/ 869275 w 1926380"/>
                <a:gd name="connsiteY3178" fmla="*/ 655246 h 745576"/>
                <a:gd name="connsiteX3179" fmla="*/ 880105 w 1926380"/>
                <a:gd name="connsiteY3179" fmla="*/ 649014 h 745576"/>
                <a:gd name="connsiteX3180" fmla="*/ 888938 w 1926380"/>
                <a:gd name="connsiteY3180" fmla="*/ 641693 h 745576"/>
                <a:gd name="connsiteX3181" fmla="*/ 892024 w 1926380"/>
                <a:gd name="connsiteY3181" fmla="*/ 640120 h 745576"/>
                <a:gd name="connsiteX3182" fmla="*/ 892538 w 1926380"/>
                <a:gd name="connsiteY3182" fmla="*/ 639636 h 745576"/>
                <a:gd name="connsiteX3183" fmla="*/ 893506 w 1926380"/>
                <a:gd name="connsiteY3183" fmla="*/ 637488 h 745576"/>
                <a:gd name="connsiteX3184" fmla="*/ 894081 w 1926380"/>
                <a:gd name="connsiteY3184" fmla="*/ 637004 h 745576"/>
                <a:gd name="connsiteX3185" fmla="*/ 897167 w 1926380"/>
                <a:gd name="connsiteY3185" fmla="*/ 635431 h 745576"/>
                <a:gd name="connsiteX3186" fmla="*/ 898286 w 1926380"/>
                <a:gd name="connsiteY3186" fmla="*/ 635008 h 745576"/>
                <a:gd name="connsiteX3187" fmla="*/ 901342 w 1926380"/>
                <a:gd name="connsiteY3187" fmla="*/ 634584 h 745576"/>
                <a:gd name="connsiteX3188" fmla="*/ 907997 w 1926380"/>
                <a:gd name="connsiteY3188" fmla="*/ 631680 h 745576"/>
                <a:gd name="connsiteX3189" fmla="*/ 912323 w 1926380"/>
                <a:gd name="connsiteY3189" fmla="*/ 630773 h 745576"/>
                <a:gd name="connsiteX3190" fmla="*/ 915257 w 1926380"/>
                <a:gd name="connsiteY3190" fmla="*/ 632285 h 745576"/>
                <a:gd name="connsiteX3191" fmla="*/ 915831 w 1926380"/>
                <a:gd name="connsiteY3191" fmla="*/ 631438 h 745576"/>
                <a:gd name="connsiteX3192" fmla="*/ 924060 w 1926380"/>
                <a:gd name="connsiteY3192" fmla="*/ 635431 h 745576"/>
                <a:gd name="connsiteX3193" fmla="*/ 928174 w 1926380"/>
                <a:gd name="connsiteY3193" fmla="*/ 639515 h 745576"/>
                <a:gd name="connsiteX3194" fmla="*/ 929626 w 1926380"/>
                <a:gd name="connsiteY3194" fmla="*/ 640151 h 745576"/>
                <a:gd name="connsiteX3195" fmla="*/ 929082 w 1926380"/>
                <a:gd name="connsiteY3195" fmla="*/ 641966 h 745576"/>
                <a:gd name="connsiteX3196" fmla="*/ 928870 w 1926380"/>
                <a:gd name="connsiteY3196" fmla="*/ 642510 h 745576"/>
                <a:gd name="connsiteX3197" fmla="*/ 930231 w 1926380"/>
                <a:gd name="connsiteY3197" fmla="*/ 641966 h 745576"/>
                <a:gd name="connsiteX3198" fmla="*/ 931835 w 1926380"/>
                <a:gd name="connsiteY3198" fmla="*/ 641663 h 745576"/>
                <a:gd name="connsiteX3199" fmla="*/ 932168 w 1926380"/>
                <a:gd name="connsiteY3199" fmla="*/ 641663 h 745576"/>
                <a:gd name="connsiteX3200" fmla="*/ 933499 w 1926380"/>
                <a:gd name="connsiteY3200" fmla="*/ 641603 h 745576"/>
                <a:gd name="connsiteX3201" fmla="*/ 935102 w 1926380"/>
                <a:gd name="connsiteY3201" fmla="*/ 641754 h 745576"/>
                <a:gd name="connsiteX3202" fmla="*/ 937098 w 1926380"/>
                <a:gd name="connsiteY3202" fmla="*/ 642419 h 745576"/>
                <a:gd name="connsiteX3203" fmla="*/ 940305 w 1926380"/>
                <a:gd name="connsiteY3203" fmla="*/ 644446 h 745576"/>
                <a:gd name="connsiteX3204" fmla="*/ 943088 w 1926380"/>
                <a:gd name="connsiteY3204" fmla="*/ 645354 h 745576"/>
                <a:gd name="connsiteX3205" fmla="*/ 968530 w 1926380"/>
                <a:gd name="connsiteY3205" fmla="*/ 659451 h 745576"/>
                <a:gd name="connsiteX3206" fmla="*/ 969952 w 1926380"/>
                <a:gd name="connsiteY3206" fmla="*/ 659844 h 745576"/>
                <a:gd name="connsiteX3207" fmla="*/ 971101 w 1926380"/>
                <a:gd name="connsiteY3207" fmla="*/ 660359 h 745576"/>
                <a:gd name="connsiteX3208" fmla="*/ 972674 w 1926380"/>
                <a:gd name="connsiteY3208" fmla="*/ 662537 h 745576"/>
                <a:gd name="connsiteX3209" fmla="*/ 973703 w 1926380"/>
                <a:gd name="connsiteY3209" fmla="*/ 663051 h 745576"/>
                <a:gd name="connsiteX3210" fmla="*/ 973915 w 1926380"/>
                <a:gd name="connsiteY3210" fmla="*/ 662688 h 745576"/>
                <a:gd name="connsiteX3211" fmla="*/ 976546 w 1926380"/>
                <a:gd name="connsiteY3211" fmla="*/ 660722 h 745576"/>
                <a:gd name="connsiteX3212" fmla="*/ 978694 w 1926380"/>
                <a:gd name="connsiteY3212" fmla="*/ 660026 h 745576"/>
                <a:gd name="connsiteX3213" fmla="*/ 979602 w 1926380"/>
                <a:gd name="connsiteY3213" fmla="*/ 659542 h 745576"/>
                <a:gd name="connsiteX3214" fmla="*/ 979965 w 1926380"/>
                <a:gd name="connsiteY3214" fmla="*/ 658695 h 745576"/>
                <a:gd name="connsiteX3215" fmla="*/ 980479 w 1926380"/>
                <a:gd name="connsiteY3215" fmla="*/ 658180 h 745576"/>
                <a:gd name="connsiteX3216" fmla="*/ 982899 w 1926380"/>
                <a:gd name="connsiteY3216" fmla="*/ 656971 h 745576"/>
                <a:gd name="connsiteX3217" fmla="*/ 983747 w 1926380"/>
                <a:gd name="connsiteY3217" fmla="*/ 656728 h 745576"/>
                <a:gd name="connsiteX3218" fmla="*/ 988103 w 1926380"/>
                <a:gd name="connsiteY3218" fmla="*/ 657243 h 745576"/>
                <a:gd name="connsiteX3219" fmla="*/ 992368 w 1926380"/>
                <a:gd name="connsiteY3219" fmla="*/ 658301 h 745576"/>
                <a:gd name="connsiteX3220" fmla="*/ 988919 w 1926380"/>
                <a:gd name="connsiteY3220" fmla="*/ 656971 h 745576"/>
                <a:gd name="connsiteX3221" fmla="*/ 988072 w 1926380"/>
                <a:gd name="connsiteY3221" fmla="*/ 656668 h 745576"/>
                <a:gd name="connsiteX3222" fmla="*/ 987074 w 1926380"/>
                <a:gd name="connsiteY3222" fmla="*/ 656486 h 745576"/>
                <a:gd name="connsiteX3223" fmla="*/ 987346 w 1926380"/>
                <a:gd name="connsiteY3223" fmla="*/ 655488 h 745576"/>
                <a:gd name="connsiteX3224" fmla="*/ 988224 w 1926380"/>
                <a:gd name="connsiteY3224" fmla="*/ 654732 h 745576"/>
                <a:gd name="connsiteX3225" fmla="*/ 989585 w 1926380"/>
                <a:gd name="connsiteY3225" fmla="*/ 654399 h 745576"/>
                <a:gd name="connsiteX3226" fmla="*/ 990553 w 1926380"/>
                <a:gd name="connsiteY3226" fmla="*/ 654853 h 745576"/>
                <a:gd name="connsiteX3227" fmla="*/ 993699 w 1926380"/>
                <a:gd name="connsiteY3227" fmla="*/ 657545 h 745576"/>
                <a:gd name="connsiteX3228" fmla="*/ 994970 w 1926380"/>
                <a:gd name="connsiteY3228" fmla="*/ 657787 h 745576"/>
                <a:gd name="connsiteX3229" fmla="*/ 998206 w 1926380"/>
                <a:gd name="connsiteY3229" fmla="*/ 657545 h 745576"/>
                <a:gd name="connsiteX3230" fmla="*/ 999174 w 1926380"/>
                <a:gd name="connsiteY3230" fmla="*/ 657334 h 745576"/>
                <a:gd name="connsiteX3231" fmla="*/ 1000687 w 1926380"/>
                <a:gd name="connsiteY3231" fmla="*/ 656305 h 745576"/>
                <a:gd name="connsiteX3232" fmla="*/ 1001655 w 1926380"/>
                <a:gd name="connsiteY3232" fmla="*/ 656093 h 745576"/>
                <a:gd name="connsiteX3233" fmla="*/ 1002442 w 1926380"/>
                <a:gd name="connsiteY3233" fmla="*/ 655548 h 745576"/>
                <a:gd name="connsiteX3234" fmla="*/ 1002593 w 1926380"/>
                <a:gd name="connsiteY3234" fmla="*/ 654278 h 745576"/>
                <a:gd name="connsiteX3235" fmla="*/ 1002593 w 1926380"/>
                <a:gd name="connsiteY3235" fmla="*/ 652826 h 745576"/>
                <a:gd name="connsiteX3236" fmla="*/ 1003047 w 1926380"/>
                <a:gd name="connsiteY3236" fmla="*/ 651677 h 745576"/>
                <a:gd name="connsiteX3237" fmla="*/ 1003682 w 1926380"/>
                <a:gd name="connsiteY3237" fmla="*/ 650769 h 745576"/>
                <a:gd name="connsiteX3238" fmla="*/ 1004529 w 1926380"/>
                <a:gd name="connsiteY3238" fmla="*/ 648712 h 745576"/>
                <a:gd name="connsiteX3239" fmla="*/ 1005103 w 1926380"/>
                <a:gd name="connsiteY3239" fmla="*/ 647744 h 745576"/>
                <a:gd name="connsiteX3240" fmla="*/ 1008885 w 1926380"/>
                <a:gd name="connsiteY3240" fmla="*/ 644174 h 745576"/>
                <a:gd name="connsiteX3241" fmla="*/ 1007312 w 1926380"/>
                <a:gd name="connsiteY3241" fmla="*/ 644537 h 745576"/>
                <a:gd name="connsiteX3242" fmla="*/ 1005981 w 1926380"/>
                <a:gd name="connsiteY3242" fmla="*/ 645354 h 745576"/>
                <a:gd name="connsiteX3243" fmla="*/ 1001504 w 1926380"/>
                <a:gd name="connsiteY3243" fmla="*/ 650164 h 745576"/>
                <a:gd name="connsiteX3244" fmla="*/ 1000143 w 1926380"/>
                <a:gd name="connsiteY3244" fmla="*/ 651011 h 745576"/>
                <a:gd name="connsiteX3245" fmla="*/ 999961 w 1926380"/>
                <a:gd name="connsiteY3245" fmla="*/ 649740 h 745576"/>
                <a:gd name="connsiteX3246" fmla="*/ 1001564 w 1926380"/>
                <a:gd name="connsiteY3246" fmla="*/ 647109 h 745576"/>
                <a:gd name="connsiteX3247" fmla="*/ 1004347 w 1926380"/>
                <a:gd name="connsiteY3247" fmla="*/ 645142 h 745576"/>
                <a:gd name="connsiteX3248" fmla="*/ 1010276 w 1926380"/>
                <a:gd name="connsiteY3248" fmla="*/ 642601 h 745576"/>
                <a:gd name="connsiteX3249" fmla="*/ 1008945 w 1926380"/>
                <a:gd name="connsiteY3249" fmla="*/ 642117 h 745576"/>
                <a:gd name="connsiteX3250" fmla="*/ 1007887 w 1926380"/>
                <a:gd name="connsiteY3250" fmla="*/ 642480 h 745576"/>
                <a:gd name="connsiteX3251" fmla="*/ 1006919 w 1926380"/>
                <a:gd name="connsiteY3251" fmla="*/ 643115 h 745576"/>
                <a:gd name="connsiteX3252" fmla="*/ 1005799 w 1926380"/>
                <a:gd name="connsiteY3252" fmla="*/ 643448 h 745576"/>
                <a:gd name="connsiteX3253" fmla="*/ 1005043 w 1926380"/>
                <a:gd name="connsiteY3253" fmla="*/ 642873 h 745576"/>
                <a:gd name="connsiteX3254" fmla="*/ 1004680 w 1926380"/>
                <a:gd name="connsiteY3254" fmla="*/ 641724 h 745576"/>
                <a:gd name="connsiteX3255" fmla="*/ 1004106 w 1926380"/>
                <a:gd name="connsiteY3255" fmla="*/ 641058 h 745576"/>
                <a:gd name="connsiteX3256" fmla="*/ 1002684 w 1926380"/>
                <a:gd name="connsiteY3256" fmla="*/ 641815 h 745576"/>
                <a:gd name="connsiteX3257" fmla="*/ 1003198 w 1926380"/>
                <a:gd name="connsiteY3257" fmla="*/ 642541 h 745576"/>
                <a:gd name="connsiteX3258" fmla="*/ 1003319 w 1926380"/>
                <a:gd name="connsiteY3258" fmla="*/ 643357 h 745576"/>
                <a:gd name="connsiteX3259" fmla="*/ 1003137 w 1926380"/>
                <a:gd name="connsiteY3259" fmla="*/ 644174 h 745576"/>
                <a:gd name="connsiteX3260" fmla="*/ 1002684 w 1926380"/>
                <a:gd name="connsiteY3260" fmla="*/ 644960 h 745576"/>
                <a:gd name="connsiteX3261" fmla="*/ 1002442 w 1926380"/>
                <a:gd name="connsiteY3261" fmla="*/ 644386 h 745576"/>
                <a:gd name="connsiteX3262" fmla="*/ 1002199 w 1926380"/>
                <a:gd name="connsiteY3262" fmla="*/ 643932 h 745576"/>
                <a:gd name="connsiteX3263" fmla="*/ 1001837 w 1926380"/>
                <a:gd name="connsiteY3263" fmla="*/ 643630 h 745576"/>
                <a:gd name="connsiteX3264" fmla="*/ 1001262 w 1926380"/>
                <a:gd name="connsiteY3264" fmla="*/ 643448 h 745576"/>
                <a:gd name="connsiteX3265" fmla="*/ 1000990 w 1926380"/>
                <a:gd name="connsiteY3265" fmla="*/ 645293 h 745576"/>
                <a:gd name="connsiteX3266" fmla="*/ 998721 w 1926380"/>
                <a:gd name="connsiteY3266" fmla="*/ 644658 h 745576"/>
                <a:gd name="connsiteX3267" fmla="*/ 997208 w 1926380"/>
                <a:gd name="connsiteY3267" fmla="*/ 646564 h 745576"/>
                <a:gd name="connsiteX3268" fmla="*/ 996573 w 1926380"/>
                <a:gd name="connsiteY3268" fmla="*/ 644779 h 745576"/>
                <a:gd name="connsiteX3269" fmla="*/ 997510 w 1926380"/>
                <a:gd name="connsiteY3269" fmla="*/ 643387 h 745576"/>
                <a:gd name="connsiteX3270" fmla="*/ 998993 w 1926380"/>
                <a:gd name="connsiteY3270" fmla="*/ 641996 h 745576"/>
                <a:gd name="connsiteX3271" fmla="*/ 999991 w 1926380"/>
                <a:gd name="connsiteY3271" fmla="*/ 640211 h 745576"/>
                <a:gd name="connsiteX3272" fmla="*/ 1000838 w 1926380"/>
                <a:gd name="connsiteY3272" fmla="*/ 640755 h 745576"/>
                <a:gd name="connsiteX3273" fmla="*/ 1001141 w 1926380"/>
                <a:gd name="connsiteY3273" fmla="*/ 641240 h 745576"/>
                <a:gd name="connsiteX3274" fmla="*/ 1001081 w 1926380"/>
                <a:gd name="connsiteY3274" fmla="*/ 641784 h 745576"/>
                <a:gd name="connsiteX3275" fmla="*/ 1000687 w 1926380"/>
                <a:gd name="connsiteY3275" fmla="*/ 642571 h 745576"/>
                <a:gd name="connsiteX3276" fmla="*/ 1001776 w 1926380"/>
                <a:gd name="connsiteY3276" fmla="*/ 641875 h 745576"/>
                <a:gd name="connsiteX3277" fmla="*/ 1002956 w 1926380"/>
                <a:gd name="connsiteY3277" fmla="*/ 639727 h 745576"/>
                <a:gd name="connsiteX3278" fmla="*/ 1004136 w 1926380"/>
                <a:gd name="connsiteY3278" fmla="*/ 638668 h 745576"/>
                <a:gd name="connsiteX3279" fmla="*/ 1007796 w 1926380"/>
                <a:gd name="connsiteY3279" fmla="*/ 637428 h 745576"/>
                <a:gd name="connsiteX3280" fmla="*/ 1016146 w 1926380"/>
                <a:gd name="connsiteY3280" fmla="*/ 637065 h 745576"/>
                <a:gd name="connsiteX3281" fmla="*/ 1019988 w 1926380"/>
                <a:gd name="connsiteY3281" fmla="*/ 636218 h 745576"/>
                <a:gd name="connsiteX3282" fmla="*/ 1021531 w 1926380"/>
                <a:gd name="connsiteY3282" fmla="*/ 635068 h 745576"/>
                <a:gd name="connsiteX3283" fmla="*/ 1024858 w 1926380"/>
                <a:gd name="connsiteY3283" fmla="*/ 631529 h 745576"/>
                <a:gd name="connsiteX3284" fmla="*/ 1025856 w 1926380"/>
                <a:gd name="connsiteY3284" fmla="*/ 630773 h 745576"/>
                <a:gd name="connsiteX3285" fmla="*/ 1027520 w 1926380"/>
                <a:gd name="connsiteY3285" fmla="*/ 630379 h 745576"/>
                <a:gd name="connsiteX3286" fmla="*/ 1028912 w 1926380"/>
                <a:gd name="connsiteY3286" fmla="*/ 629321 h 745576"/>
                <a:gd name="connsiteX3287" fmla="*/ 1034659 w 1926380"/>
                <a:gd name="connsiteY3287" fmla="*/ 622877 h 745576"/>
                <a:gd name="connsiteX3288" fmla="*/ 1038108 w 1926380"/>
                <a:gd name="connsiteY3288" fmla="*/ 620033 h 745576"/>
                <a:gd name="connsiteX3289" fmla="*/ 1041647 w 1926380"/>
                <a:gd name="connsiteY3289" fmla="*/ 618793 h 745576"/>
                <a:gd name="connsiteX3290" fmla="*/ 1045489 w 1926380"/>
                <a:gd name="connsiteY3290" fmla="*/ 619701 h 745576"/>
                <a:gd name="connsiteX3291" fmla="*/ 1049210 w 1926380"/>
                <a:gd name="connsiteY3291" fmla="*/ 622151 h 745576"/>
                <a:gd name="connsiteX3292" fmla="*/ 1052659 w 1926380"/>
                <a:gd name="connsiteY3292" fmla="*/ 625358 h 745576"/>
                <a:gd name="connsiteX3293" fmla="*/ 1058589 w 1926380"/>
                <a:gd name="connsiteY3293" fmla="*/ 633132 h 745576"/>
                <a:gd name="connsiteX3294" fmla="*/ 1059586 w 1926380"/>
                <a:gd name="connsiteY3294" fmla="*/ 635129 h 745576"/>
                <a:gd name="connsiteX3295" fmla="*/ 1059950 w 1926380"/>
                <a:gd name="connsiteY3295" fmla="*/ 636884 h 745576"/>
                <a:gd name="connsiteX3296" fmla="*/ 1059889 w 1926380"/>
                <a:gd name="connsiteY3296" fmla="*/ 644144 h 745576"/>
                <a:gd name="connsiteX3297" fmla="*/ 1059950 w 1926380"/>
                <a:gd name="connsiteY3297" fmla="*/ 644930 h 745576"/>
                <a:gd name="connsiteX3298" fmla="*/ 1060373 w 1926380"/>
                <a:gd name="connsiteY3298" fmla="*/ 646171 h 745576"/>
                <a:gd name="connsiteX3299" fmla="*/ 1060888 w 1926380"/>
                <a:gd name="connsiteY3299" fmla="*/ 647169 h 745576"/>
                <a:gd name="connsiteX3300" fmla="*/ 1061281 w 1926380"/>
                <a:gd name="connsiteY3300" fmla="*/ 648258 h 745576"/>
                <a:gd name="connsiteX3301" fmla="*/ 1061341 w 1926380"/>
                <a:gd name="connsiteY3301" fmla="*/ 649710 h 745576"/>
                <a:gd name="connsiteX3302" fmla="*/ 1060857 w 1926380"/>
                <a:gd name="connsiteY3302" fmla="*/ 651495 h 745576"/>
                <a:gd name="connsiteX3303" fmla="*/ 1059859 w 1926380"/>
                <a:gd name="connsiteY3303" fmla="*/ 653855 h 745576"/>
                <a:gd name="connsiteX3304" fmla="*/ 1058649 w 1926380"/>
                <a:gd name="connsiteY3304" fmla="*/ 655911 h 745576"/>
                <a:gd name="connsiteX3305" fmla="*/ 1057620 w 1926380"/>
                <a:gd name="connsiteY3305" fmla="*/ 656789 h 745576"/>
                <a:gd name="connsiteX3306" fmla="*/ 1056017 w 1926380"/>
                <a:gd name="connsiteY3306" fmla="*/ 657152 h 745576"/>
                <a:gd name="connsiteX3307" fmla="*/ 1045187 w 1926380"/>
                <a:gd name="connsiteY3307" fmla="*/ 663474 h 745576"/>
                <a:gd name="connsiteX3308" fmla="*/ 1044128 w 1926380"/>
                <a:gd name="connsiteY3308" fmla="*/ 663535 h 745576"/>
                <a:gd name="connsiteX3309" fmla="*/ 1043372 w 1926380"/>
                <a:gd name="connsiteY3309" fmla="*/ 664745 h 745576"/>
                <a:gd name="connsiteX3310" fmla="*/ 1038622 w 1926380"/>
                <a:gd name="connsiteY3310" fmla="*/ 670160 h 745576"/>
                <a:gd name="connsiteX3311" fmla="*/ 1037775 w 1926380"/>
                <a:gd name="connsiteY3311" fmla="*/ 670614 h 745576"/>
                <a:gd name="connsiteX3312" fmla="*/ 1033812 w 1926380"/>
                <a:gd name="connsiteY3312" fmla="*/ 671915 h 745576"/>
                <a:gd name="connsiteX3313" fmla="*/ 1033116 w 1926380"/>
                <a:gd name="connsiteY3313" fmla="*/ 672489 h 745576"/>
                <a:gd name="connsiteX3314" fmla="*/ 1032633 w 1926380"/>
                <a:gd name="connsiteY3314" fmla="*/ 673064 h 745576"/>
                <a:gd name="connsiteX3315" fmla="*/ 1031423 w 1926380"/>
                <a:gd name="connsiteY3315" fmla="*/ 673790 h 745576"/>
                <a:gd name="connsiteX3316" fmla="*/ 1030878 w 1926380"/>
                <a:gd name="connsiteY3316" fmla="*/ 676180 h 745576"/>
                <a:gd name="connsiteX3317" fmla="*/ 1030394 w 1926380"/>
                <a:gd name="connsiteY3317" fmla="*/ 677209 h 745576"/>
                <a:gd name="connsiteX3318" fmla="*/ 1029486 w 1926380"/>
                <a:gd name="connsiteY3318" fmla="*/ 677904 h 745576"/>
                <a:gd name="connsiteX3319" fmla="*/ 1027701 w 1926380"/>
                <a:gd name="connsiteY3319" fmla="*/ 678782 h 745576"/>
                <a:gd name="connsiteX3320" fmla="*/ 1026855 w 1926380"/>
                <a:gd name="connsiteY3320" fmla="*/ 679568 h 745576"/>
                <a:gd name="connsiteX3321" fmla="*/ 1025675 w 1926380"/>
                <a:gd name="connsiteY3321" fmla="*/ 682351 h 745576"/>
                <a:gd name="connsiteX3322" fmla="*/ 1025161 w 1926380"/>
                <a:gd name="connsiteY3322" fmla="*/ 682775 h 745576"/>
                <a:gd name="connsiteX3323" fmla="*/ 1023980 w 1926380"/>
                <a:gd name="connsiteY3323" fmla="*/ 682866 h 745576"/>
                <a:gd name="connsiteX3324" fmla="*/ 1022922 w 1926380"/>
                <a:gd name="connsiteY3324" fmla="*/ 683168 h 745576"/>
                <a:gd name="connsiteX3325" fmla="*/ 1021923 w 1926380"/>
                <a:gd name="connsiteY3325" fmla="*/ 683743 h 745576"/>
                <a:gd name="connsiteX3326" fmla="*/ 1021076 w 1926380"/>
                <a:gd name="connsiteY3326" fmla="*/ 684681 h 745576"/>
                <a:gd name="connsiteX3327" fmla="*/ 1018354 w 1926380"/>
                <a:gd name="connsiteY3327" fmla="*/ 688432 h 745576"/>
                <a:gd name="connsiteX3328" fmla="*/ 1018233 w 1926380"/>
                <a:gd name="connsiteY3328" fmla="*/ 690277 h 745576"/>
                <a:gd name="connsiteX3329" fmla="*/ 1019352 w 1926380"/>
                <a:gd name="connsiteY3329" fmla="*/ 692849 h 745576"/>
                <a:gd name="connsiteX3330" fmla="*/ 1020593 w 1926380"/>
                <a:gd name="connsiteY3330" fmla="*/ 694210 h 745576"/>
                <a:gd name="connsiteX3331" fmla="*/ 1022196 w 1926380"/>
                <a:gd name="connsiteY3331" fmla="*/ 695601 h 745576"/>
                <a:gd name="connsiteX3332" fmla="*/ 1023618 w 1926380"/>
                <a:gd name="connsiteY3332" fmla="*/ 697084 h 745576"/>
                <a:gd name="connsiteX3333" fmla="*/ 1024737 w 1926380"/>
                <a:gd name="connsiteY3333" fmla="*/ 700623 h 745576"/>
                <a:gd name="connsiteX3334" fmla="*/ 1025977 w 1926380"/>
                <a:gd name="connsiteY3334" fmla="*/ 702529 h 745576"/>
                <a:gd name="connsiteX3335" fmla="*/ 1027369 w 1926380"/>
                <a:gd name="connsiteY3335" fmla="*/ 704223 h 745576"/>
                <a:gd name="connsiteX3336" fmla="*/ 1034418 w 1926380"/>
                <a:gd name="connsiteY3336" fmla="*/ 714993 h 745576"/>
                <a:gd name="connsiteX3337" fmla="*/ 1037140 w 1926380"/>
                <a:gd name="connsiteY3337" fmla="*/ 722888 h 745576"/>
                <a:gd name="connsiteX3338" fmla="*/ 1037261 w 1926380"/>
                <a:gd name="connsiteY3338" fmla="*/ 724885 h 745576"/>
                <a:gd name="connsiteX3339" fmla="*/ 1036202 w 1926380"/>
                <a:gd name="connsiteY3339" fmla="*/ 725732 h 745576"/>
                <a:gd name="connsiteX3340" fmla="*/ 1031846 w 1926380"/>
                <a:gd name="connsiteY3340" fmla="*/ 732811 h 745576"/>
                <a:gd name="connsiteX3341" fmla="*/ 1030696 w 1926380"/>
                <a:gd name="connsiteY3341" fmla="*/ 734384 h 745576"/>
                <a:gd name="connsiteX3342" fmla="*/ 1030696 w 1926380"/>
                <a:gd name="connsiteY3342" fmla="*/ 734384 h 745576"/>
                <a:gd name="connsiteX3343" fmla="*/ 1031664 w 1926380"/>
                <a:gd name="connsiteY3343" fmla="*/ 734686 h 745576"/>
                <a:gd name="connsiteX3344" fmla="*/ 1033661 w 1926380"/>
                <a:gd name="connsiteY3344" fmla="*/ 734323 h 745576"/>
                <a:gd name="connsiteX3345" fmla="*/ 1035688 w 1926380"/>
                <a:gd name="connsiteY3345" fmla="*/ 733628 h 745576"/>
                <a:gd name="connsiteX3346" fmla="*/ 1037654 w 1926380"/>
                <a:gd name="connsiteY3346" fmla="*/ 733355 h 745576"/>
                <a:gd name="connsiteX3347" fmla="*/ 1038925 w 1926380"/>
                <a:gd name="connsiteY3347" fmla="*/ 734686 h 745576"/>
                <a:gd name="connsiteX3348" fmla="*/ 1038925 w 1926380"/>
                <a:gd name="connsiteY3348" fmla="*/ 736169 h 745576"/>
                <a:gd name="connsiteX3349" fmla="*/ 1038653 w 1926380"/>
                <a:gd name="connsiteY3349" fmla="*/ 737651 h 745576"/>
                <a:gd name="connsiteX3350" fmla="*/ 1038895 w 1926380"/>
                <a:gd name="connsiteY3350" fmla="*/ 739012 h 745576"/>
                <a:gd name="connsiteX3351" fmla="*/ 1040074 w 1926380"/>
                <a:gd name="connsiteY3351" fmla="*/ 739950 h 745576"/>
                <a:gd name="connsiteX3352" fmla="*/ 1041647 w 1926380"/>
                <a:gd name="connsiteY3352" fmla="*/ 740283 h 745576"/>
                <a:gd name="connsiteX3353" fmla="*/ 1044794 w 1926380"/>
                <a:gd name="connsiteY3353" fmla="*/ 740374 h 745576"/>
                <a:gd name="connsiteX3354" fmla="*/ 1047758 w 1926380"/>
                <a:gd name="connsiteY3354" fmla="*/ 741675 h 745576"/>
                <a:gd name="connsiteX3355" fmla="*/ 1053627 w 1926380"/>
                <a:gd name="connsiteY3355" fmla="*/ 745577 h 745576"/>
                <a:gd name="connsiteX3356" fmla="*/ 1055321 w 1926380"/>
                <a:gd name="connsiteY3356" fmla="*/ 745305 h 745576"/>
                <a:gd name="connsiteX3357" fmla="*/ 1055563 w 1926380"/>
                <a:gd name="connsiteY3357" fmla="*/ 745305 h 745576"/>
                <a:gd name="connsiteX3358" fmla="*/ 1056682 w 1926380"/>
                <a:gd name="connsiteY3358" fmla="*/ 741916 h 745576"/>
                <a:gd name="connsiteX3359" fmla="*/ 1057287 w 1926380"/>
                <a:gd name="connsiteY3359" fmla="*/ 733900 h 745576"/>
                <a:gd name="connsiteX3360" fmla="*/ 1059526 w 1926380"/>
                <a:gd name="connsiteY3360" fmla="*/ 730572 h 745576"/>
                <a:gd name="connsiteX3361" fmla="*/ 1062763 w 1926380"/>
                <a:gd name="connsiteY3361" fmla="*/ 729513 h 745576"/>
                <a:gd name="connsiteX3362" fmla="*/ 1065183 w 1926380"/>
                <a:gd name="connsiteY3362" fmla="*/ 730149 h 745576"/>
                <a:gd name="connsiteX3363" fmla="*/ 1066787 w 1926380"/>
                <a:gd name="connsiteY3363" fmla="*/ 729786 h 745576"/>
                <a:gd name="connsiteX3364" fmla="*/ 1067634 w 1926380"/>
                <a:gd name="connsiteY3364" fmla="*/ 725762 h 745576"/>
                <a:gd name="connsiteX3365" fmla="*/ 1067634 w 1926380"/>
                <a:gd name="connsiteY3365" fmla="*/ 725762 h 745576"/>
                <a:gd name="connsiteX3366" fmla="*/ 1069630 w 1926380"/>
                <a:gd name="connsiteY3366" fmla="*/ 725006 h 745576"/>
                <a:gd name="connsiteX3367" fmla="*/ 1073593 w 1926380"/>
                <a:gd name="connsiteY3367" fmla="*/ 726428 h 745576"/>
                <a:gd name="connsiteX3368" fmla="*/ 1075741 w 1926380"/>
                <a:gd name="connsiteY3368" fmla="*/ 725762 h 745576"/>
                <a:gd name="connsiteX3369" fmla="*/ 1075499 w 1926380"/>
                <a:gd name="connsiteY3369" fmla="*/ 722525 h 745576"/>
                <a:gd name="connsiteX3370" fmla="*/ 1075801 w 1926380"/>
                <a:gd name="connsiteY3370" fmla="*/ 706038 h 745576"/>
                <a:gd name="connsiteX3371" fmla="*/ 1075983 w 1926380"/>
                <a:gd name="connsiteY3371" fmla="*/ 704374 h 745576"/>
                <a:gd name="connsiteX3372" fmla="*/ 1076558 w 1926380"/>
                <a:gd name="connsiteY3372" fmla="*/ 703527 h 745576"/>
                <a:gd name="connsiteX3373" fmla="*/ 1077375 w 1926380"/>
                <a:gd name="connsiteY3373" fmla="*/ 702771 h 745576"/>
                <a:gd name="connsiteX3374" fmla="*/ 1077496 w 1926380"/>
                <a:gd name="connsiteY3374" fmla="*/ 701773 h 745576"/>
                <a:gd name="connsiteX3375" fmla="*/ 1076044 w 1926380"/>
                <a:gd name="connsiteY3375" fmla="*/ 700200 h 745576"/>
                <a:gd name="connsiteX3376" fmla="*/ 1077193 w 1926380"/>
                <a:gd name="connsiteY3376" fmla="*/ 699111 h 745576"/>
                <a:gd name="connsiteX3377" fmla="*/ 1078463 w 1926380"/>
                <a:gd name="connsiteY3377" fmla="*/ 700502 h 745576"/>
                <a:gd name="connsiteX3378" fmla="*/ 1079704 w 1926380"/>
                <a:gd name="connsiteY3378" fmla="*/ 701319 h 745576"/>
                <a:gd name="connsiteX3379" fmla="*/ 1081095 w 1926380"/>
                <a:gd name="connsiteY3379" fmla="*/ 701742 h 745576"/>
                <a:gd name="connsiteX3380" fmla="*/ 1083848 w 1926380"/>
                <a:gd name="connsiteY3380" fmla="*/ 702075 h 745576"/>
                <a:gd name="connsiteX3381" fmla="*/ 1084453 w 1926380"/>
                <a:gd name="connsiteY3381" fmla="*/ 702257 h 745576"/>
                <a:gd name="connsiteX3382" fmla="*/ 1084998 w 1926380"/>
                <a:gd name="connsiteY3382" fmla="*/ 702257 h 745576"/>
                <a:gd name="connsiteX3383" fmla="*/ 1085845 w 1926380"/>
                <a:gd name="connsiteY3383" fmla="*/ 701894 h 745576"/>
                <a:gd name="connsiteX3384" fmla="*/ 1086329 w 1926380"/>
                <a:gd name="connsiteY3384" fmla="*/ 701228 h 745576"/>
                <a:gd name="connsiteX3385" fmla="*/ 1086450 w 1926380"/>
                <a:gd name="connsiteY3385" fmla="*/ 700412 h 745576"/>
                <a:gd name="connsiteX3386" fmla="*/ 1086813 w 1926380"/>
                <a:gd name="connsiteY3386" fmla="*/ 699686 h 745576"/>
                <a:gd name="connsiteX3387" fmla="*/ 1087932 w 1926380"/>
                <a:gd name="connsiteY3387" fmla="*/ 699323 h 745576"/>
                <a:gd name="connsiteX3388" fmla="*/ 1089777 w 1926380"/>
                <a:gd name="connsiteY3388" fmla="*/ 699050 h 745576"/>
                <a:gd name="connsiteX3389" fmla="*/ 1097431 w 1926380"/>
                <a:gd name="connsiteY3389" fmla="*/ 700139 h 745576"/>
                <a:gd name="connsiteX3390" fmla="*/ 1099337 w 1926380"/>
                <a:gd name="connsiteY3390" fmla="*/ 700139 h 745576"/>
                <a:gd name="connsiteX3391" fmla="*/ 1106476 w 1926380"/>
                <a:gd name="connsiteY3391" fmla="*/ 698929 h 745576"/>
                <a:gd name="connsiteX3392" fmla="*/ 1107051 w 1926380"/>
                <a:gd name="connsiteY3392" fmla="*/ 697991 h 745576"/>
                <a:gd name="connsiteX3393" fmla="*/ 1106961 w 1926380"/>
                <a:gd name="connsiteY3393" fmla="*/ 695420 h 745576"/>
                <a:gd name="connsiteX3394" fmla="*/ 1106597 w 1926380"/>
                <a:gd name="connsiteY3394" fmla="*/ 693817 h 745576"/>
                <a:gd name="connsiteX3395" fmla="*/ 1105902 w 1926380"/>
                <a:gd name="connsiteY3395" fmla="*/ 691911 h 745576"/>
                <a:gd name="connsiteX3396" fmla="*/ 1104933 w 1926380"/>
                <a:gd name="connsiteY3396" fmla="*/ 690187 h 745576"/>
                <a:gd name="connsiteX3397" fmla="*/ 1104933 w 1926380"/>
                <a:gd name="connsiteY3397" fmla="*/ 690187 h 745576"/>
                <a:gd name="connsiteX3398" fmla="*/ 1103784 w 1926380"/>
                <a:gd name="connsiteY3398" fmla="*/ 688916 h 745576"/>
                <a:gd name="connsiteX3399" fmla="*/ 1102150 w 1926380"/>
                <a:gd name="connsiteY3399" fmla="*/ 688311 h 745576"/>
                <a:gd name="connsiteX3400" fmla="*/ 1098822 w 1926380"/>
                <a:gd name="connsiteY3400" fmla="*/ 687978 h 745576"/>
                <a:gd name="connsiteX3401" fmla="*/ 1097794 w 1926380"/>
                <a:gd name="connsiteY3401" fmla="*/ 687071 h 745576"/>
                <a:gd name="connsiteX3402" fmla="*/ 1098248 w 1926380"/>
                <a:gd name="connsiteY3402" fmla="*/ 687071 h 745576"/>
                <a:gd name="connsiteX3403" fmla="*/ 1098792 w 1926380"/>
                <a:gd name="connsiteY3403" fmla="*/ 686012 h 745576"/>
                <a:gd name="connsiteX3404" fmla="*/ 1099458 w 1926380"/>
                <a:gd name="connsiteY3404" fmla="*/ 684287 h 745576"/>
                <a:gd name="connsiteX3405" fmla="*/ 1099458 w 1926380"/>
                <a:gd name="connsiteY3405" fmla="*/ 683289 h 745576"/>
                <a:gd name="connsiteX3406" fmla="*/ 1099367 w 1926380"/>
                <a:gd name="connsiteY3406" fmla="*/ 682412 h 745576"/>
                <a:gd name="connsiteX3407" fmla="*/ 1099095 w 1926380"/>
                <a:gd name="connsiteY3407" fmla="*/ 681625 h 745576"/>
                <a:gd name="connsiteX3408" fmla="*/ 1098611 w 1926380"/>
                <a:gd name="connsiteY3408" fmla="*/ 680869 h 745576"/>
                <a:gd name="connsiteX3409" fmla="*/ 1098127 w 1926380"/>
                <a:gd name="connsiteY3409" fmla="*/ 680536 h 745576"/>
                <a:gd name="connsiteX3410" fmla="*/ 1096554 w 1926380"/>
                <a:gd name="connsiteY3410" fmla="*/ 679871 h 745576"/>
                <a:gd name="connsiteX3411" fmla="*/ 1095828 w 1926380"/>
                <a:gd name="connsiteY3411" fmla="*/ 679296 h 745576"/>
                <a:gd name="connsiteX3412" fmla="*/ 1095314 w 1926380"/>
                <a:gd name="connsiteY3412" fmla="*/ 678419 h 745576"/>
                <a:gd name="connsiteX3413" fmla="*/ 1093408 w 1926380"/>
                <a:gd name="connsiteY3413" fmla="*/ 672187 h 745576"/>
                <a:gd name="connsiteX3414" fmla="*/ 1093135 w 1926380"/>
                <a:gd name="connsiteY3414" fmla="*/ 670311 h 745576"/>
                <a:gd name="connsiteX3415" fmla="*/ 1093559 w 1926380"/>
                <a:gd name="connsiteY3415" fmla="*/ 668587 h 745576"/>
                <a:gd name="connsiteX3416" fmla="*/ 1096584 w 1926380"/>
                <a:gd name="connsiteY3416" fmla="*/ 664170 h 745576"/>
                <a:gd name="connsiteX3417" fmla="*/ 1097068 w 1926380"/>
                <a:gd name="connsiteY3417" fmla="*/ 659209 h 745576"/>
                <a:gd name="connsiteX3418" fmla="*/ 1096977 w 1926380"/>
                <a:gd name="connsiteY3418" fmla="*/ 654096 h 745576"/>
                <a:gd name="connsiteX3419" fmla="*/ 1098339 w 1926380"/>
                <a:gd name="connsiteY3419" fmla="*/ 649256 h 745576"/>
                <a:gd name="connsiteX3420" fmla="*/ 1099548 w 1926380"/>
                <a:gd name="connsiteY3420" fmla="*/ 646564 h 745576"/>
                <a:gd name="connsiteX3421" fmla="*/ 1099882 w 1926380"/>
                <a:gd name="connsiteY3421" fmla="*/ 644295 h 745576"/>
                <a:gd name="connsiteX3422" fmla="*/ 1099972 w 1926380"/>
                <a:gd name="connsiteY3422" fmla="*/ 642087 h 745576"/>
                <a:gd name="connsiteX3423" fmla="*/ 1100426 w 1926380"/>
                <a:gd name="connsiteY3423" fmla="*/ 639515 h 745576"/>
                <a:gd name="connsiteX3424" fmla="*/ 1101667 w 1926380"/>
                <a:gd name="connsiteY3424" fmla="*/ 637247 h 745576"/>
                <a:gd name="connsiteX3425" fmla="*/ 1103300 w 1926380"/>
                <a:gd name="connsiteY3425" fmla="*/ 635220 h 745576"/>
                <a:gd name="connsiteX3426" fmla="*/ 1104449 w 1926380"/>
                <a:gd name="connsiteY3426" fmla="*/ 632981 h 745576"/>
                <a:gd name="connsiteX3427" fmla="*/ 1104116 w 1926380"/>
                <a:gd name="connsiteY3427" fmla="*/ 630167 h 745576"/>
                <a:gd name="connsiteX3428" fmla="*/ 1105054 w 1926380"/>
                <a:gd name="connsiteY3428" fmla="*/ 630107 h 745576"/>
                <a:gd name="connsiteX3429" fmla="*/ 1105992 w 1926380"/>
                <a:gd name="connsiteY3429" fmla="*/ 630228 h 745576"/>
                <a:gd name="connsiteX3430" fmla="*/ 1106083 w 1926380"/>
                <a:gd name="connsiteY3430" fmla="*/ 630228 h 745576"/>
                <a:gd name="connsiteX3431" fmla="*/ 1124597 w 1926380"/>
                <a:gd name="connsiteY3431" fmla="*/ 636187 h 745576"/>
                <a:gd name="connsiteX3432" fmla="*/ 1130950 w 1926380"/>
                <a:gd name="connsiteY3432" fmla="*/ 636551 h 745576"/>
                <a:gd name="connsiteX3433" fmla="*/ 1132886 w 1926380"/>
                <a:gd name="connsiteY3433" fmla="*/ 636974 h 745576"/>
                <a:gd name="connsiteX3434" fmla="*/ 1134883 w 1926380"/>
                <a:gd name="connsiteY3434" fmla="*/ 637700 h 745576"/>
                <a:gd name="connsiteX3435" fmla="*/ 1136788 w 1926380"/>
                <a:gd name="connsiteY3435" fmla="*/ 638729 h 745576"/>
                <a:gd name="connsiteX3436" fmla="*/ 1138331 w 1926380"/>
                <a:gd name="connsiteY3436" fmla="*/ 640060 h 745576"/>
                <a:gd name="connsiteX3437" fmla="*/ 1141417 w 1926380"/>
                <a:gd name="connsiteY3437" fmla="*/ 642661 h 745576"/>
                <a:gd name="connsiteX3438" fmla="*/ 1142203 w 1926380"/>
                <a:gd name="connsiteY3438" fmla="*/ 644144 h 745576"/>
                <a:gd name="connsiteX3439" fmla="*/ 1142324 w 1926380"/>
                <a:gd name="connsiteY3439" fmla="*/ 646534 h 745576"/>
                <a:gd name="connsiteX3440" fmla="*/ 1141447 w 1926380"/>
                <a:gd name="connsiteY3440" fmla="*/ 650224 h 745576"/>
                <a:gd name="connsiteX3441" fmla="*/ 1141810 w 1926380"/>
                <a:gd name="connsiteY3441" fmla="*/ 651525 h 745576"/>
                <a:gd name="connsiteX3442" fmla="*/ 1143716 w 1926380"/>
                <a:gd name="connsiteY3442" fmla="*/ 653098 h 745576"/>
                <a:gd name="connsiteX3443" fmla="*/ 1145712 w 1926380"/>
                <a:gd name="connsiteY3443" fmla="*/ 654127 h 745576"/>
                <a:gd name="connsiteX3444" fmla="*/ 1146650 w 1926380"/>
                <a:gd name="connsiteY3444" fmla="*/ 653855 h 745576"/>
                <a:gd name="connsiteX3445" fmla="*/ 1147437 w 1926380"/>
                <a:gd name="connsiteY3445" fmla="*/ 652796 h 745576"/>
                <a:gd name="connsiteX3446" fmla="*/ 1149010 w 1926380"/>
                <a:gd name="connsiteY3446" fmla="*/ 651343 h 745576"/>
                <a:gd name="connsiteX3447" fmla="*/ 1150886 w 1926380"/>
                <a:gd name="connsiteY3447" fmla="*/ 650557 h 745576"/>
                <a:gd name="connsiteX3448" fmla="*/ 1152549 w 1926380"/>
                <a:gd name="connsiteY3448" fmla="*/ 650678 h 745576"/>
                <a:gd name="connsiteX3449" fmla="*/ 1154183 w 1926380"/>
                <a:gd name="connsiteY3449" fmla="*/ 651132 h 745576"/>
                <a:gd name="connsiteX3450" fmla="*/ 1156059 w 1926380"/>
                <a:gd name="connsiteY3450" fmla="*/ 651343 h 745576"/>
                <a:gd name="connsiteX3451" fmla="*/ 1162472 w 1926380"/>
                <a:gd name="connsiteY3451" fmla="*/ 649831 h 745576"/>
                <a:gd name="connsiteX3452" fmla="*/ 1164710 w 1926380"/>
                <a:gd name="connsiteY3452" fmla="*/ 649650 h 745576"/>
                <a:gd name="connsiteX3453" fmla="*/ 1181077 w 1926380"/>
                <a:gd name="connsiteY3453" fmla="*/ 652433 h 745576"/>
                <a:gd name="connsiteX3454" fmla="*/ 1185281 w 1926380"/>
                <a:gd name="connsiteY3454" fmla="*/ 652433 h 745576"/>
                <a:gd name="connsiteX3455" fmla="*/ 1200104 w 1926380"/>
                <a:gd name="connsiteY3455" fmla="*/ 643690 h 745576"/>
                <a:gd name="connsiteX3456" fmla="*/ 1206215 w 1926380"/>
                <a:gd name="connsiteY3456" fmla="*/ 641209 h 745576"/>
                <a:gd name="connsiteX3457" fmla="*/ 1222884 w 1926380"/>
                <a:gd name="connsiteY3457" fmla="*/ 637942 h 745576"/>
                <a:gd name="connsiteX3458" fmla="*/ 1239008 w 1926380"/>
                <a:gd name="connsiteY3458" fmla="*/ 631136 h 745576"/>
                <a:gd name="connsiteX3459" fmla="*/ 1241821 w 1926380"/>
                <a:gd name="connsiteY3459" fmla="*/ 630410 h 745576"/>
                <a:gd name="connsiteX3460" fmla="*/ 1243636 w 1926380"/>
                <a:gd name="connsiteY3460" fmla="*/ 629351 h 745576"/>
                <a:gd name="connsiteX3461" fmla="*/ 1253377 w 1926380"/>
                <a:gd name="connsiteY3461" fmla="*/ 623633 h 745576"/>
                <a:gd name="connsiteX3462" fmla="*/ 1260123 w 1926380"/>
                <a:gd name="connsiteY3462" fmla="*/ 621243 h 745576"/>
                <a:gd name="connsiteX3463" fmla="*/ 1263572 w 1926380"/>
                <a:gd name="connsiteY3463" fmla="*/ 620911 h 745576"/>
                <a:gd name="connsiteX3464" fmla="*/ 1270167 w 1926380"/>
                <a:gd name="connsiteY3464" fmla="*/ 621697 h 745576"/>
                <a:gd name="connsiteX3465" fmla="*/ 1289286 w 1926380"/>
                <a:gd name="connsiteY3465" fmla="*/ 626991 h 745576"/>
                <a:gd name="connsiteX3466" fmla="*/ 1294277 w 1926380"/>
                <a:gd name="connsiteY3466" fmla="*/ 629502 h 745576"/>
                <a:gd name="connsiteX3467" fmla="*/ 1304926 w 1926380"/>
                <a:gd name="connsiteY3467" fmla="*/ 639848 h 745576"/>
                <a:gd name="connsiteX3468" fmla="*/ 1307830 w 1926380"/>
                <a:gd name="connsiteY3468" fmla="*/ 642661 h 745576"/>
                <a:gd name="connsiteX3469" fmla="*/ 1313941 w 1926380"/>
                <a:gd name="connsiteY3469" fmla="*/ 645596 h 745576"/>
                <a:gd name="connsiteX3470" fmla="*/ 1321020 w 1926380"/>
                <a:gd name="connsiteY3470" fmla="*/ 646412 h 745576"/>
                <a:gd name="connsiteX3471" fmla="*/ 1337386 w 1926380"/>
                <a:gd name="connsiteY3471" fmla="*/ 645686 h 745576"/>
                <a:gd name="connsiteX3472" fmla="*/ 1339594 w 1926380"/>
                <a:gd name="connsiteY3472" fmla="*/ 645082 h 745576"/>
                <a:gd name="connsiteX3473" fmla="*/ 1344858 w 1926380"/>
                <a:gd name="connsiteY3473" fmla="*/ 644749 h 745576"/>
                <a:gd name="connsiteX3474" fmla="*/ 1360316 w 1926380"/>
                <a:gd name="connsiteY3474" fmla="*/ 649528 h 745576"/>
                <a:gd name="connsiteX3475" fmla="*/ 1365701 w 1926380"/>
                <a:gd name="connsiteY3475" fmla="*/ 649317 h 745576"/>
                <a:gd name="connsiteX3476" fmla="*/ 1386060 w 1926380"/>
                <a:gd name="connsiteY3476" fmla="*/ 645747 h 745576"/>
                <a:gd name="connsiteX3477" fmla="*/ 1418611 w 1926380"/>
                <a:gd name="connsiteY3477" fmla="*/ 640029 h 745576"/>
                <a:gd name="connsiteX3478" fmla="*/ 1440180 w 1926380"/>
                <a:gd name="connsiteY3478" fmla="*/ 632557 h 745576"/>
                <a:gd name="connsiteX3479" fmla="*/ 1450193 w 1926380"/>
                <a:gd name="connsiteY3479" fmla="*/ 627022 h 745576"/>
                <a:gd name="connsiteX3480" fmla="*/ 1453823 w 1926380"/>
                <a:gd name="connsiteY3480" fmla="*/ 625872 h 745576"/>
                <a:gd name="connsiteX3481" fmla="*/ 1457605 w 1926380"/>
                <a:gd name="connsiteY3481" fmla="*/ 625236 h 745576"/>
                <a:gd name="connsiteX3482" fmla="*/ 1461386 w 1926380"/>
                <a:gd name="connsiteY3482" fmla="*/ 623603 h 745576"/>
                <a:gd name="connsiteX3483" fmla="*/ 1468556 w 1926380"/>
                <a:gd name="connsiteY3483" fmla="*/ 619186 h 745576"/>
                <a:gd name="connsiteX3484" fmla="*/ 1481866 w 1926380"/>
                <a:gd name="connsiteY3484" fmla="*/ 610958 h 745576"/>
                <a:gd name="connsiteX3485" fmla="*/ 1483893 w 1926380"/>
                <a:gd name="connsiteY3485" fmla="*/ 609808 h 745576"/>
                <a:gd name="connsiteX3486" fmla="*/ 1486041 w 1926380"/>
                <a:gd name="connsiteY3486" fmla="*/ 609052 h 745576"/>
                <a:gd name="connsiteX3487" fmla="*/ 1488249 w 1926380"/>
                <a:gd name="connsiteY3487" fmla="*/ 608628 h 745576"/>
                <a:gd name="connsiteX3488" fmla="*/ 1490548 w 1926380"/>
                <a:gd name="connsiteY3488" fmla="*/ 608508 h 745576"/>
                <a:gd name="connsiteX3489" fmla="*/ 1495177 w 1926380"/>
                <a:gd name="connsiteY3489" fmla="*/ 607267 h 745576"/>
                <a:gd name="connsiteX3490" fmla="*/ 1508639 w 1926380"/>
                <a:gd name="connsiteY3490" fmla="*/ 600430 h 745576"/>
                <a:gd name="connsiteX3491" fmla="*/ 1513630 w 1926380"/>
                <a:gd name="connsiteY3491" fmla="*/ 598676 h 745576"/>
                <a:gd name="connsiteX3492" fmla="*/ 1532507 w 1926380"/>
                <a:gd name="connsiteY3492" fmla="*/ 596104 h 745576"/>
                <a:gd name="connsiteX3493" fmla="*/ 1556527 w 1926380"/>
                <a:gd name="connsiteY3493" fmla="*/ 600552 h 745576"/>
                <a:gd name="connsiteX3494" fmla="*/ 1561034 w 1926380"/>
                <a:gd name="connsiteY3494" fmla="*/ 602245 h 745576"/>
                <a:gd name="connsiteX3495" fmla="*/ 1563182 w 1926380"/>
                <a:gd name="connsiteY3495" fmla="*/ 602790 h 745576"/>
                <a:gd name="connsiteX3496" fmla="*/ 1591225 w 1926380"/>
                <a:gd name="connsiteY3496" fmla="*/ 601580 h 745576"/>
                <a:gd name="connsiteX3497" fmla="*/ 1633124 w 1926380"/>
                <a:gd name="connsiteY3497" fmla="*/ 592474 h 745576"/>
                <a:gd name="connsiteX3498" fmla="*/ 1644498 w 1926380"/>
                <a:gd name="connsiteY3498" fmla="*/ 590024 h 745576"/>
                <a:gd name="connsiteX3499" fmla="*/ 1648884 w 1926380"/>
                <a:gd name="connsiteY3499" fmla="*/ 587574 h 745576"/>
                <a:gd name="connsiteX3500" fmla="*/ 1656478 w 1926380"/>
                <a:gd name="connsiteY3500" fmla="*/ 581009 h 745576"/>
                <a:gd name="connsiteX3501" fmla="*/ 1661529 w 1926380"/>
                <a:gd name="connsiteY3501" fmla="*/ 574868 h 745576"/>
                <a:gd name="connsiteX3502" fmla="*/ 1662981 w 1926380"/>
                <a:gd name="connsiteY3502" fmla="*/ 574082 h 745576"/>
                <a:gd name="connsiteX3503" fmla="*/ 1664797 w 1926380"/>
                <a:gd name="connsiteY3503" fmla="*/ 572720 h 745576"/>
                <a:gd name="connsiteX3504" fmla="*/ 1665947 w 1926380"/>
                <a:gd name="connsiteY3504" fmla="*/ 573991 h 745576"/>
                <a:gd name="connsiteX3505" fmla="*/ 1666037 w 1926380"/>
                <a:gd name="connsiteY3505" fmla="*/ 575322 h 745576"/>
                <a:gd name="connsiteX3506" fmla="*/ 1665886 w 1926380"/>
                <a:gd name="connsiteY3506" fmla="*/ 576471 h 745576"/>
                <a:gd name="connsiteX3507" fmla="*/ 1665976 w 1926380"/>
                <a:gd name="connsiteY3507" fmla="*/ 576955 h 745576"/>
                <a:gd name="connsiteX3508" fmla="*/ 1667338 w 1926380"/>
                <a:gd name="connsiteY3508" fmla="*/ 577167 h 745576"/>
                <a:gd name="connsiteX3509" fmla="*/ 1670394 w 1926380"/>
                <a:gd name="connsiteY3509" fmla="*/ 578528 h 745576"/>
                <a:gd name="connsiteX3510" fmla="*/ 1670968 w 1926380"/>
                <a:gd name="connsiteY3510" fmla="*/ 578287 h 745576"/>
                <a:gd name="connsiteX3511" fmla="*/ 1671573 w 1926380"/>
                <a:gd name="connsiteY3511" fmla="*/ 577621 h 745576"/>
                <a:gd name="connsiteX3512" fmla="*/ 1672238 w 1926380"/>
                <a:gd name="connsiteY3512" fmla="*/ 577137 h 745576"/>
                <a:gd name="connsiteX3513" fmla="*/ 1672874 w 1926380"/>
                <a:gd name="connsiteY3513" fmla="*/ 577318 h 745576"/>
                <a:gd name="connsiteX3514" fmla="*/ 1673298 w 1926380"/>
                <a:gd name="connsiteY3514" fmla="*/ 577924 h 745576"/>
                <a:gd name="connsiteX3515" fmla="*/ 1673812 w 1926380"/>
                <a:gd name="connsiteY3515" fmla="*/ 579073 h 745576"/>
                <a:gd name="connsiteX3516" fmla="*/ 1674266 w 1926380"/>
                <a:gd name="connsiteY3516" fmla="*/ 579708 h 745576"/>
                <a:gd name="connsiteX3517" fmla="*/ 1677684 w 1926380"/>
                <a:gd name="connsiteY3517" fmla="*/ 582219 h 745576"/>
                <a:gd name="connsiteX3518" fmla="*/ 1678380 w 1926380"/>
                <a:gd name="connsiteY3518" fmla="*/ 582552 h 745576"/>
                <a:gd name="connsiteX3519" fmla="*/ 1679045 w 1926380"/>
                <a:gd name="connsiteY3519" fmla="*/ 584034 h 745576"/>
                <a:gd name="connsiteX3520" fmla="*/ 1677230 w 1926380"/>
                <a:gd name="connsiteY3520" fmla="*/ 590508 h 745576"/>
                <a:gd name="connsiteX3521" fmla="*/ 1678380 w 1926380"/>
                <a:gd name="connsiteY3521" fmla="*/ 591990 h 745576"/>
                <a:gd name="connsiteX3522" fmla="*/ 1679166 w 1926380"/>
                <a:gd name="connsiteY3522" fmla="*/ 592686 h 745576"/>
                <a:gd name="connsiteX3523" fmla="*/ 1679378 w 1926380"/>
                <a:gd name="connsiteY3523" fmla="*/ 594320 h 745576"/>
                <a:gd name="connsiteX3524" fmla="*/ 1679439 w 1926380"/>
                <a:gd name="connsiteY3524" fmla="*/ 597587 h 745576"/>
                <a:gd name="connsiteX3525" fmla="*/ 1683946 w 1926380"/>
                <a:gd name="connsiteY3525" fmla="*/ 597103 h 745576"/>
                <a:gd name="connsiteX3526" fmla="*/ 1689694 w 1926380"/>
                <a:gd name="connsiteY3526" fmla="*/ 595348 h 745576"/>
                <a:gd name="connsiteX3527" fmla="*/ 1698346 w 1926380"/>
                <a:gd name="connsiteY3527" fmla="*/ 594017 h 745576"/>
                <a:gd name="connsiteX3528" fmla="*/ 1699980 w 1926380"/>
                <a:gd name="connsiteY3528" fmla="*/ 593352 h 745576"/>
                <a:gd name="connsiteX3529" fmla="*/ 1700312 w 1926380"/>
                <a:gd name="connsiteY3529" fmla="*/ 592716 h 745576"/>
                <a:gd name="connsiteX3530" fmla="*/ 1701552 w 1926380"/>
                <a:gd name="connsiteY3530" fmla="*/ 589570 h 745576"/>
                <a:gd name="connsiteX3531" fmla="*/ 1714167 w 1926380"/>
                <a:gd name="connsiteY3531" fmla="*/ 572630 h 745576"/>
                <a:gd name="connsiteX3532" fmla="*/ 1714530 w 1926380"/>
                <a:gd name="connsiteY3532" fmla="*/ 571722 h 745576"/>
                <a:gd name="connsiteX3533" fmla="*/ 1714651 w 1926380"/>
                <a:gd name="connsiteY3533" fmla="*/ 570905 h 745576"/>
                <a:gd name="connsiteX3534" fmla="*/ 1714863 w 1926380"/>
                <a:gd name="connsiteY3534" fmla="*/ 570088 h 745576"/>
                <a:gd name="connsiteX3535" fmla="*/ 1715498 w 1926380"/>
                <a:gd name="connsiteY3535" fmla="*/ 569151 h 745576"/>
                <a:gd name="connsiteX3536" fmla="*/ 1716164 w 1926380"/>
                <a:gd name="connsiteY3536" fmla="*/ 568727 h 745576"/>
                <a:gd name="connsiteX3537" fmla="*/ 1721125 w 1926380"/>
                <a:gd name="connsiteY3537" fmla="*/ 566882 h 745576"/>
                <a:gd name="connsiteX3538" fmla="*/ 1722002 w 1926380"/>
                <a:gd name="connsiteY3538" fmla="*/ 566821 h 745576"/>
                <a:gd name="connsiteX3539" fmla="*/ 1723212 w 1926380"/>
                <a:gd name="connsiteY3539" fmla="*/ 566942 h 745576"/>
                <a:gd name="connsiteX3540" fmla="*/ 1724090 w 1926380"/>
                <a:gd name="connsiteY3540" fmla="*/ 567547 h 745576"/>
                <a:gd name="connsiteX3541" fmla="*/ 1724543 w 1926380"/>
                <a:gd name="connsiteY3541" fmla="*/ 569544 h 745576"/>
                <a:gd name="connsiteX3542" fmla="*/ 1725421 w 1926380"/>
                <a:gd name="connsiteY3542" fmla="*/ 570118 h 745576"/>
                <a:gd name="connsiteX3543" fmla="*/ 1733740 w 1926380"/>
                <a:gd name="connsiteY3543" fmla="*/ 572659 h 745576"/>
                <a:gd name="connsiteX3544" fmla="*/ 1737794 w 1926380"/>
                <a:gd name="connsiteY3544" fmla="*/ 573204 h 745576"/>
                <a:gd name="connsiteX3545" fmla="*/ 1742059 w 1926380"/>
                <a:gd name="connsiteY3545" fmla="*/ 571843 h 745576"/>
                <a:gd name="connsiteX3546" fmla="*/ 1744630 w 1926380"/>
                <a:gd name="connsiteY3546" fmla="*/ 570058 h 745576"/>
                <a:gd name="connsiteX3547" fmla="*/ 1748502 w 1926380"/>
                <a:gd name="connsiteY3547" fmla="*/ 568576 h 745576"/>
                <a:gd name="connsiteX3548" fmla="*/ 1752526 w 1926380"/>
                <a:gd name="connsiteY3548" fmla="*/ 567577 h 745576"/>
                <a:gd name="connsiteX3549" fmla="*/ 1755672 w 1926380"/>
                <a:gd name="connsiteY3549" fmla="*/ 567305 h 745576"/>
                <a:gd name="connsiteX3550" fmla="*/ 1757397 w 1926380"/>
                <a:gd name="connsiteY3550" fmla="*/ 567759 h 745576"/>
                <a:gd name="connsiteX3551" fmla="*/ 1770616 w 1926380"/>
                <a:gd name="connsiteY3551" fmla="*/ 574323 h 745576"/>
                <a:gd name="connsiteX3552" fmla="*/ 1771312 w 1926380"/>
                <a:gd name="connsiteY3552" fmla="*/ 574565 h 745576"/>
                <a:gd name="connsiteX3553" fmla="*/ 1772159 w 1926380"/>
                <a:gd name="connsiteY3553" fmla="*/ 574686 h 745576"/>
                <a:gd name="connsiteX3554" fmla="*/ 1773036 w 1926380"/>
                <a:gd name="connsiteY3554" fmla="*/ 574535 h 745576"/>
                <a:gd name="connsiteX3555" fmla="*/ 1774005 w 1926380"/>
                <a:gd name="connsiteY3555" fmla="*/ 573658 h 745576"/>
                <a:gd name="connsiteX3556" fmla="*/ 1774881 w 1926380"/>
                <a:gd name="connsiteY3556" fmla="*/ 573295 h 745576"/>
                <a:gd name="connsiteX3557" fmla="*/ 1776757 w 1926380"/>
                <a:gd name="connsiteY3557" fmla="*/ 573023 h 745576"/>
                <a:gd name="connsiteX3558" fmla="*/ 1777967 w 1926380"/>
                <a:gd name="connsiteY3558" fmla="*/ 573234 h 745576"/>
                <a:gd name="connsiteX3559" fmla="*/ 1780630 w 1926380"/>
                <a:gd name="connsiteY3559" fmla="*/ 575140 h 745576"/>
                <a:gd name="connsiteX3560" fmla="*/ 1781991 w 1926380"/>
                <a:gd name="connsiteY3560" fmla="*/ 576108 h 745576"/>
                <a:gd name="connsiteX3561" fmla="*/ 1786075 w 1926380"/>
                <a:gd name="connsiteY3561" fmla="*/ 577984 h 745576"/>
                <a:gd name="connsiteX3562" fmla="*/ 1790763 w 1926380"/>
                <a:gd name="connsiteY3562" fmla="*/ 581523 h 745576"/>
                <a:gd name="connsiteX3563" fmla="*/ 1792397 w 1926380"/>
                <a:gd name="connsiteY3563" fmla="*/ 582128 h 745576"/>
                <a:gd name="connsiteX3564" fmla="*/ 1793668 w 1926380"/>
                <a:gd name="connsiteY3564" fmla="*/ 581977 h 745576"/>
                <a:gd name="connsiteX3565" fmla="*/ 1796178 w 1926380"/>
                <a:gd name="connsiteY3565" fmla="*/ 581100 h 745576"/>
                <a:gd name="connsiteX3566" fmla="*/ 1797419 w 1926380"/>
                <a:gd name="connsiteY3566" fmla="*/ 580888 h 745576"/>
                <a:gd name="connsiteX3567" fmla="*/ 1798720 w 1926380"/>
                <a:gd name="connsiteY3567" fmla="*/ 581100 h 745576"/>
                <a:gd name="connsiteX3568" fmla="*/ 1799537 w 1926380"/>
                <a:gd name="connsiteY3568" fmla="*/ 581493 h 745576"/>
                <a:gd name="connsiteX3569" fmla="*/ 1801382 w 1926380"/>
                <a:gd name="connsiteY3569" fmla="*/ 582764 h 745576"/>
                <a:gd name="connsiteX3570" fmla="*/ 1803923 w 1926380"/>
                <a:gd name="connsiteY3570" fmla="*/ 583701 h 745576"/>
                <a:gd name="connsiteX3571" fmla="*/ 1806343 w 1926380"/>
                <a:gd name="connsiteY3571" fmla="*/ 583974 h 745576"/>
                <a:gd name="connsiteX3572" fmla="*/ 1816659 w 1926380"/>
                <a:gd name="connsiteY3572" fmla="*/ 583338 h 745576"/>
                <a:gd name="connsiteX3573" fmla="*/ 1819291 w 1926380"/>
                <a:gd name="connsiteY3573" fmla="*/ 583581 h 745576"/>
                <a:gd name="connsiteX3574" fmla="*/ 1821681 w 1926380"/>
                <a:gd name="connsiteY3574" fmla="*/ 584125 h 745576"/>
                <a:gd name="connsiteX3575" fmla="*/ 1822679 w 1926380"/>
                <a:gd name="connsiteY3575" fmla="*/ 584760 h 745576"/>
                <a:gd name="connsiteX3576" fmla="*/ 1824857 w 1926380"/>
                <a:gd name="connsiteY3576" fmla="*/ 586696 h 745576"/>
                <a:gd name="connsiteX3577" fmla="*/ 1825613 w 1926380"/>
                <a:gd name="connsiteY3577" fmla="*/ 587150 h 745576"/>
                <a:gd name="connsiteX3578" fmla="*/ 1826884 w 1926380"/>
                <a:gd name="connsiteY3578" fmla="*/ 586848 h 745576"/>
                <a:gd name="connsiteX3579" fmla="*/ 1828699 w 1926380"/>
                <a:gd name="connsiteY3579" fmla="*/ 585153 h 745576"/>
                <a:gd name="connsiteX3580" fmla="*/ 1834084 w 1926380"/>
                <a:gd name="connsiteY3580" fmla="*/ 584246 h 745576"/>
                <a:gd name="connsiteX3581" fmla="*/ 1837169 w 1926380"/>
                <a:gd name="connsiteY3581" fmla="*/ 580979 h 745576"/>
                <a:gd name="connsiteX3582" fmla="*/ 1840134 w 1926380"/>
                <a:gd name="connsiteY3582" fmla="*/ 576986 h 745576"/>
                <a:gd name="connsiteX3583" fmla="*/ 1843824 w 1926380"/>
                <a:gd name="connsiteY3583" fmla="*/ 574082 h 745576"/>
                <a:gd name="connsiteX3584" fmla="*/ 1848362 w 1926380"/>
                <a:gd name="connsiteY3584" fmla="*/ 573416 h 745576"/>
                <a:gd name="connsiteX3585" fmla="*/ 1851751 w 1926380"/>
                <a:gd name="connsiteY3585" fmla="*/ 573930 h 745576"/>
                <a:gd name="connsiteX3586" fmla="*/ 1853656 w 1926380"/>
                <a:gd name="connsiteY3586" fmla="*/ 574233 h 745576"/>
                <a:gd name="connsiteX3587" fmla="*/ 1863367 w 1926380"/>
                <a:gd name="connsiteY3587" fmla="*/ 577953 h 745576"/>
                <a:gd name="connsiteX3588" fmla="*/ 1865606 w 1926380"/>
                <a:gd name="connsiteY3588" fmla="*/ 579315 h 745576"/>
                <a:gd name="connsiteX3589" fmla="*/ 1867269 w 1926380"/>
                <a:gd name="connsiteY3589" fmla="*/ 580858 h 745576"/>
                <a:gd name="connsiteX3590" fmla="*/ 1868450 w 1926380"/>
                <a:gd name="connsiteY3590" fmla="*/ 582855 h 745576"/>
                <a:gd name="connsiteX3591" fmla="*/ 1869297 w 1926380"/>
                <a:gd name="connsiteY3591" fmla="*/ 585516 h 745576"/>
                <a:gd name="connsiteX3592" fmla="*/ 1869811 w 1926380"/>
                <a:gd name="connsiteY3592" fmla="*/ 588058 h 745576"/>
                <a:gd name="connsiteX3593" fmla="*/ 1869932 w 1926380"/>
                <a:gd name="connsiteY3593" fmla="*/ 589510 h 745576"/>
                <a:gd name="connsiteX3594" fmla="*/ 1869780 w 1926380"/>
                <a:gd name="connsiteY3594" fmla="*/ 590659 h 745576"/>
                <a:gd name="connsiteX3595" fmla="*/ 1868964 w 1926380"/>
                <a:gd name="connsiteY3595" fmla="*/ 591990 h 745576"/>
                <a:gd name="connsiteX3596" fmla="*/ 1867965 w 1926380"/>
                <a:gd name="connsiteY3596" fmla="*/ 592414 h 745576"/>
                <a:gd name="connsiteX3597" fmla="*/ 1866816 w 1926380"/>
                <a:gd name="connsiteY3597" fmla="*/ 592626 h 745576"/>
                <a:gd name="connsiteX3598" fmla="*/ 1865515 w 1926380"/>
                <a:gd name="connsiteY3598" fmla="*/ 593321 h 745576"/>
                <a:gd name="connsiteX3599" fmla="*/ 1863821 w 1926380"/>
                <a:gd name="connsiteY3599" fmla="*/ 595348 h 745576"/>
                <a:gd name="connsiteX3600" fmla="*/ 1862974 w 1926380"/>
                <a:gd name="connsiteY3600" fmla="*/ 597708 h 745576"/>
                <a:gd name="connsiteX3601" fmla="*/ 1862913 w 1926380"/>
                <a:gd name="connsiteY3601" fmla="*/ 600158 h 745576"/>
                <a:gd name="connsiteX3602" fmla="*/ 1863639 w 1926380"/>
                <a:gd name="connsiteY3602" fmla="*/ 602548 h 745576"/>
                <a:gd name="connsiteX3603" fmla="*/ 1867693 w 1926380"/>
                <a:gd name="connsiteY3603" fmla="*/ 610958 h 745576"/>
                <a:gd name="connsiteX3604" fmla="*/ 1868359 w 1926380"/>
                <a:gd name="connsiteY3604" fmla="*/ 612168 h 745576"/>
                <a:gd name="connsiteX3605" fmla="*/ 1869266 w 1926380"/>
                <a:gd name="connsiteY3605" fmla="*/ 612833 h 745576"/>
                <a:gd name="connsiteX3606" fmla="*/ 1873441 w 1926380"/>
                <a:gd name="connsiteY3606" fmla="*/ 613832 h 745576"/>
                <a:gd name="connsiteX3607" fmla="*/ 1874682 w 1926380"/>
                <a:gd name="connsiteY3607" fmla="*/ 613741 h 745576"/>
                <a:gd name="connsiteX3608" fmla="*/ 1875619 w 1926380"/>
                <a:gd name="connsiteY3608" fmla="*/ 612894 h 745576"/>
                <a:gd name="connsiteX3609" fmla="*/ 1876557 w 1926380"/>
                <a:gd name="connsiteY3609" fmla="*/ 610958 h 745576"/>
                <a:gd name="connsiteX3610" fmla="*/ 1876557 w 1926380"/>
                <a:gd name="connsiteY3610" fmla="*/ 610958 h 745576"/>
                <a:gd name="connsiteX3611" fmla="*/ 1878130 w 1926380"/>
                <a:gd name="connsiteY3611" fmla="*/ 608477 h 745576"/>
                <a:gd name="connsiteX3612" fmla="*/ 1878463 w 1926380"/>
                <a:gd name="connsiteY3612" fmla="*/ 606662 h 745576"/>
                <a:gd name="connsiteX3613" fmla="*/ 1879279 w 1926380"/>
                <a:gd name="connsiteY3613" fmla="*/ 605361 h 745576"/>
                <a:gd name="connsiteX3614" fmla="*/ 1887840 w 1926380"/>
                <a:gd name="connsiteY3614" fmla="*/ 602760 h 745576"/>
                <a:gd name="connsiteX3615" fmla="*/ 1890503 w 1926380"/>
                <a:gd name="connsiteY3615" fmla="*/ 601429 h 745576"/>
                <a:gd name="connsiteX3616" fmla="*/ 1892983 w 1926380"/>
                <a:gd name="connsiteY3616" fmla="*/ 599614 h 745576"/>
                <a:gd name="connsiteX3617" fmla="*/ 1895403 w 1926380"/>
                <a:gd name="connsiteY3617" fmla="*/ 596770 h 745576"/>
                <a:gd name="connsiteX3618" fmla="*/ 1899033 w 1926380"/>
                <a:gd name="connsiteY3618" fmla="*/ 593654 h 745576"/>
                <a:gd name="connsiteX3619" fmla="*/ 1902936 w 1926380"/>
                <a:gd name="connsiteY3619" fmla="*/ 591022 h 745576"/>
                <a:gd name="connsiteX3620" fmla="*/ 1906173 w 1926380"/>
                <a:gd name="connsiteY3620" fmla="*/ 589631 h 745576"/>
                <a:gd name="connsiteX3621" fmla="*/ 1908048 w 1926380"/>
                <a:gd name="connsiteY3621" fmla="*/ 589540 h 745576"/>
                <a:gd name="connsiteX3622" fmla="*/ 1918606 w 1926380"/>
                <a:gd name="connsiteY3622" fmla="*/ 590901 h 745576"/>
                <a:gd name="connsiteX3623" fmla="*/ 1920603 w 1926380"/>
                <a:gd name="connsiteY3623" fmla="*/ 591839 h 745576"/>
                <a:gd name="connsiteX3624" fmla="*/ 1921843 w 1926380"/>
                <a:gd name="connsiteY3624" fmla="*/ 593835 h 745576"/>
                <a:gd name="connsiteX3625" fmla="*/ 1922478 w 1926380"/>
                <a:gd name="connsiteY3625" fmla="*/ 591597 h 745576"/>
                <a:gd name="connsiteX3626" fmla="*/ 1921843 w 1926380"/>
                <a:gd name="connsiteY3626" fmla="*/ 589661 h 745576"/>
                <a:gd name="connsiteX3627" fmla="*/ 1920905 w 1926380"/>
                <a:gd name="connsiteY3627" fmla="*/ 587664 h 745576"/>
                <a:gd name="connsiteX3628" fmla="*/ 1920573 w 1926380"/>
                <a:gd name="connsiteY3628" fmla="*/ 585335 h 745576"/>
                <a:gd name="connsiteX3629" fmla="*/ 1921268 w 1926380"/>
                <a:gd name="connsiteY3629" fmla="*/ 583278 h 745576"/>
                <a:gd name="connsiteX3630" fmla="*/ 1922508 w 1926380"/>
                <a:gd name="connsiteY3630" fmla="*/ 582280 h 745576"/>
                <a:gd name="connsiteX3631" fmla="*/ 1923900 w 1926380"/>
                <a:gd name="connsiteY3631" fmla="*/ 581523 h 745576"/>
                <a:gd name="connsiteX3632" fmla="*/ 1925080 w 1926380"/>
                <a:gd name="connsiteY3632" fmla="*/ 580102 h 745576"/>
                <a:gd name="connsiteX3633" fmla="*/ 1925382 w 1926380"/>
                <a:gd name="connsiteY3633" fmla="*/ 576350 h 745576"/>
                <a:gd name="connsiteX3634" fmla="*/ 1923113 w 1926380"/>
                <a:gd name="connsiteY3634" fmla="*/ 573900 h 745576"/>
                <a:gd name="connsiteX3635" fmla="*/ 1917305 w 1926380"/>
                <a:gd name="connsiteY3635" fmla="*/ 570481 h 74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Lst>
              <a:rect l="l" t="t" r="r" b="b"/>
              <a:pathLst>
                <a:path w="1926380" h="745576">
                  <a:moveTo>
                    <a:pt x="42110" y="281066"/>
                  </a:moveTo>
                  <a:lnTo>
                    <a:pt x="42261" y="276861"/>
                  </a:lnTo>
                  <a:lnTo>
                    <a:pt x="41656" y="275681"/>
                  </a:lnTo>
                  <a:lnTo>
                    <a:pt x="39992" y="276559"/>
                  </a:lnTo>
                  <a:lnTo>
                    <a:pt x="39478" y="275923"/>
                  </a:lnTo>
                  <a:lnTo>
                    <a:pt x="39054" y="275772"/>
                  </a:lnTo>
                  <a:lnTo>
                    <a:pt x="38571" y="275772"/>
                  </a:lnTo>
                  <a:lnTo>
                    <a:pt x="37935" y="275651"/>
                  </a:lnTo>
                  <a:lnTo>
                    <a:pt x="34335" y="275651"/>
                  </a:lnTo>
                  <a:lnTo>
                    <a:pt x="32490" y="275984"/>
                  </a:lnTo>
                  <a:lnTo>
                    <a:pt x="31703" y="276952"/>
                  </a:lnTo>
                  <a:lnTo>
                    <a:pt x="32278" y="278404"/>
                  </a:lnTo>
                  <a:lnTo>
                    <a:pt x="33640" y="279372"/>
                  </a:lnTo>
                  <a:lnTo>
                    <a:pt x="36604" y="280643"/>
                  </a:lnTo>
                  <a:lnTo>
                    <a:pt x="39871" y="282730"/>
                  </a:lnTo>
                  <a:lnTo>
                    <a:pt x="41475" y="282851"/>
                  </a:lnTo>
                  <a:lnTo>
                    <a:pt x="42140" y="281066"/>
                  </a:lnTo>
                  <a:close/>
                  <a:moveTo>
                    <a:pt x="35122" y="239410"/>
                  </a:moveTo>
                  <a:lnTo>
                    <a:pt x="35122" y="236929"/>
                  </a:lnTo>
                  <a:lnTo>
                    <a:pt x="34486" y="236929"/>
                  </a:lnTo>
                  <a:lnTo>
                    <a:pt x="32974" y="238018"/>
                  </a:lnTo>
                  <a:lnTo>
                    <a:pt x="31159" y="238532"/>
                  </a:lnTo>
                  <a:lnTo>
                    <a:pt x="30161" y="238048"/>
                  </a:lnTo>
                  <a:lnTo>
                    <a:pt x="31038" y="236173"/>
                  </a:lnTo>
                  <a:lnTo>
                    <a:pt x="30614" y="235235"/>
                  </a:lnTo>
                  <a:lnTo>
                    <a:pt x="30614" y="233723"/>
                  </a:lnTo>
                  <a:lnTo>
                    <a:pt x="30796" y="232180"/>
                  </a:lnTo>
                  <a:lnTo>
                    <a:pt x="31068" y="231182"/>
                  </a:lnTo>
                  <a:lnTo>
                    <a:pt x="31068" y="230365"/>
                  </a:lnTo>
                  <a:lnTo>
                    <a:pt x="29676" y="230123"/>
                  </a:lnTo>
                  <a:lnTo>
                    <a:pt x="28890" y="229336"/>
                  </a:lnTo>
                  <a:lnTo>
                    <a:pt x="28346" y="228459"/>
                  </a:lnTo>
                  <a:lnTo>
                    <a:pt x="27680" y="227884"/>
                  </a:lnTo>
                  <a:lnTo>
                    <a:pt x="26440" y="227733"/>
                  </a:lnTo>
                  <a:lnTo>
                    <a:pt x="25169" y="227944"/>
                  </a:lnTo>
                  <a:lnTo>
                    <a:pt x="16457" y="230909"/>
                  </a:lnTo>
                  <a:lnTo>
                    <a:pt x="9620" y="232119"/>
                  </a:lnTo>
                  <a:lnTo>
                    <a:pt x="5596" y="234479"/>
                  </a:lnTo>
                  <a:lnTo>
                    <a:pt x="2299" y="237655"/>
                  </a:lnTo>
                  <a:lnTo>
                    <a:pt x="0" y="241104"/>
                  </a:lnTo>
                  <a:lnTo>
                    <a:pt x="0" y="241860"/>
                  </a:lnTo>
                  <a:lnTo>
                    <a:pt x="4144" y="243161"/>
                  </a:lnTo>
                  <a:lnTo>
                    <a:pt x="4628" y="243826"/>
                  </a:lnTo>
                  <a:lnTo>
                    <a:pt x="5838" y="244431"/>
                  </a:lnTo>
                  <a:lnTo>
                    <a:pt x="8259" y="245218"/>
                  </a:lnTo>
                  <a:lnTo>
                    <a:pt x="10346" y="245369"/>
                  </a:lnTo>
                  <a:lnTo>
                    <a:pt x="19421" y="244068"/>
                  </a:lnTo>
                  <a:lnTo>
                    <a:pt x="23868" y="242284"/>
                  </a:lnTo>
                  <a:lnTo>
                    <a:pt x="30645" y="241316"/>
                  </a:lnTo>
                  <a:lnTo>
                    <a:pt x="32883" y="240590"/>
                  </a:lnTo>
                  <a:lnTo>
                    <a:pt x="35092" y="239501"/>
                  </a:lnTo>
                  <a:close/>
                  <a:moveTo>
                    <a:pt x="199145" y="198117"/>
                  </a:moveTo>
                  <a:lnTo>
                    <a:pt x="198963" y="197269"/>
                  </a:lnTo>
                  <a:lnTo>
                    <a:pt x="195636" y="195908"/>
                  </a:lnTo>
                  <a:lnTo>
                    <a:pt x="194819" y="196997"/>
                  </a:lnTo>
                  <a:lnTo>
                    <a:pt x="193972" y="198540"/>
                  </a:lnTo>
                  <a:lnTo>
                    <a:pt x="192883" y="199418"/>
                  </a:lnTo>
                  <a:lnTo>
                    <a:pt x="193095" y="200748"/>
                  </a:lnTo>
                  <a:lnTo>
                    <a:pt x="194547" y="201656"/>
                  </a:lnTo>
                  <a:lnTo>
                    <a:pt x="196422" y="201807"/>
                  </a:lnTo>
                  <a:lnTo>
                    <a:pt x="198086" y="202170"/>
                  </a:lnTo>
                  <a:lnTo>
                    <a:pt x="199508" y="202896"/>
                  </a:lnTo>
                  <a:lnTo>
                    <a:pt x="200627" y="202685"/>
                  </a:lnTo>
                  <a:lnTo>
                    <a:pt x="200627" y="201716"/>
                  </a:lnTo>
                  <a:lnTo>
                    <a:pt x="200264" y="201384"/>
                  </a:lnTo>
                  <a:lnTo>
                    <a:pt x="199478" y="201444"/>
                  </a:lnTo>
                  <a:lnTo>
                    <a:pt x="198449" y="200597"/>
                  </a:lnTo>
                  <a:lnTo>
                    <a:pt x="198631" y="199206"/>
                  </a:lnTo>
                  <a:lnTo>
                    <a:pt x="199175" y="198117"/>
                  </a:lnTo>
                  <a:close/>
                  <a:moveTo>
                    <a:pt x="202624" y="183172"/>
                  </a:moveTo>
                  <a:lnTo>
                    <a:pt x="206405" y="182628"/>
                  </a:lnTo>
                  <a:lnTo>
                    <a:pt x="208251" y="181357"/>
                  </a:lnTo>
                  <a:lnTo>
                    <a:pt x="207767" y="179240"/>
                  </a:lnTo>
                  <a:lnTo>
                    <a:pt x="205226" y="177969"/>
                  </a:lnTo>
                  <a:lnTo>
                    <a:pt x="202291" y="177576"/>
                  </a:lnTo>
                  <a:lnTo>
                    <a:pt x="200688" y="177969"/>
                  </a:lnTo>
                  <a:lnTo>
                    <a:pt x="198056" y="176699"/>
                  </a:lnTo>
                  <a:lnTo>
                    <a:pt x="195424" y="176699"/>
                  </a:lnTo>
                  <a:lnTo>
                    <a:pt x="192823" y="177545"/>
                  </a:lnTo>
                  <a:lnTo>
                    <a:pt x="190312" y="178695"/>
                  </a:lnTo>
                  <a:lnTo>
                    <a:pt x="190009" y="177394"/>
                  </a:lnTo>
                  <a:lnTo>
                    <a:pt x="189434" y="177062"/>
                  </a:lnTo>
                  <a:lnTo>
                    <a:pt x="188739" y="177485"/>
                  </a:lnTo>
                  <a:lnTo>
                    <a:pt x="187952" y="178302"/>
                  </a:lnTo>
                  <a:lnTo>
                    <a:pt x="187498" y="179633"/>
                  </a:lnTo>
                  <a:lnTo>
                    <a:pt x="188073" y="180661"/>
                  </a:lnTo>
                  <a:lnTo>
                    <a:pt x="188769" y="181569"/>
                  </a:lnTo>
                  <a:lnTo>
                    <a:pt x="188466" y="184171"/>
                  </a:lnTo>
                  <a:lnTo>
                    <a:pt x="190039" y="185502"/>
                  </a:lnTo>
                  <a:lnTo>
                    <a:pt x="192036" y="186288"/>
                  </a:lnTo>
                  <a:lnTo>
                    <a:pt x="193125" y="186288"/>
                  </a:lnTo>
                  <a:lnTo>
                    <a:pt x="195364" y="187226"/>
                  </a:lnTo>
                  <a:lnTo>
                    <a:pt x="197330" y="186470"/>
                  </a:lnTo>
                  <a:lnTo>
                    <a:pt x="200658" y="183747"/>
                  </a:lnTo>
                  <a:lnTo>
                    <a:pt x="202563" y="183172"/>
                  </a:lnTo>
                  <a:close/>
                  <a:moveTo>
                    <a:pt x="39780" y="172524"/>
                  </a:moveTo>
                  <a:lnTo>
                    <a:pt x="40053" y="175186"/>
                  </a:lnTo>
                  <a:lnTo>
                    <a:pt x="39327" y="177031"/>
                  </a:lnTo>
                  <a:lnTo>
                    <a:pt x="40174" y="178877"/>
                  </a:lnTo>
                  <a:lnTo>
                    <a:pt x="40809" y="181115"/>
                  </a:lnTo>
                  <a:lnTo>
                    <a:pt x="41656" y="182961"/>
                  </a:lnTo>
                  <a:lnTo>
                    <a:pt x="43108" y="183747"/>
                  </a:lnTo>
                  <a:lnTo>
                    <a:pt x="45710" y="184171"/>
                  </a:lnTo>
                  <a:lnTo>
                    <a:pt x="64344" y="184292"/>
                  </a:lnTo>
                  <a:lnTo>
                    <a:pt x="69729" y="182839"/>
                  </a:lnTo>
                  <a:lnTo>
                    <a:pt x="71424" y="182688"/>
                  </a:lnTo>
                  <a:lnTo>
                    <a:pt x="74116" y="183929"/>
                  </a:lnTo>
                  <a:lnTo>
                    <a:pt x="75689" y="183445"/>
                  </a:lnTo>
                  <a:lnTo>
                    <a:pt x="77262" y="182598"/>
                  </a:lnTo>
                  <a:lnTo>
                    <a:pt x="78623" y="182144"/>
                  </a:lnTo>
                  <a:lnTo>
                    <a:pt x="80287" y="182295"/>
                  </a:lnTo>
                  <a:lnTo>
                    <a:pt x="81890" y="182839"/>
                  </a:lnTo>
                  <a:lnTo>
                    <a:pt x="84764" y="184594"/>
                  </a:lnTo>
                  <a:lnTo>
                    <a:pt x="92448" y="180420"/>
                  </a:lnTo>
                  <a:lnTo>
                    <a:pt x="95201" y="179633"/>
                  </a:lnTo>
                  <a:lnTo>
                    <a:pt x="102068" y="179633"/>
                  </a:lnTo>
                  <a:lnTo>
                    <a:pt x="103399" y="179270"/>
                  </a:lnTo>
                  <a:lnTo>
                    <a:pt x="105759" y="178211"/>
                  </a:lnTo>
                  <a:lnTo>
                    <a:pt x="112444" y="177243"/>
                  </a:lnTo>
                  <a:lnTo>
                    <a:pt x="113443" y="177092"/>
                  </a:lnTo>
                  <a:lnTo>
                    <a:pt x="114259" y="178181"/>
                  </a:lnTo>
                  <a:lnTo>
                    <a:pt x="117345" y="184201"/>
                  </a:lnTo>
                  <a:lnTo>
                    <a:pt x="116105" y="186742"/>
                  </a:lnTo>
                  <a:lnTo>
                    <a:pt x="113231" y="188920"/>
                  </a:lnTo>
                  <a:lnTo>
                    <a:pt x="109994" y="189919"/>
                  </a:lnTo>
                  <a:lnTo>
                    <a:pt x="107634" y="188830"/>
                  </a:lnTo>
                  <a:lnTo>
                    <a:pt x="106182" y="190312"/>
                  </a:lnTo>
                  <a:lnTo>
                    <a:pt x="104065" y="193367"/>
                  </a:lnTo>
                  <a:lnTo>
                    <a:pt x="102734" y="194698"/>
                  </a:lnTo>
                  <a:lnTo>
                    <a:pt x="101312" y="195243"/>
                  </a:lnTo>
                  <a:lnTo>
                    <a:pt x="96623" y="194698"/>
                  </a:lnTo>
                  <a:lnTo>
                    <a:pt x="93870" y="195303"/>
                  </a:lnTo>
                  <a:lnTo>
                    <a:pt x="90754" y="196634"/>
                  </a:lnTo>
                  <a:lnTo>
                    <a:pt x="87880" y="198328"/>
                  </a:lnTo>
                  <a:lnTo>
                    <a:pt x="83433" y="201837"/>
                  </a:lnTo>
                  <a:lnTo>
                    <a:pt x="77504" y="203864"/>
                  </a:lnTo>
                  <a:lnTo>
                    <a:pt x="72785" y="207494"/>
                  </a:lnTo>
                  <a:lnTo>
                    <a:pt x="67793" y="210459"/>
                  </a:lnTo>
                  <a:lnTo>
                    <a:pt x="66281" y="212879"/>
                  </a:lnTo>
                  <a:lnTo>
                    <a:pt x="64315" y="212940"/>
                  </a:lnTo>
                  <a:lnTo>
                    <a:pt x="59141" y="214785"/>
                  </a:lnTo>
                  <a:lnTo>
                    <a:pt x="57992" y="215753"/>
                  </a:lnTo>
                  <a:lnTo>
                    <a:pt x="57326" y="215935"/>
                  </a:lnTo>
                  <a:lnTo>
                    <a:pt x="55995" y="216963"/>
                  </a:lnTo>
                  <a:lnTo>
                    <a:pt x="55057" y="218143"/>
                  </a:lnTo>
                  <a:lnTo>
                    <a:pt x="55542" y="218688"/>
                  </a:lnTo>
                  <a:lnTo>
                    <a:pt x="56812" y="218930"/>
                  </a:lnTo>
                  <a:lnTo>
                    <a:pt x="57235" y="219565"/>
                  </a:lnTo>
                  <a:lnTo>
                    <a:pt x="56903" y="220382"/>
                  </a:lnTo>
                  <a:lnTo>
                    <a:pt x="55844" y="221168"/>
                  </a:lnTo>
                  <a:lnTo>
                    <a:pt x="58869" y="223316"/>
                  </a:lnTo>
                  <a:lnTo>
                    <a:pt x="60775" y="225918"/>
                  </a:lnTo>
                  <a:lnTo>
                    <a:pt x="61289" y="229215"/>
                  </a:lnTo>
                  <a:lnTo>
                    <a:pt x="60049" y="233571"/>
                  </a:lnTo>
                  <a:lnTo>
                    <a:pt x="55511" y="239410"/>
                  </a:lnTo>
                  <a:lnTo>
                    <a:pt x="54967" y="240559"/>
                  </a:lnTo>
                  <a:lnTo>
                    <a:pt x="54180" y="243100"/>
                  </a:lnTo>
                  <a:lnTo>
                    <a:pt x="53061" y="245642"/>
                  </a:lnTo>
                  <a:lnTo>
                    <a:pt x="51427" y="246791"/>
                  </a:lnTo>
                  <a:lnTo>
                    <a:pt x="50852" y="247457"/>
                  </a:lnTo>
                  <a:lnTo>
                    <a:pt x="50036" y="248909"/>
                  </a:lnTo>
                  <a:lnTo>
                    <a:pt x="49794" y="250331"/>
                  </a:lnTo>
                  <a:lnTo>
                    <a:pt x="50762" y="250996"/>
                  </a:lnTo>
                  <a:lnTo>
                    <a:pt x="51821" y="250905"/>
                  </a:lnTo>
                  <a:lnTo>
                    <a:pt x="57145" y="249181"/>
                  </a:lnTo>
                  <a:lnTo>
                    <a:pt x="58385" y="248485"/>
                  </a:lnTo>
                  <a:lnTo>
                    <a:pt x="61440" y="245853"/>
                  </a:lnTo>
                  <a:lnTo>
                    <a:pt x="65464" y="243736"/>
                  </a:lnTo>
                  <a:lnTo>
                    <a:pt x="66977" y="242677"/>
                  </a:lnTo>
                  <a:lnTo>
                    <a:pt x="71787" y="238472"/>
                  </a:lnTo>
                  <a:lnTo>
                    <a:pt x="70335" y="237383"/>
                  </a:lnTo>
                  <a:lnTo>
                    <a:pt x="69064" y="235114"/>
                  </a:lnTo>
                  <a:lnTo>
                    <a:pt x="68731" y="232906"/>
                  </a:lnTo>
                  <a:lnTo>
                    <a:pt x="70092" y="231877"/>
                  </a:lnTo>
                  <a:lnTo>
                    <a:pt x="72180" y="231484"/>
                  </a:lnTo>
                  <a:lnTo>
                    <a:pt x="74569" y="230516"/>
                  </a:lnTo>
                  <a:lnTo>
                    <a:pt x="76869" y="229215"/>
                  </a:lnTo>
                  <a:lnTo>
                    <a:pt x="78714" y="227823"/>
                  </a:lnTo>
                  <a:lnTo>
                    <a:pt x="81346" y="224889"/>
                  </a:lnTo>
                  <a:lnTo>
                    <a:pt x="81830" y="224435"/>
                  </a:lnTo>
                  <a:lnTo>
                    <a:pt x="81830" y="223982"/>
                  </a:lnTo>
                  <a:lnTo>
                    <a:pt x="83978" y="221985"/>
                  </a:lnTo>
                  <a:lnTo>
                    <a:pt x="85309" y="220987"/>
                  </a:lnTo>
                  <a:lnTo>
                    <a:pt x="88243" y="220321"/>
                  </a:lnTo>
                  <a:lnTo>
                    <a:pt x="88939" y="219867"/>
                  </a:lnTo>
                  <a:lnTo>
                    <a:pt x="94475" y="215178"/>
                  </a:lnTo>
                  <a:lnTo>
                    <a:pt x="95988" y="213545"/>
                  </a:lnTo>
                  <a:lnTo>
                    <a:pt x="96623" y="211578"/>
                  </a:lnTo>
                  <a:lnTo>
                    <a:pt x="96805" y="209552"/>
                  </a:lnTo>
                  <a:lnTo>
                    <a:pt x="97470" y="208644"/>
                  </a:lnTo>
                  <a:lnTo>
                    <a:pt x="100737" y="207010"/>
                  </a:lnTo>
                  <a:lnTo>
                    <a:pt x="101796" y="205558"/>
                  </a:lnTo>
                  <a:lnTo>
                    <a:pt x="102703" y="201959"/>
                  </a:lnTo>
                  <a:lnTo>
                    <a:pt x="103823" y="201233"/>
                  </a:lnTo>
                  <a:lnTo>
                    <a:pt x="105214" y="200718"/>
                  </a:lnTo>
                  <a:lnTo>
                    <a:pt x="108482" y="198086"/>
                  </a:lnTo>
                  <a:lnTo>
                    <a:pt x="110357" y="197028"/>
                  </a:lnTo>
                  <a:lnTo>
                    <a:pt x="116558" y="196180"/>
                  </a:lnTo>
                  <a:lnTo>
                    <a:pt x="118344" y="195061"/>
                  </a:lnTo>
                  <a:lnTo>
                    <a:pt x="119856" y="193730"/>
                  </a:lnTo>
                  <a:lnTo>
                    <a:pt x="125694" y="190402"/>
                  </a:lnTo>
                  <a:lnTo>
                    <a:pt x="129536" y="189344"/>
                  </a:lnTo>
                  <a:lnTo>
                    <a:pt x="130928" y="189162"/>
                  </a:lnTo>
                  <a:lnTo>
                    <a:pt x="133560" y="188830"/>
                  </a:lnTo>
                  <a:lnTo>
                    <a:pt x="134740" y="188043"/>
                  </a:lnTo>
                  <a:lnTo>
                    <a:pt x="137674" y="184231"/>
                  </a:lnTo>
                  <a:lnTo>
                    <a:pt x="139368" y="182961"/>
                  </a:lnTo>
                  <a:lnTo>
                    <a:pt x="141486" y="182688"/>
                  </a:lnTo>
                  <a:lnTo>
                    <a:pt x="146175" y="182779"/>
                  </a:lnTo>
                  <a:lnTo>
                    <a:pt x="148958" y="181115"/>
                  </a:lnTo>
                  <a:lnTo>
                    <a:pt x="151378" y="180813"/>
                  </a:lnTo>
                  <a:lnTo>
                    <a:pt x="152467" y="180480"/>
                  </a:lnTo>
                  <a:lnTo>
                    <a:pt x="152921" y="180026"/>
                  </a:lnTo>
                  <a:lnTo>
                    <a:pt x="153980" y="178574"/>
                  </a:lnTo>
                  <a:lnTo>
                    <a:pt x="154524" y="177999"/>
                  </a:lnTo>
                  <a:lnTo>
                    <a:pt x="163569" y="171858"/>
                  </a:lnTo>
                  <a:lnTo>
                    <a:pt x="167865" y="164870"/>
                  </a:lnTo>
                  <a:lnTo>
                    <a:pt x="177334" y="156309"/>
                  </a:lnTo>
                  <a:lnTo>
                    <a:pt x="179512" y="152618"/>
                  </a:lnTo>
                  <a:lnTo>
                    <a:pt x="182053" y="142847"/>
                  </a:lnTo>
                  <a:lnTo>
                    <a:pt x="184201" y="138733"/>
                  </a:lnTo>
                  <a:lnTo>
                    <a:pt x="187317" y="137039"/>
                  </a:lnTo>
                  <a:lnTo>
                    <a:pt x="208825" y="134195"/>
                  </a:lnTo>
                  <a:lnTo>
                    <a:pt x="212667" y="134407"/>
                  </a:lnTo>
                  <a:lnTo>
                    <a:pt x="216600" y="135405"/>
                  </a:lnTo>
                  <a:lnTo>
                    <a:pt x="218234" y="136343"/>
                  </a:lnTo>
                  <a:lnTo>
                    <a:pt x="219656" y="137462"/>
                  </a:lnTo>
                  <a:lnTo>
                    <a:pt x="221168" y="138400"/>
                  </a:lnTo>
                  <a:lnTo>
                    <a:pt x="229275" y="139308"/>
                  </a:lnTo>
                  <a:lnTo>
                    <a:pt x="231091" y="138794"/>
                  </a:lnTo>
                  <a:lnTo>
                    <a:pt x="230939" y="137825"/>
                  </a:lnTo>
                  <a:lnTo>
                    <a:pt x="231605" y="136253"/>
                  </a:lnTo>
                  <a:lnTo>
                    <a:pt x="233843" y="132894"/>
                  </a:lnTo>
                  <a:lnTo>
                    <a:pt x="234932" y="131866"/>
                  </a:lnTo>
                  <a:lnTo>
                    <a:pt x="236505" y="130807"/>
                  </a:lnTo>
                  <a:lnTo>
                    <a:pt x="238200" y="129960"/>
                  </a:lnTo>
                  <a:lnTo>
                    <a:pt x="239682" y="129597"/>
                  </a:lnTo>
                  <a:lnTo>
                    <a:pt x="245248" y="127449"/>
                  </a:lnTo>
                  <a:lnTo>
                    <a:pt x="246216" y="127449"/>
                  </a:lnTo>
                  <a:lnTo>
                    <a:pt x="246973" y="127026"/>
                  </a:lnTo>
                  <a:lnTo>
                    <a:pt x="251783" y="125302"/>
                  </a:lnTo>
                  <a:lnTo>
                    <a:pt x="252720" y="125816"/>
                  </a:lnTo>
                  <a:lnTo>
                    <a:pt x="253416" y="126209"/>
                  </a:lnTo>
                  <a:lnTo>
                    <a:pt x="255201" y="126088"/>
                  </a:lnTo>
                  <a:lnTo>
                    <a:pt x="258952" y="125271"/>
                  </a:lnTo>
                  <a:lnTo>
                    <a:pt x="259799" y="125543"/>
                  </a:lnTo>
                  <a:lnTo>
                    <a:pt x="260888" y="126723"/>
                  </a:lnTo>
                  <a:lnTo>
                    <a:pt x="261705" y="126995"/>
                  </a:lnTo>
                  <a:lnTo>
                    <a:pt x="265124" y="126995"/>
                  </a:lnTo>
                  <a:lnTo>
                    <a:pt x="268602" y="127510"/>
                  </a:lnTo>
                  <a:lnTo>
                    <a:pt x="275590" y="129869"/>
                  </a:lnTo>
                  <a:lnTo>
                    <a:pt x="278918" y="130414"/>
                  </a:lnTo>
                  <a:lnTo>
                    <a:pt x="281459" y="131624"/>
                  </a:lnTo>
                  <a:lnTo>
                    <a:pt x="286663" y="136555"/>
                  </a:lnTo>
                  <a:lnTo>
                    <a:pt x="289567" y="136918"/>
                  </a:lnTo>
                  <a:lnTo>
                    <a:pt x="290807" y="135829"/>
                  </a:lnTo>
                  <a:lnTo>
                    <a:pt x="291503" y="134135"/>
                  </a:lnTo>
                  <a:lnTo>
                    <a:pt x="291745" y="132380"/>
                  </a:lnTo>
                  <a:lnTo>
                    <a:pt x="291745" y="131170"/>
                  </a:lnTo>
                  <a:lnTo>
                    <a:pt x="290928" y="129083"/>
                  </a:lnTo>
                  <a:lnTo>
                    <a:pt x="288750" y="127026"/>
                  </a:lnTo>
                  <a:lnTo>
                    <a:pt x="288235" y="125241"/>
                  </a:lnTo>
                  <a:lnTo>
                    <a:pt x="290656" y="125816"/>
                  </a:lnTo>
                  <a:lnTo>
                    <a:pt x="292743" y="127540"/>
                  </a:lnTo>
                  <a:lnTo>
                    <a:pt x="293741" y="129990"/>
                  </a:lnTo>
                  <a:lnTo>
                    <a:pt x="293046" y="132774"/>
                  </a:lnTo>
                  <a:lnTo>
                    <a:pt x="293983" y="132985"/>
                  </a:lnTo>
                  <a:lnTo>
                    <a:pt x="294709" y="133348"/>
                  </a:lnTo>
                  <a:lnTo>
                    <a:pt x="295889" y="134498"/>
                  </a:lnTo>
                  <a:lnTo>
                    <a:pt x="295042" y="138340"/>
                  </a:lnTo>
                  <a:lnTo>
                    <a:pt x="298067" y="139520"/>
                  </a:lnTo>
                  <a:lnTo>
                    <a:pt x="310137" y="138068"/>
                  </a:lnTo>
                  <a:lnTo>
                    <a:pt x="312648" y="138188"/>
                  </a:lnTo>
                  <a:lnTo>
                    <a:pt x="313738" y="139096"/>
                  </a:lnTo>
                  <a:lnTo>
                    <a:pt x="314222" y="139852"/>
                  </a:lnTo>
                  <a:lnTo>
                    <a:pt x="315371" y="140215"/>
                  </a:lnTo>
                  <a:lnTo>
                    <a:pt x="317821" y="140306"/>
                  </a:lnTo>
                  <a:lnTo>
                    <a:pt x="319001" y="140034"/>
                  </a:lnTo>
                  <a:lnTo>
                    <a:pt x="319636" y="139580"/>
                  </a:lnTo>
                  <a:lnTo>
                    <a:pt x="320060" y="139066"/>
                  </a:lnTo>
                  <a:lnTo>
                    <a:pt x="320635" y="138642"/>
                  </a:lnTo>
                  <a:lnTo>
                    <a:pt x="321603" y="138309"/>
                  </a:lnTo>
                  <a:lnTo>
                    <a:pt x="325596" y="137553"/>
                  </a:lnTo>
                  <a:lnTo>
                    <a:pt x="327411" y="136434"/>
                  </a:lnTo>
                  <a:lnTo>
                    <a:pt x="328500" y="136162"/>
                  </a:lnTo>
                  <a:lnTo>
                    <a:pt x="328833" y="135919"/>
                  </a:lnTo>
                  <a:lnTo>
                    <a:pt x="329710" y="134800"/>
                  </a:lnTo>
                  <a:lnTo>
                    <a:pt x="330285" y="134467"/>
                  </a:lnTo>
                  <a:lnTo>
                    <a:pt x="330860" y="134558"/>
                  </a:lnTo>
                  <a:lnTo>
                    <a:pt x="331737" y="135254"/>
                  </a:lnTo>
                  <a:lnTo>
                    <a:pt x="333885" y="135405"/>
                  </a:lnTo>
                  <a:lnTo>
                    <a:pt x="334369" y="135284"/>
                  </a:lnTo>
                  <a:lnTo>
                    <a:pt x="334944" y="134619"/>
                  </a:lnTo>
                  <a:lnTo>
                    <a:pt x="334944" y="133953"/>
                  </a:lnTo>
                  <a:lnTo>
                    <a:pt x="334672" y="133530"/>
                  </a:lnTo>
                  <a:lnTo>
                    <a:pt x="334551" y="132985"/>
                  </a:lnTo>
                  <a:lnTo>
                    <a:pt x="334490" y="132471"/>
                  </a:lnTo>
                  <a:lnTo>
                    <a:pt x="334641" y="131836"/>
                  </a:lnTo>
                  <a:lnTo>
                    <a:pt x="335428" y="130777"/>
                  </a:lnTo>
                  <a:lnTo>
                    <a:pt x="336244" y="130202"/>
                  </a:lnTo>
                  <a:lnTo>
                    <a:pt x="338029" y="129688"/>
                  </a:lnTo>
                  <a:lnTo>
                    <a:pt x="338846" y="129053"/>
                  </a:lnTo>
                  <a:lnTo>
                    <a:pt x="339935" y="127540"/>
                  </a:lnTo>
                  <a:lnTo>
                    <a:pt x="340873" y="125665"/>
                  </a:lnTo>
                  <a:lnTo>
                    <a:pt x="341569" y="123456"/>
                  </a:lnTo>
                  <a:lnTo>
                    <a:pt x="341932" y="121036"/>
                  </a:lnTo>
                  <a:lnTo>
                    <a:pt x="342144" y="121036"/>
                  </a:lnTo>
                  <a:lnTo>
                    <a:pt x="342567" y="120400"/>
                  </a:lnTo>
                  <a:lnTo>
                    <a:pt x="342749" y="119705"/>
                  </a:lnTo>
                  <a:lnTo>
                    <a:pt x="342265" y="119372"/>
                  </a:lnTo>
                  <a:lnTo>
                    <a:pt x="342053" y="119191"/>
                  </a:lnTo>
                  <a:lnTo>
                    <a:pt x="341418" y="118344"/>
                  </a:lnTo>
                  <a:lnTo>
                    <a:pt x="340812" y="117315"/>
                  </a:lnTo>
                  <a:lnTo>
                    <a:pt x="339996" y="116377"/>
                  </a:lnTo>
                  <a:lnTo>
                    <a:pt x="339754" y="115560"/>
                  </a:lnTo>
                  <a:lnTo>
                    <a:pt x="340903" y="115228"/>
                  </a:lnTo>
                  <a:lnTo>
                    <a:pt x="342628" y="114290"/>
                  </a:lnTo>
                  <a:lnTo>
                    <a:pt x="344382" y="112172"/>
                  </a:lnTo>
                  <a:lnTo>
                    <a:pt x="345713" y="109903"/>
                  </a:lnTo>
                  <a:lnTo>
                    <a:pt x="346651" y="106848"/>
                  </a:lnTo>
                  <a:lnTo>
                    <a:pt x="345108" y="105487"/>
                  </a:lnTo>
                  <a:lnTo>
                    <a:pt x="342567" y="104579"/>
                  </a:lnTo>
                  <a:lnTo>
                    <a:pt x="340177" y="104246"/>
                  </a:lnTo>
                  <a:lnTo>
                    <a:pt x="339481" y="104489"/>
                  </a:lnTo>
                  <a:lnTo>
                    <a:pt x="338846" y="105638"/>
                  </a:lnTo>
                  <a:lnTo>
                    <a:pt x="338060" y="105880"/>
                  </a:lnTo>
                  <a:lnTo>
                    <a:pt x="337394" y="105789"/>
                  </a:lnTo>
                  <a:lnTo>
                    <a:pt x="337122" y="105517"/>
                  </a:lnTo>
                  <a:lnTo>
                    <a:pt x="336910" y="105245"/>
                  </a:lnTo>
                  <a:lnTo>
                    <a:pt x="336366" y="105033"/>
                  </a:lnTo>
                  <a:lnTo>
                    <a:pt x="326383" y="102946"/>
                  </a:lnTo>
                  <a:lnTo>
                    <a:pt x="295435" y="89333"/>
                  </a:lnTo>
                  <a:lnTo>
                    <a:pt x="273624" y="80741"/>
                  </a:lnTo>
                  <a:lnTo>
                    <a:pt x="258377" y="71938"/>
                  </a:lnTo>
                  <a:lnTo>
                    <a:pt x="252841" y="67097"/>
                  </a:lnTo>
                  <a:lnTo>
                    <a:pt x="250694" y="63891"/>
                  </a:lnTo>
                  <a:lnTo>
                    <a:pt x="249211" y="62076"/>
                  </a:lnTo>
                  <a:lnTo>
                    <a:pt x="246337" y="60533"/>
                  </a:lnTo>
                  <a:lnTo>
                    <a:pt x="244734" y="58658"/>
                  </a:lnTo>
                  <a:lnTo>
                    <a:pt x="243342" y="56389"/>
                  </a:lnTo>
                  <a:lnTo>
                    <a:pt x="242586" y="54453"/>
                  </a:lnTo>
                  <a:lnTo>
                    <a:pt x="242677" y="53696"/>
                  </a:lnTo>
                  <a:lnTo>
                    <a:pt x="243161" y="53636"/>
                  </a:lnTo>
                  <a:lnTo>
                    <a:pt x="243736" y="53636"/>
                  </a:lnTo>
                  <a:lnTo>
                    <a:pt x="243978" y="53212"/>
                  </a:lnTo>
                  <a:lnTo>
                    <a:pt x="243857" y="52456"/>
                  </a:lnTo>
                  <a:lnTo>
                    <a:pt x="243584" y="52093"/>
                  </a:lnTo>
                  <a:lnTo>
                    <a:pt x="243342" y="51881"/>
                  </a:lnTo>
                  <a:lnTo>
                    <a:pt x="242858" y="50580"/>
                  </a:lnTo>
                  <a:lnTo>
                    <a:pt x="242042" y="49673"/>
                  </a:lnTo>
                  <a:lnTo>
                    <a:pt x="240196" y="48100"/>
                  </a:lnTo>
                  <a:lnTo>
                    <a:pt x="239017" y="46466"/>
                  </a:lnTo>
                  <a:lnTo>
                    <a:pt x="237111" y="40900"/>
                  </a:lnTo>
                  <a:lnTo>
                    <a:pt x="235447" y="38661"/>
                  </a:lnTo>
                  <a:lnTo>
                    <a:pt x="233632" y="36756"/>
                  </a:lnTo>
                  <a:lnTo>
                    <a:pt x="232149" y="34517"/>
                  </a:lnTo>
                  <a:lnTo>
                    <a:pt x="231544" y="31189"/>
                  </a:lnTo>
                  <a:lnTo>
                    <a:pt x="231847" y="28134"/>
                  </a:lnTo>
                  <a:lnTo>
                    <a:pt x="232694" y="26440"/>
                  </a:lnTo>
                  <a:lnTo>
                    <a:pt x="234025" y="25774"/>
                  </a:lnTo>
                  <a:lnTo>
                    <a:pt x="235658" y="25714"/>
                  </a:lnTo>
                  <a:lnTo>
                    <a:pt x="237534" y="26470"/>
                  </a:lnTo>
                  <a:lnTo>
                    <a:pt x="238563" y="26651"/>
                  </a:lnTo>
                  <a:lnTo>
                    <a:pt x="239470" y="26107"/>
                  </a:lnTo>
                  <a:lnTo>
                    <a:pt x="239621" y="25260"/>
                  </a:lnTo>
                  <a:lnTo>
                    <a:pt x="239198" y="24292"/>
                  </a:lnTo>
                  <a:lnTo>
                    <a:pt x="238563" y="23505"/>
                  </a:lnTo>
                  <a:lnTo>
                    <a:pt x="238048" y="23203"/>
                  </a:lnTo>
                  <a:lnTo>
                    <a:pt x="238048" y="21872"/>
                  </a:lnTo>
                  <a:lnTo>
                    <a:pt x="236627" y="15912"/>
                  </a:lnTo>
                  <a:lnTo>
                    <a:pt x="233027" y="15156"/>
                  </a:lnTo>
                  <a:lnTo>
                    <a:pt x="231514" y="14702"/>
                  </a:lnTo>
                  <a:lnTo>
                    <a:pt x="226583" y="15217"/>
                  </a:lnTo>
                  <a:lnTo>
                    <a:pt x="225222" y="14823"/>
                  </a:lnTo>
                  <a:lnTo>
                    <a:pt x="222560" y="13613"/>
                  </a:lnTo>
                  <a:lnTo>
                    <a:pt x="220079" y="13038"/>
                  </a:lnTo>
                  <a:lnTo>
                    <a:pt x="219141" y="13038"/>
                  </a:lnTo>
                  <a:lnTo>
                    <a:pt x="217235" y="13280"/>
                  </a:lnTo>
                  <a:lnTo>
                    <a:pt x="216812" y="13129"/>
                  </a:lnTo>
                  <a:lnTo>
                    <a:pt x="216419" y="13068"/>
                  </a:lnTo>
                  <a:lnTo>
                    <a:pt x="215995" y="13129"/>
                  </a:lnTo>
                  <a:lnTo>
                    <a:pt x="215602" y="13280"/>
                  </a:lnTo>
                  <a:lnTo>
                    <a:pt x="215299" y="14520"/>
                  </a:lnTo>
                  <a:lnTo>
                    <a:pt x="215299" y="16184"/>
                  </a:lnTo>
                  <a:lnTo>
                    <a:pt x="215088" y="17425"/>
                  </a:lnTo>
                  <a:lnTo>
                    <a:pt x="216661" y="18302"/>
                  </a:lnTo>
                  <a:lnTo>
                    <a:pt x="216358" y="19058"/>
                  </a:lnTo>
                  <a:lnTo>
                    <a:pt x="215088" y="19512"/>
                  </a:lnTo>
                  <a:lnTo>
                    <a:pt x="213787" y="19573"/>
                  </a:lnTo>
                  <a:lnTo>
                    <a:pt x="212395" y="19149"/>
                  </a:lnTo>
                  <a:lnTo>
                    <a:pt x="207131" y="16487"/>
                  </a:lnTo>
                  <a:lnTo>
                    <a:pt x="203411" y="16366"/>
                  </a:lnTo>
                  <a:lnTo>
                    <a:pt x="195575" y="18242"/>
                  </a:lnTo>
                  <a:lnTo>
                    <a:pt x="195333" y="19482"/>
                  </a:lnTo>
                  <a:lnTo>
                    <a:pt x="194970" y="20087"/>
                  </a:lnTo>
                  <a:lnTo>
                    <a:pt x="194456" y="20087"/>
                  </a:lnTo>
                  <a:lnTo>
                    <a:pt x="193700" y="19542"/>
                  </a:lnTo>
                  <a:lnTo>
                    <a:pt x="192883" y="20541"/>
                  </a:lnTo>
                  <a:lnTo>
                    <a:pt x="191854" y="21176"/>
                  </a:lnTo>
                  <a:lnTo>
                    <a:pt x="189707" y="21872"/>
                  </a:lnTo>
                  <a:lnTo>
                    <a:pt x="189828" y="22174"/>
                  </a:lnTo>
                  <a:lnTo>
                    <a:pt x="190100" y="22356"/>
                  </a:lnTo>
                  <a:lnTo>
                    <a:pt x="190402" y="22507"/>
                  </a:lnTo>
                  <a:lnTo>
                    <a:pt x="190675" y="22689"/>
                  </a:lnTo>
                  <a:lnTo>
                    <a:pt x="190342" y="22961"/>
                  </a:lnTo>
                  <a:lnTo>
                    <a:pt x="189707" y="23263"/>
                  </a:lnTo>
                  <a:lnTo>
                    <a:pt x="189465" y="23536"/>
                  </a:lnTo>
                  <a:lnTo>
                    <a:pt x="190856" y="24080"/>
                  </a:lnTo>
                  <a:lnTo>
                    <a:pt x="189222" y="24745"/>
                  </a:lnTo>
                  <a:lnTo>
                    <a:pt x="187892" y="23899"/>
                  </a:lnTo>
                  <a:lnTo>
                    <a:pt x="185502" y="20783"/>
                  </a:lnTo>
                  <a:lnTo>
                    <a:pt x="183959" y="19573"/>
                  </a:lnTo>
                  <a:lnTo>
                    <a:pt x="176578" y="15761"/>
                  </a:lnTo>
                  <a:lnTo>
                    <a:pt x="174157" y="13825"/>
                  </a:lnTo>
                  <a:lnTo>
                    <a:pt x="171919" y="11405"/>
                  </a:lnTo>
                  <a:lnTo>
                    <a:pt x="167653" y="5355"/>
                  </a:lnTo>
                  <a:lnTo>
                    <a:pt x="164931" y="2843"/>
                  </a:lnTo>
                  <a:lnTo>
                    <a:pt x="161694" y="1089"/>
                  </a:lnTo>
                  <a:lnTo>
                    <a:pt x="158154" y="333"/>
                  </a:lnTo>
                  <a:lnTo>
                    <a:pt x="155946" y="605"/>
                  </a:lnTo>
                  <a:lnTo>
                    <a:pt x="154676" y="1543"/>
                  </a:lnTo>
                  <a:lnTo>
                    <a:pt x="152437" y="4296"/>
                  </a:lnTo>
                  <a:lnTo>
                    <a:pt x="152195" y="4810"/>
                  </a:lnTo>
                  <a:lnTo>
                    <a:pt x="152104" y="5233"/>
                  </a:lnTo>
                  <a:lnTo>
                    <a:pt x="151650" y="5415"/>
                  </a:lnTo>
                  <a:lnTo>
                    <a:pt x="149200" y="4840"/>
                  </a:lnTo>
                  <a:lnTo>
                    <a:pt x="146961" y="4719"/>
                  </a:lnTo>
                  <a:lnTo>
                    <a:pt x="145842" y="4840"/>
                  </a:lnTo>
                  <a:lnTo>
                    <a:pt x="144299" y="3660"/>
                  </a:lnTo>
                  <a:lnTo>
                    <a:pt x="142605" y="2753"/>
                  </a:lnTo>
                  <a:lnTo>
                    <a:pt x="140760" y="2208"/>
                  </a:lnTo>
                  <a:lnTo>
                    <a:pt x="138854" y="2208"/>
                  </a:lnTo>
                  <a:lnTo>
                    <a:pt x="136434" y="3297"/>
                  </a:lnTo>
                  <a:lnTo>
                    <a:pt x="134195" y="7170"/>
                  </a:lnTo>
                  <a:lnTo>
                    <a:pt x="132259" y="8380"/>
                  </a:lnTo>
                  <a:lnTo>
                    <a:pt x="130868" y="8924"/>
                  </a:lnTo>
                  <a:lnTo>
                    <a:pt x="129960" y="10195"/>
                  </a:lnTo>
                  <a:lnTo>
                    <a:pt x="129143" y="11707"/>
                  </a:lnTo>
                  <a:lnTo>
                    <a:pt x="128024" y="12948"/>
                  </a:lnTo>
                  <a:lnTo>
                    <a:pt x="127146" y="13159"/>
                  </a:lnTo>
                  <a:lnTo>
                    <a:pt x="125271" y="12887"/>
                  </a:lnTo>
                  <a:lnTo>
                    <a:pt x="124242" y="13311"/>
                  </a:lnTo>
                  <a:lnTo>
                    <a:pt x="123153" y="14309"/>
                  </a:lnTo>
                  <a:lnTo>
                    <a:pt x="122246" y="14309"/>
                  </a:lnTo>
                  <a:lnTo>
                    <a:pt x="121308" y="13976"/>
                  </a:lnTo>
                  <a:lnTo>
                    <a:pt x="120219" y="13976"/>
                  </a:lnTo>
                  <a:lnTo>
                    <a:pt x="119130" y="14642"/>
                  </a:lnTo>
                  <a:lnTo>
                    <a:pt x="117890" y="15580"/>
                  </a:lnTo>
                  <a:lnTo>
                    <a:pt x="116861" y="16366"/>
                  </a:lnTo>
                  <a:lnTo>
                    <a:pt x="116014" y="16759"/>
                  </a:lnTo>
                  <a:lnTo>
                    <a:pt x="114895" y="16457"/>
                  </a:lnTo>
                  <a:lnTo>
                    <a:pt x="113050" y="14974"/>
                  </a:lnTo>
                  <a:lnTo>
                    <a:pt x="112112" y="14551"/>
                  </a:lnTo>
                  <a:lnTo>
                    <a:pt x="110901" y="14884"/>
                  </a:lnTo>
                  <a:lnTo>
                    <a:pt x="108723" y="16910"/>
                  </a:lnTo>
                  <a:lnTo>
                    <a:pt x="107695" y="17606"/>
                  </a:lnTo>
                  <a:lnTo>
                    <a:pt x="105759" y="17818"/>
                  </a:lnTo>
                  <a:lnTo>
                    <a:pt x="96320" y="16366"/>
                  </a:lnTo>
                  <a:lnTo>
                    <a:pt x="94505" y="16578"/>
                  </a:lnTo>
                  <a:lnTo>
                    <a:pt x="92872" y="17667"/>
                  </a:lnTo>
                  <a:lnTo>
                    <a:pt x="89968" y="20541"/>
                  </a:lnTo>
                  <a:lnTo>
                    <a:pt x="89211" y="21055"/>
                  </a:lnTo>
                  <a:lnTo>
                    <a:pt x="88576" y="21630"/>
                  </a:lnTo>
                  <a:lnTo>
                    <a:pt x="88153" y="22447"/>
                  </a:lnTo>
                  <a:lnTo>
                    <a:pt x="88334" y="22930"/>
                  </a:lnTo>
                  <a:lnTo>
                    <a:pt x="89544" y="23626"/>
                  </a:lnTo>
                  <a:lnTo>
                    <a:pt x="89847" y="24050"/>
                  </a:lnTo>
                  <a:lnTo>
                    <a:pt x="89756" y="24745"/>
                  </a:lnTo>
                  <a:lnTo>
                    <a:pt x="89332" y="25835"/>
                  </a:lnTo>
                  <a:lnTo>
                    <a:pt x="89211" y="26500"/>
                  </a:lnTo>
                  <a:lnTo>
                    <a:pt x="89151" y="27257"/>
                  </a:lnTo>
                  <a:lnTo>
                    <a:pt x="89060" y="28134"/>
                  </a:lnTo>
                  <a:lnTo>
                    <a:pt x="88636" y="30402"/>
                  </a:lnTo>
                  <a:lnTo>
                    <a:pt x="87789" y="32671"/>
                  </a:lnTo>
                  <a:lnTo>
                    <a:pt x="86458" y="34366"/>
                  </a:lnTo>
                  <a:lnTo>
                    <a:pt x="81649" y="35696"/>
                  </a:lnTo>
                  <a:lnTo>
                    <a:pt x="71302" y="35304"/>
                  </a:lnTo>
                  <a:lnTo>
                    <a:pt x="67128" y="38661"/>
                  </a:lnTo>
                  <a:lnTo>
                    <a:pt x="65706" y="41626"/>
                  </a:lnTo>
                  <a:lnTo>
                    <a:pt x="65313" y="44318"/>
                  </a:lnTo>
                  <a:lnTo>
                    <a:pt x="66008" y="46799"/>
                  </a:lnTo>
                  <a:lnTo>
                    <a:pt x="67037" y="48130"/>
                  </a:lnTo>
                  <a:lnTo>
                    <a:pt x="69669" y="47888"/>
                  </a:lnTo>
                  <a:lnTo>
                    <a:pt x="71484" y="48402"/>
                  </a:lnTo>
                  <a:lnTo>
                    <a:pt x="74176" y="50732"/>
                  </a:lnTo>
                  <a:lnTo>
                    <a:pt x="78048" y="51639"/>
                  </a:lnTo>
                  <a:lnTo>
                    <a:pt x="79803" y="52335"/>
                  </a:lnTo>
                  <a:lnTo>
                    <a:pt x="81406" y="52698"/>
                  </a:lnTo>
                  <a:lnTo>
                    <a:pt x="81104" y="54513"/>
                  </a:lnTo>
                  <a:lnTo>
                    <a:pt x="80226" y="56056"/>
                  </a:lnTo>
                  <a:lnTo>
                    <a:pt x="85944" y="60019"/>
                  </a:lnTo>
                  <a:lnTo>
                    <a:pt x="90512" y="62197"/>
                  </a:lnTo>
                  <a:lnTo>
                    <a:pt x="91511" y="63165"/>
                  </a:lnTo>
                  <a:lnTo>
                    <a:pt x="93416" y="60503"/>
                  </a:lnTo>
                  <a:lnTo>
                    <a:pt x="93416" y="61440"/>
                  </a:lnTo>
                  <a:lnTo>
                    <a:pt x="93507" y="62348"/>
                  </a:lnTo>
                  <a:lnTo>
                    <a:pt x="93719" y="63195"/>
                  </a:lnTo>
                  <a:lnTo>
                    <a:pt x="94082" y="63891"/>
                  </a:lnTo>
                  <a:lnTo>
                    <a:pt x="93658" y="65343"/>
                  </a:lnTo>
                  <a:lnTo>
                    <a:pt x="94021" y="68550"/>
                  </a:lnTo>
                  <a:lnTo>
                    <a:pt x="93386" y="69790"/>
                  </a:lnTo>
                  <a:lnTo>
                    <a:pt x="94475" y="71545"/>
                  </a:lnTo>
                  <a:lnTo>
                    <a:pt x="94959" y="73692"/>
                  </a:lnTo>
                  <a:lnTo>
                    <a:pt x="95443" y="78260"/>
                  </a:lnTo>
                  <a:lnTo>
                    <a:pt x="97077" y="84280"/>
                  </a:lnTo>
                  <a:lnTo>
                    <a:pt x="97500" y="86761"/>
                  </a:lnTo>
                  <a:lnTo>
                    <a:pt x="97500" y="89363"/>
                  </a:lnTo>
                  <a:lnTo>
                    <a:pt x="97016" y="91934"/>
                  </a:lnTo>
                  <a:lnTo>
                    <a:pt x="96108" y="94052"/>
                  </a:lnTo>
                  <a:lnTo>
                    <a:pt x="94808" y="95231"/>
                  </a:lnTo>
                  <a:lnTo>
                    <a:pt x="92932" y="95383"/>
                  </a:lnTo>
                  <a:lnTo>
                    <a:pt x="90785" y="94838"/>
                  </a:lnTo>
                  <a:lnTo>
                    <a:pt x="88879" y="93840"/>
                  </a:lnTo>
                  <a:lnTo>
                    <a:pt x="87820" y="92600"/>
                  </a:lnTo>
                  <a:lnTo>
                    <a:pt x="82707" y="97621"/>
                  </a:lnTo>
                  <a:lnTo>
                    <a:pt x="81649" y="97772"/>
                  </a:lnTo>
                  <a:lnTo>
                    <a:pt x="81225" y="98166"/>
                  </a:lnTo>
                  <a:lnTo>
                    <a:pt x="80983" y="98710"/>
                  </a:lnTo>
                  <a:lnTo>
                    <a:pt x="80408" y="99285"/>
                  </a:lnTo>
                  <a:lnTo>
                    <a:pt x="77595" y="100949"/>
                  </a:lnTo>
                  <a:lnTo>
                    <a:pt x="74932" y="103157"/>
                  </a:lnTo>
                  <a:lnTo>
                    <a:pt x="73208" y="103974"/>
                  </a:lnTo>
                  <a:lnTo>
                    <a:pt x="66825" y="104579"/>
                  </a:lnTo>
                  <a:lnTo>
                    <a:pt x="65706" y="105547"/>
                  </a:lnTo>
                  <a:lnTo>
                    <a:pt x="67249" y="107665"/>
                  </a:lnTo>
                  <a:lnTo>
                    <a:pt x="66190" y="110357"/>
                  </a:lnTo>
                  <a:lnTo>
                    <a:pt x="65736" y="112717"/>
                  </a:lnTo>
                  <a:lnTo>
                    <a:pt x="66069" y="114895"/>
                  </a:lnTo>
                  <a:lnTo>
                    <a:pt x="67249" y="117012"/>
                  </a:lnTo>
                  <a:lnTo>
                    <a:pt x="65373" y="119735"/>
                  </a:lnTo>
                  <a:lnTo>
                    <a:pt x="65373" y="120734"/>
                  </a:lnTo>
                  <a:lnTo>
                    <a:pt x="66886" y="121127"/>
                  </a:lnTo>
                  <a:lnTo>
                    <a:pt x="67582" y="121701"/>
                  </a:lnTo>
                  <a:lnTo>
                    <a:pt x="65857" y="124878"/>
                  </a:lnTo>
                  <a:lnTo>
                    <a:pt x="66130" y="126663"/>
                  </a:lnTo>
                  <a:lnTo>
                    <a:pt x="67521" y="129416"/>
                  </a:lnTo>
                  <a:lnTo>
                    <a:pt x="68398" y="130716"/>
                  </a:lnTo>
                  <a:lnTo>
                    <a:pt x="71091" y="131926"/>
                  </a:lnTo>
                  <a:lnTo>
                    <a:pt x="71181" y="133348"/>
                  </a:lnTo>
                  <a:lnTo>
                    <a:pt x="70486" y="134770"/>
                  </a:lnTo>
                  <a:lnTo>
                    <a:pt x="69609" y="135436"/>
                  </a:lnTo>
                  <a:lnTo>
                    <a:pt x="68096" y="135587"/>
                  </a:lnTo>
                  <a:lnTo>
                    <a:pt x="67219" y="136071"/>
                  </a:lnTo>
                  <a:lnTo>
                    <a:pt x="66946" y="136857"/>
                  </a:lnTo>
                  <a:lnTo>
                    <a:pt x="67219" y="137946"/>
                  </a:lnTo>
                  <a:lnTo>
                    <a:pt x="68277" y="139187"/>
                  </a:lnTo>
                  <a:lnTo>
                    <a:pt x="69246" y="139610"/>
                  </a:lnTo>
                  <a:lnTo>
                    <a:pt x="69548" y="140034"/>
                  </a:lnTo>
                  <a:lnTo>
                    <a:pt x="68549" y="141274"/>
                  </a:lnTo>
                  <a:lnTo>
                    <a:pt x="67128" y="142273"/>
                  </a:lnTo>
                  <a:lnTo>
                    <a:pt x="64254" y="143543"/>
                  </a:lnTo>
                  <a:lnTo>
                    <a:pt x="63044" y="144692"/>
                  </a:lnTo>
                  <a:lnTo>
                    <a:pt x="63346" y="145207"/>
                  </a:lnTo>
                  <a:lnTo>
                    <a:pt x="63952" y="146054"/>
                  </a:lnTo>
                  <a:lnTo>
                    <a:pt x="64012" y="146841"/>
                  </a:lnTo>
                  <a:lnTo>
                    <a:pt x="62681" y="147204"/>
                  </a:lnTo>
                  <a:lnTo>
                    <a:pt x="61834" y="147052"/>
                  </a:lnTo>
                  <a:lnTo>
                    <a:pt x="61108" y="146689"/>
                  </a:lnTo>
                  <a:lnTo>
                    <a:pt x="60593" y="146114"/>
                  </a:lnTo>
                  <a:lnTo>
                    <a:pt x="60261" y="145449"/>
                  </a:lnTo>
                  <a:lnTo>
                    <a:pt x="59625" y="145449"/>
                  </a:lnTo>
                  <a:lnTo>
                    <a:pt x="58809" y="147869"/>
                  </a:lnTo>
                  <a:lnTo>
                    <a:pt x="58234" y="148988"/>
                  </a:lnTo>
                  <a:lnTo>
                    <a:pt x="57508" y="149684"/>
                  </a:lnTo>
                  <a:lnTo>
                    <a:pt x="56812" y="149684"/>
                  </a:lnTo>
                  <a:lnTo>
                    <a:pt x="56691" y="149170"/>
                  </a:lnTo>
                  <a:lnTo>
                    <a:pt x="56177" y="148020"/>
                  </a:lnTo>
                  <a:lnTo>
                    <a:pt x="56177" y="149321"/>
                  </a:lnTo>
                  <a:lnTo>
                    <a:pt x="56086" y="149956"/>
                  </a:lnTo>
                  <a:lnTo>
                    <a:pt x="55632" y="150259"/>
                  </a:lnTo>
                  <a:lnTo>
                    <a:pt x="54725" y="150471"/>
                  </a:lnTo>
                  <a:lnTo>
                    <a:pt x="54664" y="151045"/>
                  </a:lnTo>
                  <a:lnTo>
                    <a:pt x="54816" y="151227"/>
                  </a:lnTo>
                  <a:lnTo>
                    <a:pt x="55057" y="151227"/>
                  </a:lnTo>
                  <a:lnTo>
                    <a:pt x="55420" y="151378"/>
                  </a:lnTo>
                  <a:lnTo>
                    <a:pt x="54422" y="151801"/>
                  </a:lnTo>
                  <a:lnTo>
                    <a:pt x="54120" y="152225"/>
                  </a:lnTo>
                  <a:lnTo>
                    <a:pt x="54059" y="153042"/>
                  </a:lnTo>
                  <a:lnTo>
                    <a:pt x="54755" y="154373"/>
                  </a:lnTo>
                  <a:lnTo>
                    <a:pt x="49370" y="158669"/>
                  </a:lnTo>
                  <a:lnTo>
                    <a:pt x="47827" y="160907"/>
                  </a:lnTo>
                  <a:lnTo>
                    <a:pt x="46980" y="164144"/>
                  </a:lnTo>
                  <a:lnTo>
                    <a:pt x="44742" y="166594"/>
                  </a:lnTo>
                  <a:lnTo>
                    <a:pt x="41656" y="167986"/>
                  </a:lnTo>
                  <a:lnTo>
                    <a:pt x="37874" y="167623"/>
                  </a:lnTo>
                  <a:lnTo>
                    <a:pt x="37542" y="167865"/>
                  </a:lnTo>
                  <a:lnTo>
                    <a:pt x="36785" y="168046"/>
                  </a:lnTo>
                  <a:lnTo>
                    <a:pt x="38298" y="169922"/>
                  </a:lnTo>
                  <a:lnTo>
                    <a:pt x="39297" y="172614"/>
                  </a:lnTo>
                  <a:close/>
                  <a:moveTo>
                    <a:pt x="1917850" y="570875"/>
                  </a:moveTo>
                  <a:lnTo>
                    <a:pt x="1917003" y="569302"/>
                  </a:lnTo>
                  <a:lnTo>
                    <a:pt x="1916398" y="567668"/>
                  </a:lnTo>
                  <a:lnTo>
                    <a:pt x="1915491" y="566639"/>
                  </a:lnTo>
                  <a:lnTo>
                    <a:pt x="1911830" y="567154"/>
                  </a:lnTo>
                  <a:lnTo>
                    <a:pt x="1910892" y="566156"/>
                  </a:lnTo>
                  <a:lnTo>
                    <a:pt x="1909471" y="562828"/>
                  </a:lnTo>
                  <a:lnTo>
                    <a:pt x="1907898" y="561739"/>
                  </a:lnTo>
                  <a:lnTo>
                    <a:pt x="1904177" y="561436"/>
                  </a:lnTo>
                  <a:lnTo>
                    <a:pt x="1902815" y="560710"/>
                  </a:lnTo>
                  <a:lnTo>
                    <a:pt x="1902180" y="558835"/>
                  </a:lnTo>
                  <a:lnTo>
                    <a:pt x="1903541" y="555356"/>
                  </a:lnTo>
                  <a:lnTo>
                    <a:pt x="1903118" y="553389"/>
                  </a:lnTo>
                  <a:lnTo>
                    <a:pt x="1903118" y="553389"/>
                  </a:lnTo>
                  <a:lnTo>
                    <a:pt x="1902573" y="551000"/>
                  </a:lnTo>
                  <a:lnTo>
                    <a:pt x="1902754" y="548126"/>
                  </a:lnTo>
                  <a:lnTo>
                    <a:pt x="1903390" y="545252"/>
                  </a:lnTo>
                  <a:lnTo>
                    <a:pt x="1904297" y="542922"/>
                  </a:lnTo>
                  <a:lnTo>
                    <a:pt x="1903904" y="540926"/>
                  </a:lnTo>
                  <a:lnTo>
                    <a:pt x="1901635" y="539353"/>
                  </a:lnTo>
                  <a:lnTo>
                    <a:pt x="1899609" y="537265"/>
                  </a:lnTo>
                  <a:lnTo>
                    <a:pt x="1900062" y="533726"/>
                  </a:lnTo>
                  <a:lnTo>
                    <a:pt x="1900879" y="532697"/>
                  </a:lnTo>
                  <a:lnTo>
                    <a:pt x="1904358" y="530126"/>
                  </a:lnTo>
                  <a:lnTo>
                    <a:pt x="1905386" y="528614"/>
                  </a:lnTo>
                  <a:lnTo>
                    <a:pt x="1905144" y="527525"/>
                  </a:lnTo>
                  <a:lnTo>
                    <a:pt x="1901454" y="523380"/>
                  </a:lnTo>
                  <a:lnTo>
                    <a:pt x="1898943" y="521383"/>
                  </a:lnTo>
                  <a:lnTo>
                    <a:pt x="1896129" y="520204"/>
                  </a:lnTo>
                  <a:lnTo>
                    <a:pt x="1893407" y="520506"/>
                  </a:lnTo>
                  <a:lnTo>
                    <a:pt x="1892136" y="521172"/>
                  </a:lnTo>
                  <a:lnTo>
                    <a:pt x="1890533" y="521686"/>
                  </a:lnTo>
                  <a:lnTo>
                    <a:pt x="1889111" y="521535"/>
                  </a:lnTo>
                  <a:lnTo>
                    <a:pt x="1888385" y="520204"/>
                  </a:lnTo>
                  <a:lnTo>
                    <a:pt x="1888445" y="519508"/>
                  </a:lnTo>
                  <a:lnTo>
                    <a:pt x="1888839" y="517632"/>
                  </a:lnTo>
                  <a:lnTo>
                    <a:pt x="1888778" y="517058"/>
                  </a:lnTo>
                  <a:lnTo>
                    <a:pt x="1888022" y="516513"/>
                  </a:lnTo>
                  <a:lnTo>
                    <a:pt x="1887357" y="516664"/>
                  </a:lnTo>
                  <a:lnTo>
                    <a:pt x="1886661" y="516906"/>
                  </a:lnTo>
                  <a:lnTo>
                    <a:pt x="1885905" y="516664"/>
                  </a:lnTo>
                  <a:lnTo>
                    <a:pt x="1884785" y="515333"/>
                  </a:lnTo>
                  <a:lnTo>
                    <a:pt x="1884210" y="513911"/>
                  </a:lnTo>
                  <a:lnTo>
                    <a:pt x="1883847" y="512550"/>
                  </a:lnTo>
                  <a:lnTo>
                    <a:pt x="1883242" y="511491"/>
                  </a:lnTo>
                  <a:lnTo>
                    <a:pt x="1882154" y="510765"/>
                  </a:lnTo>
                  <a:lnTo>
                    <a:pt x="1878523" y="509162"/>
                  </a:lnTo>
                  <a:lnTo>
                    <a:pt x="1877313" y="508829"/>
                  </a:lnTo>
                  <a:lnTo>
                    <a:pt x="1870809" y="509525"/>
                  </a:lnTo>
                  <a:lnTo>
                    <a:pt x="1867300" y="509011"/>
                  </a:lnTo>
                  <a:lnTo>
                    <a:pt x="1865515" y="506439"/>
                  </a:lnTo>
                  <a:lnTo>
                    <a:pt x="1865817" y="505562"/>
                  </a:lnTo>
                  <a:lnTo>
                    <a:pt x="1865969" y="505138"/>
                  </a:lnTo>
                  <a:lnTo>
                    <a:pt x="1866998" y="503928"/>
                  </a:lnTo>
                  <a:lnTo>
                    <a:pt x="1867875" y="502688"/>
                  </a:lnTo>
                  <a:lnTo>
                    <a:pt x="1867784" y="501206"/>
                  </a:lnTo>
                  <a:lnTo>
                    <a:pt x="1867269" y="499542"/>
                  </a:lnTo>
                  <a:lnTo>
                    <a:pt x="1867451" y="498060"/>
                  </a:lnTo>
                  <a:lnTo>
                    <a:pt x="1868056" y="496638"/>
                  </a:lnTo>
                  <a:lnTo>
                    <a:pt x="1868903" y="495125"/>
                  </a:lnTo>
                  <a:lnTo>
                    <a:pt x="1868903" y="495125"/>
                  </a:lnTo>
                  <a:lnTo>
                    <a:pt x="1869841" y="493431"/>
                  </a:lnTo>
                  <a:lnTo>
                    <a:pt x="1872261" y="490890"/>
                  </a:lnTo>
                  <a:lnTo>
                    <a:pt x="1873139" y="489075"/>
                  </a:lnTo>
                  <a:lnTo>
                    <a:pt x="1873985" y="486625"/>
                  </a:lnTo>
                  <a:lnTo>
                    <a:pt x="1874923" y="485142"/>
                  </a:lnTo>
                  <a:lnTo>
                    <a:pt x="1876224" y="484174"/>
                  </a:lnTo>
                  <a:lnTo>
                    <a:pt x="1878160" y="483297"/>
                  </a:lnTo>
                  <a:lnTo>
                    <a:pt x="1878704" y="482541"/>
                  </a:lnTo>
                  <a:lnTo>
                    <a:pt x="1877888" y="480363"/>
                  </a:lnTo>
                  <a:lnTo>
                    <a:pt x="1878039" y="479334"/>
                  </a:lnTo>
                  <a:lnTo>
                    <a:pt x="1878886" y="478668"/>
                  </a:lnTo>
                  <a:lnTo>
                    <a:pt x="1880671" y="477973"/>
                  </a:lnTo>
                  <a:lnTo>
                    <a:pt x="1881428" y="477065"/>
                  </a:lnTo>
                  <a:lnTo>
                    <a:pt x="1882063" y="475341"/>
                  </a:lnTo>
                  <a:lnTo>
                    <a:pt x="1882698" y="473042"/>
                  </a:lnTo>
                  <a:lnTo>
                    <a:pt x="1883030" y="470773"/>
                  </a:lnTo>
                  <a:lnTo>
                    <a:pt x="1882607" y="465146"/>
                  </a:lnTo>
                  <a:lnTo>
                    <a:pt x="1885450" y="462182"/>
                  </a:lnTo>
                  <a:lnTo>
                    <a:pt x="1889081" y="459580"/>
                  </a:lnTo>
                  <a:lnTo>
                    <a:pt x="1891349" y="456585"/>
                  </a:lnTo>
                  <a:lnTo>
                    <a:pt x="1891349" y="454709"/>
                  </a:lnTo>
                  <a:lnTo>
                    <a:pt x="1890533" y="452864"/>
                  </a:lnTo>
                  <a:lnTo>
                    <a:pt x="1889292" y="451261"/>
                  </a:lnTo>
                  <a:lnTo>
                    <a:pt x="1887871" y="450141"/>
                  </a:lnTo>
                  <a:lnTo>
                    <a:pt x="1886298" y="449567"/>
                  </a:lnTo>
                  <a:lnTo>
                    <a:pt x="1885027" y="449808"/>
                  </a:lnTo>
                  <a:lnTo>
                    <a:pt x="1881699" y="451594"/>
                  </a:lnTo>
                  <a:lnTo>
                    <a:pt x="1876648" y="450746"/>
                  </a:lnTo>
                  <a:lnTo>
                    <a:pt x="1875165" y="450111"/>
                  </a:lnTo>
                  <a:lnTo>
                    <a:pt x="1874227" y="449506"/>
                  </a:lnTo>
                  <a:lnTo>
                    <a:pt x="1873925" y="448478"/>
                  </a:lnTo>
                  <a:lnTo>
                    <a:pt x="1874258" y="446541"/>
                  </a:lnTo>
                  <a:lnTo>
                    <a:pt x="1874318" y="445452"/>
                  </a:lnTo>
                  <a:lnTo>
                    <a:pt x="1874015" y="442458"/>
                  </a:lnTo>
                  <a:lnTo>
                    <a:pt x="1874015" y="441066"/>
                  </a:lnTo>
                  <a:lnTo>
                    <a:pt x="1875286" y="436316"/>
                  </a:lnTo>
                  <a:lnTo>
                    <a:pt x="1875408" y="434289"/>
                  </a:lnTo>
                  <a:lnTo>
                    <a:pt x="1874470" y="428300"/>
                  </a:lnTo>
                  <a:lnTo>
                    <a:pt x="1874923" y="423641"/>
                  </a:lnTo>
                  <a:lnTo>
                    <a:pt x="1874923" y="421191"/>
                  </a:lnTo>
                  <a:lnTo>
                    <a:pt x="1874227" y="419224"/>
                  </a:lnTo>
                  <a:lnTo>
                    <a:pt x="1873501" y="418468"/>
                  </a:lnTo>
                  <a:lnTo>
                    <a:pt x="1872745" y="417984"/>
                  </a:lnTo>
                  <a:lnTo>
                    <a:pt x="1870930" y="417440"/>
                  </a:lnTo>
                  <a:lnTo>
                    <a:pt x="1869659" y="416835"/>
                  </a:lnTo>
                  <a:lnTo>
                    <a:pt x="1869962" y="416108"/>
                  </a:lnTo>
                  <a:lnTo>
                    <a:pt x="1870840" y="415292"/>
                  </a:lnTo>
                  <a:lnTo>
                    <a:pt x="1871293" y="414414"/>
                  </a:lnTo>
                  <a:lnTo>
                    <a:pt x="1870779" y="412297"/>
                  </a:lnTo>
                  <a:lnTo>
                    <a:pt x="1870294" y="410875"/>
                  </a:lnTo>
                  <a:lnTo>
                    <a:pt x="1870114" y="409362"/>
                  </a:lnTo>
                  <a:lnTo>
                    <a:pt x="1870506" y="407003"/>
                  </a:lnTo>
                  <a:lnTo>
                    <a:pt x="1873229" y="398442"/>
                  </a:lnTo>
                  <a:lnTo>
                    <a:pt x="1872745" y="394963"/>
                  </a:lnTo>
                  <a:lnTo>
                    <a:pt x="1867390" y="392603"/>
                  </a:lnTo>
                  <a:lnTo>
                    <a:pt x="1865757" y="391151"/>
                  </a:lnTo>
                  <a:lnTo>
                    <a:pt x="1864396" y="389366"/>
                  </a:lnTo>
                  <a:lnTo>
                    <a:pt x="1863427" y="386704"/>
                  </a:lnTo>
                  <a:lnTo>
                    <a:pt x="1862974" y="385797"/>
                  </a:lnTo>
                  <a:lnTo>
                    <a:pt x="1862641" y="384889"/>
                  </a:lnTo>
                  <a:lnTo>
                    <a:pt x="1862701" y="383891"/>
                  </a:lnTo>
                  <a:lnTo>
                    <a:pt x="1862641" y="382832"/>
                  </a:lnTo>
                  <a:lnTo>
                    <a:pt x="1861885" y="382106"/>
                  </a:lnTo>
                  <a:lnTo>
                    <a:pt x="1860978" y="381440"/>
                  </a:lnTo>
                  <a:lnTo>
                    <a:pt x="1860342" y="380593"/>
                  </a:lnTo>
                  <a:lnTo>
                    <a:pt x="1859918" y="378778"/>
                  </a:lnTo>
                  <a:lnTo>
                    <a:pt x="1859616" y="377961"/>
                  </a:lnTo>
                  <a:lnTo>
                    <a:pt x="1859071" y="377145"/>
                  </a:lnTo>
                  <a:lnTo>
                    <a:pt x="1859071" y="377145"/>
                  </a:lnTo>
                  <a:lnTo>
                    <a:pt x="1860493" y="374906"/>
                  </a:lnTo>
                  <a:lnTo>
                    <a:pt x="1862127" y="373666"/>
                  </a:lnTo>
                  <a:lnTo>
                    <a:pt x="1863095" y="372274"/>
                  </a:lnTo>
                  <a:lnTo>
                    <a:pt x="1862187" y="367585"/>
                  </a:lnTo>
                  <a:lnTo>
                    <a:pt x="1862701" y="365710"/>
                  </a:lnTo>
                  <a:lnTo>
                    <a:pt x="1864698" y="362110"/>
                  </a:lnTo>
                  <a:lnTo>
                    <a:pt x="1863882" y="359206"/>
                  </a:lnTo>
                  <a:lnTo>
                    <a:pt x="1860009" y="356664"/>
                  </a:lnTo>
                  <a:lnTo>
                    <a:pt x="1855532" y="354486"/>
                  </a:lnTo>
                  <a:lnTo>
                    <a:pt x="1852930" y="352641"/>
                  </a:lnTo>
                  <a:lnTo>
                    <a:pt x="1852809" y="351612"/>
                  </a:lnTo>
                  <a:lnTo>
                    <a:pt x="1853506" y="349465"/>
                  </a:lnTo>
                  <a:lnTo>
                    <a:pt x="1853415" y="348406"/>
                  </a:lnTo>
                  <a:lnTo>
                    <a:pt x="1852204" y="346046"/>
                  </a:lnTo>
                  <a:lnTo>
                    <a:pt x="1851872" y="345017"/>
                  </a:lnTo>
                  <a:lnTo>
                    <a:pt x="1851811" y="343959"/>
                  </a:lnTo>
                  <a:lnTo>
                    <a:pt x="1852053" y="343172"/>
                  </a:lnTo>
                  <a:lnTo>
                    <a:pt x="1852053" y="342295"/>
                  </a:lnTo>
                  <a:lnTo>
                    <a:pt x="1850873" y="339935"/>
                  </a:lnTo>
                  <a:lnTo>
                    <a:pt x="1850299" y="337425"/>
                  </a:lnTo>
                  <a:lnTo>
                    <a:pt x="1849844" y="336275"/>
                  </a:lnTo>
                  <a:lnTo>
                    <a:pt x="1849844" y="336214"/>
                  </a:lnTo>
                  <a:lnTo>
                    <a:pt x="1847213" y="333340"/>
                  </a:lnTo>
                  <a:lnTo>
                    <a:pt x="1846608" y="331888"/>
                  </a:lnTo>
                  <a:lnTo>
                    <a:pt x="1847727" y="330436"/>
                  </a:lnTo>
                  <a:lnTo>
                    <a:pt x="1849784" y="329257"/>
                  </a:lnTo>
                  <a:lnTo>
                    <a:pt x="1851297" y="328742"/>
                  </a:lnTo>
                  <a:lnTo>
                    <a:pt x="1852839" y="328742"/>
                  </a:lnTo>
                  <a:lnTo>
                    <a:pt x="1855078" y="328954"/>
                  </a:lnTo>
                  <a:lnTo>
                    <a:pt x="1857407" y="328712"/>
                  </a:lnTo>
                  <a:lnTo>
                    <a:pt x="1862883" y="327381"/>
                  </a:lnTo>
                  <a:lnTo>
                    <a:pt x="1865273" y="327623"/>
                  </a:lnTo>
                  <a:lnTo>
                    <a:pt x="1872231" y="330799"/>
                  </a:lnTo>
                  <a:lnTo>
                    <a:pt x="1874772" y="331011"/>
                  </a:lnTo>
                  <a:lnTo>
                    <a:pt x="1876980" y="330527"/>
                  </a:lnTo>
                  <a:lnTo>
                    <a:pt x="1882184" y="328349"/>
                  </a:lnTo>
                  <a:lnTo>
                    <a:pt x="1884120" y="327048"/>
                  </a:lnTo>
                  <a:lnTo>
                    <a:pt x="1885814" y="324658"/>
                  </a:lnTo>
                  <a:lnTo>
                    <a:pt x="1885814" y="322511"/>
                  </a:lnTo>
                  <a:lnTo>
                    <a:pt x="1885511" y="320272"/>
                  </a:lnTo>
                  <a:lnTo>
                    <a:pt x="1885996" y="317610"/>
                  </a:lnTo>
                  <a:lnTo>
                    <a:pt x="1885996" y="317610"/>
                  </a:lnTo>
                  <a:lnTo>
                    <a:pt x="1886993" y="316188"/>
                  </a:lnTo>
                  <a:lnTo>
                    <a:pt x="1887054" y="314766"/>
                  </a:lnTo>
                  <a:lnTo>
                    <a:pt x="1886722" y="313223"/>
                  </a:lnTo>
                  <a:lnTo>
                    <a:pt x="1886510" y="311529"/>
                  </a:lnTo>
                  <a:lnTo>
                    <a:pt x="1886722" y="309563"/>
                  </a:lnTo>
                  <a:lnTo>
                    <a:pt x="1887175" y="307959"/>
                  </a:lnTo>
                  <a:lnTo>
                    <a:pt x="1890503" y="301788"/>
                  </a:lnTo>
                  <a:lnTo>
                    <a:pt x="1891138" y="300245"/>
                  </a:lnTo>
                  <a:lnTo>
                    <a:pt x="1891199" y="299792"/>
                  </a:lnTo>
                  <a:lnTo>
                    <a:pt x="1891410" y="298340"/>
                  </a:lnTo>
                  <a:lnTo>
                    <a:pt x="1890896" y="294437"/>
                  </a:lnTo>
                  <a:lnTo>
                    <a:pt x="1891349" y="293076"/>
                  </a:lnTo>
                  <a:lnTo>
                    <a:pt x="1902058" y="284999"/>
                  </a:lnTo>
                  <a:lnTo>
                    <a:pt x="1904539" y="284333"/>
                  </a:lnTo>
                  <a:lnTo>
                    <a:pt x="1906082" y="285331"/>
                  </a:lnTo>
                  <a:lnTo>
                    <a:pt x="1908805" y="289113"/>
                  </a:lnTo>
                  <a:lnTo>
                    <a:pt x="1910197" y="290565"/>
                  </a:lnTo>
                  <a:lnTo>
                    <a:pt x="1916217" y="293167"/>
                  </a:lnTo>
                  <a:lnTo>
                    <a:pt x="1918183" y="294679"/>
                  </a:lnTo>
                  <a:lnTo>
                    <a:pt x="1926381" y="300124"/>
                  </a:lnTo>
                  <a:lnTo>
                    <a:pt x="1925262" y="298612"/>
                  </a:lnTo>
                  <a:lnTo>
                    <a:pt x="1924112" y="294074"/>
                  </a:lnTo>
                  <a:lnTo>
                    <a:pt x="1923113" y="292562"/>
                  </a:lnTo>
                  <a:lnTo>
                    <a:pt x="1921571" y="290142"/>
                  </a:lnTo>
                  <a:lnTo>
                    <a:pt x="1915400" y="282669"/>
                  </a:lnTo>
                  <a:lnTo>
                    <a:pt x="1914825" y="281732"/>
                  </a:lnTo>
                  <a:lnTo>
                    <a:pt x="1914310" y="281338"/>
                  </a:lnTo>
                  <a:lnTo>
                    <a:pt x="1913857" y="281217"/>
                  </a:lnTo>
                  <a:lnTo>
                    <a:pt x="1912737" y="281399"/>
                  </a:lnTo>
                  <a:lnTo>
                    <a:pt x="1912223" y="281338"/>
                  </a:lnTo>
                  <a:lnTo>
                    <a:pt x="1910347" y="280280"/>
                  </a:lnTo>
                  <a:lnTo>
                    <a:pt x="1906717" y="276407"/>
                  </a:lnTo>
                  <a:lnTo>
                    <a:pt x="1905386" y="277164"/>
                  </a:lnTo>
                  <a:lnTo>
                    <a:pt x="1904993" y="276468"/>
                  </a:lnTo>
                  <a:lnTo>
                    <a:pt x="1904993" y="275106"/>
                  </a:lnTo>
                  <a:lnTo>
                    <a:pt x="1904660" y="273927"/>
                  </a:lnTo>
                  <a:lnTo>
                    <a:pt x="1903148" y="272898"/>
                  </a:lnTo>
                  <a:lnTo>
                    <a:pt x="1902301" y="272081"/>
                  </a:lnTo>
                  <a:lnTo>
                    <a:pt x="1901937" y="271053"/>
                  </a:lnTo>
                  <a:lnTo>
                    <a:pt x="1901484" y="269238"/>
                  </a:lnTo>
                  <a:lnTo>
                    <a:pt x="1900335" y="267483"/>
                  </a:lnTo>
                  <a:lnTo>
                    <a:pt x="1897763" y="264821"/>
                  </a:lnTo>
                  <a:lnTo>
                    <a:pt x="1891925" y="260162"/>
                  </a:lnTo>
                  <a:lnTo>
                    <a:pt x="1883545" y="255625"/>
                  </a:lnTo>
                  <a:lnTo>
                    <a:pt x="1877978" y="252630"/>
                  </a:lnTo>
                  <a:lnTo>
                    <a:pt x="1874288" y="251571"/>
                  </a:lnTo>
                  <a:lnTo>
                    <a:pt x="1870900" y="251571"/>
                  </a:lnTo>
                  <a:lnTo>
                    <a:pt x="1864820" y="253084"/>
                  </a:lnTo>
                  <a:lnTo>
                    <a:pt x="1861945" y="253416"/>
                  </a:lnTo>
                  <a:lnTo>
                    <a:pt x="1859888" y="253961"/>
                  </a:lnTo>
                  <a:lnTo>
                    <a:pt x="1858829" y="254082"/>
                  </a:lnTo>
                  <a:lnTo>
                    <a:pt x="1857952" y="253810"/>
                  </a:lnTo>
                  <a:lnTo>
                    <a:pt x="1856681" y="252660"/>
                  </a:lnTo>
                  <a:lnTo>
                    <a:pt x="1855714" y="252418"/>
                  </a:lnTo>
                  <a:lnTo>
                    <a:pt x="1853565" y="252932"/>
                  </a:lnTo>
                  <a:lnTo>
                    <a:pt x="1850056" y="255201"/>
                  </a:lnTo>
                  <a:lnTo>
                    <a:pt x="1848453" y="255715"/>
                  </a:lnTo>
                  <a:lnTo>
                    <a:pt x="1836352" y="253840"/>
                  </a:lnTo>
                  <a:lnTo>
                    <a:pt x="1825341" y="248243"/>
                  </a:lnTo>
                  <a:lnTo>
                    <a:pt x="1816114" y="245823"/>
                  </a:lnTo>
                  <a:lnTo>
                    <a:pt x="1811516" y="243494"/>
                  </a:lnTo>
                  <a:lnTo>
                    <a:pt x="1810216" y="240015"/>
                  </a:lnTo>
                  <a:lnTo>
                    <a:pt x="1811607" y="238805"/>
                  </a:lnTo>
                  <a:lnTo>
                    <a:pt x="1816175" y="237897"/>
                  </a:lnTo>
                  <a:lnTo>
                    <a:pt x="1817143" y="236324"/>
                  </a:lnTo>
                  <a:lnTo>
                    <a:pt x="1816507" y="234963"/>
                  </a:lnTo>
                  <a:lnTo>
                    <a:pt x="1813362" y="231393"/>
                  </a:lnTo>
                  <a:lnTo>
                    <a:pt x="1812272" y="229245"/>
                  </a:lnTo>
                  <a:lnTo>
                    <a:pt x="1814118" y="227944"/>
                  </a:lnTo>
                  <a:lnTo>
                    <a:pt x="1814027" y="227733"/>
                  </a:lnTo>
                  <a:lnTo>
                    <a:pt x="1812575" y="224647"/>
                  </a:lnTo>
                  <a:lnTo>
                    <a:pt x="1808098" y="219293"/>
                  </a:lnTo>
                  <a:lnTo>
                    <a:pt x="1805375" y="216933"/>
                  </a:lnTo>
                  <a:lnTo>
                    <a:pt x="1804347" y="215027"/>
                  </a:lnTo>
                  <a:lnTo>
                    <a:pt x="1805043" y="213061"/>
                  </a:lnTo>
                  <a:lnTo>
                    <a:pt x="1805889" y="211699"/>
                  </a:lnTo>
                  <a:lnTo>
                    <a:pt x="1807372" y="207071"/>
                  </a:lnTo>
                  <a:lnTo>
                    <a:pt x="1807462" y="206799"/>
                  </a:lnTo>
                  <a:lnTo>
                    <a:pt x="1807462" y="205982"/>
                  </a:lnTo>
                  <a:lnTo>
                    <a:pt x="1803379" y="202775"/>
                  </a:lnTo>
                  <a:lnTo>
                    <a:pt x="1801261" y="200567"/>
                  </a:lnTo>
                  <a:lnTo>
                    <a:pt x="1800837" y="198964"/>
                  </a:lnTo>
                  <a:lnTo>
                    <a:pt x="1804286" y="195182"/>
                  </a:lnTo>
                  <a:lnTo>
                    <a:pt x="1806464" y="193790"/>
                  </a:lnTo>
                  <a:lnTo>
                    <a:pt x="1808854" y="193518"/>
                  </a:lnTo>
                  <a:lnTo>
                    <a:pt x="1808582" y="192671"/>
                  </a:lnTo>
                  <a:lnTo>
                    <a:pt x="1808430" y="192308"/>
                  </a:lnTo>
                  <a:lnTo>
                    <a:pt x="1808098" y="191824"/>
                  </a:lnTo>
                  <a:lnTo>
                    <a:pt x="1808703" y="192036"/>
                  </a:lnTo>
                  <a:lnTo>
                    <a:pt x="1809156" y="192127"/>
                  </a:lnTo>
                  <a:lnTo>
                    <a:pt x="1809611" y="192278"/>
                  </a:lnTo>
                  <a:lnTo>
                    <a:pt x="1810216" y="192732"/>
                  </a:lnTo>
                  <a:lnTo>
                    <a:pt x="1810094" y="189828"/>
                  </a:lnTo>
                  <a:lnTo>
                    <a:pt x="1811456" y="187317"/>
                  </a:lnTo>
                  <a:lnTo>
                    <a:pt x="1815721" y="182719"/>
                  </a:lnTo>
                  <a:lnTo>
                    <a:pt x="1814935" y="179966"/>
                  </a:lnTo>
                  <a:lnTo>
                    <a:pt x="1815540" y="179209"/>
                  </a:lnTo>
                  <a:lnTo>
                    <a:pt x="1817657" y="175791"/>
                  </a:lnTo>
                  <a:lnTo>
                    <a:pt x="1817960" y="174793"/>
                  </a:lnTo>
                  <a:lnTo>
                    <a:pt x="1817445" y="166353"/>
                  </a:lnTo>
                  <a:lnTo>
                    <a:pt x="1817083" y="164356"/>
                  </a:lnTo>
                  <a:lnTo>
                    <a:pt x="1816145" y="162087"/>
                  </a:lnTo>
                  <a:lnTo>
                    <a:pt x="1811970" y="155916"/>
                  </a:lnTo>
                  <a:lnTo>
                    <a:pt x="1810942" y="153496"/>
                  </a:lnTo>
                  <a:lnTo>
                    <a:pt x="1810397" y="150712"/>
                  </a:lnTo>
                  <a:lnTo>
                    <a:pt x="1810155" y="148293"/>
                  </a:lnTo>
                  <a:lnTo>
                    <a:pt x="1809731" y="145963"/>
                  </a:lnTo>
                  <a:lnTo>
                    <a:pt x="1808582" y="143573"/>
                  </a:lnTo>
                  <a:lnTo>
                    <a:pt x="1805436" y="139943"/>
                  </a:lnTo>
                  <a:lnTo>
                    <a:pt x="1801472" y="136918"/>
                  </a:lnTo>
                  <a:lnTo>
                    <a:pt x="1797147" y="134921"/>
                  </a:lnTo>
                  <a:lnTo>
                    <a:pt x="1792851" y="134347"/>
                  </a:lnTo>
                  <a:lnTo>
                    <a:pt x="1790915" y="132652"/>
                  </a:lnTo>
                  <a:lnTo>
                    <a:pt x="1789311" y="129143"/>
                  </a:lnTo>
                  <a:lnTo>
                    <a:pt x="1788465" y="125241"/>
                  </a:lnTo>
                  <a:lnTo>
                    <a:pt x="1788888" y="122397"/>
                  </a:lnTo>
                  <a:lnTo>
                    <a:pt x="1790007" y="119221"/>
                  </a:lnTo>
                  <a:lnTo>
                    <a:pt x="1788585" y="116317"/>
                  </a:lnTo>
                  <a:lnTo>
                    <a:pt x="1785893" y="113987"/>
                  </a:lnTo>
                  <a:lnTo>
                    <a:pt x="1783141" y="112505"/>
                  </a:lnTo>
                  <a:lnTo>
                    <a:pt x="1779964" y="111718"/>
                  </a:lnTo>
                  <a:lnTo>
                    <a:pt x="1777030" y="111900"/>
                  </a:lnTo>
                  <a:lnTo>
                    <a:pt x="1767773" y="114290"/>
                  </a:lnTo>
                  <a:lnTo>
                    <a:pt x="1766321" y="113322"/>
                  </a:lnTo>
                  <a:lnTo>
                    <a:pt x="1763900" y="107877"/>
                  </a:lnTo>
                  <a:lnTo>
                    <a:pt x="1761874" y="105759"/>
                  </a:lnTo>
                  <a:lnTo>
                    <a:pt x="1759907" y="105547"/>
                  </a:lnTo>
                  <a:lnTo>
                    <a:pt x="1757699" y="105759"/>
                  </a:lnTo>
                  <a:lnTo>
                    <a:pt x="1754976" y="104972"/>
                  </a:lnTo>
                  <a:lnTo>
                    <a:pt x="1760422" y="102401"/>
                  </a:lnTo>
                  <a:lnTo>
                    <a:pt x="1761904" y="101221"/>
                  </a:lnTo>
                  <a:lnTo>
                    <a:pt x="1763265" y="99436"/>
                  </a:lnTo>
                  <a:lnTo>
                    <a:pt x="1763114" y="98801"/>
                  </a:lnTo>
                  <a:lnTo>
                    <a:pt x="1760149" y="98438"/>
                  </a:lnTo>
                  <a:lnTo>
                    <a:pt x="1757064" y="97077"/>
                  </a:lnTo>
                  <a:lnTo>
                    <a:pt x="1752193" y="93144"/>
                  </a:lnTo>
                  <a:lnTo>
                    <a:pt x="1744781" y="88516"/>
                  </a:lnTo>
                  <a:lnTo>
                    <a:pt x="1743329" y="87033"/>
                  </a:lnTo>
                  <a:lnTo>
                    <a:pt x="1740334" y="81830"/>
                  </a:lnTo>
                  <a:lnTo>
                    <a:pt x="1739548" y="81013"/>
                  </a:lnTo>
                  <a:lnTo>
                    <a:pt x="1738640" y="80681"/>
                  </a:lnTo>
                  <a:lnTo>
                    <a:pt x="1738156" y="80197"/>
                  </a:lnTo>
                  <a:lnTo>
                    <a:pt x="1737764" y="79622"/>
                  </a:lnTo>
                  <a:lnTo>
                    <a:pt x="1737158" y="79108"/>
                  </a:lnTo>
                  <a:lnTo>
                    <a:pt x="1734193" y="78170"/>
                  </a:lnTo>
                  <a:lnTo>
                    <a:pt x="1733407" y="77746"/>
                  </a:lnTo>
                  <a:lnTo>
                    <a:pt x="1732590" y="76355"/>
                  </a:lnTo>
                  <a:lnTo>
                    <a:pt x="1732015" y="74812"/>
                  </a:lnTo>
                  <a:lnTo>
                    <a:pt x="1731320" y="74025"/>
                  </a:lnTo>
                  <a:lnTo>
                    <a:pt x="1729958" y="74812"/>
                  </a:lnTo>
                  <a:lnTo>
                    <a:pt x="1727478" y="77444"/>
                  </a:lnTo>
                  <a:lnTo>
                    <a:pt x="1725572" y="76869"/>
                  </a:lnTo>
                  <a:lnTo>
                    <a:pt x="1723666" y="74933"/>
                  </a:lnTo>
                  <a:lnTo>
                    <a:pt x="1721095" y="73511"/>
                  </a:lnTo>
                  <a:lnTo>
                    <a:pt x="1721941" y="72301"/>
                  </a:lnTo>
                  <a:lnTo>
                    <a:pt x="1723938" y="70758"/>
                  </a:lnTo>
                  <a:lnTo>
                    <a:pt x="1724755" y="69850"/>
                  </a:lnTo>
                  <a:lnTo>
                    <a:pt x="1725178" y="68761"/>
                  </a:lnTo>
                  <a:lnTo>
                    <a:pt x="1725390" y="67551"/>
                  </a:lnTo>
                  <a:lnTo>
                    <a:pt x="1725723" y="66311"/>
                  </a:lnTo>
                  <a:lnTo>
                    <a:pt x="1726509" y="65162"/>
                  </a:lnTo>
                  <a:lnTo>
                    <a:pt x="1724574" y="64315"/>
                  </a:lnTo>
                  <a:lnTo>
                    <a:pt x="1710507" y="63195"/>
                  </a:lnTo>
                  <a:lnTo>
                    <a:pt x="1705424" y="63589"/>
                  </a:lnTo>
                  <a:lnTo>
                    <a:pt x="1703428" y="64193"/>
                  </a:lnTo>
                  <a:lnTo>
                    <a:pt x="1703005" y="64315"/>
                  </a:lnTo>
                  <a:lnTo>
                    <a:pt x="1702853" y="64315"/>
                  </a:lnTo>
                  <a:lnTo>
                    <a:pt x="1700826" y="65797"/>
                  </a:lnTo>
                  <a:lnTo>
                    <a:pt x="1699798" y="67884"/>
                  </a:lnTo>
                  <a:lnTo>
                    <a:pt x="1698860" y="72906"/>
                  </a:lnTo>
                  <a:lnTo>
                    <a:pt x="1697831" y="74903"/>
                  </a:lnTo>
                  <a:lnTo>
                    <a:pt x="1695653" y="77020"/>
                  </a:lnTo>
                  <a:lnTo>
                    <a:pt x="1692628" y="81225"/>
                  </a:lnTo>
                  <a:lnTo>
                    <a:pt x="1690541" y="82496"/>
                  </a:lnTo>
                  <a:lnTo>
                    <a:pt x="1689331" y="82556"/>
                  </a:lnTo>
                  <a:lnTo>
                    <a:pt x="1687999" y="82616"/>
                  </a:lnTo>
                  <a:lnTo>
                    <a:pt x="1670363" y="76294"/>
                  </a:lnTo>
                  <a:lnTo>
                    <a:pt x="1665402" y="76566"/>
                  </a:lnTo>
                  <a:lnTo>
                    <a:pt x="1662981" y="76385"/>
                  </a:lnTo>
                  <a:lnTo>
                    <a:pt x="1661318" y="74933"/>
                  </a:lnTo>
                  <a:lnTo>
                    <a:pt x="1659896" y="74146"/>
                  </a:lnTo>
                  <a:lnTo>
                    <a:pt x="1658354" y="74086"/>
                  </a:lnTo>
                  <a:lnTo>
                    <a:pt x="1655177" y="74933"/>
                  </a:lnTo>
                  <a:lnTo>
                    <a:pt x="1653755" y="74328"/>
                  </a:lnTo>
                  <a:lnTo>
                    <a:pt x="1652334" y="74116"/>
                  </a:lnTo>
                  <a:lnTo>
                    <a:pt x="1650911" y="74297"/>
                  </a:lnTo>
                  <a:lnTo>
                    <a:pt x="1649459" y="74933"/>
                  </a:lnTo>
                  <a:lnTo>
                    <a:pt x="1645890" y="75992"/>
                  </a:lnTo>
                  <a:lnTo>
                    <a:pt x="1638690" y="73451"/>
                  </a:lnTo>
                  <a:lnTo>
                    <a:pt x="1634636" y="74933"/>
                  </a:lnTo>
                  <a:lnTo>
                    <a:pt x="1633245" y="75901"/>
                  </a:lnTo>
                  <a:lnTo>
                    <a:pt x="1630098" y="80075"/>
                  </a:lnTo>
                  <a:lnTo>
                    <a:pt x="1626075" y="83252"/>
                  </a:lnTo>
                  <a:lnTo>
                    <a:pt x="1625107" y="83766"/>
                  </a:lnTo>
                  <a:lnTo>
                    <a:pt x="1623897" y="83313"/>
                  </a:lnTo>
                  <a:lnTo>
                    <a:pt x="1619873" y="79864"/>
                  </a:lnTo>
                  <a:lnTo>
                    <a:pt x="1618542" y="79471"/>
                  </a:lnTo>
                  <a:lnTo>
                    <a:pt x="1615608" y="79138"/>
                  </a:lnTo>
                  <a:lnTo>
                    <a:pt x="1614428" y="78714"/>
                  </a:lnTo>
                  <a:lnTo>
                    <a:pt x="1614004" y="77928"/>
                  </a:lnTo>
                  <a:lnTo>
                    <a:pt x="1614004" y="76929"/>
                  </a:lnTo>
                  <a:lnTo>
                    <a:pt x="1614126" y="76022"/>
                  </a:lnTo>
                  <a:lnTo>
                    <a:pt x="1614004" y="75538"/>
                  </a:lnTo>
                  <a:lnTo>
                    <a:pt x="1613248" y="75538"/>
                  </a:lnTo>
                  <a:lnTo>
                    <a:pt x="1610708" y="76596"/>
                  </a:lnTo>
                  <a:lnTo>
                    <a:pt x="1607682" y="76808"/>
                  </a:lnTo>
                  <a:lnTo>
                    <a:pt x="1606411" y="76596"/>
                  </a:lnTo>
                  <a:lnTo>
                    <a:pt x="1595702" y="72452"/>
                  </a:lnTo>
                  <a:lnTo>
                    <a:pt x="1594311" y="74751"/>
                  </a:lnTo>
                  <a:lnTo>
                    <a:pt x="1588412" y="79591"/>
                  </a:lnTo>
                  <a:lnTo>
                    <a:pt x="1587383" y="80197"/>
                  </a:lnTo>
                  <a:lnTo>
                    <a:pt x="1586990" y="82919"/>
                  </a:lnTo>
                  <a:lnTo>
                    <a:pt x="1585992" y="85551"/>
                  </a:lnTo>
                  <a:lnTo>
                    <a:pt x="1584449" y="87699"/>
                  </a:lnTo>
                  <a:lnTo>
                    <a:pt x="1582574" y="89060"/>
                  </a:lnTo>
                  <a:lnTo>
                    <a:pt x="1581272" y="89453"/>
                  </a:lnTo>
                  <a:lnTo>
                    <a:pt x="1577763" y="89877"/>
                  </a:lnTo>
                  <a:lnTo>
                    <a:pt x="1576675" y="90210"/>
                  </a:lnTo>
                  <a:lnTo>
                    <a:pt x="1574496" y="91299"/>
                  </a:lnTo>
                  <a:lnTo>
                    <a:pt x="1571955" y="92146"/>
                  </a:lnTo>
                  <a:lnTo>
                    <a:pt x="1562456" y="99285"/>
                  </a:lnTo>
                  <a:lnTo>
                    <a:pt x="1560611" y="99830"/>
                  </a:lnTo>
                  <a:lnTo>
                    <a:pt x="1558009" y="99981"/>
                  </a:lnTo>
                  <a:lnTo>
                    <a:pt x="1555468" y="100525"/>
                  </a:lnTo>
                  <a:lnTo>
                    <a:pt x="1553411" y="101917"/>
                  </a:lnTo>
                  <a:lnTo>
                    <a:pt x="1549448" y="105759"/>
                  </a:lnTo>
                  <a:lnTo>
                    <a:pt x="1547572" y="107030"/>
                  </a:lnTo>
                  <a:lnTo>
                    <a:pt x="1545304" y="108119"/>
                  </a:lnTo>
                  <a:lnTo>
                    <a:pt x="1542974" y="108845"/>
                  </a:lnTo>
                  <a:lnTo>
                    <a:pt x="1540857" y="109117"/>
                  </a:lnTo>
                  <a:lnTo>
                    <a:pt x="1539223" y="109722"/>
                  </a:lnTo>
                  <a:lnTo>
                    <a:pt x="1535442" y="112172"/>
                  </a:lnTo>
                  <a:lnTo>
                    <a:pt x="1532900" y="112565"/>
                  </a:lnTo>
                  <a:lnTo>
                    <a:pt x="1528605" y="111113"/>
                  </a:lnTo>
                  <a:lnTo>
                    <a:pt x="1527092" y="110872"/>
                  </a:lnTo>
                  <a:lnTo>
                    <a:pt x="1525943" y="111265"/>
                  </a:lnTo>
                  <a:lnTo>
                    <a:pt x="1518924" y="116105"/>
                  </a:lnTo>
                  <a:lnTo>
                    <a:pt x="1512965" y="123486"/>
                  </a:lnTo>
                  <a:lnTo>
                    <a:pt x="1511724" y="124242"/>
                  </a:lnTo>
                  <a:lnTo>
                    <a:pt x="1510181" y="124727"/>
                  </a:lnTo>
                  <a:lnTo>
                    <a:pt x="1507066" y="125059"/>
                  </a:lnTo>
                  <a:lnTo>
                    <a:pt x="1505704" y="125422"/>
                  </a:lnTo>
                  <a:lnTo>
                    <a:pt x="1501892" y="128447"/>
                  </a:lnTo>
                  <a:lnTo>
                    <a:pt x="1498777" y="130262"/>
                  </a:lnTo>
                  <a:lnTo>
                    <a:pt x="1495933" y="131019"/>
                  </a:lnTo>
                  <a:lnTo>
                    <a:pt x="1492968" y="130716"/>
                  </a:lnTo>
                  <a:lnTo>
                    <a:pt x="1489460" y="129295"/>
                  </a:lnTo>
                  <a:lnTo>
                    <a:pt x="1472973" y="139308"/>
                  </a:lnTo>
                  <a:lnTo>
                    <a:pt x="1468314" y="140518"/>
                  </a:lnTo>
                  <a:lnTo>
                    <a:pt x="1465984" y="141970"/>
                  </a:lnTo>
                  <a:lnTo>
                    <a:pt x="1462385" y="143240"/>
                  </a:lnTo>
                  <a:lnTo>
                    <a:pt x="1460055" y="143755"/>
                  </a:lnTo>
                  <a:lnTo>
                    <a:pt x="1457060" y="144904"/>
                  </a:lnTo>
                  <a:lnTo>
                    <a:pt x="1455366" y="145177"/>
                  </a:lnTo>
                  <a:lnTo>
                    <a:pt x="1451312" y="144451"/>
                  </a:lnTo>
                  <a:lnTo>
                    <a:pt x="1448408" y="142636"/>
                  </a:lnTo>
                  <a:lnTo>
                    <a:pt x="1442630" y="137644"/>
                  </a:lnTo>
                  <a:lnTo>
                    <a:pt x="1440150" y="137886"/>
                  </a:lnTo>
                  <a:lnTo>
                    <a:pt x="1433827" y="139913"/>
                  </a:lnTo>
                  <a:lnTo>
                    <a:pt x="1432194" y="141002"/>
                  </a:lnTo>
                  <a:lnTo>
                    <a:pt x="1430257" y="140639"/>
                  </a:lnTo>
                  <a:lnTo>
                    <a:pt x="1428473" y="139852"/>
                  </a:lnTo>
                  <a:lnTo>
                    <a:pt x="1422482" y="135436"/>
                  </a:lnTo>
                  <a:lnTo>
                    <a:pt x="1421606" y="135133"/>
                  </a:lnTo>
                  <a:lnTo>
                    <a:pt x="1419397" y="135284"/>
                  </a:lnTo>
                  <a:lnTo>
                    <a:pt x="1418278" y="135163"/>
                  </a:lnTo>
                  <a:lnTo>
                    <a:pt x="1415555" y="133348"/>
                  </a:lnTo>
                  <a:lnTo>
                    <a:pt x="1413558" y="133621"/>
                  </a:lnTo>
                  <a:lnTo>
                    <a:pt x="1411532" y="134558"/>
                  </a:lnTo>
                  <a:lnTo>
                    <a:pt x="1409505" y="135163"/>
                  </a:lnTo>
                  <a:lnTo>
                    <a:pt x="1405512" y="134437"/>
                  </a:lnTo>
                  <a:lnTo>
                    <a:pt x="1401700" y="132411"/>
                  </a:lnTo>
                  <a:lnTo>
                    <a:pt x="1395710" y="127570"/>
                  </a:lnTo>
                  <a:lnTo>
                    <a:pt x="1393169" y="124454"/>
                  </a:lnTo>
                  <a:lnTo>
                    <a:pt x="1391747" y="123123"/>
                  </a:lnTo>
                  <a:lnTo>
                    <a:pt x="1385424" y="121732"/>
                  </a:lnTo>
                  <a:lnTo>
                    <a:pt x="1384215" y="122034"/>
                  </a:lnTo>
                  <a:lnTo>
                    <a:pt x="1383640" y="122458"/>
                  </a:lnTo>
                  <a:lnTo>
                    <a:pt x="1383277" y="122942"/>
                  </a:lnTo>
                  <a:lnTo>
                    <a:pt x="1382672" y="123456"/>
                  </a:lnTo>
                  <a:lnTo>
                    <a:pt x="1377287" y="126421"/>
                  </a:lnTo>
                  <a:lnTo>
                    <a:pt x="1376108" y="126784"/>
                  </a:lnTo>
                  <a:lnTo>
                    <a:pt x="1374050" y="127117"/>
                  </a:lnTo>
                  <a:lnTo>
                    <a:pt x="1371297" y="128750"/>
                  </a:lnTo>
                  <a:lnTo>
                    <a:pt x="1369603" y="129295"/>
                  </a:lnTo>
                  <a:lnTo>
                    <a:pt x="1367364" y="128962"/>
                  </a:lnTo>
                  <a:lnTo>
                    <a:pt x="1364248" y="126542"/>
                  </a:lnTo>
                  <a:lnTo>
                    <a:pt x="1362343" y="125937"/>
                  </a:lnTo>
                  <a:lnTo>
                    <a:pt x="1359045" y="125694"/>
                  </a:lnTo>
                  <a:lnTo>
                    <a:pt x="1357866" y="125937"/>
                  </a:lnTo>
                  <a:lnTo>
                    <a:pt x="1355294" y="127933"/>
                  </a:lnTo>
                  <a:lnTo>
                    <a:pt x="1354417" y="128447"/>
                  </a:lnTo>
                  <a:lnTo>
                    <a:pt x="1346310" y="130142"/>
                  </a:lnTo>
                  <a:lnTo>
                    <a:pt x="1334814" y="130232"/>
                  </a:lnTo>
                  <a:lnTo>
                    <a:pt x="1332878" y="130837"/>
                  </a:lnTo>
                  <a:lnTo>
                    <a:pt x="1331244" y="132138"/>
                  </a:lnTo>
                  <a:lnTo>
                    <a:pt x="1329580" y="133137"/>
                  </a:lnTo>
                  <a:lnTo>
                    <a:pt x="1322563" y="134498"/>
                  </a:lnTo>
                  <a:lnTo>
                    <a:pt x="1320324" y="135224"/>
                  </a:lnTo>
                  <a:lnTo>
                    <a:pt x="1319840" y="135526"/>
                  </a:lnTo>
                  <a:lnTo>
                    <a:pt x="1319477" y="136253"/>
                  </a:lnTo>
                  <a:lnTo>
                    <a:pt x="1317450" y="138461"/>
                  </a:lnTo>
                  <a:lnTo>
                    <a:pt x="1316270" y="138824"/>
                  </a:lnTo>
                  <a:lnTo>
                    <a:pt x="1315241" y="139580"/>
                  </a:lnTo>
                  <a:lnTo>
                    <a:pt x="1314394" y="140427"/>
                  </a:lnTo>
                  <a:lnTo>
                    <a:pt x="1313698" y="140972"/>
                  </a:lnTo>
                  <a:lnTo>
                    <a:pt x="1312610" y="141213"/>
                  </a:lnTo>
                  <a:lnTo>
                    <a:pt x="1310673" y="141213"/>
                  </a:lnTo>
                  <a:lnTo>
                    <a:pt x="1309675" y="141728"/>
                  </a:lnTo>
                  <a:lnTo>
                    <a:pt x="1308980" y="141002"/>
                  </a:lnTo>
                  <a:lnTo>
                    <a:pt x="1307407" y="138975"/>
                  </a:lnTo>
                  <a:lnTo>
                    <a:pt x="1306801" y="138461"/>
                  </a:lnTo>
                  <a:lnTo>
                    <a:pt x="1305561" y="138370"/>
                  </a:lnTo>
                  <a:lnTo>
                    <a:pt x="1302324" y="139278"/>
                  </a:lnTo>
                  <a:lnTo>
                    <a:pt x="1300993" y="140004"/>
                  </a:lnTo>
                  <a:lnTo>
                    <a:pt x="1297302" y="143362"/>
                  </a:lnTo>
                  <a:lnTo>
                    <a:pt x="1295729" y="144360"/>
                  </a:lnTo>
                  <a:lnTo>
                    <a:pt x="1288106" y="144753"/>
                  </a:lnTo>
                  <a:lnTo>
                    <a:pt x="1286957" y="145600"/>
                  </a:lnTo>
                  <a:lnTo>
                    <a:pt x="1284415" y="145388"/>
                  </a:lnTo>
                  <a:lnTo>
                    <a:pt x="1280634" y="144390"/>
                  </a:lnTo>
                  <a:lnTo>
                    <a:pt x="1276792" y="145509"/>
                  </a:lnTo>
                  <a:lnTo>
                    <a:pt x="1274735" y="145509"/>
                  </a:lnTo>
                  <a:lnTo>
                    <a:pt x="1270349" y="141910"/>
                  </a:lnTo>
                  <a:lnTo>
                    <a:pt x="1268442" y="141516"/>
                  </a:lnTo>
                  <a:lnTo>
                    <a:pt x="1263996" y="142636"/>
                  </a:lnTo>
                  <a:lnTo>
                    <a:pt x="1261727" y="142636"/>
                  </a:lnTo>
                  <a:lnTo>
                    <a:pt x="1257673" y="141304"/>
                  </a:lnTo>
                  <a:lnTo>
                    <a:pt x="1251744" y="140367"/>
                  </a:lnTo>
                  <a:lnTo>
                    <a:pt x="1239613" y="136646"/>
                  </a:lnTo>
                  <a:lnTo>
                    <a:pt x="1234893" y="136041"/>
                  </a:lnTo>
                  <a:lnTo>
                    <a:pt x="1230991" y="137614"/>
                  </a:lnTo>
                  <a:lnTo>
                    <a:pt x="1229237" y="134770"/>
                  </a:lnTo>
                  <a:lnTo>
                    <a:pt x="1228208" y="133530"/>
                  </a:lnTo>
                  <a:lnTo>
                    <a:pt x="1226847" y="132531"/>
                  </a:lnTo>
                  <a:lnTo>
                    <a:pt x="1221674" y="130172"/>
                  </a:lnTo>
                  <a:lnTo>
                    <a:pt x="1219889" y="128084"/>
                  </a:lnTo>
                  <a:lnTo>
                    <a:pt x="1219768" y="120400"/>
                  </a:lnTo>
                  <a:lnTo>
                    <a:pt x="1217166" y="120794"/>
                  </a:lnTo>
                  <a:lnTo>
                    <a:pt x="1216471" y="119977"/>
                  </a:lnTo>
                  <a:lnTo>
                    <a:pt x="1214746" y="121369"/>
                  </a:lnTo>
                  <a:lnTo>
                    <a:pt x="1212841" y="121369"/>
                  </a:lnTo>
                  <a:lnTo>
                    <a:pt x="1211146" y="120219"/>
                  </a:lnTo>
                  <a:lnTo>
                    <a:pt x="1210269" y="118222"/>
                  </a:lnTo>
                  <a:lnTo>
                    <a:pt x="1208484" y="119342"/>
                  </a:lnTo>
                  <a:lnTo>
                    <a:pt x="1206760" y="121006"/>
                  </a:lnTo>
                  <a:lnTo>
                    <a:pt x="1205278" y="122972"/>
                  </a:lnTo>
                  <a:lnTo>
                    <a:pt x="1204067" y="124968"/>
                  </a:lnTo>
                  <a:lnTo>
                    <a:pt x="1202767" y="128236"/>
                  </a:lnTo>
                  <a:lnTo>
                    <a:pt x="1202041" y="129234"/>
                  </a:lnTo>
                  <a:lnTo>
                    <a:pt x="1201284" y="129718"/>
                  </a:lnTo>
                  <a:lnTo>
                    <a:pt x="1199893" y="130232"/>
                  </a:lnTo>
                  <a:lnTo>
                    <a:pt x="1199288" y="130898"/>
                  </a:lnTo>
                  <a:lnTo>
                    <a:pt x="1197685" y="130444"/>
                  </a:lnTo>
                  <a:lnTo>
                    <a:pt x="1193661" y="130837"/>
                  </a:lnTo>
                  <a:lnTo>
                    <a:pt x="1191634" y="130142"/>
                  </a:lnTo>
                  <a:lnTo>
                    <a:pt x="1189275" y="127782"/>
                  </a:lnTo>
                  <a:lnTo>
                    <a:pt x="1188881" y="127117"/>
                  </a:lnTo>
                  <a:lnTo>
                    <a:pt x="1184767" y="125906"/>
                  </a:lnTo>
                  <a:lnTo>
                    <a:pt x="1183043" y="124696"/>
                  </a:lnTo>
                  <a:lnTo>
                    <a:pt x="1180622" y="122155"/>
                  </a:lnTo>
                  <a:lnTo>
                    <a:pt x="1178868" y="121671"/>
                  </a:lnTo>
                  <a:lnTo>
                    <a:pt x="1176509" y="121460"/>
                  </a:lnTo>
                  <a:lnTo>
                    <a:pt x="1174390" y="120824"/>
                  </a:lnTo>
                  <a:lnTo>
                    <a:pt x="1173272" y="120249"/>
                  </a:lnTo>
                  <a:lnTo>
                    <a:pt x="1170942" y="118253"/>
                  </a:lnTo>
                  <a:lnTo>
                    <a:pt x="1167342" y="117345"/>
                  </a:lnTo>
                  <a:lnTo>
                    <a:pt x="1154455" y="117496"/>
                  </a:lnTo>
                  <a:lnTo>
                    <a:pt x="1152458" y="116710"/>
                  </a:lnTo>
                  <a:lnTo>
                    <a:pt x="1148587" y="114562"/>
                  </a:lnTo>
                  <a:lnTo>
                    <a:pt x="1146468" y="114108"/>
                  </a:lnTo>
                  <a:lnTo>
                    <a:pt x="1144775" y="113261"/>
                  </a:lnTo>
                  <a:lnTo>
                    <a:pt x="1144200" y="111144"/>
                  </a:lnTo>
                  <a:lnTo>
                    <a:pt x="1144019" y="105729"/>
                  </a:lnTo>
                  <a:lnTo>
                    <a:pt x="1142355" y="101826"/>
                  </a:lnTo>
                  <a:lnTo>
                    <a:pt x="1139299" y="99376"/>
                  </a:lnTo>
                  <a:lnTo>
                    <a:pt x="1124385" y="92478"/>
                  </a:lnTo>
                  <a:lnTo>
                    <a:pt x="1116459" y="90573"/>
                  </a:lnTo>
                  <a:lnTo>
                    <a:pt x="1107777" y="90573"/>
                  </a:lnTo>
                  <a:lnTo>
                    <a:pt x="1105599" y="90210"/>
                  </a:lnTo>
                  <a:lnTo>
                    <a:pt x="1103935" y="89635"/>
                  </a:lnTo>
                  <a:lnTo>
                    <a:pt x="1102574" y="89514"/>
                  </a:lnTo>
                  <a:lnTo>
                    <a:pt x="1101243" y="90603"/>
                  </a:lnTo>
                  <a:lnTo>
                    <a:pt x="1101424" y="90754"/>
                  </a:lnTo>
                  <a:lnTo>
                    <a:pt x="1100759" y="93356"/>
                  </a:lnTo>
                  <a:lnTo>
                    <a:pt x="1100547" y="93628"/>
                  </a:lnTo>
                  <a:lnTo>
                    <a:pt x="1100215" y="94384"/>
                  </a:lnTo>
                  <a:lnTo>
                    <a:pt x="1098792" y="96623"/>
                  </a:lnTo>
                  <a:lnTo>
                    <a:pt x="1098490" y="97833"/>
                  </a:lnTo>
                  <a:lnTo>
                    <a:pt x="1097613" y="98983"/>
                  </a:lnTo>
                  <a:lnTo>
                    <a:pt x="1092288" y="103309"/>
                  </a:lnTo>
                  <a:lnTo>
                    <a:pt x="1088084" y="105487"/>
                  </a:lnTo>
                  <a:lnTo>
                    <a:pt x="1085573" y="106031"/>
                  </a:lnTo>
                  <a:lnTo>
                    <a:pt x="1083697" y="105305"/>
                  </a:lnTo>
                  <a:lnTo>
                    <a:pt x="1082820" y="104640"/>
                  </a:lnTo>
                  <a:lnTo>
                    <a:pt x="1080944" y="104398"/>
                  </a:lnTo>
                  <a:lnTo>
                    <a:pt x="1079915" y="104065"/>
                  </a:lnTo>
                  <a:lnTo>
                    <a:pt x="1079432" y="103581"/>
                  </a:lnTo>
                  <a:lnTo>
                    <a:pt x="1078433" y="102129"/>
                  </a:lnTo>
                  <a:lnTo>
                    <a:pt x="1077858" y="101524"/>
                  </a:lnTo>
                  <a:lnTo>
                    <a:pt x="1076739" y="101010"/>
                  </a:lnTo>
                  <a:lnTo>
                    <a:pt x="1075620" y="100707"/>
                  </a:lnTo>
                  <a:lnTo>
                    <a:pt x="1074773" y="100072"/>
                  </a:lnTo>
                  <a:lnTo>
                    <a:pt x="1074440" y="98620"/>
                  </a:lnTo>
                  <a:lnTo>
                    <a:pt x="1074349" y="97349"/>
                  </a:lnTo>
                  <a:lnTo>
                    <a:pt x="1074107" y="96411"/>
                  </a:lnTo>
                  <a:lnTo>
                    <a:pt x="1073563" y="95836"/>
                  </a:lnTo>
                  <a:lnTo>
                    <a:pt x="1070689" y="95171"/>
                  </a:lnTo>
                  <a:lnTo>
                    <a:pt x="1065667" y="92690"/>
                  </a:lnTo>
                  <a:lnTo>
                    <a:pt x="1064003" y="91450"/>
                  </a:lnTo>
                  <a:lnTo>
                    <a:pt x="1060767" y="85611"/>
                  </a:lnTo>
                  <a:lnTo>
                    <a:pt x="1058165" y="83948"/>
                  </a:lnTo>
                  <a:lnTo>
                    <a:pt x="1053688" y="78775"/>
                  </a:lnTo>
                  <a:lnTo>
                    <a:pt x="1052628" y="76657"/>
                  </a:lnTo>
                  <a:lnTo>
                    <a:pt x="1052266" y="74781"/>
                  </a:lnTo>
                  <a:lnTo>
                    <a:pt x="1052326" y="70758"/>
                  </a:lnTo>
                  <a:lnTo>
                    <a:pt x="1052478" y="70183"/>
                  </a:lnTo>
                  <a:lnTo>
                    <a:pt x="1053355" y="68157"/>
                  </a:lnTo>
                  <a:lnTo>
                    <a:pt x="1053688" y="66916"/>
                  </a:lnTo>
                  <a:lnTo>
                    <a:pt x="1053688" y="61894"/>
                  </a:lnTo>
                  <a:lnTo>
                    <a:pt x="1052296" y="58355"/>
                  </a:lnTo>
                  <a:lnTo>
                    <a:pt x="1044703" y="49249"/>
                  </a:lnTo>
                  <a:lnTo>
                    <a:pt x="1044007" y="49249"/>
                  </a:lnTo>
                  <a:lnTo>
                    <a:pt x="1044007" y="50943"/>
                  </a:lnTo>
                  <a:lnTo>
                    <a:pt x="1037957" y="45770"/>
                  </a:lnTo>
                  <a:lnTo>
                    <a:pt x="1037443" y="45892"/>
                  </a:lnTo>
                  <a:lnTo>
                    <a:pt x="1036384" y="46708"/>
                  </a:lnTo>
                  <a:lnTo>
                    <a:pt x="1034932" y="48190"/>
                  </a:lnTo>
                  <a:lnTo>
                    <a:pt x="1033540" y="50399"/>
                  </a:lnTo>
                  <a:lnTo>
                    <a:pt x="1032602" y="53091"/>
                  </a:lnTo>
                  <a:lnTo>
                    <a:pt x="1032390" y="56056"/>
                  </a:lnTo>
                  <a:lnTo>
                    <a:pt x="1031634" y="56056"/>
                  </a:lnTo>
                  <a:lnTo>
                    <a:pt x="1031271" y="53999"/>
                  </a:lnTo>
                  <a:lnTo>
                    <a:pt x="1033177" y="50187"/>
                  </a:lnTo>
                  <a:lnTo>
                    <a:pt x="1033026" y="48311"/>
                  </a:lnTo>
                  <a:lnTo>
                    <a:pt x="1034024" y="47918"/>
                  </a:lnTo>
                  <a:lnTo>
                    <a:pt x="1034811" y="47283"/>
                  </a:lnTo>
                  <a:lnTo>
                    <a:pt x="1035385" y="46527"/>
                  </a:lnTo>
                  <a:lnTo>
                    <a:pt x="1035809" y="45770"/>
                  </a:lnTo>
                  <a:lnTo>
                    <a:pt x="1035809" y="44923"/>
                  </a:lnTo>
                  <a:lnTo>
                    <a:pt x="1033601" y="45407"/>
                  </a:lnTo>
                  <a:lnTo>
                    <a:pt x="1029486" y="48493"/>
                  </a:lnTo>
                  <a:lnTo>
                    <a:pt x="1027096" y="49219"/>
                  </a:lnTo>
                  <a:lnTo>
                    <a:pt x="1024676" y="49552"/>
                  </a:lnTo>
                  <a:lnTo>
                    <a:pt x="1014058" y="53727"/>
                  </a:lnTo>
                  <a:lnTo>
                    <a:pt x="1007827" y="54725"/>
                  </a:lnTo>
                  <a:lnTo>
                    <a:pt x="1004015" y="56903"/>
                  </a:lnTo>
                  <a:lnTo>
                    <a:pt x="1001897" y="57720"/>
                  </a:lnTo>
                  <a:lnTo>
                    <a:pt x="997571" y="58083"/>
                  </a:lnTo>
                  <a:lnTo>
                    <a:pt x="992882" y="57508"/>
                  </a:lnTo>
                  <a:lnTo>
                    <a:pt x="988435" y="56177"/>
                  </a:lnTo>
                  <a:lnTo>
                    <a:pt x="984744" y="54241"/>
                  </a:lnTo>
                  <a:lnTo>
                    <a:pt x="981538" y="51427"/>
                  </a:lnTo>
                  <a:lnTo>
                    <a:pt x="979905" y="50429"/>
                  </a:lnTo>
                  <a:lnTo>
                    <a:pt x="975548" y="49763"/>
                  </a:lnTo>
                  <a:lnTo>
                    <a:pt x="969558" y="47525"/>
                  </a:lnTo>
                  <a:lnTo>
                    <a:pt x="968015" y="46406"/>
                  </a:lnTo>
                  <a:lnTo>
                    <a:pt x="965081" y="43139"/>
                  </a:lnTo>
                  <a:lnTo>
                    <a:pt x="962177" y="41747"/>
                  </a:lnTo>
                  <a:lnTo>
                    <a:pt x="960846" y="40083"/>
                  </a:lnTo>
                  <a:lnTo>
                    <a:pt x="959847" y="38086"/>
                  </a:lnTo>
                  <a:lnTo>
                    <a:pt x="959243" y="36483"/>
                  </a:lnTo>
                  <a:lnTo>
                    <a:pt x="960604" y="36483"/>
                  </a:lnTo>
                  <a:lnTo>
                    <a:pt x="960604" y="35636"/>
                  </a:lnTo>
                  <a:lnTo>
                    <a:pt x="955189" y="31371"/>
                  </a:lnTo>
                  <a:lnTo>
                    <a:pt x="952163" y="27710"/>
                  </a:lnTo>
                  <a:lnTo>
                    <a:pt x="949441" y="23082"/>
                  </a:lnTo>
                  <a:lnTo>
                    <a:pt x="948806" y="21176"/>
                  </a:lnTo>
                  <a:lnTo>
                    <a:pt x="948897" y="18847"/>
                  </a:lnTo>
                  <a:lnTo>
                    <a:pt x="949502" y="16003"/>
                  </a:lnTo>
                  <a:lnTo>
                    <a:pt x="950379" y="13280"/>
                  </a:lnTo>
                  <a:lnTo>
                    <a:pt x="951316" y="11375"/>
                  </a:lnTo>
                  <a:lnTo>
                    <a:pt x="953404" y="9801"/>
                  </a:lnTo>
                  <a:lnTo>
                    <a:pt x="955915" y="9529"/>
                  </a:lnTo>
                  <a:lnTo>
                    <a:pt x="961330" y="10134"/>
                  </a:lnTo>
                  <a:lnTo>
                    <a:pt x="961330" y="9287"/>
                  </a:lnTo>
                  <a:lnTo>
                    <a:pt x="959273" y="7502"/>
                  </a:lnTo>
                  <a:lnTo>
                    <a:pt x="958305" y="6958"/>
                  </a:lnTo>
                  <a:lnTo>
                    <a:pt x="956792" y="6746"/>
                  </a:lnTo>
                  <a:lnTo>
                    <a:pt x="955703" y="7079"/>
                  </a:lnTo>
                  <a:lnTo>
                    <a:pt x="954070" y="8712"/>
                  </a:lnTo>
                  <a:lnTo>
                    <a:pt x="953011" y="9317"/>
                  </a:lnTo>
                  <a:lnTo>
                    <a:pt x="950046" y="9529"/>
                  </a:lnTo>
                  <a:lnTo>
                    <a:pt x="947747" y="8622"/>
                  </a:lnTo>
                  <a:lnTo>
                    <a:pt x="944026" y="5838"/>
                  </a:lnTo>
                  <a:lnTo>
                    <a:pt x="944026" y="5082"/>
                  </a:lnTo>
                  <a:lnTo>
                    <a:pt x="944450" y="4175"/>
                  </a:lnTo>
                  <a:lnTo>
                    <a:pt x="943754" y="3297"/>
                  </a:lnTo>
                  <a:lnTo>
                    <a:pt x="942665" y="2239"/>
                  </a:lnTo>
                  <a:lnTo>
                    <a:pt x="941939" y="756"/>
                  </a:lnTo>
                  <a:lnTo>
                    <a:pt x="940547" y="756"/>
                  </a:lnTo>
                  <a:lnTo>
                    <a:pt x="940123" y="907"/>
                  </a:lnTo>
                  <a:lnTo>
                    <a:pt x="939882" y="1694"/>
                  </a:lnTo>
                  <a:lnTo>
                    <a:pt x="938611" y="938"/>
                  </a:lnTo>
                  <a:lnTo>
                    <a:pt x="935737" y="454"/>
                  </a:lnTo>
                  <a:lnTo>
                    <a:pt x="934346" y="0"/>
                  </a:lnTo>
                  <a:lnTo>
                    <a:pt x="933711" y="3660"/>
                  </a:lnTo>
                  <a:lnTo>
                    <a:pt x="931381" y="7865"/>
                  </a:lnTo>
                  <a:lnTo>
                    <a:pt x="928386" y="11314"/>
                  </a:lnTo>
                  <a:lnTo>
                    <a:pt x="924756" y="13341"/>
                  </a:lnTo>
                  <a:lnTo>
                    <a:pt x="920945" y="16124"/>
                  </a:lnTo>
                  <a:lnTo>
                    <a:pt x="919281" y="16971"/>
                  </a:lnTo>
                  <a:lnTo>
                    <a:pt x="914017" y="18453"/>
                  </a:lnTo>
                  <a:lnTo>
                    <a:pt x="908753" y="18998"/>
                  </a:lnTo>
                  <a:lnTo>
                    <a:pt x="895442" y="18272"/>
                  </a:lnTo>
                  <a:lnTo>
                    <a:pt x="891933" y="17183"/>
                  </a:lnTo>
                  <a:lnTo>
                    <a:pt x="889090" y="15791"/>
                  </a:lnTo>
                  <a:lnTo>
                    <a:pt x="887486" y="15368"/>
                  </a:lnTo>
                  <a:lnTo>
                    <a:pt x="883735" y="15670"/>
                  </a:lnTo>
                  <a:lnTo>
                    <a:pt x="872239" y="18756"/>
                  </a:lnTo>
                  <a:lnTo>
                    <a:pt x="839266" y="14460"/>
                  </a:lnTo>
                  <a:lnTo>
                    <a:pt x="826167" y="15458"/>
                  </a:lnTo>
                  <a:lnTo>
                    <a:pt x="823323" y="14460"/>
                  </a:lnTo>
                  <a:lnTo>
                    <a:pt x="821508" y="15065"/>
                  </a:lnTo>
                  <a:lnTo>
                    <a:pt x="799999" y="13068"/>
                  </a:lnTo>
                  <a:lnTo>
                    <a:pt x="794947" y="11314"/>
                  </a:lnTo>
                  <a:lnTo>
                    <a:pt x="792678" y="10951"/>
                  </a:lnTo>
                  <a:lnTo>
                    <a:pt x="781999" y="10951"/>
                  </a:lnTo>
                  <a:lnTo>
                    <a:pt x="774618" y="9680"/>
                  </a:lnTo>
                  <a:lnTo>
                    <a:pt x="770958" y="9892"/>
                  </a:lnTo>
                  <a:lnTo>
                    <a:pt x="754955" y="17606"/>
                  </a:lnTo>
                  <a:lnTo>
                    <a:pt x="739103" y="22537"/>
                  </a:lnTo>
                  <a:lnTo>
                    <a:pt x="734444" y="25411"/>
                  </a:lnTo>
                  <a:lnTo>
                    <a:pt x="730844" y="26924"/>
                  </a:lnTo>
                  <a:lnTo>
                    <a:pt x="723765" y="28587"/>
                  </a:lnTo>
                  <a:lnTo>
                    <a:pt x="722677" y="28043"/>
                  </a:lnTo>
                  <a:lnTo>
                    <a:pt x="720952" y="29041"/>
                  </a:lnTo>
                  <a:lnTo>
                    <a:pt x="718048" y="29646"/>
                  </a:lnTo>
                  <a:lnTo>
                    <a:pt x="715205" y="29858"/>
                  </a:lnTo>
                  <a:lnTo>
                    <a:pt x="713722" y="29737"/>
                  </a:lnTo>
                  <a:lnTo>
                    <a:pt x="712210" y="30463"/>
                  </a:lnTo>
                  <a:lnTo>
                    <a:pt x="706038" y="32551"/>
                  </a:lnTo>
                  <a:lnTo>
                    <a:pt x="704435" y="32702"/>
                  </a:lnTo>
                  <a:lnTo>
                    <a:pt x="702075" y="31582"/>
                  </a:lnTo>
                  <a:lnTo>
                    <a:pt x="699353" y="32127"/>
                  </a:lnTo>
                  <a:lnTo>
                    <a:pt x="697023" y="33700"/>
                  </a:lnTo>
                  <a:lnTo>
                    <a:pt x="695843" y="35636"/>
                  </a:lnTo>
                  <a:lnTo>
                    <a:pt x="694331" y="34940"/>
                  </a:lnTo>
                  <a:lnTo>
                    <a:pt x="692879" y="35092"/>
                  </a:lnTo>
                  <a:lnTo>
                    <a:pt x="691517" y="35727"/>
                  </a:lnTo>
                  <a:lnTo>
                    <a:pt x="690338" y="36513"/>
                  </a:lnTo>
                  <a:lnTo>
                    <a:pt x="683410" y="39871"/>
                  </a:lnTo>
                  <a:lnTo>
                    <a:pt x="681928" y="41081"/>
                  </a:lnTo>
                  <a:lnTo>
                    <a:pt x="679689" y="43380"/>
                  </a:lnTo>
                  <a:lnTo>
                    <a:pt x="677935" y="44167"/>
                  </a:lnTo>
                  <a:lnTo>
                    <a:pt x="677571" y="43955"/>
                  </a:lnTo>
                  <a:lnTo>
                    <a:pt x="676664" y="42776"/>
                  </a:lnTo>
                  <a:lnTo>
                    <a:pt x="676210" y="42503"/>
                  </a:lnTo>
                  <a:lnTo>
                    <a:pt x="675666" y="42745"/>
                  </a:lnTo>
                  <a:lnTo>
                    <a:pt x="675363" y="43320"/>
                  </a:lnTo>
                  <a:lnTo>
                    <a:pt x="675152" y="44167"/>
                  </a:lnTo>
                  <a:lnTo>
                    <a:pt x="674093" y="44742"/>
                  </a:lnTo>
                  <a:lnTo>
                    <a:pt x="673276" y="45014"/>
                  </a:lnTo>
                  <a:lnTo>
                    <a:pt x="673094" y="45801"/>
                  </a:lnTo>
                  <a:lnTo>
                    <a:pt x="667559" y="46073"/>
                  </a:lnTo>
                  <a:lnTo>
                    <a:pt x="664170" y="46950"/>
                  </a:lnTo>
                  <a:lnTo>
                    <a:pt x="662657" y="49673"/>
                  </a:lnTo>
                  <a:lnTo>
                    <a:pt x="662174" y="50308"/>
                  </a:lnTo>
                  <a:lnTo>
                    <a:pt x="655609" y="57236"/>
                  </a:lnTo>
                  <a:lnTo>
                    <a:pt x="653945" y="60321"/>
                  </a:lnTo>
                  <a:lnTo>
                    <a:pt x="651162" y="61864"/>
                  </a:lnTo>
                  <a:lnTo>
                    <a:pt x="641633" y="64799"/>
                  </a:lnTo>
                  <a:lnTo>
                    <a:pt x="640665" y="65343"/>
                  </a:lnTo>
                  <a:lnTo>
                    <a:pt x="637004" y="68005"/>
                  </a:lnTo>
                  <a:lnTo>
                    <a:pt x="624752" y="73541"/>
                  </a:lnTo>
                  <a:lnTo>
                    <a:pt x="603365" y="86670"/>
                  </a:lnTo>
                  <a:lnTo>
                    <a:pt x="588239" y="92085"/>
                  </a:lnTo>
                  <a:lnTo>
                    <a:pt x="587211" y="92297"/>
                  </a:lnTo>
                  <a:lnTo>
                    <a:pt x="586666" y="92811"/>
                  </a:lnTo>
                  <a:lnTo>
                    <a:pt x="585033" y="95110"/>
                  </a:lnTo>
                  <a:lnTo>
                    <a:pt x="584487" y="95625"/>
                  </a:lnTo>
                  <a:lnTo>
                    <a:pt x="579860" y="95897"/>
                  </a:lnTo>
                  <a:lnTo>
                    <a:pt x="577681" y="96653"/>
                  </a:lnTo>
                  <a:lnTo>
                    <a:pt x="576592" y="98226"/>
                  </a:lnTo>
                  <a:lnTo>
                    <a:pt x="576925" y="99224"/>
                  </a:lnTo>
                  <a:lnTo>
                    <a:pt x="578831" y="100404"/>
                  </a:lnTo>
                  <a:lnTo>
                    <a:pt x="579284" y="101100"/>
                  </a:lnTo>
                  <a:lnTo>
                    <a:pt x="579073" y="102583"/>
                  </a:lnTo>
                  <a:lnTo>
                    <a:pt x="578135" y="105033"/>
                  </a:lnTo>
                  <a:lnTo>
                    <a:pt x="577953" y="106152"/>
                  </a:lnTo>
                  <a:lnTo>
                    <a:pt x="577863" y="108754"/>
                  </a:lnTo>
                  <a:lnTo>
                    <a:pt x="577470" y="110720"/>
                  </a:lnTo>
                  <a:lnTo>
                    <a:pt x="576653" y="112414"/>
                  </a:lnTo>
                  <a:lnTo>
                    <a:pt x="575231" y="114108"/>
                  </a:lnTo>
                  <a:lnTo>
                    <a:pt x="569695" y="119100"/>
                  </a:lnTo>
                  <a:lnTo>
                    <a:pt x="566337" y="121066"/>
                  </a:lnTo>
                  <a:lnTo>
                    <a:pt x="562162" y="122579"/>
                  </a:lnTo>
                  <a:lnTo>
                    <a:pt x="561588" y="122972"/>
                  </a:lnTo>
                  <a:lnTo>
                    <a:pt x="561376" y="123516"/>
                  </a:lnTo>
                  <a:lnTo>
                    <a:pt x="561164" y="124031"/>
                  </a:lnTo>
                  <a:lnTo>
                    <a:pt x="560407" y="124242"/>
                  </a:lnTo>
                  <a:lnTo>
                    <a:pt x="559893" y="124122"/>
                  </a:lnTo>
                  <a:lnTo>
                    <a:pt x="558925" y="123607"/>
                  </a:lnTo>
                  <a:lnTo>
                    <a:pt x="558320" y="123486"/>
                  </a:lnTo>
                  <a:lnTo>
                    <a:pt x="554206" y="124242"/>
                  </a:lnTo>
                  <a:lnTo>
                    <a:pt x="553087" y="124122"/>
                  </a:lnTo>
                  <a:lnTo>
                    <a:pt x="550939" y="123547"/>
                  </a:lnTo>
                  <a:lnTo>
                    <a:pt x="549698" y="123486"/>
                  </a:lnTo>
                  <a:lnTo>
                    <a:pt x="548731" y="123759"/>
                  </a:lnTo>
                  <a:lnTo>
                    <a:pt x="546250" y="125090"/>
                  </a:lnTo>
                  <a:lnTo>
                    <a:pt x="520355" y="125725"/>
                  </a:lnTo>
                  <a:lnTo>
                    <a:pt x="511794" y="124242"/>
                  </a:lnTo>
                  <a:lnTo>
                    <a:pt x="510221" y="123335"/>
                  </a:lnTo>
                  <a:lnTo>
                    <a:pt x="506863" y="120643"/>
                  </a:lnTo>
                  <a:lnTo>
                    <a:pt x="473737" y="113322"/>
                  </a:lnTo>
                  <a:lnTo>
                    <a:pt x="470379" y="110932"/>
                  </a:lnTo>
                  <a:lnTo>
                    <a:pt x="466235" y="110115"/>
                  </a:lnTo>
                  <a:lnTo>
                    <a:pt x="464934" y="109117"/>
                  </a:lnTo>
                  <a:lnTo>
                    <a:pt x="463785" y="109661"/>
                  </a:lnTo>
                  <a:lnTo>
                    <a:pt x="462574" y="111567"/>
                  </a:lnTo>
                  <a:lnTo>
                    <a:pt x="461485" y="112565"/>
                  </a:lnTo>
                  <a:lnTo>
                    <a:pt x="460699" y="111961"/>
                  </a:lnTo>
                  <a:lnTo>
                    <a:pt x="460033" y="112928"/>
                  </a:lnTo>
                  <a:lnTo>
                    <a:pt x="459307" y="114350"/>
                  </a:lnTo>
                  <a:lnTo>
                    <a:pt x="458369" y="115077"/>
                  </a:lnTo>
                  <a:lnTo>
                    <a:pt x="457008" y="115379"/>
                  </a:lnTo>
                  <a:lnTo>
                    <a:pt x="454649" y="116952"/>
                  </a:lnTo>
                  <a:lnTo>
                    <a:pt x="453166" y="117557"/>
                  </a:lnTo>
                  <a:lnTo>
                    <a:pt x="450323" y="117920"/>
                  </a:lnTo>
                  <a:lnTo>
                    <a:pt x="424942" y="117285"/>
                  </a:lnTo>
                  <a:lnTo>
                    <a:pt x="398200" y="113624"/>
                  </a:lnTo>
                  <a:lnTo>
                    <a:pt x="378143" y="109298"/>
                  </a:lnTo>
                  <a:lnTo>
                    <a:pt x="359236" y="106031"/>
                  </a:lnTo>
                  <a:lnTo>
                    <a:pt x="357663" y="106213"/>
                  </a:lnTo>
                  <a:lnTo>
                    <a:pt x="356664" y="107453"/>
                  </a:lnTo>
                  <a:lnTo>
                    <a:pt x="356029" y="107453"/>
                  </a:lnTo>
                  <a:lnTo>
                    <a:pt x="353004" y="106969"/>
                  </a:lnTo>
                  <a:lnTo>
                    <a:pt x="349011" y="109571"/>
                  </a:lnTo>
                  <a:lnTo>
                    <a:pt x="345260" y="113443"/>
                  </a:lnTo>
                  <a:lnTo>
                    <a:pt x="342900" y="116831"/>
                  </a:lnTo>
                  <a:lnTo>
                    <a:pt x="345048" y="118283"/>
                  </a:lnTo>
                  <a:lnTo>
                    <a:pt x="344806" y="119765"/>
                  </a:lnTo>
                  <a:lnTo>
                    <a:pt x="343596" y="121550"/>
                  </a:lnTo>
                  <a:lnTo>
                    <a:pt x="342204" y="126209"/>
                  </a:lnTo>
                  <a:lnTo>
                    <a:pt x="340571" y="128750"/>
                  </a:lnTo>
                  <a:lnTo>
                    <a:pt x="338544" y="130868"/>
                  </a:lnTo>
                  <a:lnTo>
                    <a:pt x="336698" y="131805"/>
                  </a:lnTo>
                  <a:lnTo>
                    <a:pt x="337424" y="133409"/>
                  </a:lnTo>
                  <a:lnTo>
                    <a:pt x="337787" y="135073"/>
                  </a:lnTo>
                  <a:lnTo>
                    <a:pt x="338302" y="136343"/>
                  </a:lnTo>
                  <a:lnTo>
                    <a:pt x="339451" y="136827"/>
                  </a:lnTo>
                  <a:lnTo>
                    <a:pt x="339240" y="137311"/>
                  </a:lnTo>
                  <a:lnTo>
                    <a:pt x="339240" y="137462"/>
                  </a:lnTo>
                  <a:lnTo>
                    <a:pt x="339149" y="137523"/>
                  </a:lnTo>
                  <a:lnTo>
                    <a:pt x="338755" y="137735"/>
                  </a:lnTo>
                  <a:lnTo>
                    <a:pt x="344291" y="140487"/>
                  </a:lnTo>
                  <a:lnTo>
                    <a:pt x="346318" y="142061"/>
                  </a:lnTo>
                  <a:lnTo>
                    <a:pt x="348406" y="144481"/>
                  </a:lnTo>
                  <a:lnTo>
                    <a:pt x="350463" y="146054"/>
                  </a:lnTo>
                  <a:lnTo>
                    <a:pt x="356150" y="148534"/>
                  </a:lnTo>
                  <a:lnTo>
                    <a:pt x="358086" y="150259"/>
                  </a:lnTo>
                  <a:lnTo>
                    <a:pt x="360173" y="149896"/>
                  </a:lnTo>
                  <a:lnTo>
                    <a:pt x="361444" y="150773"/>
                  </a:lnTo>
                  <a:lnTo>
                    <a:pt x="362473" y="151469"/>
                  </a:lnTo>
                  <a:lnTo>
                    <a:pt x="364499" y="153677"/>
                  </a:lnTo>
                  <a:lnTo>
                    <a:pt x="365619" y="155250"/>
                  </a:lnTo>
                  <a:lnTo>
                    <a:pt x="365225" y="155250"/>
                  </a:lnTo>
                  <a:lnTo>
                    <a:pt x="364953" y="155371"/>
                  </a:lnTo>
                  <a:lnTo>
                    <a:pt x="364862" y="155643"/>
                  </a:lnTo>
                  <a:lnTo>
                    <a:pt x="364923" y="156158"/>
                  </a:lnTo>
                  <a:lnTo>
                    <a:pt x="364499" y="155855"/>
                  </a:lnTo>
                  <a:lnTo>
                    <a:pt x="363531" y="155250"/>
                  </a:lnTo>
                  <a:lnTo>
                    <a:pt x="363531" y="156460"/>
                  </a:lnTo>
                  <a:lnTo>
                    <a:pt x="363138" y="157307"/>
                  </a:lnTo>
                  <a:lnTo>
                    <a:pt x="362473" y="157792"/>
                  </a:lnTo>
                  <a:lnTo>
                    <a:pt x="361505" y="157912"/>
                  </a:lnTo>
                  <a:lnTo>
                    <a:pt x="361505" y="158669"/>
                  </a:lnTo>
                  <a:lnTo>
                    <a:pt x="364227" y="158094"/>
                  </a:lnTo>
                  <a:lnTo>
                    <a:pt x="365407" y="157701"/>
                  </a:lnTo>
                  <a:lnTo>
                    <a:pt x="366254" y="157005"/>
                  </a:lnTo>
                  <a:lnTo>
                    <a:pt x="367192" y="157761"/>
                  </a:lnTo>
                  <a:lnTo>
                    <a:pt x="367645" y="157005"/>
                  </a:lnTo>
                  <a:lnTo>
                    <a:pt x="368644" y="157549"/>
                  </a:lnTo>
                  <a:lnTo>
                    <a:pt x="369461" y="158185"/>
                  </a:lnTo>
                  <a:lnTo>
                    <a:pt x="370066" y="159062"/>
                  </a:lnTo>
                  <a:lnTo>
                    <a:pt x="370459" y="160272"/>
                  </a:lnTo>
                  <a:lnTo>
                    <a:pt x="369975" y="160423"/>
                  </a:lnTo>
                  <a:lnTo>
                    <a:pt x="369672" y="160665"/>
                  </a:lnTo>
                  <a:lnTo>
                    <a:pt x="369430" y="160907"/>
                  </a:lnTo>
                  <a:lnTo>
                    <a:pt x="369037" y="161180"/>
                  </a:lnTo>
                  <a:lnTo>
                    <a:pt x="370096" y="161512"/>
                  </a:lnTo>
                  <a:lnTo>
                    <a:pt x="370580" y="162420"/>
                  </a:lnTo>
                  <a:lnTo>
                    <a:pt x="371004" y="163569"/>
                  </a:lnTo>
                  <a:lnTo>
                    <a:pt x="371850" y="164598"/>
                  </a:lnTo>
                  <a:lnTo>
                    <a:pt x="373968" y="165324"/>
                  </a:lnTo>
                  <a:lnTo>
                    <a:pt x="375632" y="164658"/>
                  </a:lnTo>
                  <a:lnTo>
                    <a:pt x="377205" y="163539"/>
                  </a:lnTo>
                  <a:lnTo>
                    <a:pt x="379081" y="162934"/>
                  </a:lnTo>
                  <a:lnTo>
                    <a:pt x="402979" y="162026"/>
                  </a:lnTo>
                  <a:lnTo>
                    <a:pt x="405006" y="162269"/>
                  </a:lnTo>
                  <a:lnTo>
                    <a:pt x="408515" y="163418"/>
                  </a:lnTo>
                  <a:lnTo>
                    <a:pt x="410119" y="163690"/>
                  </a:lnTo>
                  <a:lnTo>
                    <a:pt x="410754" y="164053"/>
                  </a:lnTo>
                  <a:lnTo>
                    <a:pt x="412750" y="165778"/>
                  </a:lnTo>
                  <a:lnTo>
                    <a:pt x="413900" y="166262"/>
                  </a:lnTo>
                  <a:lnTo>
                    <a:pt x="415019" y="166262"/>
                  </a:lnTo>
                  <a:lnTo>
                    <a:pt x="415897" y="165959"/>
                  </a:lnTo>
                  <a:lnTo>
                    <a:pt x="416623" y="165627"/>
                  </a:lnTo>
                  <a:lnTo>
                    <a:pt x="417318" y="165415"/>
                  </a:lnTo>
                  <a:lnTo>
                    <a:pt x="425456" y="164447"/>
                  </a:lnTo>
                  <a:lnTo>
                    <a:pt x="429389" y="165112"/>
                  </a:lnTo>
                  <a:lnTo>
                    <a:pt x="430417" y="167926"/>
                  </a:lnTo>
                  <a:lnTo>
                    <a:pt x="428874" y="170195"/>
                  </a:lnTo>
                  <a:lnTo>
                    <a:pt x="426817" y="170195"/>
                  </a:lnTo>
                  <a:lnTo>
                    <a:pt x="423157" y="168682"/>
                  </a:lnTo>
                  <a:lnTo>
                    <a:pt x="411692" y="169196"/>
                  </a:lnTo>
                  <a:lnTo>
                    <a:pt x="392240" y="173280"/>
                  </a:lnTo>
                  <a:lnTo>
                    <a:pt x="391121" y="173280"/>
                  </a:lnTo>
                  <a:lnTo>
                    <a:pt x="390455" y="171011"/>
                  </a:lnTo>
                  <a:lnTo>
                    <a:pt x="388973" y="169589"/>
                  </a:lnTo>
                  <a:lnTo>
                    <a:pt x="387309" y="168863"/>
                  </a:lnTo>
                  <a:lnTo>
                    <a:pt x="386311" y="168712"/>
                  </a:lnTo>
                  <a:lnTo>
                    <a:pt x="385252" y="168894"/>
                  </a:lnTo>
                  <a:lnTo>
                    <a:pt x="384102" y="169287"/>
                  </a:lnTo>
                  <a:lnTo>
                    <a:pt x="383195" y="169922"/>
                  </a:lnTo>
                  <a:lnTo>
                    <a:pt x="382801" y="170830"/>
                  </a:lnTo>
                  <a:lnTo>
                    <a:pt x="382348" y="171737"/>
                  </a:lnTo>
                  <a:lnTo>
                    <a:pt x="381228" y="172312"/>
                  </a:lnTo>
                  <a:lnTo>
                    <a:pt x="379958" y="172796"/>
                  </a:lnTo>
                  <a:lnTo>
                    <a:pt x="379050" y="173341"/>
                  </a:lnTo>
                  <a:lnTo>
                    <a:pt x="377840" y="173855"/>
                  </a:lnTo>
                  <a:lnTo>
                    <a:pt x="376872" y="173099"/>
                  </a:lnTo>
                  <a:lnTo>
                    <a:pt x="376055" y="171919"/>
                  </a:lnTo>
                  <a:lnTo>
                    <a:pt x="375329" y="171284"/>
                  </a:lnTo>
                  <a:lnTo>
                    <a:pt x="374603" y="171435"/>
                  </a:lnTo>
                  <a:lnTo>
                    <a:pt x="372516" y="172948"/>
                  </a:lnTo>
                  <a:lnTo>
                    <a:pt x="368432" y="175065"/>
                  </a:lnTo>
                  <a:lnTo>
                    <a:pt x="364257" y="176366"/>
                  </a:lnTo>
                  <a:lnTo>
                    <a:pt x="334551" y="178937"/>
                  </a:lnTo>
                  <a:lnTo>
                    <a:pt x="332917" y="179572"/>
                  </a:lnTo>
                  <a:lnTo>
                    <a:pt x="328652" y="183566"/>
                  </a:lnTo>
                  <a:lnTo>
                    <a:pt x="325626" y="185351"/>
                  </a:lnTo>
                  <a:lnTo>
                    <a:pt x="318487" y="187922"/>
                  </a:lnTo>
                  <a:lnTo>
                    <a:pt x="315038" y="190009"/>
                  </a:lnTo>
                  <a:lnTo>
                    <a:pt x="313193" y="193730"/>
                  </a:lnTo>
                  <a:lnTo>
                    <a:pt x="318638" y="194910"/>
                  </a:lnTo>
                  <a:lnTo>
                    <a:pt x="327502" y="200022"/>
                  </a:lnTo>
                  <a:lnTo>
                    <a:pt x="332826" y="201172"/>
                  </a:lnTo>
                  <a:lnTo>
                    <a:pt x="333915" y="200809"/>
                  </a:lnTo>
                  <a:lnTo>
                    <a:pt x="336154" y="199115"/>
                  </a:lnTo>
                  <a:lnTo>
                    <a:pt x="337031" y="198721"/>
                  </a:lnTo>
                  <a:lnTo>
                    <a:pt x="342537" y="198721"/>
                  </a:lnTo>
                  <a:lnTo>
                    <a:pt x="344775" y="199266"/>
                  </a:lnTo>
                  <a:lnTo>
                    <a:pt x="347165" y="200627"/>
                  </a:lnTo>
                  <a:lnTo>
                    <a:pt x="349374" y="202503"/>
                  </a:lnTo>
                  <a:lnTo>
                    <a:pt x="351189" y="204530"/>
                  </a:lnTo>
                  <a:lnTo>
                    <a:pt x="349646" y="205286"/>
                  </a:lnTo>
                  <a:lnTo>
                    <a:pt x="347891" y="205801"/>
                  </a:lnTo>
                  <a:lnTo>
                    <a:pt x="346258" y="205861"/>
                  </a:lnTo>
                  <a:lnTo>
                    <a:pt x="344987" y="205347"/>
                  </a:lnTo>
                  <a:lnTo>
                    <a:pt x="344231" y="206738"/>
                  </a:lnTo>
                  <a:lnTo>
                    <a:pt x="343354" y="210006"/>
                  </a:lnTo>
                  <a:lnTo>
                    <a:pt x="342537" y="211578"/>
                  </a:lnTo>
                  <a:lnTo>
                    <a:pt x="341115" y="212577"/>
                  </a:lnTo>
                  <a:lnTo>
                    <a:pt x="339330" y="212940"/>
                  </a:lnTo>
                  <a:lnTo>
                    <a:pt x="331556" y="213091"/>
                  </a:lnTo>
                  <a:lnTo>
                    <a:pt x="329771" y="212849"/>
                  </a:lnTo>
                  <a:lnTo>
                    <a:pt x="328016" y="212274"/>
                  </a:lnTo>
                  <a:lnTo>
                    <a:pt x="325656" y="210913"/>
                  </a:lnTo>
                  <a:lnTo>
                    <a:pt x="324265" y="210308"/>
                  </a:lnTo>
                  <a:lnTo>
                    <a:pt x="321391" y="209703"/>
                  </a:lnTo>
                  <a:lnTo>
                    <a:pt x="318366" y="209552"/>
                  </a:lnTo>
                  <a:lnTo>
                    <a:pt x="314917" y="208583"/>
                  </a:lnTo>
                  <a:lnTo>
                    <a:pt x="312981" y="208342"/>
                  </a:lnTo>
                  <a:lnTo>
                    <a:pt x="311469" y="209098"/>
                  </a:lnTo>
                  <a:lnTo>
                    <a:pt x="309926" y="210278"/>
                  </a:lnTo>
                  <a:lnTo>
                    <a:pt x="304239" y="211125"/>
                  </a:lnTo>
                  <a:lnTo>
                    <a:pt x="303452" y="211548"/>
                  </a:lnTo>
                  <a:lnTo>
                    <a:pt x="302363" y="212516"/>
                  </a:lnTo>
                  <a:lnTo>
                    <a:pt x="301486" y="212879"/>
                  </a:lnTo>
                  <a:lnTo>
                    <a:pt x="300820" y="212728"/>
                  </a:lnTo>
                  <a:lnTo>
                    <a:pt x="300427" y="212304"/>
                  </a:lnTo>
                  <a:lnTo>
                    <a:pt x="300064" y="212153"/>
                  </a:lnTo>
                  <a:lnTo>
                    <a:pt x="299459" y="212879"/>
                  </a:lnTo>
                  <a:lnTo>
                    <a:pt x="294921" y="210852"/>
                  </a:lnTo>
                  <a:lnTo>
                    <a:pt x="290172" y="209733"/>
                  </a:lnTo>
                  <a:lnTo>
                    <a:pt x="285543" y="209733"/>
                  </a:lnTo>
                  <a:lnTo>
                    <a:pt x="281459" y="211155"/>
                  </a:lnTo>
                  <a:lnTo>
                    <a:pt x="281762" y="210066"/>
                  </a:lnTo>
                  <a:lnTo>
                    <a:pt x="282336" y="209340"/>
                  </a:lnTo>
                  <a:lnTo>
                    <a:pt x="283214" y="208886"/>
                  </a:lnTo>
                  <a:lnTo>
                    <a:pt x="284303" y="208644"/>
                  </a:lnTo>
                  <a:lnTo>
                    <a:pt x="275621" y="208946"/>
                  </a:lnTo>
                  <a:lnTo>
                    <a:pt x="270327" y="208160"/>
                  </a:lnTo>
                  <a:lnTo>
                    <a:pt x="246579" y="209128"/>
                  </a:lnTo>
                  <a:lnTo>
                    <a:pt x="238079" y="212032"/>
                  </a:lnTo>
                  <a:lnTo>
                    <a:pt x="229729" y="212758"/>
                  </a:lnTo>
                  <a:lnTo>
                    <a:pt x="226069" y="211760"/>
                  </a:lnTo>
                  <a:lnTo>
                    <a:pt x="225615" y="208644"/>
                  </a:lnTo>
                  <a:lnTo>
                    <a:pt x="228217" y="206587"/>
                  </a:lnTo>
                  <a:lnTo>
                    <a:pt x="236959" y="202443"/>
                  </a:lnTo>
                  <a:lnTo>
                    <a:pt x="238744" y="199599"/>
                  </a:lnTo>
                  <a:lnTo>
                    <a:pt x="236687" y="197572"/>
                  </a:lnTo>
                  <a:lnTo>
                    <a:pt x="232240" y="196150"/>
                  </a:lnTo>
                  <a:lnTo>
                    <a:pt x="215632" y="193760"/>
                  </a:lnTo>
                  <a:lnTo>
                    <a:pt x="214664" y="193972"/>
                  </a:lnTo>
                  <a:lnTo>
                    <a:pt x="214362" y="194456"/>
                  </a:lnTo>
                  <a:lnTo>
                    <a:pt x="214089" y="194789"/>
                  </a:lnTo>
                  <a:lnTo>
                    <a:pt x="213212" y="194668"/>
                  </a:lnTo>
                  <a:lnTo>
                    <a:pt x="213061" y="194305"/>
                  </a:lnTo>
                  <a:lnTo>
                    <a:pt x="211155" y="192006"/>
                  </a:lnTo>
                  <a:lnTo>
                    <a:pt x="210157" y="193518"/>
                  </a:lnTo>
                  <a:lnTo>
                    <a:pt x="209309" y="193307"/>
                  </a:lnTo>
                  <a:lnTo>
                    <a:pt x="208432" y="192792"/>
                  </a:lnTo>
                  <a:lnTo>
                    <a:pt x="207373" y="193307"/>
                  </a:lnTo>
                  <a:lnTo>
                    <a:pt x="205710" y="195061"/>
                  </a:lnTo>
                  <a:lnTo>
                    <a:pt x="204711" y="195727"/>
                  </a:lnTo>
                  <a:lnTo>
                    <a:pt x="203501" y="196211"/>
                  </a:lnTo>
                  <a:lnTo>
                    <a:pt x="203501" y="196967"/>
                  </a:lnTo>
                  <a:lnTo>
                    <a:pt x="204409" y="198177"/>
                  </a:lnTo>
                  <a:lnTo>
                    <a:pt x="207676" y="201172"/>
                  </a:lnTo>
                  <a:lnTo>
                    <a:pt x="208462" y="201474"/>
                  </a:lnTo>
                  <a:lnTo>
                    <a:pt x="209370" y="201474"/>
                  </a:lnTo>
                  <a:lnTo>
                    <a:pt x="210126" y="201656"/>
                  </a:lnTo>
                  <a:lnTo>
                    <a:pt x="210429" y="202473"/>
                  </a:lnTo>
                  <a:lnTo>
                    <a:pt x="210520" y="203985"/>
                  </a:lnTo>
                  <a:lnTo>
                    <a:pt x="210761" y="204681"/>
                  </a:lnTo>
                  <a:lnTo>
                    <a:pt x="211215" y="205195"/>
                  </a:lnTo>
                  <a:lnTo>
                    <a:pt x="211881" y="206164"/>
                  </a:lnTo>
                  <a:lnTo>
                    <a:pt x="212486" y="206647"/>
                  </a:lnTo>
                  <a:lnTo>
                    <a:pt x="213151" y="206738"/>
                  </a:lnTo>
                  <a:lnTo>
                    <a:pt x="213726" y="207071"/>
                  </a:lnTo>
                  <a:lnTo>
                    <a:pt x="213908" y="208281"/>
                  </a:lnTo>
                  <a:lnTo>
                    <a:pt x="214301" y="209491"/>
                  </a:lnTo>
                  <a:lnTo>
                    <a:pt x="215178" y="209491"/>
                  </a:lnTo>
                  <a:lnTo>
                    <a:pt x="216691" y="208644"/>
                  </a:lnTo>
                  <a:lnTo>
                    <a:pt x="221713" y="210247"/>
                  </a:lnTo>
                  <a:lnTo>
                    <a:pt x="223558" y="210308"/>
                  </a:lnTo>
                  <a:lnTo>
                    <a:pt x="221924" y="212395"/>
                  </a:lnTo>
                  <a:lnTo>
                    <a:pt x="216479" y="215027"/>
                  </a:lnTo>
                  <a:lnTo>
                    <a:pt x="214119" y="218234"/>
                  </a:lnTo>
                  <a:lnTo>
                    <a:pt x="211397" y="218839"/>
                  </a:lnTo>
                  <a:lnTo>
                    <a:pt x="208372" y="218627"/>
                  </a:lnTo>
                  <a:lnTo>
                    <a:pt x="206345" y="217780"/>
                  </a:lnTo>
                  <a:lnTo>
                    <a:pt x="203894" y="219051"/>
                  </a:lnTo>
                  <a:lnTo>
                    <a:pt x="201565" y="218597"/>
                  </a:lnTo>
                  <a:lnTo>
                    <a:pt x="199145" y="217538"/>
                  </a:lnTo>
                  <a:lnTo>
                    <a:pt x="196332" y="216933"/>
                  </a:lnTo>
                  <a:lnTo>
                    <a:pt x="194728" y="217266"/>
                  </a:lnTo>
                  <a:lnTo>
                    <a:pt x="191219" y="219444"/>
                  </a:lnTo>
                  <a:lnTo>
                    <a:pt x="190130" y="219625"/>
                  </a:lnTo>
                  <a:lnTo>
                    <a:pt x="187317" y="219625"/>
                  </a:lnTo>
                  <a:lnTo>
                    <a:pt x="180177" y="218022"/>
                  </a:lnTo>
                  <a:lnTo>
                    <a:pt x="174218" y="215572"/>
                  </a:lnTo>
                  <a:lnTo>
                    <a:pt x="168652" y="212184"/>
                  </a:lnTo>
                  <a:lnTo>
                    <a:pt x="164326" y="207827"/>
                  </a:lnTo>
                  <a:lnTo>
                    <a:pt x="165052" y="207494"/>
                  </a:lnTo>
                  <a:lnTo>
                    <a:pt x="165203" y="207253"/>
                  </a:lnTo>
                  <a:lnTo>
                    <a:pt x="165203" y="207313"/>
                  </a:lnTo>
                  <a:lnTo>
                    <a:pt x="165687" y="207827"/>
                  </a:lnTo>
                  <a:lnTo>
                    <a:pt x="166383" y="207827"/>
                  </a:lnTo>
                  <a:lnTo>
                    <a:pt x="167744" y="206920"/>
                  </a:lnTo>
                  <a:lnTo>
                    <a:pt x="166262" y="203229"/>
                  </a:lnTo>
                  <a:lnTo>
                    <a:pt x="165233" y="201505"/>
                  </a:lnTo>
                  <a:lnTo>
                    <a:pt x="163569" y="200295"/>
                  </a:lnTo>
                  <a:lnTo>
                    <a:pt x="161996" y="200295"/>
                  </a:lnTo>
                  <a:lnTo>
                    <a:pt x="158578" y="202291"/>
                  </a:lnTo>
                  <a:lnTo>
                    <a:pt x="156339" y="202806"/>
                  </a:lnTo>
                  <a:lnTo>
                    <a:pt x="152467" y="202685"/>
                  </a:lnTo>
                  <a:lnTo>
                    <a:pt x="149049" y="202079"/>
                  </a:lnTo>
                  <a:lnTo>
                    <a:pt x="144329" y="202261"/>
                  </a:lnTo>
                  <a:lnTo>
                    <a:pt x="141244" y="204530"/>
                  </a:lnTo>
                  <a:lnTo>
                    <a:pt x="138763" y="207434"/>
                  </a:lnTo>
                  <a:lnTo>
                    <a:pt x="135950" y="209491"/>
                  </a:lnTo>
                  <a:lnTo>
                    <a:pt x="133741" y="209975"/>
                  </a:lnTo>
                  <a:lnTo>
                    <a:pt x="127994" y="209491"/>
                  </a:lnTo>
                  <a:lnTo>
                    <a:pt x="125362" y="208130"/>
                  </a:lnTo>
                  <a:lnTo>
                    <a:pt x="124242" y="207827"/>
                  </a:lnTo>
                  <a:lnTo>
                    <a:pt x="120824" y="208583"/>
                  </a:lnTo>
                  <a:lnTo>
                    <a:pt x="112112" y="207888"/>
                  </a:lnTo>
                  <a:lnTo>
                    <a:pt x="107967" y="208130"/>
                  </a:lnTo>
                  <a:lnTo>
                    <a:pt x="105880" y="209703"/>
                  </a:lnTo>
                  <a:lnTo>
                    <a:pt x="95110" y="221834"/>
                  </a:lnTo>
                  <a:lnTo>
                    <a:pt x="93840" y="222802"/>
                  </a:lnTo>
                  <a:lnTo>
                    <a:pt x="92448" y="223467"/>
                  </a:lnTo>
                  <a:lnTo>
                    <a:pt x="91571" y="223770"/>
                  </a:lnTo>
                  <a:lnTo>
                    <a:pt x="90694" y="224284"/>
                  </a:lnTo>
                  <a:lnTo>
                    <a:pt x="86247" y="229729"/>
                  </a:lnTo>
                  <a:lnTo>
                    <a:pt x="84371" y="231212"/>
                  </a:lnTo>
                  <a:lnTo>
                    <a:pt x="81013" y="232028"/>
                  </a:lnTo>
                  <a:lnTo>
                    <a:pt x="78381" y="233178"/>
                  </a:lnTo>
                  <a:lnTo>
                    <a:pt x="76990" y="233450"/>
                  </a:lnTo>
                  <a:lnTo>
                    <a:pt x="75719" y="233390"/>
                  </a:lnTo>
                  <a:lnTo>
                    <a:pt x="75023" y="233541"/>
                  </a:lnTo>
                  <a:lnTo>
                    <a:pt x="74509" y="234297"/>
                  </a:lnTo>
                  <a:lnTo>
                    <a:pt x="73843" y="236082"/>
                  </a:lnTo>
                  <a:lnTo>
                    <a:pt x="74509" y="237867"/>
                  </a:lnTo>
                  <a:lnTo>
                    <a:pt x="74569" y="240136"/>
                  </a:lnTo>
                  <a:lnTo>
                    <a:pt x="74176" y="242314"/>
                  </a:lnTo>
                  <a:lnTo>
                    <a:pt x="73541" y="243826"/>
                  </a:lnTo>
                  <a:lnTo>
                    <a:pt x="73117" y="244189"/>
                  </a:lnTo>
                  <a:lnTo>
                    <a:pt x="72603" y="244311"/>
                  </a:lnTo>
                  <a:lnTo>
                    <a:pt x="71514" y="244311"/>
                  </a:lnTo>
                  <a:lnTo>
                    <a:pt x="71181" y="244462"/>
                  </a:lnTo>
                  <a:lnTo>
                    <a:pt x="71181" y="244915"/>
                  </a:lnTo>
                  <a:lnTo>
                    <a:pt x="71272" y="245460"/>
                  </a:lnTo>
                  <a:lnTo>
                    <a:pt x="71212" y="245944"/>
                  </a:lnTo>
                  <a:lnTo>
                    <a:pt x="70849" y="246700"/>
                  </a:lnTo>
                  <a:lnTo>
                    <a:pt x="70728" y="248243"/>
                  </a:lnTo>
                  <a:lnTo>
                    <a:pt x="70425" y="249242"/>
                  </a:lnTo>
                  <a:lnTo>
                    <a:pt x="69518" y="250603"/>
                  </a:lnTo>
                  <a:lnTo>
                    <a:pt x="65282" y="254536"/>
                  </a:lnTo>
                  <a:lnTo>
                    <a:pt x="64193" y="255140"/>
                  </a:lnTo>
                  <a:lnTo>
                    <a:pt x="60836" y="256502"/>
                  </a:lnTo>
                  <a:lnTo>
                    <a:pt x="59232" y="257500"/>
                  </a:lnTo>
                  <a:lnTo>
                    <a:pt x="53847" y="255806"/>
                  </a:lnTo>
                  <a:lnTo>
                    <a:pt x="52940" y="256683"/>
                  </a:lnTo>
                  <a:lnTo>
                    <a:pt x="50822" y="260071"/>
                  </a:lnTo>
                  <a:lnTo>
                    <a:pt x="50399" y="261161"/>
                  </a:lnTo>
                  <a:lnTo>
                    <a:pt x="50217" y="262159"/>
                  </a:lnTo>
                  <a:lnTo>
                    <a:pt x="49310" y="263792"/>
                  </a:lnTo>
                  <a:lnTo>
                    <a:pt x="49037" y="264851"/>
                  </a:lnTo>
                  <a:lnTo>
                    <a:pt x="49128" y="265940"/>
                  </a:lnTo>
                  <a:lnTo>
                    <a:pt x="49673" y="268300"/>
                  </a:lnTo>
                  <a:lnTo>
                    <a:pt x="49733" y="269026"/>
                  </a:lnTo>
                  <a:lnTo>
                    <a:pt x="48221" y="275046"/>
                  </a:lnTo>
                  <a:lnTo>
                    <a:pt x="47676" y="276438"/>
                  </a:lnTo>
                  <a:lnTo>
                    <a:pt x="49219" y="276740"/>
                  </a:lnTo>
                  <a:lnTo>
                    <a:pt x="49552" y="277829"/>
                  </a:lnTo>
                  <a:lnTo>
                    <a:pt x="49037" y="280975"/>
                  </a:lnTo>
                  <a:lnTo>
                    <a:pt x="49037" y="283819"/>
                  </a:lnTo>
                  <a:lnTo>
                    <a:pt x="48735" y="284545"/>
                  </a:lnTo>
                  <a:lnTo>
                    <a:pt x="48251" y="284817"/>
                  </a:lnTo>
                  <a:lnTo>
                    <a:pt x="47827" y="285211"/>
                  </a:lnTo>
                  <a:lnTo>
                    <a:pt x="47676" y="286269"/>
                  </a:lnTo>
                  <a:lnTo>
                    <a:pt x="48099" y="287812"/>
                  </a:lnTo>
                  <a:lnTo>
                    <a:pt x="49975" y="291140"/>
                  </a:lnTo>
                  <a:lnTo>
                    <a:pt x="50399" y="292410"/>
                  </a:lnTo>
                  <a:lnTo>
                    <a:pt x="49733" y="299005"/>
                  </a:lnTo>
                  <a:lnTo>
                    <a:pt x="48856" y="301788"/>
                  </a:lnTo>
                  <a:lnTo>
                    <a:pt x="45074" y="305146"/>
                  </a:lnTo>
                  <a:lnTo>
                    <a:pt x="43502" y="311045"/>
                  </a:lnTo>
                  <a:lnTo>
                    <a:pt x="40990" y="317307"/>
                  </a:lnTo>
                  <a:lnTo>
                    <a:pt x="41414" y="319909"/>
                  </a:lnTo>
                  <a:lnTo>
                    <a:pt x="45317" y="321724"/>
                  </a:lnTo>
                  <a:lnTo>
                    <a:pt x="49340" y="321724"/>
                  </a:lnTo>
                  <a:lnTo>
                    <a:pt x="57266" y="319909"/>
                  </a:lnTo>
                  <a:lnTo>
                    <a:pt x="58355" y="320726"/>
                  </a:lnTo>
                  <a:lnTo>
                    <a:pt x="59050" y="320968"/>
                  </a:lnTo>
                  <a:lnTo>
                    <a:pt x="59353" y="320363"/>
                  </a:lnTo>
                  <a:lnTo>
                    <a:pt x="59504" y="320121"/>
                  </a:lnTo>
                  <a:lnTo>
                    <a:pt x="60412" y="319092"/>
                  </a:lnTo>
                  <a:lnTo>
                    <a:pt x="61501" y="318971"/>
                  </a:lnTo>
                  <a:lnTo>
                    <a:pt x="62832" y="318336"/>
                  </a:lnTo>
                  <a:lnTo>
                    <a:pt x="63921" y="318215"/>
                  </a:lnTo>
                  <a:lnTo>
                    <a:pt x="69215" y="319092"/>
                  </a:lnTo>
                  <a:lnTo>
                    <a:pt x="70425" y="319092"/>
                  </a:lnTo>
                  <a:lnTo>
                    <a:pt x="71212" y="318578"/>
                  </a:lnTo>
                  <a:lnTo>
                    <a:pt x="75629" y="316249"/>
                  </a:lnTo>
                  <a:lnTo>
                    <a:pt x="76657" y="316249"/>
                  </a:lnTo>
                  <a:lnTo>
                    <a:pt x="77685" y="315190"/>
                  </a:lnTo>
                  <a:lnTo>
                    <a:pt x="79954" y="314312"/>
                  </a:lnTo>
                  <a:lnTo>
                    <a:pt x="101130" y="310773"/>
                  </a:lnTo>
                  <a:lnTo>
                    <a:pt x="115288" y="308383"/>
                  </a:lnTo>
                  <a:lnTo>
                    <a:pt x="117829" y="310047"/>
                  </a:lnTo>
                  <a:lnTo>
                    <a:pt x="119765" y="309260"/>
                  </a:lnTo>
                  <a:lnTo>
                    <a:pt x="121611" y="307657"/>
                  </a:lnTo>
                  <a:lnTo>
                    <a:pt x="123910" y="306750"/>
                  </a:lnTo>
                  <a:lnTo>
                    <a:pt x="126814" y="307022"/>
                  </a:lnTo>
                  <a:lnTo>
                    <a:pt x="128357" y="307899"/>
                  </a:lnTo>
                  <a:lnTo>
                    <a:pt x="128992" y="309563"/>
                  </a:lnTo>
                  <a:lnTo>
                    <a:pt x="129113" y="312104"/>
                  </a:lnTo>
                  <a:lnTo>
                    <a:pt x="127752" y="316642"/>
                  </a:lnTo>
                  <a:lnTo>
                    <a:pt x="127570" y="317882"/>
                  </a:lnTo>
                  <a:lnTo>
                    <a:pt x="127570" y="318336"/>
                  </a:lnTo>
                  <a:lnTo>
                    <a:pt x="127177" y="318547"/>
                  </a:lnTo>
                  <a:lnTo>
                    <a:pt x="121338" y="320272"/>
                  </a:lnTo>
                  <a:lnTo>
                    <a:pt x="119735" y="321452"/>
                  </a:lnTo>
                  <a:lnTo>
                    <a:pt x="120854" y="323206"/>
                  </a:lnTo>
                  <a:lnTo>
                    <a:pt x="119614" y="324084"/>
                  </a:lnTo>
                  <a:lnTo>
                    <a:pt x="118253" y="324568"/>
                  </a:lnTo>
                  <a:lnTo>
                    <a:pt x="114592" y="324810"/>
                  </a:lnTo>
                  <a:lnTo>
                    <a:pt x="114743" y="325808"/>
                  </a:lnTo>
                  <a:lnTo>
                    <a:pt x="114743" y="326504"/>
                  </a:lnTo>
                  <a:lnTo>
                    <a:pt x="114592" y="327320"/>
                  </a:lnTo>
                  <a:lnTo>
                    <a:pt x="114592" y="328046"/>
                  </a:lnTo>
                  <a:lnTo>
                    <a:pt x="115016" y="328168"/>
                  </a:lnTo>
                  <a:lnTo>
                    <a:pt x="115954" y="328863"/>
                  </a:lnTo>
                  <a:lnTo>
                    <a:pt x="105275" y="336305"/>
                  </a:lnTo>
                  <a:lnTo>
                    <a:pt x="103490" y="338756"/>
                  </a:lnTo>
                  <a:lnTo>
                    <a:pt x="102492" y="339421"/>
                  </a:lnTo>
                  <a:lnTo>
                    <a:pt x="101402" y="339966"/>
                  </a:lnTo>
                  <a:lnTo>
                    <a:pt x="100858" y="340903"/>
                  </a:lnTo>
                  <a:lnTo>
                    <a:pt x="101463" y="342749"/>
                  </a:lnTo>
                  <a:lnTo>
                    <a:pt x="100767" y="341992"/>
                  </a:lnTo>
                  <a:lnTo>
                    <a:pt x="99981" y="341357"/>
                  </a:lnTo>
                  <a:lnTo>
                    <a:pt x="99043" y="340994"/>
                  </a:lnTo>
                  <a:lnTo>
                    <a:pt x="97954" y="341055"/>
                  </a:lnTo>
                  <a:lnTo>
                    <a:pt x="97954" y="340298"/>
                  </a:lnTo>
                  <a:lnTo>
                    <a:pt x="99769" y="339905"/>
                  </a:lnTo>
                  <a:lnTo>
                    <a:pt x="99890" y="339088"/>
                  </a:lnTo>
                  <a:lnTo>
                    <a:pt x="98952" y="338574"/>
                  </a:lnTo>
                  <a:lnTo>
                    <a:pt x="97651" y="339058"/>
                  </a:lnTo>
                  <a:lnTo>
                    <a:pt x="96925" y="340268"/>
                  </a:lnTo>
                  <a:lnTo>
                    <a:pt x="96320" y="342658"/>
                  </a:lnTo>
                  <a:lnTo>
                    <a:pt x="95322" y="343596"/>
                  </a:lnTo>
                  <a:lnTo>
                    <a:pt x="97319" y="344413"/>
                  </a:lnTo>
                  <a:lnTo>
                    <a:pt x="99769" y="344594"/>
                  </a:lnTo>
                  <a:lnTo>
                    <a:pt x="104609" y="344352"/>
                  </a:lnTo>
                  <a:lnTo>
                    <a:pt x="106333" y="345078"/>
                  </a:lnTo>
                  <a:lnTo>
                    <a:pt x="107120" y="346923"/>
                  </a:lnTo>
                  <a:lnTo>
                    <a:pt x="107574" y="349283"/>
                  </a:lnTo>
                  <a:lnTo>
                    <a:pt x="108391" y="351673"/>
                  </a:lnTo>
                  <a:lnTo>
                    <a:pt x="108270" y="352913"/>
                  </a:lnTo>
                  <a:lnTo>
                    <a:pt x="109661" y="354396"/>
                  </a:lnTo>
                  <a:lnTo>
                    <a:pt x="111627" y="355787"/>
                  </a:lnTo>
                  <a:lnTo>
                    <a:pt x="112384" y="356150"/>
                  </a:lnTo>
                  <a:lnTo>
                    <a:pt x="115500" y="357632"/>
                  </a:lnTo>
                  <a:lnTo>
                    <a:pt x="116892" y="358631"/>
                  </a:lnTo>
                  <a:lnTo>
                    <a:pt x="119735" y="361928"/>
                  </a:lnTo>
                  <a:lnTo>
                    <a:pt x="122095" y="365528"/>
                  </a:lnTo>
                  <a:lnTo>
                    <a:pt x="122881" y="367797"/>
                  </a:lnTo>
                  <a:lnTo>
                    <a:pt x="121883" y="368826"/>
                  </a:lnTo>
                  <a:lnTo>
                    <a:pt x="119977" y="369370"/>
                  </a:lnTo>
                  <a:lnTo>
                    <a:pt x="117466" y="370671"/>
                  </a:lnTo>
                  <a:lnTo>
                    <a:pt x="115197" y="372274"/>
                  </a:lnTo>
                  <a:lnTo>
                    <a:pt x="113896" y="373696"/>
                  </a:lnTo>
                  <a:lnTo>
                    <a:pt x="115500" y="373756"/>
                  </a:lnTo>
                  <a:lnTo>
                    <a:pt x="116014" y="373696"/>
                  </a:lnTo>
                  <a:lnTo>
                    <a:pt x="116014" y="374513"/>
                  </a:lnTo>
                  <a:lnTo>
                    <a:pt x="114441" y="376509"/>
                  </a:lnTo>
                  <a:lnTo>
                    <a:pt x="114229" y="379504"/>
                  </a:lnTo>
                  <a:lnTo>
                    <a:pt x="115167" y="382227"/>
                  </a:lnTo>
                  <a:lnTo>
                    <a:pt x="117043" y="383407"/>
                  </a:lnTo>
                  <a:lnTo>
                    <a:pt x="118555" y="383921"/>
                  </a:lnTo>
                  <a:lnTo>
                    <a:pt x="120128" y="386069"/>
                  </a:lnTo>
                  <a:lnTo>
                    <a:pt x="121187" y="386583"/>
                  </a:lnTo>
                  <a:lnTo>
                    <a:pt x="122488" y="386250"/>
                  </a:lnTo>
                  <a:lnTo>
                    <a:pt x="125937" y="384375"/>
                  </a:lnTo>
                  <a:lnTo>
                    <a:pt x="127056" y="383407"/>
                  </a:lnTo>
                  <a:lnTo>
                    <a:pt x="128024" y="384496"/>
                  </a:lnTo>
                  <a:lnTo>
                    <a:pt x="128750" y="384375"/>
                  </a:lnTo>
                  <a:lnTo>
                    <a:pt x="129597" y="383770"/>
                  </a:lnTo>
                  <a:lnTo>
                    <a:pt x="130837" y="383407"/>
                  </a:lnTo>
                  <a:lnTo>
                    <a:pt x="131351" y="383770"/>
                  </a:lnTo>
                  <a:lnTo>
                    <a:pt x="132350" y="385464"/>
                  </a:lnTo>
                  <a:lnTo>
                    <a:pt x="132864" y="385827"/>
                  </a:lnTo>
                  <a:lnTo>
                    <a:pt x="134740" y="385827"/>
                  </a:lnTo>
                  <a:lnTo>
                    <a:pt x="135919" y="385524"/>
                  </a:lnTo>
                  <a:lnTo>
                    <a:pt x="137069" y="384798"/>
                  </a:lnTo>
                  <a:lnTo>
                    <a:pt x="138794" y="383376"/>
                  </a:lnTo>
                  <a:lnTo>
                    <a:pt x="140457" y="384587"/>
                  </a:lnTo>
                  <a:lnTo>
                    <a:pt x="140457" y="385917"/>
                  </a:lnTo>
                  <a:lnTo>
                    <a:pt x="138794" y="389094"/>
                  </a:lnTo>
                  <a:lnTo>
                    <a:pt x="140941" y="389669"/>
                  </a:lnTo>
                  <a:lnTo>
                    <a:pt x="140185" y="391544"/>
                  </a:lnTo>
                  <a:lnTo>
                    <a:pt x="138037" y="392785"/>
                  </a:lnTo>
                  <a:lnTo>
                    <a:pt x="135980" y="391514"/>
                  </a:lnTo>
                  <a:lnTo>
                    <a:pt x="135042" y="392482"/>
                  </a:lnTo>
                  <a:lnTo>
                    <a:pt x="133741" y="393420"/>
                  </a:lnTo>
                  <a:lnTo>
                    <a:pt x="132199" y="394176"/>
                  </a:lnTo>
                  <a:lnTo>
                    <a:pt x="130535" y="394660"/>
                  </a:lnTo>
                  <a:lnTo>
                    <a:pt x="131805" y="397655"/>
                  </a:lnTo>
                  <a:lnTo>
                    <a:pt x="130716" y="399198"/>
                  </a:lnTo>
                  <a:lnTo>
                    <a:pt x="129022" y="398895"/>
                  </a:lnTo>
                  <a:lnTo>
                    <a:pt x="128387" y="396354"/>
                  </a:lnTo>
                  <a:lnTo>
                    <a:pt x="124303" y="397957"/>
                  </a:lnTo>
                  <a:lnTo>
                    <a:pt x="125029" y="398744"/>
                  </a:lnTo>
                  <a:lnTo>
                    <a:pt x="127056" y="402072"/>
                  </a:lnTo>
                  <a:lnTo>
                    <a:pt x="127752" y="401164"/>
                  </a:lnTo>
                  <a:lnTo>
                    <a:pt x="127994" y="402405"/>
                  </a:lnTo>
                  <a:lnTo>
                    <a:pt x="128115" y="403403"/>
                  </a:lnTo>
                  <a:lnTo>
                    <a:pt x="128054" y="404280"/>
                  </a:lnTo>
                  <a:lnTo>
                    <a:pt x="127752" y="405188"/>
                  </a:lnTo>
                  <a:lnTo>
                    <a:pt x="126905" y="404341"/>
                  </a:lnTo>
                  <a:lnTo>
                    <a:pt x="126118" y="404613"/>
                  </a:lnTo>
                  <a:lnTo>
                    <a:pt x="125301" y="405369"/>
                  </a:lnTo>
                  <a:lnTo>
                    <a:pt x="124303" y="406004"/>
                  </a:lnTo>
                  <a:lnTo>
                    <a:pt x="124938" y="407638"/>
                  </a:lnTo>
                  <a:lnTo>
                    <a:pt x="123426" y="407699"/>
                  </a:lnTo>
                  <a:lnTo>
                    <a:pt x="122004" y="407275"/>
                  </a:lnTo>
                  <a:lnTo>
                    <a:pt x="119705" y="406307"/>
                  </a:lnTo>
                  <a:lnTo>
                    <a:pt x="118737" y="406307"/>
                  </a:lnTo>
                  <a:lnTo>
                    <a:pt x="117587" y="406126"/>
                  </a:lnTo>
                  <a:lnTo>
                    <a:pt x="117436" y="406004"/>
                  </a:lnTo>
                  <a:lnTo>
                    <a:pt x="117284" y="405763"/>
                  </a:lnTo>
                  <a:lnTo>
                    <a:pt x="116921" y="405339"/>
                  </a:lnTo>
                  <a:lnTo>
                    <a:pt x="116377" y="405157"/>
                  </a:lnTo>
                  <a:lnTo>
                    <a:pt x="113413" y="407033"/>
                  </a:lnTo>
                  <a:lnTo>
                    <a:pt x="108239" y="408062"/>
                  </a:lnTo>
                  <a:lnTo>
                    <a:pt x="106364" y="409211"/>
                  </a:lnTo>
                  <a:lnTo>
                    <a:pt x="107060" y="411389"/>
                  </a:lnTo>
                  <a:lnTo>
                    <a:pt x="107786" y="412932"/>
                  </a:lnTo>
                  <a:lnTo>
                    <a:pt x="109782" y="415685"/>
                  </a:lnTo>
                  <a:lnTo>
                    <a:pt x="108693" y="415685"/>
                  </a:lnTo>
                  <a:lnTo>
                    <a:pt x="107816" y="415988"/>
                  </a:lnTo>
                  <a:lnTo>
                    <a:pt x="107060" y="416532"/>
                  </a:lnTo>
                  <a:lnTo>
                    <a:pt x="106333" y="417288"/>
                  </a:lnTo>
                  <a:lnTo>
                    <a:pt x="108149" y="418498"/>
                  </a:lnTo>
                  <a:lnTo>
                    <a:pt x="109086" y="418952"/>
                  </a:lnTo>
                  <a:lnTo>
                    <a:pt x="110418" y="418952"/>
                  </a:lnTo>
                  <a:lnTo>
                    <a:pt x="110206" y="419527"/>
                  </a:lnTo>
                  <a:lnTo>
                    <a:pt x="109964" y="420858"/>
                  </a:lnTo>
                  <a:lnTo>
                    <a:pt x="109782" y="421402"/>
                  </a:lnTo>
                  <a:lnTo>
                    <a:pt x="111174" y="421282"/>
                  </a:lnTo>
                  <a:lnTo>
                    <a:pt x="112414" y="421433"/>
                  </a:lnTo>
                  <a:lnTo>
                    <a:pt x="114623" y="422159"/>
                  </a:lnTo>
                  <a:lnTo>
                    <a:pt x="114320" y="422612"/>
                  </a:lnTo>
                  <a:lnTo>
                    <a:pt x="113866" y="423823"/>
                  </a:lnTo>
                  <a:lnTo>
                    <a:pt x="115893" y="423823"/>
                  </a:lnTo>
                  <a:lnTo>
                    <a:pt x="117012" y="422945"/>
                  </a:lnTo>
                  <a:lnTo>
                    <a:pt x="117950" y="422552"/>
                  </a:lnTo>
                  <a:lnTo>
                    <a:pt x="119433" y="423823"/>
                  </a:lnTo>
                  <a:lnTo>
                    <a:pt x="119009" y="425244"/>
                  </a:lnTo>
                  <a:lnTo>
                    <a:pt x="118495" y="428149"/>
                  </a:lnTo>
                  <a:lnTo>
                    <a:pt x="118071" y="429540"/>
                  </a:lnTo>
                  <a:lnTo>
                    <a:pt x="119705" y="430266"/>
                  </a:lnTo>
                  <a:lnTo>
                    <a:pt x="121096" y="431113"/>
                  </a:lnTo>
                  <a:lnTo>
                    <a:pt x="122367" y="432202"/>
                  </a:lnTo>
                  <a:lnTo>
                    <a:pt x="123577" y="433563"/>
                  </a:lnTo>
                  <a:lnTo>
                    <a:pt x="123577" y="434380"/>
                  </a:lnTo>
                  <a:lnTo>
                    <a:pt x="122004" y="434441"/>
                  </a:lnTo>
                  <a:lnTo>
                    <a:pt x="119251" y="432898"/>
                  </a:lnTo>
                  <a:lnTo>
                    <a:pt x="117466" y="431658"/>
                  </a:lnTo>
                  <a:lnTo>
                    <a:pt x="116014" y="430296"/>
                  </a:lnTo>
                  <a:lnTo>
                    <a:pt x="117224" y="432263"/>
                  </a:lnTo>
                  <a:lnTo>
                    <a:pt x="119463" y="433896"/>
                  </a:lnTo>
                  <a:lnTo>
                    <a:pt x="120461" y="434471"/>
                  </a:lnTo>
                  <a:lnTo>
                    <a:pt x="122972" y="435227"/>
                  </a:lnTo>
                  <a:lnTo>
                    <a:pt x="124333" y="435984"/>
                  </a:lnTo>
                  <a:lnTo>
                    <a:pt x="127389" y="440552"/>
                  </a:lnTo>
                  <a:lnTo>
                    <a:pt x="129113" y="441671"/>
                  </a:lnTo>
                  <a:lnTo>
                    <a:pt x="128145" y="443062"/>
                  </a:lnTo>
                  <a:lnTo>
                    <a:pt x="128478" y="443153"/>
                  </a:lnTo>
                  <a:lnTo>
                    <a:pt x="130595" y="442246"/>
                  </a:lnTo>
                  <a:lnTo>
                    <a:pt x="136918" y="439826"/>
                  </a:lnTo>
                  <a:lnTo>
                    <a:pt x="139610" y="439735"/>
                  </a:lnTo>
                  <a:lnTo>
                    <a:pt x="142182" y="440884"/>
                  </a:lnTo>
                  <a:lnTo>
                    <a:pt x="143059" y="440491"/>
                  </a:lnTo>
                  <a:lnTo>
                    <a:pt x="146447" y="440824"/>
                  </a:lnTo>
                  <a:lnTo>
                    <a:pt x="148383" y="440007"/>
                  </a:lnTo>
                  <a:lnTo>
                    <a:pt x="149079" y="440884"/>
                  </a:lnTo>
                  <a:lnTo>
                    <a:pt x="149775" y="440249"/>
                  </a:lnTo>
                  <a:lnTo>
                    <a:pt x="150198" y="440158"/>
                  </a:lnTo>
                  <a:lnTo>
                    <a:pt x="151166" y="440854"/>
                  </a:lnTo>
                  <a:lnTo>
                    <a:pt x="151166" y="441641"/>
                  </a:lnTo>
                  <a:lnTo>
                    <a:pt x="148292" y="443153"/>
                  </a:lnTo>
                  <a:lnTo>
                    <a:pt x="145903" y="445452"/>
                  </a:lnTo>
                  <a:lnTo>
                    <a:pt x="143573" y="446844"/>
                  </a:lnTo>
                  <a:lnTo>
                    <a:pt x="140790" y="445634"/>
                  </a:lnTo>
                  <a:lnTo>
                    <a:pt x="140246" y="446118"/>
                  </a:lnTo>
                  <a:lnTo>
                    <a:pt x="140064" y="445634"/>
                  </a:lnTo>
                  <a:lnTo>
                    <a:pt x="138884" y="446209"/>
                  </a:lnTo>
                  <a:lnTo>
                    <a:pt x="137916" y="446057"/>
                  </a:lnTo>
                  <a:lnTo>
                    <a:pt x="136978" y="445694"/>
                  </a:lnTo>
                  <a:lnTo>
                    <a:pt x="135950" y="445634"/>
                  </a:lnTo>
                  <a:lnTo>
                    <a:pt x="135375" y="445967"/>
                  </a:lnTo>
                  <a:lnTo>
                    <a:pt x="134044" y="447026"/>
                  </a:lnTo>
                  <a:lnTo>
                    <a:pt x="133590" y="447237"/>
                  </a:lnTo>
                  <a:lnTo>
                    <a:pt x="131987" y="447540"/>
                  </a:lnTo>
                  <a:lnTo>
                    <a:pt x="127026" y="449718"/>
                  </a:lnTo>
                  <a:lnTo>
                    <a:pt x="119070" y="450444"/>
                  </a:lnTo>
                  <a:lnTo>
                    <a:pt x="117284" y="450958"/>
                  </a:lnTo>
                  <a:lnTo>
                    <a:pt x="115469" y="451805"/>
                  </a:lnTo>
                  <a:lnTo>
                    <a:pt x="113987" y="451987"/>
                  </a:lnTo>
                  <a:lnTo>
                    <a:pt x="113201" y="450474"/>
                  </a:lnTo>
                  <a:lnTo>
                    <a:pt x="112747" y="450746"/>
                  </a:lnTo>
                  <a:lnTo>
                    <a:pt x="111598" y="451109"/>
                  </a:lnTo>
                  <a:lnTo>
                    <a:pt x="111113" y="451351"/>
                  </a:lnTo>
                  <a:lnTo>
                    <a:pt x="109238" y="446572"/>
                  </a:lnTo>
                  <a:lnTo>
                    <a:pt x="108088" y="444424"/>
                  </a:lnTo>
                  <a:lnTo>
                    <a:pt x="106939" y="443244"/>
                  </a:lnTo>
                  <a:lnTo>
                    <a:pt x="106304" y="443244"/>
                  </a:lnTo>
                  <a:lnTo>
                    <a:pt x="106304" y="444031"/>
                  </a:lnTo>
                  <a:lnTo>
                    <a:pt x="104640" y="443547"/>
                  </a:lnTo>
                  <a:lnTo>
                    <a:pt x="103097" y="444787"/>
                  </a:lnTo>
                  <a:lnTo>
                    <a:pt x="101977" y="446844"/>
                  </a:lnTo>
                  <a:lnTo>
                    <a:pt x="101463" y="448871"/>
                  </a:lnTo>
                  <a:lnTo>
                    <a:pt x="102159" y="453741"/>
                  </a:lnTo>
                  <a:lnTo>
                    <a:pt x="103762" y="454830"/>
                  </a:lnTo>
                  <a:lnTo>
                    <a:pt x="104428" y="455828"/>
                  </a:lnTo>
                  <a:lnTo>
                    <a:pt x="103883" y="457311"/>
                  </a:lnTo>
                  <a:lnTo>
                    <a:pt x="101736" y="458007"/>
                  </a:lnTo>
                  <a:lnTo>
                    <a:pt x="100132" y="455465"/>
                  </a:lnTo>
                  <a:lnTo>
                    <a:pt x="98377" y="450081"/>
                  </a:lnTo>
                  <a:lnTo>
                    <a:pt x="97228" y="448266"/>
                  </a:lnTo>
                  <a:lnTo>
                    <a:pt x="96593" y="446481"/>
                  </a:lnTo>
                  <a:lnTo>
                    <a:pt x="95564" y="445180"/>
                  </a:lnTo>
                  <a:lnTo>
                    <a:pt x="93174" y="444877"/>
                  </a:lnTo>
                  <a:lnTo>
                    <a:pt x="93991" y="443184"/>
                  </a:lnTo>
                  <a:lnTo>
                    <a:pt x="94868" y="441822"/>
                  </a:lnTo>
                  <a:lnTo>
                    <a:pt x="94868" y="440763"/>
                  </a:lnTo>
                  <a:lnTo>
                    <a:pt x="93174" y="439946"/>
                  </a:lnTo>
                  <a:lnTo>
                    <a:pt x="94293" y="439311"/>
                  </a:lnTo>
                  <a:lnTo>
                    <a:pt x="95443" y="439069"/>
                  </a:lnTo>
                  <a:lnTo>
                    <a:pt x="96502" y="439281"/>
                  </a:lnTo>
                  <a:lnTo>
                    <a:pt x="97288" y="439946"/>
                  </a:lnTo>
                  <a:lnTo>
                    <a:pt x="97682" y="439826"/>
                  </a:lnTo>
                  <a:lnTo>
                    <a:pt x="98045" y="439644"/>
                  </a:lnTo>
                  <a:lnTo>
                    <a:pt x="98710" y="439160"/>
                  </a:lnTo>
                  <a:lnTo>
                    <a:pt x="98166" y="437980"/>
                  </a:lnTo>
                  <a:lnTo>
                    <a:pt x="98105" y="436861"/>
                  </a:lnTo>
                  <a:lnTo>
                    <a:pt x="98105" y="435712"/>
                  </a:lnTo>
                  <a:lnTo>
                    <a:pt x="97954" y="434411"/>
                  </a:lnTo>
                  <a:lnTo>
                    <a:pt x="97409" y="433080"/>
                  </a:lnTo>
                  <a:lnTo>
                    <a:pt x="96835" y="432444"/>
                  </a:lnTo>
                  <a:lnTo>
                    <a:pt x="96169" y="431960"/>
                  </a:lnTo>
                  <a:lnTo>
                    <a:pt x="95292" y="431174"/>
                  </a:lnTo>
                  <a:lnTo>
                    <a:pt x="92751" y="428149"/>
                  </a:lnTo>
                  <a:lnTo>
                    <a:pt x="90422" y="424730"/>
                  </a:lnTo>
                  <a:lnTo>
                    <a:pt x="89907" y="422915"/>
                  </a:lnTo>
                  <a:lnTo>
                    <a:pt x="88273" y="420767"/>
                  </a:lnTo>
                  <a:lnTo>
                    <a:pt x="84885" y="417349"/>
                  </a:lnTo>
                  <a:lnTo>
                    <a:pt x="83070" y="415957"/>
                  </a:lnTo>
                  <a:lnTo>
                    <a:pt x="80862" y="414959"/>
                  </a:lnTo>
                  <a:lnTo>
                    <a:pt x="78351" y="414384"/>
                  </a:lnTo>
                  <a:lnTo>
                    <a:pt x="75689" y="414203"/>
                  </a:lnTo>
                  <a:lnTo>
                    <a:pt x="74569" y="414445"/>
                  </a:lnTo>
                  <a:lnTo>
                    <a:pt x="72361" y="415503"/>
                  </a:lnTo>
                  <a:lnTo>
                    <a:pt x="70849" y="415745"/>
                  </a:lnTo>
                  <a:lnTo>
                    <a:pt x="69881" y="416290"/>
                  </a:lnTo>
                  <a:lnTo>
                    <a:pt x="69366" y="417651"/>
                  </a:lnTo>
                  <a:lnTo>
                    <a:pt x="69155" y="419376"/>
                  </a:lnTo>
                  <a:lnTo>
                    <a:pt x="69155" y="421039"/>
                  </a:lnTo>
                  <a:lnTo>
                    <a:pt x="70274" y="425487"/>
                  </a:lnTo>
                  <a:lnTo>
                    <a:pt x="70183" y="426273"/>
                  </a:lnTo>
                  <a:lnTo>
                    <a:pt x="70335" y="426969"/>
                  </a:lnTo>
                  <a:lnTo>
                    <a:pt x="71575" y="430538"/>
                  </a:lnTo>
                  <a:lnTo>
                    <a:pt x="71847" y="431960"/>
                  </a:lnTo>
                  <a:lnTo>
                    <a:pt x="71212" y="431144"/>
                  </a:lnTo>
                  <a:lnTo>
                    <a:pt x="74237" y="435349"/>
                  </a:lnTo>
                  <a:lnTo>
                    <a:pt x="74630" y="436770"/>
                  </a:lnTo>
                  <a:lnTo>
                    <a:pt x="73965" y="438979"/>
                  </a:lnTo>
                  <a:lnTo>
                    <a:pt x="73057" y="440189"/>
                  </a:lnTo>
                  <a:lnTo>
                    <a:pt x="73057" y="440673"/>
                  </a:lnTo>
                  <a:lnTo>
                    <a:pt x="74963" y="440794"/>
                  </a:lnTo>
                  <a:lnTo>
                    <a:pt x="75659" y="440461"/>
                  </a:lnTo>
                  <a:lnTo>
                    <a:pt x="76445" y="438888"/>
                  </a:lnTo>
                  <a:lnTo>
                    <a:pt x="77353" y="438374"/>
                  </a:lnTo>
                  <a:lnTo>
                    <a:pt x="78321" y="438494"/>
                  </a:lnTo>
                  <a:lnTo>
                    <a:pt x="79622" y="439644"/>
                  </a:lnTo>
                  <a:lnTo>
                    <a:pt x="81679" y="440340"/>
                  </a:lnTo>
                  <a:lnTo>
                    <a:pt x="84159" y="442427"/>
                  </a:lnTo>
                  <a:lnTo>
                    <a:pt x="85581" y="443214"/>
                  </a:lnTo>
                  <a:lnTo>
                    <a:pt x="84068" y="446239"/>
                  </a:lnTo>
                  <a:lnTo>
                    <a:pt x="83161" y="446360"/>
                  </a:lnTo>
                  <a:lnTo>
                    <a:pt x="81951" y="445120"/>
                  </a:lnTo>
                  <a:lnTo>
                    <a:pt x="79380" y="444000"/>
                  </a:lnTo>
                  <a:lnTo>
                    <a:pt x="79380" y="444877"/>
                  </a:lnTo>
                  <a:lnTo>
                    <a:pt x="81043" y="446178"/>
                  </a:lnTo>
                  <a:lnTo>
                    <a:pt x="81951" y="448629"/>
                  </a:lnTo>
                  <a:lnTo>
                    <a:pt x="81830" y="450988"/>
                  </a:lnTo>
                  <a:lnTo>
                    <a:pt x="80438" y="452047"/>
                  </a:lnTo>
                  <a:lnTo>
                    <a:pt x="79682" y="452410"/>
                  </a:lnTo>
                  <a:lnTo>
                    <a:pt x="77111" y="454074"/>
                  </a:lnTo>
                  <a:lnTo>
                    <a:pt x="75931" y="454558"/>
                  </a:lnTo>
                  <a:lnTo>
                    <a:pt x="74691" y="454709"/>
                  </a:lnTo>
                  <a:lnTo>
                    <a:pt x="74086" y="454709"/>
                  </a:lnTo>
                  <a:lnTo>
                    <a:pt x="72482" y="453741"/>
                  </a:lnTo>
                  <a:lnTo>
                    <a:pt x="72482" y="454558"/>
                  </a:lnTo>
                  <a:lnTo>
                    <a:pt x="73360" y="455950"/>
                  </a:lnTo>
                  <a:lnTo>
                    <a:pt x="72664" y="456706"/>
                  </a:lnTo>
                  <a:lnTo>
                    <a:pt x="71212" y="456978"/>
                  </a:lnTo>
                  <a:lnTo>
                    <a:pt x="69760" y="456888"/>
                  </a:lnTo>
                  <a:lnTo>
                    <a:pt x="69124" y="456525"/>
                  </a:lnTo>
                  <a:lnTo>
                    <a:pt x="68973" y="455980"/>
                  </a:lnTo>
                  <a:lnTo>
                    <a:pt x="68792" y="455496"/>
                  </a:lnTo>
                  <a:lnTo>
                    <a:pt x="68035" y="455284"/>
                  </a:lnTo>
                  <a:lnTo>
                    <a:pt x="67219" y="455284"/>
                  </a:lnTo>
                  <a:lnTo>
                    <a:pt x="66613" y="455133"/>
                  </a:lnTo>
                  <a:lnTo>
                    <a:pt x="66099" y="454921"/>
                  </a:lnTo>
                  <a:lnTo>
                    <a:pt x="65585" y="454558"/>
                  </a:lnTo>
                  <a:lnTo>
                    <a:pt x="66432" y="453530"/>
                  </a:lnTo>
                  <a:lnTo>
                    <a:pt x="66734" y="452410"/>
                  </a:lnTo>
                  <a:lnTo>
                    <a:pt x="66674" y="451170"/>
                  </a:lnTo>
                  <a:lnTo>
                    <a:pt x="66250" y="449748"/>
                  </a:lnTo>
                  <a:lnTo>
                    <a:pt x="65706" y="450232"/>
                  </a:lnTo>
                  <a:lnTo>
                    <a:pt x="65313" y="450504"/>
                  </a:lnTo>
                  <a:lnTo>
                    <a:pt x="65071" y="450988"/>
                  </a:lnTo>
                  <a:lnTo>
                    <a:pt x="64889" y="452077"/>
                  </a:lnTo>
                  <a:lnTo>
                    <a:pt x="63528" y="450686"/>
                  </a:lnTo>
                  <a:lnTo>
                    <a:pt x="62711" y="451957"/>
                  </a:lnTo>
                  <a:lnTo>
                    <a:pt x="62983" y="454104"/>
                  </a:lnTo>
                  <a:lnTo>
                    <a:pt x="64859" y="455284"/>
                  </a:lnTo>
                  <a:lnTo>
                    <a:pt x="64859" y="456162"/>
                  </a:lnTo>
                  <a:lnTo>
                    <a:pt x="62651" y="456676"/>
                  </a:lnTo>
                  <a:lnTo>
                    <a:pt x="61713" y="458824"/>
                  </a:lnTo>
                  <a:lnTo>
                    <a:pt x="60624" y="460457"/>
                  </a:lnTo>
                  <a:lnTo>
                    <a:pt x="57931" y="459398"/>
                  </a:lnTo>
                  <a:lnTo>
                    <a:pt x="57357" y="461244"/>
                  </a:lnTo>
                  <a:lnTo>
                    <a:pt x="57508" y="461970"/>
                  </a:lnTo>
                  <a:lnTo>
                    <a:pt x="62741" y="463482"/>
                  </a:lnTo>
                  <a:lnTo>
                    <a:pt x="63679" y="464027"/>
                  </a:lnTo>
                  <a:lnTo>
                    <a:pt x="66946" y="466538"/>
                  </a:lnTo>
                  <a:lnTo>
                    <a:pt x="69487" y="467354"/>
                  </a:lnTo>
                  <a:lnTo>
                    <a:pt x="71605" y="466598"/>
                  </a:lnTo>
                  <a:lnTo>
                    <a:pt x="72422" y="463422"/>
                  </a:lnTo>
                  <a:lnTo>
                    <a:pt x="73117" y="463422"/>
                  </a:lnTo>
                  <a:lnTo>
                    <a:pt x="73602" y="464601"/>
                  </a:lnTo>
                  <a:lnTo>
                    <a:pt x="73541" y="465630"/>
                  </a:lnTo>
                  <a:lnTo>
                    <a:pt x="73269" y="466689"/>
                  </a:lnTo>
                  <a:lnTo>
                    <a:pt x="73087" y="467899"/>
                  </a:lnTo>
                  <a:lnTo>
                    <a:pt x="75296" y="469956"/>
                  </a:lnTo>
                  <a:lnTo>
                    <a:pt x="75840" y="470682"/>
                  </a:lnTo>
                  <a:lnTo>
                    <a:pt x="76506" y="470682"/>
                  </a:lnTo>
                  <a:lnTo>
                    <a:pt x="76294" y="470138"/>
                  </a:lnTo>
                  <a:lnTo>
                    <a:pt x="75840" y="468262"/>
                  </a:lnTo>
                  <a:lnTo>
                    <a:pt x="78351" y="469260"/>
                  </a:lnTo>
                  <a:lnTo>
                    <a:pt x="80801" y="471771"/>
                  </a:lnTo>
                  <a:lnTo>
                    <a:pt x="83342" y="473707"/>
                  </a:lnTo>
                  <a:lnTo>
                    <a:pt x="86126" y="473042"/>
                  </a:lnTo>
                  <a:lnTo>
                    <a:pt x="85732" y="474675"/>
                  </a:lnTo>
                  <a:lnTo>
                    <a:pt x="85914" y="475855"/>
                  </a:lnTo>
                  <a:lnTo>
                    <a:pt x="86549" y="476823"/>
                  </a:lnTo>
                  <a:lnTo>
                    <a:pt x="88516" y="478790"/>
                  </a:lnTo>
                  <a:lnTo>
                    <a:pt x="89877" y="479757"/>
                  </a:lnTo>
                  <a:lnTo>
                    <a:pt x="90905" y="479576"/>
                  </a:lnTo>
                  <a:lnTo>
                    <a:pt x="90905" y="477095"/>
                  </a:lnTo>
                  <a:lnTo>
                    <a:pt x="91874" y="478547"/>
                  </a:lnTo>
                  <a:lnTo>
                    <a:pt x="93053" y="481391"/>
                  </a:lnTo>
                  <a:lnTo>
                    <a:pt x="93689" y="481905"/>
                  </a:lnTo>
                  <a:lnTo>
                    <a:pt x="94899" y="481391"/>
                  </a:lnTo>
                  <a:lnTo>
                    <a:pt x="95413" y="480272"/>
                  </a:lnTo>
                  <a:lnTo>
                    <a:pt x="95413" y="478759"/>
                  </a:lnTo>
                  <a:lnTo>
                    <a:pt x="95110" y="477095"/>
                  </a:lnTo>
                  <a:lnTo>
                    <a:pt x="95745" y="477095"/>
                  </a:lnTo>
                  <a:lnTo>
                    <a:pt x="95988" y="477398"/>
                  </a:lnTo>
                  <a:lnTo>
                    <a:pt x="95988" y="477489"/>
                  </a:lnTo>
                  <a:lnTo>
                    <a:pt x="96502" y="477821"/>
                  </a:lnTo>
                  <a:lnTo>
                    <a:pt x="97803" y="470198"/>
                  </a:lnTo>
                  <a:lnTo>
                    <a:pt x="98801" y="469835"/>
                  </a:lnTo>
                  <a:lnTo>
                    <a:pt x="105093" y="469835"/>
                  </a:lnTo>
                  <a:lnTo>
                    <a:pt x="107030" y="469412"/>
                  </a:lnTo>
                  <a:lnTo>
                    <a:pt x="108784" y="468776"/>
                  </a:lnTo>
                  <a:lnTo>
                    <a:pt x="110327" y="468655"/>
                  </a:lnTo>
                  <a:lnTo>
                    <a:pt x="111688" y="469805"/>
                  </a:lnTo>
                  <a:lnTo>
                    <a:pt x="111476" y="473253"/>
                  </a:lnTo>
                  <a:lnTo>
                    <a:pt x="111930" y="474675"/>
                  </a:lnTo>
                  <a:lnTo>
                    <a:pt x="113685" y="473859"/>
                  </a:lnTo>
                  <a:lnTo>
                    <a:pt x="114623" y="475008"/>
                  </a:lnTo>
                  <a:lnTo>
                    <a:pt x="116831" y="477035"/>
                  </a:lnTo>
                  <a:lnTo>
                    <a:pt x="117859" y="478638"/>
                  </a:lnTo>
                  <a:lnTo>
                    <a:pt x="118495" y="480181"/>
                  </a:lnTo>
                  <a:lnTo>
                    <a:pt x="118979" y="481905"/>
                  </a:lnTo>
                  <a:lnTo>
                    <a:pt x="119070" y="483630"/>
                  </a:lnTo>
                  <a:lnTo>
                    <a:pt x="118525" y="485112"/>
                  </a:lnTo>
                  <a:lnTo>
                    <a:pt x="120824" y="489317"/>
                  </a:lnTo>
                  <a:lnTo>
                    <a:pt x="121641" y="489922"/>
                  </a:lnTo>
                  <a:lnTo>
                    <a:pt x="122488" y="489529"/>
                  </a:lnTo>
                  <a:lnTo>
                    <a:pt x="122881" y="488682"/>
                  </a:lnTo>
                  <a:lnTo>
                    <a:pt x="123184" y="487835"/>
                  </a:lnTo>
                  <a:lnTo>
                    <a:pt x="123668" y="487441"/>
                  </a:lnTo>
                  <a:lnTo>
                    <a:pt x="124333" y="487381"/>
                  </a:lnTo>
                  <a:lnTo>
                    <a:pt x="126088" y="486715"/>
                  </a:lnTo>
                  <a:lnTo>
                    <a:pt x="129264" y="486140"/>
                  </a:lnTo>
                  <a:lnTo>
                    <a:pt x="131896" y="486383"/>
                  </a:lnTo>
                  <a:lnTo>
                    <a:pt x="137069" y="488258"/>
                  </a:lnTo>
                  <a:lnTo>
                    <a:pt x="139973" y="488682"/>
                  </a:lnTo>
                  <a:lnTo>
                    <a:pt x="140850" y="489287"/>
                  </a:lnTo>
                  <a:lnTo>
                    <a:pt x="141153" y="491102"/>
                  </a:lnTo>
                  <a:lnTo>
                    <a:pt x="141365" y="491707"/>
                  </a:lnTo>
                  <a:lnTo>
                    <a:pt x="141939" y="492070"/>
                  </a:lnTo>
                  <a:lnTo>
                    <a:pt x="142726" y="492251"/>
                  </a:lnTo>
                  <a:lnTo>
                    <a:pt x="143543" y="492251"/>
                  </a:lnTo>
                  <a:lnTo>
                    <a:pt x="144541" y="492584"/>
                  </a:lnTo>
                  <a:lnTo>
                    <a:pt x="145116" y="493280"/>
                  </a:lnTo>
                  <a:lnTo>
                    <a:pt x="145479" y="494097"/>
                  </a:lnTo>
                  <a:lnTo>
                    <a:pt x="145993" y="494762"/>
                  </a:lnTo>
                  <a:lnTo>
                    <a:pt x="148474" y="495700"/>
                  </a:lnTo>
                  <a:lnTo>
                    <a:pt x="152134" y="496305"/>
                  </a:lnTo>
                  <a:lnTo>
                    <a:pt x="155795" y="496305"/>
                  </a:lnTo>
                  <a:lnTo>
                    <a:pt x="158306" y="495488"/>
                  </a:lnTo>
                  <a:lnTo>
                    <a:pt x="161028" y="499784"/>
                  </a:lnTo>
                  <a:lnTo>
                    <a:pt x="161875" y="502385"/>
                  </a:lnTo>
                  <a:lnTo>
                    <a:pt x="160453" y="503565"/>
                  </a:lnTo>
                  <a:lnTo>
                    <a:pt x="160877" y="504624"/>
                  </a:lnTo>
                  <a:lnTo>
                    <a:pt x="160937" y="505562"/>
                  </a:lnTo>
                  <a:lnTo>
                    <a:pt x="160756" y="506530"/>
                  </a:lnTo>
                  <a:lnTo>
                    <a:pt x="160453" y="507619"/>
                  </a:lnTo>
                  <a:lnTo>
                    <a:pt x="159970" y="508466"/>
                  </a:lnTo>
                  <a:lnTo>
                    <a:pt x="158638" y="509525"/>
                  </a:lnTo>
                  <a:lnTo>
                    <a:pt x="158306" y="509948"/>
                  </a:lnTo>
                  <a:lnTo>
                    <a:pt x="158094" y="512157"/>
                  </a:lnTo>
                  <a:lnTo>
                    <a:pt x="158729" y="513518"/>
                  </a:lnTo>
                  <a:lnTo>
                    <a:pt x="159667" y="514516"/>
                  </a:lnTo>
                  <a:lnTo>
                    <a:pt x="160453" y="515605"/>
                  </a:lnTo>
                  <a:lnTo>
                    <a:pt x="160574" y="517058"/>
                  </a:lnTo>
                  <a:lnTo>
                    <a:pt x="160453" y="519568"/>
                  </a:lnTo>
                  <a:lnTo>
                    <a:pt x="160060" y="522200"/>
                  </a:lnTo>
                  <a:lnTo>
                    <a:pt x="159364" y="523955"/>
                  </a:lnTo>
                  <a:lnTo>
                    <a:pt x="157035" y="526677"/>
                  </a:lnTo>
                  <a:lnTo>
                    <a:pt x="155704" y="527555"/>
                  </a:lnTo>
                  <a:lnTo>
                    <a:pt x="147052" y="530459"/>
                  </a:lnTo>
                  <a:lnTo>
                    <a:pt x="144874" y="530731"/>
                  </a:lnTo>
                  <a:lnTo>
                    <a:pt x="138128" y="530278"/>
                  </a:lnTo>
                  <a:lnTo>
                    <a:pt x="136343" y="530731"/>
                  </a:lnTo>
                  <a:lnTo>
                    <a:pt x="135405" y="533121"/>
                  </a:lnTo>
                  <a:lnTo>
                    <a:pt x="139157" y="534936"/>
                  </a:lnTo>
                  <a:lnTo>
                    <a:pt x="147959" y="537144"/>
                  </a:lnTo>
                  <a:lnTo>
                    <a:pt x="153768" y="540654"/>
                  </a:lnTo>
                  <a:lnTo>
                    <a:pt x="155250" y="541138"/>
                  </a:lnTo>
                  <a:lnTo>
                    <a:pt x="155613" y="542438"/>
                  </a:lnTo>
                  <a:lnTo>
                    <a:pt x="155341" y="545040"/>
                  </a:lnTo>
                  <a:lnTo>
                    <a:pt x="154433" y="546886"/>
                  </a:lnTo>
                  <a:lnTo>
                    <a:pt x="152860" y="545917"/>
                  </a:lnTo>
                  <a:lnTo>
                    <a:pt x="152437" y="547218"/>
                  </a:lnTo>
                  <a:lnTo>
                    <a:pt x="152830" y="547884"/>
                  </a:lnTo>
                  <a:lnTo>
                    <a:pt x="153223" y="548398"/>
                  </a:lnTo>
                  <a:lnTo>
                    <a:pt x="152860" y="549154"/>
                  </a:lnTo>
                  <a:lnTo>
                    <a:pt x="153465" y="550909"/>
                  </a:lnTo>
                  <a:lnTo>
                    <a:pt x="153223" y="552603"/>
                  </a:lnTo>
                  <a:lnTo>
                    <a:pt x="152618" y="554327"/>
                  </a:lnTo>
                  <a:lnTo>
                    <a:pt x="152195" y="556294"/>
                  </a:lnTo>
                  <a:lnTo>
                    <a:pt x="152951" y="555416"/>
                  </a:lnTo>
                  <a:lnTo>
                    <a:pt x="153677" y="554872"/>
                  </a:lnTo>
                  <a:lnTo>
                    <a:pt x="154343" y="554872"/>
                  </a:lnTo>
                  <a:lnTo>
                    <a:pt x="154917" y="555568"/>
                  </a:lnTo>
                  <a:lnTo>
                    <a:pt x="156672" y="555084"/>
                  </a:lnTo>
                  <a:lnTo>
                    <a:pt x="156188" y="560378"/>
                  </a:lnTo>
                  <a:lnTo>
                    <a:pt x="157065" y="562616"/>
                  </a:lnTo>
                  <a:lnTo>
                    <a:pt x="157065" y="563403"/>
                  </a:lnTo>
                  <a:lnTo>
                    <a:pt x="156460" y="563524"/>
                  </a:lnTo>
                  <a:lnTo>
                    <a:pt x="154948" y="564189"/>
                  </a:lnTo>
                  <a:lnTo>
                    <a:pt x="155402" y="565490"/>
                  </a:lnTo>
                  <a:lnTo>
                    <a:pt x="155190" y="566700"/>
                  </a:lnTo>
                  <a:lnTo>
                    <a:pt x="154494" y="567850"/>
                  </a:lnTo>
                  <a:lnTo>
                    <a:pt x="153496" y="568908"/>
                  </a:lnTo>
                  <a:lnTo>
                    <a:pt x="154282" y="569241"/>
                  </a:lnTo>
                  <a:lnTo>
                    <a:pt x="154554" y="569453"/>
                  </a:lnTo>
                  <a:lnTo>
                    <a:pt x="154827" y="569392"/>
                  </a:lnTo>
                  <a:lnTo>
                    <a:pt x="155613" y="568878"/>
                  </a:lnTo>
                  <a:lnTo>
                    <a:pt x="155976" y="569241"/>
                  </a:lnTo>
                  <a:lnTo>
                    <a:pt x="156128" y="569604"/>
                  </a:lnTo>
                  <a:lnTo>
                    <a:pt x="156309" y="570451"/>
                  </a:lnTo>
                  <a:lnTo>
                    <a:pt x="156944" y="569937"/>
                  </a:lnTo>
                  <a:lnTo>
                    <a:pt x="157640" y="569937"/>
                  </a:lnTo>
                  <a:lnTo>
                    <a:pt x="158336" y="570421"/>
                  </a:lnTo>
                  <a:lnTo>
                    <a:pt x="159092" y="571329"/>
                  </a:lnTo>
                  <a:lnTo>
                    <a:pt x="160242" y="570330"/>
                  </a:lnTo>
                  <a:lnTo>
                    <a:pt x="161633" y="569877"/>
                  </a:lnTo>
                  <a:lnTo>
                    <a:pt x="167563" y="569514"/>
                  </a:lnTo>
                  <a:lnTo>
                    <a:pt x="168168" y="569029"/>
                  </a:lnTo>
                  <a:lnTo>
                    <a:pt x="166685" y="568122"/>
                  </a:lnTo>
                  <a:lnTo>
                    <a:pt x="166685" y="567275"/>
                  </a:lnTo>
                  <a:lnTo>
                    <a:pt x="169135" y="567275"/>
                  </a:lnTo>
                  <a:lnTo>
                    <a:pt x="170164" y="566307"/>
                  </a:lnTo>
                  <a:lnTo>
                    <a:pt x="170618" y="564794"/>
                  </a:lnTo>
                  <a:lnTo>
                    <a:pt x="171556" y="563282"/>
                  </a:lnTo>
                  <a:lnTo>
                    <a:pt x="173189" y="562465"/>
                  </a:lnTo>
                  <a:lnTo>
                    <a:pt x="174883" y="562405"/>
                  </a:lnTo>
                  <a:lnTo>
                    <a:pt x="175246" y="562405"/>
                  </a:lnTo>
                  <a:lnTo>
                    <a:pt x="177182" y="563191"/>
                  </a:lnTo>
                  <a:lnTo>
                    <a:pt x="178393" y="564946"/>
                  </a:lnTo>
                  <a:lnTo>
                    <a:pt x="176063" y="566004"/>
                  </a:lnTo>
                  <a:lnTo>
                    <a:pt x="174218" y="567880"/>
                  </a:lnTo>
                  <a:lnTo>
                    <a:pt x="173401" y="570240"/>
                  </a:lnTo>
                  <a:lnTo>
                    <a:pt x="174218" y="572781"/>
                  </a:lnTo>
                  <a:lnTo>
                    <a:pt x="176396" y="574384"/>
                  </a:lnTo>
                  <a:lnTo>
                    <a:pt x="179179" y="574838"/>
                  </a:lnTo>
                  <a:lnTo>
                    <a:pt x="181448" y="573658"/>
                  </a:lnTo>
                  <a:lnTo>
                    <a:pt x="181872" y="570421"/>
                  </a:lnTo>
                  <a:lnTo>
                    <a:pt x="182628" y="570421"/>
                  </a:lnTo>
                  <a:lnTo>
                    <a:pt x="183777" y="572327"/>
                  </a:lnTo>
                  <a:lnTo>
                    <a:pt x="183626" y="573900"/>
                  </a:lnTo>
                  <a:lnTo>
                    <a:pt x="183142" y="575140"/>
                  </a:lnTo>
                  <a:lnTo>
                    <a:pt x="183263" y="576048"/>
                  </a:lnTo>
                  <a:lnTo>
                    <a:pt x="181418" y="578165"/>
                  </a:lnTo>
                  <a:lnTo>
                    <a:pt x="180752" y="579254"/>
                  </a:lnTo>
                  <a:lnTo>
                    <a:pt x="180480" y="580374"/>
                  </a:lnTo>
                  <a:lnTo>
                    <a:pt x="180964" y="581069"/>
                  </a:lnTo>
                  <a:lnTo>
                    <a:pt x="181992" y="580555"/>
                  </a:lnTo>
                  <a:lnTo>
                    <a:pt x="182930" y="579678"/>
                  </a:lnTo>
                  <a:lnTo>
                    <a:pt x="183263" y="579224"/>
                  </a:lnTo>
                  <a:lnTo>
                    <a:pt x="185532" y="579224"/>
                  </a:lnTo>
                  <a:lnTo>
                    <a:pt x="186651" y="580253"/>
                  </a:lnTo>
                  <a:lnTo>
                    <a:pt x="186440" y="581765"/>
                  </a:lnTo>
                  <a:lnTo>
                    <a:pt x="184654" y="583187"/>
                  </a:lnTo>
                  <a:lnTo>
                    <a:pt x="186107" y="583701"/>
                  </a:lnTo>
                  <a:lnTo>
                    <a:pt x="187710" y="582884"/>
                  </a:lnTo>
                  <a:lnTo>
                    <a:pt x="188981" y="581312"/>
                  </a:lnTo>
                  <a:lnTo>
                    <a:pt x="189495" y="579557"/>
                  </a:lnTo>
                  <a:lnTo>
                    <a:pt x="189979" y="578619"/>
                  </a:lnTo>
                  <a:lnTo>
                    <a:pt x="191159" y="578317"/>
                  </a:lnTo>
                  <a:lnTo>
                    <a:pt x="193639" y="578407"/>
                  </a:lnTo>
                  <a:lnTo>
                    <a:pt x="193851" y="578135"/>
                  </a:lnTo>
                  <a:lnTo>
                    <a:pt x="193912" y="577681"/>
                  </a:lnTo>
                  <a:lnTo>
                    <a:pt x="194153" y="577379"/>
                  </a:lnTo>
                  <a:lnTo>
                    <a:pt x="195031" y="577561"/>
                  </a:lnTo>
                  <a:lnTo>
                    <a:pt x="195091" y="577651"/>
                  </a:lnTo>
                  <a:lnTo>
                    <a:pt x="196332" y="578438"/>
                  </a:lnTo>
                  <a:lnTo>
                    <a:pt x="196150" y="579254"/>
                  </a:lnTo>
                  <a:lnTo>
                    <a:pt x="196029" y="580767"/>
                  </a:lnTo>
                  <a:lnTo>
                    <a:pt x="195727" y="581584"/>
                  </a:lnTo>
                  <a:lnTo>
                    <a:pt x="195152" y="582189"/>
                  </a:lnTo>
                  <a:lnTo>
                    <a:pt x="193881" y="583036"/>
                  </a:lnTo>
                  <a:lnTo>
                    <a:pt x="193639" y="583520"/>
                  </a:lnTo>
                  <a:lnTo>
                    <a:pt x="193549" y="585789"/>
                  </a:lnTo>
                  <a:lnTo>
                    <a:pt x="194123" y="586575"/>
                  </a:lnTo>
                  <a:lnTo>
                    <a:pt x="195696" y="587120"/>
                  </a:lnTo>
                  <a:lnTo>
                    <a:pt x="194184" y="588693"/>
                  </a:lnTo>
                  <a:lnTo>
                    <a:pt x="193367" y="589207"/>
                  </a:lnTo>
                  <a:lnTo>
                    <a:pt x="192248" y="589540"/>
                  </a:lnTo>
                  <a:lnTo>
                    <a:pt x="193458" y="587180"/>
                  </a:lnTo>
                  <a:lnTo>
                    <a:pt x="192157" y="586908"/>
                  </a:lnTo>
                  <a:lnTo>
                    <a:pt x="187438" y="587876"/>
                  </a:lnTo>
                  <a:lnTo>
                    <a:pt x="187438" y="588753"/>
                  </a:lnTo>
                  <a:lnTo>
                    <a:pt x="188618" y="589570"/>
                  </a:lnTo>
                  <a:lnTo>
                    <a:pt x="189404" y="591476"/>
                  </a:lnTo>
                  <a:lnTo>
                    <a:pt x="190130" y="595136"/>
                  </a:lnTo>
                  <a:lnTo>
                    <a:pt x="190614" y="594652"/>
                  </a:lnTo>
                  <a:lnTo>
                    <a:pt x="190947" y="594471"/>
                  </a:lnTo>
                  <a:lnTo>
                    <a:pt x="192278" y="594259"/>
                  </a:lnTo>
                  <a:lnTo>
                    <a:pt x="192278" y="595106"/>
                  </a:lnTo>
                  <a:lnTo>
                    <a:pt x="191219" y="595621"/>
                  </a:lnTo>
                  <a:lnTo>
                    <a:pt x="188829" y="595621"/>
                  </a:lnTo>
                  <a:lnTo>
                    <a:pt x="187770" y="596195"/>
                  </a:lnTo>
                  <a:lnTo>
                    <a:pt x="186863" y="596861"/>
                  </a:lnTo>
                  <a:lnTo>
                    <a:pt x="184776" y="597738"/>
                  </a:lnTo>
                  <a:lnTo>
                    <a:pt x="182144" y="599463"/>
                  </a:lnTo>
                  <a:lnTo>
                    <a:pt x="180601" y="599826"/>
                  </a:lnTo>
                  <a:lnTo>
                    <a:pt x="179179" y="598978"/>
                  </a:lnTo>
                  <a:lnTo>
                    <a:pt x="177727" y="596588"/>
                  </a:lnTo>
                  <a:lnTo>
                    <a:pt x="177969" y="596377"/>
                  </a:lnTo>
                  <a:lnTo>
                    <a:pt x="178120" y="596286"/>
                  </a:lnTo>
                  <a:lnTo>
                    <a:pt x="178241" y="596195"/>
                  </a:lnTo>
                  <a:lnTo>
                    <a:pt x="178453" y="595893"/>
                  </a:lnTo>
                  <a:lnTo>
                    <a:pt x="177152" y="596407"/>
                  </a:lnTo>
                  <a:lnTo>
                    <a:pt x="176426" y="596225"/>
                  </a:lnTo>
                  <a:lnTo>
                    <a:pt x="175852" y="595711"/>
                  </a:lnTo>
                  <a:lnTo>
                    <a:pt x="175035" y="595197"/>
                  </a:lnTo>
                  <a:lnTo>
                    <a:pt x="173976" y="595106"/>
                  </a:lnTo>
                  <a:lnTo>
                    <a:pt x="173250" y="595197"/>
                  </a:lnTo>
                  <a:lnTo>
                    <a:pt x="172887" y="594652"/>
                  </a:lnTo>
                  <a:lnTo>
                    <a:pt x="172887" y="592656"/>
                  </a:lnTo>
                  <a:lnTo>
                    <a:pt x="172705" y="592928"/>
                  </a:lnTo>
                  <a:lnTo>
                    <a:pt x="172645" y="593079"/>
                  </a:lnTo>
                  <a:lnTo>
                    <a:pt x="172524" y="593231"/>
                  </a:lnTo>
                  <a:lnTo>
                    <a:pt x="172221" y="593472"/>
                  </a:lnTo>
                  <a:lnTo>
                    <a:pt x="171495" y="592746"/>
                  </a:lnTo>
                  <a:lnTo>
                    <a:pt x="170709" y="592989"/>
                  </a:lnTo>
                  <a:lnTo>
                    <a:pt x="169983" y="593896"/>
                  </a:lnTo>
                  <a:lnTo>
                    <a:pt x="169468" y="595136"/>
                  </a:lnTo>
                  <a:lnTo>
                    <a:pt x="168772" y="595136"/>
                  </a:lnTo>
                  <a:lnTo>
                    <a:pt x="168863" y="593806"/>
                  </a:lnTo>
                  <a:lnTo>
                    <a:pt x="168500" y="592807"/>
                  </a:lnTo>
                  <a:lnTo>
                    <a:pt x="167774" y="592142"/>
                  </a:lnTo>
                  <a:lnTo>
                    <a:pt x="166685" y="591869"/>
                  </a:lnTo>
                  <a:lnTo>
                    <a:pt x="166988" y="593109"/>
                  </a:lnTo>
                  <a:lnTo>
                    <a:pt x="166867" y="594138"/>
                  </a:lnTo>
                  <a:lnTo>
                    <a:pt x="166625" y="595046"/>
                  </a:lnTo>
                  <a:lnTo>
                    <a:pt x="166685" y="595862"/>
                  </a:lnTo>
                  <a:lnTo>
                    <a:pt x="164779" y="596377"/>
                  </a:lnTo>
                  <a:lnTo>
                    <a:pt x="161633" y="595288"/>
                  </a:lnTo>
                  <a:lnTo>
                    <a:pt x="160514" y="596588"/>
                  </a:lnTo>
                  <a:lnTo>
                    <a:pt x="159758" y="595862"/>
                  </a:lnTo>
                  <a:lnTo>
                    <a:pt x="159939" y="596740"/>
                  </a:lnTo>
                  <a:lnTo>
                    <a:pt x="160090" y="597073"/>
                  </a:lnTo>
                  <a:lnTo>
                    <a:pt x="160484" y="597466"/>
                  </a:lnTo>
                  <a:lnTo>
                    <a:pt x="161452" y="596800"/>
                  </a:lnTo>
                  <a:lnTo>
                    <a:pt x="162359" y="596619"/>
                  </a:lnTo>
                  <a:lnTo>
                    <a:pt x="163206" y="596891"/>
                  </a:lnTo>
                  <a:lnTo>
                    <a:pt x="163932" y="597496"/>
                  </a:lnTo>
                  <a:lnTo>
                    <a:pt x="162662" y="598888"/>
                  </a:lnTo>
                  <a:lnTo>
                    <a:pt x="160877" y="599977"/>
                  </a:lnTo>
                  <a:lnTo>
                    <a:pt x="159213" y="600612"/>
                  </a:lnTo>
                  <a:lnTo>
                    <a:pt x="158336" y="600672"/>
                  </a:lnTo>
                  <a:lnTo>
                    <a:pt x="157307" y="603123"/>
                  </a:lnTo>
                  <a:lnTo>
                    <a:pt x="157670" y="604817"/>
                  </a:lnTo>
                  <a:lnTo>
                    <a:pt x="158547" y="606299"/>
                  </a:lnTo>
                  <a:lnTo>
                    <a:pt x="159032" y="608205"/>
                  </a:lnTo>
                  <a:lnTo>
                    <a:pt x="159153" y="610232"/>
                  </a:lnTo>
                  <a:lnTo>
                    <a:pt x="159697" y="612743"/>
                  </a:lnTo>
                  <a:lnTo>
                    <a:pt x="160756" y="614467"/>
                  </a:lnTo>
                  <a:lnTo>
                    <a:pt x="162541" y="614074"/>
                  </a:lnTo>
                  <a:lnTo>
                    <a:pt x="163146" y="614921"/>
                  </a:lnTo>
                  <a:lnTo>
                    <a:pt x="163841" y="614679"/>
                  </a:lnTo>
                  <a:lnTo>
                    <a:pt x="164356" y="614679"/>
                  </a:lnTo>
                  <a:lnTo>
                    <a:pt x="165264" y="614921"/>
                  </a:lnTo>
                  <a:lnTo>
                    <a:pt x="164991" y="614467"/>
                  </a:lnTo>
                  <a:lnTo>
                    <a:pt x="164507" y="613318"/>
                  </a:lnTo>
                  <a:lnTo>
                    <a:pt x="165899" y="612864"/>
                  </a:lnTo>
                  <a:lnTo>
                    <a:pt x="167079" y="611835"/>
                  </a:lnTo>
                  <a:lnTo>
                    <a:pt x="167714" y="610565"/>
                  </a:lnTo>
                  <a:lnTo>
                    <a:pt x="167290" y="609325"/>
                  </a:lnTo>
                  <a:lnTo>
                    <a:pt x="167290" y="608598"/>
                  </a:lnTo>
                  <a:lnTo>
                    <a:pt x="168531" y="608084"/>
                  </a:lnTo>
                  <a:lnTo>
                    <a:pt x="171193" y="607570"/>
                  </a:lnTo>
                  <a:lnTo>
                    <a:pt x="172100" y="606995"/>
                  </a:lnTo>
                  <a:lnTo>
                    <a:pt x="172433" y="607782"/>
                  </a:lnTo>
                  <a:lnTo>
                    <a:pt x="172614" y="608024"/>
                  </a:lnTo>
                  <a:lnTo>
                    <a:pt x="172524" y="608145"/>
                  </a:lnTo>
                  <a:lnTo>
                    <a:pt x="172070" y="608598"/>
                  </a:lnTo>
                  <a:lnTo>
                    <a:pt x="172221" y="609052"/>
                  </a:lnTo>
                  <a:lnTo>
                    <a:pt x="172433" y="609173"/>
                  </a:lnTo>
                  <a:lnTo>
                    <a:pt x="172645" y="609173"/>
                  </a:lnTo>
                  <a:lnTo>
                    <a:pt x="172796" y="609325"/>
                  </a:lnTo>
                  <a:lnTo>
                    <a:pt x="172524" y="609960"/>
                  </a:lnTo>
                  <a:lnTo>
                    <a:pt x="172342" y="610171"/>
                  </a:lnTo>
                  <a:lnTo>
                    <a:pt x="172403" y="610383"/>
                  </a:lnTo>
                  <a:lnTo>
                    <a:pt x="172796" y="610988"/>
                  </a:lnTo>
                  <a:lnTo>
                    <a:pt x="173946" y="608145"/>
                  </a:lnTo>
                  <a:lnTo>
                    <a:pt x="174157" y="607056"/>
                  </a:lnTo>
                  <a:lnTo>
                    <a:pt x="174914" y="607056"/>
                  </a:lnTo>
                  <a:lnTo>
                    <a:pt x="174702" y="607509"/>
                  </a:lnTo>
                  <a:lnTo>
                    <a:pt x="175277" y="608326"/>
                  </a:lnTo>
                  <a:lnTo>
                    <a:pt x="176819" y="607116"/>
                  </a:lnTo>
                  <a:lnTo>
                    <a:pt x="178332" y="607056"/>
                  </a:lnTo>
                  <a:lnTo>
                    <a:pt x="178967" y="607661"/>
                  </a:lnTo>
                  <a:lnTo>
                    <a:pt x="180783" y="610141"/>
                  </a:lnTo>
                  <a:lnTo>
                    <a:pt x="181781" y="611018"/>
                  </a:lnTo>
                  <a:lnTo>
                    <a:pt x="182870" y="611351"/>
                  </a:lnTo>
                  <a:lnTo>
                    <a:pt x="185925" y="611018"/>
                  </a:lnTo>
                  <a:lnTo>
                    <a:pt x="187377" y="611291"/>
                  </a:lnTo>
                  <a:lnTo>
                    <a:pt x="188436" y="611805"/>
                  </a:lnTo>
                  <a:lnTo>
                    <a:pt x="190765" y="613378"/>
                  </a:lnTo>
                  <a:lnTo>
                    <a:pt x="191280" y="610655"/>
                  </a:lnTo>
                  <a:lnTo>
                    <a:pt x="193609" y="610474"/>
                  </a:lnTo>
                  <a:lnTo>
                    <a:pt x="196392" y="611533"/>
                  </a:lnTo>
                  <a:lnTo>
                    <a:pt x="198237" y="612531"/>
                  </a:lnTo>
                  <a:lnTo>
                    <a:pt x="200173" y="610686"/>
                  </a:lnTo>
                  <a:lnTo>
                    <a:pt x="203380" y="609657"/>
                  </a:lnTo>
                  <a:lnTo>
                    <a:pt x="206617" y="609657"/>
                  </a:lnTo>
                  <a:lnTo>
                    <a:pt x="208614" y="611018"/>
                  </a:lnTo>
                  <a:lnTo>
                    <a:pt x="209794" y="610625"/>
                  </a:lnTo>
                  <a:lnTo>
                    <a:pt x="210973" y="610565"/>
                  </a:lnTo>
                  <a:lnTo>
                    <a:pt x="212002" y="610746"/>
                  </a:lnTo>
                  <a:lnTo>
                    <a:pt x="212758" y="611018"/>
                  </a:lnTo>
                  <a:lnTo>
                    <a:pt x="213363" y="609869"/>
                  </a:lnTo>
                  <a:lnTo>
                    <a:pt x="213514" y="609385"/>
                  </a:lnTo>
                  <a:lnTo>
                    <a:pt x="214150" y="609385"/>
                  </a:lnTo>
                  <a:lnTo>
                    <a:pt x="215209" y="609748"/>
                  </a:lnTo>
                  <a:lnTo>
                    <a:pt x="223407" y="607237"/>
                  </a:lnTo>
                  <a:lnTo>
                    <a:pt x="225948" y="607056"/>
                  </a:lnTo>
                  <a:lnTo>
                    <a:pt x="228912" y="607691"/>
                  </a:lnTo>
                  <a:lnTo>
                    <a:pt x="230032" y="607782"/>
                  </a:lnTo>
                  <a:lnTo>
                    <a:pt x="231181" y="607539"/>
                  </a:lnTo>
                  <a:lnTo>
                    <a:pt x="232422" y="606541"/>
                  </a:lnTo>
                  <a:lnTo>
                    <a:pt x="233541" y="606209"/>
                  </a:lnTo>
                  <a:lnTo>
                    <a:pt x="244250" y="607782"/>
                  </a:lnTo>
                  <a:lnTo>
                    <a:pt x="245974" y="608628"/>
                  </a:lnTo>
                  <a:lnTo>
                    <a:pt x="245974" y="607782"/>
                  </a:lnTo>
                  <a:lnTo>
                    <a:pt x="245702" y="606541"/>
                  </a:lnTo>
                  <a:lnTo>
                    <a:pt x="247608" y="606118"/>
                  </a:lnTo>
                  <a:lnTo>
                    <a:pt x="252448" y="606209"/>
                  </a:lnTo>
                  <a:lnTo>
                    <a:pt x="265577" y="604363"/>
                  </a:lnTo>
                  <a:lnTo>
                    <a:pt x="266606" y="604605"/>
                  </a:lnTo>
                  <a:lnTo>
                    <a:pt x="267392" y="605180"/>
                  </a:lnTo>
                  <a:lnTo>
                    <a:pt x="268058" y="605997"/>
                  </a:lnTo>
                  <a:lnTo>
                    <a:pt x="268058" y="606723"/>
                  </a:lnTo>
                  <a:lnTo>
                    <a:pt x="265124" y="607358"/>
                  </a:lnTo>
                  <a:lnTo>
                    <a:pt x="259739" y="609325"/>
                  </a:lnTo>
                  <a:lnTo>
                    <a:pt x="260404" y="610958"/>
                  </a:lnTo>
                  <a:lnTo>
                    <a:pt x="259557" y="611593"/>
                  </a:lnTo>
                  <a:lnTo>
                    <a:pt x="257924" y="611321"/>
                  </a:lnTo>
                  <a:lnTo>
                    <a:pt x="256320" y="610171"/>
                  </a:lnTo>
                  <a:lnTo>
                    <a:pt x="255776" y="611351"/>
                  </a:lnTo>
                  <a:lnTo>
                    <a:pt x="254959" y="612470"/>
                  </a:lnTo>
                  <a:lnTo>
                    <a:pt x="256320" y="612470"/>
                  </a:lnTo>
                  <a:lnTo>
                    <a:pt x="256320" y="613318"/>
                  </a:lnTo>
                  <a:lnTo>
                    <a:pt x="255564" y="614134"/>
                  </a:lnTo>
                  <a:lnTo>
                    <a:pt x="253567" y="617280"/>
                  </a:lnTo>
                  <a:lnTo>
                    <a:pt x="253114" y="616766"/>
                  </a:lnTo>
                  <a:lnTo>
                    <a:pt x="252478" y="616464"/>
                  </a:lnTo>
                  <a:lnTo>
                    <a:pt x="251661" y="616373"/>
                  </a:lnTo>
                  <a:lnTo>
                    <a:pt x="250724" y="616494"/>
                  </a:lnTo>
                  <a:lnTo>
                    <a:pt x="250724" y="617280"/>
                  </a:lnTo>
                  <a:lnTo>
                    <a:pt x="251420" y="617613"/>
                  </a:lnTo>
                  <a:lnTo>
                    <a:pt x="251813" y="617916"/>
                  </a:lnTo>
                  <a:lnTo>
                    <a:pt x="251813" y="618279"/>
                  </a:lnTo>
                  <a:lnTo>
                    <a:pt x="251540" y="618763"/>
                  </a:lnTo>
                  <a:lnTo>
                    <a:pt x="251722" y="619368"/>
                  </a:lnTo>
                  <a:lnTo>
                    <a:pt x="251843" y="619579"/>
                  </a:lnTo>
                  <a:lnTo>
                    <a:pt x="251843" y="619822"/>
                  </a:lnTo>
                  <a:lnTo>
                    <a:pt x="251510" y="620427"/>
                  </a:lnTo>
                  <a:lnTo>
                    <a:pt x="250875" y="618914"/>
                  </a:lnTo>
                  <a:lnTo>
                    <a:pt x="250694" y="618037"/>
                  </a:lnTo>
                  <a:lnTo>
                    <a:pt x="250149" y="618037"/>
                  </a:lnTo>
                  <a:lnTo>
                    <a:pt x="249181" y="618430"/>
                  </a:lnTo>
                  <a:lnTo>
                    <a:pt x="246973" y="617401"/>
                  </a:lnTo>
                  <a:lnTo>
                    <a:pt x="245944" y="618037"/>
                  </a:lnTo>
                  <a:lnTo>
                    <a:pt x="245278" y="618037"/>
                  </a:lnTo>
                  <a:lnTo>
                    <a:pt x="244764" y="617583"/>
                  </a:lnTo>
                  <a:lnTo>
                    <a:pt x="244311" y="617371"/>
                  </a:lnTo>
                  <a:lnTo>
                    <a:pt x="243796" y="617523"/>
                  </a:lnTo>
                  <a:lnTo>
                    <a:pt x="243161" y="618037"/>
                  </a:lnTo>
                  <a:lnTo>
                    <a:pt x="242435" y="617432"/>
                  </a:lnTo>
                  <a:lnTo>
                    <a:pt x="241467" y="617190"/>
                  </a:lnTo>
                  <a:lnTo>
                    <a:pt x="239077" y="617250"/>
                  </a:lnTo>
                  <a:lnTo>
                    <a:pt x="239077" y="618037"/>
                  </a:lnTo>
                  <a:lnTo>
                    <a:pt x="241073" y="618037"/>
                  </a:lnTo>
                  <a:lnTo>
                    <a:pt x="241073" y="618763"/>
                  </a:lnTo>
                  <a:lnTo>
                    <a:pt x="240226" y="618702"/>
                  </a:lnTo>
                  <a:lnTo>
                    <a:pt x="238502" y="618853"/>
                  </a:lnTo>
                  <a:lnTo>
                    <a:pt x="237655" y="618793"/>
                  </a:lnTo>
                  <a:lnTo>
                    <a:pt x="238018" y="619338"/>
                  </a:lnTo>
                  <a:lnTo>
                    <a:pt x="238230" y="619761"/>
                  </a:lnTo>
                  <a:lnTo>
                    <a:pt x="238502" y="620124"/>
                  </a:lnTo>
                  <a:lnTo>
                    <a:pt x="239107" y="620487"/>
                  </a:lnTo>
                  <a:lnTo>
                    <a:pt x="238381" y="621334"/>
                  </a:lnTo>
                  <a:lnTo>
                    <a:pt x="237050" y="620487"/>
                  </a:lnTo>
                  <a:lnTo>
                    <a:pt x="237685" y="621516"/>
                  </a:lnTo>
                  <a:lnTo>
                    <a:pt x="238472" y="622574"/>
                  </a:lnTo>
                  <a:lnTo>
                    <a:pt x="240499" y="624480"/>
                  </a:lnTo>
                  <a:lnTo>
                    <a:pt x="240499" y="625207"/>
                  </a:lnTo>
                  <a:lnTo>
                    <a:pt x="239440" y="625599"/>
                  </a:lnTo>
                  <a:lnTo>
                    <a:pt x="238563" y="626144"/>
                  </a:lnTo>
                  <a:lnTo>
                    <a:pt x="237806" y="626416"/>
                  </a:lnTo>
                  <a:lnTo>
                    <a:pt x="237050" y="626053"/>
                  </a:lnTo>
                  <a:lnTo>
                    <a:pt x="236657" y="626296"/>
                  </a:lnTo>
                  <a:lnTo>
                    <a:pt x="236354" y="626537"/>
                  </a:lnTo>
                  <a:lnTo>
                    <a:pt x="236082" y="626719"/>
                  </a:lnTo>
                  <a:lnTo>
                    <a:pt x="235628" y="626779"/>
                  </a:lnTo>
                  <a:lnTo>
                    <a:pt x="236808" y="627748"/>
                  </a:lnTo>
                  <a:lnTo>
                    <a:pt x="237413" y="628867"/>
                  </a:lnTo>
                  <a:lnTo>
                    <a:pt x="237292" y="629532"/>
                  </a:lnTo>
                  <a:lnTo>
                    <a:pt x="236354" y="629230"/>
                  </a:lnTo>
                  <a:lnTo>
                    <a:pt x="235658" y="630016"/>
                  </a:lnTo>
                  <a:lnTo>
                    <a:pt x="237534" y="630016"/>
                  </a:lnTo>
                  <a:lnTo>
                    <a:pt x="238926" y="630289"/>
                  </a:lnTo>
                  <a:lnTo>
                    <a:pt x="239894" y="630984"/>
                  </a:lnTo>
                  <a:lnTo>
                    <a:pt x="240529" y="632376"/>
                  </a:lnTo>
                  <a:lnTo>
                    <a:pt x="238654" y="633677"/>
                  </a:lnTo>
                  <a:lnTo>
                    <a:pt x="238048" y="634312"/>
                  </a:lnTo>
                  <a:lnTo>
                    <a:pt x="237716" y="635522"/>
                  </a:lnTo>
                  <a:lnTo>
                    <a:pt x="235991" y="634009"/>
                  </a:lnTo>
                  <a:lnTo>
                    <a:pt x="234358" y="633556"/>
                  </a:lnTo>
                  <a:lnTo>
                    <a:pt x="230848" y="633949"/>
                  </a:lnTo>
                  <a:lnTo>
                    <a:pt x="228912" y="633858"/>
                  </a:lnTo>
                  <a:lnTo>
                    <a:pt x="226886" y="633405"/>
                  </a:lnTo>
                  <a:lnTo>
                    <a:pt x="225252" y="632709"/>
                  </a:lnTo>
                  <a:lnTo>
                    <a:pt x="224617" y="631953"/>
                  </a:lnTo>
                  <a:lnTo>
                    <a:pt x="223558" y="632346"/>
                  </a:lnTo>
                  <a:lnTo>
                    <a:pt x="214755" y="632588"/>
                  </a:lnTo>
                  <a:lnTo>
                    <a:pt x="213393" y="633223"/>
                  </a:lnTo>
                  <a:lnTo>
                    <a:pt x="210822" y="635492"/>
                  </a:lnTo>
                  <a:lnTo>
                    <a:pt x="209642" y="635129"/>
                  </a:lnTo>
                  <a:lnTo>
                    <a:pt x="208342" y="635371"/>
                  </a:lnTo>
                  <a:lnTo>
                    <a:pt x="206920" y="635461"/>
                  </a:lnTo>
                  <a:lnTo>
                    <a:pt x="205347" y="634645"/>
                  </a:lnTo>
                  <a:lnTo>
                    <a:pt x="203894" y="635159"/>
                  </a:lnTo>
                  <a:lnTo>
                    <a:pt x="199296" y="632588"/>
                  </a:lnTo>
                  <a:lnTo>
                    <a:pt x="197088" y="633132"/>
                  </a:lnTo>
                  <a:lnTo>
                    <a:pt x="196543" y="634524"/>
                  </a:lnTo>
                  <a:lnTo>
                    <a:pt x="196453" y="636067"/>
                  </a:lnTo>
                  <a:lnTo>
                    <a:pt x="195908" y="637307"/>
                  </a:lnTo>
                  <a:lnTo>
                    <a:pt x="194002" y="637821"/>
                  </a:lnTo>
                  <a:lnTo>
                    <a:pt x="190402" y="637610"/>
                  </a:lnTo>
                  <a:lnTo>
                    <a:pt x="182991" y="638608"/>
                  </a:lnTo>
                  <a:lnTo>
                    <a:pt x="180540" y="638396"/>
                  </a:lnTo>
                  <a:lnTo>
                    <a:pt x="179603" y="638608"/>
                  </a:lnTo>
                  <a:lnTo>
                    <a:pt x="178483" y="639394"/>
                  </a:lnTo>
                  <a:lnTo>
                    <a:pt x="177334" y="640725"/>
                  </a:lnTo>
                  <a:lnTo>
                    <a:pt x="176910" y="642571"/>
                  </a:lnTo>
                  <a:lnTo>
                    <a:pt x="176033" y="643750"/>
                  </a:lnTo>
                  <a:lnTo>
                    <a:pt x="174762" y="644295"/>
                  </a:lnTo>
                  <a:lnTo>
                    <a:pt x="173068" y="644295"/>
                  </a:lnTo>
                  <a:lnTo>
                    <a:pt x="171404" y="643902"/>
                  </a:lnTo>
                  <a:lnTo>
                    <a:pt x="170134" y="643418"/>
                  </a:lnTo>
                  <a:lnTo>
                    <a:pt x="170134" y="644144"/>
                  </a:lnTo>
                  <a:lnTo>
                    <a:pt x="170981" y="644567"/>
                  </a:lnTo>
                  <a:lnTo>
                    <a:pt x="171435" y="645142"/>
                  </a:lnTo>
                  <a:lnTo>
                    <a:pt x="171435" y="645838"/>
                  </a:lnTo>
                  <a:lnTo>
                    <a:pt x="170830" y="646534"/>
                  </a:lnTo>
                  <a:lnTo>
                    <a:pt x="171193" y="646624"/>
                  </a:lnTo>
                  <a:lnTo>
                    <a:pt x="171465" y="646624"/>
                  </a:lnTo>
                  <a:lnTo>
                    <a:pt x="171616" y="646775"/>
                  </a:lnTo>
                  <a:lnTo>
                    <a:pt x="171616" y="647260"/>
                  </a:lnTo>
                  <a:lnTo>
                    <a:pt x="172857" y="646594"/>
                  </a:lnTo>
                  <a:lnTo>
                    <a:pt x="173976" y="646655"/>
                  </a:lnTo>
                  <a:lnTo>
                    <a:pt x="174762" y="647411"/>
                  </a:lnTo>
                  <a:lnTo>
                    <a:pt x="175004" y="648833"/>
                  </a:lnTo>
                  <a:lnTo>
                    <a:pt x="176154" y="648409"/>
                  </a:lnTo>
                  <a:lnTo>
                    <a:pt x="177152" y="648470"/>
                  </a:lnTo>
                  <a:lnTo>
                    <a:pt x="179421" y="648863"/>
                  </a:lnTo>
                  <a:lnTo>
                    <a:pt x="180177" y="649135"/>
                  </a:lnTo>
                  <a:lnTo>
                    <a:pt x="181418" y="650285"/>
                  </a:lnTo>
                  <a:lnTo>
                    <a:pt x="181872" y="650497"/>
                  </a:lnTo>
                  <a:lnTo>
                    <a:pt x="182355" y="650224"/>
                  </a:lnTo>
                  <a:lnTo>
                    <a:pt x="182779" y="649650"/>
                  </a:lnTo>
                  <a:lnTo>
                    <a:pt x="183233" y="648863"/>
                  </a:lnTo>
                  <a:lnTo>
                    <a:pt x="190070" y="646564"/>
                  </a:lnTo>
                  <a:lnTo>
                    <a:pt x="190614" y="647774"/>
                  </a:lnTo>
                  <a:lnTo>
                    <a:pt x="191673" y="647865"/>
                  </a:lnTo>
                  <a:lnTo>
                    <a:pt x="193155" y="647472"/>
                  </a:lnTo>
                  <a:lnTo>
                    <a:pt x="194970" y="647260"/>
                  </a:lnTo>
                  <a:lnTo>
                    <a:pt x="196634" y="647532"/>
                  </a:lnTo>
                  <a:lnTo>
                    <a:pt x="198449" y="648137"/>
                  </a:lnTo>
                  <a:lnTo>
                    <a:pt x="201777" y="649680"/>
                  </a:lnTo>
                  <a:lnTo>
                    <a:pt x="201989" y="647169"/>
                  </a:lnTo>
                  <a:lnTo>
                    <a:pt x="203380" y="643539"/>
                  </a:lnTo>
                  <a:lnTo>
                    <a:pt x="203108" y="642541"/>
                  </a:lnTo>
                  <a:lnTo>
                    <a:pt x="203108" y="641754"/>
                  </a:lnTo>
                  <a:lnTo>
                    <a:pt x="204560" y="640877"/>
                  </a:lnTo>
                  <a:lnTo>
                    <a:pt x="206678" y="638336"/>
                  </a:lnTo>
                  <a:lnTo>
                    <a:pt x="208342" y="637821"/>
                  </a:lnTo>
                  <a:lnTo>
                    <a:pt x="209915" y="638003"/>
                  </a:lnTo>
                  <a:lnTo>
                    <a:pt x="211185" y="638336"/>
                  </a:lnTo>
                  <a:lnTo>
                    <a:pt x="212335" y="638396"/>
                  </a:lnTo>
                  <a:lnTo>
                    <a:pt x="213514" y="637821"/>
                  </a:lnTo>
                  <a:lnTo>
                    <a:pt x="213514" y="638608"/>
                  </a:lnTo>
                  <a:lnTo>
                    <a:pt x="215390" y="637821"/>
                  </a:lnTo>
                  <a:lnTo>
                    <a:pt x="217387" y="638214"/>
                  </a:lnTo>
                  <a:lnTo>
                    <a:pt x="219141" y="639213"/>
                  </a:lnTo>
                  <a:lnTo>
                    <a:pt x="220382" y="640181"/>
                  </a:lnTo>
                  <a:lnTo>
                    <a:pt x="221077" y="640181"/>
                  </a:lnTo>
                  <a:lnTo>
                    <a:pt x="221834" y="638789"/>
                  </a:lnTo>
                  <a:lnTo>
                    <a:pt x="222469" y="639001"/>
                  </a:lnTo>
                  <a:lnTo>
                    <a:pt x="223104" y="639788"/>
                  </a:lnTo>
                  <a:lnTo>
                    <a:pt x="223830" y="640181"/>
                  </a:lnTo>
                  <a:lnTo>
                    <a:pt x="224587" y="639606"/>
                  </a:lnTo>
                  <a:lnTo>
                    <a:pt x="225373" y="638729"/>
                  </a:lnTo>
                  <a:lnTo>
                    <a:pt x="226069" y="638577"/>
                  </a:lnTo>
                  <a:lnTo>
                    <a:pt x="226583" y="640151"/>
                  </a:lnTo>
                  <a:lnTo>
                    <a:pt x="228066" y="639455"/>
                  </a:lnTo>
                  <a:lnTo>
                    <a:pt x="229306" y="638336"/>
                  </a:lnTo>
                  <a:lnTo>
                    <a:pt x="230244" y="637942"/>
                  </a:lnTo>
                  <a:lnTo>
                    <a:pt x="230758" y="639364"/>
                  </a:lnTo>
                  <a:lnTo>
                    <a:pt x="231454" y="639364"/>
                  </a:lnTo>
                  <a:lnTo>
                    <a:pt x="232936" y="638608"/>
                  </a:lnTo>
                  <a:lnTo>
                    <a:pt x="236838" y="637519"/>
                  </a:lnTo>
                  <a:lnTo>
                    <a:pt x="238321" y="636127"/>
                  </a:lnTo>
                  <a:lnTo>
                    <a:pt x="238835" y="637337"/>
                  </a:lnTo>
                  <a:lnTo>
                    <a:pt x="239621" y="637458"/>
                  </a:lnTo>
                  <a:lnTo>
                    <a:pt x="241799" y="636097"/>
                  </a:lnTo>
                  <a:lnTo>
                    <a:pt x="243524" y="633616"/>
                  </a:lnTo>
                  <a:lnTo>
                    <a:pt x="244401" y="633072"/>
                  </a:lnTo>
                  <a:lnTo>
                    <a:pt x="245581" y="632890"/>
                  </a:lnTo>
                  <a:lnTo>
                    <a:pt x="246761" y="633162"/>
                  </a:lnTo>
                  <a:lnTo>
                    <a:pt x="247275" y="634161"/>
                  </a:lnTo>
                  <a:lnTo>
                    <a:pt x="247426" y="636551"/>
                  </a:lnTo>
                  <a:lnTo>
                    <a:pt x="247971" y="638547"/>
                  </a:lnTo>
                  <a:lnTo>
                    <a:pt x="246640" y="637398"/>
                  </a:lnTo>
                  <a:lnTo>
                    <a:pt x="246246" y="636914"/>
                  </a:lnTo>
                  <a:lnTo>
                    <a:pt x="245883" y="636127"/>
                  </a:lnTo>
                  <a:lnTo>
                    <a:pt x="245218" y="636974"/>
                  </a:lnTo>
                  <a:lnTo>
                    <a:pt x="244038" y="637912"/>
                  </a:lnTo>
                  <a:lnTo>
                    <a:pt x="243282" y="638577"/>
                  </a:lnTo>
                  <a:lnTo>
                    <a:pt x="243070" y="639334"/>
                  </a:lnTo>
                  <a:lnTo>
                    <a:pt x="243615" y="640060"/>
                  </a:lnTo>
                  <a:lnTo>
                    <a:pt x="245611" y="640241"/>
                  </a:lnTo>
                  <a:lnTo>
                    <a:pt x="246579" y="640907"/>
                  </a:lnTo>
                  <a:lnTo>
                    <a:pt x="246519" y="642571"/>
                  </a:lnTo>
                  <a:lnTo>
                    <a:pt x="244946" y="643630"/>
                  </a:lnTo>
                  <a:lnTo>
                    <a:pt x="243463" y="643508"/>
                  </a:lnTo>
                  <a:lnTo>
                    <a:pt x="243826" y="641663"/>
                  </a:lnTo>
                  <a:lnTo>
                    <a:pt x="242828" y="642208"/>
                  </a:lnTo>
                  <a:lnTo>
                    <a:pt x="239017" y="642450"/>
                  </a:lnTo>
                  <a:lnTo>
                    <a:pt x="239077" y="642601"/>
                  </a:lnTo>
                  <a:lnTo>
                    <a:pt x="238654" y="643115"/>
                  </a:lnTo>
                  <a:lnTo>
                    <a:pt x="238048" y="643690"/>
                  </a:lnTo>
                  <a:lnTo>
                    <a:pt x="237595" y="644053"/>
                  </a:lnTo>
                  <a:lnTo>
                    <a:pt x="236959" y="644174"/>
                  </a:lnTo>
                  <a:lnTo>
                    <a:pt x="234842" y="644053"/>
                  </a:lnTo>
                  <a:lnTo>
                    <a:pt x="235507" y="644840"/>
                  </a:lnTo>
                  <a:lnTo>
                    <a:pt x="231907" y="645626"/>
                  </a:lnTo>
                  <a:lnTo>
                    <a:pt x="231393" y="646049"/>
                  </a:lnTo>
                  <a:lnTo>
                    <a:pt x="231817" y="647078"/>
                  </a:lnTo>
                  <a:lnTo>
                    <a:pt x="232815" y="647532"/>
                  </a:lnTo>
                  <a:lnTo>
                    <a:pt x="233964" y="647532"/>
                  </a:lnTo>
                  <a:lnTo>
                    <a:pt x="234842" y="647169"/>
                  </a:lnTo>
                  <a:lnTo>
                    <a:pt x="235568" y="647592"/>
                  </a:lnTo>
                  <a:lnTo>
                    <a:pt x="236748" y="648046"/>
                  </a:lnTo>
                  <a:lnTo>
                    <a:pt x="237837" y="648167"/>
                  </a:lnTo>
                  <a:lnTo>
                    <a:pt x="238321" y="647623"/>
                  </a:lnTo>
                  <a:lnTo>
                    <a:pt x="238411" y="646201"/>
                  </a:lnTo>
                  <a:lnTo>
                    <a:pt x="238684" y="645838"/>
                  </a:lnTo>
                  <a:lnTo>
                    <a:pt x="239682" y="646473"/>
                  </a:lnTo>
                  <a:lnTo>
                    <a:pt x="240680" y="647441"/>
                  </a:lnTo>
                  <a:lnTo>
                    <a:pt x="241013" y="648833"/>
                  </a:lnTo>
                  <a:lnTo>
                    <a:pt x="240680" y="650194"/>
                  </a:lnTo>
                  <a:lnTo>
                    <a:pt x="239682" y="651192"/>
                  </a:lnTo>
                  <a:lnTo>
                    <a:pt x="239682" y="651918"/>
                  </a:lnTo>
                  <a:lnTo>
                    <a:pt x="240559" y="651313"/>
                  </a:lnTo>
                  <a:lnTo>
                    <a:pt x="242495" y="649619"/>
                  </a:lnTo>
                  <a:lnTo>
                    <a:pt x="243857" y="651192"/>
                  </a:lnTo>
                  <a:lnTo>
                    <a:pt x="242435" y="652675"/>
                  </a:lnTo>
                  <a:lnTo>
                    <a:pt x="241436" y="654036"/>
                  </a:lnTo>
                  <a:lnTo>
                    <a:pt x="240287" y="655155"/>
                  </a:lnTo>
                  <a:lnTo>
                    <a:pt x="238321" y="655972"/>
                  </a:lnTo>
                  <a:lnTo>
                    <a:pt x="230758" y="655972"/>
                  </a:lnTo>
                  <a:lnTo>
                    <a:pt x="231302" y="656759"/>
                  </a:lnTo>
                  <a:lnTo>
                    <a:pt x="231605" y="657122"/>
                  </a:lnTo>
                  <a:lnTo>
                    <a:pt x="232119" y="657485"/>
                  </a:lnTo>
                  <a:lnTo>
                    <a:pt x="231907" y="657848"/>
                  </a:lnTo>
                  <a:lnTo>
                    <a:pt x="231635" y="658695"/>
                  </a:lnTo>
                  <a:lnTo>
                    <a:pt x="231423" y="659058"/>
                  </a:lnTo>
                  <a:lnTo>
                    <a:pt x="232573" y="660238"/>
                  </a:lnTo>
                  <a:lnTo>
                    <a:pt x="233904" y="660933"/>
                  </a:lnTo>
                  <a:lnTo>
                    <a:pt x="235205" y="660691"/>
                  </a:lnTo>
                  <a:lnTo>
                    <a:pt x="236233" y="659088"/>
                  </a:lnTo>
                  <a:lnTo>
                    <a:pt x="236687" y="660116"/>
                  </a:lnTo>
                  <a:lnTo>
                    <a:pt x="237443" y="660479"/>
                  </a:lnTo>
                  <a:lnTo>
                    <a:pt x="238442" y="660359"/>
                  </a:lnTo>
                  <a:lnTo>
                    <a:pt x="239652" y="659875"/>
                  </a:lnTo>
                  <a:lnTo>
                    <a:pt x="239470" y="659481"/>
                  </a:lnTo>
                  <a:lnTo>
                    <a:pt x="239228" y="658664"/>
                  </a:lnTo>
                  <a:lnTo>
                    <a:pt x="239017" y="658301"/>
                  </a:lnTo>
                  <a:lnTo>
                    <a:pt x="239924" y="658060"/>
                  </a:lnTo>
                  <a:lnTo>
                    <a:pt x="240378" y="657848"/>
                  </a:lnTo>
                  <a:lnTo>
                    <a:pt x="240650" y="657454"/>
                  </a:lnTo>
                  <a:lnTo>
                    <a:pt x="241043" y="656728"/>
                  </a:lnTo>
                  <a:lnTo>
                    <a:pt x="243705" y="657575"/>
                  </a:lnTo>
                  <a:lnTo>
                    <a:pt x="246065" y="655821"/>
                  </a:lnTo>
                  <a:lnTo>
                    <a:pt x="248001" y="652977"/>
                  </a:lnTo>
                  <a:lnTo>
                    <a:pt x="249362" y="650436"/>
                  </a:lnTo>
                  <a:lnTo>
                    <a:pt x="251177" y="647955"/>
                  </a:lnTo>
                  <a:lnTo>
                    <a:pt x="253144" y="646594"/>
                  </a:lnTo>
                  <a:lnTo>
                    <a:pt x="258347" y="644900"/>
                  </a:lnTo>
                  <a:lnTo>
                    <a:pt x="258166" y="644295"/>
                  </a:lnTo>
                  <a:lnTo>
                    <a:pt x="258045" y="644295"/>
                  </a:lnTo>
                  <a:lnTo>
                    <a:pt x="257561" y="644114"/>
                  </a:lnTo>
                  <a:lnTo>
                    <a:pt x="257954" y="643750"/>
                  </a:lnTo>
                  <a:lnTo>
                    <a:pt x="258196" y="643478"/>
                  </a:lnTo>
                  <a:lnTo>
                    <a:pt x="258347" y="643115"/>
                  </a:lnTo>
                  <a:lnTo>
                    <a:pt x="258347" y="642541"/>
                  </a:lnTo>
                  <a:lnTo>
                    <a:pt x="259013" y="643055"/>
                  </a:lnTo>
                  <a:lnTo>
                    <a:pt x="259678" y="643418"/>
                  </a:lnTo>
                  <a:lnTo>
                    <a:pt x="260344" y="641633"/>
                  </a:lnTo>
                  <a:lnTo>
                    <a:pt x="261765" y="641270"/>
                  </a:lnTo>
                  <a:lnTo>
                    <a:pt x="263369" y="641754"/>
                  </a:lnTo>
                  <a:lnTo>
                    <a:pt x="264579" y="642541"/>
                  </a:lnTo>
                  <a:lnTo>
                    <a:pt x="263913" y="639939"/>
                  </a:lnTo>
                  <a:lnTo>
                    <a:pt x="259920" y="637156"/>
                  </a:lnTo>
                  <a:lnTo>
                    <a:pt x="260374" y="634645"/>
                  </a:lnTo>
                  <a:lnTo>
                    <a:pt x="258982" y="633495"/>
                  </a:lnTo>
                  <a:lnTo>
                    <a:pt x="258710" y="631831"/>
                  </a:lnTo>
                  <a:lnTo>
                    <a:pt x="259376" y="629926"/>
                  </a:lnTo>
                  <a:lnTo>
                    <a:pt x="260797" y="628050"/>
                  </a:lnTo>
                  <a:lnTo>
                    <a:pt x="262401" y="627385"/>
                  </a:lnTo>
                  <a:lnTo>
                    <a:pt x="263944" y="628080"/>
                  </a:lnTo>
                  <a:lnTo>
                    <a:pt x="265365" y="629260"/>
                  </a:lnTo>
                  <a:lnTo>
                    <a:pt x="266576" y="630016"/>
                  </a:lnTo>
                  <a:lnTo>
                    <a:pt x="266576" y="630803"/>
                  </a:lnTo>
                  <a:lnTo>
                    <a:pt x="263974" y="631257"/>
                  </a:lnTo>
                  <a:lnTo>
                    <a:pt x="262915" y="631741"/>
                  </a:lnTo>
                  <a:lnTo>
                    <a:pt x="262461" y="632769"/>
                  </a:lnTo>
                  <a:lnTo>
                    <a:pt x="262885" y="633768"/>
                  </a:lnTo>
                  <a:lnTo>
                    <a:pt x="263944" y="634070"/>
                  </a:lnTo>
                  <a:lnTo>
                    <a:pt x="266606" y="633919"/>
                  </a:lnTo>
                  <a:lnTo>
                    <a:pt x="266394" y="633283"/>
                  </a:lnTo>
                  <a:lnTo>
                    <a:pt x="266001" y="631468"/>
                  </a:lnTo>
                  <a:lnTo>
                    <a:pt x="266606" y="631468"/>
                  </a:lnTo>
                  <a:lnTo>
                    <a:pt x="267634" y="632134"/>
                  </a:lnTo>
                  <a:lnTo>
                    <a:pt x="272838" y="634584"/>
                  </a:lnTo>
                  <a:lnTo>
                    <a:pt x="274774" y="634494"/>
                  </a:lnTo>
                  <a:lnTo>
                    <a:pt x="275832" y="633314"/>
                  </a:lnTo>
                  <a:lnTo>
                    <a:pt x="276619" y="631590"/>
                  </a:lnTo>
                  <a:lnTo>
                    <a:pt x="277678" y="629926"/>
                  </a:lnTo>
                  <a:lnTo>
                    <a:pt x="276649" y="628988"/>
                  </a:lnTo>
                  <a:lnTo>
                    <a:pt x="275681" y="628927"/>
                  </a:lnTo>
                  <a:lnTo>
                    <a:pt x="274834" y="629169"/>
                  </a:lnTo>
                  <a:lnTo>
                    <a:pt x="274199" y="629109"/>
                  </a:lnTo>
                  <a:lnTo>
                    <a:pt x="273533" y="628474"/>
                  </a:lnTo>
                  <a:lnTo>
                    <a:pt x="272898" y="627687"/>
                  </a:lnTo>
                  <a:lnTo>
                    <a:pt x="272838" y="626991"/>
                  </a:lnTo>
                  <a:lnTo>
                    <a:pt x="273866" y="626689"/>
                  </a:lnTo>
                  <a:lnTo>
                    <a:pt x="276801" y="626386"/>
                  </a:lnTo>
                  <a:lnTo>
                    <a:pt x="278827" y="625811"/>
                  </a:lnTo>
                  <a:lnTo>
                    <a:pt x="279735" y="624753"/>
                  </a:lnTo>
                  <a:lnTo>
                    <a:pt x="279977" y="623694"/>
                  </a:lnTo>
                  <a:lnTo>
                    <a:pt x="280431" y="623633"/>
                  </a:lnTo>
                  <a:lnTo>
                    <a:pt x="280884" y="624329"/>
                  </a:lnTo>
                  <a:lnTo>
                    <a:pt x="281096" y="625570"/>
                  </a:lnTo>
                  <a:lnTo>
                    <a:pt x="281247" y="625933"/>
                  </a:lnTo>
                  <a:lnTo>
                    <a:pt x="281489" y="626144"/>
                  </a:lnTo>
                  <a:lnTo>
                    <a:pt x="281762" y="626447"/>
                  </a:lnTo>
                  <a:lnTo>
                    <a:pt x="281883" y="627142"/>
                  </a:lnTo>
                  <a:lnTo>
                    <a:pt x="281671" y="627536"/>
                  </a:lnTo>
                  <a:lnTo>
                    <a:pt x="281217" y="627626"/>
                  </a:lnTo>
                  <a:lnTo>
                    <a:pt x="280521" y="627566"/>
                  </a:lnTo>
                  <a:lnTo>
                    <a:pt x="280884" y="629986"/>
                  </a:lnTo>
                  <a:lnTo>
                    <a:pt x="281671" y="631105"/>
                  </a:lnTo>
                  <a:lnTo>
                    <a:pt x="283093" y="631438"/>
                  </a:lnTo>
                  <a:lnTo>
                    <a:pt x="285362" y="631438"/>
                  </a:lnTo>
                  <a:lnTo>
                    <a:pt x="285362" y="632285"/>
                  </a:lnTo>
                  <a:lnTo>
                    <a:pt x="283970" y="633072"/>
                  </a:lnTo>
                  <a:lnTo>
                    <a:pt x="285089" y="633435"/>
                  </a:lnTo>
                  <a:lnTo>
                    <a:pt x="286088" y="633526"/>
                  </a:lnTo>
                  <a:lnTo>
                    <a:pt x="287056" y="633737"/>
                  </a:lnTo>
                  <a:lnTo>
                    <a:pt x="288084" y="634524"/>
                  </a:lnTo>
                  <a:lnTo>
                    <a:pt x="287752" y="631680"/>
                  </a:lnTo>
                  <a:lnTo>
                    <a:pt x="289930" y="630530"/>
                  </a:lnTo>
                  <a:lnTo>
                    <a:pt x="292925" y="630984"/>
                  </a:lnTo>
                  <a:lnTo>
                    <a:pt x="294195" y="632316"/>
                  </a:lnTo>
                  <a:lnTo>
                    <a:pt x="294437" y="633223"/>
                  </a:lnTo>
                  <a:lnTo>
                    <a:pt x="294437" y="633344"/>
                  </a:lnTo>
                  <a:lnTo>
                    <a:pt x="295012" y="633828"/>
                  </a:lnTo>
                  <a:lnTo>
                    <a:pt x="295072" y="632951"/>
                  </a:lnTo>
                  <a:lnTo>
                    <a:pt x="295224" y="632467"/>
                  </a:lnTo>
                  <a:lnTo>
                    <a:pt x="295677" y="631408"/>
                  </a:lnTo>
                  <a:lnTo>
                    <a:pt x="296373" y="631408"/>
                  </a:lnTo>
                  <a:lnTo>
                    <a:pt x="295950" y="632073"/>
                  </a:lnTo>
                  <a:lnTo>
                    <a:pt x="295950" y="632467"/>
                  </a:lnTo>
                  <a:lnTo>
                    <a:pt x="296192" y="632709"/>
                  </a:lnTo>
                  <a:lnTo>
                    <a:pt x="296373" y="633042"/>
                  </a:lnTo>
                  <a:lnTo>
                    <a:pt x="296040" y="633132"/>
                  </a:lnTo>
                  <a:lnTo>
                    <a:pt x="295768" y="633132"/>
                  </a:lnTo>
                  <a:lnTo>
                    <a:pt x="295617" y="633283"/>
                  </a:lnTo>
                  <a:lnTo>
                    <a:pt x="295617" y="633828"/>
                  </a:lnTo>
                  <a:lnTo>
                    <a:pt x="296736" y="634947"/>
                  </a:lnTo>
                  <a:lnTo>
                    <a:pt x="297008" y="637065"/>
                  </a:lnTo>
                  <a:lnTo>
                    <a:pt x="296585" y="639334"/>
                  </a:lnTo>
                  <a:lnTo>
                    <a:pt x="295677" y="640907"/>
                  </a:lnTo>
                  <a:lnTo>
                    <a:pt x="296948" y="644083"/>
                  </a:lnTo>
                  <a:lnTo>
                    <a:pt x="297674" y="644840"/>
                  </a:lnTo>
                  <a:lnTo>
                    <a:pt x="298945" y="643085"/>
                  </a:lnTo>
                  <a:lnTo>
                    <a:pt x="300276" y="642661"/>
                  </a:lnTo>
                  <a:lnTo>
                    <a:pt x="301334" y="643508"/>
                  </a:lnTo>
                  <a:lnTo>
                    <a:pt x="301849" y="645626"/>
                  </a:lnTo>
                  <a:lnTo>
                    <a:pt x="302545" y="645626"/>
                  </a:lnTo>
                  <a:lnTo>
                    <a:pt x="305570" y="644204"/>
                  </a:lnTo>
                  <a:lnTo>
                    <a:pt x="310077" y="645051"/>
                  </a:lnTo>
                  <a:lnTo>
                    <a:pt x="313738" y="647381"/>
                  </a:lnTo>
                  <a:lnTo>
                    <a:pt x="314252" y="650406"/>
                  </a:lnTo>
                  <a:lnTo>
                    <a:pt x="315976" y="649922"/>
                  </a:lnTo>
                  <a:lnTo>
                    <a:pt x="316974" y="650315"/>
                  </a:lnTo>
                  <a:lnTo>
                    <a:pt x="318003" y="651132"/>
                  </a:lnTo>
                  <a:lnTo>
                    <a:pt x="319727" y="651918"/>
                  </a:lnTo>
                  <a:lnTo>
                    <a:pt x="319727" y="652766"/>
                  </a:lnTo>
                  <a:lnTo>
                    <a:pt x="318184" y="653098"/>
                  </a:lnTo>
                  <a:lnTo>
                    <a:pt x="317307" y="653885"/>
                  </a:lnTo>
                  <a:lnTo>
                    <a:pt x="317307" y="654944"/>
                  </a:lnTo>
                  <a:lnTo>
                    <a:pt x="318336" y="656002"/>
                  </a:lnTo>
                  <a:lnTo>
                    <a:pt x="319606" y="656274"/>
                  </a:lnTo>
                  <a:lnTo>
                    <a:pt x="321331" y="656154"/>
                  </a:lnTo>
                  <a:lnTo>
                    <a:pt x="322450" y="655548"/>
                  </a:lnTo>
                  <a:lnTo>
                    <a:pt x="321815" y="654369"/>
                  </a:lnTo>
                  <a:lnTo>
                    <a:pt x="323327" y="653340"/>
                  </a:lnTo>
                  <a:lnTo>
                    <a:pt x="325021" y="651555"/>
                  </a:lnTo>
                  <a:lnTo>
                    <a:pt x="325656" y="649619"/>
                  </a:lnTo>
                  <a:lnTo>
                    <a:pt x="323872" y="648107"/>
                  </a:lnTo>
                  <a:lnTo>
                    <a:pt x="324477" y="649710"/>
                  </a:lnTo>
                  <a:lnTo>
                    <a:pt x="324265" y="650769"/>
                  </a:lnTo>
                  <a:lnTo>
                    <a:pt x="323690" y="651677"/>
                  </a:lnTo>
                  <a:lnTo>
                    <a:pt x="323115" y="652826"/>
                  </a:lnTo>
                  <a:lnTo>
                    <a:pt x="322480" y="652826"/>
                  </a:lnTo>
                  <a:lnTo>
                    <a:pt x="322117" y="652342"/>
                  </a:lnTo>
                  <a:lnTo>
                    <a:pt x="321089" y="651283"/>
                  </a:lnTo>
                  <a:lnTo>
                    <a:pt x="321754" y="650466"/>
                  </a:lnTo>
                  <a:lnTo>
                    <a:pt x="321179" y="650164"/>
                  </a:lnTo>
                  <a:lnTo>
                    <a:pt x="320907" y="649831"/>
                  </a:lnTo>
                  <a:lnTo>
                    <a:pt x="320393" y="648833"/>
                  </a:lnTo>
                  <a:lnTo>
                    <a:pt x="321663" y="648530"/>
                  </a:lnTo>
                  <a:lnTo>
                    <a:pt x="321663" y="647713"/>
                  </a:lnTo>
                  <a:lnTo>
                    <a:pt x="321391" y="646655"/>
                  </a:lnTo>
                  <a:lnTo>
                    <a:pt x="321754" y="645717"/>
                  </a:lnTo>
                  <a:lnTo>
                    <a:pt x="322480" y="645293"/>
                  </a:lnTo>
                  <a:lnTo>
                    <a:pt x="323297" y="645082"/>
                  </a:lnTo>
                  <a:lnTo>
                    <a:pt x="325203" y="644930"/>
                  </a:lnTo>
                  <a:lnTo>
                    <a:pt x="325203" y="644144"/>
                  </a:lnTo>
                  <a:lnTo>
                    <a:pt x="324507" y="644144"/>
                  </a:lnTo>
                  <a:lnTo>
                    <a:pt x="324507" y="643418"/>
                  </a:lnTo>
                  <a:lnTo>
                    <a:pt x="325838" y="642178"/>
                  </a:lnTo>
                  <a:lnTo>
                    <a:pt x="327714" y="640090"/>
                  </a:lnTo>
                  <a:lnTo>
                    <a:pt x="329347" y="638940"/>
                  </a:lnTo>
                  <a:lnTo>
                    <a:pt x="330043" y="640604"/>
                  </a:lnTo>
                  <a:lnTo>
                    <a:pt x="331072" y="641693"/>
                  </a:lnTo>
                  <a:lnTo>
                    <a:pt x="338907" y="644749"/>
                  </a:lnTo>
                  <a:lnTo>
                    <a:pt x="345169" y="648863"/>
                  </a:lnTo>
                  <a:lnTo>
                    <a:pt x="345774" y="649498"/>
                  </a:lnTo>
                  <a:lnTo>
                    <a:pt x="346469" y="650376"/>
                  </a:lnTo>
                  <a:lnTo>
                    <a:pt x="346984" y="651404"/>
                  </a:lnTo>
                  <a:lnTo>
                    <a:pt x="347226" y="652433"/>
                  </a:lnTo>
                  <a:lnTo>
                    <a:pt x="346591" y="653340"/>
                  </a:lnTo>
                  <a:lnTo>
                    <a:pt x="345411" y="653643"/>
                  </a:lnTo>
                  <a:lnTo>
                    <a:pt x="344564" y="653249"/>
                  </a:lnTo>
                  <a:lnTo>
                    <a:pt x="345139" y="652009"/>
                  </a:lnTo>
                  <a:lnTo>
                    <a:pt x="345139" y="651283"/>
                  </a:lnTo>
                  <a:lnTo>
                    <a:pt x="343596" y="651918"/>
                  </a:lnTo>
                  <a:lnTo>
                    <a:pt x="342295" y="653612"/>
                  </a:lnTo>
                  <a:lnTo>
                    <a:pt x="341055" y="654732"/>
                  </a:lnTo>
                  <a:lnTo>
                    <a:pt x="339633" y="653582"/>
                  </a:lnTo>
                  <a:lnTo>
                    <a:pt x="338937" y="654671"/>
                  </a:lnTo>
                  <a:lnTo>
                    <a:pt x="338060" y="656789"/>
                  </a:lnTo>
                  <a:lnTo>
                    <a:pt x="337485" y="657545"/>
                  </a:lnTo>
                  <a:lnTo>
                    <a:pt x="338604" y="659239"/>
                  </a:lnTo>
                  <a:lnTo>
                    <a:pt x="339149" y="660782"/>
                  </a:lnTo>
                  <a:lnTo>
                    <a:pt x="338725" y="661901"/>
                  </a:lnTo>
                  <a:lnTo>
                    <a:pt x="336880" y="662355"/>
                  </a:lnTo>
                  <a:lnTo>
                    <a:pt x="339088" y="662657"/>
                  </a:lnTo>
                  <a:lnTo>
                    <a:pt x="343898" y="660933"/>
                  </a:lnTo>
                  <a:lnTo>
                    <a:pt x="345108" y="662355"/>
                  </a:lnTo>
                  <a:lnTo>
                    <a:pt x="345865" y="662355"/>
                  </a:lnTo>
                  <a:lnTo>
                    <a:pt x="346984" y="661811"/>
                  </a:lnTo>
                  <a:lnTo>
                    <a:pt x="347528" y="663777"/>
                  </a:lnTo>
                  <a:lnTo>
                    <a:pt x="347922" y="667770"/>
                  </a:lnTo>
                  <a:lnTo>
                    <a:pt x="347922" y="668617"/>
                  </a:lnTo>
                  <a:lnTo>
                    <a:pt x="347075" y="668829"/>
                  </a:lnTo>
                  <a:lnTo>
                    <a:pt x="346469" y="669162"/>
                  </a:lnTo>
                  <a:lnTo>
                    <a:pt x="345139" y="670190"/>
                  </a:lnTo>
                  <a:lnTo>
                    <a:pt x="345139" y="670916"/>
                  </a:lnTo>
                  <a:lnTo>
                    <a:pt x="346651" y="671673"/>
                  </a:lnTo>
                  <a:lnTo>
                    <a:pt x="347922" y="673185"/>
                  </a:lnTo>
                  <a:lnTo>
                    <a:pt x="348527" y="675151"/>
                  </a:lnTo>
                  <a:lnTo>
                    <a:pt x="347922" y="677239"/>
                  </a:lnTo>
                  <a:lnTo>
                    <a:pt x="348285" y="677390"/>
                  </a:lnTo>
                  <a:lnTo>
                    <a:pt x="348436" y="677390"/>
                  </a:lnTo>
                  <a:lnTo>
                    <a:pt x="348496" y="677511"/>
                  </a:lnTo>
                  <a:lnTo>
                    <a:pt x="348557" y="678025"/>
                  </a:lnTo>
                  <a:lnTo>
                    <a:pt x="347407" y="678176"/>
                  </a:lnTo>
                  <a:lnTo>
                    <a:pt x="346409" y="678600"/>
                  </a:lnTo>
                  <a:lnTo>
                    <a:pt x="345653" y="679326"/>
                  </a:lnTo>
                  <a:lnTo>
                    <a:pt x="345139" y="680385"/>
                  </a:lnTo>
                  <a:lnTo>
                    <a:pt x="346137" y="680385"/>
                  </a:lnTo>
                  <a:lnTo>
                    <a:pt x="346802" y="680566"/>
                  </a:lnTo>
                  <a:lnTo>
                    <a:pt x="347952" y="681262"/>
                  </a:lnTo>
                  <a:lnTo>
                    <a:pt x="347226" y="681988"/>
                  </a:lnTo>
                  <a:lnTo>
                    <a:pt x="350009" y="681988"/>
                  </a:lnTo>
                  <a:lnTo>
                    <a:pt x="350009" y="682835"/>
                  </a:lnTo>
                  <a:lnTo>
                    <a:pt x="349737" y="683319"/>
                  </a:lnTo>
                  <a:lnTo>
                    <a:pt x="349646" y="683652"/>
                  </a:lnTo>
                  <a:lnTo>
                    <a:pt x="350009" y="685165"/>
                  </a:lnTo>
                  <a:lnTo>
                    <a:pt x="351400" y="684287"/>
                  </a:lnTo>
                  <a:lnTo>
                    <a:pt x="353064" y="686223"/>
                  </a:lnTo>
                  <a:lnTo>
                    <a:pt x="359084" y="688008"/>
                  </a:lnTo>
                  <a:lnTo>
                    <a:pt x="360385" y="689430"/>
                  </a:lnTo>
                  <a:lnTo>
                    <a:pt x="361262" y="691124"/>
                  </a:lnTo>
                  <a:lnTo>
                    <a:pt x="361716" y="691517"/>
                  </a:lnTo>
                  <a:lnTo>
                    <a:pt x="367857" y="696842"/>
                  </a:lnTo>
                  <a:lnTo>
                    <a:pt x="368583" y="696025"/>
                  </a:lnTo>
                  <a:lnTo>
                    <a:pt x="369128" y="696751"/>
                  </a:lnTo>
                  <a:lnTo>
                    <a:pt x="369733" y="697961"/>
                  </a:lnTo>
                  <a:lnTo>
                    <a:pt x="370610" y="698506"/>
                  </a:lnTo>
                  <a:lnTo>
                    <a:pt x="371367" y="698143"/>
                  </a:lnTo>
                  <a:lnTo>
                    <a:pt x="371790" y="697477"/>
                  </a:lnTo>
                  <a:lnTo>
                    <a:pt x="372153" y="696690"/>
                  </a:lnTo>
                  <a:lnTo>
                    <a:pt x="372667" y="695995"/>
                  </a:lnTo>
                  <a:lnTo>
                    <a:pt x="373182" y="695481"/>
                  </a:lnTo>
                  <a:lnTo>
                    <a:pt x="373424" y="695148"/>
                  </a:lnTo>
                  <a:lnTo>
                    <a:pt x="373817" y="694906"/>
                  </a:lnTo>
                  <a:lnTo>
                    <a:pt x="374845" y="694512"/>
                  </a:lnTo>
                  <a:lnTo>
                    <a:pt x="375481" y="694633"/>
                  </a:lnTo>
                  <a:lnTo>
                    <a:pt x="375844" y="695148"/>
                  </a:lnTo>
                  <a:lnTo>
                    <a:pt x="376237" y="695329"/>
                  </a:lnTo>
                  <a:lnTo>
                    <a:pt x="376812" y="694512"/>
                  </a:lnTo>
                  <a:lnTo>
                    <a:pt x="377175" y="697689"/>
                  </a:lnTo>
                  <a:lnTo>
                    <a:pt x="377689" y="698717"/>
                  </a:lnTo>
                  <a:lnTo>
                    <a:pt x="378869" y="697628"/>
                  </a:lnTo>
                  <a:lnTo>
                    <a:pt x="385131" y="700956"/>
                  </a:lnTo>
                  <a:lnTo>
                    <a:pt x="387854" y="701531"/>
                  </a:lnTo>
                  <a:lnTo>
                    <a:pt x="395961" y="701410"/>
                  </a:lnTo>
                  <a:lnTo>
                    <a:pt x="398139" y="702317"/>
                  </a:lnTo>
                  <a:lnTo>
                    <a:pt x="397020" y="702227"/>
                  </a:lnTo>
                  <a:lnTo>
                    <a:pt x="395961" y="702348"/>
                  </a:lnTo>
                  <a:lnTo>
                    <a:pt x="394963" y="702680"/>
                  </a:lnTo>
                  <a:lnTo>
                    <a:pt x="394055" y="703134"/>
                  </a:lnTo>
                  <a:lnTo>
                    <a:pt x="394055" y="703830"/>
                  </a:lnTo>
                  <a:lnTo>
                    <a:pt x="399198" y="703134"/>
                  </a:lnTo>
                  <a:lnTo>
                    <a:pt x="399954" y="703679"/>
                  </a:lnTo>
                  <a:lnTo>
                    <a:pt x="400075" y="704707"/>
                  </a:lnTo>
                  <a:lnTo>
                    <a:pt x="399470" y="705343"/>
                  </a:lnTo>
                  <a:lnTo>
                    <a:pt x="398109" y="704707"/>
                  </a:lnTo>
                  <a:lnTo>
                    <a:pt x="399107" y="707097"/>
                  </a:lnTo>
                  <a:lnTo>
                    <a:pt x="402556" y="708610"/>
                  </a:lnTo>
                  <a:lnTo>
                    <a:pt x="402979" y="710939"/>
                  </a:lnTo>
                  <a:lnTo>
                    <a:pt x="404613" y="708882"/>
                  </a:lnTo>
                  <a:lnTo>
                    <a:pt x="404673" y="708519"/>
                  </a:lnTo>
                  <a:lnTo>
                    <a:pt x="405762" y="708307"/>
                  </a:lnTo>
                  <a:lnTo>
                    <a:pt x="406065" y="707884"/>
                  </a:lnTo>
                  <a:lnTo>
                    <a:pt x="406125" y="707369"/>
                  </a:lnTo>
                  <a:lnTo>
                    <a:pt x="406458" y="706946"/>
                  </a:lnTo>
                  <a:lnTo>
                    <a:pt x="407668" y="706432"/>
                  </a:lnTo>
                  <a:lnTo>
                    <a:pt x="408908" y="706250"/>
                  </a:lnTo>
                  <a:lnTo>
                    <a:pt x="410119" y="706643"/>
                  </a:lnTo>
                  <a:lnTo>
                    <a:pt x="411268" y="707823"/>
                  </a:lnTo>
                  <a:lnTo>
                    <a:pt x="411722" y="707339"/>
                  </a:lnTo>
                  <a:lnTo>
                    <a:pt x="412024" y="707158"/>
                  </a:lnTo>
                  <a:lnTo>
                    <a:pt x="413356" y="706976"/>
                  </a:lnTo>
                  <a:lnTo>
                    <a:pt x="413023" y="707430"/>
                  </a:lnTo>
                  <a:lnTo>
                    <a:pt x="412811" y="707793"/>
                  </a:lnTo>
                  <a:lnTo>
                    <a:pt x="412509" y="708156"/>
                  </a:lnTo>
                  <a:lnTo>
                    <a:pt x="411964" y="708549"/>
                  </a:lnTo>
                  <a:lnTo>
                    <a:pt x="411964" y="709396"/>
                  </a:lnTo>
                  <a:lnTo>
                    <a:pt x="413749" y="709124"/>
                  </a:lnTo>
                  <a:lnTo>
                    <a:pt x="415352" y="708458"/>
                  </a:lnTo>
                  <a:lnTo>
                    <a:pt x="416774" y="707460"/>
                  </a:lnTo>
                  <a:lnTo>
                    <a:pt x="418135" y="706189"/>
                  </a:lnTo>
                  <a:lnTo>
                    <a:pt x="416078" y="706189"/>
                  </a:lnTo>
                  <a:lnTo>
                    <a:pt x="416078" y="705403"/>
                  </a:lnTo>
                  <a:lnTo>
                    <a:pt x="418559" y="704677"/>
                  </a:lnTo>
                  <a:lnTo>
                    <a:pt x="419527" y="704677"/>
                  </a:lnTo>
                  <a:lnTo>
                    <a:pt x="419587" y="704132"/>
                  </a:lnTo>
                  <a:lnTo>
                    <a:pt x="419436" y="703981"/>
                  </a:lnTo>
                  <a:lnTo>
                    <a:pt x="419164" y="703981"/>
                  </a:lnTo>
                  <a:lnTo>
                    <a:pt x="418831" y="703830"/>
                  </a:lnTo>
                  <a:lnTo>
                    <a:pt x="420222" y="703164"/>
                  </a:lnTo>
                  <a:lnTo>
                    <a:pt x="423974" y="702378"/>
                  </a:lnTo>
                  <a:lnTo>
                    <a:pt x="425668" y="701531"/>
                  </a:lnTo>
                  <a:lnTo>
                    <a:pt x="427029" y="700260"/>
                  </a:lnTo>
                  <a:lnTo>
                    <a:pt x="427513" y="700018"/>
                  </a:lnTo>
                  <a:lnTo>
                    <a:pt x="428421" y="699958"/>
                  </a:lnTo>
                  <a:lnTo>
                    <a:pt x="429691" y="700169"/>
                  </a:lnTo>
                  <a:lnTo>
                    <a:pt x="430871" y="700532"/>
                  </a:lnTo>
                  <a:lnTo>
                    <a:pt x="432021" y="700593"/>
                  </a:lnTo>
                  <a:lnTo>
                    <a:pt x="433231" y="699927"/>
                  </a:lnTo>
                  <a:lnTo>
                    <a:pt x="434743" y="700139"/>
                  </a:lnTo>
                  <a:lnTo>
                    <a:pt x="441520" y="696811"/>
                  </a:lnTo>
                  <a:lnTo>
                    <a:pt x="441520" y="695964"/>
                  </a:lnTo>
                  <a:lnTo>
                    <a:pt x="439402" y="695964"/>
                  </a:lnTo>
                  <a:lnTo>
                    <a:pt x="440733" y="695450"/>
                  </a:lnTo>
                  <a:lnTo>
                    <a:pt x="441731" y="695813"/>
                  </a:lnTo>
                  <a:lnTo>
                    <a:pt x="442518" y="696479"/>
                  </a:lnTo>
                  <a:lnTo>
                    <a:pt x="443244" y="696811"/>
                  </a:lnTo>
                  <a:lnTo>
                    <a:pt x="447025" y="697598"/>
                  </a:lnTo>
                  <a:lnTo>
                    <a:pt x="447086" y="696781"/>
                  </a:lnTo>
                  <a:lnTo>
                    <a:pt x="447025" y="695964"/>
                  </a:lnTo>
                  <a:lnTo>
                    <a:pt x="448447" y="696811"/>
                  </a:lnTo>
                  <a:lnTo>
                    <a:pt x="448447" y="695874"/>
                  </a:lnTo>
                  <a:lnTo>
                    <a:pt x="449082" y="693695"/>
                  </a:lnTo>
                  <a:lnTo>
                    <a:pt x="449718" y="695238"/>
                  </a:lnTo>
                  <a:lnTo>
                    <a:pt x="449839" y="695964"/>
                  </a:lnTo>
                  <a:lnTo>
                    <a:pt x="450474" y="695964"/>
                  </a:lnTo>
                  <a:lnTo>
                    <a:pt x="450565" y="693575"/>
                  </a:lnTo>
                  <a:lnTo>
                    <a:pt x="450958" y="691880"/>
                  </a:lnTo>
                  <a:lnTo>
                    <a:pt x="451866" y="690882"/>
                  </a:lnTo>
                  <a:lnTo>
                    <a:pt x="459429" y="689702"/>
                  </a:lnTo>
                  <a:lnTo>
                    <a:pt x="461516" y="689763"/>
                  </a:lnTo>
                  <a:lnTo>
                    <a:pt x="472164" y="694301"/>
                  </a:lnTo>
                  <a:lnTo>
                    <a:pt x="474554" y="693665"/>
                  </a:lnTo>
                  <a:lnTo>
                    <a:pt x="475734" y="694664"/>
                  </a:lnTo>
                  <a:lnTo>
                    <a:pt x="476158" y="696660"/>
                  </a:lnTo>
                  <a:lnTo>
                    <a:pt x="475976" y="701470"/>
                  </a:lnTo>
                  <a:lnTo>
                    <a:pt x="478880" y="699141"/>
                  </a:lnTo>
                  <a:lnTo>
                    <a:pt x="480241" y="697659"/>
                  </a:lnTo>
                  <a:lnTo>
                    <a:pt x="481331" y="695087"/>
                  </a:lnTo>
                  <a:lnTo>
                    <a:pt x="482540" y="694029"/>
                  </a:lnTo>
                  <a:lnTo>
                    <a:pt x="483962" y="693060"/>
                  </a:lnTo>
                  <a:lnTo>
                    <a:pt x="484991" y="692123"/>
                  </a:lnTo>
                  <a:lnTo>
                    <a:pt x="484235" y="691911"/>
                  </a:lnTo>
                  <a:lnTo>
                    <a:pt x="484053" y="691639"/>
                  </a:lnTo>
                  <a:lnTo>
                    <a:pt x="483992" y="691578"/>
                  </a:lnTo>
                  <a:lnTo>
                    <a:pt x="483539" y="692092"/>
                  </a:lnTo>
                  <a:lnTo>
                    <a:pt x="482843" y="692092"/>
                  </a:lnTo>
                  <a:lnTo>
                    <a:pt x="484053" y="689733"/>
                  </a:lnTo>
                  <a:lnTo>
                    <a:pt x="486746" y="687585"/>
                  </a:lnTo>
                  <a:lnTo>
                    <a:pt x="488198" y="685921"/>
                  </a:lnTo>
                  <a:lnTo>
                    <a:pt x="485596" y="685074"/>
                  </a:lnTo>
                  <a:lnTo>
                    <a:pt x="486352" y="683410"/>
                  </a:lnTo>
                  <a:lnTo>
                    <a:pt x="484900" y="682654"/>
                  </a:lnTo>
                  <a:lnTo>
                    <a:pt x="483811" y="681051"/>
                  </a:lnTo>
                  <a:lnTo>
                    <a:pt x="483630" y="679084"/>
                  </a:lnTo>
                  <a:lnTo>
                    <a:pt x="484991" y="677178"/>
                  </a:lnTo>
                  <a:lnTo>
                    <a:pt x="484900" y="676180"/>
                  </a:lnTo>
                  <a:lnTo>
                    <a:pt x="487108" y="673064"/>
                  </a:lnTo>
                  <a:lnTo>
                    <a:pt x="488319" y="669011"/>
                  </a:lnTo>
                  <a:lnTo>
                    <a:pt x="489862" y="667225"/>
                  </a:lnTo>
                  <a:lnTo>
                    <a:pt x="493249" y="664594"/>
                  </a:lnTo>
                  <a:lnTo>
                    <a:pt x="492977" y="663232"/>
                  </a:lnTo>
                  <a:lnTo>
                    <a:pt x="494369" y="659179"/>
                  </a:lnTo>
                  <a:lnTo>
                    <a:pt x="494611" y="656759"/>
                  </a:lnTo>
                  <a:lnTo>
                    <a:pt x="493945" y="657545"/>
                  </a:lnTo>
                  <a:lnTo>
                    <a:pt x="493371" y="656214"/>
                  </a:lnTo>
                  <a:lnTo>
                    <a:pt x="492645" y="655276"/>
                  </a:lnTo>
                  <a:lnTo>
                    <a:pt x="492040" y="654096"/>
                  </a:lnTo>
                  <a:lnTo>
                    <a:pt x="491858" y="652009"/>
                  </a:lnTo>
                  <a:lnTo>
                    <a:pt x="492100" y="650345"/>
                  </a:lnTo>
                  <a:lnTo>
                    <a:pt x="492523" y="649165"/>
                  </a:lnTo>
                  <a:lnTo>
                    <a:pt x="493159" y="648228"/>
                  </a:lnTo>
                  <a:lnTo>
                    <a:pt x="493945" y="647290"/>
                  </a:lnTo>
                  <a:lnTo>
                    <a:pt x="493945" y="646564"/>
                  </a:lnTo>
                  <a:lnTo>
                    <a:pt x="492856" y="644840"/>
                  </a:lnTo>
                  <a:lnTo>
                    <a:pt x="492735" y="642782"/>
                  </a:lnTo>
                  <a:lnTo>
                    <a:pt x="493249" y="639031"/>
                  </a:lnTo>
                  <a:lnTo>
                    <a:pt x="493249" y="635492"/>
                  </a:lnTo>
                  <a:lnTo>
                    <a:pt x="493733" y="634554"/>
                  </a:lnTo>
                  <a:lnTo>
                    <a:pt x="495034" y="632527"/>
                  </a:lnTo>
                  <a:lnTo>
                    <a:pt x="496456" y="628958"/>
                  </a:lnTo>
                  <a:lnTo>
                    <a:pt x="499179" y="626507"/>
                  </a:lnTo>
                  <a:lnTo>
                    <a:pt x="504987" y="622877"/>
                  </a:lnTo>
                  <a:lnTo>
                    <a:pt x="509041" y="625781"/>
                  </a:lnTo>
                  <a:lnTo>
                    <a:pt x="511188" y="626961"/>
                  </a:lnTo>
                  <a:lnTo>
                    <a:pt x="513972" y="627657"/>
                  </a:lnTo>
                  <a:lnTo>
                    <a:pt x="530459" y="626779"/>
                  </a:lnTo>
                  <a:lnTo>
                    <a:pt x="570814" y="632376"/>
                  </a:lnTo>
                  <a:lnTo>
                    <a:pt x="574384" y="634282"/>
                  </a:lnTo>
                  <a:lnTo>
                    <a:pt x="574626" y="637065"/>
                  </a:lnTo>
                  <a:lnTo>
                    <a:pt x="577530" y="637549"/>
                  </a:lnTo>
                  <a:lnTo>
                    <a:pt x="596498" y="645323"/>
                  </a:lnTo>
                  <a:lnTo>
                    <a:pt x="597950" y="646897"/>
                  </a:lnTo>
                  <a:lnTo>
                    <a:pt x="599643" y="648198"/>
                  </a:lnTo>
                  <a:lnTo>
                    <a:pt x="607267" y="651313"/>
                  </a:lnTo>
                  <a:lnTo>
                    <a:pt x="609355" y="651616"/>
                  </a:lnTo>
                  <a:lnTo>
                    <a:pt x="610595" y="651465"/>
                  </a:lnTo>
                  <a:lnTo>
                    <a:pt x="611865" y="652614"/>
                  </a:lnTo>
                  <a:lnTo>
                    <a:pt x="613862" y="655185"/>
                  </a:lnTo>
                  <a:lnTo>
                    <a:pt x="617704" y="656698"/>
                  </a:lnTo>
                  <a:lnTo>
                    <a:pt x="618641" y="657515"/>
                  </a:lnTo>
                  <a:lnTo>
                    <a:pt x="620427" y="657182"/>
                  </a:lnTo>
                  <a:lnTo>
                    <a:pt x="623240" y="657606"/>
                  </a:lnTo>
                  <a:lnTo>
                    <a:pt x="625811" y="658453"/>
                  </a:lnTo>
                  <a:lnTo>
                    <a:pt x="626961" y="659451"/>
                  </a:lnTo>
                  <a:lnTo>
                    <a:pt x="627838" y="660570"/>
                  </a:lnTo>
                  <a:lnTo>
                    <a:pt x="629865" y="660842"/>
                  </a:lnTo>
                  <a:lnTo>
                    <a:pt x="633919" y="660691"/>
                  </a:lnTo>
                  <a:lnTo>
                    <a:pt x="634523" y="660994"/>
                  </a:lnTo>
                  <a:lnTo>
                    <a:pt x="635129" y="661508"/>
                  </a:lnTo>
                  <a:lnTo>
                    <a:pt x="635915" y="662022"/>
                  </a:lnTo>
                  <a:lnTo>
                    <a:pt x="637004" y="662265"/>
                  </a:lnTo>
                  <a:lnTo>
                    <a:pt x="638154" y="662265"/>
                  </a:lnTo>
                  <a:lnTo>
                    <a:pt x="639031" y="662416"/>
                  </a:lnTo>
                  <a:lnTo>
                    <a:pt x="639757" y="662779"/>
                  </a:lnTo>
                  <a:lnTo>
                    <a:pt x="645898" y="668526"/>
                  </a:lnTo>
                  <a:lnTo>
                    <a:pt x="647411" y="669343"/>
                  </a:lnTo>
                  <a:lnTo>
                    <a:pt x="648651" y="671219"/>
                  </a:lnTo>
                  <a:lnTo>
                    <a:pt x="650405" y="674758"/>
                  </a:lnTo>
                  <a:lnTo>
                    <a:pt x="650708" y="674819"/>
                  </a:lnTo>
                  <a:lnTo>
                    <a:pt x="652069" y="675333"/>
                  </a:lnTo>
                  <a:lnTo>
                    <a:pt x="652372" y="675726"/>
                  </a:lnTo>
                  <a:lnTo>
                    <a:pt x="653521" y="677511"/>
                  </a:lnTo>
                  <a:lnTo>
                    <a:pt x="654671" y="678933"/>
                  </a:lnTo>
                  <a:lnTo>
                    <a:pt x="655064" y="679750"/>
                  </a:lnTo>
                  <a:lnTo>
                    <a:pt x="655216" y="680688"/>
                  </a:lnTo>
                  <a:lnTo>
                    <a:pt x="656456" y="683985"/>
                  </a:lnTo>
                  <a:lnTo>
                    <a:pt x="662567" y="688916"/>
                  </a:lnTo>
                  <a:lnTo>
                    <a:pt x="664926" y="692062"/>
                  </a:lnTo>
                  <a:lnTo>
                    <a:pt x="665199" y="693060"/>
                  </a:lnTo>
                  <a:lnTo>
                    <a:pt x="665592" y="696297"/>
                  </a:lnTo>
                  <a:lnTo>
                    <a:pt x="666046" y="696963"/>
                  </a:lnTo>
                  <a:lnTo>
                    <a:pt x="667921" y="698143"/>
                  </a:lnTo>
                  <a:lnTo>
                    <a:pt x="668345" y="698717"/>
                  </a:lnTo>
                  <a:lnTo>
                    <a:pt x="669191" y="698808"/>
                  </a:lnTo>
                  <a:lnTo>
                    <a:pt x="673881" y="704586"/>
                  </a:lnTo>
                  <a:lnTo>
                    <a:pt x="675514" y="705463"/>
                  </a:lnTo>
                  <a:lnTo>
                    <a:pt x="677571" y="706008"/>
                  </a:lnTo>
                  <a:lnTo>
                    <a:pt x="679326" y="706704"/>
                  </a:lnTo>
                  <a:lnTo>
                    <a:pt x="680052" y="708065"/>
                  </a:lnTo>
                  <a:lnTo>
                    <a:pt x="681081" y="709094"/>
                  </a:lnTo>
                  <a:lnTo>
                    <a:pt x="688765" y="713178"/>
                  </a:lnTo>
                  <a:lnTo>
                    <a:pt x="690579" y="713631"/>
                  </a:lnTo>
                  <a:lnTo>
                    <a:pt x="694240" y="713934"/>
                  </a:lnTo>
                  <a:lnTo>
                    <a:pt x="694633" y="714176"/>
                  </a:lnTo>
                  <a:lnTo>
                    <a:pt x="700744" y="717836"/>
                  </a:lnTo>
                  <a:lnTo>
                    <a:pt x="704586" y="719561"/>
                  </a:lnTo>
                  <a:lnTo>
                    <a:pt x="713631" y="721527"/>
                  </a:lnTo>
                  <a:lnTo>
                    <a:pt x="717957" y="721799"/>
                  </a:lnTo>
                  <a:lnTo>
                    <a:pt x="723281" y="717927"/>
                  </a:lnTo>
                  <a:lnTo>
                    <a:pt x="724129" y="716687"/>
                  </a:lnTo>
                  <a:lnTo>
                    <a:pt x="725278" y="716324"/>
                  </a:lnTo>
                  <a:lnTo>
                    <a:pt x="731752" y="713087"/>
                  </a:lnTo>
                  <a:lnTo>
                    <a:pt x="733718" y="713178"/>
                  </a:lnTo>
                  <a:lnTo>
                    <a:pt x="740403" y="714720"/>
                  </a:lnTo>
                  <a:lnTo>
                    <a:pt x="743580" y="714569"/>
                  </a:lnTo>
                  <a:lnTo>
                    <a:pt x="744850" y="714720"/>
                  </a:lnTo>
                  <a:lnTo>
                    <a:pt x="745788" y="715083"/>
                  </a:lnTo>
                  <a:lnTo>
                    <a:pt x="746121" y="715446"/>
                  </a:lnTo>
                  <a:lnTo>
                    <a:pt x="746514" y="715446"/>
                  </a:lnTo>
                  <a:lnTo>
                    <a:pt x="747604" y="714690"/>
                  </a:lnTo>
                  <a:lnTo>
                    <a:pt x="748965" y="713056"/>
                  </a:lnTo>
                  <a:lnTo>
                    <a:pt x="749903" y="711272"/>
                  </a:lnTo>
                  <a:lnTo>
                    <a:pt x="751173" y="709820"/>
                  </a:lnTo>
                  <a:lnTo>
                    <a:pt x="753472" y="709214"/>
                  </a:lnTo>
                  <a:lnTo>
                    <a:pt x="754501" y="709457"/>
                  </a:lnTo>
                  <a:lnTo>
                    <a:pt x="756649" y="710515"/>
                  </a:lnTo>
                  <a:lnTo>
                    <a:pt x="757889" y="710818"/>
                  </a:lnTo>
                  <a:lnTo>
                    <a:pt x="759039" y="710727"/>
                  </a:lnTo>
                  <a:lnTo>
                    <a:pt x="762003" y="709971"/>
                  </a:lnTo>
                  <a:lnTo>
                    <a:pt x="766481" y="710062"/>
                  </a:lnTo>
                  <a:lnTo>
                    <a:pt x="768689" y="709820"/>
                  </a:lnTo>
                  <a:lnTo>
                    <a:pt x="770564" y="707793"/>
                  </a:lnTo>
                  <a:lnTo>
                    <a:pt x="772682" y="708035"/>
                  </a:lnTo>
                  <a:lnTo>
                    <a:pt x="776555" y="709275"/>
                  </a:lnTo>
                  <a:lnTo>
                    <a:pt x="778037" y="708942"/>
                  </a:lnTo>
                  <a:lnTo>
                    <a:pt x="781606" y="707248"/>
                  </a:lnTo>
                  <a:lnTo>
                    <a:pt x="783784" y="706855"/>
                  </a:lnTo>
                  <a:lnTo>
                    <a:pt x="785811" y="707127"/>
                  </a:lnTo>
                  <a:lnTo>
                    <a:pt x="790107" y="708186"/>
                  </a:lnTo>
                  <a:lnTo>
                    <a:pt x="792437" y="708428"/>
                  </a:lnTo>
                  <a:lnTo>
                    <a:pt x="792437" y="709275"/>
                  </a:lnTo>
                  <a:lnTo>
                    <a:pt x="791044" y="710001"/>
                  </a:lnTo>
                  <a:lnTo>
                    <a:pt x="793222" y="710364"/>
                  </a:lnTo>
                  <a:lnTo>
                    <a:pt x="795431" y="708398"/>
                  </a:lnTo>
                  <a:lnTo>
                    <a:pt x="797700" y="705645"/>
                  </a:lnTo>
                  <a:lnTo>
                    <a:pt x="800059" y="703739"/>
                  </a:lnTo>
                  <a:lnTo>
                    <a:pt x="801512" y="703194"/>
                  </a:lnTo>
                  <a:lnTo>
                    <a:pt x="802843" y="702922"/>
                  </a:lnTo>
                  <a:lnTo>
                    <a:pt x="803781" y="703376"/>
                  </a:lnTo>
                  <a:lnTo>
                    <a:pt x="804143" y="704949"/>
                  </a:lnTo>
                  <a:lnTo>
                    <a:pt x="806655" y="708579"/>
                  </a:lnTo>
                  <a:lnTo>
                    <a:pt x="806957" y="709275"/>
                  </a:lnTo>
                  <a:lnTo>
                    <a:pt x="807532" y="708458"/>
                  </a:lnTo>
                  <a:lnTo>
                    <a:pt x="808197" y="705373"/>
                  </a:lnTo>
                  <a:lnTo>
                    <a:pt x="808681" y="704163"/>
                  </a:lnTo>
                  <a:lnTo>
                    <a:pt x="811737" y="701077"/>
                  </a:lnTo>
                  <a:lnTo>
                    <a:pt x="812493" y="700532"/>
                  </a:lnTo>
                  <a:lnTo>
                    <a:pt x="815911" y="699201"/>
                  </a:lnTo>
                  <a:lnTo>
                    <a:pt x="816909" y="699050"/>
                  </a:lnTo>
                  <a:lnTo>
                    <a:pt x="818150" y="698566"/>
                  </a:lnTo>
                  <a:lnTo>
                    <a:pt x="819633" y="696176"/>
                  </a:lnTo>
                  <a:lnTo>
                    <a:pt x="820751" y="695208"/>
                  </a:lnTo>
                  <a:lnTo>
                    <a:pt x="820449" y="694755"/>
                  </a:lnTo>
                  <a:lnTo>
                    <a:pt x="820147" y="694543"/>
                  </a:lnTo>
                  <a:lnTo>
                    <a:pt x="819390" y="694361"/>
                  </a:lnTo>
                  <a:lnTo>
                    <a:pt x="821085" y="693847"/>
                  </a:lnTo>
                  <a:lnTo>
                    <a:pt x="822052" y="692849"/>
                  </a:lnTo>
                  <a:lnTo>
                    <a:pt x="823837" y="690035"/>
                  </a:lnTo>
                  <a:lnTo>
                    <a:pt x="825410" y="688886"/>
                  </a:lnTo>
                  <a:lnTo>
                    <a:pt x="826620" y="689188"/>
                  </a:lnTo>
                  <a:lnTo>
                    <a:pt x="827831" y="689975"/>
                  </a:lnTo>
                  <a:lnTo>
                    <a:pt x="829373" y="690428"/>
                  </a:lnTo>
                  <a:lnTo>
                    <a:pt x="831430" y="691699"/>
                  </a:lnTo>
                  <a:lnTo>
                    <a:pt x="832943" y="694573"/>
                  </a:lnTo>
                  <a:lnTo>
                    <a:pt x="833427" y="697719"/>
                  </a:lnTo>
                  <a:lnTo>
                    <a:pt x="832489" y="699776"/>
                  </a:lnTo>
                  <a:lnTo>
                    <a:pt x="832489" y="700502"/>
                  </a:lnTo>
                  <a:lnTo>
                    <a:pt x="834243" y="700502"/>
                  </a:lnTo>
                  <a:lnTo>
                    <a:pt x="834789" y="699686"/>
                  </a:lnTo>
                  <a:lnTo>
                    <a:pt x="834848" y="698324"/>
                  </a:lnTo>
                  <a:lnTo>
                    <a:pt x="835212" y="696660"/>
                  </a:lnTo>
                  <a:lnTo>
                    <a:pt x="836059" y="695238"/>
                  </a:lnTo>
                  <a:lnTo>
                    <a:pt x="837934" y="692909"/>
                  </a:lnTo>
                  <a:lnTo>
                    <a:pt x="838176" y="692183"/>
                  </a:lnTo>
                  <a:lnTo>
                    <a:pt x="837843" y="692516"/>
                  </a:lnTo>
                  <a:lnTo>
                    <a:pt x="837269" y="692697"/>
                  </a:lnTo>
                  <a:lnTo>
                    <a:pt x="838328" y="690277"/>
                  </a:lnTo>
                  <a:lnTo>
                    <a:pt x="841080" y="689400"/>
                  </a:lnTo>
                  <a:lnTo>
                    <a:pt x="844166" y="688795"/>
                  </a:lnTo>
                  <a:lnTo>
                    <a:pt x="846193" y="687312"/>
                  </a:lnTo>
                  <a:lnTo>
                    <a:pt x="846405" y="684257"/>
                  </a:lnTo>
                  <a:lnTo>
                    <a:pt x="845891" y="680627"/>
                  </a:lnTo>
                  <a:lnTo>
                    <a:pt x="846133" y="677572"/>
                  </a:lnTo>
                  <a:lnTo>
                    <a:pt x="849611" y="675787"/>
                  </a:lnTo>
                  <a:lnTo>
                    <a:pt x="853181" y="672399"/>
                  </a:lnTo>
                  <a:lnTo>
                    <a:pt x="855268" y="671491"/>
                  </a:lnTo>
                  <a:lnTo>
                    <a:pt x="856236" y="670765"/>
                  </a:lnTo>
                  <a:lnTo>
                    <a:pt x="856630" y="669615"/>
                  </a:lnTo>
                  <a:lnTo>
                    <a:pt x="857507" y="667891"/>
                  </a:lnTo>
                  <a:lnTo>
                    <a:pt x="866129" y="657727"/>
                  </a:lnTo>
                  <a:lnTo>
                    <a:pt x="869275" y="655246"/>
                  </a:lnTo>
                  <a:lnTo>
                    <a:pt x="880105" y="649014"/>
                  </a:lnTo>
                  <a:lnTo>
                    <a:pt x="888938" y="641693"/>
                  </a:lnTo>
                  <a:lnTo>
                    <a:pt x="892024" y="640120"/>
                  </a:lnTo>
                  <a:lnTo>
                    <a:pt x="892538" y="639636"/>
                  </a:lnTo>
                  <a:lnTo>
                    <a:pt x="893506" y="637488"/>
                  </a:lnTo>
                  <a:lnTo>
                    <a:pt x="894081" y="637004"/>
                  </a:lnTo>
                  <a:lnTo>
                    <a:pt x="897167" y="635431"/>
                  </a:lnTo>
                  <a:lnTo>
                    <a:pt x="898286" y="635008"/>
                  </a:lnTo>
                  <a:lnTo>
                    <a:pt x="901342" y="634584"/>
                  </a:lnTo>
                  <a:lnTo>
                    <a:pt x="907997" y="631680"/>
                  </a:lnTo>
                  <a:lnTo>
                    <a:pt x="912323" y="630773"/>
                  </a:lnTo>
                  <a:lnTo>
                    <a:pt x="915257" y="632285"/>
                  </a:lnTo>
                  <a:lnTo>
                    <a:pt x="915831" y="631438"/>
                  </a:lnTo>
                  <a:lnTo>
                    <a:pt x="924060" y="635431"/>
                  </a:lnTo>
                  <a:lnTo>
                    <a:pt x="928174" y="639515"/>
                  </a:lnTo>
                  <a:lnTo>
                    <a:pt x="929626" y="640151"/>
                  </a:lnTo>
                  <a:lnTo>
                    <a:pt x="929082" y="641966"/>
                  </a:lnTo>
                  <a:lnTo>
                    <a:pt x="928870" y="642510"/>
                  </a:lnTo>
                  <a:lnTo>
                    <a:pt x="930231" y="641966"/>
                  </a:lnTo>
                  <a:lnTo>
                    <a:pt x="931835" y="641663"/>
                  </a:lnTo>
                  <a:lnTo>
                    <a:pt x="932168" y="641663"/>
                  </a:lnTo>
                  <a:lnTo>
                    <a:pt x="933499" y="641603"/>
                  </a:lnTo>
                  <a:lnTo>
                    <a:pt x="935102" y="641754"/>
                  </a:lnTo>
                  <a:lnTo>
                    <a:pt x="937098" y="642419"/>
                  </a:lnTo>
                  <a:lnTo>
                    <a:pt x="940305" y="644446"/>
                  </a:lnTo>
                  <a:lnTo>
                    <a:pt x="943088" y="645354"/>
                  </a:lnTo>
                  <a:lnTo>
                    <a:pt x="968530" y="659451"/>
                  </a:lnTo>
                  <a:lnTo>
                    <a:pt x="969952" y="659844"/>
                  </a:lnTo>
                  <a:lnTo>
                    <a:pt x="971101" y="660359"/>
                  </a:lnTo>
                  <a:lnTo>
                    <a:pt x="972674" y="662537"/>
                  </a:lnTo>
                  <a:lnTo>
                    <a:pt x="973703" y="663051"/>
                  </a:lnTo>
                  <a:lnTo>
                    <a:pt x="973915" y="662688"/>
                  </a:lnTo>
                  <a:lnTo>
                    <a:pt x="976546" y="660722"/>
                  </a:lnTo>
                  <a:lnTo>
                    <a:pt x="978694" y="660026"/>
                  </a:lnTo>
                  <a:lnTo>
                    <a:pt x="979602" y="659542"/>
                  </a:lnTo>
                  <a:lnTo>
                    <a:pt x="979965" y="658695"/>
                  </a:lnTo>
                  <a:lnTo>
                    <a:pt x="980479" y="658180"/>
                  </a:lnTo>
                  <a:lnTo>
                    <a:pt x="982899" y="656971"/>
                  </a:lnTo>
                  <a:lnTo>
                    <a:pt x="983747" y="656728"/>
                  </a:lnTo>
                  <a:lnTo>
                    <a:pt x="988103" y="657243"/>
                  </a:lnTo>
                  <a:lnTo>
                    <a:pt x="992368" y="658301"/>
                  </a:lnTo>
                  <a:lnTo>
                    <a:pt x="988919" y="656971"/>
                  </a:lnTo>
                  <a:lnTo>
                    <a:pt x="988072" y="656668"/>
                  </a:lnTo>
                  <a:lnTo>
                    <a:pt x="987074" y="656486"/>
                  </a:lnTo>
                  <a:lnTo>
                    <a:pt x="987346" y="655488"/>
                  </a:lnTo>
                  <a:lnTo>
                    <a:pt x="988224" y="654732"/>
                  </a:lnTo>
                  <a:lnTo>
                    <a:pt x="989585" y="654399"/>
                  </a:lnTo>
                  <a:lnTo>
                    <a:pt x="990553" y="654853"/>
                  </a:lnTo>
                  <a:lnTo>
                    <a:pt x="993699" y="657545"/>
                  </a:lnTo>
                  <a:lnTo>
                    <a:pt x="994970" y="657787"/>
                  </a:lnTo>
                  <a:lnTo>
                    <a:pt x="998206" y="657545"/>
                  </a:lnTo>
                  <a:lnTo>
                    <a:pt x="999174" y="657334"/>
                  </a:lnTo>
                  <a:lnTo>
                    <a:pt x="1000687" y="656305"/>
                  </a:lnTo>
                  <a:lnTo>
                    <a:pt x="1001655" y="656093"/>
                  </a:lnTo>
                  <a:lnTo>
                    <a:pt x="1002442" y="655548"/>
                  </a:lnTo>
                  <a:lnTo>
                    <a:pt x="1002593" y="654278"/>
                  </a:lnTo>
                  <a:lnTo>
                    <a:pt x="1002593" y="652826"/>
                  </a:lnTo>
                  <a:lnTo>
                    <a:pt x="1003047" y="651677"/>
                  </a:lnTo>
                  <a:lnTo>
                    <a:pt x="1003682" y="650769"/>
                  </a:lnTo>
                  <a:lnTo>
                    <a:pt x="1004529" y="648712"/>
                  </a:lnTo>
                  <a:lnTo>
                    <a:pt x="1005103" y="647744"/>
                  </a:lnTo>
                  <a:lnTo>
                    <a:pt x="1008885" y="644174"/>
                  </a:lnTo>
                  <a:lnTo>
                    <a:pt x="1007312" y="644537"/>
                  </a:lnTo>
                  <a:lnTo>
                    <a:pt x="1005981" y="645354"/>
                  </a:lnTo>
                  <a:lnTo>
                    <a:pt x="1001504" y="650164"/>
                  </a:lnTo>
                  <a:lnTo>
                    <a:pt x="1000143" y="651011"/>
                  </a:lnTo>
                  <a:lnTo>
                    <a:pt x="999961" y="649740"/>
                  </a:lnTo>
                  <a:lnTo>
                    <a:pt x="1001564" y="647109"/>
                  </a:lnTo>
                  <a:lnTo>
                    <a:pt x="1004347" y="645142"/>
                  </a:lnTo>
                  <a:lnTo>
                    <a:pt x="1010276" y="642601"/>
                  </a:lnTo>
                  <a:lnTo>
                    <a:pt x="1008945" y="642117"/>
                  </a:lnTo>
                  <a:lnTo>
                    <a:pt x="1007887" y="642480"/>
                  </a:lnTo>
                  <a:lnTo>
                    <a:pt x="1006919" y="643115"/>
                  </a:lnTo>
                  <a:lnTo>
                    <a:pt x="1005799" y="643448"/>
                  </a:lnTo>
                  <a:lnTo>
                    <a:pt x="1005043" y="642873"/>
                  </a:lnTo>
                  <a:lnTo>
                    <a:pt x="1004680" y="641724"/>
                  </a:lnTo>
                  <a:lnTo>
                    <a:pt x="1004106" y="641058"/>
                  </a:lnTo>
                  <a:lnTo>
                    <a:pt x="1002684" y="641815"/>
                  </a:lnTo>
                  <a:lnTo>
                    <a:pt x="1003198" y="642541"/>
                  </a:lnTo>
                  <a:lnTo>
                    <a:pt x="1003319" y="643357"/>
                  </a:lnTo>
                  <a:lnTo>
                    <a:pt x="1003137" y="644174"/>
                  </a:lnTo>
                  <a:lnTo>
                    <a:pt x="1002684" y="644960"/>
                  </a:lnTo>
                  <a:lnTo>
                    <a:pt x="1002442" y="644386"/>
                  </a:lnTo>
                  <a:lnTo>
                    <a:pt x="1002199" y="643932"/>
                  </a:lnTo>
                  <a:lnTo>
                    <a:pt x="1001837" y="643630"/>
                  </a:lnTo>
                  <a:lnTo>
                    <a:pt x="1001262" y="643448"/>
                  </a:lnTo>
                  <a:lnTo>
                    <a:pt x="1000990" y="645293"/>
                  </a:lnTo>
                  <a:lnTo>
                    <a:pt x="998721" y="644658"/>
                  </a:lnTo>
                  <a:lnTo>
                    <a:pt x="997208" y="646564"/>
                  </a:lnTo>
                  <a:lnTo>
                    <a:pt x="996573" y="644779"/>
                  </a:lnTo>
                  <a:lnTo>
                    <a:pt x="997510" y="643387"/>
                  </a:lnTo>
                  <a:lnTo>
                    <a:pt x="998993" y="641996"/>
                  </a:lnTo>
                  <a:lnTo>
                    <a:pt x="999991" y="640211"/>
                  </a:lnTo>
                  <a:lnTo>
                    <a:pt x="1000838" y="640755"/>
                  </a:lnTo>
                  <a:lnTo>
                    <a:pt x="1001141" y="641240"/>
                  </a:lnTo>
                  <a:lnTo>
                    <a:pt x="1001081" y="641784"/>
                  </a:lnTo>
                  <a:lnTo>
                    <a:pt x="1000687" y="642571"/>
                  </a:lnTo>
                  <a:lnTo>
                    <a:pt x="1001776" y="641875"/>
                  </a:lnTo>
                  <a:lnTo>
                    <a:pt x="1002956" y="639727"/>
                  </a:lnTo>
                  <a:lnTo>
                    <a:pt x="1004136" y="638668"/>
                  </a:lnTo>
                  <a:lnTo>
                    <a:pt x="1007796" y="637428"/>
                  </a:lnTo>
                  <a:lnTo>
                    <a:pt x="1016146" y="637065"/>
                  </a:lnTo>
                  <a:lnTo>
                    <a:pt x="1019988" y="636218"/>
                  </a:lnTo>
                  <a:lnTo>
                    <a:pt x="1021531" y="635068"/>
                  </a:lnTo>
                  <a:lnTo>
                    <a:pt x="1024858" y="631529"/>
                  </a:lnTo>
                  <a:lnTo>
                    <a:pt x="1025856" y="630773"/>
                  </a:lnTo>
                  <a:lnTo>
                    <a:pt x="1027520" y="630379"/>
                  </a:lnTo>
                  <a:lnTo>
                    <a:pt x="1028912" y="629321"/>
                  </a:lnTo>
                  <a:lnTo>
                    <a:pt x="1034659" y="622877"/>
                  </a:lnTo>
                  <a:lnTo>
                    <a:pt x="1038108" y="620033"/>
                  </a:lnTo>
                  <a:lnTo>
                    <a:pt x="1041647" y="618793"/>
                  </a:lnTo>
                  <a:lnTo>
                    <a:pt x="1045489" y="619701"/>
                  </a:lnTo>
                  <a:lnTo>
                    <a:pt x="1049210" y="622151"/>
                  </a:lnTo>
                  <a:lnTo>
                    <a:pt x="1052659" y="625358"/>
                  </a:lnTo>
                  <a:lnTo>
                    <a:pt x="1058589" y="633132"/>
                  </a:lnTo>
                  <a:lnTo>
                    <a:pt x="1059586" y="635129"/>
                  </a:lnTo>
                  <a:lnTo>
                    <a:pt x="1059950" y="636884"/>
                  </a:lnTo>
                  <a:lnTo>
                    <a:pt x="1059889" y="644144"/>
                  </a:lnTo>
                  <a:lnTo>
                    <a:pt x="1059950" y="644930"/>
                  </a:lnTo>
                  <a:lnTo>
                    <a:pt x="1060373" y="646171"/>
                  </a:lnTo>
                  <a:lnTo>
                    <a:pt x="1060888" y="647169"/>
                  </a:lnTo>
                  <a:lnTo>
                    <a:pt x="1061281" y="648258"/>
                  </a:lnTo>
                  <a:lnTo>
                    <a:pt x="1061341" y="649710"/>
                  </a:lnTo>
                  <a:lnTo>
                    <a:pt x="1060857" y="651495"/>
                  </a:lnTo>
                  <a:lnTo>
                    <a:pt x="1059859" y="653855"/>
                  </a:lnTo>
                  <a:lnTo>
                    <a:pt x="1058649" y="655911"/>
                  </a:lnTo>
                  <a:lnTo>
                    <a:pt x="1057620" y="656789"/>
                  </a:lnTo>
                  <a:lnTo>
                    <a:pt x="1056017" y="657152"/>
                  </a:lnTo>
                  <a:lnTo>
                    <a:pt x="1045187" y="663474"/>
                  </a:lnTo>
                  <a:lnTo>
                    <a:pt x="1044128" y="663535"/>
                  </a:lnTo>
                  <a:lnTo>
                    <a:pt x="1043372" y="664745"/>
                  </a:lnTo>
                  <a:lnTo>
                    <a:pt x="1038622" y="670160"/>
                  </a:lnTo>
                  <a:lnTo>
                    <a:pt x="1037775" y="670614"/>
                  </a:lnTo>
                  <a:lnTo>
                    <a:pt x="1033812" y="671915"/>
                  </a:lnTo>
                  <a:lnTo>
                    <a:pt x="1033116" y="672489"/>
                  </a:lnTo>
                  <a:lnTo>
                    <a:pt x="1032633" y="673064"/>
                  </a:lnTo>
                  <a:lnTo>
                    <a:pt x="1031423" y="673790"/>
                  </a:lnTo>
                  <a:lnTo>
                    <a:pt x="1030878" y="676180"/>
                  </a:lnTo>
                  <a:lnTo>
                    <a:pt x="1030394" y="677209"/>
                  </a:lnTo>
                  <a:lnTo>
                    <a:pt x="1029486" y="677904"/>
                  </a:lnTo>
                  <a:lnTo>
                    <a:pt x="1027701" y="678782"/>
                  </a:lnTo>
                  <a:lnTo>
                    <a:pt x="1026855" y="679568"/>
                  </a:lnTo>
                  <a:lnTo>
                    <a:pt x="1025675" y="682351"/>
                  </a:lnTo>
                  <a:lnTo>
                    <a:pt x="1025161" y="682775"/>
                  </a:lnTo>
                  <a:lnTo>
                    <a:pt x="1023980" y="682866"/>
                  </a:lnTo>
                  <a:lnTo>
                    <a:pt x="1022922" y="683168"/>
                  </a:lnTo>
                  <a:lnTo>
                    <a:pt x="1021923" y="683743"/>
                  </a:lnTo>
                  <a:lnTo>
                    <a:pt x="1021076" y="684681"/>
                  </a:lnTo>
                  <a:lnTo>
                    <a:pt x="1018354" y="688432"/>
                  </a:lnTo>
                  <a:lnTo>
                    <a:pt x="1018233" y="690277"/>
                  </a:lnTo>
                  <a:lnTo>
                    <a:pt x="1019352" y="692849"/>
                  </a:lnTo>
                  <a:lnTo>
                    <a:pt x="1020593" y="694210"/>
                  </a:lnTo>
                  <a:lnTo>
                    <a:pt x="1022196" y="695601"/>
                  </a:lnTo>
                  <a:lnTo>
                    <a:pt x="1023618" y="697084"/>
                  </a:lnTo>
                  <a:lnTo>
                    <a:pt x="1024737" y="700623"/>
                  </a:lnTo>
                  <a:lnTo>
                    <a:pt x="1025977" y="702529"/>
                  </a:lnTo>
                  <a:lnTo>
                    <a:pt x="1027369" y="704223"/>
                  </a:lnTo>
                  <a:lnTo>
                    <a:pt x="1034418" y="714993"/>
                  </a:lnTo>
                  <a:lnTo>
                    <a:pt x="1037140" y="722888"/>
                  </a:lnTo>
                  <a:lnTo>
                    <a:pt x="1037261" y="724885"/>
                  </a:lnTo>
                  <a:lnTo>
                    <a:pt x="1036202" y="725732"/>
                  </a:lnTo>
                  <a:lnTo>
                    <a:pt x="1031846" y="732811"/>
                  </a:lnTo>
                  <a:lnTo>
                    <a:pt x="1030696" y="734384"/>
                  </a:lnTo>
                  <a:lnTo>
                    <a:pt x="1030696" y="734384"/>
                  </a:lnTo>
                  <a:lnTo>
                    <a:pt x="1031664" y="734686"/>
                  </a:lnTo>
                  <a:lnTo>
                    <a:pt x="1033661" y="734323"/>
                  </a:lnTo>
                  <a:lnTo>
                    <a:pt x="1035688" y="733628"/>
                  </a:lnTo>
                  <a:lnTo>
                    <a:pt x="1037654" y="733355"/>
                  </a:lnTo>
                  <a:lnTo>
                    <a:pt x="1038925" y="734686"/>
                  </a:lnTo>
                  <a:lnTo>
                    <a:pt x="1038925" y="736169"/>
                  </a:lnTo>
                  <a:lnTo>
                    <a:pt x="1038653" y="737651"/>
                  </a:lnTo>
                  <a:lnTo>
                    <a:pt x="1038895" y="739012"/>
                  </a:lnTo>
                  <a:lnTo>
                    <a:pt x="1040074" y="739950"/>
                  </a:lnTo>
                  <a:lnTo>
                    <a:pt x="1041647" y="740283"/>
                  </a:lnTo>
                  <a:lnTo>
                    <a:pt x="1044794" y="740374"/>
                  </a:lnTo>
                  <a:lnTo>
                    <a:pt x="1047758" y="741675"/>
                  </a:lnTo>
                  <a:lnTo>
                    <a:pt x="1053627" y="745577"/>
                  </a:lnTo>
                  <a:lnTo>
                    <a:pt x="1055321" y="745305"/>
                  </a:lnTo>
                  <a:lnTo>
                    <a:pt x="1055563" y="745305"/>
                  </a:lnTo>
                  <a:lnTo>
                    <a:pt x="1056682" y="741916"/>
                  </a:lnTo>
                  <a:lnTo>
                    <a:pt x="1057287" y="733900"/>
                  </a:lnTo>
                  <a:lnTo>
                    <a:pt x="1059526" y="730572"/>
                  </a:lnTo>
                  <a:lnTo>
                    <a:pt x="1062763" y="729513"/>
                  </a:lnTo>
                  <a:lnTo>
                    <a:pt x="1065183" y="730149"/>
                  </a:lnTo>
                  <a:lnTo>
                    <a:pt x="1066787" y="729786"/>
                  </a:lnTo>
                  <a:lnTo>
                    <a:pt x="1067634" y="725762"/>
                  </a:lnTo>
                  <a:lnTo>
                    <a:pt x="1067634" y="725762"/>
                  </a:lnTo>
                  <a:lnTo>
                    <a:pt x="1069630" y="725006"/>
                  </a:lnTo>
                  <a:lnTo>
                    <a:pt x="1073593" y="726428"/>
                  </a:lnTo>
                  <a:lnTo>
                    <a:pt x="1075741" y="725762"/>
                  </a:lnTo>
                  <a:lnTo>
                    <a:pt x="1075499" y="722525"/>
                  </a:lnTo>
                  <a:lnTo>
                    <a:pt x="1075801" y="706038"/>
                  </a:lnTo>
                  <a:lnTo>
                    <a:pt x="1075983" y="704374"/>
                  </a:lnTo>
                  <a:lnTo>
                    <a:pt x="1076558" y="703527"/>
                  </a:lnTo>
                  <a:lnTo>
                    <a:pt x="1077375" y="702771"/>
                  </a:lnTo>
                  <a:lnTo>
                    <a:pt x="1077496" y="701773"/>
                  </a:lnTo>
                  <a:lnTo>
                    <a:pt x="1076044" y="700200"/>
                  </a:lnTo>
                  <a:lnTo>
                    <a:pt x="1077193" y="699111"/>
                  </a:lnTo>
                  <a:lnTo>
                    <a:pt x="1078463" y="700502"/>
                  </a:lnTo>
                  <a:lnTo>
                    <a:pt x="1079704" y="701319"/>
                  </a:lnTo>
                  <a:lnTo>
                    <a:pt x="1081095" y="701742"/>
                  </a:lnTo>
                  <a:lnTo>
                    <a:pt x="1083848" y="702075"/>
                  </a:lnTo>
                  <a:lnTo>
                    <a:pt x="1084453" y="702257"/>
                  </a:lnTo>
                  <a:lnTo>
                    <a:pt x="1084998" y="702257"/>
                  </a:lnTo>
                  <a:lnTo>
                    <a:pt x="1085845" y="701894"/>
                  </a:lnTo>
                  <a:lnTo>
                    <a:pt x="1086329" y="701228"/>
                  </a:lnTo>
                  <a:lnTo>
                    <a:pt x="1086450" y="700412"/>
                  </a:lnTo>
                  <a:lnTo>
                    <a:pt x="1086813" y="699686"/>
                  </a:lnTo>
                  <a:lnTo>
                    <a:pt x="1087932" y="699323"/>
                  </a:lnTo>
                  <a:lnTo>
                    <a:pt x="1089777" y="699050"/>
                  </a:lnTo>
                  <a:lnTo>
                    <a:pt x="1097431" y="700139"/>
                  </a:lnTo>
                  <a:lnTo>
                    <a:pt x="1099337" y="700139"/>
                  </a:lnTo>
                  <a:lnTo>
                    <a:pt x="1106476" y="698929"/>
                  </a:lnTo>
                  <a:lnTo>
                    <a:pt x="1107051" y="697991"/>
                  </a:lnTo>
                  <a:lnTo>
                    <a:pt x="1106961" y="695420"/>
                  </a:lnTo>
                  <a:lnTo>
                    <a:pt x="1106597" y="693817"/>
                  </a:lnTo>
                  <a:lnTo>
                    <a:pt x="1105902" y="691911"/>
                  </a:lnTo>
                  <a:lnTo>
                    <a:pt x="1104933" y="690187"/>
                  </a:lnTo>
                  <a:lnTo>
                    <a:pt x="1104933" y="690187"/>
                  </a:lnTo>
                  <a:lnTo>
                    <a:pt x="1103784" y="688916"/>
                  </a:lnTo>
                  <a:lnTo>
                    <a:pt x="1102150" y="688311"/>
                  </a:lnTo>
                  <a:lnTo>
                    <a:pt x="1098822" y="687978"/>
                  </a:lnTo>
                  <a:lnTo>
                    <a:pt x="1097794" y="687071"/>
                  </a:lnTo>
                  <a:lnTo>
                    <a:pt x="1098248" y="687071"/>
                  </a:lnTo>
                  <a:lnTo>
                    <a:pt x="1098792" y="686012"/>
                  </a:lnTo>
                  <a:lnTo>
                    <a:pt x="1099458" y="684287"/>
                  </a:lnTo>
                  <a:lnTo>
                    <a:pt x="1099458" y="683289"/>
                  </a:lnTo>
                  <a:lnTo>
                    <a:pt x="1099367" y="682412"/>
                  </a:lnTo>
                  <a:lnTo>
                    <a:pt x="1099095" y="681625"/>
                  </a:lnTo>
                  <a:lnTo>
                    <a:pt x="1098611" y="680869"/>
                  </a:lnTo>
                  <a:lnTo>
                    <a:pt x="1098127" y="680536"/>
                  </a:lnTo>
                  <a:lnTo>
                    <a:pt x="1096554" y="679871"/>
                  </a:lnTo>
                  <a:lnTo>
                    <a:pt x="1095828" y="679296"/>
                  </a:lnTo>
                  <a:lnTo>
                    <a:pt x="1095314" y="678419"/>
                  </a:lnTo>
                  <a:lnTo>
                    <a:pt x="1093408" y="672187"/>
                  </a:lnTo>
                  <a:lnTo>
                    <a:pt x="1093135" y="670311"/>
                  </a:lnTo>
                  <a:lnTo>
                    <a:pt x="1093559" y="668587"/>
                  </a:lnTo>
                  <a:lnTo>
                    <a:pt x="1096584" y="664170"/>
                  </a:lnTo>
                  <a:lnTo>
                    <a:pt x="1097068" y="659209"/>
                  </a:lnTo>
                  <a:lnTo>
                    <a:pt x="1096977" y="654096"/>
                  </a:lnTo>
                  <a:lnTo>
                    <a:pt x="1098339" y="649256"/>
                  </a:lnTo>
                  <a:lnTo>
                    <a:pt x="1099548" y="646564"/>
                  </a:lnTo>
                  <a:lnTo>
                    <a:pt x="1099882" y="644295"/>
                  </a:lnTo>
                  <a:lnTo>
                    <a:pt x="1099972" y="642087"/>
                  </a:lnTo>
                  <a:lnTo>
                    <a:pt x="1100426" y="639515"/>
                  </a:lnTo>
                  <a:lnTo>
                    <a:pt x="1101667" y="637247"/>
                  </a:lnTo>
                  <a:lnTo>
                    <a:pt x="1103300" y="635220"/>
                  </a:lnTo>
                  <a:lnTo>
                    <a:pt x="1104449" y="632981"/>
                  </a:lnTo>
                  <a:lnTo>
                    <a:pt x="1104116" y="630167"/>
                  </a:lnTo>
                  <a:lnTo>
                    <a:pt x="1105054" y="630107"/>
                  </a:lnTo>
                  <a:lnTo>
                    <a:pt x="1105992" y="630228"/>
                  </a:lnTo>
                  <a:lnTo>
                    <a:pt x="1106083" y="630228"/>
                  </a:lnTo>
                  <a:lnTo>
                    <a:pt x="1124597" y="636187"/>
                  </a:lnTo>
                  <a:lnTo>
                    <a:pt x="1130950" y="636551"/>
                  </a:lnTo>
                  <a:lnTo>
                    <a:pt x="1132886" y="636974"/>
                  </a:lnTo>
                  <a:lnTo>
                    <a:pt x="1134883" y="637700"/>
                  </a:lnTo>
                  <a:lnTo>
                    <a:pt x="1136788" y="638729"/>
                  </a:lnTo>
                  <a:lnTo>
                    <a:pt x="1138331" y="640060"/>
                  </a:lnTo>
                  <a:lnTo>
                    <a:pt x="1141417" y="642661"/>
                  </a:lnTo>
                  <a:lnTo>
                    <a:pt x="1142203" y="644144"/>
                  </a:lnTo>
                  <a:lnTo>
                    <a:pt x="1142324" y="646534"/>
                  </a:lnTo>
                  <a:lnTo>
                    <a:pt x="1141447" y="650224"/>
                  </a:lnTo>
                  <a:lnTo>
                    <a:pt x="1141810" y="651525"/>
                  </a:lnTo>
                  <a:lnTo>
                    <a:pt x="1143716" y="653098"/>
                  </a:lnTo>
                  <a:lnTo>
                    <a:pt x="1145712" y="654127"/>
                  </a:lnTo>
                  <a:lnTo>
                    <a:pt x="1146650" y="653855"/>
                  </a:lnTo>
                  <a:lnTo>
                    <a:pt x="1147437" y="652796"/>
                  </a:lnTo>
                  <a:lnTo>
                    <a:pt x="1149010" y="651343"/>
                  </a:lnTo>
                  <a:lnTo>
                    <a:pt x="1150886" y="650557"/>
                  </a:lnTo>
                  <a:lnTo>
                    <a:pt x="1152549" y="650678"/>
                  </a:lnTo>
                  <a:lnTo>
                    <a:pt x="1154183" y="651132"/>
                  </a:lnTo>
                  <a:lnTo>
                    <a:pt x="1156059" y="651343"/>
                  </a:lnTo>
                  <a:lnTo>
                    <a:pt x="1162472" y="649831"/>
                  </a:lnTo>
                  <a:lnTo>
                    <a:pt x="1164710" y="649650"/>
                  </a:lnTo>
                  <a:lnTo>
                    <a:pt x="1181077" y="652433"/>
                  </a:lnTo>
                  <a:lnTo>
                    <a:pt x="1185281" y="652433"/>
                  </a:lnTo>
                  <a:lnTo>
                    <a:pt x="1200104" y="643690"/>
                  </a:lnTo>
                  <a:lnTo>
                    <a:pt x="1206215" y="641209"/>
                  </a:lnTo>
                  <a:lnTo>
                    <a:pt x="1222884" y="637942"/>
                  </a:lnTo>
                  <a:lnTo>
                    <a:pt x="1239008" y="631136"/>
                  </a:lnTo>
                  <a:lnTo>
                    <a:pt x="1241821" y="630410"/>
                  </a:lnTo>
                  <a:lnTo>
                    <a:pt x="1243636" y="629351"/>
                  </a:lnTo>
                  <a:lnTo>
                    <a:pt x="1253377" y="623633"/>
                  </a:lnTo>
                  <a:lnTo>
                    <a:pt x="1260123" y="621243"/>
                  </a:lnTo>
                  <a:lnTo>
                    <a:pt x="1263572" y="620911"/>
                  </a:lnTo>
                  <a:lnTo>
                    <a:pt x="1270167" y="621697"/>
                  </a:lnTo>
                  <a:lnTo>
                    <a:pt x="1289286" y="626991"/>
                  </a:lnTo>
                  <a:lnTo>
                    <a:pt x="1294277" y="629502"/>
                  </a:lnTo>
                  <a:lnTo>
                    <a:pt x="1304926" y="639848"/>
                  </a:lnTo>
                  <a:lnTo>
                    <a:pt x="1307830" y="642661"/>
                  </a:lnTo>
                  <a:lnTo>
                    <a:pt x="1313941" y="645596"/>
                  </a:lnTo>
                  <a:lnTo>
                    <a:pt x="1321020" y="646412"/>
                  </a:lnTo>
                  <a:lnTo>
                    <a:pt x="1337386" y="645686"/>
                  </a:lnTo>
                  <a:lnTo>
                    <a:pt x="1339594" y="645082"/>
                  </a:lnTo>
                  <a:lnTo>
                    <a:pt x="1344858" y="644749"/>
                  </a:lnTo>
                  <a:lnTo>
                    <a:pt x="1360316" y="649528"/>
                  </a:lnTo>
                  <a:lnTo>
                    <a:pt x="1365701" y="649317"/>
                  </a:lnTo>
                  <a:lnTo>
                    <a:pt x="1386060" y="645747"/>
                  </a:lnTo>
                  <a:lnTo>
                    <a:pt x="1418611" y="640029"/>
                  </a:lnTo>
                  <a:lnTo>
                    <a:pt x="1440180" y="632557"/>
                  </a:lnTo>
                  <a:lnTo>
                    <a:pt x="1450193" y="627022"/>
                  </a:lnTo>
                  <a:lnTo>
                    <a:pt x="1453823" y="625872"/>
                  </a:lnTo>
                  <a:lnTo>
                    <a:pt x="1457605" y="625236"/>
                  </a:lnTo>
                  <a:lnTo>
                    <a:pt x="1461386" y="623603"/>
                  </a:lnTo>
                  <a:lnTo>
                    <a:pt x="1468556" y="619186"/>
                  </a:lnTo>
                  <a:lnTo>
                    <a:pt x="1481866" y="610958"/>
                  </a:lnTo>
                  <a:lnTo>
                    <a:pt x="1483893" y="609808"/>
                  </a:lnTo>
                  <a:lnTo>
                    <a:pt x="1486041" y="609052"/>
                  </a:lnTo>
                  <a:lnTo>
                    <a:pt x="1488249" y="608628"/>
                  </a:lnTo>
                  <a:lnTo>
                    <a:pt x="1490548" y="608508"/>
                  </a:lnTo>
                  <a:lnTo>
                    <a:pt x="1495177" y="607267"/>
                  </a:lnTo>
                  <a:lnTo>
                    <a:pt x="1508639" y="600430"/>
                  </a:lnTo>
                  <a:lnTo>
                    <a:pt x="1513630" y="598676"/>
                  </a:lnTo>
                  <a:lnTo>
                    <a:pt x="1532507" y="596104"/>
                  </a:lnTo>
                  <a:lnTo>
                    <a:pt x="1556527" y="600552"/>
                  </a:lnTo>
                  <a:lnTo>
                    <a:pt x="1561034" y="602245"/>
                  </a:lnTo>
                  <a:lnTo>
                    <a:pt x="1563182" y="602790"/>
                  </a:lnTo>
                  <a:lnTo>
                    <a:pt x="1591225" y="601580"/>
                  </a:lnTo>
                  <a:lnTo>
                    <a:pt x="1633124" y="592474"/>
                  </a:lnTo>
                  <a:lnTo>
                    <a:pt x="1644498" y="590024"/>
                  </a:lnTo>
                  <a:lnTo>
                    <a:pt x="1648884" y="587574"/>
                  </a:lnTo>
                  <a:lnTo>
                    <a:pt x="1656478" y="581009"/>
                  </a:lnTo>
                  <a:lnTo>
                    <a:pt x="1661529" y="574868"/>
                  </a:lnTo>
                  <a:lnTo>
                    <a:pt x="1662981" y="574082"/>
                  </a:lnTo>
                  <a:lnTo>
                    <a:pt x="1664797" y="572720"/>
                  </a:lnTo>
                  <a:lnTo>
                    <a:pt x="1665947" y="573991"/>
                  </a:lnTo>
                  <a:lnTo>
                    <a:pt x="1666037" y="575322"/>
                  </a:lnTo>
                  <a:lnTo>
                    <a:pt x="1665886" y="576471"/>
                  </a:lnTo>
                  <a:lnTo>
                    <a:pt x="1665976" y="576955"/>
                  </a:lnTo>
                  <a:lnTo>
                    <a:pt x="1667338" y="577167"/>
                  </a:lnTo>
                  <a:lnTo>
                    <a:pt x="1670394" y="578528"/>
                  </a:lnTo>
                  <a:lnTo>
                    <a:pt x="1670968" y="578287"/>
                  </a:lnTo>
                  <a:lnTo>
                    <a:pt x="1671573" y="577621"/>
                  </a:lnTo>
                  <a:lnTo>
                    <a:pt x="1672238" y="577137"/>
                  </a:lnTo>
                  <a:lnTo>
                    <a:pt x="1672874" y="577318"/>
                  </a:lnTo>
                  <a:lnTo>
                    <a:pt x="1673298" y="577924"/>
                  </a:lnTo>
                  <a:lnTo>
                    <a:pt x="1673812" y="579073"/>
                  </a:lnTo>
                  <a:lnTo>
                    <a:pt x="1674266" y="579708"/>
                  </a:lnTo>
                  <a:lnTo>
                    <a:pt x="1677684" y="582219"/>
                  </a:lnTo>
                  <a:lnTo>
                    <a:pt x="1678380" y="582552"/>
                  </a:lnTo>
                  <a:lnTo>
                    <a:pt x="1679045" y="584034"/>
                  </a:lnTo>
                  <a:lnTo>
                    <a:pt x="1677230" y="590508"/>
                  </a:lnTo>
                  <a:lnTo>
                    <a:pt x="1678380" y="591990"/>
                  </a:lnTo>
                  <a:lnTo>
                    <a:pt x="1679166" y="592686"/>
                  </a:lnTo>
                  <a:lnTo>
                    <a:pt x="1679378" y="594320"/>
                  </a:lnTo>
                  <a:lnTo>
                    <a:pt x="1679439" y="597587"/>
                  </a:lnTo>
                  <a:lnTo>
                    <a:pt x="1683946" y="597103"/>
                  </a:lnTo>
                  <a:lnTo>
                    <a:pt x="1689694" y="595348"/>
                  </a:lnTo>
                  <a:lnTo>
                    <a:pt x="1698346" y="594017"/>
                  </a:lnTo>
                  <a:lnTo>
                    <a:pt x="1699980" y="593352"/>
                  </a:lnTo>
                  <a:lnTo>
                    <a:pt x="1700312" y="592716"/>
                  </a:lnTo>
                  <a:lnTo>
                    <a:pt x="1701552" y="589570"/>
                  </a:lnTo>
                  <a:lnTo>
                    <a:pt x="1714167" y="572630"/>
                  </a:lnTo>
                  <a:lnTo>
                    <a:pt x="1714530" y="571722"/>
                  </a:lnTo>
                  <a:lnTo>
                    <a:pt x="1714651" y="570905"/>
                  </a:lnTo>
                  <a:lnTo>
                    <a:pt x="1714863" y="570088"/>
                  </a:lnTo>
                  <a:lnTo>
                    <a:pt x="1715498" y="569151"/>
                  </a:lnTo>
                  <a:lnTo>
                    <a:pt x="1716164" y="568727"/>
                  </a:lnTo>
                  <a:lnTo>
                    <a:pt x="1721125" y="566882"/>
                  </a:lnTo>
                  <a:lnTo>
                    <a:pt x="1722002" y="566821"/>
                  </a:lnTo>
                  <a:lnTo>
                    <a:pt x="1723212" y="566942"/>
                  </a:lnTo>
                  <a:lnTo>
                    <a:pt x="1724090" y="567547"/>
                  </a:lnTo>
                  <a:lnTo>
                    <a:pt x="1724543" y="569544"/>
                  </a:lnTo>
                  <a:lnTo>
                    <a:pt x="1725421" y="570118"/>
                  </a:lnTo>
                  <a:lnTo>
                    <a:pt x="1733740" y="572659"/>
                  </a:lnTo>
                  <a:lnTo>
                    <a:pt x="1737794" y="573204"/>
                  </a:lnTo>
                  <a:lnTo>
                    <a:pt x="1742059" y="571843"/>
                  </a:lnTo>
                  <a:lnTo>
                    <a:pt x="1744630" y="570058"/>
                  </a:lnTo>
                  <a:lnTo>
                    <a:pt x="1748502" y="568576"/>
                  </a:lnTo>
                  <a:lnTo>
                    <a:pt x="1752526" y="567577"/>
                  </a:lnTo>
                  <a:lnTo>
                    <a:pt x="1755672" y="567305"/>
                  </a:lnTo>
                  <a:lnTo>
                    <a:pt x="1757397" y="567759"/>
                  </a:lnTo>
                  <a:lnTo>
                    <a:pt x="1770616" y="574323"/>
                  </a:lnTo>
                  <a:lnTo>
                    <a:pt x="1771312" y="574565"/>
                  </a:lnTo>
                  <a:lnTo>
                    <a:pt x="1772159" y="574686"/>
                  </a:lnTo>
                  <a:lnTo>
                    <a:pt x="1773036" y="574535"/>
                  </a:lnTo>
                  <a:lnTo>
                    <a:pt x="1774005" y="573658"/>
                  </a:lnTo>
                  <a:lnTo>
                    <a:pt x="1774881" y="573295"/>
                  </a:lnTo>
                  <a:lnTo>
                    <a:pt x="1776757" y="573023"/>
                  </a:lnTo>
                  <a:lnTo>
                    <a:pt x="1777967" y="573234"/>
                  </a:lnTo>
                  <a:lnTo>
                    <a:pt x="1780630" y="575140"/>
                  </a:lnTo>
                  <a:lnTo>
                    <a:pt x="1781991" y="576108"/>
                  </a:lnTo>
                  <a:lnTo>
                    <a:pt x="1786075" y="577984"/>
                  </a:lnTo>
                  <a:lnTo>
                    <a:pt x="1790763" y="581523"/>
                  </a:lnTo>
                  <a:lnTo>
                    <a:pt x="1792397" y="582128"/>
                  </a:lnTo>
                  <a:lnTo>
                    <a:pt x="1793668" y="581977"/>
                  </a:lnTo>
                  <a:lnTo>
                    <a:pt x="1796178" y="581100"/>
                  </a:lnTo>
                  <a:lnTo>
                    <a:pt x="1797419" y="580888"/>
                  </a:lnTo>
                  <a:lnTo>
                    <a:pt x="1798720" y="581100"/>
                  </a:lnTo>
                  <a:lnTo>
                    <a:pt x="1799537" y="581493"/>
                  </a:lnTo>
                  <a:lnTo>
                    <a:pt x="1801382" y="582764"/>
                  </a:lnTo>
                  <a:lnTo>
                    <a:pt x="1803923" y="583701"/>
                  </a:lnTo>
                  <a:lnTo>
                    <a:pt x="1806343" y="583974"/>
                  </a:lnTo>
                  <a:lnTo>
                    <a:pt x="1816659" y="583338"/>
                  </a:lnTo>
                  <a:lnTo>
                    <a:pt x="1819291" y="583581"/>
                  </a:lnTo>
                  <a:lnTo>
                    <a:pt x="1821681" y="584125"/>
                  </a:lnTo>
                  <a:lnTo>
                    <a:pt x="1822679" y="584760"/>
                  </a:lnTo>
                  <a:lnTo>
                    <a:pt x="1824857" y="586696"/>
                  </a:lnTo>
                  <a:lnTo>
                    <a:pt x="1825613" y="587150"/>
                  </a:lnTo>
                  <a:lnTo>
                    <a:pt x="1826884" y="586848"/>
                  </a:lnTo>
                  <a:lnTo>
                    <a:pt x="1828699" y="585153"/>
                  </a:lnTo>
                  <a:lnTo>
                    <a:pt x="1834084" y="584246"/>
                  </a:lnTo>
                  <a:lnTo>
                    <a:pt x="1837169" y="580979"/>
                  </a:lnTo>
                  <a:lnTo>
                    <a:pt x="1840134" y="576986"/>
                  </a:lnTo>
                  <a:lnTo>
                    <a:pt x="1843824" y="574082"/>
                  </a:lnTo>
                  <a:lnTo>
                    <a:pt x="1848362" y="573416"/>
                  </a:lnTo>
                  <a:lnTo>
                    <a:pt x="1851751" y="573930"/>
                  </a:lnTo>
                  <a:lnTo>
                    <a:pt x="1853656" y="574233"/>
                  </a:lnTo>
                  <a:lnTo>
                    <a:pt x="1863367" y="577953"/>
                  </a:lnTo>
                  <a:lnTo>
                    <a:pt x="1865606" y="579315"/>
                  </a:lnTo>
                  <a:lnTo>
                    <a:pt x="1867269" y="580858"/>
                  </a:lnTo>
                  <a:lnTo>
                    <a:pt x="1868450" y="582855"/>
                  </a:lnTo>
                  <a:lnTo>
                    <a:pt x="1869297" y="585516"/>
                  </a:lnTo>
                  <a:lnTo>
                    <a:pt x="1869811" y="588058"/>
                  </a:lnTo>
                  <a:lnTo>
                    <a:pt x="1869932" y="589510"/>
                  </a:lnTo>
                  <a:lnTo>
                    <a:pt x="1869780" y="590659"/>
                  </a:lnTo>
                  <a:lnTo>
                    <a:pt x="1868964" y="591990"/>
                  </a:lnTo>
                  <a:lnTo>
                    <a:pt x="1867965" y="592414"/>
                  </a:lnTo>
                  <a:lnTo>
                    <a:pt x="1866816" y="592626"/>
                  </a:lnTo>
                  <a:lnTo>
                    <a:pt x="1865515" y="593321"/>
                  </a:lnTo>
                  <a:lnTo>
                    <a:pt x="1863821" y="595348"/>
                  </a:lnTo>
                  <a:lnTo>
                    <a:pt x="1862974" y="597708"/>
                  </a:lnTo>
                  <a:lnTo>
                    <a:pt x="1862913" y="600158"/>
                  </a:lnTo>
                  <a:lnTo>
                    <a:pt x="1863639" y="602548"/>
                  </a:lnTo>
                  <a:lnTo>
                    <a:pt x="1867693" y="610958"/>
                  </a:lnTo>
                  <a:lnTo>
                    <a:pt x="1868359" y="612168"/>
                  </a:lnTo>
                  <a:lnTo>
                    <a:pt x="1869266" y="612833"/>
                  </a:lnTo>
                  <a:lnTo>
                    <a:pt x="1873441" y="613832"/>
                  </a:lnTo>
                  <a:lnTo>
                    <a:pt x="1874682" y="613741"/>
                  </a:lnTo>
                  <a:lnTo>
                    <a:pt x="1875619" y="612894"/>
                  </a:lnTo>
                  <a:lnTo>
                    <a:pt x="1876557" y="610958"/>
                  </a:lnTo>
                  <a:lnTo>
                    <a:pt x="1876557" y="610958"/>
                  </a:lnTo>
                  <a:lnTo>
                    <a:pt x="1878130" y="608477"/>
                  </a:lnTo>
                  <a:lnTo>
                    <a:pt x="1878463" y="606662"/>
                  </a:lnTo>
                  <a:lnTo>
                    <a:pt x="1879279" y="605361"/>
                  </a:lnTo>
                  <a:lnTo>
                    <a:pt x="1887840" y="602760"/>
                  </a:lnTo>
                  <a:lnTo>
                    <a:pt x="1890503" y="601429"/>
                  </a:lnTo>
                  <a:lnTo>
                    <a:pt x="1892983" y="599614"/>
                  </a:lnTo>
                  <a:lnTo>
                    <a:pt x="1895403" y="596770"/>
                  </a:lnTo>
                  <a:lnTo>
                    <a:pt x="1899033" y="593654"/>
                  </a:lnTo>
                  <a:lnTo>
                    <a:pt x="1902936" y="591022"/>
                  </a:lnTo>
                  <a:lnTo>
                    <a:pt x="1906173" y="589631"/>
                  </a:lnTo>
                  <a:lnTo>
                    <a:pt x="1908048" y="589540"/>
                  </a:lnTo>
                  <a:lnTo>
                    <a:pt x="1918606" y="590901"/>
                  </a:lnTo>
                  <a:lnTo>
                    <a:pt x="1920603" y="591839"/>
                  </a:lnTo>
                  <a:lnTo>
                    <a:pt x="1921843" y="593835"/>
                  </a:lnTo>
                  <a:lnTo>
                    <a:pt x="1922478" y="591597"/>
                  </a:lnTo>
                  <a:lnTo>
                    <a:pt x="1921843" y="589661"/>
                  </a:lnTo>
                  <a:lnTo>
                    <a:pt x="1920905" y="587664"/>
                  </a:lnTo>
                  <a:lnTo>
                    <a:pt x="1920573" y="585335"/>
                  </a:lnTo>
                  <a:lnTo>
                    <a:pt x="1921268" y="583278"/>
                  </a:lnTo>
                  <a:lnTo>
                    <a:pt x="1922508" y="582280"/>
                  </a:lnTo>
                  <a:lnTo>
                    <a:pt x="1923900" y="581523"/>
                  </a:lnTo>
                  <a:lnTo>
                    <a:pt x="1925080" y="580102"/>
                  </a:lnTo>
                  <a:lnTo>
                    <a:pt x="1925382" y="576350"/>
                  </a:lnTo>
                  <a:lnTo>
                    <a:pt x="1923113" y="573900"/>
                  </a:lnTo>
                  <a:lnTo>
                    <a:pt x="1917305" y="570481"/>
                  </a:lnTo>
                  <a:close/>
                </a:path>
              </a:pathLst>
            </a:custGeom>
            <a:solidFill>
              <a:srgbClr val="96A3AC"/>
            </a:solidFill>
            <a:ln w="3175" cap="rnd">
              <a:solidFill>
                <a:schemeClr val="bg1"/>
              </a:solidFill>
              <a:prstDash val="solid"/>
              <a:round/>
            </a:ln>
          </p:spPr>
          <p:txBody>
            <a:bodyPr rtlCol="0" anchor="ctr"/>
            <a:lstStyle/>
            <a:p>
              <a:endParaRPr lang="en-ID"/>
            </a:p>
          </p:txBody>
        </p:sp>
        <p:sp>
          <p:nvSpPr>
            <p:cNvPr id="14" name="Freeform: Shape 13">
              <a:extLst>
                <a:ext uri="{FF2B5EF4-FFF2-40B4-BE49-F238E27FC236}">
                  <a16:creationId xmlns:a16="http://schemas.microsoft.com/office/drawing/2014/main" id="{73B8CCC2-FB67-4C8A-BA5C-FB8D859EDA16}"/>
                </a:ext>
              </a:extLst>
            </p:cNvPr>
            <p:cNvSpPr/>
            <p:nvPr/>
          </p:nvSpPr>
          <p:spPr>
            <a:xfrm>
              <a:off x="7443711" y="812159"/>
              <a:ext cx="3143902" cy="2259727"/>
            </a:xfrm>
            <a:custGeom>
              <a:avLst/>
              <a:gdLst>
                <a:gd name="connsiteX0" fmla="*/ 2031474 w 4044707"/>
                <a:gd name="connsiteY0" fmla="*/ 2714552 h 2907193"/>
                <a:gd name="connsiteX1" fmla="*/ 2031414 w 4044707"/>
                <a:gd name="connsiteY1" fmla="*/ 2714855 h 2907193"/>
                <a:gd name="connsiteX2" fmla="*/ 2031505 w 4044707"/>
                <a:gd name="connsiteY2" fmla="*/ 2715338 h 2907193"/>
                <a:gd name="connsiteX3" fmla="*/ 2029206 w 4044707"/>
                <a:gd name="connsiteY3" fmla="*/ 2715641 h 2907193"/>
                <a:gd name="connsiteX4" fmla="*/ 2028419 w 4044707"/>
                <a:gd name="connsiteY4" fmla="*/ 2715429 h 2907193"/>
                <a:gd name="connsiteX5" fmla="*/ 2028419 w 4044707"/>
                <a:gd name="connsiteY5" fmla="*/ 2714249 h 2907193"/>
                <a:gd name="connsiteX6" fmla="*/ 2027875 w 4044707"/>
                <a:gd name="connsiteY6" fmla="*/ 2712828 h 2907193"/>
                <a:gd name="connsiteX7" fmla="*/ 2026483 w 4044707"/>
                <a:gd name="connsiteY7" fmla="*/ 2712404 h 2907193"/>
                <a:gd name="connsiteX8" fmla="*/ 2024728 w 4044707"/>
                <a:gd name="connsiteY8" fmla="*/ 2713281 h 2907193"/>
                <a:gd name="connsiteX9" fmla="*/ 2023700 w 4044707"/>
                <a:gd name="connsiteY9" fmla="*/ 2715066 h 2907193"/>
                <a:gd name="connsiteX10" fmla="*/ 2023700 w 4044707"/>
                <a:gd name="connsiteY10" fmla="*/ 2717638 h 2907193"/>
                <a:gd name="connsiteX11" fmla="*/ 2023549 w 4044707"/>
                <a:gd name="connsiteY11" fmla="*/ 2720421 h 2907193"/>
                <a:gd name="connsiteX12" fmla="*/ 2023549 w 4044707"/>
                <a:gd name="connsiteY12" fmla="*/ 2722811 h 2907193"/>
                <a:gd name="connsiteX13" fmla="*/ 2024487 w 4044707"/>
                <a:gd name="connsiteY13" fmla="*/ 2723537 h 2907193"/>
                <a:gd name="connsiteX14" fmla="*/ 2025303 w 4044707"/>
                <a:gd name="connsiteY14" fmla="*/ 2723597 h 2907193"/>
                <a:gd name="connsiteX15" fmla="*/ 2025545 w 4044707"/>
                <a:gd name="connsiteY15" fmla="*/ 2724293 h 2907193"/>
                <a:gd name="connsiteX16" fmla="*/ 2025757 w 4044707"/>
                <a:gd name="connsiteY16" fmla="*/ 2724959 h 2907193"/>
                <a:gd name="connsiteX17" fmla="*/ 2026211 w 4044707"/>
                <a:gd name="connsiteY17" fmla="*/ 2725352 h 2907193"/>
                <a:gd name="connsiteX18" fmla="*/ 2027451 w 4044707"/>
                <a:gd name="connsiteY18" fmla="*/ 2725080 h 2907193"/>
                <a:gd name="connsiteX19" fmla="*/ 2029054 w 4044707"/>
                <a:gd name="connsiteY19" fmla="*/ 2723991 h 2907193"/>
                <a:gd name="connsiteX20" fmla="*/ 2029901 w 4044707"/>
                <a:gd name="connsiteY20" fmla="*/ 2722357 h 2907193"/>
                <a:gd name="connsiteX21" fmla="*/ 2029447 w 4044707"/>
                <a:gd name="connsiteY21" fmla="*/ 2721207 h 2907193"/>
                <a:gd name="connsiteX22" fmla="*/ 2029569 w 4044707"/>
                <a:gd name="connsiteY22" fmla="*/ 2720512 h 2907193"/>
                <a:gd name="connsiteX23" fmla="*/ 2030900 w 4044707"/>
                <a:gd name="connsiteY23" fmla="*/ 2719543 h 2907193"/>
                <a:gd name="connsiteX24" fmla="*/ 2031989 w 4044707"/>
                <a:gd name="connsiteY24" fmla="*/ 2718273 h 2907193"/>
                <a:gd name="connsiteX25" fmla="*/ 2032654 w 4044707"/>
                <a:gd name="connsiteY25" fmla="*/ 2716609 h 2907193"/>
                <a:gd name="connsiteX26" fmla="*/ 2032745 w 4044707"/>
                <a:gd name="connsiteY26" fmla="*/ 2714915 h 2907193"/>
                <a:gd name="connsiteX27" fmla="*/ 2031989 w 4044707"/>
                <a:gd name="connsiteY27" fmla="*/ 2714340 h 2907193"/>
                <a:gd name="connsiteX28" fmla="*/ 2031444 w 4044707"/>
                <a:gd name="connsiteY28" fmla="*/ 2714552 h 2907193"/>
                <a:gd name="connsiteX29" fmla="*/ 2015411 w 4044707"/>
                <a:gd name="connsiteY29" fmla="*/ 2707866 h 2907193"/>
                <a:gd name="connsiteX30" fmla="*/ 2014110 w 4044707"/>
                <a:gd name="connsiteY30" fmla="*/ 2708018 h 2907193"/>
                <a:gd name="connsiteX31" fmla="*/ 2011509 w 4044707"/>
                <a:gd name="connsiteY31" fmla="*/ 2709651 h 2907193"/>
                <a:gd name="connsiteX32" fmla="*/ 2010026 w 4044707"/>
                <a:gd name="connsiteY32" fmla="*/ 2710982 h 2907193"/>
                <a:gd name="connsiteX33" fmla="*/ 2009875 w 4044707"/>
                <a:gd name="connsiteY33" fmla="*/ 2710377 h 2907193"/>
                <a:gd name="connsiteX34" fmla="*/ 2010208 w 4044707"/>
                <a:gd name="connsiteY34" fmla="*/ 2709712 h 2907193"/>
                <a:gd name="connsiteX35" fmla="*/ 2010813 w 4044707"/>
                <a:gd name="connsiteY35" fmla="*/ 2709198 h 2907193"/>
                <a:gd name="connsiteX36" fmla="*/ 2011115 w 4044707"/>
                <a:gd name="connsiteY36" fmla="*/ 2708411 h 2907193"/>
                <a:gd name="connsiteX37" fmla="*/ 2010843 w 4044707"/>
                <a:gd name="connsiteY37" fmla="*/ 2707806 h 2907193"/>
                <a:gd name="connsiteX38" fmla="*/ 2009845 w 4044707"/>
                <a:gd name="connsiteY38" fmla="*/ 2708018 h 2907193"/>
                <a:gd name="connsiteX39" fmla="*/ 2008544 w 4044707"/>
                <a:gd name="connsiteY39" fmla="*/ 2708986 h 2907193"/>
                <a:gd name="connsiteX40" fmla="*/ 2007545 w 4044707"/>
                <a:gd name="connsiteY40" fmla="*/ 2709984 h 2907193"/>
                <a:gd name="connsiteX41" fmla="*/ 2007182 w 4044707"/>
                <a:gd name="connsiteY41" fmla="*/ 2710892 h 2907193"/>
                <a:gd name="connsiteX42" fmla="*/ 2008120 w 4044707"/>
                <a:gd name="connsiteY42" fmla="*/ 2713221 h 2907193"/>
                <a:gd name="connsiteX43" fmla="*/ 2008453 w 4044707"/>
                <a:gd name="connsiteY43" fmla="*/ 2714340 h 2907193"/>
                <a:gd name="connsiteX44" fmla="*/ 2008846 w 4044707"/>
                <a:gd name="connsiteY44" fmla="*/ 2715157 h 2907193"/>
                <a:gd name="connsiteX45" fmla="*/ 2009845 w 4044707"/>
                <a:gd name="connsiteY45" fmla="*/ 2715429 h 2907193"/>
                <a:gd name="connsiteX46" fmla="*/ 2011267 w 4044707"/>
                <a:gd name="connsiteY46" fmla="*/ 2714915 h 2907193"/>
                <a:gd name="connsiteX47" fmla="*/ 2011750 w 4044707"/>
                <a:gd name="connsiteY47" fmla="*/ 2715157 h 2907193"/>
                <a:gd name="connsiteX48" fmla="*/ 2012023 w 4044707"/>
                <a:gd name="connsiteY48" fmla="*/ 2715944 h 2907193"/>
                <a:gd name="connsiteX49" fmla="*/ 2012658 w 4044707"/>
                <a:gd name="connsiteY49" fmla="*/ 2715762 h 2907193"/>
                <a:gd name="connsiteX50" fmla="*/ 2015018 w 4044707"/>
                <a:gd name="connsiteY50" fmla="*/ 2712465 h 2907193"/>
                <a:gd name="connsiteX51" fmla="*/ 2015744 w 4044707"/>
                <a:gd name="connsiteY51" fmla="*/ 2710650 h 2907193"/>
                <a:gd name="connsiteX52" fmla="*/ 2015683 w 4044707"/>
                <a:gd name="connsiteY52" fmla="*/ 2708683 h 2907193"/>
                <a:gd name="connsiteX53" fmla="*/ 2015351 w 4044707"/>
                <a:gd name="connsiteY53" fmla="*/ 2707806 h 2907193"/>
                <a:gd name="connsiteX54" fmla="*/ 1496175 w 4044707"/>
                <a:gd name="connsiteY54" fmla="*/ 2715792 h 2907193"/>
                <a:gd name="connsiteX55" fmla="*/ 1498595 w 4044707"/>
                <a:gd name="connsiteY55" fmla="*/ 2714310 h 2907193"/>
                <a:gd name="connsiteX56" fmla="*/ 1498958 w 4044707"/>
                <a:gd name="connsiteY56" fmla="*/ 2710559 h 2907193"/>
                <a:gd name="connsiteX57" fmla="*/ 1498686 w 4044707"/>
                <a:gd name="connsiteY57" fmla="*/ 2708502 h 2907193"/>
                <a:gd name="connsiteX58" fmla="*/ 1497506 w 4044707"/>
                <a:gd name="connsiteY58" fmla="*/ 2707564 h 2907193"/>
                <a:gd name="connsiteX59" fmla="*/ 1494996 w 4044707"/>
                <a:gd name="connsiteY59" fmla="*/ 2706384 h 2907193"/>
                <a:gd name="connsiteX60" fmla="*/ 1493181 w 4044707"/>
                <a:gd name="connsiteY60" fmla="*/ 2706142 h 2907193"/>
                <a:gd name="connsiteX61" fmla="*/ 1490851 w 4044707"/>
                <a:gd name="connsiteY61" fmla="*/ 2707140 h 2907193"/>
                <a:gd name="connsiteX62" fmla="*/ 1488794 w 4044707"/>
                <a:gd name="connsiteY62" fmla="*/ 2706717 h 2907193"/>
                <a:gd name="connsiteX63" fmla="*/ 1485708 w 4044707"/>
                <a:gd name="connsiteY63" fmla="*/ 2705235 h 2907193"/>
                <a:gd name="connsiteX64" fmla="*/ 1484498 w 4044707"/>
                <a:gd name="connsiteY64" fmla="*/ 2705083 h 2907193"/>
                <a:gd name="connsiteX65" fmla="*/ 1483439 w 4044707"/>
                <a:gd name="connsiteY65" fmla="*/ 2705174 h 2907193"/>
                <a:gd name="connsiteX66" fmla="*/ 1481806 w 4044707"/>
                <a:gd name="connsiteY66" fmla="*/ 2704569 h 2907193"/>
                <a:gd name="connsiteX67" fmla="*/ 1480354 w 4044707"/>
                <a:gd name="connsiteY67" fmla="*/ 2704902 h 2907193"/>
                <a:gd name="connsiteX68" fmla="*/ 1479507 w 4044707"/>
                <a:gd name="connsiteY68" fmla="*/ 2705870 h 2907193"/>
                <a:gd name="connsiteX69" fmla="*/ 1478508 w 4044707"/>
                <a:gd name="connsiteY69" fmla="*/ 2706445 h 2907193"/>
                <a:gd name="connsiteX70" fmla="*/ 1481170 w 4044707"/>
                <a:gd name="connsiteY70" fmla="*/ 2708018 h 2907193"/>
                <a:gd name="connsiteX71" fmla="*/ 1487765 w 4044707"/>
                <a:gd name="connsiteY71" fmla="*/ 2710680 h 2907193"/>
                <a:gd name="connsiteX72" fmla="*/ 1496175 w 4044707"/>
                <a:gd name="connsiteY72" fmla="*/ 2715732 h 2907193"/>
                <a:gd name="connsiteX73" fmla="*/ 1467134 w 4044707"/>
                <a:gd name="connsiteY73" fmla="*/ 2690835 h 2907193"/>
                <a:gd name="connsiteX74" fmla="*/ 1466136 w 4044707"/>
                <a:gd name="connsiteY74" fmla="*/ 2688808 h 2907193"/>
                <a:gd name="connsiteX75" fmla="*/ 1464835 w 4044707"/>
                <a:gd name="connsiteY75" fmla="*/ 2687386 h 2907193"/>
                <a:gd name="connsiteX76" fmla="*/ 1464139 w 4044707"/>
                <a:gd name="connsiteY76" fmla="*/ 2686872 h 2907193"/>
                <a:gd name="connsiteX77" fmla="*/ 1463473 w 4044707"/>
                <a:gd name="connsiteY77" fmla="*/ 2686207 h 2907193"/>
                <a:gd name="connsiteX78" fmla="*/ 1462294 w 4044707"/>
                <a:gd name="connsiteY78" fmla="*/ 2685420 h 2907193"/>
                <a:gd name="connsiteX79" fmla="*/ 1461295 w 4044707"/>
                <a:gd name="connsiteY79" fmla="*/ 2685178 h 2907193"/>
                <a:gd name="connsiteX80" fmla="*/ 1460297 w 4044707"/>
                <a:gd name="connsiteY80" fmla="*/ 2685480 h 2907193"/>
                <a:gd name="connsiteX81" fmla="*/ 1459420 w 4044707"/>
                <a:gd name="connsiteY81" fmla="*/ 2686630 h 2907193"/>
                <a:gd name="connsiteX82" fmla="*/ 1458754 w 4044707"/>
                <a:gd name="connsiteY82" fmla="*/ 2687961 h 2907193"/>
                <a:gd name="connsiteX83" fmla="*/ 1458452 w 4044707"/>
                <a:gd name="connsiteY83" fmla="*/ 2689413 h 2907193"/>
                <a:gd name="connsiteX84" fmla="*/ 1458603 w 4044707"/>
                <a:gd name="connsiteY84" fmla="*/ 2691501 h 2907193"/>
                <a:gd name="connsiteX85" fmla="*/ 1459390 w 4044707"/>
                <a:gd name="connsiteY85" fmla="*/ 2693648 h 2907193"/>
                <a:gd name="connsiteX86" fmla="*/ 1460509 w 4044707"/>
                <a:gd name="connsiteY86" fmla="*/ 2694979 h 2907193"/>
                <a:gd name="connsiteX87" fmla="*/ 1463110 w 4044707"/>
                <a:gd name="connsiteY87" fmla="*/ 2696795 h 2907193"/>
                <a:gd name="connsiteX88" fmla="*/ 1463685 w 4044707"/>
                <a:gd name="connsiteY88" fmla="*/ 2697399 h 2907193"/>
                <a:gd name="connsiteX89" fmla="*/ 1464139 w 4044707"/>
                <a:gd name="connsiteY89" fmla="*/ 2698095 h 2907193"/>
                <a:gd name="connsiteX90" fmla="*/ 1464199 w 4044707"/>
                <a:gd name="connsiteY90" fmla="*/ 2698700 h 2907193"/>
                <a:gd name="connsiteX91" fmla="*/ 1464018 w 4044707"/>
                <a:gd name="connsiteY91" fmla="*/ 2699154 h 2907193"/>
                <a:gd name="connsiteX92" fmla="*/ 1464381 w 4044707"/>
                <a:gd name="connsiteY92" fmla="*/ 2699820 h 2907193"/>
                <a:gd name="connsiteX93" fmla="*/ 1465258 w 4044707"/>
                <a:gd name="connsiteY93" fmla="*/ 2700213 h 2907193"/>
                <a:gd name="connsiteX94" fmla="*/ 1466075 w 4044707"/>
                <a:gd name="connsiteY94" fmla="*/ 2699396 h 2907193"/>
                <a:gd name="connsiteX95" fmla="*/ 1467437 w 4044707"/>
                <a:gd name="connsiteY95" fmla="*/ 2695857 h 2907193"/>
                <a:gd name="connsiteX96" fmla="*/ 1467800 w 4044707"/>
                <a:gd name="connsiteY96" fmla="*/ 2693406 h 2907193"/>
                <a:gd name="connsiteX97" fmla="*/ 1467618 w 4044707"/>
                <a:gd name="connsiteY97" fmla="*/ 2691984 h 2907193"/>
                <a:gd name="connsiteX98" fmla="*/ 1467194 w 4044707"/>
                <a:gd name="connsiteY98" fmla="*/ 2690835 h 2907193"/>
                <a:gd name="connsiteX99" fmla="*/ 1526941 w 4044707"/>
                <a:gd name="connsiteY99" fmla="*/ 2685450 h 2907193"/>
                <a:gd name="connsiteX100" fmla="*/ 1530511 w 4044707"/>
                <a:gd name="connsiteY100" fmla="*/ 2681699 h 2907193"/>
                <a:gd name="connsiteX101" fmla="*/ 1531328 w 4044707"/>
                <a:gd name="connsiteY101" fmla="*/ 2678976 h 2907193"/>
                <a:gd name="connsiteX102" fmla="*/ 1528575 w 4044707"/>
                <a:gd name="connsiteY102" fmla="*/ 2677434 h 2907193"/>
                <a:gd name="connsiteX103" fmla="*/ 1522918 w 4044707"/>
                <a:gd name="connsiteY103" fmla="*/ 2676133 h 2907193"/>
                <a:gd name="connsiteX104" fmla="*/ 1520014 w 4044707"/>
                <a:gd name="connsiteY104" fmla="*/ 2676375 h 2907193"/>
                <a:gd name="connsiteX105" fmla="*/ 1516504 w 4044707"/>
                <a:gd name="connsiteY105" fmla="*/ 2677615 h 2907193"/>
                <a:gd name="connsiteX106" fmla="*/ 1514477 w 4044707"/>
                <a:gd name="connsiteY106" fmla="*/ 2680307 h 2907193"/>
                <a:gd name="connsiteX107" fmla="*/ 1514205 w 4044707"/>
                <a:gd name="connsiteY107" fmla="*/ 2684936 h 2907193"/>
                <a:gd name="connsiteX108" fmla="*/ 1517049 w 4044707"/>
                <a:gd name="connsiteY108" fmla="*/ 2687749 h 2907193"/>
                <a:gd name="connsiteX109" fmla="*/ 1521707 w 4044707"/>
                <a:gd name="connsiteY109" fmla="*/ 2687235 h 2907193"/>
                <a:gd name="connsiteX110" fmla="*/ 1526941 w 4044707"/>
                <a:gd name="connsiteY110" fmla="*/ 2685450 h 2907193"/>
                <a:gd name="connsiteX111" fmla="*/ 1450344 w 4044707"/>
                <a:gd name="connsiteY111" fmla="*/ 2677827 h 2907193"/>
                <a:gd name="connsiteX112" fmla="*/ 1448711 w 4044707"/>
                <a:gd name="connsiteY112" fmla="*/ 2676072 h 2907193"/>
                <a:gd name="connsiteX113" fmla="*/ 1448499 w 4044707"/>
                <a:gd name="connsiteY113" fmla="*/ 2674862 h 2907193"/>
                <a:gd name="connsiteX114" fmla="*/ 1448711 w 4044707"/>
                <a:gd name="connsiteY114" fmla="*/ 2672896 h 2907193"/>
                <a:gd name="connsiteX115" fmla="*/ 1449225 w 4044707"/>
                <a:gd name="connsiteY115" fmla="*/ 2671958 h 2907193"/>
                <a:gd name="connsiteX116" fmla="*/ 1449467 w 4044707"/>
                <a:gd name="connsiteY116" fmla="*/ 2671051 h 2907193"/>
                <a:gd name="connsiteX117" fmla="*/ 1448832 w 4044707"/>
                <a:gd name="connsiteY117" fmla="*/ 2669266 h 2907193"/>
                <a:gd name="connsiteX118" fmla="*/ 1448045 w 4044707"/>
                <a:gd name="connsiteY118" fmla="*/ 2668298 h 2907193"/>
                <a:gd name="connsiteX119" fmla="*/ 1447047 w 4044707"/>
                <a:gd name="connsiteY119" fmla="*/ 2667329 h 2907193"/>
                <a:gd name="connsiteX120" fmla="*/ 1446170 w 4044707"/>
                <a:gd name="connsiteY120" fmla="*/ 2666089 h 2907193"/>
                <a:gd name="connsiteX121" fmla="*/ 1445262 w 4044707"/>
                <a:gd name="connsiteY121" fmla="*/ 2662247 h 2907193"/>
                <a:gd name="connsiteX122" fmla="*/ 1441602 w 4044707"/>
                <a:gd name="connsiteY122" fmla="*/ 2653747 h 2907193"/>
                <a:gd name="connsiteX123" fmla="*/ 1439333 w 4044707"/>
                <a:gd name="connsiteY123" fmla="*/ 2653958 h 2907193"/>
                <a:gd name="connsiteX124" fmla="*/ 1438758 w 4044707"/>
                <a:gd name="connsiteY124" fmla="*/ 2656530 h 2907193"/>
                <a:gd name="connsiteX125" fmla="*/ 1439605 w 4044707"/>
                <a:gd name="connsiteY125" fmla="*/ 2659555 h 2907193"/>
                <a:gd name="connsiteX126" fmla="*/ 1441632 w 4044707"/>
                <a:gd name="connsiteY126" fmla="*/ 2661189 h 2907193"/>
                <a:gd name="connsiteX127" fmla="*/ 1440664 w 4044707"/>
                <a:gd name="connsiteY127" fmla="*/ 2663578 h 2907193"/>
                <a:gd name="connsiteX128" fmla="*/ 1439303 w 4044707"/>
                <a:gd name="connsiteY128" fmla="*/ 2664667 h 2907193"/>
                <a:gd name="connsiteX129" fmla="*/ 1438214 w 4044707"/>
                <a:gd name="connsiteY129" fmla="*/ 2665847 h 2907193"/>
                <a:gd name="connsiteX130" fmla="*/ 1438153 w 4044707"/>
                <a:gd name="connsiteY130" fmla="*/ 2668600 h 2907193"/>
                <a:gd name="connsiteX131" fmla="*/ 1439061 w 4044707"/>
                <a:gd name="connsiteY131" fmla="*/ 2671141 h 2907193"/>
                <a:gd name="connsiteX132" fmla="*/ 1443659 w 4044707"/>
                <a:gd name="connsiteY132" fmla="*/ 2677373 h 2907193"/>
                <a:gd name="connsiteX133" fmla="*/ 1438667 w 4044707"/>
                <a:gd name="connsiteY133" fmla="*/ 2676163 h 2907193"/>
                <a:gd name="connsiteX134" fmla="*/ 1437306 w 4044707"/>
                <a:gd name="connsiteY134" fmla="*/ 2679551 h 2907193"/>
                <a:gd name="connsiteX135" fmla="*/ 1438092 w 4044707"/>
                <a:gd name="connsiteY135" fmla="*/ 2680398 h 2907193"/>
                <a:gd name="connsiteX136" fmla="*/ 1438002 w 4044707"/>
                <a:gd name="connsiteY136" fmla="*/ 2682274 h 2907193"/>
                <a:gd name="connsiteX137" fmla="*/ 1438062 w 4044707"/>
                <a:gd name="connsiteY137" fmla="*/ 2685390 h 2907193"/>
                <a:gd name="connsiteX138" fmla="*/ 1437215 w 4044707"/>
                <a:gd name="connsiteY138" fmla="*/ 2689534 h 2907193"/>
                <a:gd name="connsiteX139" fmla="*/ 1437397 w 4044707"/>
                <a:gd name="connsiteY139" fmla="*/ 2693588 h 2907193"/>
                <a:gd name="connsiteX140" fmla="*/ 1438667 w 4044707"/>
                <a:gd name="connsiteY140" fmla="*/ 2698125 h 2907193"/>
                <a:gd name="connsiteX141" fmla="*/ 1439635 w 4044707"/>
                <a:gd name="connsiteY141" fmla="*/ 2700515 h 2907193"/>
                <a:gd name="connsiteX142" fmla="*/ 1441662 w 4044707"/>
                <a:gd name="connsiteY142" fmla="*/ 2703117 h 2907193"/>
                <a:gd name="connsiteX143" fmla="*/ 1444415 w 4044707"/>
                <a:gd name="connsiteY143" fmla="*/ 2703450 h 2907193"/>
                <a:gd name="connsiteX144" fmla="*/ 1447168 w 4044707"/>
                <a:gd name="connsiteY144" fmla="*/ 2701514 h 2907193"/>
                <a:gd name="connsiteX145" fmla="*/ 1450586 w 4044707"/>
                <a:gd name="connsiteY145" fmla="*/ 2698428 h 2907193"/>
                <a:gd name="connsiteX146" fmla="*/ 1451131 w 4044707"/>
                <a:gd name="connsiteY146" fmla="*/ 2691833 h 2907193"/>
                <a:gd name="connsiteX147" fmla="*/ 1452644 w 4044707"/>
                <a:gd name="connsiteY147" fmla="*/ 2687628 h 2907193"/>
                <a:gd name="connsiteX148" fmla="*/ 1452704 w 4044707"/>
                <a:gd name="connsiteY148" fmla="*/ 2682607 h 2907193"/>
                <a:gd name="connsiteX149" fmla="*/ 1452311 w 4044707"/>
                <a:gd name="connsiteY149" fmla="*/ 2679521 h 2907193"/>
                <a:gd name="connsiteX150" fmla="*/ 1450405 w 4044707"/>
                <a:gd name="connsiteY150" fmla="*/ 2677857 h 2907193"/>
                <a:gd name="connsiteX151" fmla="*/ 1439333 w 4044707"/>
                <a:gd name="connsiteY151" fmla="*/ 2619865 h 2907193"/>
                <a:gd name="connsiteX152" fmla="*/ 1440150 w 4044707"/>
                <a:gd name="connsiteY152" fmla="*/ 2618837 h 2907193"/>
                <a:gd name="connsiteX153" fmla="*/ 1440936 w 4044707"/>
                <a:gd name="connsiteY153" fmla="*/ 2617505 h 2907193"/>
                <a:gd name="connsiteX154" fmla="*/ 1440180 w 4044707"/>
                <a:gd name="connsiteY154" fmla="*/ 2616265 h 2907193"/>
                <a:gd name="connsiteX155" fmla="*/ 1440936 w 4044707"/>
                <a:gd name="connsiteY155" fmla="*/ 2614117 h 2907193"/>
                <a:gd name="connsiteX156" fmla="*/ 1440543 w 4044707"/>
                <a:gd name="connsiteY156" fmla="*/ 2612695 h 2907193"/>
                <a:gd name="connsiteX157" fmla="*/ 1439817 w 4044707"/>
                <a:gd name="connsiteY157" fmla="*/ 2611516 h 2907193"/>
                <a:gd name="connsiteX158" fmla="*/ 1439575 w 4044707"/>
                <a:gd name="connsiteY158" fmla="*/ 2610003 h 2907193"/>
                <a:gd name="connsiteX159" fmla="*/ 1439938 w 4044707"/>
                <a:gd name="connsiteY159" fmla="*/ 2608551 h 2907193"/>
                <a:gd name="connsiteX160" fmla="*/ 1441632 w 4044707"/>
                <a:gd name="connsiteY160" fmla="*/ 2605012 h 2907193"/>
                <a:gd name="connsiteX161" fmla="*/ 1440059 w 4044707"/>
                <a:gd name="connsiteY161" fmla="*/ 2606282 h 2907193"/>
                <a:gd name="connsiteX162" fmla="*/ 1438244 w 4044707"/>
                <a:gd name="connsiteY162" fmla="*/ 2608823 h 2907193"/>
                <a:gd name="connsiteX163" fmla="*/ 1436762 w 4044707"/>
                <a:gd name="connsiteY163" fmla="*/ 2610064 h 2907193"/>
                <a:gd name="connsiteX164" fmla="*/ 1436126 w 4044707"/>
                <a:gd name="connsiteY164" fmla="*/ 2607401 h 2907193"/>
                <a:gd name="connsiteX165" fmla="*/ 1436762 w 4044707"/>
                <a:gd name="connsiteY165" fmla="*/ 2605102 h 2907193"/>
                <a:gd name="connsiteX166" fmla="*/ 1439575 w 4044707"/>
                <a:gd name="connsiteY166" fmla="*/ 2601412 h 2907193"/>
                <a:gd name="connsiteX167" fmla="*/ 1440210 w 4044707"/>
                <a:gd name="connsiteY167" fmla="*/ 2599355 h 2907193"/>
                <a:gd name="connsiteX168" fmla="*/ 1440089 w 4044707"/>
                <a:gd name="connsiteY168" fmla="*/ 2597630 h 2907193"/>
                <a:gd name="connsiteX169" fmla="*/ 1439847 w 4044707"/>
                <a:gd name="connsiteY169" fmla="*/ 2596390 h 2907193"/>
                <a:gd name="connsiteX170" fmla="*/ 1439787 w 4044707"/>
                <a:gd name="connsiteY170" fmla="*/ 2595210 h 2907193"/>
                <a:gd name="connsiteX171" fmla="*/ 1440210 w 4044707"/>
                <a:gd name="connsiteY171" fmla="*/ 2593637 h 2907193"/>
                <a:gd name="connsiteX172" fmla="*/ 1440876 w 4044707"/>
                <a:gd name="connsiteY172" fmla="*/ 2592820 h 2907193"/>
                <a:gd name="connsiteX173" fmla="*/ 1441874 w 4044707"/>
                <a:gd name="connsiteY173" fmla="*/ 2592124 h 2907193"/>
                <a:gd name="connsiteX174" fmla="*/ 1442842 w 4044707"/>
                <a:gd name="connsiteY174" fmla="*/ 2591731 h 2907193"/>
                <a:gd name="connsiteX175" fmla="*/ 1443356 w 4044707"/>
                <a:gd name="connsiteY175" fmla="*/ 2591792 h 2907193"/>
                <a:gd name="connsiteX176" fmla="*/ 1444929 w 4044707"/>
                <a:gd name="connsiteY176" fmla="*/ 2594121 h 2907193"/>
                <a:gd name="connsiteX177" fmla="*/ 1446865 w 4044707"/>
                <a:gd name="connsiteY177" fmla="*/ 2595694 h 2907193"/>
                <a:gd name="connsiteX178" fmla="*/ 1448166 w 4044707"/>
                <a:gd name="connsiteY178" fmla="*/ 2595482 h 2907193"/>
                <a:gd name="connsiteX179" fmla="*/ 1447803 w 4044707"/>
                <a:gd name="connsiteY179" fmla="*/ 2592397 h 2907193"/>
                <a:gd name="connsiteX180" fmla="*/ 1449739 w 4044707"/>
                <a:gd name="connsiteY180" fmla="*/ 2592760 h 2907193"/>
                <a:gd name="connsiteX181" fmla="*/ 1450586 w 4044707"/>
                <a:gd name="connsiteY181" fmla="*/ 2595240 h 2907193"/>
                <a:gd name="connsiteX182" fmla="*/ 1451040 w 4044707"/>
                <a:gd name="connsiteY182" fmla="*/ 2598507 h 2907193"/>
                <a:gd name="connsiteX183" fmla="*/ 1451827 w 4044707"/>
                <a:gd name="connsiteY183" fmla="*/ 2601291 h 2907193"/>
                <a:gd name="connsiteX184" fmla="*/ 1448862 w 4044707"/>
                <a:gd name="connsiteY184" fmla="*/ 2603469 h 2907193"/>
                <a:gd name="connsiteX185" fmla="*/ 1447743 w 4044707"/>
                <a:gd name="connsiteY185" fmla="*/ 2603771 h 2907193"/>
                <a:gd name="connsiteX186" fmla="*/ 1447743 w 4044707"/>
                <a:gd name="connsiteY186" fmla="*/ 2605042 h 2907193"/>
                <a:gd name="connsiteX187" fmla="*/ 1449830 w 4044707"/>
                <a:gd name="connsiteY187" fmla="*/ 2604921 h 2907193"/>
                <a:gd name="connsiteX188" fmla="*/ 1451736 w 4044707"/>
                <a:gd name="connsiteY188" fmla="*/ 2603711 h 2907193"/>
                <a:gd name="connsiteX189" fmla="*/ 1455275 w 4044707"/>
                <a:gd name="connsiteY189" fmla="*/ 2600050 h 2907193"/>
                <a:gd name="connsiteX190" fmla="*/ 1454186 w 4044707"/>
                <a:gd name="connsiteY190" fmla="*/ 2597963 h 2907193"/>
                <a:gd name="connsiteX191" fmla="*/ 1452522 w 4044707"/>
                <a:gd name="connsiteY191" fmla="*/ 2592306 h 2907193"/>
                <a:gd name="connsiteX192" fmla="*/ 1451464 w 4044707"/>
                <a:gd name="connsiteY192" fmla="*/ 2591126 h 2907193"/>
                <a:gd name="connsiteX193" fmla="*/ 1450072 w 4044707"/>
                <a:gd name="connsiteY193" fmla="*/ 2590067 h 2907193"/>
                <a:gd name="connsiteX194" fmla="*/ 1448680 w 4044707"/>
                <a:gd name="connsiteY194" fmla="*/ 2587587 h 2907193"/>
                <a:gd name="connsiteX195" fmla="*/ 1446684 w 4044707"/>
                <a:gd name="connsiteY195" fmla="*/ 2583049 h 2907193"/>
                <a:gd name="connsiteX196" fmla="*/ 1445686 w 4044707"/>
                <a:gd name="connsiteY196" fmla="*/ 2582474 h 2907193"/>
                <a:gd name="connsiteX197" fmla="*/ 1444445 w 4044707"/>
                <a:gd name="connsiteY197" fmla="*/ 2582474 h 2907193"/>
                <a:gd name="connsiteX198" fmla="*/ 1443386 w 4044707"/>
                <a:gd name="connsiteY198" fmla="*/ 2582172 h 2907193"/>
                <a:gd name="connsiteX199" fmla="*/ 1442933 w 4044707"/>
                <a:gd name="connsiteY199" fmla="*/ 2580478 h 2907193"/>
                <a:gd name="connsiteX200" fmla="*/ 1442660 w 4044707"/>
                <a:gd name="connsiteY200" fmla="*/ 2578632 h 2907193"/>
                <a:gd name="connsiteX201" fmla="*/ 1441965 w 4044707"/>
                <a:gd name="connsiteY201" fmla="*/ 2578058 h 2907193"/>
                <a:gd name="connsiteX202" fmla="*/ 1441027 w 4044707"/>
                <a:gd name="connsiteY202" fmla="*/ 2577906 h 2907193"/>
                <a:gd name="connsiteX203" fmla="*/ 1440029 w 4044707"/>
                <a:gd name="connsiteY203" fmla="*/ 2577301 h 2907193"/>
                <a:gd name="connsiteX204" fmla="*/ 1437427 w 4044707"/>
                <a:gd name="connsiteY204" fmla="*/ 2574306 h 2907193"/>
                <a:gd name="connsiteX205" fmla="*/ 1436550 w 4044707"/>
                <a:gd name="connsiteY205" fmla="*/ 2572491 h 2907193"/>
                <a:gd name="connsiteX206" fmla="*/ 1435975 w 4044707"/>
                <a:gd name="connsiteY206" fmla="*/ 2569769 h 2907193"/>
                <a:gd name="connsiteX207" fmla="*/ 1433373 w 4044707"/>
                <a:gd name="connsiteY207" fmla="*/ 2569708 h 2907193"/>
                <a:gd name="connsiteX208" fmla="*/ 1432163 w 4044707"/>
                <a:gd name="connsiteY208" fmla="*/ 2570041 h 2907193"/>
                <a:gd name="connsiteX209" fmla="*/ 1431014 w 4044707"/>
                <a:gd name="connsiteY209" fmla="*/ 2570918 h 2907193"/>
                <a:gd name="connsiteX210" fmla="*/ 1434432 w 4044707"/>
                <a:gd name="connsiteY210" fmla="*/ 2576000 h 2907193"/>
                <a:gd name="connsiteX211" fmla="*/ 1435188 w 4044707"/>
                <a:gd name="connsiteY211" fmla="*/ 2578451 h 2907193"/>
                <a:gd name="connsiteX212" fmla="*/ 1434190 w 4044707"/>
                <a:gd name="connsiteY212" fmla="*/ 2577816 h 2907193"/>
                <a:gd name="connsiteX213" fmla="*/ 1433373 w 4044707"/>
                <a:gd name="connsiteY213" fmla="*/ 2577694 h 2907193"/>
                <a:gd name="connsiteX214" fmla="*/ 1432738 w 4044707"/>
                <a:gd name="connsiteY214" fmla="*/ 2578330 h 2907193"/>
                <a:gd name="connsiteX215" fmla="*/ 1432345 w 4044707"/>
                <a:gd name="connsiteY215" fmla="*/ 2579842 h 2907193"/>
                <a:gd name="connsiteX216" fmla="*/ 1431921 w 4044707"/>
                <a:gd name="connsiteY216" fmla="*/ 2579479 h 2907193"/>
                <a:gd name="connsiteX217" fmla="*/ 1430802 w 4044707"/>
                <a:gd name="connsiteY217" fmla="*/ 2578874 h 2907193"/>
                <a:gd name="connsiteX218" fmla="*/ 1430379 w 4044707"/>
                <a:gd name="connsiteY218" fmla="*/ 2578481 h 2907193"/>
                <a:gd name="connsiteX219" fmla="*/ 1430257 w 4044707"/>
                <a:gd name="connsiteY219" fmla="*/ 2581809 h 2907193"/>
                <a:gd name="connsiteX220" fmla="*/ 1429259 w 4044707"/>
                <a:gd name="connsiteY220" fmla="*/ 2583352 h 2907193"/>
                <a:gd name="connsiteX221" fmla="*/ 1428140 w 4044707"/>
                <a:gd name="connsiteY221" fmla="*/ 2584501 h 2907193"/>
                <a:gd name="connsiteX222" fmla="*/ 1427595 w 4044707"/>
                <a:gd name="connsiteY222" fmla="*/ 2586679 h 2907193"/>
                <a:gd name="connsiteX223" fmla="*/ 1428140 w 4044707"/>
                <a:gd name="connsiteY223" fmla="*/ 2589704 h 2907193"/>
                <a:gd name="connsiteX224" fmla="*/ 1429471 w 4044707"/>
                <a:gd name="connsiteY224" fmla="*/ 2590430 h 2907193"/>
                <a:gd name="connsiteX225" fmla="*/ 1431044 w 4044707"/>
                <a:gd name="connsiteY225" fmla="*/ 2589462 h 2907193"/>
                <a:gd name="connsiteX226" fmla="*/ 1432375 w 4044707"/>
                <a:gd name="connsiteY226" fmla="*/ 2587375 h 2907193"/>
                <a:gd name="connsiteX227" fmla="*/ 1433010 w 4044707"/>
                <a:gd name="connsiteY227" fmla="*/ 2590521 h 2907193"/>
                <a:gd name="connsiteX228" fmla="*/ 1435037 w 4044707"/>
                <a:gd name="connsiteY228" fmla="*/ 2591308 h 2907193"/>
                <a:gd name="connsiteX229" fmla="*/ 1439393 w 4044707"/>
                <a:gd name="connsiteY229" fmla="*/ 2591096 h 2907193"/>
                <a:gd name="connsiteX230" fmla="*/ 1436126 w 4044707"/>
                <a:gd name="connsiteY230" fmla="*/ 2595422 h 2907193"/>
                <a:gd name="connsiteX231" fmla="*/ 1433706 w 4044707"/>
                <a:gd name="connsiteY231" fmla="*/ 2599657 h 2907193"/>
                <a:gd name="connsiteX232" fmla="*/ 1432224 w 4044707"/>
                <a:gd name="connsiteY232" fmla="*/ 2604467 h 2907193"/>
                <a:gd name="connsiteX233" fmla="*/ 1431709 w 4044707"/>
                <a:gd name="connsiteY233" fmla="*/ 2610548 h 2907193"/>
                <a:gd name="connsiteX234" fmla="*/ 1432072 w 4044707"/>
                <a:gd name="connsiteY234" fmla="*/ 2613543 h 2907193"/>
                <a:gd name="connsiteX235" fmla="*/ 1432980 w 4044707"/>
                <a:gd name="connsiteY235" fmla="*/ 2616205 h 2907193"/>
                <a:gd name="connsiteX236" fmla="*/ 1434130 w 4044707"/>
                <a:gd name="connsiteY236" fmla="*/ 2618383 h 2907193"/>
                <a:gd name="connsiteX237" fmla="*/ 1435219 w 4044707"/>
                <a:gd name="connsiteY237" fmla="*/ 2619926 h 2907193"/>
                <a:gd name="connsiteX238" fmla="*/ 1435824 w 4044707"/>
                <a:gd name="connsiteY238" fmla="*/ 2621075 h 2907193"/>
                <a:gd name="connsiteX239" fmla="*/ 1435824 w 4044707"/>
                <a:gd name="connsiteY239" fmla="*/ 2621620 h 2907193"/>
                <a:gd name="connsiteX240" fmla="*/ 1436096 w 4044707"/>
                <a:gd name="connsiteY240" fmla="*/ 2621620 h 2907193"/>
                <a:gd name="connsiteX241" fmla="*/ 1438304 w 4044707"/>
                <a:gd name="connsiteY241" fmla="*/ 2620561 h 2907193"/>
                <a:gd name="connsiteX242" fmla="*/ 1439181 w 4044707"/>
                <a:gd name="connsiteY242" fmla="*/ 2619805 h 2907193"/>
                <a:gd name="connsiteX243" fmla="*/ 1454610 w 4044707"/>
                <a:gd name="connsiteY243" fmla="*/ 2551830 h 2907193"/>
                <a:gd name="connsiteX244" fmla="*/ 1453460 w 4044707"/>
                <a:gd name="connsiteY244" fmla="*/ 2550983 h 2907193"/>
                <a:gd name="connsiteX245" fmla="*/ 1452250 w 4044707"/>
                <a:gd name="connsiteY245" fmla="*/ 2550680 h 2907193"/>
                <a:gd name="connsiteX246" fmla="*/ 1451252 w 4044707"/>
                <a:gd name="connsiteY246" fmla="*/ 2550771 h 2907193"/>
                <a:gd name="connsiteX247" fmla="*/ 1450344 w 4044707"/>
                <a:gd name="connsiteY247" fmla="*/ 2551497 h 2907193"/>
                <a:gd name="connsiteX248" fmla="*/ 1449134 w 4044707"/>
                <a:gd name="connsiteY248" fmla="*/ 2552828 h 2907193"/>
                <a:gd name="connsiteX249" fmla="*/ 1448378 w 4044707"/>
                <a:gd name="connsiteY249" fmla="*/ 2554098 h 2907193"/>
                <a:gd name="connsiteX250" fmla="*/ 1448862 w 4044707"/>
                <a:gd name="connsiteY250" fmla="*/ 2554673 h 2907193"/>
                <a:gd name="connsiteX251" fmla="*/ 1450586 w 4044707"/>
                <a:gd name="connsiteY251" fmla="*/ 2555702 h 2907193"/>
                <a:gd name="connsiteX252" fmla="*/ 1449588 w 4044707"/>
                <a:gd name="connsiteY252" fmla="*/ 2558122 h 2907193"/>
                <a:gd name="connsiteX253" fmla="*/ 1445807 w 4044707"/>
                <a:gd name="connsiteY253" fmla="*/ 2563355 h 2907193"/>
                <a:gd name="connsiteX254" fmla="*/ 1446593 w 4044707"/>
                <a:gd name="connsiteY254" fmla="*/ 2564475 h 2907193"/>
                <a:gd name="connsiteX255" fmla="*/ 1446987 w 4044707"/>
                <a:gd name="connsiteY255" fmla="*/ 2565987 h 2907193"/>
                <a:gd name="connsiteX256" fmla="*/ 1446987 w 4044707"/>
                <a:gd name="connsiteY256" fmla="*/ 2567833 h 2907193"/>
                <a:gd name="connsiteX257" fmla="*/ 1446412 w 4044707"/>
                <a:gd name="connsiteY257" fmla="*/ 2569769 h 2907193"/>
                <a:gd name="connsiteX258" fmla="*/ 1448106 w 4044707"/>
                <a:gd name="connsiteY258" fmla="*/ 2572159 h 2907193"/>
                <a:gd name="connsiteX259" fmla="*/ 1449286 w 4044707"/>
                <a:gd name="connsiteY259" fmla="*/ 2574639 h 2907193"/>
                <a:gd name="connsiteX260" fmla="*/ 1451222 w 4044707"/>
                <a:gd name="connsiteY260" fmla="*/ 2581083 h 2907193"/>
                <a:gd name="connsiteX261" fmla="*/ 1451857 w 4044707"/>
                <a:gd name="connsiteY261" fmla="*/ 2584441 h 2907193"/>
                <a:gd name="connsiteX262" fmla="*/ 1452250 w 4044707"/>
                <a:gd name="connsiteY262" fmla="*/ 2585469 h 2907193"/>
                <a:gd name="connsiteX263" fmla="*/ 1453279 w 4044707"/>
                <a:gd name="connsiteY263" fmla="*/ 2586679 h 2907193"/>
                <a:gd name="connsiteX264" fmla="*/ 1454459 w 4044707"/>
                <a:gd name="connsiteY264" fmla="*/ 2587375 h 2907193"/>
                <a:gd name="connsiteX265" fmla="*/ 1456062 w 4044707"/>
                <a:gd name="connsiteY265" fmla="*/ 2587617 h 2907193"/>
                <a:gd name="connsiteX266" fmla="*/ 1457484 w 4044707"/>
                <a:gd name="connsiteY266" fmla="*/ 2587103 h 2907193"/>
                <a:gd name="connsiteX267" fmla="*/ 1458089 w 4044707"/>
                <a:gd name="connsiteY267" fmla="*/ 2585409 h 2907193"/>
                <a:gd name="connsiteX268" fmla="*/ 1458664 w 4044707"/>
                <a:gd name="connsiteY268" fmla="*/ 2584804 h 2907193"/>
                <a:gd name="connsiteX269" fmla="*/ 1459874 w 4044707"/>
                <a:gd name="connsiteY269" fmla="*/ 2584955 h 2907193"/>
                <a:gd name="connsiteX270" fmla="*/ 1461054 w 4044707"/>
                <a:gd name="connsiteY270" fmla="*/ 2585832 h 2907193"/>
                <a:gd name="connsiteX271" fmla="*/ 1461537 w 4044707"/>
                <a:gd name="connsiteY271" fmla="*/ 2587345 h 2907193"/>
                <a:gd name="connsiteX272" fmla="*/ 1460842 w 4044707"/>
                <a:gd name="connsiteY272" fmla="*/ 2588767 h 2907193"/>
                <a:gd name="connsiteX273" fmla="*/ 1459480 w 4044707"/>
                <a:gd name="connsiteY273" fmla="*/ 2588615 h 2907193"/>
                <a:gd name="connsiteX274" fmla="*/ 1457907 w 4044707"/>
                <a:gd name="connsiteY274" fmla="*/ 2588131 h 2907193"/>
                <a:gd name="connsiteX275" fmla="*/ 1456667 w 4044707"/>
                <a:gd name="connsiteY275" fmla="*/ 2588585 h 2907193"/>
                <a:gd name="connsiteX276" fmla="*/ 1457181 w 4044707"/>
                <a:gd name="connsiteY276" fmla="*/ 2590067 h 2907193"/>
                <a:gd name="connsiteX277" fmla="*/ 1459843 w 4044707"/>
                <a:gd name="connsiteY277" fmla="*/ 2591066 h 2907193"/>
                <a:gd name="connsiteX278" fmla="*/ 1463080 w 4044707"/>
                <a:gd name="connsiteY278" fmla="*/ 2591005 h 2907193"/>
                <a:gd name="connsiteX279" fmla="*/ 1469100 w 4044707"/>
                <a:gd name="connsiteY279" fmla="*/ 2585681 h 2907193"/>
                <a:gd name="connsiteX280" fmla="*/ 1470734 w 4044707"/>
                <a:gd name="connsiteY280" fmla="*/ 2582837 h 2907193"/>
                <a:gd name="connsiteX281" fmla="*/ 1470219 w 4044707"/>
                <a:gd name="connsiteY281" fmla="*/ 2579116 h 2907193"/>
                <a:gd name="connsiteX282" fmla="*/ 1470068 w 4044707"/>
                <a:gd name="connsiteY282" fmla="*/ 2573913 h 2907193"/>
                <a:gd name="connsiteX283" fmla="*/ 1469887 w 4044707"/>
                <a:gd name="connsiteY283" fmla="*/ 2572249 h 2907193"/>
                <a:gd name="connsiteX284" fmla="*/ 1467769 w 4044707"/>
                <a:gd name="connsiteY284" fmla="*/ 2568377 h 2907193"/>
                <a:gd name="connsiteX285" fmla="*/ 1465561 w 4044707"/>
                <a:gd name="connsiteY285" fmla="*/ 2562992 h 2907193"/>
                <a:gd name="connsiteX286" fmla="*/ 1463020 w 4044707"/>
                <a:gd name="connsiteY286" fmla="*/ 2558001 h 2907193"/>
                <a:gd name="connsiteX287" fmla="*/ 1459753 w 4044707"/>
                <a:gd name="connsiteY287" fmla="*/ 2554431 h 2907193"/>
                <a:gd name="connsiteX288" fmla="*/ 1455397 w 4044707"/>
                <a:gd name="connsiteY288" fmla="*/ 2553251 h 2907193"/>
                <a:gd name="connsiteX289" fmla="*/ 1454670 w 4044707"/>
                <a:gd name="connsiteY289" fmla="*/ 2551799 h 2907193"/>
                <a:gd name="connsiteX290" fmla="*/ 1458391 w 4044707"/>
                <a:gd name="connsiteY290" fmla="*/ 2546173 h 2907193"/>
                <a:gd name="connsiteX291" fmla="*/ 1457030 w 4044707"/>
                <a:gd name="connsiteY291" fmla="*/ 2547504 h 2907193"/>
                <a:gd name="connsiteX292" fmla="*/ 1458089 w 4044707"/>
                <a:gd name="connsiteY292" fmla="*/ 2550771 h 2907193"/>
                <a:gd name="connsiteX293" fmla="*/ 1459753 w 4044707"/>
                <a:gd name="connsiteY293" fmla="*/ 2552888 h 2907193"/>
                <a:gd name="connsiteX294" fmla="*/ 1461870 w 4044707"/>
                <a:gd name="connsiteY294" fmla="*/ 2554492 h 2907193"/>
                <a:gd name="connsiteX295" fmla="*/ 1464139 w 4044707"/>
                <a:gd name="connsiteY295" fmla="*/ 2555490 h 2907193"/>
                <a:gd name="connsiteX296" fmla="*/ 1466287 w 4044707"/>
                <a:gd name="connsiteY296" fmla="*/ 2555732 h 2907193"/>
                <a:gd name="connsiteX297" fmla="*/ 1466559 w 4044707"/>
                <a:gd name="connsiteY297" fmla="*/ 2555066 h 2907193"/>
                <a:gd name="connsiteX298" fmla="*/ 1467527 w 4044707"/>
                <a:gd name="connsiteY298" fmla="*/ 2553917 h 2907193"/>
                <a:gd name="connsiteX299" fmla="*/ 1468586 w 4044707"/>
                <a:gd name="connsiteY299" fmla="*/ 2553524 h 2907193"/>
                <a:gd name="connsiteX300" fmla="*/ 1469070 w 4044707"/>
                <a:gd name="connsiteY300" fmla="*/ 2555218 h 2907193"/>
                <a:gd name="connsiteX301" fmla="*/ 1469826 w 4044707"/>
                <a:gd name="connsiteY301" fmla="*/ 2562266 h 2907193"/>
                <a:gd name="connsiteX302" fmla="*/ 1471732 w 4044707"/>
                <a:gd name="connsiteY302" fmla="*/ 2565322 h 2907193"/>
                <a:gd name="connsiteX303" fmla="*/ 1473759 w 4044707"/>
                <a:gd name="connsiteY303" fmla="*/ 2564838 h 2907193"/>
                <a:gd name="connsiteX304" fmla="*/ 1478115 w 4044707"/>
                <a:gd name="connsiteY304" fmla="*/ 2560905 h 2907193"/>
                <a:gd name="connsiteX305" fmla="*/ 1480142 w 4044707"/>
                <a:gd name="connsiteY305" fmla="*/ 2560905 h 2907193"/>
                <a:gd name="connsiteX306" fmla="*/ 1483228 w 4044707"/>
                <a:gd name="connsiteY306" fmla="*/ 2563083 h 2907193"/>
                <a:gd name="connsiteX307" fmla="*/ 1484982 w 4044707"/>
                <a:gd name="connsiteY307" fmla="*/ 2562266 h 2907193"/>
                <a:gd name="connsiteX308" fmla="*/ 1483197 w 4044707"/>
                <a:gd name="connsiteY308" fmla="*/ 2558031 h 2907193"/>
                <a:gd name="connsiteX309" fmla="*/ 1481594 w 4044707"/>
                <a:gd name="connsiteY309" fmla="*/ 2555823 h 2907193"/>
                <a:gd name="connsiteX310" fmla="*/ 1481503 w 4044707"/>
                <a:gd name="connsiteY310" fmla="*/ 2553645 h 2907193"/>
                <a:gd name="connsiteX311" fmla="*/ 1486283 w 4044707"/>
                <a:gd name="connsiteY311" fmla="*/ 2546505 h 2907193"/>
                <a:gd name="connsiteX312" fmla="*/ 1487039 w 4044707"/>
                <a:gd name="connsiteY312" fmla="*/ 2543541 h 2907193"/>
                <a:gd name="connsiteX313" fmla="*/ 1487039 w 4044707"/>
                <a:gd name="connsiteY313" fmla="*/ 2534375 h 2907193"/>
                <a:gd name="connsiteX314" fmla="*/ 1486676 w 4044707"/>
                <a:gd name="connsiteY314" fmla="*/ 2532075 h 2907193"/>
                <a:gd name="connsiteX315" fmla="*/ 1485708 w 4044707"/>
                <a:gd name="connsiteY315" fmla="*/ 2531833 h 2907193"/>
                <a:gd name="connsiteX316" fmla="*/ 1482895 w 4044707"/>
                <a:gd name="connsiteY316" fmla="*/ 2532983 h 2907193"/>
                <a:gd name="connsiteX317" fmla="*/ 1482048 w 4044707"/>
                <a:gd name="connsiteY317" fmla="*/ 2533074 h 2907193"/>
                <a:gd name="connsiteX318" fmla="*/ 1481776 w 4044707"/>
                <a:gd name="connsiteY318" fmla="*/ 2533406 h 2907193"/>
                <a:gd name="connsiteX319" fmla="*/ 1481624 w 4044707"/>
                <a:gd name="connsiteY319" fmla="*/ 2533981 h 2907193"/>
                <a:gd name="connsiteX320" fmla="*/ 1481170 w 4044707"/>
                <a:gd name="connsiteY320" fmla="*/ 2534949 h 2907193"/>
                <a:gd name="connsiteX321" fmla="*/ 1480414 w 4044707"/>
                <a:gd name="connsiteY321" fmla="*/ 2535554 h 2907193"/>
                <a:gd name="connsiteX322" fmla="*/ 1479809 w 4044707"/>
                <a:gd name="connsiteY322" fmla="*/ 2535222 h 2907193"/>
                <a:gd name="connsiteX323" fmla="*/ 1479265 w 4044707"/>
                <a:gd name="connsiteY323" fmla="*/ 2534616 h 2907193"/>
                <a:gd name="connsiteX324" fmla="*/ 1478720 w 4044707"/>
                <a:gd name="connsiteY324" fmla="*/ 2534344 h 2907193"/>
                <a:gd name="connsiteX325" fmla="*/ 1472186 w 4044707"/>
                <a:gd name="connsiteY325" fmla="*/ 2535494 h 2907193"/>
                <a:gd name="connsiteX326" fmla="*/ 1471762 w 4044707"/>
                <a:gd name="connsiteY326" fmla="*/ 2535736 h 2907193"/>
                <a:gd name="connsiteX327" fmla="*/ 1470522 w 4044707"/>
                <a:gd name="connsiteY327" fmla="*/ 2536946 h 2907193"/>
                <a:gd name="connsiteX328" fmla="*/ 1470099 w 4044707"/>
                <a:gd name="connsiteY328" fmla="*/ 2537460 h 2907193"/>
                <a:gd name="connsiteX329" fmla="*/ 1469252 w 4044707"/>
                <a:gd name="connsiteY329" fmla="*/ 2538065 h 2907193"/>
                <a:gd name="connsiteX330" fmla="*/ 1468404 w 4044707"/>
                <a:gd name="connsiteY330" fmla="*/ 2537611 h 2907193"/>
                <a:gd name="connsiteX331" fmla="*/ 1467648 w 4044707"/>
                <a:gd name="connsiteY331" fmla="*/ 2536946 h 2907193"/>
                <a:gd name="connsiteX332" fmla="*/ 1466983 w 4044707"/>
                <a:gd name="connsiteY332" fmla="*/ 2536885 h 2907193"/>
                <a:gd name="connsiteX333" fmla="*/ 1466105 w 4044707"/>
                <a:gd name="connsiteY333" fmla="*/ 2537763 h 2907193"/>
                <a:gd name="connsiteX334" fmla="*/ 1465228 w 4044707"/>
                <a:gd name="connsiteY334" fmla="*/ 2539063 h 2907193"/>
                <a:gd name="connsiteX335" fmla="*/ 1464774 w 4044707"/>
                <a:gd name="connsiteY335" fmla="*/ 2540636 h 2907193"/>
                <a:gd name="connsiteX336" fmla="*/ 1465228 w 4044707"/>
                <a:gd name="connsiteY336" fmla="*/ 2542482 h 2907193"/>
                <a:gd name="connsiteX337" fmla="*/ 1466166 w 4044707"/>
                <a:gd name="connsiteY337" fmla="*/ 2544841 h 2907193"/>
                <a:gd name="connsiteX338" fmla="*/ 1465742 w 4044707"/>
                <a:gd name="connsiteY338" fmla="*/ 2545689 h 2907193"/>
                <a:gd name="connsiteX339" fmla="*/ 1458270 w 4044707"/>
                <a:gd name="connsiteY339" fmla="*/ 2546142 h 2907193"/>
                <a:gd name="connsiteX340" fmla="*/ 1443931 w 4044707"/>
                <a:gd name="connsiteY340" fmla="*/ 2539124 h 2907193"/>
                <a:gd name="connsiteX341" fmla="*/ 1443145 w 4044707"/>
                <a:gd name="connsiteY341" fmla="*/ 2538791 h 2907193"/>
                <a:gd name="connsiteX342" fmla="*/ 1442721 w 4044707"/>
                <a:gd name="connsiteY342" fmla="*/ 2537188 h 2907193"/>
                <a:gd name="connsiteX343" fmla="*/ 1442449 w 4044707"/>
                <a:gd name="connsiteY343" fmla="*/ 2535252 h 2907193"/>
                <a:gd name="connsiteX344" fmla="*/ 1441874 w 4044707"/>
                <a:gd name="connsiteY344" fmla="*/ 2533437 h 2907193"/>
                <a:gd name="connsiteX345" fmla="*/ 1441511 w 4044707"/>
                <a:gd name="connsiteY345" fmla="*/ 2531894 h 2907193"/>
                <a:gd name="connsiteX346" fmla="*/ 1441450 w 4044707"/>
                <a:gd name="connsiteY346" fmla="*/ 2530563 h 2907193"/>
                <a:gd name="connsiteX347" fmla="*/ 1441118 w 4044707"/>
                <a:gd name="connsiteY347" fmla="*/ 2530291 h 2907193"/>
                <a:gd name="connsiteX348" fmla="*/ 1440482 w 4044707"/>
                <a:gd name="connsiteY348" fmla="*/ 2531470 h 2907193"/>
                <a:gd name="connsiteX349" fmla="*/ 1438758 w 4044707"/>
                <a:gd name="connsiteY349" fmla="*/ 2534011 h 2907193"/>
                <a:gd name="connsiteX350" fmla="*/ 1438002 w 4044707"/>
                <a:gd name="connsiteY350" fmla="*/ 2536613 h 2907193"/>
                <a:gd name="connsiteX351" fmla="*/ 1437911 w 4044707"/>
                <a:gd name="connsiteY351" fmla="*/ 2537490 h 2907193"/>
                <a:gd name="connsiteX352" fmla="*/ 1438123 w 4044707"/>
                <a:gd name="connsiteY352" fmla="*/ 2538095 h 2907193"/>
                <a:gd name="connsiteX353" fmla="*/ 1440543 w 4044707"/>
                <a:gd name="connsiteY353" fmla="*/ 2540364 h 2907193"/>
                <a:gd name="connsiteX354" fmla="*/ 1440815 w 4044707"/>
                <a:gd name="connsiteY354" fmla="*/ 2541211 h 2907193"/>
                <a:gd name="connsiteX355" fmla="*/ 1440694 w 4044707"/>
                <a:gd name="connsiteY355" fmla="*/ 2542240 h 2907193"/>
                <a:gd name="connsiteX356" fmla="*/ 1441178 w 4044707"/>
                <a:gd name="connsiteY356" fmla="*/ 2543692 h 2907193"/>
                <a:gd name="connsiteX357" fmla="*/ 1442600 w 4044707"/>
                <a:gd name="connsiteY357" fmla="*/ 2545084 h 2907193"/>
                <a:gd name="connsiteX358" fmla="*/ 1443871 w 4044707"/>
                <a:gd name="connsiteY358" fmla="*/ 2545507 h 2907193"/>
                <a:gd name="connsiteX359" fmla="*/ 1444778 w 4044707"/>
                <a:gd name="connsiteY359" fmla="*/ 2545447 h 2907193"/>
                <a:gd name="connsiteX360" fmla="*/ 1445323 w 4044707"/>
                <a:gd name="connsiteY360" fmla="*/ 2545840 h 2907193"/>
                <a:gd name="connsiteX361" fmla="*/ 1445383 w 4044707"/>
                <a:gd name="connsiteY361" fmla="*/ 2546929 h 2907193"/>
                <a:gd name="connsiteX362" fmla="*/ 1446139 w 4044707"/>
                <a:gd name="connsiteY362" fmla="*/ 2547927 h 2907193"/>
                <a:gd name="connsiteX363" fmla="*/ 1447652 w 4044707"/>
                <a:gd name="connsiteY363" fmla="*/ 2547594 h 2907193"/>
                <a:gd name="connsiteX364" fmla="*/ 1448529 w 4044707"/>
                <a:gd name="connsiteY364" fmla="*/ 2545961 h 2907193"/>
                <a:gd name="connsiteX365" fmla="*/ 1448711 w 4044707"/>
                <a:gd name="connsiteY365" fmla="*/ 2544297 h 2907193"/>
                <a:gd name="connsiteX366" fmla="*/ 1450495 w 4044707"/>
                <a:gd name="connsiteY366" fmla="*/ 2541514 h 2907193"/>
                <a:gd name="connsiteX367" fmla="*/ 1450647 w 4044707"/>
                <a:gd name="connsiteY367" fmla="*/ 2539608 h 2907193"/>
                <a:gd name="connsiteX368" fmla="*/ 1450707 w 4044707"/>
                <a:gd name="connsiteY368" fmla="*/ 2538035 h 2907193"/>
                <a:gd name="connsiteX369" fmla="*/ 1450798 w 4044707"/>
                <a:gd name="connsiteY369" fmla="*/ 2537218 h 2907193"/>
                <a:gd name="connsiteX370" fmla="*/ 1450617 w 4044707"/>
                <a:gd name="connsiteY370" fmla="*/ 2535554 h 2907193"/>
                <a:gd name="connsiteX371" fmla="*/ 1449739 w 4044707"/>
                <a:gd name="connsiteY371" fmla="*/ 2532862 h 2907193"/>
                <a:gd name="connsiteX372" fmla="*/ 1448680 w 4044707"/>
                <a:gd name="connsiteY372" fmla="*/ 2531561 h 2907193"/>
                <a:gd name="connsiteX373" fmla="*/ 1448015 w 4044707"/>
                <a:gd name="connsiteY373" fmla="*/ 2531107 h 2907193"/>
                <a:gd name="connsiteX374" fmla="*/ 1447319 w 4044707"/>
                <a:gd name="connsiteY374" fmla="*/ 2531289 h 2907193"/>
                <a:gd name="connsiteX375" fmla="*/ 1446987 w 4044707"/>
                <a:gd name="connsiteY375" fmla="*/ 2532650 h 2907193"/>
                <a:gd name="connsiteX376" fmla="*/ 1446684 w 4044707"/>
                <a:gd name="connsiteY376" fmla="*/ 2532650 h 2907193"/>
                <a:gd name="connsiteX377" fmla="*/ 1445958 w 4044707"/>
                <a:gd name="connsiteY377" fmla="*/ 2530865 h 2907193"/>
                <a:gd name="connsiteX378" fmla="*/ 1445716 w 4044707"/>
                <a:gd name="connsiteY378" fmla="*/ 2530048 h 2907193"/>
                <a:gd name="connsiteX379" fmla="*/ 1446109 w 4044707"/>
                <a:gd name="connsiteY379" fmla="*/ 2529988 h 2907193"/>
                <a:gd name="connsiteX380" fmla="*/ 1445535 w 4044707"/>
                <a:gd name="connsiteY380" fmla="*/ 2528354 h 2907193"/>
                <a:gd name="connsiteX381" fmla="*/ 1443719 w 4044707"/>
                <a:gd name="connsiteY381" fmla="*/ 2525813 h 2907193"/>
                <a:gd name="connsiteX382" fmla="*/ 1442933 w 4044707"/>
                <a:gd name="connsiteY382" fmla="*/ 2524906 h 2907193"/>
                <a:gd name="connsiteX383" fmla="*/ 1442479 w 4044707"/>
                <a:gd name="connsiteY383" fmla="*/ 2524664 h 2907193"/>
                <a:gd name="connsiteX384" fmla="*/ 1441239 w 4044707"/>
                <a:gd name="connsiteY384" fmla="*/ 2524876 h 2907193"/>
                <a:gd name="connsiteX385" fmla="*/ 1441239 w 4044707"/>
                <a:gd name="connsiteY385" fmla="*/ 2526781 h 2907193"/>
                <a:gd name="connsiteX386" fmla="*/ 1442237 w 4044707"/>
                <a:gd name="connsiteY386" fmla="*/ 2530170 h 2907193"/>
                <a:gd name="connsiteX387" fmla="*/ 1442540 w 4044707"/>
                <a:gd name="connsiteY387" fmla="*/ 2530321 h 2907193"/>
                <a:gd name="connsiteX388" fmla="*/ 1442842 w 4044707"/>
                <a:gd name="connsiteY388" fmla="*/ 2530775 h 2907193"/>
                <a:gd name="connsiteX389" fmla="*/ 1443023 w 4044707"/>
                <a:gd name="connsiteY389" fmla="*/ 2532015 h 2907193"/>
                <a:gd name="connsiteX390" fmla="*/ 1443598 w 4044707"/>
                <a:gd name="connsiteY390" fmla="*/ 2534132 h 2907193"/>
                <a:gd name="connsiteX391" fmla="*/ 1444869 w 4044707"/>
                <a:gd name="connsiteY391" fmla="*/ 2536341 h 2907193"/>
                <a:gd name="connsiteX392" fmla="*/ 1445383 w 4044707"/>
                <a:gd name="connsiteY392" fmla="*/ 2537067 h 2907193"/>
                <a:gd name="connsiteX393" fmla="*/ 1444899 w 4044707"/>
                <a:gd name="connsiteY393" fmla="*/ 2537067 h 2907193"/>
                <a:gd name="connsiteX394" fmla="*/ 1444748 w 4044707"/>
                <a:gd name="connsiteY394" fmla="*/ 2537430 h 2907193"/>
                <a:gd name="connsiteX395" fmla="*/ 1444960 w 4044707"/>
                <a:gd name="connsiteY395" fmla="*/ 2537944 h 2907193"/>
                <a:gd name="connsiteX396" fmla="*/ 1444687 w 4044707"/>
                <a:gd name="connsiteY396" fmla="*/ 2538458 h 2907193"/>
                <a:gd name="connsiteX397" fmla="*/ 1443871 w 4044707"/>
                <a:gd name="connsiteY397" fmla="*/ 2539094 h 2907193"/>
                <a:gd name="connsiteX398" fmla="*/ 1431014 w 4044707"/>
                <a:gd name="connsiteY398" fmla="*/ 2511262 h 2907193"/>
                <a:gd name="connsiteX399" fmla="*/ 1431861 w 4044707"/>
                <a:gd name="connsiteY399" fmla="*/ 2509447 h 2907193"/>
                <a:gd name="connsiteX400" fmla="*/ 1431770 w 4044707"/>
                <a:gd name="connsiteY400" fmla="*/ 2506694 h 2907193"/>
                <a:gd name="connsiteX401" fmla="*/ 1431528 w 4044707"/>
                <a:gd name="connsiteY401" fmla="*/ 2504063 h 2907193"/>
                <a:gd name="connsiteX402" fmla="*/ 1431135 w 4044707"/>
                <a:gd name="connsiteY402" fmla="*/ 2501794 h 2907193"/>
                <a:gd name="connsiteX403" fmla="*/ 1430560 w 4044707"/>
                <a:gd name="connsiteY403" fmla="*/ 2499979 h 2907193"/>
                <a:gd name="connsiteX404" fmla="*/ 1429319 w 4044707"/>
                <a:gd name="connsiteY404" fmla="*/ 2498103 h 2907193"/>
                <a:gd name="connsiteX405" fmla="*/ 1426537 w 4044707"/>
                <a:gd name="connsiteY405" fmla="*/ 2495562 h 2907193"/>
                <a:gd name="connsiteX406" fmla="*/ 1425720 w 4044707"/>
                <a:gd name="connsiteY406" fmla="*/ 2493505 h 2907193"/>
                <a:gd name="connsiteX407" fmla="*/ 1428987 w 4044707"/>
                <a:gd name="connsiteY407" fmla="*/ 2493626 h 2907193"/>
                <a:gd name="connsiteX408" fmla="*/ 1430469 w 4044707"/>
                <a:gd name="connsiteY408" fmla="*/ 2491266 h 2907193"/>
                <a:gd name="connsiteX409" fmla="*/ 1430076 w 4044707"/>
                <a:gd name="connsiteY409" fmla="*/ 2487152 h 2907193"/>
                <a:gd name="connsiteX410" fmla="*/ 1427747 w 4044707"/>
                <a:gd name="connsiteY410" fmla="*/ 2482039 h 2907193"/>
                <a:gd name="connsiteX411" fmla="*/ 1420849 w 4044707"/>
                <a:gd name="connsiteY411" fmla="*/ 2472238 h 2907193"/>
                <a:gd name="connsiteX412" fmla="*/ 1418822 w 4044707"/>
                <a:gd name="connsiteY412" fmla="*/ 2465371 h 2907193"/>
                <a:gd name="connsiteX413" fmla="*/ 1418308 w 4044707"/>
                <a:gd name="connsiteY413" fmla="*/ 2464494 h 2907193"/>
                <a:gd name="connsiteX414" fmla="*/ 1417461 w 4044707"/>
                <a:gd name="connsiteY414" fmla="*/ 2464010 h 2907193"/>
                <a:gd name="connsiteX415" fmla="*/ 1415525 w 4044707"/>
                <a:gd name="connsiteY415" fmla="*/ 2464887 h 2907193"/>
                <a:gd name="connsiteX416" fmla="*/ 1415101 w 4044707"/>
                <a:gd name="connsiteY416" fmla="*/ 2466551 h 2907193"/>
                <a:gd name="connsiteX417" fmla="*/ 1416100 w 4044707"/>
                <a:gd name="connsiteY417" fmla="*/ 2471088 h 2907193"/>
                <a:gd name="connsiteX418" fmla="*/ 1416614 w 4044707"/>
                <a:gd name="connsiteY418" fmla="*/ 2472601 h 2907193"/>
                <a:gd name="connsiteX419" fmla="*/ 1417491 w 4044707"/>
                <a:gd name="connsiteY419" fmla="*/ 2473660 h 2907193"/>
                <a:gd name="connsiteX420" fmla="*/ 1417854 w 4044707"/>
                <a:gd name="connsiteY420" fmla="*/ 2475203 h 2907193"/>
                <a:gd name="connsiteX421" fmla="*/ 1416735 w 4044707"/>
                <a:gd name="connsiteY421" fmla="*/ 2478167 h 2907193"/>
                <a:gd name="connsiteX422" fmla="*/ 1417159 w 4044707"/>
                <a:gd name="connsiteY422" fmla="*/ 2479801 h 2907193"/>
                <a:gd name="connsiteX423" fmla="*/ 1417764 w 4044707"/>
                <a:gd name="connsiteY423" fmla="*/ 2484762 h 2907193"/>
                <a:gd name="connsiteX424" fmla="*/ 1418490 w 4044707"/>
                <a:gd name="connsiteY424" fmla="*/ 2485821 h 2907193"/>
                <a:gd name="connsiteX425" fmla="*/ 1420032 w 4044707"/>
                <a:gd name="connsiteY425" fmla="*/ 2486729 h 2907193"/>
                <a:gd name="connsiteX426" fmla="*/ 1421333 w 4044707"/>
                <a:gd name="connsiteY426" fmla="*/ 2488423 h 2907193"/>
                <a:gd name="connsiteX427" fmla="*/ 1422695 w 4044707"/>
                <a:gd name="connsiteY427" fmla="*/ 2489451 h 2907193"/>
                <a:gd name="connsiteX428" fmla="*/ 1424328 w 4044707"/>
                <a:gd name="connsiteY428" fmla="*/ 2488362 h 2907193"/>
                <a:gd name="connsiteX429" fmla="*/ 1422967 w 4044707"/>
                <a:gd name="connsiteY429" fmla="*/ 2493444 h 2907193"/>
                <a:gd name="connsiteX430" fmla="*/ 1421424 w 4044707"/>
                <a:gd name="connsiteY430" fmla="*/ 2491690 h 2907193"/>
                <a:gd name="connsiteX431" fmla="*/ 1419911 w 4044707"/>
                <a:gd name="connsiteY431" fmla="*/ 2491417 h 2907193"/>
                <a:gd name="connsiteX432" fmla="*/ 1414769 w 4044707"/>
                <a:gd name="connsiteY432" fmla="*/ 2492506 h 2907193"/>
                <a:gd name="connsiteX433" fmla="*/ 1414194 w 4044707"/>
                <a:gd name="connsiteY433" fmla="*/ 2493565 h 2907193"/>
                <a:gd name="connsiteX434" fmla="*/ 1414466 w 4044707"/>
                <a:gd name="connsiteY434" fmla="*/ 2495532 h 2907193"/>
                <a:gd name="connsiteX435" fmla="*/ 1415404 w 4044707"/>
                <a:gd name="connsiteY435" fmla="*/ 2498557 h 2907193"/>
                <a:gd name="connsiteX436" fmla="*/ 1417098 w 4044707"/>
                <a:gd name="connsiteY436" fmla="*/ 2501461 h 2907193"/>
                <a:gd name="connsiteX437" fmla="*/ 1419942 w 4044707"/>
                <a:gd name="connsiteY437" fmla="*/ 2504789 h 2907193"/>
                <a:gd name="connsiteX438" fmla="*/ 1422392 w 4044707"/>
                <a:gd name="connsiteY438" fmla="*/ 2505636 h 2907193"/>
                <a:gd name="connsiteX439" fmla="*/ 1422936 w 4044707"/>
                <a:gd name="connsiteY439" fmla="*/ 2501098 h 2907193"/>
                <a:gd name="connsiteX440" fmla="*/ 1424237 w 4044707"/>
                <a:gd name="connsiteY440" fmla="*/ 2502429 h 2907193"/>
                <a:gd name="connsiteX441" fmla="*/ 1425326 w 4044707"/>
                <a:gd name="connsiteY441" fmla="*/ 2504940 h 2907193"/>
                <a:gd name="connsiteX442" fmla="*/ 1426113 w 4044707"/>
                <a:gd name="connsiteY442" fmla="*/ 2507935 h 2907193"/>
                <a:gd name="connsiteX443" fmla="*/ 1426385 w 4044707"/>
                <a:gd name="connsiteY443" fmla="*/ 2510688 h 2907193"/>
                <a:gd name="connsiteX444" fmla="*/ 1427232 w 4044707"/>
                <a:gd name="connsiteY444" fmla="*/ 2511141 h 2907193"/>
                <a:gd name="connsiteX445" fmla="*/ 1429108 w 4044707"/>
                <a:gd name="connsiteY445" fmla="*/ 2511565 h 2907193"/>
                <a:gd name="connsiteX446" fmla="*/ 1431014 w 4044707"/>
                <a:gd name="connsiteY446" fmla="*/ 2511232 h 2907193"/>
                <a:gd name="connsiteX447" fmla="*/ 1432254 w 4044707"/>
                <a:gd name="connsiteY447" fmla="*/ 2466974 h 2907193"/>
                <a:gd name="connsiteX448" fmla="*/ 1432526 w 4044707"/>
                <a:gd name="connsiteY448" fmla="*/ 2469788 h 2907193"/>
                <a:gd name="connsiteX449" fmla="*/ 1433192 w 4044707"/>
                <a:gd name="connsiteY449" fmla="*/ 2471784 h 2907193"/>
                <a:gd name="connsiteX450" fmla="*/ 1434704 w 4044707"/>
                <a:gd name="connsiteY450" fmla="*/ 2471905 h 2907193"/>
                <a:gd name="connsiteX451" fmla="*/ 1439998 w 4044707"/>
                <a:gd name="connsiteY451" fmla="*/ 2468729 h 2907193"/>
                <a:gd name="connsiteX452" fmla="*/ 1441208 w 4044707"/>
                <a:gd name="connsiteY452" fmla="*/ 2466279 h 2907193"/>
                <a:gd name="connsiteX453" fmla="*/ 1441208 w 4044707"/>
                <a:gd name="connsiteY453" fmla="*/ 2463011 h 2907193"/>
                <a:gd name="connsiteX454" fmla="*/ 1440180 w 4044707"/>
                <a:gd name="connsiteY454" fmla="*/ 2458897 h 2907193"/>
                <a:gd name="connsiteX455" fmla="*/ 1435763 w 4044707"/>
                <a:gd name="connsiteY455" fmla="*/ 2453210 h 2907193"/>
                <a:gd name="connsiteX456" fmla="*/ 1423299 w 4044707"/>
                <a:gd name="connsiteY456" fmla="*/ 2449156 h 2907193"/>
                <a:gd name="connsiteX457" fmla="*/ 1418822 w 4044707"/>
                <a:gd name="connsiteY457" fmla="*/ 2443499 h 2907193"/>
                <a:gd name="connsiteX458" fmla="*/ 1418187 w 4044707"/>
                <a:gd name="connsiteY458" fmla="*/ 2443318 h 2907193"/>
                <a:gd name="connsiteX459" fmla="*/ 1417703 w 4044707"/>
                <a:gd name="connsiteY459" fmla="*/ 2443318 h 2907193"/>
                <a:gd name="connsiteX460" fmla="*/ 1416675 w 4044707"/>
                <a:gd name="connsiteY460" fmla="*/ 2442198 h 2907193"/>
                <a:gd name="connsiteX461" fmla="*/ 1418399 w 4044707"/>
                <a:gd name="connsiteY461" fmla="*/ 2448884 h 2907193"/>
                <a:gd name="connsiteX462" fmla="*/ 1419669 w 4044707"/>
                <a:gd name="connsiteY462" fmla="*/ 2452302 h 2907193"/>
                <a:gd name="connsiteX463" fmla="*/ 1421212 w 4044707"/>
                <a:gd name="connsiteY463" fmla="*/ 2453754 h 2907193"/>
                <a:gd name="connsiteX464" fmla="*/ 1422483 w 4044707"/>
                <a:gd name="connsiteY464" fmla="*/ 2453331 h 2907193"/>
                <a:gd name="connsiteX465" fmla="*/ 1423814 w 4044707"/>
                <a:gd name="connsiteY465" fmla="*/ 2452605 h 2907193"/>
                <a:gd name="connsiteX466" fmla="*/ 1425054 w 4044707"/>
                <a:gd name="connsiteY466" fmla="*/ 2452242 h 2907193"/>
                <a:gd name="connsiteX467" fmla="*/ 1426022 w 4044707"/>
                <a:gd name="connsiteY467" fmla="*/ 2453059 h 2907193"/>
                <a:gd name="connsiteX468" fmla="*/ 1426476 w 4044707"/>
                <a:gd name="connsiteY468" fmla="*/ 2454965 h 2907193"/>
                <a:gd name="connsiteX469" fmla="*/ 1426567 w 4044707"/>
                <a:gd name="connsiteY469" fmla="*/ 2456749 h 2907193"/>
                <a:gd name="connsiteX470" fmla="*/ 1426990 w 4044707"/>
                <a:gd name="connsiteY470" fmla="*/ 2457808 h 2907193"/>
                <a:gd name="connsiteX471" fmla="*/ 1428473 w 4044707"/>
                <a:gd name="connsiteY471" fmla="*/ 2457596 h 2907193"/>
                <a:gd name="connsiteX472" fmla="*/ 1428473 w 4044707"/>
                <a:gd name="connsiteY472" fmla="*/ 2458867 h 2907193"/>
                <a:gd name="connsiteX473" fmla="*/ 1428019 w 4044707"/>
                <a:gd name="connsiteY473" fmla="*/ 2459018 h 2907193"/>
                <a:gd name="connsiteX474" fmla="*/ 1427747 w 4044707"/>
                <a:gd name="connsiteY474" fmla="*/ 2459230 h 2907193"/>
                <a:gd name="connsiteX475" fmla="*/ 1427111 w 4044707"/>
                <a:gd name="connsiteY475" fmla="*/ 2460016 h 2907193"/>
                <a:gd name="connsiteX476" fmla="*/ 1428563 w 4044707"/>
                <a:gd name="connsiteY476" fmla="*/ 2461771 h 2907193"/>
                <a:gd name="connsiteX477" fmla="*/ 1433978 w 4044707"/>
                <a:gd name="connsiteY477" fmla="*/ 2463979 h 2907193"/>
                <a:gd name="connsiteX478" fmla="*/ 1432617 w 4044707"/>
                <a:gd name="connsiteY478" fmla="*/ 2465553 h 2907193"/>
                <a:gd name="connsiteX479" fmla="*/ 1432254 w 4044707"/>
                <a:gd name="connsiteY479" fmla="*/ 2466914 h 2907193"/>
                <a:gd name="connsiteX480" fmla="*/ 1405118 w 4044707"/>
                <a:gd name="connsiteY480" fmla="*/ 2429372 h 2907193"/>
                <a:gd name="connsiteX481" fmla="*/ 1404332 w 4044707"/>
                <a:gd name="connsiteY481" fmla="*/ 2428918 h 2907193"/>
                <a:gd name="connsiteX482" fmla="*/ 1403485 w 4044707"/>
                <a:gd name="connsiteY482" fmla="*/ 2429069 h 2907193"/>
                <a:gd name="connsiteX483" fmla="*/ 1403273 w 4044707"/>
                <a:gd name="connsiteY483" fmla="*/ 2428736 h 2907193"/>
                <a:gd name="connsiteX484" fmla="*/ 1403636 w 4044707"/>
                <a:gd name="connsiteY484" fmla="*/ 2427950 h 2907193"/>
                <a:gd name="connsiteX485" fmla="*/ 1403576 w 4044707"/>
                <a:gd name="connsiteY485" fmla="*/ 2427103 h 2907193"/>
                <a:gd name="connsiteX486" fmla="*/ 1403092 w 4044707"/>
                <a:gd name="connsiteY486" fmla="*/ 2426437 h 2907193"/>
                <a:gd name="connsiteX487" fmla="*/ 1402940 w 4044707"/>
                <a:gd name="connsiteY487" fmla="*/ 2425893 h 2907193"/>
                <a:gd name="connsiteX488" fmla="*/ 1402940 w 4044707"/>
                <a:gd name="connsiteY488" fmla="*/ 2424955 h 2907193"/>
                <a:gd name="connsiteX489" fmla="*/ 1402608 w 4044707"/>
                <a:gd name="connsiteY489" fmla="*/ 2424017 h 2907193"/>
                <a:gd name="connsiteX490" fmla="*/ 1401549 w 4044707"/>
                <a:gd name="connsiteY490" fmla="*/ 2423110 h 2907193"/>
                <a:gd name="connsiteX491" fmla="*/ 1400671 w 4044707"/>
                <a:gd name="connsiteY491" fmla="*/ 2421990 h 2907193"/>
                <a:gd name="connsiteX492" fmla="*/ 1399643 w 4044707"/>
                <a:gd name="connsiteY492" fmla="*/ 2422202 h 2907193"/>
                <a:gd name="connsiteX493" fmla="*/ 1399129 w 4044707"/>
                <a:gd name="connsiteY493" fmla="*/ 2424108 h 2907193"/>
                <a:gd name="connsiteX494" fmla="*/ 1399129 w 4044707"/>
                <a:gd name="connsiteY494" fmla="*/ 2425560 h 2907193"/>
                <a:gd name="connsiteX495" fmla="*/ 1399280 w 4044707"/>
                <a:gd name="connsiteY495" fmla="*/ 2426347 h 2907193"/>
                <a:gd name="connsiteX496" fmla="*/ 1399371 w 4044707"/>
                <a:gd name="connsiteY496" fmla="*/ 2427496 h 2907193"/>
                <a:gd name="connsiteX497" fmla="*/ 1399643 w 4044707"/>
                <a:gd name="connsiteY497" fmla="*/ 2428918 h 2907193"/>
                <a:gd name="connsiteX498" fmla="*/ 1399915 w 4044707"/>
                <a:gd name="connsiteY498" fmla="*/ 2431308 h 2907193"/>
                <a:gd name="connsiteX499" fmla="*/ 1400036 w 4044707"/>
                <a:gd name="connsiteY499" fmla="*/ 2431762 h 2907193"/>
                <a:gd name="connsiteX500" fmla="*/ 1399734 w 4044707"/>
                <a:gd name="connsiteY500" fmla="*/ 2431913 h 2907193"/>
                <a:gd name="connsiteX501" fmla="*/ 1399401 w 4044707"/>
                <a:gd name="connsiteY501" fmla="*/ 2432034 h 2907193"/>
                <a:gd name="connsiteX502" fmla="*/ 1399068 w 4044707"/>
                <a:gd name="connsiteY502" fmla="*/ 2431671 h 2907193"/>
                <a:gd name="connsiteX503" fmla="*/ 1399129 w 4044707"/>
                <a:gd name="connsiteY503" fmla="*/ 2432427 h 2907193"/>
                <a:gd name="connsiteX504" fmla="*/ 1399613 w 4044707"/>
                <a:gd name="connsiteY504" fmla="*/ 2434605 h 2907193"/>
                <a:gd name="connsiteX505" fmla="*/ 1399431 w 4044707"/>
                <a:gd name="connsiteY505" fmla="*/ 2435120 h 2907193"/>
                <a:gd name="connsiteX506" fmla="*/ 1398493 w 4044707"/>
                <a:gd name="connsiteY506" fmla="*/ 2434908 h 2907193"/>
                <a:gd name="connsiteX507" fmla="*/ 1398826 w 4044707"/>
                <a:gd name="connsiteY507" fmla="*/ 2435997 h 2907193"/>
                <a:gd name="connsiteX508" fmla="*/ 1400732 w 4044707"/>
                <a:gd name="connsiteY508" fmla="*/ 2437056 h 2907193"/>
                <a:gd name="connsiteX509" fmla="*/ 1402668 w 4044707"/>
                <a:gd name="connsiteY509" fmla="*/ 2437570 h 2907193"/>
                <a:gd name="connsiteX510" fmla="*/ 1404272 w 4044707"/>
                <a:gd name="connsiteY510" fmla="*/ 2437116 h 2907193"/>
                <a:gd name="connsiteX511" fmla="*/ 1404998 w 4044707"/>
                <a:gd name="connsiteY511" fmla="*/ 2436572 h 2907193"/>
                <a:gd name="connsiteX512" fmla="*/ 1404695 w 4044707"/>
                <a:gd name="connsiteY512" fmla="*/ 2433365 h 2907193"/>
                <a:gd name="connsiteX513" fmla="*/ 1405088 w 4044707"/>
                <a:gd name="connsiteY513" fmla="*/ 2432488 h 2907193"/>
                <a:gd name="connsiteX514" fmla="*/ 1405784 w 4044707"/>
                <a:gd name="connsiteY514" fmla="*/ 2431973 h 2907193"/>
                <a:gd name="connsiteX515" fmla="*/ 1405784 w 4044707"/>
                <a:gd name="connsiteY515" fmla="*/ 2430673 h 2907193"/>
                <a:gd name="connsiteX516" fmla="*/ 1405179 w 4044707"/>
                <a:gd name="connsiteY516" fmla="*/ 2429341 h 2907193"/>
                <a:gd name="connsiteX517" fmla="*/ 1489822 w 4044707"/>
                <a:gd name="connsiteY517" fmla="*/ 2432457 h 2907193"/>
                <a:gd name="connsiteX518" fmla="*/ 1489822 w 4044707"/>
                <a:gd name="connsiteY518" fmla="*/ 2420236 h 2907193"/>
                <a:gd name="connsiteX519" fmla="*/ 1487614 w 4044707"/>
                <a:gd name="connsiteY519" fmla="*/ 2417937 h 2907193"/>
                <a:gd name="connsiteX520" fmla="*/ 1484619 w 4044707"/>
                <a:gd name="connsiteY520" fmla="*/ 2417211 h 2907193"/>
                <a:gd name="connsiteX521" fmla="*/ 1481836 w 4044707"/>
                <a:gd name="connsiteY521" fmla="*/ 2417997 h 2907193"/>
                <a:gd name="connsiteX522" fmla="*/ 1480142 w 4044707"/>
                <a:gd name="connsiteY522" fmla="*/ 2420236 h 2907193"/>
                <a:gd name="connsiteX523" fmla="*/ 1479840 w 4044707"/>
                <a:gd name="connsiteY523" fmla="*/ 2422323 h 2907193"/>
                <a:gd name="connsiteX524" fmla="*/ 1479749 w 4044707"/>
                <a:gd name="connsiteY524" fmla="*/ 2426649 h 2907193"/>
                <a:gd name="connsiteX525" fmla="*/ 1479114 w 4044707"/>
                <a:gd name="connsiteY525" fmla="*/ 2428585 h 2907193"/>
                <a:gd name="connsiteX526" fmla="*/ 1477934 w 4044707"/>
                <a:gd name="connsiteY526" fmla="*/ 2429947 h 2907193"/>
                <a:gd name="connsiteX527" fmla="*/ 1475272 w 4044707"/>
                <a:gd name="connsiteY527" fmla="*/ 2431399 h 2907193"/>
                <a:gd name="connsiteX528" fmla="*/ 1473154 w 4044707"/>
                <a:gd name="connsiteY528" fmla="*/ 2433516 h 2907193"/>
                <a:gd name="connsiteX529" fmla="*/ 1468465 w 4044707"/>
                <a:gd name="connsiteY529" fmla="*/ 2435785 h 2907193"/>
                <a:gd name="connsiteX530" fmla="*/ 1464321 w 4044707"/>
                <a:gd name="connsiteY530" fmla="*/ 2438840 h 2907193"/>
                <a:gd name="connsiteX531" fmla="*/ 1463232 w 4044707"/>
                <a:gd name="connsiteY531" fmla="*/ 2440172 h 2907193"/>
                <a:gd name="connsiteX532" fmla="*/ 1462354 w 4044707"/>
                <a:gd name="connsiteY532" fmla="*/ 2441805 h 2907193"/>
                <a:gd name="connsiteX533" fmla="*/ 1461780 w 4044707"/>
                <a:gd name="connsiteY533" fmla="*/ 2442561 h 2907193"/>
                <a:gd name="connsiteX534" fmla="*/ 1459450 w 4044707"/>
                <a:gd name="connsiteY534" fmla="*/ 2443499 h 2907193"/>
                <a:gd name="connsiteX535" fmla="*/ 1454700 w 4044707"/>
                <a:gd name="connsiteY535" fmla="*/ 2443681 h 2907193"/>
                <a:gd name="connsiteX536" fmla="*/ 1453218 w 4044707"/>
                <a:gd name="connsiteY536" fmla="*/ 2444679 h 2907193"/>
                <a:gd name="connsiteX537" fmla="*/ 1460146 w 4044707"/>
                <a:gd name="connsiteY537" fmla="*/ 2451213 h 2907193"/>
                <a:gd name="connsiteX538" fmla="*/ 1464442 w 4044707"/>
                <a:gd name="connsiteY538" fmla="*/ 2457899 h 2907193"/>
                <a:gd name="connsiteX539" fmla="*/ 1465319 w 4044707"/>
                <a:gd name="connsiteY539" fmla="*/ 2458897 h 2907193"/>
                <a:gd name="connsiteX540" fmla="*/ 1466801 w 4044707"/>
                <a:gd name="connsiteY540" fmla="*/ 2459774 h 2907193"/>
                <a:gd name="connsiteX541" fmla="*/ 1469524 w 4044707"/>
                <a:gd name="connsiteY541" fmla="*/ 2463919 h 2907193"/>
                <a:gd name="connsiteX542" fmla="*/ 1471127 w 4044707"/>
                <a:gd name="connsiteY542" fmla="*/ 2465310 h 2907193"/>
                <a:gd name="connsiteX543" fmla="*/ 1473850 w 4044707"/>
                <a:gd name="connsiteY543" fmla="*/ 2465673 h 2907193"/>
                <a:gd name="connsiteX544" fmla="*/ 1481896 w 4044707"/>
                <a:gd name="connsiteY544" fmla="*/ 2464040 h 2907193"/>
                <a:gd name="connsiteX545" fmla="*/ 1482199 w 4044707"/>
                <a:gd name="connsiteY545" fmla="*/ 2463253 h 2907193"/>
                <a:gd name="connsiteX546" fmla="*/ 1482683 w 4044707"/>
                <a:gd name="connsiteY546" fmla="*/ 2461499 h 2907193"/>
                <a:gd name="connsiteX547" fmla="*/ 1483470 w 4044707"/>
                <a:gd name="connsiteY547" fmla="*/ 2459744 h 2907193"/>
                <a:gd name="connsiteX548" fmla="*/ 1484680 w 4044707"/>
                <a:gd name="connsiteY548" fmla="*/ 2458958 h 2907193"/>
                <a:gd name="connsiteX549" fmla="*/ 1487342 w 4044707"/>
                <a:gd name="connsiteY549" fmla="*/ 2459169 h 2907193"/>
                <a:gd name="connsiteX550" fmla="*/ 1488643 w 4044707"/>
                <a:gd name="connsiteY550" fmla="*/ 2458625 h 2907193"/>
                <a:gd name="connsiteX551" fmla="*/ 1489187 w 4044707"/>
                <a:gd name="connsiteY551" fmla="*/ 2456991 h 2907193"/>
                <a:gd name="connsiteX552" fmla="*/ 1488461 w 4044707"/>
                <a:gd name="connsiteY552" fmla="*/ 2448067 h 2907193"/>
                <a:gd name="connsiteX553" fmla="*/ 1488461 w 4044707"/>
                <a:gd name="connsiteY553" fmla="*/ 2444740 h 2907193"/>
                <a:gd name="connsiteX554" fmla="*/ 1489641 w 4044707"/>
                <a:gd name="connsiteY554" fmla="*/ 2435513 h 2907193"/>
                <a:gd name="connsiteX555" fmla="*/ 1489822 w 4044707"/>
                <a:gd name="connsiteY555" fmla="*/ 2432548 h 2907193"/>
                <a:gd name="connsiteX556" fmla="*/ 1413528 w 4044707"/>
                <a:gd name="connsiteY556" fmla="*/ 2385265 h 2907193"/>
                <a:gd name="connsiteX557" fmla="*/ 1413437 w 4044707"/>
                <a:gd name="connsiteY557" fmla="*/ 2384690 h 2907193"/>
                <a:gd name="connsiteX558" fmla="*/ 1412833 w 4044707"/>
                <a:gd name="connsiteY558" fmla="*/ 2384085 h 2907193"/>
                <a:gd name="connsiteX559" fmla="*/ 1412591 w 4044707"/>
                <a:gd name="connsiteY559" fmla="*/ 2383934 h 2907193"/>
                <a:gd name="connsiteX560" fmla="*/ 1413014 w 4044707"/>
                <a:gd name="connsiteY560" fmla="*/ 2383390 h 2907193"/>
                <a:gd name="connsiteX561" fmla="*/ 1412863 w 4044707"/>
                <a:gd name="connsiteY561" fmla="*/ 2382058 h 2907193"/>
                <a:gd name="connsiteX562" fmla="*/ 1410322 w 4044707"/>
                <a:gd name="connsiteY562" fmla="*/ 2376492 h 2907193"/>
                <a:gd name="connsiteX563" fmla="*/ 1409112 w 4044707"/>
                <a:gd name="connsiteY563" fmla="*/ 2375282 h 2907193"/>
                <a:gd name="connsiteX564" fmla="*/ 1407992 w 4044707"/>
                <a:gd name="connsiteY564" fmla="*/ 2374526 h 2907193"/>
                <a:gd name="connsiteX565" fmla="*/ 1407660 w 4044707"/>
                <a:gd name="connsiteY565" fmla="*/ 2373376 h 2907193"/>
                <a:gd name="connsiteX566" fmla="*/ 1408234 w 4044707"/>
                <a:gd name="connsiteY566" fmla="*/ 2372953 h 2907193"/>
                <a:gd name="connsiteX567" fmla="*/ 1408991 w 4044707"/>
                <a:gd name="connsiteY567" fmla="*/ 2373013 h 2907193"/>
                <a:gd name="connsiteX568" fmla="*/ 1408840 w 4044707"/>
                <a:gd name="connsiteY568" fmla="*/ 2372166 h 2907193"/>
                <a:gd name="connsiteX569" fmla="*/ 1407629 w 4044707"/>
                <a:gd name="connsiteY569" fmla="*/ 2371592 h 2907193"/>
                <a:gd name="connsiteX570" fmla="*/ 1406117 w 4044707"/>
                <a:gd name="connsiteY570" fmla="*/ 2371682 h 2907193"/>
                <a:gd name="connsiteX571" fmla="*/ 1403183 w 4044707"/>
                <a:gd name="connsiteY571" fmla="*/ 2372348 h 2907193"/>
                <a:gd name="connsiteX572" fmla="*/ 1403031 w 4044707"/>
                <a:gd name="connsiteY572" fmla="*/ 2372136 h 2907193"/>
                <a:gd name="connsiteX573" fmla="*/ 1404211 w 4044707"/>
                <a:gd name="connsiteY573" fmla="*/ 2371561 h 2907193"/>
                <a:gd name="connsiteX574" fmla="*/ 1404876 w 4044707"/>
                <a:gd name="connsiteY574" fmla="*/ 2370472 h 2907193"/>
                <a:gd name="connsiteX575" fmla="*/ 1404211 w 4044707"/>
                <a:gd name="connsiteY575" fmla="*/ 2369655 h 2907193"/>
                <a:gd name="connsiteX576" fmla="*/ 1400006 w 4044707"/>
                <a:gd name="connsiteY576" fmla="*/ 2370472 h 2907193"/>
                <a:gd name="connsiteX577" fmla="*/ 1398645 w 4044707"/>
                <a:gd name="connsiteY577" fmla="*/ 2371138 h 2907193"/>
                <a:gd name="connsiteX578" fmla="*/ 1398161 w 4044707"/>
                <a:gd name="connsiteY578" fmla="*/ 2372166 h 2907193"/>
                <a:gd name="connsiteX579" fmla="*/ 1398675 w 4044707"/>
                <a:gd name="connsiteY579" fmla="*/ 2373316 h 2907193"/>
                <a:gd name="connsiteX580" fmla="*/ 1398887 w 4044707"/>
                <a:gd name="connsiteY580" fmla="*/ 2374042 h 2907193"/>
                <a:gd name="connsiteX581" fmla="*/ 1398645 w 4044707"/>
                <a:gd name="connsiteY581" fmla="*/ 2374526 h 2907193"/>
                <a:gd name="connsiteX582" fmla="*/ 1398887 w 4044707"/>
                <a:gd name="connsiteY582" fmla="*/ 2374677 h 2907193"/>
                <a:gd name="connsiteX583" fmla="*/ 1399643 w 4044707"/>
                <a:gd name="connsiteY583" fmla="*/ 2374405 h 2907193"/>
                <a:gd name="connsiteX584" fmla="*/ 1400551 w 4044707"/>
                <a:gd name="connsiteY584" fmla="*/ 2374677 h 2907193"/>
                <a:gd name="connsiteX585" fmla="*/ 1401488 w 4044707"/>
                <a:gd name="connsiteY585" fmla="*/ 2375645 h 2907193"/>
                <a:gd name="connsiteX586" fmla="*/ 1402214 w 4044707"/>
                <a:gd name="connsiteY586" fmla="*/ 2375645 h 2907193"/>
                <a:gd name="connsiteX587" fmla="*/ 1402638 w 4044707"/>
                <a:gd name="connsiteY587" fmla="*/ 2374375 h 2907193"/>
                <a:gd name="connsiteX588" fmla="*/ 1403061 w 4044707"/>
                <a:gd name="connsiteY588" fmla="*/ 2374012 h 2907193"/>
                <a:gd name="connsiteX589" fmla="*/ 1403666 w 4044707"/>
                <a:gd name="connsiteY589" fmla="*/ 2375161 h 2907193"/>
                <a:gd name="connsiteX590" fmla="*/ 1403848 w 4044707"/>
                <a:gd name="connsiteY590" fmla="*/ 2376311 h 2907193"/>
                <a:gd name="connsiteX591" fmla="*/ 1403606 w 4044707"/>
                <a:gd name="connsiteY591" fmla="*/ 2377460 h 2907193"/>
                <a:gd name="connsiteX592" fmla="*/ 1403999 w 4044707"/>
                <a:gd name="connsiteY592" fmla="*/ 2378822 h 2907193"/>
                <a:gd name="connsiteX593" fmla="*/ 1405058 w 4044707"/>
                <a:gd name="connsiteY593" fmla="*/ 2379790 h 2907193"/>
                <a:gd name="connsiteX594" fmla="*/ 1406631 w 4044707"/>
                <a:gd name="connsiteY594" fmla="*/ 2380818 h 2907193"/>
                <a:gd name="connsiteX595" fmla="*/ 1407085 w 4044707"/>
                <a:gd name="connsiteY595" fmla="*/ 2380637 h 2907193"/>
                <a:gd name="connsiteX596" fmla="*/ 1407357 w 4044707"/>
                <a:gd name="connsiteY596" fmla="*/ 2380243 h 2907193"/>
                <a:gd name="connsiteX597" fmla="*/ 1407780 w 4044707"/>
                <a:gd name="connsiteY597" fmla="*/ 2380969 h 2907193"/>
                <a:gd name="connsiteX598" fmla="*/ 1407780 w 4044707"/>
                <a:gd name="connsiteY598" fmla="*/ 2382664 h 2907193"/>
                <a:gd name="connsiteX599" fmla="*/ 1408446 w 4044707"/>
                <a:gd name="connsiteY599" fmla="*/ 2384539 h 2907193"/>
                <a:gd name="connsiteX600" fmla="*/ 1410382 w 4044707"/>
                <a:gd name="connsiteY600" fmla="*/ 2385810 h 2907193"/>
                <a:gd name="connsiteX601" fmla="*/ 1412439 w 4044707"/>
                <a:gd name="connsiteY601" fmla="*/ 2386384 h 2907193"/>
                <a:gd name="connsiteX602" fmla="*/ 1413135 w 4044707"/>
                <a:gd name="connsiteY602" fmla="*/ 2386384 h 2907193"/>
                <a:gd name="connsiteX603" fmla="*/ 1413528 w 4044707"/>
                <a:gd name="connsiteY603" fmla="*/ 2385779 h 2907193"/>
                <a:gd name="connsiteX604" fmla="*/ 1413528 w 4044707"/>
                <a:gd name="connsiteY604" fmla="*/ 2385295 h 2907193"/>
                <a:gd name="connsiteX605" fmla="*/ 1392655 w 4044707"/>
                <a:gd name="connsiteY605" fmla="*/ 2351172 h 2907193"/>
                <a:gd name="connsiteX606" fmla="*/ 1391657 w 4044707"/>
                <a:gd name="connsiteY606" fmla="*/ 2349629 h 2907193"/>
                <a:gd name="connsiteX607" fmla="*/ 1391717 w 4044707"/>
                <a:gd name="connsiteY607" fmla="*/ 2348328 h 2907193"/>
                <a:gd name="connsiteX608" fmla="*/ 1391959 w 4044707"/>
                <a:gd name="connsiteY608" fmla="*/ 2347390 h 2907193"/>
                <a:gd name="connsiteX609" fmla="*/ 1391415 w 4044707"/>
                <a:gd name="connsiteY609" fmla="*/ 2346029 h 2907193"/>
                <a:gd name="connsiteX610" fmla="*/ 1391052 w 4044707"/>
                <a:gd name="connsiteY610" fmla="*/ 2344335 h 2907193"/>
                <a:gd name="connsiteX611" fmla="*/ 1390507 w 4044707"/>
                <a:gd name="connsiteY611" fmla="*/ 2343185 h 2907193"/>
                <a:gd name="connsiteX612" fmla="*/ 1389388 w 4044707"/>
                <a:gd name="connsiteY612" fmla="*/ 2343185 h 2907193"/>
                <a:gd name="connsiteX613" fmla="*/ 1388450 w 4044707"/>
                <a:gd name="connsiteY613" fmla="*/ 2343669 h 2907193"/>
                <a:gd name="connsiteX614" fmla="*/ 1387936 w 4044707"/>
                <a:gd name="connsiteY614" fmla="*/ 2344880 h 2907193"/>
                <a:gd name="connsiteX615" fmla="*/ 1387331 w 4044707"/>
                <a:gd name="connsiteY615" fmla="*/ 2345848 h 2907193"/>
                <a:gd name="connsiteX616" fmla="*/ 1386907 w 4044707"/>
                <a:gd name="connsiteY616" fmla="*/ 2345999 h 2907193"/>
                <a:gd name="connsiteX617" fmla="*/ 1386423 w 4044707"/>
                <a:gd name="connsiteY617" fmla="*/ 2346271 h 2907193"/>
                <a:gd name="connsiteX618" fmla="*/ 1384941 w 4044707"/>
                <a:gd name="connsiteY618" fmla="*/ 2347390 h 2907193"/>
                <a:gd name="connsiteX619" fmla="*/ 1384850 w 4044707"/>
                <a:gd name="connsiteY619" fmla="*/ 2347905 h 2907193"/>
                <a:gd name="connsiteX620" fmla="*/ 1385364 w 4044707"/>
                <a:gd name="connsiteY620" fmla="*/ 2348479 h 2907193"/>
                <a:gd name="connsiteX621" fmla="*/ 1385304 w 4044707"/>
                <a:gd name="connsiteY621" fmla="*/ 2348933 h 2907193"/>
                <a:gd name="connsiteX622" fmla="*/ 1384971 w 4044707"/>
                <a:gd name="connsiteY622" fmla="*/ 2350174 h 2907193"/>
                <a:gd name="connsiteX623" fmla="*/ 1385092 w 4044707"/>
                <a:gd name="connsiteY623" fmla="*/ 2351989 h 2907193"/>
                <a:gd name="connsiteX624" fmla="*/ 1385364 w 4044707"/>
                <a:gd name="connsiteY624" fmla="*/ 2353864 h 2907193"/>
                <a:gd name="connsiteX625" fmla="*/ 1386121 w 4044707"/>
                <a:gd name="connsiteY625" fmla="*/ 2355195 h 2907193"/>
                <a:gd name="connsiteX626" fmla="*/ 1386998 w 4044707"/>
                <a:gd name="connsiteY626" fmla="*/ 2355346 h 2907193"/>
                <a:gd name="connsiteX627" fmla="*/ 1387391 w 4044707"/>
                <a:gd name="connsiteY627" fmla="*/ 2356224 h 2907193"/>
                <a:gd name="connsiteX628" fmla="*/ 1387754 w 4044707"/>
                <a:gd name="connsiteY628" fmla="*/ 2358281 h 2907193"/>
                <a:gd name="connsiteX629" fmla="*/ 1388571 w 4044707"/>
                <a:gd name="connsiteY629" fmla="*/ 2359461 h 2907193"/>
                <a:gd name="connsiteX630" fmla="*/ 1389388 w 4044707"/>
                <a:gd name="connsiteY630" fmla="*/ 2359007 h 2907193"/>
                <a:gd name="connsiteX631" fmla="*/ 1389720 w 4044707"/>
                <a:gd name="connsiteY631" fmla="*/ 2358432 h 2907193"/>
                <a:gd name="connsiteX632" fmla="*/ 1390295 w 4044707"/>
                <a:gd name="connsiteY632" fmla="*/ 2357434 h 2907193"/>
                <a:gd name="connsiteX633" fmla="*/ 1391112 w 4044707"/>
                <a:gd name="connsiteY633" fmla="*/ 2355316 h 2907193"/>
                <a:gd name="connsiteX634" fmla="*/ 1391445 w 4044707"/>
                <a:gd name="connsiteY634" fmla="*/ 2355135 h 2907193"/>
                <a:gd name="connsiteX635" fmla="*/ 1391112 w 4044707"/>
                <a:gd name="connsiteY635" fmla="*/ 2356920 h 2907193"/>
                <a:gd name="connsiteX636" fmla="*/ 1390689 w 4044707"/>
                <a:gd name="connsiteY636" fmla="*/ 2358614 h 2907193"/>
                <a:gd name="connsiteX637" fmla="*/ 1390749 w 4044707"/>
                <a:gd name="connsiteY637" fmla="*/ 2360126 h 2907193"/>
                <a:gd name="connsiteX638" fmla="*/ 1391233 w 4044707"/>
                <a:gd name="connsiteY638" fmla="*/ 2361125 h 2907193"/>
                <a:gd name="connsiteX639" fmla="*/ 1392413 w 4044707"/>
                <a:gd name="connsiteY639" fmla="*/ 2360671 h 2907193"/>
                <a:gd name="connsiteX640" fmla="*/ 1393684 w 4044707"/>
                <a:gd name="connsiteY640" fmla="*/ 2358946 h 2907193"/>
                <a:gd name="connsiteX641" fmla="*/ 1394470 w 4044707"/>
                <a:gd name="connsiteY641" fmla="*/ 2356314 h 2907193"/>
                <a:gd name="connsiteX642" fmla="*/ 1394530 w 4044707"/>
                <a:gd name="connsiteY642" fmla="*/ 2353652 h 2907193"/>
                <a:gd name="connsiteX643" fmla="*/ 1393835 w 4044707"/>
                <a:gd name="connsiteY643" fmla="*/ 2352231 h 2907193"/>
                <a:gd name="connsiteX644" fmla="*/ 1392715 w 4044707"/>
                <a:gd name="connsiteY644" fmla="*/ 2351232 h 2907193"/>
                <a:gd name="connsiteX645" fmla="*/ 1400127 w 4044707"/>
                <a:gd name="connsiteY645" fmla="*/ 2334775 h 2907193"/>
                <a:gd name="connsiteX646" fmla="*/ 1400218 w 4044707"/>
                <a:gd name="connsiteY646" fmla="*/ 2336228 h 2907193"/>
                <a:gd name="connsiteX647" fmla="*/ 1400097 w 4044707"/>
                <a:gd name="connsiteY647" fmla="*/ 2343034 h 2907193"/>
                <a:gd name="connsiteX648" fmla="*/ 1400278 w 4044707"/>
                <a:gd name="connsiteY648" fmla="*/ 2346876 h 2907193"/>
                <a:gd name="connsiteX649" fmla="*/ 1400914 w 4044707"/>
                <a:gd name="connsiteY649" fmla="*/ 2349992 h 2907193"/>
                <a:gd name="connsiteX650" fmla="*/ 1401791 w 4044707"/>
                <a:gd name="connsiteY650" fmla="*/ 2348540 h 2907193"/>
                <a:gd name="connsiteX651" fmla="*/ 1402003 w 4044707"/>
                <a:gd name="connsiteY651" fmla="*/ 2347148 h 2907193"/>
                <a:gd name="connsiteX652" fmla="*/ 1402123 w 4044707"/>
                <a:gd name="connsiteY652" fmla="*/ 2345696 h 2907193"/>
                <a:gd name="connsiteX653" fmla="*/ 1402668 w 4044707"/>
                <a:gd name="connsiteY653" fmla="*/ 2344063 h 2907193"/>
                <a:gd name="connsiteX654" fmla="*/ 1403213 w 4044707"/>
                <a:gd name="connsiteY654" fmla="*/ 2343700 h 2907193"/>
                <a:gd name="connsiteX655" fmla="*/ 1406208 w 4044707"/>
                <a:gd name="connsiteY655" fmla="*/ 2340432 h 2907193"/>
                <a:gd name="connsiteX656" fmla="*/ 1406480 w 4044707"/>
                <a:gd name="connsiteY656" fmla="*/ 2339555 h 2907193"/>
                <a:gd name="connsiteX657" fmla="*/ 1408204 w 4044707"/>
                <a:gd name="connsiteY657" fmla="*/ 2341733 h 2907193"/>
                <a:gd name="connsiteX658" fmla="*/ 1409142 w 4044707"/>
                <a:gd name="connsiteY658" fmla="*/ 2345575 h 2907193"/>
                <a:gd name="connsiteX659" fmla="*/ 1410049 w 4044707"/>
                <a:gd name="connsiteY659" fmla="*/ 2348177 h 2907193"/>
                <a:gd name="connsiteX660" fmla="*/ 1411653 w 4044707"/>
                <a:gd name="connsiteY660" fmla="*/ 2346695 h 2907193"/>
                <a:gd name="connsiteX661" fmla="*/ 1413347 w 4044707"/>
                <a:gd name="connsiteY661" fmla="*/ 2344395 h 2907193"/>
                <a:gd name="connsiteX662" fmla="*/ 1417522 w 4044707"/>
                <a:gd name="connsiteY662" fmla="*/ 2341249 h 2907193"/>
                <a:gd name="connsiteX663" fmla="*/ 1419276 w 4044707"/>
                <a:gd name="connsiteY663" fmla="*/ 2338860 h 2907193"/>
                <a:gd name="connsiteX664" fmla="*/ 1419488 w 4044707"/>
                <a:gd name="connsiteY664" fmla="*/ 2336016 h 2907193"/>
                <a:gd name="connsiteX665" fmla="*/ 1416826 w 4044707"/>
                <a:gd name="connsiteY665" fmla="*/ 2324944 h 2907193"/>
                <a:gd name="connsiteX666" fmla="*/ 1416039 w 4044707"/>
                <a:gd name="connsiteY666" fmla="*/ 2323461 h 2907193"/>
                <a:gd name="connsiteX667" fmla="*/ 1415101 w 4044707"/>
                <a:gd name="connsiteY667" fmla="*/ 2322493 h 2907193"/>
                <a:gd name="connsiteX668" fmla="*/ 1413982 w 4044707"/>
                <a:gd name="connsiteY668" fmla="*/ 2322100 h 2907193"/>
                <a:gd name="connsiteX669" fmla="*/ 1412742 w 4044707"/>
                <a:gd name="connsiteY669" fmla="*/ 2322312 h 2907193"/>
                <a:gd name="connsiteX670" fmla="*/ 1413226 w 4044707"/>
                <a:gd name="connsiteY670" fmla="*/ 2323219 h 2907193"/>
                <a:gd name="connsiteX671" fmla="*/ 1413710 w 4044707"/>
                <a:gd name="connsiteY671" fmla="*/ 2324369 h 2907193"/>
                <a:gd name="connsiteX672" fmla="*/ 1414164 w 4044707"/>
                <a:gd name="connsiteY672" fmla="*/ 2324944 h 2907193"/>
                <a:gd name="connsiteX673" fmla="*/ 1413347 w 4044707"/>
                <a:gd name="connsiteY673" fmla="*/ 2325761 h 2907193"/>
                <a:gd name="connsiteX674" fmla="*/ 1412591 w 4044707"/>
                <a:gd name="connsiteY674" fmla="*/ 2326275 h 2907193"/>
                <a:gd name="connsiteX675" fmla="*/ 1411774 w 4044707"/>
                <a:gd name="connsiteY675" fmla="*/ 2326517 h 2907193"/>
                <a:gd name="connsiteX676" fmla="*/ 1410745 w 4044707"/>
                <a:gd name="connsiteY676" fmla="*/ 2326396 h 2907193"/>
                <a:gd name="connsiteX677" fmla="*/ 1411078 w 4044707"/>
                <a:gd name="connsiteY677" fmla="*/ 2327636 h 2907193"/>
                <a:gd name="connsiteX678" fmla="*/ 1411320 w 4044707"/>
                <a:gd name="connsiteY678" fmla="*/ 2329270 h 2907193"/>
                <a:gd name="connsiteX679" fmla="*/ 1411320 w 4044707"/>
                <a:gd name="connsiteY679" fmla="*/ 2330903 h 2907193"/>
                <a:gd name="connsiteX680" fmla="*/ 1411048 w 4044707"/>
                <a:gd name="connsiteY680" fmla="*/ 2332204 h 2907193"/>
                <a:gd name="connsiteX681" fmla="*/ 1410261 w 4044707"/>
                <a:gd name="connsiteY681" fmla="*/ 2332628 h 2907193"/>
                <a:gd name="connsiteX682" fmla="*/ 1409777 w 4044707"/>
                <a:gd name="connsiteY682" fmla="*/ 2331115 h 2907193"/>
                <a:gd name="connsiteX683" fmla="*/ 1409323 w 4044707"/>
                <a:gd name="connsiteY683" fmla="*/ 2327666 h 2907193"/>
                <a:gd name="connsiteX684" fmla="*/ 1408023 w 4044707"/>
                <a:gd name="connsiteY684" fmla="*/ 2321646 h 2907193"/>
                <a:gd name="connsiteX685" fmla="*/ 1406994 w 4044707"/>
                <a:gd name="connsiteY685" fmla="*/ 2319952 h 2907193"/>
                <a:gd name="connsiteX686" fmla="*/ 1405209 w 4044707"/>
                <a:gd name="connsiteY686" fmla="*/ 2321132 h 2907193"/>
                <a:gd name="connsiteX687" fmla="*/ 1407751 w 4044707"/>
                <a:gd name="connsiteY687" fmla="*/ 2330177 h 2907193"/>
                <a:gd name="connsiteX688" fmla="*/ 1407962 w 4044707"/>
                <a:gd name="connsiteY688" fmla="*/ 2332779 h 2907193"/>
                <a:gd name="connsiteX689" fmla="*/ 1407085 w 4044707"/>
                <a:gd name="connsiteY689" fmla="*/ 2335592 h 2907193"/>
                <a:gd name="connsiteX690" fmla="*/ 1405875 w 4044707"/>
                <a:gd name="connsiteY690" fmla="*/ 2334140 h 2907193"/>
                <a:gd name="connsiteX691" fmla="*/ 1403787 w 4044707"/>
                <a:gd name="connsiteY691" fmla="*/ 2327636 h 2907193"/>
                <a:gd name="connsiteX692" fmla="*/ 1402547 w 4044707"/>
                <a:gd name="connsiteY692" fmla="*/ 2329118 h 2907193"/>
                <a:gd name="connsiteX693" fmla="*/ 1400157 w 4044707"/>
                <a:gd name="connsiteY693" fmla="*/ 2329451 h 2907193"/>
                <a:gd name="connsiteX694" fmla="*/ 1399704 w 4044707"/>
                <a:gd name="connsiteY694" fmla="*/ 2330903 h 2907193"/>
                <a:gd name="connsiteX695" fmla="*/ 1399794 w 4044707"/>
                <a:gd name="connsiteY695" fmla="*/ 2332658 h 2907193"/>
                <a:gd name="connsiteX696" fmla="*/ 1400248 w 4044707"/>
                <a:gd name="connsiteY696" fmla="*/ 2334745 h 2907193"/>
                <a:gd name="connsiteX697" fmla="*/ 1407629 w 4044707"/>
                <a:gd name="connsiteY697" fmla="*/ 2221000 h 2907193"/>
                <a:gd name="connsiteX698" fmla="*/ 1406903 w 4044707"/>
                <a:gd name="connsiteY698" fmla="*/ 2222270 h 2907193"/>
                <a:gd name="connsiteX699" fmla="*/ 1406419 w 4044707"/>
                <a:gd name="connsiteY699" fmla="*/ 2223450 h 2907193"/>
                <a:gd name="connsiteX700" fmla="*/ 1405421 w 4044707"/>
                <a:gd name="connsiteY700" fmla="*/ 2223571 h 2907193"/>
                <a:gd name="connsiteX701" fmla="*/ 1404453 w 4044707"/>
                <a:gd name="connsiteY701" fmla="*/ 2223964 h 2907193"/>
                <a:gd name="connsiteX702" fmla="*/ 1403878 w 4044707"/>
                <a:gd name="connsiteY702" fmla="*/ 2224721 h 2907193"/>
                <a:gd name="connsiteX703" fmla="*/ 1403606 w 4044707"/>
                <a:gd name="connsiteY703" fmla="*/ 2225840 h 2907193"/>
                <a:gd name="connsiteX704" fmla="*/ 1403757 w 4044707"/>
                <a:gd name="connsiteY704" fmla="*/ 2227504 h 2907193"/>
                <a:gd name="connsiteX705" fmla="*/ 1404181 w 4044707"/>
                <a:gd name="connsiteY705" fmla="*/ 2228835 h 2907193"/>
                <a:gd name="connsiteX706" fmla="*/ 1404635 w 4044707"/>
                <a:gd name="connsiteY706" fmla="*/ 2229803 h 2907193"/>
                <a:gd name="connsiteX707" fmla="*/ 1405361 w 4044707"/>
                <a:gd name="connsiteY707" fmla="*/ 2230711 h 2907193"/>
                <a:gd name="connsiteX708" fmla="*/ 1405875 w 4044707"/>
                <a:gd name="connsiteY708" fmla="*/ 2231043 h 2907193"/>
                <a:gd name="connsiteX709" fmla="*/ 1406268 w 4044707"/>
                <a:gd name="connsiteY709" fmla="*/ 2231376 h 2907193"/>
                <a:gd name="connsiteX710" fmla="*/ 1407085 w 4044707"/>
                <a:gd name="connsiteY710" fmla="*/ 2231800 h 2907193"/>
                <a:gd name="connsiteX711" fmla="*/ 1408900 w 4044707"/>
                <a:gd name="connsiteY711" fmla="*/ 2230832 h 2907193"/>
                <a:gd name="connsiteX712" fmla="*/ 1409777 w 4044707"/>
                <a:gd name="connsiteY712" fmla="*/ 2231134 h 2907193"/>
                <a:gd name="connsiteX713" fmla="*/ 1410473 w 4044707"/>
                <a:gd name="connsiteY713" fmla="*/ 2231800 h 2907193"/>
                <a:gd name="connsiteX714" fmla="*/ 1410806 w 4044707"/>
                <a:gd name="connsiteY714" fmla="*/ 2232737 h 2907193"/>
                <a:gd name="connsiteX715" fmla="*/ 1410866 w 4044707"/>
                <a:gd name="connsiteY715" fmla="*/ 2233161 h 2907193"/>
                <a:gd name="connsiteX716" fmla="*/ 1411078 w 4044707"/>
                <a:gd name="connsiteY716" fmla="*/ 2231648 h 2907193"/>
                <a:gd name="connsiteX717" fmla="*/ 1410927 w 4044707"/>
                <a:gd name="connsiteY717" fmla="*/ 2228532 h 2907193"/>
                <a:gd name="connsiteX718" fmla="*/ 1410170 w 4044707"/>
                <a:gd name="connsiteY718" fmla="*/ 2226899 h 2907193"/>
                <a:gd name="connsiteX719" fmla="*/ 1409535 w 4044707"/>
                <a:gd name="connsiteY719" fmla="*/ 2226143 h 2907193"/>
                <a:gd name="connsiteX720" fmla="*/ 1409021 w 4044707"/>
                <a:gd name="connsiteY720" fmla="*/ 2224721 h 2907193"/>
                <a:gd name="connsiteX721" fmla="*/ 1408325 w 4044707"/>
                <a:gd name="connsiteY721" fmla="*/ 2223692 h 2907193"/>
                <a:gd name="connsiteX722" fmla="*/ 1408567 w 4044707"/>
                <a:gd name="connsiteY722" fmla="*/ 2221544 h 2907193"/>
                <a:gd name="connsiteX723" fmla="*/ 1407599 w 4044707"/>
                <a:gd name="connsiteY723" fmla="*/ 2221030 h 2907193"/>
                <a:gd name="connsiteX724" fmla="*/ 1410443 w 4044707"/>
                <a:gd name="connsiteY724" fmla="*/ 2199007 h 2907193"/>
                <a:gd name="connsiteX725" fmla="*/ 1413317 w 4044707"/>
                <a:gd name="connsiteY725" fmla="*/ 2198826 h 2907193"/>
                <a:gd name="connsiteX726" fmla="*/ 1412046 w 4044707"/>
                <a:gd name="connsiteY726" fmla="*/ 2201155 h 2907193"/>
                <a:gd name="connsiteX727" fmla="*/ 1411381 w 4044707"/>
                <a:gd name="connsiteY727" fmla="*/ 2202093 h 2907193"/>
                <a:gd name="connsiteX728" fmla="*/ 1410624 w 4044707"/>
                <a:gd name="connsiteY728" fmla="*/ 2202849 h 2907193"/>
                <a:gd name="connsiteX729" fmla="*/ 1408658 w 4044707"/>
                <a:gd name="connsiteY729" fmla="*/ 2201488 h 2907193"/>
                <a:gd name="connsiteX730" fmla="*/ 1407660 w 4044707"/>
                <a:gd name="connsiteY730" fmla="*/ 2201669 h 2907193"/>
                <a:gd name="connsiteX731" fmla="*/ 1407780 w 4044707"/>
                <a:gd name="connsiteY731" fmla="*/ 2204180 h 2907193"/>
                <a:gd name="connsiteX732" fmla="*/ 1409535 w 4044707"/>
                <a:gd name="connsiteY732" fmla="*/ 2207205 h 2907193"/>
                <a:gd name="connsiteX733" fmla="*/ 1412228 w 4044707"/>
                <a:gd name="connsiteY733" fmla="*/ 2208022 h 2907193"/>
                <a:gd name="connsiteX734" fmla="*/ 1421969 w 4044707"/>
                <a:gd name="connsiteY734" fmla="*/ 2205118 h 2907193"/>
                <a:gd name="connsiteX735" fmla="*/ 1426052 w 4044707"/>
                <a:gd name="connsiteY735" fmla="*/ 2202577 h 2907193"/>
                <a:gd name="connsiteX736" fmla="*/ 1429804 w 4044707"/>
                <a:gd name="connsiteY736" fmla="*/ 2198795 h 2907193"/>
                <a:gd name="connsiteX737" fmla="*/ 1433373 w 4044707"/>
                <a:gd name="connsiteY737" fmla="*/ 2193350 h 2907193"/>
                <a:gd name="connsiteX738" fmla="*/ 1434523 w 4044707"/>
                <a:gd name="connsiteY738" fmla="*/ 2195014 h 2907193"/>
                <a:gd name="connsiteX739" fmla="*/ 1434644 w 4044707"/>
                <a:gd name="connsiteY739" fmla="*/ 2196980 h 2907193"/>
                <a:gd name="connsiteX740" fmla="*/ 1433948 w 4044707"/>
                <a:gd name="connsiteY740" fmla="*/ 2198856 h 2907193"/>
                <a:gd name="connsiteX741" fmla="*/ 1432587 w 4044707"/>
                <a:gd name="connsiteY741" fmla="*/ 2200157 h 2907193"/>
                <a:gd name="connsiteX742" fmla="*/ 1438455 w 4044707"/>
                <a:gd name="connsiteY742" fmla="*/ 2199279 h 2907193"/>
                <a:gd name="connsiteX743" fmla="*/ 1441360 w 4044707"/>
                <a:gd name="connsiteY743" fmla="*/ 2197646 h 2907193"/>
                <a:gd name="connsiteX744" fmla="*/ 1443114 w 4044707"/>
                <a:gd name="connsiteY744" fmla="*/ 2194802 h 2907193"/>
                <a:gd name="connsiteX745" fmla="*/ 1415979 w 4044707"/>
                <a:gd name="connsiteY745" fmla="*/ 2185273 h 2907193"/>
                <a:gd name="connsiteX746" fmla="*/ 1411592 w 4044707"/>
                <a:gd name="connsiteY746" fmla="*/ 2185031 h 2907193"/>
                <a:gd name="connsiteX747" fmla="*/ 1407145 w 4044707"/>
                <a:gd name="connsiteY747" fmla="*/ 2186755 h 2907193"/>
                <a:gd name="connsiteX748" fmla="*/ 1407145 w 4044707"/>
                <a:gd name="connsiteY748" fmla="*/ 2189962 h 2907193"/>
                <a:gd name="connsiteX749" fmla="*/ 1405239 w 4044707"/>
                <a:gd name="connsiteY749" fmla="*/ 2192019 h 2907193"/>
                <a:gd name="connsiteX750" fmla="*/ 1402759 w 4044707"/>
                <a:gd name="connsiteY750" fmla="*/ 2193804 h 2907193"/>
                <a:gd name="connsiteX751" fmla="*/ 1400883 w 4044707"/>
                <a:gd name="connsiteY751" fmla="*/ 2196103 h 2907193"/>
                <a:gd name="connsiteX752" fmla="*/ 1403515 w 4044707"/>
                <a:gd name="connsiteY752" fmla="*/ 2197555 h 2907193"/>
                <a:gd name="connsiteX753" fmla="*/ 1410443 w 4044707"/>
                <a:gd name="connsiteY753" fmla="*/ 2198947 h 2907193"/>
                <a:gd name="connsiteX754" fmla="*/ 1419095 w 4044707"/>
                <a:gd name="connsiteY754" fmla="*/ 2163189 h 2907193"/>
                <a:gd name="connsiteX755" fmla="*/ 1419276 w 4044707"/>
                <a:gd name="connsiteY755" fmla="*/ 2164006 h 2907193"/>
                <a:gd name="connsiteX756" fmla="*/ 1420517 w 4044707"/>
                <a:gd name="connsiteY756" fmla="*/ 2165791 h 2907193"/>
                <a:gd name="connsiteX757" fmla="*/ 1426143 w 4044707"/>
                <a:gd name="connsiteY757" fmla="*/ 2170510 h 2907193"/>
                <a:gd name="connsiteX758" fmla="*/ 1426294 w 4044707"/>
                <a:gd name="connsiteY758" fmla="*/ 2173142 h 2907193"/>
                <a:gd name="connsiteX759" fmla="*/ 1425538 w 4044707"/>
                <a:gd name="connsiteY759" fmla="*/ 2174352 h 2907193"/>
                <a:gd name="connsiteX760" fmla="*/ 1425115 w 4044707"/>
                <a:gd name="connsiteY760" fmla="*/ 2173535 h 2907193"/>
                <a:gd name="connsiteX761" fmla="*/ 1424359 w 4044707"/>
                <a:gd name="connsiteY761" fmla="*/ 2172628 h 2907193"/>
                <a:gd name="connsiteX762" fmla="*/ 1423148 w 4044707"/>
                <a:gd name="connsiteY762" fmla="*/ 2172900 h 2907193"/>
                <a:gd name="connsiteX763" fmla="*/ 1422271 w 4044707"/>
                <a:gd name="connsiteY763" fmla="*/ 2174413 h 2907193"/>
                <a:gd name="connsiteX764" fmla="*/ 1422210 w 4044707"/>
                <a:gd name="connsiteY764" fmla="*/ 2176198 h 2907193"/>
                <a:gd name="connsiteX765" fmla="*/ 1422816 w 4044707"/>
                <a:gd name="connsiteY765" fmla="*/ 2177075 h 2907193"/>
                <a:gd name="connsiteX766" fmla="*/ 1424056 w 4044707"/>
                <a:gd name="connsiteY766" fmla="*/ 2177831 h 2907193"/>
                <a:gd name="connsiteX767" fmla="*/ 1424782 w 4044707"/>
                <a:gd name="connsiteY767" fmla="*/ 2177922 h 2907193"/>
                <a:gd name="connsiteX768" fmla="*/ 1428230 w 4044707"/>
                <a:gd name="connsiteY768" fmla="*/ 2179374 h 2907193"/>
                <a:gd name="connsiteX769" fmla="*/ 1430227 w 4044707"/>
                <a:gd name="connsiteY769" fmla="*/ 2179313 h 2907193"/>
                <a:gd name="connsiteX770" fmla="*/ 1431982 w 4044707"/>
                <a:gd name="connsiteY770" fmla="*/ 2177438 h 2907193"/>
                <a:gd name="connsiteX771" fmla="*/ 1433071 w 4044707"/>
                <a:gd name="connsiteY771" fmla="*/ 2175109 h 2907193"/>
                <a:gd name="connsiteX772" fmla="*/ 1433555 w 4044707"/>
                <a:gd name="connsiteY772" fmla="*/ 2173203 h 2907193"/>
                <a:gd name="connsiteX773" fmla="*/ 1433767 w 4044707"/>
                <a:gd name="connsiteY773" fmla="*/ 2172174 h 2907193"/>
                <a:gd name="connsiteX774" fmla="*/ 1434674 w 4044707"/>
                <a:gd name="connsiteY774" fmla="*/ 2169028 h 2907193"/>
                <a:gd name="connsiteX775" fmla="*/ 1435642 w 4044707"/>
                <a:gd name="connsiteY775" fmla="*/ 2167273 h 2907193"/>
                <a:gd name="connsiteX776" fmla="*/ 1435975 w 4044707"/>
                <a:gd name="connsiteY776" fmla="*/ 2165428 h 2907193"/>
                <a:gd name="connsiteX777" fmla="*/ 1434099 w 4044707"/>
                <a:gd name="connsiteY777" fmla="*/ 2161102 h 2907193"/>
                <a:gd name="connsiteX778" fmla="*/ 1432768 w 4044707"/>
                <a:gd name="connsiteY778" fmla="*/ 2159922 h 2907193"/>
                <a:gd name="connsiteX779" fmla="*/ 1430923 w 4044707"/>
                <a:gd name="connsiteY779" fmla="*/ 2160799 h 2907193"/>
                <a:gd name="connsiteX780" fmla="*/ 1429653 w 4044707"/>
                <a:gd name="connsiteY780" fmla="*/ 2161889 h 2907193"/>
                <a:gd name="connsiteX781" fmla="*/ 1429319 w 4044707"/>
                <a:gd name="connsiteY781" fmla="*/ 2162947 h 2907193"/>
                <a:gd name="connsiteX782" fmla="*/ 1428715 w 4044707"/>
                <a:gd name="connsiteY782" fmla="*/ 2163734 h 2907193"/>
                <a:gd name="connsiteX783" fmla="*/ 1427504 w 4044707"/>
                <a:gd name="connsiteY783" fmla="*/ 2163250 h 2907193"/>
                <a:gd name="connsiteX784" fmla="*/ 1421666 w 4044707"/>
                <a:gd name="connsiteY784" fmla="*/ 2158954 h 2907193"/>
                <a:gd name="connsiteX785" fmla="*/ 1420002 w 4044707"/>
                <a:gd name="connsiteY785" fmla="*/ 2158077 h 2907193"/>
                <a:gd name="connsiteX786" fmla="*/ 1419216 w 4044707"/>
                <a:gd name="connsiteY786" fmla="*/ 2158319 h 2907193"/>
                <a:gd name="connsiteX787" fmla="*/ 1419276 w 4044707"/>
                <a:gd name="connsiteY787" fmla="*/ 2159590 h 2907193"/>
                <a:gd name="connsiteX788" fmla="*/ 1419095 w 4044707"/>
                <a:gd name="connsiteY788" fmla="*/ 2161314 h 2907193"/>
                <a:gd name="connsiteX789" fmla="*/ 1419095 w 4044707"/>
                <a:gd name="connsiteY789" fmla="*/ 2163129 h 2907193"/>
                <a:gd name="connsiteX790" fmla="*/ 1472912 w 4044707"/>
                <a:gd name="connsiteY790" fmla="*/ 2123015 h 2907193"/>
                <a:gd name="connsiteX791" fmla="*/ 1473275 w 4044707"/>
                <a:gd name="connsiteY791" fmla="*/ 2124589 h 2907193"/>
                <a:gd name="connsiteX792" fmla="*/ 1474031 w 4044707"/>
                <a:gd name="connsiteY792" fmla="*/ 2125950 h 2907193"/>
                <a:gd name="connsiteX793" fmla="*/ 1474818 w 4044707"/>
                <a:gd name="connsiteY793" fmla="*/ 2126525 h 2907193"/>
                <a:gd name="connsiteX794" fmla="*/ 1475725 w 4044707"/>
                <a:gd name="connsiteY794" fmla="*/ 2126948 h 2907193"/>
                <a:gd name="connsiteX795" fmla="*/ 1491275 w 4044707"/>
                <a:gd name="connsiteY795" fmla="*/ 2127281 h 2907193"/>
                <a:gd name="connsiteX796" fmla="*/ 1499019 w 4044707"/>
                <a:gd name="connsiteY796" fmla="*/ 2124014 h 2907193"/>
                <a:gd name="connsiteX797" fmla="*/ 1500259 w 4044707"/>
                <a:gd name="connsiteY797" fmla="*/ 2122501 h 2907193"/>
                <a:gd name="connsiteX798" fmla="*/ 1500350 w 4044707"/>
                <a:gd name="connsiteY798" fmla="*/ 2121684 h 2907193"/>
                <a:gd name="connsiteX799" fmla="*/ 1500925 w 4044707"/>
                <a:gd name="connsiteY799" fmla="*/ 2119113 h 2907193"/>
                <a:gd name="connsiteX800" fmla="*/ 1500653 w 4044707"/>
                <a:gd name="connsiteY800" fmla="*/ 2119325 h 2907193"/>
                <a:gd name="connsiteX801" fmla="*/ 1500168 w 4044707"/>
                <a:gd name="connsiteY801" fmla="*/ 2118750 h 2907193"/>
                <a:gd name="connsiteX802" fmla="*/ 1499715 w 4044707"/>
                <a:gd name="connsiteY802" fmla="*/ 2117843 h 2907193"/>
                <a:gd name="connsiteX803" fmla="*/ 1499533 w 4044707"/>
                <a:gd name="connsiteY803" fmla="*/ 2117026 h 2907193"/>
                <a:gd name="connsiteX804" fmla="*/ 1499684 w 4044707"/>
                <a:gd name="connsiteY804" fmla="*/ 2115211 h 2907193"/>
                <a:gd name="connsiteX805" fmla="*/ 1500078 w 4044707"/>
                <a:gd name="connsiteY805" fmla="*/ 2113789 h 2907193"/>
                <a:gd name="connsiteX806" fmla="*/ 1500713 w 4044707"/>
                <a:gd name="connsiteY806" fmla="*/ 2112760 h 2907193"/>
                <a:gd name="connsiteX807" fmla="*/ 1501590 w 4044707"/>
                <a:gd name="connsiteY807" fmla="*/ 2112186 h 2907193"/>
                <a:gd name="connsiteX808" fmla="*/ 1501257 w 4044707"/>
                <a:gd name="connsiteY808" fmla="*/ 2110068 h 2907193"/>
                <a:gd name="connsiteX809" fmla="*/ 1499261 w 4044707"/>
                <a:gd name="connsiteY809" fmla="*/ 2109312 h 2907193"/>
                <a:gd name="connsiteX810" fmla="*/ 1494723 w 4044707"/>
                <a:gd name="connsiteY810" fmla="*/ 2109463 h 2907193"/>
                <a:gd name="connsiteX811" fmla="*/ 1493755 w 4044707"/>
                <a:gd name="connsiteY811" fmla="*/ 2109191 h 2907193"/>
                <a:gd name="connsiteX812" fmla="*/ 1492938 w 4044707"/>
                <a:gd name="connsiteY812" fmla="*/ 2108465 h 2907193"/>
                <a:gd name="connsiteX813" fmla="*/ 1492243 w 4044707"/>
                <a:gd name="connsiteY813" fmla="*/ 2107376 h 2907193"/>
                <a:gd name="connsiteX814" fmla="*/ 1491547 w 4044707"/>
                <a:gd name="connsiteY814" fmla="*/ 2106075 h 2907193"/>
                <a:gd name="connsiteX815" fmla="*/ 1490700 w 4044707"/>
                <a:gd name="connsiteY815" fmla="*/ 2105258 h 2907193"/>
                <a:gd name="connsiteX816" fmla="*/ 1489822 w 4044707"/>
                <a:gd name="connsiteY816" fmla="*/ 2105591 h 2907193"/>
                <a:gd name="connsiteX817" fmla="*/ 1488945 w 4044707"/>
                <a:gd name="connsiteY817" fmla="*/ 2106347 h 2907193"/>
                <a:gd name="connsiteX818" fmla="*/ 1488098 w 4044707"/>
                <a:gd name="connsiteY818" fmla="*/ 2106770 h 2907193"/>
                <a:gd name="connsiteX819" fmla="*/ 1480838 w 4044707"/>
                <a:gd name="connsiteY819" fmla="*/ 2106165 h 2907193"/>
                <a:gd name="connsiteX820" fmla="*/ 1477299 w 4044707"/>
                <a:gd name="connsiteY820" fmla="*/ 2107285 h 2907193"/>
                <a:gd name="connsiteX821" fmla="*/ 1475332 w 4044707"/>
                <a:gd name="connsiteY821" fmla="*/ 2110945 h 2907193"/>
                <a:gd name="connsiteX822" fmla="*/ 1475876 w 4044707"/>
                <a:gd name="connsiteY822" fmla="*/ 2111580 h 2907193"/>
                <a:gd name="connsiteX823" fmla="*/ 1476179 w 4044707"/>
                <a:gd name="connsiteY823" fmla="*/ 2112216 h 2907193"/>
                <a:gd name="connsiteX824" fmla="*/ 1476391 w 4044707"/>
                <a:gd name="connsiteY824" fmla="*/ 2112851 h 2907193"/>
                <a:gd name="connsiteX825" fmla="*/ 1476693 w 4044707"/>
                <a:gd name="connsiteY825" fmla="*/ 2113547 h 2907193"/>
                <a:gd name="connsiteX826" fmla="*/ 1474909 w 4044707"/>
                <a:gd name="connsiteY826" fmla="*/ 2113880 h 2907193"/>
                <a:gd name="connsiteX827" fmla="*/ 1473335 w 4044707"/>
                <a:gd name="connsiteY827" fmla="*/ 2115301 h 2907193"/>
                <a:gd name="connsiteX828" fmla="*/ 1472761 w 4044707"/>
                <a:gd name="connsiteY828" fmla="*/ 2116874 h 2907193"/>
                <a:gd name="connsiteX829" fmla="*/ 1473971 w 4044707"/>
                <a:gd name="connsiteY829" fmla="*/ 2117601 h 2907193"/>
                <a:gd name="connsiteX830" fmla="*/ 1477813 w 4044707"/>
                <a:gd name="connsiteY830" fmla="*/ 2118236 h 2907193"/>
                <a:gd name="connsiteX831" fmla="*/ 1479840 w 4044707"/>
                <a:gd name="connsiteY831" fmla="*/ 2119083 h 2907193"/>
                <a:gd name="connsiteX832" fmla="*/ 1481564 w 4044707"/>
                <a:gd name="connsiteY832" fmla="*/ 2120323 h 2907193"/>
                <a:gd name="connsiteX833" fmla="*/ 1479295 w 4044707"/>
                <a:gd name="connsiteY833" fmla="*/ 2121805 h 2907193"/>
                <a:gd name="connsiteX834" fmla="*/ 1471127 w 4044707"/>
                <a:gd name="connsiteY834" fmla="*/ 2120323 h 2907193"/>
                <a:gd name="connsiteX835" fmla="*/ 1472307 w 4044707"/>
                <a:gd name="connsiteY835" fmla="*/ 2121442 h 2907193"/>
                <a:gd name="connsiteX836" fmla="*/ 1472791 w 4044707"/>
                <a:gd name="connsiteY836" fmla="*/ 2122925 h 2907193"/>
                <a:gd name="connsiteX837" fmla="*/ 1484710 w 4044707"/>
                <a:gd name="connsiteY837" fmla="*/ 2101839 h 2907193"/>
                <a:gd name="connsiteX838" fmla="*/ 1486101 w 4044707"/>
                <a:gd name="connsiteY838" fmla="*/ 2101749 h 2907193"/>
                <a:gd name="connsiteX839" fmla="*/ 1486525 w 4044707"/>
                <a:gd name="connsiteY839" fmla="*/ 2100811 h 2907193"/>
                <a:gd name="connsiteX840" fmla="*/ 1487070 w 4044707"/>
                <a:gd name="connsiteY840" fmla="*/ 2100085 h 2907193"/>
                <a:gd name="connsiteX841" fmla="*/ 1487856 w 4044707"/>
                <a:gd name="connsiteY841" fmla="*/ 2099722 h 2907193"/>
                <a:gd name="connsiteX842" fmla="*/ 1488038 w 4044707"/>
                <a:gd name="connsiteY842" fmla="*/ 2100176 h 2907193"/>
                <a:gd name="connsiteX843" fmla="*/ 1488613 w 4044707"/>
                <a:gd name="connsiteY843" fmla="*/ 2101144 h 2907193"/>
                <a:gd name="connsiteX844" fmla="*/ 1491063 w 4044707"/>
                <a:gd name="connsiteY844" fmla="*/ 2101416 h 2907193"/>
                <a:gd name="connsiteX845" fmla="*/ 1494027 w 4044707"/>
                <a:gd name="connsiteY845" fmla="*/ 2100357 h 2907193"/>
                <a:gd name="connsiteX846" fmla="*/ 1495086 w 4044707"/>
                <a:gd name="connsiteY846" fmla="*/ 2099208 h 2907193"/>
                <a:gd name="connsiteX847" fmla="*/ 1494542 w 4044707"/>
                <a:gd name="connsiteY847" fmla="*/ 2099087 h 2907193"/>
                <a:gd name="connsiteX848" fmla="*/ 1494633 w 4044707"/>
                <a:gd name="connsiteY848" fmla="*/ 2098119 h 2907193"/>
                <a:gd name="connsiteX849" fmla="*/ 1495419 w 4044707"/>
                <a:gd name="connsiteY849" fmla="*/ 2095759 h 2907193"/>
                <a:gd name="connsiteX850" fmla="*/ 1495328 w 4044707"/>
                <a:gd name="connsiteY850" fmla="*/ 2093581 h 2907193"/>
                <a:gd name="connsiteX851" fmla="*/ 1494118 w 4044707"/>
                <a:gd name="connsiteY851" fmla="*/ 2093369 h 2907193"/>
                <a:gd name="connsiteX852" fmla="*/ 1493301 w 4044707"/>
                <a:gd name="connsiteY852" fmla="*/ 2093671 h 2907193"/>
                <a:gd name="connsiteX853" fmla="*/ 1493150 w 4044707"/>
                <a:gd name="connsiteY853" fmla="*/ 2093067 h 2907193"/>
                <a:gd name="connsiteX854" fmla="*/ 1492727 w 4044707"/>
                <a:gd name="connsiteY854" fmla="*/ 2092643 h 2907193"/>
                <a:gd name="connsiteX855" fmla="*/ 1490821 w 4044707"/>
                <a:gd name="connsiteY855" fmla="*/ 2092734 h 2907193"/>
                <a:gd name="connsiteX856" fmla="*/ 1489641 w 4044707"/>
                <a:gd name="connsiteY856" fmla="*/ 2093248 h 2907193"/>
                <a:gd name="connsiteX857" fmla="*/ 1489006 w 4044707"/>
                <a:gd name="connsiteY857" fmla="*/ 2094579 h 2907193"/>
                <a:gd name="connsiteX858" fmla="*/ 1489096 w 4044707"/>
                <a:gd name="connsiteY858" fmla="*/ 2096364 h 2907193"/>
                <a:gd name="connsiteX859" fmla="*/ 1488401 w 4044707"/>
                <a:gd name="connsiteY859" fmla="*/ 2096908 h 2907193"/>
                <a:gd name="connsiteX860" fmla="*/ 1486495 w 4044707"/>
                <a:gd name="connsiteY860" fmla="*/ 2096636 h 2907193"/>
                <a:gd name="connsiteX861" fmla="*/ 1484075 w 4044707"/>
                <a:gd name="connsiteY861" fmla="*/ 2097302 h 2907193"/>
                <a:gd name="connsiteX862" fmla="*/ 1482018 w 4044707"/>
                <a:gd name="connsiteY862" fmla="*/ 2098875 h 2907193"/>
                <a:gd name="connsiteX863" fmla="*/ 1481352 w 4044707"/>
                <a:gd name="connsiteY863" fmla="*/ 2099873 h 2907193"/>
                <a:gd name="connsiteX864" fmla="*/ 1482441 w 4044707"/>
                <a:gd name="connsiteY864" fmla="*/ 2100690 h 2907193"/>
                <a:gd name="connsiteX865" fmla="*/ 1484649 w 4044707"/>
                <a:gd name="connsiteY865" fmla="*/ 2101779 h 2907193"/>
                <a:gd name="connsiteX866" fmla="*/ 1472519 w 4044707"/>
                <a:gd name="connsiteY866" fmla="*/ 2096606 h 2907193"/>
                <a:gd name="connsiteX867" fmla="*/ 1472579 w 4044707"/>
                <a:gd name="connsiteY867" fmla="*/ 2097665 h 2907193"/>
                <a:gd name="connsiteX868" fmla="*/ 1473154 w 4044707"/>
                <a:gd name="connsiteY868" fmla="*/ 2098754 h 2907193"/>
                <a:gd name="connsiteX869" fmla="*/ 1475272 w 4044707"/>
                <a:gd name="connsiteY869" fmla="*/ 2099389 h 2907193"/>
                <a:gd name="connsiteX870" fmla="*/ 1478720 w 4044707"/>
                <a:gd name="connsiteY870" fmla="*/ 2098693 h 2907193"/>
                <a:gd name="connsiteX871" fmla="*/ 1480444 w 4044707"/>
                <a:gd name="connsiteY871" fmla="*/ 2097786 h 2907193"/>
                <a:gd name="connsiteX872" fmla="*/ 1480807 w 4044707"/>
                <a:gd name="connsiteY872" fmla="*/ 2096787 h 2907193"/>
                <a:gd name="connsiteX873" fmla="*/ 1480687 w 4044707"/>
                <a:gd name="connsiteY873" fmla="*/ 2094851 h 2907193"/>
                <a:gd name="connsiteX874" fmla="*/ 1479204 w 4044707"/>
                <a:gd name="connsiteY874" fmla="*/ 2093974 h 2907193"/>
                <a:gd name="connsiteX875" fmla="*/ 1477510 w 4044707"/>
                <a:gd name="connsiteY875" fmla="*/ 2093520 h 2907193"/>
                <a:gd name="connsiteX876" fmla="*/ 1475756 w 4044707"/>
                <a:gd name="connsiteY876" fmla="*/ 2092159 h 2907193"/>
                <a:gd name="connsiteX877" fmla="*/ 1473366 w 4044707"/>
                <a:gd name="connsiteY877" fmla="*/ 2091796 h 2907193"/>
                <a:gd name="connsiteX878" fmla="*/ 1471974 w 4044707"/>
                <a:gd name="connsiteY878" fmla="*/ 2092945 h 2907193"/>
                <a:gd name="connsiteX879" fmla="*/ 1472670 w 4044707"/>
                <a:gd name="connsiteY879" fmla="*/ 2095850 h 2907193"/>
                <a:gd name="connsiteX880" fmla="*/ 1472458 w 4044707"/>
                <a:gd name="connsiteY880" fmla="*/ 2096636 h 2907193"/>
                <a:gd name="connsiteX881" fmla="*/ 1504101 w 4044707"/>
                <a:gd name="connsiteY881" fmla="*/ 2099813 h 2907193"/>
                <a:gd name="connsiteX882" fmla="*/ 1505341 w 4044707"/>
                <a:gd name="connsiteY882" fmla="*/ 2103080 h 2907193"/>
                <a:gd name="connsiteX883" fmla="*/ 1504404 w 4044707"/>
                <a:gd name="connsiteY883" fmla="*/ 2108344 h 2907193"/>
                <a:gd name="connsiteX884" fmla="*/ 1504948 w 4044707"/>
                <a:gd name="connsiteY884" fmla="*/ 2108555 h 2907193"/>
                <a:gd name="connsiteX885" fmla="*/ 1505886 w 4044707"/>
                <a:gd name="connsiteY885" fmla="*/ 2109342 h 2907193"/>
                <a:gd name="connsiteX886" fmla="*/ 1506400 w 4044707"/>
                <a:gd name="connsiteY886" fmla="*/ 2109584 h 2907193"/>
                <a:gd name="connsiteX887" fmla="*/ 1505341 w 4044707"/>
                <a:gd name="connsiteY887" fmla="*/ 2111701 h 2907193"/>
                <a:gd name="connsiteX888" fmla="*/ 1503043 w 4044707"/>
                <a:gd name="connsiteY888" fmla="*/ 2114303 h 2907193"/>
                <a:gd name="connsiteX889" fmla="*/ 1502377 w 4044707"/>
                <a:gd name="connsiteY889" fmla="*/ 2116481 h 2907193"/>
                <a:gd name="connsiteX890" fmla="*/ 1508669 w 4044707"/>
                <a:gd name="connsiteY890" fmla="*/ 2114545 h 2907193"/>
                <a:gd name="connsiteX891" fmla="*/ 1525096 w 4044707"/>
                <a:gd name="connsiteY891" fmla="*/ 2098724 h 2907193"/>
                <a:gd name="connsiteX892" fmla="*/ 1527123 w 4044707"/>
                <a:gd name="connsiteY892" fmla="*/ 2097544 h 2907193"/>
                <a:gd name="connsiteX893" fmla="*/ 1528212 w 4044707"/>
                <a:gd name="connsiteY893" fmla="*/ 2097302 h 2907193"/>
                <a:gd name="connsiteX894" fmla="*/ 1529301 w 4044707"/>
                <a:gd name="connsiteY894" fmla="*/ 2097302 h 2907193"/>
                <a:gd name="connsiteX895" fmla="*/ 1528030 w 4044707"/>
                <a:gd name="connsiteY895" fmla="*/ 2096092 h 2907193"/>
                <a:gd name="connsiteX896" fmla="*/ 1524037 w 4044707"/>
                <a:gd name="connsiteY896" fmla="*/ 2093702 h 2907193"/>
                <a:gd name="connsiteX897" fmla="*/ 1522645 w 4044707"/>
                <a:gd name="connsiteY897" fmla="*/ 2093248 h 2907193"/>
                <a:gd name="connsiteX898" fmla="*/ 1521284 w 4044707"/>
                <a:gd name="connsiteY898" fmla="*/ 2092492 h 2907193"/>
                <a:gd name="connsiteX899" fmla="*/ 1520770 w 4044707"/>
                <a:gd name="connsiteY899" fmla="*/ 2090677 h 2907193"/>
                <a:gd name="connsiteX900" fmla="*/ 1520588 w 4044707"/>
                <a:gd name="connsiteY900" fmla="*/ 2088468 h 2907193"/>
                <a:gd name="connsiteX901" fmla="*/ 1520165 w 4044707"/>
                <a:gd name="connsiteY901" fmla="*/ 2086441 h 2907193"/>
                <a:gd name="connsiteX902" fmla="*/ 1518017 w 4044707"/>
                <a:gd name="connsiteY902" fmla="*/ 2082267 h 2907193"/>
                <a:gd name="connsiteX903" fmla="*/ 1515657 w 4044707"/>
                <a:gd name="connsiteY903" fmla="*/ 2080119 h 2907193"/>
                <a:gd name="connsiteX904" fmla="*/ 1512965 w 4044707"/>
                <a:gd name="connsiteY904" fmla="*/ 2079756 h 2907193"/>
                <a:gd name="connsiteX905" fmla="*/ 1509879 w 4044707"/>
                <a:gd name="connsiteY905" fmla="*/ 2080966 h 2907193"/>
                <a:gd name="connsiteX906" fmla="*/ 1507429 w 4044707"/>
                <a:gd name="connsiteY906" fmla="*/ 2082600 h 2907193"/>
                <a:gd name="connsiteX907" fmla="*/ 1504888 w 4044707"/>
                <a:gd name="connsiteY907" fmla="*/ 2085080 h 2907193"/>
                <a:gd name="connsiteX908" fmla="*/ 1502770 w 4044707"/>
                <a:gd name="connsiteY908" fmla="*/ 2088559 h 2907193"/>
                <a:gd name="connsiteX909" fmla="*/ 1501651 w 4044707"/>
                <a:gd name="connsiteY909" fmla="*/ 2093218 h 2907193"/>
                <a:gd name="connsiteX910" fmla="*/ 1502346 w 4044707"/>
                <a:gd name="connsiteY910" fmla="*/ 2096999 h 2907193"/>
                <a:gd name="connsiteX911" fmla="*/ 1504101 w 4044707"/>
                <a:gd name="connsiteY911" fmla="*/ 2099782 h 2907193"/>
                <a:gd name="connsiteX912" fmla="*/ 1537922 w 4044707"/>
                <a:gd name="connsiteY912" fmla="*/ 2086441 h 2907193"/>
                <a:gd name="connsiteX913" fmla="*/ 1553350 w 4044707"/>
                <a:gd name="connsiteY913" fmla="*/ 2084959 h 2907193"/>
                <a:gd name="connsiteX914" fmla="*/ 1553714 w 4044707"/>
                <a:gd name="connsiteY914" fmla="*/ 2084445 h 2907193"/>
                <a:gd name="connsiteX915" fmla="*/ 1553986 w 4044707"/>
                <a:gd name="connsiteY915" fmla="*/ 2083931 h 2907193"/>
                <a:gd name="connsiteX916" fmla="*/ 1554288 w 4044707"/>
                <a:gd name="connsiteY916" fmla="*/ 2083598 h 2907193"/>
                <a:gd name="connsiteX917" fmla="*/ 1554772 w 4044707"/>
                <a:gd name="connsiteY917" fmla="*/ 2083598 h 2907193"/>
                <a:gd name="connsiteX918" fmla="*/ 1553653 w 4044707"/>
                <a:gd name="connsiteY918" fmla="*/ 2081178 h 2907193"/>
                <a:gd name="connsiteX919" fmla="*/ 1551838 w 4044707"/>
                <a:gd name="connsiteY919" fmla="*/ 2080694 h 2907193"/>
                <a:gd name="connsiteX920" fmla="*/ 1547784 w 4044707"/>
                <a:gd name="connsiteY920" fmla="*/ 2080966 h 2907193"/>
                <a:gd name="connsiteX921" fmla="*/ 1543095 w 4044707"/>
                <a:gd name="connsiteY921" fmla="*/ 2077457 h 2907193"/>
                <a:gd name="connsiteX922" fmla="*/ 1541613 w 4044707"/>
                <a:gd name="connsiteY922" fmla="*/ 2076761 h 2907193"/>
                <a:gd name="connsiteX923" fmla="*/ 1523674 w 4044707"/>
                <a:gd name="connsiteY923" fmla="*/ 2078243 h 2907193"/>
                <a:gd name="connsiteX924" fmla="*/ 1530450 w 4044707"/>
                <a:gd name="connsiteY924" fmla="*/ 2085231 h 2907193"/>
                <a:gd name="connsiteX925" fmla="*/ 1537922 w 4044707"/>
                <a:gd name="connsiteY925" fmla="*/ 2086411 h 2907193"/>
                <a:gd name="connsiteX926" fmla="*/ 1588019 w 4044707"/>
                <a:gd name="connsiteY926" fmla="*/ 2030597 h 2907193"/>
                <a:gd name="connsiteX927" fmla="*/ 1588382 w 4044707"/>
                <a:gd name="connsiteY927" fmla="*/ 2031656 h 2907193"/>
                <a:gd name="connsiteX928" fmla="*/ 1588503 w 4044707"/>
                <a:gd name="connsiteY928" fmla="*/ 2033532 h 2907193"/>
                <a:gd name="connsiteX929" fmla="*/ 1588956 w 4044707"/>
                <a:gd name="connsiteY929" fmla="*/ 2034470 h 2907193"/>
                <a:gd name="connsiteX930" fmla="*/ 1590015 w 4044707"/>
                <a:gd name="connsiteY930" fmla="*/ 2034167 h 2907193"/>
                <a:gd name="connsiteX931" fmla="*/ 1596671 w 4044707"/>
                <a:gd name="connsiteY931" fmla="*/ 2030355 h 2907193"/>
                <a:gd name="connsiteX932" fmla="*/ 1613248 w 4044707"/>
                <a:gd name="connsiteY932" fmla="*/ 2025969 h 2907193"/>
                <a:gd name="connsiteX933" fmla="*/ 1613793 w 4044707"/>
                <a:gd name="connsiteY933" fmla="*/ 2022127 h 2907193"/>
                <a:gd name="connsiteX934" fmla="*/ 1612280 w 4044707"/>
                <a:gd name="connsiteY934" fmla="*/ 2019011 h 2907193"/>
                <a:gd name="connsiteX935" fmla="*/ 1609709 w 4044707"/>
                <a:gd name="connsiteY935" fmla="*/ 2016954 h 2907193"/>
                <a:gd name="connsiteX936" fmla="*/ 1607077 w 4044707"/>
                <a:gd name="connsiteY936" fmla="*/ 2016319 h 2907193"/>
                <a:gd name="connsiteX937" fmla="*/ 1596126 w 4044707"/>
                <a:gd name="connsiteY937" fmla="*/ 2020977 h 2907193"/>
                <a:gd name="connsiteX938" fmla="*/ 1593282 w 4044707"/>
                <a:gd name="connsiteY938" fmla="*/ 2020463 h 2907193"/>
                <a:gd name="connsiteX939" fmla="*/ 1593978 w 4044707"/>
                <a:gd name="connsiteY939" fmla="*/ 2018981 h 2907193"/>
                <a:gd name="connsiteX940" fmla="*/ 1592042 w 4044707"/>
                <a:gd name="connsiteY940" fmla="*/ 2018406 h 2907193"/>
                <a:gd name="connsiteX941" fmla="*/ 1590197 w 4044707"/>
                <a:gd name="connsiteY941" fmla="*/ 2019525 h 2907193"/>
                <a:gd name="connsiteX942" fmla="*/ 1589199 w 4044707"/>
                <a:gd name="connsiteY942" fmla="*/ 2022157 h 2907193"/>
                <a:gd name="connsiteX943" fmla="*/ 1589864 w 4044707"/>
                <a:gd name="connsiteY943" fmla="*/ 2025999 h 2907193"/>
                <a:gd name="connsiteX944" fmla="*/ 1589077 w 4044707"/>
                <a:gd name="connsiteY944" fmla="*/ 2027149 h 2907193"/>
                <a:gd name="connsiteX945" fmla="*/ 1588230 w 4044707"/>
                <a:gd name="connsiteY945" fmla="*/ 2027996 h 2907193"/>
                <a:gd name="connsiteX946" fmla="*/ 1587323 w 4044707"/>
                <a:gd name="connsiteY946" fmla="*/ 2028510 h 2907193"/>
                <a:gd name="connsiteX947" fmla="*/ 1586355 w 4044707"/>
                <a:gd name="connsiteY947" fmla="*/ 2028752 h 2907193"/>
                <a:gd name="connsiteX948" fmla="*/ 1586355 w 4044707"/>
                <a:gd name="connsiteY948" fmla="*/ 2029992 h 2907193"/>
                <a:gd name="connsiteX949" fmla="*/ 1587323 w 4044707"/>
                <a:gd name="connsiteY949" fmla="*/ 2030174 h 2907193"/>
                <a:gd name="connsiteX950" fmla="*/ 1587988 w 4044707"/>
                <a:gd name="connsiteY950" fmla="*/ 2030628 h 2907193"/>
                <a:gd name="connsiteX951" fmla="*/ 1605837 w 4044707"/>
                <a:gd name="connsiteY951" fmla="*/ 2006517 h 2907193"/>
                <a:gd name="connsiteX952" fmla="*/ 1608771 w 4044707"/>
                <a:gd name="connsiteY952" fmla="*/ 2009482 h 2907193"/>
                <a:gd name="connsiteX953" fmla="*/ 1610556 w 4044707"/>
                <a:gd name="connsiteY953" fmla="*/ 2010420 h 2907193"/>
                <a:gd name="connsiteX954" fmla="*/ 1611948 w 4044707"/>
                <a:gd name="connsiteY954" fmla="*/ 2009391 h 2907193"/>
                <a:gd name="connsiteX955" fmla="*/ 1612280 w 4044707"/>
                <a:gd name="connsiteY955" fmla="*/ 2007304 h 2907193"/>
                <a:gd name="connsiteX956" fmla="*/ 1611766 w 4044707"/>
                <a:gd name="connsiteY956" fmla="*/ 2005519 h 2907193"/>
                <a:gd name="connsiteX957" fmla="*/ 1610828 w 4044707"/>
                <a:gd name="connsiteY957" fmla="*/ 2004248 h 2907193"/>
                <a:gd name="connsiteX958" fmla="*/ 1609921 w 4044707"/>
                <a:gd name="connsiteY958" fmla="*/ 2003734 h 2907193"/>
                <a:gd name="connsiteX959" fmla="*/ 1611554 w 4044707"/>
                <a:gd name="connsiteY959" fmla="*/ 2001344 h 2907193"/>
                <a:gd name="connsiteX960" fmla="*/ 1616152 w 4044707"/>
                <a:gd name="connsiteY960" fmla="*/ 2000104 h 2907193"/>
                <a:gd name="connsiteX961" fmla="*/ 1616152 w 4044707"/>
                <a:gd name="connsiteY961" fmla="*/ 1996927 h 2907193"/>
                <a:gd name="connsiteX962" fmla="*/ 1614368 w 4044707"/>
                <a:gd name="connsiteY962" fmla="*/ 1993872 h 2907193"/>
                <a:gd name="connsiteX963" fmla="*/ 1611282 w 4044707"/>
                <a:gd name="connsiteY963" fmla="*/ 1994417 h 2907193"/>
                <a:gd name="connsiteX964" fmla="*/ 1607863 w 4044707"/>
                <a:gd name="connsiteY964" fmla="*/ 1996201 h 2907193"/>
                <a:gd name="connsiteX965" fmla="*/ 1605081 w 4044707"/>
                <a:gd name="connsiteY965" fmla="*/ 1996927 h 2907193"/>
                <a:gd name="connsiteX966" fmla="*/ 1602388 w 4044707"/>
                <a:gd name="connsiteY966" fmla="*/ 1994326 h 2907193"/>
                <a:gd name="connsiteX967" fmla="*/ 1600815 w 4044707"/>
                <a:gd name="connsiteY967" fmla="*/ 1993690 h 2907193"/>
                <a:gd name="connsiteX968" fmla="*/ 1599575 w 4044707"/>
                <a:gd name="connsiteY968" fmla="*/ 1995445 h 2907193"/>
                <a:gd name="connsiteX969" fmla="*/ 1599575 w 4044707"/>
                <a:gd name="connsiteY969" fmla="*/ 1997290 h 2907193"/>
                <a:gd name="connsiteX970" fmla="*/ 1600331 w 4044707"/>
                <a:gd name="connsiteY970" fmla="*/ 1998833 h 2907193"/>
                <a:gd name="connsiteX971" fmla="*/ 1602267 w 4044707"/>
                <a:gd name="connsiteY971" fmla="*/ 2000860 h 2907193"/>
                <a:gd name="connsiteX972" fmla="*/ 1600331 w 4044707"/>
                <a:gd name="connsiteY972" fmla="*/ 2000527 h 2907193"/>
                <a:gd name="connsiteX973" fmla="*/ 1599061 w 4044707"/>
                <a:gd name="connsiteY973" fmla="*/ 2000860 h 2907193"/>
                <a:gd name="connsiteX974" fmla="*/ 1598879 w 4044707"/>
                <a:gd name="connsiteY974" fmla="*/ 2001919 h 2907193"/>
                <a:gd name="connsiteX975" fmla="*/ 1600301 w 4044707"/>
                <a:gd name="connsiteY975" fmla="*/ 2003734 h 2907193"/>
                <a:gd name="connsiteX976" fmla="*/ 1605867 w 4044707"/>
                <a:gd name="connsiteY976" fmla="*/ 2006487 h 2907193"/>
                <a:gd name="connsiteX977" fmla="*/ 1697801 w 4044707"/>
                <a:gd name="connsiteY977" fmla="*/ 1957994 h 2907193"/>
                <a:gd name="connsiteX978" fmla="*/ 1698194 w 4044707"/>
                <a:gd name="connsiteY978" fmla="*/ 1958387 h 2907193"/>
                <a:gd name="connsiteX979" fmla="*/ 1699495 w 4044707"/>
                <a:gd name="connsiteY979" fmla="*/ 1960142 h 2907193"/>
                <a:gd name="connsiteX980" fmla="*/ 1700282 w 4044707"/>
                <a:gd name="connsiteY980" fmla="*/ 1960686 h 2907193"/>
                <a:gd name="connsiteX981" fmla="*/ 1701250 w 4044707"/>
                <a:gd name="connsiteY981" fmla="*/ 1960595 h 2907193"/>
                <a:gd name="connsiteX982" fmla="*/ 1703065 w 4044707"/>
                <a:gd name="connsiteY982" fmla="*/ 1959537 h 2907193"/>
                <a:gd name="connsiteX983" fmla="*/ 1706816 w 4044707"/>
                <a:gd name="connsiteY983" fmla="*/ 1958236 h 2907193"/>
                <a:gd name="connsiteX984" fmla="*/ 1709872 w 4044707"/>
                <a:gd name="connsiteY984" fmla="*/ 1955604 h 2907193"/>
                <a:gd name="connsiteX985" fmla="*/ 1712534 w 4044707"/>
                <a:gd name="connsiteY985" fmla="*/ 1952034 h 2907193"/>
                <a:gd name="connsiteX986" fmla="*/ 1714016 w 4044707"/>
                <a:gd name="connsiteY986" fmla="*/ 1948132 h 2907193"/>
                <a:gd name="connsiteX987" fmla="*/ 1711202 w 4044707"/>
                <a:gd name="connsiteY987" fmla="*/ 1944441 h 2907193"/>
                <a:gd name="connsiteX988" fmla="*/ 1707361 w 4044707"/>
                <a:gd name="connsiteY988" fmla="*/ 1944804 h 2907193"/>
                <a:gd name="connsiteX989" fmla="*/ 1700282 w 4044707"/>
                <a:gd name="connsiteY989" fmla="*/ 1948132 h 2907193"/>
                <a:gd name="connsiteX990" fmla="*/ 1695744 w 4044707"/>
                <a:gd name="connsiteY990" fmla="*/ 1945318 h 2907193"/>
                <a:gd name="connsiteX991" fmla="*/ 1695048 w 4044707"/>
                <a:gd name="connsiteY991" fmla="*/ 1945651 h 2907193"/>
                <a:gd name="connsiteX992" fmla="*/ 1694443 w 4044707"/>
                <a:gd name="connsiteY992" fmla="*/ 1946347 h 2907193"/>
                <a:gd name="connsiteX993" fmla="*/ 1693657 w 4044707"/>
                <a:gd name="connsiteY993" fmla="*/ 1946710 h 2907193"/>
                <a:gd name="connsiteX994" fmla="*/ 1693263 w 4044707"/>
                <a:gd name="connsiteY994" fmla="*/ 1947799 h 2907193"/>
                <a:gd name="connsiteX995" fmla="*/ 1693021 w 4044707"/>
                <a:gd name="connsiteY995" fmla="*/ 1950129 h 2907193"/>
                <a:gd name="connsiteX996" fmla="*/ 1692295 w 4044707"/>
                <a:gd name="connsiteY996" fmla="*/ 1952125 h 2907193"/>
                <a:gd name="connsiteX997" fmla="*/ 1690511 w 4044707"/>
                <a:gd name="connsiteY997" fmla="*/ 1952276 h 2907193"/>
                <a:gd name="connsiteX998" fmla="*/ 1690511 w 4044707"/>
                <a:gd name="connsiteY998" fmla="*/ 1953547 h 2907193"/>
                <a:gd name="connsiteX999" fmla="*/ 1695925 w 4044707"/>
                <a:gd name="connsiteY999" fmla="*/ 1957419 h 2907193"/>
                <a:gd name="connsiteX1000" fmla="*/ 1697801 w 4044707"/>
                <a:gd name="connsiteY1000" fmla="*/ 1957964 h 2907193"/>
                <a:gd name="connsiteX1001" fmla="*/ 1661499 w 4044707"/>
                <a:gd name="connsiteY1001" fmla="*/ 1968945 h 2907193"/>
                <a:gd name="connsiteX1002" fmla="*/ 1668790 w 4044707"/>
                <a:gd name="connsiteY1002" fmla="*/ 1971819 h 2907193"/>
                <a:gd name="connsiteX1003" fmla="*/ 1669546 w 4044707"/>
                <a:gd name="connsiteY1003" fmla="*/ 1972484 h 2907193"/>
                <a:gd name="connsiteX1004" fmla="*/ 1671180 w 4044707"/>
                <a:gd name="connsiteY1004" fmla="*/ 1975540 h 2907193"/>
                <a:gd name="connsiteX1005" fmla="*/ 1671271 w 4044707"/>
                <a:gd name="connsiteY1005" fmla="*/ 1975963 h 2907193"/>
                <a:gd name="connsiteX1006" fmla="*/ 1673146 w 4044707"/>
                <a:gd name="connsiteY1006" fmla="*/ 1976447 h 2907193"/>
                <a:gd name="connsiteX1007" fmla="*/ 1674931 w 4044707"/>
                <a:gd name="connsiteY1007" fmla="*/ 1975812 h 2907193"/>
                <a:gd name="connsiteX1008" fmla="*/ 1682191 w 4044707"/>
                <a:gd name="connsiteY1008" fmla="*/ 1969913 h 2907193"/>
                <a:gd name="connsiteX1009" fmla="*/ 1683280 w 4044707"/>
                <a:gd name="connsiteY1009" fmla="*/ 1968340 h 2907193"/>
                <a:gd name="connsiteX1010" fmla="*/ 1684732 w 4044707"/>
                <a:gd name="connsiteY1010" fmla="*/ 1966948 h 2907193"/>
                <a:gd name="connsiteX1011" fmla="*/ 1688786 w 4044707"/>
                <a:gd name="connsiteY1011" fmla="*/ 1966252 h 2907193"/>
                <a:gd name="connsiteX1012" fmla="*/ 1690541 w 4044707"/>
                <a:gd name="connsiteY1012" fmla="*/ 1965496 h 2907193"/>
                <a:gd name="connsiteX1013" fmla="*/ 1693021 w 4044707"/>
                <a:gd name="connsiteY1013" fmla="*/ 1963469 h 2907193"/>
                <a:gd name="connsiteX1014" fmla="*/ 1692144 w 4044707"/>
                <a:gd name="connsiteY1014" fmla="*/ 1962895 h 2907193"/>
                <a:gd name="connsiteX1015" fmla="*/ 1690511 w 4044707"/>
                <a:gd name="connsiteY1015" fmla="*/ 1960686 h 2907193"/>
                <a:gd name="connsiteX1016" fmla="*/ 1688635 w 4044707"/>
                <a:gd name="connsiteY1016" fmla="*/ 1956149 h 2907193"/>
                <a:gd name="connsiteX1017" fmla="*/ 1687576 w 4044707"/>
                <a:gd name="connsiteY1017" fmla="*/ 1954212 h 2907193"/>
                <a:gd name="connsiteX1018" fmla="*/ 1686396 w 4044707"/>
                <a:gd name="connsiteY1018" fmla="*/ 1953577 h 2907193"/>
                <a:gd name="connsiteX1019" fmla="*/ 1687334 w 4044707"/>
                <a:gd name="connsiteY1019" fmla="*/ 1950643 h 2907193"/>
                <a:gd name="connsiteX1020" fmla="*/ 1687425 w 4044707"/>
                <a:gd name="connsiteY1020" fmla="*/ 1948374 h 2907193"/>
                <a:gd name="connsiteX1021" fmla="*/ 1687183 w 4044707"/>
                <a:gd name="connsiteY1021" fmla="*/ 1945924 h 2907193"/>
                <a:gd name="connsiteX1022" fmla="*/ 1687183 w 4044707"/>
                <a:gd name="connsiteY1022" fmla="*/ 1942414 h 2907193"/>
                <a:gd name="connsiteX1023" fmla="*/ 1686064 w 4044707"/>
                <a:gd name="connsiteY1023" fmla="*/ 1941174 h 2907193"/>
                <a:gd name="connsiteX1024" fmla="*/ 1684400 w 4044707"/>
                <a:gd name="connsiteY1024" fmla="*/ 1940811 h 2907193"/>
                <a:gd name="connsiteX1025" fmla="*/ 1680830 w 4044707"/>
                <a:gd name="connsiteY1025" fmla="*/ 1941053 h 2907193"/>
                <a:gd name="connsiteX1026" fmla="*/ 1682887 w 4044707"/>
                <a:gd name="connsiteY1026" fmla="*/ 1946498 h 2907193"/>
                <a:gd name="connsiteX1027" fmla="*/ 1682948 w 4044707"/>
                <a:gd name="connsiteY1027" fmla="*/ 1948858 h 2907193"/>
                <a:gd name="connsiteX1028" fmla="*/ 1681889 w 4044707"/>
                <a:gd name="connsiteY1028" fmla="*/ 1951671 h 2907193"/>
                <a:gd name="connsiteX1029" fmla="*/ 1681254 w 4044707"/>
                <a:gd name="connsiteY1029" fmla="*/ 1952034 h 2907193"/>
                <a:gd name="connsiteX1030" fmla="*/ 1679741 w 4044707"/>
                <a:gd name="connsiteY1030" fmla="*/ 1953244 h 2907193"/>
                <a:gd name="connsiteX1031" fmla="*/ 1678652 w 4044707"/>
                <a:gd name="connsiteY1031" fmla="*/ 1954545 h 2907193"/>
                <a:gd name="connsiteX1032" fmla="*/ 1679832 w 4044707"/>
                <a:gd name="connsiteY1032" fmla="*/ 1955846 h 2907193"/>
                <a:gd name="connsiteX1033" fmla="*/ 1679832 w 4044707"/>
                <a:gd name="connsiteY1033" fmla="*/ 1957480 h 2907193"/>
                <a:gd name="connsiteX1034" fmla="*/ 1679469 w 4044707"/>
                <a:gd name="connsiteY1034" fmla="*/ 1959325 h 2907193"/>
                <a:gd name="connsiteX1035" fmla="*/ 1678834 w 4044707"/>
                <a:gd name="connsiteY1035" fmla="*/ 1960747 h 2907193"/>
                <a:gd name="connsiteX1036" fmla="*/ 1674992 w 4044707"/>
                <a:gd name="connsiteY1036" fmla="*/ 1955362 h 2907193"/>
                <a:gd name="connsiteX1037" fmla="*/ 1672753 w 4044707"/>
                <a:gd name="connsiteY1037" fmla="*/ 1953789 h 2907193"/>
                <a:gd name="connsiteX1038" fmla="*/ 1669879 w 4044707"/>
                <a:gd name="connsiteY1038" fmla="*/ 1953638 h 2907193"/>
                <a:gd name="connsiteX1039" fmla="*/ 1671271 w 4044707"/>
                <a:gd name="connsiteY1039" fmla="*/ 1950975 h 2907193"/>
                <a:gd name="connsiteX1040" fmla="*/ 1664585 w 4044707"/>
                <a:gd name="connsiteY1040" fmla="*/ 1952427 h 2907193"/>
                <a:gd name="connsiteX1041" fmla="*/ 1662346 w 4044707"/>
                <a:gd name="connsiteY1041" fmla="*/ 1952367 h 2907193"/>
                <a:gd name="connsiteX1042" fmla="*/ 1662346 w 4044707"/>
                <a:gd name="connsiteY1042" fmla="*/ 1953638 h 2907193"/>
                <a:gd name="connsiteX1043" fmla="*/ 1663284 w 4044707"/>
                <a:gd name="connsiteY1043" fmla="*/ 1953638 h 2907193"/>
                <a:gd name="connsiteX1044" fmla="*/ 1664101 w 4044707"/>
                <a:gd name="connsiteY1044" fmla="*/ 1953970 h 2907193"/>
                <a:gd name="connsiteX1045" fmla="*/ 1665765 w 4044707"/>
                <a:gd name="connsiteY1045" fmla="*/ 1955180 h 2907193"/>
                <a:gd name="connsiteX1046" fmla="*/ 1664282 w 4044707"/>
                <a:gd name="connsiteY1046" fmla="*/ 1956058 h 2907193"/>
                <a:gd name="connsiteX1047" fmla="*/ 1663950 w 4044707"/>
                <a:gd name="connsiteY1047" fmla="*/ 1957510 h 2907193"/>
                <a:gd name="connsiteX1048" fmla="*/ 1664524 w 4044707"/>
                <a:gd name="connsiteY1048" fmla="*/ 1959204 h 2907193"/>
                <a:gd name="connsiteX1049" fmla="*/ 1665765 w 4044707"/>
                <a:gd name="connsiteY1049" fmla="*/ 1960717 h 2907193"/>
                <a:gd name="connsiteX1050" fmla="*/ 1661863 w 4044707"/>
                <a:gd name="connsiteY1050" fmla="*/ 1962259 h 2907193"/>
                <a:gd name="connsiteX1051" fmla="*/ 1659745 w 4044707"/>
                <a:gd name="connsiteY1051" fmla="*/ 1963590 h 2907193"/>
                <a:gd name="connsiteX1052" fmla="*/ 1658807 w 4044707"/>
                <a:gd name="connsiteY1052" fmla="*/ 1965496 h 2907193"/>
                <a:gd name="connsiteX1053" fmla="*/ 1659594 w 4044707"/>
                <a:gd name="connsiteY1053" fmla="*/ 1967463 h 2907193"/>
                <a:gd name="connsiteX1054" fmla="*/ 1661439 w 4044707"/>
                <a:gd name="connsiteY1054" fmla="*/ 1968975 h 2907193"/>
                <a:gd name="connsiteX1055" fmla="*/ 1739215 w 4044707"/>
                <a:gd name="connsiteY1055" fmla="*/ 1921148 h 2907193"/>
                <a:gd name="connsiteX1056" fmla="*/ 1740062 w 4044707"/>
                <a:gd name="connsiteY1056" fmla="*/ 1922055 h 2907193"/>
                <a:gd name="connsiteX1057" fmla="*/ 1740879 w 4044707"/>
                <a:gd name="connsiteY1057" fmla="*/ 1923628 h 2907193"/>
                <a:gd name="connsiteX1058" fmla="*/ 1741787 w 4044707"/>
                <a:gd name="connsiteY1058" fmla="*/ 1929043 h 2907193"/>
                <a:gd name="connsiteX1059" fmla="*/ 1742301 w 4044707"/>
                <a:gd name="connsiteY1059" fmla="*/ 1930647 h 2907193"/>
                <a:gd name="connsiteX1060" fmla="*/ 1743693 w 4044707"/>
                <a:gd name="connsiteY1060" fmla="*/ 1931826 h 2907193"/>
                <a:gd name="connsiteX1061" fmla="*/ 1745871 w 4044707"/>
                <a:gd name="connsiteY1061" fmla="*/ 1932189 h 2907193"/>
                <a:gd name="connsiteX1062" fmla="*/ 1753464 w 4044707"/>
                <a:gd name="connsiteY1062" fmla="*/ 1930616 h 2907193"/>
                <a:gd name="connsiteX1063" fmla="*/ 1755339 w 4044707"/>
                <a:gd name="connsiteY1063" fmla="*/ 1929769 h 2907193"/>
                <a:gd name="connsiteX1064" fmla="*/ 1754613 w 4044707"/>
                <a:gd name="connsiteY1064" fmla="*/ 1928438 h 2907193"/>
                <a:gd name="connsiteX1065" fmla="*/ 1754281 w 4044707"/>
                <a:gd name="connsiteY1065" fmla="*/ 1927712 h 2907193"/>
                <a:gd name="connsiteX1066" fmla="*/ 1753433 w 4044707"/>
                <a:gd name="connsiteY1066" fmla="*/ 1926290 h 2907193"/>
                <a:gd name="connsiteX1067" fmla="*/ 1751679 w 4044707"/>
                <a:gd name="connsiteY1067" fmla="*/ 1924566 h 2907193"/>
                <a:gd name="connsiteX1068" fmla="*/ 1750590 w 4044707"/>
                <a:gd name="connsiteY1068" fmla="*/ 1923779 h 2907193"/>
                <a:gd name="connsiteX1069" fmla="*/ 1746264 w 4044707"/>
                <a:gd name="connsiteY1069" fmla="*/ 1919272 h 2907193"/>
                <a:gd name="connsiteX1070" fmla="*/ 1743783 w 4044707"/>
                <a:gd name="connsiteY1070" fmla="*/ 1918213 h 2907193"/>
                <a:gd name="connsiteX1071" fmla="*/ 1741545 w 4044707"/>
                <a:gd name="connsiteY1071" fmla="*/ 1918637 h 2907193"/>
                <a:gd name="connsiteX1072" fmla="*/ 1739790 w 4044707"/>
                <a:gd name="connsiteY1072" fmla="*/ 1919696 h 2907193"/>
                <a:gd name="connsiteX1073" fmla="*/ 1739246 w 4044707"/>
                <a:gd name="connsiteY1073" fmla="*/ 1921087 h 2907193"/>
                <a:gd name="connsiteX1074" fmla="*/ 1738247 w 4044707"/>
                <a:gd name="connsiteY1074" fmla="*/ 1921662 h 2907193"/>
                <a:gd name="connsiteX1075" fmla="*/ 1735948 w 4044707"/>
                <a:gd name="connsiteY1075" fmla="*/ 1917911 h 2907193"/>
                <a:gd name="connsiteX1076" fmla="*/ 1733982 w 4044707"/>
                <a:gd name="connsiteY1076" fmla="*/ 1915823 h 2907193"/>
                <a:gd name="connsiteX1077" fmla="*/ 1730412 w 4044707"/>
                <a:gd name="connsiteY1077" fmla="*/ 1915460 h 2907193"/>
                <a:gd name="connsiteX1078" fmla="*/ 1727326 w 4044707"/>
                <a:gd name="connsiteY1078" fmla="*/ 1917638 h 2907193"/>
                <a:gd name="connsiteX1079" fmla="*/ 1721609 w 4044707"/>
                <a:gd name="connsiteY1079" fmla="*/ 1924233 h 2907193"/>
                <a:gd name="connsiteX1080" fmla="*/ 1716285 w 4044707"/>
                <a:gd name="connsiteY1080" fmla="*/ 1926744 h 2907193"/>
                <a:gd name="connsiteX1081" fmla="*/ 1715347 w 4044707"/>
                <a:gd name="connsiteY1081" fmla="*/ 1928408 h 2907193"/>
                <a:gd name="connsiteX1082" fmla="*/ 1720217 w 4044707"/>
                <a:gd name="connsiteY1082" fmla="*/ 1935517 h 2907193"/>
                <a:gd name="connsiteX1083" fmla="*/ 1724574 w 4044707"/>
                <a:gd name="connsiteY1083" fmla="*/ 1936606 h 2907193"/>
                <a:gd name="connsiteX1084" fmla="*/ 1741514 w 4044707"/>
                <a:gd name="connsiteY1084" fmla="*/ 1932613 h 2907193"/>
                <a:gd name="connsiteX1085" fmla="*/ 1741514 w 4044707"/>
                <a:gd name="connsiteY1085" fmla="*/ 1931070 h 2907193"/>
                <a:gd name="connsiteX1086" fmla="*/ 1740879 w 4044707"/>
                <a:gd name="connsiteY1086" fmla="*/ 1930616 h 2907193"/>
                <a:gd name="connsiteX1087" fmla="*/ 1739427 w 4044707"/>
                <a:gd name="connsiteY1087" fmla="*/ 1928408 h 2907193"/>
                <a:gd name="connsiteX1088" fmla="*/ 1739699 w 4044707"/>
                <a:gd name="connsiteY1088" fmla="*/ 1925655 h 2907193"/>
                <a:gd name="connsiteX1089" fmla="*/ 1738187 w 4044707"/>
                <a:gd name="connsiteY1089" fmla="*/ 1921662 h 2907193"/>
                <a:gd name="connsiteX1090" fmla="*/ 1757306 w 4044707"/>
                <a:gd name="connsiteY1090" fmla="*/ 1928710 h 2907193"/>
                <a:gd name="connsiteX1091" fmla="*/ 1760240 w 4044707"/>
                <a:gd name="connsiteY1091" fmla="*/ 1931070 h 2907193"/>
                <a:gd name="connsiteX1092" fmla="*/ 1765201 w 4044707"/>
                <a:gd name="connsiteY1092" fmla="*/ 1931857 h 2907193"/>
                <a:gd name="connsiteX1093" fmla="*/ 1779540 w 4044707"/>
                <a:gd name="connsiteY1093" fmla="*/ 1928408 h 2907193"/>
                <a:gd name="connsiteX1094" fmla="*/ 1780448 w 4044707"/>
                <a:gd name="connsiteY1094" fmla="*/ 1923961 h 2907193"/>
                <a:gd name="connsiteX1095" fmla="*/ 1777756 w 4044707"/>
                <a:gd name="connsiteY1095" fmla="*/ 1919998 h 2907193"/>
                <a:gd name="connsiteX1096" fmla="*/ 1771312 w 4044707"/>
                <a:gd name="connsiteY1096" fmla="*/ 1914280 h 2907193"/>
                <a:gd name="connsiteX1097" fmla="*/ 1768832 w 4044707"/>
                <a:gd name="connsiteY1097" fmla="*/ 1908805 h 2907193"/>
                <a:gd name="connsiteX1098" fmla="*/ 1767500 w 4044707"/>
                <a:gd name="connsiteY1098" fmla="*/ 1906687 h 2907193"/>
                <a:gd name="connsiteX1099" fmla="*/ 1765746 w 4044707"/>
                <a:gd name="connsiteY1099" fmla="*/ 1905840 h 2907193"/>
                <a:gd name="connsiteX1100" fmla="*/ 1763931 w 4044707"/>
                <a:gd name="connsiteY1100" fmla="*/ 1906748 h 2907193"/>
                <a:gd name="connsiteX1101" fmla="*/ 1763023 w 4044707"/>
                <a:gd name="connsiteY1101" fmla="*/ 1909077 h 2907193"/>
                <a:gd name="connsiteX1102" fmla="*/ 1762963 w 4044707"/>
                <a:gd name="connsiteY1102" fmla="*/ 1912284 h 2907193"/>
                <a:gd name="connsiteX1103" fmla="*/ 1763719 w 4044707"/>
                <a:gd name="connsiteY1103" fmla="*/ 1915793 h 2907193"/>
                <a:gd name="connsiteX1104" fmla="*/ 1762479 w 4044707"/>
                <a:gd name="connsiteY1104" fmla="*/ 1918365 h 2907193"/>
                <a:gd name="connsiteX1105" fmla="*/ 1761087 w 4044707"/>
                <a:gd name="connsiteY1105" fmla="*/ 1916338 h 2907193"/>
                <a:gd name="connsiteX1106" fmla="*/ 1759665 w 4044707"/>
                <a:gd name="connsiteY1106" fmla="*/ 1912586 h 2907193"/>
                <a:gd name="connsiteX1107" fmla="*/ 1758213 w 4044707"/>
                <a:gd name="connsiteY1107" fmla="*/ 1910045 h 2907193"/>
                <a:gd name="connsiteX1108" fmla="*/ 1757366 w 4044707"/>
                <a:gd name="connsiteY1108" fmla="*/ 1910197 h 2907193"/>
                <a:gd name="connsiteX1109" fmla="*/ 1756428 w 4044707"/>
                <a:gd name="connsiteY1109" fmla="*/ 1911074 h 2907193"/>
                <a:gd name="connsiteX1110" fmla="*/ 1755460 w 4044707"/>
                <a:gd name="connsiteY1110" fmla="*/ 1911618 h 2907193"/>
                <a:gd name="connsiteX1111" fmla="*/ 1754432 w 4044707"/>
                <a:gd name="connsiteY1111" fmla="*/ 1910741 h 2907193"/>
                <a:gd name="connsiteX1112" fmla="*/ 1753645 w 4044707"/>
                <a:gd name="connsiteY1112" fmla="*/ 1909440 h 2907193"/>
                <a:gd name="connsiteX1113" fmla="*/ 1752707 w 4044707"/>
                <a:gd name="connsiteY1113" fmla="*/ 1908442 h 2907193"/>
                <a:gd name="connsiteX1114" fmla="*/ 1751679 w 4044707"/>
                <a:gd name="connsiteY1114" fmla="*/ 1908018 h 2907193"/>
                <a:gd name="connsiteX1115" fmla="*/ 1750620 w 4044707"/>
                <a:gd name="connsiteY1115" fmla="*/ 1908503 h 2907193"/>
                <a:gd name="connsiteX1116" fmla="*/ 1750136 w 4044707"/>
                <a:gd name="connsiteY1116" fmla="*/ 1910015 h 2907193"/>
                <a:gd name="connsiteX1117" fmla="*/ 1749864 w 4044707"/>
                <a:gd name="connsiteY1117" fmla="*/ 1915006 h 2907193"/>
                <a:gd name="connsiteX1118" fmla="*/ 1749259 w 4044707"/>
                <a:gd name="connsiteY1118" fmla="*/ 1917185 h 2907193"/>
                <a:gd name="connsiteX1119" fmla="*/ 1752133 w 4044707"/>
                <a:gd name="connsiteY1119" fmla="*/ 1920573 h 2907193"/>
                <a:gd name="connsiteX1120" fmla="*/ 1757366 w 4044707"/>
                <a:gd name="connsiteY1120" fmla="*/ 1928710 h 2907193"/>
                <a:gd name="connsiteX1121" fmla="*/ 1701582 w 4044707"/>
                <a:gd name="connsiteY1121" fmla="*/ 1881911 h 2907193"/>
                <a:gd name="connsiteX1122" fmla="*/ 1701129 w 4044707"/>
                <a:gd name="connsiteY1122" fmla="*/ 1886268 h 2907193"/>
                <a:gd name="connsiteX1123" fmla="*/ 1703095 w 4044707"/>
                <a:gd name="connsiteY1123" fmla="*/ 1888627 h 2907193"/>
                <a:gd name="connsiteX1124" fmla="*/ 1718947 w 4044707"/>
                <a:gd name="connsiteY1124" fmla="*/ 1892348 h 2907193"/>
                <a:gd name="connsiteX1125" fmla="*/ 1722305 w 4044707"/>
                <a:gd name="connsiteY1125" fmla="*/ 1894557 h 2907193"/>
                <a:gd name="connsiteX1126" fmla="*/ 1715831 w 4044707"/>
                <a:gd name="connsiteY1126" fmla="*/ 1893800 h 2907193"/>
                <a:gd name="connsiteX1127" fmla="*/ 1714016 w 4044707"/>
                <a:gd name="connsiteY1127" fmla="*/ 1894557 h 2907193"/>
                <a:gd name="connsiteX1128" fmla="*/ 1715861 w 4044707"/>
                <a:gd name="connsiteY1128" fmla="*/ 1896130 h 2907193"/>
                <a:gd name="connsiteX1129" fmla="*/ 1719945 w 4044707"/>
                <a:gd name="connsiteY1129" fmla="*/ 1897945 h 2907193"/>
                <a:gd name="connsiteX1130" fmla="*/ 1720248 w 4044707"/>
                <a:gd name="connsiteY1130" fmla="*/ 1900153 h 2907193"/>
                <a:gd name="connsiteX1131" fmla="*/ 1721972 w 4044707"/>
                <a:gd name="connsiteY1131" fmla="*/ 1900062 h 2907193"/>
                <a:gd name="connsiteX1132" fmla="*/ 1724846 w 4044707"/>
                <a:gd name="connsiteY1132" fmla="*/ 1897915 h 2907193"/>
                <a:gd name="connsiteX1133" fmla="*/ 1726449 w 4044707"/>
                <a:gd name="connsiteY1133" fmla="*/ 1897370 h 2907193"/>
                <a:gd name="connsiteX1134" fmla="*/ 1731320 w 4044707"/>
                <a:gd name="connsiteY1134" fmla="*/ 1897370 h 2907193"/>
                <a:gd name="connsiteX1135" fmla="*/ 1731804 w 4044707"/>
                <a:gd name="connsiteY1135" fmla="*/ 1896886 h 2907193"/>
                <a:gd name="connsiteX1136" fmla="*/ 1732137 w 4044707"/>
                <a:gd name="connsiteY1136" fmla="*/ 1895252 h 2907193"/>
                <a:gd name="connsiteX1137" fmla="*/ 1732651 w 4044707"/>
                <a:gd name="connsiteY1137" fmla="*/ 1894587 h 2907193"/>
                <a:gd name="connsiteX1138" fmla="*/ 1735434 w 4044707"/>
                <a:gd name="connsiteY1138" fmla="*/ 1893528 h 2907193"/>
                <a:gd name="connsiteX1139" fmla="*/ 1736523 w 4044707"/>
                <a:gd name="connsiteY1139" fmla="*/ 1892832 h 2907193"/>
                <a:gd name="connsiteX1140" fmla="*/ 1737763 w 4044707"/>
                <a:gd name="connsiteY1140" fmla="*/ 1890987 h 2907193"/>
                <a:gd name="connsiteX1141" fmla="*/ 1740879 w 4044707"/>
                <a:gd name="connsiteY1141" fmla="*/ 1884725 h 2907193"/>
                <a:gd name="connsiteX1142" fmla="*/ 1739911 w 4044707"/>
                <a:gd name="connsiteY1142" fmla="*/ 1881458 h 2907193"/>
                <a:gd name="connsiteX1143" fmla="*/ 1735101 w 4044707"/>
                <a:gd name="connsiteY1143" fmla="*/ 1877344 h 2907193"/>
                <a:gd name="connsiteX1144" fmla="*/ 1732711 w 4044707"/>
                <a:gd name="connsiteY1144" fmla="*/ 1869448 h 2907193"/>
                <a:gd name="connsiteX1145" fmla="*/ 1729656 w 4044707"/>
                <a:gd name="connsiteY1145" fmla="*/ 1867542 h 2907193"/>
                <a:gd name="connsiteX1146" fmla="*/ 1722970 w 4044707"/>
                <a:gd name="connsiteY1146" fmla="*/ 1867633 h 2907193"/>
                <a:gd name="connsiteX1147" fmla="*/ 1720097 w 4044707"/>
                <a:gd name="connsiteY1147" fmla="*/ 1869206 h 2907193"/>
                <a:gd name="connsiteX1148" fmla="*/ 1714893 w 4044707"/>
                <a:gd name="connsiteY1148" fmla="*/ 1874954 h 2907193"/>
                <a:gd name="connsiteX1149" fmla="*/ 1712261 w 4044707"/>
                <a:gd name="connsiteY1149" fmla="*/ 1876224 h 2907193"/>
                <a:gd name="connsiteX1150" fmla="*/ 1706241 w 4044707"/>
                <a:gd name="connsiteY1150" fmla="*/ 1876739 h 2907193"/>
                <a:gd name="connsiteX1151" fmla="*/ 1703398 w 4044707"/>
                <a:gd name="connsiteY1151" fmla="*/ 1877948 h 2907193"/>
                <a:gd name="connsiteX1152" fmla="*/ 1700251 w 4044707"/>
                <a:gd name="connsiteY1152" fmla="*/ 1880338 h 2907193"/>
                <a:gd name="connsiteX1153" fmla="*/ 1701189 w 4044707"/>
                <a:gd name="connsiteY1153" fmla="*/ 1881518 h 2907193"/>
                <a:gd name="connsiteX1154" fmla="*/ 1701582 w 4044707"/>
                <a:gd name="connsiteY1154" fmla="*/ 1881881 h 2907193"/>
                <a:gd name="connsiteX1155" fmla="*/ 1785107 w 4044707"/>
                <a:gd name="connsiteY1155" fmla="*/ 1839196 h 2907193"/>
                <a:gd name="connsiteX1156" fmla="*/ 1781204 w 4044707"/>
                <a:gd name="connsiteY1156" fmla="*/ 1838440 h 2907193"/>
                <a:gd name="connsiteX1157" fmla="*/ 1779420 w 4044707"/>
                <a:gd name="connsiteY1157" fmla="*/ 1838803 h 2907193"/>
                <a:gd name="connsiteX1158" fmla="*/ 1777453 w 4044707"/>
                <a:gd name="connsiteY1158" fmla="*/ 1840770 h 2907193"/>
                <a:gd name="connsiteX1159" fmla="*/ 1781416 w 4044707"/>
                <a:gd name="connsiteY1159" fmla="*/ 1843976 h 2907193"/>
                <a:gd name="connsiteX1160" fmla="*/ 1791187 w 4044707"/>
                <a:gd name="connsiteY1160" fmla="*/ 1845701 h 2907193"/>
                <a:gd name="connsiteX1161" fmla="*/ 1795392 w 4044707"/>
                <a:gd name="connsiteY1161" fmla="*/ 1848000 h 2907193"/>
                <a:gd name="connsiteX1162" fmla="*/ 1794001 w 4044707"/>
                <a:gd name="connsiteY1162" fmla="*/ 1848847 h 2907193"/>
                <a:gd name="connsiteX1163" fmla="*/ 1792155 w 4044707"/>
                <a:gd name="connsiteY1163" fmla="*/ 1848847 h 2907193"/>
                <a:gd name="connsiteX1164" fmla="*/ 1784804 w 4044707"/>
                <a:gd name="connsiteY1164" fmla="*/ 1847364 h 2907193"/>
                <a:gd name="connsiteX1165" fmla="*/ 1766442 w 4044707"/>
                <a:gd name="connsiteY1165" fmla="*/ 1849149 h 2907193"/>
                <a:gd name="connsiteX1166" fmla="*/ 1764233 w 4044707"/>
                <a:gd name="connsiteY1166" fmla="*/ 1850057 h 2907193"/>
                <a:gd name="connsiteX1167" fmla="*/ 1754553 w 4044707"/>
                <a:gd name="connsiteY1167" fmla="*/ 1859314 h 2907193"/>
                <a:gd name="connsiteX1168" fmla="*/ 1752919 w 4044707"/>
                <a:gd name="connsiteY1168" fmla="*/ 1861734 h 2907193"/>
                <a:gd name="connsiteX1169" fmla="*/ 1751649 w 4044707"/>
                <a:gd name="connsiteY1169" fmla="*/ 1864789 h 2907193"/>
                <a:gd name="connsiteX1170" fmla="*/ 1750590 w 4044707"/>
                <a:gd name="connsiteY1170" fmla="*/ 1868964 h 2907193"/>
                <a:gd name="connsiteX1171" fmla="*/ 1751286 w 4044707"/>
                <a:gd name="connsiteY1171" fmla="*/ 1868964 h 2907193"/>
                <a:gd name="connsiteX1172" fmla="*/ 1751044 w 4044707"/>
                <a:gd name="connsiteY1172" fmla="*/ 1871323 h 2907193"/>
                <a:gd name="connsiteX1173" fmla="*/ 1751649 w 4044707"/>
                <a:gd name="connsiteY1173" fmla="*/ 1872685 h 2907193"/>
                <a:gd name="connsiteX1174" fmla="*/ 1752768 w 4044707"/>
                <a:gd name="connsiteY1174" fmla="*/ 1873320 h 2907193"/>
                <a:gd name="connsiteX1175" fmla="*/ 1754099 w 4044707"/>
                <a:gd name="connsiteY1175" fmla="*/ 1873441 h 2907193"/>
                <a:gd name="connsiteX1176" fmla="*/ 1754704 w 4044707"/>
                <a:gd name="connsiteY1176" fmla="*/ 1872987 h 2907193"/>
                <a:gd name="connsiteX1177" fmla="*/ 1754976 w 4044707"/>
                <a:gd name="connsiteY1177" fmla="*/ 1871989 h 2907193"/>
                <a:gd name="connsiteX1178" fmla="*/ 1755339 w 4044707"/>
                <a:gd name="connsiteY1178" fmla="*/ 1870960 h 2907193"/>
                <a:gd name="connsiteX1179" fmla="*/ 1756156 w 4044707"/>
                <a:gd name="connsiteY1179" fmla="*/ 1870476 h 2907193"/>
                <a:gd name="connsiteX1180" fmla="*/ 1756822 w 4044707"/>
                <a:gd name="connsiteY1180" fmla="*/ 1870658 h 2907193"/>
                <a:gd name="connsiteX1181" fmla="*/ 1757155 w 4044707"/>
                <a:gd name="connsiteY1181" fmla="*/ 1871142 h 2907193"/>
                <a:gd name="connsiteX1182" fmla="*/ 1757306 w 4044707"/>
                <a:gd name="connsiteY1182" fmla="*/ 1871626 h 2907193"/>
                <a:gd name="connsiteX1183" fmla="*/ 1757457 w 4044707"/>
                <a:gd name="connsiteY1183" fmla="*/ 1871898 h 2907193"/>
                <a:gd name="connsiteX1184" fmla="*/ 1761904 w 4044707"/>
                <a:gd name="connsiteY1184" fmla="*/ 1875740 h 2907193"/>
                <a:gd name="connsiteX1185" fmla="*/ 1763719 w 4044707"/>
                <a:gd name="connsiteY1185" fmla="*/ 1876285 h 2907193"/>
                <a:gd name="connsiteX1186" fmla="*/ 1770616 w 4044707"/>
                <a:gd name="connsiteY1186" fmla="*/ 1876285 h 2907193"/>
                <a:gd name="connsiteX1187" fmla="*/ 1773278 w 4044707"/>
                <a:gd name="connsiteY1187" fmla="*/ 1875680 h 2907193"/>
                <a:gd name="connsiteX1188" fmla="*/ 1780297 w 4044707"/>
                <a:gd name="connsiteY1188" fmla="*/ 1870537 h 2907193"/>
                <a:gd name="connsiteX1189" fmla="*/ 1789251 w 4044707"/>
                <a:gd name="connsiteY1189" fmla="*/ 1868631 h 2907193"/>
                <a:gd name="connsiteX1190" fmla="*/ 1794848 w 4044707"/>
                <a:gd name="connsiteY1190" fmla="*/ 1865364 h 2907193"/>
                <a:gd name="connsiteX1191" fmla="*/ 1809005 w 4044707"/>
                <a:gd name="connsiteY1191" fmla="*/ 1864759 h 2907193"/>
                <a:gd name="connsiteX1192" fmla="*/ 1833963 w 4044707"/>
                <a:gd name="connsiteY1192" fmla="*/ 1855169 h 2907193"/>
                <a:gd name="connsiteX1193" fmla="*/ 1837502 w 4044707"/>
                <a:gd name="connsiteY1193" fmla="*/ 1850722 h 2907193"/>
                <a:gd name="connsiteX1194" fmla="*/ 1840951 w 4044707"/>
                <a:gd name="connsiteY1194" fmla="*/ 1849180 h 2907193"/>
                <a:gd name="connsiteX1195" fmla="*/ 1840951 w 4044707"/>
                <a:gd name="connsiteY1195" fmla="*/ 1848030 h 2907193"/>
                <a:gd name="connsiteX1196" fmla="*/ 1837200 w 4044707"/>
                <a:gd name="connsiteY1196" fmla="*/ 1848030 h 2907193"/>
                <a:gd name="connsiteX1197" fmla="*/ 1835990 w 4044707"/>
                <a:gd name="connsiteY1197" fmla="*/ 1847758 h 2907193"/>
                <a:gd name="connsiteX1198" fmla="*/ 1835748 w 4044707"/>
                <a:gd name="connsiteY1198" fmla="*/ 1847032 h 2907193"/>
                <a:gd name="connsiteX1199" fmla="*/ 1835748 w 4044707"/>
                <a:gd name="connsiteY1199" fmla="*/ 1846094 h 2907193"/>
                <a:gd name="connsiteX1200" fmla="*/ 1835445 w 4044707"/>
                <a:gd name="connsiteY1200" fmla="*/ 1845095 h 2907193"/>
                <a:gd name="connsiteX1201" fmla="*/ 1831301 w 4044707"/>
                <a:gd name="connsiteY1201" fmla="*/ 1840044 h 2907193"/>
                <a:gd name="connsiteX1202" fmla="*/ 1828155 w 4044707"/>
                <a:gd name="connsiteY1202" fmla="*/ 1839681 h 2907193"/>
                <a:gd name="connsiteX1203" fmla="*/ 1824766 w 4044707"/>
                <a:gd name="connsiteY1203" fmla="*/ 1841919 h 2907193"/>
                <a:gd name="connsiteX1204" fmla="*/ 1822074 w 4044707"/>
                <a:gd name="connsiteY1204" fmla="*/ 1842857 h 2907193"/>
                <a:gd name="connsiteX1205" fmla="*/ 1820683 w 4044707"/>
                <a:gd name="connsiteY1205" fmla="*/ 1837139 h 2907193"/>
                <a:gd name="connsiteX1206" fmla="*/ 1819291 w 4044707"/>
                <a:gd name="connsiteY1206" fmla="*/ 1836232 h 2907193"/>
                <a:gd name="connsiteX1207" fmla="*/ 1818928 w 4044707"/>
                <a:gd name="connsiteY1207" fmla="*/ 1835022 h 2907193"/>
                <a:gd name="connsiteX1208" fmla="*/ 1819200 w 4044707"/>
                <a:gd name="connsiteY1208" fmla="*/ 1834205 h 2907193"/>
                <a:gd name="connsiteX1209" fmla="*/ 1819835 w 4044707"/>
                <a:gd name="connsiteY1209" fmla="*/ 1833025 h 2907193"/>
                <a:gd name="connsiteX1210" fmla="*/ 1820531 w 4044707"/>
                <a:gd name="connsiteY1210" fmla="*/ 1832118 h 2907193"/>
                <a:gd name="connsiteX1211" fmla="*/ 1820955 w 4044707"/>
                <a:gd name="connsiteY1211" fmla="*/ 1832178 h 2907193"/>
                <a:gd name="connsiteX1212" fmla="*/ 1819745 w 4044707"/>
                <a:gd name="connsiteY1212" fmla="*/ 1829667 h 2907193"/>
                <a:gd name="connsiteX1213" fmla="*/ 1818383 w 4044707"/>
                <a:gd name="connsiteY1213" fmla="*/ 1829425 h 2907193"/>
                <a:gd name="connsiteX1214" fmla="*/ 1815056 w 4044707"/>
                <a:gd name="connsiteY1214" fmla="*/ 1830787 h 2907193"/>
                <a:gd name="connsiteX1215" fmla="*/ 1811698 w 4044707"/>
                <a:gd name="connsiteY1215" fmla="*/ 1831119 h 2907193"/>
                <a:gd name="connsiteX1216" fmla="*/ 1809973 w 4044707"/>
                <a:gd name="connsiteY1216" fmla="*/ 1831785 h 2907193"/>
                <a:gd name="connsiteX1217" fmla="*/ 1809217 w 4044707"/>
                <a:gd name="connsiteY1217" fmla="*/ 1832995 h 2907193"/>
                <a:gd name="connsiteX1218" fmla="*/ 1809096 w 4044707"/>
                <a:gd name="connsiteY1218" fmla="*/ 1835536 h 2907193"/>
                <a:gd name="connsiteX1219" fmla="*/ 1808612 w 4044707"/>
                <a:gd name="connsiteY1219" fmla="*/ 1837260 h 2907193"/>
                <a:gd name="connsiteX1220" fmla="*/ 1807795 w 4044707"/>
                <a:gd name="connsiteY1220" fmla="*/ 1838077 h 2907193"/>
                <a:gd name="connsiteX1221" fmla="*/ 1806464 w 4044707"/>
                <a:gd name="connsiteY1221" fmla="*/ 1837896 h 2907193"/>
                <a:gd name="connsiteX1222" fmla="*/ 1805890 w 4044707"/>
                <a:gd name="connsiteY1222" fmla="*/ 1833146 h 2907193"/>
                <a:gd name="connsiteX1223" fmla="*/ 1801927 w 4044707"/>
                <a:gd name="connsiteY1223" fmla="*/ 1833055 h 2907193"/>
                <a:gd name="connsiteX1224" fmla="*/ 1785107 w 4044707"/>
                <a:gd name="connsiteY1224" fmla="*/ 1839318 h 2907193"/>
                <a:gd name="connsiteX1225" fmla="*/ 1830907 w 4044707"/>
                <a:gd name="connsiteY1225" fmla="*/ 1838561 h 2907193"/>
                <a:gd name="connsiteX1226" fmla="*/ 1834356 w 4044707"/>
                <a:gd name="connsiteY1226" fmla="*/ 1836867 h 2907193"/>
                <a:gd name="connsiteX1227" fmla="*/ 1836565 w 4044707"/>
                <a:gd name="connsiteY1227" fmla="*/ 1835324 h 2907193"/>
                <a:gd name="connsiteX1228" fmla="*/ 1839559 w 4044707"/>
                <a:gd name="connsiteY1228" fmla="*/ 1834235 h 2907193"/>
                <a:gd name="connsiteX1229" fmla="*/ 1840437 w 4044707"/>
                <a:gd name="connsiteY1229" fmla="*/ 1832662 h 2907193"/>
                <a:gd name="connsiteX1230" fmla="*/ 1840043 w 4044707"/>
                <a:gd name="connsiteY1230" fmla="*/ 1831452 h 2907193"/>
                <a:gd name="connsiteX1231" fmla="*/ 1839348 w 4044707"/>
                <a:gd name="connsiteY1231" fmla="*/ 1831331 h 2907193"/>
                <a:gd name="connsiteX1232" fmla="*/ 1839015 w 4044707"/>
                <a:gd name="connsiteY1232" fmla="*/ 1831210 h 2907193"/>
                <a:gd name="connsiteX1233" fmla="*/ 1838380 w 4044707"/>
                <a:gd name="connsiteY1233" fmla="*/ 1830696 h 2907193"/>
                <a:gd name="connsiteX1234" fmla="*/ 1837805 w 4044707"/>
                <a:gd name="connsiteY1234" fmla="*/ 1830393 h 2907193"/>
                <a:gd name="connsiteX1235" fmla="*/ 1835657 w 4044707"/>
                <a:gd name="connsiteY1235" fmla="*/ 1830938 h 2907193"/>
                <a:gd name="connsiteX1236" fmla="*/ 1835203 w 4044707"/>
                <a:gd name="connsiteY1236" fmla="*/ 1830545 h 2907193"/>
                <a:gd name="connsiteX1237" fmla="*/ 1835203 w 4044707"/>
                <a:gd name="connsiteY1237" fmla="*/ 1829788 h 2907193"/>
                <a:gd name="connsiteX1238" fmla="*/ 1834084 w 4044707"/>
                <a:gd name="connsiteY1238" fmla="*/ 1828881 h 2907193"/>
                <a:gd name="connsiteX1239" fmla="*/ 1831785 w 4044707"/>
                <a:gd name="connsiteY1239" fmla="*/ 1828457 h 2907193"/>
                <a:gd name="connsiteX1240" fmla="*/ 1829092 w 4044707"/>
                <a:gd name="connsiteY1240" fmla="*/ 1828608 h 2907193"/>
                <a:gd name="connsiteX1241" fmla="*/ 1828124 w 4044707"/>
                <a:gd name="connsiteY1241" fmla="*/ 1829002 h 2907193"/>
                <a:gd name="connsiteX1242" fmla="*/ 1827459 w 4044707"/>
                <a:gd name="connsiteY1242" fmla="*/ 1829970 h 2907193"/>
                <a:gd name="connsiteX1243" fmla="*/ 1827368 w 4044707"/>
                <a:gd name="connsiteY1243" fmla="*/ 1831089 h 2907193"/>
                <a:gd name="connsiteX1244" fmla="*/ 1827126 w 4044707"/>
                <a:gd name="connsiteY1244" fmla="*/ 1832118 h 2907193"/>
                <a:gd name="connsiteX1245" fmla="*/ 1826400 w 4044707"/>
                <a:gd name="connsiteY1245" fmla="*/ 1833388 h 2907193"/>
                <a:gd name="connsiteX1246" fmla="*/ 1826340 w 4044707"/>
                <a:gd name="connsiteY1246" fmla="*/ 1834447 h 2907193"/>
                <a:gd name="connsiteX1247" fmla="*/ 1825977 w 4044707"/>
                <a:gd name="connsiteY1247" fmla="*/ 1834992 h 2907193"/>
                <a:gd name="connsiteX1248" fmla="*/ 1824676 w 4044707"/>
                <a:gd name="connsiteY1248" fmla="*/ 1835748 h 2907193"/>
                <a:gd name="connsiteX1249" fmla="*/ 1826279 w 4044707"/>
                <a:gd name="connsiteY1249" fmla="*/ 1837714 h 2907193"/>
                <a:gd name="connsiteX1250" fmla="*/ 1830938 w 4044707"/>
                <a:gd name="connsiteY1250" fmla="*/ 1838592 h 2907193"/>
                <a:gd name="connsiteX1251" fmla="*/ 1754129 w 4044707"/>
                <a:gd name="connsiteY1251" fmla="*/ 1827066 h 2907193"/>
                <a:gd name="connsiteX1252" fmla="*/ 1756307 w 4044707"/>
                <a:gd name="connsiteY1252" fmla="*/ 1827066 h 2907193"/>
                <a:gd name="connsiteX1253" fmla="*/ 1758849 w 4044707"/>
                <a:gd name="connsiteY1253" fmla="*/ 1826400 h 2907193"/>
                <a:gd name="connsiteX1254" fmla="*/ 1764294 w 4044707"/>
                <a:gd name="connsiteY1254" fmla="*/ 1824010 h 2907193"/>
                <a:gd name="connsiteX1255" fmla="*/ 1767047 w 4044707"/>
                <a:gd name="connsiteY1255" fmla="*/ 1823556 h 2907193"/>
                <a:gd name="connsiteX1256" fmla="*/ 1768469 w 4044707"/>
                <a:gd name="connsiteY1256" fmla="*/ 1825099 h 2907193"/>
                <a:gd name="connsiteX1257" fmla="*/ 1769951 w 4044707"/>
                <a:gd name="connsiteY1257" fmla="*/ 1823677 h 2907193"/>
                <a:gd name="connsiteX1258" fmla="*/ 1775487 w 4044707"/>
                <a:gd name="connsiteY1258" fmla="*/ 1822135 h 2907193"/>
                <a:gd name="connsiteX1259" fmla="*/ 1768469 w 4044707"/>
                <a:gd name="connsiteY1259" fmla="*/ 1826400 h 2907193"/>
                <a:gd name="connsiteX1260" fmla="*/ 1770465 w 4044707"/>
                <a:gd name="connsiteY1260" fmla="*/ 1827882 h 2907193"/>
                <a:gd name="connsiteX1261" fmla="*/ 1777453 w 4044707"/>
                <a:gd name="connsiteY1261" fmla="*/ 1825099 h 2907193"/>
                <a:gd name="connsiteX1262" fmla="*/ 1797389 w 4044707"/>
                <a:gd name="connsiteY1262" fmla="*/ 1822951 h 2907193"/>
                <a:gd name="connsiteX1263" fmla="*/ 1802290 w 4044707"/>
                <a:gd name="connsiteY1263" fmla="*/ 1820834 h 2907193"/>
                <a:gd name="connsiteX1264" fmla="*/ 1805678 w 4044707"/>
                <a:gd name="connsiteY1264" fmla="*/ 1816296 h 2907193"/>
                <a:gd name="connsiteX1265" fmla="*/ 1805678 w 4044707"/>
                <a:gd name="connsiteY1265" fmla="*/ 1813301 h 2907193"/>
                <a:gd name="connsiteX1266" fmla="*/ 1805315 w 4044707"/>
                <a:gd name="connsiteY1266" fmla="*/ 1811486 h 2907193"/>
                <a:gd name="connsiteX1267" fmla="*/ 1804831 w 4044707"/>
                <a:gd name="connsiteY1267" fmla="*/ 1809913 h 2907193"/>
                <a:gd name="connsiteX1268" fmla="*/ 1804377 w 4044707"/>
                <a:gd name="connsiteY1268" fmla="*/ 1807705 h 2907193"/>
                <a:gd name="connsiteX1269" fmla="*/ 1804165 w 4044707"/>
                <a:gd name="connsiteY1269" fmla="*/ 1803318 h 2907193"/>
                <a:gd name="connsiteX1270" fmla="*/ 1803621 w 4044707"/>
                <a:gd name="connsiteY1270" fmla="*/ 1801382 h 2907193"/>
                <a:gd name="connsiteX1271" fmla="*/ 1802259 w 4044707"/>
                <a:gd name="connsiteY1271" fmla="*/ 1800565 h 2907193"/>
                <a:gd name="connsiteX1272" fmla="*/ 1802259 w 4044707"/>
                <a:gd name="connsiteY1272" fmla="*/ 1799144 h 2907193"/>
                <a:gd name="connsiteX1273" fmla="*/ 1802774 w 4044707"/>
                <a:gd name="connsiteY1273" fmla="*/ 1798448 h 2907193"/>
                <a:gd name="connsiteX1274" fmla="*/ 1803076 w 4044707"/>
                <a:gd name="connsiteY1274" fmla="*/ 1797782 h 2907193"/>
                <a:gd name="connsiteX1275" fmla="*/ 1803318 w 4044707"/>
                <a:gd name="connsiteY1275" fmla="*/ 1797056 h 2907193"/>
                <a:gd name="connsiteX1276" fmla="*/ 1803651 w 4044707"/>
                <a:gd name="connsiteY1276" fmla="*/ 1796270 h 2907193"/>
                <a:gd name="connsiteX1277" fmla="*/ 1801836 w 4044707"/>
                <a:gd name="connsiteY1277" fmla="*/ 1796875 h 2907193"/>
                <a:gd name="connsiteX1278" fmla="*/ 1800021 w 4044707"/>
                <a:gd name="connsiteY1278" fmla="*/ 1798327 h 2907193"/>
                <a:gd name="connsiteX1279" fmla="*/ 1798327 w 4044707"/>
                <a:gd name="connsiteY1279" fmla="*/ 1799083 h 2907193"/>
                <a:gd name="connsiteX1280" fmla="*/ 1796784 w 4044707"/>
                <a:gd name="connsiteY1280" fmla="*/ 1797571 h 2907193"/>
                <a:gd name="connsiteX1281" fmla="*/ 1791248 w 4044707"/>
                <a:gd name="connsiteY1281" fmla="*/ 1803651 h 2907193"/>
                <a:gd name="connsiteX1282" fmla="*/ 1790522 w 4044707"/>
                <a:gd name="connsiteY1282" fmla="*/ 1806283 h 2907193"/>
                <a:gd name="connsiteX1283" fmla="*/ 1792034 w 4044707"/>
                <a:gd name="connsiteY1283" fmla="*/ 1804891 h 2907193"/>
                <a:gd name="connsiteX1284" fmla="*/ 1793880 w 4044707"/>
                <a:gd name="connsiteY1284" fmla="*/ 1803832 h 2907193"/>
                <a:gd name="connsiteX1285" fmla="*/ 1795785 w 4044707"/>
                <a:gd name="connsiteY1285" fmla="*/ 1803681 h 2907193"/>
                <a:gd name="connsiteX1286" fmla="*/ 1797419 w 4044707"/>
                <a:gd name="connsiteY1286" fmla="*/ 1804861 h 2907193"/>
                <a:gd name="connsiteX1287" fmla="*/ 1774761 w 4044707"/>
                <a:gd name="connsiteY1287" fmla="*/ 1816296 h 2907193"/>
                <a:gd name="connsiteX1288" fmla="*/ 1755975 w 4044707"/>
                <a:gd name="connsiteY1288" fmla="*/ 1820047 h 2907193"/>
                <a:gd name="connsiteX1289" fmla="*/ 1749955 w 4044707"/>
                <a:gd name="connsiteY1289" fmla="*/ 1823556 h 2907193"/>
                <a:gd name="connsiteX1290" fmla="*/ 1752102 w 4044707"/>
                <a:gd name="connsiteY1290" fmla="*/ 1826007 h 2907193"/>
                <a:gd name="connsiteX1291" fmla="*/ 1754159 w 4044707"/>
                <a:gd name="connsiteY1291" fmla="*/ 1827066 h 2907193"/>
                <a:gd name="connsiteX1292" fmla="*/ 1909440 w 4044707"/>
                <a:gd name="connsiteY1292" fmla="*/ 1752526 h 2907193"/>
                <a:gd name="connsiteX1293" fmla="*/ 1910499 w 4044707"/>
                <a:gd name="connsiteY1293" fmla="*/ 1752526 h 2907193"/>
                <a:gd name="connsiteX1294" fmla="*/ 1911316 w 4044707"/>
                <a:gd name="connsiteY1294" fmla="*/ 1752677 h 2907193"/>
                <a:gd name="connsiteX1295" fmla="*/ 1911890 w 4044707"/>
                <a:gd name="connsiteY1295" fmla="*/ 1753252 h 2907193"/>
                <a:gd name="connsiteX1296" fmla="*/ 1911164 w 4044707"/>
                <a:gd name="connsiteY1296" fmla="*/ 1753978 h 2907193"/>
                <a:gd name="connsiteX1297" fmla="*/ 1909380 w 4044707"/>
                <a:gd name="connsiteY1297" fmla="*/ 1754734 h 2907193"/>
                <a:gd name="connsiteX1298" fmla="*/ 1909168 w 4044707"/>
                <a:gd name="connsiteY1298" fmla="*/ 1755612 h 2907193"/>
                <a:gd name="connsiteX1299" fmla="*/ 1910560 w 4044707"/>
                <a:gd name="connsiteY1299" fmla="*/ 1756126 h 2907193"/>
                <a:gd name="connsiteX1300" fmla="*/ 1911890 w 4044707"/>
                <a:gd name="connsiteY1300" fmla="*/ 1756943 h 2907193"/>
                <a:gd name="connsiteX1301" fmla="*/ 1913040 w 4044707"/>
                <a:gd name="connsiteY1301" fmla="*/ 1758123 h 2907193"/>
                <a:gd name="connsiteX1302" fmla="*/ 1914643 w 4044707"/>
                <a:gd name="connsiteY1302" fmla="*/ 1758032 h 2907193"/>
                <a:gd name="connsiteX1303" fmla="*/ 1916670 w 4044707"/>
                <a:gd name="connsiteY1303" fmla="*/ 1756852 h 2907193"/>
                <a:gd name="connsiteX1304" fmla="*/ 1918213 w 4044707"/>
                <a:gd name="connsiteY1304" fmla="*/ 1755097 h 2907193"/>
                <a:gd name="connsiteX1305" fmla="*/ 1917820 w 4044707"/>
                <a:gd name="connsiteY1305" fmla="*/ 1752859 h 2907193"/>
                <a:gd name="connsiteX1306" fmla="*/ 1916912 w 4044707"/>
                <a:gd name="connsiteY1306" fmla="*/ 1751709 h 2907193"/>
                <a:gd name="connsiteX1307" fmla="*/ 1915793 w 4044707"/>
                <a:gd name="connsiteY1307" fmla="*/ 1751498 h 2907193"/>
                <a:gd name="connsiteX1308" fmla="*/ 1915793 w 4044707"/>
                <a:gd name="connsiteY1308" fmla="*/ 1750862 h 2907193"/>
                <a:gd name="connsiteX1309" fmla="*/ 1915581 w 4044707"/>
                <a:gd name="connsiteY1309" fmla="*/ 1749683 h 2907193"/>
                <a:gd name="connsiteX1310" fmla="*/ 1914190 w 4044707"/>
                <a:gd name="connsiteY1310" fmla="*/ 1747928 h 2907193"/>
                <a:gd name="connsiteX1311" fmla="*/ 1912677 w 4044707"/>
                <a:gd name="connsiteY1311" fmla="*/ 1747172 h 2907193"/>
                <a:gd name="connsiteX1312" fmla="*/ 1911800 w 4044707"/>
                <a:gd name="connsiteY1312" fmla="*/ 1748351 h 2907193"/>
                <a:gd name="connsiteX1313" fmla="*/ 1911346 w 4044707"/>
                <a:gd name="connsiteY1313" fmla="*/ 1749471 h 2907193"/>
                <a:gd name="connsiteX1314" fmla="*/ 1908926 w 4044707"/>
                <a:gd name="connsiteY1314" fmla="*/ 1749471 h 2907193"/>
                <a:gd name="connsiteX1315" fmla="*/ 1908170 w 4044707"/>
                <a:gd name="connsiteY1315" fmla="*/ 1750529 h 2907193"/>
                <a:gd name="connsiteX1316" fmla="*/ 1908533 w 4044707"/>
                <a:gd name="connsiteY1316" fmla="*/ 1751982 h 2907193"/>
                <a:gd name="connsiteX1317" fmla="*/ 1909470 w 4044707"/>
                <a:gd name="connsiteY1317" fmla="*/ 1752617 h 2907193"/>
                <a:gd name="connsiteX1318" fmla="*/ 2059487 w 4044707"/>
                <a:gd name="connsiteY1318" fmla="*/ 1633245 h 2907193"/>
                <a:gd name="connsiteX1319" fmla="*/ 2059124 w 4044707"/>
                <a:gd name="connsiteY1319" fmla="*/ 1635151 h 2907193"/>
                <a:gd name="connsiteX1320" fmla="*/ 2059820 w 4044707"/>
                <a:gd name="connsiteY1320" fmla="*/ 1637147 h 2907193"/>
                <a:gd name="connsiteX1321" fmla="*/ 2063299 w 4044707"/>
                <a:gd name="connsiteY1321" fmla="*/ 1639658 h 2907193"/>
                <a:gd name="connsiteX1322" fmla="*/ 2066142 w 4044707"/>
                <a:gd name="connsiteY1322" fmla="*/ 1641140 h 2907193"/>
                <a:gd name="connsiteX1323" fmla="*/ 2068018 w 4044707"/>
                <a:gd name="connsiteY1323" fmla="*/ 1641897 h 2907193"/>
                <a:gd name="connsiteX1324" fmla="*/ 2068442 w 4044707"/>
                <a:gd name="connsiteY1324" fmla="*/ 1641624 h 2907193"/>
                <a:gd name="connsiteX1325" fmla="*/ 2068109 w 4044707"/>
                <a:gd name="connsiteY1325" fmla="*/ 1640838 h 2907193"/>
                <a:gd name="connsiteX1326" fmla="*/ 2068502 w 4044707"/>
                <a:gd name="connsiteY1326" fmla="*/ 1640293 h 2907193"/>
                <a:gd name="connsiteX1327" fmla="*/ 2071285 w 4044707"/>
                <a:gd name="connsiteY1327" fmla="*/ 1640021 h 2907193"/>
                <a:gd name="connsiteX1328" fmla="*/ 2072768 w 4044707"/>
                <a:gd name="connsiteY1328" fmla="*/ 1638962 h 2907193"/>
                <a:gd name="connsiteX1329" fmla="*/ 2072919 w 4044707"/>
                <a:gd name="connsiteY1329" fmla="*/ 1637389 h 2907193"/>
                <a:gd name="connsiteX1330" fmla="*/ 2072042 w 4044707"/>
                <a:gd name="connsiteY1330" fmla="*/ 1636088 h 2907193"/>
                <a:gd name="connsiteX1331" fmla="*/ 2071285 w 4044707"/>
                <a:gd name="connsiteY1331" fmla="*/ 1632125 h 2907193"/>
                <a:gd name="connsiteX1332" fmla="*/ 2070166 w 4044707"/>
                <a:gd name="connsiteY1332" fmla="*/ 1630976 h 2907193"/>
                <a:gd name="connsiteX1333" fmla="*/ 2069137 w 4044707"/>
                <a:gd name="connsiteY1333" fmla="*/ 1630492 h 2907193"/>
                <a:gd name="connsiteX1334" fmla="*/ 2064963 w 4044707"/>
                <a:gd name="connsiteY1334" fmla="*/ 1624593 h 2907193"/>
                <a:gd name="connsiteX1335" fmla="*/ 2063995 w 4044707"/>
                <a:gd name="connsiteY1335" fmla="*/ 1623897 h 2907193"/>
                <a:gd name="connsiteX1336" fmla="*/ 2063571 w 4044707"/>
                <a:gd name="connsiteY1336" fmla="*/ 1625137 h 2907193"/>
                <a:gd name="connsiteX1337" fmla="*/ 2063843 w 4044707"/>
                <a:gd name="connsiteY1337" fmla="*/ 1627134 h 2907193"/>
                <a:gd name="connsiteX1338" fmla="*/ 2061333 w 4044707"/>
                <a:gd name="connsiteY1338" fmla="*/ 1622082 h 2907193"/>
                <a:gd name="connsiteX1339" fmla="*/ 2060818 w 4044707"/>
                <a:gd name="connsiteY1339" fmla="*/ 1623534 h 2907193"/>
                <a:gd name="connsiteX1340" fmla="*/ 2061545 w 4044707"/>
                <a:gd name="connsiteY1340" fmla="*/ 1628737 h 2907193"/>
                <a:gd name="connsiteX1341" fmla="*/ 2061545 w 4044707"/>
                <a:gd name="connsiteY1341" fmla="*/ 1631460 h 2907193"/>
                <a:gd name="connsiteX1342" fmla="*/ 2060122 w 4044707"/>
                <a:gd name="connsiteY1342" fmla="*/ 1632246 h 2907193"/>
                <a:gd name="connsiteX1343" fmla="*/ 2059487 w 4044707"/>
                <a:gd name="connsiteY1343" fmla="*/ 1633275 h 2907193"/>
                <a:gd name="connsiteX1344" fmla="*/ 2038735 w 4044707"/>
                <a:gd name="connsiteY1344" fmla="*/ 1635695 h 2907193"/>
                <a:gd name="connsiteX1345" fmla="*/ 2037434 w 4044707"/>
                <a:gd name="connsiteY1345" fmla="*/ 1639023 h 2907193"/>
                <a:gd name="connsiteX1346" fmla="*/ 2042637 w 4044707"/>
                <a:gd name="connsiteY1346" fmla="*/ 1649429 h 2907193"/>
                <a:gd name="connsiteX1347" fmla="*/ 2049353 w 4044707"/>
                <a:gd name="connsiteY1347" fmla="*/ 1647765 h 2907193"/>
                <a:gd name="connsiteX1348" fmla="*/ 2053074 w 4044707"/>
                <a:gd name="connsiteY1348" fmla="*/ 1648189 h 2907193"/>
                <a:gd name="connsiteX1349" fmla="*/ 2054708 w 4044707"/>
                <a:gd name="connsiteY1349" fmla="*/ 1651698 h 2907193"/>
                <a:gd name="connsiteX1350" fmla="*/ 2056280 w 4044707"/>
                <a:gd name="connsiteY1350" fmla="*/ 1653604 h 2907193"/>
                <a:gd name="connsiteX1351" fmla="*/ 2063904 w 4044707"/>
                <a:gd name="connsiteY1351" fmla="*/ 1654723 h 2907193"/>
                <a:gd name="connsiteX1352" fmla="*/ 2066445 w 4044707"/>
                <a:gd name="connsiteY1352" fmla="*/ 1656871 h 2907193"/>
                <a:gd name="connsiteX1353" fmla="*/ 2067837 w 4044707"/>
                <a:gd name="connsiteY1353" fmla="*/ 1651698 h 2907193"/>
                <a:gd name="connsiteX1354" fmla="*/ 2068684 w 4044707"/>
                <a:gd name="connsiteY1354" fmla="*/ 1649520 h 2907193"/>
                <a:gd name="connsiteX1355" fmla="*/ 2069924 w 4044707"/>
                <a:gd name="connsiteY1355" fmla="*/ 1647765 h 2907193"/>
                <a:gd name="connsiteX1356" fmla="*/ 2067322 w 4044707"/>
                <a:gd name="connsiteY1356" fmla="*/ 1642441 h 2907193"/>
                <a:gd name="connsiteX1357" fmla="*/ 2055917 w 4044707"/>
                <a:gd name="connsiteY1357" fmla="*/ 1642350 h 2907193"/>
                <a:gd name="connsiteX1358" fmla="*/ 2053316 w 4044707"/>
                <a:gd name="connsiteY1358" fmla="*/ 1638297 h 2907193"/>
                <a:gd name="connsiteX1359" fmla="*/ 2051592 w 4044707"/>
                <a:gd name="connsiteY1359" fmla="*/ 1631127 h 2907193"/>
                <a:gd name="connsiteX1360" fmla="*/ 2047568 w 4044707"/>
                <a:gd name="connsiteY1360" fmla="*/ 1627013 h 2907193"/>
                <a:gd name="connsiteX1361" fmla="*/ 2038826 w 4044707"/>
                <a:gd name="connsiteY1361" fmla="*/ 1622747 h 2907193"/>
                <a:gd name="connsiteX1362" fmla="*/ 2035165 w 4044707"/>
                <a:gd name="connsiteY1362" fmla="*/ 1619450 h 2907193"/>
                <a:gd name="connsiteX1363" fmla="*/ 2033138 w 4044707"/>
                <a:gd name="connsiteY1363" fmla="*/ 1618210 h 2907193"/>
                <a:gd name="connsiteX1364" fmla="*/ 2031202 w 4044707"/>
                <a:gd name="connsiteY1364" fmla="*/ 1618331 h 2907193"/>
                <a:gd name="connsiteX1365" fmla="*/ 2029932 w 4044707"/>
                <a:gd name="connsiteY1365" fmla="*/ 1619934 h 2907193"/>
                <a:gd name="connsiteX1366" fmla="*/ 2028812 w 4044707"/>
                <a:gd name="connsiteY1366" fmla="*/ 1622869 h 2907193"/>
                <a:gd name="connsiteX1367" fmla="*/ 2028268 w 4044707"/>
                <a:gd name="connsiteY1367" fmla="*/ 1626287 h 2907193"/>
                <a:gd name="connsiteX1368" fmla="*/ 2028843 w 4044707"/>
                <a:gd name="connsiteY1368" fmla="*/ 1629433 h 2907193"/>
                <a:gd name="connsiteX1369" fmla="*/ 2032957 w 4044707"/>
                <a:gd name="connsiteY1369" fmla="*/ 1631944 h 2907193"/>
                <a:gd name="connsiteX1370" fmla="*/ 2043787 w 4044707"/>
                <a:gd name="connsiteY1370" fmla="*/ 1630371 h 2907193"/>
                <a:gd name="connsiteX1371" fmla="*/ 2047115 w 4044707"/>
                <a:gd name="connsiteY1371" fmla="*/ 1635998 h 2907193"/>
                <a:gd name="connsiteX1372" fmla="*/ 2041578 w 4044707"/>
                <a:gd name="connsiteY1372" fmla="*/ 1635030 h 2907193"/>
                <a:gd name="connsiteX1373" fmla="*/ 2038735 w 4044707"/>
                <a:gd name="connsiteY1373" fmla="*/ 1635635 h 2907193"/>
                <a:gd name="connsiteX1374" fmla="*/ 2055071 w 4044707"/>
                <a:gd name="connsiteY1374" fmla="*/ 1609618 h 2907193"/>
                <a:gd name="connsiteX1375" fmla="*/ 2043151 w 4044707"/>
                <a:gd name="connsiteY1375" fmla="*/ 1613581 h 2907193"/>
                <a:gd name="connsiteX1376" fmla="*/ 2042002 w 4044707"/>
                <a:gd name="connsiteY1376" fmla="*/ 1614670 h 2907193"/>
                <a:gd name="connsiteX1377" fmla="*/ 2041699 w 4044707"/>
                <a:gd name="connsiteY1377" fmla="*/ 1615759 h 2907193"/>
                <a:gd name="connsiteX1378" fmla="*/ 2041367 w 4044707"/>
                <a:gd name="connsiteY1378" fmla="*/ 1616637 h 2907193"/>
                <a:gd name="connsiteX1379" fmla="*/ 2042758 w 4044707"/>
                <a:gd name="connsiteY1379" fmla="*/ 1617121 h 2907193"/>
                <a:gd name="connsiteX1380" fmla="*/ 2042758 w 4044707"/>
                <a:gd name="connsiteY1380" fmla="*/ 1617998 h 2907193"/>
                <a:gd name="connsiteX1381" fmla="*/ 2041578 w 4044707"/>
                <a:gd name="connsiteY1381" fmla="*/ 1619934 h 2907193"/>
                <a:gd name="connsiteX1382" fmla="*/ 2041881 w 4044707"/>
                <a:gd name="connsiteY1382" fmla="*/ 1621507 h 2907193"/>
                <a:gd name="connsiteX1383" fmla="*/ 2046661 w 4044707"/>
                <a:gd name="connsiteY1383" fmla="*/ 1622354 h 2907193"/>
                <a:gd name="connsiteX1384" fmla="*/ 2047568 w 4044707"/>
                <a:gd name="connsiteY1384" fmla="*/ 1622203 h 2907193"/>
                <a:gd name="connsiteX1385" fmla="*/ 2047750 w 4044707"/>
                <a:gd name="connsiteY1385" fmla="*/ 1621719 h 2907193"/>
                <a:gd name="connsiteX1386" fmla="*/ 2048294 w 4044707"/>
                <a:gd name="connsiteY1386" fmla="*/ 1621144 h 2907193"/>
                <a:gd name="connsiteX1387" fmla="*/ 2049171 w 4044707"/>
                <a:gd name="connsiteY1387" fmla="*/ 1621084 h 2907193"/>
                <a:gd name="connsiteX1388" fmla="*/ 2050140 w 4044707"/>
                <a:gd name="connsiteY1388" fmla="*/ 1622294 h 2907193"/>
                <a:gd name="connsiteX1389" fmla="*/ 2051168 w 4044707"/>
                <a:gd name="connsiteY1389" fmla="*/ 1624714 h 2907193"/>
                <a:gd name="connsiteX1390" fmla="*/ 2052620 w 4044707"/>
                <a:gd name="connsiteY1390" fmla="*/ 1627043 h 2907193"/>
                <a:gd name="connsiteX1391" fmla="*/ 2054435 w 4044707"/>
                <a:gd name="connsiteY1391" fmla="*/ 1628828 h 2907193"/>
                <a:gd name="connsiteX1392" fmla="*/ 2055888 w 4044707"/>
                <a:gd name="connsiteY1392" fmla="*/ 1629645 h 2907193"/>
                <a:gd name="connsiteX1393" fmla="*/ 2056795 w 4044707"/>
                <a:gd name="connsiteY1393" fmla="*/ 1628858 h 2907193"/>
                <a:gd name="connsiteX1394" fmla="*/ 2057279 w 4044707"/>
                <a:gd name="connsiteY1394" fmla="*/ 1627527 h 2907193"/>
                <a:gd name="connsiteX1395" fmla="*/ 2057581 w 4044707"/>
                <a:gd name="connsiteY1395" fmla="*/ 1626589 h 2907193"/>
                <a:gd name="connsiteX1396" fmla="*/ 2058126 w 4044707"/>
                <a:gd name="connsiteY1396" fmla="*/ 1625984 h 2907193"/>
                <a:gd name="connsiteX1397" fmla="*/ 2058701 w 4044707"/>
                <a:gd name="connsiteY1397" fmla="*/ 1625168 h 2907193"/>
                <a:gd name="connsiteX1398" fmla="*/ 2058913 w 4044707"/>
                <a:gd name="connsiteY1398" fmla="*/ 1624563 h 2907193"/>
                <a:gd name="connsiteX1399" fmla="*/ 2058852 w 4044707"/>
                <a:gd name="connsiteY1399" fmla="*/ 1623383 h 2907193"/>
                <a:gd name="connsiteX1400" fmla="*/ 2059094 w 4044707"/>
                <a:gd name="connsiteY1400" fmla="*/ 1621144 h 2907193"/>
                <a:gd name="connsiteX1401" fmla="*/ 2059790 w 4044707"/>
                <a:gd name="connsiteY1401" fmla="*/ 1618422 h 2907193"/>
                <a:gd name="connsiteX1402" fmla="*/ 2060304 w 4044707"/>
                <a:gd name="connsiteY1402" fmla="*/ 1615033 h 2907193"/>
                <a:gd name="connsiteX1403" fmla="*/ 2058973 w 4044707"/>
                <a:gd name="connsiteY1403" fmla="*/ 1612795 h 2907193"/>
                <a:gd name="connsiteX1404" fmla="*/ 2056341 w 4044707"/>
                <a:gd name="connsiteY1404" fmla="*/ 1612129 h 2907193"/>
                <a:gd name="connsiteX1405" fmla="*/ 2056341 w 4044707"/>
                <a:gd name="connsiteY1405" fmla="*/ 1610193 h 2907193"/>
                <a:gd name="connsiteX1406" fmla="*/ 2055101 w 4044707"/>
                <a:gd name="connsiteY1406" fmla="*/ 1609679 h 2907193"/>
                <a:gd name="connsiteX1407" fmla="*/ 2033441 w 4044707"/>
                <a:gd name="connsiteY1407" fmla="*/ 1553441 h 2907193"/>
                <a:gd name="connsiteX1408" fmla="*/ 2007062 w 4044707"/>
                <a:gd name="connsiteY1408" fmla="*/ 1573680 h 2907193"/>
                <a:gd name="connsiteX1409" fmla="*/ 2007062 w 4044707"/>
                <a:gd name="connsiteY1409" fmla="*/ 1575313 h 2907193"/>
                <a:gd name="connsiteX1410" fmla="*/ 2009391 w 4044707"/>
                <a:gd name="connsiteY1410" fmla="*/ 1575495 h 2907193"/>
                <a:gd name="connsiteX1411" fmla="*/ 2012325 w 4044707"/>
                <a:gd name="connsiteY1411" fmla="*/ 1574980 h 2907193"/>
                <a:gd name="connsiteX1412" fmla="*/ 2015108 w 4044707"/>
                <a:gd name="connsiteY1412" fmla="*/ 1573710 h 2907193"/>
                <a:gd name="connsiteX1413" fmla="*/ 2018466 w 4044707"/>
                <a:gd name="connsiteY1413" fmla="*/ 1569929 h 2907193"/>
                <a:gd name="connsiteX1414" fmla="*/ 2025031 w 4044707"/>
                <a:gd name="connsiteY1414" fmla="*/ 1564755 h 2907193"/>
                <a:gd name="connsiteX1415" fmla="*/ 2032654 w 4044707"/>
                <a:gd name="connsiteY1415" fmla="*/ 1564755 h 2907193"/>
                <a:gd name="connsiteX1416" fmla="*/ 2033622 w 4044707"/>
                <a:gd name="connsiteY1416" fmla="*/ 1564090 h 2907193"/>
                <a:gd name="connsiteX1417" fmla="*/ 2033713 w 4044707"/>
                <a:gd name="connsiteY1417" fmla="*/ 1566692 h 2907193"/>
                <a:gd name="connsiteX1418" fmla="*/ 2032533 w 4044707"/>
                <a:gd name="connsiteY1418" fmla="*/ 1569868 h 2907193"/>
                <a:gd name="connsiteX1419" fmla="*/ 2030748 w 4044707"/>
                <a:gd name="connsiteY1419" fmla="*/ 1572560 h 2907193"/>
                <a:gd name="connsiteX1420" fmla="*/ 2029115 w 4044707"/>
                <a:gd name="connsiteY1420" fmla="*/ 1573680 h 2907193"/>
                <a:gd name="connsiteX1421" fmla="*/ 2029115 w 4044707"/>
                <a:gd name="connsiteY1421" fmla="*/ 1575313 h 2907193"/>
                <a:gd name="connsiteX1422" fmla="*/ 2030174 w 4044707"/>
                <a:gd name="connsiteY1422" fmla="*/ 1574617 h 2907193"/>
                <a:gd name="connsiteX1423" fmla="*/ 2031263 w 4044707"/>
                <a:gd name="connsiteY1423" fmla="*/ 1574285 h 2907193"/>
                <a:gd name="connsiteX1424" fmla="*/ 2032322 w 4044707"/>
                <a:gd name="connsiteY1424" fmla="*/ 1574466 h 2907193"/>
                <a:gd name="connsiteX1425" fmla="*/ 2033320 w 4044707"/>
                <a:gd name="connsiteY1425" fmla="*/ 1575313 h 2907193"/>
                <a:gd name="connsiteX1426" fmla="*/ 2033048 w 4044707"/>
                <a:gd name="connsiteY1426" fmla="*/ 1576190 h 2907193"/>
                <a:gd name="connsiteX1427" fmla="*/ 2032624 w 4044707"/>
                <a:gd name="connsiteY1427" fmla="*/ 1578429 h 2907193"/>
                <a:gd name="connsiteX1428" fmla="*/ 2037797 w 4044707"/>
                <a:gd name="connsiteY1428" fmla="*/ 1577764 h 2907193"/>
                <a:gd name="connsiteX1429" fmla="*/ 2042244 w 4044707"/>
                <a:gd name="connsiteY1429" fmla="*/ 1575646 h 2907193"/>
                <a:gd name="connsiteX1430" fmla="*/ 2046358 w 4044707"/>
                <a:gd name="connsiteY1430" fmla="*/ 1571895 h 2907193"/>
                <a:gd name="connsiteX1431" fmla="*/ 2050563 w 4044707"/>
                <a:gd name="connsiteY1431" fmla="*/ 1566389 h 2907193"/>
                <a:gd name="connsiteX1432" fmla="*/ 2050896 w 4044707"/>
                <a:gd name="connsiteY1432" fmla="*/ 1566177 h 2907193"/>
                <a:gd name="connsiteX1433" fmla="*/ 2051168 w 4044707"/>
                <a:gd name="connsiteY1433" fmla="*/ 1566177 h 2907193"/>
                <a:gd name="connsiteX1434" fmla="*/ 2051289 w 4044707"/>
                <a:gd name="connsiteY1434" fmla="*/ 1565814 h 2907193"/>
                <a:gd name="connsiteX1435" fmla="*/ 2051229 w 4044707"/>
                <a:gd name="connsiteY1435" fmla="*/ 1564786 h 2907193"/>
                <a:gd name="connsiteX1436" fmla="*/ 2045300 w 4044707"/>
                <a:gd name="connsiteY1436" fmla="*/ 1562456 h 2907193"/>
                <a:gd name="connsiteX1437" fmla="*/ 2044362 w 4044707"/>
                <a:gd name="connsiteY1437" fmla="*/ 1561125 h 2907193"/>
                <a:gd name="connsiteX1438" fmla="*/ 2043877 w 4044707"/>
                <a:gd name="connsiteY1438" fmla="*/ 1559219 h 2907193"/>
                <a:gd name="connsiteX1439" fmla="*/ 2042698 w 4044707"/>
                <a:gd name="connsiteY1439" fmla="*/ 1557525 h 2907193"/>
                <a:gd name="connsiteX1440" fmla="*/ 2041336 w 4044707"/>
                <a:gd name="connsiteY1440" fmla="*/ 1556315 h 2907193"/>
                <a:gd name="connsiteX1441" fmla="*/ 2038705 w 4044707"/>
                <a:gd name="connsiteY1441" fmla="*/ 1555377 h 2907193"/>
                <a:gd name="connsiteX1442" fmla="*/ 2036224 w 4044707"/>
                <a:gd name="connsiteY1442" fmla="*/ 1553320 h 2907193"/>
                <a:gd name="connsiteX1443" fmla="*/ 2034712 w 4044707"/>
                <a:gd name="connsiteY1443" fmla="*/ 1552867 h 2907193"/>
                <a:gd name="connsiteX1444" fmla="*/ 2033471 w 4044707"/>
                <a:gd name="connsiteY1444" fmla="*/ 1553441 h 2907193"/>
                <a:gd name="connsiteX1445" fmla="*/ 1998531 w 4044707"/>
                <a:gd name="connsiteY1445" fmla="*/ 1573196 h 2907193"/>
                <a:gd name="connsiteX1446" fmla="*/ 1998107 w 4044707"/>
                <a:gd name="connsiteY1446" fmla="*/ 1575313 h 2907193"/>
                <a:gd name="connsiteX1447" fmla="*/ 2006033 w 4044707"/>
                <a:gd name="connsiteY1447" fmla="*/ 1571290 h 2907193"/>
                <a:gd name="connsiteX1448" fmla="*/ 2008483 w 4044707"/>
                <a:gd name="connsiteY1448" fmla="*/ 1569354 h 2907193"/>
                <a:gd name="connsiteX1449" fmla="*/ 2014292 w 4044707"/>
                <a:gd name="connsiteY1449" fmla="*/ 1562608 h 2907193"/>
                <a:gd name="connsiteX1450" fmla="*/ 2020947 w 4044707"/>
                <a:gd name="connsiteY1450" fmla="*/ 1560339 h 2907193"/>
                <a:gd name="connsiteX1451" fmla="*/ 2035044 w 4044707"/>
                <a:gd name="connsiteY1451" fmla="*/ 1549630 h 2907193"/>
                <a:gd name="connsiteX1452" fmla="*/ 2035377 w 4044707"/>
                <a:gd name="connsiteY1452" fmla="*/ 1549509 h 2907193"/>
                <a:gd name="connsiteX1453" fmla="*/ 2035679 w 4044707"/>
                <a:gd name="connsiteY1453" fmla="*/ 1549206 h 2907193"/>
                <a:gd name="connsiteX1454" fmla="*/ 2036012 w 4044707"/>
                <a:gd name="connsiteY1454" fmla="*/ 1548450 h 2907193"/>
                <a:gd name="connsiteX1455" fmla="*/ 2033743 w 4044707"/>
                <a:gd name="connsiteY1455" fmla="*/ 1546060 h 2907193"/>
                <a:gd name="connsiteX1456" fmla="*/ 2030416 w 4044707"/>
                <a:gd name="connsiteY1456" fmla="*/ 1544638 h 2907193"/>
                <a:gd name="connsiteX1457" fmla="*/ 2027814 w 4044707"/>
                <a:gd name="connsiteY1457" fmla="*/ 1545122 h 2907193"/>
                <a:gd name="connsiteX1458" fmla="*/ 2027723 w 4044707"/>
                <a:gd name="connsiteY1458" fmla="*/ 1548450 h 2907193"/>
                <a:gd name="connsiteX1459" fmla="*/ 2020765 w 4044707"/>
                <a:gd name="connsiteY1459" fmla="*/ 1551838 h 2907193"/>
                <a:gd name="connsiteX1460" fmla="*/ 2016863 w 4044707"/>
                <a:gd name="connsiteY1460" fmla="*/ 1555256 h 2907193"/>
                <a:gd name="connsiteX1461" fmla="*/ 2011569 w 4044707"/>
                <a:gd name="connsiteY1461" fmla="*/ 1558342 h 2907193"/>
                <a:gd name="connsiteX1462" fmla="*/ 2009542 w 4044707"/>
                <a:gd name="connsiteY1462" fmla="*/ 1558887 h 2907193"/>
                <a:gd name="connsiteX1463" fmla="*/ 2002736 w 4044707"/>
                <a:gd name="connsiteY1463" fmla="*/ 1559129 h 2907193"/>
                <a:gd name="connsiteX1464" fmla="*/ 2000890 w 4044707"/>
                <a:gd name="connsiteY1464" fmla="*/ 1560369 h 2907193"/>
                <a:gd name="connsiteX1465" fmla="*/ 1999347 w 4044707"/>
                <a:gd name="connsiteY1465" fmla="*/ 1563515 h 2907193"/>
                <a:gd name="connsiteX1466" fmla="*/ 1998440 w 4044707"/>
                <a:gd name="connsiteY1466" fmla="*/ 1567176 h 2907193"/>
                <a:gd name="connsiteX1467" fmla="*/ 1997351 w 4044707"/>
                <a:gd name="connsiteY1467" fmla="*/ 1570412 h 2907193"/>
                <a:gd name="connsiteX1468" fmla="*/ 1995385 w 4044707"/>
                <a:gd name="connsiteY1468" fmla="*/ 1572258 h 2907193"/>
                <a:gd name="connsiteX1469" fmla="*/ 1998803 w 4044707"/>
                <a:gd name="connsiteY1469" fmla="*/ 1572258 h 2907193"/>
                <a:gd name="connsiteX1470" fmla="*/ 1998531 w 4044707"/>
                <a:gd name="connsiteY1470" fmla="*/ 1573105 h 2907193"/>
                <a:gd name="connsiteX1471" fmla="*/ 2082811 w 4044707"/>
                <a:gd name="connsiteY1471" fmla="*/ 1533294 h 2907193"/>
                <a:gd name="connsiteX1472" fmla="*/ 2085201 w 4044707"/>
                <a:gd name="connsiteY1472" fmla="*/ 1532054 h 2907193"/>
                <a:gd name="connsiteX1473" fmla="*/ 2087561 w 4044707"/>
                <a:gd name="connsiteY1473" fmla="*/ 1529876 h 2907193"/>
                <a:gd name="connsiteX1474" fmla="*/ 2089860 w 4044707"/>
                <a:gd name="connsiteY1474" fmla="*/ 1528333 h 2907193"/>
                <a:gd name="connsiteX1475" fmla="*/ 2090677 w 4044707"/>
                <a:gd name="connsiteY1475" fmla="*/ 1528423 h 2907193"/>
                <a:gd name="connsiteX1476" fmla="*/ 2090102 w 4044707"/>
                <a:gd name="connsiteY1476" fmla="*/ 1529452 h 2907193"/>
                <a:gd name="connsiteX1477" fmla="*/ 2090102 w 4044707"/>
                <a:gd name="connsiteY1477" fmla="*/ 1529997 h 2907193"/>
                <a:gd name="connsiteX1478" fmla="*/ 2090253 w 4044707"/>
                <a:gd name="connsiteY1478" fmla="*/ 1531328 h 2907193"/>
                <a:gd name="connsiteX1479" fmla="*/ 2090071 w 4044707"/>
                <a:gd name="connsiteY1479" fmla="*/ 1532598 h 2907193"/>
                <a:gd name="connsiteX1480" fmla="*/ 2090616 w 4044707"/>
                <a:gd name="connsiteY1480" fmla="*/ 1533324 h 2907193"/>
                <a:gd name="connsiteX1481" fmla="*/ 2091826 w 4044707"/>
                <a:gd name="connsiteY1481" fmla="*/ 1532780 h 2907193"/>
                <a:gd name="connsiteX1482" fmla="*/ 2093338 w 4044707"/>
                <a:gd name="connsiteY1482" fmla="*/ 1531539 h 2907193"/>
                <a:gd name="connsiteX1483" fmla="*/ 2094761 w 4044707"/>
                <a:gd name="connsiteY1483" fmla="*/ 1530027 h 2907193"/>
                <a:gd name="connsiteX1484" fmla="*/ 2095002 w 4044707"/>
                <a:gd name="connsiteY1484" fmla="*/ 1528423 h 2907193"/>
                <a:gd name="connsiteX1485" fmla="*/ 2093732 w 4044707"/>
                <a:gd name="connsiteY1485" fmla="*/ 1527576 h 2907193"/>
                <a:gd name="connsiteX1486" fmla="*/ 2092249 w 4044707"/>
                <a:gd name="connsiteY1486" fmla="*/ 1527576 h 2907193"/>
                <a:gd name="connsiteX1487" fmla="*/ 2092249 w 4044707"/>
                <a:gd name="connsiteY1487" fmla="*/ 1526881 h 2907193"/>
                <a:gd name="connsiteX1488" fmla="*/ 2093792 w 4044707"/>
                <a:gd name="connsiteY1488" fmla="*/ 1525701 h 2907193"/>
                <a:gd name="connsiteX1489" fmla="*/ 2095880 w 4044707"/>
                <a:gd name="connsiteY1489" fmla="*/ 1524703 h 2907193"/>
                <a:gd name="connsiteX1490" fmla="*/ 2099480 w 4044707"/>
                <a:gd name="connsiteY1490" fmla="*/ 1521738 h 2907193"/>
                <a:gd name="connsiteX1491" fmla="*/ 2101476 w 4044707"/>
                <a:gd name="connsiteY1491" fmla="*/ 1520195 h 2907193"/>
                <a:gd name="connsiteX1492" fmla="*/ 2102656 w 4044707"/>
                <a:gd name="connsiteY1492" fmla="*/ 1518441 h 2907193"/>
                <a:gd name="connsiteX1493" fmla="*/ 2102656 w 4044707"/>
                <a:gd name="connsiteY1493" fmla="*/ 1516595 h 2907193"/>
                <a:gd name="connsiteX1494" fmla="*/ 2101083 w 4044707"/>
                <a:gd name="connsiteY1494" fmla="*/ 1516383 h 2907193"/>
                <a:gd name="connsiteX1495" fmla="*/ 2099207 w 4044707"/>
                <a:gd name="connsiteY1495" fmla="*/ 1517261 h 2907193"/>
                <a:gd name="connsiteX1496" fmla="*/ 2098209 w 4044707"/>
                <a:gd name="connsiteY1496" fmla="*/ 1518017 h 2907193"/>
                <a:gd name="connsiteX1497" fmla="*/ 2098028 w 4044707"/>
                <a:gd name="connsiteY1497" fmla="*/ 1518713 h 2907193"/>
                <a:gd name="connsiteX1498" fmla="*/ 2097483 w 4044707"/>
                <a:gd name="connsiteY1498" fmla="*/ 1519167 h 2907193"/>
                <a:gd name="connsiteX1499" fmla="*/ 2096787 w 4044707"/>
                <a:gd name="connsiteY1499" fmla="*/ 1518773 h 2907193"/>
                <a:gd name="connsiteX1500" fmla="*/ 2095638 w 4044707"/>
                <a:gd name="connsiteY1500" fmla="*/ 1517563 h 2907193"/>
                <a:gd name="connsiteX1501" fmla="*/ 2093792 w 4044707"/>
                <a:gd name="connsiteY1501" fmla="*/ 1516656 h 2907193"/>
                <a:gd name="connsiteX1502" fmla="*/ 2091040 w 4044707"/>
                <a:gd name="connsiteY1502" fmla="*/ 1516565 h 2907193"/>
                <a:gd name="connsiteX1503" fmla="*/ 2082841 w 4044707"/>
                <a:gd name="connsiteY1503" fmla="*/ 1518471 h 2907193"/>
                <a:gd name="connsiteX1504" fmla="*/ 2081359 w 4044707"/>
                <a:gd name="connsiteY1504" fmla="*/ 1519741 h 2907193"/>
                <a:gd name="connsiteX1505" fmla="*/ 2080240 w 4044707"/>
                <a:gd name="connsiteY1505" fmla="*/ 1521405 h 2907193"/>
                <a:gd name="connsiteX1506" fmla="*/ 2078848 w 4044707"/>
                <a:gd name="connsiteY1506" fmla="*/ 1522403 h 2907193"/>
                <a:gd name="connsiteX1507" fmla="*/ 2077850 w 4044707"/>
                <a:gd name="connsiteY1507" fmla="*/ 1523825 h 2907193"/>
                <a:gd name="connsiteX1508" fmla="*/ 2077638 w 4044707"/>
                <a:gd name="connsiteY1508" fmla="*/ 1525973 h 2907193"/>
                <a:gd name="connsiteX1509" fmla="*/ 2077275 w 4044707"/>
                <a:gd name="connsiteY1509" fmla="*/ 1528182 h 2907193"/>
                <a:gd name="connsiteX1510" fmla="*/ 2077578 w 4044707"/>
                <a:gd name="connsiteY1510" fmla="*/ 1528545 h 2907193"/>
                <a:gd name="connsiteX1511" fmla="*/ 2077427 w 4044707"/>
                <a:gd name="connsiteY1511" fmla="*/ 1528938 h 2907193"/>
                <a:gd name="connsiteX1512" fmla="*/ 2076670 w 4044707"/>
                <a:gd name="connsiteY1512" fmla="*/ 1529634 h 2907193"/>
                <a:gd name="connsiteX1513" fmla="*/ 2076670 w 4044707"/>
                <a:gd name="connsiteY1513" fmla="*/ 1530541 h 2907193"/>
                <a:gd name="connsiteX1514" fmla="*/ 2080633 w 4044707"/>
                <a:gd name="connsiteY1514" fmla="*/ 1533294 h 2907193"/>
                <a:gd name="connsiteX1515" fmla="*/ 2082750 w 4044707"/>
                <a:gd name="connsiteY1515" fmla="*/ 1533173 h 2907193"/>
                <a:gd name="connsiteX1516" fmla="*/ 2124467 w 4044707"/>
                <a:gd name="connsiteY1516" fmla="*/ 1523614 h 2907193"/>
                <a:gd name="connsiteX1517" fmla="*/ 2122985 w 4044707"/>
                <a:gd name="connsiteY1517" fmla="*/ 1524461 h 2907193"/>
                <a:gd name="connsiteX1518" fmla="*/ 2125102 w 4044707"/>
                <a:gd name="connsiteY1518" fmla="*/ 1526155 h 2907193"/>
                <a:gd name="connsiteX1519" fmla="*/ 2129913 w 4044707"/>
                <a:gd name="connsiteY1519" fmla="*/ 1527395 h 2907193"/>
                <a:gd name="connsiteX1520" fmla="*/ 2132242 w 4044707"/>
                <a:gd name="connsiteY1520" fmla="*/ 1527455 h 2907193"/>
                <a:gd name="connsiteX1521" fmla="*/ 2134329 w 4044707"/>
                <a:gd name="connsiteY1521" fmla="*/ 1528030 h 2907193"/>
                <a:gd name="connsiteX1522" fmla="*/ 2138474 w 4044707"/>
                <a:gd name="connsiteY1522" fmla="*/ 1530269 h 2907193"/>
                <a:gd name="connsiteX1523" fmla="*/ 2140864 w 4044707"/>
                <a:gd name="connsiteY1523" fmla="*/ 1530481 h 2907193"/>
                <a:gd name="connsiteX1524" fmla="*/ 2148396 w 4044707"/>
                <a:gd name="connsiteY1524" fmla="*/ 1527607 h 2907193"/>
                <a:gd name="connsiteX1525" fmla="*/ 2152329 w 4044707"/>
                <a:gd name="connsiteY1525" fmla="*/ 1524914 h 2907193"/>
                <a:gd name="connsiteX1526" fmla="*/ 2155354 w 4044707"/>
                <a:gd name="connsiteY1526" fmla="*/ 1521435 h 2907193"/>
                <a:gd name="connsiteX1527" fmla="*/ 2156231 w 4044707"/>
                <a:gd name="connsiteY1527" fmla="*/ 1518350 h 2907193"/>
                <a:gd name="connsiteX1528" fmla="*/ 2153751 w 4044707"/>
                <a:gd name="connsiteY1528" fmla="*/ 1517049 h 2907193"/>
                <a:gd name="connsiteX1529" fmla="*/ 2150181 w 4044707"/>
                <a:gd name="connsiteY1529" fmla="*/ 1516444 h 2907193"/>
                <a:gd name="connsiteX1530" fmla="*/ 2147731 w 4044707"/>
                <a:gd name="connsiteY1530" fmla="*/ 1515446 h 2907193"/>
                <a:gd name="connsiteX1531" fmla="*/ 2151119 w 4044707"/>
                <a:gd name="connsiteY1531" fmla="*/ 1510152 h 2907193"/>
                <a:gd name="connsiteX1532" fmla="*/ 2152450 w 4044707"/>
                <a:gd name="connsiteY1532" fmla="*/ 1506461 h 2907193"/>
                <a:gd name="connsiteX1533" fmla="*/ 2149364 w 4044707"/>
                <a:gd name="connsiteY1533" fmla="*/ 1503375 h 2907193"/>
                <a:gd name="connsiteX1534" fmla="*/ 2146037 w 4044707"/>
                <a:gd name="connsiteY1534" fmla="*/ 1497083 h 2907193"/>
                <a:gd name="connsiteX1535" fmla="*/ 2144312 w 4044707"/>
                <a:gd name="connsiteY1535" fmla="*/ 1495631 h 2907193"/>
                <a:gd name="connsiteX1536" fmla="*/ 2141922 w 4044707"/>
                <a:gd name="connsiteY1536" fmla="*/ 1496236 h 2907193"/>
                <a:gd name="connsiteX1537" fmla="*/ 2139169 w 4044707"/>
                <a:gd name="connsiteY1537" fmla="*/ 1497870 h 2907193"/>
                <a:gd name="connsiteX1538" fmla="*/ 2136568 w 4044707"/>
                <a:gd name="connsiteY1538" fmla="*/ 1500350 h 2907193"/>
                <a:gd name="connsiteX1539" fmla="*/ 2134662 w 4044707"/>
                <a:gd name="connsiteY1539" fmla="*/ 1503466 h 2907193"/>
                <a:gd name="connsiteX1540" fmla="*/ 2134844 w 4044707"/>
                <a:gd name="connsiteY1540" fmla="*/ 1504222 h 2907193"/>
                <a:gd name="connsiteX1541" fmla="*/ 2134632 w 4044707"/>
                <a:gd name="connsiteY1541" fmla="*/ 1507157 h 2907193"/>
                <a:gd name="connsiteX1542" fmla="*/ 2134269 w 4044707"/>
                <a:gd name="connsiteY1542" fmla="*/ 1510061 h 2907193"/>
                <a:gd name="connsiteX1543" fmla="*/ 2133966 w 4044707"/>
                <a:gd name="connsiteY1543" fmla="*/ 1510847 h 2907193"/>
                <a:gd name="connsiteX1544" fmla="*/ 2134450 w 4044707"/>
                <a:gd name="connsiteY1544" fmla="*/ 1512904 h 2907193"/>
                <a:gd name="connsiteX1545" fmla="*/ 2135025 w 4044707"/>
                <a:gd name="connsiteY1545" fmla="*/ 1514054 h 2907193"/>
                <a:gd name="connsiteX1546" fmla="*/ 2135933 w 4044707"/>
                <a:gd name="connsiteY1546" fmla="*/ 1514357 h 2907193"/>
                <a:gd name="connsiteX1547" fmla="*/ 2137415 w 4044707"/>
                <a:gd name="connsiteY1547" fmla="*/ 1513842 h 2907193"/>
                <a:gd name="connsiteX1548" fmla="*/ 2135146 w 4044707"/>
                <a:gd name="connsiteY1548" fmla="*/ 1515567 h 2907193"/>
                <a:gd name="connsiteX1549" fmla="*/ 2131213 w 4044707"/>
                <a:gd name="connsiteY1549" fmla="*/ 1516837 h 2907193"/>
                <a:gd name="connsiteX1550" fmla="*/ 2129489 w 4044707"/>
                <a:gd name="connsiteY1550" fmla="*/ 1519167 h 2907193"/>
                <a:gd name="connsiteX1551" fmla="*/ 2129489 w 4044707"/>
                <a:gd name="connsiteY1551" fmla="*/ 1520770 h 2907193"/>
                <a:gd name="connsiteX1552" fmla="*/ 2129973 w 4044707"/>
                <a:gd name="connsiteY1552" fmla="*/ 1522524 h 2907193"/>
                <a:gd name="connsiteX1553" fmla="*/ 2129973 w 4044707"/>
                <a:gd name="connsiteY1553" fmla="*/ 1523916 h 2907193"/>
                <a:gd name="connsiteX1554" fmla="*/ 2128491 w 4044707"/>
                <a:gd name="connsiteY1554" fmla="*/ 1524491 h 2907193"/>
                <a:gd name="connsiteX1555" fmla="*/ 2124498 w 4044707"/>
                <a:gd name="connsiteY1555" fmla="*/ 1523644 h 2907193"/>
                <a:gd name="connsiteX1556" fmla="*/ 2143617 w 4044707"/>
                <a:gd name="connsiteY1556" fmla="*/ 1488250 h 2907193"/>
                <a:gd name="connsiteX1557" fmla="*/ 2144615 w 4044707"/>
                <a:gd name="connsiteY1557" fmla="*/ 1487282 h 2907193"/>
                <a:gd name="connsiteX1558" fmla="*/ 2147338 w 4044707"/>
                <a:gd name="connsiteY1558" fmla="*/ 1483016 h 2907193"/>
                <a:gd name="connsiteX1559" fmla="*/ 2148820 w 4044707"/>
                <a:gd name="connsiteY1559" fmla="*/ 1482048 h 2907193"/>
                <a:gd name="connsiteX1560" fmla="*/ 2150030 w 4044707"/>
                <a:gd name="connsiteY1560" fmla="*/ 1480899 h 2907193"/>
                <a:gd name="connsiteX1561" fmla="*/ 2148880 w 4044707"/>
                <a:gd name="connsiteY1561" fmla="*/ 1478509 h 2907193"/>
                <a:gd name="connsiteX1562" fmla="*/ 2147095 w 4044707"/>
                <a:gd name="connsiteY1562" fmla="*/ 1476361 h 2907193"/>
                <a:gd name="connsiteX1563" fmla="*/ 2146339 w 4044707"/>
                <a:gd name="connsiteY1563" fmla="*/ 1476028 h 2907193"/>
                <a:gd name="connsiteX1564" fmla="*/ 2145643 w 4044707"/>
                <a:gd name="connsiteY1564" fmla="*/ 1472307 h 2907193"/>
                <a:gd name="connsiteX1565" fmla="*/ 2146339 w 4044707"/>
                <a:gd name="connsiteY1565" fmla="*/ 1471127 h 2907193"/>
                <a:gd name="connsiteX1566" fmla="*/ 2149153 w 4044707"/>
                <a:gd name="connsiteY1566" fmla="*/ 1471611 h 2907193"/>
                <a:gd name="connsiteX1567" fmla="*/ 2158954 w 4044707"/>
                <a:gd name="connsiteY1567" fmla="*/ 1469615 h 2907193"/>
                <a:gd name="connsiteX1568" fmla="*/ 2160588 w 4044707"/>
                <a:gd name="connsiteY1568" fmla="*/ 1468556 h 2907193"/>
                <a:gd name="connsiteX1569" fmla="*/ 2162009 w 4044707"/>
                <a:gd name="connsiteY1569" fmla="*/ 1466862 h 2907193"/>
                <a:gd name="connsiteX1570" fmla="*/ 2163310 w 4044707"/>
                <a:gd name="connsiteY1570" fmla="*/ 1464623 h 2907193"/>
                <a:gd name="connsiteX1571" fmla="*/ 2164611 w 4044707"/>
                <a:gd name="connsiteY1571" fmla="*/ 1463262 h 2907193"/>
                <a:gd name="connsiteX1572" fmla="*/ 2169875 w 4044707"/>
                <a:gd name="connsiteY1572" fmla="*/ 1460902 h 2907193"/>
                <a:gd name="connsiteX1573" fmla="*/ 2171296 w 4044707"/>
                <a:gd name="connsiteY1573" fmla="*/ 1458361 h 2907193"/>
                <a:gd name="connsiteX1574" fmla="*/ 2174624 w 4044707"/>
                <a:gd name="connsiteY1574" fmla="*/ 1457212 h 2907193"/>
                <a:gd name="connsiteX1575" fmla="*/ 2176107 w 4044707"/>
                <a:gd name="connsiteY1575" fmla="*/ 1454852 h 2907193"/>
                <a:gd name="connsiteX1576" fmla="*/ 2174473 w 4044707"/>
                <a:gd name="connsiteY1576" fmla="*/ 1454973 h 2907193"/>
                <a:gd name="connsiteX1577" fmla="*/ 2172900 w 4044707"/>
                <a:gd name="connsiteY1577" fmla="*/ 1453793 h 2907193"/>
                <a:gd name="connsiteX1578" fmla="*/ 2171569 w 4044707"/>
                <a:gd name="connsiteY1578" fmla="*/ 1451585 h 2907193"/>
                <a:gd name="connsiteX1579" fmla="*/ 2170540 w 4044707"/>
                <a:gd name="connsiteY1579" fmla="*/ 1448650 h 2907193"/>
                <a:gd name="connsiteX1580" fmla="*/ 2170056 w 4044707"/>
                <a:gd name="connsiteY1580" fmla="*/ 1445898 h 2907193"/>
                <a:gd name="connsiteX1581" fmla="*/ 2170056 w 4044707"/>
                <a:gd name="connsiteY1581" fmla="*/ 1441451 h 2907193"/>
                <a:gd name="connsiteX1582" fmla="*/ 2169844 w 4044707"/>
                <a:gd name="connsiteY1582" fmla="*/ 1439545 h 2907193"/>
                <a:gd name="connsiteX1583" fmla="*/ 2165095 w 4044707"/>
                <a:gd name="connsiteY1583" fmla="*/ 1430530 h 2907193"/>
                <a:gd name="connsiteX1584" fmla="*/ 2164006 w 4044707"/>
                <a:gd name="connsiteY1584" fmla="*/ 1429048 h 2907193"/>
                <a:gd name="connsiteX1585" fmla="*/ 2158863 w 4044707"/>
                <a:gd name="connsiteY1585" fmla="*/ 1426143 h 2907193"/>
                <a:gd name="connsiteX1586" fmla="*/ 2157804 w 4044707"/>
                <a:gd name="connsiteY1586" fmla="*/ 1425115 h 2907193"/>
                <a:gd name="connsiteX1587" fmla="*/ 2156927 w 4044707"/>
                <a:gd name="connsiteY1587" fmla="*/ 1423058 h 2907193"/>
                <a:gd name="connsiteX1588" fmla="*/ 2155051 w 4044707"/>
                <a:gd name="connsiteY1588" fmla="*/ 1417492 h 2907193"/>
                <a:gd name="connsiteX1589" fmla="*/ 2152722 w 4044707"/>
                <a:gd name="connsiteY1589" fmla="*/ 1413982 h 2907193"/>
                <a:gd name="connsiteX1590" fmla="*/ 2151149 w 4044707"/>
                <a:gd name="connsiteY1590" fmla="*/ 1415586 h 2907193"/>
                <a:gd name="connsiteX1591" fmla="*/ 2149727 w 4044707"/>
                <a:gd name="connsiteY1591" fmla="*/ 1419125 h 2907193"/>
                <a:gd name="connsiteX1592" fmla="*/ 2147761 w 4044707"/>
                <a:gd name="connsiteY1592" fmla="*/ 1421333 h 2907193"/>
                <a:gd name="connsiteX1593" fmla="*/ 2148275 w 4044707"/>
                <a:gd name="connsiteY1593" fmla="*/ 1421757 h 2907193"/>
                <a:gd name="connsiteX1594" fmla="*/ 2149153 w 4044707"/>
                <a:gd name="connsiteY1594" fmla="*/ 1422755 h 2907193"/>
                <a:gd name="connsiteX1595" fmla="*/ 2149818 w 4044707"/>
                <a:gd name="connsiteY1595" fmla="*/ 1422997 h 2907193"/>
                <a:gd name="connsiteX1596" fmla="*/ 2149334 w 4044707"/>
                <a:gd name="connsiteY1596" fmla="*/ 1426446 h 2907193"/>
                <a:gd name="connsiteX1597" fmla="*/ 2148305 w 4044707"/>
                <a:gd name="connsiteY1597" fmla="*/ 1429532 h 2907193"/>
                <a:gd name="connsiteX1598" fmla="*/ 2145704 w 4044707"/>
                <a:gd name="connsiteY1598" fmla="*/ 1435068 h 2907193"/>
                <a:gd name="connsiteX1599" fmla="*/ 2148487 w 4044707"/>
                <a:gd name="connsiteY1599" fmla="*/ 1435068 h 2907193"/>
                <a:gd name="connsiteX1600" fmla="*/ 2145008 w 4044707"/>
                <a:gd name="connsiteY1600" fmla="*/ 1438123 h 2907193"/>
                <a:gd name="connsiteX1601" fmla="*/ 2148184 w 4044707"/>
                <a:gd name="connsiteY1601" fmla="*/ 1439303 h 2907193"/>
                <a:gd name="connsiteX1602" fmla="*/ 2151180 w 4044707"/>
                <a:gd name="connsiteY1602" fmla="*/ 1438304 h 2907193"/>
                <a:gd name="connsiteX1603" fmla="*/ 2156776 w 4044707"/>
                <a:gd name="connsiteY1603" fmla="*/ 1433404 h 2907193"/>
                <a:gd name="connsiteX1604" fmla="*/ 2156837 w 4044707"/>
                <a:gd name="connsiteY1604" fmla="*/ 1435098 h 2907193"/>
                <a:gd name="connsiteX1605" fmla="*/ 2157048 w 4044707"/>
                <a:gd name="connsiteY1605" fmla="*/ 1436580 h 2907193"/>
                <a:gd name="connsiteX1606" fmla="*/ 2157502 w 4044707"/>
                <a:gd name="connsiteY1606" fmla="*/ 1438032 h 2907193"/>
                <a:gd name="connsiteX1607" fmla="*/ 2158198 w 4044707"/>
                <a:gd name="connsiteY1607" fmla="*/ 1439636 h 2907193"/>
                <a:gd name="connsiteX1608" fmla="*/ 2152087 w 4044707"/>
                <a:gd name="connsiteY1608" fmla="*/ 1443568 h 2907193"/>
                <a:gd name="connsiteX1609" fmla="*/ 2146400 w 4044707"/>
                <a:gd name="connsiteY1609" fmla="*/ 1448741 h 2907193"/>
                <a:gd name="connsiteX1610" fmla="*/ 2142739 w 4044707"/>
                <a:gd name="connsiteY1610" fmla="*/ 1454096 h 2907193"/>
                <a:gd name="connsiteX1611" fmla="*/ 2141348 w 4044707"/>
                <a:gd name="connsiteY1611" fmla="*/ 1455457 h 2907193"/>
                <a:gd name="connsiteX1612" fmla="*/ 2141862 w 4044707"/>
                <a:gd name="connsiteY1612" fmla="*/ 1456576 h 2907193"/>
                <a:gd name="connsiteX1613" fmla="*/ 2142679 w 4044707"/>
                <a:gd name="connsiteY1613" fmla="*/ 1457575 h 2907193"/>
                <a:gd name="connsiteX1614" fmla="*/ 2142981 w 4044707"/>
                <a:gd name="connsiteY1614" fmla="*/ 1457847 h 2907193"/>
                <a:gd name="connsiteX1615" fmla="*/ 2143647 w 4044707"/>
                <a:gd name="connsiteY1615" fmla="*/ 1458210 h 2907193"/>
                <a:gd name="connsiteX1616" fmla="*/ 2146400 w 4044707"/>
                <a:gd name="connsiteY1616" fmla="*/ 1457847 h 2907193"/>
                <a:gd name="connsiteX1617" fmla="*/ 2146400 w 4044707"/>
                <a:gd name="connsiteY1617" fmla="*/ 1459511 h 2907193"/>
                <a:gd name="connsiteX1618" fmla="*/ 2145522 w 4044707"/>
                <a:gd name="connsiteY1618" fmla="*/ 1460812 h 2907193"/>
                <a:gd name="connsiteX1619" fmla="*/ 2144040 w 4044707"/>
                <a:gd name="connsiteY1619" fmla="*/ 1464623 h 2907193"/>
                <a:gd name="connsiteX1620" fmla="*/ 2143344 w 4044707"/>
                <a:gd name="connsiteY1620" fmla="*/ 1465410 h 2907193"/>
                <a:gd name="connsiteX1621" fmla="*/ 2142407 w 4044707"/>
                <a:gd name="connsiteY1621" fmla="*/ 1464926 h 2907193"/>
                <a:gd name="connsiteX1622" fmla="*/ 2140803 w 4044707"/>
                <a:gd name="connsiteY1622" fmla="*/ 1462869 h 2907193"/>
                <a:gd name="connsiteX1623" fmla="*/ 2139563 w 4044707"/>
                <a:gd name="connsiteY1623" fmla="*/ 1462536 h 2907193"/>
                <a:gd name="connsiteX1624" fmla="*/ 2137506 w 4044707"/>
                <a:gd name="connsiteY1624" fmla="*/ 1464018 h 2907193"/>
                <a:gd name="connsiteX1625" fmla="*/ 2136175 w 4044707"/>
                <a:gd name="connsiteY1625" fmla="*/ 1467195 h 2907193"/>
                <a:gd name="connsiteX1626" fmla="*/ 2134995 w 4044707"/>
                <a:gd name="connsiteY1626" fmla="*/ 1471097 h 2907193"/>
                <a:gd name="connsiteX1627" fmla="*/ 2133331 w 4044707"/>
                <a:gd name="connsiteY1627" fmla="*/ 1474757 h 2907193"/>
                <a:gd name="connsiteX1628" fmla="*/ 2134269 w 4044707"/>
                <a:gd name="connsiteY1628" fmla="*/ 1475756 h 2907193"/>
                <a:gd name="connsiteX1629" fmla="*/ 2135298 w 4044707"/>
                <a:gd name="connsiteY1629" fmla="*/ 1476240 h 2907193"/>
                <a:gd name="connsiteX1630" fmla="*/ 2136387 w 4044707"/>
                <a:gd name="connsiteY1630" fmla="*/ 1476331 h 2907193"/>
                <a:gd name="connsiteX1631" fmla="*/ 2137506 w 4044707"/>
                <a:gd name="connsiteY1631" fmla="*/ 1476149 h 2907193"/>
                <a:gd name="connsiteX1632" fmla="*/ 2134723 w 4044707"/>
                <a:gd name="connsiteY1632" fmla="*/ 1486495 h 2907193"/>
                <a:gd name="connsiteX1633" fmla="*/ 2132968 w 4044707"/>
                <a:gd name="connsiteY1633" fmla="*/ 1491396 h 2907193"/>
                <a:gd name="connsiteX1634" fmla="*/ 2130548 w 4044707"/>
                <a:gd name="connsiteY1634" fmla="*/ 1494421 h 2907193"/>
                <a:gd name="connsiteX1635" fmla="*/ 2133271 w 4044707"/>
                <a:gd name="connsiteY1635" fmla="*/ 1495510 h 2907193"/>
                <a:gd name="connsiteX1636" fmla="*/ 2143677 w 4044707"/>
                <a:gd name="connsiteY1636" fmla="*/ 1488371 h 2907193"/>
                <a:gd name="connsiteX1637" fmla="*/ 2109735 w 4044707"/>
                <a:gd name="connsiteY1637" fmla="*/ 1406631 h 2907193"/>
                <a:gd name="connsiteX1638" fmla="*/ 2111913 w 4044707"/>
                <a:gd name="connsiteY1638" fmla="*/ 1407478 h 2907193"/>
                <a:gd name="connsiteX1639" fmla="*/ 2109856 w 4044707"/>
                <a:gd name="connsiteY1639" fmla="*/ 1408870 h 2907193"/>
                <a:gd name="connsiteX1640" fmla="*/ 2110945 w 4044707"/>
                <a:gd name="connsiteY1640" fmla="*/ 1410171 h 2907193"/>
                <a:gd name="connsiteX1641" fmla="*/ 2111853 w 4044707"/>
                <a:gd name="connsiteY1641" fmla="*/ 1410019 h 2907193"/>
                <a:gd name="connsiteX1642" fmla="*/ 2112790 w 4044707"/>
                <a:gd name="connsiteY1642" fmla="*/ 1409293 h 2907193"/>
                <a:gd name="connsiteX1643" fmla="*/ 2114000 w 4044707"/>
                <a:gd name="connsiteY1643" fmla="*/ 1408870 h 2907193"/>
                <a:gd name="connsiteX1644" fmla="*/ 2114878 w 4044707"/>
                <a:gd name="connsiteY1644" fmla="*/ 1409505 h 2907193"/>
                <a:gd name="connsiteX1645" fmla="*/ 2115271 w 4044707"/>
                <a:gd name="connsiteY1645" fmla="*/ 1410836 h 2907193"/>
                <a:gd name="connsiteX1646" fmla="*/ 2115725 w 4044707"/>
                <a:gd name="connsiteY1646" fmla="*/ 1411986 h 2907193"/>
                <a:gd name="connsiteX1647" fmla="*/ 2116693 w 4044707"/>
                <a:gd name="connsiteY1647" fmla="*/ 1412046 h 2907193"/>
                <a:gd name="connsiteX1648" fmla="*/ 2117661 w 4044707"/>
                <a:gd name="connsiteY1648" fmla="*/ 1410624 h 2907193"/>
                <a:gd name="connsiteX1649" fmla="*/ 2120837 w 4044707"/>
                <a:gd name="connsiteY1649" fmla="*/ 1404725 h 2907193"/>
                <a:gd name="connsiteX1650" fmla="*/ 2122168 w 4044707"/>
                <a:gd name="connsiteY1650" fmla="*/ 1402759 h 2907193"/>
                <a:gd name="connsiteX1651" fmla="*/ 2122652 w 4044707"/>
                <a:gd name="connsiteY1651" fmla="*/ 1400520 h 2907193"/>
                <a:gd name="connsiteX1652" fmla="*/ 2122350 w 4044707"/>
                <a:gd name="connsiteY1652" fmla="*/ 1398736 h 2907193"/>
                <a:gd name="connsiteX1653" fmla="*/ 2120837 w 4044707"/>
                <a:gd name="connsiteY1653" fmla="*/ 1395257 h 2907193"/>
                <a:gd name="connsiteX1654" fmla="*/ 2123741 w 4044707"/>
                <a:gd name="connsiteY1654" fmla="*/ 1393714 h 2907193"/>
                <a:gd name="connsiteX1655" fmla="*/ 2125042 w 4044707"/>
                <a:gd name="connsiteY1655" fmla="*/ 1392353 h 2907193"/>
                <a:gd name="connsiteX1656" fmla="*/ 2125587 w 4044707"/>
                <a:gd name="connsiteY1656" fmla="*/ 1389751 h 2907193"/>
                <a:gd name="connsiteX1657" fmla="*/ 2124861 w 4044707"/>
                <a:gd name="connsiteY1657" fmla="*/ 1387391 h 2907193"/>
                <a:gd name="connsiteX1658" fmla="*/ 2123287 w 4044707"/>
                <a:gd name="connsiteY1658" fmla="*/ 1387391 h 2907193"/>
                <a:gd name="connsiteX1659" fmla="*/ 2121563 w 4044707"/>
                <a:gd name="connsiteY1659" fmla="*/ 1388269 h 2907193"/>
                <a:gd name="connsiteX1660" fmla="*/ 2120505 w 4044707"/>
                <a:gd name="connsiteY1660" fmla="*/ 1388269 h 2907193"/>
                <a:gd name="connsiteX1661" fmla="*/ 2117661 w 4044707"/>
                <a:gd name="connsiteY1661" fmla="*/ 1385455 h 2907193"/>
                <a:gd name="connsiteX1662" fmla="*/ 2114122 w 4044707"/>
                <a:gd name="connsiteY1662" fmla="*/ 1386030 h 2907193"/>
                <a:gd name="connsiteX1663" fmla="*/ 2107436 w 4044707"/>
                <a:gd name="connsiteY1663" fmla="*/ 1388995 h 2907193"/>
                <a:gd name="connsiteX1664" fmla="*/ 2105802 w 4044707"/>
                <a:gd name="connsiteY1664" fmla="*/ 1391233 h 2907193"/>
                <a:gd name="connsiteX1665" fmla="*/ 2103473 w 4044707"/>
                <a:gd name="connsiteY1665" fmla="*/ 1396346 h 2907193"/>
                <a:gd name="connsiteX1666" fmla="*/ 2101476 w 4044707"/>
                <a:gd name="connsiteY1666" fmla="*/ 1402033 h 2907193"/>
                <a:gd name="connsiteX1667" fmla="*/ 2100901 w 4044707"/>
                <a:gd name="connsiteY1667" fmla="*/ 1405845 h 2907193"/>
                <a:gd name="connsiteX1668" fmla="*/ 2102959 w 4044707"/>
                <a:gd name="connsiteY1668" fmla="*/ 1408295 h 2907193"/>
                <a:gd name="connsiteX1669" fmla="*/ 2109765 w 4044707"/>
                <a:gd name="connsiteY1669" fmla="*/ 1406692 h 2907193"/>
                <a:gd name="connsiteX1670" fmla="*/ 2171206 w 4044707"/>
                <a:gd name="connsiteY1670" fmla="*/ 1346189 h 2907193"/>
                <a:gd name="connsiteX1671" fmla="*/ 2169784 w 4044707"/>
                <a:gd name="connsiteY1671" fmla="*/ 1347066 h 2907193"/>
                <a:gd name="connsiteX1672" fmla="*/ 2168453 w 4044707"/>
                <a:gd name="connsiteY1672" fmla="*/ 1348790 h 2907193"/>
                <a:gd name="connsiteX1673" fmla="*/ 2171962 w 4044707"/>
                <a:gd name="connsiteY1673" fmla="*/ 1348306 h 2907193"/>
                <a:gd name="connsiteX1674" fmla="*/ 2174685 w 4044707"/>
                <a:gd name="connsiteY1674" fmla="*/ 1346824 h 2907193"/>
                <a:gd name="connsiteX1675" fmla="*/ 2187844 w 4044707"/>
                <a:gd name="connsiteY1675" fmla="*/ 1332697 h 2907193"/>
                <a:gd name="connsiteX1676" fmla="*/ 2193017 w 4044707"/>
                <a:gd name="connsiteY1676" fmla="*/ 1330398 h 2907193"/>
                <a:gd name="connsiteX1677" fmla="*/ 2198977 w 4044707"/>
                <a:gd name="connsiteY1677" fmla="*/ 1325104 h 2907193"/>
                <a:gd name="connsiteX1678" fmla="*/ 2211410 w 4044707"/>
                <a:gd name="connsiteY1678" fmla="*/ 1319447 h 2907193"/>
                <a:gd name="connsiteX1679" fmla="*/ 2214677 w 4044707"/>
                <a:gd name="connsiteY1679" fmla="*/ 1319235 h 2907193"/>
                <a:gd name="connsiteX1680" fmla="*/ 2216069 w 4044707"/>
                <a:gd name="connsiteY1680" fmla="*/ 1316119 h 2907193"/>
                <a:gd name="connsiteX1681" fmla="*/ 2211682 w 4044707"/>
                <a:gd name="connsiteY1681" fmla="*/ 1313457 h 2907193"/>
                <a:gd name="connsiteX1682" fmla="*/ 2205662 w 4044707"/>
                <a:gd name="connsiteY1682" fmla="*/ 1313911 h 2907193"/>
                <a:gd name="connsiteX1683" fmla="*/ 2199672 w 4044707"/>
                <a:gd name="connsiteY1683" fmla="*/ 1316482 h 2907193"/>
                <a:gd name="connsiteX1684" fmla="*/ 2195377 w 4044707"/>
                <a:gd name="connsiteY1684" fmla="*/ 1320082 h 2907193"/>
                <a:gd name="connsiteX1685" fmla="*/ 2193532 w 4044707"/>
                <a:gd name="connsiteY1685" fmla="*/ 1322109 h 2907193"/>
                <a:gd name="connsiteX1686" fmla="*/ 2191383 w 4044707"/>
                <a:gd name="connsiteY1686" fmla="*/ 1323803 h 2907193"/>
                <a:gd name="connsiteX1687" fmla="*/ 2189145 w 4044707"/>
                <a:gd name="connsiteY1687" fmla="*/ 1324983 h 2907193"/>
                <a:gd name="connsiteX1688" fmla="*/ 2187058 w 4044707"/>
                <a:gd name="connsiteY1688" fmla="*/ 1325406 h 2907193"/>
                <a:gd name="connsiteX1689" fmla="*/ 2186392 w 4044707"/>
                <a:gd name="connsiteY1689" fmla="*/ 1324105 h 2907193"/>
                <a:gd name="connsiteX1690" fmla="*/ 2187572 w 4044707"/>
                <a:gd name="connsiteY1690" fmla="*/ 1321110 h 2907193"/>
                <a:gd name="connsiteX1691" fmla="*/ 2190567 w 4044707"/>
                <a:gd name="connsiteY1691" fmla="*/ 1316089 h 2907193"/>
                <a:gd name="connsiteX1692" fmla="*/ 2188267 w 4044707"/>
                <a:gd name="connsiteY1692" fmla="*/ 1314274 h 2907193"/>
                <a:gd name="connsiteX1693" fmla="*/ 2185666 w 4044707"/>
                <a:gd name="connsiteY1693" fmla="*/ 1314576 h 2907193"/>
                <a:gd name="connsiteX1694" fmla="*/ 2174594 w 4044707"/>
                <a:gd name="connsiteY1694" fmla="*/ 1321625 h 2907193"/>
                <a:gd name="connsiteX1695" fmla="*/ 2172688 w 4044707"/>
                <a:gd name="connsiteY1695" fmla="*/ 1323833 h 2907193"/>
                <a:gd name="connsiteX1696" fmla="*/ 2171599 w 4044707"/>
                <a:gd name="connsiteY1696" fmla="*/ 1326314 h 2907193"/>
                <a:gd name="connsiteX1697" fmla="*/ 2169844 w 4044707"/>
                <a:gd name="connsiteY1697" fmla="*/ 1332213 h 2907193"/>
                <a:gd name="connsiteX1698" fmla="*/ 2168544 w 4044707"/>
                <a:gd name="connsiteY1698" fmla="*/ 1334814 h 2907193"/>
                <a:gd name="connsiteX1699" fmla="*/ 2163794 w 4044707"/>
                <a:gd name="connsiteY1699" fmla="*/ 1340744 h 2907193"/>
                <a:gd name="connsiteX1700" fmla="*/ 2162312 w 4044707"/>
                <a:gd name="connsiteY1700" fmla="*/ 1344102 h 2907193"/>
                <a:gd name="connsiteX1701" fmla="*/ 2173384 w 4044707"/>
                <a:gd name="connsiteY1701" fmla="*/ 1342559 h 2907193"/>
                <a:gd name="connsiteX1702" fmla="*/ 2172567 w 4044707"/>
                <a:gd name="connsiteY1702" fmla="*/ 1345009 h 2907193"/>
                <a:gd name="connsiteX1703" fmla="*/ 2171327 w 4044707"/>
                <a:gd name="connsiteY1703" fmla="*/ 1346128 h 2907193"/>
                <a:gd name="connsiteX1704" fmla="*/ 2182883 w 4044707"/>
                <a:gd name="connsiteY1704" fmla="*/ 1302234 h 2907193"/>
                <a:gd name="connsiteX1705" fmla="*/ 2184456 w 4044707"/>
                <a:gd name="connsiteY1705" fmla="*/ 1300176 h 2907193"/>
                <a:gd name="connsiteX1706" fmla="*/ 2185485 w 4044707"/>
                <a:gd name="connsiteY1706" fmla="*/ 1299329 h 2907193"/>
                <a:gd name="connsiteX1707" fmla="*/ 2189538 w 4044707"/>
                <a:gd name="connsiteY1707" fmla="*/ 1298966 h 2907193"/>
                <a:gd name="connsiteX1708" fmla="*/ 2190476 w 4044707"/>
                <a:gd name="connsiteY1708" fmla="*/ 1298059 h 2907193"/>
                <a:gd name="connsiteX1709" fmla="*/ 2191202 w 4044707"/>
                <a:gd name="connsiteY1709" fmla="*/ 1295850 h 2907193"/>
                <a:gd name="connsiteX1710" fmla="*/ 2190173 w 4044707"/>
                <a:gd name="connsiteY1710" fmla="*/ 1293733 h 2907193"/>
                <a:gd name="connsiteX1711" fmla="*/ 2188328 w 4044707"/>
                <a:gd name="connsiteY1711" fmla="*/ 1293340 h 2907193"/>
                <a:gd name="connsiteX1712" fmla="*/ 2184244 w 4044707"/>
                <a:gd name="connsiteY1712" fmla="*/ 1294156 h 2907193"/>
                <a:gd name="connsiteX1713" fmla="*/ 2184244 w 4044707"/>
                <a:gd name="connsiteY1713" fmla="*/ 1292735 h 2907193"/>
                <a:gd name="connsiteX1714" fmla="*/ 2186029 w 4044707"/>
                <a:gd name="connsiteY1714" fmla="*/ 1291525 h 2907193"/>
                <a:gd name="connsiteX1715" fmla="*/ 2187663 w 4044707"/>
                <a:gd name="connsiteY1715" fmla="*/ 1289619 h 2907193"/>
                <a:gd name="connsiteX1716" fmla="*/ 2180130 w 4044707"/>
                <a:gd name="connsiteY1716" fmla="*/ 1289619 h 2907193"/>
                <a:gd name="connsiteX1717" fmla="*/ 2180130 w 4044707"/>
                <a:gd name="connsiteY1717" fmla="*/ 1287925 h 2907193"/>
                <a:gd name="connsiteX1718" fmla="*/ 2184486 w 4044707"/>
                <a:gd name="connsiteY1718" fmla="*/ 1285868 h 2907193"/>
                <a:gd name="connsiteX1719" fmla="*/ 2186634 w 4044707"/>
                <a:gd name="connsiteY1719" fmla="*/ 1283780 h 2907193"/>
                <a:gd name="connsiteX1720" fmla="*/ 2186634 w 4044707"/>
                <a:gd name="connsiteY1720" fmla="*/ 1280906 h 2907193"/>
                <a:gd name="connsiteX1721" fmla="*/ 2185878 w 4044707"/>
                <a:gd name="connsiteY1721" fmla="*/ 1278214 h 2907193"/>
                <a:gd name="connsiteX1722" fmla="*/ 2185515 w 4044707"/>
                <a:gd name="connsiteY1722" fmla="*/ 1275340 h 2907193"/>
                <a:gd name="connsiteX1723" fmla="*/ 2184970 w 4044707"/>
                <a:gd name="connsiteY1723" fmla="*/ 1272738 h 2907193"/>
                <a:gd name="connsiteX1724" fmla="*/ 2183609 w 4044707"/>
                <a:gd name="connsiteY1724" fmla="*/ 1270742 h 2907193"/>
                <a:gd name="connsiteX1725" fmla="*/ 2181582 w 4044707"/>
                <a:gd name="connsiteY1725" fmla="*/ 1269048 h 2907193"/>
                <a:gd name="connsiteX1726" fmla="*/ 2180554 w 4044707"/>
                <a:gd name="connsiteY1726" fmla="*/ 1269229 h 2907193"/>
                <a:gd name="connsiteX1727" fmla="*/ 2179706 w 4044707"/>
                <a:gd name="connsiteY1727" fmla="*/ 1273434 h 2907193"/>
                <a:gd name="connsiteX1728" fmla="*/ 2178769 w 4044707"/>
                <a:gd name="connsiteY1728" fmla="*/ 1274130 h 2907193"/>
                <a:gd name="connsiteX1729" fmla="*/ 2177650 w 4044707"/>
                <a:gd name="connsiteY1729" fmla="*/ 1274311 h 2907193"/>
                <a:gd name="connsiteX1730" fmla="*/ 2168423 w 4044707"/>
                <a:gd name="connsiteY1730" fmla="*/ 1280120 h 2907193"/>
                <a:gd name="connsiteX1731" fmla="*/ 2168423 w 4044707"/>
                <a:gd name="connsiteY1731" fmla="*/ 1281693 h 2907193"/>
                <a:gd name="connsiteX1732" fmla="*/ 2171902 w 4044707"/>
                <a:gd name="connsiteY1732" fmla="*/ 1279787 h 2907193"/>
                <a:gd name="connsiteX1733" fmla="*/ 2175804 w 4044707"/>
                <a:gd name="connsiteY1733" fmla="*/ 1279424 h 2907193"/>
                <a:gd name="connsiteX1734" fmla="*/ 2179616 w 4044707"/>
                <a:gd name="connsiteY1734" fmla="*/ 1280634 h 2907193"/>
                <a:gd name="connsiteX1735" fmla="*/ 2182853 w 4044707"/>
                <a:gd name="connsiteY1735" fmla="*/ 1283387 h 2907193"/>
                <a:gd name="connsiteX1736" fmla="*/ 2177679 w 4044707"/>
                <a:gd name="connsiteY1736" fmla="*/ 1287471 h 2907193"/>
                <a:gd name="connsiteX1737" fmla="*/ 2174110 w 4044707"/>
                <a:gd name="connsiteY1737" fmla="*/ 1288741 h 2907193"/>
                <a:gd name="connsiteX1738" fmla="*/ 2173384 w 4044707"/>
                <a:gd name="connsiteY1738" fmla="*/ 1290617 h 2907193"/>
                <a:gd name="connsiteX1739" fmla="*/ 2173142 w 4044707"/>
                <a:gd name="connsiteY1739" fmla="*/ 1292704 h 2907193"/>
                <a:gd name="connsiteX1740" fmla="*/ 2172597 w 4044707"/>
                <a:gd name="connsiteY1740" fmla="*/ 1294187 h 2907193"/>
                <a:gd name="connsiteX1741" fmla="*/ 2171024 w 4044707"/>
                <a:gd name="connsiteY1741" fmla="*/ 1295124 h 2907193"/>
                <a:gd name="connsiteX1742" fmla="*/ 2165337 w 4044707"/>
                <a:gd name="connsiteY1742" fmla="*/ 1295881 h 2907193"/>
                <a:gd name="connsiteX1743" fmla="*/ 2163915 w 4044707"/>
                <a:gd name="connsiteY1743" fmla="*/ 1296577 h 2907193"/>
                <a:gd name="connsiteX1744" fmla="*/ 2161011 w 4044707"/>
                <a:gd name="connsiteY1744" fmla="*/ 1299662 h 2907193"/>
                <a:gd name="connsiteX1745" fmla="*/ 2159499 w 4044707"/>
                <a:gd name="connsiteY1745" fmla="*/ 1300570 h 2907193"/>
                <a:gd name="connsiteX1746" fmla="*/ 2159499 w 4044707"/>
                <a:gd name="connsiteY1746" fmla="*/ 1302294 h 2907193"/>
                <a:gd name="connsiteX1747" fmla="*/ 2161465 w 4044707"/>
                <a:gd name="connsiteY1747" fmla="*/ 1302022 h 2907193"/>
                <a:gd name="connsiteX1748" fmla="*/ 2165125 w 4044707"/>
                <a:gd name="connsiteY1748" fmla="*/ 1299602 h 2907193"/>
                <a:gd name="connsiteX1749" fmla="*/ 2167062 w 4044707"/>
                <a:gd name="connsiteY1749" fmla="*/ 1298997 h 2907193"/>
                <a:gd name="connsiteX1750" fmla="*/ 2168332 w 4044707"/>
                <a:gd name="connsiteY1750" fmla="*/ 1299723 h 2907193"/>
                <a:gd name="connsiteX1751" fmla="*/ 2167394 w 4044707"/>
                <a:gd name="connsiteY1751" fmla="*/ 1301356 h 2907193"/>
                <a:gd name="connsiteX1752" fmla="*/ 2164672 w 4044707"/>
                <a:gd name="connsiteY1752" fmla="*/ 1304381 h 2907193"/>
                <a:gd name="connsiteX1753" fmla="*/ 2163340 w 4044707"/>
                <a:gd name="connsiteY1753" fmla="*/ 1306681 h 2907193"/>
                <a:gd name="connsiteX1754" fmla="*/ 2161888 w 4044707"/>
                <a:gd name="connsiteY1754" fmla="*/ 1307830 h 2907193"/>
                <a:gd name="connsiteX1755" fmla="*/ 2160376 w 4044707"/>
                <a:gd name="connsiteY1755" fmla="*/ 1308647 h 2907193"/>
                <a:gd name="connsiteX1756" fmla="*/ 2158772 w 4044707"/>
                <a:gd name="connsiteY1756" fmla="*/ 1309917 h 2907193"/>
                <a:gd name="connsiteX1757" fmla="*/ 2154719 w 4044707"/>
                <a:gd name="connsiteY1757" fmla="*/ 1316149 h 2907193"/>
                <a:gd name="connsiteX1758" fmla="*/ 2178769 w 4044707"/>
                <a:gd name="connsiteY1758" fmla="*/ 1305773 h 2907193"/>
                <a:gd name="connsiteX1759" fmla="*/ 2182883 w 4044707"/>
                <a:gd name="connsiteY1759" fmla="*/ 1302294 h 2907193"/>
                <a:gd name="connsiteX1760" fmla="*/ 2197494 w 4044707"/>
                <a:gd name="connsiteY1760" fmla="*/ 1263966 h 2907193"/>
                <a:gd name="connsiteX1761" fmla="*/ 2199642 w 4044707"/>
                <a:gd name="connsiteY1761" fmla="*/ 1264298 h 2907193"/>
                <a:gd name="connsiteX1762" fmla="*/ 2200641 w 4044707"/>
                <a:gd name="connsiteY1762" fmla="*/ 1266265 h 2907193"/>
                <a:gd name="connsiteX1763" fmla="*/ 2201639 w 4044707"/>
                <a:gd name="connsiteY1763" fmla="*/ 1268836 h 2907193"/>
                <a:gd name="connsiteX1764" fmla="*/ 2204301 w 4044707"/>
                <a:gd name="connsiteY1764" fmla="*/ 1269895 h 2907193"/>
                <a:gd name="connsiteX1765" fmla="*/ 2206600 w 4044707"/>
                <a:gd name="connsiteY1765" fmla="*/ 1268443 h 2907193"/>
                <a:gd name="connsiteX1766" fmla="*/ 2208082 w 4044707"/>
                <a:gd name="connsiteY1766" fmla="*/ 1270197 h 2907193"/>
                <a:gd name="connsiteX1767" fmla="*/ 2210200 w 4044707"/>
                <a:gd name="connsiteY1767" fmla="*/ 1267807 h 2907193"/>
                <a:gd name="connsiteX1768" fmla="*/ 2211349 w 4044707"/>
                <a:gd name="connsiteY1768" fmla="*/ 1266023 h 2907193"/>
                <a:gd name="connsiteX1769" fmla="*/ 2212469 w 4044707"/>
                <a:gd name="connsiteY1769" fmla="*/ 1264782 h 2907193"/>
                <a:gd name="connsiteX1770" fmla="*/ 2213558 w 4044707"/>
                <a:gd name="connsiteY1770" fmla="*/ 1263875 h 2907193"/>
                <a:gd name="connsiteX1771" fmla="*/ 2214314 w 4044707"/>
                <a:gd name="connsiteY1771" fmla="*/ 1260789 h 2907193"/>
                <a:gd name="connsiteX1772" fmla="*/ 2213860 w 4044707"/>
                <a:gd name="connsiteY1772" fmla="*/ 1256221 h 2907193"/>
                <a:gd name="connsiteX1773" fmla="*/ 2213165 w 4044707"/>
                <a:gd name="connsiteY1773" fmla="*/ 1254194 h 2907193"/>
                <a:gd name="connsiteX1774" fmla="*/ 2212922 w 4044707"/>
                <a:gd name="connsiteY1774" fmla="*/ 1253589 h 2907193"/>
                <a:gd name="connsiteX1775" fmla="*/ 2212348 w 4044707"/>
                <a:gd name="connsiteY1775" fmla="*/ 1252803 h 2907193"/>
                <a:gd name="connsiteX1776" fmla="*/ 2211592 w 4044707"/>
                <a:gd name="connsiteY1776" fmla="*/ 1252561 h 2907193"/>
                <a:gd name="connsiteX1777" fmla="*/ 2209565 w 4044707"/>
                <a:gd name="connsiteY1777" fmla="*/ 1252470 h 2907193"/>
                <a:gd name="connsiteX1778" fmla="*/ 2209171 w 4044707"/>
                <a:gd name="connsiteY1778" fmla="*/ 1252349 h 2907193"/>
                <a:gd name="connsiteX1779" fmla="*/ 2208536 w 4044707"/>
                <a:gd name="connsiteY1779" fmla="*/ 1251835 h 2907193"/>
                <a:gd name="connsiteX1780" fmla="*/ 2208052 w 4044707"/>
                <a:gd name="connsiteY1780" fmla="*/ 1251109 h 2907193"/>
                <a:gd name="connsiteX1781" fmla="*/ 2206812 w 4044707"/>
                <a:gd name="connsiteY1781" fmla="*/ 1251623 h 2907193"/>
                <a:gd name="connsiteX1782" fmla="*/ 2206298 w 4044707"/>
                <a:gd name="connsiteY1782" fmla="*/ 1249989 h 2907193"/>
                <a:gd name="connsiteX1783" fmla="*/ 2205602 w 4044707"/>
                <a:gd name="connsiteY1783" fmla="*/ 1248114 h 2907193"/>
                <a:gd name="connsiteX1784" fmla="*/ 2204966 w 4044707"/>
                <a:gd name="connsiteY1784" fmla="*/ 1248265 h 2907193"/>
                <a:gd name="connsiteX1785" fmla="*/ 2205118 w 4044707"/>
                <a:gd name="connsiteY1785" fmla="*/ 1249657 h 2907193"/>
                <a:gd name="connsiteX1786" fmla="*/ 2204997 w 4044707"/>
                <a:gd name="connsiteY1786" fmla="*/ 1250746 h 2907193"/>
                <a:gd name="connsiteX1787" fmla="*/ 2204876 w 4044707"/>
                <a:gd name="connsiteY1787" fmla="*/ 1251986 h 2907193"/>
                <a:gd name="connsiteX1788" fmla="*/ 2201276 w 4044707"/>
                <a:gd name="connsiteY1788" fmla="*/ 1256009 h 2907193"/>
                <a:gd name="connsiteX1789" fmla="*/ 2199309 w 4044707"/>
                <a:gd name="connsiteY1789" fmla="*/ 1257613 h 2907193"/>
                <a:gd name="connsiteX1790" fmla="*/ 2197010 w 4044707"/>
                <a:gd name="connsiteY1790" fmla="*/ 1260245 h 2907193"/>
                <a:gd name="connsiteX1791" fmla="*/ 2196042 w 4044707"/>
                <a:gd name="connsiteY1791" fmla="*/ 1262150 h 2907193"/>
                <a:gd name="connsiteX1792" fmla="*/ 2195558 w 4044707"/>
                <a:gd name="connsiteY1792" fmla="*/ 1263905 h 2907193"/>
                <a:gd name="connsiteX1793" fmla="*/ 2196042 w 4044707"/>
                <a:gd name="connsiteY1793" fmla="*/ 1264359 h 2907193"/>
                <a:gd name="connsiteX1794" fmla="*/ 2197494 w 4044707"/>
                <a:gd name="connsiteY1794" fmla="*/ 1263935 h 2907193"/>
                <a:gd name="connsiteX1795" fmla="*/ 2214768 w 4044707"/>
                <a:gd name="connsiteY1795" fmla="*/ 1225667 h 2907193"/>
                <a:gd name="connsiteX1796" fmla="*/ 2215615 w 4044707"/>
                <a:gd name="connsiteY1796" fmla="*/ 1224094 h 2907193"/>
                <a:gd name="connsiteX1797" fmla="*/ 2215887 w 4044707"/>
                <a:gd name="connsiteY1797" fmla="*/ 1226696 h 2907193"/>
                <a:gd name="connsiteX1798" fmla="*/ 2216401 w 4044707"/>
                <a:gd name="connsiteY1798" fmla="*/ 1228057 h 2907193"/>
                <a:gd name="connsiteX1799" fmla="*/ 2217279 w 4044707"/>
                <a:gd name="connsiteY1799" fmla="*/ 1229055 h 2907193"/>
                <a:gd name="connsiteX1800" fmla="*/ 2218791 w 4044707"/>
                <a:gd name="connsiteY1800" fmla="*/ 1230265 h 2907193"/>
                <a:gd name="connsiteX1801" fmla="*/ 2219548 w 4044707"/>
                <a:gd name="connsiteY1801" fmla="*/ 1229086 h 2907193"/>
                <a:gd name="connsiteX1802" fmla="*/ 2220606 w 4044707"/>
                <a:gd name="connsiteY1802" fmla="*/ 1225697 h 2907193"/>
                <a:gd name="connsiteX1803" fmla="*/ 2221121 w 4044707"/>
                <a:gd name="connsiteY1803" fmla="*/ 1220131 h 2907193"/>
                <a:gd name="connsiteX1804" fmla="*/ 2222361 w 4044707"/>
                <a:gd name="connsiteY1804" fmla="*/ 1215503 h 2907193"/>
                <a:gd name="connsiteX1805" fmla="*/ 2221786 w 4044707"/>
                <a:gd name="connsiteY1805" fmla="*/ 1214020 h 2907193"/>
                <a:gd name="connsiteX1806" fmla="*/ 2219790 w 4044707"/>
                <a:gd name="connsiteY1806" fmla="*/ 1213839 h 2907193"/>
                <a:gd name="connsiteX1807" fmla="*/ 2218579 w 4044707"/>
                <a:gd name="connsiteY1807" fmla="*/ 1214383 h 2907193"/>
                <a:gd name="connsiteX1808" fmla="*/ 2218579 w 4044707"/>
                <a:gd name="connsiteY1808" fmla="*/ 1215624 h 2907193"/>
                <a:gd name="connsiteX1809" fmla="*/ 2218519 w 4044707"/>
                <a:gd name="connsiteY1809" fmla="*/ 1218044 h 2907193"/>
                <a:gd name="connsiteX1810" fmla="*/ 2217642 w 4044707"/>
                <a:gd name="connsiteY1810" fmla="*/ 1220464 h 2907193"/>
                <a:gd name="connsiteX1811" fmla="*/ 2216946 w 4044707"/>
                <a:gd name="connsiteY1811" fmla="*/ 1220464 h 2907193"/>
                <a:gd name="connsiteX1812" fmla="*/ 2216764 w 4044707"/>
                <a:gd name="connsiteY1812" fmla="*/ 1219163 h 2907193"/>
                <a:gd name="connsiteX1813" fmla="*/ 2216371 w 4044707"/>
                <a:gd name="connsiteY1813" fmla="*/ 1217893 h 2907193"/>
                <a:gd name="connsiteX1814" fmla="*/ 2215917 w 4044707"/>
                <a:gd name="connsiteY1814" fmla="*/ 1217015 h 2907193"/>
                <a:gd name="connsiteX1815" fmla="*/ 2215857 w 4044707"/>
                <a:gd name="connsiteY1815" fmla="*/ 1215472 h 2907193"/>
                <a:gd name="connsiteX1816" fmla="*/ 2215373 w 4044707"/>
                <a:gd name="connsiteY1816" fmla="*/ 1214746 h 2907193"/>
                <a:gd name="connsiteX1817" fmla="*/ 2214374 w 4044707"/>
                <a:gd name="connsiteY1817" fmla="*/ 1214656 h 2907193"/>
                <a:gd name="connsiteX1818" fmla="*/ 2208597 w 4044707"/>
                <a:gd name="connsiteY1818" fmla="*/ 1216773 h 2907193"/>
                <a:gd name="connsiteX1819" fmla="*/ 2207387 w 4044707"/>
                <a:gd name="connsiteY1819" fmla="*/ 1217893 h 2907193"/>
                <a:gd name="connsiteX1820" fmla="*/ 2207538 w 4044707"/>
                <a:gd name="connsiteY1820" fmla="*/ 1219072 h 2907193"/>
                <a:gd name="connsiteX1821" fmla="*/ 2208324 w 4044707"/>
                <a:gd name="connsiteY1821" fmla="*/ 1219345 h 2907193"/>
                <a:gd name="connsiteX1822" fmla="*/ 2209232 w 4044707"/>
                <a:gd name="connsiteY1822" fmla="*/ 1222188 h 2907193"/>
                <a:gd name="connsiteX1823" fmla="*/ 2210714 w 4044707"/>
                <a:gd name="connsiteY1823" fmla="*/ 1225486 h 2907193"/>
                <a:gd name="connsiteX1824" fmla="*/ 2210018 w 4044707"/>
                <a:gd name="connsiteY1824" fmla="*/ 1228087 h 2907193"/>
                <a:gd name="connsiteX1825" fmla="*/ 2206751 w 4044707"/>
                <a:gd name="connsiteY1825" fmla="*/ 1230175 h 2907193"/>
                <a:gd name="connsiteX1826" fmla="*/ 2205753 w 4044707"/>
                <a:gd name="connsiteY1826" fmla="*/ 1231233 h 2907193"/>
                <a:gd name="connsiteX1827" fmla="*/ 2207356 w 4044707"/>
                <a:gd name="connsiteY1827" fmla="*/ 1232080 h 2907193"/>
                <a:gd name="connsiteX1828" fmla="*/ 2208445 w 4044707"/>
                <a:gd name="connsiteY1828" fmla="*/ 1233079 h 2907193"/>
                <a:gd name="connsiteX1829" fmla="*/ 2208869 w 4044707"/>
                <a:gd name="connsiteY1829" fmla="*/ 1233896 h 2907193"/>
                <a:gd name="connsiteX1830" fmla="*/ 2209474 w 4044707"/>
                <a:gd name="connsiteY1830" fmla="*/ 1234440 h 2907193"/>
                <a:gd name="connsiteX1831" fmla="*/ 2210533 w 4044707"/>
                <a:gd name="connsiteY1831" fmla="*/ 1234228 h 2907193"/>
                <a:gd name="connsiteX1832" fmla="*/ 2211652 w 4044707"/>
                <a:gd name="connsiteY1832" fmla="*/ 1235469 h 2907193"/>
                <a:gd name="connsiteX1833" fmla="*/ 2212499 w 4044707"/>
                <a:gd name="connsiteY1833" fmla="*/ 1236134 h 2907193"/>
                <a:gd name="connsiteX1834" fmla="*/ 2213437 w 4044707"/>
                <a:gd name="connsiteY1834" fmla="*/ 1237163 h 2907193"/>
                <a:gd name="connsiteX1835" fmla="*/ 2215615 w 4044707"/>
                <a:gd name="connsiteY1835" fmla="*/ 1238070 h 2907193"/>
                <a:gd name="connsiteX1836" fmla="*/ 2215222 w 4044707"/>
                <a:gd name="connsiteY1836" fmla="*/ 1236830 h 2907193"/>
                <a:gd name="connsiteX1837" fmla="*/ 2214133 w 4044707"/>
                <a:gd name="connsiteY1837" fmla="*/ 1233139 h 2907193"/>
                <a:gd name="connsiteX1838" fmla="*/ 2213830 w 4044707"/>
                <a:gd name="connsiteY1838" fmla="*/ 1229872 h 2907193"/>
                <a:gd name="connsiteX1839" fmla="*/ 2214284 w 4044707"/>
                <a:gd name="connsiteY1839" fmla="*/ 1227301 h 2907193"/>
                <a:gd name="connsiteX1840" fmla="*/ 2214798 w 4044707"/>
                <a:gd name="connsiteY1840" fmla="*/ 1225516 h 2907193"/>
                <a:gd name="connsiteX1841" fmla="*/ 2350446 w 4044707"/>
                <a:gd name="connsiteY1841" fmla="*/ 1060071 h 2907193"/>
                <a:gd name="connsiteX1842" fmla="*/ 2352352 w 4044707"/>
                <a:gd name="connsiteY1842" fmla="*/ 1054807 h 2907193"/>
                <a:gd name="connsiteX1843" fmla="*/ 2353864 w 4044707"/>
                <a:gd name="connsiteY1843" fmla="*/ 1048091 h 2907193"/>
                <a:gd name="connsiteX1844" fmla="*/ 2351172 w 4044707"/>
                <a:gd name="connsiteY1844" fmla="*/ 1046216 h 2907193"/>
                <a:gd name="connsiteX1845" fmla="*/ 2348419 w 4044707"/>
                <a:gd name="connsiteY1845" fmla="*/ 1050451 h 2907193"/>
                <a:gd name="connsiteX1846" fmla="*/ 2345847 w 4044707"/>
                <a:gd name="connsiteY1846" fmla="*/ 1056773 h 2907193"/>
                <a:gd name="connsiteX1847" fmla="*/ 2343609 w 4044707"/>
                <a:gd name="connsiteY1847" fmla="*/ 1061099 h 2907193"/>
                <a:gd name="connsiteX1848" fmla="*/ 2341612 w 4044707"/>
                <a:gd name="connsiteY1848" fmla="*/ 1062098 h 2907193"/>
                <a:gd name="connsiteX1849" fmla="*/ 2339767 w 4044707"/>
                <a:gd name="connsiteY1849" fmla="*/ 1061402 h 2907193"/>
                <a:gd name="connsiteX1850" fmla="*/ 2333051 w 4044707"/>
                <a:gd name="connsiteY1850" fmla="*/ 1055473 h 2907193"/>
                <a:gd name="connsiteX1851" fmla="*/ 2332083 w 4044707"/>
                <a:gd name="connsiteY1851" fmla="*/ 1055926 h 2907193"/>
                <a:gd name="connsiteX1852" fmla="*/ 2332567 w 4044707"/>
                <a:gd name="connsiteY1852" fmla="*/ 1059345 h 2907193"/>
                <a:gd name="connsiteX1853" fmla="*/ 2329421 w 4044707"/>
                <a:gd name="connsiteY1853" fmla="*/ 1064276 h 2907193"/>
                <a:gd name="connsiteX1854" fmla="*/ 2327666 w 4044707"/>
                <a:gd name="connsiteY1854" fmla="*/ 1066212 h 2907193"/>
                <a:gd name="connsiteX1855" fmla="*/ 2325609 w 4044707"/>
                <a:gd name="connsiteY1855" fmla="*/ 1067634 h 2907193"/>
                <a:gd name="connsiteX1856" fmla="*/ 2325609 w 4044707"/>
                <a:gd name="connsiteY1856" fmla="*/ 1069116 h 2907193"/>
                <a:gd name="connsiteX1857" fmla="*/ 2333111 w 4044707"/>
                <a:gd name="connsiteY1857" fmla="*/ 1071052 h 2907193"/>
                <a:gd name="connsiteX1858" fmla="*/ 2336379 w 4044707"/>
                <a:gd name="connsiteY1858" fmla="*/ 1072928 h 2907193"/>
                <a:gd name="connsiteX1859" fmla="*/ 2340463 w 4044707"/>
                <a:gd name="connsiteY1859" fmla="*/ 1079038 h 2907193"/>
                <a:gd name="connsiteX1860" fmla="*/ 2341128 w 4044707"/>
                <a:gd name="connsiteY1860" fmla="*/ 1079795 h 2907193"/>
                <a:gd name="connsiteX1861" fmla="*/ 2341461 w 4044707"/>
                <a:gd name="connsiteY1861" fmla="*/ 1081156 h 2907193"/>
                <a:gd name="connsiteX1862" fmla="*/ 2341552 w 4044707"/>
                <a:gd name="connsiteY1862" fmla="*/ 1084726 h 2907193"/>
                <a:gd name="connsiteX1863" fmla="*/ 2342247 w 4044707"/>
                <a:gd name="connsiteY1863" fmla="*/ 1087206 h 2907193"/>
                <a:gd name="connsiteX1864" fmla="*/ 2343851 w 4044707"/>
                <a:gd name="connsiteY1864" fmla="*/ 1087569 h 2907193"/>
                <a:gd name="connsiteX1865" fmla="*/ 2345666 w 4044707"/>
                <a:gd name="connsiteY1865" fmla="*/ 1086692 h 2907193"/>
                <a:gd name="connsiteX1866" fmla="*/ 2347058 w 4044707"/>
                <a:gd name="connsiteY1866" fmla="*/ 1085452 h 2907193"/>
                <a:gd name="connsiteX1867" fmla="*/ 2346906 w 4044707"/>
                <a:gd name="connsiteY1867" fmla="*/ 1084756 h 2907193"/>
                <a:gd name="connsiteX1868" fmla="*/ 2346573 w 4044707"/>
                <a:gd name="connsiteY1868" fmla="*/ 1083092 h 2907193"/>
                <a:gd name="connsiteX1869" fmla="*/ 2346301 w 4044707"/>
                <a:gd name="connsiteY1869" fmla="*/ 1082215 h 2907193"/>
                <a:gd name="connsiteX1870" fmla="*/ 2347965 w 4044707"/>
                <a:gd name="connsiteY1870" fmla="*/ 1079886 h 2907193"/>
                <a:gd name="connsiteX1871" fmla="*/ 2347723 w 4044707"/>
                <a:gd name="connsiteY1871" fmla="*/ 1075892 h 2907193"/>
                <a:gd name="connsiteX1872" fmla="*/ 2345666 w 4044707"/>
                <a:gd name="connsiteY1872" fmla="*/ 1067664 h 2907193"/>
                <a:gd name="connsiteX1873" fmla="*/ 2348207 w 4044707"/>
                <a:gd name="connsiteY1873" fmla="*/ 1064306 h 2907193"/>
                <a:gd name="connsiteX1874" fmla="*/ 2350415 w 4044707"/>
                <a:gd name="connsiteY1874" fmla="*/ 1060162 h 2907193"/>
                <a:gd name="connsiteX1875" fmla="*/ 2354923 w 4044707"/>
                <a:gd name="connsiteY1875" fmla="*/ 996906 h 2907193"/>
                <a:gd name="connsiteX1876" fmla="*/ 2363212 w 4044707"/>
                <a:gd name="connsiteY1876" fmla="*/ 994153 h 2907193"/>
                <a:gd name="connsiteX1877" fmla="*/ 2365783 w 4044707"/>
                <a:gd name="connsiteY1877" fmla="*/ 992338 h 2907193"/>
                <a:gd name="connsiteX1878" fmla="*/ 2367870 w 4044707"/>
                <a:gd name="connsiteY1878" fmla="*/ 988829 h 2907193"/>
                <a:gd name="connsiteX1879" fmla="*/ 2368536 w 4044707"/>
                <a:gd name="connsiteY1879" fmla="*/ 986348 h 2907193"/>
                <a:gd name="connsiteX1880" fmla="*/ 2367810 w 4044707"/>
                <a:gd name="connsiteY1880" fmla="*/ 985894 h 2907193"/>
                <a:gd name="connsiteX1881" fmla="*/ 2367447 w 4044707"/>
                <a:gd name="connsiteY1881" fmla="*/ 985773 h 2907193"/>
                <a:gd name="connsiteX1882" fmla="*/ 2366509 w 4044707"/>
                <a:gd name="connsiteY1882" fmla="*/ 986711 h 2907193"/>
                <a:gd name="connsiteX1883" fmla="*/ 2366449 w 4044707"/>
                <a:gd name="connsiteY1883" fmla="*/ 986257 h 2907193"/>
                <a:gd name="connsiteX1884" fmla="*/ 2366933 w 4044707"/>
                <a:gd name="connsiteY1884" fmla="*/ 984714 h 2907193"/>
                <a:gd name="connsiteX1885" fmla="*/ 2366660 w 4044707"/>
                <a:gd name="connsiteY1885" fmla="*/ 983172 h 2907193"/>
                <a:gd name="connsiteX1886" fmla="*/ 2365571 w 4044707"/>
                <a:gd name="connsiteY1886" fmla="*/ 982052 h 2907193"/>
                <a:gd name="connsiteX1887" fmla="*/ 2363756 w 4044707"/>
                <a:gd name="connsiteY1887" fmla="*/ 982052 h 2907193"/>
                <a:gd name="connsiteX1888" fmla="*/ 2357464 w 4044707"/>
                <a:gd name="connsiteY1888" fmla="*/ 986439 h 2907193"/>
                <a:gd name="connsiteX1889" fmla="*/ 2354469 w 4044707"/>
                <a:gd name="connsiteY1889" fmla="*/ 989918 h 2907193"/>
                <a:gd name="connsiteX1890" fmla="*/ 2353441 w 4044707"/>
                <a:gd name="connsiteY1890" fmla="*/ 991945 h 2907193"/>
                <a:gd name="connsiteX1891" fmla="*/ 2352412 w 4044707"/>
                <a:gd name="connsiteY1891" fmla="*/ 993094 h 2907193"/>
                <a:gd name="connsiteX1892" fmla="*/ 2351383 w 4044707"/>
                <a:gd name="connsiteY1892" fmla="*/ 993094 h 2907193"/>
                <a:gd name="connsiteX1893" fmla="*/ 2351020 w 4044707"/>
                <a:gd name="connsiteY1893" fmla="*/ 993790 h 2907193"/>
                <a:gd name="connsiteX1894" fmla="*/ 2351353 w 4044707"/>
                <a:gd name="connsiteY1894" fmla="*/ 994697 h 2907193"/>
                <a:gd name="connsiteX1895" fmla="*/ 2349387 w 4044707"/>
                <a:gd name="connsiteY1895" fmla="*/ 995847 h 2907193"/>
                <a:gd name="connsiteX1896" fmla="*/ 2349145 w 4044707"/>
                <a:gd name="connsiteY1896" fmla="*/ 997481 h 2907193"/>
                <a:gd name="connsiteX1897" fmla="*/ 2350355 w 4044707"/>
                <a:gd name="connsiteY1897" fmla="*/ 998297 h 2907193"/>
                <a:gd name="connsiteX1898" fmla="*/ 2352079 w 4044707"/>
                <a:gd name="connsiteY1898" fmla="*/ 998297 h 2907193"/>
                <a:gd name="connsiteX1899" fmla="*/ 2353955 w 4044707"/>
                <a:gd name="connsiteY1899" fmla="*/ 997632 h 2907193"/>
                <a:gd name="connsiteX1900" fmla="*/ 2354893 w 4044707"/>
                <a:gd name="connsiteY1900" fmla="*/ 996966 h 2907193"/>
                <a:gd name="connsiteX1901" fmla="*/ 2423442 w 4044707"/>
                <a:gd name="connsiteY1901" fmla="*/ 857386 h 2907193"/>
                <a:gd name="connsiteX1902" fmla="*/ 2423049 w 4044707"/>
                <a:gd name="connsiteY1902" fmla="*/ 860079 h 2907193"/>
                <a:gd name="connsiteX1903" fmla="*/ 2423835 w 4044707"/>
                <a:gd name="connsiteY1903" fmla="*/ 864102 h 2907193"/>
                <a:gd name="connsiteX1904" fmla="*/ 2424138 w 4044707"/>
                <a:gd name="connsiteY1904" fmla="*/ 866250 h 2907193"/>
                <a:gd name="connsiteX1905" fmla="*/ 2424955 w 4044707"/>
                <a:gd name="connsiteY1905" fmla="*/ 866704 h 2907193"/>
                <a:gd name="connsiteX1906" fmla="*/ 2429220 w 4044707"/>
                <a:gd name="connsiteY1906" fmla="*/ 865645 h 2907193"/>
                <a:gd name="connsiteX1907" fmla="*/ 2438961 w 4044707"/>
                <a:gd name="connsiteY1907" fmla="*/ 866401 h 2907193"/>
                <a:gd name="connsiteX1908" fmla="*/ 2441805 w 4044707"/>
                <a:gd name="connsiteY1908" fmla="*/ 867672 h 2907193"/>
                <a:gd name="connsiteX1909" fmla="*/ 2443348 w 4044707"/>
                <a:gd name="connsiteY1909" fmla="*/ 867672 h 2907193"/>
                <a:gd name="connsiteX1910" fmla="*/ 2451334 w 4044707"/>
                <a:gd name="connsiteY1910" fmla="*/ 865433 h 2907193"/>
                <a:gd name="connsiteX1911" fmla="*/ 2451727 w 4044707"/>
                <a:gd name="connsiteY1911" fmla="*/ 865887 h 2907193"/>
                <a:gd name="connsiteX1912" fmla="*/ 2452453 w 4044707"/>
                <a:gd name="connsiteY1912" fmla="*/ 866220 h 2907193"/>
                <a:gd name="connsiteX1913" fmla="*/ 2456023 w 4044707"/>
                <a:gd name="connsiteY1913" fmla="*/ 863920 h 2907193"/>
                <a:gd name="connsiteX1914" fmla="*/ 2457596 w 4044707"/>
                <a:gd name="connsiteY1914" fmla="*/ 861016 h 2907193"/>
                <a:gd name="connsiteX1915" fmla="*/ 2457505 w 4044707"/>
                <a:gd name="connsiteY1915" fmla="*/ 859201 h 2907193"/>
                <a:gd name="connsiteX1916" fmla="*/ 2456658 w 4044707"/>
                <a:gd name="connsiteY1916" fmla="*/ 859141 h 2907193"/>
                <a:gd name="connsiteX1917" fmla="*/ 2455116 w 4044707"/>
                <a:gd name="connsiteY1917" fmla="*/ 859746 h 2907193"/>
                <a:gd name="connsiteX1918" fmla="*/ 2455025 w 4044707"/>
                <a:gd name="connsiteY1918" fmla="*/ 860502 h 2907193"/>
                <a:gd name="connsiteX1919" fmla="*/ 2453361 w 4044707"/>
                <a:gd name="connsiteY1919" fmla="*/ 862257 h 2907193"/>
                <a:gd name="connsiteX1920" fmla="*/ 2452786 w 4044707"/>
                <a:gd name="connsiteY1920" fmla="*/ 860321 h 2907193"/>
                <a:gd name="connsiteX1921" fmla="*/ 2451727 w 4044707"/>
                <a:gd name="connsiteY1921" fmla="*/ 860018 h 2907193"/>
                <a:gd name="connsiteX1922" fmla="*/ 2450185 w 4044707"/>
                <a:gd name="connsiteY1922" fmla="*/ 860018 h 2907193"/>
                <a:gd name="connsiteX1923" fmla="*/ 2449852 w 4044707"/>
                <a:gd name="connsiteY1923" fmla="*/ 858536 h 2907193"/>
                <a:gd name="connsiteX1924" fmla="*/ 2448218 w 4044707"/>
                <a:gd name="connsiteY1924" fmla="*/ 857658 h 2907193"/>
                <a:gd name="connsiteX1925" fmla="*/ 2443287 w 4044707"/>
                <a:gd name="connsiteY1925" fmla="*/ 856963 h 2907193"/>
                <a:gd name="connsiteX1926" fmla="*/ 2441018 w 4044707"/>
                <a:gd name="connsiteY1926" fmla="*/ 855874 h 2907193"/>
                <a:gd name="connsiteX1927" fmla="*/ 2437902 w 4044707"/>
                <a:gd name="connsiteY1927" fmla="*/ 851487 h 2907193"/>
                <a:gd name="connsiteX1928" fmla="*/ 2437660 w 4044707"/>
                <a:gd name="connsiteY1928" fmla="*/ 850338 h 2907193"/>
                <a:gd name="connsiteX1929" fmla="*/ 2438114 w 4044707"/>
                <a:gd name="connsiteY1929" fmla="*/ 848825 h 2907193"/>
                <a:gd name="connsiteX1930" fmla="*/ 2438356 w 4044707"/>
                <a:gd name="connsiteY1930" fmla="*/ 846889 h 2907193"/>
                <a:gd name="connsiteX1931" fmla="*/ 2438054 w 4044707"/>
                <a:gd name="connsiteY1931" fmla="*/ 845558 h 2907193"/>
                <a:gd name="connsiteX1932" fmla="*/ 2437570 w 4044707"/>
                <a:gd name="connsiteY1932" fmla="*/ 845437 h 2907193"/>
                <a:gd name="connsiteX1933" fmla="*/ 2436602 w 4044707"/>
                <a:gd name="connsiteY1933" fmla="*/ 847131 h 2907193"/>
                <a:gd name="connsiteX1934" fmla="*/ 2433909 w 4044707"/>
                <a:gd name="connsiteY1934" fmla="*/ 850428 h 2907193"/>
                <a:gd name="connsiteX1935" fmla="*/ 2433153 w 4044707"/>
                <a:gd name="connsiteY1935" fmla="*/ 851941 h 2907193"/>
                <a:gd name="connsiteX1936" fmla="*/ 2432185 w 4044707"/>
                <a:gd name="connsiteY1936" fmla="*/ 853453 h 2907193"/>
                <a:gd name="connsiteX1937" fmla="*/ 2430824 w 4044707"/>
                <a:gd name="connsiteY1937" fmla="*/ 853665 h 2907193"/>
                <a:gd name="connsiteX1938" fmla="*/ 2428857 w 4044707"/>
                <a:gd name="connsiteY1938" fmla="*/ 852909 h 2907193"/>
                <a:gd name="connsiteX1939" fmla="*/ 2424773 w 4044707"/>
                <a:gd name="connsiteY1939" fmla="*/ 852576 h 2907193"/>
                <a:gd name="connsiteX1940" fmla="*/ 2424138 w 4044707"/>
                <a:gd name="connsiteY1940" fmla="*/ 853030 h 2907193"/>
                <a:gd name="connsiteX1941" fmla="*/ 2424652 w 4044707"/>
                <a:gd name="connsiteY1941" fmla="*/ 854573 h 2907193"/>
                <a:gd name="connsiteX1942" fmla="*/ 2424652 w 4044707"/>
                <a:gd name="connsiteY1942" fmla="*/ 855722 h 2907193"/>
                <a:gd name="connsiteX1943" fmla="*/ 2423442 w 4044707"/>
                <a:gd name="connsiteY1943" fmla="*/ 857356 h 2907193"/>
                <a:gd name="connsiteX1944" fmla="*/ 2477653 w 4044707"/>
                <a:gd name="connsiteY1944" fmla="*/ 846859 h 2907193"/>
                <a:gd name="connsiteX1945" fmla="*/ 2478318 w 4044707"/>
                <a:gd name="connsiteY1945" fmla="*/ 847464 h 2907193"/>
                <a:gd name="connsiteX1946" fmla="*/ 2479619 w 4044707"/>
                <a:gd name="connsiteY1946" fmla="*/ 848159 h 2907193"/>
                <a:gd name="connsiteX1947" fmla="*/ 2489088 w 4044707"/>
                <a:gd name="connsiteY1947" fmla="*/ 849339 h 2907193"/>
                <a:gd name="connsiteX1948" fmla="*/ 2492567 w 4044707"/>
                <a:gd name="connsiteY1948" fmla="*/ 848855 h 2907193"/>
                <a:gd name="connsiteX1949" fmla="*/ 2493474 w 4044707"/>
                <a:gd name="connsiteY1949" fmla="*/ 848522 h 2907193"/>
                <a:gd name="connsiteX1950" fmla="*/ 2495320 w 4044707"/>
                <a:gd name="connsiteY1950" fmla="*/ 847282 h 2907193"/>
                <a:gd name="connsiteX1951" fmla="*/ 2498012 w 4044707"/>
                <a:gd name="connsiteY1951" fmla="*/ 842654 h 2907193"/>
                <a:gd name="connsiteX1952" fmla="*/ 2500281 w 4044707"/>
                <a:gd name="connsiteY1952" fmla="*/ 842744 h 2907193"/>
                <a:gd name="connsiteX1953" fmla="*/ 2506059 w 4044707"/>
                <a:gd name="connsiteY1953" fmla="*/ 847403 h 2907193"/>
                <a:gd name="connsiteX1954" fmla="*/ 2511595 w 4044707"/>
                <a:gd name="connsiteY1954" fmla="*/ 849733 h 2907193"/>
                <a:gd name="connsiteX1955" fmla="*/ 2515891 w 4044707"/>
                <a:gd name="connsiteY1955" fmla="*/ 849642 h 2907193"/>
                <a:gd name="connsiteX1956" fmla="*/ 2520005 w 4044707"/>
                <a:gd name="connsiteY1956" fmla="*/ 847494 h 2907193"/>
                <a:gd name="connsiteX1957" fmla="*/ 2520912 w 4044707"/>
                <a:gd name="connsiteY1957" fmla="*/ 846465 h 2907193"/>
                <a:gd name="connsiteX1958" fmla="*/ 2520852 w 4044707"/>
                <a:gd name="connsiteY1958" fmla="*/ 844711 h 2907193"/>
                <a:gd name="connsiteX1959" fmla="*/ 2520580 w 4044707"/>
                <a:gd name="connsiteY1959" fmla="*/ 843682 h 2907193"/>
                <a:gd name="connsiteX1960" fmla="*/ 2519430 w 4044707"/>
                <a:gd name="connsiteY1960" fmla="*/ 842200 h 2907193"/>
                <a:gd name="connsiteX1961" fmla="*/ 2516738 w 4044707"/>
                <a:gd name="connsiteY1961" fmla="*/ 841111 h 2907193"/>
                <a:gd name="connsiteX1962" fmla="*/ 2513501 w 4044707"/>
                <a:gd name="connsiteY1962" fmla="*/ 838903 h 2907193"/>
                <a:gd name="connsiteX1963" fmla="*/ 2484762 w 4044707"/>
                <a:gd name="connsiteY1963" fmla="*/ 839387 h 2907193"/>
                <a:gd name="connsiteX1964" fmla="*/ 2480920 w 4044707"/>
                <a:gd name="connsiteY1964" fmla="*/ 840566 h 2907193"/>
                <a:gd name="connsiteX1965" fmla="*/ 2479468 w 4044707"/>
                <a:gd name="connsiteY1965" fmla="*/ 841837 h 2907193"/>
                <a:gd name="connsiteX1966" fmla="*/ 2478167 w 4044707"/>
                <a:gd name="connsiteY1966" fmla="*/ 843743 h 2907193"/>
                <a:gd name="connsiteX1967" fmla="*/ 2476836 w 4044707"/>
                <a:gd name="connsiteY1967" fmla="*/ 844348 h 2907193"/>
                <a:gd name="connsiteX1968" fmla="*/ 2475596 w 4044707"/>
                <a:gd name="connsiteY1968" fmla="*/ 844227 h 2907193"/>
                <a:gd name="connsiteX1969" fmla="*/ 2475505 w 4044707"/>
                <a:gd name="connsiteY1969" fmla="*/ 845074 h 2907193"/>
                <a:gd name="connsiteX1970" fmla="*/ 2476866 w 4044707"/>
                <a:gd name="connsiteY1970" fmla="*/ 846375 h 2907193"/>
                <a:gd name="connsiteX1971" fmla="*/ 2477653 w 4044707"/>
                <a:gd name="connsiteY1971" fmla="*/ 846889 h 2907193"/>
                <a:gd name="connsiteX1972" fmla="*/ 2452938 w 4044707"/>
                <a:gd name="connsiteY1972" fmla="*/ 843289 h 2907193"/>
                <a:gd name="connsiteX1973" fmla="*/ 2451153 w 4044707"/>
                <a:gd name="connsiteY1973" fmla="*/ 838540 h 2907193"/>
                <a:gd name="connsiteX1974" fmla="*/ 2450124 w 4044707"/>
                <a:gd name="connsiteY1974" fmla="*/ 836634 h 2907193"/>
                <a:gd name="connsiteX1975" fmla="*/ 2449277 w 4044707"/>
                <a:gd name="connsiteY1975" fmla="*/ 836513 h 2907193"/>
                <a:gd name="connsiteX1976" fmla="*/ 2449186 w 4044707"/>
                <a:gd name="connsiteY1976" fmla="*/ 837934 h 2907193"/>
                <a:gd name="connsiteX1977" fmla="*/ 2448218 w 4044707"/>
                <a:gd name="connsiteY1977" fmla="*/ 839387 h 2907193"/>
                <a:gd name="connsiteX1978" fmla="*/ 2446010 w 4044707"/>
                <a:gd name="connsiteY1978" fmla="*/ 841020 h 2907193"/>
                <a:gd name="connsiteX1979" fmla="*/ 2444709 w 4044707"/>
                <a:gd name="connsiteY1979" fmla="*/ 842865 h 2907193"/>
                <a:gd name="connsiteX1980" fmla="*/ 2444165 w 4044707"/>
                <a:gd name="connsiteY1980" fmla="*/ 844408 h 2907193"/>
                <a:gd name="connsiteX1981" fmla="*/ 2443378 w 4044707"/>
                <a:gd name="connsiteY1981" fmla="*/ 845588 h 2907193"/>
                <a:gd name="connsiteX1982" fmla="*/ 2443015 w 4044707"/>
                <a:gd name="connsiteY1982" fmla="*/ 846798 h 2907193"/>
                <a:gd name="connsiteX1983" fmla="*/ 2443106 w 4044707"/>
                <a:gd name="connsiteY1983" fmla="*/ 847554 h 2907193"/>
                <a:gd name="connsiteX1984" fmla="*/ 2443680 w 4044707"/>
                <a:gd name="connsiteY1984" fmla="*/ 849007 h 2907193"/>
                <a:gd name="connsiteX1985" fmla="*/ 2444407 w 4044707"/>
                <a:gd name="connsiteY1985" fmla="*/ 852001 h 2907193"/>
                <a:gd name="connsiteX1986" fmla="*/ 2445556 w 4044707"/>
                <a:gd name="connsiteY1986" fmla="*/ 853938 h 2907193"/>
                <a:gd name="connsiteX1987" fmla="*/ 2453966 w 4044707"/>
                <a:gd name="connsiteY1987" fmla="*/ 853877 h 2907193"/>
                <a:gd name="connsiteX1988" fmla="*/ 2455811 w 4044707"/>
                <a:gd name="connsiteY1988" fmla="*/ 851427 h 2907193"/>
                <a:gd name="connsiteX1989" fmla="*/ 2454632 w 4044707"/>
                <a:gd name="connsiteY1989" fmla="*/ 846889 h 2907193"/>
                <a:gd name="connsiteX1990" fmla="*/ 2452938 w 4044707"/>
                <a:gd name="connsiteY1990" fmla="*/ 843350 h 2907193"/>
                <a:gd name="connsiteX1991" fmla="*/ 2212711 w 4044707"/>
                <a:gd name="connsiteY1991" fmla="*/ 888727 h 2907193"/>
                <a:gd name="connsiteX1992" fmla="*/ 2213981 w 4044707"/>
                <a:gd name="connsiteY1992" fmla="*/ 884733 h 2907193"/>
                <a:gd name="connsiteX1993" fmla="*/ 2215373 w 4044707"/>
                <a:gd name="connsiteY1993" fmla="*/ 881194 h 2907193"/>
                <a:gd name="connsiteX1994" fmla="*/ 2224962 w 4044707"/>
                <a:gd name="connsiteY1994" fmla="*/ 877171 h 2907193"/>
                <a:gd name="connsiteX1995" fmla="*/ 2227080 w 4044707"/>
                <a:gd name="connsiteY1995" fmla="*/ 875477 h 2907193"/>
                <a:gd name="connsiteX1996" fmla="*/ 2227231 w 4044707"/>
                <a:gd name="connsiteY1996" fmla="*/ 874751 h 2907193"/>
                <a:gd name="connsiteX1997" fmla="*/ 2227292 w 4044707"/>
                <a:gd name="connsiteY1997" fmla="*/ 873601 h 2907193"/>
                <a:gd name="connsiteX1998" fmla="*/ 2227504 w 4044707"/>
                <a:gd name="connsiteY1998" fmla="*/ 872572 h 2907193"/>
                <a:gd name="connsiteX1999" fmla="*/ 2229016 w 4044707"/>
                <a:gd name="connsiteY1999" fmla="*/ 871181 h 2907193"/>
                <a:gd name="connsiteX2000" fmla="*/ 2229954 w 4044707"/>
                <a:gd name="connsiteY2000" fmla="*/ 869003 h 2907193"/>
                <a:gd name="connsiteX2001" fmla="*/ 2230408 w 4044707"/>
                <a:gd name="connsiteY2001" fmla="*/ 866492 h 2907193"/>
                <a:gd name="connsiteX2002" fmla="*/ 2229863 w 4044707"/>
                <a:gd name="connsiteY2002" fmla="*/ 864526 h 2907193"/>
                <a:gd name="connsiteX2003" fmla="*/ 2228139 w 4044707"/>
                <a:gd name="connsiteY2003" fmla="*/ 863225 h 2907193"/>
                <a:gd name="connsiteX2004" fmla="*/ 2224630 w 4044707"/>
                <a:gd name="connsiteY2004" fmla="*/ 862650 h 2907193"/>
                <a:gd name="connsiteX2005" fmla="*/ 2222875 w 4044707"/>
                <a:gd name="connsiteY2005" fmla="*/ 861833 h 2907193"/>
                <a:gd name="connsiteX2006" fmla="*/ 2221695 w 4044707"/>
                <a:gd name="connsiteY2006" fmla="*/ 860169 h 2907193"/>
                <a:gd name="connsiteX2007" fmla="*/ 2221786 w 4044707"/>
                <a:gd name="connsiteY2007" fmla="*/ 858778 h 2907193"/>
                <a:gd name="connsiteX2008" fmla="*/ 2222754 w 4044707"/>
                <a:gd name="connsiteY2008" fmla="*/ 858082 h 2907193"/>
                <a:gd name="connsiteX2009" fmla="*/ 2224236 w 4044707"/>
                <a:gd name="connsiteY2009" fmla="*/ 858475 h 2907193"/>
                <a:gd name="connsiteX2010" fmla="*/ 2223329 w 4044707"/>
                <a:gd name="connsiteY2010" fmla="*/ 853181 h 2907193"/>
                <a:gd name="connsiteX2011" fmla="*/ 2225205 w 4044707"/>
                <a:gd name="connsiteY2011" fmla="*/ 854331 h 2907193"/>
                <a:gd name="connsiteX2012" fmla="*/ 2229742 w 4044707"/>
                <a:gd name="connsiteY2012" fmla="*/ 860321 h 2907193"/>
                <a:gd name="connsiteX2013" fmla="*/ 2231346 w 4044707"/>
                <a:gd name="connsiteY2013" fmla="*/ 860744 h 2907193"/>
                <a:gd name="connsiteX2014" fmla="*/ 2236307 w 4044707"/>
                <a:gd name="connsiteY2014" fmla="*/ 860321 h 2907193"/>
                <a:gd name="connsiteX2015" fmla="*/ 2238122 w 4044707"/>
                <a:gd name="connsiteY2015" fmla="*/ 859473 h 2907193"/>
                <a:gd name="connsiteX2016" fmla="*/ 2238848 w 4044707"/>
                <a:gd name="connsiteY2016" fmla="*/ 857356 h 2907193"/>
                <a:gd name="connsiteX2017" fmla="*/ 2238848 w 4044707"/>
                <a:gd name="connsiteY2017" fmla="*/ 854573 h 2907193"/>
                <a:gd name="connsiteX2018" fmla="*/ 2238364 w 4044707"/>
                <a:gd name="connsiteY2018" fmla="*/ 848885 h 2907193"/>
                <a:gd name="connsiteX2019" fmla="*/ 2237487 w 4044707"/>
                <a:gd name="connsiteY2019" fmla="*/ 844650 h 2907193"/>
                <a:gd name="connsiteX2020" fmla="*/ 2236851 w 4044707"/>
                <a:gd name="connsiteY2020" fmla="*/ 838660 h 2907193"/>
                <a:gd name="connsiteX2021" fmla="*/ 2235732 w 4044707"/>
                <a:gd name="connsiteY2021" fmla="*/ 839387 h 2907193"/>
                <a:gd name="connsiteX2022" fmla="*/ 2234371 w 4044707"/>
                <a:gd name="connsiteY2022" fmla="*/ 841837 h 2907193"/>
                <a:gd name="connsiteX2023" fmla="*/ 2233251 w 4044707"/>
                <a:gd name="connsiteY2023" fmla="*/ 843319 h 2907193"/>
                <a:gd name="connsiteX2024" fmla="*/ 2231679 w 4044707"/>
                <a:gd name="connsiteY2024" fmla="*/ 842896 h 2907193"/>
                <a:gd name="connsiteX2025" fmla="*/ 2230771 w 4044707"/>
                <a:gd name="connsiteY2025" fmla="*/ 841565 h 2907193"/>
                <a:gd name="connsiteX2026" fmla="*/ 2230771 w 4044707"/>
                <a:gd name="connsiteY2026" fmla="*/ 839598 h 2907193"/>
                <a:gd name="connsiteX2027" fmla="*/ 2231890 w 4044707"/>
                <a:gd name="connsiteY2027" fmla="*/ 837450 h 2907193"/>
                <a:gd name="connsiteX2028" fmla="*/ 2233887 w 4044707"/>
                <a:gd name="connsiteY2028" fmla="*/ 836422 h 2907193"/>
                <a:gd name="connsiteX2029" fmla="*/ 2235944 w 4044707"/>
                <a:gd name="connsiteY2029" fmla="*/ 836634 h 2907193"/>
                <a:gd name="connsiteX2030" fmla="*/ 2237850 w 4044707"/>
                <a:gd name="connsiteY2030" fmla="*/ 836210 h 2907193"/>
                <a:gd name="connsiteX2031" fmla="*/ 2239453 w 4044707"/>
                <a:gd name="connsiteY2031" fmla="*/ 833215 h 2907193"/>
                <a:gd name="connsiteX2032" fmla="*/ 2235339 w 4044707"/>
                <a:gd name="connsiteY2032" fmla="*/ 833215 h 2907193"/>
                <a:gd name="connsiteX2033" fmla="*/ 2235339 w 4044707"/>
                <a:gd name="connsiteY2033" fmla="*/ 831521 h 2907193"/>
                <a:gd name="connsiteX2034" fmla="*/ 2236700 w 4044707"/>
                <a:gd name="connsiteY2034" fmla="*/ 831067 h 2907193"/>
                <a:gd name="connsiteX2035" fmla="*/ 2237971 w 4044707"/>
                <a:gd name="connsiteY2035" fmla="*/ 830251 h 2907193"/>
                <a:gd name="connsiteX2036" fmla="*/ 2239151 w 4044707"/>
                <a:gd name="connsiteY2036" fmla="*/ 828799 h 2907193"/>
                <a:gd name="connsiteX2037" fmla="*/ 2240149 w 4044707"/>
                <a:gd name="connsiteY2037" fmla="*/ 826469 h 2907193"/>
                <a:gd name="connsiteX2038" fmla="*/ 2241510 w 4044707"/>
                <a:gd name="connsiteY2038" fmla="*/ 826469 h 2907193"/>
                <a:gd name="connsiteX2039" fmla="*/ 2241510 w 4044707"/>
                <a:gd name="connsiteY2039" fmla="*/ 824624 h 2907193"/>
                <a:gd name="connsiteX2040" fmla="*/ 2233735 w 4044707"/>
                <a:gd name="connsiteY2040" fmla="*/ 819874 h 2907193"/>
                <a:gd name="connsiteX2041" fmla="*/ 2231225 w 4044707"/>
                <a:gd name="connsiteY2041" fmla="*/ 819693 h 2907193"/>
                <a:gd name="connsiteX2042" fmla="*/ 2231225 w 4044707"/>
                <a:gd name="connsiteY2042" fmla="*/ 821387 h 2907193"/>
                <a:gd name="connsiteX2043" fmla="*/ 2231739 w 4044707"/>
                <a:gd name="connsiteY2043" fmla="*/ 822083 h 2907193"/>
                <a:gd name="connsiteX2044" fmla="*/ 2232616 w 4044707"/>
                <a:gd name="connsiteY2044" fmla="*/ 823777 h 2907193"/>
                <a:gd name="connsiteX2045" fmla="*/ 2233282 w 4044707"/>
                <a:gd name="connsiteY2045" fmla="*/ 824594 h 2907193"/>
                <a:gd name="connsiteX2046" fmla="*/ 2232011 w 4044707"/>
                <a:gd name="connsiteY2046" fmla="*/ 828133 h 2907193"/>
                <a:gd name="connsiteX2047" fmla="*/ 2230468 w 4044707"/>
                <a:gd name="connsiteY2047" fmla="*/ 829646 h 2907193"/>
                <a:gd name="connsiteX2048" fmla="*/ 2227111 w 4044707"/>
                <a:gd name="connsiteY2048" fmla="*/ 831491 h 2907193"/>
                <a:gd name="connsiteX2049" fmla="*/ 2224751 w 4044707"/>
                <a:gd name="connsiteY2049" fmla="*/ 834577 h 2907193"/>
                <a:gd name="connsiteX2050" fmla="*/ 2223632 w 4044707"/>
                <a:gd name="connsiteY2050" fmla="*/ 836603 h 2907193"/>
                <a:gd name="connsiteX2051" fmla="*/ 2218791 w 4044707"/>
                <a:gd name="connsiteY2051" fmla="*/ 848371 h 2907193"/>
                <a:gd name="connsiteX2052" fmla="*/ 2218610 w 4044707"/>
                <a:gd name="connsiteY2052" fmla="*/ 849702 h 2907193"/>
                <a:gd name="connsiteX2053" fmla="*/ 2218701 w 4044707"/>
                <a:gd name="connsiteY2053" fmla="*/ 852909 h 2907193"/>
                <a:gd name="connsiteX2054" fmla="*/ 2218428 w 4044707"/>
                <a:gd name="connsiteY2054" fmla="*/ 854391 h 2907193"/>
                <a:gd name="connsiteX2055" fmla="*/ 2217763 w 4044707"/>
                <a:gd name="connsiteY2055" fmla="*/ 855238 h 2907193"/>
                <a:gd name="connsiteX2056" fmla="*/ 2216311 w 4044707"/>
                <a:gd name="connsiteY2056" fmla="*/ 855329 h 2907193"/>
                <a:gd name="connsiteX2057" fmla="*/ 2215645 w 4044707"/>
                <a:gd name="connsiteY2057" fmla="*/ 856055 h 2907193"/>
                <a:gd name="connsiteX2058" fmla="*/ 2214919 w 4044707"/>
                <a:gd name="connsiteY2058" fmla="*/ 858384 h 2907193"/>
                <a:gd name="connsiteX2059" fmla="*/ 2214526 w 4044707"/>
                <a:gd name="connsiteY2059" fmla="*/ 863255 h 2907193"/>
                <a:gd name="connsiteX2060" fmla="*/ 2213588 w 4044707"/>
                <a:gd name="connsiteY2060" fmla="*/ 866159 h 2907193"/>
                <a:gd name="connsiteX2061" fmla="*/ 2211440 w 4044707"/>
                <a:gd name="connsiteY2061" fmla="*/ 870546 h 2907193"/>
                <a:gd name="connsiteX2062" fmla="*/ 2210563 w 4044707"/>
                <a:gd name="connsiteY2062" fmla="*/ 872814 h 2907193"/>
                <a:gd name="connsiteX2063" fmla="*/ 2209746 w 4044707"/>
                <a:gd name="connsiteY2063" fmla="*/ 875446 h 2907193"/>
                <a:gd name="connsiteX2064" fmla="*/ 2209746 w 4044707"/>
                <a:gd name="connsiteY2064" fmla="*/ 876626 h 2907193"/>
                <a:gd name="connsiteX2065" fmla="*/ 2210291 w 4044707"/>
                <a:gd name="connsiteY2065" fmla="*/ 879923 h 2907193"/>
                <a:gd name="connsiteX2066" fmla="*/ 2210442 w 4044707"/>
                <a:gd name="connsiteY2066" fmla="*/ 881436 h 2907193"/>
                <a:gd name="connsiteX2067" fmla="*/ 2210170 w 4044707"/>
                <a:gd name="connsiteY2067" fmla="*/ 881950 h 2907193"/>
                <a:gd name="connsiteX2068" fmla="*/ 2208687 w 4044707"/>
                <a:gd name="connsiteY2068" fmla="*/ 883735 h 2907193"/>
                <a:gd name="connsiteX2069" fmla="*/ 2204997 w 4044707"/>
                <a:gd name="connsiteY2069" fmla="*/ 889846 h 2907193"/>
                <a:gd name="connsiteX2070" fmla="*/ 2204271 w 4044707"/>
                <a:gd name="connsiteY2070" fmla="*/ 892417 h 2907193"/>
                <a:gd name="connsiteX2071" fmla="*/ 2209777 w 4044707"/>
                <a:gd name="connsiteY2071" fmla="*/ 891086 h 2907193"/>
                <a:gd name="connsiteX2072" fmla="*/ 2212681 w 4044707"/>
                <a:gd name="connsiteY2072" fmla="*/ 888757 h 2907193"/>
                <a:gd name="connsiteX2073" fmla="*/ 2243083 w 4044707"/>
                <a:gd name="connsiteY2073" fmla="*/ 843471 h 2907193"/>
                <a:gd name="connsiteX2074" fmla="*/ 2244263 w 4044707"/>
                <a:gd name="connsiteY2074" fmla="*/ 843380 h 2907193"/>
                <a:gd name="connsiteX2075" fmla="*/ 2245171 w 4044707"/>
                <a:gd name="connsiteY2075" fmla="*/ 841565 h 2907193"/>
                <a:gd name="connsiteX2076" fmla="*/ 2245171 w 4044707"/>
                <a:gd name="connsiteY2076" fmla="*/ 839326 h 2907193"/>
                <a:gd name="connsiteX2077" fmla="*/ 2245534 w 4044707"/>
                <a:gd name="connsiteY2077" fmla="*/ 837450 h 2907193"/>
                <a:gd name="connsiteX2078" fmla="*/ 2247379 w 4044707"/>
                <a:gd name="connsiteY2078" fmla="*/ 836634 h 2907193"/>
                <a:gd name="connsiteX2079" fmla="*/ 2247984 w 4044707"/>
                <a:gd name="connsiteY2079" fmla="*/ 837753 h 2907193"/>
                <a:gd name="connsiteX2080" fmla="*/ 2248287 w 4044707"/>
                <a:gd name="connsiteY2080" fmla="*/ 840385 h 2907193"/>
                <a:gd name="connsiteX2081" fmla="*/ 2248377 w 4044707"/>
                <a:gd name="connsiteY2081" fmla="*/ 845951 h 2907193"/>
                <a:gd name="connsiteX2082" fmla="*/ 2249708 w 4044707"/>
                <a:gd name="connsiteY2082" fmla="*/ 849248 h 2907193"/>
                <a:gd name="connsiteX2083" fmla="*/ 2252764 w 4044707"/>
                <a:gd name="connsiteY2083" fmla="*/ 846223 h 2907193"/>
                <a:gd name="connsiteX2084" fmla="*/ 2258058 w 4044707"/>
                <a:gd name="connsiteY2084" fmla="*/ 838297 h 2907193"/>
                <a:gd name="connsiteX2085" fmla="*/ 2259238 w 4044707"/>
                <a:gd name="connsiteY2085" fmla="*/ 839145 h 2907193"/>
                <a:gd name="connsiteX2086" fmla="*/ 2261597 w 4044707"/>
                <a:gd name="connsiteY2086" fmla="*/ 843047 h 2907193"/>
                <a:gd name="connsiteX2087" fmla="*/ 2262565 w 4044707"/>
                <a:gd name="connsiteY2087" fmla="*/ 842533 h 2907193"/>
                <a:gd name="connsiteX2088" fmla="*/ 2263110 w 4044707"/>
                <a:gd name="connsiteY2088" fmla="*/ 840324 h 2907193"/>
                <a:gd name="connsiteX2089" fmla="*/ 2263957 w 4044707"/>
                <a:gd name="connsiteY2089" fmla="*/ 834456 h 2907193"/>
                <a:gd name="connsiteX2090" fmla="*/ 2263957 w 4044707"/>
                <a:gd name="connsiteY2090" fmla="*/ 833246 h 2907193"/>
                <a:gd name="connsiteX2091" fmla="*/ 2265530 w 4044707"/>
                <a:gd name="connsiteY2091" fmla="*/ 830795 h 2907193"/>
                <a:gd name="connsiteX2092" fmla="*/ 2267345 w 4044707"/>
                <a:gd name="connsiteY2092" fmla="*/ 825168 h 2907193"/>
                <a:gd name="connsiteX2093" fmla="*/ 2269765 w 4044707"/>
                <a:gd name="connsiteY2093" fmla="*/ 814490 h 2907193"/>
                <a:gd name="connsiteX2094" fmla="*/ 2268797 w 4044707"/>
                <a:gd name="connsiteY2094" fmla="*/ 813431 h 2907193"/>
                <a:gd name="connsiteX2095" fmla="*/ 2266891 w 4044707"/>
                <a:gd name="connsiteY2095" fmla="*/ 810224 h 2907193"/>
                <a:gd name="connsiteX2096" fmla="*/ 2266014 w 4044707"/>
                <a:gd name="connsiteY2096" fmla="*/ 809559 h 2907193"/>
                <a:gd name="connsiteX2097" fmla="*/ 2258995 w 4044707"/>
                <a:gd name="connsiteY2097" fmla="*/ 807108 h 2907193"/>
                <a:gd name="connsiteX2098" fmla="*/ 2255486 w 4044707"/>
                <a:gd name="connsiteY2098" fmla="*/ 807955 h 2907193"/>
                <a:gd name="connsiteX2099" fmla="*/ 2253944 w 4044707"/>
                <a:gd name="connsiteY2099" fmla="*/ 813703 h 2907193"/>
                <a:gd name="connsiteX2100" fmla="*/ 2255305 w 4044707"/>
                <a:gd name="connsiteY2100" fmla="*/ 816365 h 2907193"/>
                <a:gd name="connsiteX2101" fmla="*/ 2257937 w 4044707"/>
                <a:gd name="connsiteY2101" fmla="*/ 819874 h 2907193"/>
                <a:gd name="connsiteX2102" fmla="*/ 2259782 w 4044707"/>
                <a:gd name="connsiteY2102" fmla="*/ 824382 h 2907193"/>
                <a:gd name="connsiteX2103" fmla="*/ 2258753 w 4044707"/>
                <a:gd name="connsiteY2103" fmla="*/ 829978 h 2907193"/>
                <a:gd name="connsiteX2104" fmla="*/ 2257120 w 4044707"/>
                <a:gd name="connsiteY2104" fmla="*/ 831249 h 2907193"/>
                <a:gd name="connsiteX2105" fmla="*/ 2255698 w 4044707"/>
                <a:gd name="connsiteY2105" fmla="*/ 829464 h 2907193"/>
                <a:gd name="connsiteX2106" fmla="*/ 2253581 w 4044707"/>
                <a:gd name="connsiteY2106" fmla="*/ 823837 h 2907193"/>
                <a:gd name="connsiteX2107" fmla="*/ 2251705 w 4044707"/>
                <a:gd name="connsiteY2107" fmla="*/ 821992 h 2907193"/>
                <a:gd name="connsiteX2108" fmla="*/ 2249799 w 4044707"/>
                <a:gd name="connsiteY2108" fmla="*/ 822869 h 2907193"/>
                <a:gd name="connsiteX2109" fmla="*/ 2243628 w 4044707"/>
                <a:gd name="connsiteY2109" fmla="*/ 830946 h 2907193"/>
                <a:gd name="connsiteX2110" fmla="*/ 2242660 w 4044707"/>
                <a:gd name="connsiteY2110" fmla="*/ 833336 h 2907193"/>
                <a:gd name="connsiteX2111" fmla="*/ 2242176 w 4044707"/>
                <a:gd name="connsiteY2111" fmla="*/ 836573 h 2907193"/>
                <a:gd name="connsiteX2112" fmla="*/ 2242176 w 4044707"/>
                <a:gd name="connsiteY2112" fmla="*/ 839326 h 2907193"/>
                <a:gd name="connsiteX2113" fmla="*/ 2242448 w 4044707"/>
                <a:gd name="connsiteY2113" fmla="*/ 841867 h 2907193"/>
                <a:gd name="connsiteX2114" fmla="*/ 2243083 w 4044707"/>
                <a:gd name="connsiteY2114" fmla="*/ 843440 h 2907193"/>
                <a:gd name="connsiteX2115" fmla="*/ 2408619 w 4044707"/>
                <a:gd name="connsiteY2115" fmla="*/ 779035 h 2907193"/>
                <a:gd name="connsiteX2116" fmla="*/ 2406381 w 4044707"/>
                <a:gd name="connsiteY2116" fmla="*/ 784571 h 2907193"/>
                <a:gd name="connsiteX2117" fmla="*/ 2408226 w 4044707"/>
                <a:gd name="connsiteY2117" fmla="*/ 788141 h 2907193"/>
                <a:gd name="connsiteX2118" fmla="*/ 2411221 w 4044707"/>
                <a:gd name="connsiteY2118" fmla="*/ 789441 h 2907193"/>
                <a:gd name="connsiteX2119" fmla="*/ 2414095 w 4044707"/>
                <a:gd name="connsiteY2119" fmla="*/ 790410 h 2907193"/>
                <a:gd name="connsiteX2120" fmla="*/ 2416575 w 4044707"/>
                <a:gd name="connsiteY2120" fmla="*/ 785206 h 2907193"/>
                <a:gd name="connsiteX2121" fmla="*/ 2422202 w 4044707"/>
                <a:gd name="connsiteY2121" fmla="*/ 776766 h 2907193"/>
                <a:gd name="connsiteX2122" fmla="*/ 2420901 w 4044707"/>
                <a:gd name="connsiteY2122" fmla="*/ 770565 h 2907193"/>
                <a:gd name="connsiteX2123" fmla="*/ 2415516 w 4044707"/>
                <a:gd name="connsiteY2123" fmla="*/ 770897 h 2907193"/>
                <a:gd name="connsiteX2124" fmla="*/ 2408559 w 4044707"/>
                <a:gd name="connsiteY2124" fmla="*/ 779035 h 2907193"/>
                <a:gd name="connsiteX2125" fmla="*/ 2332234 w 4044707"/>
                <a:gd name="connsiteY2125" fmla="*/ 771865 h 2907193"/>
                <a:gd name="connsiteX2126" fmla="*/ 2337074 w 4044707"/>
                <a:gd name="connsiteY2126" fmla="*/ 772198 h 2907193"/>
                <a:gd name="connsiteX2127" fmla="*/ 2341007 w 4044707"/>
                <a:gd name="connsiteY2127" fmla="*/ 772198 h 2907193"/>
                <a:gd name="connsiteX2128" fmla="*/ 2340221 w 4044707"/>
                <a:gd name="connsiteY2128" fmla="*/ 774800 h 2907193"/>
                <a:gd name="connsiteX2129" fmla="*/ 2340735 w 4044707"/>
                <a:gd name="connsiteY2129" fmla="*/ 777734 h 2907193"/>
                <a:gd name="connsiteX2130" fmla="*/ 2342701 w 4044707"/>
                <a:gd name="connsiteY2130" fmla="*/ 780336 h 2907193"/>
                <a:gd name="connsiteX2131" fmla="*/ 2346513 w 4044707"/>
                <a:gd name="connsiteY2131" fmla="*/ 783905 h 2907193"/>
                <a:gd name="connsiteX2132" fmla="*/ 2350688 w 4044707"/>
                <a:gd name="connsiteY2132" fmla="*/ 781969 h 2907193"/>
                <a:gd name="connsiteX2133" fmla="*/ 2353319 w 4044707"/>
                <a:gd name="connsiteY2133" fmla="*/ 775465 h 2907193"/>
                <a:gd name="connsiteX2134" fmla="*/ 2350567 w 4044707"/>
                <a:gd name="connsiteY2134" fmla="*/ 767660 h 2907193"/>
                <a:gd name="connsiteX2135" fmla="*/ 2346392 w 4044707"/>
                <a:gd name="connsiteY2135" fmla="*/ 767328 h 2907193"/>
                <a:gd name="connsiteX2136" fmla="*/ 2343367 w 4044707"/>
                <a:gd name="connsiteY2136" fmla="*/ 765694 h 2907193"/>
                <a:gd name="connsiteX2137" fmla="*/ 2341128 w 4044707"/>
                <a:gd name="connsiteY2137" fmla="*/ 762427 h 2907193"/>
                <a:gd name="connsiteX2138" fmla="*/ 2338103 w 4044707"/>
                <a:gd name="connsiteY2138" fmla="*/ 761792 h 2907193"/>
                <a:gd name="connsiteX2139" fmla="*/ 2332991 w 4044707"/>
                <a:gd name="connsiteY2139" fmla="*/ 763092 h 2907193"/>
                <a:gd name="connsiteX2140" fmla="*/ 2334291 w 4044707"/>
                <a:gd name="connsiteY2140" fmla="*/ 767328 h 2907193"/>
                <a:gd name="connsiteX2141" fmla="*/ 2330359 w 4044707"/>
                <a:gd name="connsiteY2141" fmla="*/ 767993 h 2907193"/>
                <a:gd name="connsiteX2142" fmla="*/ 2332204 w 4044707"/>
                <a:gd name="connsiteY2142" fmla="*/ 771896 h 2907193"/>
                <a:gd name="connsiteX2143" fmla="*/ 2271671 w 4044707"/>
                <a:gd name="connsiteY2143" fmla="*/ 828133 h 2907193"/>
                <a:gd name="connsiteX2144" fmla="*/ 2277328 w 4044707"/>
                <a:gd name="connsiteY2144" fmla="*/ 835666 h 2907193"/>
                <a:gd name="connsiteX2145" fmla="*/ 2278780 w 4044707"/>
                <a:gd name="connsiteY2145" fmla="*/ 834970 h 2907193"/>
                <a:gd name="connsiteX2146" fmla="*/ 2279899 w 4044707"/>
                <a:gd name="connsiteY2146" fmla="*/ 832126 h 2907193"/>
                <a:gd name="connsiteX2147" fmla="*/ 2280807 w 4044707"/>
                <a:gd name="connsiteY2147" fmla="*/ 828163 h 2907193"/>
                <a:gd name="connsiteX2148" fmla="*/ 2281109 w 4044707"/>
                <a:gd name="connsiteY2148" fmla="*/ 828436 h 2907193"/>
                <a:gd name="connsiteX2149" fmla="*/ 2281987 w 4044707"/>
                <a:gd name="connsiteY2149" fmla="*/ 827135 h 2907193"/>
                <a:gd name="connsiteX2150" fmla="*/ 2282561 w 4044707"/>
                <a:gd name="connsiteY2150" fmla="*/ 825471 h 2907193"/>
                <a:gd name="connsiteX2151" fmla="*/ 2281896 w 4044707"/>
                <a:gd name="connsiteY2151" fmla="*/ 824654 h 2907193"/>
                <a:gd name="connsiteX2152" fmla="*/ 2281321 w 4044707"/>
                <a:gd name="connsiteY2152" fmla="*/ 824261 h 2907193"/>
                <a:gd name="connsiteX2153" fmla="*/ 2280777 w 4044707"/>
                <a:gd name="connsiteY2153" fmla="*/ 823263 h 2907193"/>
                <a:gd name="connsiteX2154" fmla="*/ 2280323 w 4044707"/>
                <a:gd name="connsiteY2154" fmla="*/ 821931 h 2907193"/>
                <a:gd name="connsiteX2155" fmla="*/ 2280141 w 4044707"/>
                <a:gd name="connsiteY2155" fmla="*/ 820600 h 2907193"/>
                <a:gd name="connsiteX2156" fmla="*/ 2281896 w 4044707"/>
                <a:gd name="connsiteY2156" fmla="*/ 816123 h 2907193"/>
                <a:gd name="connsiteX2157" fmla="*/ 2285526 w 4044707"/>
                <a:gd name="connsiteY2157" fmla="*/ 815881 h 2907193"/>
                <a:gd name="connsiteX2158" fmla="*/ 2288521 w 4044707"/>
                <a:gd name="connsiteY2158" fmla="*/ 819027 h 2907193"/>
                <a:gd name="connsiteX2159" fmla="*/ 2288370 w 4044707"/>
                <a:gd name="connsiteY2159" fmla="*/ 824684 h 2907193"/>
                <a:gd name="connsiteX2160" fmla="*/ 2289096 w 4044707"/>
                <a:gd name="connsiteY2160" fmla="*/ 825047 h 2907193"/>
                <a:gd name="connsiteX2161" fmla="*/ 2290427 w 4044707"/>
                <a:gd name="connsiteY2161" fmla="*/ 826197 h 2907193"/>
                <a:gd name="connsiteX2162" fmla="*/ 2291153 w 4044707"/>
                <a:gd name="connsiteY2162" fmla="*/ 826560 h 2907193"/>
                <a:gd name="connsiteX2163" fmla="*/ 2290427 w 4044707"/>
                <a:gd name="connsiteY2163" fmla="*/ 828224 h 2907193"/>
                <a:gd name="connsiteX2164" fmla="*/ 2292544 w 4044707"/>
                <a:gd name="connsiteY2164" fmla="*/ 828103 h 2907193"/>
                <a:gd name="connsiteX2165" fmla="*/ 2294299 w 4044707"/>
                <a:gd name="connsiteY2165" fmla="*/ 828496 h 2907193"/>
                <a:gd name="connsiteX2166" fmla="*/ 2295993 w 4044707"/>
                <a:gd name="connsiteY2166" fmla="*/ 828375 h 2907193"/>
                <a:gd name="connsiteX2167" fmla="*/ 2297989 w 4044707"/>
                <a:gd name="connsiteY2167" fmla="*/ 826560 h 2907193"/>
                <a:gd name="connsiteX2168" fmla="*/ 2297203 w 4044707"/>
                <a:gd name="connsiteY2168" fmla="*/ 825622 h 2907193"/>
                <a:gd name="connsiteX2169" fmla="*/ 2296719 w 4044707"/>
                <a:gd name="connsiteY2169" fmla="*/ 824503 h 2907193"/>
                <a:gd name="connsiteX2170" fmla="*/ 2295933 w 4044707"/>
                <a:gd name="connsiteY2170" fmla="*/ 821478 h 2907193"/>
                <a:gd name="connsiteX2171" fmla="*/ 2296931 w 4044707"/>
                <a:gd name="connsiteY2171" fmla="*/ 819390 h 2907193"/>
                <a:gd name="connsiteX2172" fmla="*/ 2297475 w 4044707"/>
                <a:gd name="connsiteY2172" fmla="*/ 817121 h 2907193"/>
                <a:gd name="connsiteX2173" fmla="*/ 2298383 w 4044707"/>
                <a:gd name="connsiteY2173" fmla="*/ 815306 h 2907193"/>
                <a:gd name="connsiteX2174" fmla="*/ 2300379 w 4044707"/>
                <a:gd name="connsiteY2174" fmla="*/ 814550 h 2907193"/>
                <a:gd name="connsiteX2175" fmla="*/ 2301045 w 4044707"/>
                <a:gd name="connsiteY2175" fmla="*/ 815246 h 2907193"/>
                <a:gd name="connsiteX2176" fmla="*/ 2301559 w 4044707"/>
                <a:gd name="connsiteY2176" fmla="*/ 818574 h 2907193"/>
                <a:gd name="connsiteX2177" fmla="*/ 2302134 w 4044707"/>
                <a:gd name="connsiteY2177" fmla="*/ 819784 h 2907193"/>
                <a:gd name="connsiteX2178" fmla="*/ 2303526 w 4044707"/>
                <a:gd name="connsiteY2178" fmla="*/ 820540 h 2907193"/>
                <a:gd name="connsiteX2179" fmla="*/ 2308729 w 4044707"/>
                <a:gd name="connsiteY2179" fmla="*/ 819360 h 2907193"/>
                <a:gd name="connsiteX2180" fmla="*/ 2310090 w 4044707"/>
                <a:gd name="connsiteY2180" fmla="*/ 818059 h 2907193"/>
                <a:gd name="connsiteX2181" fmla="*/ 2310756 w 4044707"/>
                <a:gd name="connsiteY2181" fmla="*/ 815942 h 2907193"/>
                <a:gd name="connsiteX2182" fmla="*/ 2310393 w 4044707"/>
                <a:gd name="connsiteY2182" fmla="*/ 813038 h 2907193"/>
                <a:gd name="connsiteX2183" fmla="*/ 2308638 w 4044707"/>
                <a:gd name="connsiteY2183" fmla="*/ 810345 h 2907193"/>
                <a:gd name="connsiteX2184" fmla="*/ 2304615 w 4044707"/>
                <a:gd name="connsiteY2184" fmla="*/ 809407 h 2907193"/>
                <a:gd name="connsiteX2185" fmla="*/ 2303556 w 4044707"/>
                <a:gd name="connsiteY2185" fmla="*/ 806261 h 2907193"/>
                <a:gd name="connsiteX2186" fmla="*/ 2310363 w 4044707"/>
                <a:gd name="connsiteY2186" fmla="*/ 806261 h 2907193"/>
                <a:gd name="connsiteX2187" fmla="*/ 2311754 w 4044707"/>
                <a:gd name="connsiteY2187" fmla="*/ 805475 h 2907193"/>
                <a:gd name="connsiteX2188" fmla="*/ 2312571 w 4044707"/>
                <a:gd name="connsiteY2188" fmla="*/ 803781 h 2907193"/>
                <a:gd name="connsiteX2189" fmla="*/ 2313145 w 4044707"/>
                <a:gd name="connsiteY2189" fmla="*/ 801996 h 2907193"/>
                <a:gd name="connsiteX2190" fmla="*/ 2313811 w 4044707"/>
                <a:gd name="connsiteY2190" fmla="*/ 801028 h 2907193"/>
                <a:gd name="connsiteX2191" fmla="*/ 2315142 w 4044707"/>
                <a:gd name="connsiteY2191" fmla="*/ 801542 h 2907193"/>
                <a:gd name="connsiteX2192" fmla="*/ 2316171 w 4044707"/>
                <a:gd name="connsiteY2192" fmla="*/ 803085 h 2907193"/>
                <a:gd name="connsiteX2193" fmla="*/ 2317229 w 4044707"/>
                <a:gd name="connsiteY2193" fmla="*/ 804265 h 2907193"/>
                <a:gd name="connsiteX2194" fmla="*/ 2318682 w 4044707"/>
                <a:gd name="connsiteY2194" fmla="*/ 803629 h 2907193"/>
                <a:gd name="connsiteX2195" fmla="*/ 2319892 w 4044707"/>
                <a:gd name="connsiteY2195" fmla="*/ 802450 h 2907193"/>
                <a:gd name="connsiteX2196" fmla="*/ 2321011 w 4044707"/>
                <a:gd name="connsiteY2196" fmla="*/ 801754 h 2907193"/>
                <a:gd name="connsiteX2197" fmla="*/ 2329693 w 4044707"/>
                <a:gd name="connsiteY2197" fmla="*/ 800998 h 2907193"/>
                <a:gd name="connsiteX2198" fmla="*/ 2330631 w 4044707"/>
                <a:gd name="connsiteY2198" fmla="*/ 800302 h 2907193"/>
                <a:gd name="connsiteX2199" fmla="*/ 2331417 w 4044707"/>
                <a:gd name="connsiteY2199" fmla="*/ 798729 h 2907193"/>
                <a:gd name="connsiteX2200" fmla="*/ 2332506 w 4044707"/>
                <a:gd name="connsiteY2200" fmla="*/ 795915 h 2907193"/>
                <a:gd name="connsiteX2201" fmla="*/ 2337407 w 4044707"/>
                <a:gd name="connsiteY2201" fmla="*/ 794433 h 2907193"/>
                <a:gd name="connsiteX2202" fmla="*/ 2342247 w 4044707"/>
                <a:gd name="connsiteY2202" fmla="*/ 782423 h 2907193"/>
                <a:gd name="connsiteX2203" fmla="*/ 2338859 w 4044707"/>
                <a:gd name="connsiteY2203" fmla="*/ 777553 h 2907193"/>
                <a:gd name="connsiteX2204" fmla="*/ 2335048 w 4044707"/>
                <a:gd name="connsiteY2204" fmla="*/ 775586 h 2907193"/>
                <a:gd name="connsiteX2205" fmla="*/ 2329058 w 4044707"/>
                <a:gd name="connsiteY2205" fmla="*/ 780578 h 2907193"/>
                <a:gd name="connsiteX2206" fmla="*/ 2325609 w 4044707"/>
                <a:gd name="connsiteY2206" fmla="*/ 781758 h 2907193"/>
                <a:gd name="connsiteX2207" fmla="*/ 2322977 w 4044707"/>
                <a:gd name="connsiteY2207" fmla="*/ 778823 h 2907193"/>
                <a:gd name="connsiteX2208" fmla="*/ 2327031 w 4044707"/>
                <a:gd name="connsiteY2208" fmla="*/ 772652 h 2907193"/>
                <a:gd name="connsiteX2209" fmla="*/ 2324550 w 4044707"/>
                <a:gd name="connsiteY2209" fmla="*/ 761882 h 2907193"/>
                <a:gd name="connsiteX2210" fmla="*/ 2318137 w 4044707"/>
                <a:gd name="connsiteY2210" fmla="*/ 760914 h 2907193"/>
                <a:gd name="connsiteX2211" fmla="*/ 2313569 w 4044707"/>
                <a:gd name="connsiteY2211" fmla="*/ 764847 h 2907193"/>
                <a:gd name="connsiteX2212" fmla="*/ 2310816 w 4044707"/>
                <a:gd name="connsiteY2212" fmla="*/ 770716 h 2907193"/>
                <a:gd name="connsiteX2213" fmla="*/ 2309001 w 4044707"/>
                <a:gd name="connsiteY2213" fmla="*/ 773620 h 2907193"/>
                <a:gd name="connsiteX2214" fmla="*/ 2308124 w 4044707"/>
                <a:gd name="connsiteY2214" fmla="*/ 774346 h 2907193"/>
                <a:gd name="connsiteX2215" fmla="*/ 2306974 w 4044707"/>
                <a:gd name="connsiteY2215" fmla="*/ 777734 h 2907193"/>
                <a:gd name="connsiteX2216" fmla="*/ 2306218 w 4044707"/>
                <a:gd name="connsiteY2216" fmla="*/ 778914 h 2907193"/>
                <a:gd name="connsiteX2217" fmla="*/ 2305250 w 4044707"/>
                <a:gd name="connsiteY2217" fmla="*/ 779277 h 2907193"/>
                <a:gd name="connsiteX2218" fmla="*/ 2303223 w 4044707"/>
                <a:gd name="connsiteY2218" fmla="*/ 776282 h 2907193"/>
                <a:gd name="connsiteX2219" fmla="*/ 2301105 w 4044707"/>
                <a:gd name="connsiteY2219" fmla="*/ 775617 h 2907193"/>
                <a:gd name="connsiteX2220" fmla="*/ 2299532 w 4044707"/>
                <a:gd name="connsiteY2220" fmla="*/ 776585 h 2907193"/>
                <a:gd name="connsiteX2221" fmla="*/ 2297596 w 4044707"/>
                <a:gd name="connsiteY2221" fmla="*/ 777613 h 2907193"/>
                <a:gd name="connsiteX2222" fmla="*/ 2296205 w 4044707"/>
                <a:gd name="connsiteY2222" fmla="*/ 776585 h 2907193"/>
                <a:gd name="connsiteX2223" fmla="*/ 2294692 w 4044707"/>
                <a:gd name="connsiteY2223" fmla="*/ 774316 h 2907193"/>
                <a:gd name="connsiteX2224" fmla="*/ 2293845 w 4044707"/>
                <a:gd name="connsiteY2224" fmla="*/ 773620 h 2907193"/>
                <a:gd name="connsiteX2225" fmla="*/ 2292605 w 4044707"/>
                <a:gd name="connsiteY2225" fmla="*/ 773559 h 2907193"/>
                <a:gd name="connsiteX2226" fmla="*/ 2289670 w 4044707"/>
                <a:gd name="connsiteY2226" fmla="*/ 772682 h 2907193"/>
                <a:gd name="connsiteX2227" fmla="*/ 2275906 w 4044707"/>
                <a:gd name="connsiteY2227" fmla="*/ 785690 h 2907193"/>
                <a:gd name="connsiteX2228" fmla="*/ 2282501 w 4044707"/>
                <a:gd name="connsiteY2228" fmla="*/ 786810 h 2907193"/>
                <a:gd name="connsiteX2229" fmla="*/ 2284195 w 4044707"/>
                <a:gd name="connsiteY2229" fmla="*/ 787263 h 2907193"/>
                <a:gd name="connsiteX2230" fmla="*/ 2285647 w 4044707"/>
                <a:gd name="connsiteY2230" fmla="*/ 788383 h 2907193"/>
                <a:gd name="connsiteX2231" fmla="*/ 2287553 w 4044707"/>
                <a:gd name="connsiteY2231" fmla="*/ 789562 h 2907193"/>
                <a:gd name="connsiteX2232" fmla="*/ 2283106 w 4044707"/>
                <a:gd name="connsiteY2232" fmla="*/ 791831 h 2907193"/>
                <a:gd name="connsiteX2233" fmla="*/ 2277479 w 4044707"/>
                <a:gd name="connsiteY2233" fmla="*/ 793798 h 2907193"/>
                <a:gd name="connsiteX2234" fmla="*/ 2273819 w 4044707"/>
                <a:gd name="connsiteY2234" fmla="*/ 799455 h 2907193"/>
                <a:gd name="connsiteX2235" fmla="*/ 2277570 w 4044707"/>
                <a:gd name="connsiteY2235" fmla="*/ 801421 h 2907193"/>
                <a:gd name="connsiteX2236" fmla="*/ 2278689 w 4044707"/>
                <a:gd name="connsiteY2236" fmla="*/ 802873 h 2907193"/>
                <a:gd name="connsiteX2237" fmla="*/ 2273819 w 4044707"/>
                <a:gd name="connsiteY2237" fmla="*/ 804416 h 2907193"/>
                <a:gd name="connsiteX2238" fmla="*/ 2275392 w 4044707"/>
                <a:gd name="connsiteY2238" fmla="*/ 805989 h 2907193"/>
                <a:gd name="connsiteX2239" fmla="*/ 2276239 w 4044707"/>
                <a:gd name="connsiteY2239" fmla="*/ 806322 h 2907193"/>
                <a:gd name="connsiteX2240" fmla="*/ 2277267 w 4044707"/>
                <a:gd name="connsiteY2240" fmla="*/ 806261 h 2907193"/>
                <a:gd name="connsiteX2241" fmla="*/ 2276783 w 4044707"/>
                <a:gd name="connsiteY2241" fmla="*/ 808621 h 2907193"/>
                <a:gd name="connsiteX2242" fmla="*/ 2275997 w 4044707"/>
                <a:gd name="connsiteY2242" fmla="*/ 810133 h 2907193"/>
                <a:gd name="connsiteX2243" fmla="*/ 2274998 w 4044707"/>
                <a:gd name="connsiteY2243" fmla="*/ 810980 h 2907193"/>
                <a:gd name="connsiteX2244" fmla="*/ 2273849 w 4044707"/>
                <a:gd name="connsiteY2244" fmla="*/ 811192 h 2907193"/>
                <a:gd name="connsiteX2245" fmla="*/ 2273849 w 4044707"/>
                <a:gd name="connsiteY2245" fmla="*/ 813038 h 2907193"/>
                <a:gd name="connsiteX2246" fmla="*/ 2276935 w 4044707"/>
                <a:gd name="connsiteY2246" fmla="*/ 811918 h 2907193"/>
                <a:gd name="connsiteX2247" fmla="*/ 2282289 w 4044707"/>
                <a:gd name="connsiteY2247" fmla="*/ 805081 h 2907193"/>
                <a:gd name="connsiteX2248" fmla="*/ 2284921 w 4044707"/>
                <a:gd name="connsiteY2248" fmla="*/ 806231 h 2907193"/>
                <a:gd name="connsiteX2249" fmla="*/ 2274514 w 4044707"/>
                <a:gd name="connsiteY2249" fmla="*/ 819360 h 2907193"/>
                <a:gd name="connsiteX2250" fmla="*/ 2271610 w 4044707"/>
                <a:gd name="connsiteY2250" fmla="*/ 828254 h 2907193"/>
                <a:gd name="connsiteX2251" fmla="*/ 2353924 w 4044707"/>
                <a:gd name="connsiteY2251" fmla="*/ 786840 h 2907193"/>
                <a:gd name="connsiteX2252" fmla="*/ 2356677 w 4044707"/>
                <a:gd name="connsiteY2252" fmla="*/ 787142 h 2907193"/>
                <a:gd name="connsiteX2253" fmla="*/ 2362183 w 4044707"/>
                <a:gd name="connsiteY2253" fmla="*/ 785569 h 2907193"/>
                <a:gd name="connsiteX2254" fmla="*/ 2358341 w 4044707"/>
                <a:gd name="connsiteY2254" fmla="*/ 788020 h 2907193"/>
                <a:gd name="connsiteX2255" fmla="*/ 2349962 w 4044707"/>
                <a:gd name="connsiteY2255" fmla="*/ 791075 h 2907193"/>
                <a:gd name="connsiteX2256" fmla="*/ 2346301 w 4044707"/>
                <a:gd name="connsiteY2256" fmla="*/ 795764 h 2907193"/>
                <a:gd name="connsiteX2257" fmla="*/ 2346634 w 4044707"/>
                <a:gd name="connsiteY2257" fmla="*/ 797337 h 2907193"/>
                <a:gd name="connsiteX2258" fmla="*/ 2347058 w 4044707"/>
                <a:gd name="connsiteY2258" fmla="*/ 798729 h 2907193"/>
                <a:gd name="connsiteX2259" fmla="*/ 2347632 w 4044707"/>
                <a:gd name="connsiteY2259" fmla="*/ 799939 h 2907193"/>
                <a:gd name="connsiteX2260" fmla="*/ 2348358 w 4044707"/>
                <a:gd name="connsiteY2260" fmla="*/ 800876 h 2907193"/>
                <a:gd name="connsiteX2261" fmla="*/ 2348419 w 4044707"/>
                <a:gd name="connsiteY2261" fmla="*/ 802056 h 2907193"/>
                <a:gd name="connsiteX2262" fmla="*/ 2348298 w 4044707"/>
                <a:gd name="connsiteY2262" fmla="*/ 802419 h 2907193"/>
                <a:gd name="connsiteX2263" fmla="*/ 2348056 w 4044707"/>
                <a:gd name="connsiteY2263" fmla="*/ 802480 h 2907193"/>
                <a:gd name="connsiteX2264" fmla="*/ 2347723 w 4044707"/>
                <a:gd name="connsiteY2264" fmla="*/ 802722 h 2907193"/>
                <a:gd name="connsiteX2265" fmla="*/ 2347330 w 4044707"/>
                <a:gd name="connsiteY2265" fmla="*/ 803871 h 2907193"/>
                <a:gd name="connsiteX2266" fmla="*/ 2346301 w 4044707"/>
                <a:gd name="connsiteY2266" fmla="*/ 807804 h 2907193"/>
                <a:gd name="connsiteX2267" fmla="*/ 2347753 w 4044707"/>
                <a:gd name="connsiteY2267" fmla="*/ 807804 h 2907193"/>
                <a:gd name="connsiteX2268" fmla="*/ 2351172 w 4044707"/>
                <a:gd name="connsiteY2268" fmla="*/ 806413 h 2907193"/>
                <a:gd name="connsiteX2269" fmla="*/ 2354197 w 4044707"/>
                <a:gd name="connsiteY2269" fmla="*/ 804083 h 2907193"/>
                <a:gd name="connsiteX2270" fmla="*/ 2357736 w 4044707"/>
                <a:gd name="connsiteY2270" fmla="*/ 804023 h 2907193"/>
                <a:gd name="connsiteX2271" fmla="*/ 2359339 w 4044707"/>
                <a:gd name="connsiteY2271" fmla="*/ 802722 h 2907193"/>
                <a:gd name="connsiteX2272" fmla="*/ 2359128 w 4044707"/>
                <a:gd name="connsiteY2272" fmla="*/ 801814 h 2907193"/>
                <a:gd name="connsiteX2273" fmla="*/ 2358735 w 4044707"/>
                <a:gd name="connsiteY2273" fmla="*/ 799334 h 2907193"/>
                <a:gd name="connsiteX2274" fmla="*/ 2360368 w 4044707"/>
                <a:gd name="connsiteY2274" fmla="*/ 799394 h 2907193"/>
                <a:gd name="connsiteX2275" fmla="*/ 2363423 w 4044707"/>
                <a:gd name="connsiteY2275" fmla="*/ 800816 h 2907193"/>
                <a:gd name="connsiteX2276" fmla="*/ 2364966 w 4044707"/>
                <a:gd name="connsiteY2276" fmla="*/ 800907 h 2907193"/>
                <a:gd name="connsiteX2277" fmla="*/ 2365753 w 4044707"/>
                <a:gd name="connsiteY2277" fmla="*/ 800271 h 2907193"/>
                <a:gd name="connsiteX2278" fmla="*/ 2367326 w 4044707"/>
                <a:gd name="connsiteY2278" fmla="*/ 798003 h 2907193"/>
                <a:gd name="connsiteX2279" fmla="*/ 2368445 w 4044707"/>
                <a:gd name="connsiteY2279" fmla="*/ 797549 h 2907193"/>
                <a:gd name="connsiteX2280" fmla="*/ 2376492 w 4044707"/>
                <a:gd name="connsiteY2280" fmla="*/ 796944 h 2907193"/>
                <a:gd name="connsiteX2281" fmla="*/ 2378822 w 4044707"/>
                <a:gd name="connsiteY2281" fmla="*/ 795825 h 2907193"/>
                <a:gd name="connsiteX2282" fmla="*/ 2382270 w 4044707"/>
                <a:gd name="connsiteY2282" fmla="*/ 792315 h 2907193"/>
                <a:gd name="connsiteX2283" fmla="*/ 2383934 w 4044707"/>
                <a:gd name="connsiteY2283" fmla="*/ 791166 h 2907193"/>
                <a:gd name="connsiteX2284" fmla="*/ 2388230 w 4044707"/>
                <a:gd name="connsiteY2284" fmla="*/ 789986 h 2907193"/>
                <a:gd name="connsiteX2285" fmla="*/ 2392404 w 4044707"/>
                <a:gd name="connsiteY2285" fmla="*/ 785932 h 2907193"/>
                <a:gd name="connsiteX2286" fmla="*/ 2393947 w 4044707"/>
                <a:gd name="connsiteY2286" fmla="*/ 783754 h 2907193"/>
                <a:gd name="connsiteX2287" fmla="*/ 2389773 w 4044707"/>
                <a:gd name="connsiteY2287" fmla="*/ 781697 h 2907193"/>
                <a:gd name="connsiteX2288" fmla="*/ 2389137 w 4044707"/>
                <a:gd name="connsiteY2288" fmla="*/ 780487 h 2907193"/>
                <a:gd name="connsiteX2289" fmla="*/ 2389621 w 4044707"/>
                <a:gd name="connsiteY2289" fmla="*/ 779186 h 2907193"/>
                <a:gd name="connsiteX2290" fmla="*/ 2390710 w 4044707"/>
                <a:gd name="connsiteY2290" fmla="*/ 778037 h 2907193"/>
                <a:gd name="connsiteX2291" fmla="*/ 2391890 w 4044707"/>
                <a:gd name="connsiteY2291" fmla="*/ 777220 h 2907193"/>
                <a:gd name="connsiteX2292" fmla="*/ 2394340 w 4044707"/>
                <a:gd name="connsiteY2292" fmla="*/ 776312 h 2907193"/>
                <a:gd name="connsiteX2293" fmla="*/ 2396186 w 4044707"/>
                <a:gd name="connsiteY2293" fmla="*/ 774618 h 2907193"/>
                <a:gd name="connsiteX2294" fmla="*/ 2397124 w 4044707"/>
                <a:gd name="connsiteY2294" fmla="*/ 771956 h 2907193"/>
                <a:gd name="connsiteX2295" fmla="*/ 2396034 w 4044707"/>
                <a:gd name="connsiteY2295" fmla="*/ 768568 h 2907193"/>
                <a:gd name="connsiteX2296" fmla="*/ 2397789 w 4044707"/>
                <a:gd name="connsiteY2296" fmla="*/ 762911 h 2907193"/>
                <a:gd name="connsiteX2297" fmla="*/ 2398697 w 4044707"/>
                <a:gd name="connsiteY2297" fmla="*/ 761731 h 2907193"/>
                <a:gd name="connsiteX2298" fmla="*/ 2400209 w 4044707"/>
                <a:gd name="connsiteY2298" fmla="*/ 761731 h 2907193"/>
                <a:gd name="connsiteX2299" fmla="*/ 2400965 w 4044707"/>
                <a:gd name="connsiteY2299" fmla="*/ 762971 h 2907193"/>
                <a:gd name="connsiteX2300" fmla="*/ 2401570 w 4044707"/>
                <a:gd name="connsiteY2300" fmla="*/ 765119 h 2907193"/>
                <a:gd name="connsiteX2301" fmla="*/ 2402508 w 4044707"/>
                <a:gd name="connsiteY2301" fmla="*/ 766813 h 2907193"/>
                <a:gd name="connsiteX2302" fmla="*/ 2404323 w 4044707"/>
                <a:gd name="connsiteY2302" fmla="*/ 766692 h 2907193"/>
                <a:gd name="connsiteX2303" fmla="*/ 2400693 w 4044707"/>
                <a:gd name="connsiteY2303" fmla="*/ 772228 h 2907193"/>
                <a:gd name="connsiteX2304" fmla="*/ 2399120 w 4044707"/>
                <a:gd name="connsiteY2304" fmla="*/ 776282 h 2907193"/>
                <a:gd name="connsiteX2305" fmla="*/ 2398818 w 4044707"/>
                <a:gd name="connsiteY2305" fmla="*/ 780517 h 2907193"/>
                <a:gd name="connsiteX2306" fmla="*/ 2400391 w 4044707"/>
                <a:gd name="connsiteY2306" fmla="*/ 782453 h 2907193"/>
                <a:gd name="connsiteX2307" fmla="*/ 2403174 w 4044707"/>
                <a:gd name="connsiteY2307" fmla="*/ 781425 h 2907193"/>
                <a:gd name="connsiteX2308" fmla="*/ 2420599 w 4044707"/>
                <a:gd name="connsiteY2308" fmla="*/ 764181 h 2907193"/>
                <a:gd name="connsiteX2309" fmla="*/ 2424925 w 4044707"/>
                <a:gd name="connsiteY2309" fmla="*/ 761731 h 2907193"/>
                <a:gd name="connsiteX2310" fmla="*/ 2423321 w 4044707"/>
                <a:gd name="connsiteY2310" fmla="*/ 759795 h 2907193"/>
                <a:gd name="connsiteX2311" fmla="*/ 2421537 w 4044707"/>
                <a:gd name="connsiteY2311" fmla="*/ 758282 h 2907193"/>
                <a:gd name="connsiteX2312" fmla="*/ 2427072 w 4044707"/>
                <a:gd name="connsiteY2312" fmla="*/ 754864 h 2907193"/>
                <a:gd name="connsiteX2313" fmla="*/ 2427254 w 4044707"/>
                <a:gd name="connsiteY2313" fmla="*/ 754108 h 2907193"/>
                <a:gd name="connsiteX2314" fmla="*/ 2427194 w 4044707"/>
                <a:gd name="connsiteY2314" fmla="*/ 752837 h 2907193"/>
                <a:gd name="connsiteX2315" fmla="*/ 2427435 w 4044707"/>
                <a:gd name="connsiteY2315" fmla="*/ 751718 h 2907193"/>
                <a:gd name="connsiteX2316" fmla="*/ 2428464 w 4044707"/>
                <a:gd name="connsiteY2316" fmla="*/ 751294 h 2907193"/>
                <a:gd name="connsiteX2317" fmla="*/ 2428918 w 4044707"/>
                <a:gd name="connsiteY2317" fmla="*/ 751990 h 2907193"/>
                <a:gd name="connsiteX2318" fmla="*/ 2428918 w 4044707"/>
                <a:gd name="connsiteY2318" fmla="*/ 753533 h 2907193"/>
                <a:gd name="connsiteX2319" fmla="*/ 2428676 w 4044707"/>
                <a:gd name="connsiteY2319" fmla="*/ 755257 h 2907193"/>
                <a:gd name="connsiteX2320" fmla="*/ 2428434 w 4044707"/>
                <a:gd name="connsiteY2320" fmla="*/ 756437 h 2907193"/>
                <a:gd name="connsiteX2321" fmla="*/ 2430461 w 4044707"/>
                <a:gd name="connsiteY2321" fmla="*/ 755288 h 2907193"/>
                <a:gd name="connsiteX2322" fmla="*/ 2442591 w 4044707"/>
                <a:gd name="connsiteY2322" fmla="*/ 736380 h 2907193"/>
                <a:gd name="connsiteX2323" fmla="*/ 2444376 w 4044707"/>
                <a:gd name="connsiteY2323" fmla="*/ 732417 h 2907193"/>
                <a:gd name="connsiteX2324" fmla="*/ 2437237 w 4044707"/>
                <a:gd name="connsiteY2324" fmla="*/ 732599 h 2907193"/>
                <a:gd name="connsiteX2325" fmla="*/ 2433395 w 4044707"/>
                <a:gd name="connsiteY2325" fmla="*/ 733870 h 2907193"/>
                <a:gd name="connsiteX2326" fmla="*/ 2428010 w 4044707"/>
                <a:gd name="connsiteY2326" fmla="*/ 739073 h 2907193"/>
                <a:gd name="connsiteX2327" fmla="*/ 2419963 w 4044707"/>
                <a:gd name="connsiteY2327" fmla="*/ 736743 h 2907193"/>
                <a:gd name="connsiteX2328" fmla="*/ 2416696 w 4044707"/>
                <a:gd name="connsiteY2328" fmla="*/ 737621 h 2907193"/>
                <a:gd name="connsiteX2329" fmla="*/ 2415395 w 4044707"/>
                <a:gd name="connsiteY2329" fmla="*/ 741160 h 2907193"/>
                <a:gd name="connsiteX2330" fmla="*/ 2414972 w 4044707"/>
                <a:gd name="connsiteY2330" fmla="*/ 749661 h 2907193"/>
                <a:gd name="connsiteX2331" fmla="*/ 2413943 w 4044707"/>
                <a:gd name="connsiteY2331" fmla="*/ 751325 h 2907193"/>
                <a:gd name="connsiteX2332" fmla="*/ 2410918 w 4044707"/>
                <a:gd name="connsiteY2332" fmla="*/ 752535 h 2907193"/>
                <a:gd name="connsiteX2333" fmla="*/ 2405231 w 4044707"/>
                <a:gd name="connsiteY2333" fmla="*/ 757617 h 2907193"/>
                <a:gd name="connsiteX2334" fmla="*/ 2402266 w 4044707"/>
                <a:gd name="connsiteY2334" fmla="*/ 758313 h 2907193"/>
                <a:gd name="connsiteX2335" fmla="*/ 2402266 w 4044707"/>
                <a:gd name="connsiteY2335" fmla="*/ 756437 h 2907193"/>
                <a:gd name="connsiteX2336" fmla="*/ 2409073 w 4044707"/>
                <a:gd name="connsiteY2336" fmla="*/ 748663 h 2907193"/>
                <a:gd name="connsiteX2337" fmla="*/ 2409436 w 4044707"/>
                <a:gd name="connsiteY2337" fmla="*/ 747362 h 2907193"/>
                <a:gd name="connsiteX2338" fmla="*/ 2409133 w 4044707"/>
                <a:gd name="connsiteY2338" fmla="*/ 743671 h 2907193"/>
                <a:gd name="connsiteX2339" fmla="*/ 2408317 w 4044707"/>
                <a:gd name="connsiteY2339" fmla="*/ 741311 h 2907193"/>
                <a:gd name="connsiteX2340" fmla="*/ 2406501 w 4044707"/>
                <a:gd name="connsiteY2340" fmla="*/ 739406 h 2907193"/>
                <a:gd name="connsiteX2341" fmla="*/ 2402932 w 4044707"/>
                <a:gd name="connsiteY2341" fmla="*/ 737590 h 2907193"/>
                <a:gd name="connsiteX2342" fmla="*/ 2401087 w 4044707"/>
                <a:gd name="connsiteY2342" fmla="*/ 737681 h 2907193"/>
                <a:gd name="connsiteX2343" fmla="*/ 2399453 w 4044707"/>
                <a:gd name="connsiteY2343" fmla="*/ 738559 h 2907193"/>
                <a:gd name="connsiteX2344" fmla="*/ 2398213 w 4044707"/>
                <a:gd name="connsiteY2344" fmla="*/ 740253 h 2907193"/>
                <a:gd name="connsiteX2345" fmla="*/ 2397365 w 4044707"/>
                <a:gd name="connsiteY2345" fmla="*/ 742733 h 2907193"/>
                <a:gd name="connsiteX2346" fmla="*/ 2397729 w 4044707"/>
                <a:gd name="connsiteY2346" fmla="*/ 748935 h 2907193"/>
                <a:gd name="connsiteX2347" fmla="*/ 2397547 w 4044707"/>
                <a:gd name="connsiteY2347" fmla="*/ 751688 h 2907193"/>
                <a:gd name="connsiteX2348" fmla="*/ 2396367 w 4044707"/>
                <a:gd name="connsiteY2348" fmla="*/ 750538 h 2907193"/>
                <a:gd name="connsiteX2349" fmla="*/ 2394613 w 4044707"/>
                <a:gd name="connsiteY2349" fmla="*/ 747241 h 2907193"/>
                <a:gd name="connsiteX2350" fmla="*/ 2394098 w 4044707"/>
                <a:gd name="connsiteY2350" fmla="*/ 745274 h 2907193"/>
                <a:gd name="connsiteX2351" fmla="*/ 2393947 w 4044707"/>
                <a:gd name="connsiteY2351" fmla="*/ 741916 h 2907193"/>
                <a:gd name="connsiteX2352" fmla="*/ 2392132 w 4044707"/>
                <a:gd name="connsiteY2352" fmla="*/ 738982 h 2907193"/>
                <a:gd name="connsiteX2353" fmla="*/ 2380878 w 4044707"/>
                <a:gd name="connsiteY2353" fmla="*/ 744669 h 2907193"/>
                <a:gd name="connsiteX2354" fmla="*/ 2382028 w 4044707"/>
                <a:gd name="connsiteY2354" fmla="*/ 747664 h 2907193"/>
                <a:gd name="connsiteX2355" fmla="*/ 2384932 w 4044707"/>
                <a:gd name="connsiteY2355" fmla="*/ 750901 h 2907193"/>
                <a:gd name="connsiteX2356" fmla="*/ 2385719 w 4044707"/>
                <a:gd name="connsiteY2356" fmla="*/ 754925 h 2907193"/>
                <a:gd name="connsiteX2357" fmla="*/ 2383026 w 4044707"/>
                <a:gd name="connsiteY2357" fmla="*/ 754138 h 2907193"/>
                <a:gd name="connsiteX2358" fmla="*/ 2378640 w 4044707"/>
                <a:gd name="connsiteY2358" fmla="*/ 750599 h 2907193"/>
                <a:gd name="connsiteX2359" fmla="*/ 2376038 w 4044707"/>
                <a:gd name="connsiteY2359" fmla="*/ 749782 h 2907193"/>
                <a:gd name="connsiteX2360" fmla="*/ 2364996 w 4044707"/>
                <a:gd name="connsiteY2360" fmla="*/ 753049 h 2907193"/>
                <a:gd name="connsiteX2361" fmla="*/ 2366267 w 4044707"/>
                <a:gd name="connsiteY2361" fmla="*/ 754380 h 2907193"/>
                <a:gd name="connsiteX2362" fmla="*/ 2370472 w 4044707"/>
                <a:gd name="connsiteY2362" fmla="*/ 756467 h 2907193"/>
                <a:gd name="connsiteX2363" fmla="*/ 2370230 w 4044707"/>
                <a:gd name="connsiteY2363" fmla="*/ 760098 h 2907193"/>
                <a:gd name="connsiteX2364" fmla="*/ 2371077 w 4044707"/>
                <a:gd name="connsiteY2364" fmla="*/ 761852 h 2907193"/>
                <a:gd name="connsiteX2365" fmla="*/ 2372287 w 4044707"/>
                <a:gd name="connsiteY2365" fmla="*/ 761852 h 2907193"/>
                <a:gd name="connsiteX2366" fmla="*/ 2373285 w 4044707"/>
                <a:gd name="connsiteY2366" fmla="*/ 760037 h 2907193"/>
                <a:gd name="connsiteX2367" fmla="*/ 2375100 w 4044707"/>
                <a:gd name="connsiteY2367" fmla="*/ 763516 h 2907193"/>
                <a:gd name="connsiteX2368" fmla="*/ 2376371 w 4044707"/>
                <a:gd name="connsiteY2368" fmla="*/ 767116 h 2907193"/>
                <a:gd name="connsiteX2369" fmla="*/ 2376280 w 4044707"/>
                <a:gd name="connsiteY2369" fmla="*/ 769687 h 2907193"/>
                <a:gd name="connsiteX2370" fmla="*/ 2374011 w 4044707"/>
                <a:gd name="connsiteY2370" fmla="*/ 770171 h 2907193"/>
                <a:gd name="connsiteX2371" fmla="*/ 2372045 w 4044707"/>
                <a:gd name="connsiteY2371" fmla="*/ 767600 h 2907193"/>
                <a:gd name="connsiteX2372" fmla="*/ 2370956 w 4044707"/>
                <a:gd name="connsiteY2372" fmla="*/ 766632 h 2907193"/>
                <a:gd name="connsiteX2373" fmla="*/ 2370502 w 4044707"/>
                <a:gd name="connsiteY2373" fmla="*/ 767691 h 2907193"/>
                <a:gd name="connsiteX2374" fmla="*/ 2369867 w 4044707"/>
                <a:gd name="connsiteY2374" fmla="*/ 769869 h 2907193"/>
                <a:gd name="connsiteX2375" fmla="*/ 2368627 w 4044707"/>
                <a:gd name="connsiteY2375" fmla="*/ 770958 h 2907193"/>
                <a:gd name="connsiteX2376" fmla="*/ 2368022 w 4044707"/>
                <a:gd name="connsiteY2376" fmla="*/ 771896 h 2907193"/>
                <a:gd name="connsiteX2377" fmla="*/ 2369171 w 4044707"/>
                <a:gd name="connsiteY2377" fmla="*/ 773559 h 2907193"/>
                <a:gd name="connsiteX2378" fmla="*/ 2369171 w 4044707"/>
                <a:gd name="connsiteY2378" fmla="*/ 775435 h 2907193"/>
                <a:gd name="connsiteX2379" fmla="*/ 2366176 w 4044707"/>
                <a:gd name="connsiteY2379" fmla="*/ 774376 h 2907193"/>
                <a:gd name="connsiteX2380" fmla="*/ 2362425 w 4044707"/>
                <a:gd name="connsiteY2380" fmla="*/ 766087 h 2907193"/>
                <a:gd name="connsiteX2381" fmla="*/ 2359430 w 4044707"/>
                <a:gd name="connsiteY2381" fmla="*/ 765210 h 2907193"/>
                <a:gd name="connsiteX2382" fmla="*/ 2356950 w 4044707"/>
                <a:gd name="connsiteY2382" fmla="*/ 768235 h 2907193"/>
                <a:gd name="connsiteX2383" fmla="*/ 2356284 w 4044707"/>
                <a:gd name="connsiteY2383" fmla="*/ 772954 h 2907193"/>
                <a:gd name="connsiteX2384" fmla="*/ 2357222 w 4044707"/>
                <a:gd name="connsiteY2384" fmla="*/ 777613 h 2907193"/>
                <a:gd name="connsiteX2385" fmla="*/ 2359461 w 4044707"/>
                <a:gd name="connsiteY2385" fmla="*/ 780578 h 2907193"/>
                <a:gd name="connsiteX2386" fmla="*/ 2355498 w 4044707"/>
                <a:gd name="connsiteY2386" fmla="*/ 780759 h 2907193"/>
                <a:gd name="connsiteX2387" fmla="*/ 2353652 w 4044707"/>
                <a:gd name="connsiteY2387" fmla="*/ 781697 h 2907193"/>
                <a:gd name="connsiteX2388" fmla="*/ 2351928 w 4044707"/>
                <a:gd name="connsiteY2388" fmla="*/ 783845 h 2907193"/>
                <a:gd name="connsiteX2389" fmla="*/ 2354045 w 4044707"/>
                <a:gd name="connsiteY2389" fmla="*/ 786991 h 2907193"/>
                <a:gd name="connsiteX2390" fmla="*/ 2572189 w 4044707"/>
                <a:gd name="connsiteY2390" fmla="*/ 730270 h 2907193"/>
                <a:gd name="connsiteX2391" fmla="*/ 2574548 w 4044707"/>
                <a:gd name="connsiteY2391" fmla="*/ 728727 h 2907193"/>
                <a:gd name="connsiteX2392" fmla="*/ 2573429 w 4044707"/>
                <a:gd name="connsiteY2392" fmla="*/ 726760 h 2907193"/>
                <a:gd name="connsiteX2393" fmla="*/ 2571130 w 4044707"/>
                <a:gd name="connsiteY2393" fmla="*/ 724552 h 2907193"/>
                <a:gd name="connsiteX2394" fmla="*/ 2570132 w 4044707"/>
                <a:gd name="connsiteY2394" fmla="*/ 722858 h 2907193"/>
                <a:gd name="connsiteX2395" fmla="*/ 2569738 w 4044707"/>
                <a:gd name="connsiteY2395" fmla="*/ 720801 h 2907193"/>
                <a:gd name="connsiteX2396" fmla="*/ 2569496 w 4044707"/>
                <a:gd name="connsiteY2396" fmla="*/ 718169 h 2907193"/>
                <a:gd name="connsiteX2397" fmla="*/ 2569012 w 4044707"/>
                <a:gd name="connsiteY2397" fmla="*/ 715900 h 2907193"/>
                <a:gd name="connsiteX2398" fmla="*/ 2568044 w 4044707"/>
                <a:gd name="connsiteY2398" fmla="*/ 714932 h 2907193"/>
                <a:gd name="connsiteX2399" fmla="*/ 2566683 w 4044707"/>
                <a:gd name="connsiteY2399" fmla="*/ 714388 h 2907193"/>
                <a:gd name="connsiteX2400" fmla="*/ 2563658 w 4044707"/>
                <a:gd name="connsiteY2400" fmla="*/ 711998 h 2907193"/>
                <a:gd name="connsiteX2401" fmla="*/ 2562145 w 4044707"/>
                <a:gd name="connsiteY2401" fmla="*/ 711453 h 2907193"/>
                <a:gd name="connsiteX2402" fmla="*/ 2549863 w 4044707"/>
                <a:gd name="connsiteY2402" fmla="*/ 714811 h 2907193"/>
                <a:gd name="connsiteX2403" fmla="*/ 2546898 w 4044707"/>
                <a:gd name="connsiteY2403" fmla="*/ 717019 h 2907193"/>
                <a:gd name="connsiteX2404" fmla="*/ 2544569 w 4044707"/>
                <a:gd name="connsiteY2404" fmla="*/ 721013 h 2907193"/>
                <a:gd name="connsiteX2405" fmla="*/ 2541423 w 4044707"/>
                <a:gd name="connsiteY2405" fmla="*/ 728697 h 2907193"/>
                <a:gd name="connsiteX2406" fmla="*/ 2539426 w 4044707"/>
                <a:gd name="connsiteY2406" fmla="*/ 737469 h 2907193"/>
                <a:gd name="connsiteX2407" fmla="*/ 2542149 w 4044707"/>
                <a:gd name="connsiteY2407" fmla="*/ 738831 h 2907193"/>
                <a:gd name="connsiteX2408" fmla="*/ 2543541 w 4044707"/>
                <a:gd name="connsiteY2408" fmla="*/ 739133 h 2907193"/>
                <a:gd name="connsiteX2409" fmla="*/ 2544932 w 4044707"/>
                <a:gd name="connsiteY2409" fmla="*/ 739012 h 2907193"/>
                <a:gd name="connsiteX2410" fmla="*/ 2539214 w 4044707"/>
                <a:gd name="connsiteY2410" fmla="*/ 743369 h 2907193"/>
                <a:gd name="connsiteX2411" fmla="*/ 2537157 w 4044707"/>
                <a:gd name="connsiteY2411" fmla="*/ 746605 h 2907193"/>
                <a:gd name="connsiteX2412" fmla="*/ 2539457 w 4044707"/>
                <a:gd name="connsiteY2412" fmla="*/ 749600 h 2907193"/>
                <a:gd name="connsiteX2413" fmla="*/ 2540031 w 4044707"/>
                <a:gd name="connsiteY2413" fmla="*/ 751204 h 2907193"/>
                <a:gd name="connsiteX2414" fmla="*/ 2541816 w 4044707"/>
                <a:gd name="connsiteY2414" fmla="*/ 749994 h 2907193"/>
                <a:gd name="connsiteX2415" fmla="*/ 2545628 w 4044707"/>
                <a:gd name="connsiteY2415" fmla="*/ 746031 h 2907193"/>
                <a:gd name="connsiteX2416" fmla="*/ 2550831 w 4044707"/>
                <a:gd name="connsiteY2416" fmla="*/ 743580 h 2907193"/>
                <a:gd name="connsiteX2417" fmla="*/ 2567711 w 4044707"/>
                <a:gd name="connsiteY2417" fmla="*/ 742582 h 2907193"/>
                <a:gd name="connsiteX2418" fmla="*/ 2569285 w 4044707"/>
                <a:gd name="connsiteY2418" fmla="*/ 741342 h 2907193"/>
                <a:gd name="connsiteX2419" fmla="*/ 2568407 w 4044707"/>
                <a:gd name="connsiteY2419" fmla="*/ 738559 h 2907193"/>
                <a:gd name="connsiteX2420" fmla="*/ 2566501 w 4044707"/>
                <a:gd name="connsiteY2420" fmla="*/ 735624 h 2907193"/>
                <a:gd name="connsiteX2421" fmla="*/ 2565019 w 4044707"/>
                <a:gd name="connsiteY2421" fmla="*/ 733991 h 2907193"/>
                <a:gd name="connsiteX2422" fmla="*/ 2567076 w 4044707"/>
                <a:gd name="connsiteY2422" fmla="*/ 731873 h 2907193"/>
                <a:gd name="connsiteX2423" fmla="*/ 2572219 w 4044707"/>
                <a:gd name="connsiteY2423" fmla="*/ 730209 h 2907193"/>
                <a:gd name="connsiteX2424" fmla="*/ 2405624 w 4044707"/>
                <a:gd name="connsiteY2424" fmla="*/ 702045 h 2907193"/>
                <a:gd name="connsiteX2425" fmla="*/ 2398152 w 4044707"/>
                <a:gd name="connsiteY2425" fmla="*/ 701380 h 2907193"/>
                <a:gd name="connsiteX2426" fmla="*/ 2393705 w 4044707"/>
                <a:gd name="connsiteY2426" fmla="*/ 698748 h 2907193"/>
                <a:gd name="connsiteX2427" fmla="*/ 2388744 w 4044707"/>
                <a:gd name="connsiteY2427" fmla="*/ 703043 h 2907193"/>
                <a:gd name="connsiteX2428" fmla="*/ 2387171 w 4044707"/>
                <a:gd name="connsiteY2428" fmla="*/ 706008 h 2907193"/>
                <a:gd name="connsiteX2429" fmla="*/ 2389410 w 4044707"/>
                <a:gd name="connsiteY2429" fmla="*/ 709971 h 2907193"/>
                <a:gd name="connsiteX2430" fmla="*/ 2392677 w 4044707"/>
                <a:gd name="connsiteY2430" fmla="*/ 713268 h 2907193"/>
                <a:gd name="connsiteX2431" fmla="*/ 2397275 w 4044707"/>
                <a:gd name="connsiteY2431" fmla="*/ 717564 h 2907193"/>
                <a:gd name="connsiteX2432" fmla="*/ 2398576 w 4044707"/>
                <a:gd name="connsiteY2432" fmla="*/ 723161 h 2907193"/>
                <a:gd name="connsiteX2433" fmla="*/ 2403144 w 4044707"/>
                <a:gd name="connsiteY2433" fmla="*/ 722162 h 2907193"/>
                <a:gd name="connsiteX2434" fmla="*/ 2416121 w 4044707"/>
                <a:gd name="connsiteY2434" fmla="*/ 722162 h 2907193"/>
                <a:gd name="connsiteX2435" fmla="*/ 2420054 w 4044707"/>
                <a:gd name="connsiteY2435" fmla="*/ 719198 h 2907193"/>
                <a:gd name="connsiteX2436" fmla="*/ 2420054 w 4044707"/>
                <a:gd name="connsiteY2436" fmla="*/ 719198 h 2907193"/>
                <a:gd name="connsiteX2437" fmla="*/ 2420054 w 4044707"/>
                <a:gd name="connsiteY2437" fmla="*/ 719137 h 2907193"/>
                <a:gd name="connsiteX2438" fmla="*/ 2420115 w 4044707"/>
                <a:gd name="connsiteY2438" fmla="*/ 719137 h 2907193"/>
                <a:gd name="connsiteX2439" fmla="*/ 2420175 w 4044707"/>
                <a:gd name="connsiteY2439" fmla="*/ 719046 h 2907193"/>
                <a:gd name="connsiteX2440" fmla="*/ 2420236 w 4044707"/>
                <a:gd name="connsiteY2440" fmla="*/ 718986 h 2907193"/>
                <a:gd name="connsiteX2441" fmla="*/ 2420296 w 4044707"/>
                <a:gd name="connsiteY2441" fmla="*/ 718925 h 2907193"/>
                <a:gd name="connsiteX2442" fmla="*/ 2420387 w 4044707"/>
                <a:gd name="connsiteY2442" fmla="*/ 718835 h 2907193"/>
                <a:gd name="connsiteX2443" fmla="*/ 2420478 w 4044707"/>
                <a:gd name="connsiteY2443" fmla="*/ 718744 h 2907193"/>
                <a:gd name="connsiteX2444" fmla="*/ 2420568 w 4044707"/>
                <a:gd name="connsiteY2444" fmla="*/ 718653 h 2907193"/>
                <a:gd name="connsiteX2445" fmla="*/ 2420659 w 4044707"/>
                <a:gd name="connsiteY2445" fmla="*/ 718532 h 2907193"/>
                <a:gd name="connsiteX2446" fmla="*/ 2420750 w 4044707"/>
                <a:gd name="connsiteY2446" fmla="*/ 718411 h 2907193"/>
                <a:gd name="connsiteX2447" fmla="*/ 2420871 w 4044707"/>
                <a:gd name="connsiteY2447" fmla="*/ 718290 h 2907193"/>
                <a:gd name="connsiteX2448" fmla="*/ 2420992 w 4044707"/>
                <a:gd name="connsiteY2448" fmla="*/ 718169 h 2907193"/>
                <a:gd name="connsiteX2449" fmla="*/ 2421113 w 4044707"/>
                <a:gd name="connsiteY2449" fmla="*/ 718048 h 2907193"/>
                <a:gd name="connsiteX2450" fmla="*/ 2421234 w 4044707"/>
                <a:gd name="connsiteY2450" fmla="*/ 717897 h 2907193"/>
                <a:gd name="connsiteX2451" fmla="*/ 2421355 w 4044707"/>
                <a:gd name="connsiteY2451" fmla="*/ 717776 h 2907193"/>
                <a:gd name="connsiteX2452" fmla="*/ 2421506 w 4044707"/>
                <a:gd name="connsiteY2452" fmla="*/ 717625 h 2907193"/>
                <a:gd name="connsiteX2453" fmla="*/ 2421627 w 4044707"/>
                <a:gd name="connsiteY2453" fmla="*/ 717473 h 2907193"/>
                <a:gd name="connsiteX2454" fmla="*/ 2421778 w 4044707"/>
                <a:gd name="connsiteY2454" fmla="*/ 717322 h 2907193"/>
                <a:gd name="connsiteX2455" fmla="*/ 2421930 w 4044707"/>
                <a:gd name="connsiteY2455" fmla="*/ 717171 h 2907193"/>
                <a:gd name="connsiteX2456" fmla="*/ 2422081 w 4044707"/>
                <a:gd name="connsiteY2456" fmla="*/ 717019 h 2907193"/>
                <a:gd name="connsiteX2457" fmla="*/ 2422232 w 4044707"/>
                <a:gd name="connsiteY2457" fmla="*/ 716868 h 2907193"/>
                <a:gd name="connsiteX2458" fmla="*/ 2422383 w 4044707"/>
                <a:gd name="connsiteY2458" fmla="*/ 716717 h 2907193"/>
                <a:gd name="connsiteX2459" fmla="*/ 2422535 w 4044707"/>
                <a:gd name="connsiteY2459" fmla="*/ 716566 h 2907193"/>
                <a:gd name="connsiteX2460" fmla="*/ 2422837 w 4044707"/>
                <a:gd name="connsiteY2460" fmla="*/ 716233 h 2907193"/>
                <a:gd name="connsiteX2461" fmla="*/ 2422989 w 4044707"/>
                <a:gd name="connsiteY2461" fmla="*/ 716082 h 2907193"/>
                <a:gd name="connsiteX2462" fmla="*/ 2423140 w 4044707"/>
                <a:gd name="connsiteY2462" fmla="*/ 715930 h 2907193"/>
                <a:gd name="connsiteX2463" fmla="*/ 2423291 w 4044707"/>
                <a:gd name="connsiteY2463" fmla="*/ 715779 h 2907193"/>
                <a:gd name="connsiteX2464" fmla="*/ 2423412 w 4044707"/>
                <a:gd name="connsiteY2464" fmla="*/ 715628 h 2907193"/>
                <a:gd name="connsiteX2465" fmla="*/ 2423563 w 4044707"/>
                <a:gd name="connsiteY2465" fmla="*/ 715477 h 2907193"/>
                <a:gd name="connsiteX2466" fmla="*/ 2423715 w 4044707"/>
                <a:gd name="connsiteY2466" fmla="*/ 715325 h 2907193"/>
                <a:gd name="connsiteX2467" fmla="*/ 2423866 w 4044707"/>
                <a:gd name="connsiteY2467" fmla="*/ 715174 h 2907193"/>
                <a:gd name="connsiteX2468" fmla="*/ 2424017 w 4044707"/>
                <a:gd name="connsiteY2468" fmla="*/ 715053 h 2907193"/>
                <a:gd name="connsiteX2469" fmla="*/ 2424138 w 4044707"/>
                <a:gd name="connsiteY2469" fmla="*/ 714932 h 2907193"/>
                <a:gd name="connsiteX2470" fmla="*/ 2424259 w 4044707"/>
                <a:gd name="connsiteY2470" fmla="*/ 714811 h 2907193"/>
                <a:gd name="connsiteX2471" fmla="*/ 2424380 w 4044707"/>
                <a:gd name="connsiteY2471" fmla="*/ 714690 h 2907193"/>
                <a:gd name="connsiteX2472" fmla="*/ 2424501 w 4044707"/>
                <a:gd name="connsiteY2472" fmla="*/ 714569 h 2907193"/>
                <a:gd name="connsiteX2473" fmla="*/ 2424622 w 4044707"/>
                <a:gd name="connsiteY2473" fmla="*/ 714478 h 2907193"/>
                <a:gd name="connsiteX2474" fmla="*/ 2424713 w 4044707"/>
                <a:gd name="connsiteY2474" fmla="*/ 714388 h 2907193"/>
                <a:gd name="connsiteX2475" fmla="*/ 2424804 w 4044707"/>
                <a:gd name="connsiteY2475" fmla="*/ 714297 h 2907193"/>
                <a:gd name="connsiteX2476" fmla="*/ 2424894 w 4044707"/>
                <a:gd name="connsiteY2476" fmla="*/ 714206 h 2907193"/>
                <a:gd name="connsiteX2477" fmla="*/ 2424985 w 4044707"/>
                <a:gd name="connsiteY2477" fmla="*/ 714146 h 2907193"/>
                <a:gd name="connsiteX2478" fmla="*/ 2425076 w 4044707"/>
                <a:gd name="connsiteY2478" fmla="*/ 714085 h 2907193"/>
                <a:gd name="connsiteX2479" fmla="*/ 2425136 w 4044707"/>
                <a:gd name="connsiteY2479" fmla="*/ 714025 h 2907193"/>
                <a:gd name="connsiteX2480" fmla="*/ 2425227 w 4044707"/>
                <a:gd name="connsiteY2480" fmla="*/ 714025 h 2907193"/>
                <a:gd name="connsiteX2481" fmla="*/ 2425227 w 4044707"/>
                <a:gd name="connsiteY2481" fmla="*/ 713934 h 2907193"/>
                <a:gd name="connsiteX2482" fmla="*/ 2425409 w 4044707"/>
                <a:gd name="connsiteY2482" fmla="*/ 713934 h 2907193"/>
                <a:gd name="connsiteX2483" fmla="*/ 2425409 w 4044707"/>
                <a:gd name="connsiteY2483" fmla="*/ 713873 h 2907193"/>
                <a:gd name="connsiteX2484" fmla="*/ 2425499 w 4044707"/>
                <a:gd name="connsiteY2484" fmla="*/ 713873 h 2907193"/>
                <a:gd name="connsiteX2485" fmla="*/ 2425499 w 4044707"/>
                <a:gd name="connsiteY2485" fmla="*/ 713813 h 2907193"/>
                <a:gd name="connsiteX2486" fmla="*/ 2425560 w 4044707"/>
                <a:gd name="connsiteY2486" fmla="*/ 713813 h 2907193"/>
                <a:gd name="connsiteX2487" fmla="*/ 2425560 w 4044707"/>
                <a:gd name="connsiteY2487" fmla="*/ 713752 h 2907193"/>
                <a:gd name="connsiteX2488" fmla="*/ 2425620 w 4044707"/>
                <a:gd name="connsiteY2488" fmla="*/ 713752 h 2907193"/>
                <a:gd name="connsiteX2489" fmla="*/ 2425620 w 4044707"/>
                <a:gd name="connsiteY2489" fmla="*/ 713692 h 2907193"/>
                <a:gd name="connsiteX2490" fmla="*/ 2425681 w 4044707"/>
                <a:gd name="connsiteY2490" fmla="*/ 713631 h 2907193"/>
                <a:gd name="connsiteX2491" fmla="*/ 2425711 w 4044707"/>
                <a:gd name="connsiteY2491" fmla="*/ 713631 h 2907193"/>
                <a:gd name="connsiteX2492" fmla="*/ 2425711 w 4044707"/>
                <a:gd name="connsiteY2492" fmla="*/ 713541 h 2907193"/>
                <a:gd name="connsiteX2493" fmla="*/ 2425802 w 4044707"/>
                <a:gd name="connsiteY2493" fmla="*/ 713480 h 2907193"/>
                <a:gd name="connsiteX2494" fmla="*/ 2425802 w 4044707"/>
                <a:gd name="connsiteY2494" fmla="*/ 713420 h 2907193"/>
                <a:gd name="connsiteX2495" fmla="*/ 2425893 w 4044707"/>
                <a:gd name="connsiteY2495" fmla="*/ 713359 h 2907193"/>
                <a:gd name="connsiteX2496" fmla="*/ 2425953 w 4044707"/>
                <a:gd name="connsiteY2496" fmla="*/ 713299 h 2907193"/>
                <a:gd name="connsiteX2497" fmla="*/ 2425953 w 4044707"/>
                <a:gd name="connsiteY2497" fmla="*/ 713238 h 2907193"/>
                <a:gd name="connsiteX2498" fmla="*/ 2426044 w 4044707"/>
                <a:gd name="connsiteY2498" fmla="*/ 713178 h 2907193"/>
                <a:gd name="connsiteX2499" fmla="*/ 2426044 w 4044707"/>
                <a:gd name="connsiteY2499" fmla="*/ 713117 h 2907193"/>
                <a:gd name="connsiteX2500" fmla="*/ 2426135 w 4044707"/>
                <a:gd name="connsiteY2500" fmla="*/ 713057 h 2907193"/>
                <a:gd name="connsiteX2501" fmla="*/ 2426135 w 4044707"/>
                <a:gd name="connsiteY2501" fmla="*/ 712996 h 2907193"/>
                <a:gd name="connsiteX2502" fmla="*/ 2426256 w 4044707"/>
                <a:gd name="connsiteY2502" fmla="*/ 712875 h 2907193"/>
                <a:gd name="connsiteX2503" fmla="*/ 2426316 w 4044707"/>
                <a:gd name="connsiteY2503" fmla="*/ 712754 h 2907193"/>
                <a:gd name="connsiteX2504" fmla="*/ 2426316 w 4044707"/>
                <a:gd name="connsiteY2504" fmla="*/ 712694 h 2907193"/>
                <a:gd name="connsiteX2505" fmla="*/ 2426407 w 4044707"/>
                <a:gd name="connsiteY2505" fmla="*/ 712633 h 2907193"/>
                <a:gd name="connsiteX2506" fmla="*/ 2426407 w 4044707"/>
                <a:gd name="connsiteY2506" fmla="*/ 712573 h 2907193"/>
                <a:gd name="connsiteX2507" fmla="*/ 2426468 w 4044707"/>
                <a:gd name="connsiteY2507" fmla="*/ 712512 h 2907193"/>
                <a:gd name="connsiteX2508" fmla="*/ 2426468 w 4044707"/>
                <a:gd name="connsiteY2508" fmla="*/ 712452 h 2907193"/>
                <a:gd name="connsiteX2509" fmla="*/ 2426528 w 4044707"/>
                <a:gd name="connsiteY2509" fmla="*/ 712391 h 2907193"/>
                <a:gd name="connsiteX2510" fmla="*/ 2426528 w 4044707"/>
                <a:gd name="connsiteY2510" fmla="*/ 712331 h 2907193"/>
                <a:gd name="connsiteX2511" fmla="*/ 2426588 w 4044707"/>
                <a:gd name="connsiteY2511" fmla="*/ 712270 h 2907193"/>
                <a:gd name="connsiteX2512" fmla="*/ 2426588 w 4044707"/>
                <a:gd name="connsiteY2512" fmla="*/ 712210 h 2907193"/>
                <a:gd name="connsiteX2513" fmla="*/ 2426649 w 4044707"/>
                <a:gd name="connsiteY2513" fmla="*/ 712149 h 2907193"/>
                <a:gd name="connsiteX2514" fmla="*/ 2426649 w 4044707"/>
                <a:gd name="connsiteY2514" fmla="*/ 712149 h 2907193"/>
                <a:gd name="connsiteX2515" fmla="*/ 2426649 w 4044707"/>
                <a:gd name="connsiteY2515" fmla="*/ 712058 h 2907193"/>
                <a:gd name="connsiteX2516" fmla="*/ 2426709 w 4044707"/>
                <a:gd name="connsiteY2516" fmla="*/ 712058 h 2907193"/>
                <a:gd name="connsiteX2517" fmla="*/ 2426709 w 4044707"/>
                <a:gd name="connsiteY2517" fmla="*/ 711968 h 2907193"/>
                <a:gd name="connsiteX2518" fmla="*/ 2426770 w 4044707"/>
                <a:gd name="connsiteY2518" fmla="*/ 711968 h 2907193"/>
                <a:gd name="connsiteX2519" fmla="*/ 2426770 w 4044707"/>
                <a:gd name="connsiteY2519" fmla="*/ 711907 h 2907193"/>
                <a:gd name="connsiteX2520" fmla="*/ 2426770 w 4044707"/>
                <a:gd name="connsiteY2520" fmla="*/ 711907 h 2907193"/>
                <a:gd name="connsiteX2521" fmla="*/ 2426770 w 4044707"/>
                <a:gd name="connsiteY2521" fmla="*/ 711847 h 2907193"/>
                <a:gd name="connsiteX2522" fmla="*/ 2426831 w 4044707"/>
                <a:gd name="connsiteY2522" fmla="*/ 711847 h 2907193"/>
                <a:gd name="connsiteX2523" fmla="*/ 2426831 w 4044707"/>
                <a:gd name="connsiteY2523" fmla="*/ 711786 h 2907193"/>
                <a:gd name="connsiteX2524" fmla="*/ 2426982 w 4044707"/>
                <a:gd name="connsiteY2524" fmla="*/ 706855 h 2907193"/>
                <a:gd name="connsiteX2525" fmla="*/ 2420145 w 4044707"/>
                <a:gd name="connsiteY2525" fmla="*/ 705221 h 2907193"/>
                <a:gd name="connsiteX2526" fmla="*/ 2413580 w 4044707"/>
                <a:gd name="connsiteY2526" fmla="*/ 703255 h 2907193"/>
                <a:gd name="connsiteX2527" fmla="*/ 2405594 w 4044707"/>
                <a:gd name="connsiteY2527" fmla="*/ 701924 h 2907193"/>
                <a:gd name="connsiteX2528" fmla="*/ 2633569 w 4044707"/>
                <a:gd name="connsiteY2528" fmla="*/ 640090 h 2907193"/>
                <a:gd name="connsiteX2529" fmla="*/ 2630967 w 4044707"/>
                <a:gd name="connsiteY2529" fmla="*/ 632527 h 2907193"/>
                <a:gd name="connsiteX2530" fmla="*/ 2630483 w 4044707"/>
                <a:gd name="connsiteY2530" fmla="*/ 632043 h 2907193"/>
                <a:gd name="connsiteX2531" fmla="*/ 2629848 w 4044707"/>
                <a:gd name="connsiteY2531" fmla="*/ 629200 h 2907193"/>
                <a:gd name="connsiteX2532" fmla="*/ 2628366 w 4044707"/>
                <a:gd name="connsiteY2532" fmla="*/ 629563 h 2907193"/>
                <a:gd name="connsiteX2533" fmla="*/ 2625673 w 4044707"/>
                <a:gd name="connsiteY2533" fmla="*/ 632921 h 2907193"/>
                <a:gd name="connsiteX2534" fmla="*/ 2619290 w 4044707"/>
                <a:gd name="connsiteY2534" fmla="*/ 645324 h 2907193"/>
                <a:gd name="connsiteX2535" fmla="*/ 2615962 w 4044707"/>
                <a:gd name="connsiteY2535" fmla="*/ 647774 h 2907193"/>
                <a:gd name="connsiteX2536" fmla="*/ 2612574 w 4044707"/>
                <a:gd name="connsiteY2536" fmla="*/ 651404 h 2907193"/>
                <a:gd name="connsiteX2537" fmla="*/ 2611848 w 4044707"/>
                <a:gd name="connsiteY2537" fmla="*/ 653098 h 2907193"/>
                <a:gd name="connsiteX2538" fmla="*/ 2611667 w 4044707"/>
                <a:gd name="connsiteY2538" fmla="*/ 655730 h 2907193"/>
                <a:gd name="connsiteX2539" fmla="*/ 2611183 w 4044707"/>
                <a:gd name="connsiteY2539" fmla="*/ 658059 h 2907193"/>
                <a:gd name="connsiteX2540" fmla="*/ 2610517 w 4044707"/>
                <a:gd name="connsiteY2540" fmla="*/ 659875 h 2907193"/>
                <a:gd name="connsiteX2541" fmla="*/ 2609821 w 4044707"/>
                <a:gd name="connsiteY2541" fmla="*/ 660994 h 2907193"/>
                <a:gd name="connsiteX2542" fmla="*/ 2612272 w 4044707"/>
                <a:gd name="connsiteY2542" fmla="*/ 663595 h 2907193"/>
                <a:gd name="connsiteX2543" fmla="*/ 2638833 w 4044707"/>
                <a:gd name="connsiteY2543" fmla="*/ 655276 h 2907193"/>
                <a:gd name="connsiteX2544" fmla="*/ 2642916 w 4044707"/>
                <a:gd name="connsiteY2544" fmla="*/ 652130 h 2907193"/>
                <a:gd name="connsiteX2545" fmla="*/ 2641495 w 4044707"/>
                <a:gd name="connsiteY2545" fmla="*/ 648772 h 2907193"/>
                <a:gd name="connsiteX2546" fmla="*/ 2635626 w 4044707"/>
                <a:gd name="connsiteY2546" fmla="*/ 641421 h 2907193"/>
                <a:gd name="connsiteX2547" fmla="*/ 2633539 w 4044707"/>
                <a:gd name="connsiteY2547" fmla="*/ 640030 h 2907193"/>
                <a:gd name="connsiteX2548" fmla="*/ 2645609 w 4044707"/>
                <a:gd name="connsiteY2548" fmla="*/ 632285 h 2907193"/>
                <a:gd name="connsiteX2549" fmla="*/ 2646214 w 4044707"/>
                <a:gd name="connsiteY2549" fmla="*/ 640725 h 2907193"/>
                <a:gd name="connsiteX2550" fmla="*/ 2647726 w 4044707"/>
                <a:gd name="connsiteY2550" fmla="*/ 643569 h 2907193"/>
                <a:gd name="connsiteX2551" fmla="*/ 2650782 w 4044707"/>
                <a:gd name="connsiteY2551" fmla="*/ 646352 h 2907193"/>
                <a:gd name="connsiteX2552" fmla="*/ 2654684 w 4044707"/>
                <a:gd name="connsiteY2552" fmla="*/ 646201 h 2907193"/>
                <a:gd name="connsiteX2553" fmla="*/ 2658466 w 4044707"/>
                <a:gd name="connsiteY2553" fmla="*/ 643630 h 2907193"/>
                <a:gd name="connsiteX2554" fmla="*/ 2663397 w 4044707"/>
                <a:gd name="connsiteY2554" fmla="*/ 635552 h 2907193"/>
                <a:gd name="connsiteX2555" fmla="*/ 2672593 w 4044707"/>
                <a:gd name="connsiteY2555" fmla="*/ 627657 h 2907193"/>
                <a:gd name="connsiteX2556" fmla="*/ 2669084 w 4044707"/>
                <a:gd name="connsiteY2556" fmla="*/ 620880 h 2907193"/>
                <a:gd name="connsiteX2557" fmla="*/ 2664940 w 4044707"/>
                <a:gd name="connsiteY2557" fmla="*/ 616494 h 2907193"/>
                <a:gd name="connsiteX2558" fmla="*/ 2660432 w 4044707"/>
                <a:gd name="connsiteY2558" fmla="*/ 614165 h 2907193"/>
                <a:gd name="connsiteX2559" fmla="*/ 2650903 w 4044707"/>
                <a:gd name="connsiteY2559" fmla="*/ 613469 h 2907193"/>
                <a:gd name="connsiteX2560" fmla="*/ 2648936 w 4044707"/>
                <a:gd name="connsiteY2560" fmla="*/ 615496 h 2907193"/>
                <a:gd name="connsiteX2561" fmla="*/ 2649027 w 4044707"/>
                <a:gd name="connsiteY2561" fmla="*/ 620638 h 2907193"/>
                <a:gd name="connsiteX2562" fmla="*/ 2650449 w 4044707"/>
                <a:gd name="connsiteY2562" fmla="*/ 623482 h 2907193"/>
                <a:gd name="connsiteX2563" fmla="*/ 2654926 w 4044707"/>
                <a:gd name="connsiteY2563" fmla="*/ 626961 h 2907193"/>
                <a:gd name="connsiteX2564" fmla="*/ 2656681 w 4044707"/>
                <a:gd name="connsiteY2564" fmla="*/ 629593 h 2907193"/>
                <a:gd name="connsiteX2565" fmla="*/ 2654019 w 4044707"/>
                <a:gd name="connsiteY2565" fmla="*/ 630379 h 2907193"/>
                <a:gd name="connsiteX2566" fmla="*/ 2651024 w 4044707"/>
                <a:gd name="connsiteY2566" fmla="*/ 628837 h 2907193"/>
                <a:gd name="connsiteX2567" fmla="*/ 2648089 w 4044707"/>
                <a:gd name="connsiteY2567" fmla="*/ 625902 h 2907193"/>
                <a:gd name="connsiteX2568" fmla="*/ 2645639 w 4044707"/>
                <a:gd name="connsiteY2568" fmla="*/ 622575 h 2907193"/>
                <a:gd name="connsiteX2569" fmla="*/ 2641495 w 4044707"/>
                <a:gd name="connsiteY2569" fmla="*/ 614951 h 2907193"/>
                <a:gd name="connsiteX2570" fmla="*/ 2638802 w 4044707"/>
                <a:gd name="connsiteY2570" fmla="*/ 612471 h 2907193"/>
                <a:gd name="connsiteX2571" fmla="*/ 2636685 w 4044707"/>
                <a:gd name="connsiteY2571" fmla="*/ 615375 h 2907193"/>
                <a:gd name="connsiteX2572" fmla="*/ 2637048 w 4044707"/>
                <a:gd name="connsiteY2572" fmla="*/ 619307 h 2907193"/>
                <a:gd name="connsiteX2573" fmla="*/ 2639317 w 4044707"/>
                <a:gd name="connsiteY2573" fmla="*/ 622484 h 2907193"/>
                <a:gd name="connsiteX2574" fmla="*/ 2644248 w 4044707"/>
                <a:gd name="connsiteY2574" fmla="*/ 627687 h 2907193"/>
                <a:gd name="connsiteX2575" fmla="*/ 2645639 w 4044707"/>
                <a:gd name="connsiteY2575" fmla="*/ 632285 h 2907193"/>
                <a:gd name="connsiteX2576" fmla="*/ 2411251 w 4044707"/>
                <a:gd name="connsiteY2576" fmla="*/ 622665 h 2907193"/>
                <a:gd name="connsiteX2577" fmla="*/ 2412764 w 4044707"/>
                <a:gd name="connsiteY2577" fmla="*/ 623210 h 2907193"/>
                <a:gd name="connsiteX2578" fmla="*/ 2416152 w 4044707"/>
                <a:gd name="connsiteY2578" fmla="*/ 625781 h 2907193"/>
                <a:gd name="connsiteX2579" fmla="*/ 2417059 w 4044707"/>
                <a:gd name="connsiteY2579" fmla="*/ 626053 h 2907193"/>
                <a:gd name="connsiteX2580" fmla="*/ 2422807 w 4044707"/>
                <a:gd name="connsiteY2580" fmla="*/ 625297 h 2907193"/>
                <a:gd name="connsiteX2581" fmla="*/ 2425772 w 4044707"/>
                <a:gd name="connsiteY2581" fmla="*/ 622877 h 2907193"/>
                <a:gd name="connsiteX2582" fmla="*/ 2426679 w 4044707"/>
                <a:gd name="connsiteY2582" fmla="*/ 618521 h 2907193"/>
                <a:gd name="connsiteX2583" fmla="*/ 2425288 w 4044707"/>
                <a:gd name="connsiteY2583" fmla="*/ 614346 h 2907193"/>
                <a:gd name="connsiteX2584" fmla="*/ 2422837 w 4044707"/>
                <a:gd name="connsiteY2584" fmla="*/ 612229 h 2907193"/>
                <a:gd name="connsiteX2585" fmla="*/ 2416908 w 4044707"/>
                <a:gd name="connsiteY2585" fmla="*/ 610988 h 2907193"/>
                <a:gd name="connsiteX2586" fmla="*/ 2414246 w 4044707"/>
                <a:gd name="connsiteY2586" fmla="*/ 611412 h 2907193"/>
                <a:gd name="connsiteX2587" fmla="*/ 2412643 w 4044707"/>
                <a:gd name="connsiteY2587" fmla="*/ 612985 h 2907193"/>
                <a:gd name="connsiteX2588" fmla="*/ 2412098 w 4044707"/>
                <a:gd name="connsiteY2588" fmla="*/ 614074 h 2907193"/>
                <a:gd name="connsiteX2589" fmla="*/ 2412310 w 4044707"/>
                <a:gd name="connsiteY2589" fmla="*/ 615435 h 2907193"/>
                <a:gd name="connsiteX2590" fmla="*/ 2412431 w 4044707"/>
                <a:gd name="connsiteY2590" fmla="*/ 617039 h 2907193"/>
                <a:gd name="connsiteX2591" fmla="*/ 2410918 w 4044707"/>
                <a:gd name="connsiteY2591" fmla="*/ 621032 h 2907193"/>
                <a:gd name="connsiteX2592" fmla="*/ 2411281 w 4044707"/>
                <a:gd name="connsiteY2592" fmla="*/ 622635 h 2907193"/>
                <a:gd name="connsiteX2593" fmla="*/ 2471240 w 4044707"/>
                <a:gd name="connsiteY2593" fmla="*/ 702196 h 2907193"/>
                <a:gd name="connsiteX2594" fmla="*/ 2472540 w 4044707"/>
                <a:gd name="connsiteY2594" fmla="*/ 706280 h 2907193"/>
                <a:gd name="connsiteX2595" fmla="*/ 2470725 w 4044707"/>
                <a:gd name="connsiteY2595" fmla="*/ 705161 h 2907193"/>
                <a:gd name="connsiteX2596" fmla="*/ 2467821 w 4044707"/>
                <a:gd name="connsiteY2596" fmla="*/ 700442 h 2907193"/>
                <a:gd name="connsiteX2597" fmla="*/ 2466732 w 4044707"/>
                <a:gd name="connsiteY2597" fmla="*/ 699353 h 2907193"/>
                <a:gd name="connsiteX2598" fmla="*/ 2458110 w 4044707"/>
                <a:gd name="connsiteY2598" fmla="*/ 700926 h 2907193"/>
                <a:gd name="connsiteX2599" fmla="*/ 2459563 w 4044707"/>
                <a:gd name="connsiteY2599" fmla="*/ 704919 h 2907193"/>
                <a:gd name="connsiteX2600" fmla="*/ 2458413 w 4044707"/>
                <a:gd name="connsiteY2600" fmla="*/ 705917 h 2907193"/>
                <a:gd name="connsiteX2601" fmla="*/ 2454027 w 4044707"/>
                <a:gd name="connsiteY2601" fmla="*/ 704526 h 2907193"/>
                <a:gd name="connsiteX2602" fmla="*/ 2451062 w 4044707"/>
                <a:gd name="connsiteY2602" fmla="*/ 704526 h 2907193"/>
                <a:gd name="connsiteX2603" fmla="*/ 2448914 w 4044707"/>
                <a:gd name="connsiteY2603" fmla="*/ 706401 h 2907193"/>
                <a:gd name="connsiteX2604" fmla="*/ 2447038 w 4044707"/>
                <a:gd name="connsiteY2604" fmla="*/ 709910 h 2907193"/>
                <a:gd name="connsiteX2605" fmla="*/ 2445011 w 4044707"/>
                <a:gd name="connsiteY2605" fmla="*/ 714902 h 2907193"/>
                <a:gd name="connsiteX2606" fmla="*/ 2454359 w 4044707"/>
                <a:gd name="connsiteY2606" fmla="*/ 716808 h 2907193"/>
                <a:gd name="connsiteX2607" fmla="*/ 2454722 w 4044707"/>
                <a:gd name="connsiteY2607" fmla="*/ 717594 h 2907193"/>
                <a:gd name="connsiteX2608" fmla="*/ 2454662 w 4044707"/>
                <a:gd name="connsiteY2608" fmla="*/ 719379 h 2907193"/>
                <a:gd name="connsiteX2609" fmla="*/ 2454662 w 4044707"/>
                <a:gd name="connsiteY2609" fmla="*/ 721164 h 2907193"/>
                <a:gd name="connsiteX2610" fmla="*/ 2455388 w 4044707"/>
                <a:gd name="connsiteY2610" fmla="*/ 721950 h 2907193"/>
                <a:gd name="connsiteX2611" fmla="*/ 2460954 w 4044707"/>
                <a:gd name="connsiteY2611" fmla="*/ 723675 h 2907193"/>
                <a:gd name="connsiteX2612" fmla="*/ 2455116 w 4044707"/>
                <a:gd name="connsiteY2612" fmla="*/ 723342 h 2907193"/>
                <a:gd name="connsiteX2613" fmla="*/ 2452030 w 4044707"/>
                <a:gd name="connsiteY2613" fmla="*/ 724280 h 2907193"/>
                <a:gd name="connsiteX2614" fmla="*/ 2451274 w 4044707"/>
                <a:gd name="connsiteY2614" fmla="*/ 727123 h 2907193"/>
                <a:gd name="connsiteX2615" fmla="*/ 2453210 w 4044707"/>
                <a:gd name="connsiteY2615" fmla="*/ 729241 h 2907193"/>
                <a:gd name="connsiteX2616" fmla="*/ 2460319 w 4044707"/>
                <a:gd name="connsiteY2616" fmla="*/ 729695 h 2907193"/>
                <a:gd name="connsiteX2617" fmla="*/ 2462951 w 4044707"/>
                <a:gd name="connsiteY2617" fmla="*/ 730572 h 2907193"/>
                <a:gd name="connsiteX2618" fmla="*/ 2454027 w 4044707"/>
                <a:gd name="connsiteY2618" fmla="*/ 730572 h 2907193"/>
                <a:gd name="connsiteX2619" fmla="*/ 2452423 w 4044707"/>
                <a:gd name="connsiteY2619" fmla="*/ 731570 h 2907193"/>
                <a:gd name="connsiteX2620" fmla="*/ 2449489 w 4044707"/>
                <a:gd name="connsiteY2620" fmla="*/ 734989 h 2907193"/>
                <a:gd name="connsiteX2621" fmla="*/ 2446433 w 4044707"/>
                <a:gd name="connsiteY2621" fmla="*/ 737227 h 2907193"/>
                <a:gd name="connsiteX2622" fmla="*/ 2439476 w 4044707"/>
                <a:gd name="connsiteY2622" fmla="*/ 747755 h 2907193"/>
                <a:gd name="connsiteX2623" fmla="*/ 2437539 w 4044707"/>
                <a:gd name="connsiteY2623" fmla="*/ 751688 h 2907193"/>
                <a:gd name="connsiteX2624" fmla="*/ 2433940 w 4044707"/>
                <a:gd name="connsiteY2624" fmla="*/ 761277 h 2907193"/>
                <a:gd name="connsiteX2625" fmla="*/ 2432699 w 4044707"/>
                <a:gd name="connsiteY2625" fmla="*/ 763183 h 2907193"/>
                <a:gd name="connsiteX2626" fmla="*/ 2430521 w 4044707"/>
                <a:gd name="connsiteY2626" fmla="*/ 764484 h 2907193"/>
                <a:gd name="connsiteX2627" fmla="*/ 2428010 w 4044707"/>
                <a:gd name="connsiteY2627" fmla="*/ 767660 h 2907193"/>
                <a:gd name="connsiteX2628" fmla="*/ 2426619 w 4044707"/>
                <a:gd name="connsiteY2628" fmla="*/ 771623 h 2907193"/>
                <a:gd name="connsiteX2629" fmla="*/ 2427829 w 4044707"/>
                <a:gd name="connsiteY2629" fmla="*/ 775284 h 2907193"/>
                <a:gd name="connsiteX2630" fmla="*/ 2427405 w 4044707"/>
                <a:gd name="connsiteY2630" fmla="*/ 776585 h 2907193"/>
                <a:gd name="connsiteX2631" fmla="*/ 2426891 w 4044707"/>
                <a:gd name="connsiteY2631" fmla="*/ 777553 h 2907193"/>
                <a:gd name="connsiteX2632" fmla="*/ 2426377 w 4044707"/>
                <a:gd name="connsiteY2632" fmla="*/ 778218 h 2907193"/>
                <a:gd name="connsiteX2633" fmla="*/ 2425772 w 4044707"/>
                <a:gd name="connsiteY2633" fmla="*/ 778702 h 2907193"/>
                <a:gd name="connsiteX2634" fmla="*/ 2427133 w 4044707"/>
                <a:gd name="connsiteY2634" fmla="*/ 782756 h 2907193"/>
                <a:gd name="connsiteX2635" fmla="*/ 2431217 w 4044707"/>
                <a:gd name="connsiteY2635" fmla="*/ 781818 h 2907193"/>
                <a:gd name="connsiteX2636" fmla="*/ 2435724 w 4044707"/>
                <a:gd name="connsiteY2636" fmla="*/ 778279 h 2907193"/>
                <a:gd name="connsiteX2637" fmla="*/ 2438538 w 4044707"/>
                <a:gd name="connsiteY2637" fmla="*/ 774376 h 2907193"/>
                <a:gd name="connsiteX2638" fmla="*/ 2440565 w 4044707"/>
                <a:gd name="connsiteY2638" fmla="*/ 769082 h 2907193"/>
                <a:gd name="connsiteX2639" fmla="*/ 2441684 w 4044707"/>
                <a:gd name="connsiteY2639" fmla="*/ 767872 h 2907193"/>
                <a:gd name="connsiteX2640" fmla="*/ 2448884 w 4044707"/>
                <a:gd name="connsiteY2640" fmla="*/ 762245 h 2907193"/>
                <a:gd name="connsiteX2641" fmla="*/ 2450548 w 4044707"/>
                <a:gd name="connsiteY2641" fmla="*/ 761671 h 2907193"/>
                <a:gd name="connsiteX2642" fmla="*/ 2449912 w 4044707"/>
                <a:gd name="connsiteY2642" fmla="*/ 758887 h 2907193"/>
                <a:gd name="connsiteX2643" fmla="*/ 2448702 w 4044707"/>
                <a:gd name="connsiteY2643" fmla="*/ 757950 h 2907193"/>
                <a:gd name="connsiteX2644" fmla="*/ 2445738 w 4044707"/>
                <a:gd name="connsiteY2644" fmla="*/ 758222 h 2907193"/>
                <a:gd name="connsiteX2645" fmla="*/ 2448400 w 4044707"/>
                <a:gd name="connsiteY2645" fmla="*/ 754562 h 2907193"/>
                <a:gd name="connsiteX2646" fmla="*/ 2455146 w 4044707"/>
                <a:gd name="connsiteY2646" fmla="*/ 752746 h 2907193"/>
                <a:gd name="connsiteX2647" fmla="*/ 2458927 w 4044707"/>
                <a:gd name="connsiteY2647" fmla="*/ 747150 h 2907193"/>
                <a:gd name="connsiteX2648" fmla="*/ 2463707 w 4044707"/>
                <a:gd name="connsiteY2648" fmla="*/ 744518 h 2907193"/>
                <a:gd name="connsiteX2649" fmla="*/ 2464372 w 4044707"/>
                <a:gd name="connsiteY2649" fmla="*/ 742854 h 2907193"/>
                <a:gd name="connsiteX2650" fmla="*/ 2464978 w 4044707"/>
                <a:gd name="connsiteY2650" fmla="*/ 741705 h 2907193"/>
                <a:gd name="connsiteX2651" fmla="*/ 2465734 w 4044707"/>
                <a:gd name="connsiteY2651" fmla="*/ 740918 h 2907193"/>
                <a:gd name="connsiteX2652" fmla="*/ 2467851 w 4044707"/>
                <a:gd name="connsiteY2652" fmla="*/ 742370 h 2907193"/>
                <a:gd name="connsiteX2653" fmla="*/ 2468517 w 4044707"/>
                <a:gd name="connsiteY2653" fmla="*/ 742612 h 2907193"/>
                <a:gd name="connsiteX2654" fmla="*/ 2471300 w 4044707"/>
                <a:gd name="connsiteY2654" fmla="*/ 741372 h 2907193"/>
                <a:gd name="connsiteX2655" fmla="*/ 2481646 w 4044707"/>
                <a:gd name="connsiteY2655" fmla="*/ 729332 h 2907193"/>
                <a:gd name="connsiteX2656" fmla="*/ 2482826 w 4044707"/>
                <a:gd name="connsiteY2656" fmla="*/ 727063 h 2907193"/>
                <a:gd name="connsiteX2657" fmla="*/ 2482705 w 4044707"/>
                <a:gd name="connsiteY2657" fmla="*/ 723917 h 2907193"/>
                <a:gd name="connsiteX2658" fmla="*/ 2481586 w 4044707"/>
                <a:gd name="connsiteY2658" fmla="*/ 718381 h 2907193"/>
                <a:gd name="connsiteX2659" fmla="*/ 2482796 w 4044707"/>
                <a:gd name="connsiteY2659" fmla="*/ 718018 h 2907193"/>
                <a:gd name="connsiteX2660" fmla="*/ 2483915 w 4044707"/>
                <a:gd name="connsiteY2660" fmla="*/ 718532 h 2907193"/>
                <a:gd name="connsiteX2661" fmla="*/ 2484732 w 4044707"/>
                <a:gd name="connsiteY2661" fmla="*/ 720105 h 2907193"/>
                <a:gd name="connsiteX2662" fmla="*/ 2485065 w 4044707"/>
                <a:gd name="connsiteY2662" fmla="*/ 722858 h 2907193"/>
                <a:gd name="connsiteX2663" fmla="*/ 2485548 w 4044707"/>
                <a:gd name="connsiteY2663" fmla="*/ 724008 h 2907193"/>
                <a:gd name="connsiteX2664" fmla="*/ 2488634 w 4044707"/>
                <a:gd name="connsiteY2664" fmla="*/ 727184 h 2907193"/>
                <a:gd name="connsiteX2665" fmla="*/ 2484490 w 4044707"/>
                <a:gd name="connsiteY2665" fmla="*/ 730179 h 2907193"/>
                <a:gd name="connsiteX2666" fmla="*/ 2478167 w 4044707"/>
                <a:gd name="connsiteY2666" fmla="*/ 740374 h 2907193"/>
                <a:gd name="connsiteX2667" fmla="*/ 2474718 w 4044707"/>
                <a:gd name="connsiteY2667" fmla="*/ 744548 h 2907193"/>
                <a:gd name="connsiteX2668" fmla="*/ 2467972 w 4044707"/>
                <a:gd name="connsiteY2668" fmla="*/ 748088 h 2907193"/>
                <a:gd name="connsiteX2669" fmla="*/ 2466157 w 4044707"/>
                <a:gd name="connsiteY2669" fmla="*/ 750447 h 2907193"/>
                <a:gd name="connsiteX2670" fmla="*/ 2463162 w 4044707"/>
                <a:gd name="connsiteY2670" fmla="*/ 757375 h 2907193"/>
                <a:gd name="connsiteX2671" fmla="*/ 2461589 w 4044707"/>
                <a:gd name="connsiteY2671" fmla="*/ 759069 h 2907193"/>
                <a:gd name="connsiteX2672" fmla="*/ 2459593 w 4044707"/>
                <a:gd name="connsiteY2672" fmla="*/ 758282 h 2907193"/>
                <a:gd name="connsiteX2673" fmla="*/ 2461166 w 4044707"/>
                <a:gd name="connsiteY2673" fmla="*/ 763153 h 2907193"/>
                <a:gd name="connsiteX2674" fmla="*/ 2464947 w 4044707"/>
                <a:gd name="connsiteY2674" fmla="*/ 764242 h 2907193"/>
                <a:gd name="connsiteX2675" fmla="*/ 2480194 w 4044707"/>
                <a:gd name="connsiteY2675" fmla="*/ 761701 h 2907193"/>
                <a:gd name="connsiteX2676" fmla="*/ 2481858 w 4044707"/>
                <a:gd name="connsiteY2676" fmla="*/ 762608 h 2907193"/>
                <a:gd name="connsiteX2677" fmla="*/ 2485004 w 4044707"/>
                <a:gd name="connsiteY2677" fmla="*/ 766269 h 2907193"/>
                <a:gd name="connsiteX2678" fmla="*/ 2487122 w 4044707"/>
                <a:gd name="connsiteY2678" fmla="*/ 766662 h 2907193"/>
                <a:gd name="connsiteX2679" fmla="*/ 2487122 w 4044707"/>
                <a:gd name="connsiteY2679" fmla="*/ 768538 h 2907193"/>
                <a:gd name="connsiteX2680" fmla="*/ 2486426 w 4044707"/>
                <a:gd name="connsiteY2680" fmla="*/ 769173 h 2907193"/>
                <a:gd name="connsiteX2681" fmla="*/ 2485730 w 4044707"/>
                <a:gd name="connsiteY2681" fmla="*/ 770081 h 2907193"/>
                <a:gd name="connsiteX2682" fmla="*/ 2487273 w 4044707"/>
                <a:gd name="connsiteY2682" fmla="*/ 770020 h 2907193"/>
                <a:gd name="connsiteX2683" fmla="*/ 2489935 w 4044707"/>
                <a:gd name="connsiteY2683" fmla="*/ 771018 h 2907193"/>
                <a:gd name="connsiteX2684" fmla="*/ 2491296 w 4044707"/>
                <a:gd name="connsiteY2684" fmla="*/ 770081 h 2907193"/>
                <a:gd name="connsiteX2685" fmla="*/ 2491508 w 4044707"/>
                <a:gd name="connsiteY2685" fmla="*/ 766753 h 2907193"/>
                <a:gd name="connsiteX2686" fmla="*/ 2496651 w 4044707"/>
                <a:gd name="connsiteY2686" fmla="*/ 760340 h 2907193"/>
                <a:gd name="connsiteX2687" fmla="*/ 2498163 w 4044707"/>
                <a:gd name="connsiteY2687" fmla="*/ 756377 h 2907193"/>
                <a:gd name="connsiteX2688" fmla="*/ 2496862 w 4044707"/>
                <a:gd name="connsiteY2688" fmla="*/ 756558 h 2907193"/>
                <a:gd name="connsiteX2689" fmla="*/ 2495622 w 4044707"/>
                <a:gd name="connsiteY2689" fmla="*/ 756316 h 2907193"/>
                <a:gd name="connsiteX2690" fmla="*/ 2494442 w 4044707"/>
                <a:gd name="connsiteY2690" fmla="*/ 755741 h 2907193"/>
                <a:gd name="connsiteX2691" fmla="*/ 2493353 w 4044707"/>
                <a:gd name="connsiteY2691" fmla="*/ 754834 h 2907193"/>
                <a:gd name="connsiteX2692" fmla="*/ 2494957 w 4044707"/>
                <a:gd name="connsiteY2692" fmla="*/ 753261 h 2907193"/>
                <a:gd name="connsiteX2693" fmla="*/ 2496681 w 4044707"/>
                <a:gd name="connsiteY2693" fmla="*/ 752777 h 2907193"/>
                <a:gd name="connsiteX2694" fmla="*/ 2500220 w 4044707"/>
                <a:gd name="connsiteY2694" fmla="*/ 752958 h 2907193"/>
                <a:gd name="connsiteX2695" fmla="*/ 2500009 w 4044707"/>
                <a:gd name="connsiteY2695" fmla="*/ 751839 h 2907193"/>
                <a:gd name="connsiteX2696" fmla="*/ 2499736 w 4044707"/>
                <a:gd name="connsiteY2696" fmla="*/ 748965 h 2907193"/>
                <a:gd name="connsiteX2697" fmla="*/ 2499555 w 4044707"/>
                <a:gd name="connsiteY2697" fmla="*/ 747815 h 2907193"/>
                <a:gd name="connsiteX2698" fmla="*/ 2500886 w 4044707"/>
                <a:gd name="connsiteY2698" fmla="*/ 745728 h 2907193"/>
                <a:gd name="connsiteX2699" fmla="*/ 2501612 w 4044707"/>
                <a:gd name="connsiteY2699" fmla="*/ 742310 h 2907193"/>
                <a:gd name="connsiteX2700" fmla="*/ 2502368 w 4044707"/>
                <a:gd name="connsiteY2700" fmla="*/ 739678 h 2907193"/>
                <a:gd name="connsiteX2701" fmla="*/ 2503730 w 4044707"/>
                <a:gd name="connsiteY2701" fmla="*/ 740011 h 2907193"/>
                <a:gd name="connsiteX2702" fmla="*/ 2504909 w 4044707"/>
                <a:gd name="connsiteY2702" fmla="*/ 742673 h 2907193"/>
                <a:gd name="connsiteX2703" fmla="*/ 2505696 w 4044707"/>
                <a:gd name="connsiteY2703" fmla="*/ 745577 h 2907193"/>
                <a:gd name="connsiteX2704" fmla="*/ 2506876 w 4044707"/>
                <a:gd name="connsiteY2704" fmla="*/ 747634 h 2907193"/>
                <a:gd name="connsiteX2705" fmla="*/ 2509235 w 4044707"/>
                <a:gd name="connsiteY2705" fmla="*/ 747785 h 2907193"/>
                <a:gd name="connsiteX2706" fmla="*/ 2508358 w 4044707"/>
                <a:gd name="connsiteY2706" fmla="*/ 745244 h 2907193"/>
                <a:gd name="connsiteX2707" fmla="*/ 2505635 w 4044707"/>
                <a:gd name="connsiteY2707" fmla="*/ 741342 h 2907193"/>
                <a:gd name="connsiteX2708" fmla="*/ 2505030 w 4044707"/>
                <a:gd name="connsiteY2708" fmla="*/ 738286 h 2907193"/>
                <a:gd name="connsiteX2709" fmla="*/ 2505696 w 4044707"/>
                <a:gd name="connsiteY2709" fmla="*/ 736441 h 2907193"/>
                <a:gd name="connsiteX2710" fmla="*/ 2507209 w 4044707"/>
                <a:gd name="connsiteY2710" fmla="*/ 737530 h 2907193"/>
                <a:gd name="connsiteX2711" fmla="*/ 2508842 w 4044707"/>
                <a:gd name="connsiteY2711" fmla="*/ 739406 h 2907193"/>
                <a:gd name="connsiteX2712" fmla="*/ 2509931 w 4044707"/>
                <a:gd name="connsiteY2712" fmla="*/ 740011 h 2907193"/>
                <a:gd name="connsiteX2713" fmla="*/ 2512563 w 4044707"/>
                <a:gd name="connsiteY2713" fmla="*/ 737318 h 2907193"/>
                <a:gd name="connsiteX2714" fmla="*/ 2513350 w 4044707"/>
                <a:gd name="connsiteY2714" fmla="*/ 735775 h 2907193"/>
                <a:gd name="connsiteX2715" fmla="*/ 2514076 w 4044707"/>
                <a:gd name="connsiteY2715" fmla="*/ 732357 h 2907193"/>
                <a:gd name="connsiteX2716" fmla="*/ 2514076 w 4044707"/>
                <a:gd name="connsiteY2716" fmla="*/ 729090 h 2907193"/>
                <a:gd name="connsiteX2717" fmla="*/ 2513592 w 4044707"/>
                <a:gd name="connsiteY2717" fmla="*/ 726579 h 2907193"/>
                <a:gd name="connsiteX2718" fmla="*/ 2513470 w 4044707"/>
                <a:gd name="connsiteY2718" fmla="*/ 724340 h 2907193"/>
                <a:gd name="connsiteX2719" fmla="*/ 2514711 w 4044707"/>
                <a:gd name="connsiteY2719" fmla="*/ 722011 h 2907193"/>
                <a:gd name="connsiteX2720" fmla="*/ 2514711 w 4044707"/>
                <a:gd name="connsiteY2720" fmla="*/ 726307 h 2907193"/>
                <a:gd name="connsiteX2721" fmla="*/ 2515165 w 4044707"/>
                <a:gd name="connsiteY2721" fmla="*/ 729302 h 2907193"/>
                <a:gd name="connsiteX2722" fmla="*/ 2515800 w 4044707"/>
                <a:gd name="connsiteY2722" fmla="*/ 731873 h 2907193"/>
                <a:gd name="connsiteX2723" fmla="*/ 2516072 w 4044707"/>
                <a:gd name="connsiteY2723" fmla="*/ 734959 h 2907193"/>
                <a:gd name="connsiteX2724" fmla="*/ 2515709 w 4044707"/>
                <a:gd name="connsiteY2724" fmla="*/ 738831 h 2907193"/>
                <a:gd name="connsiteX2725" fmla="*/ 2515013 w 4044707"/>
                <a:gd name="connsiteY2725" fmla="*/ 742400 h 2907193"/>
                <a:gd name="connsiteX2726" fmla="*/ 2514711 w 4044707"/>
                <a:gd name="connsiteY2726" fmla="*/ 745940 h 2907193"/>
                <a:gd name="connsiteX2727" fmla="*/ 2515437 w 4044707"/>
                <a:gd name="connsiteY2727" fmla="*/ 749721 h 2907193"/>
                <a:gd name="connsiteX2728" fmla="*/ 2515255 w 4044707"/>
                <a:gd name="connsiteY2728" fmla="*/ 753866 h 2907193"/>
                <a:gd name="connsiteX2729" fmla="*/ 2518038 w 4044707"/>
                <a:gd name="connsiteY2729" fmla="*/ 753684 h 2907193"/>
                <a:gd name="connsiteX2730" fmla="*/ 2521760 w 4044707"/>
                <a:gd name="connsiteY2730" fmla="*/ 751052 h 2907193"/>
                <a:gd name="connsiteX2731" fmla="*/ 2524331 w 4044707"/>
                <a:gd name="connsiteY2731" fmla="*/ 747876 h 2907193"/>
                <a:gd name="connsiteX2732" fmla="*/ 2527205 w 4044707"/>
                <a:gd name="connsiteY2732" fmla="*/ 738710 h 2907193"/>
                <a:gd name="connsiteX2733" fmla="*/ 2528929 w 4044707"/>
                <a:gd name="connsiteY2733" fmla="*/ 734293 h 2907193"/>
                <a:gd name="connsiteX2734" fmla="*/ 2533104 w 4044707"/>
                <a:gd name="connsiteY2734" fmla="*/ 729786 h 2907193"/>
                <a:gd name="connsiteX2735" fmla="*/ 2534737 w 4044707"/>
                <a:gd name="connsiteY2735" fmla="*/ 723705 h 2907193"/>
                <a:gd name="connsiteX2736" fmla="*/ 2536008 w 4044707"/>
                <a:gd name="connsiteY2736" fmla="*/ 716989 h 2907193"/>
                <a:gd name="connsiteX2737" fmla="*/ 2537127 w 4044707"/>
                <a:gd name="connsiteY2737" fmla="*/ 712452 h 2907193"/>
                <a:gd name="connsiteX2738" fmla="*/ 2538398 w 4044707"/>
                <a:gd name="connsiteY2738" fmla="*/ 711181 h 2907193"/>
                <a:gd name="connsiteX2739" fmla="*/ 2539608 w 4044707"/>
                <a:gd name="connsiteY2739" fmla="*/ 712270 h 2907193"/>
                <a:gd name="connsiteX2740" fmla="*/ 2540788 w 4044707"/>
                <a:gd name="connsiteY2740" fmla="*/ 714055 h 2907193"/>
                <a:gd name="connsiteX2741" fmla="*/ 2541998 w 4044707"/>
                <a:gd name="connsiteY2741" fmla="*/ 715023 h 2907193"/>
                <a:gd name="connsiteX2742" fmla="*/ 2543389 w 4044707"/>
                <a:gd name="connsiteY2742" fmla="*/ 714720 h 2907193"/>
                <a:gd name="connsiteX2743" fmla="*/ 2550075 w 4044707"/>
                <a:gd name="connsiteY2743" fmla="*/ 708942 h 2907193"/>
                <a:gd name="connsiteX2744" fmla="*/ 2562599 w 4044707"/>
                <a:gd name="connsiteY2744" fmla="*/ 705887 h 2907193"/>
                <a:gd name="connsiteX2745" fmla="*/ 2569920 w 4044707"/>
                <a:gd name="connsiteY2745" fmla="*/ 706401 h 2907193"/>
                <a:gd name="connsiteX2746" fmla="*/ 2573943 w 4044707"/>
                <a:gd name="connsiteY2746" fmla="*/ 708519 h 2907193"/>
                <a:gd name="connsiteX2747" fmla="*/ 2576182 w 4044707"/>
                <a:gd name="connsiteY2747" fmla="*/ 708912 h 2907193"/>
                <a:gd name="connsiteX2748" fmla="*/ 2577815 w 4044707"/>
                <a:gd name="connsiteY2748" fmla="*/ 707279 h 2907193"/>
                <a:gd name="connsiteX2749" fmla="*/ 2578662 w 4044707"/>
                <a:gd name="connsiteY2749" fmla="*/ 703679 h 2907193"/>
                <a:gd name="connsiteX2750" fmla="*/ 2578148 w 4044707"/>
                <a:gd name="connsiteY2750" fmla="*/ 701803 h 2907193"/>
                <a:gd name="connsiteX2751" fmla="*/ 2577634 w 4044707"/>
                <a:gd name="connsiteY2751" fmla="*/ 700865 h 2907193"/>
                <a:gd name="connsiteX2752" fmla="*/ 2577210 w 4044707"/>
                <a:gd name="connsiteY2752" fmla="*/ 700109 h 2907193"/>
                <a:gd name="connsiteX2753" fmla="*/ 2576726 w 4044707"/>
                <a:gd name="connsiteY2753" fmla="*/ 696993 h 2907193"/>
                <a:gd name="connsiteX2754" fmla="*/ 2577120 w 4044707"/>
                <a:gd name="connsiteY2754" fmla="*/ 694180 h 2907193"/>
                <a:gd name="connsiteX2755" fmla="*/ 2578118 w 4044707"/>
                <a:gd name="connsiteY2755" fmla="*/ 692546 h 2907193"/>
                <a:gd name="connsiteX2756" fmla="*/ 2579328 w 4044707"/>
                <a:gd name="connsiteY2756" fmla="*/ 691397 h 2907193"/>
                <a:gd name="connsiteX2757" fmla="*/ 2580477 w 4044707"/>
                <a:gd name="connsiteY2757" fmla="*/ 689914 h 2907193"/>
                <a:gd name="connsiteX2758" fmla="*/ 2582262 w 4044707"/>
                <a:gd name="connsiteY2758" fmla="*/ 686254 h 2907193"/>
                <a:gd name="connsiteX2759" fmla="*/ 2583926 w 4044707"/>
                <a:gd name="connsiteY2759" fmla="*/ 681625 h 2907193"/>
                <a:gd name="connsiteX2760" fmla="*/ 2584108 w 4044707"/>
                <a:gd name="connsiteY2760" fmla="*/ 677420 h 2907193"/>
                <a:gd name="connsiteX2761" fmla="*/ 2581476 w 4044707"/>
                <a:gd name="connsiteY2761" fmla="*/ 675061 h 2907193"/>
                <a:gd name="connsiteX2762" fmla="*/ 2584713 w 4044707"/>
                <a:gd name="connsiteY2762" fmla="*/ 670432 h 2907193"/>
                <a:gd name="connsiteX2763" fmla="*/ 2585711 w 4044707"/>
                <a:gd name="connsiteY2763" fmla="*/ 668284 h 2907193"/>
                <a:gd name="connsiteX2764" fmla="*/ 2580840 w 4044707"/>
                <a:gd name="connsiteY2764" fmla="*/ 664624 h 2907193"/>
                <a:gd name="connsiteX2765" fmla="*/ 2581355 w 4044707"/>
                <a:gd name="connsiteY2765" fmla="*/ 659754 h 2907193"/>
                <a:gd name="connsiteX2766" fmla="*/ 2580538 w 4044707"/>
                <a:gd name="connsiteY2766" fmla="*/ 656819 h 2907193"/>
                <a:gd name="connsiteX2767" fmla="*/ 2580538 w 4044707"/>
                <a:gd name="connsiteY2767" fmla="*/ 654671 h 2907193"/>
                <a:gd name="connsiteX2768" fmla="*/ 2583593 w 4044707"/>
                <a:gd name="connsiteY2768" fmla="*/ 652281 h 2907193"/>
                <a:gd name="connsiteX2769" fmla="*/ 2582655 w 4044707"/>
                <a:gd name="connsiteY2769" fmla="*/ 649135 h 2907193"/>
                <a:gd name="connsiteX2770" fmla="*/ 2581022 w 4044707"/>
                <a:gd name="connsiteY2770" fmla="*/ 647502 h 2907193"/>
                <a:gd name="connsiteX2771" fmla="*/ 2579147 w 4044707"/>
                <a:gd name="connsiteY2771" fmla="*/ 646987 h 2907193"/>
                <a:gd name="connsiteX2772" fmla="*/ 2577392 w 4044707"/>
                <a:gd name="connsiteY2772" fmla="*/ 647169 h 2907193"/>
                <a:gd name="connsiteX2773" fmla="*/ 2578481 w 4044707"/>
                <a:gd name="connsiteY2773" fmla="*/ 643872 h 2907193"/>
                <a:gd name="connsiteX2774" fmla="*/ 2581929 w 4044707"/>
                <a:gd name="connsiteY2774" fmla="*/ 640846 h 2907193"/>
                <a:gd name="connsiteX2775" fmla="*/ 2583563 w 4044707"/>
                <a:gd name="connsiteY2775" fmla="*/ 638305 h 2907193"/>
                <a:gd name="connsiteX2776" fmla="*/ 2580992 w 4044707"/>
                <a:gd name="connsiteY2776" fmla="*/ 638033 h 2907193"/>
                <a:gd name="connsiteX2777" fmla="*/ 2573459 w 4044707"/>
                <a:gd name="connsiteY2777" fmla="*/ 640756 h 2907193"/>
                <a:gd name="connsiteX2778" fmla="*/ 2571886 w 4044707"/>
                <a:gd name="connsiteY2778" fmla="*/ 637489 h 2907193"/>
                <a:gd name="connsiteX2779" fmla="*/ 2571947 w 4044707"/>
                <a:gd name="connsiteY2779" fmla="*/ 633828 h 2907193"/>
                <a:gd name="connsiteX2780" fmla="*/ 2571795 w 4044707"/>
                <a:gd name="connsiteY2780" fmla="*/ 631983 h 2907193"/>
                <a:gd name="connsiteX2781" fmla="*/ 2570918 w 4044707"/>
                <a:gd name="connsiteY2781" fmla="*/ 631347 h 2907193"/>
                <a:gd name="connsiteX2782" fmla="*/ 2566985 w 4044707"/>
                <a:gd name="connsiteY2782" fmla="*/ 630712 h 2907193"/>
                <a:gd name="connsiteX2783" fmla="*/ 2559301 w 4044707"/>
                <a:gd name="connsiteY2783" fmla="*/ 626689 h 2907193"/>
                <a:gd name="connsiteX2784" fmla="*/ 2553281 w 4044707"/>
                <a:gd name="connsiteY2784" fmla="*/ 618188 h 2907193"/>
                <a:gd name="connsiteX2785" fmla="*/ 2552495 w 4044707"/>
                <a:gd name="connsiteY2785" fmla="*/ 619035 h 2907193"/>
                <a:gd name="connsiteX2786" fmla="*/ 2552767 w 4044707"/>
                <a:gd name="connsiteY2786" fmla="*/ 623089 h 2907193"/>
                <a:gd name="connsiteX2787" fmla="*/ 2554068 w 4044707"/>
                <a:gd name="connsiteY2787" fmla="*/ 627566 h 2907193"/>
                <a:gd name="connsiteX2788" fmla="*/ 2557365 w 4044707"/>
                <a:gd name="connsiteY2788" fmla="*/ 630591 h 2907193"/>
                <a:gd name="connsiteX2789" fmla="*/ 2557244 w 4044707"/>
                <a:gd name="connsiteY2789" fmla="*/ 632527 h 2907193"/>
                <a:gd name="connsiteX2790" fmla="*/ 2556246 w 4044707"/>
                <a:gd name="connsiteY2790" fmla="*/ 634342 h 2907193"/>
                <a:gd name="connsiteX2791" fmla="*/ 2554643 w 4044707"/>
                <a:gd name="connsiteY2791" fmla="*/ 634796 h 2907193"/>
                <a:gd name="connsiteX2792" fmla="*/ 2553191 w 4044707"/>
                <a:gd name="connsiteY2792" fmla="*/ 633677 h 2907193"/>
                <a:gd name="connsiteX2793" fmla="*/ 2550287 w 4044707"/>
                <a:gd name="connsiteY2793" fmla="*/ 630319 h 2907193"/>
                <a:gd name="connsiteX2794" fmla="*/ 2548502 w 4044707"/>
                <a:gd name="connsiteY2794" fmla="*/ 629684 h 2907193"/>
                <a:gd name="connsiteX2795" fmla="*/ 2546959 w 4044707"/>
                <a:gd name="connsiteY2795" fmla="*/ 630016 h 2907193"/>
                <a:gd name="connsiteX2796" fmla="*/ 2538488 w 4044707"/>
                <a:gd name="connsiteY2796" fmla="*/ 635401 h 2907193"/>
                <a:gd name="connsiteX2797" fmla="*/ 2537460 w 4044707"/>
                <a:gd name="connsiteY2797" fmla="*/ 636672 h 2907193"/>
                <a:gd name="connsiteX2798" fmla="*/ 2536643 w 4044707"/>
                <a:gd name="connsiteY2798" fmla="*/ 640846 h 2907193"/>
                <a:gd name="connsiteX2799" fmla="*/ 2537218 w 4044707"/>
                <a:gd name="connsiteY2799" fmla="*/ 644235 h 2907193"/>
                <a:gd name="connsiteX2800" fmla="*/ 2538610 w 4044707"/>
                <a:gd name="connsiteY2800" fmla="*/ 646836 h 2907193"/>
                <a:gd name="connsiteX2801" fmla="*/ 2540152 w 4044707"/>
                <a:gd name="connsiteY2801" fmla="*/ 648742 h 2907193"/>
                <a:gd name="connsiteX2802" fmla="*/ 2545688 w 4044707"/>
                <a:gd name="connsiteY2802" fmla="*/ 651888 h 2907193"/>
                <a:gd name="connsiteX2803" fmla="*/ 2547927 w 4044707"/>
                <a:gd name="connsiteY2803" fmla="*/ 654671 h 2907193"/>
                <a:gd name="connsiteX2804" fmla="*/ 2549167 w 4044707"/>
                <a:gd name="connsiteY2804" fmla="*/ 661085 h 2907193"/>
                <a:gd name="connsiteX2805" fmla="*/ 2538519 w 4044707"/>
                <a:gd name="connsiteY2805" fmla="*/ 659784 h 2907193"/>
                <a:gd name="connsiteX2806" fmla="*/ 2535373 w 4044707"/>
                <a:gd name="connsiteY2806" fmla="*/ 661085 h 2907193"/>
                <a:gd name="connsiteX2807" fmla="*/ 2534556 w 4044707"/>
                <a:gd name="connsiteY2807" fmla="*/ 662174 h 2907193"/>
                <a:gd name="connsiteX2808" fmla="*/ 2532287 w 4044707"/>
                <a:gd name="connsiteY2808" fmla="*/ 666318 h 2907193"/>
                <a:gd name="connsiteX2809" fmla="*/ 2531077 w 4044707"/>
                <a:gd name="connsiteY2809" fmla="*/ 667256 h 2907193"/>
                <a:gd name="connsiteX2810" fmla="*/ 2531652 w 4044707"/>
                <a:gd name="connsiteY2810" fmla="*/ 669283 h 2907193"/>
                <a:gd name="connsiteX2811" fmla="*/ 2532831 w 4044707"/>
                <a:gd name="connsiteY2811" fmla="*/ 671189 h 2907193"/>
                <a:gd name="connsiteX2812" fmla="*/ 2533346 w 4044707"/>
                <a:gd name="connsiteY2812" fmla="*/ 671703 h 2907193"/>
                <a:gd name="connsiteX2813" fmla="*/ 2535887 w 4044707"/>
                <a:gd name="connsiteY2813" fmla="*/ 677178 h 2907193"/>
                <a:gd name="connsiteX2814" fmla="*/ 2536794 w 4044707"/>
                <a:gd name="connsiteY2814" fmla="*/ 681323 h 2907193"/>
                <a:gd name="connsiteX2815" fmla="*/ 2536068 w 4044707"/>
                <a:gd name="connsiteY2815" fmla="*/ 685740 h 2907193"/>
                <a:gd name="connsiteX2816" fmla="*/ 2533890 w 4044707"/>
                <a:gd name="connsiteY2816" fmla="*/ 687887 h 2907193"/>
                <a:gd name="connsiteX2817" fmla="*/ 2532287 w 4044707"/>
                <a:gd name="connsiteY2817" fmla="*/ 684650 h 2907193"/>
                <a:gd name="connsiteX2818" fmla="*/ 2530532 w 4044707"/>
                <a:gd name="connsiteY2818" fmla="*/ 676725 h 2907193"/>
                <a:gd name="connsiteX2819" fmla="*/ 2528263 w 4044707"/>
                <a:gd name="connsiteY2819" fmla="*/ 675847 h 2907193"/>
                <a:gd name="connsiteX2820" fmla="*/ 2525541 w 4044707"/>
                <a:gd name="connsiteY2820" fmla="*/ 677390 h 2907193"/>
                <a:gd name="connsiteX2821" fmla="*/ 2520912 w 4044707"/>
                <a:gd name="connsiteY2821" fmla="*/ 682079 h 2907193"/>
                <a:gd name="connsiteX2822" fmla="*/ 2513501 w 4044707"/>
                <a:gd name="connsiteY2822" fmla="*/ 686859 h 2907193"/>
                <a:gd name="connsiteX2823" fmla="*/ 2511292 w 4044707"/>
                <a:gd name="connsiteY2823" fmla="*/ 689007 h 2907193"/>
                <a:gd name="connsiteX2824" fmla="*/ 2509296 w 4044707"/>
                <a:gd name="connsiteY2824" fmla="*/ 692788 h 2907193"/>
                <a:gd name="connsiteX2825" fmla="*/ 2509145 w 4044707"/>
                <a:gd name="connsiteY2825" fmla="*/ 696025 h 2907193"/>
                <a:gd name="connsiteX2826" fmla="*/ 2509538 w 4044707"/>
                <a:gd name="connsiteY2826" fmla="*/ 699655 h 2907193"/>
                <a:gd name="connsiteX2827" fmla="*/ 2509266 w 4044707"/>
                <a:gd name="connsiteY2827" fmla="*/ 704586 h 2907193"/>
                <a:gd name="connsiteX2828" fmla="*/ 2507935 w 4044707"/>
                <a:gd name="connsiteY2828" fmla="*/ 707853 h 2907193"/>
                <a:gd name="connsiteX2829" fmla="*/ 2505726 w 4044707"/>
                <a:gd name="connsiteY2829" fmla="*/ 710425 h 2907193"/>
                <a:gd name="connsiteX2830" fmla="*/ 2501642 w 4044707"/>
                <a:gd name="connsiteY2830" fmla="*/ 713238 h 2907193"/>
                <a:gd name="connsiteX2831" fmla="*/ 2502852 w 4044707"/>
                <a:gd name="connsiteY2831" fmla="*/ 709275 h 2907193"/>
                <a:gd name="connsiteX2832" fmla="*/ 2504274 w 4044707"/>
                <a:gd name="connsiteY2832" fmla="*/ 707218 h 2907193"/>
                <a:gd name="connsiteX2833" fmla="*/ 2505393 w 4044707"/>
                <a:gd name="connsiteY2833" fmla="*/ 705100 h 2907193"/>
                <a:gd name="connsiteX2834" fmla="*/ 2505817 w 4044707"/>
                <a:gd name="connsiteY2834" fmla="*/ 700956 h 2907193"/>
                <a:gd name="connsiteX2835" fmla="*/ 2505333 w 4044707"/>
                <a:gd name="connsiteY2835" fmla="*/ 697568 h 2907193"/>
                <a:gd name="connsiteX2836" fmla="*/ 2504546 w 4044707"/>
                <a:gd name="connsiteY2836" fmla="*/ 694724 h 2907193"/>
                <a:gd name="connsiteX2837" fmla="*/ 2504214 w 4044707"/>
                <a:gd name="connsiteY2837" fmla="*/ 691578 h 2907193"/>
                <a:gd name="connsiteX2838" fmla="*/ 2505091 w 4044707"/>
                <a:gd name="connsiteY2838" fmla="*/ 687282 h 2907193"/>
                <a:gd name="connsiteX2839" fmla="*/ 2506997 w 4044707"/>
                <a:gd name="connsiteY2839" fmla="*/ 684620 h 2907193"/>
                <a:gd name="connsiteX2840" fmla="*/ 2512503 w 4044707"/>
                <a:gd name="connsiteY2840" fmla="*/ 683259 h 2907193"/>
                <a:gd name="connsiteX2841" fmla="*/ 2514802 w 4044707"/>
                <a:gd name="connsiteY2841" fmla="*/ 682079 h 2907193"/>
                <a:gd name="connsiteX2842" fmla="*/ 2515588 w 4044707"/>
                <a:gd name="connsiteY2842" fmla="*/ 680839 h 2907193"/>
                <a:gd name="connsiteX2843" fmla="*/ 2517252 w 4044707"/>
                <a:gd name="connsiteY2843" fmla="*/ 677360 h 2907193"/>
                <a:gd name="connsiteX2844" fmla="*/ 2518220 w 4044707"/>
                <a:gd name="connsiteY2844" fmla="*/ 675847 h 2907193"/>
                <a:gd name="connsiteX2845" fmla="*/ 2519279 w 4044707"/>
                <a:gd name="connsiteY2845" fmla="*/ 674970 h 2907193"/>
                <a:gd name="connsiteX2846" fmla="*/ 2520186 w 4044707"/>
                <a:gd name="connsiteY2846" fmla="*/ 674698 h 2907193"/>
                <a:gd name="connsiteX2847" fmla="*/ 2521064 w 4044707"/>
                <a:gd name="connsiteY2847" fmla="*/ 674183 h 2907193"/>
                <a:gd name="connsiteX2848" fmla="*/ 2522002 w 4044707"/>
                <a:gd name="connsiteY2848" fmla="*/ 672520 h 2907193"/>
                <a:gd name="connsiteX2849" fmla="*/ 2523151 w 4044707"/>
                <a:gd name="connsiteY2849" fmla="*/ 668920 h 2907193"/>
                <a:gd name="connsiteX2850" fmla="*/ 2524906 w 4044707"/>
                <a:gd name="connsiteY2850" fmla="*/ 661932 h 2907193"/>
                <a:gd name="connsiteX2851" fmla="*/ 2526146 w 4044707"/>
                <a:gd name="connsiteY2851" fmla="*/ 658543 h 2907193"/>
                <a:gd name="connsiteX2852" fmla="*/ 2526751 w 4044707"/>
                <a:gd name="connsiteY2852" fmla="*/ 653976 h 2907193"/>
                <a:gd name="connsiteX2853" fmla="*/ 2525480 w 4044707"/>
                <a:gd name="connsiteY2853" fmla="*/ 649408 h 2907193"/>
                <a:gd name="connsiteX2854" fmla="*/ 2523332 w 4044707"/>
                <a:gd name="connsiteY2854" fmla="*/ 646776 h 2907193"/>
                <a:gd name="connsiteX2855" fmla="*/ 2521336 w 4044707"/>
                <a:gd name="connsiteY2855" fmla="*/ 647955 h 2907193"/>
                <a:gd name="connsiteX2856" fmla="*/ 2517645 w 4044707"/>
                <a:gd name="connsiteY2856" fmla="*/ 653945 h 2907193"/>
                <a:gd name="connsiteX2857" fmla="*/ 2513047 w 4044707"/>
                <a:gd name="connsiteY2857" fmla="*/ 658029 h 2907193"/>
                <a:gd name="connsiteX2858" fmla="*/ 2508237 w 4044707"/>
                <a:gd name="connsiteY2858" fmla="*/ 660359 h 2907193"/>
                <a:gd name="connsiteX2859" fmla="*/ 2503790 w 4044707"/>
                <a:gd name="connsiteY2859" fmla="*/ 661085 h 2907193"/>
                <a:gd name="connsiteX2860" fmla="*/ 2510082 w 4044707"/>
                <a:gd name="connsiteY2860" fmla="*/ 655821 h 2907193"/>
                <a:gd name="connsiteX2861" fmla="*/ 2511716 w 4044707"/>
                <a:gd name="connsiteY2861" fmla="*/ 653159 h 2907193"/>
                <a:gd name="connsiteX2862" fmla="*/ 2512472 w 4044707"/>
                <a:gd name="connsiteY2862" fmla="*/ 651525 h 2907193"/>
                <a:gd name="connsiteX2863" fmla="*/ 2514015 w 4044707"/>
                <a:gd name="connsiteY2863" fmla="*/ 648984 h 2907193"/>
                <a:gd name="connsiteX2864" fmla="*/ 2514771 w 4044707"/>
                <a:gd name="connsiteY2864" fmla="*/ 647108 h 2907193"/>
                <a:gd name="connsiteX2865" fmla="*/ 2515165 w 4044707"/>
                <a:gd name="connsiteY2865" fmla="*/ 645233 h 2907193"/>
                <a:gd name="connsiteX2866" fmla="*/ 2515286 w 4044707"/>
                <a:gd name="connsiteY2866" fmla="*/ 641905 h 2907193"/>
                <a:gd name="connsiteX2867" fmla="*/ 2515528 w 4044707"/>
                <a:gd name="connsiteY2867" fmla="*/ 640120 h 2907193"/>
                <a:gd name="connsiteX2868" fmla="*/ 2519218 w 4044707"/>
                <a:gd name="connsiteY2868" fmla="*/ 626840 h 2907193"/>
                <a:gd name="connsiteX2869" fmla="*/ 2520156 w 4044707"/>
                <a:gd name="connsiteY2869" fmla="*/ 622454 h 2907193"/>
                <a:gd name="connsiteX2870" fmla="*/ 2519460 w 4044707"/>
                <a:gd name="connsiteY2870" fmla="*/ 620064 h 2907193"/>
                <a:gd name="connsiteX2871" fmla="*/ 2518220 w 4044707"/>
                <a:gd name="connsiteY2871" fmla="*/ 617976 h 2907193"/>
                <a:gd name="connsiteX2872" fmla="*/ 2517555 w 4044707"/>
                <a:gd name="connsiteY2872" fmla="*/ 614497 h 2907193"/>
                <a:gd name="connsiteX2873" fmla="*/ 2518038 w 4044707"/>
                <a:gd name="connsiteY2873" fmla="*/ 609536 h 2907193"/>
                <a:gd name="connsiteX2874" fmla="*/ 2518734 w 4044707"/>
                <a:gd name="connsiteY2874" fmla="*/ 606178 h 2907193"/>
                <a:gd name="connsiteX2875" fmla="*/ 2518553 w 4044707"/>
                <a:gd name="connsiteY2875" fmla="*/ 604212 h 2907193"/>
                <a:gd name="connsiteX2876" fmla="*/ 2518553 w 4044707"/>
                <a:gd name="connsiteY2876" fmla="*/ 603667 h 2907193"/>
                <a:gd name="connsiteX2877" fmla="*/ 2516193 w 4044707"/>
                <a:gd name="connsiteY2877" fmla="*/ 601368 h 2907193"/>
                <a:gd name="connsiteX2878" fmla="*/ 2513501 w 4044707"/>
                <a:gd name="connsiteY2878" fmla="*/ 600884 h 2907193"/>
                <a:gd name="connsiteX2879" fmla="*/ 2505545 w 4044707"/>
                <a:gd name="connsiteY2879" fmla="*/ 604847 h 2907193"/>
                <a:gd name="connsiteX2880" fmla="*/ 2495290 w 4044707"/>
                <a:gd name="connsiteY2880" fmla="*/ 602790 h 2907193"/>
                <a:gd name="connsiteX2881" fmla="*/ 2492083 w 4044707"/>
                <a:gd name="connsiteY2881" fmla="*/ 604847 h 2907193"/>
                <a:gd name="connsiteX2882" fmla="*/ 2490661 w 4044707"/>
                <a:gd name="connsiteY2882" fmla="*/ 607419 h 2907193"/>
                <a:gd name="connsiteX2883" fmla="*/ 2488543 w 4044707"/>
                <a:gd name="connsiteY2883" fmla="*/ 613953 h 2907193"/>
                <a:gd name="connsiteX2884" fmla="*/ 2487212 w 4044707"/>
                <a:gd name="connsiteY2884" fmla="*/ 617160 h 2907193"/>
                <a:gd name="connsiteX2885" fmla="*/ 2488180 w 4044707"/>
                <a:gd name="connsiteY2885" fmla="*/ 617734 h 2907193"/>
                <a:gd name="connsiteX2886" fmla="*/ 2488997 w 4044707"/>
                <a:gd name="connsiteY2886" fmla="*/ 618823 h 2907193"/>
                <a:gd name="connsiteX2887" fmla="*/ 2489632 w 4044707"/>
                <a:gd name="connsiteY2887" fmla="*/ 620457 h 2907193"/>
                <a:gd name="connsiteX2888" fmla="*/ 2490026 w 4044707"/>
                <a:gd name="connsiteY2888" fmla="*/ 622605 h 2907193"/>
                <a:gd name="connsiteX2889" fmla="*/ 2485125 w 4044707"/>
                <a:gd name="connsiteY2889" fmla="*/ 623512 h 2907193"/>
                <a:gd name="connsiteX2890" fmla="*/ 2482856 w 4044707"/>
                <a:gd name="connsiteY2890" fmla="*/ 626084 h 2907193"/>
                <a:gd name="connsiteX2891" fmla="*/ 2482402 w 4044707"/>
                <a:gd name="connsiteY2891" fmla="*/ 631196 h 2907193"/>
                <a:gd name="connsiteX2892" fmla="*/ 2483885 w 4044707"/>
                <a:gd name="connsiteY2892" fmla="*/ 634554 h 2907193"/>
                <a:gd name="connsiteX2893" fmla="*/ 2486577 w 4044707"/>
                <a:gd name="connsiteY2893" fmla="*/ 636127 h 2907193"/>
                <a:gd name="connsiteX2894" fmla="*/ 2489421 w 4044707"/>
                <a:gd name="connsiteY2894" fmla="*/ 636974 h 2907193"/>
                <a:gd name="connsiteX2895" fmla="*/ 2491387 w 4044707"/>
                <a:gd name="connsiteY2895" fmla="*/ 638215 h 2907193"/>
                <a:gd name="connsiteX2896" fmla="*/ 2488906 w 4044707"/>
                <a:gd name="connsiteY2896" fmla="*/ 640060 h 2907193"/>
                <a:gd name="connsiteX2897" fmla="*/ 2483159 w 4044707"/>
                <a:gd name="connsiteY2897" fmla="*/ 637852 h 2907193"/>
                <a:gd name="connsiteX2898" fmla="*/ 2480376 w 4044707"/>
                <a:gd name="connsiteY2898" fmla="*/ 638215 h 2907193"/>
                <a:gd name="connsiteX2899" fmla="*/ 2479498 w 4044707"/>
                <a:gd name="connsiteY2899" fmla="*/ 639546 h 2907193"/>
                <a:gd name="connsiteX2900" fmla="*/ 2478923 w 4044707"/>
                <a:gd name="connsiteY2900" fmla="*/ 641361 h 2907193"/>
                <a:gd name="connsiteX2901" fmla="*/ 2478258 w 4044707"/>
                <a:gd name="connsiteY2901" fmla="*/ 642964 h 2907193"/>
                <a:gd name="connsiteX2902" fmla="*/ 2477199 w 4044707"/>
                <a:gd name="connsiteY2902" fmla="*/ 643630 h 2907193"/>
                <a:gd name="connsiteX2903" fmla="*/ 2476080 w 4044707"/>
                <a:gd name="connsiteY2903" fmla="*/ 643357 h 2907193"/>
                <a:gd name="connsiteX2904" fmla="*/ 2473902 w 4044707"/>
                <a:gd name="connsiteY2904" fmla="*/ 642087 h 2907193"/>
                <a:gd name="connsiteX2905" fmla="*/ 2472722 w 4044707"/>
                <a:gd name="connsiteY2905" fmla="*/ 641754 h 2907193"/>
                <a:gd name="connsiteX2906" fmla="*/ 2473387 w 4044707"/>
                <a:gd name="connsiteY2906" fmla="*/ 645626 h 2907193"/>
                <a:gd name="connsiteX2907" fmla="*/ 2473024 w 4044707"/>
                <a:gd name="connsiteY2907" fmla="*/ 652554 h 2907193"/>
                <a:gd name="connsiteX2908" fmla="*/ 2473448 w 4044707"/>
                <a:gd name="connsiteY2908" fmla="*/ 655851 h 2907193"/>
                <a:gd name="connsiteX2909" fmla="*/ 2475082 w 4044707"/>
                <a:gd name="connsiteY2909" fmla="*/ 658180 h 2907193"/>
                <a:gd name="connsiteX2910" fmla="*/ 2477623 w 4044707"/>
                <a:gd name="connsiteY2910" fmla="*/ 659149 h 2907193"/>
                <a:gd name="connsiteX2911" fmla="*/ 2491538 w 4044707"/>
                <a:gd name="connsiteY2911" fmla="*/ 659149 h 2907193"/>
                <a:gd name="connsiteX2912" fmla="*/ 2494170 w 4044707"/>
                <a:gd name="connsiteY2912" fmla="*/ 661054 h 2907193"/>
                <a:gd name="connsiteX2913" fmla="*/ 2494473 w 4044707"/>
                <a:gd name="connsiteY2913" fmla="*/ 661932 h 2907193"/>
                <a:gd name="connsiteX2914" fmla="*/ 2495199 w 4044707"/>
                <a:gd name="connsiteY2914" fmla="*/ 665229 h 2907193"/>
                <a:gd name="connsiteX2915" fmla="*/ 2495501 w 4044707"/>
                <a:gd name="connsiteY2915" fmla="*/ 666288 h 2907193"/>
                <a:gd name="connsiteX2916" fmla="*/ 2496288 w 4044707"/>
                <a:gd name="connsiteY2916" fmla="*/ 667347 h 2907193"/>
                <a:gd name="connsiteX2917" fmla="*/ 2498980 w 4044707"/>
                <a:gd name="connsiteY2917" fmla="*/ 669767 h 2907193"/>
                <a:gd name="connsiteX2918" fmla="*/ 2493837 w 4044707"/>
                <a:gd name="connsiteY2918" fmla="*/ 665229 h 2907193"/>
                <a:gd name="connsiteX2919" fmla="*/ 2491780 w 4044707"/>
                <a:gd name="connsiteY2919" fmla="*/ 664201 h 2907193"/>
                <a:gd name="connsiteX2920" fmla="*/ 2489330 w 4044707"/>
                <a:gd name="connsiteY2920" fmla="*/ 661841 h 2907193"/>
                <a:gd name="connsiteX2921" fmla="*/ 2488029 w 4044707"/>
                <a:gd name="connsiteY2921" fmla="*/ 661024 h 2907193"/>
                <a:gd name="connsiteX2922" fmla="*/ 2486849 w 4044707"/>
                <a:gd name="connsiteY2922" fmla="*/ 661387 h 2907193"/>
                <a:gd name="connsiteX2923" fmla="*/ 2485700 w 4044707"/>
                <a:gd name="connsiteY2923" fmla="*/ 662204 h 2907193"/>
                <a:gd name="connsiteX2924" fmla="*/ 2484429 w 4044707"/>
                <a:gd name="connsiteY2924" fmla="*/ 662627 h 2907193"/>
                <a:gd name="connsiteX2925" fmla="*/ 2472389 w 4044707"/>
                <a:gd name="connsiteY2925" fmla="*/ 662688 h 2907193"/>
                <a:gd name="connsiteX2926" fmla="*/ 2471724 w 4044707"/>
                <a:gd name="connsiteY2926" fmla="*/ 664110 h 2907193"/>
                <a:gd name="connsiteX2927" fmla="*/ 2471300 w 4044707"/>
                <a:gd name="connsiteY2927" fmla="*/ 668163 h 2907193"/>
                <a:gd name="connsiteX2928" fmla="*/ 2471633 w 4044707"/>
                <a:gd name="connsiteY2928" fmla="*/ 674637 h 2907193"/>
                <a:gd name="connsiteX2929" fmla="*/ 2473176 w 4044707"/>
                <a:gd name="connsiteY2929" fmla="*/ 678479 h 2907193"/>
                <a:gd name="connsiteX2930" fmla="*/ 2475293 w 4044707"/>
                <a:gd name="connsiteY2930" fmla="*/ 681323 h 2907193"/>
                <a:gd name="connsiteX2931" fmla="*/ 2477260 w 4044707"/>
                <a:gd name="connsiteY2931" fmla="*/ 684711 h 2907193"/>
                <a:gd name="connsiteX2932" fmla="*/ 2478863 w 4044707"/>
                <a:gd name="connsiteY2932" fmla="*/ 686314 h 2907193"/>
                <a:gd name="connsiteX2933" fmla="*/ 2483764 w 4044707"/>
                <a:gd name="connsiteY2933" fmla="*/ 686556 h 2907193"/>
                <a:gd name="connsiteX2934" fmla="*/ 2485791 w 4044707"/>
                <a:gd name="connsiteY2934" fmla="*/ 687222 h 2907193"/>
                <a:gd name="connsiteX2935" fmla="*/ 2486970 w 4044707"/>
                <a:gd name="connsiteY2935" fmla="*/ 688825 h 2907193"/>
                <a:gd name="connsiteX2936" fmla="*/ 2488029 w 4044707"/>
                <a:gd name="connsiteY2936" fmla="*/ 690761 h 2907193"/>
                <a:gd name="connsiteX2937" fmla="*/ 2489148 w 4044707"/>
                <a:gd name="connsiteY2937" fmla="*/ 692213 h 2907193"/>
                <a:gd name="connsiteX2938" fmla="*/ 2490601 w 4044707"/>
                <a:gd name="connsiteY2938" fmla="*/ 692395 h 2907193"/>
                <a:gd name="connsiteX2939" fmla="*/ 2489209 w 4044707"/>
                <a:gd name="connsiteY2939" fmla="*/ 693786 h 2907193"/>
                <a:gd name="connsiteX2940" fmla="*/ 2487848 w 4044707"/>
                <a:gd name="connsiteY2940" fmla="*/ 694180 h 2907193"/>
                <a:gd name="connsiteX2941" fmla="*/ 2486426 w 4044707"/>
                <a:gd name="connsiteY2941" fmla="*/ 693817 h 2907193"/>
                <a:gd name="connsiteX2942" fmla="*/ 2485004 w 4044707"/>
                <a:gd name="connsiteY2942" fmla="*/ 692849 h 2907193"/>
                <a:gd name="connsiteX2943" fmla="*/ 2484248 w 4044707"/>
                <a:gd name="connsiteY2943" fmla="*/ 691790 h 2907193"/>
                <a:gd name="connsiteX2944" fmla="*/ 2483159 w 4044707"/>
                <a:gd name="connsiteY2944" fmla="*/ 689400 h 2907193"/>
                <a:gd name="connsiteX2945" fmla="*/ 2482372 w 4044707"/>
                <a:gd name="connsiteY2945" fmla="*/ 688946 h 2907193"/>
                <a:gd name="connsiteX2946" fmla="*/ 2471300 w 4044707"/>
                <a:gd name="connsiteY2946" fmla="*/ 690519 h 2907193"/>
                <a:gd name="connsiteX2947" fmla="*/ 2471300 w 4044707"/>
                <a:gd name="connsiteY2947" fmla="*/ 692395 h 2907193"/>
                <a:gd name="connsiteX2948" fmla="*/ 2471754 w 4044707"/>
                <a:gd name="connsiteY2948" fmla="*/ 693181 h 2907193"/>
                <a:gd name="connsiteX2949" fmla="*/ 2472661 w 4044707"/>
                <a:gd name="connsiteY2949" fmla="*/ 696025 h 2907193"/>
                <a:gd name="connsiteX2950" fmla="*/ 2471028 w 4044707"/>
                <a:gd name="connsiteY2950" fmla="*/ 695904 h 2907193"/>
                <a:gd name="connsiteX2951" fmla="*/ 2468154 w 4044707"/>
                <a:gd name="connsiteY2951" fmla="*/ 694301 h 2907193"/>
                <a:gd name="connsiteX2952" fmla="*/ 2466551 w 4044707"/>
                <a:gd name="connsiteY2952" fmla="*/ 694180 h 2907193"/>
                <a:gd name="connsiteX2953" fmla="*/ 2471361 w 4044707"/>
                <a:gd name="connsiteY2953" fmla="*/ 702196 h 2907193"/>
                <a:gd name="connsiteX2954" fmla="*/ 2562206 w 4044707"/>
                <a:gd name="connsiteY2954" fmla="*/ 610232 h 2907193"/>
                <a:gd name="connsiteX2955" fmla="*/ 2567379 w 4044707"/>
                <a:gd name="connsiteY2955" fmla="*/ 618400 h 2907193"/>
                <a:gd name="connsiteX2956" fmla="*/ 2571372 w 4044707"/>
                <a:gd name="connsiteY2956" fmla="*/ 621153 h 2907193"/>
                <a:gd name="connsiteX2957" fmla="*/ 2575546 w 4044707"/>
                <a:gd name="connsiteY2957" fmla="*/ 622575 h 2907193"/>
                <a:gd name="connsiteX2958" fmla="*/ 2584682 w 4044707"/>
                <a:gd name="connsiteY2958" fmla="*/ 622151 h 2907193"/>
                <a:gd name="connsiteX2959" fmla="*/ 2586709 w 4044707"/>
                <a:gd name="connsiteY2959" fmla="*/ 619580 h 2907193"/>
                <a:gd name="connsiteX2960" fmla="*/ 2586316 w 4044707"/>
                <a:gd name="connsiteY2960" fmla="*/ 613499 h 2907193"/>
                <a:gd name="connsiteX2961" fmla="*/ 2588192 w 4044707"/>
                <a:gd name="connsiteY2961" fmla="*/ 610897 h 2907193"/>
                <a:gd name="connsiteX2962" fmla="*/ 2587949 w 4044707"/>
                <a:gd name="connsiteY2962" fmla="*/ 606783 h 2907193"/>
                <a:gd name="connsiteX2963" fmla="*/ 2586467 w 4044707"/>
                <a:gd name="connsiteY2963" fmla="*/ 603002 h 2907193"/>
                <a:gd name="connsiteX2964" fmla="*/ 2584622 w 4044707"/>
                <a:gd name="connsiteY2964" fmla="*/ 601338 h 2907193"/>
                <a:gd name="connsiteX2965" fmla="*/ 2580024 w 4044707"/>
                <a:gd name="connsiteY2965" fmla="*/ 602941 h 2907193"/>
                <a:gd name="connsiteX2966" fmla="*/ 2574609 w 4044707"/>
                <a:gd name="connsiteY2966" fmla="*/ 602941 h 2907193"/>
                <a:gd name="connsiteX2967" fmla="*/ 2569406 w 4044707"/>
                <a:gd name="connsiteY2967" fmla="*/ 600279 h 2907193"/>
                <a:gd name="connsiteX2968" fmla="*/ 2563809 w 4044707"/>
                <a:gd name="connsiteY2968" fmla="*/ 595742 h 2907193"/>
                <a:gd name="connsiteX2969" fmla="*/ 2558454 w 4044707"/>
                <a:gd name="connsiteY2969" fmla="*/ 594410 h 2907193"/>
                <a:gd name="connsiteX2970" fmla="*/ 2553977 w 4044707"/>
                <a:gd name="connsiteY2970" fmla="*/ 601368 h 2907193"/>
                <a:gd name="connsiteX2971" fmla="*/ 2556337 w 4044707"/>
                <a:gd name="connsiteY2971" fmla="*/ 605543 h 2907193"/>
                <a:gd name="connsiteX2972" fmla="*/ 2562236 w 4044707"/>
                <a:gd name="connsiteY2972" fmla="*/ 610262 h 2907193"/>
                <a:gd name="connsiteX2973" fmla="*/ 2365420 w 4044707"/>
                <a:gd name="connsiteY2973" fmla="*/ 679266 h 2907193"/>
                <a:gd name="connsiteX2974" fmla="*/ 2366358 w 4044707"/>
                <a:gd name="connsiteY2974" fmla="*/ 680143 h 2907193"/>
                <a:gd name="connsiteX2975" fmla="*/ 2367417 w 4044707"/>
                <a:gd name="connsiteY2975" fmla="*/ 679719 h 2907193"/>
                <a:gd name="connsiteX2976" fmla="*/ 2368052 w 4044707"/>
                <a:gd name="connsiteY2976" fmla="*/ 678086 h 2907193"/>
                <a:gd name="connsiteX2977" fmla="*/ 2368717 w 4044707"/>
                <a:gd name="connsiteY2977" fmla="*/ 677118 h 2907193"/>
                <a:gd name="connsiteX2978" fmla="*/ 2369837 w 4044707"/>
                <a:gd name="connsiteY2978" fmla="*/ 678600 h 2907193"/>
                <a:gd name="connsiteX2979" fmla="*/ 2368566 w 4044707"/>
                <a:gd name="connsiteY2979" fmla="*/ 681625 h 2907193"/>
                <a:gd name="connsiteX2980" fmla="*/ 2367961 w 4044707"/>
                <a:gd name="connsiteY2980" fmla="*/ 686314 h 2907193"/>
                <a:gd name="connsiteX2981" fmla="*/ 2368385 w 4044707"/>
                <a:gd name="connsiteY2981" fmla="*/ 690610 h 2907193"/>
                <a:gd name="connsiteX2982" fmla="*/ 2370169 w 4044707"/>
                <a:gd name="connsiteY2982" fmla="*/ 692486 h 2907193"/>
                <a:gd name="connsiteX2983" fmla="*/ 2375887 w 4044707"/>
                <a:gd name="connsiteY2983" fmla="*/ 693877 h 2907193"/>
                <a:gd name="connsiteX2984" fmla="*/ 2378791 w 4044707"/>
                <a:gd name="connsiteY2984" fmla="*/ 693272 h 2907193"/>
                <a:gd name="connsiteX2985" fmla="*/ 2381241 w 4044707"/>
                <a:gd name="connsiteY2985" fmla="*/ 689823 h 2907193"/>
                <a:gd name="connsiteX2986" fmla="*/ 2382573 w 4044707"/>
                <a:gd name="connsiteY2986" fmla="*/ 688644 h 2907193"/>
                <a:gd name="connsiteX2987" fmla="*/ 2388472 w 4044707"/>
                <a:gd name="connsiteY2987" fmla="*/ 689037 h 2907193"/>
                <a:gd name="connsiteX2988" fmla="*/ 2389046 w 4044707"/>
                <a:gd name="connsiteY2988" fmla="*/ 688250 h 2907193"/>
                <a:gd name="connsiteX2989" fmla="*/ 2389379 w 4044707"/>
                <a:gd name="connsiteY2989" fmla="*/ 684106 h 2907193"/>
                <a:gd name="connsiteX2990" fmla="*/ 2389863 w 4044707"/>
                <a:gd name="connsiteY2990" fmla="*/ 682109 h 2907193"/>
                <a:gd name="connsiteX2991" fmla="*/ 2393009 w 4044707"/>
                <a:gd name="connsiteY2991" fmla="*/ 676785 h 2907193"/>
                <a:gd name="connsiteX2992" fmla="*/ 2394219 w 4044707"/>
                <a:gd name="connsiteY2992" fmla="*/ 673488 h 2907193"/>
                <a:gd name="connsiteX2993" fmla="*/ 2394734 w 4044707"/>
                <a:gd name="connsiteY2993" fmla="*/ 668224 h 2907193"/>
                <a:gd name="connsiteX2994" fmla="*/ 2396458 w 4044707"/>
                <a:gd name="connsiteY2994" fmla="*/ 673336 h 2907193"/>
                <a:gd name="connsiteX2995" fmla="*/ 2399060 w 4044707"/>
                <a:gd name="connsiteY2995" fmla="*/ 677027 h 2907193"/>
                <a:gd name="connsiteX2996" fmla="*/ 2401903 w 4044707"/>
                <a:gd name="connsiteY2996" fmla="*/ 678449 h 2907193"/>
                <a:gd name="connsiteX2997" fmla="*/ 2404354 w 4044707"/>
                <a:gd name="connsiteY2997" fmla="*/ 676755 h 2907193"/>
                <a:gd name="connsiteX2998" fmla="*/ 2405412 w 4044707"/>
                <a:gd name="connsiteY2998" fmla="*/ 674456 h 2907193"/>
                <a:gd name="connsiteX2999" fmla="*/ 2406562 w 4044707"/>
                <a:gd name="connsiteY2999" fmla="*/ 669918 h 2907193"/>
                <a:gd name="connsiteX3000" fmla="*/ 2407439 w 4044707"/>
                <a:gd name="connsiteY3000" fmla="*/ 667286 h 2907193"/>
                <a:gd name="connsiteX3001" fmla="*/ 2408468 w 4044707"/>
                <a:gd name="connsiteY3001" fmla="*/ 666439 h 2907193"/>
                <a:gd name="connsiteX3002" fmla="*/ 2409103 w 4044707"/>
                <a:gd name="connsiteY3002" fmla="*/ 668345 h 2907193"/>
                <a:gd name="connsiteX3003" fmla="*/ 2409012 w 4044707"/>
                <a:gd name="connsiteY3003" fmla="*/ 671703 h 2907193"/>
                <a:gd name="connsiteX3004" fmla="*/ 2407833 w 4044707"/>
                <a:gd name="connsiteY3004" fmla="*/ 675031 h 2907193"/>
                <a:gd name="connsiteX3005" fmla="*/ 2409738 w 4044707"/>
                <a:gd name="connsiteY3005" fmla="*/ 676936 h 2907193"/>
                <a:gd name="connsiteX3006" fmla="*/ 2413157 w 4044707"/>
                <a:gd name="connsiteY3006" fmla="*/ 672762 h 2907193"/>
                <a:gd name="connsiteX3007" fmla="*/ 2415002 w 4044707"/>
                <a:gd name="connsiteY3007" fmla="*/ 674244 h 2907193"/>
                <a:gd name="connsiteX3008" fmla="*/ 2417089 w 4044707"/>
                <a:gd name="connsiteY3008" fmla="*/ 674940 h 2907193"/>
                <a:gd name="connsiteX3009" fmla="*/ 2419540 w 4044707"/>
                <a:gd name="connsiteY3009" fmla="*/ 671461 h 2907193"/>
                <a:gd name="connsiteX3010" fmla="*/ 2421718 w 4044707"/>
                <a:gd name="connsiteY3010" fmla="*/ 666469 h 2907193"/>
                <a:gd name="connsiteX3011" fmla="*/ 2422928 w 4044707"/>
                <a:gd name="connsiteY3011" fmla="*/ 662688 h 2907193"/>
                <a:gd name="connsiteX3012" fmla="*/ 2423140 w 4044707"/>
                <a:gd name="connsiteY3012" fmla="*/ 664685 h 2907193"/>
                <a:gd name="connsiteX3013" fmla="*/ 2423321 w 4044707"/>
                <a:gd name="connsiteY3013" fmla="*/ 665350 h 2907193"/>
                <a:gd name="connsiteX3014" fmla="*/ 2423321 w 4044707"/>
                <a:gd name="connsiteY3014" fmla="*/ 666076 h 2907193"/>
                <a:gd name="connsiteX3015" fmla="*/ 2422898 w 4044707"/>
                <a:gd name="connsiteY3015" fmla="*/ 668254 h 2907193"/>
                <a:gd name="connsiteX3016" fmla="*/ 2425651 w 4044707"/>
                <a:gd name="connsiteY3016" fmla="*/ 669555 h 2907193"/>
                <a:gd name="connsiteX3017" fmla="*/ 2429009 w 4044707"/>
                <a:gd name="connsiteY3017" fmla="*/ 667105 h 2907193"/>
                <a:gd name="connsiteX3018" fmla="*/ 2432094 w 4044707"/>
                <a:gd name="connsiteY3018" fmla="*/ 662597 h 2907193"/>
                <a:gd name="connsiteX3019" fmla="*/ 2433940 w 4044707"/>
                <a:gd name="connsiteY3019" fmla="*/ 657787 h 2907193"/>
                <a:gd name="connsiteX3020" fmla="*/ 2428403 w 4044707"/>
                <a:gd name="connsiteY3020" fmla="*/ 654097 h 2907193"/>
                <a:gd name="connsiteX3021" fmla="*/ 2426407 w 4044707"/>
                <a:gd name="connsiteY3021" fmla="*/ 654097 h 2907193"/>
                <a:gd name="connsiteX3022" fmla="*/ 2429674 w 4044707"/>
                <a:gd name="connsiteY3022" fmla="*/ 652009 h 2907193"/>
                <a:gd name="connsiteX3023" fmla="*/ 2442289 w 4044707"/>
                <a:gd name="connsiteY3023" fmla="*/ 655881 h 2907193"/>
                <a:gd name="connsiteX3024" fmla="*/ 2441654 w 4044707"/>
                <a:gd name="connsiteY3024" fmla="*/ 660086 h 2907193"/>
                <a:gd name="connsiteX3025" fmla="*/ 2441835 w 4044707"/>
                <a:gd name="connsiteY3025" fmla="*/ 663656 h 2907193"/>
                <a:gd name="connsiteX3026" fmla="*/ 2442591 w 4044707"/>
                <a:gd name="connsiteY3026" fmla="*/ 666802 h 2907193"/>
                <a:gd name="connsiteX3027" fmla="*/ 2443680 w 4044707"/>
                <a:gd name="connsiteY3027" fmla="*/ 669797 h 2907193"/>
                <a:gd name="connsiteX3028" fmla="*/ 2441260 w 4044707"/>
                <a:gd name="connsiteY3028" fmla="*/ 671431 h 2907193"/>
                <a:gd name="connsiteX3029" fmla="*/ 2435997 w 4044707"/>
                <a:gd name="connsiteY3029" fmla="*/ 671431 h 2907193"/>
                <a:gd name="connsiteX3030" fmla="*/ 2433334 w 4044707"/>
                <a:gd name="connsiteY3030" fmla="*/ 673427 h 2907193"/>
                <a:gd name="connsiteX3031" fmla="*/ 2432790 w 4044707"/>
                <a:gd name="connsiteY3031" fmla="*/ 674667 h 2907193"/>
                <a:gd name="connsiteX3032" fmla="*/ 2432155 w 4044707"/>
                <a:gd name="connsiteY3032" fmla="*/ 676422 h 2907193"/>
                <a:gd name="connsiteX3033" fmla="*/ 2431429 w 4044707"/>
                <a:gd name="connsiteY3033" fmla="*/ 677935 h 2907193"/>
                <a:gd name="connsiteX3034" fmla="*/ 2430551 w 4044707"/>
                <a:gd name="connsiteY3034" fmla="*/ 678600 h 2907193"/>
                <a:gd name="connsiteX3035" fmla="*/ 2424350 w 4044707"/>
                <a:gd name="connsiteY3035" fmla="*/ 678600 h 2907193"/>
                <a:gd name="connsiteX3036" fmla="*/ 2421900 w 4044707"/>
                <a:gd name="connsiteY3036" fmla="*/ 679235 h 2907193"/>
                <a:gd name="connsiteX3037" fmla="*/ 2414669 w 4044707"/>
                <a:gd name="connsiteY3037" fmla="*/ 683803 h 2907193"/>
                <a:gd name="connsiteX3038" fmla="*/ 2410313 w 4044707"/>
                <a:gd name="connsiteY3038" fmla="*/ 684227 h 2907193"/>
                <a:gd name="connsiteX3039" fmla="*/ 2408528 w 4044707"/>
                <a:gd name="connsiteY3039" fmla="*/ 685921 h 2907193"/>
                <a:gd name="connsiteX3040" fmla="*/ 2407802 w 4044707"/>
                <a:gd name="connsiteY3040" fmla="*/ 690549 h 2907193"/>
                <a:gd name="connsiteX3041" fmla="*/ 2407560 w 4044707"/>
                <a:gd name="connsiteY3041" fmla="*/ 691457 h 2907193"/>
                <a:gd name="connsiteX3042" fmla="*/ 2407742 w 4044707"/>
                <a:gd name="connsiteY3042" fmla="*/ 691790 h 2907193"/>
                <a:gd name="connsiteX3043" fmla="*/ 2413308 w 4044707"/>
                <a:gd name="connsiteY3043" fmla="*/ 694180 h 2907193"/>
                <a:gd name="connsiteX3044" fmla="*/ 2412794 w 4044707"/>
                <a:gd name="connsiteY3044" fmla="*/ 694996 h 2907193"/>
                <a:gd name="connsiteX3045" fmla="*/ 2411856 w 4044707"/>
                <a:gd name="connsiteY3045" fmla="*/ 696902 h 2907193"/>
                <a:gd name="connsiteX3046" fmla="*/ 2411251 w 4044707"/>
                <a:gd name="connsiteY3046" fmla="*/ 697659 h 2907193"/>
                <a:gd name="connsiteX3047" fmla="*/ 2414306 w 4044707"/>
                <a:gd name="connsiteY3047" fmla="*/ 699443 h 2907193"/>
                <a:gd name="connsiteX3048" fmla="*/ 2433365 w 4044707"/>
                <a:gd name="connsiteY3048" fmla="*/ 700956 h 2907193"/>
                <a:gd name="connsiteX3049" fmla="*/ 2460863 w 4044707"/>
                <a:gd name="connsiteY3049" fmla="*/ 682079 h 2907193"/>
                <a:gd name="connsiteX3050" fmla="*/ 2464796 w 4044707"/>
                <a:gd name="connsiteY3050" fmla="*/ 677753 h 2907193"/>
                <a:gd name="connsiteX3051" fmla="*/ 2467065 w 4044707"/>
                <a:gd name="connsiteY3051" fmla="*/ 671642 h 2907193"/>
                <a:gd name="connsiteX3052" fmla="*/ 2466702 w 4044707"/>
                <a:gd name="connsiteY3052" fmla="*/ 662174 h 2907193"/>
                <a:gd name="connsiteX3053" fmla="*/ 2463102 w 4044707"/>
                <a:gd name="connsiteY3053" fmla="*/ 658301 h 2907193"/>
                <a:gd name="connsiteX3054" fmla="*/ 2458413 w 4044707"/>
                <a:gd name="connsiteY3054" fmla="*/ 656668 h 2907193"/>
                <a:gd name="connsiteX3055" fmla="*/ 2454722 w 4044707"/>
                <a:gd name="connsiteY3055" fmla="*/ 654036 h 2907193"/>
                <a:gd name="connsiteX3056" fmla="*/ 2455479 w 4044707"/>
                <a:gd name="connsiteY3056" fmla="*/ 653340 h 2907193"/>
                <a:gd name="connsiteX3057" fmla="*/ 2457505 w 4044707"/>
                <a:gd name="connsiteY3057" fmla="*/ 650527 h 2907193"/>
                <a:gd name="connsiteX3058" fmla="*/ 2455055 w 4044707"/>
                <a:gd name="connsiteY3058" fmla="*/ 646624 h 2907193"/>
                <a:gd name="connsiteX3059" fmla="*/ 2454722 w 4044707"/>
                <a:gd name="connsiteY3059" fmla="*/ 645293 h 2907193"/>
                <a:gd name="connsiteX3060" fmla="*/ 2455660 w 4044707"/>
                <a:gd name="connsiteY3060" fmla="*/ 643630 h 2907193"/>
                <a:gd name="connsiteX3061" fmla="*/ 2457203 w 4044707"/>
                <a:gd name="connsiteY3061" fmla="*/ 643811 h 2907193"/>
                <a:gd name="connsiteX3062" fmla="*/ 2460228 w 4044707"/>
                <a:gd name="connsiteY3062" fmla="*/ 645293 h 2907193"/>
                <a:gd name="connsiteX3063" fmla="*/ 2462346 w 4044707"/>
                <a:gd name="connsiteY3063" fmla="*/ 643781 h 2907193"/>
                <a:gd name="connsiteX3064" fmla="*/ 2463526 w 4044707"/>
                <a:gd name="connsiteY3064" fmla="*/ 640090 h 2907193"/>
                <a:gd name="connsiteX3065" fmla="*/ 2464463 w 4044707"/>
                <a:gd name="connsiteY3065" fmla="*/ 635462 h 2907193"/>
                <a:gd name="connsiteX3066" fmla="*/ 2465704 w 4044707"/>
                <a:gd name="connsiteY3066" fmla="*/ 631136 h 2907193"/>
                <a:gd name="connsiteX3067" fmla="*/ 2462073 w 4044707"/>
                <a:gd name="connsiteY3067" fmla="*/ 632527 h 2907193"/>
                <a:gd name="connsiteX3068" fmla="*/ 2461529 w 4044707"/>
                <a:gd name="connsiteY3068" fmla="*/ 632013 h 2907193"/>
                <a:gd name="connsiteX3069" fmla="*/ 2461257 w 4044707"/>
                <a:gd name="connsiteY3069" fmla="*/ 630319 h 2907193"/>
                <a:gd name="connsiteX3070" fmla="*/ 2460652 w 4044707"/>
                <a:gd name="connsiteY3070" fmla="*/ 629502 h 2907193"/>
                <a:gd name="connsiteX3071" fmla="*/ 2459865 w 4044707"/>
                <a:gd name="connsiteY3071" fmla="*/ 629502 h 2907193"/>
                <a:gd name="connsiteX3072" fmla="*/ 2459230 w 4044707"/>
                <a:gd name="connsiteY3072" fmla="*/ 630349 h 2907193"/>
                <a:gd name="connsiteX3073" fmla="*/ 2457475 w 4044707"/>
                <a:gd name="connsiteY3073" fmla="*/ 633526 h 2907193"/>
                <a:gd name="connsiteX3074" fmla="*/ 2451304 w 4044707"/>
                <a:gd name="connsiteY3074" fmla="*/ 638154 h 2907193"/>
                <a:gd name="connsiteX3075" fmla="*/ 2454541 w 4044707"/>
                <a:gd name="connsiteY3075" fmla="*/ 630682 h 2907193"/>
                <a:gd name="connsiteX3076" fmla="*/ 2455448 w 4044707"/>
                <a:gd name="connsiteY3076" fmla="*/ 627657 h 2907193"/>
                <a:gd name="connsiteX3077" fmla="*/ 2456810 w 4044707"/>
                <a:gd name="connsiteY3077" fmla="*/ 617129 h 2907193"/>
                <a:gd name="connsiteX3078" fmla="*/ 2454420 w 4044707"/>
                <a:gd name="connsiteY3078" fmla="*/ 613832 h 2907193"/>
                <a:gd name="connsiteX3079" fmla="*/ 2448672 w 4044707"/>
                <a:gd name="connsiteY3079" fmla="*/ 623633 h 2907193"/>
                <a:gd name="connsiteX3080" fmla="*/ 2445738 w 4044707"/>
                <a:gd name="connsiteY3080" fmla="*/ 622575 h 2907193"/>
                <a:gd name="connsiteX3081" fmla="*/ 2446766 w 4044707"/>
                <a:gd name="connsiteY3081" fmla="*/ 619701 h 2907193"/>
                <a:gd name="connsiteX3082" fmla="*/ 2448158 w 4044707"/>
                <a:gd name="connsiteY3082" fmla="*/ 618067 h 2907193"/>
                <a:gd name="connsiteX3083" fmla="*/ 2451304 w 4044707"/>
                <a:gd name="connsiteY3083" fmla="*/ 615375 h 2907193"/>
                <a:gd name="connsiteX3084" fmla="*/ 2449065 w 4044707"/>
                <a:gd name="connsiteY3084" fmla="*/ 612652 h 2907193"/>
                <a:gd name="connsiteX3085" fmla="*/ 2447825 w 4044707"/>
                <a:gd name="connsiteY3085" fmla="*/ 611835 h 2907193"/>
                <a:gd name="connsiteX3086" fmla="*/ 2446494 w 4044707"/>
                <a:gd name="connsiteY3086" fmla="*/ 611835 h 2907193"/>
                <a:gd name="connsiteX3087" fmla="*/ 2446494 w 4044707"/>
                <a:gd name="connsiteY3087" fmla="*/ 610111 h 2907193"/>
                <a:gd name="connsiteX3088" fmla="*/ 2446917 w 4044707"/>
                <a:gd name="connsiteY3088" fmla="*/ 609869 h 2907193"/>
                <a:gd name="connsiteX3089" fmla="*/ 2447885 w 4044707"/>
                <a:gd name="connsiteY3089" fmla="*/ 608538 h 2907193"/>
                <a:gd name="connsiteX3090" fmla="*/ 2446464 w 4044707"/>
                <a:gd name="connsiteY3090" fmla="*/ 607933 h 2907193"/>
                <a:gd name="connsiteX3091" fmla="*/ 2442319 w 4044707"/>
                <a:gd name="connsiteY3091" fmla="*/ 602911 h 2907193"/>
                <a:gd name="connsiteX3092" fmla="*/ 2444255 w 4044707"/>
                <a:gd name="connsiteY3092" fmla="*/ 599916 h 2907193"/>
                <a:gd name="connsiteX3093" fmla="*/ 2444013 w 4044707"/>
                <a:gd name="connsiteY3093" fmla="*/ 596195 h 2907193"/>
                <a:gd name="connsiteX3094" fmla="*/ 2442591 w 4044707"/>
                <a:gd name="connsiteY3094" fmla="*/ 592505 h 2907193"/>
                <a:gd name="connsiteX3095" fmla="*/ 2440928 w 4044707"/>
                <a:gd name="connsiteY3095" fmla="*/ 589782 h 2907193"/>
                <a:gd name="connsiteX3096" fmla="*/ 2439597 w 4044707"/>
                <a:gd name="connsiteY3096" fmla="*/ 589207 h 2907193"/>
                <a:gd name="connsiteX3097" fmla="*/ 2437570 w 4044707"/>
                <a:gd name="connsiteY3097" fmla="*/ 589419 h 2907193"/>
                <a:gd name="connsiteX3098" fmla="*/ 2435573 w 4044707"/>
                <a:gd name="connsiteY3098" fmla="*/ 590266 h 2907193"/>
                <a:gd name="connsiteX3099" fmla="*/ 2427859 w 4044707"/>
                <a:gd name="connsiteY3099" fmla="*/ 598071 h 2907193"/>
                <a:gd name="connsiteX3100" fmla="*/ 2428040 w 4044707"/>
                <a:gd name="connsiteY3100" fmla="*/ 602639 h 2907193"/>
                <a:gd name="connsiteX3101" fmla="*/ 2429039 w 4044707"/>
                <a:gd name="connsiteY3101" fmla="*/ 607419 h 2907193"/>
                <a:gd name="connsiteX3102" fmla="*/ 2429886 w 4044707"/>
                <a:gd name="connsiteY3102" fmla="*/ 610141 h 2907193"/>
                <a:gd name="connsiteX3103" fmla="*/ 2433667 w 4044707"/>
                <a:gd name="connsiteY3103" fmla="*/ 615556 h 2907193"/>
                <a:gd name="connsiteX3104" fmla="*/ 2434817 w 4044707"/>
                <a:gd name="connsiteY3104" fmla="*/ 619186 h 2907193"/>
                <a:gd name="connsiteX3105" fmla="*/ 2434000 w 4044707"/>
                <a:gd name="connsiteY3105" fmla="*/ 624329 h 2907193"/>
                <a:gd name="connsiteX3106" fmla="*/ 2436299 w 4044707"/>
                <a:gd name="connsiteY3106" fmla="*/ 627536 h 2907193"/>
                <a:gd name="connsiteX3107" fmla="*/ 2439173 w 4044707"/>
                <a:gd name="connsiteY3107" fmla="*/ 630077 h 2907193"/>
                <a:gd name="connsiteX3108" fmla="*/ 2441744 w 4044707"/>
                <a:gd name="connsiteY3108" fmla="*/ 633677 h 2907193"/>
                <a:gd name="connsiteX3109" fmla="*/ 2443076 w 4044707"/>
                <a:gd name="connsiteY3109" fmla="*/ 640090 h 2907193"/>
                <a:gd name="connsiteX3110" fmla="*/ 2439506 w 4044707"/>
                <a:gd name="connsiteY3110" fmla="*/ 638033 h 2907193"/>
                <a:gd name="connsiteX3111" fmla="*/ 2435694 w 4044707"/>
                <a:gd name="connsiteY3111" fmla="*/ 633011 h 2907193"/>
                <a:gd name="connsiteX3112" fmla="*/ 2432125 w 4044707"/>
                <a:gd name="connsiteY3112" fmla="*/ 631075 h 2907193"/>
                <a:gd name="connsiteX3113" fmla="*/ 2429220 w 4044707"/>
                <a:gd name="connsiteY3113" fmla="*/ 638215 h 2907193"/>
                <a:gd name="connsiteX3114" fmla="*/ 2429795 w 4044707"/>
                <a:gd name="connsiteY3114" fmla="*/ 639485 h 2907193"/>
                <a:gd name="connsiteX3115" fmla="*/ 2429886 w 4044707"/>
                <a:gd name="connsiteY3115" fmla="*/ 640907 h 2907193"/>
                <a:gd name="connsiteX3116" fmla="*/ 2429553 w 4044707"/>
                <a:gd name="connsiteY3116" fmla="*/ 642540 h 2907193"/>
                <a:gd name="connsiteX3117" fmla="*/ 2428888 w 4044707"/>
                <a:gd name="connsiteY3117" fmla="*/ 644477 h 2907193"/>
                <a:gd name="connsiteX3118" fmla="*/ 2427738 w 4044707"/>
                <a:gd name="connsiteY3118" fmla="*/ 646171 h 2907193"/>
                <a:gd name="connsiteX3119" fmla="*/ 2427103 w 4044707"/>
                <a:gd name="connsiteY3119" fmla="*/ 644779 h 2907193"/>
                <a:gd name="connsiteX3120" fmla="*/ 2426468 w 4044707"/>
                <a:gd name="connsiteY3120" fmla="*/ 640090 h 2907193"/>
                <a:gd name="connsiteX3121" fmla="*/ 2426286 w 4044707"/>
                <a:gd name="connsiteY3121" fmla="*/ 638215 h 2907193"/>
                <a:gd name="connsiteX3122" fmla="*/ 2426377 w 4044707"/>
                <a:gd name="connsiteY3122" fmla="*/ 635825 h 2907193"/>
                <a:gd name="connsiteX3123" fmla="*/ 2426195 w 4044707"/>
                <a:gd name="connsiteY3123" fmla="*/ 633828 h 2907193"/>
                <a:gd name="connsiteX3124" fmla="*/ 2424683 w 4044707"/>
                <a:gd name="connsiteY3124" fmla="*/ 632285 h 2907193"/>
                <a:gd name="connsiteX3125" fmla="*/ 2422323 w 4044707"/>
                <a:gd name="connsiteY3125" fmla="*/ 627717 h 2907193"/>
                <a:gd name="connsiteX3126" fmla="*/ 2421174 w 4044707"/>
                <a:gd name="connsiteY3126" fmla="*/ 629290 h 2907193"/>
                <a:gd name="connsiteX3127" fmla="*/ 2417483 w 4044707"/>
                <a:gd name="connsiteY3127" fmla="*/ 632981 h 2907193"/>
                <a:gd name="connsiteX3128" fmla="*/ 2422353 w 4044707"/>
                <a:gd name="connsiteY3128" fmla="*/ 640151 h 2907193"/>
                <a:gd name="connsiteX3129" fmla="*/ 2421748 w 4044707"/>
                <a:gd name="connsiteY3129" fmla="*/ 642117 h 2907193"/>
                <a:gd name="connsiteX3130" fmla="*/ 2421294 w 4044707"/>
                <a:gd name="connsiteY3130" fmla="*/ 644265 h 2907193"/>
                <a:gd name="connsiteX3131" fmla="*/ 2421234 w 4044707"/>
                <a:gd name="connsiteY3131" fmla="*/ 646503 h 2907193"/>
                <a:gd name="connsiteX3132" fmla="*/ 2421627 w 4044707"/>
                <a:gd name="connsiteY3132" fmla="*/ 648712 h 2907193"/>
                <a:gd name="connsiteX3133" fmla="*/ 2419963 w 4044707"/>
                <a:gd name="connsiteY3133" fmla="*/ 649982 h 2907193"/>
                <a:gd name="connsiteX3134" fmla="*/ 2417755 w 4044707"/>
                <a:gd name="connsiteY3134" fmla="*/ 654792 h 2907193"/>
                <a:gd name="connsiteX3135" fmla="*/ 2416454 w 4044707"/>
                <a:gd name="connsiteY3135" fmla="*/ 655851 h 2907193"/>
                <a:gd name="connsiteX3136" fmla="*/ 2415063 w 4044707"/>
                <a:gd name="connsiteY3136" fmla="*/ 654853 h 2907193"/>
                <a:gd name="connsiteX3137" fmla="*/ 2414276 w 4044707"/>
                <a:gd name="connsiteY3137" fmla="*/ 652493 h 2907193"/>
                <a:gd name="connsiteX3138" fmla="*/ 2414337 w 4044707"/>
                <a:gd name="connsiteY3138" fmla="*/ 649619 h 2907193"/>
                <a:gd name="connsiteX3139" fmla="*/ 2415426 w 4044707"/>
                <a:gd name="connsiteY3139" fmla="*/ 647108 h 2907193"/>
                <a:gd name="connsiteX3140" fmla="*/ 2411372 w 4044707"/>
                <a:gd name="connsiteY3140" fmla="*/ 645566 h 2907193"/>
                <a:gd name="connsiteX3141" fmla="*/ 2407137 w 4044707"/>
                <a:gd name="connsiteY3141" fmla="*/ 647320 h 2907193"/>
                <a:gd name="connsiteX3142" fmla="*/ 2398939 w 4044707"/>
                <a:gd name="connsiteY3142" fmla="*/ 654097 h 2907193"/>
                <a:gd name="connsiteX3143" fmla="*/ 2395550 w 4044707"/>
                <a:gd name="connsiteY3143" fmla="*/ 655488 h 2907193"/>
                <a:gd name="connsiteX3144" fmla="*/ 2394885 w 4044707"/>
                <a:gd name="connsiteY3144" fmla="*/ 652977 h 2907193"/>
                <a:gd name="connsiteX3145" fmla="*/ 2396125 w 4044707"/>
                <a:gd name="connsiteY3145" fmla="*/ 641724 h 2907193"/>
                <a:gd name="connsiteX3146" fmla="*/ 2394794 w 4044707"/>
                <a:gd name="connsiteY3146" fmla="*/ 640120 h 2907193"/>
                <a:gd name="connsiteX3147" fmla="*/ 2395460 w 4044707"/>
                <a:gd name="connsiteY3147" fmla="*/ 638215 h 2907193"/>
                <a:gd name="connsiteX3148" fmla="*/ 2393796 w 4044707"/>
                <a:gd name="connsiteY3148" fmla="*/ 636641 h 2907193"/>
                <a:gd name="connsiteX3149" fmla="*/ 2391708 w 4044707"/>
                <a:gd name="connsiteY3149" fmla="*/ 636157 h 2907193"/>
                <a:gd name="connsiteX3150" fmla="*/ 2389651 w 4044707"/>
                <a:gd name="connsiteY3150" fmla="*/ 636944 h 2907193"/>
                <a:gd name="connsiteX3151" fmla="*/ 2388169 w 4044707"/>
                <a:gd name="connsiteY3151" fmla="*/ 639152 h 2907193"/>
                <a:gd name="connsiteX3152" fmla="*/ 2387564 w 4044707"/>
                <a:gd name="connsiteY3152" fmla="*/ 642722 h 2907193"/>
                <a:gd name="connsiteX3153" fmla="*/ 2388472 w 4044707"/>
                <a:gd name="connsiteY3153" fmla="*/ 644809 h 2907193"/>
                <a:gd name="connsiteX3154" fmla="*/ 2391255 w 4044707"/>
                <a:gd name="connsiteY3154" fmla="*/ 647078 h 2907193"/>
                <a:gd name="connsiteX3155" fmla="*/ 2389198 w 4044707"/>
                <a:gd name="connsiteY3155" fmla="*/ 648530 h 2907193"/>
                <a:gd name="connsiteX3156" fmla="*/ 2387685 w 4044707"/>
                <a:gd name="connsiteY3156" fmla="*/ 650164 h 2907193"/>
                <a:gd name="connsiteX3157" fmla="*/ 2386596 w 4044707"/>
                <a:gd name="connsiteY3157" fmla="*/ 652886 h 2907193"/>
                <a:gd name="connsiteX3158" fmla="*/ 2385779 w 4044707"/>
                <a:gd name="connsiteY3158" fmla="*/ 657696 h 2907193"/>
                <a:gd name="connsiteX3159" fmla="*/ 2386717 w 4044707"/>
                <a:gd name="connsiteY3159" fmla="*/ 658029 h 2907193"/>
                <a:gd name="connsiteX3160" fmla="*/ 2387625 w 4044707"/>
                <a:gd name="connsiteY3160" fmla="*/ 658725 h 2907193"/>
                <a:gd name="connsiteX3161" fmla="*/ 2388472 w 4044707"/>
                <a:gd name="connsiteY3161" fmla="*/ 659723 h 2907193"/>
                <a:gd name="connsiteX3162" fmla="*/ 2389228 w 4044707"/>
                <a:gd name="connsiteY3162" fmla="*/ 661024 h 2907193"/>
                <a:gd name="connsiteX3163" fmla="*/ 2387352 w 4044707"/>
                <a:gd name="connsiteY3163" fmla="*/ 661115 h 2907193"/>
                <a:gd name="connsiteX3164" fmla="*/ 2385568 w 4044707"/>
                <a:gd name="connsiteY3164" fmla="*/ 660117 h 2907193"/>
                <a:gd name="connsiteX3165" fmla="*/ 2384055 w 4044707"/>
                <a:gd name="connsiteY3165" fmla="*/ 658271 h 2907193"/>
                <a:gd name="connsiteX3166" fmla="*/ 2382996 w 4044707"/>
                <a:gd name="connsiteY3166" fmla="*/ 655791 h 2907193"/>
                <a:gd name="connsiteX3167" fmla="*/ 2382331 w 4044707"/>
                <a:gd name="connsiteY3167" fmla="*/ 652130 h 2907193"/>
                <a:gd name="connsiteX3168" fmla="*/ 2382149 w 4044707"/>
                <a:gd name="connsiteY3168" fmla="*/ 646019 h 2907193"/>
                <a:gd name="connsiteX3169" fmla="*/ 2381635 w 4044707"/>
                <a:gd name="connsiteY3169" fmla="*/ 643569 h 2907193"/>
                <a:gd name="connsiteX3170" fmla="*/ 2379215 w 4044707"/>
                <a:gd name="connsiteY3170" fmla="*/ 642752 h 2907193"/>
                <a:gd name="connsiteX3171" fmla="*/ 2375645 w 4044707"/>
                <a:gd name="connsiteY3171" fmla="*/ 645747 h 2907193"/>
                <a:gd name="connsiteX3172" fmla="*/ 2372317 w 4044707"/>
                <a:gd name="connsiteY3172" fmla="*/ 650678 h 2907193"/>
                <a:gd name="connsiteX3173" fmla="*/ 2370593 w 4044707"/>
                <a:gd name="connsiteY3173" fmla="*/ 655791 h 2907193"/>
                <a:gd name="connsiteX3174" fmla="*/ 2378489 w 4044707"/>
                <a:gd name="connsiteY3174" fmla="*/ 659270 h 2907193"/>
                <a:gd name="connsiteX3175" fmla="*/ 2381030 w 4044707"/>
                <a:gd name="connsiteY3175" fmla="*/ 659270 h 2907193"/>
                <a:gd name="connsiteX3176" fmla="*/ 2381030 w 4044707"/>
                <a:gd name="connsiteY3176" fmla="*/ 661024 h 2907193"/>
                <a:gd name="connsiteX3177" fmla="*/ 2373195 w 4044707"/>
                <a:gd name="connsiteY3177" fmla="*/ 663837 h 2907193"/>
                <a:gd name="connsiteX3178" fmla="*/ 2369413 w 4044707"/>
                <a:gd name="connsiteY3178" fmla="*/ 666409 h 2907193"/>
                <a:gd name="connsiteX3179" fmla="*/ 2369292 w 4044707"/>
                <a:gd name="connsiteY3179" fmla="*/ 669706 h 2907193"/>
                <a:gd name="connsiteX3180" fmla="*/ 2366207 w 4044707"/>
                <a:gd name="connsiteY3180" fmla="*/ 669706 h 2907193"/>
                <a:gd name="connsiteX3181" fmla="*/ 2364875 w 4044707"/>
                <a:gd name="connsiteY3181" fmla="*/ 670674 h 2907193"/>
                <a:gd name="connsiteX3182" fmla="*/ 2363756 w 4044707"/>
                <a:gd name="connsiteY3182" fmla="*/ 673336 h 2907193"/>
                <a:gd name="connsiteX3183" fmla="*/ 2364966 w 4044707"/>
                <a:gd name="connsiteY3183" fmla="*/ 677874 h 2907193"/>
                <a:gd name="connsiteX3184" fmla="*/ 2365571 w 4044707"/>
                <a:gd name="connsiteY3184" fmla="*/ 679266 h 2907193"/>
                <a:gd name="connsiteX3185" fmla="*/ 2685268 w 4044707"/>
                <a:gd name="connsiteY3185" fmla="*/ 570905 h 2907193"/>
                <a:gd name="connsiteX3186" fmla="*/ 2685813 w 4044707"/>
                <a:gd name="connsiteY3186" fmla="*/ 569967 h 2907193"/>
                <a:gd name="connsiteX3187" fmla="*/ 2684421 w 4044707"/>
                <a:gd name="connsiteY3187" fmla="*/ 569332 h 2907193"/>
                <a:gd name="connsiteX3188" fmla="*/ 2683302 w 4044707"/>
                <a:gd name="connsiteY3188" fmla="*/ 569332 h 2907193"/>
                <a:gd name="connsiteX3189" fmla="*/ 2673682 w 4044707"/>
                <a:gd name="connsiteY3189" fmla="*/ 571177 h 2907193"/>
                <a:gd name="connsiteX3190" fmla="*/ 2670475 w 4044707"/>
                <a:gd name="connsiteY3190" fmla="*/ 572660 h 2907193"/>
                <a:gd name="connsiteX3191" fmla="*/ 2667118 w 4044707"/>
                <a:gd name="connsiteY3191" fmla="*/ 576713 h 2907193"/>
                <a:gd name="connsiteX3192" fmla="*/ 2664909 w 4044707"/>
                <a:gd name="connsiteY3192" fmla="*/ 580979 h 2907193"/>
                <a:gd name="connsiteX3193" fmla="*/ 2663699 w 4044707"/>
                <a:gd name="connsiteY3193" fmla="*/ 584185 h 2907193"/>
                <a:gd name="connsiteX3194" fmla="*/ 2663336 w 4044707"/>
                <a:gd name="connsiteY3194" fmla="*/ 586999 h 2907193"/>
                <a:gd name="connsiteX3195" fmla="*/ 2663548 w 4044707"/>
                <a:gd name="connsiteY3195" fmla="*/ 588965 h 2907193"/>
                <a:gd name="connsiteX3196" fmla="*/ 2663397 w 4044707"/>
                <a:gd name="connsiteY3196" fmla="*/ 590750 h 2907193"/>
                <a:gd name="connsiteX3197" fmla="*/ 2662852 w 4044707"/>
                <a:gd name="connsiteY3197" fmla="*/ 592323 h 2907193"/>
                <a:gd name="connsiteX3198" fmla="*/ 2663639 w 4044707"/>
                <a:gd name="connsiteY3198" fmla="*/ 594259 h 2907193"/>
                <a:gd name="connsiteX3199" fmla="*/ 2666119 w 4044707"/>
                <a:gd name="connsiteY3199" fmla="*/ 595923 h 2907193"/>
                <a:gd name="connsiteX3200" fmla="*/ 2668600 w 4044707"/>
                <a:gd name="connsiteY3200" fmla="*/ 595923 h 2907193"/>
                <a:gd name="connsiteX3201" fmla="*/ 2670385 w 4044707"/>
                <a:gd name="connsiteY3201" fmla="*/ 594108 h 2907193"/>
                <a:gd name="connsiteX3202" fmla="*/ 2672714 w 4044707"/>
                <a:gd name="connsiteY3202" fmla="*/ 588844 h 2907193"/>
                <a:gd name="connsiteX3203" fmla="*/ 2674287 w 4044707"/>
                <a:gd name="connsiteY3203" fmla="*/ 586152 h 2907193"/>
                <a:gd name="connsiteX3204" fmla="*/ 2676344 w 4044707"/>
                <a:gd name="connsiteY3204" fmla="*/ 584216 h 2907193"/>
                <a:gd name="connsiteX3205" fmla="*/ 2678644 w 4044707"/>
                <a:gd name="connsiteY3205" fmla="*/ 582945 h 2907193"/>
                <a:gd name="connsiteX3206" fmla="*/ 2681033 w 4044707"/>
                <a:gd name="connsiteY3206" fmla="*/ 580767 h 2907193"/>
                <a:gd name="connsiteX3207" fmla="*/ 2682425 w 4044707"/>
                <a:gd name="connsiteY3207" fmla="*/ 578770 h 2907193"/>
                <a:gd name="connsiteX3208" fmla="*/ 2682969 w 4044707"/>
                <a:gd name="connsiteY3208" fmla="*/ 577500 h 2907193"/>
                <a:gd name="connsiteX3209" fmla="*/ 2683272 w 4044707"/>
                <a:gd name="connsiteY3209" fmla="*/ 575776 h 2907193"/>
                <a:gd name="connsiteX3210" fmla="*/ 2683121 w 4044707"/>
                <a:gd name="connsiteY3210" fmla="*/ 573839 h 2907193"/>
                <a:gd name="connsiteX3211" fmla="*/ 2683665 w 4044707"/>
                <a:gd name="connsiteY3211" fmla="*/ 572115 h 2907193"/>
                <a:gd name="connsiteX3212" fmla="*/ 2685208 w 4044707"/>
                <a:gd name="connsiteY3212" fmla="*/ 570905 h 2907193"/>
                <a:gd name="connsiteX3213" fmla="*/ 2469152 w 4044707"/>
                <a:gd name="connsiteY3213" fmla="*/ 615344 h 2907193"/>
                <a:gd name="connsiteX3214" fmla="*/ 2470423 w 4044707"/>
                <a:gd name="connsiteY3214" fmla="*/ 622938 h 2907193"/>
                <a:gd name="connsiteX3215" fmla="*/ 2473690 w 4044707"/>
                <a:gd name="connsiteY3215" fmla="*/ 623482 h 2907193"/>
                <a:gd name="connsiteX3216" fmla="*/ 2477441 w 4044707"/>
                <a:gd name="connsiteY3216" fmla="*/ 619943 h 2907193"/>
                <a:gd name="connsiteX3217" fmla="*/ 2480194 w 4044707"/>
                <a:gd name="connsiteY3217" fmla="*/ 615314 h 2907193"/>
                <a:gd name="connsiteX3218" fmla="*/ 2483703 w 4044707"/>
                <a:gd name="connsiteY3218" fmla="*/ 605634 h 2907193"/>
                <a:gd name="connsiteX3219" fmla="*/ 2484338 w 4044707"/>
                <a:gd name="connsiteY3219" fmla="*/ 602851 h 2907193"/>
                <a:gd name="connsiteX3220" fmla="*/ 2484278 w 4044707"/>
                <a:gd name="connsiteY3220" fmla="*/ 598827 h 2907193"/>
                <a:gd name="connsiteX3221" fmla="*/ 2483370 w 4044707"/>
                <a:gd name="connsiteY3221" fmla="*/ 595621 h 2907193"/>
                <a:gd name="connsiteX3222" fmla="*/ 2481918 w 4044707"/>
                <a:gd name="connsiteY3222" fmla="*/ 592989 h 2907193"/>
                <a:gd name="connsiteX3223" fmla="*/ 2480194 w 4044707"/>
                <a:gd name="connsiteY3223" fmla="*/ 590659 h 2907193"/>
                <a:gd name="connsiteX3224" fmla="*/ 2482251 w 4044707"/>
                <a:gd name="connsiteY3224" fmla="*/ 588874 h 2907193"/>
                <a:gd name="connsiteX3225" fmla="*/ 2484036 w 4044707"/>
                <a:gd name="connsiteY3225" fmla="*/ 589812 h 2907193"/>
                <a:gd name="connsiteX3226" fmla="*/ 2487031 w 4044707"/>
                <a:gd name="connsiteY3226" fmla="*/ 594199 h 2907193"/>
                <a:gd name="connsiteX3227" fmla="*/ 2490631 w 4044707"/>
                <a:gd name="connsiteY3227" fmla="*/ 596528 h 2907193"/>
                <a:gd name="connsiteX3228" fmla="*/ 2503548 w 4044707"/>
                <a:gd name="connsiteY3228" fmla="*/ 591597 h 2907193"/>
                <a:gd name="connsiteX3229" fmla="*/ 2509145 w 4044707"/>
                <a:gd name="connsiteY3229" fmla="*/ 586969 h 2907193"/>
                <a:gd name="connsiteX3230" fmla="*/ 2512351 w 4044707"/>
                <a:gd name="connsiteY3230" fmla="*/ 585517 h 2907193"/>
                <a:gd name="connsiteX3231" fmla="*/ 2513319 w 4044707"/>
                <a:gd name="connsiteY3231" fmla="*/ 584337 h 2907193"/>
                <a:gd name="connsiteX3232" fmla="*/ 2514650 w 4044707"/>
                <a:gd name="connsiteY3232" fmla="*/ 581675 h 2907193"/>
                <a:gd name="connsiteX3233" fmla="*/ 2514892 w 4044707"/>
                <a:gd name="connsiteY3233" fmla="*/ 580162 h 2907193"/>
                <a:gd name="connsiteX3234" fmla="*/ 2514953 w 4044707"/>
                <a:gd name="connsiteY3234" fmla="*/ 578438 h 2907193"/>
                <a:gd name="connsiteX3235" fmla="*/ 2515286 w 4044707"/>
                <a:gd name="connsiteY3235" fmla="*/ 576986 h 2907193"/>
                <a:gd name="connsiteX3236" fmla="*/ 2516919 w 4044707"/>
                <a:gd name="connsiteY3236" fmla="*/ 576048 h 2907193"/>
                <a:gd name="connsiteX3237" fmla="*/ 2518613 w 4044707"/>
                <a:gd name="connsiteY3237" fmla="*/ 574293 h 2907193"/>
                <a:gd name="connsiteX3238" fmla="*/ 2519097 w 4044707"/>
                <a:gd name="connsiteY3238" fmla="*/ 573658 h 2907193"/>
                <a:gd name="connsiteX3239" fmla="*/ 2521094 w 4044707"/>
                <a:gd name="connsiteY3239" fmla="*/ 568939 h 2907193"/>
                <a:gd name="connsiteX3240" fmla="*/ 2522304 w 4044707"/>
                <a:gd name="connsiteY3240" fmla="*/ 566730 h 2907193"/>
                <a:gd name="connsiteX3241" fmla="*/ 2523302 w 4044707"/>
                <a:gd name="connsiteY3241" fmla="*/ 565793 h 2907193"/>
                <a:gd name="connsiteX3242" fmla="*/ 2524724 w 4044707"/>
                <a:gd name="connsiteY3242" fmla="*/ 564915 h 2907193"/>
                <a:gd name="connsiteX3243" fmla="*/ 2529111 w 4044707"/>
                <a:gd name="connsiteY3243" fmla="*/ 558714 h 2907193"/>
                <a:gd name="connsiteX3244" fmla="*/ 2533800 w 4044707"/>
                <a:gd name="connsiteY3244" fmla="*/ 555658 h 2907193"/>
                <a:gd name="connsiteX3245" fmla="*/ 2535342 w 4044707"/>
                <a:gd name="connsiteY3245" fmla="*/ 553238 h 2907193"/>
                <a:gd name="connsiteX3246" fmla="*/ 2536673 w 4044707"/>
                <a:gd name="connsiteY3246" fmla="*/ 548670 h 2907193"/>
                <a:gd name="connsiteX3247" fmla="*/ 2537642 w 4044707"/>
                <a:gd name="connsiteY3247" fmla="*/ 538355 h 2907193"/>
                <a:gd name="connsiteX3248" fmla="*/ 2539184 w 4044707"/>
                <a:gd name="connsiteY3248" fmla="*/ 532879 h 2907193"/>
                <a:gd name="connsiteX3249" fmla="*/ 2540939 w 4044707"/>
                <a:gd name="connsiteY3249" fmla="*/ 528553 h 2907193"/>
                <a:gd name="connsiteX3250" fmla="*/ 2542451 w 4044707"/>
                <a:gd name="connsiteY3250" fmla="*/ 523199 h 2907193"/>
                <a:gd name="connsiteX3251" fmla="*/ 2542784 w 4044707"/>
                <a:gd name="connsiteY3251" fmla="*/ 517542 h 2907193"/>
                <a:gd name="connsiteX3252" fmla="*/ 2540939 w 4044707"/>
                <a:gd name="connsiteY3252" fmla="*/ 512248 h 2907193"/>
                <a:gd name="connsiteX3253" fmla="*/ 2537944 w 4044707"/>
                <a:gd name="connsiteY3253" fmla="*/ 511128 h 2907193"/>
                <a:gd name="connsiteX3254" fmla="*/ 2525208 w 4044707"/>
                <a:gd name="connsiteY3254" fmla="*/ 518479 h 2907193"/>
                <a:gd name="connsiteX3255" fmla="*/ 2520882 w 4044707"/>
                <a:gd name="connsiteY3255" fmla="*/ 524772 h 2907193"/>
                <a:gd name="connsiteX3256" fmla="*/ 2519249 w 4044707"/>
                <a:gd name="connsiteY3256" fmla="*/ 525861 h 2907193"/>
                <a:gd name="connsiteX3257" fmla="*/ 2515800 w 4044707"/>
                <a:gd name="connsiteY3257" fmla="*/ 527131 h 2907193"/>
                <a:gd name="connsiteX3258" fmla="*/ 2514076 w 4044707"/>
                <a:gd name="connsiteY3258" fmla="*/ 528341 h 2907193"/>
                <a:gd name="connsiteX3259" fmla="*/ 2514257 w 4044707"/>
                <a:gd name="connsiteY3259" fmla="*/ 529521 h 2907193"/>
                <a:gd name="connsiteX3260" fmla="*/ 2514499 w 4044707"/>
                <a:gd name="connsiteY3260" fmla="*/ 532486 h 2907193"/>
                <a:gd name="connsiteX3261" fmla="*/ 2514711 w 4044707"/>
                <a:gd name="connsiteY3261" fmla="*/ 533666 h 2907193"/>
                <a:gd name="connsiteX3262" fmla="*/ 2511928 w 4044707"/>
                <a:gd name="connsiteY3262" fmla="*/ 535965 h 2907193"/>
                <a:gd name="connsiteX3263" fmla="*/ 2506694 w 4044707"/>
                <a:gd name="connsiteY3263" fmla="*/ 551332 h 2907193"/>
                <a:gd name="connsiteX3264" fmla="*/ 2503367 w 4044707"/>
                <a:gd name="connsiteY3264" fmla="*/ 555023 h 2907193"/>
                <a:gd name="connsiteX3265" fmla="*/ 2493505 w 4044707"/>
                <a:gd name="connsiteY3265" fmla="*/ 557262 h 2907193"/>
                <a:gd name="connsiteX3266" fmla="*/ 2488543 w 4044707"/>
                <a:gd name="connsiteY3266" fmla="*/ 560589 h 2907193"/>
                <a:gd name="connsiteX3267" fmla="*/ 2484429 w 4044707"/>
                <a:gd name="connsiteY3267" fmla="*/ 565823 h 2907193"/>
                <a:gd name="connsiteX3268" fmla="*/ 2481646 w 4044707"/>
                <a:gd name="connsiteY3268" fmla="*/ 572206 h 2907193"/>
                <a:gd name="connsiteX3269" fmla="*/ 2479196 w 4044707"/>
                <a:gd name="connsiteY3269" fmla="*/ 579194 h 2907193"/>
                <a:gd name="connsiteX3270" fmla="*/ 2473387 w 4044707"/>
                <a:gd name="connsiteY3270" fmla="*/ 589752 h 2907193"/>
                <a:gd name="connsiteX3271" fmla="*/ 2472843 w 4044707"/>
                <a:gd name="connsiteY3271" fmla="*/ 592989 h 2907193"/>
                <a:gd name="connsiteX3272" fmla="*/ 2470483 w 4044707"/>
                <a:gd name="connsiteY3272" fmla="*/ 598918 h 2907193"/>
                <a:gd name="connsiteX3273" fmla="*/ 2469878 w 4044707"/>
                <a:gd name="connsiteY3273" fmla="*/ 602881 h 2907193"/>
                <a:gd name="connsiteX3274" fmla="*/ 2470029 w 4044707"/>
                <a:gd name="connsiteY3274" fmla="*/ 606844 h 2907193"/>
                <a:gd name="connsiteX3275" fmla="*/ 2470272 w 4044707"/>
                <a:gd name="connsiteY3275" fmla="*/ 609899 h 2907193"/>
                <a:gd name="connsiteX3276" fmla="*/ 2470181 w 4044707"/>
                <a:gd name="connsiteY3276" fmla="*/ 612531 h 2907193"/>
                <a:gd name="connsiteX3277" fmla="*/ 2469273 w 4044707"/>
                <a:gd name="connsiteY3277" fmla="*/ 615344 h 2907193"/>
                <a:gd name="connsiteX3278" fmla="*/ 2609125 w 4044707"/>
                <a:gd name="connsiteY3278" fmla="*/ 576411 h 2907193"/>
                <a:gd name="connsiteX3279" fmla="*/ 2610487 w 4044707"/>
                <a:gd name="connsiteY3279" fmla="*/ 579043 h 2907193"/>
                <a:gd name="connsiteX3280" fmla="*/ 2639317 w 4044707"/>
                <a:gd name="connsiteY3280" fmla="*/ 571208 h 2907193"/>
                <a:gd name="connsiteX3281" fmla="*/ 2642160 w 4044707"/>
                <a:gd name="connsiteY3281" fmla="*/ 574505 h 2907193"/>
                <a:gd name="connsiteX3282" fmla="*/ 2640587 w 4044707"/>
                <a:gd name="connsiteY3282" fmla="*/ 575473 h 2907193"/>
                <a:gd name="connsiteX3283" fmla="*/ 2638893 w 4044707"/>
                <a:gd name="connsiteY3283" fmla="*/ 575987 h 2907193"/>
                <a:gd name="connsiteX3284" fmla="*/ 2637471 w 4044707"/>
                <a:gd name="connsiteY3284" fmla="*/ 577197 h 2907193"/>
                <a:gd name="connsiteX3285" fmla="*/ 2636655 w 4044707"/>
                <a:gd name="connsiteY3285" fmla="*/ 580162 h 2907193"/>
                <a:gd name="connsiteX3286" fmla="*/ 2637048 w 4044707"/>
                <a:gd name="connsiteY3286" fmla="*/ 580495 h 2907193"/>
                <a:gd name="connsiteX3287" fmla="*/ 2638016 w 4044707"/>
                <a:gd name="connsiteY3287" fmla="*/ 581765 h 2907193"/>
                <a:gd name="connsiteX3288" fmla="*/ 2636140 w 4044707"/>
                <a:gd name="connsiteY3288" fmla="*/ 582007 h 2907193"/>
                <a:gd name="connsiteX3289" fmla="*/ 2634083 w 4044707"/>
                <a:gd name="connsiteY3289" fmla="*/ 583036 h 2907193"/>
                <a:gd name="connsiteX3290" fmla="*/ 2632601 w 4044707"/>
                <a:gd name="connsiteY3290" fmla="*/ 585244 h 2907193"/>
                <a:gd name="connsiteX3291" fmla="*/ 2632450 w 4044707"/>
                <a:gd name="connsiteY3291" fmla="*/ 588844 h 2907193"/>
                <a:gd name="connsiteX3292" fmla="*/ 2635565 w 4044707"/>
                <a:gd name="connsiteY3292" fmla="*/ 591083 h 2907193"/>
                <a:gd name="connsiteX3293" fmla="*/ 2641253 w 4044707"/>
                <a:gd name="connsiteY3293" fmla="*/ 590205 h 2907193"/>
                <a:gd name="connsiteX3294" fmla="*/ 2646849 w 4044707"/>
                <a:gd name="connsiteY3294" fmla="*/ 586878 h 2907193"/>
                <a:gd name="connsiteX3295" fmla="*/ 2649753 w 4044707"/>
                <a:gd name="connsiteY3295" fmla="*/ 581796 h 2907193"/>
                <a:gd name="connsiteX3296" fmla="*/ 2648301 w 4044707"/>
                <a:gd name="connsiteY3296" fmla="*/ 580737 h 2907193"/>
                <a:gd name="connsiteX3297" fmla="*/ 2645579 w 4044707"/>
                <a:gd name="connsiteY3297" fmla="*/ 581433 h 2907193"/>
                <a:gd name="connsiteX3298" fmla="*/ 2644187 w 4044707"/>
                <a:gd name="connsiteY3298" fmla="*/ 580223 h 2907193"/>
                <a:gd name="connsiteX3299" fmla="*/ 2647152 w 4044707"/>
                <a:gd name="connsiteY3299" fmla="*/ 571631 h 2907193"/>
                <a:gd name="connsiteX3300" fmla="*/ 2651811 w 4044707"/>
                <a:gd name="connsiteY3300" fmla="*/ 565732 h 2907193"/>
                <a:gd name="connsiteX3301" fmla="*/ 2666270 w 4044707"/>
                <a:gd name="connsiteY3301" fmla="*/ 553329 h 2907193"/>
                <a:gd name="connsiteX3302" fmla="*/ 2670445 w 4044707"/>
                <a:gd name="connsiteY3302" fmla="*/ 546401 h 2907193"/>
                <a:gd name="connsiteX3303" fmla="*/ 2673138 w 4044707"/>
                <a:gd name="connsiteY3303" fmla="*/ 543225 h 2907193"/>
                <a:gd name="connsiteX3304" fmla="*/ 2675679 w 4044707"/>
                <a:gd name="connsiteY3304" fmla="*/ 541319 h 2907193"/>
                <a:gd name="connsiteX3305" fmla="*/ 2678371 w 4044707"/>
                <a:gd name="connsiteY3305" fmla="*/ 540623 h 2907193"/>
                <a:gd name="connsiteX3306" fmla="*/ 2681487 w 4044707"/>
                <a:gd name="connsiteY3306" fmla="*/ 541077 h 2907193"/>
                <a:gd name="connsiteX3307" fmla="*/ 2678916 w 4044707"/>
                <a:gd name="connsiteY3307" fmla="*/ 546613 h 2907193"/>
                <a:gd name="connsiteX3308" fmla="*/ 2677887 w 4044707"/>
                <a:gd name="connsiteY3308" fmla="*/ 549457 h 2907193"/>
                <a:gd name="connsiteX3309" fmla="*/ 2677312 w 4044707"/>
                <a:gd name="connsiteY3309" fmla="*/ 553329 h 2907193"/>
                <a:gd name="connsiteX3310" fmla="*/ 2680398 w 4044707"/>
                <a:gd name="connsiteY3310" fmla="*/ 552300 h 2907193"/>
                <a:gd name="connsiteX3311" fmla="*/ 2689655 w 4044707"/>
                <a:gd name="connsiteY3311" fmla="*/ 553329 h 2907193"/>
                <a:gd name="connsiteX3312" fmla="*/ 2699335 w 4044707"/>
                <a:gd name="connsiteY3312" fmla="*/ 548398 h 2907193"/>
                <a:gd name="connsiteX3313" fmla="*/ 2710740 w 4044707"/>
                <a:gd name="connsiteY3313" fmla="*/ 549275 h 2907193"/>
                <a:gd name="connsiteX3314" fmla="*/ 2724595 w 4044707"/>
                <a:gd name="connsiteY3314" fmla="*/ 546432 h 2907193"/>
                <a:gd name="connsiteX3315" fmla="*/ 2727620 w 4044707"/>
                <a:gd name="connsiteY3315" fmla="*/ 544617 h 2907193"/>
                <a:gd name="connsiteX3316" fmla="*/ 2729678 w 4044707"/>
                <a:gd name="connsiteY3316" fmla="*/ 541047 h 2907193"/>
                <a:gd name="connsiteX3317" fmla="*/ 2727923 w 4044707"/>
                <a:gd name="connsiteY3317" fmla="*/ 540533 h 2907193"/>
                <a:gd name="connsiteX3318" fmla="*/ 2725654 w 4044707"/>
                <a:gd name="connsiteY3318" fmla="*/ 540744 h 2907193"/>
                <a:gd name="connsiteX3319" fmla="*/ 2723658 w 4044707"/>
                <a:gd name="connsiteY3319" fmla="*/ 539988 h 2907193"/>
                <a:gd name="connsiteX3320" fmla="*/ 2722811 w 4044707"/>
                <a:gd name="connsiteY3320" fmla="*/ 536418 h 2907193"/>
                <a:gd name="connsiteX3321" fmla="*/ 2721994 w 4044707"/>
                <a:gd name="connsiteY3321" fmla="*/ 534210 h 2907193"/>
                <a:gd name="connsiteX3322" fmla="*/ 2720118 w 4044707"/>
                <a:gd name="connsiteY3322" fmla="*/ 532425 h 2907193"/>
                <a:gd name="connsiteX3323" fmla="*/ 2716579 w 4044707"/>
                <a:gd name="connsiteY3323" fmla="*/ 530187 h 2907193"/>
                <a:gd name="connsiteX3324" fmla="*/ 2716579 w 4044707"/>
                <a:gd name="connsiteY3324" fmla="*/ 528402 h 2907193"/>
                <a:gd name="connsiteX3325" fmla="*/ 2721419 w 4044707"/>
                <a:gd name="connsiteY3325" fmla="*/ 528977 h 2907193"/>
                <a:gd name="connsiteX3326" fmla="*/ 2723809 w 4044707"/>
                <a:gd name="connsiteY3326" fmla="*/ 528069 h 2907193"/>
                <a:gd name="connsiteX3327" fmla="*/ 2725503 w 4044707"/>
                <a:gd name="connsiteY3327" fmla="*/ 524832 h 2907193"/>
                <a:gd name="connsiteX3328" fmla="*/ 2724656 w 4044707"/>
                <a:gd name="connsiteY3328" fmla="*/ 523622 h 2907193"/>
                <a:gd name="connsiteX3329" fmla="*/ 2722266 w 4044707"/>
                <a:gd name="connsiteY3329" fmla="*/ 521020 h 2907193"/>
                <a:gd name="connsiteX3330" fmla="*/ 2721359 w 4044707"/>
                <a:gd name="connsiteY3330" fmla="*/ 519478 h 2907193"/>
                <a:gd name="connsiteX3331" fmla="*/ 2720814 w 4044707"/>
                <a:gd name="connsiteY3331" fmla="*/ 516755 h 2907193"/>
                <a:gd name="connsiteX3332" fmla="*/ 2720814 w 4044707"/>
                <a:gd name="connsiteY3332" fmla="*/ 514153 h 2907193"/>
                <a:gd name="connsiteX3333" fmla="*/ 2720602 w 4044707"/>
                <a:gd name="connsiteY3333" fmla="*/ 511975 h 2907193"/>
                <a:gd name="connsiteX3334" fmla="*/ 2719271 w 4044707"/>
                <a:gd name="connsiteY3334" fmla="*/ 510372 h 2907193"/>
                <a:gd name="connsiteX3335" fmla="*/ 2720996 w 4044707"/>
                <a:gd name="connsiteY3335" fmla="*/ 506712 h 2907193"/>
                <a:gd name="connsiteX3336" fmla="*/ 2724232 w 4044707"/>
                <a:gd name="connsiteY3336" fmla="*/ 504019 h 2907193"/>
                <a:gd name="connsiteX3337" fmla="*/ 2730313 w 4044707"/>
                <a:gd name="connsiteY3337" fmla="*/ 501418 h 2907193"/>
                <a:gd name="connsiteX3338" fmla="*/ 2735849 w 4044707"/>
                <a:gd name="connsiteY3338" fmla="*/ 502325 h 2907193"/>
                <a:gd name="connsiteX3339" fmla="*/ 2737241 w 4044707"/>
                <a:gd name="connsiteY3339" fmla="*/ 501418 h 2907193"/>
                <a:gd name="connsiteX3340" fmla="*/ 2737876 w 4044707"/>
                <a:gd name="connsiteY3340" fmla="*/ 499905 h 2907193"/>
                <a:gd name="connsiteX3341" fmla="*/ 2738571 w 4044707"/>
                <a:gd name="connsiteY3341" fmla="*/ 497455 h 2907193"/>
                <a:gd name="connsiteX3342" fmla="*/ 2738662 w 4044707"/>
                <a:gd name="connsiteY3342" fmla="*/ 495216 h 2907193"/>
                <a:gd name="connsiteX3343" fmla="*/ 2737604 w 4044707"/>
                <a:gd name="connsiteY3343" fmla="*/ 494218 h 2907193"/>
                <a:gd name="connsiteX3344" fmla="*/ 2736908 w 4044707"/>
                <a:gd name="connsiteY3344" fmla="*/ 492161 h 2907193"/>
                <a:gd name="connsiteX3345" fmla="*/ 2736666 w 4044707"/>
                <a:gd name="connsiteY3345" fmla="*/ 482329 h 2907193"/>
                <a:gd name="connsiteX3346" fmla="*/ 2735879 w 4044707"/>
                <a:gd name="connsiteY3346" fmla="*/ 478941 h 2907193"/>
                <a:gd name="connsiteX3347" fmla="*/ 2733640 w 4044707"/>
                <a:gd name="connsiteY3347" fmla="*/ 477610 h 2907193"/>
                <a:gd name="connsiteX3348" fmla="*/ 2731221 w 4044707"/>
                <a:gd name="connsiteY3348" fmla="*/ 478154 h 2907193"/>
                <a:gd name="connsiteX3349" fmla="*/ 2729738 w 4044707"/>
                <a:gd name="connsiteY3349" fmla="*/ 480211 h 2907193"/>
                <a:gd name="connsiteX3350" fmla="*/ 2730313 w 4044707"/>
                <a:gd name="connsiteY3350" fmla="*/ 483418 h 2907193"/>
                <a:gd name="connsiteX3351" fmla="*/ 2728952 w 4044707"/>
                <a:gd name="connsiteY3351" fmla="*/ 486262 h 2907193"/>
                <a:gd name="connsiteX3352" fmla="*/ 2726925 w 4044707"/>
                <a:gd name="connsiteY3352" fmla="*/ 485415 h 2907193"/>
                <a:gd name="connsiteX3353" fmla="*/ 2722750 w 4044707"/>
                <a:gd name="connsiteY3353" fmla="*/ 481421 h 2907193"/>
                <a:gd name="connsiteX3354" fmla="*/ 2727136 w 4044707"/>
                <a:gd name="connsiteY3354" fmla="*/ 475795 h 2907193"/>
                <a:gd name="connsiteX3355" fmla="*/ 2728105 w 4044707"/>
                <a:gd name="connsiteY3355" fmla="*/ 472316 h 2907193"/>
                <a:gd name="connsiteX3356" fmla="*/ 2726925 w 4044707"/>
                <a:gd name="connsiteY3356" fmla="*/ 467203 h 2907193"/>
                <a:gd name="connsiteX3357" fmla="*/ 2730827 w 4044707"/>
                <a:gd name="connsiteY3357" fmla="*/ 467536 h 2907193"/>
                <a:gd name="connsiteX3358" fmla="*/ 2732612 w 4044707"/>
                <a:gd name="connsiteY3358" fmla="*/ 466538 h 2907193"/>
                <a:gd name="connsiteX3359" fmla="*/ 2733762 w 4044707"/>
                <a:gd name="connsiteY3359" fmla="*/ 463603 h 2907193"/>
                <a:gd name="connsiteX3360" fmla="*/ 2725927 w 4044707"/>
                <a:gd name="connsiteY3360" fmla="*/ 457250 h 2907193"/>
                <a:gd name="connsiteX3361" fmla="*/ 2723052 w 4044707"/>
                <a:gd name="connsiteY3361" fmla="*/ 456403 h 2907193"/>
                <a:gd name="connsiteX3362" fmla="*/ 2722115 w 4044707"/>
                <a:gd name="connsiteY3362" fmla="*/ 457250 h 2907193"/>
                <a:gd name="connsiteX3363" fmla="*/ 2720421 w 4044707"/>
                <a:gd name="connsiteY3363" fmla="*/ 460971 h 2907193"/>
                <a:gd name="connsiteX3364" fmla="*/ 2717758 w 4044707"/>
                <a:gd name="connsiteY3364" fmla="*/ 462877 h 2907193"/>
                <a:gd name="connsiteX3365" fmla="*/ 2716911 w 4044707"/>
                <a:gd name="connsiteY3365" fmla="*/ 465328 h 2907193"/>
                <a:gd name="connsiteX3366" fmla="*/ 2716155 w 4044707"/>
                <a:gd name="connsiteY3366" fmla="*/ 469865 h 2907193"/>
                <a:gd name="connsiteX3367" fmla="*/ 2714401 w 4044707"/>
                <a:gd name="connsiteY3367" fmla="*/ 475159 h 2907193"/>
                <a:gd name="connsiteX3368" fmla="*/ 2713130 w 4044707"/>
                <a:gd name="connsiteY3368" fmla="*/ 477035 h 2907193"/>
                <a:gd name="connsiteX3369" fmla="*/ 2711708 w 4044707"/>
                <a:gd name="connsiteY3369" fmla="*/ 476248 h 2907193"/>
                <a:gd name="connsiteX3370" fmla="*/ 2710891 w 4044707"/>
                <a:gd name="connsiteY3370" fmla="*/ 473798 h 2907193"/>
                <a:gd name="connsiteX3371" fmla="*/ 2711103 w 4044707"/>
                <a:gd name="connsiteY3371" fmla="*/ 471620 h 2907193"/>
                <a:gd name="connsiteX3372" fmla="*/ 2712404 w 4044707"/>
                <a:gd name="connsiteY3372" fmla="*/ 467264 h 2907193"/>
                <a:gd name="connsiteX3373" fmla="*/ 2712737 w 4044707"/>
                <a:gd name="connsiteY3373" fmla="*/ 464662 h 2907193"/>
                <a:gd name="connsiteX3374" fmla="*/ 2712888 w 4044707"/>
                <a:gd name="connsiteY3374" fmla="*/ 463180 h 2907193"/>
                <a:gd name="connsiteX3375" fmla="*/ 2713100 w 4044707"/>
                <a:gd name="connsiteY3375" fmla="*/ 461909 h 2907193"/>
                <a:gd name="connsiteX3376" fmla="*/ 2713765 w 4044707"/>
                <a:gd name="connsiteY3376" fmla="*/ 460034 h 2907193"/>
                <a:gd name="connsiteX3377" fmla="*/ 2714764 w 4044707"/>
                <a:gd name="connsiteY3377" fmla="*/ 458249 h 2907193"/>
                <a:gd name="connsiteX3378" fmla="*/ 2716942 w 4044707"/>
                <a:gd name="connsiteY3378" fmla="*/ 455405 h 2907193"/>
                <a:gd name="connsiteX3379" fmla="*/ 2717910 w 4044707"/>
                <a:gd name="connsiteY3379" fmla="*/ 452803 h 2907193"/>
                <a:gd name="connsiteX3380" fmla="*/ 2716004 w 4044707"/>
                <a:gd name="connsiteY3380" fmla="*/ 443184 h 2907193"/>
                <a:gd name="connsiteX3381" fmla="*/ 2714522 w 4044707"/>
                <a:gd name="connsiteY3381" fmla="*/ 439584 h 2907193"/>
                <a:gd name="connsiteX3382" fmla="*/ 2712344 w 4044707"/>
                <a:gd name="connsiteY3382" fmla="*/ 438162 h 2907193"/>
                <a:gd name="connsiteX3383" fmla="*/ 2710347 w 4044707"/>
                <a:gd name="connsiteY3383" fmla="*/ 439493 h 2907193"/>
                <a:gd name="connsiteX3384" fmla="*/ 2708532 w 4044707"/>
                <a:gd name="connsiteY3384" fmla="*/ 442669 h 2907193"/>
                <a:gd name="connsiteX3385" fmla="*/ 2705749 w 4044707"/>
                <a:gd name="connsiteY3385" fmla="*/ 449899 h 2907193"/>
                <a:gd name="connsiteX3386" fmla="*/ 2703843 w 4044707"/>
                <a:gd name="connsiteY3386" fmla="*/ 451805 h 2907193"/>
                <a:gd name="connsiteX3387" fmla="*/ 2702088 w 4044707"/>
                <a:gd name="connsiteY3387" fmla="*/ 448871 h 2907193"/>
                <a:gd name="connsiteX3388" fmla="*/ 2699245 w 4044707"/>
                <a:gd name="connsiteY3388" fmla="*/ 439947 h 2907193"/>
                <a:gd name="connsiteX3389" fmla="*/ 2698428 w 4044707"/>
                <a:gd name="connsiteY3389" fmla="*/ 438192 h 2907193"/>
                <a:gd name="connsiteX3390" fmla="*/ 2697278 w 4044707"/>
                <a:gd name="connsiteY3390" fmla="*/ 436195 h 2907193"/>
                <a:gd name="connsiteX3391" fmla="*/ 2695887 w 4044707"/>
                <a:gd name="connsiteY3391" fmla="*/ 435137 h 2907193"/>
                <a:gd name="connsiteX3392" fmla="*/ 2694404 w 4044707"/>
                <a:gd name="connsiteY3392" fmla="*/ 436165 h 2907193"/>
                <a:gd name="connsiteX3393" fmla="*/ 2693800 w 4044707"/>
                <a:gd name="connsiteY3393" fmla="*/ 437587 h 2907193"/>
                <a:gd name="connsiteX3394" fmla="*/ 2693860 w 4044707"/>
                <a:gd name="connsiteY3394" fmla="*/ 438797 h 2907193"/>
                <a:gd name="connsiteX3395" fmla="*/ 2694193 w 4044707"/>
                <a:gd name="connsiteY3395" fmla="*/ 440098 h 2907193"/>
                <a:gd name="connsiteX3396" fmla="*/ 2694404 w 4044707"/>
                <a:gd name="connsiteY3396" fmla="*/ 441913 h 2907193"/>
                <a:gd name="connsiteX3397" fmla="*/ 2694465 w 4044707"/>
                <a:gd name="connsiteY3397" fmla="*/ 444182 h 2907193"/>
                <a:gd name="connsiteX3398" fmla="*/ 2694979 w 4044707"/>
                <a:gd name="connsiteY3398" fmla="*/ 449083 h 2907193"/>
                <a:gd name="connsiteX3399" fmla="*/ 2695070 w 4044707"/>
                <a:gd name="connsiteY3399" fmla="*/ 451775 h 2907193"/>
                <a:gd name="connsiteX3400" fmla="*/ 2695493 w 4044707"/>
                <a:gd name="connsiteY3400" fmla="*/ 454044 h 2907193"/>
                <a:gd name="connsiteX3401" fmla="*/ 2697399 w 4044707"/>
                <a:gd name="connsiteY3401" fmla="*/ 454649 h 2907193"/>
                <a:gd name="connsiteX3402" fmla="*/ 2697853 w 4044707"/>
                <a:gd name="connsiteY3402" fmla="*/ 457160 h 2907193"/>
                <a:gd name="connsiteX3403" fmla="*/ 2696734 w 4044707"/>
                <a:gd name="connsiteY3403" fmla="*/ 460034 h 2907193"/>
                <a:gd name="connsiteX3404" fmla="*/ 2694223 w 4044707"/>
                <a:gd name="connsiteY3404" fmla="*/ 460245 h 2907193"/>
                <a:gd name="connsiteX3405" fmla="*/ 2691621 w 4044707"/>
                <a:gd name="connsiteY3405" fmla="*/ 459096 h 2907193"/>
                <a:gd name="connsiteX3406" fmla="*/ 2690199 w 4044707"/>
                <a:gd name="connsiteY3406" fmla="*/ 457976 h 2907193"/>
                <a:gd name="connsiteX3407" fmla="*/ 2683756 w 4044707"/>
                <a:gd name="connsiteY3407" fmla="*/ 442669 h 2907193"/>
                <a:gd name="connsiteX3408" fmla="*/ 2680005 w 4044707"/>
                <a:gd name="connsiteY3408" fmla="*/ 436800 h 2907193"/>
                <a:gd name="connsiteX3409" fmla="*/ 2675043 w 4044707"/>
                <a:gd name="connsiteY3409" fmla="*/ 436135 h 2907193"/>
                <a:gd name="connsiteX3410" fmla="*/ 2675649 w 4044707"/>
                <a:gd name="connsiteY3410" fmla="*/ 437738 h 2907193"/>
                <a:gd name="connsiteX3411" fmla="*/ 2675649 w 4044707"/>
                <a:gd name="connsiteY3411" fmla="*/ 439553 h 2907193"/>
                <a:gd name="connsiteX3412" fmla="*/ 2675195 w 4044707"/>
                <a:gd name="connsiteY3412" fmla="*/ 441520 h 2907193"/>
                <a:gd name="connsiteX3413" fmla="*/ 2674317 w 4044707"/>
                <a:gd name="connsiteY3413" fmla="*/ 443516 h 2907193"/>
                <a:gd name="connsiteX3414" fmla="*/ 2675165 w 4044707"/>
                <a:gd name="connsiteY3414" fmla="*/ 446632 h 2907193"/>
                <a:gd name="connsiteX3415" fmla="*/ 2675800 w 4044707"/>
                <a:gd name="connsiteY3415" fmla="*/ 448447 h 2907193"/>
                <a:gd name="connsiteX3416" fmla="*/ 2677827 w 4044707"/>
                <a:gd name="connsiteY3416" fmla="*/ 451714 h 2907193"/>
                <a:gd name="connsiteX3417" fmla="*/ 2684996 w 4044707"/>
                <a:gd name="connsiteY3417" fmla="*/ 456313 h 2907193"/>
                <a:gd name="connsiteX3418" fmla="*/ 2685541 w 4044707"/>
                <a:gd name="connsiteY3418" fmla="*/ 457492 h 2907193"/>
                <a:gd name="connsiteX3419" fmla="*/ 2686872 w 4044707"/>
                <a:gd name="connsiteY3419" fmla="*/ 463210 h 2907193"/>
                <a:gd name="connsiteX3420" fmla="*/ 2687477 w 4044707"/>
                <a:gd name="connsiteY3420" fmla="*/ 465176 h 2907193"/>
                <a:gd name="connsiteX3421" fmla="*/ 2688717 w 4044707"/>
                <a:gd name="connsiteY3421" fmla="*/ 467173 h 2907193"/>
                <a:gd name="connsiteX3422" fmla="*/ 2690078 w 4044707"/>
                <a:gd name="connsiteY3422" fmla="*/ 468776 h 2907193"/>
                <a:gd name="connsiteX3423" fmla="*/ 2692983 w 4044707"/>
                <a:gd name="connsiteY3423" fmla="*/ 470743 h 2907193"/>
                <a:gd name="connsiteX3424" fmla="*/ 2692983 w 4044707"/>
                <a:gd name="connsiteY3424" fmla="*/ 472527 h 2907193"/>
                <a:gd name="connsiteX3425" fmla="*/ 2688566 w 4044707"/>
                <a:gd name="connsiteY3425" fmla="*/ 472043 h 2907193"/>
                <a:gd name="connsiteX3426" fmla="*/ 2686720 w 4044707"/>
                <a:gd name="connsiteY3426" fmla="*/ 470924 h 2907193"/>
                <a:gd name="connsiteX3427" fmla="*/ 2681457 w 4044707"/>
                <a:gd name="connsiteY3427" fmla="*/ 465055 h 2907193"/>
                <a:gd name="connsiteX3428" fmla="*/ 2679551 w 4044707"/>
                <a:gd name="connsiteY3428" fmla="*/ 463936 h 2907193"/>
                <a:gd name="connsiteX3429" fmla="*/ 2677191 w 4044707"/>
                <a:gd name="connsiteY3429" fmla="*/ 463512 h 2907193"/>
                <a:gd name="connsiteX3430" fmla="*/ 2676163 w 4044707"/>
                <a:gd name="connsiteY3430" fmla="*/ 462635 h 2907193"/>
                <a:gd name="connsiteX3431" fmla="*/ 2674499 w 4044707"/>
                <a:gd name="connsiteY3431" fmla="*/ 458793 h 2907193"/>
                <a:gd name="connsiteX3432" fmla="*/ 2673380 w 4044707"/>
                <a:gd name="connsiteY3432" fmla="*/ 457916 h 2907193"/>
                <a:gd name="connsiteX3433" fmla="*/ 2670415 w 4044707"/>
                <a:gd name="connsiteY3433" fmla="*/ 457281 h 2907193"/>
                <a:gd name="connsiteX3434" fmla="*/ 2668782 w 4044707"/>
                <a:gd name="connsiteY3434" fmla="*/ 456434 h 2907193"/>
                <a:gd name="connsiteX3435" fmla="*/ 2665454 w 4044707"/>
                <a:gd name="connsiteY3435" fmla="*/ 453469 h 2907193"/>
                <a:gd name="connsiteX3436" fmla="*/ 2662580 w 4044707"/>
                <a:gd name="connsiteY3436" fmla="*/ 452501 h 2907193"/>
                <a:gd name="connsiteX3437" fmla="*/ 2659948 w 4044707"/>
                <a:gd name="connsiteY3437" fmla="*/ 453166 h 2907193"/>
                <a:gd name="connsiteX3438" fmla="*/ 2658557 w 4044707"/>
                <a:gd name="connsiteY3438" fmla="*/ 456282 h 2907193"/>
                <a:gd name="connsiteX3439" fmla="*/ 2660916 w 4044707"/>
                <a:gd name="connsiteY3439" fmla="*/ 457734 h 2907193"/>
                <a:gd name="connsiteX3440" fmla="*/ 2665091 w 4044707"/>
                <a:gd name="connsiteY3440" fmla="*/ 464844 h 2907193"/>
                <a:gd name="connsiteX3441" fmla="*/ 2667511 w 4044707"/>
                <a:gd name="connsiteY3441" fmla="*/ 467112 h 2907193"/>
                <a:gd name="connsiteX3442" fmla="*/ 2665575 w 4044707"/>
                <a:gd name="connsiteY3442" fmla="*/ 468595 h 2907193"/>
                <a:gd name="connsiteX3443" fmla="*/ 2658587 w 4044707"/>
                <a:gd name="connsiteY3443" fmla="*/ 467112 h 2907193"/>
                <a:gd name="connsiteX3444" fmla="*/ 2659071 w 4044707"/>
                <a:gd name="connsiteY3444" fmla="*/ 468474 h 2907193"/>
                <a:gd name="connsiteX3445" fmla="*/ 2659918 w 4044707"/>
                <a:gd name="connsiteY3445" fmla="*/ 472497 h 2907193"/>
                <a:gd name="connsiteX3446" fmla="*/ 2658466 w 4044707"/>
                <a:gd name="connsiteY3446" fmla="*/ 472043 h 2907193"/>
                <a:gd name="connsiteX3447" fmla="*/ 2656408 w 4044707"/>
                <a:gd name="connsiteY3447" fmla="*/ 470349 h 2907193"/>
                <a:gd name="connsiteX3448" fmla="*/ 2654593 w 4044707"/>
                <a:gd name="connsiteY3448" fmla="*/ 468111 h 2907193"/>
                <a:gd name="connsiteX3449" fmla="*/ 2652869 w 4044707"/>
                <a:gd name="connsiteY3449" fmla="*/ 463452 h 2907193"/>
                <a:gd name="connsiteX3450" fmla="*/ 2650782 w 4044707"/>
                <a:gd name="connsiteY3450" fmla="*/ 462151 h 2907193"/>
                <a:gd name="connsiteX3451" fmla="*/ 2646849 w 4044707"/>
                <a:gd name="connsiteY3451" fmla="*/ 461667 h 2907193"/>
                <a:gd name="connsiteX3452" fmla="*/ 2652537 w 4044707"/>
                <a:gd name="connsiteY3452" fmla="*/ 474342 h 2907193"/>
                <a:gd name="connsiteX3453" fmla="*/ 2660825 w 4044707"/>
                <a:gd name="connsiteY3453" fmla="*/ 478366 h 2907193"/>
                <a:gd name="connsiteX3454" fmla="*/ 2677978 w 4044707"/>
                <a:gd name="connsiteY3454" fmla="*/ 481300 h 2907193"/>
                <a:gd name="connsiteX3455" fmla="*/ 2673017 w 4044707"/>
                <a:gd name="connsiteY3455" fmla="*/ 484991 h 2907193"/>
                <a:gd name="connsiteX3456" fmla="*/ 2656469 w 4044707"/>
                <a:gd name="connsiteY3456" fmla="*/ 485082 h 2907193"/>
                <a:gd name="connsiteX3457" fmla="*/ 2657891 w 4044707"/>
                <a:gd name="connsiteY3457" fmla="*/ 485778 h 2907193"/>
                <a:gd name="connsiteX3458" fmla="*/ 2661339 w 4044707"/>
                <a:gd name="connsiteY3458" fmla="*/ 490466 h 2907193"/>
                <a:gd name="connsiteX3459" fmla="*/ 2665393 w 4044707"/>
                <a:gd name="connsiteY3459" fmla="*/ 492191 h 2907193"/>
                <a:gd name="connsiteX3460" fmla="*/ 2667269 w 4044707"/>
                <a:gd name="connsiteY3460" fmla="*/ 493915 h 2907193"/>
                <a:gd name="connsiteX3461" fmla="*/ 2668267 w 4044707"/>
                <a:gd name="connsiteY3461" fmla="*/ 497666 h 2907193"/>
                <a:gd name="connsiteX3462" fmla="*/ 2665151 w 4044707"/>
                <a:gd name="connsiteY3462" fmla="*/ 497485 h 2907193"/>
                <a:gd name="connsiteX3463" fmla="*/ 2655864 w 4044707"/>
                <a:gd name="connsiteY3463" fmla="*/ 490466 h 2907193"/>
                <a:gd name="connsiteX3464" fmla="*/ 2642372 w 4044707"/>
                <a:gd name="connsiteY3464" fmla="*/ 488682 h 2907193"/>
                <a:gd name="connsiteX3465" fmla="*/ 2640648 w 4044707"/>
                <a:gd name="connsiteY3465" fmla="*/ 489347 h 2907193"/>
                <a:gd name="connsiteX3466" fmla="*/ 2637622 w 4044707"/>
                <a:gd name="connsiteY3466" fmla="*/ 492100 h 2907193"/>
                <a:gd name="connsiteX3467" fmla="*/ 2635777 w 4044707"/>
                <a:gd name="connsiteY3467" fmla="*/ 492433 h 2907193"/>
                <a:gd name="connsiteX3468" fmla="*/ 2634325 w 4044707"/>
                <a:gd name="connsiteY3468" fmla="*/ 491616 h 2907193"/>
                <a:gd name="connsiteX3469" fmla="*/ 2631965 w 4044707"/>
                <a:gd name="connsiteY3469" fmla="*/ 489196 h 2907193"/>
                <a:gd name="connsiteX3470" fmla="*/ 2630211 w 4044707"/>
                <a:gd name="connsiteY3470" fmla="*/ 488682 h 2907193"/>
                <a:gd name="connsiteX3471" fmla="*/ 2629485 w 4044707"/>
                <a:gd name="connsiteY3471" fmla="*/ 489256 h 2907193"/>
                <a:gd name="connsiteX3472" fmla="*/ 2628456 w 4044707"/>
                <a:gd name="connsiteY3472" fmla="*/ 491828 h 2907193"/>
                <a:gd name="connsiteX3473" fmla="*/ 2627851 w 4044707"/>
                <a:gd name="connsiteY3473" fmla="*/ 492433 h 2907193"/>
                <a:gd name="connsiteX3474" fmla="*/ 2627125 w 4044707"/>
                <a:gd name="connsiteY3474" fmla="*/ 492161 h 2907193"/>
                <a:gd name="connsiteX3475" fmla="*/ 2625915 w 4044707"/>
                <a:gd name="connsiteY3475" fmla="*/ 490830 h 2907193"/>
                <a:gd name="connsiteX3476" fmla="*/ 2622981 w 4044707"/>
                <a:gd name="connsiteY3476" fmla="*/ 489317 h 2907193"/>
                <a:gd name="connsiteX3477" fmla="*/ 2621831 w 4044707"/>
                <a:gd name="connsiteY3477" fmla="*/ 489226 h 2907193"/>
                <a:gd name="connsiteX3478" fmla="*/ 2620621 w 4044707"/>
                <a:gd name="connsiteY3478" fmla="*/ 490497 h 2907193"/>
                <a:gd name="connsiteX3479" fmla="*/ 2621075 w 4044707"/>
                <a:gd name="connsiteY3479" fmla="*/ 493068 h 2907193"/>
                <a:gd name="connsiteX3480" fmla="*/ 2621377 w 4044707"/>
                <a:gd name="connsiteY3480" fmla="*/ 494097 h 2907193"/>
                <a:gd name="connsiteX3481" fmla="*/ 2618685 w 4044707"/>
                <a:gd name="connsiteY3481" fmla="*/ 497061 h 2907193"/>
                <a:gd name="connsiteX3482" fmla="*/ 2617294 w 4044707"/>
                <a:gd name="connsiteY3482" fmla="*/ 497787 h 2907193"/>
                <a:gd name="connsiteX3483" fmla="*/ 2615811 w 4044707"/>
                <a:gd name="connsiteY3483" fmla="*/ 497666 h 2907193"/>
                <a:gd name="connsiteX3484" fmla="*/ 2615811 w 4044707"/>
                <a:gd name="connsiteY3484" fmla="*/ 499451 h 2907193"/>
                <a:gd name="connsiteX3485" fmla="*/ 2625129 w 4044707"/>
                <a:gd name="connsiteY3485" fmla="*/ 500207 h 2907193"/>
                <a:gd name="connsiteX3486" fmla="*/ 2633599 w 4044707"/>
                <a:gd name="connsiteY3486" fmla="*/ 498120 h 2907193"/>
                <a:gd name="connsiteX3487" fmla="*/ 2636503 w 4044707"/>
                <a:gd name="connsiteY3487" fmla="*/ 498816 h 2907193"/>
                <a:gd name="connsiteX3488" fmla="*/ 2639135 w 4044707"/>
                <a:gd name="connsiteY3488" fmla="*/ 501236 h 2907193"/>
                <a:gd name="connsiteX3489" fmla="*/ 2635595 w 4044707"/>
                <a:gd name="connsiteY3489" fmla="*/ 501357 h 2907193"/>
                <a:gd name="connsiteX3490" fmla="*/ 2633902 w 4044707"/>
                <a:gd name="connsiteY3490" fmla="*/ 501932 h 2907193"/>
                <a:gd name="connsiteX3491" fmla="*/ 2632238 w 4044707"/>
                <a:gd name="connsiteY3491" fmla="*/ 503172 h 2907193"/>
                <a:gd name="connsiteX3492" fmla="*/ 2633871 w 4044707"/>
                <a:gd name="connsiteY3492" fmla="*/ 506016 h 2907193"/>
                <a:gd name="connsiteX3493" fmla="*/ 2635807 w 4044707"/>
                <a:gd name="connsiteY3493" fmla="*/ 507014 h 2907193"/>
                <a:gd name="connsiteX3494" fmla="*/ 2639861 w 4044707"/>
                <a:gd name="connsiteY3494" fmla="*/ 506772 h 2907193"/>
                <a:gd name="connsiteX3495" fmla="*/ 2638470 w 4044707"/>
                <a:gd name="connsiteY3495" fmla="*/ 508406 h 2907193"/>
                <a:gd name="connsiteX3496" fmla="*/ 2640496 w 4044707"/>
                <a:gd name="connsiteY3496" fmla="*/ 511431 h 2907193"/>
                <a:gd name="connsiteX3497" fmla="*/ 2641253 w 4044707"/>
                <a:gd name="connsiteY3497" fmla="*/ 512127 h 2907193"/>
                <a:gd name="connsiteX3498" fmla="*/ 2619472 w 4044707"/>
                <a:gd name="connsiteY3498" fmla="*/ 510402 h 2907193"/>
                <a:gd name="connsiteX3499" fmla="*/ 2617687 w 4044707"/>
                <a:gd name="connsiteY3499" fmla="*/ 511945 h 2907193"/>
                <a:gd name="connsiteX3500" fmla="*/ 2618534 w 4044707"/>
                <a:gd name="connsiteY3500" fmla="*/ 515545 h 2907193"/>
                <a:gd name="connsiteX3501" fmla="*/ 2620500 w 4044707"/>
                <a:gd name="connsiteY3501" fmla="*/ 516725 h 2907193"/>
                <a:gd name="connsiteX3502" fmla="*/ 2628759 w 4044707"/>
                <a:gd name="connsiteY3502" fmla="*/ 515545 h 2907193"/>
                <a:gd name="connsiteX3503" fmla="*/ 2627579 w 4044707"/>
                <a:gd name="connsiteY3503" fmla="*/ 518207 h 2907193"/>
                <a:gd name="connsiteX3504" fmla="*/ 2627004 w 4044707"/>
                <a:gd name="connsiteY3504" fmla="*/ 518842 h 2907193"/>
                <a:gd name="connsiteX3505" fmla="*/ 2626067 w 4044707"/>
                <a:gd name="connsiteY3505" fmla="*/ 519266 h 2907193"/>
                <a:gd name="connsiteX3506" fmla="*/ 2626067 w 4044707"/>
                <a:gd name="connsiteY3506" fmla="*/ 521051 h 2907193"/>
                <a:gd name="connsiteX3507" fmla="*/ 2632026 w 4044707"/>
                <a:gd name="connsiteY3507" fmla="*/ 523289 h 2907193"/>
                <a:gd name="connsiteX3508" fmla="*/ 2635081 w 4044707"/>
                <a:gd name="connsiteY3508" fmla="*/ 523350 h 2907193"/>
                <a:gd name="connsiteX3509" fmla="*/ 2636382 w 4044707"/>
                <a:gd name="connsiteY3509" fmla="*/ 520173 h 2907193"/>
                <a:gd name="connsiteX3510" fmla="*/ 2636927 w 4044707"/>
                <a:gd name="connsiteY3510" fmla="*/ 517753 h 2907193"/>
                <a:gd name="connsiteX3511" fmla="*/ 2638046 w 4044707"/>
                <a:gd name="connsiteY3511" fmla="*/ 519901 h 2907193"/>
                <a:gd name="connsiteX3512" fmla="*/ 2639014 w 4044707"/>
                <a:gd name="connsiteY3512" fmla="*/ 523320 h 2907193"/>
                <a:gd name="connsiteX3513" fmla="*/ 2639135 w 4044707"/>
                <a:gd name="connsiteY3513" fmla="*/ 524651 h 2907193"/>
                <a:gd name="connsiteX3514" fmla="*/ 2638954 w 4044707"/>
                <a:gd name="connsiteY3514" fmla="*/ 525104 h 2907193"/>
                <a:gd name="connsiteX3515" fmla="*/ 2638742 w 4044707"/>
                <a:gd name="connsiteY3515" fmla="*/ 526375 h 2907193"/>
                <a:gd name="connsiteX3516" fmla="*/ 2638954 w 4044707"/>
                <a:gd name="connsiteY3516" fmla="*/ 527646 h 2907193"/>
                <a:gd name="connsiteX3517" fmla="*/ 2639831 w 4044707"/>
                <a:gd name="connsiteY3517" fmla="*/ 528251 h 2907193"/>
                <a:gd name="connsiteX3518" fmla="*/ 2640436 w 4044707"/>
                <a:gd name="connsiteY3518" fmla="*/ 528069 h 2907193"/>
                <a:gd name="connsiteX3519" fmla="*/ 2642644 w 4044707"/>
                <a:gd name="connsiteY3519" fmla="*/ 526466 h 2907193"/>
                <a:gd name="connsiteX3520" fmla="*/ 2636715 w 4044707"/>
                <a:gd name="connsiteY3520" fmla="*/ 533605 h 2907193"/>
                <a:gd name="connsiteX3521" fmla="*/ 2622436 w 4044707"/>
                <a:gd name="connsiteY3521" fmla="*/ 531639 h 2907193"/>
                <a:gd name="connsiteX3522" fmla="*/ 2615781 w 4044707"/>
                <a:gd name="connsiteY3522" fmla="*/ 535390 h 2907193"/>
                <a:gd name="connsiteX3523" fmla="*/ 2616840 w 4044707"/>
                <a:gd name="connsiteY3523" fmla="*/ 535390 h 2907193"/>
                <a:gd name="connsiteX3524" fmla="*/ 2617868 w 4044707"/>
                <a:gd name="connsiteY3524" fmla="*/ 535723 h 2907193"/>
                <a:gd name="connsiteX3525" fmla="*/ 2619865 w 4044707"/>
                <a:gd name="connsiteY3525" fmla="*/ 537175 h 2907193"/>
                <a:gd name="connsiteX3526" fmla="*/ 2619381 w 4044707"/>
                <a:gd name="connsiteY3526" fmla="*/ 538718 h 2907193"/>
                <a:gd name="connsiteX3527" fmla="*/ 2619169 w 4044707"/>
                <a:gd name="connsiteY3527" fmla="*/ 539686 h 2907193"/>
                <a:gd name="connsiteX3528" fmla="*/ 2618806 w 4044707"/>
                <a:gd name="connsiteY3528" fmla="*/ 540351 h 2907193"/>
                <a:gd name="connsiteX3529" fmla="*/ 2617778 w 4044707"/>
                <a:gd name="connsiteY3529" fmla="*/ 540896 h 2907193"/>
                <a:gd name="connsiteX3530" fmla="*/ 2617778 w 4044707"/>
                <a:gd name="connsiteY3530" fmla="*/ 542529 h 2907193"/>
                <a:gd name="connsiteX3531" fmla="*/ 2625401 w 4044707"/>
                <a:gd name="connsiteY3531" fmla="*/ 542529 h 2907193"/>
                <a:gd name="connsiteX3532" fmla="*/ 2632964 w 4044707"/>
                <a:gd name="connsiteY3532" fmla="*/ 546250 h 2907193"/>
                <a:gd name="connsiteX3533" fmla="*/ 2636261 w 4044707"/>
                <a:gd name="connsiteY3533" fmla="*/ 545978 h 2907193"/>
                <a:gd name="connsiteX3534" fmla="*/ 2645337 w 4044707"/>
                <a:gd name="connsiteY3534" fmla="*/ 540896 h 2907193"/>
                <a:gd name="connsiteX3535" fmla="*/ 2642523 w 4044707"/>
                <a:gd name="connsiteY3535" fmla="*/ 545343 h 2907193"/>
                <a:gd name="connsiteX3536" fmla="*/ 2633629 w 4044707"/>
                <a:gd name="connsiteY3536" fmla="*/ 551574 h 2907193"/>
                <a:gd name="connsiteX3537" fmla="*/ 2633932 w 4044707"/>
                <a:gd name="connsiteY3537" fmla="*/ 552482 h 2907193"/>
                <a:gd name="connsiteX3538" fmla="*/ 2634113 w 4044707"/>
                <a:gd name="connsiteY3538" fmla="*/ 553359 h 2907193"/>
                <a:gd name="connsiteX3539" fmla="*/ 2634416 w 4044707"/>
                <a:gd name="connsiteY3539" fmla="*/ 554176 h 2907193"/>
                <a:gd name="connsiteX3540" fmla="*/ 2634991 w 4044707"/>
                <a:gd name="connsiteY3540" fmla="*/ 554932 h 2907193"/>
                <a:gd name="connsiteX3541" fmla="*/ 2633599 w 4044707"/>
                <a:gd name="connsiteY3541" fmla="*/ 558653 h 2907193"/>
                <a:gd name="connsiteX3542" fmla="*/ 2631300 w 4044707"/>
                <a:gd name="connsiteY3542" fmla="*/ 558865 h 2907193"/>
                <a:gd name="connsiteX3543" fmla="*/ 2626823 w 4044707"/>
                <a:gd name="connsiteY3543" fmla="*/ 556899 h 2907193"/>
                <a:gd name="connsiteX3544" fmla="*/ 2617142 w 4044707"/>
                <a:gd name="connsiteY3544" fmla="*/ 560257 h 2907193"/>
                <a:gd name="connsiteX3545" fmla="*/ 2617535 w 4044707"/>
                <a:gd name="connsiteY3545" fmla="*/ 566065 h 2907193"/>
                <a:gd name="connsiteX3546" fmla="*/ 2615115 w 4044707"/>
                <a:gd name="connsiteY3546" fmla="*/ 566065 h 2907193"/>
                <a:gd name="connsiteX3547" fmla="*/ 2609519 w 4044707"/>
                <a:gd name="connsiteY3547" fmla="*/ 562193 h 2907193"/>
                <a:gd name="connsiteX3548" fmla="*/ 2606494 w 4044707"/>
                <a:gd name="connsiteY3548" fmla="*/ 565067 h 2907193"/>
                <a:gd name="connsiteX3549" fmla="*/ 2605132 w 4044707"/>
                <a:gd name="connsiteY3549" fmla="*/ 570240 h 2907193"/>
                <a:gd name="connsiteX3550" fmla="*/ 2605798 w 4044707"/>
                <a:gd name="connsiteY3550" fmla="*/ 574929 h 2907193"/>
                <a:gd name="connsiteX3551" fmla="*/ 2608823 w 4044707"/>
                <a:gd name="connsiteY3551" fmla="*/ 576350 h 2907193"/>
                <a:gd name="connsiteX3552" fmla="*/ 2733701 w 4044707"/>
                <a:gd name="connsiteY3552" fmla="*/ 443456 h 2907193"/>
                <a:gd name="connsiteX3553" fmla="*/ 2739479 w 4044707"/>
                <a:gd name="connsiteY3553" fmla="*/ 443547 h 2907193"/>
                <a:gd name="connsiteX3554" fmla="*/ 2741778 w 4044707"/>
                <a:gd name="connsiteY3554" fmla="*/ 445331 h 2907193"/>
                <a:gd name="connsiteX3555" fmla="*/ 2745832 w 4044707"/>
                <a:gd name="connsiteY3555" fmla="*/ 451805 h 2907193"/>
                <a:gd name="connsiteX3556" fmla="*/ 2748373 w 4044707"/>
                <a:gd name="connsiteY3556" fmla="*/ 454377 h 2907193"/>
                <a:gd name="connsiteX3557" fmla="*/ 2755210 w 4044707"/>
                <a:gd name="connsiteY3557" fmla="*/ 454377 h 2907193"/>
                <a:gd name="connsiteX3558" fmla="*/ 2777717 w 4044707"/>
                <a:gd name="connsiteY3558" fmla="*/ 446995 h 2907193"/>
                <a:gd name="connsiteX3559" fmla="*/ 2785219 w 4044707"/>
                <a:gd name="connsiteY3559" fmla="*/ 447146 h 2907193"/>
                <a:gd name="connsiteX3560" fmla="*/ 2787155 w 4044707"/>
                <a:gd name="connsiteY3560" fmla="*/ 446330 h 2907193"/>
                <a:gd name="connsiteX3561" fmla="*/ 2790604 w 4044707"/>
                <a:gd name="connsiteY3561" fmla="*/ 442700 h 2907193"/>
                <a:gd name="connsiteX3562" fmla="*/ 2791814 w 4044707"/>
                <a:gd name="connsiteY3562" fmla="*/ 441883 h 2907193"/>
                <a:gd name="connsiteX3563" fmla="*/ 2802493 w 4044707"/>
                <a:gd name="connsiteY3563" fmla="*/ 445210 h 2907193"/>
                <a:gd name="connsiteX3564" fmla="*/ 2806244 w 4044707"/>
                <a:gd name="connsiteY3564" fmla="*/ 443516 h 2907193"/>
                <a:gd name="connsiteX3565" fmla="*/ 2811629 w 4044707"/>
                <a:gd name="connsiteY3565" fmla="*/ 438464 h 2907193"/>
                <a:gd name="connsiteX3566" fmla="*/ 2812990 w 4044707"/>
                <a:gd name="connsiteY3566" fmla="*/ 434864 h 2907193"/>
                <a:gd name="connsiteX3567" fmla="*/ 2812113 w 4044707"/>
                <a:gd name="connsiteY3567" fmla="*/ 429933 h 2907193"/>
                <a:gd name="connsiteX3568" fmla="*/ 2810570 w 4044707"/>
                <a:gd name="connsiteY3568" fmla="*/ 428209 h 2907193"/>
                <a:gd name="connsiteX3569" fmla="*/ 2808664 w 4044707"/>
                <a:gd name="connsiteY3569" fmla="*/ 427604 h 2907193"/>
                <a:gd name="connsiteX3570" fmla="*/ 2807030 w 4044707"/>
                <a:gd name="connsiteY3570" fmla="*/ 426606 h 2907193"/>
                <a:gd name="connsiteX3571" fmla="*/ 2806244 w 4044707"/>
                <a:gd name="connsiteY3571" fmla="*/ 423611 h 2907193"/>
                <a:gd name="connsiteX3572" fmla="*/ 2806637 w 4044707"/>
                <a:gd name="connsiteY3572" fmla="*/ 421372 h 2907193"/>
                <a:gd name="connsiteX3573" fmla="*/ 2807605 w 4044707"/>
                <a:gd name="connsiteY3573" fmla="*/ 418559 h 2907193"/>
                <a:gd name="connsiteX3574" fmla="*/ 2808755 w 4044707"/>
                <a:gd name="connsiteY3574" fmla="*/ 415927 h 2907193"/>
                <a:gd name="connsiteX3575" fmla="*/ 2809693 w 4044707"/>
                <a:gd name="connsiteY3575" fmla="*/ 414354 h 2907193"/>
                <a:gd name="connsiteX3576" fmla="*/ 2813232 w 4044707"/>
                <a:gd name="connsiteY3576" fmla="*/ 412267 h 2907193"/>
                <a:gd name="connsiteX3577" fmla="*/ 2817134 w 4044707"/>
                <a:gd name="connsiteY3577" fmla="*/ 411510 h 2907193"/>
                <a:gd name="connsiteX3578" fmla="*/ 2820885 w 4044707"/>
                <a:gd name="connsiteY3578" fmla="*/ 409695 h 2907193"/>
                <a:gd name="connsiteX3579" fmla="*/ 2826452 w 4044707"/>
                <a:gd name="connsiteY3579" fmla="*/ 400499 h 2907193"/>
                <a:gd name="connsiteX3580" fmla="*/ 2832835 w 4044707"/>
                <a:gd name="connsiteY3580" fmla="*/ 397746 h 2907193"/>
                <a:gd name="connsiteX3581" fmla="*/ 2835255 w 4044707"/>
                <a:gd name="connsiteY3581" fmla="*/ 392482 h 2907193"/>
                <a:gd name="connsiteX3582" fmla="*/ 2835588 w 4044707"/>
                <a:gd name="connsiteY3582" fmla="*/ 386160 h 2907193"/>
                <a:gd name="connsiteX3583" fmla="*/ 2833924 w 4044707"/>
                <a:gd name="connsiteY3583" fmla="*/ 382106 h 2907193"/>
                <a:gd name="connsiteX3584" fmla="*/ 2831473 w 4044707"/>
                <a:gd name="connsiteY3584" fmla="*/ 378899 h 2907193"/>
                <a:gd name="connsiteX3585" fmla="*/ 2829386 w 4044707"/>
                <a:gd name="connsiteY3585" fmla="*/ 375027 h 2907193"/>
                <a:gd name="connsiteX3586" fmla="*/ 2828085 w 4044707"/>
                <a:gd name="connsiteY3586" fmla="*/ 373635 h 2907193"/>
                <a:gd name="connsiteX3587" fmla="*/ 2819252 w 4044707"/>
                <a:gd name="connsiteY3587" fmla="*/ 369794 h 2907193"/>
                <a:gd name="connsiteX3588" fmla="*/ 2815289 w 4044707"/>
                <a:gd name="connsiteY3588" fmla="*/ 370792 h 2907193"/>
                <a:gd name="connsiteX3589" fmla="*/ 2813141 w 4044707"/>
                <a:gd name="connsiteY3589" fmla="*/ 370520 h 2907193"/>
                <a:gd name="connsiteX3590" fmla="*/ 2813807 w 4044707"/>
                <a:gd name="connsiteY3590" fmla="*/ 367434 h 2907193"/>
                <a:gd name="connsiteX3591" fmla="*/ 2814261 w 4044707"/>
                <a:gd name="connsiteY3591" fmla="*/ 366224 h 2907193"/>
                <a:gd name="connsiteX3592" fmla="*/ 2815168 w 4044707"/>
                <a:gd name="connsiteY3592" fmla="*/ 365044 h 2907193"/>
                <a:gd name="connsiteX3593" fmla="*/ 2813504 w 4044707"/>
                <a:gd name="connsiteY3593" fmla="*/ 361777 h 2907193"/>
                <a:gd name="connsiteX3594" fmla="*/ 2811538 w 4044707"/>
                <a:gd name="connsiteY3594" fmla="*/ 359599 h 2907193"/>
                <a:gd name="connsiteX3595" fmla="*/ 2809451 w 4044707"/>
                <a:gd name="connsiteY3595" fmla="*/ 359236 h 2907193"/>
                <a:gd name="connsiteX3596" fmla="*/ 2807605 w 4044707"/>
                <a:gd name="connsiteY3596" fmla="*/ 361353 h 2907193"/>
                <a:gd name="connsiteX3597" fmla="*/ 2808967 w 4044707"/>
                <a:gd name="connsiteY3597" fmla="*/ 363047 h 2907193"/>
                <a:gd name="connsiteX3598" fmla="*/ 2805669 w 4044707"/>
                <a:gd name="connsiteY3598" fmla="*/ 363985 h 2907193"/>
                <a:gd name="connsiteX3599" fmla="*/ 2801041 w 4044707"/>
                <a:gd name="connsiteY3599" fmla="*/ 360809 h 2907193"/>
                <a:gd name="connsiteX3600" fmla="*/ 2797108 w 4044707"/>
                <a:gd name="connsiteY3600" fmla="*/ 359629 h 2907193"/>
                <a:gd name="connsiteX3601" fmla="*/ 2795898 w 4044707"/>
                <a:gd name="connsiteY3601" fmla="*/ 366708 h 2907193"/>
                <a:gd name="connsiteX3602" fmla="*/ 2796624 w 4044707"/>
                <a:gd name="connsiteY3602" fmla="*/ 370066 h 2907193"/>
                <a:gd name="connsiteX3603" fmla="*/ 2798106 w 4044707"/>
                <a:gd name="connsiteY3603" fmla="*/ 373182 h 2907193"/>
                <a:gd name="connsiteX3604" fmla="*/ 2806728 w 4044707"/>
                <a:gd name="connsiteY3604" fmla="*/ 383891 h 2907193"/>
                <a:gd name="connsiteX3605" fmla="*/ 2808271 w 4044707"/>
                <a:gd name="connsiteY3605" fmla="*/ 387037 h 2907193"/>
                <a:gd name="connsiteX3606" fmla="*/ 2804943 w 4044707"/>
                <a:gd name="connsiteY3606" fmla="*/ 395598 h 2907193"/>
                <a:gd name="connsiteX3607" fmla="*/ 2803370 w 4044707"/>
                <a:gd name="connsiteY3607" fmla="*/ 404038 h 2907193"/>
                <a:gd name="connsiteX3608" fmla="*/ 2802947 w 4044707"/>
                <a:gd name="connsiteY3608" fmla="*/ 407850 h 2907193"/>
                <a:gd name="connsiteX3609" fmla="*/ 2803491 w 4044707"/>
                <a:gd name="connsiteY3609" fmla="*/ 410905 h 2907193"/>
                <a:gd name="connsiteX3610" fmla="*/ 2805518 w 4044707"/>
                <a:gd name="connsiteY3610" fmla="*/ 412720 h 2907193"/>
                <a:gd name="connsiteX3611" fmla="*/ 2799982 w 4044707"/>
                <a:gd name="connsiteY3611" fmla="*/ 412962 h 2907193"/>
                <a:gd name="connsiteX3612" fmla="*/ 2795535 w 4044707"/>
                <a:gd name="connsiteY3612" fmla="*/ 406005 h 2907193"/>
                <a:gd name="connsiteX3613" fmla="*/ 2793326 w 4044707"/>
                <a:gd name="connsiteY3613" fmla="*/ 394600 h 2907193"/>
                <a:gd name="connsiteX3614" fmla="*/ 2794537 w 4044707"/>
                <a:gd name="connsiteY3614" fmla="*/ 381531 h 2907193"/>
                <a:gd name="connsiteX3615" fmla="*/ 2787700 w 4044707"/>
                <a:gd name="connsiteY3615" fmla="*/ 381834 h 2907193"/>
                <a:gd name="connsiteX3616" fmla="*/ 2784856 w 4044707"/>
                <a:gd name="connsiteY3616" fmla="*/ 383679 h 2907193"/>
                <a:gd name="connsiteX3617" fmla="*/ 2782466 w 4044707"/>
                <a:gd name="connsiteY3617" fmla="*/ 387944 h 2907193"/>
                <a:gd name="connsiteX3618" fmla="*/ 2781256 w 4044707"/>
                <a:gd name="connsiteY3618" fmla="*/ 392845 h 2907193"/>
                <a:gd name="connsiteX3619" fmla="*/ 2780530 w 4044707"/>
                <a:gd name="connsiteY3619" fmla="*/ 394993 h 2907193"/>
                <a:gd name="connsiteX3620" fmla="*/ 2779411 w 4044707"/>
                <a:gd name="connsiteY3620" fmla="*/ 396143 h 2907193"/>
                <a:gd name="connsiteX3621" fmla="*/ 2777475 w 4044707"/>
                <a:gd name="connsiteY3621" fmla="*/ 395840 h 2907193"/>
                <a:gd name="connsiteX3622" fmla="*/ 2777354 w 4044707"/>
                <a:gd name="connsiteY3622" fmla="*/ 393722 h 2907193"/>
                <a:gd name="connsiteX3623" fmla="*/ 2777777 w 4044707"/>
                <a:gd name="connsiteY3623" fmla="*/ 391000 h 2907193"/>
                <a:gd name="connsiteX3624" fmla="*/ 2777354 w 4044707"/>
                <a:gd name="connsiteY3624" fmla="*/ 388822 h 2907193"/>
                <a:gd name="connsiteX3625" fmla="*/ 2775781 w 4044707"/>
                <a:gd name="connsiteY3625" fmla="*/ 388035 h 2907193"/>
                <a:gd name="connsiteX3626" fmla="*/ 2772756 w 4044707"/>
                <a:gd name="connsiteY3626" fmla="*/ 389033 h 2907193"/>
                <a:gd name="connsiteX3627" fmla="*/ 2771092 w 4044707"/>
                <a:gd name="connsiteY3627" fmla="*/ 387914 h 2907193"/>
                <a:gd name="connsiteX3628" fmla="*/ 2769398 w 4044707"/>
                <a:gd name="connsiteY3628" fmla="*/ 384828 h 2907193"/>
                <a:gd name="connsiteX3629" fmla="*/ 2768581 w 4044707"/>
                <a:gd name="connsiteY3629" fmla="*/ 383739 h 2907193"/>
                <a:gd name="connsiteX3630" fmla="*/ 2767310 w 4044707"/>
                <a:gd name="connsiteY3630" fmla="*/ 383346 h 2907193"/>
                <a:gd name="connsiteX3631" fmla="*/ 2764739 w 4044707"/>
                <a:gd name="connsiteY3631" fmla="*/ 384617 h 2907193"/>
                <a:gd name="connsiteX3632" fmla="*/ 2762531 w 4044707"/>
                <a:gd name="connsiteY3632" fmla="*/ 387823 h 2907193"/>
                <a:gd name="connsiteX3633" fmla="*/ 2761744 w 4044707"/>
                <a:gd name="connsiteY3633" fmla="*/ 391968 h 2907193"/>
                <a:gd name="connsiteX3634" fmla="*/ 2763529 w 4044707"/>
                <a:gd name="connsiteY3634" fmla="*/ 396143 h 2907193"/>
                <a:gd name="connsiteX3635" fmla="*/ 2764225 w 4044707"/>
                <a:gd name="connsiteY3635" fmla="*/ 401467 h 2907193"/>
                <a:gd name="connsiteX3636" fmla="*/ 2767976 w 4044707"/>
                <a:gd name="connsiteY3636" fmla="*/ 404129 h 2907193"/>
                <a:gd name="connsiteX3637" fmla="*/ 2788577 w 4044707"/>
                <a:gd name="connsiteY3637" fmla="*/ 406519 h 2907193"/>
                <a:gd name="connsiteX3638" fmla="*/ 2792480 w 4044707"/>
                <a:gd name="connsiteY3638" fmla="*/ 408909 h 2907193"/>
                <a:gd name="connsiteX3639" fmla="*/ 2790271 w 4044707"/>
                <a:gd name="connsiteY3639" fmla="*/ 411359 h 2907193"/>
                <a:gd name="connsiteX3640" fmla="*/ 2776961 w 4044707"/>
                <a:gd name="connsiteY3640" fmla="*/ 407094 h 2907193"/>
                <a:gd name="connsiteX3641" fmla="*/ 2764346 w 4044707"/>
                <a:gd name="connsiteY3641" fmla="*/ 408152 h 2907193"/>
                <a:gd name="connsiteX3642" fmla="*/ 2760080 w 4044707"/>
                <a:gd name="connsiteY3642" fmla="*/ 407094 h 2907193"/>
                <a:gd name="connsiteX3643" fmla="*/ 2760716 w 4044707"/>
                <a:gd name="connsiteY3643" fmla="*/ 407094 h 2907193"/>
                <a:gd name="connsiteX3644" fmla="*/ 2750400 w 4044707"/>
                <a:gd name="connsiteY3644" fmla="*/ 405672 h 2907193"/>
                <a:gd name="connsiteX3645" fmla="*/ 2747586 w 4044707"/>
                <a:gd name="connsiteY3645" fmla="*/ 407094 h 2907193"/>
                <a:gd name="connsiteX3646" fmla="*/ 2758114 w 4044707"/>
                <a:gd name="connsiteY3646" fmla="*/ 425698 h 2907193"/>
                <a:gd name="connsiteX3647" fmla="*/ 2759475 w 4044707"/>
                <a:gd name="connsiteY3647" fmla="*/ 426969 h 2907193"/>
                <a:gd name="connsiteX3648" fmla="*/ 2761442 w 4044707"/>
                <a:gd name="connsiteY3648" fmla="*/ 427271 h 2907193"/>
                <a:gd name="connsiteX3649" fmla="*/ 2769095 w 4044707"/>
                <a:gd name="connsiteY3649" fmla="*/ 425305 h 2907193"/>
                <a:gd name="connsiteX3650" fmla="*/ 2768006 w 4044707"/>
                <a:gd name="connsiteY3650" fmla="*/ 426908 h 2907193"/>
                <a:gd name="connsiteX3651" fmla="*/ 2765526 w 4044707"/>
                <a:gd name="connsiteY3651" fmla="*/ 428602 h 2907193"/>
                <a:gd name="connsiteX3652" fmla="*/ 2764527 w 4044707"/>
                <a:gd name="connsiteY3652" fmla="*/ 430024 h 2907193"/>
                <a:gd name="connsiteX3653" fmla="*/ 2763408 w 4044707"/>
                <a:gd name="connsiteY3653" fmla="*/ 431113 h 2907193"/>
                <a:gd name="connsiteX3654" fmla="*/ 2761290 w 4044707"/>
                <a:gd name="connsiteY3654" fmla="*/ 431234 h 2907193"/>
                <a:gd name="connsiteX3655" fmla="*/ 2761472 w 4044707"/>
                <a:gd name="connsiteY3655" fmla="*/ 432747 h 2907193"/>
                <a:gd name="connsiteX3656" fmla="*/ 2760383 w 4044707"/>
                <a:gd name="connsiteY3656" fmla="*/ 433564 h 2907193"/>
                <a:gd name="connsiteX3657" fmla="*/ 2758780 w 4044707"/>
                <a:gd name="connsiteY3657" fmla="*/ 437315 h 2907193"/>
                <a:gd name="connsiteX3658" fmla="*/ 2758054 w 4044707"/>
                <a:gd name="connsiteY3658" fmla="*/ 438192 h 2907193"/>
                <a:gd name="connsiteX3659" fmla="*/ 2756843 w 4044707"/>
                <a:gd name="connsiteY3659" fmla="*/ 437587 h 2907193"/>
                <a:gd name="connsiteX3660" fmla="*/ 2756662 w 4044707"/>
                <a:gd name="connsiteY3660" fmla="*/ 436195 h 2907193"/>
                <a:gd name="connsiteX3661" fmla="*/ 2756965 w 4044707"/>
                <a:gd name="connsiteY3661" fmla="*/ 434895 h 2907193"/>
                <a:gd name="connsiteX3662" fmla="*/ 2757328 w 4044707"/>
                <a:gd name="connsiteY3662" fmla="*/ 434562 h 2907193"/>
                <a:gd name="connsiteX3663" fmla="*/ 2755936 w 4044707"/>
                <a:gd name="connsiteY3663" fmla="*/ 431476 h 2907193"/>
                <a:gd name="connsiteX3664" fmla="*/ 2755210 w 4044707"/>
                <a:gd name="connsiteY3664" fmla="*/ 430327 h 2907193"/>
                <a:gd name="connsiteX3665" fmla="*/ 2752669 w 4044707"/>
                <a:gd name="connsiteY3665" fmla="*/ 428300 h 2907193"/>
                <a:gd name="connsiteX3666" fmla="*/ 2742413 w 4044707"/>
                <a:gd name="connsiteY3666" fmla="*/ 426273 h 2907193"/>
                <a:gd name="connsiteX3667" fmla="*/ 2740084 w 4044707"/>
                <a:gd name="connsiteY3667" fmla="*/ 427271 h 2907193"/>
                <a:gd name="connsiteX3668" fmla="*/ 2737967 w 4044707"/>
                <a:gd name="connsiteY3668" fmla="*/ 429449 h 2907193"/>
                <a:gd name="connsiteX3669" fmla="*/ 2736968 w 4044707"/>
                <a:gd name="connsiteY3669" fmla="*/ 430024 h 2907193"/>
                <a:gd name="connsiteX3670" fmla="*/ 2735849 w 4044707"/>
                <a:gd name="connsiteY3670" fmla="*/ 429570 h 2907193"/>
                <a:gd name="connsiteX3671" fmla="*/ 2733883 w 4044707"/>
                <a:gd name="connsiteY3671" fmla="*/ 427967 h 2907193"/>
                <a:gd name="connsiteX3672" fmla="*/ 2732914 w 4044707"/>
                <a:gd name="connsiteY3672" fmla="*/ 427483 h 2907193"/>
                <a:gd name="connsiteX3673" fmla="*/ 2731795 w 4044707"/>
                <a:gd name="connsiteY3673" fmla="*/ 427241 h 2907193"/>
                <a:gd name="connsiteX3674" fmla="*/ 2732279 w 4044707"/>
                <a:gd name="connsiteY3674" fmla="*/ 429873 h 2907193"/>
                <a:gd name="connsiteX3675" fmla="*/ 2732582 w 4044707"/>
                <a:gd name="connsiteY3675" fmla="*/ 430871 h 2907193"/>
                <a:gd name="connsiteX3676" fmla="*/ 2731432 w 4044707"/>
                <a:gd name="connsiteY3676" fmla="*/ 432263 h 2907193"/>
                <a:gd name="connsiteX3677" fmla="*/ 2729375 w 4044707"/>
                <a:gd name="connsiteY3677" fmla="*/ 435863 h 2907193"/>
                <a:gd name="connsiteX3678" fmla="*/ 2728346 w 4044707"/>
                <a:gd name="connsiteY3678" fmla="*/ 438132 h 2907193"/>
                <a:gd name="connsiteX3679" fmla="*/ 2730918 w 4044707"/>
                <a:gd name="connsiteY3679" fmla="*/ 442246 h 2907193"/>
                <a:gd name="connsiteX3680" fmla="*/ 2733610 w 4044707"/>
                <a:gd name="connsiteY3680" fmla="*/ 443486 h 2907193"/>
                <a:gd name="connsiteX3681" fmla="*/ 3000881 w 4044707"/>
                <a:gd name="connsiteY3681" fmla="*/ 358843 h 2907193"/>
                <a:gd name="connsiteX3682" fmla="*/ 3001910 w 4044707"/>
                <a:gd name="connsiteY3682" fmla="*/ 357663 h 2907193"/>
                <a:gd name="connsiteX3683" fmla="*/ 3002273 w 4044707"/>
                <a:gd name="connsiteY3683" fmla="*/ 357390 h 2907193"/>
                <a:gd name="connsiteX3684" fmla="*/ 3002878 w 4044707"/>
                <a:gd name="connsiteY3684" fmla="*/ 356513 h 2907193"/>
                <a:gd name="connsiteX3685" fmla="*/ 3002818 w 4044707"/>
                <a:gd name="connsiteY3685" fmla="*/ 354728 h 2907193"/>
                <a:gd name="connsiteX3686" fmla="*/ 3001910 w 4044707"/>
                <a:gd name="connsiteY3686" fmla="*/ 353246 h 2907193"/>
                <a:gd name="connsiteX3687" fmla="*/ 2990415 w 4044707"/>
                <a:gd name="connsiteY3687" fmla="*/ 354607 h 2907193"/>
                <a:gd name="connsiteX3688" fmla="*/ 2988206 w 4044707"/>
                <a:gd name="connsiteY3688" fmla="*/ 355515 h 2907193"/>
                <a:gd name="connsiteX3689" fmla="*/ 2986785 w 4044707"/>
                <a:gd name="connsiteY3689" fmla="*/ 356906 h 2907193"/>
                <a:gd name="connsiteX3690" fmla="*/ 2986300 w 4044707"/>
                <a:gd name="connsiteY3690" fmla="*/ 358480 h 2907193"/>
                <a:gd name="connsiteX3691" fmla="*/ 2985998 w 4044707"/>
                <a:gd name="connsiteY3691" fmla="*/ 360718 h 2907193"/>
                <a:gd name="connsiteX3692" fmla="*/ 2985393 w 4044707"/>
                <a:gd name="connsiteY3692" fmla="*/ 362957 h 2907193"/>
                <a:gd name="connsiteX3693" fmla="*/ 2983427 w 4044707"/>
                <a:gd name="connsiteY3693" fmla="*/ 368130 h 2907193"/>
                <a:gd name="connsiteX3694" fmla="*/ 2982761 w 4044707"/>
                <a:gd name="connsiteY3694" fmla="*/ 372093 h 2907193"/>
                <a:gd name="connsiteX3695" fmla="*/ 2983184 w 4044707"/>
                <a:gd name="connsiteY3695" fmla="*/ 376993 h 2907193"/>
                <a:gd name="connsiteX3696" fmla="*/ 2983759 w 4044707"/>
                <a:gd name="connsiteY3696" fmla="*/ 379353 h 2907193"/>
                <a:gd name="connsiteX3697" fmla="*/ 2985907 w 4044707"/>
                <a:gd name="connsiteY3697" fmla="*/ 382529 h 2907193"/>
                <a:gd name="connsiteX3698" fmla="*/ 2991171 w 4044707"/>
                <a:gd name="connsiteY3698" fmla="*/ 384314 h 2907193"/>
                <a:gd name="connsiteX3699" fmla="*/ 2996677 w 4044707"/>
                <a:gd name="connsiteY3699" fmla="*/ 381743 h 2907193"/>
                <a:gd name="connsiteX3700" fmla="*/ 3001305 w 4044707"/>
                <a:gd name="connsiteY3700" fmla="*/ 378022 h 2907193"/>
                <a:gd name="connsiteX3701" fmla="*/ 3002697 w 4044707"/>
                <a:gd name="connsiteY3701" fmla="*/ 372698 h 2907193"/>
                <a:gd name="connsiteX3702" fmla="*/ 3001063 w 4044707"/>
                <a:gd name="connsiteY3702" fmla="*/ 366284 h 2907193"/>
                <a:gd name="connsiteX3703" fmla="*/ 3000277 w 4044707"/>
                <a:gd name="connsiteY3703" fmla="*/ 361747 h 2907193"/>
                <a:gd name="connsiteX3704" fmla="*/ 3000458 w 4044707"/>
                <a:gd name="connsiteY3704" fmla="*/ 360083 h 2907193"/>
                <a:gd name="connsiteX3705" fmla="*/ 3000912 w 4044707"/>
                <a:gd name="connsiteY3705" fmla="*/ 358782 h 2907193"/>
                <a:gd name="connsiteX3706" fmla="*/ 3922854 w 4044707"/>
                <a:gd name="connsiteY3706" fmla="*/ 385192 h 2907193"/>
                <a:gd name="connsiteX3707" fmla="*/ 3924821 w 4044707"/>
                <a:gd name="connsiteY3707" fmla="*/ 387672 h 2907193"/>
                <a:gd name="connsiteX3708" fmla="*/ 3926908 w 4044707"/>
                <a:gd name="connsiteY3708" fmla="*/ 388852 h 2907193"/>
                <a:gd name="connsiteX3709" fmla="*/ 3929298 w 4044707"/>
                <a:gd name="connsiteY3709" fmla="*/ 387551 h 2907193"/>
                <a:gd name="connsiteX3710" fmla="*/ 3934048 w 4044707"/>
                <a:gd name="connsiteY3710" fmla="*/ 382650 h 2907193"/>
                <a:gd name="connsiteX3711" fmla="*/ 3942185 w 4044707"/>
                <a:gd name="connsiteY3711" fmla="*/ 380140 h 2907193"/>
                <a:gd name="connsiteX3712" fmla="*/ 3945241 w 4044707"/>
                <a:gd name="connsiteY3712" fmla="*/ 378143 h 2907193"/>
                <a:gd name="connsiteX3713" fmla="*/ 3947237 w 4044707"/>
                <a:gd name="connsiteY3713" fmla="*/ 375057 h 2907193"/>
                <a:gd name="connsiteX3714" fmla="*/ 3946481 w 4044707"/>
                <a:gd name="connsiteY3714" fmla="*/ 373484 h 2907193"/>
                <a:gd name="connsiteX3715" fmla="*/ 3938555 w 4044707"/>
                <a:gd name="connsiteY3715" fmla="*/ 374059 h 2907193"/>
                <a:gd name="connsiteX3716" fmla="*/ 3938767 w 4044707"/>
                <a:gd name="connsiteY3716" fmla="*/ 372879 h 2907193"/>
                <a:gd name="connsiteX3717" fmla="*/ 3939099 w 4044707"/>
                <a:gd name="connsiteY3717" fmla="*/ 369794 h 2907193"/>
                <a:gd name="connsiteX3718" fmla="*/ 3939281 w 4044707"/>
                <a:gd name="connsiteY3718" fmla="*/ 368553 h 2907193"/>
                <a:gd name="connsiteX3719" fmla="*/ 3936982 w 4044707"/>
                <a:gd name="connsiteY3719" fmla="*/ 365861 h 2907193"/>
                <a:gd name="connsiteX3720" fmla="*/ 3936498 w 4044707"/>
                <a:gd name="connsiteY3720" fmla="*/ 365044 h 2907193"/>
                <a:gd name="connsiteX3721" fmla="*/ 3936074 w 4044707"/>
                <a:gd name="connsiteY3721" fmla="*/ 362775 h 2907193"/>
                <a:gd name="connsiteX3722" fmla="*/ 3936286 w 4044707"/>
                <a:gd name="connsiteY3722" fmla="*/ 359054 h 2907193"/>
                <a:gd name="connsiteX3723" fmla="*/ 3935863 w 4044707"/>
                <a:gd name="connsiteY3723" fmla="*/ 357542 h 2907193"/>
                <a:gd name="connsiteX3724" fmla="*/ 3933503 w 4044707"/>
                <a:gd name="connsiteY3724" fmla="*/ 355303 h 2907193"/>
                <a:gd name="connsiteX3725" fmla="*/ 3924065 w 4044707"/>
                <a:gd name="connsiteY3725" fmla="*/ 352006 h 2907193"/>
                <a:gd name="connsiteX3726" fmla="*/ 3920586 w 4044707"/>
                <a:gd name="connsiteY3726" fmla="*/ 353428 h 2907193"/>
                <a:gd name="connsiteX3727" fmla="*/ 3917893 w 4044707"/>
                <a:gd name="connsiteY3727" fmla="*/ 358237 h 2907193"/>
                <a:gd name="connsiteX3728" fmla="*/ 3917137 w 4044707"/>
                <a:gd name="connsiteY3728" fmla="*/ 365014 h 2907193"/>
                <a:gd name="connsiteX3729" fmla="*/ 3919315 w 4044707"/>
                <a:gd name="connsiteY3729" fmla="*/ 372335 h 2907193"/>
                <a:gd name="connsiteX3730" fmla="*/ 3916411 w 4044707"/>
                <a:gd name="connsiteY3730" fmla="*/ 377114 h 2907193"/>
                <a:gd name="connsiteX3731" fmla="*/ 3909816 w 4044707"/>
                <a:gd name="connsiteY3731" fmla="*/ 385313 h 2907193"/>
                <a:gd name="connsiteX3732" fmla="*/ 3907578 w 4044707"/>
                <a:gd name="connsiteY3732" fmla="*/ 392482 h 2907193"/>
                <a:gd name="connsiteX3733" fmla="*/ 3915867 w 4044707"/>
                <a:gd name="connsiteY3733" fmla="*/ 394479 h 2907193"/>
                <a:gd name="connsiteX3734" fmla="*/ 3919587 w 4044707"/>
                <a:gd name="connsiteY3734" fmla="*/ 390939 h 2907193"/>
                <a:gd name="connsiteX3735" fmla="*/ 3920918 w 4044707"/>
                <a:gd name="connsiteY3735" fmla="*/ 388126 h 2907193"/>
                <a:gd name="connsiteX3736" fmla="*/ 3919315 w 4044707"/>
                <a:gd name="connsiteY3736" fmla="*/ 385192 h 2907193"/>
                <a:gd name="connsiteX3737" fmla="*/ 3920949 w 4044707"/>
                <a:gd name="connsiteY3737" fmla="*/ 383649 h 2907193"/>
                <a:gd name="connsiteX3738" fmla="*/ 3922794 w 4044707"/>
                <a:gd name="connsiteY3738" fmla="*/ 385222 h 2907193"/>
                <a:gd name="connsiteX3739" fmla="*/ 3099834 w 4044707"/>
                <a:gd name="connsiteY3739" fmla="*/ 347710 h 2907193"/>
                <a:gd name="connsiteX3740" fmla="*/ 3100832 w 4044707"/>
                <a:gd name="connsiteY3740" fmla="*/ 348345 h 2907193"/>
                <a:gd name="connsiteX3741" fmla="*/ 3102073 w 4044707"/>
                <a:gd name="connsiteY3741" fmla="*/ 347286 h 2907193"/>
                <a:gd name="connsiteX3742" fmla="*/ 3103253 w 4044707"/>
                <a:gd name="connsiteY3742" fmla="*/ 346651 h 2907193"/>
                <a:gd name="connsiteX3743" fmla="*/ 3104251 w 4044707"/>
                <a:gd name="connsiteY3743" fmla="*/ 345502 h 2907193"/>
                <a:gd name="connsiteX3744" fmla="*/ 3104916 w 4044707"/>
                <a:gd name="connsiteY3744" fmla="*/ 342809 h 2907193"/>
                <a:gd name="connsiteX3745" fmla="*/ 3103192 w 4044707"/>
                <a:gd name="connsiteY3745" fmla="*/ 341508 h 2907193"/>
                <a:gd name="connsiteX3746" fmla="*/ 3101467 w 4044707"/>
                <a:gd name="connsiteY3746" fmla="*/ 341085 h 2907193"/>
                <a:gd name="connsiteX3747" fmla="*/ 3099774 w 4044707"/>
                <a:gd name="connsiteY3747" fmla="*/ 341539 h 2907193"/>
                <a:gd name="connsiteX3748" fmla="*/ 3098049 w 4044707"/>
                <a:gd name="connsiteY3748" fmla="*/ 342809 h 2907193"/>
                <a:gd name="connsiteX3749" fmla="*/ 3098412 w 4044707"/>
                <a:gd name="connsiteY3749" fmla="*/ 344957 h 2907193"/>
                <a:gd name="connsiteX3750" fmla="*/ 3099048 w 4044707"/>
                <a:gd name="connsiteY3750" fmla="*/ 346591 h 2907193"/>
                <a:gd name="connsiteX3751" fmla="*/ 3099864 w 4044707"/>
                <a:gd name="connsiteY3751" fmla="*/ 347710 h 2907193"/>
                <a:gd name="connsiteX3752" fmla="*/ 2910097 w 4044707"/>
                <a:gd name="connsiteY3752" fmla="*/ 327684 h 2907193"/>
                <a:gd name="connsiteX3753" fmla="*/ 2907465 w 4044707"/>
                <a:gd name="connsiteY3753" fmla="*/ 327563 h 2907193"/>
                <a:gd name="connsiteX3754" fmla="*/ 2904985 w 4044707"/>
                <a:gd name="connsiteY3754" fmla="*/ 330194 h 2907193"/>
                <a:gd name="connsiteX3755" fmla="*/ 2902625 w 4044707"/>
                <a:gd name="connsiteY3755" fmla="*/ 334490 h 2907193"/>
                <a:gd name="connsiteX3756" fmla="*/ 2899237 w 4044707"/>
                <a:gd name="connsiteY3756" fmla="*/ 338695 h 2907193"/>
                <a:gd name="connsiteX3757" fmla="*/ 2889405 w 4044707"/>
                <a:gd name="connsiteY3757" fmla="*/ 346591 h 2907193"/>
                <a:gd name="connsiteX3758" fmla="*/ 2884565 w 4044707"/>
                <a:gd name="connsiteY3758" fmla="*/ 349011 h 2907193"/>
                <a:gd name="connsiteX3759" fmla="*/ 2883173 w 4044707"/>
                <a:gd name="connsiteY3759" fmla="*/ 350644 h 2907193"/>
                <a:gd name="connsiteX3760" fmla="*/ 2880844 w 4044707"/>
                <a:gd name="connsiteY3760" fmla="*/ 357542 h 2907193"/>
                <a:gd name="connsiteX3761" fmla="*/ 2874098 w 4044707"/>
                <a:gd name="connsiteY3761" fmla="*/ 367041 h 2907193"/>
                <a:gd name="connsiteX3762" fmla="*/ 2873251 w 4044707"/>
                <a:gd name="connsiteY3762" fmla="*/ 371851 h 2907193"/>
                <a:gd name="connsiteX3763" fmla="*/ 2878212 w 4044707"/>
                <a:gd name="connsiteY3763" fmla="*/ 372456 h 2907193"/>
                <a:gd name="connsiteX3764" fmla="*/ 2897664 w 4044707"/>
                <a:gd name="connsiteY3764" fmla="*/ 367918 h 2907193"/>
                <a:gd name="connsiteX3765" fmla="*/ 2902050 w 4044707"/>
                <a:gd name="connsiteY3765" fmla="*/ 365377 h 2907193"/>
                <a:gd name="connsiteX3766" fmla="*/ 2905832 w 4044707"/>
                <a:gd name="connsiteY3766" fmla="*/ 358086 h 2907193"/>
                <a:gd name="connsiteX3767" fmla="*/ 2909280 w 4044707"/>
                <a:gd name="connsiteY3767" fmla="*/ 349102 h 2907193"/>
                <a:gd name="connsiteX3768" fmla="*/ 2913546 w 4044707"/>
                <a:gd name="connsiteY3768" fmla="*/ 342507 h 2907193"/>
                <a:gd name="connsiteX3769" fmla="*/ 2915724 w 4044707"/>
                <a:gd name="connsiteY3769" fmla="*/ 336184 h 2907193"/>
                <a:gd name="connsiteX3770" fmla="*/ 2913485 w 4044707"/>
                <a:gd name="connsiteY3770" fmla="*/ 330315 h 2907193"/>
                <a:gd name="connsiteX3771" fmla="*/ 2911368 w 4044707"/>
                <a:gd name="connsiteY3771" fmla="*/ 328198 h 2907193"/>
                <a:gd name="connsiteX3772" fmla="*/ 2910067 w 4044707"/>
                <a:gd name="connsiteY3772" fmla="*/ 327714 h 2907193"/>
                <a:gd name="connsiteX3773" fmla="*/ 2924950 w 4044707"/>
                <a:gd name="connsiteY3773" fmla="*/ 321603 h 2907193"/>
                <a:gd name="connsiteX3774" fmla="*/ 2922107 w 4044707"/>
                <a:gd name="connsiteY3774" fmla="*/ 322299 h 2907193"/>
                <a:gd name="connsiteX3775" fmla="*/ 2920141 w 4044707"/>
                <a:gd name="connsiteY3775" fmla="*/ 324326 h 2907193"/>
                <a:gd name="connsiteX3776" fmla="*/ 2920957 w 4044707"/>
                <a:gd name="connsiteY3776" fmla="*/ 325173 h 2907193"/>
                <a:gd name="connsiteX3777" fmla="*/ 2921774 w 4044707"/>
                <a:gd name="connsiteY3777" fmla="*/ 325747 h 2907193"/>
                <a:gd name="connsiteX3778" fmla="*/ 2925162 w 4044707"/>
                <a:gd name="connsiteY3778" fmla="*/ 326231 h 2907193"/>
                <a:gd name="connsiteX3779" fmla="*/ 2929761 w 4044707"/>
                <a:gd name="connsiteY3779" fmla="*/ 324326 h 2907193"/>
                <a:gd name="connsiteX3780" fmla="*/ 2927764 w 4044707"/>
                <a:gd name="connsiteY3780" fmla="*/ 322269 h 2907193"/>
                <a:gd name="connsiteX3781" fmla="*/ 2924920 w 4044707"/>
                <a:gd name="connsiteY3781" fmla="*/ 321603 h 2907193"/>
                <a:gd name="connsiteX3782" fmla="*/ 3016703 w 4044707"/>
                <a:gd name="connsiteY3782" fmla="*/ 316944 h 2907193"/>
                <a:gd name="connsiteX3783" fmla="*/ 3013133 w 4044707"/>
                <a:gd name="connsiteY3783" fmla="*/ 317217 h 2907193"/>
                <a:gd name="connsiteX3784" fmla="*/ 3010895 w 4044707"/>
                <a:gd name="connsiteY3784" fmla="*/ 318699 h 2907193"/>
                <a:gd name="connsiteX3785" fmla="*/ 3009050 w 4044707"/>
                <a:gd name="connsiteY3785" fmla="*/ 322299 h 2907193"/>
                <a:gd name="connsiteX3786" fmla="*/ 3006720 w 4044707"/>
                <a:gd name="connsiteY3786" fmla="*/ 328954 h 2907193"/>
                <a:gd name="connsiteX3787" fmla="*/ 3006841 w 4044707"/>
                <a:gd name="connsiteY3787" fmla="*/ 332221 h 2907193"/>
                <a:gd name="connsiteX3788" fmla="*/ 3008233 w 4044707"/>
                <a:gd name="connsiteY3788" fmla="*/ 336426 h 2907193"/>
                <a:gd name="connsiteX3789" fmla="*/ 3011197 w 4044707"/>
                <a:gd name="connsiteY3789" fmla="*/ 342840 h 2907193"/>
                <a:gd name="connsiteX3790" fmla="*/ 3014979 w 4044707"/>
                <a:gd name="connsiteY3790" fmla="*/ 345683 h 2907193"/>
                <a:gd name="connsiteX3791" fmla="*/ 3019940 w 4044707"/>
                <a:gd name="connsiteY3791" fmla="*/ 345683 h 2907193"/>
                <a:gd name="connsiteX3792" fmla="*/ 3024810 w 4044707"/>
                <a:gd name="connsiteY3792" fmla="*/ 343203 h 2907193"/>
                <a:gd name="connsiteX3793" fmla="*/ 3028320 w 4044707"/>
                <a:gd name="connsiteY3793" fmla="*/ 338967 h 2907193"/>
                <a:gd name="connsiteX3794" fmla="*/ 3028864 w 4044707"/>
                <a:gd name="connsiteY3794" fmla="*/ 333855 h 2907193"/>
                <a:gd name="connsiteX3795" fmla="*/ 3040814 w 4044707"/>
                <a:gd name="connsiteY3795" fmla="*/ 326050 h 2907193"/>
                <a:gd name="connsiteX3796" fmla="*/ 3026656 w 4044707"/>
                <a:gd name="connsiteY3796" fmla="*/ 328047 h 2907193"/>
                <a:gd name="connsiteX3797" fmla="*/ 3024296 w 4044707"/>
                <a:gd name="connsiteY3797" fmla="*/ 326322 h 2907193"/>
                <a:gd name="connsiteX3798" fmla="*/ 3019365 w 4044707"/>
                <a:gd name="connsiteY3798" fmla="*/ 318699 h 2907193"/>
                <a:gd name="connsiteX3799" fmla="*/ 3016703 w 4044707"/>
                <a:gd name="connsiteY3799" fmla="*/ 316944 h 2907193"/>
                <a:gd name="connsiteX3800" fmla="*/ 3035520 w 4044707"/>
                <a:gd name="connsiteY3800" fmla="*/ 318275 h 2907193"/>
                <a:gd name="connsiteX3801" fmla="*/ 3034945 w 4044707"/>
                <a:gd name="connsiteY3801" fmla="*/ 312255 h 2907193"/>
                <a:gd name="connsiteX3802" fmla="*/ 3032888 w 4044707"/>
                <a:gd name="connsiteY3802" fmla="*/ 311650 h 2907193"/>
                <a:gd name="connsiteX3803" fmla="*/ 3030014 w 4044707"/>
                <a:gd name="connsiteY3803" fmla="*/ 314917 h 2907193"/>
                <a:gd name="connsiteX3804" fmla="*/ 3027442 w 4044707"/>
                <a:gd name="connsiteY3804" fmla="*/ 319395 h 2907193"/>
                <a:gd name="connsiteX3805" fmla="*/ 3026323 w 4044707"/>
                <a:gd name="connsiteY3805" fmla="*/ 322329 h 2907193"/>
                <a:gd name="connsiteX3806" fmla="*/ 3032827 w 4044707"/>
                <a:gd name="connsiteY3806" fmla="*/ 321240 h 2907193"/>
                <a:gd name="connsiteX3807" fmla="*/ 3035520 w 4044707"/>
                <a:gd name="connsiteY3807" fmla="*/ 318245 h 2907193"/>
                <a:gd name="connsiteX3808" fmla="*/ 2817074 w 4044707"/>
                <a:gd name="connsiteY3808" fmla="*/ 322329 h 2907193"/>
                <a:gd name="connsiteX3809" fmla="*/ 2813958 w 4044707"/>
                <a:gd name="connsiteY3809" fmla="*/ 324810 h 2907193"/>
                <a:gd name="connsiteX3810" fmla="*/ 2812597 w 4044707"/>
                <a:gd name="connsiteY3810" fmla="*/ 328984 h 2907193"/>
                <a:gd name="connsiteX3811" fmla="*/ 2813958 w 4044707"/>
                <a:gd name="connsiteY3811" fmla="*/ 333734 h 2907193"/>
                <a:gd name="connsiteX3812" fmla="*/ 2817044 w 4044707"/>
                <a:gd name="connsiteY3812" fmla="*/ 336184 h 2907193"/>
                <a:gd name="connsiteX3813" fmla="*/ 2822912 w 4044707"/>
                <a:gd name="connsiteY3813" fmla="*/ 337152 h 2907193"/>
                <a:gd name="connsiteX3814" fmla="*/ 2820946 w 4044707"/>
                <a:gd name="connsiteY3814" fmla="*/ 339179 h 2907193"/>
                <a:gd name="connsiteX3815" fmla="*/ 2817860 w 4044707"/>
                <a:gd name="connsiteY3815" fmla="*/ 343687 h 2907193"/>
                <a:gd name="connsiteX3816" fmla="*/ 2816015 w 4044707"/>
                <a:gd name="connsiteY3816" fmla="*/ 344534 h 2907193"/>
                <a:gd name="connsiteX3817" fmla="*/ 2806365 w 4044707"/>
                <a:gd name="connsiteY3817" fmla="*/ 341024 h 2907193"/>
                <a:gd name="connsiteX3818" fmla="*/ 2802311 w 4044707"/>
                <a:gd name="connsiteY3818" fmla="*/ 343021 h 2907193"/>
                <a:gd name="connsiteX3819" fmla="*/ 2802765 w 4044707"/>
                <a:gd name="connsiteY3819" fmla="*/ 347468 h 2907193"/>
                <a:gd name="connsiteX3820" fmla="*/ 2805881 w 4044707"/>
                <a:gd name="connsiteY3820" fmla="*/ 351885 h 2907193"/>
                <a:gd name="connsiteX3821" fmla="*/ 2813807 w 4044707"/>
                <a:gd name="connsiteY3821" fmla="*/ 355031 h 2907193"/>
                <a:gd name="connsiteX3822" fmla="*/ 2833985 w 4044707"/>
                <a:gd name="connsiteY3822" fmla="*/ 372425 h 2907193"/>
                <a:gd name="connsiteX3823" fmla="*/ 2835225 w 4044707"/>
                <a:gd name="connsiteY3823" fmla="*/ 374362 h 2907193"/>
                <a:gd name="connsiteX3824" fmla="*/ 2838492 w 4044707"/>
                <a:gd name="connsiteY3824" fmla="*/ 382499 h 2907193"/>
                <a:gd name="connsiteX3825" fmla="*/ 2841850 w 4044707"/>
                <a:gd name="connsiteY3825" fmla="*/ 386039 h 2907193"/>
                <a:gd name="connsiteX3826" fmla="*/ 2863208 w 4044707"/>
                <a:gd name="connsiteY3826" fmla="*/ 379383 h 2907193"/>
                <a:gd name="connsiteX3827" fmla="*/ 2867322 w 4044707"/>
                <a:gd name="connsiteY3827" fmla="*/ 376509 h 2907193"/>
                <a:gd name="connsiteX3828" fmla="*/ 2870528 w 4044707"/>
                <a:gd name="connsiteY3828" fmla="*/ 372425 h 2907193"/>
                <a:gd name="connsiteX3829" fmla="*/ 2871194 w 4044707"/>
                <a:gd name="connsiteY3829" fmla="*/ 370580 h 2907193"/>
                <a:gd name="connsiteX3830" fmla="*/ 2871587 w 4044707"/>
                <a:gd name="connsiteY3830" fmla="*/ 368553 h 2907193"/>
                <a:gd name="connsiteX3831" fmla="*/ 2872132 w 4044707"/>
                <a:gd name="connsiteY3831" fmla="*/ 366345 h 2907193"/>
                <a:gd name="connsiteX3832" fmla="*/ 2873281 w 4044707"/>
                <a:gd name="connsiteY3832" fmla="*/ 364106 h 2907193"/>
                <a:gd name="connsiteX3833" fmla="*/ 2877214 w 4044707"/>
                <a:gd name="connsiteY3833" fmla="*/ 359508 h 2907193"/>
                <a:gd name="connsiteX3834" fmla="*/ 2878454 w 4044707"/>
                <a:gd name="connsiteY3834" fmla="*/ 356664 h 2907193"/>
                <a:gd name="connsiteX3835" fmla="*/ 2879119 w 4044707"/>
                <a:gd name="connsiteY3835" fmla="*/ 355454 h 2907193"/>
                <a:gd name="connsiteX3836" fmla="*/ 2880783 w 4044707"/>
                <a:gd name="connsiteY3836" fmla="*/ 353821 h 2907193"/>
                <a:gd name="connsiteX3837" fmla="*/ 2881600 w 4044707"/>
                <a:gd name="connsiteY3837" fmla="*/ 352066 h 2907193"/>
                <a:gd name="connsiteX3838" fmla="*/ 2881872 w 4044707"/>
                <a:gd name="connsiteY3838" fmla="*/ 350614 h 2907193"/>
                <a:gd name="connsiteX3839" fmla="*/ 2882084 w 4044707"/>
                <a:gd name="connsiteY3839" fmla="*/ 347680 h 2907193"/>
                <a:gd name="connsiteX3840" fmla="*/ 2882296 w 4044707"/>
                <a:gd name="connsiteY3840" fmla="*/ 346530 h 2907193"/>
                <a:gd name="connsiteX3841" fmla="*/ 2883234 w 4044707"/>
                <a:gd name="connsiteY3841" fmla="*/ 343414 h 2907193"/>
                <a:gd name="connsiteX3842" fmla="*/ 2883960 w 4044707"/>
                <a:gd name="connsiteY3842" fmla="*/ 341962 h 2907193"/>
                <a:gd name="connsiteX3843" fmla="*/ 2894760 w 4044707"/>
                <a:gd name="connsiteY3843" fmla="*/ 337001 h 2907193"/>
                <a:gd name="connsiteX3844" fmla="*/ 2898360 w 4044707"/>
                <a:gd name="connsiteY3844" fmla="*/ 332736 h 2907193"/>
                <a:gd name="connsiteX3845" fmla="*/ 2898541 w 4044707"/>
                <a:gd name="connsiteY3845" fmla="*/ 327048 h 2907193"/>
                <a:gd name="connsiteX3846" fmla="*/ 2896998 w 4044707"/>
                <a:gd name="connsiteY3846" fmla="*/ 324205 h 2907193"/>
                <a:gd name="connsiteX3847" fmla="*/ 2895304 w 4044707"/>
                <a:gd name="connsiteY3847" fmla="*/ 323085 h 2907193"/>
                <a:gd name="connsiteX3848" fmla="*/ 2893549 w 4044707"/>
                <a:gd name="connsiteY3848" fmla="*/ 323267 h 2907193"/>
                <a:gd name="connsiteX3849" fmla="*/ 2891916 w 4044707"/>
                <a:gd name="connsiteY3849" fmla="*/ 324356 h 2907193"/>
                <a:gd name="connsiteX3850" fmla="*/ 2890706 w 4044707"/>
                <a:gd name="connsiteY3850" fmla="*/ 326534 h 2907193"/>
                <a:gd name="connsiteX3851" fmla="*/ 2889435 w 4044707"/>
                <a:gd name="connsiteY3851" fmla="*/ 329438 h 2907193"/>
                <a:gd name="connsiteX3852" fmla="*/ 2888225 w 4044707"/>
                <a:gd name="connsiteY3852" fmla="*/ 330709 h 2907193"/>
                <a:gd name="connsiteX3853" fmla="*/ 2887106 w 4044707"/>
                <a:gd name="connsiteY3853" fmla="*/ 328047 h 2907193"/>
                <a:gd name="connsiteX3854" fmla="*/ 2887106 w 4044707"/>
                <a:gd name="connsiteY3854" fmla="*/ 325021 h 2907193"/>
                <a:gd name="connsiteX3855" fmla="*/ 2887802 w 4044707"/>
                <a:gd name="connsiteY3855" fmla="*/ 322480 h 2907193"/>
                <a:gd name="connsiteX3856" fmla="*/ 2888255 w 4044707"/>
                <a:gd name="connsiteY3856" fmla="*/ 319697 h 2907193"/>
                <a:gd name="connsiteX3857" fmla="*/ 2887499 w 4044707"/>
                <a:gd name="connsiteY3857" fmla="*/ 315916 h 2907193"/>
                <a:gd name="connsiteX3858" fmla="*/ 2885654 w 4044707"/>
                <a:gd name="connsiteY3858" fmla="*/ 313405 h 2907193"/>
                <a:gd name="connsiteX3859" fmla="*/ 2883536 w 4044707"/>
                <a:gd name="connsiteY3859" fmla="*/ 313344 h 2907193"/>
                <a:gd name="connsiteX3860" fmla="*/ 2876730 w 4044707"/>
                <a:gd name="connsiteY3860" fmla="*/ 316249 h 2907193"/>
                <a:gd name="connsiteX3861" fmla="*/ 2873735 w 4044707"/>
                <a:gd name="connsiteY3861" fmla="*/ 319848 h 2907193"/>
                <a:gd name="connsiteX3862" fmla="*/ 2871738 w 4044707"/>
                <a:gd name="connsiteY3862" fmla="*/ 325203 h 2907193"/>
                <a:gd name="connsiteX3863" fmla="*/ 2871920 w 4044707"/>
                <a:gd name="connsiteY3863" fmla="*/ 331767 h 2907193"/>
                <a:gd name="connsiteX3864" fmla="*/ 2869137 w 4044707"/>
                <a:gd name="connsiteY3864" fmla="*/ 331102 h 2907193"/>
                <a:gd name="connsiteX3865" fmla="*/ 2863812 w 4044707"/>
                <a:gd name="connsiteY3865" fmla="*/ 324114 h 2907193"/>
                <a:gd name="connsiteX3866" fmla="*/ 2859033 w 4044707"/>
                <a:gd name="connsiteY3866" fmla="*/ 320453 h 2907193"/>
                <a:gd name="connsiteX3867" fmla="*/ 2859214 w 4044707"/>
                <a:gd name="connsiteY3867" fmla="*/ 316006 h 2907193"/>
                <a:gd name="connsiteX3868" fmla="*/ 2860636 w 4044707"/>
                <a:gd name="connsiteY3868" fmla="*/ 311045 h 2907193"/>
                <a:gd name="connsiteX3869" fmla="*/ 2862300 w 4044707"/>
                <a:gd name="connsiteY3869" fmla="*/ 307536 h 2907193"/>
                <a:gd name="connsiteX3870" fmla="*/ 2859698 w 4044707"/>
                <a:gd name="connsiteY3870" fmla="*/ 305630 h 2907193"/>
                <a:gd name="connsiteX3871" fmla="*/ 2857429 w 4044707"/>
                <a:gd name="connsiteY3871" fmla="*/ 307748 h 2907193"/>
                <a:gd name="connsiteX3872" fmla="*/ 2855342 w 4044707"/>
                <a:gd name="connsiteY3872" fmla="*/ 310652 h 2907193"/>
                <a:gd name="connsiteX3873" fmla="*/ 2853224 w 4044707"/>
                <a:gd name="connsiteY3873" fmla="*/ 311257 h 2907193"/>
                <a:gd name="connsiteX3874" fmla="*/ 2852075 w 4044707"/>
                <a:gd name="connsiteY3874" fmla="*/ 308928 h 2907193"/>
                <a:gd name="connsiteX3875" fmla="*/ 2852347 w 4044707"/>
                <a:gd name="connsiteY3875" fmla="*/ 306054 h 2907193"/>
                <a:gd name="connsiteX3876" fmla="*/ 2852408 w 4044707"/>
                <a:gd name="connsiteY3876" fmla="*/ 303513 h 2907193"/>
                <a:gd name="connsiteX3877" fmla="*/ 2850532 w 4044707"/>
                <a:gd name="connsiteY3877" fmla="*/ 302151 h 2907193"/>
                <a:gd name="connsiteX3878" fmla="*/ 2841517 w 4044707"/>
                <a:gd name="connsiteY3878" fmla="*/ 309170 h 2907193"/>
                <a:gd name="connsiteX3879" fmla="*/ 2839853 w 4044707"/>
                <a:gd name="connsiteY3879" fmla="*/ 309805 h 2907193"/>
                <a:gd name="connsiteX3880" fmla="*/ 2838159 w 4044707"/>
                <a:gd name="connsiteY3880" fmla="*/ 309321 h 2907193"/>
                <a:gd name="connsiteX3881" fmla="*/ 2836041 w 4044707"/>
                <a:gd name="connsiteY3881" fmla="*/ 307536 h 2907193"/>
                <a:gd name="connsiteX3882" fmla="*/ 2836375 w 4044707"/>
                <a:gd name="connsiteY3882" fmla="*/ 312255 h 2907193"/>
                <a:gd name="connsiteX3883" fmla="*/ 2837887 w 4044707"/>
                <a:gd name="connsiteY3883" fmla="*/ 315250 h 2907193"/>
                <a:gd name="connsiteX3884" fmla="*/ 2839853 w 4044707"/>
                <a:gd name="connsiteY3884" fmla="*/ 317670 h 2907193"/>
                <a:gd name="connsiteX3885" fmla="*/ 2841608 w 4044707"/>
                <a:gd name="connsiteY3885" fmla="*/ 320695 h 2907193"/>
                <a:gd name="connsiteX3886" fmla="*/ 2837040 w 4044707"/>
                <a:gd name="connsiteY3886" fmla="*/ 324507 h 2907193"/>
                <a:gd name="connsiteX3887" fmla="*/ 2835376 w 4044707"/>
                <a:gd name="connsiteY3887" fmla="*/ 324386 h 2907193"/>
                <a:gd name="connsiteX3888" fmla="*/ 2835134 w 4044707"/>
                <a:gd name="connsiteY3888" fmla="*/ 323479 h 2907193"/>
                <a:gd name="connsiteX3889" fmla="*/ 2834711 w 4044707"/>
                <a:gd name="connsiteY3889" fmla="*/ 321573 h 2907193"/>
                <a:gd name="connsiteX3890" fmla="*/ 2833985 w 4044707"/>
                <a:gd name="connsiteY3890" fmla="*/ 319697 h 2907193"/>
                <a:gd name="connsiteX3891" fmla="*/ 2832623 w 4044707"/>
                <a:gd name="connsiteY3891" fmla="*/ 318850 h 2907193"/>
                <a:gd name="connsiteX3892" fmla="*/ 2831383 w 4044707"/>
                <a:gd name="connsiteY3892" fmla="*/ 319395 h 2907193"/>
                <a:gd name="connsiteX3893" fmla="*/ 2829417 w 4044707"/>
                <a:gd name="connsiteY3893" fmla="*/ 321815 h 2907193"/>
                <a:gd name="connsiteX3894" fmla="*/ 2828146 w 4044707"/>
                <a:gd name="connsiteY3894" fmla="*/ 322390 h 2907193"/>
                <a:gd name="connsiteX3895" fmla="*/ 2822943 w 4044707"/>
                <a:gd name="connsiteY3895" fmla="*/ 320695 h 2907193"/>
                <a:gd name="connsiteX3896" fmla="*/ 2817104 w 4044707"/>
                <a:gd name="connsiteY3896" fmla="*/ 322359 h 2907193"/>
                <a:gd name="connsiteX3897" fmla="*/ 2796019 w 4044707"/>
                <a:gd name="connsiteY3897" fmla="*/ 321421 h 2907193"/>
                <a:gd name="connsiteX3898" fmla="*/ 2798348 w 4044707"/>
                <a:gd name="connsiteY3898" fmla="*/ 321724 h 2907193"/>
                <a:gd name="connsiteX3899" fmla="*/ 2798106 w 4044707"/>
                <a:gd name="connsiteY3899" fmla="*/ 322874 h 2907193"/>
                <a:gd name="connsiteX3900" fmla="*/ 2796382 w 4044707"/>
                <a:gd name="connsiteY3900" fmla="*/ 325566 h 2907193"/>
                <a:gd name="connsiteX3901" fmla="*/ 2796382 w 4044707"/>
                <a:gd name="connsiteY3901" fmla="*/ 329136 h 2907193"/>
                <a:gd name="connsiteX3902" fmla="*/ 2798137 w 4044707"/>
                <a:gd name="connsiteY3902" fmla="*/ 332040 h 2907193"/>
                <a:gd name="connsiteX3903" fmla="*/ 2799528 w 4044707"/>
                <a:gd name="connsiteY3903" fmla="*/ 333008 h 2907193"/>
                <a:gd name="connsiteX3904" fmla="*/ 2800133 w 4044707"/>
                <a:gd name="connsiteY3904" fmla="*/ 332494 h 2907193"/>
                <a:gd name="connsiteX3905" fmla="*/ 2800678 w 4044707"/>
                <a:gd name="connsiteY3905" fmla="*/ 331798 h 2907193"/>
                <a:gd name="connsiteX3906" fmla="*/ 2801222 w 4044707"/>
                <a:gd name="connsiteY3906" fmla="*/ 331374 h 2907193"/>
                <a:gd name="connsiteX3907" fmla="*/ 2802372 w 4044707"/>
                <a:gd name="connsiteY3907" fmla="*/ 328863 h 2907193"/>
                <a:gd name="connsiteX3908" fmla="*/ 2805881 w 4044707"/>
                <a:gd name="connsiteY3908" fmla="*/ 323660 h 2907193"/>
                <a:gd name="connsiteX3909" fmla="*/ 2813081 w 4044707"/>
                <a:gd name="connsiteY3909" fmla="*/ 318457 h 2907193"/>
                <a:gd name="connsiteX3910" fmla="*/ 2820522 w 4044707"/>
                <a:gd name="connsiteY3910" fmla="*/ 316521 h 2907193"/>
                <a:gd name="connsiteX3911" fmla="*/ 2823245 w 4044707"/>
                <a:gd name="connsiteY3911" fmla="*/ 314403 h 2907193"/>
                <a:gd name="connsiteX3912" fmla="*/ 2825453 w 4044707"/>
                <a:gd name="connsiteY3912" fmla="*/ 311560 h 2907193"/>
                <a:gd name="connsiteX3913" fmla="*/ 2827057 w 4044707"/>
                <a:gd name="connsiteY3913" fmla="*/ 308928 h 2907193"/>
                <a:gd name="connsiteX3914" fmla="*/ 2826391 w 4044707"/>
                <a:gd name="connsiteY3914" fmla="*/ 306024 h 2907193"/>
                <a:gd name="connsiteX3915" fmla="*/ 2821521 w 4044707"/>
                <a:gd name="connsiteY3915" fmla="*/ 302484 h 2907193"/>
                <a:gd name="connsiteX3916" fmla="*/ 2820190 w 4044707"/>
                <a:gd name="connsiteY3916" fmla="*/ 300306 h 2907193"/>
                <a:gd name="connsiteX3917" fmla="*/ 2818435 w 4044707"/>
                <a:gd name="connsiteY3917" fmla="*/ 300094 h 2907193"/>
                <a:gd name="connsiteX3918" fmla="*/ 2812264 w 4044707"/>
                <a:gd name="connsiteY3918" fmla="*/ 309049 h 2907193"/>
                <a:gd name="connsiteX3919" fmla="*/ 2811235 w 4044707"/>
                <a:gd name="connsiteY3919" fmla="*/ 311439 h 2907193"/>
                <a:gd name="connsiteX3920" fmla="*/ 2810056 w 4044707"/>
                <a:gd name="connsiteY3920" fmla="*/ 312830 h 2907193"/>
                <a:gd name="connsiteX3921" fmla="*/ 2809299 w 4044707"/>
                <a:gd name="connsiteY3921" fmla="*/ 311106 h 2907193"/>
                <a:gd name="connsiteX3922" fmla="*/ 2808936 w 4044707"/>
                <a:gd name="connsiteY3922" fmla="*/ 306054 h 2907193"/>
                <a:gd name="connsiteX3923" fmla="*/ 2807484 w 4044707"/>
                <a:gd name="connsiteY3923" fmla="*/ 301214 h 2907193"/>
                <a:gd name="connsiteX3924" fmla="*/ 2804701 w 4044707"/>
                <a:gd name="connsiteY3924" fmla="*/ 298521 h 2907193"/>
                <a:gd name="connsiteX3925" fmla="*/ 2801464 w 4044707"/>
                <a:gd name="connsiteY3925" fmla="*/ 297402 h 2907193"/>
                <a:gd name="connsiteX3926" fmla="*/ 2799558 w 4044707"/>
                <a:gd name="connsiteY3926" fmla="*/ 298672 h 2907193"/>
                <a:gd name="connsiteX3927" fmla="*/ 2799709 w 4044707"/>
                <a:gd name="connsiteY3927" fmla="*/ 301153 h 2907193"/>
                <a:gd name="connsiteX3928" fmla="*/ 2800345 w 4044707"/>
                <a:gd name="connsiteY3928" fmla="*/ 303301 h 2907193"/>
                <a:gd name="connsiteX3929" fmla="*/ 2800163 w 4044707"/>
                <a:gd name="connsiteY3929" fmla="*/ 305449 h 2907193"/>
                <a:gd name="connsiteX3930" fmla="*/ 2800587 w 4044707"/>
                <a:gd name="connsiteY3930" fmla="*/ 306235 h 2907193"/>
                <a:gd name="connsiteX3931" fmla="*/ 2799528 w 4044707"/>
                <a:gd name="connsiteY3931" fmla="*/ 308141 h 2907193"/>
                <a:gd name="connsiteX3932" fmla="*/ 2796866 w 4044707"/>
                <a:gd name="connsiteY3932" fmla="*/ 311469 h 2907193"/>
                <a:gd name="connsiteX3933" fmla="*/ 2795051 w 4044707"/>
                <a:gd name="connsiteY3933" fmla="*/ 315795 h 2907193"/>
                <a:gd name="connsiteX3934" fmla="*/ 2795323 w 4044707"/>
                <a:gd name="connsiteY3934" fmla="*/ 319788 h 2907193"/>
                <a:gd name="connsiteX3935" fmla="*/ 2795989 w 4044707"/>
                <a:gd name="connsiteY3935" fmla="*/ 321421 h 2907193"/>
                <a:gd name="connsiteX3936" fmla="*/ 3009987 w 4044707"/>
                <a:gd name="connsiteY3936" fmla="*/ 296585 h 2907193"/>
                <a:gd name="connsiteX3937" fmla="*/ 3010562 w 4044707"/>
                <a:gd name="connsiteY3937" fmla="*/ 303573 h 2907193"/>
                <a:gd name="connsiteX3938" fmla="*/ 3011500 w 4044707"/>
                <a:gd name="connsiteY3938" fmla="*/ 307052 h 2907193"/>
                <a:gd name="connsiteX3939" fmla="*/ 3013255 w 4044707"/>
                <a:gd name="connsiteY3939" fmla="*/ 309079 h 2907193"/>
                <a:gd name="connsiteX3940" fmla="*/ 3016885 w 4044707"/>
                <a:gd name="connsiteY3940" fmla="*/ 310198 h 2907193"/>
                <a:gd name="connsiteX3941" fmla="*/ 3020152 w 4044707"/>
                <a:gd name="connsiteY3941" fmla="*/ 307324 h 2907193"/>
                <a:gd name="connsiteX3942" fmla="*/ 3022269 w 4044707"/>
                <a:gd name="connsiteY3942" fmla="*/ 302998 h 2907193"/>
                <a:gd name="connsiteX3943" fmla="*/ 3022269 w 4044707"/>
                <a:gd name="connsiteY3943" fmla="*/ 299640 h 2907193"/>
                <a:gd name="connsiteX3944" fmla="*/ 3016400 w 4044707"/>
                <a:gd name="connsiteY3944" fmla="*/ 289567 h 2907193"/>
                <a:gd name="connsiteX3945" fmla="*/ 3013859 w 4044707"/>
                <a:gd name="connsiteY3945" fmla="*/ 287933 h 2907193"/>
                <a:gd name="connsiteX3946" fmla="*/ 3011409 w 4044707"/>
                <a:gd name="connsiteY3946" fmla="*/ 290686 h 2907193"/>
                <a:gd name="connsiteX3947" fmla="*/ 3009957 w 4044707"/>
                <a:gd name="connsiteY3947" fmla="*/ 296615 h 2907193"/>
                <a:gd name="connsiteX3948" fmla="*/ 2865658 w 4044707"/>
                <a:gd name="connsiteY3948" fmla="*/ 298219 h 2907193"/>
                <a:gd name="connsiteX3949" fmla="*/ 2871557 w 4044707"/>
                <a:gd name="connsiteY3949" fmla="*/ 300639 h 2907193"/>
                <a:gd name="connsiteX3950" fmla="*/ 2878938 w 4044707"/>
                <a:gd name="connsiteY3950" fmla="*/ 303452 h 2907193"/>
                <a:gd name="connsiteX3951" fmla="*/ 2883778 w 4044707"/>
                <a:gd name="connsiteY3951" fmla="*/ 303513 h 2907193"/>
                <a:gd name="connsiteX3952" fmla="*/ 2884928 w 4044707"/>
                <a:gd name="connsiteY3952" fmla="*/ 303180 h 2907193"/>
                <a:gd name="connsiteX3953" fmla="*/ 2886803 w 4044707"/>
                <a:gd name="connsiteY3953" fmla="*/ 301425 h 2907193"/>
                <a:gd name="connsiteX3954" fmla="*/ 2887227 w 4044707"/>
                <a:gd name="connsiteY3954" fmla="*/ 298612 h 2907193"/>
                <a:gd name="connsiteX3955" fmla="*/ 2885079 w 4044707"/>
                <a:gd name="connsiteY3955" fmla="*/ 296101 h 2907193"/>
                <a:gd name="connsiteX3956" fmla="*/ 2874491 w 4044707"/>
                <a:gd name="connsiteY3956" fmla="*/ 286693 h 2907193"/>
                <a:gd name="connsiteX3957" fmla="*/ 2870619 w 4044707"/>
                <a:gd name="connsiteY3957" fmla="*/ 284878 h 2907193"/>
                <a:gd name="connsiteX3958" fmla="*/ 2866444 w 4044707"/>
                <a:gd name="connsiteY3958" fmla="*/ 287026 h 2907193"/>
                <a:gd name="connsiteX3959" fmla="*/ 2863843 w 4044707"/>
                <a:gd name="connsiteY3959" fmla="*/ 290868 h 2907193"/>
                <a:gd name="connsiteX3960" fmla="*/ 2863268 w 4044707"/>
                <a:gd name="connsiteY3960" fmla="*/ 294165 h 2907193"/>
                <a:gd name="connsiteX3961" fmla="*/ 2864085 w 4044707"/>
                <a:gd name="connsiteY3961" fmla="*/ 296767 h 2907193"/>
                <a:gd name="connsiteX3962" fmla="*/ 2865658 w 4044707"/>
                <a:gd name="connsiteY3962" fmla="*/ 298219 h 2907193"/>
                <a:gd name="connsiteX3963" fmla="*/ 2970418 w 4044707"/>
                <a:gd name="connsiteY3963" fmla="*/ 305691 h 2907193"/>
                <a:gd name="connsiteX3964" fmla="*/ 2971810 w 4044707"/>
                <a:gd name="connsiteY3964" fmla="*/ 308595 h 2907193"/>
                <a:gd name="connsiteX3965" fmla="*/ 2973625 w 4044707"/>
                <a:gd name="connsiteY3965" fmla="*/ 310470 h 2907193"/>
                <a:gd name="connsiteX3966" fmla="*/ 2975561 w 4044707"/>
                <a:gd name="connsiteY3966" fmla="*/ 311378 h 2907193"/>
                <a:gd name="connsiteX3967" fmla="*/ 2977346 w 4044707"/>
                <a:gd name="connsiteY3967" fmla="*/ 311287 h 2907193"/>
                <a:gd name="connsiteX3968" fmla="*/ 2981158 w 4044707"/>
                <a:gd name="connsiteY3968" fmla="*/ 313133 h 2907193"/>
                <a:gd name="connsiteX3969" fmla="*/ 2982580 w 4044707"/>
                <a:gd name="connsiteY3969" fmla="*/ 312044 h 2907193"/>
                <a:gd name="connsiteX3970" fmla="*/ 2982247 w 4044707"/>
                <a:gd name="connsiteY3970" fmla="*/ 307566 h 2907193"/>
                <a:gd name="connsiteX3971" fmla="*/ 2986996 w 4044707"/>
                <a:gd name="connsiteY3971" fmla="*/ 307566 h 2907193"/>
                <a:gd name="connsiteX3972" fmla="*/ 2986452 w 4044707"/>
                <a:gd name="connsiteY3972" fmla="*/ 303513 h 2907193"/>
                <a:gd name="connsiteX3973" fmla="*/ 2986966 w 4044707"/>
                <a:gd name="connsiteY3973" fmla="*/ 300518 h 2907193"/>
                <a:gd name="connsiteX3974" fmla="*/ 2988206 w 4044707"/>
                <a:gd name="connsiteY3974" fmla="*/ 299187 h 2907193"/>
                <a:gd name="connsiteX3975" fmla="*/ 2989749 w 4044707"/>
                <a:gd name="connsiteY3975" fmla="*/ 300155 h 2907193"/>
                <a:gd name="connsiteX3976" fmla="*/ 2990627 w 4044707"/>
                <a:gd name="connsiteY3976" fmla="*/ 302575 h 2907193"/>
                <a:gd name="connsiteX3977" fmla="*/ 2990778 w 4044707"/>
                <a:gd name="connsiteY3977" fmla="*/ 305509 h 2907193"/>
                <a:gd name="connsiteX3978" fmla="*/ 2990445 w 4044707"/>
                <a:gd name="connsiteY3978" fmla="*/ 311287 h 2907193"/>
                <a:gd name="connsiteX3979" fmla="*/ 2990052 w 4044707"/>
                <a:gd name="connsiteY3979" fmla="*/ 313284 h 2907193"/>
                <a:gd name="connsiteX3980" fmla="*/ 2989416 w 4044707"/>
                <a:gd name="connsiteY3980" fmla="*/ 315129 h 2907193"/>
                <a:gd name="connsiteX3981" fmla="*/ 2989356 w 4044707"/>
                <a:gd name="connsiteY3981" fmla="*/ 316491 h 2907193"/>
                <a:gd name="connsiteX3982" fmla="*/ 2990808 w 4044707"/>
                <a:gd name="connsiteY3982" fmla="*/ 317035 h 2907193"/>
                <a:gd name="connsiteX3983" fmla="*/ 2992018 w 4044707"/>
                <a:gd name="connsiteY3983" fmla="*/ 316733 h 2907193"/>
                <a:gd name="connsiteX3984" fmla="*/ 2994196 w 4044707"/>
                <a:gd name="connsiteY3984" fmla="*/ 315341 h 2907193"/>
                <a:gd name="connsiteX3985" fmla="*/ 2995315 w 4044707"/>
                <a:gd name="connsiteY3985" fmla="*/ 315008 h 2907193"/>
                <a:gd name="connsiteX3986" fmla="*/ 2996647 w 4044707"/>
                <a:gd name="connsiteY3986" fmla="*/ 314161 h 2907193"/>
                <a:gd name="connsiteX3987" fmla="*/ 2998129 w 4044707"/>
                <a:gd name="connsiteY3987" fmla="*/ 310440 h 2907193"/>
                <a:gd name="connsiteX3988" fmla="*/ 2999460 w 4044707"/>
                <a:gd name="connsiteY3988" fmla="*/ 309593 h 2907193"/>
                <a:gd name="connsiteX3989" fmla="*/ 3001093 w 4044707"/>
                <a:gd name="connsiteY3989" fmla="*/ 310531 h 2907193"/>
                <a:gd name="connsiteX3990" fmla="*/ 3003090 w 4044707"/>
                <a:gd name="connsiteY3990" fmla="*/ 312376 h 2907193"/>
                <a:gd name="connsiteX3991" fmla="*/ 3005359 w 4044707"/>
                <a:gd name="connsiteY3991" fmla="*/ 313768 h 2907193"/>
                <a:gd name="connsiteX3992" fmla="*/ 3007749 w 4044707"/>
                <a:gd name="connsiteY3992" fmla="*/ 313344 h 2907193"/>
                <a:gd name="connsiteX3993" fmla="*/ 3009352 w 4044707"/>
                <a:gd name="connsiteY3993" fmla="*/ 311983 h 2907193"/>
                <a:gd name="connsiteX3994" fmla="*/ 3010078 w 4044707"/>
                <a:gd name="connsiteY3994" fmla="*/ 310561 h 2907193"/>
                <a:gd name="connsiteX3995" fmla="*/ 3010169 w 4044707"/>
                <a:gd name="connsiteY3995" fmla="*/ 308171 h 2907193"/>
                <a:gd name="connsiteX3996" fmla="*/ 3009806 w 4044707"/>
                <a:gd name="connsiteY3996" fmla="*/ 303876 h 2907193"/>
                <a:gd name="connsiteX3997" fmla="*/ 3009594 w 4044707"/>
                <a:gd name="connsiteY3997" fmla="*/ 303513 h 2907193"/>
                <a:gd name="connsiteX3998" fmla="*/ 3008051 w 4044707"/>
                <a:gd name="connsiteY3998" fmla="*/ 299217 h 2907193"/>
                <a:gd name="connsiteX3999" fmla="*/ 3007749 w 4044707"/>
                <a:gd name="connsiteY3999" fmla="*/ 297583 h 2907193"/>
                <a:gd name="connsiteX4000" fmla="*/ 3007900 w 4044707"/>
                <a:gd name="connsiteY4000" fmla="*/ 296343 h 2907193"/>
                <a:gd name="connsiteX4001" fmla="*/ 3008202 w 4044707"/>
                <a:gd name="connsiteY4001" fmla="*/ 295133 h 2907193"/>
                <a:gd name="connsiteX4002" fmla="*/ 3008717 w 4044707"/>
                <a:gd name="connsiteY4002" fmla="*/ 290263 h 2907193"/>
                <a:gd name="connsiteX4003" fmla="*/ 3009594 w 4044707"/>
                <a:gd name="connsiteY4003" fmla="*/ 287358 h 2907193"/>
                <a:gd name="connsiteX4004" fmla="*/ 3011500 w 4044707"/>
                <a:gd name="connsiteY4004" fmla="*/ 282427 h 2907193"/>
                <a:gd name="connsiteX4005" fmla="*/ 3013103 w 4044707"/>
                <a:gd name="connsiteY4005" fmla="*/ 276044 h 2907193"/>
                <a:gd name="connsiteX4006" fmla="*/ 3013103 w 4044707"/>
                <a:gd name="connsiteY4006" fmla="*/ 271870 h 2907193"/>
                <a:gd name="connsiteX4007" fmla="*/ 3011560 w 4044707"/>
                <a:gd name="connsiteY4007" fmla="*/ 268996 h 2907193"/>
                <a:gd name="connsiteX4008" fmla="*/ 3008384 w 4044707"/>
                <a:gd name="connsiteY4008" fmla="*/ 266485 h 2907193"/>
                <a:gd name="connsiteX4009" fmla="*/ 3004028 w 4044707"/>
                <a:gd name="connsiteY4009" fmla="*/ 264519 h 2907193"/>
                <a:gd name="connsiteX4010" fmla="*/ 2989326 w 4044707"/>
                <a:gd name="connsiteY4010" fmla="*/ 264670 h 2907193"/>
                <a:gd name="connsiteX4011" fmla="*/ 2986663 w 4044707"/>
                <a:gd name="connsiteY4011" fmla="*/ 265487 h 2907193"/>
                <a:gd name="connsiteX4012" fmla="*/ 2985665 w 4044707"/>
                <a:gd name="connsiteY4012" fmla="*/ 266485 h 2907193"/>
                <a:gd name="connsiteX4013" fmla="*/ 2985302 w 4044707"/>
                <a:gd name="connsiteY4013" fmla="*/ 267786 h 2907193"/>
                <a:gd name="connsiteX4014" fmla="*/ 2985121 w 4044707"/>
                <a:gd name="connsiteY4014" fmla="*/ 269661 h 2907193"/>
                <a:gd name="connsiteX4015" fmla="*/ 2985060 w 4044707"/>
                <a:gd name="connsiteY4015" fmla="*/ 271416 h 2907193"/>
                <a:gd name="connsiteX4016" fmla="*/ 2984999 w 4044707"/>
                <a:gd name="connsiteY4016" fmla="*/ 272233 h 2907193"/>
                <a:gd name="connsiteX4017" fmla="*/ 2983064 w 4044707"/>
                <a:gd name="connsiteY4017" fmla="*/ 273745 h 2907193"/>
                <a:gd name="connsiteX4018" fmla="*/ 2976741 w 4044707"/>
                <a:gd name="connsiteY4018" fmla="*/ 275802 h 2907193"/>
                <a:gd name="connsiteX4019" fmla="*/ 2974260 w 4044707"/>
                <a:gd name="connsiteY4019" fmla="*/ 278192 h 2907193"/>
                <a:gd name="connsiteX4020" fmla="*/ 2972052 w 4044707"/>
                <a:gd name="connsiteY4020" fmla="*/ 282337 h 2907193"/>
                <a:gd name="connsiteX4021" fmla="*/ 2970418 w 4044707"/>
                <a:gd name="connsiteY4021" fmla="*/ 288115 h 2907193"/>
                <a:gd name="connsiteX4022" fmla="*/ 2969814 w 4044707"/>
                <a:gd name="connsiteY4022" fmla="*/ 295436 h 2907193"/>
                <a:gd name="connsiteX4023" fmla="*/ 2969662 w 4044707"/>
                <a:gd name="connsiteY4023" fmla="*/ 299217 h 2907193"/>
                <a:gd name="connsiteX4024" fmla="*/ 2969451 w 4044707"/>
                <a:gd name="connsiteY4024" fmla="*/ 301093 h 2907193"/>
                <a:gd name="connsiteX4025" fmla="*/ 2969602 w 4044707"/>
                <a:gd name="connsiteY4025" fmla="*/ 302756 h 2907193"/>
                <a:gd name="connsiteX4026" fmla="*/ 2970449 w 4044707"/>
                <a:gd name="connsiteY4026" fmla="*/ 305751 h 2907193"/>
                <a:gd name="connsiteX4027" fmla="*/ 2832714 w 4044707"/>
                <a:gd name="connsiteY4027" fmla="*/ 290656 h 2907193"/>
                <a:gd name="connsiteX4028" fmla="*/ 2839914 w 4044707"/>
                <a:gd name="connsiteY4028" fmla="*/ 297160 h 2907193"/>
                <a:gd name="connsiteX4029" fmla="*/ 2843725 w 4044707"/>
                <a:gd name="connsiteY4029" fmla="*/ 298824 h 2907193"/>
                <a:gd name="connsiteX4030" fmla="*/ 2847114 w 4044707"/>
                <a:gd name="connsiteY4030" fmla="*/ 297644 h 2907193"/>
                <a:gd name="connsiteX4031" fmla="*/ 2852408 w 4044707"/>
                <a:gd name="connsiteY4031" fmla="*/ 292259 h 2907193"/>
                <a:gd name="connsiteX4032" fmla="*/ 2852680 w 4044707"/>
                <a:gd name="connsiteY4032" fmla="*/ 290928 h 2907193"/>
                <a:gd name="connsiteX4033" fmla="*/ 2852408 w 4044707"/>
                <a:gd name="connsiteY4033" fmla="*/ 289688 h 2907193"/>
                <a:gd name="connsiteX4034" fmla="*/ 2852257 w 4044707"/>
                <a:gd name="connsiteY4034" fmla="*/ 288387 h 2907193"/>
                <a:gd name="connsiteX4035" fmla="*/ 2852257 w 4044707"/>
                <a:gd name="connsiteY4035" fmla="*/ 287116 h 2907193"/>
                <a:gd name="connsiteX4036" fmla="*/ 2852680 w 4044707"/>
                <a:gd name="connsiteY4036" fmla="*/ 285483 h 2907193"/>
                <a:gd name="connsiteX4037" fmla="*/ 2854737 w 4044707"/>
                <a:gd name="connsiteY4037" fmla="*/ 281580 h 2907193"/>
                <a:gd name="connsiteX4038" fmla="*/ 2854918 w 4044707"/>
                <a:gd name="connsiteY4038" fmla="*/ 278162 h 2907193"/>
                <a:gd name="connsiteX4039" fmla="*/ 2854586 w 4044707"/>
                <a:gd name="connsiteY4039" fmla="*/ 276226 h 2907193"/>
                <a:gd name="connsiteX4040" fmla="*/ 2853950 w 4044707"/>
                <a:gd name="connsiteY4040" fmla="*/ 274290 h 2907193"/>
                <a:gd name="connsiteX4041" fmla="*/ 2852468 w 4044707"/>
                <a:gd name="connsiteY4041" fmla="*/ 271234 h 2907193"/>
                <a:gd name="connsiteX4042" fmla="*/ 2852680 w 4044707"/>
                <a:gd name="connsiteY4042" fmla="*/ 268845 h 2907193"/>
                <a:gd name="connsiteX4043" fmla="*/ 2852771 w 4044707"/>
                <a:gd name="connsiteY4043" fmla="*/ 265154 h 2907193"/>
                <a:gd name="connsiteX4044" fmla="*/ 2850865 w 4044707"/>
                <a:gd name="connsiteY4044" fmla="*/ 260737 h 2907193"/>
                <a:gd name="connsiteX4045" fmla="*/ 2850320 w 4044707"/>
                <a:gd name="connsiteY4045" fmla="*/ 259709 h 2907193"/>
                <a:gd name="connsiteX4046" fmla="*/ 2849473 w 4044707"/>
                <a:gd name="connsiteY4046" fmla="*/ 258952 h 2907193"/>
                <a:gd name="connsiteX4047" fmla="*/ 2848898 w 4044707"/>
                <a:gd name="connsiteY4047" fmla="*/ 259678 h 2907193"/>
                <a:gd name="connsiteX4048" fmla="*/ 2848233 w 4044707"/>
                <a:gd name="connsiteY4048" fmla="*/ 259920 h 2907193"/>
                <a:gd name="connsiteX4049" fmla="*/ 2847477 w 4044707"/>
                <a:gd name="connsiteY4049" fmla="*/ 259255 h 2907193"/>
                <a:gd name="connsiteX4050" fmla="*/ 2846569 w 4044707"/>
                <a:gd name="connsiteY4050" fmla="*/ 259527 h 2907193"/>
                <a:gd name="connsiteX4051" fmla="*/ 2845722 w 4044707"/>
                <a:gd name="connsiteY4051" fmla="*/ 261312 h 2907193"/>
                <a:gd name="connsiteX4052" fmla="*/ 2845329 w 4044707"/>
                <a:gd name="connsiteY4052" fmla="*/ 262794 h 2907193"/>
                <a:gd name="connsiteX4053" fmla="*/ 2845268 w 4044707"/>
                <a:gd name="connsiteY4053" fmla="*/ 263793 h 2907193"/>
                <a:gd name="connsiteX4054" fmla="*/ 2844966 w 4044707"/>
                <a:gd name="connsiteY4054" fmla="*/ 264277 h 2907193"/>
                <a:gd name="connsiteX4055" fmla="*/ 2844300 w 4044707"/>
                <a:gd name="connsiteY4055" fmla="*/ 263762 h 2907193"/>
                <a:gd name="connsiteX4056" fmla="*/ 2843241 w 4044707"/>
                <a:gd name="connsiteY4056" fmla="*/ 263339 h 2907193"/>
                <a:gd name="connsiteX4057" fmla="*/ 2840246 w 4044707"/>
                <a:gd name="connsiteY4057" fmla="*/ 263278 h 2907193"/>
                <a:gd name="connsiteX4058" fmla="*/ 2838855 w 4044707"/>
                <a:gd name="connsiteY4058" fmla="*/ 264156 h 2907193"/>
                <a:gd name="connsiteX4059" fmla="*/ 2838613 w 4044707"/>
                <a:gd name="connsiteY4059" fmla="*/ 265335 h 2907193"/>
                <a:gd name="connsiteX4060" fmla="*/ 2839339 w 4044707"/>
                <a:gd name="connsiteY4060" fmla="*/ 266334 h 2907193"/>
                <a:gd name="connsiteX4061" fmla="*/ 2840761 w 4044707"/>
                <a:gd name="connsiteY4061" fmla="*/ 267846 h 2907193"/>
                <a:gd name="connsiteX4062" fmla="*/ 2841124 w 4044707"/>
                <a:gd name="connsiteY4062" fmla="*/ 268905 h 2907193"/>
                <a:gd name="connsiteX4063" fmla="*/ 2840912 w 4044707"/>
                <a:gd name="connsiteY4063" fmla="*/ 270085 h 2907193"/>
                <a:gd name="connsiteX4064" fmla="*/ 2841608 w 4044707"/>
                <a:gd name="connsiteY4064" fmla="*/ 272112 h 2907193"/>
                <a:gd name="connsiteX4065" fmla="*/ 2843514 w 4044707"/>
                <a:gd name="connsiteY4065" fmla="*/ 274048 h 2907193"/>
                <a:gd name="connsiteX4066" fmla="*/ 2843453 w 4044707"/>
                <a:gd name="connsiteY4066" fmla="*/ 275288 h 2907193"/>
                <a:gd name="connsiteX4067" fmla="*/ 2841094 w 4044707"/>
                <a:gd name="connsiteY4067" fmla="*/ 276347 h 2907193"/>
                <a:gd name="connsiteX4068" fmla="*/ 2839490 w 4044707"/>
                <a:gd name="connsiteY4068" fmla="*/ 278374 h 2907193"/>
                <a:gd name="connsiteX4069" fmla="*/ 2839551 w 4044707"/>
                <a:gd name="connsiteY4069" fmla="*/ 285997 h 2907193"/>
                <a:gd name="connsiteX4070" fmla="*/ 2838401 w 4044707"/>
                <a:gd name="connsiteY4070" fmla="*/ 286118 h 2907193"/>
                <a:gd name="connsiteX4071" fmla="*/ 2837312 w 4044707"/>
                <a:gd name="connsiteY4071" fmla="*/ 283607 h 2907193"/>
                <a:gd name="connsiteX4072" fmla="*/ 2836102 w 4044707"/>
                <a:gd name="connsiteY4072" fmla="*/ 282579 h 2907193"/>
                <a:gd name="connsiteX4073" fmla="*/ 2834226 w 4044707"/>
                <a:gd name="connsiteY4073" fmla="*/ 282942 h 2907193"/>
                <a:gd name="connsiteX4074" fmla="*/ 2829810 w 4044707"/>
                <a:gd name="connsiteY4074" fmla="*/ 285876 h 2907193"/>
                <a:gd name="connsiteX4075" fmla="*/ 2829205 w 4044707"/>
                <a:gd name="connsiteY4075" fmla="*/ 287570 h 2907193"/>
                <a:gd name="connsiteX4076" fmla="*/ 2830596 w 4044707"/>
                <a:gd name="connsiteY4076" fmla="*/ 289264 h 2907193"/>
                <a:gd name="connsiteX4077" fmla="*/ 2832805 w 4044707"/>
                <a:gd name="connsiteY4077" fmla="*/ 290656 h 2907193"/>
                <a:gd name="connsiteX4078" fmla="*/ 2893247 w 4044707"/>
                <a:gd name="connsiteY4078" fmla="*/ 269238 h 2907193"/>
                <a:gd name="connsiteX4079" fmla="*/ 2896363 w 4044707"/>
                <a:gd name="connsiteY4079" fmla="*/ 273049 h 2907193"/>
                <a:gd name="connsiteX4080" fmla="*/ 2897301 w 4044707"/>
                <a:gd name="connsiteY4080" fmla="*/ 274925 h 2907193"/>
                <a:gd name="connsiteX4081" fmla="*/ 2899176 w 4044707"/>
                <a:gd name="connsiteY4081" fmla="*/ 277648 h 2907193"/>
                <a:gd name="connsiteX4082" fmla="*/ 2900144 w 4044707"/>
                <a:gd name="connsiteY4082" fmla="*/ 279675 h 2907193"/>
                <a:gd name="connsiteX4083" fmla="*/ 2902595 w 4044707"/>
                <a:gd name="connsiteY4083" fmla="*/ 288054 h 2907193"/>
                <a:gd name="connsiteX4084" fmla="*/ 2903533 w 4044707"/>
                <a:gd name="connsiteY4084" fmla="*/ 289930 h 2907193"/>
                <a:gd name="connsiteX4085" fmla="*/ 2904289 w 4044707"/>
                <a:gd name="connsiteY4085" fmla="*/ 290716 h 2907193"/>
                <a:gd name="connsiteX4086" fmla="*/ 2904803 w 4044707"/>
                <a:gd name="connsiteY4086" fmla="*/ 292017 h 2907193"/>
                <a:gd name="connsiteX4087" fmla="*/ 2904985 w 4044707"/>
                <a:gd name="connsiteY4087" fmla="*/ 295405 h 2907193"/>
                <a:gd name="connsiteX4088" fmla="*/ 2904803 w 4044707"/>
                <a:gd name="connsiteY4088" fmla="*/ 303573 h 2907193"/>
                <a:gd name="connsiteX4089" fmla="*/ 2904985 w 4044707"/>
                <a:gd name="connsiteY4089" fmla="*/ 305691 h 2907193"/>
                <a:gd name="connsiteX4090" fmla="*/ 2907677 w 4044707"/>
                <a:gd name="connsiteY4090" fmla="*/ 310652 h 2907193"/>
                <a:gd name="connsiteX4091" fmla="*/ 2912033 w 4044707"/>
                <a:gd name="connsiteY4091" fmla="*/ 312588 h 2907193"/>
                <a:gd name="connsiteX4092" fmla="*/ 2928006 w 4044707"/>
                <a:gd name="connsiteY4092" fmla="*/ 312588 h 2907193"/>
                <a:gd name="connsiteX4093" fmla="*/ 2931878 w 4044707"/>
                <a:gd name="connsiteY4093" fmla="*/ 310138 h 2907193"/>
                <a:gd name="connsiteX4094" fmla="*/ 2933330 w 4044707"/>
                <a:gd name="connsiteY4094" fmla="*/ 308474 h 2907193"/>
                <a:gd name="connsiteX4095" fmla="*/ 2933875 w 4044707"/>
                <a:gd name="connsiteY4095" fmla="*/ 306387 h 2907193"/>
                <a:gd name="connsiteX4096" fmla="*/ 2932604 w 4044707"/>
                <a:gd name="connsiteY4096" fmla="*/ 303845 h 2907193"/>
                <a:gd name="connsiteX4097" fmla="*/ 2935660 w 4044707"/>
                <a:gd name="connsiteY4097" fmla="*/ 301395 h 2907193"/>
                <a:gd name="connsiteX4098" fmla="*/ 2945733 w 4044707"/>
                <a:gd name="connsiteY4098" fmla="*/ 298309 h 2907193"/>
                <a:gd name="connsiteX4099" fmla="*/ 2945733 w 4044707"/>
                <a:gd name="connsiteY4099" fmla="*/ 296283 h 2907193"/>
                <a:gd name="connsiteX4100" fmla="*/ 2941438 w 4044707"/>
                <a:gd name="connsiteY4100" fmla="*/ 296283 h 2907193"/>
                <a:gd name="connsiteX4101" fmla="*/ 2928429 w 4044707"/>
                <a:gd name="connsiteY4101" fmla="*/ 289022 h 2907193"/>
                <a:gd name="connsiteX4102" fmla="*/ 2925949 w 4044707"/>
                <a:gd name="connsiteY4102" fmla="*/ 286965 h 2907193"/>
                <a:gd name="connsiteX4103" fmla="*/ 2924013 w 4044707"/>
                <a:gd name="connsiteY4103" fmla="*/ 284454 h 2907193"/>
                <a:gd name="connsiteX4104" fmla="*/ 2923257 w 4044707"/>
                <a:gd name="connsiteY4104" fmla="*/ 280915 h 2907193"/>
                <a:gd name="connsiteX4105" fmla="*/ 2924315 w 4044707"/>
                <a:gd name="connsiteY4105" fmla="*/ 275802 h 2907193"/>
                <a:gd name="connsiteX4106" fmla="*/ 2919324 w 4044707"/>
                <a:gd name="connsiteY4106" fmla="*/ 270781 h 2907193"/>
                <a:gd name="connsiteX4107" fmla="*/ 2917448 w 4044707"/>
                <a:gd name="connsiteY4107" fmla="*/ 270236 h 2907193"/>
                <a:gd name="connsiteX4108" fmla="*/ 2916752 w 4044707"/>
                <a:gd name="connsiteY4108" fmla="*/ 271718 h 2907193"/>
                <a:gd name="connsiteX4109" fmla="*/ 2915451 w 4044707"/>
                <a:gd name="connsiteY4109" fmla="*/ 278888 h 2907193"/>
                <a:gd name="connsiteX4110" fmla="*/ 2914635 w 4044707"/>
                <a:gd name="connsiteY4110" fmla="*/ 281399 h 2907193"/>
                <a:gd name="connsiteX4111" fmla="*/ 2911670 w 4044707"/>
                <a:gd name="connsiteY4111" fmla="*/ 282821 h 2907193"/>
                <a:gd name="connsiteX4112" fmla="*/ 2910248 w 4044707"/>
                <a:gd name="connsiteY4112" fmla="*/ 277980 h 2907193"/>
                <a:gd name="connsiteX4113" fmla="*/ 2909129 w 4044707"/>
                <a:gd name="connsiteY4113" fmla="*/ 271658 h 2907193"/>
                <a:gd name="connsiteX4114" fmla="*/ 2907102 w 4044707"/>
                <a:gd name="connsiteY4114" fmla="*/ 268512 h 2907193"/>
                <a:gd name="connsiteX4115" fmla="*/ 2905348 w 4044707"/>
                <a:gd name="connsiteY4115" fmla="*/ 267937 h 2907193"/>
                <a:gd name="connsiteX4116" fmla="*/ 2903411 w 4044707"/>
                <a:gd name="connsiteY4116" fmla="*/ 266364 h 2907193"/>
                <a:gd name="connsiteX4117" fmla="*/ 2901596 w 4044707"/>
                <a:gd name="connsiteY4117" fmla="*/ 263944 h 2907193"/>
                <a:gd name="connsiteX4118" fmla="*/ 2900235 w 4044707"/>
                <a:gd name="connsiteY4118" fmla="*/ 260858 h 2907193"/>
                <a:gd name="connsiteX4119" fmla="*/ 2899842 w 4044707"/>
                <a:gd name="connsiteY4119" fmla="*/ 258075 h 2907193"/>
                <a:gd name="connsiteX4120" fmla="*/ 2899569 w 4044707"/>
                <a:gd name="connsiteY4120" fmla="*/ 254384 h 2907193"/>
                <a:gd name="connsiteX4121" fmla="*/ 2899025 w 4044707"/>
                <a:gd name="connsiteY4121" fmla="*/ 251178 h 2907193"/>
                <a:gd name="connsiteX4122" fmla="*/ 2897815 w 4044707"/>
                <a:gd name="connsiteY4122" fmla="*/ 249786 h 2907193"/>
                <a:gd name="connsiteX4123" fmla="*/ 2891553 w 4044707"/>
                <a:gd name="connsiteY4123" fmla="*/ 252841 h 2907193"/>
                <a:gd name="connsiteX4124" fmla="*/ 2888800 w 4044707"/>
                <a:gd name="connsiteY4124" fmla="*/ 255836 h 2907193"/>
                <a:gd name="connsiteX4125" fmla="*/ 2889133 w 4044707"/>
                <a:gd name="connsiteY4125" fmla="*/ 258983 h 2907193"/>
                <a:gd name="connsiteX4126" fmla="*/ 2889133 w 4044707"/>
                <a:gd name="connsiteY4126" fmla="*/ 260858 h 2907193"/>
                <a:gd name="connsiteX4127" fmla="*/ 2886259 w 4044707"/>
                <a:gd name="connsiteY4127" fmla="*/ 259134 h 2907193"/>
                <a:gd name="connsiteX4128" fmla="*/ 2884867 w 4044707"/>
                <a:gd name="connsiteY4128" fmla="*/ 259073 h 2907193"/>
                <a:gd name="connsiteX4129" fmla="*/ 2883627 w 4044707"/>
                <a:gd name="connsiteY4129" fmla="*/ 260858 h 2907193"/>
                <a:gd name="connsiteX4130" fmla="*/ 2885866 w 4044707"/>
                <a:gd name="connsiteY4130" fmla="*/ 266031 h 2907193"/>
                <a:gd name="connsiteX4131" fmla="*/ 2893277 w 4044707"/>
                <a:gd name="connsiteY4131" fmla="*/ 269298 h 2907193"/>
                <a:gd name="connsiteX4132" fmla="*/ 3101558 w 4044707"/>
                <a:gd name="connsiteY4132" fmla="*/ 257621 h 2907193"/>
                <a:gd name="connsiteX4133" fmla="*/ 3102738 w 4044707"/>
                <a:gd name="connsiteY4133" fmla="*/ 258105 h 2907193"/>
                <a:gd name="connsiteX4134" fmla="*/ 3104372 w 4044707"/>
                <a:gd name="connsiteY4134" fmla="*/ 256774 h 2907193"/>
                <a:gd name="connsiteX4135" fmla="*/ 3106187 w 4044707"/>
                <a:gd name="connsiteY4135" fmla="*/ 254142 h 2907193"/>
                <a:gd name="connsiteX4136" fmla="*/ 3107760 w 4044707"/>
                <a:gd name="connsiteY4136" fmla="*/ 250724 h 2907193"/>
                <a:gd name="connsiteX4137" fmla="*/ 3110694 w 4044707"/>
                <a:gd name="connsiteY4137" fmla="*/ 240680 h 2907193"/>
                <a:gd name="connsiteX4138" fmla="*/ 3111239 w 4044707"/>
                <a:gd name="connsiteY4138" fmla="*/ 234176 h 2907193"/>
                <a:gd name="connsiteX4139" fmla="*/ 3110603 w 4044707"/>
                <a:gd name="connsiteY4139" fmla="*/ 231151 h 2907193"/>
                <a:gd name="connsiteX4140" fmla="*/ 3105098 w 4044707"/>
                <a:gd name="connsiteY4140" fmla="*/ 225585 h 2907193"/>
                <a:gd name="connsiteX4141" fmla="*/ 3104220 w 4044707"/>
                <a:gd name="connsiteY4141" fmla="*/ 224345 h 2907193"/>
                <a:gd name="connsiteX4142" fmla="*/ 3102496 w 4044707"/>
                <a:gd name="connsiteY4142" fmla="*/ 222530 h 2907193"/>
                <a:gd name="connsiteX4143" fmla="*/ 3101619 w 4044707"/>
                <a:gd name="connsiteY4143" fmla="*/ 223316 h 2907193"/>
                <a:gd name="connsiteX4144" fmla="*/ 3101619 w 4044707"/>
                <a:gd name="connsiteY4144" fmla="*/ 226008 h 2907193"/>
                <a:gd name="connsiteX4145" fmla="*/ 3101044 w 4044707"/>
                <a:gd name="connsiteY4145" fmla="*/ 227551 h 2907193"/>
                <a:gd name="connsiteX4146" fmla="*/ 3100560 w 4044707"/>
                <a:gd name="connsiteY4146" fmla="*/ 227763 h 2907193"/>
                <a:gd name="connsiteX4147" fmla="*/ 3100046 w 4044707"/>
                <a:gd name="connsiteY4147" fmla="*/ 228066 h 2907193"/>
                <a:gd name="connsiteX4148" fmla="*/ 3099683 w 4044707"/>
                <a:gd name="connsiteY4148" fmla="*/ 229548 h 2907193"/>
                <a:gd name="connsiteX4149" fmla="*/ 3100137 w 4044707"/>
                <a:gd name="connsiteY4149" fmla="*/ 232089 h 2907193"/>
                <a:gd name="connsiteX4150" fmla="*/ 3100137 w 4044707"/>
                <a:gd name="connsiteY4150" fmla="*/ 237353 h 2907193"/>
                <a:gd name="connsiteX4151" fmla="*/ 3099108 w 4044707"/>
                <a:gd name="connsiteY4151" fmla="*/ 245067 h 2907193"/>
                <a:gd name="connsiteX4152" fmla="*/ 3098896 w 4044707"/>
                <a:gd name="connsiteY4152" fmla="*/ 251268 h 2907193"/>
                <a:gd name="connsiteX4153" fmla="*/ 3100167 w 4044707"/>
                <a:gd name="connsiteY4153" fmla="*/ 255201 h 2907193"/>
                <a:gd name="connsiteX4154" fmla="*/ 3101528 w 4044707"/>
                <a:gd name="connsiteY4154" fmla="*/ 257591 h 2907193"/>
                <a:gd name="connsiteX4155" fmla="*/ 3177066 w 4044707"/>
                <a:gd name="connsiteY4155" fmla="*/ 234600 h 2907193"/>
                <a:gd name="connsiteX4156" fmla="*/ 3175644 w 4044707"/>
                <a:gd name="connsiteY4156" fmla="*/ 231696 h 2907193"/>
                <a:gd name="connsiteX4157" fmla="*/ 3173799 w 4044707"/>
                <a:gd name="connsiteY4157" fmla="*/ 230153 h 2907193"/>
                <a:gd name="connsiteX4158" fmla="*/ 3171439 w 4044707"/>
                <a:gd name="connsiteY4158" fmla="*/ 231242 h 2907193"/>
                <a:gd name="connsiteX4159" fmla="*/ 3169533 w 4044707"/>
                <a:gd name="connsiteY4159" fmla="*/ 234207 h 2907193"/>
                <a:gd name="connsiteX4160" fmla="*/ 3169019 w 4044707"/>
                <a:gd name="connsiteY4160" fmla="*/ 238351 h 2907193"/>
                <a:gd name="connsiteX4161" fmla="*/ 3169775 w 4044707"/>
                <a:gd name="connsiteY4161" fmla="*/ 240075 h 2907193"/>
                <a:gd name="connsiteX4162" fmla="*/ 3176189 w 4044707"/>
                <a:gd name="connsiteY4162" fmla="*/ 249484 h 2907193"/>
                <a:gd name="connsiteX4163" fmla="*/ 3205018 w 4044707"/>
                <a:gd name="connsiteY4163" fmla="*/ 258952 h 2907193"/>
                <a:gd name="connsiteX4164" fmla="*/ 3232154 w 4044707"/>
                <a:gd name="connsiteY4164" fmla="*/ 261070 h 2907193"/>
                <a:gd name="connsiteX4165" fmla="*/ 3233636 w 4044707"/>
                <a:gd name="connsiteY4165" fmla="*/ 259678 h 2907193"/>
                <a:gd name="connsiteX4166" fmla="*/ 3233939 w 4044707"/>
                <a:gd name="connsiteY4166" fmla="*/ 256744 h 2907193"/>
                <a:gd name="connsiteX4167" fmla="*/ 3232850 w 4044707"/>
                <a:gd name="connsiteY4167" fmla="*/ 252418 h 2907193"/>
                <a:gd name="connsiteX4168" fmla="*/ 3230853 w 4044707"/>
                <a:gd name="connsiteY4168" fmla="*/ 249060 h 2907193"/>
                <a:gd name="connsiteX4169" fmla="*/ 3228584 w 4044707"/>
                <a:gd name="connsiteY4169" fmla="*/ 247699 h 2907193"/>
                <a:gd name="connsiteX4170" fmla="*/ 3226285 w 4044707"/>
                <a:gd name="connsiteY4170" fmla="*/ 247033 h 2907193"/>
                <a:gd name="connsiteX4171" fmla="*/ 3224228 w 4044707"/>
                <a:gd name="connsiteY4171" fmla="*/ 245823 h 2907193"/>
                <a:gd name="connsiteX4172" fmla="*/ 3224893 w 4044707"/>
                <a:gd name="connsiteY4172" fmla="*/ 243615 h 2907193"/>
                <a:gd name="connsiteX4173" fmla="*/ 3225710 w 4044707"/>
                <a:gd name="connsiteY4173" fmla="*/ 241921 h 2907193"/>
                <a:gd name="connsiteX4174" fmla="*/ 3226618 w 4044707"/>
                <a:gd name="connsiteY4174" fmla="*/ 240771 h 2907193"/>
                <a:gd name="connsiteX4175" fmla="*/ 3227616 w 4044707"/>
                <a:gd name="connsiteY4175" fmla="*/ 240166 h 2907193"/>
                <a:gd name="connsiteX4176" fmla="*/ 3214699 w 4044707"/>
                <a:gd name="connsiteY4176" fmla="*/ 237807 h 2907193"/>
                <a:gd name="connsiteX4177" fmla="*/ 3212460 w 4044707"/>
                <a:gd name="connsiteY4177" fmla="*/ 235477 h 2907193"/>
                <a:gd name="connsiteX4178" fmla="*/ 3211764 w 4044707"/>
                <a:gd name="connsiteY4178" fmla="*/ 228701 h 2907193"/>
                <a:gd name="connsiteX4179" fmla="*/ 3209919 w 4044707"/>
                <a:gd name="connsiteY4179" fmla="*/ 223377 h 2907193"/>
                <a:gd name="connsiteX4180" fmla="*/ 3207499 w 4044707"/>
                <a:gd name="connsiteY4180" fmla="*/ 220956 h 2907193"/>
                <a:gd name="connsiteX4181" fmla="*/ 3204897 w 4044707"/>
                <a:gd name="connsiteY4181" fmla="*/ 223104 h 2907193"/>
                <a:gd name="connsiteX4182" fmla="*/ 3205563 w 4044707"/>
                <a:gd name="connsiteY4182" fmla="*/ 229215 h 2907193"/>
                <a:gd name="connsiteX4183" fmla="*/ 3204837 w 4044707"/>
                <a:gd name="connsiteY4183" fmla="*/ 234842 h 2907193"/>
                <a:gd name="connsiteX4184" fmla="*/ 3203294 w 4044707"/>
                <a:gd name="connsiteY4184" fmla="*/ 236929 h 2907193"/>
                <a:gd name="connsiteX4185" fmla="*/ 3201479 w 4044707"/>
                <a:gd name="connsiteY4185" fmla="*/ 232513 h 2907193"/>
                <a:gd name="connsiteX4186" fmla="*/ 3201267 w 4044707"/>
                <a:gd name="connsiteY4186" fmla="*/ 229790 h 2907193"/>
                <a:gd name="connsiteX4187" fmla="*/ 3201267 w 4044707"/>
                <a:gd name="connsiteY4187" fmla="*/ 223558 h 2907193"/>
                <a:gd name="connsiteX4188" fmla="*/ 3200723 w 4044707"/>
                <a:gd name="connsiteY4188" fmla="*/ 221198 h 2907193"/>
                <a:gd name="connsiteX4189" fmla="*/ 3199271 w 4044707"/>
                <a:gd name="connsiteY4189" fmla="*/ 219898 h 2907193"/>
                <a:gd name="connsiteX4190" fmla="*/ 3197879 w 4044707"/>
                <a:gd name="connsiteY4190" fmla="*/ 220805 h 2907193"/>
                <a:gd name="connsiteX4191" fmla="*/ 3196881 w 4044707"/>
                <a:gd name="connsiteY4191" fmla="*/ 223346 h 2907193"/>
                <a:gd name="connsiteX4192" fmla="*/ 3196608 w 4044707"/>
                <a:gd name="connsiteY4192" fmla="*/ 227007 h 2907193"/>
                <a:gd name="connsiteX4193" fmla="*/ 3195913 w 4044707"/>
                <a:gd name="connsiteY4193" fmla="*/ 227007 h 2907193"/>
                <a:gd name="connsiteX4194" fmla="*/ 3195096 w 4044707"/>
                <a:gd name="connsiteY4194" fmla="*/ 223588 h 2907193"/>
                <a:gd name="connsiteX4195" fmla="*/ 3193674 w 4044707"/>
                <a:gd name="connsiteY4195" fmla="*/ 223135 h 2907193"/>
                <a:gd name="connsiteX4196" fmla="*/ 3192343 w 4044707"/>
                <a:gd name="connsiteY4196" fmla="*/ 225040 h 2907193"/>
                <a:gd name="connsiteX4197" fmla="*/ 3191799 w 4044707"/>
                <a:gd name="connsiteY4197" fmla="*/ 228701 h 2907193"/>
                <a:gd name="connsiteX4198" fmla="*/ 3189287 w 4044707"/>
                <a:gd name="connsiteY4198" fmla="*/ 224496 h 2907193"/>
                <a:gd name="connsiteX4199" fmla="*/ 3184719 w 4044707"/>
                <a:gd name="connsiteY4199" fmla="*/ 229397 h 2907193"/>
                <a:gd name="connsiteX4200" fmla="*/ 3180212 w 4044707"/>
                <a:gd name="connsiteY4200" fmla="*/ 223800 h 2907193"/>
                <a:gd name="connsiteX4201" fmla="*/ 3179062 w 4044707"/>
                <a:gd name="connsiteY4201" fmla="*/ 224950 h 2907193"/>
                <a:gd name="connsiteX4202" fmla="*/ 3178488 w 4044707"/>
                <a:gd name="connsiteY4202" fmla="*/ 228277 h 2907193"/>
                <a:gd name="connsiteX4203" fmla="*/ 3178669 w 4044707"/>
                <a:gd name="connsiteY4203" fmla="*/ 232452 h 2907193"/>
                <a:gd name="connsiteX4204" fmla="*/ 3179244 w 4044707"/>
                <a:gd name="connsiteY4204" fmla="*/ 233934 h 2907193"/>
                <a:gd name="connsiteX4205" fmla="*/ 3182178 w 4044707"/>
                <a:gd name="connsiteY4205" fmla="*/ 240136 h 2907193"/>
                <a:gd name="connsiteX4206" fmla="*/ 3178639 w 4044707"/>
                <a:gd name="connsiteY4206" fmla="*/ 236778 h 2907193"/>
                <a:gd name="connsiteX4207" fmla="*/ 3177006 w 4044707"/>
                <a:gd name="connsiteY4207" fmla="*/ 234479 h 2907193"/>
                <a:gd name="connsiteX4208" fmla="*/ 3271420 w 4044707"/>
                <a:gd name="connsiteY4208" fmla="*/ 159153 h 2907193"/>
                <a:gd name="connsiteX4209" fmla="*/ 3272146 w 4044707"/>
                <a:gd name="connsiteY4209" fmla="*/ 160454 h 2907193"/>
                <a:gd name="connsiteX4210" fmla="*/ 3278106 w 4044707"/>
                <a:gd name="connsiteY4210" fmla="*/ 162390 h 2907193"/>
                <a:gd name="connsiteX4211" fmla="*/ 3277531 w 4044707"/>
                <a:gd name="connsiteY4211" fmla="*/ 163751 h 2907193"/>
                <a:gd name="connsiteX4212" fmla="*/ 3276533 w 4044707"/>
                <a:gd name="connsiteY4212" fmla="*/ 166867 h 2907193"/>
                <a:gd name="connsiteX4213" fmla="*/ 3275988 w 4044707"/>
                <a:gd name="connsiteY4213" fmla="*/ 168258 h 2907193"/>
                <a:gd name="connsiteX4214" fmla="*/ 3281312 w 4044707"/>
                <a:gd name="connsiteY4214" fmla="*/ 172282 h 2907193"/>
                <a:gd name="connsiteX4215" fmla="*/ 3283944 w 4044707"/>
                <a:gd name="connsiteY4215" fmla="*/ 175307 h 2907193"/>
                <a:gd name="connsiteX4216" fmla="*/ 3286365 w 4044707"/>
                <a:gd name="connsiteY4216" fmla="*/ 179512 h 2907193"/>
                <a:gd name="connsiteX4217" fmla="*/ 3282764 w 4044707"/>
                <a:gd name="connsiteY4217" fmla="*/ 179512 h 2907193"/>
                <a:gd name="connsiteX4218" fmla="*/ 3273598 w 4044707"/>
                <a:gd name="connsiteY4218" fmla="*/ 174823 h 2907193"/>
                <a:gd name="connsiteX4219" fmla="*/ 3271118 w 4044707"/>
                <a:gd name="connsiteY4219" fmla="*/ 179512 h 2907193"/>
                <a:gd name="connsiteX4220" fmla="*/ 3271723 w 4044707"/>
                <a:gd name="connsiteY4220" fmla="*/ 180299 h 2907193"/>
                <a:gd name="connsiteX4221" fmla="*/ 3273175 w 4044707"/>
                <a:gd name="connsiteY4221" fmla="*/ 183293 h 2907193"/>
                <a:gd name="connsiteX4222" fmla="*/ 3271027 w 4044707"/>
                <a:gd name="connsiteY4222" fmla="*/ 182840 h 2907193"/>
                <a:gd name="connsiteX4223" fmla="*/ 3267639 w 4044707"/>
                <a:gd name="connsiteY4223" fmla="*/ 178967 h 2907193"/>
                <a:gd name="connsiteX4224" fmla="*/ 3265612 w 4044707"/>
                <a:gd name="connsiteY4224" fmla="*/ 177606 h 2907193"/>
                <a:gd name="connsiteX4225" fmla="*/ 3263040 w 4044707"/>
                <a:gd name="connsiteY4225" fmla="*/ 177969 h 2907193"/>
                <a:gd name="connsiteX4226" fmla="*/ 3262103 w 4044707"/>
                <a:gd name="connsiteY4226" fmla="*/ 179996 h 2907193"/>
                <a:gd name="connsiteX4227" fmla="*/ 3262738 w 4044707"/>
                <a:gd name="connsiteY4227" fmla="*/ 182235 h 2907193"/>
                <a:gd name="connsiteX4228" fmla="*/ 3264916 w 4044707"/>
                <a:gd name="connsiteY4228" fmla="*/ 183293 h 2907193"/>
                <a:gd name="connsiteX4229" fmla="*/ 3263343 w 4044707"/>
                <a:gd name="connsiteY4229" fmla="*/ 186772 h 2907193"/>
                <a:gd name="connsiteX4230" fmla="*/ 3261377 w 4044707"/>
                <a:gd name="connsiteY4230" fmla="*/ 196453 h 2907193"/>
                <a:gd name="connsiteX4231" fmla="*/ 3260076 w 4044707"/>
                <a:gd name="connsiteY4231" fmla="*/ 198449 h 2907193"/>
                <a:gd name="connsiteX4232" fmla="*/ 3258291 w 4044707"/>
                <a:gd name="connsiteY4232" fmla="*/ 197270 h 2907193"/>
                <a:gd name="connsiteX4233" fmla="*/ 3258291 w 4044707"/>
                <a:gd name="connsiteY4233" fmla="*/ 194244 h 2907193"/>
                <a:gd name="connsiteX4234" fmla="*/ 3258957 w 4044707"/>
                <a:gd name="connsiteY4234" fmla="*/ 190312 h 2907193"/>
                <a:gd name="connsiteX4235" fmla="*/ 3259380 w 4044707"/>
                <a:gd name="connsiteY4235" fmla="*/ 186258 h 2907193"/>
                <a:gd name="connsiteX4236" fmla="*/ 3258412 w 4044707"/>
                <a:gd name="connsiteY4236" fmla="*/ 181962 h 2907193"/>
                <a:gd name="connsiteX4237" fmla="*/ 3256143 w 4044707"/>
                <a:gd name="connsiteY4237" fmla="*/ 179331 h 2907193"/>
                <a:gd name="connsiteX4238" fmla="*/ 3253602 w 4044707"/>
                <a:gd name="connsiteY4238" fmla="*/ 177999 h 2907193"/>
                <a:gd name="connsiteX4239" fmla="*/ 3251787 w 4044707"/>
                <a:gd name="connsiteY4239" fmla="*/ 177636 h 2907193"/>
                <a:gd name="connsiteX4240" fmla="*/ 3249670 w 4044707"/>
                <a:gd name="connsiteY4240" fmla="*/ 178786 h 2907193"/>
                <a:gd name="connsiteX4241" fmla="*/ 3250214 w 4044707"/>
                <a:gd name="connsiteY4241" fmla="*/ 181297 h 2907193"/>
                <a:gd name="connsiteX4242" fmla="*/ 3252211 w 4044707"/>
                <a:gd name="connsiteY4242" fmla="*/ 183929 h 2907193"/>
                <a:gd name="connsiteX4243" fmla="*/ 3254479 w 4044707"/>
                <a:gd name="connsiteY4243" fmla="*/ 185381 h 2907193"/>
                <a:gd name="connsiteX4244" fmla="*/ 3254479 w 4044707"/>
                <a:gd name="connsiteY4244" fmla="*/ 187105 h 2907193"/>
                <a:gd name="connsiteX4245" fmla="*/ 3252211 w 4044707"/>
                <a:gd name="connsiteY4245" fmla="*/ 188194 h 2907193"/>
                <a:gd name="connsiteX4246" fmla="*/ 3249458 w 4044707"/>
                <a:gd name="connsiteY4246" fmla="*/ 191250 h 2907193"/>
                <a:gd name="connsiteX4247" fmla="*/ 3247189 w 4044707"/>
                <a:gd name="connsiteY4247" fmla="*/ 192460 h 2907193"/>
                <a:gd name="connsiteX4248" fmla="*/ 3246221 w 4044707"/>
                <a:gd name="connsiteY4248" fmla="*/ 188073 h 2907193"/>
                <a:gd name="connsiteX4249" fmla="*/ 3244496 w 4044707"/>
                <a:gd name="connsiteY4249" fmla="*/ 186288 h 2907193"/>
                <a:gd name="connsiteX4250" fmla="*/ 3233848 w 4044707"/>
                <a:gd name="connsiteY4250" fmla="*/ 192823 h 2907193"/>
                <a:gd name="connsiteX4251" fmla="*/ 3233273 w 4044707"/>
                <a:gd name="connsiteY4251" fmla="*/ 193912 h 2907193"/>
                <a:gd name="connsiteX4252" fmla="*/ 3232335 w 4044707"/>
                <a:gd name="connsiteY4252" fmla="*/ 197391 h 2907193"/>
                <a:gd name="connsiteX4253" fmla="*/ 3231761 w 4044707"/>
                <a:gd name="connsiteY4253" fmla="*/ 198510 h 2907193"/>
                <a:gd name="connsiteX4254" fmla="*/ 3231065 w 4044707"/>
                <a:gd name="connsiteY4254" fmla="*/ 198691 h 2907193"/>
                <a:gd name="connsiteX4255" fmla="*/ 3229189 w 4044707"/>
                <a:gd name="connsiteY4255" fmla="*/ 198359 h 2907193"/>
                <a:gd name="connsiteX4256" fmla="*/ 3228312 w 4044707"/>
                <a:gd name="connsiteY4256" fmla="*/ 198540 h 2907193"/>
                <a:gd name="connsiteX4257" fmla="*/ 3228070 w 4044707"/>
                <a:gd name="connsiteY4257" fmla="*/ 200476 h 2907193"/>
                <a:gd name="connsiteX4258" fmla="*/ 3227767 w 4044707"/>
                <a:gd name="connsiteY4258" fmla="*/ 201747 h 2907193"/>
                <a:gd name="connsiteX4259" fmla="*/ 3227223 w 4044707"/>
                <a:gd name="connsiteY4259" fmla="*/ 202322 h 2907193"/>
                <a:gd name="connsiteX4260" fmla="*/ 3226285 w 4044707"/>
                <a:gd name="connsiteY4260" fmla="*/ 202473 h 2907193"/>
                <a:gd name="connsiteX4261" fmla="*/ 3225559 w 4044707"/>
                <a:gd name="connsiteY4261" fmla="*/ 202836 h 2907193"/>
                <a:gd name="connsiteX4262" fmla="*/ 3224137 w 4044707"/>
                <a:gd name="connsiteY4262" fmla="*/ 204197 h 2907193"/>
                <a:gd name="connsiteX4263" fmla="*/ 3221596 w 4044707"/>
                <a:gd name="connsiteY4263" fmla="*/ 205619 h 2907193"/>
                <a:gd name="connsiteX4264" fmla="*/ 3221414 w 4044707"/>
                <a:gd name="connsiteY4264" fmla="*/ 206950 h 2907193"/>
                <a:gd name="connsiteX4265" fmla="*/ 3222776 w 4044707"/>
                <a:gd name="connsiteY4265" fmla="*/ 210036 h 2907193"/>
                <a:gd name="connsiteX4266" fmla="*/ 3223865 w 4044707"/>
                <a:gd name="connsiteY4266" fmla="*/ 211185 h 2907193"/>
                <a:gd name="connsiteX4267" fmla="*/ 3228312 w 4044707"/>
                <a:gd name="connsiteY4267" fmla="*/ 213817 h 2907193"/>
                <a:gd name="connsiteX4268" fmla="*/ 3225922 w 4044707"/>
                <a:gd name="connsiteY4268" fmla="*/ 217780 h 2907193"/>
                <a:gd name="connsiteX4269" fmla="*/ 3219962 w 4044707"/>
                <a:gd name="connsiteY4269" fmla="*/ 215844 h 2907193"/>
                <a:gd name="connsiteX4270" fmla="*/ 3217270 w 4044707"/>
                <a:gd name="connsiteY4270" fmla="*/ 217629 h 2907193"/>
                <a:gd name="connsiteX4271" fmla="*/ 3219025 w 4044707"/>
                <a:gd name="connsiteY4271" fmla="*/ 219111 h 2907193"/>
                <a:gd name="connsiteX4272" fmla="*/ 3225831 w 4044707"/>
                <a:gd name="connsiteY4272" fmla="*/ 229850 h 2907193"/>
                <a:gd name="connsiteX4273" fmla="*/ 3226890 w 4044707"/>
                <a:gd name="connsiteY4273" fmla="*/ 230970 h 2907193"/>
                <a:gd name="connsiteX4274" fmla="*/ 3228403 w 4044707"/>
                <a:gd name="connsiteY4274" fmla="*/ 231302 h 2907193"/>
                <a:gd name="connsiteX4275" fmla="*/ 3229976 w 4044707"/>
                <a:gd name="connsiteY4275" fmla="*/ 231091 h 2907193"/>
                <a:gd name="connsiteX4276" fmla="*/ 3231519 w 4044707"/>
                <a:gd name="connsiteY4276" fmla="*/ 231544 h 2907193"/>
                <a:gd name="connsiteX4277" fmla="*/ 3232819 w 4044707"/>
                <a:gd name="connsiteY4277" fmla="*/ 233662 h 2907193"/>
                <a:gd name="connsiteX4278" fmla="*/ 3235905 w 4044707"/>
                <a:gd name="connsiteY4278" fmla="*/ 235991 h 2907193"/>
                <a:gd name="connsiteX4279" fmla="*/ 3239535 w 4044707"/>
                <a:gd name="connsiteY4279" fmla="*/ 230728 h 2907193"/>
                <a:gd name="connsiteX4280" fmla="*/ 3245525 w 4044707"/>
                <a:gd name="connsiteY4280" fmla="*/ 215723 h 2907193"/>
                <a:gd name="connsiteX4281" fmla="*/ 3245888 w 4044707"/>
                <a:gd name="connsiteY4281" fmla="*/ 219535 h 2907193"/>
                <a:gd name="connsiteX4282" fmla="*/ 3245616 w 4044707"/>
                <a:gd name="connsiteY4282" fmla="*/ 223800 h 2907193"/>
                <a:gd name="connsiteX4283" fmla="*/ 3244769 w 4044707"/>
                <a:gd name="connsiteY4283" fmla="*/ 227793 h 2907193"/>
                <a:gd name="connsiteX4284" fmla="*/ 3243468 w 4044707"/>
                <a:gd name="connsiteY4284" fmla="*/ 230970 h 2907193"/>
                <a:gd name="connsiteX4285" fmla="*/ 3240775 w 4044707"/>
                <a:gd name="connsiteY4285" fmla="*/ 239501 h 2907193"/>
                <a:gd name="connsiteX4286" fmla="*/ 3240231 w 4044707"/>
                <a:gd name="connsiteY4286" fmla="*/ 246821 h 2907193"/>
                <a:gd name="connsiteX4287" fmla="*/ 3242500 w 4044707"/>
                <a:gd name="connsiteY4287" fmla="*/ 251873 h 2907193"/>
                <a:gd name="connsiteX4288" fmla="*/ 3247582 w 4044707"/>
                <a:gd name="connsiteY4288" fmla="*/ 253507 h 2907193"/>
                <a:gd name="connsiteX4289" fmla="*/ 3253753 w 4044707"/>
                <a:gd name="connsiteY4289" fmla="*/ 252025 h 2907193"/>
                <a:gd name="connsiteX4290" fmla="*/ 3270361 w 4044707"/>
                <a:gd name="connsiteY4290" fmla="*/ 242253 h 2907193"/>
                <a:gd name="connsiteX4291" fmla="*/ 3268486 w 4044707"/>
                <a:gd name="connsiteY4291" fmla="*/ 240106 h 2907193"/>
                <a:gd name="connsiteX4292" fmla="*/ 3266066 w 4044707"/>
                <a:gd name="connsiteY4292" fmla="*/ 238805 h 2907193"/>
                <a:gd name="connsiteX4293" fmla="*/ 3263525 w 4044707"/>
                <a:gd name="connsiteY4293" fmla="*/ 238291 h 2907193"/>
                <a:gd name="connsiteX4294" fmla="*/ 3261377 w 4044707"/>
                <a:gd name="connsiteY4294" fmla="*/ 238502 h 2907193"/>
                <a:gd name="connsiteX4295" fmla="*/ 3264069 w 4044707"/>
                <a:gd name="connsiteY4295" fmla="*/ 235719 h 2907193"/>
                <a:gd name="connsiteX4296" fmla="*/ 3273054 w 4044707"/>
                <a:gd name="connsiteY4296" fmla="*/ 232694 h 2907193"/>
                <a:gd name="connsiteX4297" fmla="*/ 3291598 w 4044707"/>
                <a:gd name="connsiteY4297" fmla="*/ 215541 h 2907193"/>
                <a:gd name="connsiteX4298" fmla="*/ 3295773 w 4044707"/>
                <a:gd name="connsiteY4298" fmla="*/ 209400 h 2907193"/>
                <a:gd name="connsiteX4299" fmla="*/ 3298616 w 4044707"/>
                <a:gd name="connsiteY4299" fmla="*/ 200476 h 2907193"/>
                <a:gd name="connsiteX4300" fmla="*/ 3297709 w 4044707"/>
                <a:gd name="connsiteY4300" fmla="*/ 199538 h 2907193"/>
                <a:gd name="connsiteX4301" fmla="*/ 3295954 w 4044707"/>
                <a:gd name="connsiteY4301" fmla="*/ 196725 h 2907193"/>
                <a:gd name="connsiteX4302" fmla="*/ 3295167 w 4044707"/>
                <a:gd name="connsiteY4302" fmla="*/ 194970 h 2907193"/>
                <a:gd name="connsiteX4303" fmla="*/ 3295893 w 4044707"/>
                <a:gd name="connsiteY4303" fmla="*/ 194214 h 2907193"/>
                <a:gd name="connsiteX4304" fmla="*/ 3297285 w 4044707"/>
                <a:gd name="connsiteY4304" fmla="*/ 192036 h 2907193"/>
                <a:gd name="connsiteX4305" fmla="*/ 3297981 w 4044707"/>
                <a:gd name="connsiteY4305" fmla="*/ 191189 h 2907193"/>
                <a:gd name="connsiteX4306" fmla="*/ 3295773 w 4044707"/>
                <a:gd name="connsiteY4306" fmla="*/ 189223 h 2907193"/>
                <a:gd name="connsiteX4307" fmla="*/ 3293474 w 4044707"/>
                <a:gd name="connsiteY4307" fmla="*/ 188739 h 2907193"/>
                <a:gd name="connsiteX4308" fmla="*/ 3291507 w 4044707"/>
                <a:gd name="connsiteY4308" fmla="*/ 187559 h 2907193"/>
                <a:gd name="connsiteX4309" fmla="*/ 3290358 w 4044707"/>
                <a:gd name="connsiteY4309" fmla="*/ 183445 h 2907193"/>
                <a:gd name="connsiteX4310" fmla="*/ 3290358 w 4044707"/>
                <a:gd name="connsiteY4310" fmla="*/ 180178 h 2907193"/>
                <a:gd name="connsiteX4311" fmla="*/ 3290993 w 4044707"/>
                <a:gd name="connsiteY4311" fmla="*/ 177062 h 2907193"/>
                <a:gd name="connsiteX4312" fmla="*/ 3291779 w 4044707"/>
                <a:gd name="connsiteY4312" fmla="*/ 173825 h 2907193"/>
                <a:gd name="connsiteX4313" fmla="*/ 3292475 w 4044707"/>
                <a:gd name="connsiteY4313" fmla="*/ 170134 h 2907193"/>
                <a:gd name="connsiteX4314" fmla="*/ 3289147 w 4044707"/>
                <a:gd name="connsiteY4314" fmla="*/ 164931 h 2907193"/>
                <a:gd name="connsiteX4315" fmla="*/ 3288300 w 4044707"/>
                <a:gd name="connsiteY4315" fmla="*/ 162511 h 2907193"/>
                <a:gd name="connsiteX4316" fmla="*/ 3289692 w 4044707"/>
                <a:gd name="connsiteY4316" fmla="*/ 160605 h 2907193"/>
                <a:gd name="connsiteX4317" fmla="*/ 3287998 w 4044707"/>
                <a:gd name="connsiteY4317" fmla="*/ 159032 h 2907193"/>
                <a:gd name="connsiteX4318" fmla="*/ 3284186 w 4044707"/>
                <a:gd name="connsiteY4318" fmla="*/ 161361 h 2907193"/>
                <a:gd name="connsiteX4319" fmla="*/ 3282432 w 4044707"/>
                <a:gd name="connsiteY4319" fmla="*/ 159667 h 2907193"/>
                <a:gd name="connsiteX4320" fmla="*/ 3280737 w 4044707"/>
                <a:gd name="connsiteY4320" fmla="*/ 157428 h 2907193"/>
                <a:gd name="connsiteX4321" fmla="*/ 3278681 w 4044707"/>
                <a:gd name="connsiteY4321" fmla="*/ 157338 h 2907193"/>
                <a:gd name="connsiteX4322" fmla="*/ 3271299 w 4044707"/>
                <a:gd name="connsiteY4322" fmla="*/ 159274 h 2907193"/>
                <a:gd name="connsiteX4323" fmla="*/ 3301520 w 4044707"/>
                <a:gd name="connsiteY4323" fmla="*/ 145237 h 2907193"/>
                <a:gd name="connsiteX4324" fmla="*/ 3300946 w 4044707"/>
                <a:gd name="connsiteY4324" fmla="*/ 147718 h 2907193"/>
                <a:gd name="connsiteX4325" fmla="*/ 3300129 w 4044707"/>
                <a:gd name="connsiteY4325" fmla="*/ 149019 h 2907193"/>
                <a:gd name="connsiteX4326" fmla="*/ 3298102 w 4044707"/>
                <a:gd name="connsiteY4326" fmla="*/ 150773 h 2907193"/>
                <a:gd name="connsiteX4327" fmla="*/ 3300461 w 4044707"/>
                <a:gd name="connsiteY4327" fmla="*/ 154010 h 2907193"/>
                <a:gd name="connsiteX4328" fmla="*/ 3300583 w 4044707"/>
                <a:gd name="connsiteY4328" fmla="*/ 157186 h 2907193"/>
                <a:gd name="connsiteX4329" fmla="*/ 3299070 w 4044707"/>
                <a:gd name="connsiteY4329" fmla="*/ 160514 h 2907193"/>
                <a:gd name="connsiteX4330" fmla="*/ 3296680 w 4044707"/>
                <a:gd name="connsiteY4330" fmla="*/ 164265 h 2907193"/>
                <a:gd name="connsiteX4331" fmla="*/ 3301187 w 4044707"/>
                <a:gd name="connsiteY4331" fmla="*/ 164265 h 2907193"/>
                <a:gd name="connsiteX4332" fmla="*/ 3301732 w 4044707"/>
                <a:gd name="connsiteY4332" fmla="*/ 165294 h 2907193"/>
                <a:gd name="connsiteX4333" fmla="*/ 3301913 w 4044707"/>
                <a:gd name="connsiteY4333" fmla="*/ 167593 h 2907193"/>
                <a:gd name="connsiteX4334" fmla="*/ 3302004 w 4044707"/>
                <a:gd name="connsiteY4334" fmla="*/ 170225 h 2907193"/>
                <a:gd name="connsiteX4335" fmla="*/ 3302216 w 4044707"/>
                <a:gd name="connsiteY4335" fmla="*/ 172070 h 2907193"/>
                <a:gd name="connsiteX4336" fmla="*/ 3303487 w 4044707"/>
                <a:gd name="connsiteY4336" fmla="*/ 175791 h 2907193"/>
                <a:gd name="connsiteX4337" fmla="*/ 3306300 w 4044707"/>
                <a:gd name="connsiteY4337" fmla="*/ 181751 h 2907193"/>
                <a:gd name="connsiteX4338" fmla="*/ 3307631 w 4044707"/>
                <a:gd name="connsiteY4338" fmla="*/ 185351 h 2907193"/>
                <a:gd name="connsiteX4339" fmla="*/ 3312986 w 4044707"/>
                <a:gd name="connsiteY4339" fmla="*/ 188255 h 2907193"/>
                <a:gd name="connsiteX4340" fmla="*/ 3319399 w 4044707"/>
                <a:gd name="connsiteY4340" fmla="*/ 188527 h 2907193"/>
                <a:gd name="connsiteX4341" fmla="*/ 3325540 w 4044707"/>
                <a:gd name="connsiteY4341" fmla="*/ 185502 h 2907193"/>
                <a:gd name="connsiteX4342" fmla="*/ 3333920 w 4044707"/>
                <a:gd name="connsiteY4342" fmla="*/ 173129 h 2907193"/>
                <a:gd name="connsiteX4343" fmla="*/ 3342904 w 4044707"/>
                <a:gd name="connsiteY4343" fmla="*/ 167321 h 2907193"/>
                <a:gd name="connsiteX4344" fmla="*/ 3345597 w 4044707"/>
                <a:gd name="connsiteY4344" fmla="*/ 158578 h 2907193"/>
                <a:gd name="connsiteX4345" fmla="*/ 3341059 w 4044707"/>
                <a:gd name="connsiteY4345" fmla="*/ 154131 h 2907193"/>
                <a:gd name="connsiteX4346" fmla="*/ 3339244 w 4044707"/>
                <a:gd name="connsiteY4346" fmla="*/ 151348 h 2907193"/>
                <a:gd name="connsiteX4347" fmla="*/ 3339425 w 4044707"/>
                <a:gd name="connsiteY4347" fmla="*/ 147143 h 2907193"/>
                <a:gd name="connsiteX4348" fmla="*/ 3338699 w 4044707"/>
                <a:gd name="connsiteY4348" fmla="*/ 144693 h 2907193"/>
                <a:gd name="connsiteX4349" fmla="*/ 3337943 w 4044707"/>
                <a:gd name="connsiteY4349" fmla="*/ 142605 h 2907193"/>
                <a:gd name="connsiteX4350" fmla="*/ 3337066 w 4044707"/>
                <a:gd name="connsiteY4350" fmla="*/ 140851 h 2907193"/>
                <a:gd name="connsiteX4351" fmla="*/ 3335977 w 4044707"/>
                <a:gd name="connsiteY4351" fmla="*/ 139338 h 2907193"/>
                <a:gd name="connsiteX4352" fmla="*/ 3330441 w 4044707"/>
                <a:gd name="connsiteY4352" fmla="*/ 134286 h 2907193"/>
                <a:gd name="connsiteX4353" fmla="*/ 3329019 w 4044707"/>
                <a:gd name="connsiteY4353" fmla="*/ 133590 h 2907193"/>
                <a:gd name="connsiteX4354" fmla="*/ 3319338 w 4044707"/>
                <a:gd name="connsiteY4354" fmla="*/ 133590 h 2907193"/>
                <a:gd name="connsiteX4355" fmla="*/ 3318068 w 4044707"/>
                <a:gd name="connsiteY4355" fmla="*/ 134165 h 2907193"/>
                <a:gd name="connsiteX4356" fmla="*/ 3316918 w 4044707"/>
                <a:gd name="connsiteY4356" fmla="*/ 135103 h 2907193"/>
                <a:gd name="connsiteX4357" fmla="*/ 3315739 w 4044707"/>
                <a:gd name="connsiteY4357" fmla="*/ 135284 h 2907193"/>
                <a:gd name="connsiteX4358" fmla="*/ 3314468 w 4044707"/>
                <a:gd name="connsiteY4358" fmla="*/ 133590 h 2907193"/>
                <a:gd name="connsiteX4359" fmla="*/ 3315436 w 4044707"/>
                <a:gd name="connsiteY4359" fmla="*/ 133227 h 2907193"/>
                <a:gd name="connsiteX4360" fmla="*/ 3316071 w 4044707"/>
                <a:gd name="connsiteY4360" fmla="*/ 132622 h 2907193"/>
                <a:gd name="connsiteX4361" fmla="*/ 3316586 w 4044707"/>
                <a:gd name="connsiteY4361" fmla="*/ 131533 h 2907193"/>
                <a:gd name="connsiteX4362" fmla="*/ 3317281 w 4044707"/>
                <a:gd name="connsiteY4362" fmla="*/ 129748 h 2907193"/>
                <a:gd name="connsiteX4363" fmla="*/ 3315980 w 4044707"/>
                <a:gd name="connsiteY4363" fmla="*/ 129022 h 2907193"/>
                <a:gd name="connsiteX4364" fmla="*/ 3315406 w 4044707"/>
                <a:gd name="connsiteY4364" fmla="*/ 127722 h 2907193"/>
                <a:gd name="connsiteX4365" fmla="*/ 3315617 w 4044707"/>
                <a:gd name="connsiteY4365" fmla="*/ 125997 h 2907193"/>
                <a:gd name="connsiteX4366" fmla="*/ 3316616 w 4044707"/>
                <a:gd name="connsiteY4366" fmla="*/ 124001 h 2907193"/>
                <a:gd name="connsiteX4367" fmla="*/ 3314135 w 4044707"/>
                <a:gd name="connsiteY4367" fmla="*/ 121853 h 2907193"/>
                <a:gd name="connsiteX4368" fmla="*/ 3303426 w 4044707"/>
                <a:gd name="connsiteY4368" fmla="*/ 122579 h 2907193"/>
                <a:gd name="connsiteX4369" fmla="*/ 3302276 w 4044707"/>
                <a:gd name="connsiteY4369" fmla="*/ 124031 h 2907193"/>
                <a:gd name="connsiteX4370" fmla="*/ 3300068 w 4044707"/>
                <a:gd name="connsiteY4370" fmla="*/ 129748 h 2907193"/>
                <a:gd name="connsiteX4371" fmla="*/ 3297557 w 4044707"/>
                <a:gd name="connsiteY4371" fmla="*/ 133409 h 2907193"/>
                <a:gd name="connsiteX4372" fmla="*/ 3296438 w 4044707"/>
                <a:gd name="connsiteY4372" fmla="*/ 135557 h 2907193"/>
                <a:gd name="connsiteX4373" fmla="*/ 3295954 w 4044707"/>
                <a:gd name="connsiteY4373" fmla="*/ 138400 h 2907193"/>
                <a:gd name="connsiteX4374" fmla="*/ 3296680 w 4044707"/>
                <a:gd name="connsiteY4374" fmla="*/ 140306 h 2907193"/>
                <a:gd name="connsiteX4375" fmla="*/ 3301460 w 4044707"/>
                <a:gd name="connsiteY4375" fmla="*/ 145177 h 2907193"/>
                <a:gd name="connsiteX4376" fmla="*/ 3132324 w 4044707"/>
                <a:gd name="connsiteY4376" fmla="*/ 154827 h 2907193"/>
                <a:gd name="connsiteX4377" fmla="*/ 3138677 w 4044707"/>
                <a:gd name="connsiteY4377" fmla="*/ 154766 h 2907193"/>
                <a:gd name="connsiteX4378" fmla="*/ 3137195 w 4044707"/>
                <a:gd name="connsiteY4378" fmla="*/ 157338 h 2907193"/>
                <a:gd name="connsiteX4379" fmla="*/ 3133958 w 4044707"/>
                <a:gd name="connsiteY4379" fmla="*/ 160847 h 2907193"/>
                <a:gd name="connsiteX4380" fmla="*/ 3132536 w 4044707"/>
                <a:gd name="connsiteY4380" fmla="*/ 164296 h 2907193"/>
                <a:gd name="connsiteX4381" fmla="*/ 3135500 w 4044707"/>
                <a:gd name="connsiteY4381" fmla="*/ 165959 h 2907193"/>
                <a:gd name="connsiteX4382" fmla="*/ 3138314 w 4044707"/>
                <a:gd name="connsiteY4382" fmla="*/ 166201 h 2907193"/>
                <a:gd name="connsiteX4383" fmla="*/ 3139191 w 4044707"/>
                <a:gd name="connsiteY4383" fmla="*/ 165627 h 2907193"/>
                <a:gd name="connsiteX4384" fmla="*/ 3140643 w 4044707"/>
                <a:gd name="connsiteY4384" fmla="*/ 162995 h 2907193"/>
                <a:gd name="connsiteX4385" fmla="*/ 3141490 w 4044707"/>
                <a:gd name="connsiteY4385" fmla="*/ 162390 h 2907193"/>
                <a:gd name="connsiteX4386" fmla="*/ 3164966 w 4044707"/>
                <a:gd name="connsiteY4386" fmla="*/ 160484 h 2907193"/>
                <a:gd name="connsiteX4387" fmla="*/ 3162666 w 4044707"/>
                <a:gd name="connsiteY4387" fmla="*/ 163751 h 2907193"/>
                <a:gd name="connsiteX4388" fmla="*/ 3155285 w 4044707"/>
                <a:gd name="connsiteY4388" fmla="*/ 170013 h 2907193"/>
                <a:gd name="connsiteX4389" fmla="*/ 3157251 w 4044707"/>
                <a:gd name="connsiteY4389" fmla="*/ 171798 h 2907193"/>
                <a:gd name="connsiteX4390" fmla="*/ 3158038 w 4044707"/>
                <a:gd name="connsiteY4390" fmla="*/ 172070 h 2907193"/>
                <a:gd name="connsiteX4391" fmla="*/ 3156132 w 4044707"/>
                <a:gd name="connsiteY4391" fmla="*/ 176215 h 2907193"/>
                <a:gd name="connsiteX4392" fmla="*/ 3151836 w 4044707"/>
                <a:gd name="connsiteY4392" fmla="*/ 179724 h 2907193"/>
                <a:gd name="connsiteX4393" fmla="*/ 3150082 w 4044707"/>
                <a:gd name="connsiteY4393" fmla="*/ 182356 h 2907193"/>
                <a:gd name="connsiteX4394" fmla="*/ 3147601 w 4044707"/>
                <a:gd name="connsiteY4394" fmla="*/ 188829 h 2907193"/>
                <a:gd name="connsiteX4395" fmla="*/ 3146663 w 4044707"/>
                <a:gd name="connsiteY4395" fmla="*/ 192066 h 2907193"/>
                <a:gd name="connsiteX4396" fmla="*/ 3145574 w 4044707"/>
                <a:gd name="connsiteY4396" fmla="*/ 196725 h 2907193"/>
                <a:gd name="connsiteX4397" fmla="*/ 3146966 w 4044707"/>
                <a:gd name="connsiteY4397" fmla="*/ 199659 h 2907193"/>
                <a:gd name="connsiteX4398" fmla="*/ 3150173 w 4044707"/>
                <a:gd name="connsiteY4398" fmla="*/ 199417 h 2907193"/>
                <a:gd name="connsiteX4399" fmla="*/ 3153681 w 4044707"/>
                <a:gd name="connsiteY4399" fmla="*/ 197330 h 2907193"/>
                <a:gd name="connsiteX4400" fmla="*/ 3155860 w 4044707"/>
                <a:gd name="connsiteY4400" fmla="*/ 194850 h 2907193"/>
                <a:gd name="connsiteX4401" fmla="*/ 3158371 w 4044707"/>
                <a:gd name="connsiteY4401" fmla="*/ 183929 h 2907193"/>
                <a:gd name="connsiteX4402" fmla="*/ 3160125 w 4044707"/>
                <a:gd name="connsiteY4402" fmla="*/ 180450 h 2907193"/>
                <a:gd name="connsiteX4403" fmla="*/ 3162848 w 4044707"/>
                <a:gd name="connsiteY4403" fmla="*/ 183324 h 2907193"/>
                <a:gd name="connsiteX4404" fmla="*/ 3160821 w 4044707"/>
                <a:gd name="connsiteY4404" fmla="*/ 187982 h 2907193"/>
                <a:gd name="connsiteX4405" fmla="*/ 3162454 w 4044707"/>
                <a:gd name="connsiteY4405" fmla="*/ 191068 h 2907193"/>
                <a:gd name="connsiteX4406" fmla="*/ 3165812 w 4044707"/>
                <a:gd name="connsiteY4406" fmla="*/ 192218 h 2907193"/>
                <a:gd name="connsiteX4407" fmla="*/ 3168959 w 4044707"/>
                <a:gd name="connsiteY4407" fmla="*/ 191068 h 2907193"/>
                <a:gd name="connsiteX4408" fmla="*/ 3171469 w 4044707"/>
                <a:gd name="connsiteY4408" fmla="*/ 188103 h 2907193"/>
                <a:gd name="connsiteX4409" fmla="*/ 3172316 w 4044707"/>
                <a:gd name="connsiteY4409" fmla="*/ 187922 h 2907193"/>
                <a:gd name="connsiteX4410" fmla="*/ 3173829 w 4044707"/>
                <a:gd name="connsiteY4410" fmla="*/ 188981 h 2907193"/>
                <a:gd name="connsiteX4411" fmla="*/ 3174646 w 4044707"/>
                <a:gd name="connsiteY4411" fmla="*/ 190282 h 2907193"/>
                <a:gd name="connsiteX4412" fmla="*/ 3176552 w 4044707"/>
                <a:gd name="connsiteY4412" fmla="*/ 192611 h 2907193"/>
                <a:gd name="connsiteX4413" fmla="*/ 3178488 w 4044707"/>
                <a:gd name="connsiteY4413" fmla="*/ 193367 h 2907193"/>
                <a:gd name="connsiteX4414" fmla="*/ 3179395 w 4044707"/>
                <a:gd name="connsiteY4414" fmla="*/ 189979 h 2907193"/>
                <a:gd name="connsiteX4415" fmla="*/ 3180605 w 4044707"/>
                <a:gd name="connsiteY4415" fmla="*/ 183082 h 2907193"/>
                <a:gd name="connsiteX4416" fmla="*/ 3183358 w 4044707"/>
                <a:gd name="connsiteY4416" fmla="*/ 184231 h 2907193"/>
                <a:gd name="connsiteX4417" fmla="*/ 3188320 w 4044707"/>
                <a:gd name="connsiteY4417" fmla="*/ 191038 h 2907193"/>
                <a:gd name="connsiteX4418" fmla="*/ 3188924 w 4044707"/>
                <a:gd name="connsiteY4418" fmla="*/ 190584 h 2907193"/>
                <a:gd name="connsiteX4419" fmla="*/ 3189620 w 4044707"/>
                <a:gd name="connsiteY4419" fmla="*/ 189434 h 2907193"/>
                <a:gd name="connsiteX4420" fmla="*/ 3190195 w 4044707"/>
                <a:gd name="connsiteY4420" fmla="*/ 187861 h 2907193"/>
                <a:gd name="connsiteX4421" fmla="*/ 3190679 w 4044707"/>
                <a:gd name="connsiteY4421" fmla="*/ 183989 h 2907193"/>
                <a:gd name="connsiteX4422" fmla="*/ 3191254 w 4044707"/>
                <a:gd name="connsiteY4422" fmla="*/ 183898 h 2907193"/>
                <a:gd name="connsiteX4423" fmla="*/ 3192010 w 4044707"/>
                <a:gd name="connsiteY4423" fmla="*/ 184776 h 2907193"/>
                <a:gd name="connsiteX4424" fmla="*/ 3192706 w 4044707"/>
                <a:gd name="connsiteY4424" fmla="*/ 185320 h 2907193"/>
                <a:gd name="connsiteX4425" fmla="*/ 3193886 w 4044707"/>
                <a:gd name="connsiteY4425" fmla="*/ 185230 h 2907193"/>
                <a:gd name="connsiteX4426" fmla="*/ 3194914 w 4044707"/>
                <a:gd name="connsiteY4426" fmla="*/ 184625 h 2907193"/>
                <a:gd name="connsiteX4427" fmla="*/ 3195307 w 4044707"/>
                <a:gd name="connsiteY4427" fmla="*/ 182870 h 2907193"/>
                <a:gd name="connsiteX4428" fmla="*/ 3194430 w 4044707"/>
                <a:gd name="connsiteY4428" fmla="*/ 179482 h 2907193"/>
                <a:gd name="connsiteX4429" fmla="*/ 3195187 w 4044707"/>
                <a:gd name="connsiteY4429" fmla="*/ 177576 h 2907193"/>
                <a:gd name="connsiteX4430" fmla="*/ 3196124 w 4044707"/>
                <a:gd name="connsiteY4430" fmla="*/ 174097 h 2907193"/>
                <a:gd name="connsiteX4431" fmla="*/ 3200723 w 4044707"/>
                <a:gd name="connsiteY4431" fmla="*/ 174248 h 2907193"/>
                <a:gd name="connsiteX4432" fmla="*/ 3209677 w 4044707"/>
                <a:gd name="connsiteY4432" fmla="*/ 177576 h 2907193"/>
                <a:gd name="connsiteX4433" fmla="*/ 3208527 w 4044707"/>
                <a:gd name="connsiteY4433" fmla="*/ 180873 h 2907193"/>
                <a:gd name="connsiteX4434" fmla="*/ 3208346 w 4044707"/>
                <a:gd name="connsiteY4434" fmla="*/ 183324 h 2907193"/>
                <a:gd name="connsiteX4435" fmla="*/ 3209102 w 4044707"/>
                <a:gd name="connsiteY4435" fmla="*/ 184806 h 2907193"/>
                <a:gd name="connsiteX4436" fmla="*/ 3210706 w 4044707"/>
                <a:gd name="connsiteY4436" fmla="*/ 185320 h 2907193"/>
                <a:gd name="connsiteX4437" fmla="*/ 3211825 w 4044707"/>
                <a:gd name="connsiteY4437" fmla="*/ 184110 h 2907193"/>
                <a:gd name="connsiteX4438" fmla="*/ 3214033 w 4044707"/>
                <a:gd name="connsiteY4438" fmla="*/ 178786 h 2907193"/>
                <a:gd name="connsiteX4439" fmla="*/ 3215183 w 4044707"/>
                <a:gd name="connsiteY4439" fmla="*/ 177576 h 2907193"/>
                <a:gd name="connsiteX4440" fmla="*/ 3216242 w 4044707"/>
                <a:gd name="connsiteY4440" fmla="*/ 178241 h 2907193"/>
                <a:gd name="connsiteX4441" fmla="*/ 3218964 w 4044707"/>
                <a:gd name="connsiteY4441" fmla="*/ 180994 h 2907193"/>
                <a:gd name="connsiteX4442" fmla="*/ 3220719 w 4044707"/>
                <a:gd name="connsiteY4442" fmla="*/ 181357 h 2907193"/>
                <a:gd name="connsiteX4443" fmla="*/ 3222080 w 4044707"/>
                <a:gd name="connsiteY4443" fmla="*/ 180843 h 2907193"/>
                <a:gd name="connsiteX4444" fmla="*/ 3223290 w 4044707"/>
                <a:gd name="connsiteY4444" fmla="*/ 179784 h 2907193"/>
                <a:gd name="connsiteX4445" fmla="*/ 3224440 w 4044707"/>
                <a:gd name="connsiteY4445" fmla="*/ 178120 h 2907193"/>
                <a:gd name="connsiteX4446" fmla="*/ 3225529 w 4044707"/>
                <a:gd name="connsiteY4446" fmla="*/ 175700 h 2907193"/>
                <a:gd name="connsiteX4447" fmla="*/ 3219962 w 4044707"/>
                <a:gd name="connsiteY4447" fmla="*/ 172070 h 2907193"/>
                <a:gd name="connsiteX4448" fmla="*/ 3219962 w 4044707"/>
                <a:gd name="connsiteY4448" fmla="*/ 170013 h 2907193"/>
                <a:gd name="connsiteX4449" fmla="*/ 3222473 w 4044707"/>
                <a:gd name="connsiteY4449" fmla="*/ 170195 h 2907193"/>
                <a:gd name="connsiteX4450" fmla="*/ 3227193 w 4044707"/>
                <a:gd name="connsiteY4450" fmla="*/ 173492 h 2907193"/>
                <a:gd name="connsiteX4451" fmla="*/ 3229613 w 4044707"/>
                <a:gd name="connsiteY4451" fmla="*/ 173794 h 2907193"/>
                <a:gd name="connsiteX4452" fmla="*/ 3231700 w 4044707"/>
                <a:gd name="connsiteY4452" fmla="*/ 171737 h 2907193"/>
                <a:gd name="connsiteX4453" fmla="*/ 3232728 w 4044707"/>
                <a:gd name="connsiteY4453" fmla="*/ 168289 h 2907193"/>
                <a:gd name="connsiteX4454" fmla="*/ 3232396 w 4044707"/>
                <a:gd name="connsiteY4454" fmla="*/ 165233 h 2907193"/>
                <a:gd name="connsiteX4455" fmla="*/ 3230369 w 4044707"/>
                <a:gd name="connsiteY4455" fmla="*/ 164296 h 2907193"/>
                <a:gd name="connsiteX4456" fmla="*/ 3233757 w 4044707"/>
                <a:gd name="connsiteY4456" fmla="*/ 163055 h 2907193"/>
                <a:gd name="connsiteX4457" fmla="*/ 3237448 w 4044707"/>
                <a:gd name="connsiteY4457" fmla="*/ 166564 h 2907193"/>
                <a:gd name="connsiteX4458" fmla="*/ 3240836 w 4044707"/>
                <a:gd name="connsiteY4458" fmla="*/ 167986 h 2907193"/>
                <a:gd name="connsiteX4459" fmla="*/ 3243377 w 4044707"/>
                <a:gd name="connsiteY4459" fmla="*/ 160484 h 2907193"/>
                <a:gd name="connsiteX4460" fmla="*/ 3237871 w 4044707"/>
                <a:gd name="connsiteY4460" fmla="*/ 156854 h 2907193"/>
                <a:gd name="connsiteX4461" fmla="*/ 3239838 w 4044707"/>
                <a:gd name="connsiteY4461" fmla="*/ 155825 h 2907193"/>
                <a:gd name="connsiteX4462" fmla="*/ 3244013 w 4044707"/>
                <a:gd name="connsiteY4462" fmla="*/ 157459 h 2907193"/>
                <a:gd name="connsiteX4463" fmla="*/ 3246130 w 4044707"/>
                <a:gd name="connsiteY4463" fmla="*/ 156854 h 2907193"/>
                <a:gd name="connsiteX4464" fmla="*/ 3247189 w 4044707"/>
                <a:gd name="connsiteY4464" fmla="*/ 155160 h 2907193"/>
                <a:gd name="connsiteX4465" fmla="*/ 3249004 w 4044707"/>
                <a:gd name="connsiteY4465" fmla="*/ 150501 h 2907193"/>
                <a:gd name="connsiteX4466" fmla="*/ 3250274 w 4044707"/>
                <a:gd name="connsiteY4466" fmla="*/ 149049 h 2907193"/>
                <a:gd name="connsiteX4467" fmla="*/ 3247521 w 4044707"/>
                <a:gd name="connsiteY4467" fmla="*/ 148565 h 2907193"/>
                <a:gd name="connsiteX4468" fmla="*/ 3246281 w 4044707"/>
                <a:gd name="connsiteY4468" fmla="*/ 147688 h 2907193"/>
                <a:gd name="connsiteX4469" fmla="*/ 3245465 w 4044707"/>
                <a:gd name="connsiteY4469" fmla="*/ 145237 h 2907193"/>
                <a:gd name="connsiteX4470" fmla="*/ 3246130 w 4044707"/>
                <a:gd name="connsiteY4470" fmla="*/ 144693 h 2907193"/>
                <a:gd name="connsiteX4471" fmla="*/ 3246795 w 4044707"/>
                <a:gd name="connsiteY4471" fmla="*/ 143725 h 2907193"/>
                <a:gd name="connsiteX4472" fmla="*/ 3247340 w 4044707"/>
                <a:gd name="connsiteY4472" fmla="*/ 142333 h 2907193"/>
                <a:gd name="connsiteX4473" fmla="*/ 3247884 w 4044707"/>
                <a:gd name="connsiteY4473" fmla="*/ 137856 h 2907193"/>
                <a:gd name="connsiteX4474" fmla="*/ 3248701 w 4044707"/>
                <a:gd name="connsiteY4474" fmla="*/ 137735 h 2907193"/>
                <a:gd name="connsiteX4475" fmla="*/ 3250274 w 4044707"/>
                <a:gd name="connsiteY4475" fmla="*/ 139308 h 2907193"/>
                <a:gd name="connsiteX4476" fmla="*/ 3259259 w 4044707"/>
                <a:gd name="connsiteY4476" fmla="*/ 141395 h 2907193"/>
                <a:gd name="connsiteX4477" fmla="*/ 3258715 w 4044707"/>
                <a:gd name="connsiteY4477" fmla="*/ 140609 h 2907193"/>
                <a:gd name="connsiteX4478" fmla="*/ 3257202 w 4044707"/>
                <a:gd name="connsiteY4478" fmla="*/ 137584 h 2907193"/>
                <a:gd name="connsiteX4479" fmla="*/ 3260227 w 4044707"/>
                <a:gd name="connsiteY4479" fmla="*/ 135647 h 2907193"/>
                <a:gd name="connsiteX4480" fmla="*/ 3261830 w 4044707"/>
                <a:gd name="connsiteY4480" fmla="*/ 133318 h 2907193"/>
                <a:gd name="connsiteX4481" fmla="*/ 3262768 w 4044707"/>
                <a:gd name="connsiteY4481" fmla="*/ 133379 h 2907193"/>
                <a:gd name="connsiteX4482" fmla="*/ 3263555 w 4044707"/>
                <a:gd name="connsiteY4482" fmla="*/ 133802 h 2907193"/>
                <a:gd name="connsiteX4483" fmla="*/ 3264039 w 4044707"/>
                <a:gd name="connsiteY4483" fmla="*/ 133621 h 2907193"/>
                <a:gd name="connsiteX4484" fmla="*/ 3264553 w 4044707"/>
                <a:gd name="connsiteY4484" fmla="*/ 130807 h 2907193"/>
                <a:gd name="connsiteX4485" fmla="*/ 3264795 w 4044707"/>
                <a:gd name="connsiteY4485" fmla="*/ 124485 h 2907193"/>
                <a:gd name="connsiteX4486" fmla="*/ 3265430 w 4044707"/>
                <a:gd name="connsiteY4486" fmla="*/ 122095 h 2907193"/>
                <a:gd name="connsiteX4487" fmla="*/ 3267004 w 4044707"/>
                <a:gd name="connsiteY4487" fmla="*/ 121339 h 2907193"/>
                <a:gd name="connsiteX4488" fmla="*/ 3270634 w 4044707"/>
                <a:gd name="connsiteY4488" fmla="*/ 124061 h 2907193"/>
                <a:gd name="connsiteX4489" fmla="*/ 3272328 w 4044707"/>
                <a:gd name="connsiteY4489" fmla="*/ 124001 h 2907193"/>
                <a:gd name="connsiteX4490" fmla="*/ 3272812 w 4044707"/>
                <a:gd name="connsiteY4490" fmla="*/ 122942 h 2907193"/>
                <a:gd name="connsiteX4491" fmla="*/ 3273235 w 4044707"/>
                <a:gd name="connsiteY4491" fmla="*/ 119584 h 2907193"/>
                <a:gd name="connsiteX4492" fmla="*/ 3273719 w 4044707"/>
                <a:gd name="connsiteY4492" fmla="*/ 118253 h 2907193"/>
                <a:gd name="connsiteX4493" fmla="*/ 3274687 w 4044707"/>
                <a:gd name="connsiteY4493" fmla="*/ 117527 h 2907193"/>
                <a:gd name="connsiteX4494" fmla="*/ 3276835 w 4044707"/>
                <a:gd name="connsiteY4494" fmla="*/ 117255 h 2907193"/>
                <a:gd name="connsiteX4495" fmla="*/ 3277924 w 4044707"/>
                <a:gd name="connsiteY4495" fmla="*/ 116317 h 2907193"/>
                <a:gd name="connsiteX4496" fmla="*/ 3274234 w 4044707"/>
                <a:gd name="connsiteY4496" fmla="*/ 115470 h 2907193"/>
                <a:gd name="connsiteX4497" fmla="*/ 3272418 w 4044707"/>
                <a:gd name="connsiteY4497" fmla="*/ 114381 h 2907193"/>
                <a:gd name="connsiteX4498" fmla="*/ 3270936 w 4044707"/>
                <a:gd name="connsiteY4498" fmla="*/ 112475 h 2907193"/>
                <a:gd name="connsiteX4499" fmla="*/ 3273417 w 4044707"/>
                <a:gd name="connsiteY4499" fmla="*/ 110387 h 2907193"/>
                <a:gd name="connsiteX4500" fmla="*/ 3278257 w 4044707"/>
                <a:gd name="connsiteY4500" fmla="*/ 110690 h 2907193"/>
                <a:gd name="connsiteX4501" fmla="*/ 3280647 w 4044707"/>
                <a:gd name="connsiteY4501" fmla="*/ 108451 h 2907193"/>
                <a:gd name="connsiteX4502" fmla="*/ 3279013 w 4044707"/>
                <a:gd name="connsiteY4502" fmla="*/ 107907 h 2907193"/>
                <a:gd name="connsiteX4503" fmla="*/ 3277712 w 4044707"/>
                <a:gd name="connsiteY4503" fmla="*/ 106757 h 2907193"/>
                <a:gd name="connsiteX4504" fmla="*/ 3276835 w 4044707"/>
                <a:gd name="connsiteY4504" fmla="*/ 104337 h 2907193"/>
                <a:gd name="connsiteX4505" fmla="*/ 3276503 w 4044707"/>
                <a:gd name="connsiteY4505" fmla="*/ 99981 h 2907193"/>
                <a:gd name="connsiteX4506" fmla="*/ 3275686 w 4044707"/>
                <a:gd name="connsiteY4506" fmla="*/ 99981 h 2907193"/>
                <a:gd name="connsiteX4507" fmla="*/ 3271813 w 4044707"/>
                <a:gd name="connsiteY4507" fmla="*/ 96109 h 2907193"/>
                <a:gd name="connsiteX4508" fmla="*/ 3270634 w 4044707"/>
                <a:gd name="connsiteY4508" fmla="*/ 94233 h 2907193"/>
                <a:gd name="connsiteX4509" fmla="*/ 3269393 w 4044707"/>
                <a:gd name="connsiteY4509" fmla="*/ 91511 h 2907193"/>
                <a:gd name="connsiteX4510" fmla="*/ 3267971 w 4044707"/>
                <a:gd name="connsiteY4510" fmla="*/ 90059 h 2907193"/>
                <a:gd name="connsiteX4511" fmla="*/ 3266398 w 4044707"/>
                <a:gd name="connsiteY4511" fmla="*/ 89514 h 2907193"/>
                <a:gd name="connsiteX4512" fmla="*/ 3264765 w 4044707"/>
                <a:gd name="connsiteY4512" fmla="*/ 89423 h 2907193"/>
                <a:gd name="connsiteX4513" fmla="*/ 3263434 w 4044707"/>
                <a:gd name="connsiteY4513" fmla="*/ 90754 h 2907193"/>
                <a:gd name="connsiteX4514" fmla="*/ 3263646 w 4044707"/>
                <a:gd name="connsiteY4514" fmla="*/ 93840 h 2907193"/>
                <a:gd name="connsiteX4515" fmla="*/ 3264372 w 4044707"/>
                <a:gd name="connsiteY4515" fmla="*/ 97379 h 2907193"/>
                <a:gd name="connsiteX4516" fmla="*/ 3264432 w 4044707"/>
                <a:gd name="connsiteY4516" fmla="*/ 100011 h 2907193"/>
                <a:gd name="connsiteX4517" fmla="*/ 3264220 w 4044707"/>
                <a:gd name="connsiteY4517" fmla="*/ 102915 h 2907193"/>
                <a:gd name="connsiteX4518" fmla="*/ 3266187 w 4044707"/>
                <a:gd name="connsiteY4518" fmla="*/ 108542 h 2907193"/>
                <a:gd name="connsiteX4519" fmla="*/ 3266187 w 4044707"/>
                <a:gd name="connsiteY4519" fmla="*/ 112475 h 2907193"/>
                <a:gd name="connsiteX4520" fmla="*/ 3265037 w 4044707"/>
                <a:gd name="connsiteY4520" fmla="*/ 113957 h 2907193"/>
                <a:gd name="connsiteX4521" fmla="*/ 3260772 w 4044707"/>
                <a:gd name="connsiteY4521" fmla="*/ 114895 h 2907193"/>
                <a:gd name="connsiteX4522" fmla="*/ 3259259 w 4044707"/>
                <a:gd name="connsiteY4522" fmla="*/ 114592 h 2907193"/>
                <a:gd name="connsiteX4523" fmla="*/ 3256385 w 4044707"/>
                <a:gd name="connsiteY4523" fmla="*/ 111779 h 2907193"/>
                <a:gd name="connsiteX4524" fmla="*/ 3251061 w 4044707"/>
                <a:gd name="connsiteY4524" fmla="*/ 103702 h 2907193"/>
                <a:gd name="connsiteX4525" fmla="*/ 3248217 w 4044707"/>
                <a:gd name="connsiteY4525" fmla="*/ 100979 h 2907193"/>
                <a:gd name="connsiteX4526" fmla="*/ 3248217 w 4044707"/>
                <a:gd name="connsiteY4526" fmla="*/ 103067 h 2907193"/>
                <a:gd name="connsiteX4527" fmla="*/ 3250063 w 4044707"/>
                <a:gd name="connsiteY4527" fmla="*/ 105154 h 2907193"/>
                <a:gd name="connsiteX4528" fmla="*/ 3250819 w 4044707"/>
                <a:gd name="connsiteY4528" fmla="*/ 107514 h 2907193"/>
                <a:gd name="connsiteX4529" fmla="*/ 3250274 w 4044707"/>
                <a:gd name="connsiteY4529" fmla="*/ 109540 h 2907193"/>
                <a:gd name="connsiteX4530" fmla="*/ 3248217 w 4044707"/>
                <a:gd name="connsiteY4530" fmla="*/ 110569 h 2907193"/>
                <a:gd name="connsiteX4531" fmla="*/ 3245797 w 4044707"/>
                <a:gd name="connsiteY4531" fmla="*/ 109359 h 2907193"/>
                <a:gd name="connsiteX4532" fmla="*/ 3241260 w 4044707"/>
                <a:gd name="connsiteY4532" fmla="*/ 104277 h 2907193"/>
                <a:gd name="connsiteX4533" fmla="*/ 3238628 w 4044707"/>
                <a:gd name="connsiteY4533" fmla="*/ 104609 h 2907193"/>
                <a:gd name="connsiteX4534" fmla="*/ 3239354 w 4044707"/>
                <a:gd name="connsiteY4534" fmla="*/ 106304 h 2907193"/>
                <a:gd name="connsiteX4535" fmla="*/ 3240171 w 4044707"/>
                <a:gd name="connsiteY4535" fmla="*/ 107514 h 2907193"/>
                <a:gd name="connsiteX4536" fmla="*/ 3241048 w 4044707"/>
                <a:gd name="connsiteY4536" fmla="*/ 108209 h 2907193"/>
                <a:gd name="connsiteX4537" fmla="*/ 3242046 w 4044707"/>
                <a:gd name="connsiteY4537" fmla="*/ 108421 h 2907193"/>
                <a:gd name="connsiteX4538" fmla="*/ 3236813 w 4044707"/>
                <a:gd name="connsiteY4538" fmla="*/ 108875 h 2907193"/>
                <a:gd name="connsiteX4539" fmla="*/ 3234937 w 4044707"/>
                <a:gd name="connsiteY4539" fmla="*/ 110660 h 2907193"/>
                <a:gd name="connsiteX4540" fmla="*/ 3237236 w 4044707"/>
                <a:gd name="connsiteY4540" fmla="*/ 115409 h 2907193"/>
                <a:gd name="connsiteX4541" fmla="*/ 3239111 w 4044707"/>
                <a:gd name="connsiteY4541" fmla="*/ 117134 h 2907193"/>
                <a:gd name="connsiteX4542" fmla="*/ 3244859 w 4044707"/>
                <a:gd name="connsiteY4542" fmla="*/ 119917 h 2907193"/>
                <a:gd name="connsiteX4543" fmla="*/ 3245102 w 4044707"/>
                <a:gd name="connsiteY4543" fmla="*/ 120764 h 2907193"/>
                <a:gd name="connsiteX4544" fmla="*/ 3245222 w 4044707"/>
                <a:gd name="connsiteY4544" fmla="*/ 122125 h 2907193"/>
                <a:gd name="connsiteX4545" fmla="*/ 3245555 w 4044707"/>
                <a:gd name="connsiteY4545" fmla="*/ 123365 h 2907193"/>
                <a:gd name="connsiteX4546" fmla="*/ 3246523 w 4044707"/>
                <a:gd name="connsiteY4546" fmla="*/ 123910 h 2907193"/>
                <a:gd name="connsiteX4547" fmla="*/ 3248459 w 4044707"/>
                <a:gd name="connsiteY4547" fmla="*/ 124091 h 2907193"/>
                <a:gd name="connsiteX4548" fmla="*/ 3249367 w 4044707"/>
                <a:gd name="connsiteY4548" fmla="*/ 124696 h 2907193"/>
                <a:gd name="connsiteX4549" fmla="*/ 3250274 w 4044707"/>
                <a:gd name="connsiteY4549" fmla="*/ 125997 h 2907193"/>
                <a:gd name="connsiteX4550" fmla="*/ 3248550 w 4044707"/>
                <a:gd name="connsiteY4550" fmla="*/ 127601 h 2907193"/>
                <a:gd name="connsiteX4551" fmla="*/ 3242107 w 4044707"/>
                <a:gd name="connsiteY4551" fmla="*/ 125997 h 2907193"/>
                <a:gd name="connsiteX4552" fmla="*/ 3241260 w 4044707"/>
                <a:gd name="connsiteY4552" fmla="*/ 127086 h 2907193"/>
                <a:gd name="connsiteX4553" fmla="*/ 3241834 w 4044707"/>
                <a:gd name="connsiteY4553" fmla="*/ 129537 h 2907193"/>
                <a:gd name="connsiteX4554" fmla="*/ 3243014 w 4044707"/>
                <a:gd name="connsiteY4554" fmla="*/ 132108 h 2907193"/>
                <a:gd name="connsiteX4555" fmla="*/ 3244042 w 4044707"/>
                <a:gd name="connsiteY4555" fmla="*/ 133439 h 2907193"/>
                <a:gd name="connsiteX4556" fmla="*/ 3241562 w 4044707"/>
                <a:gd name="connsiteY4556" fmla="*/ 133227 h 2907193"/>
                <a:gd name="connsiteX4557" fmla="*/ 3236843 w 4044707"/>
                <a:gd name="connsiteY4557" fmla="*/ 129779 h 2907193"/>
                <a:gd name="connsiteX4558" fmla="*/ 3234423 w 4044707"/>
                <a:gd name="connsiteY4558" fmla="*/ 129627 h 2907193"/>
                <a:gd name="connsiteX4559" fmla="*/ 3235149 w 4044707"/>
                <a:gd name="connsiteY4559" fmla="*/ 135708 h 2907193"/>
                <a:gd name="connsiteX4560" fmla="*/ 3233878 w 4044707"/>
                <a:gd name="connsiteY4560" fmla="*/ 138310 h 2907193"/>
                <a:gd name="connsiteX4561" fmla="*/ 3231639 w 4044707"/>
                <a:gd name="connsiteY4561" fmla="*/ 139489 h 2907193"/>
                <a:gd name="connsiteX4562" fmla="*/ 3229552 w 4044707"/>
                <a:gd name="connsiteY4562" fmla="*/ 141274 h 2907193"/>
                <a:gd name="connsiteX4563" fmla="*/ 3230944 w 4044707"/>
                <a:gd name="connsiteY4563" fmla="*/ 145116 h 2907193"/>
                <a:gd name="connsiteX4564" fmla="*/ 3228766 w 4044707"/>
                <a:gd name="connsiteY4564" fmla="*/ 146961 h 2907193"/>
                <a:gd name="connsiteX4565" fmla="*/ 3226194 w 4044707"/>
                <a:gd name="connsiteY4565" fmla="*/ 144390 h 2907193"/>
                <a:gd name="connsiteX4566" fmla="*/ 3223623 w 4044707"/>
                <a:gd name="connsiteY4566" fmla="*/ 140246 h 2907193"/>
                <a:gd name="connsiteX4567" fmla="*/ 3221324 w 4044707"/>
                <a:gd name="connsiteY4567" fmla="*/ 137432 h 2907193"/>
                <a:gd name="connsiteX4568" fmla="*/ 3224016 w 4044707"/>
                <a:gd name="connsiteY4568" fmla="*/ 134044 h 2907193"/>
                <a:gd name="connsiteX4569" fmla="*/ 3224984 w 4044707"/>
                <a:gd name="connsiteY4569" fmla="*/ 131412 h 2907193"/>
                <a:gd name="connsiteX4570" fmla="*/ 3224228 w 4044707"/>
                <a:gd name="connsiteY4570" fmla="*/ 129113 h 2907193"/>
                <a:gd name="connsiteX4571" fmla="*/ 3222413 w 4044707"/>
                <a:gd name="connsiteY4571" fmla="*/ 128296 h 2907193"/>
                <a:gd name="connsiteX4572" fmla="*/ 3219055 w 4044707"/>
                <a:gd name="connsiteY4572" fmla="*/ 129658 h 2907193"/>
                <a:gd name="connsiteX4573" fmla="*/ 3217209 w 4044707"/>
                <a:gd name="connsiteY4573" fmla="*/ 129597 h 2907193"/>
                <a:gd name="connsiteX4574" fmla="*/ 3217209 w 4044707"/>
                <a:gd name="connsiteY4574" fmla="*/ 127691 h 2907193"/>
                <a:gd name="connsiteX4575" fmla="*/ 3218541 w 4044707"/>
                <a:gd name="connsiteY4575" fmla="*/ 127691 h 2907193"/>
                <a:gd name="connsiteX4576" fmla="*/ 3216937 w 4044707"/>
                <a:gd name="connsiteY4576" fmla="*/ 124333 h 2907193"/>
                <a:gd name="connsiteX4577" fmla="*/ 3212884 w 4044707"/>
                <a:gd name="connsiteY4577" fmla="*/ 123638 h 2907193"/>
                <a:gd name="connsiteX4578" fmla="*/ 3211008 w 4044707"/>
                <a:gd name="connsiteY4578" fmla="*/ 121944 h 2907193"/>
                <a:gd name="connsiteX4579" fmla="*/ 3211492 w 4044707"/>
                <a:gd name="connsiteY4579" fmla="*/ 121036 h 2907193"/>
                <a:gd name="connsiteX4580" fmla="*/ 3212400 w 4044707"/>
                <a:gd name="connsiteY4580" fmla="*/ 118132 h 2907193"/>
                <a:gd name="connsiteX4581" fmla="*/ 3207196 w 4044707"/>
                <a:gd name="connsiteY4581" fmla="*/ 121550 h 2907193"/>
                <a:gd name="connsiteX4582" fmla="*/ 3204080 w 4044707"/>
                <a:gd name="connsiteY4582" fmla="*/ 122488 h 2907193"/>
                <a:gd name="connsiteX4583" fmla="*/ 3203808 w 4044707"/>
                <a:gd name="connsiteY4583" fmla="*/ 123880 h 2907193"/>
                <a:gd name="connsiteX4584" fmla="*/ 3204232 w 4044707"/>
                <a:gd name="connsiteY4584" fmla="*/ 125725 h 2907193"/>
                <a:gd name="connsiteX4585" fmla="*/ 3204837 w 4044707"/>
                <a:gd name="connsiteY4585" fmla="*/ 127722 h 2907193"/>
                <a:gd name="connsiteX4586" fmla="*/ 3207136 w 4044707"/>
                <a:gd name="connsiteY4586" fmla="*/ 132199 h 2907193"/>
                <a:gd name="connsiteX4587" fmla="*/ 3209616 w 4044707"/>
                <a:gd name="connsiteY4587" fmla="*/ 134891 h 2907193"/>
                <a:gd name="connsiteX4588" fmla="*/ 3211099 w 4044707"/>
                <a:gd name="connsiteY4588" fmla="*/ 137886 h 2907193"/>
                <a:gd name="connsiteX4589" fmla="*/ 3210373 w 4044707"/>
                <a:gd name="connsiteY4589" fmla="*/ 143180 h 2907193"/>
                <a:gd name="connsiteX4590" fmla="*/ 3212641 w 4044707"/>
                <a:gd name="connsiteY4590" fmla="*/ 146356 h 2907193"/>
                <a:gd name="connsiteX4591" fmla="*/ 3214487 w 4044707"/>
                <a:gd name="connsiteY4591" fmla="*/ 150622 h 2907193"/>
                <a:gd name="connsiteX4592" fmla="*/ 3209223 w 4044707"/>
                <a:gd name="connsiteY4592" fmla="*/ 149987 h 2907193"/>
                <a:gd name="connsiteX4593" fmla="*/ 3206621 w 4044707"/>
                <a:gd name="connsiteY4593" fmla="*/ 150773 h 2907193"/>
                <a:gd name="connsiteX4594" fmla="*/ 3205472 w 4044707"/>
                <a:gd name="connsiteY4594" fmla="*/ 153647 h 2907193"/>
                <a:gd name="connsiteX4595" fmla="*/ 3205381 w 4044707"/>
                <a:gd name="connsiteY4595" fmla="*/ 157065 h 2907193"/>
                <a:gd name="connsiteX4596" fmla="*/ 3205018 w 4044707"/>
                <a:gd name="connsiteY4596" fmla="*/ 160907 h 2907193"/>
                <a:gd name="connsiteX4597" fmla="*/ 3204292 w 4044707"/>
                <a:gd name="connsiteY4597" fmla="*/ 163025 h 2907193"/>
                <a:gd name="connsiteX4598" fmla="*/ 3203113 w 4044707"/>
                <a:gd name="connsiteY4598" fmla="*/ 161301 h 2907193"/>
                <a:gd name="connsiteX4599" fmla="*/ 3202628 w 4044707"/>
                <a:gd name="connsiteY4599" fmla="*/ 157822 h 2907193"/>
                <a:gd name="connsiteX4600" fmla="*/ 3202507 w 4044707"/>
                <a:gd name="connsiteY4600" fmla="*/ 153617 h 2907193"/>
                <a:gd name="connsiteX4601" fmla="*/ 3202084 w 4044707"/>
                <a:gd name="connsiteY4601" fmla="*/ 149684 h 2907193"/>
                <a:gd name="connsiteX4602" fmla="*/ 3200692 w 4044707"/>
                <a:gd name="connsiteY4602" fmla="*/ 147052 h 2907193"/>
                <a:gd name="connsiteX4603" fmla="*/ 3198817 w 4044707"/>
                <a:gd name="connsiteY4603" fmla="*/ 147899 h 2907193"/>
                <a:gd name="connsiteX4604" fmla="*/ 3196941 w 4044707"/>
                <a:gd name="connsiteY4604" fmla="*/ 151287 h 2907193"/>
                <a:gd name="connsiteX4605" fmla="*/ 3194854 w 4044707"/>
                <a:gd name="connsiteY4605" fmla="*/ 154010 h 2907193"/>
                <a:gd name="connsiteX4606" fmla="*/ 3192403 w 4044707"/>
                <a:gd name="connsiteY4606" fmla="*/ 152740 h 2907193"/>
                <a:gd name="connsiteX4607" fmla="*/ 3191254 w 4044707"/>
                <a:gd name="connsiteY4607" fmla="*/ 149382 h 2907193"/>
                <a:gd name="connsiteX4608" fmla="*/ 3192252 w 4044707"/>
                <a:gd name="connsiteY4608" fmla="*/ 147203 h 2907193"/>
                <a:gd name="connsiteX4609" fmla="*/ 3195913 w 4044707"/>
                <a:gd name="connsiteY4609" fmla="*/ 144178 h 2907193"/>
                <a:gd name="connsiteX4610" fmla="*/ 3197456 w 4044707"/>
                <a:gd name="connsiteY4610" fmla="*/ 141244 h 2907193"/>
                <a:gd name="connsiteX4611" fmla="*/ 3196971 w 4044707"/>
                <a:gd name="connsiteY4611" fmla="*/ 139580 h 2907193"/>
                <a:gd name="connsiteX4612" fmla="*/ 3188501 w 4044707"/>
                <a:gd name="connsiteY4612" fmla="*/ 132532 h 2907193"/>
                <a:gd name="connsiteX4613" fmla="*/ 3185839 w 4044707"/>
                <a:gd name="connsiteY4613" fmla="*/ 131261 h 2907193"/>
                <a:gd name="connsiteX4614" fmla="*/ 3183479 w 4044707"/>
                <a:gd name="connsiteY4614" fmla="*/ 131806 h 2907193"/>
                <a:gd name="connsiteX4615" fmla="*/ 3181846 w 4044707"/>
                <a:gd name="connsiteY4615" fmla="*/ 133893 h 2907193"/>
                <a:gd name="connsiteX4616" fmla="*/ 3181180 w 4044707"/>
                <a:gd name="connsiteY4616" fmla="*/ 136494 h 2907193"/>
                <a:gd name="connsiteX4617" fmla="*/ 3181483 w 4044707"/>
                <a:gd name="connsiteY4617" fmla="*/ 139126 h 2907193"/>
                <a:gd name="connsiteX4618" fmla="*/ 3182844 w 4044707"/>
                <a:gd name="connsiteY4618" fmla="*/ 141335 h 2907193"/>
                <a:gd name="connsiteX4619" fmla="*/ 3180968 w 4044707"/>
                <a:gd name="connsiteY4619" fmla="*/ 142938 h 2907193"/>
                <a:gd name="connsiteX4620" fmla="*/ 3178699 w 4044707"/>
                <a:gd name="connsiteY4620" fmla="*/ 142696 h 2907193"/>
                <a:gd name="connsiteX4621" fmla="*/ 3176521 w 4044707"/>
                <a:gd name="connsiteY4621" fmla="*/ 141032 h 2907193"/>
                <a:gd name="connsiteX4622" fmla="*/ 3174888 w 4044707"/>
                <a:gd name="connsiteY4622" fmla="*/ 138370 h 2907193"/>
                <a:gd name="connsiteX4623" fmla="*/ 3173738 w 4044707"/>
                <a:gd name="connsiteY4623" fmla="*/ 135315 h 2907193"/>
                <a:gd name="connsiteX4624" fmla="*/ 3173073 w 4044707"/>
                <a:gd name="connsiteY4624" fmla="*/ 133923 h 2907193"/>
                <a:gd name="connsiteX4625" fmla="*/ 3172105 w 4044707"/>
                <a:gd name="connsiteY4625" fmla="*/ 133500 h 2907193"/>
                <a:gd name="connsiteX4626" fmla="*/ 3170048 w 4044707"/>
                <a:gd name="connsiteY4626" fmla="*/ 133500 h 2907193"/>
                <a:gd name="connsiteX4627" fmla="*/ 3168989 w 4044707"/>
                <a:gd name="connsiteY4627" fmla="*/ 136646 h 2907193"/>
                <a:gd name="connsiteX4628" fmla="*/ 3169987 w 4044707"/>
                <a:gd name="connsiteY4628" fmla="*/ 143634 h 2907193"/>
                <a:gd name="connsiteX4629" fmla="*/ 3171802 w 4044707"/>
                <a:gd name="connsiteY4629" fmla="*/ 150864 h 2907193"/>
                <a:gd name="connsiteX4630" fmla="*/ 3173133 w 4044707"/>
                <a:gd name="connsiteY4630" fmla="*/ 154706 h 2907193"/>
                <a:gd name="connsiteX4631" fmla="*/ 3173133 w 4044707"/>
                <a:gd name="connsiteY4631" fmla="*/ 156793 h 2907193"/>
                <a:gd name="connsiteX4632" fmla="*/ 3163604 w 4044707"/>
                <a:gd name="connsiteY4632" fmla="*/ 146992 h 2907193"/>
                <a:gd name="connsiteX4633" fmla="*/ 3158098 w 4044707"/>
                <a:gd name="connsiteY4633" fmla="*/ 143150 h 2907193"/>
                <a:gd name="connsiteX4634" fmla="*/ 3154468 w 4044707"/>
                <a:gd name="connsiteY4634" fmla="*/ 143241 h 2907193"/>
                <a:gd name="connsiteX4635" fmla="*/ 3155950 w 4044707"/>
                <a:gd name="connsiteY4635" fmla="*/ 144995 h 2907193"/>
                <a:gd name="connsiteX4636" fmla="*/ 3156616 w 4044707"/>
                <a:gd name="connsiteY4636" fmla="*/ 147506 h 2907193"/>
                <a:gd name="connsiteX4637" fmla="*/ 3156525 w 4044707"/>
                <a:gd name="connsiteY4637" fmla="*/ 150289 h 2907193"/>
                <a:gd name="connsiteX4638" fmla="*/ 3155799 w 4044707"/>
                <a:gd name="connsiteY4638" fmla="*/ 152770 h 2907193"/>
                <a:gd name="connsiteX4639" fmla="*/ 3153621 w 4044707"/>
                <a:gd name="connsiteY4639" fmla="*/ 155190 h 2907193"/>
                <a:gd name="connsiteX4640" fmla="*/ 3150989 w 4044707"/>
                <a:gd name="connsiteY4640" fmla="*/ 155190 h 2907193"/>
                <a:gd name="connsiteX4641" fmla="*/ 3135773 w 4044707"/>
                <a:gd name="connsiteY4641" fmla="*/ 147385 h 2907193"/>
                <a:gd name="connsiteX4642" fmla="*/ 3129964 w 4044707"/>
                <a:gd name="connsiteY4642" fmla="*/ 146629 h 2907193"/>
                <a:gd name="connsiteX4643" fmla="*/ 3126334 w 4044707"/>
                <a:gd name="connsiteY4643" fmla="*/ 150713 h 2907193"/>
                <a:gd name="connsiteX4644" fmla="*/ 3129027 w 4044707"/>
                <a:gd name="connsiteY4644" fmla="*/ 153617 h 2907193"/>
                <a:gd name="connsiteX4645" fmla="*/ 3132233 w 4044707"/>
                <a:gd name="connsiteY4645" fmla="*/ 154736 h 2907193"/>
                <a:gd name="connsiteX4646" fmla="*/ 3326871 w 4044707"/>
                <a:gd name="connsiteY4646" fmla="*/ 57962 h 2907193"/>
                <a:gd name="connsiteX4647" fmla="*/ 3333405 w 4044707"/>
                <a:gd name="connsiteY4647" fmla="*/ 56419 h 2907193"/>
                <a:gd name="connsiteX4648" fmla="*/ 3336612 w 4044707"/>
                <a:gd name="connsiteY4648" fmla="*/ 58355 h 2907193"/>
                <a:gd name="connsiteX4649" fmla="*/ 3333557 w 4044707"/>
                <a:gd name="connsiteY4649" fmla="*/ 61138 h 2907193"/>
                <a:gd name="connsiteX4650" fmla="*/ 3326690 w 4044707"/>
                <a:gd name="connsiteY4650" fmla="*/ 61834 h 2907193"/>
                <a:gd name="connsiteX4651" fmla="*/ 3323574 w 4044707"/>
                <a:gd name="connsiteY4651" fmla="*/ 64163 h 2907193"/>
                <a:gd name="connsiteX4652" fmla="*/ 3331348 w 4044707"/>
                <a:gd name="connsiteY4652" fmla="*/ 68005 h 2907193"/>
                <a:gd name="connsiteX4653" fmla="*/ 3332588 w 4044707"/>
                <a:gd name="connsiteY4653" fmla="*/ 71030 h 2907193"/>
                <a:gd name="connsiteX4654" fmla="*/ 3333284 w 4044707"/>
                <a:gd name="connsiteY4654" fmla="*/ 73511 h 2907193"/>
                <a:gd name="connsiteX4655" fmla="*/ 3335039 w 4044707"/>
                <a:gd name="connsiteY4655" fmla="*/ 75175 h 2907193"/>
                <a:gd name="connsiteX4656" fmla="*/ 3337066 w 4044707"/>
                <a:gd name="connsiteY4656" fmla="*/ 75961 h 2907193"/>
                <a:gd name="connsiteX4657" fmla="*/ 3340726 w 4044707"/>
                <a:gd name="connsiteY4657" fmla="*/ 75840 h 2907193"/>
                <a:gd name="connsiteX4658" fmla="*/ 3341785 w 4044707"/>
                <a:gd name="connsiteY4658" fmla="*/ 73995 h 2907193"/>
                <a:gd name="connsiteX4659" fmla="*/ 3342511 w 4044707"/>
                <a:gd name="connsiteY4659" fmla="*/ 71635 h 2907193"/>
                <a:gd name="connsiteX4660" fmla="*/ 3343570 w 4044707"/>
                <a:gd name="connsiteY4660" fmla="*/ 69972 h 2907193"/>
                <a:gd name="connsiteX4661" fmla="*/ 3345415 w 4044707"/>
                <a:gd name="connsiteY4661" fmla="*/ 70062 h 2907193"/>
                <a:gd name="connsiteX4662" fmla="*/ 3347140 w 4044707"/>
                <a:gd name="connsiteY4662" fmla="*/ 71424 h 2907193"/>
                <a:gd name="connsiteX4663" fmla="*/ 3348803 w 4044707"/>
                <a:gd name="connsiteY4663" fmla="*/ 72059 h 2907193"/>
                <a:gd name="connsiteX4664" fmla="*/ 3350497 w 4044707"/>
                <a:gd name="connsiteY4664" fmla="*/ 70002 h 2907193"/>
                <a:gd name="connsiteX4665" fmla="*/ 3349741 w 4044707"/>
                <a:gd name="connsiteY4665" fmla="*/ 68066 h 2907193"/>
                <a:gd name="connsiteX4666" fmla="*/ 3351193 w 4044707"/>
                <a:gd name="connsiteY4666" fmla="*/ 68429 h 2907193"/>
                <a:gd name="connsiteX4667" fmla="*/ 3352827 w 4044707"/>
                <a:gd name="connsiteY4667" fmla="*/ 68217 h 2907193"/>
                <a:gd name="connsiteX4668" fmla="*/ 3353916 w 4044707"/>
                <a:gd name="connsiteY4668" fmla="*/ 66977 h 2907193"/>
                <a:gd name="connsiteX4669" fmla="*/ 3353916 w 4044707"/>
                <a:gd name="connsiteY4669" fmla="*/ 64194 h 2907193"/>
                <a:gd name="connsiteX4670" fmla="*/ 3357365 w 4044707"/>
                <a:gd name="connsiteY4670" fmla="*/ 64194 h 2907193"/>
                <a:gd name="connsiteX4671" fmla="*/ 3353855 w 4044707"/>
                <a:gd name="connsiteY4671" fmla="*/ 61017 h 2907193"/>
                <a:gd name="connsiteX4672" fmla="*/ 3340061 w 4044707"/>
                <a:gd name="connsiteY4672" fmla="*/ 62257 h 2907193"/>
                <a:gd name="connsiteX4673" fmla="*/ 3341513 w 4044707"/>
                <a:gd name="connsiteY4673" fmla="*/ 60503 h 2907193"/>
                <a:gd name="connsiteX4674" fmla="*/ 3341180 w 4044707"/>
                <a:gd name="connsiteY4674" fmla="*/ 59172 h 2907193"/>
                <a:gd name="connsiteX4675" fmla="*/ 3340998 w 4044707"/>
                <a:gd name="connsiteY4675" fmla="*/ 58143 h 2907193"/>
                <a:gd name="connsiteX4676" fmla="*/ 3340726 w 4044707"/>
                <a:gd name="connsiteY4676" fmla="*/ 57266 h 2907193"/>
                <a:gd name="connsiteX4677" fmla="*/ 3340061 w 4044707"/>
                <a:gd name="connsiteY4677" fmla="*/ 56449 h 2907193"/>
                <a:gd name="connsiteX4678" fmla="*/ 3343449 w 4044707"/>
                <a:gd name="connsiteY4678" fmla="*/ 53394 h 2907193"/>
                <a:gd name="connsiteX4679" fmla="*/ 3351617 w 4044707"/>
                <a:gd name="connsiteY4679" fmla="*/ 54695 h 2907193"/>
                <a:gd name="connsiteX4680" fmla="*/ 3355307 w 4044707"/>
                <a:gd name="connsiteY4680" fmla="*/ 52577 h 2907193"/>
                <a:gd name="connsiteX4681" fmla="*/ 3351586 w 4044707"/>
                <a:gd name="connsiteY4681" fmla="*/ 50217 h 2907193"/>
                <a:gd name="connsiteX4682" fmla="*/ 3343691 w 4044707"/>
                <a:gd name="connsiteY4682" fmla="*/ 51034 h 2907193"/>
                <a:gd name="connsiteX4683" fmla="*/ 3340061 w 4044707"/>
                <a:gd name="connsiteY4683" fmla="*/ 48493 h 2907193"/>
                <a:gd name="connsiteX4684" fmla="*/ 3340635 w 4044707"/>
                <a:gd name="connsiteY4684" fmla="*/ 47525 h 2907193"/>
                <a:gd name="connsiteX4685" fmla="*/ 3341513 w 4044707"/>
                <a:gd name="connsiteY4685" fmla="*/ 44772 h 2907193"/>
                <a:gd name="connsiteX4686" fmla="*/ 3328717 w 4044707"/>
                <a:gd name="connsiteY4686" fmla="*/ 43502 h 2907193"/>
                <a:gd name="connsiteX4687" fmla="*/ 3324965 w 4044707"/>
                <a:gd name="connsiteY4687" fmla="*/ 46738 h 2907193"/>
                <a:gd name="connsiteX4688" fmla="*/ 3325933 w 4044707"/>
                <a:gd name="connsiteY4688" fmla="*/ 47283 h 2907193"/>
                <a:gd name="connsiteX4689" fmla="*/ 3326659 w 4044707"/>
                <a:gd name="connsiteY4689" fmla="*/ 48281 h 2907193"/>
                <a:gd name="connsiteX4690" fmla="*/ 3327718 w 4044707"/>
                <a:gd name="connsiteY4690" fmla="*/ 50429 h 2907193"/>
                <a:gd name="connsiteX4691" fmla="*/ 3322182 w 4044707"/>
                <a:gd name="connsiteY4691" fmla="*/ 50974 h 2907193"/>
                <a:gd name="connsiteX4692" fmla="*/ 3321244 w 4044707"/>
                <a:gd name="connsiteY4692" fmla="*/ 52698 h 2907193"/>
                <a:gd name="connsiteX4693" fmla="*/ 3323604 w 4044707"/>
                <a:gd name="connsiteY4693" fmla="*/ 56419 h 2907193"/>
                <a:gd name="connsiteX4694" fmla="*/ 3326901 w 4044707"/>
                <a:gd name="connsiteY4694" fmla="*/ 57962 h 2907193"/>
                <a:gd name="connsiteX4695" fmla="*/ 3400200 w 4044707"/>
                <a:gd name="connsiteY4695" fmla="*/ 39387 h 2907193"/>
                <a:gd name="connsiteX4696" fmla="*/ 3401895 w 4044707"/>
                <a:gd name="connsiteY4696" fmla="*/ 40749 h 2907193"/>
                <a:gd name="connsiteX4697" fmla="*/ 3403619 w 4044707"/>
                <a:gd name="connsiteY4697" fmla="*/ 42655 h 2907193"/>
                <a:gd name="connsiteX4698" fmla="*/ 3405343 w 4044707"/>
                <a:gd name="connsiteY4698" fmla="*/ 44046 h 2907193"/>
                <a:gd name="connsiteX4699" fmla="*/ 3408762 w 4044707"/>
                <a:gd name="connsiteY4699" fmla="*/ 44379 h 2907193"/>
                <a:gd name="connsiteX4700" fmla="*/ 3410183 w 4044707"/>
                <a:gd name="connsiteY4700" fmla="*/ 44137 h 2907193"/>
                <a:gd name="connsiteX4701" fmla="*/ 3412089 w 4044707"/>
                <a:gd name="connsiteY4701" fmla="*/ 38208 h 2907193"/>
                <a:gd name="connsiteX4702" fmla="*/ 3412089 w 4044707"/>
                <a:gd name="connsiteY4702" fmla="*/ 36513 h 2907193"/>
                <a:gd name="connsiteX4703" fmla="*/ 3410819 w 4044707"/>
                <a:gd name="connsiteY4703" fmla="*/ 34759 h 2907193"/>
                <a:gd name="connsiteX4704" fmla="*/ 3411938 w 4044707"/>
                <a:gd name="connsiteY4704" fmla="*/ 32309 h 2907193"/>
                <a:gd name="connsiteX4705" fmla="*/ 3415054 w 4044707"/>
                <a:gd name="connsiteY4705" fmla="*/ 30614 h 2907193"/>
                <a:gd name="connsiteX4706" fmla="*/ 3415780 w 4044707"/>
                <a:gd name="connsiteY4706" fmla="*/ 29737 h 2907193"/>
                <a:gd name="connsiteX4707" fmla="*/ 3414419 w 4044707"/>
                <a:gd name="connsiteY4707" fmla="*/ 28860 h 2907193"/>
                <a:gd name="connsiteX4708" fmla="*/ 3414873 w 4044707"/>
                <a:gd name="connsiteY4708" fmla="*/ 27136 h 2907193"/>
                <a:gd name="connsiteX4709" fmla="*/ 3416899 w 4044707"/>
                <a:gd name="connsiteY4709" fmla="*/ 24594 h 2907193"/>
                <a:gd name="connsiteX4710" fmla="*/ 3416899 w 4044707"/>
                <a:gd name="connsiteY4710" fmla="*/ 23263 h 2907193"/>
                <a:gd name="connsiteX4711" fmla="*/ 3414903 w 4044707"/>
                <a:gd name="connsiteY4711" fmla="*/ 23475 h 2907193"/>
                <a:gd name="connsiteX4712" fmla="*/ 3413904 w 4044707"/>
                <a:gd name="connsiteY4712" fmla="*/ 23868 h 2907193"/>
                <a:gd name="connsiteX4713" fmla="*/ 3412029 w 4044707"/>
                <a:gd name="connsiteY4713" fmla="*/ 25139 h 2907193"/>
                <a:gd name="connsiteX4714" fmla="*/ 3411121 w 4044707"/>
                <a:gd name="connsiteY4714" fmla="*/ 24957 h 2907193"/>
                <a:gd name="connsiteX4715" fmla="*/ 3410486 w 4044707"/>
                <a:gd name="connsiteY4715" fmla="*/ 24322 h 2907193"/>
                <a:gd name="connsiteX4716" fmla="*/ 3409972 w 4044707"/>
                <a:gd name="connsiteY4716" fmla="*/ 23354 h 2907193"/>
                <a:gd name="connsiteX4717" fmla="*/ 3409609 w 4044707"/>
                <a:gd name="connsiteY4717" fmla="*/ 21811 h 2907193"/>
                <a:gd name="connsiteX4718" fmla="*/ 3407673 w 4044707"/>
                <a:gd name="connsiteY4718" fmla="*/ 20631 h 2907193"/>
                <a:gd name="connsiteX4719" fmla="*/ 3404436 w 4044707"/>
                <a:gd name="connsiteY4719" fmla="*/ 20994 h 2907193"/>
                <a:gd name="connsiteX4720" fmla="*/ 3404103 w 4044707"/>
                <a:gd name="connsiteY4720" fmla="*/ 23808 h 2907193"/>
                <a:gd name="connsiteX4721" fmla="*/ 3406281 w 4044707"/>
                <a:gd name="connsiteY4721" fmla="*/ 27831 h 2907193"/>
                <a:gd name="connsiteX4722" fmla="*/ 3407067 w 4044707"/>
                <a:gd name="connsiteY4722" fmla="*/ 30796 h 2907193"/>
                <a:gd name="connsiteX4723" fmla="*/ 3406432 w 4044707"/>
                <a:gd name="connsiteY4723" fmla="*/ 32157 h 2907193"/>
                <a:gd name="connsiteX4724" fmla="*/ 3405222 w 4044707"/>
                <a:gd name="connsiteY4724" fmla="*/ 32369 h 2907193"/>
                <a:gd name="connsiteX4725" fmla="*/ 3403619 w 4044707"/>
                <a:gd name="connsiteY4725" fmla="*/ 32036 h 2907193"/>
                <a:gd name="connsiteX4726" fmla="*/ 3403347 w 4044707"/>
                <a:gd name="connsiteY4726" fmla="*/ 31098 h 2907193"/>
                <a:gd name="connsiteX4727" fmla="*/ 3403679 w 4044707"/>
                <a:gd name="connsiteY4727" fmla="*/ 29314 h 2907193"/>
                <a:gd name="connsiteX4728" fmla="*/ 3402469 w 4044707"/>
                <a:gd name="connsiteY4728" fmla="*/ 27438 h 2907193"/>
                <a:gd name="connsiteX4729" fmla="*/ 3400291 w 4044707"/>
                <a:gd name="connsiteY4729" fmla="*/ 26591 h 2907193"/>
                <a:gd name="connsiteX4730" fmla="*/ 3397750 w 4044707"/>
                <a:gd name="connsiteY4730" fmla="*/ 28134 h 2907193"/>
                <a:gd name="connsiteX4731" fmla="*/ 3394997 w 4044707"/>
                <a:gd name="connsiteY4731" fmla="*/ 31946 h 2907193"/>
                <a:gd name="connsiteX4732" fmla="*/ 3394513 w 4044707"/>
                <a:gd name="connsiteY4732" fmla="*/ 35545 h 2907193"/>
                <a:gd name="connsiteX4733" fmla="*/ 3396510 w 4044707"/>
                <a:gd name="connsiteY4733" fmla="*/ 37784 h 2907193"/>
                <a:gd name="connsiteX4734" fmla="*/ 3400200 w 4044707"/>
                <a:gd name="connsiteY4734" fmla="*/ 39448 h 2907193"/>
                <a:gd name="connsiteX4735" fmla="*/ 4043800 w 4044707"/>
                <a:gd name="connsiteY4735" fmla="*/ 247003 h 2907193"/>
                <a:gd name="connsiteX4736" fmla="*/ 4042196 w 4044707"/>
                <a:gd name="connsiteY4736" fmla="*/ 244734 h 2907193"/>
                <a:gd name="connsiteX4737" fmla="*/ 4040533 w 4044707"/>
                <a:gd name="connsiteY4737" fmla="*/ 243040 h 2907193"/>
                <a:gd name="connsiteX4738" fmla="*/ 4039322 w 4044707"/>
                <a:gd name="connsiteY4738" fmla="*/ 240257 h 2907193"/>
                <a:gd name="connsiteX4739" fmla="*/ 4039080 w 4044707"/>
                <a:gd name="connsiteY4739" fmla="*/ 236203 h 2907193"/>
                <a:gd name="connsiteX4740" fmla="*/ 4040200 w 4044707"/>
                <a:gd name="connsiteY4740" fmla="*/ 233753 h 2907193"/>
                <a:gd name="connsiteX4741" fmla="*/ 4041924 w 4044707"/>
                <a:gd name="connsiteY4741" fmla="*/ 231696 h 2907193"/>
                <a:gd name="connsiteX4742" fmla="*/ 4043498 w 4044707"/>
                <a:gd name="connsiteY4742" fmla="*/ 228792 h 2907193"/>
                <a:gd name="connsiteX4743" fmla="*/ 4037689 w 4044707"/>
                <a:gd name="connsiteY4743" fmla="*/ 217145 h 2907193"/>
                <a:gd name="connsiteX4744" fmla="*/ 4035935 w 4044707"/>
                <a:gd name="connsiteY4744" fmla="*/ 215632 h 2907193"/>
                <a:gd name="connsiteX4745" fmla="*/ 4034483 w 4044707"/>
                <a:gd name="connsiteY4745" fmla="*/ 213787 h 2907193"/>
                <a:gd name="connsiteX4746" fmla="*/ 4031820 w 4044707"/>
                <a:gd name="connsiteY4746" fmla="*/ 205831 h 2907193"/>
                <a:gd name="connsiteX4747" fmla="*/ 4029733 w 4044707"/>
                <a:gd name="connsiteY4747" fmla="*/ 204137 h 2907193"/>
                <a:gd name="connsiteX4748" fmla="*/ 4020809 w 4044707"/>
                <a:gd name="connsiteY4748" fmla="*/ 210883 h 2907193"/>
                <a:gd name="connsiteX4749" fmla="*/ 4019447 w 4044707"/>
                <a:gd name="connsiteY4749" fmla="*/ 212789 h 2907193"/>
                <a:gd name="connsiteX4750" fmla="*/ 4018298 w 4044707"/>
                <a:gd name="connsiteY4750" fmla="*/ 215572 h 2907193"/>
                <a:gd name="connsiteX4751" fmla="*/ 4015696 w 4044707"/>
                <a:gd name="connsiteY4751" fmla="*/ 213938 h 2907193"/>
                <a:gd name="connsiteX4752" fmla="*/ 4011128 w 4044707"/>
                <a:gd name="connsiteY4752" fmla="*/ 208100 h 2907193"/>
                <a:gd name="connsiteX4753" fmla="*/ 4010191 w 4044707"/>
                <a:gd name="connsiteY4753" fmla="*/ 200809 h 2907193"/>
                <a:gd name="connsiteX4754" fmla="*/ 3993128 w 4044707"/>
                <a:gd name="connsiteY4754" fmla="*/ 187105 h 2907193"/>
                <a:gd name="connsiteX4755" fmla="*/ 3996819 w 4044707"/>
                <a:gd name="connsiteY4755" fmla="*/ 183747 h 2907193"/>
                <a:gd name="connsiteX4756" fmla="*/ 3995065 w 4044707"/>
                <a:gd name="connsiteY4756" fmla="*/ 180299 h 2907193"/>
                <a:gd name="connsiteX4757" fmla="*/ 3986987 w 4044707"/>
                <a:gd name="connsiteY4757" fmla="*/ 175761 h 2907193"/>
                <a:gd name="connsiteX4758" fmla="*/ 3982419 w 4044707"/>
                <a:gd name="connsiteY4758" fmla="*/ 175005 h 2907193"/>
                <a:gd name="connsiteX4759" fmla="*/ 3952925 w 4044707"/>
                <a:gd name="connsiteY4759" fmla="*/ 185169 h 2907193"/>
                <a:gd name="connsiteX4760" fmla="*/ 3936589 w 4044707"/>
                <a:gd name="connsiteY4760" fmla="*/ 181418 h 2907193"/>
                <a:gd name="connsiteX4761" fmla="*/ 3936589 w 4044707"/>
                <a:gd name="connsiteY4761" fmla="*/ 179542 h 2907193"/>
                <a:gd name="connsiteX4762" fmla="*/ 3940673 w 4044707"/>
                <a:gd name="connsiteY4762" fmla="*/ 179694 h 2907193"/>
                <a:gd name="connsiteX4763" fmla="*/ 3948992 w 4044707"/>
                <a:gd name="connsiteY4763" fmla="*/ 183203 h 2907193"/>
                <a:gd name="connsiteX4764" fmla="*/ 3953136 w 4044707"/>
                <a:gd name="connsiteY4764" fmla="*/ 183324 h 2907193"/>
                <a:gd name="connsiteX4765" fmla="*/ 3952592 w 4044707"/>
                <a:gd name="connsiteY4765" fmla="*/ 180510 h 2907193"/>
                <a:gd name="connsiteX4766" fmla="*/ 3951624 w 4044707"/>
                <a:gd name="connsiteY4766" fmla="*/ 179270 h 2907193"/>
                <a:gd name="connsiteX4767" fmla="*/ 3950384 w 4044707"/>
                <a:gd name="connsiteY4767" fmla="*/ 179119 h 2907193"/>
                <a:gd name="connsiteX4768" fmla="*/ 3949052 w 4044707"/>
                <a:gd name="connsiteY4768" fmla="*/ 179542 h 2907193"/>
                <a:gd name="connsiteX4769" fmla="*/ 3949052 w 4044707"/>
                <a:gd name="connsiteY4769" fmla="*/ 177636 h 2907193"/>
                <a:gd name="connsiteX4770" fmla="*/ 3951866 w 4044707"/>
                <a:gd name="connsiteY4770" fmla="*/ 175821 h 2907193"/>
                <a:gd name="connsiteX4771" fmla="*/ 3963150 w 4044707"/>
                <a:gd name="connsiteY4771" fmla="*/ 172615 h 2907193"/>
                <a:gd name="connsiteX4772" fmla="*/ 3969412 w 4044707"/>
                <a:gd name="connsiteY4772" fmla="*/ 168410 h 2907193"/>
                <a:gd name="connsiteX4773" fmla="*/ 3971469 w 4044707"/>
                <a:gd name="connsiteY4773" fmla="*/ 165264 h 2907193"/>
                <a:gd name="connsiteX4774" fmla="*/ 3970410 w 4044707"/>
                <a:gd name="connsiteY4774" fmla="*/ 162480 h 2907193"/>
                <a:gd name="connsiteX4775" fmla="*/ 3960760 w 4044707"/>
                <a:gd name="connsiteY4775" fmla="*/ 154797 h 2907193"/>
                <a:gd name="connsiteX4776" fmla="*/ 3949657 w 4044707"/>
                <a:gd name="connsiteY4776" fmla="*/ 153345 h 2907193"/>
                <a:gd name="connsiteX4777" fmla="*/ 3946239 w 4044707"/>
                <a:gd name="connsiteY4777" fmla="*/ 150803 h 2907193"/>
                <a:gd name="connsiteX4778" fmla="*/ 3952229 w 4044707"/>
                <a:gd name="connsiteY4778" fmla="*/ 148565 h 2907193"/>
                <a:gd name="connsiteX4779" fmla="*/ 3955193 w 4044707"/>
                <a:gd name="connsiteY4779" fmla="*/ 146145 h 2907193"/>
                <a:gd name="connsiteX4780" fmla="*/ 3957281 w 4044707"/>
                <a:gd name="connsiteY4780" fmla="*/ 141456 h 2907193"/>
                <a:gd name="connsiteX4781" fmla="*/ 3947025 w 4044707"/>
                <a:gd name="connsiteY4781" fmla="*/ 133258 h 2907193"/>
                <a:gd name="connsiteX4782" fmla="*/ 3943486 w 4044707"/>
                <a:gd name="connsiteY4782" fmla="*/ 131896 h 2907193"/>
                <a:gd name="connsiteX4783" fmla="*/ 3935863 w 4044707"/>
                <a:gd name="connsiteY4783" fmla="*/ 132592 h 2907193"/>
                <a:gd name="connsiteX4784" fmla="*/ 3932384 w 4044707"/>
                <a:gd name="connsiteY4784" fmla="*/ 134952 h 2907193"/>
                <a:gd name="connsiteX4785" fmla="*/ 3923460 w 4044707"/>
                <a:gd name="connsiteY4785" fmla="*/ 146205 h 2907193"/>
                <a:gd name="connsiteX4786" fmla="*/ 3922219 w 4044707"/>
                <a:gd name="connsiteY4786" fmla="*/ 148565 h 2907193"/>
                <a:gd name="connsiteX4787" fmla="*/ 3921342 w 4044707"/>
                <a:gd name="connsiteY4787" fmla="*/ 151015 h 2907193"/>
                <a:gd name="connsiteX4788" fmla="*/ 3920344 w 4044707"/>
                <a:gd name="connsiteY4788" fmla="*/ 153193 h 2907193"/>
                <a:gd name="connsiteX4789" fmla="*/ 3918680 w 4044707"/>
                <a:gd name="connsiteY4789" fmla="*/ 154797 h 2907193"/>
                <a:gd name="connsiteX4790" fmla="*/ 3904190 w 4044707"/>
                <a:gd name="connsiteY4790" fmla="*/ 158608 h 2907193"/>
                <a:gd name="connsiteX4791" fmla="*/ 3906549 w 4044707"/>
                <a:gd name="connsiteY4791" fmla="*/ 153163 h 2907193"/>
                <a:gd name="connsiteX4792" fmla="*/ 3912539 w 4044707"/>
                <a:gd name="connsiteY4792" fmla="*/ 146205 h 2907193"/>
                <a:gd name="connsiteX4793" fmla="*/ 3914505 w 4044707"/>
                <a:gd name="connsiteY4793" fmla="*/ 139368 h 2907193"/>
                <a:gd name="connsiteX4794" fmla="*/ 3914233 w 4044707"/>
                <a:gd name="connsiteY4794" fmla="*/ 128841 h 2907193"/>
                <a:gd name="connsiteX4795" fmla="*/ 3910905 w 4044707"/>
                <a:gd name="connsiteY4795" fmla="*/ 124303 h 2907193"/>
                <a:gd name="connsiteX4796" fmla="*/ 3906246 w 4044707"/>
                <a:gd name="connsiteY4796" fmla="*/ 124031 h 2907193"/>
                <a:gd name="connsiteX4797" fmla="*/ 3887945 w 4044707"/>
                <a:gd name="connsiteY4797" fmla="*/ 134649 h 2907193"/>
                <a:gd name="connsiteX4798" fmla="*/ 3875299 w 4044707"/>
                <a:gd name="connsiteY4798" fmla="*/ 137039 h 2907193"/>
                <a:gd name="connsiteX4799" fmla="*/ 3873061 w 4044707"/>
                <a:gd name="connsiteY4799" fmla="*/ 139399 h 2907193"/>
                <a:gd name="connsiteX4800" fmla="*/ 3868916 w 4044707"/>
                <a:gd name="connsiteY4800" fmla="*/ 147506 h 2907193"/>
                <a:gd name="connsiteX4801" fmla="*/ 3866647 w 4044707"/>
                <a:gd name="connsiteY4801" fmla="*/ 149472 h 2907193"/>
                <a:gd name="connsiteX4802" fmla="*/ 3864137 w 4044707"/>
                <a:gd name="connsiteY4802" fmla="*/ 147234 h 2907193"/>
                <a:gd name="connsiteX4803" fmla="*/ 3865498 w 4044707"/>
                <a:gd name="connsiteY4803" fmla="*/ 143422 h 2907193"/>
                <a:gd name="connsiteX4804" fmla="*/ 3864772 w 4044707"/>
                <a:gd name="connsiteY4804" fmla="*/ 142757 h 2907193"/>
                <a:gd name="connsiteX4805" fmla="*/ 3864500 w 4044707"/>
                <a:gd name="connsiteY4805" fmla="*/ 142303 h 2907193"/>
                <a:gd name="connsiteX4806" fmla="*/ 3864137 w 4044707"/>
                <a:gd name="connsiteY4806" fmla="*/ 141516 h 2907193"/>
                <a:gd name="connsiteX4807" fmla="*/ 3866284 w 4044707"/>
                <a:gd name="connsiteY4807" fmla="*/ 139852 h 2907193"/>
                <a:gd name="connsiteX4808" fmla="*/ 3868947 w 4044707"/>
                <a:gd name="connsiteY4808" fmla="*/ 139126 h 2907193"/>
                <a:gd name="connsiteX4809" fmla="*/ 3871276 w 4044707"/>
                <a:gd name="connsiteY4809" fmla="*/ 137644 h 2907193"/>
                <a:gd name="connsiteX4810" fmla="*/ 3872456 w 4044707"/>
                <a:gd name="connsiteY4810" fmla="*/ 133711 h 2907193"/>
                <a:gd name="connsiteX4811" fmla="*/ 3871094 w 4044707"/>
                <a:gd name="connsiteY4811" fmla="*/ 134074 h 2907193"/>
                <a:gd name="connsiteX4812" fmla="*/ 3869824 w 4044707"/>
                <a:gd name="connsiteY4812" fmla="*/ 133953 h 2907193"/>
                <a:gd name="connsiteX4813" fmla="*/ 3868825 w 4044707"/>
                <a:gd name="connsiteY4813" fmla="*/ 132774 h 2907193"/>
                <a:gd name="connsiteX4814" fmla="*/ 3868251 w 4044707"/>
                <a:gd name="connsiteY4814" fmla="*/ 129869 h 2907193"/>
                <a:gd name="connsiteX4815" fmla="*/ 3873303 w 4044707"/>
                <a:gd name="connsiteY4815" fmla="*/ 129627 h 2907193"/>
                <a:gd name="connsiteX4816" fmla="*/ 3875995 w 4044707"/>
                <a:gd name="connsiteY4816" fmla="*/ 128417 h 2907193"/>
                <a:gd name="connsiteX4817" fmla="*/ 3877871 w 4044707"/>
                <a:gd name="connsiteY4817" fmla="*/ 126239 h 2907193"/>
                <a:gd name="connsiteX4818" fmla="*/ 3868251 w 4044707"/>
                <a:gd name="connsiteY4818" fmla="*/ 126542 h 2907193"/>
                <a:gd name="connsiteX4819" fmla="*/ 3865528 w 4044707"/>
                <a:gd name="connsiteY4819" fmla="*/ 124122 h 2907193"/>
                <a:gd name="connsiteX4820" fmla="*/ 3874150 w 4044707"/>
                <a:gd name="connsiteY4820" fmla="*/ 116861 h 2907193"/>
                <a:gd name="connsiteX4821" fmla="*/ 3876570 w 4044707"/>
                <a:gd name="connsiteY4821" fmla="*/ 112626 h 2907193"/>
                <a:gd name="connsiteX4822" fmla="*/ 3874180 w 4044707"/>
                <a:gd name="connsiteY4822" fmla="*/ 110266 h 2907193"/>
                <a:gd name="connsiteX4823" fmla="*/ 3866194 w 4044707"/>
                <a:gd name="connsiteY4823" fmla="*/ 108633 h 2907193"/>
                <a:gd name="connsiteX4824" fmla="*/ 3864227 w 4044707"/>
                <a:gd name="connsiteY4824" fmla="*/ 106848 h 2907193"/>
                <a:gd name="connsiteX4825" fmla="*/ 3863290 w 4044707"/>
                <a:gd name="connsiteY4825" fmla="*/ 105547 h 2907193"/>
                <a:gd name="connsiteX4826" fmla="*/ 3862473 w 4044707"/>
                <a:gd name="connsiteY4826" fmla="*/ 104004 h 2907193"/>
                <a:gd name="connsiteX4827" fmla="*/ 3862201 w 4044707"/>
                <a:gd name="connsiteY4827" fmla="*/ 102401 h 2907193"/>
                <a:gd name="connsiteX4828" fmla="*/ 3862291 w 4044707"/>
                <a:gd name="connsiteY4828" fmla="*/ 98408 h 2907193"/>
                <a:gd name="connsiteX4829" fmla="*/ 3862110 w 4044707"/>
                <a:gd name="connsiteY4829" fmla="*/ 97077 h 2907193"/>
                <a:gd name="connsiteX4830" fmla="*/ 3858086 w 4044707"/>
                <a:gd name="connsiteY4830" fmla="*/ 92660 h 2907193"/>
                <a:gd name="connsiteX4831" fmla="*/ 3842083 w 4044707"/>
                <a:gd name="connsiteY4831" fmla="*/ 91480 h 2907193"/>
                <a:gd name="connsiteX4832" fmla="*/ 3842083 w 4044707"/>
                <a:gd name="connsiteY4832" fmla="*/ 89574 h 2907193"/>
                <a:gd name="connsiteX4833" fmla="*/ 3846107 w 4044707"/>
                <a:gd name="connsiteY4833" fmla="*/ 88909 h 2907193"/>
                <a:gd name="connsiteX4834" fmla="*/ 3846319 w 4044707"/>
                <a:gd name="connsiteY4834" fmla="*/ 87699 h 2907193"/>
                <a:gd name="connsiteX4835" fmla="*/ 3844140 w 4044707"/>
                <a:gd name="connsiteY4835" fmla="*/ 85521 h 2907193"/>
                <a:gd name="connsiteX4836" fmla="*/ 3841599 w 4044707"/>
                <a:gd name="connsiteY4836" fmla="*/ 84583 h 2907193"/>
                <a:gd name="connsiteX4837" fmla="*/ 3815159 w 4044707"/>
                <a:gd name="connsiteY4837" fmla="*/ 87638 h 2907193"/>
                <a:gd name="connsiteX4838" fmla="*/ 3811771 w 4044707"/>
                <a:gd name="connsiteY4838" fmla="*/ 90210 h 2907193"/>
                <a:gd name="connsiteX4839" fmla="*/ 3808202 w 4044707"/>
                <a:gd name="connsiteY4839" fmla="*/ 94475 h 2907193"/>
                <a:gd name="connsiteX4840" fmla="*/ 3804965 w 4044707"/>
                <a:gd name="connsiteY4840" fmla="*/ 99860 h 2907193"/>
                <a:gd name="connsiteX4841" fmla="*/ 3799913 w 4044707"/>
                <a:gd name="connsiteY4841" fmla="*/ 111295 h 2907193"/>
                <a:gd name="connsiteX4842" fmla="*/ 3791049 w 4044707"/>
                <a:gd name="connsiteY4842" fmla="*/ 122216 h 2907193"/>
                <a:gd name="connsiteX4843" fmla="*/ 3788145 w 4044707"/>
                <a:gd name="connsiteY4843" fmla="*/ 130263 h 2907193"/>
                <a:gd name="connsiteX4844" fmla="*/ 3789597 w 4044707"/>
                <a:gd name="connsiteY4844" fmla="*/ 133832 h 2907193"/>
                <a:gd name="connsiteX4845" fmla="*/ 3793136 w 4044707"/>
                <a:gd name="connsiteY4845" fmla="*/ 135920 h 2907193"/>
                <a:gd name="connsiteX4846" fmla="*/ 3796615 w 4044707"/>
                <a:gd name="connsiteY4846" fmla="*/ 139429 h 2907193"/>
                <a:gd name="connsiteX4847" fmla="*/ 3797614 w 4044707"/>
                <a:gd name="connsiteY4847" fmla="*/ 142394 h 2907193"/>
                <a:gd name="connsiteX4848" fmla="*/ 3796948 w 4044707"/>
                <a:gd name="connsiteY4848" fmla="*/ 143634 h 2907193"/>
                <a:gd name="connsiteX4849" fmla="*/ 3793136 w 4044707"/>
                <a:gd name="connsiteY4849" fmla="*/ 143392 h 2907193"/>
                <a:gd name="connsiteX4850" fmla="*/ 3788962 w 4044707"/>
                <a:gd name="connsiteY4850" fmla="*/ 141849 h 2907193"/>
                <a:gd name="connsiteX4851" fmla="*/ 3787237 w 4044707"/>
                <a:gd name="connsiteY4851" fmla="*/ 142394 h 2907193"/>
                <a:gd name="connsiteX4852" fmla="*/ 3785604 w 4044707"/>
                <a:gd name="connsiteY4852" fmla="*/ 145298 h 2907193"/>
                <a:gd name="connsiteX4853" fmla="*/ 3784878 w 4044707"/>
                <a:gd name="connsiteY4853" fmla="*/ 148020 h 2907193"/>
                <a:gd name="connsiteX4854" fmla="*/ 3784031 w 4044707"/>
                <a:gd name="connsiteY4854" fmla="*/ 154222 h 2907193"/>
                <a:gd name="connsiteX4855" fmla="*/ 3783456 w 4044707"/>
                <a:gd name="connsiteY4855" fmla="*/ 156914 h 2907193"/>
                <a:gd name="connsiteX4856" fmla="*/ 3775651 w 4044707"/>
                <a:gd name="connsiteY4856" fmla="*/ 175640 h 2907193"/>
                <a:gd name="connsiteX4857" fmla="*/ 3775228 w 4044707"/>
                <a:gd name="connsiteY4857" fmla="*/ 178635 h 2907193"/>
                <a:gd name="connsiteX4858" fmla="*/ 3776074 w 4044707"/>
                <a:gd name="connsiteY4858" fmla="*/ 179542 h 2907193"/>
                <a:gd name="connsiteX4859" fmla="*/ 3781368 w 4044707"/>
                <a:gd name="connsiteY4859" fmla="*/ 187135 h 2907193"/>
                <a:gd name="connsiteX4860" fmla="*/ 3783698 w 4044707"/>
                <a:gd name="connsiteY4860" fmla="*/ 188678 h 2907193"/>
                <a:gd name="connsiteX4861" fmla="*/ 3791079 w 4044707"/>
                <a:gd name="connsiteY4861" fmla="*/ 189041 h 2907193"/>
                <a:gd name="connsiteX4862" fmla="*/ 3791079 w 4044707"/>
                <a:gd name="connsiteY4862" fmla="*/ 191098 h 2907193"/>
                <a:gd name="connsiteX4863" fmla="*/ 3788115 w 4044707"/>
                <a:gd name="connsiteY4863" fmla="*/ 192611 h 2907193"/>
                <a:gd name="connsiteX4864" fmla="*/ 3786602 w 4044707"/>
                <a:gd name="connsiteY4864" fmla="*/ 194275 h 2907193"/>
                <a:gd name="connsiteX4865" fmla="*/ 3785573 w 4044707"/>
                <a:gd name="connsiteY4865" fmla="*/ 196786 h 2907193"/>
                <a:gd name="connsiteX4866" fmla="*/ 3785573 w 4044707"/>
                <a:gd name="connsiteY4866" fmla="*/ 199175 h 2907193"/>
                <a:gd name="connsiteX4867" fmla="*/ 3786209 w 4044707"/>
                <a:gd name="connsiteY4867" fmla="*/ 201384 h 2907193"/>
                <a:gd name="connsiteX4868" fmla="*/ 3786693 w 4044707"/>
                <a:gd name="connsiteY4868" fmla="*/ 203653 h 2907193"/>
                <a:gd name="connsiteX4869" fmla="*/ 3786269 w 4044707"/>
                <a:gd name="connsiteY4869" fmla="*/ 206224 h 2907193"/>
                <a:gd name="connsiteX4870" fmla="*/ 3784424 w 4044707"/>
                <a:gd name="connsiteY4870" fmla="*/ 207192 h 2907193"/>
                <a:gd name="connsiteX4871" fmla="*/ 3782427 w 4044707"/>
                <a:gd name="connsiteY4871" fmla="*/ 204469 h 2907193"/>
                <a:gd name="connsiteX4872" fmla="*/ 3781127 w 4044707"/>
                <a:gd name="connsiteY4872" fmla="*/ 199811 h 2907193"/>
                <a:gd name="connsiteX4873" fmla="*/ 3781368 w 4044707"/>
                <a:gd name="connsiteY4873" fmla="*/ 194910 h 2907193"/>
                <a:gd name="connsiteX4874" fmla="*/ 3778374 w 4044707"/>
                <a:gd name="connsiteY4874" fmla="*/ 193125 h 2907193"/>
                <a:gd name="connsiteX4875" fmla="*/ 3774502 w 4044707"/>
                <a:gd name="connsiteY4875" fmla="*/ 193881 h 2907193"/>
                <a:gd name="connsiteX4876" fmla="*/ 3770780 w 4044707"/>
                <a:gd name="connsiteY4876" fmla="*/ 196513 h 2907193"/>
                <a:gd name="connsiteX4877" fmla="*/ 3768330 w 4044707"/>
                <a:gd name="connsiteY4877" fmla="*/ 200385 h 2907193"/>
                <a:gd name="connsiteX4878" fmla="*/ 3767967 w 4044707"/>
                <a:gd name="connsiteY4878" fmla="*/ 203138 h 2907193"/>
                <a:gd name="connsiteX4879" fmla="*/ 3767907 w 4044707"/>
                <a:gd name="connsiteY4879" fmla="*/ 206315 h 2907193"/>
                <a:gd name="connsiteX4880" fmla="*/ 3767483 w 4044707"/>
                <a:gd name="connsiteY4880" fmla="*/ 208916 h 2907193"/>
                <a:gd name="connsiteX4881" fmla="*/ 3764519 w 4044707"/>
                <a:gd name="connsiteY4881" fmla="*/ 210580 h 2907193"/>
                <a:gd name="connsiteX4882" fmla="*/ 3761191 w 4044707"/>
                <a:gd name="connsiteY4882" fmla="*/ 213878 h 2907193"/>
                <a:gd name="connsiteX4883" fmla="*/ 3760041 w 4044707"/>
                <a:gd name="connsiteY4883" fmla="*/ 215662 h 2907193"/>
                <a:gd name="connsiteX4884" fmla="*/ 3758650 w 4044707"/>
                <a:gd name="connsiteY4884" fmla="*/ 219928 h 2907193"/>
                <a:gd name="connsiteX4885" fmla="*/ 3758287 w 4044707"/>
                <a:gd name="connsiteY4885" fmla="*/ 224284 h 2907193"/>
                <a:gd name="connsiteX4886" fmla="*/ 3758287 w 4044707"/>
                <a:gd name="connsiteY4886" fmla="*/ 229064 h 2907193"/>
                <a:gd name="connsiteX4887" fmla="*/ 3757894 w 4044707"/>
                <a:gd name="connsiteY4887" fmla="*/ 234630 h 2907193"/>
                <a:gd name="connsiteX4888" fmla="*/ 3757016 w 4044707"/>
                <a:gd name="connsiteY4888" fmla="*/ 238926 h 2907193"/>
                <a:gd name="connsiteX4889" fmla="*/ 3754898 w 4044707"/>
                <a:gd name="connsiteY4889" fmla="*/ 246761 h 2907193"/>
                <a:gd name="connsiteX4890" fmla="*/ 3754475 w 4044707"/>
                <a:gd name="connsiteY4890" fmla="*/ 251510 h 2907193"/>
                <a:gd name="connsiteX4891" fmla="*/ 3755201 w 4044707"/>
                <a:gd name="connsiteY4891" fmla="*/ 258166 h 2907193"/>
                <a:gd name="connsiteX4892" fmla="*/ 3755504 w 4044707"/>
                <a:gd name="connsiteY4892" fmla="*/ 259951 h 2907193"/>
                <a:gd name="connsiteX4893" fmla="*/ 3755746 w 4044707"/>
                <a:gd name="connsiteY4893" fmla="*/ 262068 h 2907193"/>
                <a:gd name="connsiteX4894" fmla="*/ 3755201 w 4044707"/>
                <a:gd name="connsiteY4894" fmla="*/ 267423 h 2907193"/>
                <a:gd name="connsiteX4895" fmla="*/ 3755201 w 4044707"/>
                <a:gd name="connsiteY4895" fmla="*/ 270236 h 2907193"/>
                <a:gd name="connsiteX4896" fmla="*/ 3756169 w 4044707"/>
                <a:gd name="connsiteY4896" fmla="*/ 275258 h 2907193"/>
                <a:gd name="connsiteX4897" fmla="*/ 3757319 w 4044707"/>
                <a:gd name="connsiteY4897" fmla="*/ 278374 h 2907193"/>
                <a:gd name="connsiteX4898" fmla="*/ 3757894 w 4044707"/>
                <a:gd name="connsiteY4898" fmla="*/ 281641 h 2907193"/>
                <a:gd name="connsiteX4899" fmla="*/ 3757258 w 4044707"/>
                <a:gd name="connsiteY4899" fmla="*/ 287147 h 2907193"/>
                <a:gd name="connsiteX4900" fmla="*/ 3753719 w 4044707"/>
                <a:gd name="connsiteY4900" fmla="*/ 297583 h 2907193"/>
                <a:gd name="connsiteX4901" fmla="*/ 3748092 w 4044707"/>
                <a:gd name="connsiteY4901" fmla="*/ 306810 h 2907193"/>
                <a:gd name="connsiteX4902" fmla="*/ 3741860 w 4044707"/>
                <a:gd name="connsiteY4902" fmla="*/ 311802 h 2907193"/>
                <a:gd name="connsiteX4903" fmla="*/ 3736597 w 4044707"/>
                <a:gd name="connsiteY4903" fmla="*/ 309593 h 2907193"/>
                <a:gd name="connsiteX4904" fmla="*/ 3739228 w 4044707"/>
                <a:gd name="connsiteY4904" fmla="*/ 309593 h 2907193"/>
                <a:gd name="connsiteX4905" fmla="*/ 3742344 w 4044707"/>
                <a:gd name="connsiteY4905" fmla="*/ 307960 h 2907193"/>
                <a:gd name="connsiteX4906" fmla="*/ 3745279 w 4044707"/>
                <a:gd name="connsiteY4906" fmla="*/ 305055 h 2907193"/>
                <a:gd name="connsiteX4907" fmla="*/ 3748848 w 4044707"/>
                <a:gd name="connsiteY4907" fmla="*/ 297977 h 2907193"/>
                <a:gd name="connsiteX4908" fmla="*/ 3750542 w 4044707"/>
                <a:gd name="connsiteY4908" fmla="*/ 295375 h 2907193"/>
                <a:gd name="connsiteX4909" fmla="*/ 3752055 w 4044707"/>
                <a:gd name="connsiteY4909" fmla="*/ 292168 h 2907193"/>
                <a:gd name="connsiteX4910" fmla="*/ 3753114 w 4044707"/>
                <a:gd name="connsiteY4910" fmla="*/ 287147 h 2907193"/>
                <a:gd name="connsiteX4911" fmla="*/ 3753114 w 4044707"/>
                <a:gd name="connsiteY4911" fmla="*/ 279402 h 2907193"/>
                <a:gd name="connsiteX4912" fmla="*/ 3751117 w 4044707"/>
                <a:gd name="connsiteY4912" fmla="*/ 261614 h 2907193"/>
                <a:gd name="connsiteX4913" fmla="*/ 3751057 w 4044707"/>
                <a:gd name="connsiteY4913" fmla="*/ 251480 h 2907193"/>
                <a:gd name="connsiteX4914" fmla="*/ 3752297 w 4044707"/>
                <a:gd name="connsiteY4914" fmla="*/ 242919 h 2907193"/>
                <a:gd name="connsiteX4915" fmla="*/ 3752690 w 4044707"/>
                <a:gd name="connsiteY4915" fmla="*/ 238079 h 2907193"/>
                <a:gd name="connsiteX4916" fmla="*/ 3752176 w 4044707"/>
                <a:gd name="connsiteY4916" fmla="*/ 233541 h 2907193"/>
                <a:gd name="connsiteX4917" fmla="*/ 3751208 w 4044707"/>
                <a:gd name="connsiteY4917" fmla="*/ 228398 h 2907193"/>
                <a:gd name="connsiteX4918" fmla="*/ 3751450 w 4044707"/>
                <a:gd name="connsiteY4918" fmla="*/ 224345 h 2907193"/>
                <a:gd name="connsiteX4919" fmla="*/ 3752630 w 4044707"/>
                <a:gd name="connsiteY4919" fmla="*/ 220866 h 2907193"/>
                <a:gd name="connsiteX4920" fmla="*/ 3756744 w 4044707"/>
                <a:gd name="connsiteY4920" fmla="*/ 213757 h 2907193"/>
                <a:gd name="connsiteX4921" fmla="*/ 3760102 w 4044707"/>
                <a:gd name="connsiteY4921" fmla="*/ 206285 h 2907193"/>
                <a:gd name="connsiteX4922" fmla="*/ 3761826 w 4044707"/>
                <a:gd name="connsiteY4922" fmla="*/ 201263 h 2907193"/>
                <a:gd name="connsiteX4923" fmla="*/ 3763671 w 4044707"/>
                <a:gd name="connsiteY4923" fmla="*/ 197754 h 2907193"/>
                <a:gd name="connsiteX4924" fmla="*/ 3765759 w 4044707"/>
                <a:gd name="connsiteY4924" fmla="*/ 195636 h 2907193"/>
                <a:gd name="connsiteX4925" fmla="*/ 3767665 w 4044707"/>
                <a:gd name="connsiteY4925" fmla="*/ 192762 h 2907193"/>
                <a:gd name="connsiteX4926" fmla="*/ 3768996 w 4044707"/>
                <a:gd name="connsiteY4926" fmla="*/ 187014 h 2907193"/>
                <a:gd name="connsiteX4927" fmla="*/ 3764791 w 4044707"/>
                <a:gd name="connsiteY4927" fmla="*/ 186924 h 2907193"/>
                <a:gd name="connsiteX4928" fmla="*/ 3760707 w 4044707"/>
                <a:gd name="connsiteY4928" fmla="*/ 189132 h 2907193"/>
                <a:gd name="connsiteX4929" fmla="*/ 3756804 w 4044707"/>
                <a:gd name="connsiteY4929" fmla="*/ 193125 h 2907193"/>
                <a:gd name="connsiteX4930" fmla="*/ 3753144 w 4044707"/>
                <a:gd name="connsiteY4930" fmla="*/ 198389 h 2907193"/>
                <a:gd name="connsiteX4931" fmla="*/ 3749060 w 4044707"/>
                <a:gd name="connsiteY4931" fmla="*/ 206678 h 2907193"/>
                <a:gd name="connsiteX4932" fmla="*/ 3748062 w 4044707"/>
                <a:gd name="connsiteY4932" fmla="*/ 208039 h 2907193"/>
                <a:gd name="connsiteX4933" fmla="*/ 3746095 w 4044707"/>
                <a:gd name="connsiteY4933" fmla="*/ 206950 h 2907193"/>
                <a:gd name="connsiteX4934" fmla="*/ 3745732 w 4044707"/>
                <a:gd name="connsiteY4934" fmla="*/ 204560 h 2907193"/>
                <a:gd name="connsiteX4935" fmla="*/ 3746368 w 4044707"/>
                <a:gd name="connsiteY4935" fmla="*/ 202654 h 2907193"/>
                <a:gd name="connsiteX4936" fmla="*/ 3748274 w 4044707"/>
                <a:gd name="connsiteY4936" fmla="*/ 200416 h 2907193"/>
                <a:gd name="connsiteX4937" fmla="*/ 3748395 w 4044707"/>
                <a:gd name="connsiteY4937" fmla="*/ 200295 h 2907193"/>
                <a:gd name="connsiteX4938" fmla="*/ 3746610 w 4044707"/>
                <a:gd name="connsiteY4938" fmla="*/ 201928 h 2907193"/>
                <a:gd name="connsiteX4939" fmla="*/ 3744069 w 4044707"/>
                <a:gd name="connsiteY4939" fmla="*/ 205347 h 2907193"/>
                <a:gd name="connsiteX4940" fmla="*/ 3740287 w 4044707"/>
                <a:gd name="connsiteY4940" fmla="*/ 207827 h 2907193"/>
                <a:gd name="connsiteX4941" fmla="*/ 3739349 w 4044707"/>
                <a:gd name="connsiteY4941" fmla="*/ 207222 h 2907193"/>
                <a:gd name="connsiteX4942" fmla="*/ 3740469 w 4044707"/>
                <a:gd name="connsiteY4942" fmla="*/ 203138 h 2907193"/>
                <a:gd name="connsiteX4943" fmla="*/ 3743312 w 4044707"/>
                <a:gd name="connsiteY4943" fmla="*/ 198268 h 2907193"/>
                <a:gd name="connsiteX4944" fmla="*/ 3753900 w 4044707"/>
                <a:gd name="connsiteY4944" fmla="*/ 191008 h 2907193"/>
                <a:gd name="connsiteX4945" fmla="*/ 3741165 w 4044707"/>
                <a:gd name="connsiteY4945" fmla="*/ 193881 h 2907193"/>
                <a:gd name="connsiteX4946" fmla="*/ 3729064 w 4044707"/>
                <a:gd name="connsiteY4946" fmla="*/ 200295 h 2907193"/>
                <a:gd name="connsiteX4947" fmla="*/ 3731061 w 4044707"/>
                <a:gd name="connsiteY4947" fmla="*/ 196241 h 2907193"/>
                <a:gd name="connsiteX4948" fmla="*/ 3733239 w 4044707"/>
                <a:gd name="connsiteY4948" fmla="*/ 192732 h 2907193"/>
                <a:gd name="connsiteX4949" fmla="*/ 3729729 w 4044707"/>
                <a:gd name="connsiteY4949" fmla="*/ 194910 h 2907193"/>
                <a:gd name="connsiteX4950" fmla="*/ 3728005 w 4044707"/>
                <a:gd name="connsiteY4950" fmla="*/ 196695 h 2907193"/>
                <a:gd name="connsiteX4951" fmla="*/ 3726644 w 4044707"/>
                <a:gd name="connsiteY4951" fmla="*/ 199327 h 2907193"/>
                <a:gd name="connsiteX4952" fmla="*/ 3724556 w 4044707"/>
                <a:gd name="connsiteY4952" fmla="*/ 208735 h 2907193"/>
                <a:gd name="connsiteX4953" fmla="*/ 3723498 w 4044707"/>
                <a:gd name="connsiteY4953" fmla="*/ 211760 h 2907193"/>
                <a:gd name="connsiteX4954" fmla="*/ 3722136 w 4044707"/>
                <a:gd name="connsiteY4954" fmla="*/ 203380 h 2907193"/>
                <a:gd name="connsiteX4955" fmla="*/ 3721380 w 4044707"/>
                <a:gd name="connsiteY4955" fmla="*/ 200295 h 2907193"/>
                <a:gd name="connsiteX4956" fmla="*/ 3720079 w 4044707"/>
                <a:gd name="connsiteY4956" fmla="*/ 196634 h 2907193"/>
                <a:gd name="connsiteX4957" fmla="*/ 3722530 w 4044707"/>
                <a:gd name="connsiteY4957" fmla="*/ 192278 h 2907193"/>
                <a:gd name="connsiteX4958" fmla="*/ 3726341 w 4044707"/>
                <a:gd name="connsiteY4958" fmla="*/ 188648 h 2907193"/>
                <a:gd name="connsiteX4959" fmla="*/ 3734660 w 4044707"/>
                <a:gd name="connsiteY4959" fmla="*/ 184504 h 2907193"/>
                <a:gd name="connsiteX4960" fmla="*/ 3738593 w 4044707"/>
                <a:gd name="connsiteY4960" fmla="*/ 180420 h 2907193"/>
                <a:gd name="connsiteX4961" fmla="*/ 3741074 w 4044707"/>
                <a:gd name="connsiteY4961" fmla="*/ 176487 h 2907193"/>
                <a:gd name="connsiteX4962" fmla="*/ 3751994 w 4044707"/>
                <a:gd name="connsiteY4962" fmla="*/ 167563 h 2907193"/>
                <a:gd name="connsiteX4963" fmla="*/ 3758710 w 4044707"/>
                <a:gd name="connsiteY4963" fmla="*/ 159849 h 2907193"/>
                <a:gd name="connsiteX4964" fmla="*/ 3764216 w 4044707"/>
                <a:gd name="connsiteY4964" fmla="*/ 149079 h 2907193"/>
                <a:gd name="connsiteX4965" fmla="*/ 3765547 w 4044707"/>
                <a:gd name="connsiteY4965" fmla="*/ 135436 h 2907193"/>
                <a:gd name="connsiteX4966" fmla="*/ 3763762 w 4044707"/>
                <a:gd name="connsiteY4966" fmla="*/ 130989 h 2907193"/>
                <a:gd name="connsiteX4967" fmla="*/ 3760767 w 4044707"/>
                <a:gd name="connsiteY4967" fmla="*/ 131563 h 2907193"/>
                <a:gd name="connsiteX4968" fmla="*/ 3750754 w 4044707"/>
                <a:gd name="connsiteY4968" fmla="*/ 142333 h 2907193"/>
                <a:gd name="connsiteX4969" fmla="*/ 3714634 w 4044707"/>
                <a:gd name="connsiteY4969" fmla="*/ 160272 h 2907193"/>
                <a:gd name="connsiteX4970" fmla="*/ 3700083 w 4044707"/>
                <a:gd name="connsiteY4970" fmla="*/ 162299 h 2907193"/>
                <a:gd name="connsiteX4971" fmla="*/ 3702745 w 4044707"/>
                <a:gd name="connsiteY4971" fmla="*/ 159697 h 2907193"/>
                <a:gd name="connsiteX4972" fmla="*/ 3707313 w 4044707"/>
                <a:gd name="connsiteY4972" fmla="*/ 157882 h 2907193"/>
                <a:gd name="connsiteX4973" fmla="*/ 3710429 w 4044707"/>
                <a:gd name="connsiteY4973" fmla="*/ 155250 h 2907193"/>
                <a:gd name="connsiteX4974" fmla="*/ 3714483 w 4044707"/>
                <a:gd name="connsiteY4974" fmla="*/ 153798 h 2907193"/>
                <a:gd name="connsiteX4975" fmla="*/ 3722893 w 4044707"/>
                <a:gd name="connsiteY4975" fmla="*/ 147052 h 2907193"/>
                <a:gd name="connsiteX4976" fmla="*/ 3722620 w 4044707"/>
                <a:gd name="connsiteY4976" fmla="*/ 145903 h 2907193"/>
                <a:gd name="connsiteX4977" fmla="*/ 3722197 w 4044707"/>
                <a:gd name="connsiteY4977" fmla="*/ 145146 h 2907193"/>
                <a:gd name="connsiteX4978" fmla="*/ 3728580 w 4044707"/>
                <a:gd name="connsiteY4978" fmla="*/ 139762 h 2907193"/>
                <a:gd name="connsiteX4979" fmla="*/ 3742586 w 4044707"/>
                <a:gd name="connsiteY4979" fmla="*/ 135224 h 2907193"/>
                <a:gd name="connsiteX4980" fmla="*/ 3748425 w 4044707"/>
                <a:gd name="connsiteY4980" fmla="*/ 126027 h 2907193"/>
                <a:gd name="connsiteX4981" fmla="*/ 3746095 w 4044707"/>
                <a:gd name="connsiteY4981" fmla="*/ 123819 h 2907193"/>
                <a:gd name="connsiteX4982" fmla="*/ 3743433 w 4044707"/>
                <a:gd name="connsiteY4982" fmla="*/ 123305 h 2907193"/>
                <a:gd name="connsiteX4983" fmla="*/ 3735961 w 4044707"/>
                <a:gd name="connsiteY4983" fmla="*/ 124091 h 2907193"/>
                <a:gd name="connsiteX4984" fmla="*/ 3735023 w 4044707"/>
                <a:gd name="connsiteY4984" fmla="*/ 123275 h 2907193"/>
                <a:gd name="connsiteX4985" fmla="*/ 3734630 w 4044707"/>
                <a:gd name="connsiteY4985" fmla="*/ 120945 h 2907193"/>
                <a:gd name="connsiteX4986" fmla="*/ 3733965 w 4044707"/>
                <a:gd name="connsiteY4986" fmla="*/ 120128 h 2907193"/>
                <a:gd name="connsiteX4987" fmla="*/ 3725222 w 4044707"/>
                <a:gd name="connsiteY4987" fmla="*/ 116982 h 2907193"/>
                <a:gd name="connsiteX4988" fmla="*/ 3720987 w 4044707"/>
                <a:gd name="connsiteY4988" fmla="*/ 118434 h 2907193"/>
                <a:gd name="connsiteX4989" fmla="*/ 3712546 w 4044707"/>
                <a:gd name="connsiteY4989" fmla="*/ 123880 h 2907193"/>
                <a:gd name="connsiteX4990" fmla="*/ 3713424 w 4044707"/>
                <a:gd name="connsiteY4990" fmla="*/ 120612 h 2907193"/>
                <a:gd name="connsiteX4991" fmla="*/ 3714846 w 4044707"/>
                <a:gd name="connsiteY4991" fmla="*/ 119009 h 2907193"/>
                <a:gd name="connsiteX4992" fmla="*/ 3716510 w 4044707"/>
                <a:gd name="connsiteY4992" fmla="*/ 117920 h 2907193"/>
                <a:gd name="connsiteX4993" fmla="*/ 3718022 w 4044707"/>
                <a:gd name="connsiteY4993" fmla="*/ 116226 h 2907193"/>
                <a:gd name="connsiteX4994" fmla="*/ 3716358 w 4044707"/>
                <a:gd name="connsiteY4994" fmla="*/ 114592 h 2907193"/>
                <a:gd name="connsiteX4995" fmla="*/ 3712789 w 4044707"/>
                <a:gd name="connsiteY4995" fmla="*/ 113231 h 2907193"/>
                <a:gd name="connsiteX4996" fmla="*/ 3711125 w 4044707"/>
                <a:gd name="connsiteY4996" fmla="*/ 110478 h 2907193"/>
                <a:gd name="connsiteX4997" fmla="*/ 3712395 w 4044707"/>
                <a:gd name="connsiteY4997" fmla="*/ 110387 h 2907193"/>
                <a:gd name="connsiteX4998" fmla="*/ 3714997 w 4044707"/>
                <a:gd name="connsiteY4998" fmla="*/ 108996 h 2907193"/>
                <a:gd name="connsiteX4999" fmla="*/ 3715995 w 4044707"/>
                <a:gd name="connsiteY4999" fmla="*/ 109419 h 2907193"/>
                <a:gd name="connsiteX5000" fmla="*/ 3717387 w 4044707"/>
                <a:gd name="connsiteY5000" fmla="*/ 110508 h 2907193"/>
                <a:gd name="connsiteX5001" fmla="*/ 3730304 w 4044707"/>
                <a:gd name="connsiteY5001" fmla="*/ 108663 h 2907193"/>
                <a:gd name="connsiteX5002" fmla="*/ 3731151 w 4044707"/>
                <a:gd name="connsiteY5002" fmla="*/ 106636 h 2907193"/>
                <a:gd name="connsiteX5003" fmla="*/ 3732573 w 4044707"/>
                <a:gd name="connsiteY5003" fmla="*/ 105729 h 2907193"/>
                <a:gd name="connsiteX5004" fmla="*/ 3733844 w 4044707"/>
                <a:gd name="connsiteY5004" fmla="*/ 104337 h 2907193"/>
                <a:gd name="connsiteX5005" fmla="*/ 3735144 w 4044707"/>
                <a:gd name="connsiteY5005" fmla="*/ 103611 h 2907193"/>
                <a:gd name="connsiteX5006" fmla="*/ 3736657 w 4044707"/>
                <a:gd name="connsiteY5006" fmla="*/ 104549 h 2907193"/>
                <a:gd name="connsiteX5007" fmla="*/ 3736234 w 4044707"/>
                <a:gd name="connsiteY5007" fmla="*/ 109147 h 2907193"/>
                <a:gd name="connsiteX5008" fmla="*/ 3737595 w 4044707"/>
                <a:gd name="connsiteY5008" fmla="*/ 110055 h 2907193"/>
                <a:gd name="connsiteX5009" fmla="*/ 3741467 w 4044707"/>
                <a:gd name="connsiteY5009" fmla="*/ 108421 h 2907193"/>
                <a:gd name="connsiteX5010" fmla="*/ 3743403 w 4044707"/>
                <a:gd name="connsiteY5010" fmla="*/ 108875 h 2907193"/>
                <a:gd name="connsiteX5011" fmla="*/ 3749090 w 4044707"/>
                <a:gd name="connsiteY5011" fmla="*/ 112414 h 2907193"/>
                <a:gd name="connsiteX5012" fmla="*/ 3753356 w 4044707"/>
                <a:gd name="connsiteY5012" fmla="*/ 112868 h 2907193"/>
                <a:gd name="connsiteX5013" fmla="*/ 3757803 w 4044707"/>
                <a:gd name="connsiteY5013" fmla="*/ 112021 h 2907193"/>
                <a:gd name="connsiteX5014" fmla="*/ 3762038 w 4044707"/>
                <a:gd name="connsiteY5014" fmla="*/ 109450 h 2907193"/>
                <a:gd name="connsiteX5015" fmla="*/ 3765577 w 4044707"/>
                <a:gd name="connsiteY5015" fmla="*/ 104549 h 2907193"/>
                <a:gd name="connsiteX5016" fmla="*/ 3761645 w 4044707"/>
                <a:gd name="connsiteY5016" fmla="*/ 102583 h 2907193"/>
                <a:gd name="connsiteX5017" fmla="*/ 3759739 w 4044707"/>
                <a:gd name="connsiteY5017" fmla="*/ 101040 h 2907193"/>
                <a:gd name="connsiteX5018" fmla="*/ 3757954 w 4044707"/>
                <a:gd name="connsiteY5018" fmla="*/ 98952 h 2907193"/>
                <a:gd name="connsiteX5019" fmla="*/ 3771809 w 4044707"/>
                <a:gd name="connsiteY5019" fmla="*/ 100889 h 2907193"/>
                <a:gd name="connsiteX5020" fmla="*/ 3771355 w 4044707"/>
                <a:gd name="connsiteY5020" fmla="*/ 99285 h 2907193"/>
                <a:gd name="connsiteX5021" fmla="*/ 3771113 w 4044707"/>
                <a:gd name="connsiteY5021" fmla="*/ 98287 h 2907193"/>
                <a:gd name="connsiteX5022" fmla="*/ 3770750 w 4044707"/>
                <a:gd name="connsiteY5022" fmla="*/ 97591 h 2907193"/>
                <a:gd name="connsiteX5023" fmla="*/ 3769813 w 4044707"/>
                <a:gd name="connsiteY5023" fmla="*/ 96865 h 2907193"/>
                <a:gd name="connsiteX5024" fmla="*/ 3769813 w 4044707"/>
                <a:gd name="connsiteY5024" fmla="*/ 95111 h 2907193"/>
                <a:gd name="connsiteX5025" fmla="*/ 3775228 w 4044707"/>
                <a:gd name="connsiteY5025" fmla="*/ 94778 h 2907193"/>
                <a:gd name="connsiteX5026" fmla="*/ 3777738 w 4044707"/>
                <a:gd name="connsiteY5026" fmla="*/ 93053 h 2907193"/>
                <a:gd name="connsiteX5027" fmla="*/ 3780007 w 4044707"/>
                <a:gd name="connsiteY5027" fmla="*/ 89332 h 2907193"/>
                <a:gd name="connsiteX5028" fmla="*/ 3777980 w 4044707"/>
                <a:gd name="connsiteY5028" fmla="*/ 87699 h 2907193"/>
                <a:gd name="connsiteX5029" fmla="*/ 3775772 w 4044707"/>
                <a:gd name="connsiteY5029" fmla="*/ 87608 h 2907193"/>
                <a:gd name="connsiteX5030" fmla="*/ 3773806 w 4044707"/>
                <a:gd name="connsiteY5030" fmla="*/ 86912 h 2907193"/>
                <a:gd name="connsiteX5031" fmla="*/ 3772384 w 4044707"/>
                <a:gd name="connsiteY5031" fmla="*/ 83554 h 2907193"/>
                <a:gd name="connsiteX5032" fmla="*/ 3779826 w 4044707"/>
                <a:gd name="connsiteY5032" fmla="*/ 84402 h 2907193"/>
                <a:gd name="connsiteX5033" fmla="*/ 3783849 w 4044707"/>
                <a:gd name="connsiteY5033" fmla="*/ 82828 h 2907193"/>
                <a:gd name="connsiteX5034" fmla="*/ 3785604 w 4044707"/>
                <a:gd name="connsiteY5034" fmla="*/ 76687 h 2907193"/>
                <a:gd name="connsiteX5035" fmla="*/ 3786118 w 4044707"/>
                <a:gd name="connsiteY5035" fmla="*/ 74207 h 2907193"/>
                <a:gd name="connsiteX5036" fmla="*/ 3788478 w 4044707"/>
                <a:gd name="connsiteY5036" fmla="*/ 68731 h 2907193"/>
                <a:gd name="connsiteX5037" fmla="*/ 3789234 w 4044707"/>
                <a:gd name="connsiteY5037" fmla="*/ 63286 h 2907193"/>
                <a:gd name="connsiteX5038" fmla="*/ 3790202 w 4044707"/>
                <a:gd name="connsiteY5038" fmla="*/ 60866 h 2907193"/>
                <a:gd name="connsiteX5039" fmla="*/ 3790444 w 4044707"/>
                <a:gd name="connsiteY5039" fmla="*/ 59263 h 2907193"/>
                <a:gd name="connsiteX5040" fmla="*/ 3790172 w 4044707"/>
                <a:gd name="connsiteY5040" fmla="*/ 57175 h 2907193"/>
                <a:gd name="connsiteX5041" fmla="*/ 3789476 w 4044707"/>
                <a:gd name="connsiteY5041" fmla="*/ 56449 h 2907193"/>
                <a:gd name="connsiteX5042" fmla="*/ 3788659 w 4044707"/>
                <a:gd name="connsiteY5042" fmla="*/ 56116 h 2907193"/>
                <a:gd name="connsiteX5043" fmla="*/ 3784666 w 4044707"/>
                <a:gd name="connsiteY5043" fmla="*/ 51518 h 2907193"/>
                <a:gd name="connsiteX5044" fmla="*/ 3769782 w 4044707"/>
                <a:gd name="connsiteY5044" fmla="*/ 50278 h 2907193"/>
                <a:gd name="connsiteX5045" fmla="*/ 3758650 w 4044707"/>
                <a:gd name="connsiteY5045" fmla="*/ 57992 h 2907193"/>
                <a:gd name="connsiteX5046" fmla="*/ 3755836 w 4044707"/>
                <a:gd name="connsiteY5046" fmla="*/ 56268 h 2907193"/>
                <a:gd name="connsiteX5047" fmla="*/ 3756986 w 4044707"/>
                <a:gd name="connsiteY5047" fmla="*/ 55148 h 2907193"/>
                <a:gd name="connsiteX5048" fmla="*/ 3757984 w 4044707"/>
                <a:gd name="connsiteY5048" fmla="*/ 53485 h 2907193"/>
                <a:gd name="connsiteX5049" fmla="*/ 3758801 w 4044707"/>
                <a:gd name="connsiteY5049" fmla="*/ 51246 h 2907193"/>
                <a:gd name="connsiteX5050" fmla="*/ 3759346 w 4044707"/>
                <a:gd name="connsiteY5050" fmla="*/ 48312 h 2907193"/>
                <a:gd name="connsiteX5051" fmla="*/ 3755322 w 4044707"/>
                <a:gd name="connsiteY5051" fmla="*/ 51760 h 2907193"/>
                <a:gd name="connsiteX5052" fmla="*/ 3753840 w 4044707"/>
                <a:gd name="connsiteY5052" fmla="*/ 52365 h 2907193"/>
                <a:gd name="connsiteX5053" fmla="*/ 3754505 w 4044707"/>
                <a:gd name="connsiteY5053" fmla="*/ 50036 h 2907193"/>
                <a:gd name="connsiteX5054" fmla="*/ 3755322 w 4044707"/>
                <a:gd name="connsiteY5054" fmla="*/ 48281 h 2907193"/>
                <a:gd name="connsiteX5055" fmla="*/ 3756230 w 4044707"/>
                <a:gd name="connsiteY5055" fmla="*/ 47101 h 2907193"/>
                <a:gd name="connsiteX5056" fmla="*/ 3757228 w 4044707"/>
                <a:gd name="connsiteY5056" fmla="*/ 46557 h 2907193"/>
                <a:gd name="connsiteX5057" fmla="*/ 3755201 w 4044707"/>
                <a:gd name="connsiteY5057" fmla="*/ 46557 h 2907193"/>
                <a:gd name="connsiteX5058" fmla="*/ 3756502 w 4044707"/>
                <a:gd name="connsiteY5058" fmla="*/ 43562 h 2907193"/>
                <a:gd name="connsiteX5059" fmla="*/ 3758620 w 4044707"/>
                <a:gd name="connsiteY5059" fmla="*/ 42171 h 2907193"/>
                <a:gd name="connsiteX5060" fmla="*/ 3760586 w 4044707"/>
                <a:gd name="connsiteY5060" fmla="*/ 40265 h 2907193"/>
                <a:gd name="connsiteX5061" fmla="*/ 3761463 w 4044707"/>
                <a:gd name="connsiteY5061" fmla="*/ 35606 h 2907193"/>
                <a:gd name="connsiteX5062" fmla="*/ 3760586 w 4044707"/>
                <a:gd name="connsiteY5062" fmla="*/ 31976 h 2907193"/>
                <a:gd name="connsiteX5063" fmla="*/ 3758589 w 4044707"/>
                <a:gd name="connsiteY5063" fmla="*/ 29223 h 2907193"/>
                <a:gd name="connsiteX5064" fmla="*/ 3756290 w 4044707"/>
                <a:gd name="connsiteY5064" fmla="*/ 27529 h 2907193"/>
                <a:gd name="connsiteX5065" fmla="*/ 3754445 w 4044707"/>
                <a:gd name="connsiteY5065" fmla="*/ 26924 h 2907193"/>
                <a:gd name="connsiteX5066" fmla="*/ 3752025 w 4044707"/>
                <a:gd name="connsiteY5066" fmla="*/ 27892 h 2907193"/>
                <a:gd name="connsiteX5067" fmla="*/ 3749816 w 4044707"/>
                <a:gd name="connsiteY5067" fmla="*/ 30372 h 2907193"/>
                <a:gd name="connsiteX5068" fmla="*/ 3743978 w 4044707"/>
                <a:gd name="connsiteY5068" fmla="*/ 39629 h 2907193"/>
                <a:gd name="connsiteX5069" fmla="*/ 3743373 w 4044707"/>
                <a:gd name="connsiteY5069" fmla="*/ 39811 h 2907193"/>
                <a:gd name="connsiteX5070" fmla="*/ 3742163 w 4044707"/>
                <a:gd name="connsiteY5070" fmla="*/ 38601 h 2907193"/>
                <a:gd name="connsiteX5071" fmla="*/ 3741649 w 4044707"/>
                <a:gd name="connsiteY5071" fmla="*/ 37240 h 2907193"/>
                <a:gd name="connsiteX5072" fmla="*/ 3741588 w 4044707"/>
                <a:gd name="connsiteY5072" fmla="*/ 35545 h 2907193"/>
                <a:gd name="connsiteX5073" fmla="*/ 3741649 w 4044707"/>
                <a:gd name="connsiteY5073" fmla="*/ 33912 h 2907193"/>
                <a:gd name="connsiteX5074" fmla="*/ 3741406 w 4044707"/>
                <a:gd name="connsiteY5074" fmla="*/ 32762 h 2907193"/>
                <a:gd name="connsiteX5075" fmla="*/ 3739531 w 4044707"/>
                <a:gd name="connsiteY5075" fmla="*/ 31250 h 2907193"/>
                <a:gd name="connsiteX5076" fmla="*/ 3737292 w 4044707"/>
                <a:gd name="connsiteY5076" fmla="*/ 31250 h 2907193"/>
                <a:gd name="connsiteX5077" fmla="*/ 3735114 w 4044707"/>
                <a:gd name="connsiteY5077" fmla="*/ 32732 h 2907193"/>
                <a:gd name="connsiteX5078" fmla="*/ 3733511 w 4044707"/>
                <a:gd name="connsiteY5078" fmla="*/ 35606 h 2907193"/>
                <a:gd name="connsiteX5079" fmla="*/ 3731544 w 4044707"/>
                <a:gd name="connsiteY5079" fmla="*/ 38208 h 2907193"/>
                <a:gd name="connsiteX5080" fmla="*/ 3722802 w 4044707"/>
                <a:gd name="connsiteY5080" fmla="*/ 40718 h 2907193"/>
                <a:gd name="connsiteX5081" fmla="*/ 3720684 w 4044707"/>
                <a:gd name="connsiteY5081" fmla="*/ 39781 h 2907193"/>
                <a:gd name="connsiteX5082" fmla="*/ 3716237 w 4044707"/>
                <a:gd name="connsiteY5082" fmla="*/ 35515 h 2907193"/>
                <a:gd name="connsiteX5083" fmla="*/ 3713847 w 4044707"/>
                <a:gd name="connsiteY5083" fmla="*/ 34517 h 2907193"/>
                <a:gd name="connsiteX5084" fmla="*/ 3707192 w 4044707"/>
                <a:gd name="connsiteY5084" fmla="*/ 34456 h 2907193"/>
                <a:gd name="connsiteX5085" fmla="*/ 3704802 w 4044707"/>
                <a:gd name="connsiteY5085" fmla="*/ 32762 h 2907193"/>
                <a:gd name="connsiteX5086" fmla="*/ 3707464 w 4044707"/>
                <a:gd name="connsiteY5086" fmla="*/ 25714 h 2907193"/>
                <a:gd name="connsiteX5087" fmla="*/ 3706557 w 4044707"/>
                <a:gd name="connsiteY5087" fmla="*/ 21751 h 2907193"/>
                <a:gd name="connsiteX5088" fmla="*/ 3699992 w 4044707"/>
                <a:gd name="connsiteY5088" fmla="*/ 15216 h 2907193"/>
                <a:gd name="connsiteX5089" fmla="*/ 3699206 w 4044707"/>
                <a:gd name="connsiteY5089" fmla="*/ 24262 h 2907193"/>
                <a:gd name="connsiteX5090" fmla="*/ 3695969 w 4044707"/>
                <a:gd name="connsiteY5090" fmla="*/ 24988 h 2907193"/>
                <a:gd name="connsiteX5091" fmla="*/ 3691794 w 4044707"/>
                <a:gd name="connsiteY5091" fmla="*/ 23747 h 2907193"/>
                <a:gd name="connsiteX5092" fmla="*/ 3688315 w 4044707"/>
                <a:gd name="connsiteY5092" fmla="*/ 26924 h 2907193"/>
                <a:gd name="connsiteX5093" fmla="*/ 3687377 w 4044707"/>
                <a:gd name="connsiteY5093" fmla="*/ 30282 h 2907193"/>
                <a:gd name="connsiteX5094" fmla="*/ 3687256 w 4044707"/>
                <a:gd name="connsiteY5094" fmla="*/ 32551 h 2907193"/>
                <a:gd name="connsiteX5095" fmla="*/ 3687529 w 4044707"/>
                <a:gd name="connsiteY5095" fmla="*/ 35243 h 2907193"/>
                <a:gd name="connsiteX5096" fmla="*/ 3687710 w 4044707"/>
                <a:gd name="connsiteY5096" fmla="*/ 39690 h 2907193"/>
                <a:gd name="connsiteX5097" fmla="*/ 3688224 w 4044707"/>
                <a:gd name="connsiteY5097" fmla="*/ 43320 h 2907193"/>
                <a:gd name="connsiteX5098" fmla="*/ 3689616 w 4044707"/>
                <a:gd name="connsiteY5098" fmla="*/ 45044 h 2907193"/>
                <a:gd name="connsiteX5099" fmla="*/ 3693216 w 4044707"/>
                <a:gd name="connsiteY5099" fmla="*/ 46587 h 2907193"/>
                <a:gd name="connsiteX5100" fmla="*/ 3691915 w 4044707"/>
                <a:gd name="connsiteY5100" fmla="*/ 49643 h 2907193"/>
                <a:gd name="connsiteX5101" fmla="*/ 3691401 w 4044707"/>
                <a:gd name="connsiteY5101" fmla="*/ 53061 h 2907193"/>
                <a:gd name="connsiteX5102" fmla="*/ 3691643 w 4044707"/>
                <a:gd name="connsiteY5102" fmla="*/ 56691 h 2907193"/>
                <a:gd name="connsiteX5103" fmla="*/ 3692550 w 4044707"/>
                <a:gd name="connsiteY5103" fmla="*/ 60321 h 2907193"/>
                <a:gd name="connsiteX5104" fmla="*/ 3690403 w 4044707"/>
                <a:gd name="connsiteY5104" fmla="*/ 64163 h 2907193"/>
                <a:gd name="connsiteX5105" fmla="*/ 3687892 w 4044707"/>
                <a:gd name="connsiteY5105" fmla="*/ 64103 h 2907193"/>
                <a:gd name="connsiteX5106" fmla="*/ 3685804 w 4044707"/>
                <a:gd name="connsiteY5106" fmla="*/ 60382 h 2907193"/>
                <a:gd name="connsiteX5107" fmla="*/ 3684957 w 4044707"/>
                <a:gd name="connsiteY5107" fmla="*/ 53273 h 2907193"/>
                <a:gd name="connsiteX5108" fmla="*/ 3682567 w 4044707"/>
                <a:gd name="connsiteY5108" fmla="*/ 49582 h 2907193"/>
                <a:gd name="connsiteX5109" fmla="*/ 3660091 w 4044707"/>
                <a:gd name="connsiteY5109" fmla="*/ 43986 h 2907193"/>
                <a:gd name="connsiteX5110" fmla="*/ 3656945 w 4044707"/>
                <a:gd name="connsiteY5110" fmla="*/ 46073 h 2907193"/>
                <a:gd name="connsiteX5111" fmla="*/ 3658034 w 4044707"/>
                <a:gd name="connsiteY5111" fmla="*/ 52365 h 2907193"/>
                <a:gd name="connsiteX5112" fmla="*/ 3659606 w 4044707"/>
                <a:gd name="connsiteY5112" fmla="*/ 54543 h 2907193"/>
                <a:gd name="connsiteX5113" fmla="*/ 3663751 w 4044707"/>
                <a:gd name="connsiteY5113" fmla="*/ 57357 h 2907193"/>
                <a:gd name="connsiteX5114" fmla="*/ 3665596 w 4044707"/>
                <a:gd name="connsiteY5114" fmla="*/ 59232 h 2907193"/>
                <a:gd name="connsiteX5115" fmla="*/ 3667986 w 4044707"/>
                <a:gd name="connsiteY5115" fmla="*/ 62590 h 2907193"/>
                <a:gd name="connsiteX5116" fmla="*/ 3669045 w 4044707"/>
                <a:gd name="connsiteY5116" fmla="*/ 64889 h 2907193"/>
                <a:gd name="connsiteX5117" fmla="*/ 3669771 w 4044707"/>
                <a:gd name="connsiteY5117" fmla="*/ 67884 h 2907193"/>
                <a:gd name="connsiteX5118" fmla="*/ 3651862 w 4044707"/>
                <a:gd name="connsiteY5118" fmla="*/ 60866 h 2907193"/>
                <a:gd name="connsiteX5119" fmla="*/ 3649593 w 4044707"/>
                <a:gd name="connsiteY5119" fmla="*/ 61713 h 2907193"/>
                <a:gd name="connsiteX5120" fmla="*/ 3648081 w 4044707"/>
                <a:gd name="connsiteY5120" fmla="*/ 65646 h 2907193"/>
                <a:gd name="connsiteX5121" fmla="*/ 3646961 w 4044707"/>
                <a:gd name="connsiteY5121" fmla="*/ 73662 h 2907193"/>
                <a:gd name="connsiteX5122" fmla="*/ 3650108 w 4044707"/>
                <a:gd name="connsiteY5122" fmla="*/ 78200 h 2907193"/>
                <a:gd name="connsiteX5123" fmla="*/ 3653829 w 4044707"/>
                <a:gd name="connsiteY5123" fmla="*/ 81255 h 2907193"/>
                <a:gd name="connsiteX5124" fmla="*/ 3668349 w 4044707"/>
                <a:gd name="connsiteY5124" fmla="*/ 84341 h 2907193"/>
                <a:gd name="connsiteX5125" fmla="*/ 3670406 w 4044707"/>
                <a:gd name="connsiteY5125" fmla="*/ 83524 h 2907193"/>
                <a:gd name="connsiteX5126" fmla="*/ 3671828 w 4044707"/>
                <a:gd name="connsiteY5126" fmla="*/ 81739 h 2907193"/>
                <a:gd name="connsiteX5127" fmla="*/ 3674279 w 4044707"/>
                <a:gd name="connsiteY5127" fmla="*/ 77050 h 2907193"/>
                <a:gd name="connsiteX5128" fmla="*/ 3675912 w 4044707"/>
                <a:gd name="connsiteY5128" fmla="*/ 75780 h 2907193"/>
                <a:gd name="connsiteX5129" fmla="*/ 3675307 w 4044707"/>
                <a:gd name="connsiteY5129" fmla="*/ 78049 h 2907193"/>
                <a:gd name="connsiteX5130" fmla="*/ 3673553 w 4044707"/>
                <a:gd name="connsiteY5130" fmla="*/ 82163 h 2907193"/>
                <a:gd name="connsiteX5131" fmla="*/ 3673190 w 4044707"/>
                <a:gd name="connsiteY5131" fmla="*/ 84402 h 2907193"/>
                <a:gd name="connsiteX5132" fmla="*/ 3673976 w 4044707"/>
                <a:gd name="connsiteY5132" fmla="*/ 86489 h 2907193"/>
                <a:gd name="connsiteX5133" fmla="*/ 3675821 w 4044707"/>
                <a:gd name="connsiteY5133" fmla="*/ 86489 h 2907193"/>
                <a:gd name="connsiteX5134" fmla="*/ 3679330 w 4044707"/>
                <a:gd name="connsiteY5134" fmla="*/ 85279 h 2907193"/>
                <a:gd name="connsiteX5135" fmla="*/ 3680208 w 4044707"/>
                <a:gd name="connsiteY5135" fmla="*/ 85672 h 2907193"/>
                <a:gd name="connsiteX5136" fmla="*/ 3680510 w 4044707"/>
                <a:gd name="connsiteY5136" fmla="*/ 86035 h 2907193"/>
                <a:gd name="connsiteX5137" fmla="*/ 3680692 w 4044707"/>
                <a:gd name="connsiteY5137" fmla="*/ 86822 h 2907193"/>
                <a:gd name="connsiteX5138" fmla="*/ 3681115 w 4044707"/>
                <a:gd name="connsiteY5138" fmla="*/ 88364 h 2907193"/>
                <a:gd name="connsiteX5139" fmla="*/ 3681932 w 4044707"/>
                <a:gd name="connsiteY5139" fmla="*/ 89453 h 2907193"/>
                <a:gd name="connsiteX5140" fmla="*/ 3683959 w 4044707"/>
                <a:gd name="connsiteY5140" fmla="*/ 89090 h 2907193"/>
                <a:gd name="connsiteX5141" fmla="*/ 3684927 w 4044707"/>
                <a:gd name="connsiteY5141" fmla="*/ 89332 h 2907193"/>
                <a:gd name="connsiteX5142" fmla="*/ 3685895 w 4044707"/>
                <a:gd name="connsiteY5142" fmla="*/ 90633 h 2907193"/>
                <a:gd name="connsiteX5143" fmla="*/ 3687166 w 4044707"/>
                <a:gd name="connsiteY5143" fmla="*/ 93537 h 2907193"/>
                <a:gd name="connsiteX5144" fmla="*/ 3688345 w 4044707"/>
                <a:gd name="connsiteY5144" fmla="*/ 95111 h 2907193"/>
                <a:gd name="connsiteX5145" fmla="*/ 3686984 w 4044707"/>
                <a:gd name="connsiteY5145" fmla="*/ 96290 h 2907193"/>
                <a:gd name="connsiteX5146" fmla="*/ 3685744 w 4044707"/>
                <a:gd name="connsiteY5146" fmla="*/ 97924 h 2907193"/>
                <a:gd name="connsiteX5147" fmla="*/ 3684473 w 4044707"/>
                <a:gd name="connsiteY5147" fmla="*/ 99134 h 2907193"/>
                <a:gd name="connsiteX5148" fmla="*/ 3682930 w 4044707"/>
                <a:gd name="connsiteY5148" fmla="*/ 98983 h 2907193"/>
                <a:gd name="connsiteX5149" fmla="*/ 3682930 w 4044707"/>
                <a:gd name="connsiteY5149" fmla="*/ 100919 h 2907193"/>
                <a:gd name="connsiteX5150" fmla="*/ 3697965 w 4044707"/>
                <a:gd name="connsiteY5150" fmla="*/ 106667 h 2907193"/>
                <a:gd name="connsiteX5151" fmla="*/ 3669711 w 4044707"/>
                <a:gd name="connsiteY5151" fmla="*/ 100919 h 2907193"/>
                <a:gd name="connsiteX5152" fmla="*/ 3667200 w 4044707"/>
                <a:gd name="connsiteY5152" fmla="*/ 101433 h 2907193"/>
                <a:gd name="connsiteX5153" fmla="*/ 3665899 w 4044707"/>
                <a:gd name="connsiteY5153" fmla="*/ 102976 h 2907193"/>
                <a:gd name="connsiteX5154" fmla="*/ 3663872 w 4044707"/>
                <a:gd name="connsiteY5154" fmla="*/ 109480 h 2907193"/>
                <a:gd name="connsiteX5155" fmla="*/ 3662843 w 4044707"/>
                <a:gd name="connsiteY5155" fmla="*/ 115197 h 2907193"/>
                <a:gd name="connsiteX5156" fmla="*/ 3664174 w 4044707"/>
                <a:gd name="connsiteY5156" fmla="*/ 118223 h 2907193"/>
                <a:gd name="connsiteX5157" fmla="*/ 3666685 w 4044707"/>
                <a:gd name="connsiteY5157" fmla="*/ 119493 h 2907193"/>
                <a:gd name="connsiteX5158" fmla="*/ 3669075 w 4044707"/>
                <a:gd name="connsiteY5158" fmla="*/ 119917 h 2907193"/>
                <a:gd name="connsiteX5159" fmla="*/ 3667774 w 4044707"/>
                <a:gd name="connsiteY5159" fmla="*/ 123970 h 2907193"/>
                <a:gd name="connsiteX5160" fmla="*/ 3666504 w 4044707"/>
                <a:gd name="connsiteY5160" fmla="*/ 125180 h 2907193"/>
                <a:gd name="connsiteX5161" fmla="*/ 3663509 w 4044707"/>
                <a:gd name="connsiteY5161" fmla="*/ 123880 h 2907193"/>
                <a:gd name="connsiteX5162" fmla="*/ 3648716 w 4044707"/>
                <a:gd name="connsiteY5162" fmla="*/ 124696 h 2907193"/>
                <a:gd name="connsiteX5163" fmla="*/ 3645751 w 4044707"/>
                <a:gd name="connsiteY5163" fmla="*/ 128054 h 2907193"/>
                <a:gd name="connsiteX5164" fmla="*/ 3642787 w 4044707"/>
                <a:gd name="connsiteY5164" fmla="*/ 135375 h 2907193"/>
                <a:gd name="connsiteX5165" fmla="*/ 3644632 w 4044707"/>
                <a:gd name="connsiteY5165" fmla="*/ 137009 h 2907193"/>
                <a:gd name="connsiteX5166" fmla="*/ 3648655 w 4044707"/>
                <a:gd name="connsiteY5166" fmla="*/ 139126 h 2907193"/>
                <a:gd name="connsiteX5167" fmla="*/ 3650440 w 4044707"/>
                <a:gd name="connsiteY5167" fmla="*/ 141274 h 2907193"/>
                <a:gd name="connsiteX5168" fmla="*/ 3645267 w 4044707"/>
                <a:gd name="connsiteY5168" fmla="*/ 148474 h 2907193"/>
                <a:gd name="connsiteX5169" fmla="*/ 3644723 w 4044707"/>
                <a:gd name="connsiteY5169" fmla="*/ 152558 h 2907193"/>
                <a:gd name="connsiteX5170" fmla="*/ 3647748 w 4044707"/>
                <a:gd name="connsiteY5170" fmla="*/ 156733 h 2907193"/>
                <a:gd name="connsiteX5171" fmla="*/ 3658336 w 4044707"/>
                <a:gd name="connsiteY5171" fmla="*/ 163570 h 2907193"/>
                <a:gd name="connsiteX5172" fmla="*/ 3661512 w 4044707"/>
                <a:gd name="connsiteY5172" fmla="*/ 168137 h 2907193"/>
                <a:gd name="connsiteX5173" fmla="*/ 3659032 w 4044707"/>
                <a:gd name="connsiteY5173" fmla="*/ 168137 h 2907193"/>
                <a:gd name="connsiteX5174" fmla="*/ 3651892 w 4044707"/>
                <a:gd name="connsiteY5174" fmla="*/ 164175 h 2907193"/>
                <a:gd name="connsiteX5175" fmla="*/ 3647718 w 4044707"/>
                <a:gd name="connsiteY5175" fmla="*/ 164507 h 2907193"/>
                <a:gd name="connsiteX5176" fmla="*/ 3646387 w 4044707"/>
                <a:gd name="connsiteY5176" fmla="*/ 164175 h 2907193"/>
                <a:gd name="connsiteX5177" fmla="*/ 3645479 w 4044707"/>
                <a:gd name="connsiteY5177" fmla="*/ 163358 h 2907193"/>
                <a:gd name="connsiteX5178" fmla="*/ 3643604 w 4044707"/>
                <a:gd name="connsiteY5178" fmla="*/ 160998 h 2907193"/>
                <a:gd name="connsiteX5179" fmla="*/ 3642847 w 4044707"/>
                <a:gd name="connsiteY5179" fmla="*/ 160363 h 2907193"/>
                <a:gd name="connsiteX5180" fmla="*/ 3640125 w 4044707"/>
                <a:gd name="connsiteY5180" fmla="*/ 161210 h 2907193"/>
                <a:gd name="connsiteX5181" fmla="*/ 3636858 w 4044707"/>
                <a:gd name="connsiteY5181" fmla="*/ 164326 h 2907193"/>
                <a:gd name="connsiteX5182" fmla="*/ 3633863 w 4044707"/>
                <a:gd name="connsiteY5182" fmla="*/ 168803 h 2907193"/>
                <a:gd name="connsiteX5183" fmla="*/ 3631957 w 4044707"/>
                <a:gd name="connsiteY5183" fmla="*/ 173673 h 2907193"/>
                <a:gd name="connsiteX5184" fmla="*/ 3632864 w 4044707"/>
                <a:gd name="connsiteY5184" fmla="*/ 173885 h 2907193"/>
                <a:gd name="connsiteX5185" fmla="*/ 3635405 w 4044707"/>
                <a:gd name="connsiteY5185" fmla="*/ 175579 h 2907193"/>
                <a:gd name="connsiteX5186" fmla="*/ 3634740 w 4044707"/>
                <a:gd name="connsiteY5186" fmla="*/ 178211 h 2907193"/>
                <a:gd name="connsiteX5187" fmla="*/ 3633772 w 4044707"/>
                <a:gd name="connsiteY5187" fmla="*/ 179663 h 2907193"/>
                <a:gd name="connsiteX5188" fmla="*/ 3631261 w 4044707"/>
                <a:gd name="connsiteY5188" fmla="*/ 181236 h 2907193"/>
                <a:gd name="connsiteX5189" fmla="*/ 3632259 w 4044707"/>
                <a:gd name="connsiteY5189" fmla="*/ 184201 h 2907193"/>
                <a:gd name="connsiteX5190" fmla="*/ 3637372 w 4044707"/>
                <a:gd name="connsiteY5190" fmla="*/ 190887 h 2907193"/>
                <a:gd name="connsiteX5191" fmla="*/ 3639157 w 4044707"/>
                <a:gd name="connsiteY5191" fmla="*/ 195213 h 2907193"/>
                <a:gd name="connsiteX5192" fmla="*/ 3640125 w 4044707"/>
                <a:gd name="connsiteY5192" fmla="*/ 196574 h 2907193"/>
                <a:gd name="connsiteX5193" fmla="*/ 3643785 w 4044707"/>
                <a:gd name="connsiteY5193" fmla="*/ 198873 h 2907193"/>
                <a:gd name="connsiteX5194" fmla="*/ 3644965 w 4044707"/>
                <a:gd name="connsiteY5194" fmla="*/ 200174 h 2907193"/>
                <a:gd name="connsiteX5195" fmla="*/ 3642424 w 4044707"/>
                <a:gd name="connsiteY5195" fmla="*/ 198903 h 2907193"/>
                <a:gd name="connsiteX5196" fmla="*/ 3639852 w 4044707"/>
                <a:gd name="connsiteY5196" fmla="*/ 198419 h 2907193"/>
                <a:gd name="connsiteX5197" fmla="*/ 3629506 w 4044707"/>
                <a:gd name="connsiteY5197" fmla="*/ 202170 h 2907193"/>
                <a:gd name="connsiteX5198" fmla="*/ 3627812 w 4044707"/>
                <a:gd name="connsiteY5198" fmla="*/ 201081 h 2907193"/>
                <a:gd name="connsiteX5199" fmla="*/ 3629174 w 4044707"/>
                <a:gd name="connsiteY5199" fmla="*/ 196544 h 2907193"/>
                <a:gd name="connsiteX5200" fmla="*/ 3615802 w 4044707"/>
                <a:gd name="connsiteY5200" fmla="*/ 197360 h 2907193"/>
                <a:gd name="connsiteX5201" fmla="*/ 3614986 w 4044707"/>
                <a:gd name="connsiteY5201" fmla="*/ 200234 h 2907193"/>
                <a:gd name="connsiteX5202" fmla="*/ 3614532 w 4044707"/>
                <a:gd name="connsiteY5202" fmla="*/ 204348 h 2907193"/>
                <a:gd name="connsiteX5203" fmla="*/ 3612626 w 4044707"/>
                <a:gd name="connsiteY5203" fmla="*/ 208826 h 2907193"/>
                <a:gd name="connsiteX5204" fmla="*/ 3609873 w 4044707"/>
                <a:gd name="connsiteY5204" fmla="*/ 211911 h 2907193"/>
                <a:gd name="connsiteX5205" fmla="*/ 3606878 w 4044707"/>
                <a:gd name="connsiteY5205" fmla="*/ 213696 h 2907193"/>
                <a:gd name="connsiteX5206" fmla="*/ 3603793 w 4044707"/>
                <a:gd name="connsiteY5206" fmla="*/ 213878 h 2907193"/>
                <a:gd name="connsiteX5207" fmla="*/ 3600737 w 4044707"/>
                <a:gd name="connsiteY5207" fmla="*/ 212184 h 2907193"/>
                <a:gd name="connsiteX5208" fmla="*/ 3600102 w 4044707"/>
                <a:gd name="connsiteY5208" fmla="*/ 212637 h 2907193"/>
                <a:gd name="connsiteX5209" fmla="*/ 3597954 w 4044707"/>
                <a:gd name="connsiteY5209" fmla="*/ 215874 h 2907193"/>
                <a:gd name="connsiteX5210" fmla="*/ 3597410 w 4044707"/>
                <a:gd name="connsiteY5210" fmla="*/ 217357 h 2907193"/>
                <a:gd name="connsiteX5211" fmla="*/ 3597591 w 4044707"/>
                <a:gd name="connsiteY5211" fmla="*/ 219172 h 2907193"/>
                <a:gd name="connsiteX5212" fmla="*/ 3599467 w 4044707"/>
                <a:gd name="connsiteY5212" fmla="*/ 225040 h 2907193"/>
                <a:gd name="connsiteX5213" fmla="*/ 3598015 w 4044707"/>
                <a:gd name="connsiteY5213" fmla="*/ 225918 h 2907193"/>
                <a:gd name="connsiteX5214" fmla="*/ 3595352 w 4044707"/>
                <a:gd name="connsiteY5214" fmla="*/ 224768 h 2907193"/>
                <a:gd name="connsiteX5215" fmla="*/ 3593961 w 4044707"/>
                <a:gd name="connsiteY5215" fmla="*/ 225040 h 2907193"/>
                <a:gd name="connsiteX5216" fmla="*/ 3592751 w 4044707"/>
                <a:gd name="connsiteY5216" fmla="*/ 226553 h 2907193"/>
                <a:gd name="connsiteX5217" fmla="*/ 3592267 w 4044707"/>
                <a:gd name="connsiteY5217" fmla="*/ 228247 h 2907193"/>
                <a:gd name="connsiteX5218" fmla="*/ 3591934 w 4044707"/>
                <a:gd name="connsiteY5218" fmla="*/ 229971 h 2907193"/>
                <a:gd name="connsiteX5219" fmla="*/ 3591178 w 4044707"/>
                <a:gd name="connsiteY5219" fmla="*/ 231544 h 2907193"/>
                <a:gd name="connsiteX5220" fmla="*/ 3589816 w 4044707"/>
                <a:gd name="connsiteY5220" fmla="*/ 232392 h 2907193"/>
                <a:gd name="connsiteX5221" fmla="*/ 3586005 w 4044707"/>
                <a:gd name="connsiteY5221" fmla="*/ 230667 h 2907193"/>
                <a:gd name="connsiteX5222" fmla="*/ 3584976 w 4044707"/>
                <a:gd name="connsiteY5222" fmla="*/ 229699 h 2907193"/>
                <a:gd name="connsiteX5223" fmla="*/ 3584976 w 4044707"/>
                <a:gd name="connsiteY5223" fmla="*/ 227582 h 2907193"/>
                <a:gd name="connsiteX5224" fmla="*/ 3585430 w 4044707"/>
                <a:gd name="connsiteY5224" fmla="*/ 225585 h 2907193"/>
                <a:gd name="connsiteX5225" fmla="*/ 3585702 w 4044707"/>
                <a:gd name="connsiteY5225" fmla="*/ 225010 h 2907193"/>
                <a:gd name="connsiteX5226" fmla="*/ 3585914 w 4044707"/>
                <a:gd name="connsiteY5226" fmla="*/ 223104 h 2907193"/>
                <a:gd name="connsiteX5227" fmla="*/ 3586791 w 4044707"/>
                <a:gd name="connsiteY5227" fmla="*/ 219293 h 2907193"/>
                <a:gd name="connsiteX5228" fmla="*/ 3587064 w 4044707"/>
                <a:gd name="connsiteY5228" fmla="*/ 217326 h 2907193"/>
                <a:gd name="connsiteX5229" fmla="*/ 3586912 w 4044707"/>
                <a:gd name="connsiteY5229" fmla="*/ 215753 h 2907193"/>
                <a:gd name="connsiteX5230" fmla="*/ 3585884 w 4044707"/>
                <a:gd name="connsiteY5230" fmla="*/ 212910 h 2907193"/>
                <a:gd name="connsiteX5231" fmla="*/ 3585672 w 4044707"/>
                <a:gd name="connsiteY5231" fmla="*/ 210732 h 2907193"/>
                <a:gd name="connsiteX5232" fmla="*/ 3586489 w 4044707"/>
                <a:gd name="connsiteY5232" fmla="*/ 206073 h 2907193"/>
                <a:gd name="connsiteX5233" fmla="*/ 3588486 w 4044707"/>
                <a:gd name="connsiteY5233" fmla="*/ 202443 h 2907193"/>
                <a:gd name="connsiteX5234" fmla="*/ 3592539 w 4044707"/>
                <a:gd name="connsiteY5234" fmla="*/ 198268 h 2907193"/>
                <a:gd name="connsiteX5235" fmla="*/ 3591692 w 4044707"/>
                <a:gd name="connsiteY5235" fmla="*/ 194668 h 2907193"/>
                <a:gd name="connsiteX5236" fmla="*/ 3590784 w 4044707"/>
                <a:gd name="connsiteY5236" fmla="*/ 192702 h 2907193"/>
                <a:gd name="connsiteX5237" fmla="*/ 3590240 w 4044707"/>
                <a:gd name="connsiteY5237" fmla="*/ 190675 h 2907193"/>
                <a:gd name="connsiteX5238" fmla="*/ 3590482 w 4044707"/>
                <a:gd name="connsiteY5238" fmla="*/ 186924 h 2907193"/>
                <a:gd name="connsiteX5239" fmla="*/ 3591783 w 4044707"/>
                <a:gd name="connsiteY5239" fmla="*/ 183929 h 2907193"/>
                <a:gd name="connsiteX5240" fmla="*/ 3593719 w 4044707"/>
                <a:gd name="connsiteY5240" fmla="*/ 181872 h 2907193"/>
                <a:gd name="connsiteX5241" fmla="*/ 3595050 w 4044707"/>
                <a:gd name="connsiteY5241" fmla="*/ 179512 h 2907193"/>
                <a:gd name="connsiteX5242" fmla="*/ 3594596 w 4044707"/>
                <a:gd name="connsiteY5242" fmla="*/ 175579 h 2907193"/>
                <a:gd name="connsiteX5243" fmla="*/ 3600163 w 4044707"/>
                <a:gd name="connsiteY5243" fmla="*/ 152740 h 2907193"/>
                <a:gd name="connsiteX5244" fmla="*/ 3596744 w 4044707"/>
                <a:gd name="connsiteY5244" fmla="*/ 149563 h 2907193"/>
                <a:gd name="connsiteX5245" fmla="*/ 3588123 w 4044707"/>
                <a:gd name="connsiteY5245" fmla="*/ 146780 h 2907193"/>
                <a:gd name="connsiteX5246" fmla="*/ 3584281 w 4044707"/>
                <a:gd name="connsiteY5246" fmla="*/ 147022 h 2907193"/>
                <a:gd name="connsiteX5247" fmla="*/ 3571787 w 4044707"/>
                <a:gd name="connsiteY5247" fmla="*/ 153345 h 2907193"/>
                <a:gd name="connsiteX5248" fmla="*/ 3568399 w 4044707"/>
                <a:gd name="connsiteY5248" fmla="*/ 150682 h 2907193"/>
                <a:gd name="connsiteX5249" fmla="*/ 3598468 w 4044707"/>
                <a:gd name="connsiteY5249" fmla="*/ 134286 h 2907193"/>
                <a:gd name="connsiteX5250" fmla="*/ 3603581 w 4044707"/>
                <a:gd name="connsiteY5250" fmla="*/ 126027 h 2907193"/>
                <a:gd name="connsiteX5251" fmla="*/ 3603006 w 4044707"/>
                <a:gd name="connsiteY5251" fmla="*/ 120824 h 2907193"/>
                <a:gd name="connsiteX5252" fmla="*/ 3603641 w 4044707"/>
                <a:gd name="connsiteY5252" fmla="*/ 115651 h 2907193"/>
                <a:gd name="connsiteX5253" fmla="*/ 3604942 w 4044707"/>
                <a:gd name="connsiteY5253" fmla="*/ 110841 h 2907193"/>
                <a:gd name="connsiteX5254" fmla="*/ 3606394 w 4044707"/>
                <a:gd name="connsiteY5254" fmla="*/ 106636 h 2907193"/>
                <a:gd name="connsiteX5255" fmla="*/ 3608058 w 4044707"/>
                <a:gd name="connsiteY5255" fmla="*/ 103732 h 2907193"/>
                <a:gd name="connsiteX5256" fmla="*/ 3608935 w 4044707"/>
                <a:gd name="connsiteY5256" fmla="*/ 101433 h 2907193"/>
                <a:gd name="connsiteX5257" fmla="*/ 3609087 w 4044707"/>
                <a:gd name="connsiteY5257" fmla="*/ 98952 h 2907193"/>
                <a:gd name="connsiteX5258" fmla="*/ 3608088 w 4044707"/>
                <a:gd name="connsiteY5258" fmla="*/ 97168 h 2907193"/>
                <a:gd name="connsiteX5259" fmla="*/ 3606576 w 4044707"/>
                <a:gd name="connsiteY5259" fmla="*/ 98075 h 2907193"/>
                <a:gd name="connsiteX5260" fmla="*/ 3604942 w 4044707"/>
                <a:gd name="connsiteY5260" fmla="*/ 99890 h 2907193"/>
                <a:gd name="connsiteX5261" fmla="*/ 3603551 w 4044707"/>
                <a:gd name="connsiteY5261" fmla="*/ 100889 h 2907193"/>
                <a:gd name="connsiteX5262" fmla="*/ 3602462 w 4044707"/>
                <a:gd name="connsiteY5262" fmla="*/ 100556 h 2907193"/>
                <a:gd name="connsiteX5263" fmla="*/ 3601615 w 4044707"/>
                <a:gd name="connsiteY5263" fmla="*/ 99436 h 2907193"/>
                <a:gd name="connsiteX5264" fmla="*/ 3601040 w 4044707"/>
                <a:gd name="connsiteY5264" fmla="*/ 97349 h 2907193"/>
                <a:gd name="connsiteX5265" fmla="*/ 3600828 w 4044707"/>
                <a:gd name="connsiteY5265" fmla="*/ 94173 h 2907193"/>
                <a:gd name="connsiteX5266" fmla="*/ 3601372 w 4044707"/>
                <a:gd name="connsiteY5266" fmla="*/ 91269 h 2907193"/>
                <a:gd name="connsiteX5267" fmla="*/ 3602613 w 4044707"/>
                <a:gd name="connsiteY5267" fmla="*/ 90361 h 2907193"/>
                <a:gd name="connsiteX5268" fmla="*/ 3604095 w 4044707"/>
                <a:gd name="connsiteY5268" fmla="*/ 89938 h 2907193"/>
                <a:gd name="connsiteX5269" fmla="*/ 3605305 w 4044707"/>
                <a:gd name="connsiteY5269" fmla="*/ 88425 h 2907193"/>
                <a:gd name="connsiteX5270" fmla="*/ 3606818 w 4044707"/>
                <a:gd name="connsiteY5270" fmla="*/ 85309 h 2907193"/>
                <a:gd name="connsiteX5271" fmla="*/ 3607483 w 4044707"/>
                <a:gd name="connsiteY5271" fmla="*/ 83312 h 2907193"/>
                <a:gd name="connsiteX5272" fmla="*/ 3607725 w 4044707"/>
                <a:gd name="connsiteY5272" fmla="*/ 80499 h 2907193"/>
                <a:gd name="connsiteX5273" fmla="*/ 3607362 w 4044707"/>
                <a:gd name="connsiteY5273" fmla="*/ 77988 h 2907193"/>
                <a:gd name="connsiteX5274" fmla="*/ 3606727 w 4044707"/>
                <a:gd name="connsiteY5274" fmla="*/ 76778 h 2907193"/>
                <a:gd name="connsiteX5275" fmla="*/ 3606364 w 4044707"/>
                <a:gd name="connsiteY5275" fmla="*/ 75296 h 2907193"/>
                <a:gd name="connsiteX5276" fmla="*/ 3606999 w 4044707"/>
                <a:gd name="connsiteY5276" fmla="*/ 71968 h 2907193"/>
                <a:gd name="connsiteX5277" fmla="*/ 3602189 w 4044707"/>
                <a:gd name="connsiteY5277" fmla="*/ 67945 h 2907193"/>
                <a:gd name="connsiteX5278" fmla="*/ 3603157 w 4044707"/>
                <a:gd name="connsiteY5278" fmla="*/ 64950 h 2907193"/>
                <a:gd name="connsiteX5279" fmla="*/ 3603551 w 4044707"/>
                <a:gd name="connsiteY5279" fmla="*/ 64073 h 2907193"/>
                <a:gd name="connsiteX5280" fmla="*/ 3595746 w 4044707"/>
                <a:gd name="connsiteY5280" fmla="*/ 65948 h 2907193"/>
                <a:gd name="connsiteX5281" fmla="*/ 3571666 w 4044707"/>
                <a:gd name="connsiteY5281" fmla="*/ 88758 h 2907193"/>
                <a:gd name="connsiteX5282" fmla="*/ 3565010 w 4044707"/>
                <a:gd name="connsiteY5282" fmla="*/ 98680 h 2907193"/>
                <a:gd name="connsiteX5283" fmla="*/ 3559686 w 4044707"/>
                <a:gd name="connsiteY5283" fmla="*/ 108784 h 2907193"/>
                <a:gd name="connsiteX5284" fmla="*/ 3553273 w 4044707"/>
                <a:gd name="connsiteY5284" fmla="*/ 115439 h 2907193"/>
                <a:gd name="connsiteX5285" fmla="*/ 3550429 w 4044707"/>
                <a:gd name="connsiteY5285" fmla="*/ 119917 h 2907193"/>
                <a:gd name="connsiteX5286" fmla="*/ 3549794 w 4044707"/>
                <a:gd name="connsiteY5286" fmla="*/ 122065 h 2907193"/>
                <a:gd name="connsiteX5287" fmla="*/ 3548614 w 4044707"/>
                <a:gd name="connsiteY5287" fmla="*/ 127359 h 2907193"/>
                <a:gd name="connsiteX5288" fmla="*/ 3547706 w 4044707"/>
                <a:gd name="connsiteY5288" fmla="*/ 129688 h 2907193"/>
                <a:gd name="connsiteX5289" fmla="*/ 3545982 w 4044707"/>
                <a:gd name="connsiteY5289" fmla="*/ 131291 h 2907193"/>
                <a:gd name="connsiteX5290" fmla="*/ 3542292 w 4044707"/>
                <a:gd name="connsiteY5290" fmla="*/ 131563 h 2907193"/>
                <a:gd name="connsiteX5291" fmla="*/ 3541112 w 4044707"/>
                <a:gd name="connsiteY5291" fmla="*/ 132653 h 2907193"/>
                <a:gd name="connsiteX5292" fmla="*/ 3539357 w 4044707"/>
                <a:gd name="connsiteY5292" fmla="*/ 138189 h 2907193"/>
                <a:gd name="connsiteX5293" fmla="*/ 3535213 w 4044707"/>
                <a:gd name="connsiteY5293" fmla="*/ 156763 h 2907193"/>
                <a:gd name="connsiteX5294" fmla="*/ 3533034 w 4044707"/>
                <a:gd name="connsiteY5294" fmla="*/ 162238 h 2907193"/>
                <a:gd name="connsiteX5295" fmla="*/ 3530009 w 4044707"/>
                <a:gd name="connsiteY5295" fmla="*/ 167139 h 2907193"/>
                <a:gd name="connsiteX5296" fmla="*/ 3526682 w 4044707"/>
                <a:gd name="connsiteY5296" fmla="*/ 170618 h 2907193"/>
                <a:gd name="connsiteX5297" fmla="*/ 3523566 w 4044707"/>
                <a:gd name="connsiteY5297" fmla="*/ 171949 h 2907193"/>
                <a:gd name="connsiteX5298" fmla="*/ 3520813 w 4044707"/>
                <a:gd name="connsiteY5298" fmla="*/ 174006 h 2907193"/>
                <a:gd name="connsiteX5299" fmla="*/ 3499425 w 4044707"/>
                <a:gd name="connsiteY5299" fmla="*/ 208251 h 2907193"/>
                <a:gd name="connsiteX5300" fmla="*/ 3477765 w 4044707"/>
                <a:gd name="connsiteY5300" fmla="*/ 235386 h 2907193"/>
                <a:gd name="connsiteX5301" fmla="*/ 3475950 w 4044707"/>
                <a:gd name="connsiteY5301" fmla="*/ 240075 h 2907193"/>
                <a:gd name="connsiteX5302" fmla="*/ 3485419 w 4044707"/>
                <a:gd name="connsiteY5302" fmla="*/ 243857 h 2907193"/>
                <a:gd name="connsiteX5303" fmla="*/ 3487748 w 4044707"/>
                <a:gd name="connsiteY5303" fmla="*/ 247578 h 2907193"/>
                <a:gd name="connsiteX5304" fmla="*/ 3485419 w 4044707"/>
                <a:gd name="connsiteY5304" fmla="*/ 253053 h 2907193"/>
                <a:gd name="connsiteX5305" fmla="*/ 3478733 w 4044707"/>
                <a:gd name="connsiteY5305" fmla="*/ 260828 h 2907193"/>
                <a:gd name="connsiteX5306" fmla="*/ 3477342 w 4044707"/>
                <a:gd name="connsiteY5306" fmla="*/ 265335 h 2907193"/>
                <a:gd name="connsiteX5307" fmla="*/ 3476616 w 4044707"/>
                <a:gd name="connsiteY5307" fmla="*/ 268270 h 2907193"/>
                <a:gd name="connsiteX5308" fmla="*/ 3474952 w 4044707"/>
                <a:gd name="connsiteY5308" fmla="*/ 271628 h 2907193"/>
                <a:gd name="connsiteX5309" fmla="*/ 3473107 w 4044707"/>
                <a:gd name="connsiteY5309" fmla="*/ 274411 h 2907193"/>
                <a:gd name="connsiteX5310" fmla="*/ 3471866 w 4044707"/>
                <a:gd name="connsiteY5310" fmla="*/ 275560 h 2907193"/>
                <a:gd name="connsiteX5311" fmla="*/ 3469749 w 4044707"/>
                <a:gd name="connsiteY5311" fmla="*/ 275923 h 2907193"/>
                <a:gd name="connsiteX5312" fmla="*/ 3467782 w 4044707"/>
                <a:gd name="connsiteY5312" fmla="*/ 277103 h 2907193"/>
                <a:gd name="connsiteX5313" fmla="*/ 3466028 w 4044707"/>
                <a:gd name="connsiteY5313" fmla="*/ 279130 h 2907193"/>
                <a:gd name="connsiteX5314" fmla="*/ 3464636 w 4044707"/>
                <a:gd name="connsiteY5314" fmla="*/ 282185 h 2907193"/>
                <a:gd name="connsiteX5315" fmla="*/ 3460945 w 4044707"/>
                <a:gd name="connsiteY5315" fmla="*/ 295405 h 2907193"/>
                <a:gd name="connsiteX5316" fmla="*/ 3458828 w 4044707"/>
                <a:gd name="connsiteY5316" fmla="*/ 301214 h 2907193"/>
                <a:gd name="connsiteX5317" fmla="*/ 3456377 w 4044707"/>
                <a:gd name="connsiteY5317" fmla="*/ 303634 h 2907193"/>
                <a:gd name="connsiteX5318" fmla="*/ 3454048 w 4044707"/>
                <a:gd name="connsiteY5318" fmla="*/ 304239 h 2907193"/>
                <a:gd name="connsiteX5319" fmla="*/ 3449450 w 4044707"/>
                <a:gd name="connsiteY5319" fmla="*/ 306780 h 2907193"/>
                <a:gd name="connsiteX5320" fmla="*/ 3447090 w 4044707"/>
                <a:gd name="connsiteY5320" fmla="*/ 307355 h 2907193"/>
                <a:gd name="connsiteX5321" fmla="*/ 3444852 w 4044707"/>
                <a:gd name="connsiteY5321" fmla="*/ 306356 h 2907193"/>
                <a:gd name="connsiteX5322" fmla="*/ 3443642 w 4044707"/>
                <a:gd name="connsiteY5322" fmla="*/ 304027 h 2907193"/>
                <a:gd name="connsiteX5323" fmla="*/ 3442764 w 4044707"/>
                <a:gd name="connsiteY5323" fmla="*/ 301486 h 2907193"/>
                <a:gd name="connsiteX5324" fmla="*/ 3441554 w 4044707"/>
                <a:gd name="connsiteY5324" fmla="*/ 299943 h 2907193"/>
                <a:gd name="connsiteX5325" fmla="*/ 3442492 w 4044707"/>
                <a:gd name="connsiteY5325" fmla="*/ 297069 h 2907193"/>
                <a:gd name="connsiteX5326" fmla="*/ 3443884 w 4044707"/>
                <a:gd name="connsiteY5326" fmla="*/ 295799 h 2907193"/>
                <a:gd name="connsiteX5327" fmla="*/ 3447060 w 4044707"/>
                <a:gd name="connsiteY5327" fmla="*/ 294346 h 2907193"/>
                <a:gd name="connsiteX5328" fmla="*/ 3445699 w 4044707"/>
                <a:gd name="connsiteY5328" fmla="*/ 292804 h 2907193"/>
                <a:gd name="connsiteX5329" fmla="*/ 3444186 w 4044707"/>
                <a:gd name="connsiteY5329" fmla="*/ 293227 h 2907193"/>
                <a:gd name="connsiteX5330" fmla="*/ 3442552 w 4044707"/>
                <a:gd name="connsiteY5330" fmla="*/ 294195 h 2907193"/>
                <a:gd name="connsiteX5331" fmla="*/ 3440798 w 4044707"/>
                <a:gd name="connsiteY5331" fmla="*/ 294316 h 2907193"/>
                <a:gd name="connsiteX5332" fmla="*/ 3442220 w 4044707"/>
                <a:gd name="connsiteY5332" fmla="*/ 288599 h 2907193"/>
                <a:gd name="connsiteX5333" fmla="*/ 3442916 w 4044707"/>
                <a:gd name="connsiteY5333" fmla="*/ 286905 h 2907193"/>
                <a:gd name="connsiteX5334" fmla="*/ 3436139 w 4044707"/>
                <a:gd name="connsiteY5334" fmla="*/ 289930 h 2907193"/>
                <a:gd name="connsiteX5335" fmla="*/ 3434597 w 4044707"/>
                <a:gd name="connsiteY5335" fmla="*/ 292320 h 2907193"/>
                <a:gd name="connsiteX5336" fmla="*/ 3433961 w 4044707"/>
                <a:gd name="connsiteY5336" fmla="*/ 296494 h 2907193"/>
                <a:gd name="connsiteX5337" fmla="*/ 3434566 w 4044707"/>
                <a:gd name="connsiteY5337" fmla="*/ 299217 h 2907193"/>
                <a:gd name="connsiteX5338" fmla="*/ 3435716 w 4044707"/>
                <a:gd name="connsiteY5338" fmla="*/ 301335 h 2907193"/>
                <a:gd name="connsiteX5339" fmla="*/ 3436714 w 4044707"/>
                <a:gd name="connsiteY5339" fmla="*/ 303634 h 2907193"/>
                <a:gd name="connsiteX5340" fmla="*/ 3437107 w 4044707"/>
                <a:gd name="connsiteY5340" fmla="*/ 311257 h 2907193"/>
                <a:gd name="connsiteX5341" fmla="*/ 3433810 w 4044707"/>
                <a:gd name="connsiteY5341" fmla="*/ 311348 h 2907193"/>
                <a:gd name="connsiteX5342" fmla="*/ 3429696 w 4044707"/>
                <a:gd name="connsiteY5342" fmla="*/ 306901 h 2907193"/>
                <a:gd name="connsiteX5343" fmla="*/ 3427699 w 4044707"/>
                <a:gd name="connsiteY5343" fmla="*/ 300941 h 2907193"/>
                <a:gd name="connsiteX5344" fmla="*/ 3427880 w 4044707"/>
                <a:gd name="connsiteY5344" fmla="*/ 288357 h 2907193"/>
                <a:gd name="connsiteX5345" fmla="*/ 3428062 w 4044707"/>
                <a:gd name="connsiteY5345" fmla="*/ 285876 h 2907193"/>
                <a:gd name="connsiteX5346" fmla="*/ 3429847 w 4044707"/>
                <a:gd name="connsiteY5346" fmla="*/ 282518 h 2907193"/>
                <a:gd name="connsiteX5347" fmla="*/ 3430422 w 4044707"/>
                <a:gd name="connsiteY5347" fmla="*/ 280643 h 2907193"/>
                <a:gd name="connsiteX5348" fmla="*/ 3429877 w 4044707"/>
                <a:gd name="connsiteY5348" fmla="*/ 276680 h 2907193"/>
                <a:gd name="connsiteX5349" fmla="*/ 3429998 w 4044707"/>
                <a:gd name="connsiteY5349" fmla="*/ 274623 h 2907193"/>
                <a:gd name="connsiteX5350" fmla="*/ 3430392 w 4044707"/>
                <a:gd name="connsiteY5350" fmla="*/ 272626 h 2907193"/>
                <a:gd name="connsiteX5351" fmla="*/ 3431118 w 4044707"/>
                <a:gd name="connsiteY5351" fmla="*/ 270115 h 2907193"/>
                <a:gd name="connsiteX5352" fmla="*/ 3431208 w 4044707"/>
                <a:gd name="connsiteY5352" fmla="*/ 269298 h 2907193"/>
                <a:gd name="connsiteX5353" fmla="*/ 3431208 w 4044707"/>
                <a:gd name="connsiteY5353" fmla="*/ 267271 h 2907193"/>
                <a:gd name="connsiteX5354" fmla="*/ 3431390 w 4044707"/>
                <a:gd name="connsiteY5354" fmla="*/ 266273 h 2907193"/>
                <a:gd name="connsiteX5355" fmla="*/ 3432418 w 4044707"/>
                <a:gd name="connsiteY5355" fmla="*/ 266001 h 2907193"/>
                <a:gd name="connsiteX5356" fmla="*/ 3432902 w 4044707"/>
                <a:gd name="connsiteY5356" fmla="*/ 265305 h 2907193"/>
                <a:gd name="connsiteX5357" fmla="*/ 3433719 w 4044707"/>
                <a:gd name="connsiteY5357" fmla="*/ 263641 h 2907193"/>
                <a:gd name="connsiteX5358" fmla="*/ 3434838 w 4044707"/>
                <a:gd name="connsiteY5358" fmla="*/ 262129 h 2907193"/>
                <a:gd name="connsiteX5359" fmla="*/ 3436049 w 4044707"/>
                <a:gd name="connsiteY5359" fmla="*/ 261040 h 2907193"/>
                <a:gd name="connsiteX5360" fmla="*/ 3439225 w 4044707"/>
                <a:gd name="connsiteY5360" fmla="*/ 259406 h 2907193"/>
                <a:gd name="connsiteX5361" fmla="*/ 3453624 w 4044707"/>
                <a:gd name="connsiteY5361" fmla="*/ 244976 h 2907193"/>
                <a:gd name="connsiteX5362" fmla="*/ 3454381 w 4044707"/>
                <a:gd name="connsiteY5362" fmla="*/ 242314 h 2907193"/>
                <a:gd name="connsiteX5363" fmla="*/ 3453897 w 4044707"/>
                <a:gd name="connsiteY5363" fmla="*/ 238109 h 2907193"/>
                <a:gd name="connsiteX5364" fmla="*/ 3452172 w 4044707"/>
                <a:gd name="connsiteY5364" fmla="*/ 236082 h 2907193"/>
                <a:gd name="connsiteX5365" fmla="*/ 3449873 w 4044707"/>
                <a:gd name="connsiteY5365" fmla="*/ 237807 h 2907193"/>
                <a:gd name="connsiteX5366" fmla="*/ 3447514 w 4044707"/>
                <a:gd name="connsiteY5366" fmla="*/ 240620 h 2907193"/>
                <a:gd name="connsiteX5367" fmla="*/ 3445668 w 4044707"/>
                <a:gd name="connsiteY5367" fmla="*/ 241860 h 2907193"/>
                <a:gd name="connsiteX5368" fmla="*/ 3443914 w 4044707"/>
                <a:gd name="connsiteY5368" fmla="*/ 239924 h 2907193"/>
                <a:gd name="connsiteX5369" fmla="*/ 3443974 w 4044707"/>
                <a:gd name="connsiteY5369" fmla="*/ 236929 h 2907193"/>
                <a:gd name="connsiteX5370" fmla="*/ 3445215 w 4044707"/>
                <a:gd name="connsiteY5370" fmla="*/ 233965 h 2907193"/>
                <a:gd name="connsiteX5371" fmla="*/ 3447030 w 4044707"/>
                <a:gd name="connsiteY5371" fmla="*/ 232301 h 2907193"/>
                <a:gd name="connsiteX5372" fmla="*/ 3444216 w 4044707"/>
                <a:gd name="connsiteY5372" fmla="*/ 232301 h 2907193"/>
                <a:gd name="connsiteX5373" fmla="*/ 3442855 w 4044707"/>
                <a:gd name="connsiteY5373" fmla="*/ 231847 h 2907193"/>
                <a:gd name="connsiteX5374" fmla="*/ 3441524 w 4044707"/>
                <a:gd name="connsiteY5374" fmla="*/ 230576 h 2907193"/>
                <a:gd name="connsiteX5375" fmla="*/ 3449117 w 4044707"/>
                <a:gd name="connsiteY5375" fmla="*/ 221047 h 2907193"/>
                <a:gd name="connsiteX5376" fmla="*/ 3453261 w 4044707"/>
                <a:gd name="connsiteY5376" fmla="*/ 219262 h 2907193"/>
                <a:gd name="connsiteX5377" fmla="*/ 3459161 w 4044707"/>
                <a:gd name="connsiteY5377" fmla="*/ 223135 h 2907193"/>
                <a:gd name="connsiteX5378" fmla="*/ 3459977 w 4044707"/>
                <a:gd name="connsiteY5378" fmla="*/ 221320 h 2907193"/>
                <a:gd name="connsiteX5379" fmla="*/ 3459917 w 4044707"/>
                <a:gd name="connsiteY5379" fmla="*/ 217901 h 2907193"/>
                <a:gd name="connsiteX5380" fmla="*/ 3458102 w 4044707"/>
                <a:gd name="connsiteY5380" fmla="*/ 209824 h 2907193"/>
                <a:gd name="connsiteX5381" fmla="*/ 3458677 w 4044707"/>
                <a:gd name="connsiteY5381" fmla="*/ 206103 h 2907193"/>
                <a:gd name="connsiteX5382" fmla="*/ 3460250 w 4044707"/>
                <a:gd name="connsiteY5382" fmla="*/ 203895 h 2907193"/>
                <a:gd name="connsiteX5383" fmla="*/ 3462246 w 4044707"/>
                <a:gd name="connsiteY5383" fmla="*/ 203895 h 2907193"/>
                <a:gd name="connsiteX5384" fmla="*/ 3457829 w 4044707"/>
                <a:gd name="connsiteY5384" fmla="*/ 197693 h 2907193"/>
                <a:gd name="connsiteX5385" fmla="*/ 3443158 w 4044707"/>
                <a:gd name="connsiteY5385" fmla="*/ 199659 h 2907193"/>
                <a:gd name="connsiteX5386" fmla="*/ 3439376 w 4044707"/>
                <a:gd name="connsiteY5386" fmla="*/ 194577 h 2907193"/>
                <a:gd name="connsiteX5387" fmla="*/ 3457769 w 4044707"/>
                <a:gd name="connsiteY5387" fmla="*/ 195424 h 2907193"/>
                <a:gd name="connsiteX5388" fmla="*/ 3462246 w 4044707"/>
                <a:gd name="connsiteY5388" fmla="*/ 188739 h 2907193"/>
                <a:gd name="connsiteX5389" fmla="*/ 3458102 w 4044707"/>
                <a:gd name="connsiteY5389" fmla="*/ 183989 h 2907193"/>
                <a:gd name="connsiteX5390" fmla="*/ 3440768 w 4044707"/>
                <a:gd name="connsiteY5390" fmla="*/ 190796 h 2907193"/>
                <a:gd name="connsiteX5391" fmla="*/ 3443551 w 4044707"/>
                <a:gd name="connsiteY5391" fmla="*/ 185320 h 2907193"/>
                <a:gd name="connsiteX5392" fmla="*/ 3457436 w 4044707"/>
                <a:gd name="connsiteY5392" fmla="*/ 173734 h 2907193"/>
                <a:gd name="connsiteX5393" fmla="*/ 3459009 w 4044707"/>
                <a:gd name="connsiteY5393" fmla="*/ 171647 h 2907193"/>
                <a:gd name="connsiteX5394" fmla="*/ 3462276 w 4044707"/>
                <a:gd name="connsiteY5394" fmla="*/ 165959 h 2907193"/>
                <a:gd name="connsiteX5395" fmla="*/ 3464273 w 4044707"/>
                <a:gd name="connsiteY5395" fmla="*/ 164114 h 2907193"/>
                <a:gd name="connsiteX5396" fmla="*/ 3468992 w 4044707"/>
                <a:gd name="connsiteY5396" fmla="*/ 161936 h 2907193"/>
                <a:gd name="connsiteX5397" fmla="*/ 3476464 w 4044707"/>
                <a:gd name="connsiteY5397" fmla="*/ 152104 h 2907193"/>
                <a:gd name="connsiteX5398" fmla="*/ 3478340 w 4044707"/>
                <a:gd name="connsiteY5398" fmla="*/ 146659 h 2907193"/>
                <a:gd name="connsiteX5399" fmla="*/ 3484965 w 4044707"/>
                <a:gd name="connsiteY5399" fmla="*/ 144057 h 2907193"/>
                <a:gd name="connsiteX5400" fmla="*/ 3489745 w 4044707"/>
                <a:gd name="connsiteY5400" fmla="*/ 136252 h 2907193"/>
                <a:gd name="connsiteX5401" fmla="*/ 3493496 w 4044707"/>
                <a:gd name="connsiteY5401" fmla="*/ 134558 h 2907193"/>
                <a:gd name="connsiteX5402" fmla="*/ 3495795 w 4044707"/>
                <a:gd name="connsiteY5402" fmla="*/ 132562 h 2907193"/>
                <a:gd name="connsiteX5403" fmla="*/ 3497913 w 4044707"/>
                <a:gd name="connsiteY5403" fmla="*/ 129597 h 2907193"/>
                <a:gd name="connsiteX5404" fmla="*/ 3499455 w 4044707"/>
                <a:gd name="connsiteY5404" fmla="*/ 125906 h 2907193"/>
                <a:gd name="connsiteX5405" fmla="*/ 3497852 w 4044707"/>
                <a:gd name="connsiteY5405" fmla="*/ 122428 h 2907193"/>
                <a:gd name="connsiteX5406" fmla="*/ 3497247 w 4044707"/>
                <a:gd name="connsiteY5406" fmla="*/ 120582 h 2907193"/>
                <a:gd name="connsiteX5407" fmla="*/ 3496702 w 4044707"/>
                <a:gd name="connsiteY5407" fmla="*/ 118071 h 2907193"/>
                <a:gd name="connsiteX5408" fmla="*/ 3506444 w 4044707"/>
                <a:gd name="connsiteY5408" fmla="*/ 114834 h 2907193"/>
                <a:gd name="connsiteX5409" fmla="*/ 3509166 w 4044707"/>
                <a:gd name="connsiteY5409" fmla="*/ 112293 h 2907193"/>
                <a:gd name="connsiteX5410" fmla="*/ 3513916 w 4044707"/>
                <a:gd name="connsiteY5410" fmla="*/ 103581 h 2907193"/>
                <a:gd name="connsiteX5411" fmla="*/ 3516396 w 4044707"/>
                <a:gd name="connsiteY5411" fmla="*/ 100193 h 2907193"/>
                <a:gd name="connsiteX5412" fmla="*/ 3520783 w 4044707"/>
                <a:gd name="connsiteY5412" fmla="*/ 97954 h 2907193"/>
                <a:gd name="connsiteX5413" fmla="*/ 3523505 w 4044707"/>
                <a:gd name="connsiteY5413" fmla="*/ 93961 h 2907193"/>
                <a:gd name="connsiteX5414" fmla="*/ 3526470 w 4044707"/>
                <a:gd name="connsiteY5414" fmla="*/ 92176 h 2907193"/>
                <a:gd name="connsiteX5415" fmla="*/ 3526530 w 4044707"/>
                <a:gd name="connsiteY5415" fmla="*/ 89998 h 2907193"/>
                <a:gd name="connsiteX5416" fmla="*/ 3525804 w 4044707"/>
                <a:gd name="connsiteY5416" fmla="*/ 87396 h 2907193"/>
                <a:gd name="connsiteX5417" fmla="*/ 3524958 w 4044707"/>
                <a:gd name="connsiteY5417" fmla="*/ 85188 h 2907193"/>
                <a:gd name="connsiteX5418" fmla="*/ 3522053 w 4044707"/>
                <a:gd name="connsiteY5418" fmla="*/ 80953 h 2907193"/>
                <a:gd name="connsiteX5419" fmla="*/ 3519179 w 4044707"/>
                <a:gd name="connsiteY5419" fmla="*/ 81437 h 2907193"/>
                <a:gd name="connsiteX5420" fmla="*/ 3516154 w 4044707"/>
                <a:gd name="connsiteY5420" fmla="*/ 83796 h 2907193"/>
                <a:gd name="connsiteX5421" fmla="*/ 3512887 w 4044707"/>
                <a:gd name="connsiteY5421" fmla="*/ 85218 h 2907193"/>
                <a:gd name="connsiteX5422" fmla="*/ 3512373 w 4044707"/>
                <a:gd name="connsiteY5422" fmla="*/ 86156 h 2907193"/>
                <a:gd name="connsiteX5423" fmla="*/ 3511647 w 4044707"/>
                <a:gd name="connsiteY5423" fmla="*/ 88213 h 2907193"/>
                <a:gd name="connsiteX5424" fmla="*/ 3510648 w 4044707"/>
                <a:gd name="connsiteY5424" fmla="*/ 90270 h 2907193"/>
                <a:gd name="connsiteX5425" fmla="*/ 3509408 w 4044707"/>
                <a:gd name="connsiteY5425" fmla="*/ 91178 h 2907193"/>
                <a:gd name="connsiteX5426" fmla="*/ 3508470 w 4044707"/>
                <a:gd name="connsiteY5426" fmla="*/ 90361 h 2907193"/>
                <a:gd name="connsiteX5427" fmla="*/ 3507442 w 4044707"/>
                <a:gd name="connsiteY5427" fmla="*/ 88425 h 2907193"/>
                <a:gd name="connsiteX5428" fmla="*/ 3506595 w 4044707"/>
                <a:gd name="connsiteY5428" fmla="*/ 86156 h 2907193"/>
                <a:gd name="connsiteX5429" fmla="*/ 3506262 w 4044707"/>
                <a:gd name="connsiteY5429" fmla="*/ 84341 h 2907193"/>
                <a:gd name="connsiteX5430" fmla="*/ 3504326 w 4044707"/>
                <a:gd name="connsiteY5430" fmla="*/ 80983 h 2907193"/>
                <a:gd name="connsiteX5431" fmla="*/ 3500000 w 4044707"/>
                <a:gd name="connsiteY5431" fmla="*/ 81074 h 2907193"/>
                <a:gd name="connsiteX5432" fmla="*/ 3495402 w 4044707"/>
                <a:gd name="connsiteY5432" fmla="*/ 82980 h 2907193"/>
                <a:gd name="connsiteX5433" fmla="*/ 3492588 w 4044707"/>
                <a:gd name="connsiteY5433" fmla="*/ 85218 h 2907193"/>
                <a:gd name="connsiteX5434" fmla="*/ 3489715 w 4044707"/>
                <a:gd name="connsiteY5434" fmla="*/ 91904 h 2907193"/>
                <a:gd name="connsiteX5435" fmla="*/ 3489019 w 4044707"/>
                <a:gd name="connsiteY5435" fmla="*/ 93084 h 2907193"/>
                <a:gd name="connsiteX5436" fmla="*/ 3487567 w 4044707"/>
                <a:gd name="connsiteY5436" fmla="*/ 92630 h 2907193"/>
                <a:gd name="connsiteX5437" fmla="*/ 3485751 w 4044707"/>
                <a:gd name="connsiteY5437" fmla="*/ 88485 h 2907193"/>
                <a:gd name="connsiteX5438" fmla="*/ 3484904 w 4044707"/>
                <a:gd name="connsiteY5438" fmla="*/ 88274 h 2907193"/>
                <a:gd name="connsiteX5439" fmla="*/ 3480216 w 4044707"/>
                <a:gd name="connsiteY5439" fmla="*/ 95534 h 2907193"/>
                <a:gd name="connsiteX5440" fmla="*/ 3477795 w 4044707"/>
                <a:gd name="connsiteY5440" fmla="*/ 96260 h 2907193"/>
                <a:gd name="connsiteX5441" fmla="*/ 3475920 w 4044707"/>
                <a:gd name="connsiteY5441" fmla="*/ 91148 h 2907193"/>
                <a:gd name="connsiteX5442" fmla="*/ 3478007 w 4044707"/>
                <a:gd name="connsiteY5442" fmla="*/ 90301 h 2907193"/>
                <a:gd name="connsiteX5443" fmla="*/ 3482969 w 4044707"/>
                <a:gd name="connsiteY5443" fmla="*/ 85975 h 2907193"/>
                <a:gd name="connsiteX5444" fmla="*/ 3484904 w 4044707"/>
                <a:gd name="connsiteY5444" fmla="*/ 83433 h 2907193"/>
                <a:gd name="connsiteX5445" fmla="*/ 3486357 w 4044707"/>
                <a:gd name="connsiteY5445" fmla="*/ 80408 h 2907193"/>
                <a:gd name="connsiteX5446" fmla="*/ 3487385 w 4044707"/>
                <a:gd name="connsiteY5446" fmla="*/ 76566 h 2907193"/>
                <a:gd name="connsiteX5447" fmla="*/ 3487264 w 4044707"/>
                <a:gd name="connsiteY5447" fmla="*/ 73269 h 2907193"/>
                <a:gd name="connsiteX5448" fmla="*/ 3475406 w 4044707"/>
                <a:gd name="connsiteY5448" fmla="*/ 61471 h 2907193"/>
                <a:gd name="connsiteX5449" fmla="*/ 3470051 w 4044707"/>
                <a:gd name="connsiteY5449" fmla="*/ 58174 h 2907193"/>
                <a:gd name="connsiteX5450" fmla="*/ 3467722 w 4044707"/>
                <a:gd name="connsiteY5450" fmla="*/ 64829 h 2907193"/>
                <a:gd name="connsiteX5451" fmla="*/ 3468296 w 4044707"/>
                <a:gd name="connsiteY5451" fmla="*/ 68308 h 2907193"/>
                <a:gd name="connsiteX5452" fmla="*/ 3469628 w 4044707"/>
                <a:gd name="connsiteY5452" fmla="*/ 72513 h 2907193"/>
                <a:gd name="connsiteX5453" fmla="*/ 3471080 w 4044707"/>
                <a:gd name="connsiteY5453" fmla="*/ 76022 h 2907193"/>
                <a:gd name="connsiteX5454" fmla="*/ 3472108 w 4044707"/>
                <a:gd name="connsiteY5454" fmla="*/ 77474 h 2907193"/>
                <a:gd name="connsiteX5455" fmla="*/ 3473227 w 4044707"/>
                <a:gd name="connsiteY5455" fmla="*/ 79531 h 2907193"/>
                <a:gd name="connsiteX5456" fmla="*/ 3472774 w 4044707"/>
                <a:gd name="connsiteY5456" fmla="*/ 84129 h 2907193"/>
                <a:gd name="connsiteX5457" fmla="*/ 3468508 w 4044707"/>
                <a:gd name="connsiteY5457" fmla="*/ 102673 h 2907193"/>
                <a:gd name="connsiteX5458" fmla="*/ 3467661 w 4044707"/>
                <a:gd name="connsiteY5458" fmla="*/ 104428 h 2907193"/>
                <a:gd name="connsiteX5459" fmla="*/ 3464636 w 4044707"/>
                <a:gd name="connsiteY5459" fmla="*/ 103944 h 2907193"/>
                <a:gd name="connsiteX5460" fmla="*/ 3462972 w 4044707"/>
                <a:gd name="connsiteY5460" fmla="*/ 104156 h 2907193"/>
                <a:gd name="connsiteX5461" fmla="*/ 3461823 w 4044707"/>
                <a:gd name="connsiteY5461" fmla="*/ 105487 h 2907193"/>
                <a:gd name="connsiteX5462" fmla="*/ 3460976 w 4044707"/>
                <a:gd name="connsiteY5462" fmla="*/ 107816 h 2907193"/>
                <a:gd name="connsiteX5463" fmla="*/ 3460129 w 4044707"/>
                <a:gd name="connsiteY5463" fmla="*/ 109571 h 2907193"/>
                <a:gd name="connsiteX5464" fmla="*/ 3459191 w 4044707"/>
                <a:gd name="connsiteY5464" fmla="*/ 110539 h 2907193"/>
                <a:gd name="connsiteX5465" fmla="*/ 3457981 w 4044707"/>
                <a:gd name="connsiteY5465" fmla="*/ 110387 h 2907193"/>
                <a:gd name="connsiteX5466" fmla="*/ 3460038 w 4044707"/>
                <a:gd name="connsiteY5466" fmla="*/ 100798 h 2907193"/>
                <a:gd name="connsiteX5467" fmla="*/ 3457618 w 4044707"/>
                <a:gd name="connsiteY5467" fmla="*/ 90391 h 2907193"/>
                <a:gd name="connsiteX5468" fmla="*/ 3456619 w 4044707"/>
                <a:gd name="connsiteY5468" fmla="*/ 87336 h 2907193"/>
                <a:gd name="connsiteX5469" fmla="*/ 3451386 w 4044707"/>
                <a:gd name="connsiteY5469" fmla="*/ 78714 h 2907193"/>
                <a:gd name="connsiteX5470" fmla="*/ 3450025 w 4044707"/>
                <a:gd name="connsiteY5470" fmla="*/ 77504 h 2907193"/>
                <a:gd name="connsiteX5471" fmla="*/ 3449722 w 4044707"/>
                <a:gd name="connsiteY5471" fmla="*/ 76899 h 2907193"/>
                <a:gd name="connsiteX5472" fmla="*/ 3449359 w 4044707"/>
                <a:gd name="connsiteY5472" fmla="*/ 75568 h 2907193"/>
                <a:gd name="connsiteX5473" fmla="*/ 3448754 w 4044707"/>
                <a:gd name="connsiteY5473" fmla="*/ 74267 h 2907193"/>
                <a:gd name="connsiteX5474" fmla="*/ 3447635 w 4044707"/>
                <a:gd name="connsiteY5474" fmla="*/ 73632 h 2907193"/>
                <a:gd name="connsiteX5475" fmla="*/ 3446818 w 4044707"/>
                <a:gd name="connsiteY5475" fmla="*/ 74207 h 2907193"/>
                <a:gd name="connsiteX5476" fmla="*/ 3444519 w 4044707"/>
                <a:gd name="connsiteY5476" fmla="*/ 77111 h 2907193"/>
                <a:gd name="connsiteX5477" fmla="*/ 3440949 w 4044707"/>
                <a:gd name="connsiteY5477" fmla="*/ 84190 h 2907193"/>
                <a:gd name="connsiteX5478" fmla="*/ 3440042 w 4044707"/>
                <a:gd name="connsiteY5478" fmla="*/ 87396 h 2907193"/>
                <a:gd name="connsiteX5479" fmla="*/ 3440042 w 4044707"/>
                <a:gd name="connsiteY5479" fmla="*/ 93114 h 2907193"/>
                <a:gd name="connsiteX5480" fmla="*/ 3438136 w 4044707"/>
                <a:gd name="connsiteY5480" fmla="*/ 91662 h 2907193"/>
                <a:gd name="connsiteX5481" fmla="*/ 3433749 w 4044707"/>
                <a:gd name="connsiteY5481" fmla="*/ 90633 h 2907193"/>
                <a:gd name="connsiteX5482" fmla="*/ 3432085 w 4044707"/>
                <a:gd name="connsiteY5482" fmla="*/ 88334 h 2907193"/>
                <a:gd name="connsiteX5483" fmla="*/ 3430361 w 4044707"/>
                <a:gd name="connsiteY5483" fmla="*/ 86549 h 2907193"/>
                <a:gd name="connsiteX5484" fmla="*/ 3426489 w 4044707"/>
                <a:gd name="connsiteY5484" fmla="*/ 88969 h 2907193"/>
                <a:gd name="connsiteX5485" fmla="*/ 3424795 w 4044707"/>
                <a:gd name="connsiteY5485" fmla="*/ 87396 h 2907193"/>
                <a:gd name="connsiteX5486" fmla="*/ 3428183 w 4044707"/>
                <a:gd name="connsiteY5486" fmla="*/ 85823 h 2907193"/>
                <a:gd name="connsiteX5487" fmla="*/ 3432116 w 4044707"/>
                <a:gd name="connsiteY5487" fmla="*/ 82314 h 2907193"/>
                <a:gd name="connsiteX5488" fmla="*/ 3435837 w 4044707"/>
                <a:gd name="connsiteY5488" fmla="*/ 77474 h 2907193"/>
                <a:gd name="connsiteX5489" fmla="*/ 3438590 w 4044707"/>
                <a:gd name="connsiteY5489" fmla="*/ 71938 h 2907193"/>
                <a:gd name="connsiteX5490" fmla="*/ 3439558 w 4044707"/>
                <a:gd name="connsiteY5490" fmla="*/ 63528 h 2907193"/>
                <a:gd name="connsiteX5491" fmla="*/ 3436593 w 4044707"/>
                <a:gd name="connsiteY5491" fmla="*/ 59626 h 2907193"/>
                <a:gd name="connsiteX5492" fmla="*/ 3432570 w 4044707"/>
                <a:gd name="connsiteY5492" fmla="*/ 59414 h 2907193"/>
                <a:gd name="connsiteX5493" fmla="*/ 3430331 w 4044707"/>
                <a:gd name="connsiteY5493" fmla="*/ 62106 h 2907193"/>
                <a:gd name="connsiteX5494" fmla="*/ 3432025 w 4044707"/>
                <a:gd name="connsiteY5494" fmla="*/ 63377 h 2907193"/>
                <a:gd name="connsiteX5495" fmla="*/ 3431027 w 4044707"/>
                <a:gd name="connsiteY5495" fmla="*/ 66886 h 2907193"/>
                <a:gd name="connsiteX5496" fmla="*/ 3430029 w 4044707"/>
                <a:gd name="connsiteY5496" fmla="*/ 71393 h 2907193"/>
                <a:gd name="connsiteX5497" fmla="*/ 3431722 w 4044707"/>
                <a:gd name="connsiteY5497" fmla="*/ 75810 h 2907193"/>
                <a:gd name="connsiteX5498" fmla="*/ 3415175 w 4044707"/>
                <a:gd name="connsiteY5498" fmla="*/ 77565 h 2907193"/>
                <a:gd name="connsiteX5499" fmla="*/ 3416869 w 4044707"/>
                <a:gd name="connsiteY5499" fmla="*/ 75296 h 2907193"/>
                <a:gd name="connsiteX5500" fmla="*/ 3418503 w 4044707"/>
                <a:gd name="connsiteY5500" fmla="*/ 73662 h 2907193"/>
                <a:gd name="connsiteX5501" fmla="*/ 3419138 w 4044707"/>
                <a:gd name="connsiteY5501" fmla="*/ 71817 h 2907193"/>
                <a:gd name="connsiteX5502" fmla="*/ 3417837 w 4044707"/>
                <a:gd name="connsiteY5502" fmla="*/ 68883 h 2907193"/>
                <a:gd name="connsiteX5503" fmla="*/ 3416627 w 4044707"/>
                <a:gd name="connsiteY5503" fmla="*/ 67824 h 2907193"/>
                <a:gd name="connsiteX5504" fmla="*/ 3413784 w 4044707"/>
                <a:gd name="connsiteY5504" fmla="*/ 66462 h 2907193"/>
                <a:gd name="connsiteX5505" fmla="*/ 3412755 w 4044707"/>
                <a:gd name="connsiteY5505" fmla="*/ 64920 h 2907193"/>
                <a:gd name="connsiteX5506" fmla="*/ 3411968 w 4044707"/>
                <a:gd name="connsiteY5506" fmla="*/ 62530 h 2907193"/>
                <a:gd name="connsiteX5507" fmla="*/ 3411363 w 4044707"/>
                <a:gd name="connsiteY5507" fmla="*/ 61138 h 2907193"/>
                <a:gd name="connsiteX5508" fmla="*/ 3410486 w 4044707"/>
                <a:gd name="connsiteY5508" fmla="*/ 60503 h 2907193"/>
                <a:gd name="connsiteX5509" fmla="*/ 3399595 w 4044707"/>
                <a:gd name="connsiteY5509" fmla="*/ 57810 h 2907193"/>
                <a:gd name="connsiteX5510" fmla="*/ 3396661 w 4044707"/>
                <a:gd name="connsiteY5510" fmla="*/ 58385 h 2907193"/>
                <a:gd name="connsiteX5511" fmla="*/ 3393817 w 4044707"/>
                <a:gd name="connsiteY5511" fmla="*/ 59837 h 2907193"/>
                <a:gd name="connsiteX5512" fmla="*/ 3391700 w 4044707"/>
                <a:gd name="connsiteY5512" fmla="*/ 62076 h 2907193"/>
                <a:gd name="connsiteX5513" fmla="*/ 3393303 w 4044707"/>
                <a:gd name="connsiteY5513" fmla="*/ 63921 h 2907193"/>
                <a:gd name="connsiteX5514" fmla="*/ 3396903 w 4044707"/>
                <a:gd name="connsiteY5514" fmla="*/ 64224 h 2907193"/>
                <a:gd name="connsiteX5515" fmla="*/ 3398567 w 4044707"/>
                <a:gd name="connsiteY5515" fmla="*/ 65767 h 2907193"/>
                <a:gd name="connsiteX5516" fmla="*/ 3396570 w 4044707"/>
                <a:gd name="connsiteY5516" fmla="*/ 65646 h 2907193"/>
                <a:gd name="connsiteX5517" fmla="*/ 3394271 w 4044707"/>
                <a:gd name="connsiteY5517" fmla="*/ 66372 h 2907193"/>
                <a:gd name="connsiteX5518" fmla="*/ 3392033 w 4044707"/>
                <a:gd name="connsiteY5518" fmla="*/ 67793 h 2907193"/>
                <a:gd name="connsiteX5519" fmla="*/ 3390339 w 4044707"/>
                <a:gd name="connsiteY5519" fmla="*/ 69820 h 2907193"/>
                <a:gd name="connsiteX5520" fmla="*/ 3391185 w 4044707"/>
                <a:gd name="connsiteY5520" fmla="*/ 72876 h 2907193"/>
                <a:gd name="connsiteX5521" fmla="*/ 3392426 w 4044707"/>
                <a:gd name="connsiteY5521" fmla="*/ 74691 h 2907193"/>
                <a:gd name="connsiteX5522" fmla="*/ 3395844 w 4044707"/>
                <a:gd name="connsiteY5522" fmla="*/ 77534 h 2907193"/>
                <a:gd name="connsiteX5523" fmla="*/ 3395088 w 4044707"/>
                <a:gd name="connsiteY5523" fmla="*/ 78351 h 2907193"/>
                <a:gd name="connsiteX5524" fmla="*/ 3393757 w 4044707"/>
                <a:gd name="connsiteY5524" fmla="*/ 81376 h 2907193"/>
                <a:gd name="connsiteX5525" fmla="*/ 3396722 w 4044707"/>
                <a:gd name="connsiteY5525" fmla="*/ 81497 h 2907193"/>
                <a:gd name="connsiteX5526" fmla="*/ 3405494 w 4044707"/>
                <a:gd name="connsiteY5526" fmla="*/ 87336 h 2907193"/>
                <a:gd name="connsiteX5527" fmla="*/ 3404042 w 4044707"/>
                <a:gd name="connsiteY5527" fmla="*/ 91329 h 2907193"/>
                <a:gd name="connsiteX5528" fmla="*/ 3401350 w 4044707"/>
                <a:gd name="connsiteY5528" fmla="*/ 91087 h 2907193"/>
                <a:gd name="connsiteX5529" fmla="*/ 3398325 w 4044707"/>
                <a:gd name="connsiteY5529" fmla="*/ 89423 h 2907193"/>
                <a:gd name="connsiteX5530" fmla="*/ 3395844 w 4044707"/>
                <a:gd name="connsiteY5530" fmla="*/ 89242 h 2907193"/>
                <a:gd name="connsiteX5531" fmla="*/ 3394301 w 4044707"/>
                <a:gd name="connsiteY5531" fmla="*/ 91238 h 2907193"/>
                <a:gd name="connsiteX5532" fmla="*/ 3394060 w 4044707"/>
                <a:gd name="connsiteY5532" fmla="*/ 93477 h 2907193"/>
                <a:gd name="connsiteX5533" fmla="*/ 3393999 w 4044707"/>
                <a:gd name="connsiteY5533" fmla="*/ 96502 h 2907193"/>
                <a:gd name="connsiteX5534" fmla="*/ 3393031 w 4044707"/>
                <a:gd name="connsiteY5534" fmla="*/ 100828 h 2907193"/>
                <a:gd name="connsiteX5535" fmla="*/ 3395875 w 4044707"/>
                <a:gd name="connsiteY5535" fmla="*/ 103611 h 2907193"/>
                <a:gd name="connsiteX5536" fmla="*/ 3397024 w 4044707"/>
                <a:gd name="connsiteY5536" fmla="*/ 105578 h 2907193"/>
                <a:gd name="connsiteX5537" fmla="*/ 3397931 w 4044707"/>
                <a:gd name="connsiteY5537" fmla="*/ 108330 h 2907193"/>
                <a:gd name="connsiteX5538" fmla="*/ 3396510 w 4044707"/>
                <a:gd name="connsiteY5538" fmla="*/ 113685 h 2907193"/>
                <a:gd name="connsiteX5539" fmla="*/ 3394543 w 4044707"/>
                <a:gd name="connsiteY5539" fmla="*/ 113685 h 2907193"/>
                <a:gd name="connsiteX5540" fmla="*/ 3390308 w 4044707"/>
                <a:gd name="connsiteY5540" fmla="*/ 108330 h 2907193"/>
                <a:gd name="connsiteX5541" fmla="*/ 3384893 w 4044707"/>
                <a:gd name="connsiteY5541" fmla="*/ 104730 h 2907193"/>
                <a:gd name="connsiteX5542" fmla="*/ 3379236 w 4044707"/>
                <a:gd name="connsiteY5542" fmla="*/ 102915 h 2907193"/>
                <a:gd name="connsiteX5543" fmla="*/ 3379418 w 4044707"/>
                <a:gd name="connsiteY5543" fmla="*/ 98287 h 2907193"/>
                <a:gd name="connsiteX5544" fmla="*/ 3377935 w 4044707"/>
                <a:gd name="connsiteY5544" fmla="*/ 96411 h 2907193"/>
                <a:gd name="connsiteX5545" fmla="*/ 3373670 w 4044707"/>
                <a:gd name="connsiteY5545" fmla="*/ 95050 h 2907193"/>
                <a:gd name="connsiteX5546" fmla="*/ 3374426 w 4044707"/>
                <a:gd name="connsiteY5546" fmla="*/ 93114 h 2907193"/>
                <a:gd name="connsiteX5547" fmla="*/ 3372369 w 4044707"/>
                <a:gd name="connsiteY5547" fmla="*/ 89121 h 2907193"/>
                <a:gd name="connsiteX5548" fmla="*/ 3369132 w 4044707"/>
                <a:gd name="connsiteY5548" fmla="*/ 90270 h 2907193"/>
                <a:gd name="connsiteX5549" fmla="*/ 3359633 w 4044707"/>
                <a:gd name="connsiteY5549" fmla="*/ 97168 h 2907193"/>
                <a:gd name="connsiteX5550" fmla="*/ 3359452 w 4044707"/>
                <a:gd name="connsiteY5550" fmla="*/ 102159 h 2907193"/>
                <a:gd name="connsiteX5551" fmla="*/ 3359512 w 4044707"/>
                <a:gd name="connsiteY5551" fmla="*/ 107937 h 2907193"/>
                <a:gd name="connsiteX5552" fmla="*/ 3357213 w 4044707"/>
                <a:gd name="connsiteY5552" fmla="*/ 112354 h 2907193"/>
                <a:gd name="connsiteX5553" fmla="*/ 3359301 w 4044707"/>
                <a:gd name="connsiteY5553" fmla="*/ 116468 h 2907193"/>
                <a:gd name="connsiteX5554" fmla="*/ 3361963 w 4044707"/>
                <a:gd name="connsiteY5554" fmla="*/ 118102 h 2907193"/>
                <a:gd name="connsiteX5555" fmla="*/ 3367499 w 4044707"/>
                <a:gd name="connsiteY5555" fmla="*/ 118102 h 2907193"/>
                <a:gd name="connsiteX5556" fmla="*/ 3379236 w 4044707"/>
                <a:gd name="connsiteY5556" fmla="*/ 121944 h 2907193"/>
                <a:gd name="connsiteX5557" fmla="*/ 3384439 w 4044707"/>
                <a:gd name="connsiteY5557" fmla="*/ 121460 h 2907193"/>
                <a:gd name="connsiteX5558" fmla="*/ 3386103 w 4044707"/>
                <a:gd name="connsiteY5558" fmla="*/ 121944 h 2907193"/>
                <a:gd name="connsiteX5559" fmla="*/ 3387283 w 4044707"/>
                <a:gd name="connsiteY5559" fmla="*/ 123093 h 2907193"/>
                <a:gd name="connsiteX5560" fmla="*/ 3389552 w 4044707"/>
                <a:gd name="connsiteY5560" fmla="*/ 127691 h 2907193"/>
                <a:gd name="connsiteX5561" fmla="*/ 3391700 w 4044707"/>
                <a:gd name="connsiteY5561" fmla="*/ 129930 h 2907193"/>
                <a:gd name="connsiteX5562" fmla="*/ 3398506 w 4044707"/>
                <a:gd name="connsiteY5562" fmla="*/ 133439 h 2907193"/>
                <a:gd name="connsiteX5563" fmla="*/ 3397599 w 4044707"/>
                <a:gd name="connsiteY5563" fmla="*/ 134982 h 2907193"/>
                <a:gd name="connsiteX5564" fmla="*/ 3397145 w 4044707"/>
                <a:gd name="connsiteY5564" fmla="*/ 135345 h 2907193"/>
                <a:gd name="connsiteX5565" fmla="*/ 3399111 w 4044707"/>
                <a:gd name="connsiteY5565" fmla="*/ 139368 h 2907193"/>
                <a:gd name="connsiteX5566" fmla="*/ 3405464 w 4044707"/>
                <a:gd name="connsiteY5566" fmla="*/ 145782 h 2907193"/>
                <a:gd name="connsiteX5567" fmla="*/ 3406856 w 4044707"/>
                <a:gd name="connsiteY5567" fmla="*/ 151650 h 2907193"/>
                <a:gd name="connsiteX5568" fmla="*/ 3405343 w 4044707"/>
                <a:gd name="connsiteY5568" fmla="*/ 158124 h 2907193"/>
                <a:gd name="connsiteX5569" fmla="*/ 3401773 w 4044707"/>
                <a:gd name="connsiteY5569" fmla="*/ 160000 h 2907193"/>
                <a:gd name="connsiteX5570" fmla="*/ 3397659 w 4044707"/>
                <a:gd name="connsiteY5570" fmla="*/ 158971 h 2907193"/>
                <a:gd name="connsiteX5571" fmla="*/ 3394453 w 4044707"/>
                <a:gd name="connsiteY5571" fmla="*/ 156672 h 2907193"/>
                <a:gd name="connsiteX5572" fmla="*/ 3382715 w 4044707"/>
                <a:gd name="connsiteY5572" fmla="*/ 142182 h 2907193"/>
                <a:gd name="connsiteX5573" fmla="*/ 3380628 w 4044707"/>
                <a:gd name="connsiteY5573" fmla="*/ 140699 h 2907193"/>
                <a:gd name="connsiteX5574" fmla="*/ 3373700 w 4044707"/>
                <a:gd name="connsiteY5574" fmla="*/ 141214 h 2907193"/>
                <a:gd name="connsiteX5575" fmla="*/ 3369828 w 4044707"/>
                <a:gd name="connsiteY5575" fmla="*/ 138884 h 2907193"/>
                <a:gd name="connsiteX5576" fmla="*/ 3368013 w 4044707"/>
                <a:gd name="connsiteY5576" fmla="*/ 138552 h 2907193"/>
                <a:gd name="connsiteX5577" fmla="*/ 3366167 w 4044707"/>
                <a:gd name="connsiteY5577" fmla="*/ 140185 h 2907193"/>
                <a:gd name="connsiteX5578" fmla="*/ 3362144 w 4044707"/>
                <a:gd name="connsiteY5578" fmla="*/ 145449 h 2907193"/>
                <a:gd name="connsiteX5579" fmla="*/ 3360964 w 4044707"/>
                <a:gd name="connsiteY5579" fmla="*/ 147930 h 2907193"/>
                <a:gd name="connsiteX5580" fmla="*/ 3360390 w 4044707"/>
                <a:gd name="connsiteY5580" fmla="*/ 150834 h 2907193"/>
                <a:gd name="connsiteX5581" fmla="*/ 3360329 w 4044707"/>
                <a:gd name="connsiteY5581" fmla="*/ 157640 h 2907193"/>
                <a:gd name="connsiteX5582" fmla="*/ 3359996 w 4044707"/>
                <a:gd name="connsiteY5582" fmla="*/ 160302 h 2907193"/>
                <a:gd name="connsiteX5583" fmla="*/ 3359180 w 4044707"/>
                <a:gd name="connsiteY5583" fmla="*/ 162238 h 2907193"/>
                <a:gd name="connsiteX5584" fmla="*/ 3358332 w 4044707"/>
                <a:gd name="connsiteY5584" fmla="*/ 163025 h 2907193"/>
                <a:gd name="connsiteX5585" fmla="*/ 3357455 w 4044707"/>
                <a:gd name="connsiteY5585" fmla="*/ 163388 h 2907193"/>
                <a:gd name="connsiteX5586" fmla="*/ 3356548 w 4044707"/>
                <a:gd name="connsiteY5586" fmla="*/ 164114 h 2907193"/>
                <a:gd name="connsiteX5587" fmla="*/ 3353764 w 4044707"/>
                <a:gd name="connsiteY5587" fmla="*/ 168077 h 2907193"/>
                <a:gd name="connsiteX5588" fmla="*/ 3343872 w 4044707"/>
                <a:gd name="connsiteY5588" fmla="*/ 178181 h 2907193"/>
                <a:gd name="connsiteX5589" fmla="*/ 3342904 w 4044707"/>
                <a:gd name="connsiteY5589" fmla="*/ 180268 h 2907193"/>
                <a:gd name="connsiteX5590" fmla="*/ 3344114 w 4044707"/>
                <a:gd name="connsiteY5590" fmla="*/ 181206 h 2907193"/>
                <a:gd name="connsiteX5591" fmla="*/ 3355852 w 4044707"/>
                <a:gd name="connsiteY5591" fmla="*/ 185169 h 2907193"/>
                <a:gd name="connsiteX5592" fmla="*/ 3358605 w 4044707"/>
                <a:gd name="connsiteY5592" fmla="*/ 187952 h 2907193"/>
                <a:gd name="connsiteX5593" fmla="*/ 3364292 w 4044707"/>
                <a:gd name="connsiteY5593" fmla="*/ 196453 h 2907193"/>
                <a:gd name="connsiteX5594" fmla="*/ 3367227 w 4044707"/>
                <a:gd name="connsiteY5594" fmla="*/ 198238 h 2907193"/>
                <a:gd name="connsiteX5595" fmla="*/ 3368316 w 4044707"/>
                <a:gd name="connsiteY5595" fmla="*/ 199508 h 2907193"/>
                <a:gd name="connsiteX5596" fmla="*/ 3368527 w 4044707"/>
                <a:gd name="connsiteY5596" fmla="*/ 202049 h 2907193"/>
                <a:gd name="connsiteX5597" fmla="*/ 3367801 w 4044707"/>
                <a:gd name="connsiteY5597" fmla="*/ 203864 h 2907193"/>
                <a:gd name="connsiteX5598" fmla="*/ 3366167 w 4044707"/>
                <a:gd name="connsiteY5598" fmla="*/ 202957 h 2907193"/>
                <a:gd name="connsiteX5599" fmla="*/ 3363869 w 4044707"/>
                <a:gd name="connsiteY5599" fmla="*/ 199962 h 2907193"/>
                <a:gd name="connsiteX5600" fmla="*/ 3362568 w 4044707"/>
                <a:gd name="connsiteY5600" fmla="*/ 198722 h 2907193"/>
                <a:gd name="connsiteX5601" fmla="*/ 3351345 w 4044707"/>
                <a:gd name="connsiteY5601" fmla="*/ 193428 h 2907193"/>
                <a:gd name="connsiteX5602" fmla="*/ 3324330 w 4044707"/>
                <a:gd name="connsiteY5602" fmla="*/ 189132 h 2907193"/>
                <a:gd name="connsiteX5603" fmla="*/ 3316525 w 4044707"/>
                <a:gd name="connsiteY5603" fmla="*/ 192550 h 2907193"/>
                <a:gd name="connsiteX5604" fmla="*/ 3314044 w 4044707"/>
                <a:gd name="connsiteY5604" fmla="*/ 195334 h 2907193"/>
                <a:gd name="connsiteX5605" fmla="*/ 3307541 w 4044707"/>
                <a:gd name="connsiteY5605" fmla="*/ 205922 h 2907193"/>
                <a:gd name="connsiteX5606" fmla="*/ 3296619 w 4044707"/>
                <a:gd name="connsiteY5606" fmla="*/ 216298 h 2907193"/>
                <a:gd name="connsiteX5607" fmla="*/ 3291416 w 4044707"/>
                <a:gd name="connsiteY5607" fmla="*/ 223044 h 2907193"/>
                <a:gd name="connsiteX5608" fmla="*/ 3288543 w 4044707"/>
                <a:gd name="connsiteY5608" fmla="*/ 225736 h 2907193"/>
                <a:gd name="connsiteX5609" fmla="*/ 3285850 w 4044707"/>
                <a:gd name="connsiteY5609" fmla="*/ 226825 h 2907193"/>
                <a:gd name="connsiteX5610" fmla="*/ 3283612 w 4044707"/>
                <a:gd name="connsiteY5610" fmla="*/ 228882 h 2907193"/>
                <a:gd name="connsiteX5611" fmla="*/ 3280496 w 4044707"/>
                <a:gd name="connsiteY5611" fmla="*/ 238593 h 2907193"/>
                <a:gd name="connsiteX5612" fmla="*/ 3278620 w 4044707"/>
                <a:gd name="connsiteY5612" fmla="*/ 241860 h 2907193"/>
                <a:gd name="connsiteX5613" fmla="*/ 3280526 w 4044707"/>
                <a:gd name="connsiteY5613" fmla="*/ 242647 h 2907193"/>
                <a:gd name="connsiteX5614" fmla="*/ 3284731 w 4044707"/>
                <a:gd name="connsiteY5614" fmla="*/ 240317 h 2907193"/>
                <a:gd name="connsiteX5615" fmla="*/ 3286909 w 4044707"/>
                <a:gd name="connsiteY5615" fmla="*/ 239985 h 2907193"/>
                <a:gd name="connsiteX5616" fmla="*/ 3284156 w 4044707"/>
                <a:gd name="connsiteY5616" fmla="*/ 245279 h 2907193"/>
                <a:gd name="connsiteX5617" fmla="*/ 3283490 w 4044707"/>
                <a:gd name="connsiteY5617" fmla="*/ 247487 h 2907193"/>
                <a:gd name="connsiteX5618" fmla="*/ 3293806 w 4044707"/>
                <a:gd name="connsiteY5618" fmla="*/ 245611 h 2907193"/>
                <a:gd name="connsiteX5619" fmla="*/ 3289420 w 4044707"/>
                <a:gd name="connsiteY5619" fmla="*/ 249453 h 2907193"/>
                <a:gd name="connsiteX5620" fmla="*/ 3272176 w 4044707"/>
                <a:gd name="connsiteY5620" fmla="*/ 252751 h 2907193"/>
                <a:gd name="connsiteX5621" fmla="*/ 3263464 w 4044707"/>
                <a:gd name="connsiteY5621" fmla="*/ 258680 h 2907193"/>
                <a:gd name="connsiteX5622" fmla="*/ 3261377 w 4044707"/>
                <a:gd name="connsiteY5622" fmla="*/ 262280 h 2907193"/>
                <a:gd name="connsiteX5623" fmla="*/ 3279316 w 4044707"/>
                <a:gd name="connsiteY5623" fmla="*/ 258952 h 2907193"/>
                <a:gd name="connsiteX5624" fmla="*/ 3282583 w 4044707"/>
                <a:gd name="connsiteY5624" fmla="*/ 259678 h 2907193"/>
                <a:gd name="connsiteX5625" fmla="*/ 3285487 w 4044707"/>
                <a:gd name="connsiteY5625" fmla="*/ 262280 h 2907193"/>
                <a:gd name="connsiteX5626" fmla="*/ 3282795 w 4044707"/>
                <a:gd name="connsiteY5626" fmla="*/ 262280 h 2907193"/>
                <a:gd name="connsiteX5627" fmla="*/ 3282643 w 4044707"/>
                <a:gd name="connsiteY5627" fmla="*/ 264004 h 2907193"/>
                <a:gd name="connsiteX5628" fmla="*/ 3281040 w 4044707"/>
                <a:gd name="connsiteY5628" fmla="*/ 264549 h 2907193"/>
                <a:gd name="connsiteX5629" fmla="*/ 3274022 w 4044707"/>
                <a:gd name="connsiteY5629" fmla="*/ 264882 h 2907193"/>
                <a:gd name="connsiteX5630" fmla="*/ 3270997 w 4044707"/>
                <a:gd name="connsiteY5630" fmla="*/ 266213 h 2907193"/>
                <a:gd name="connsiteX5631" fmla="*/ 3259713 w 4044707"/>
                <a:gd name="connsiteY5631" fmla="*/ 267453 h 2907193"/>
                <a:gd name="connsiteX5632" fmla="*/ 3256506 w 4044707"/>
                <a:gd name="connsiteY5632" fmla="*/ 269964 h 2907193"/>
                <a:gd name="connsiteX5633" fmla="*/ 3260227 w 4044707"/>
                <a:gd name="connsiteY5633" fmla="*/ 274713 h 2907193"/>
                <a:gd name="connsiteX5634" fmla="*/ 3265037 w 4044707"/>
                <a:gd name="connsiteY5634" fmla="*/ 276196 h 2907193"/>
                <a:gd name="connsiteX5635" fmla="*/ 3274445 w 4044707"/>
                <a:gd name="connsiteY5635" fmla="*/ 275560 h 2907193"/>
                <a:gd name="connsiteX5636" fmla="*/ 3272539 w 4044707"/>
                <a:gd name="connsiteY5636" fmla="*/ 279554 h 2907193"/>
                <a:gd name="connsiteX5637" fmla="*/ 3264946 w 4044707"/>
                <a:gd name="connsiteY5637" fmla="*/ 281036 h 2907193"/>
                <a:gd name="connsiteX5638" fmla="*/ 3262073 w 4044707"/>
                <a:gd name="connsiteY5638" fmla="*/ 283184 h 2907193"/>
                <a:gd name="connsiteX5639" fmla="*/ 3264553 w 4044707"/>
                <a:gd name="connsiteY5639" fmla="*/ 285453 h 2907193"/>
                <a:gd name="connsiteX5640" fmla="*/ 3270149 w 4044707"/>
                <a:gd name="connsiteY5640" fmla="*/ 288084 h 2907193"/>
                <a:gd name="connsiteX5641" fmla="*/ 3272449 w 4044707"/>
                <a:gd name="connsiteY5641" fmla="*/ 290656 h 2907193"/>
                <a:gd name="connsiteX5642" fmla="*/ 3270149 w 4044707"/>
                <a:gd name="connsiteY5642" fmla="*/ 295284 h 2907193"/>
                <a:gd name="connsiteX5643" fmla="*/ 3268002 w 4044707"/>
                <a:gd name="connsiteY5643" fmla="*/ 297432 h 2907193"/>
                <a:gd name="connsiteX5644" fmla="*/ 3259743 w 4044707"/>
                <a:gd name="connsiteY5644" fmla="*/ 298430 h 2907193"/>
                <a:gd name="connsiteX5645" fmla="*/ 3258109 w 4044707"/>
                <a:gd name="connsiteY5645" fmla="*/ 299308 h 2907193"/>
                <a:gd name="connsiteX5646" fmla="*/ 3256597 w 4044707"/>
                <a:gd name="connsiteY5646" fmla="*/ 300972 h 2907193"/>
                <a:gd name="connsiteX5647" fmla="*/ 3254933 w 4044707"/>
                <a:gd name="connsiteY5647" fmla="*/ 302242 h 2907193"/>
                <a:gd name="connsiteX5648" fmla="*/ 3251363 w 4044707"/>
                <a:gd name="connsiteY5648" fmla="*/ 302242 h 2907193"/>
                <a:gd name="connsiteX5649" fmla="*/ 3249699 w 4044707"/>
                <a:gd name="connsiteY5649" fmla="*/ 303664 h 2907193"/>
                <a:gd name="connsiteX5650" fmla="*/ 3259471 w 4044707"/>
                <a:gd name="connsiteY5650" fmla="*/ 316127 h 2907193"/>
                <a:gd name="connsiteX5651" fmla="*/ 3261891 w 4044707"/>
                <a:gd name="connsiteY5651" fmla="*/ 317973 h 2907193"/>
                <a:gd name="connsiteX5652" fmla="*/ 3281191 w 4044707"/>
                <a:gd name="connsiteY5652" fmla="*/ 319485 h 2907193"/>
                <a:gd name="connsiteX5653" fmla="*/ 3286304 w 4044707"/>
                <a:gd name="connsiteY5653" fmla="*/ 322208 h 2907193"/>
                <a:gd name="connsiteX5654" fmla="*/ 3284640 w 4044707"/>
                <a:gd name="connsiteY5654" fmla="*/ 324689 h 2907193"/>
                <a:gd name="connsiteX5655" fmla="*/ 3282583 w 4044707"/>
                <a:gd name="connsiteY5655" fmla="*/ 325657 h 2907193"/>
                <a:gd name="connsiteX5656" fmla="*/ 3280828 w 4044707"/>
                <a:gd name="connsiteY5656" fmla="*/ 327048 h 2907193"/>
                <a:gd name="connsiteX5657" fmla="*/ 3280102 w 4044707"/>
                <a:gd name="connsiteY5657" fmla="*/ 330709 h 2907193"/>
                <a:gd name="connsiteX5658" fmla="*/ 3279074 w 4044707"/>
                <a:gd name="connsiteY5658" fmla="*/ 332615 h 2907193"/>
                <a:gd name="connsiteX5659" fmla="*/ 3274385 w 4044707"/>
                <a:gd name="connsiteY5659" fmla="*/ 334702 h 2907193"/>
                <a:gd name="connsiteX5660" fmla="*/ 3265249 w 4044707"/>
                <a:gd name="connsiteY5660" fmla="*/ 342719 h 2907193"/>
                <a:gd name="connsiteX5661" fmla="*/ 3263222 w 4044707"/>
                <a:gd name="connsiteY5661" fmla="*/ 342355 h 2907193"/>
                <a:gd name="connsiteX5662" fmla="*/ 3263222 w 4044707"/>
                <a:gd name="connsiteY5662" fmla="*/ 341206 h 2907193"/>
                <a:gd name="connsiteX5663" fmla="*/ 3265945 w 4044707"/>
                <a:gd name="connsiteY5663" fmla="*/ 336214 h 2907193"/>
                <a:gd name="connsiteX5664" fmla="*/ 3266187 w 4044707"/>
                <a:gd name="connsiteY5664" fmla="*/ 334823 h 2907193"/>
                <a:gd name="connsiteX5665" fmla="*/ 3265763 w 4044707"/>
                <a:gd name="connsiteY5665" fmla="*/ 333885 h 2907193"/>
                <a:gd name="connsiteX5666" fmla="*/ 3264583 w 4044707"/>
                <a:gd name="connsiteY5666" fmla="*/ 332524 h 2907193"/>
                <a:gd name="connsiteX5667" fmla="*/ 3263888 w 4044707"/>
                <a:gd name="connsiteY5667" fmla="*/ 330527 h 2907193"/>
                <a:gd name="connsiteX5668" fmla="*/ 3263706 w 4044707"/>
                <a:gd name="connsiteY5668" fmla="*/ 329741 h 2907193"/>
                <a:gd name="connsiteX5669" fmla="*/ 3262193 w 4044707"/>
                <a:gd name="connsiteY5669" fmla="*/ 329831 h 2907193"/>
                <a:gd name="connsiteX5670" fmla="*/ 3260621 w 4044707"/>
                <a:gd name="connsiteY5670" fmla="*/ 330588 h 2907193"/>
                <a:gd name="connsiteX5671" fmla="*/ 3248096 w 4044707"/>
                <a:gd name="connsiteY5671" fmla="*/ 342023 h 2907193"/>
                <a:gd name="connsiteX5672" fmla="*/ 3244708 w 4044707"/>
                <a:gd name="connsiteY5672" fmla="*/ 343838 h 2907193"/>
                <a:gd name="connsiteX5673" fmla="*/ 3241592 w 4044707"/>
                <a:gd name="connsiteY5673" fmla="*/ 340903 h 2907193"/>
                <a:gd name="connsiteX5674" fmla="*/ 3243135 w 4044707"/>
                <a:gd name="connsiteY5674" fmla="*/ 340359 h 2907193"/>
                <a:gd name="connsiteX5675" fmla="*/ 3244496 w 4044707"/>
                <a:gd name="connsiteY5675" fmla="*/ 339361 h 2907193"/>
                <a:gd name="connsiteX5676" fmla="*/ 3245767 w 4044707"/>
                <a:gd name="connsiteY5676" fmla="*/ 337788 h 2907193"/>
                <a:gd name="connsiteX5677" fmla="*/ 3247068 w 4044707"/>
                <a:gd name="connsiteY5677" fmla="*/ 335367 h 2907193"/>
                <a:gd name="connsiteX5678" fmla="*/ 3244587 w 4044707"/>
                <a:gd name="connsiteY5678" fmla="*/ 332070 h 2907193"/>
                <a:gd name="connsiteX5679" fmla="*/ 3244133 w 4044707"/>
                <a:gd name="connsiteY5679" fmla="*/ 329105 h 2907193"/>
                <a:gd name="connsiteX5680" fmla="*/ 3244587 w 4044707"/>
                <a:gd name="connsiteY5680" fmla="*/ 325324 h 2907193"/>
                <a:gd name="connsiteX5681" fmla="*/ 3244980 w 4044707"/>
                <a:gd name="connsiteY5681" fmla="*/ 319667 h 2907193"/>
                <a:gd name="connsiteX5682" fmla="*/ 3243619 w 4044707"/>
                <a:gd name="connsiteY5682" fmla="*/ 317156 h 2907193"/>
                <a:gd name="connsiteX5683" fmla="*/ 3240594 w 4044707"/>
                <a:gd name="connsiteY5683" fmla="*/ 318094 h 2907193"/>
                <a:gd name="connsiteX5684" fmla="*/ 3237327 w 4044707"/>
                <a:gd name="connsiteY5684" fmla="*/ 320060 h 2907193"/>
                <a:gd name="connsiteX5685" fmla="*/ 3235300 w 4044707"/>
                <a:gd name="connsiteY5685" fmla="*/ 320605 h 2907193"/>
                <a:gd name="connsiteX5686" fmla="*/ 3234090 w 4044707"/>
                <a:gd name="connsiteY5686" fmla="*/ 318517 h 2907193"/>
                <a:gd name="connsiteX5687" fmla="*/ 3233001 w 4044707"/>
                <a:gd name="connsiteY5687" fmla="*/ 315159 h 2907193"/>
                <a:gd name="connsiteX5688" fmla="*/ 3232214 w 4044707"/>
                <a:gd name="connsiteY5688" fmla="*/ 310985 h 2907193"/>
                <a:gd name="connsiteX5689" fmla="*/ 3231912 w 4044707"/>
                <a:gd name="connsiteY5689" fmla="*/ 306568 h 2907193"/>
                <a:gd name="connsiteX5690" fmla="*/ 3232033 w 4044707"/>
                <a:gd name="connsiteY5690" fmla="*/ 301456 h 2907193"/>
                <a:gd name="connsiteX5691" fmla="*/ 3232396 w 4044707"/>
                <a:gd name="connsiteY5691" fmla="*/ 297795 h 2907193"/>
                <a:gd name="connsiteX5692" fmla="*/ 3233999 w 4044707"/>
                <a:gd name="connsiteY5692" fmla="*/ 288901 h 2907193"/>
                <a:gd name="connsiteX5693" fmla="*/ 3229976 w 4044707"/>
                <a:gd name="connsiteY5693" fmla="*/ 289355 h 2907193"/>
                <a:gd name="connsiteX5694" fmla="*/ 3218783 w 4044707"/>
                <a:gd name="connsiteY5694" fmla="*/ 300094 h 2907193"/>
                <a:gd name="connsiteX5695" fmla="*/ 3203354 w 4044707"/>
                <a:gd name="connsiteY5695" fmla="*/ 303029 h 2907193"/>
                <a:gd name="connsiteX5696" fmla="*/ 3196699 w 4044707"/>
                <a:gd name="connsiteY5696" fmla="*/ 308353 h 2907193"/>
                <a:gd name="connsiteX5697" fmla="*/ 3171288 w 4044707"/>
                <a:gd name="connsiteY5697" fmla="*/ 312316 h 2907193"/>
                <a:gd name="connsiteX5698" fmla="*/ 3167658 w 4044707"/>
                <a:gd name="connsiteY5698" fmla="*/ 316400 h 2907193"/>
                <a:gd name="connsiteX5699" fmla="*/ 3164905 w 4044707"/>
                <a:gd name="connsiteY5699" fmla="*/ 317943 h 2907193"/>
                <a:gd name="connsiteX5700" fmla="*/ 3162122 w 4044707"/>
                <a:gd name="connsiteY5700" fmla="*/ 318306 h 2907193"/>
                <a:gd name="connsiteX5701" fmla="*/ 3160186 w 4044707"/>
                <a:gd name="connsiteY5701" fmla="*/ 316975 h 2907193"/>
                <a:gd name="connsiteX5702" fmla="*/ 3171016 w 4044707"/>
                <a:gd name="connsiteY5702" fmla="*/ 310501 h 2907193"/>
                <a:gd name="connsiteX5703" fmla="*/ 3175251 w 4044707"/>
                <a:gd name="connsiteY5703" fmla="*/ 304753 h 2907193"/>
                <a:gd name="connsiteX5704" fmla="*/ 3179456 w 4044707"/>
                <a:gd name="connsiteY5704" fmla="*/ 304208 h 2907193"/>
                <a:gd name="connsiteX5705" fmla="*/ 3187140 w 4044707"/>
                <a:gd name="connsiteY5705" fmla="*/ 305661 h 2907193"/>
                <a:gd name="connsiteX5706" fmla="*/ 3205623 w 4044707"/>
                <a:gd name="connsiteY5706" fmla="*/ 301214 h 2907193"/>
                <a:gd name="connsiteX5707" fmla="*/ 3212460 w 4044707"/>
                <a:gd name="connsiteY5707" fmla="*/ 297160 h 2907193"/>
                <a:gd name="connsiteX5708" fmla="*/ 3215757 w 4044707"/>
                <a:gd name="connsiteY5708" fmla="*/ 296222 h 2907193"/>
                <a:gd name="connsiteX5709" fmla="*/ 3218117 w 4044707"/>
                <a:gd name="connsiteY5709" fmla="*/ 294619 h 2907193"/>
                <a:gd name="connsiteX5710" fmla="*/ 3229220 w 4044707"/>
                <a:gd name="connsiteY5710" fmla="*/ 277406 h 2907193"/>
                <a:gd name="connsiteX5711" fmla="*/ 3229855 w 4044707"/>
                <a:gd name="connsiteY5711" fmla="*/ 274804 h 2907193"/>
                <a:gd name="connsiteX5712" fmla="*/ 3228857 w 4044707"/>
                <a:gd name="connsiteY5712" fmla="*/ 272444 h 2907193"/>
                <a:gd name="connsiteX5713" fmla="*/ 3199512 w 4044707"/>
                <a:gd name="connsiteY5713" fmla="*/ 268149 h 2907193"/>
                <a:gd name="connsiteX5714" fmla="*/ 3192282 w 4044707"/>
                <a:gd name="connsiteY5714" fmla="*/ 269419 h 2907193"/>
                <a:gd name="connsiteX5715" fmla="*/ 3191314 w 4044707"/>
                <a:gd name="connsiteY5715" fmla="*/ 268421 h 2907193"/>
                <a:gd name="connsiteX5716" fmla="*/ 3191950 w 4044707"/>
                <a:gd name="connsiteY5716" fmla="*/ 264488 h 2907193"/>
                <a:gd name="connsiteX5717" fmla="*/ 3190649 w 4044707"/>
                <a:gd name="connsiteY5717" fmla="*/ 262945 h 2907193"/>
                <a:gd name="connsiteX5718" fmla="*/ 3189499 w 4044707"/>
                <a:gd name="connsiteY5718" fmla="*/ 263339 h 2907193"/>
                <a:gd name="connsiteX5719" fmla="*/ 3188440 w 4044707"/>
                <a:gd name="connsiteY5719" fmla="*/ 264186 h 2907193"/>
                <a:gd name="connsiteX5720" fmla="*/ 3187291 w 4044707"/>
                <a:gd name="connsiteY5720" fmla="*/ 263974 h 2907193"/>
                <a:gd name="connsiteX5721" fmla="*/ 3183177 w 4044707"/>
                <a:gd name="connsiteY5721" fmla="*/ 259769 h 2907193"/>
                <a:gd name="connsiteX5722" fmla="*/ 3178639 w 4044707"/>
                <a:gd name="connsiteY5722" fmla="*/ 258075 h 2907193"/>
                <a:gd name="connsiteX5723" fmla="*/ 3175220 w 4044707"/>
                <a:gd name="connsiteY5723" fmla="*/ 257803 h 2907193"/>
                <a:gd name="connsiteX5724" fmla="*/ 3171863 w 4044707"/>
                <a:gd name="connsiteY5724" fmla="*/ 258529 h 2907193"/>
                <a:gd name="connsiteX5725" fmla="*/ 3169140 w 4044707"/>
                <a:gd name="connsiteY5725" fmla="*/ 260767 h 2907193"/>
                <a:gd name="connsiteX5726" fmla="*/ 3169231 w 4044707"/>
                <a:gd name="connsiteY5726" fmla="*/ 261796 h 2907193"/>
                <a:gd name="connsiteX5727" fmla="*/ 3167809 w 4044707"/>
                <a:gd name="connsiteY5727" fmla="*/ 270115 h 2907193"/>
                <a:gd name="connsiteX5728" fmla="*/ 3164966 w 4044707"/>
                <a:gd name="connsiteY5728" fmla="*/ 279886 h 2907193"/>
                <a:gd name="connsiteX5729" fmla="*/ 3164330 w 4044707"/>
                <a:gd name="connsiteY5729" fmla="*/ 283305 h 2907193"/>
                <a:gd name="connsiteX5730" fmla="*/ 3182602 w 4044707"/>
                <a:gd name="connsiteY5730" fmla="*/ 288992 h 2907193"/>
                <a:gd name="connsiteX5731" fmla="*/ 3185506 w 4044707"/>
                <a:gd name="connsiteY5731" fmla="*/ 290958 h 2907193"/>
                <a:gd name="connsiteX5732" fmla="*/ 3187835 w 4044707"/>
                <a:gd name="connsiteY5732" fmla="*/ 294467 h 2907193"/>
                <a:gd name="connsiteX5733" fmla="*/ 3184356 w 4044707"/>
                <a:gd name="connsiteY5733" fmla="*/ 295315 h 2907193"/>
                <a:gd name="connsiteX5734" fmla="*/ 3172286 w 4044707"/>
                <a:gd name="connsiteY5734" fmla="*/ 288901 h 2907193"/>
                <a:gd name="connsiteX5735" fmla="*/ 3159187 w 4044707"/>
                <a:gd name="connsiteY5735" fmla="*/ 292047 h 2907193"/>
                <a:gd name="connsiteX5736" fmla="*/ 3155406 w 4044707"/>
                <a:gd name="connsiteY5736" fmla="*/ 290747 h 2907193"/>
                <a:gd name="connsiteX5737" fmla="*/ 3156616 w 4044707"/>
                <a:gd name="connsiteY5737" fmla="*/ 287903 h 2907193"/>
                <a:gd name="connsiteX5738" fmla="*/ 3159550 w 4044707"/>
                <a:gd name="connsiteY5738" fmla="*/ 285816 h 2907193"/>
                <a:gd name="connsiteX5739" fmla="*/ 3160942 w 4044707"/>
                <a:gd name="connsiteY5739" fmla="*/ 283274 h 2907193"/>
                <a:gd name="connsiteX5740" fmla="*/ 3159913 w 4044707"/>
                <a:gd name="connsiteY5740" fmla="*/ 278464 h 2907193"/>
                <a:gd name="connsiteX5741" fmla="*/ 3159520 w 4044707"/>
                <a:gd name="connsiteY5741" fmla="*/ 273745 h 2907193"/>
                <a:gd name="connsiteX5742" fmla="*/ 3158975 w 4044707"/>
                <a:gd name="connsiteY5742" fmla="*/ 269510 h 2907193"/>
                <a:gd name="connsiteX5743" fmla="*/ 3157493 w 4044707"/>
                <a:gd name="connsiteY5743" fmla="*/ 266334 h 2907193"/>
                <a:gd name="connsiteX5744" fmla="*/ 3159369 w 4044707"/>
                <a:gd name="connsiteY5744" fmla="*/ 263672 h 2907193"/>
                <a:gd name="connsiteX5745" fmla="*/ 3161789 w 4044707"/>
                <a:gd name="connsiteY5745" fmla="*/ 259315 h 2907193"/>
                <a:gd name="connsiteX5746" fmla="*/ 3163271 w 4044707"/>
                <a:gd name="connsiteY5746" fmla="*/ 254505 h 2907193"/>
                <a:gd name="connsiteX5747" fmla="*/ 3162334 w 4044707"/>
                <a:gd name="connsiteY5747" fmla="*/ 250512 h 2907193"/>
                <a:gd name="connsiteX5748" fmla="*/ 3158461 w 4044707"/>
                <a:gd name="connsiteY5748" fmla="*/ 248364 h 2907193"/>
                <a:gd name="connsiteX5749" fmla="*/ 3145725 w 4044707"/>
                <a:gd name="connsiteY5749" fmla="*/ 251359 h 2907193"/>
                <a:gd name="connsiteX5750" fmla="*/ 3146966 w 4044707"/>
                <a:gd name="connsiteY5750" fmla="*/ 258196 h 2907193"/>
                <a:gd name="connsiteX5751" fmla="*/ 3146966 w 4044707"/>
                <a:gd name="connsiteY5751" fmla="*/ 261705 h 2907193"/>
                <a:gd name="connsiteX5752" fmla="*/ 3145725 w 4044707"/>
                <a:gd name="connsiteY5752" fmla="*/ 264458 h 2907193"/>
                <a:gd name="connsiteX5753" fmla="*/ 3143336 w 4044707"/>
                <a:gd name="connsiteY5753" fmla="*/ 265275 h 2907193"/>
                <a:gd name="connsiteX5754" fmla="*/ 3142367 w 4044707"/>
                <a:gd name="connsiteY5754" fmla="*/ 262038 h 2907193"/>
                <a:gd name="connsiteX5755" fmla="*/ 3142277 w 4044707"/>
                <a:gd name="connsiteY5755" fmla="*/ 248697 h 2907193"/>
                <a:gd name="connsiteX5756" fmla="*/ 3142065 w 4044707"/>
                <a:gd name="connsiteY5756" fmla="*/ 245914 h 2907193"/>
                <a:gd name="connsiteX5757" fmla="*/ 3141097 w 4044707"/>
                <a:gd name="connsiteY5757" fmla="*/ 244916 h 2907193"/>
                <a:gd name="connsiteX5758" fmla="*/ 3138768 w 4044707"/>
                <a:gd name="connsiteY5758" fmla="*/ 245793 h 2907193"/>
                <a:gd name="connsiteX5759" fmla="*/ 3132415 w 4044707"/>
                <a:gd name="connsiteY5759" fmla="*/ 250754 h 2907193"/>
                <a:gd name="connsiteX5760" fmla="*/ 3129874 w 4044707"/>
                <a:gd name="connsiteY5760" fmla="*/ 251389 h 2907193"/>
                <a:gd name="connsiteX5761" fmla="*/ 3130630 w 4044707"/>
                <a:gd name="connsiteY5761" fmla="*/ 248243 h 2907193"/>
                <a:gd name="connsiteX5762" fmla="*/ 3133383 w 4044707"/>
                <a:gd name="connsiteY5762" fmla="*/ 244583 h 2907193"/>
                <a:gd name="connsiteX5763" fmla="*/ 3134684 w 4044707"/>
                <a:gd name="connsiteY5763" fmla="*/ 242011 h 2907193"/>
                <a:gd name="connsiteX5764" fmla="*/ 3132505 w 4044707"/>
                <a:gd name="connsiteY5764" fmla="*/ 240287 h 2907193"/>
                <a:gd name="connsiteX5765" fmla="*/ 3130176 w 4044707"/>
                <a:gd name="connsiteY5765" fmla="*/ 240620 h 2907193"/>
                <a:gd name="connsiteX5766" fmla="*/ 3113568 w 4044707"/>
                <a:gd name="connsiteY5766" fmla="*/ 255655 h 2907193"/>
                <a:gd name="connsiteX5767" fmla="*/ 3111935 w 4044707"/>
                <a:gd name="connsiteY5767" fmla="*/ 258771 h 2907193"/>
                <a:gd name="connsiteX5768" fmla="*/ 3112237 w 4044707"/>
                <a:gd name="connsiteY5768" fmla="*/ 263430 h 2907193"/>
                <a:gd name="connsiteX5769" fmla="*/ 3114082 w 4044707"/>
                <a:gd name="connsiteY5769" fmla="*/ 267150 h 2907193"/>
                <a:gd name="connsiteX5770" fmla="*/ 3118711 w 4044707"/>
                <a:gd name="connsiteY5770" fmla="*/ 270055 h 2907193"/>
                <a:gd name="connsiteX5771" fmla="*/ 3120859 w 4044707"/>
                <a:gd name="connsiteY5771" fmla="*/ 272112 h 2907193"/>
                <a:gd name="connsiteX5772" fmla="*/ 3120042 w 4044707"/>
                <a:gd name="connsiteY5772" fmla="*/ 271809 h 2907193"/>
                <a:gd name="connsiteX5773" fmla="*/ 3118983 w 4044707"/>
                <a:gd name="connsiteY5773" fmla="*/ 271809 h 2907193"/>
                <a:gd name="connsiteX5774" fmla="*/ 3118015 w 4044707"/>
                <a:gd name="connsiteY5774" fmla="*/ 272384 h 2907193"/>
                <a:gd name="connsiteX5775" fmla="*/ 3117440 w 4044707"/>
                <a:gd name="connsiteY5775" fmla="*/ 273775 h 2907193"/>
                <a:gd name="connsiteX5776" fmla="*/ 3117289 w 4044707"/>
                <a:gd name="connsiteY5776" fmla="*/ 276044 h 2907193"/>
                <a:gd name="connsiteX5777" fmla="*/ 3117561 w 4044707"/>
                <a:gd name="connsiteY5777" fmla="*/ 276801 h 2907193"/>
                <a:gd name="connsiteX5778" fmla="*/ 3117985 w 4044707"/>
                <a:gd name="connsiteY5778" fmla="*/ 276982 h 2907193"/>
                <a:gd name="connsiteX5779" fmla="*/ 3118197 w 4044707"/>
                <a:gd name="connsiteY5779" fmla="*/ 277496 h 2907193"/>
                <a:gd name="connsiteX5780" fmla="*/ 3118499 w 4044707"/>
                <a:gd name="connsiteY5780" fmla="*/ 280431 h 2907193"/>
                <a:gd name="connsiteX5781" fmla="*/ 3119074 w 4044707"/>
                <a:gd name="connsiteY5781" fmla="*/ 282669 h 2907193"/>
                <a:gd name="connsiteX5782" fmla="*/ 3119376 w 4044707"/>
                <a:gd name="connsiteY5782" fmla="*/ 285150 h 2907193"/>
                <a:gd name="connsiteX5783" fmla="*/ 3118832 w 4044707"/>
                <a:gd name="connsiteY5783" fmla="*/ 288841 h 2907193"/>
                <a:gd name="connsiteX5784" fmla="*/ 3114355 w 4044707"/>
                <a:gd name="connsiteY5784" fmla="*/ 283093 h 2907193"/>
                <a:gd name="connsiteX5785" fmla="*/ 3113326 w 4044707"/>
                <a:gd name="connsiteY5785" fmla="*/ 281248 h 2907193"/>
                <a:gd name="connsiteX5786" fmla="*/ 3112267 w 4044707"/>
                <a:gd name="connsiteY5786" fmla="*/ 277557 h 2907193"/>
                <a:gd name="connsiteX5787" fmla="*/ 3111814 w 4044707"/>
                <a:gd name="connsiteY5787" fmla="*/ 274955 h 2907193"/>
                <a:gd name="connsiteX5788" fmla="*/ 3111057 w 4044707"/>
                <a:gd name="connsiteY5788" fmla="*/ 272686 h 2907193"/>
                <a:gd name="connsiteX5789" fmla="*/ 3102254 w 4044707"/>
                <a:gd name="connsiteY5789" fmla="*/ 260707 h 2907193"/>
                <a:gd name="connsiteX5790" fmla="*/ 3099834 w 4044707"/>
                <a:gd name="connsiteY5790" fmla="*/ 259164 h 2907193"/>
                <a:gd name="connsiteX5791" fmla="*/ 3094873 w 4044707"/>
                <a:gd name="connsiteY5791" fmla="*/ 257561 h 2907193"/>
                <a:gd name="connsiteX5792" fmla="*/ 3092604 w 4044707"/>
                <a:gd name="connsiteY5792" fmla="*/ 255231 h 2907193"/>
                <a:gd name="connsiteX5793" fmla="*/ 3090153 w 4044707"/>
                <a:gd name="connsiteY5793" fmla="*/ 250482 h 2907193"/>
                <a:gd name="connsiteX5794" fmla="*/ 3089942 w 4044707"/>
                <a:gd name="connsiteY5794" fmla="*/ 248939 h 2907193"/>
                <a:gd name="connsiteX5795" fmla="*/ 3089942 w 4044707"/>
                <a:gd name="connsiteY5795" fmla="*/ 244855 h 2907193"/>
                <a:gd name="connsiteX5796" fmla="*/ 3089821 w 4044707"/>
                <a:gd name="connsiteY5796" fmla="*/ 243645 h 2907193"/>
                <a:gd name="connsiteX5797" fmla="*/ 3088369 w 4044707"/>
                <a:gd name="connsiteY5797" fmla="*/ 241769 h 2907193"/>
                <a:gd name="connsiteX5798" fmla="*/ 3086493 w 4044707"/>
                <a:gd name="connsiteY5798" fmla="*/ 241195 h 2907193"/>
                <a:gd name="connsiteX5799" fmla="*/ 3084557 w 4044707"/>
                <a:gd name="connsiteY5799" fmla="*/ 242344 h 2907193"/>
                <a:gd name="connsiteX5800" fmla="*/ 3082954 w 4044707"/>
                <a:gd name="connsiteY5800" fmla="*/ 245702 h 2907193"/>
                <a:gd name="connsiteX5801" fmla="*/ 3082349 w 4044707"/>
                <a:gd name="connsiteY5801" fmla="*/ 248788 h 2907193"/>
                <a:gd name="connsiteX5802" fmla="*/ 3082258 w 4044707"/>
                <a:gd name="connsiteY5802" fmla="*/ 251904 h 2907193"/>
                <a:gd name="connsiteX5803" fmla="*/ 3082318 w 4044707"/>
                <a:gd name="connsiteY5803" fmla="*/ 255201 h 2907193"/>
                <a:gd name="connsiteX5804" fmla="*/ 3082197 w 4044707"/>
                <a:gd name="connsiteY5804" fmla="*/ 258801 h 2907193"/>
                <a:gd name="connsiteX5805" fmla="*/ 3081774 w 4044707"/>
                <a:gd name="connsiteY5805" fmla="*/ 260525 h 2907193"/>
                <a:gd name="connsiteX5806" fmla="*/ 3080413 w 4044707"/>
                <a:gd name="connsiteY5806" fmla="*/ 263399 h 2907193"/>
                <a:gd name="connsiteX5807" fmla="*/ 3080110 w 4044707"/>
                <a:gd name="connsiteY5807" fmla="*/ 265366 h 2907193"/>
                <a:gd name="connsiteX5808" fmla="*/ 3080231 w 4044707"/>
                <a:gd name="connsiteY5808" fmla="*/ 267604 h 2907193"/>
                <a:gd name="connsiteX5809" fmla="*/ 3080382 w 4044707"/>
                <a:gd name="connsiteY5809" fmla="*/ 268602 h 2907193"/>
                <a:gd name="connsiteX5810" fmla="*/ 3080382 w 4044707"/>
                <a:gd name="connsiteY5810" fmla="*/ 269661 h 2907193"/>
                <a:gd name="connsiteX5811" fmla="*/ 3080110 w 4044707"/>
                <a:gd name="connsiteY5811" fmla="*/ 272051 h 2907193"/>
                <a:gd name="connsiteX5812" fmla="*/ 3075603 w 4044707"/>
                <a:gd name="connsiteY5812" fmla="*/ 264035 h 2907193"/>
                <a:gd name="connsiteX5813" fmla="*/ 3074605 w 4044707"/>
                <a:gd name="connsiteY5813" fmla="*/ 260677 h 2907193"/>
                <a:gd name="connsiteX5814" fmla="*/ 3075028 w 4044707"/>
                <a:gd name="connsiteY5814" fmla="*/ 255352 h 2907193"/>
                <a:gd name="connsiteX5815" fmla="*/ 3071791 w 4044707"/>
                <a:gd name="connsiteY5815" fmla="*/ 255957 h 2907193"/>
                <a:gd name="connsiteX5816" fmla="*/ 3064984 w 4044707"/>
                <a:gd name="connsiteY5816" fmla="*/ 260677 h 2907193"/>
                <a:gd name="connsiteX5817" fmla="*/ 3061717 w 4044707"/>
                <a:gd name="connsiteY5817" fmla="*/ 261524 h 2907193"/>
                <a:gd name="connsiteX5818" fmla="*/ 3058026 w 4044707"/>
                <a:gd name="connsiteY5818" fmla="*/ 263823 h 2907193"/>
                <a:gd name="connsiteX5819" fmla="*/ 3054548 w 4044707"/>
                <a:gd name="connsiteY5819" fmla="*/ 267392 h 2907193"/>
                <a:gd name="connsiteX5820" fmla="*/ 3054366 w 4044707"/>
                <a:gd name="connsiteY5820" fmla="*/ 267725 h 2907193"/>
                <a:gd name="connsiteX5821" fmla="*/ 3051886 w 4044707"/>
                <a:gd name="connsiteY5821" fmla="*/ 272051 h 2907193"/>
                <a:gd name="connsiteX5822" fmla="*/ 3052460 w 4044707"/>
                <a:gd name="connsiteY5822" fmla="*/ 272596 h 2907193"/>
                <a:gd name="connsiteX5823" fmla="*/ 3055697 w 4044707"/>
                <a:gd name="connsiteY5823" fmla="*/ 274532 h 2907193"/>
                <a:gd name="connsiteX5824" fmla="*/ 3057089 w 4044707"/>
                <a:gd name="connsiteY5824" fmla="*/ 276528 h 2907193"/>
                <a:gd name="connsiteX5825" fmla="*/ 3058148 w 4044707"/>
                <a:gd name="connsiteY5825" fmla="*/ 279039 h 2907193"/>
                <a:gd name="connsiteX5826" fmla="*/ 3059206 w 4044707"/>
                <a:gd name="connsiteY5826" fmla="*/ 280854 h 2907193"/>
                <a:gd name="connsiteX5827" fmla="*/ 3060507 w 4044707"/>
                <a:gd name="connsiteY5827" fmla="*/ 282185 h 2907193"/>
                <a:gd name="connsiteX5828" fmla="*/ 3062262 w 4044707"/>
                <a:gd name="connsiteY5828" fmla="*/ 283244 h 2907193"/>
                <a:gd name="connsiteX5829" fmla="*/ 3066860 w 4044707"/>
                <a:gd name="connsiteY5829" fmla="*/ 284182 h 2907193"/>
                <a:gd name="connsiteX5830" fmla="*/ 3080776 w 4044707"/>
                <a:gd name="connsiteY5830" fmla="*/ 281217 h 2907193"/>
                <a:gd name="connsiteX5831" fmla="*/ 3079142 w 4044707"/>
                <a:gd name="connsiteY5831" fmla="*/ 283456 h 2907193"/>
                <a:gd name="connsiteX5832" fmla="*/ 3076631 w 4044707"/>
                <a:gd name="connsiteY5832" fmla="*/ 285574 h 2907193"/>
                <a:gd name="connsiteX5833" fmla="*/ 3074756 w 4044707"/>
                <a:gd name="connsiteY5833" fmla="*/ 288115 h 2907193"/>
                <a:gd name="connsiteX5834" fmla="*/ 3074997 w 4044707"/>
                <a:gd name="connsiteY5834" fmla="*/ 291503 h 2907193"/>
                <a:gd name="connsiteX5835" fmla="*/ 3077993 w 4044707"/>
                <a:gd name="connsiteY5835" fmla="*/ 299852 h 2907193"/>
                <a:gd name="connsiteX5836" fmla="*/ 3079354 w 4044707"/>
                <a:gd name="connsiteY5836" fmla="*/ 302000 h 2907193"/>
                <a:gd name="connsiteX5837" fmla="*/ 3082470 w 4044707"/>
                <a:gd name="connsiteY5837" fmla="*/ 303876 h 2907193"/>
                <a:gd name="connsiteX5838" fmla="*/ 3092543 w 4044707"/>
                <a:gd name="connsiteY5838" fmla="*/ 302000 h 2907193"/>
                <a:gd name="connsiteX5839" fmla="*/ 3094328 w 4044707"/>
                <a:gd name="connsiteY5839" fmla="*/ 303150 h 2907193"/>
                <a:gd name="connsiteX5840" fmla="*/ 3100106 w 4044707"/>
                <a:gd name="connsiteY5840" fmla="*/ 311076 h 2907193"/>
                <a:gd name="connsiteX5841" fmla="*/ 3103222 w 4044707"/>
                <a:gd name="connsiteY5841" fmla="*/ 312316 h 2907193"/>
                <a:gd name="connsiteX5842" fmla="*/ 3111844 w 4044707"/>
                <a:gd name="connsiteY5842" fmla="*/ 309412 h 2907193"/>
                <a:gd name="connsiteX5843" fmla="*/ 3113054 w 4044707"/>
                <a:gd name="connsiteY5843" fmla="*/ 308534 h 2907193"/>
                <a:gd name="connsiteX5844" fmla="*/ 3114324 w 4044707"/>
                <a:gd name="connsiteY5844" fmla="*/ 304602 h 2907193"/>
                <a:gd name="connsiteX5845" fmla="*/ 3115293 w 4044707"/>
                <a:gd name="connsiteY5845" fmla="*/ 303694 h 2907193"/>
                <a:gd name="connsiteX5846" fmla="*/ 3127272 w 4044707"/>
                <a:gd name="connsiteY5846" fmla="*/ 305842 h 2907193"/>
                <a:gd name="connsiteX5847" fmla="*/ 3130055 w 4044707"/>
                <a:gd name="connsiteY5847" fmla="*/ 304602 h 2907193"/>
                <a:gd name="connsiteX5848" fmla="*/ 3132264 w 4044707"/>
                <a:gd name="connsiteY5848" fmla="*/ 300972 h 2907193"/>
                <a:gd name="connsiteX5849" fmla="*/ 3133474 w 4044707"/>
                <a:gd name="connsiteY5849" fmla="*/ 300730 h 2907193"/>
                <a:gd name="connsiteX5850" fmla="*/ 3141490 w 4044707"/>
                <a:gd name="connsiteY5850" fmla="*/ 296071 h 2907193"/>
                <a:gd name="connsiteX5851" fmla="*/ 3141006 w 4044707"/>
                <a:gd name="connsiteY5851" fmla="*/ 300306 h 2907193"/>
                <a:gd name="connsiteX5852" fmla="*/ 3139826 w 4044707"/>
                <a:gd name="connsiteY5852" fmla="*/ 302575 h 2907193"/>
                <a:gd name="connsiteX5853" fmla="*/ 3136680 w 4044707"/>
                <a:gd name="connsiteY5853" fmla="*/ 305539 h 2907193"/>
                <a:gd name="connsiteX5854" fmla="*/ 3133565 w 4044707"/>
                <a:gd name="connsiteY5854" fmla="*/ 310380 h 2907193"/>
                <a:gd name="connsiteX5855" fmla="*/ 3131991 w 4044707"/>
                <a:gd name="connsiteY5855" fmla="*/ 312134 h 2907193"/>
                <a:gd name="connsiteX5856" fmla="*/ 3129843 w 4044707"/>
                <a:gd name="connsiteY5856" fmla="*/ 313133 h 2907193"/>
                <a:gd name="connsiteX5857" fmla="*/ 3115262 w 4044707"/>
                <a:gd name="connsiteY5857" fmla="*/ 313798 h 2907193"/>
                <a:gd name="connsiteX5858" fmla="*/ 3111178 w 4044707"/>
                <a:gd name="connsiteY5858" fmla="*/ 318669 h 2907193"/>
                <a:gd name="connsiteX5859" fmla="*/ 3117985 w 4044707"/>
                <a:gd name="connsiteY5859" fmla="*/ 325505 h 2907193"/>
                <a:gd name="connsiteX5860" fmla="*/ 3126546 w 4044707"/>
                <a:gd name="connsiteY5860" fmla="*/ 325415 h 2907193"/>
                <a:gd name="connsiteX5861" fmla="*/ 3142912 w 4044707"/>
                <a:gd name="connsiteY5861" fmla="*/ 320514 h 2907193"/>
                <a:gd name="connsiteX5862" fmla="*/ 3142912 w 4044707"/>
                <a:gd name="connsiteY5862" fmla="*/ 322208 h 2907193"/>
                <a:gd name="connsiteX5863" fmla="*/ 3141309 w 4044707"/>
                <a:gd name="connsiteY5863" fmla="*/ 322117 h 2907193"/>
                <a:gd name="connsiteX5864" fmla="*/ 3138253 w 4044707"/>
                <a:gd name="connsiteY5864" fmla="*/ 323842 h 2907193"/>
                <a:gd name="connsiteX5865" fmla="*/ 3136650 w 4044707"/>
                <a:gd name="connsiteY5865" fmla="*/ 324205 h 2907193"/>
                <a:gd name="connsiteX5866" fmla="*/ 3137406 w 4044707"/>
                <a:gd name="connsiteY5866" fmla="*/ 331525 h 2907193"/>
                <a:gd name="connsiteX5867" fmla="*/ 3137648 w 4044707"/>
                <a:gd name="connsiteY5867" fmla="*/ 340419 h 2907193"/>
                <a:gd name="connsiteX5868" fmla="*/ 3136741 w 4044707"/>
                <a:gd name="connsiteY5868" fmla="*/ 345350 h 2907193"/>
                <a:gd name="connsiteX5869" fmla="*/ 3133958 w 4044707"/>
                <a:gd name="connsiteY5869" fmla="*/ 340813 h 2907193"/>
                <a:gd name="connsiteX5870" fmla="*/ 3134986 w 4044707"/>
                <a:gd name="connsiteY5870" fmla="*/ 335791 h 2907193"/>
                <a:gd name="connsiteX5871" fmla="*/ 3134986 w 4044707"/>
                <a:gd name="connsiteY5871" fmla="*/ 334278 h 2907193"/>
                <a:gd name="connsiteX5872" fmla="*/ 3133897 w 4044707"/>
                <a:gd name="connsiteY5872" fmla="*/ 332645 h 2907193"/>
                <a:gd name="connsiteX5873" fmla="*/ 3132475 w 4044707"/>
                <a:gd name="connsiteY5873" fmla="*/ 332463 h 2907193"/>
                <a:gd name="connsiteX5874" fmla="*/ 3129843 w 4044707"/>
                <a:gd name="connsiteY5874" fmla="*/ 333280 h 2907193"/>
                <a:gd name="connsiteX5875" fmla="*/ 3125457 w 4044707"/>
                <a:gd name="connsiteY5875" fmla="*/ 332584 h 2907193"/>
                <a:gd name="connsiteX5876" fmla="*/ 3124307 w 4044707"/>
                <a:gd name="connsiteY5876" fmla="*/ 333280 h 2907193"/>
                <a:gd name="connsiteX5877" fmla="*/ 3123581 w 4044707"/>
                <a:gd name="connsiteY5877" fmla="*/ 335004 h 2907193"/>
                <a:gd name="connsiteX5878" fmla="*/ 3123793 w 4044707"/>
                <a:gd name="connsiteY5878" fmla="*/ 336335 h 2907193"/>
                <a:gd name="connsiteX5879" fmla="*/ 3124247 w 4044707"/>
                <a:gd name="connsiteY5879" fmla="*/ 337515 h 2907193"/>
                <a:gd name="connsiteX5880" fmla="*/ 3124307 w 4044707"/>
                <a:gd name="connsiteY5880" fmla="*/ 338786 h 2907193"/>
                <a:gd name="connsiteX5881" fmla="*/ 3122795 w 4044707"/>
                <a:gd name="connsiteY5881" fmla="*/ 343505 h 2907193"/>
                <a:gd name="connsiteX5882" fmla="*/ 3122886 w 4044707"/>
                <a:gd name="connsiteY5882" fmla="*/ 345502 h 2907193"/>
                <a:gd name="connsiteX5883" fmla="*/ 3123975 w 4044707"/>
                <a:gd name="connsiteY5883" fmla="*/ 349162 h 2907193"/>
                <a:gd name="connsiteX5884" fmla="*/ 3124429 w 4044707"/>
                <a:gd name="connsiteY5884" fmla="*/ 352853 h 2907193"/>
                <a:gd name="connsiteX5885" fmla="*/ 3124307 w 4044707"/>
                <a:gd name="connsiteY5885" fmla="*/ 357390 h 2907193"/>
                <a:gd name="connsiteX5886" fmla="*/ 3124489 w 4044707"/>
                <a:gd name="connsiteY5886" fmla="*/ 361232 h 2907193"/>
                <a:gd name="connsiteX5887" fmla="*/ 3125790 w 4044707"/>
                <a:gd name="connsiteY5887" fmla="*/ 362866 h 2907193"/>
                <a:gd name="connsiteX5888" fmla="*/ 3130449 w 4044707"/>
                <a:gd name="connsiteY5888" fmla="*/ 364288 h 2907193"/>
                <a:gd name="connsiteX5889" fmla="*/ 3132748 w 4044707"/>
                <a:gd name="connsiteY5889" fmla="*/ 366557 h 2907193"/>
                <a:gd name="connsiteX5890" fmla="*/ 3133353 w 4044707"/>
                <a:gd name="connsiteY5890" fmla="*/ 370338 h 2907193"/>
                <a:gd name="connsiteX5891" fmla="*/ 3131538 w 4044707"/>
                <a:gd name="connsiteY5891" fmla="*/ 373091 h 2907193"/>
                <a:gd name="connsiteX5892" fmla="*/ 3125215 w 4044707"/>
                <a:gd name="connsiteY5892" fmla="*/ 371094 h 2907193"/>
                <a:gd name="connsiteX5893" fmla="*/ 3123037 w 4044707"/>
                <a:gd name="connsiteY5893" fmla="*/ 372183 h 2907193"/>
                <a:gd name="connsiteX5894" fmla="*/ 3132566 w 4044707"/>
                <a:gd name="connsiteY5894" fmla="*/ 379202 h 2907193"/>
                <a:gd name="connsiteX5895" fmla="*/ 3137195 w 4044707"/>
                <a:gd name="connsiteY5895" fmla="*/ 384254 h 2907193"/>
                <a:gd name="connsiteX5896" fmla="*/ 3137467 w 4044707"/>
                <a:gd name="connsiteY5896" fmla="*/ 390516 h 2907193"/>
                <a:gd name="connsiteX5897" fmla="*/ 3140794 w 4044707"/>
                <a:gd name="connsiteY5897" fmla="*/ 393904 h 2907193"/>
                <a:gd name="connsiteX5898" fmla="*/ 3141400 w 4044707"/>
                <a:gd name="connsiteY5898" fmla="*/ 395991 h 2907193"/>
                <a:gd name="connsiteX5899" fmla="*/ 3140189 w 4044707"/>
                <a:gd name="connsiteY5899" fmla="*/ 398744 h 2907193"/>
                <a:gd name="connsiteX5900" fmla="*/ 3137648 w 4044707"/>
                <a:gd name="connsiteY5900" fmla="*/ 400408 h 2907193"/>
                <a:gd name="connsiteX5901" fmla="*/ 3134532 w 4044707"/>
                <a:gd name="connsiteY5901" fmla="*/ 400136 h 2907193"/>
                <a:gd name="connsiteX5902" fmla="*/ 3131538 w 4044707"/>
                <a:gd name="connsiteY5902" fmla="*/ 398532 h 2907193"/>
                <a:gd name="connsiteX5903" fmla="*/ 3129208 w 4044707"/>
                <a:gd name="connsiteY5903" fmla="*/ 395991 h 2907193"/>
                <a:gd name="connsiteX5904" fmla="*/ 3133080 w 4044707"/>
                <a:gd name="connsiteY5904" fmla="*/ 397655 h 2907193"/>
                <a:gd name="connsiteX5905" fmla="*/ 3134956 w 4044707"/>
                <a:gd name="connsiteY5905" fmla="*/ 397806 h 2907193"/>
                <a:gd name="connsiteX5906" fmla="*/ 3136710 w 4044707"/>
                <a:gd name="connsiteY5906" fmla="*/ 395991 h 2907193"/>
                <a:gd name="connsiteX5907" fmla="*/ 3127242 w 4044707"/>
                <a:gd name="connsiteY5907" fmla="*/ 388519 h 2907193"/>
                <a:gd name="connsiteX5908" fmla="*/ 3125729 w 4044707"/>
                <a:gd name="connsiteY5908" fmla="*/ 385978 h 2907193"/>
                <a:gd name="connsiteX5909" fmla="*/ 3124580 w 4044707"/>
                <a:gd name="connsiteY5909" fmla="*/ 380321 h 2907193"/>
                <a:gd name="connsiteX5910" fmla="*/ 3121917 w 4044707"/>
                <a:gd name="connsiteY5910" fmla="*/ 375753 h 2907193"/>
                <a:gd name="connsiteX5911" fmla="*/ 3107125 w 4044707"/>
                <a:gd name="connsiteY5911" fmla="*/ 360325 h 2907193"/>
                <a:gd name="connsiteX5912" fmla="*/ 3099743 w 4044707"/>
                <a:gd name="connsiteY5912" fmla="*/ 358389 h 2907193"/>
                <a:gd name="connsiteX5913" fmla="*/ 3095871 w 4044707"/>
                <a:gd name="connsiteY5913" fmla="*/ 356029 h 2907193"/>
                <a:gd name="connsiteX5914" fmla="*/ 3092120 w 4044707"/>
                <a:gd name="connsiteY5914" fmla="*/ 352520 h 2907193"/>
                <a:gd name="connsiteX5915" fmla="*/ 3089095 w 4044707"/>
                <a:gd name="connsiteY5915" fmla="*/ 348224 h 2907193"/>
                <a:gd name="connsiteX5916" fmla="*/ 3091878 w 4044707"/>
                <a:gd name="connsiteY5916" fmla="*/ 340843 h 2907193"/>
                <a:gd name="connsiteX5917" fmla="*/ 3088187 w 4044707"/>
                <a:gd name="connsiteY5917" fmla="*/ 338120 h 2907193"/>
                <a:gd name="connsiteX5918" fmla="*/ 3086826 w 4044707"/>
                <a:gd name="connsiteY5918" fmla="*/ 335488 h 2907193"/>
                <a:gd name="connsiteX5919" fmla="*/ 3087008 w 4044707"/>
                <a:gd name="connsiteY5919" fmla="*/ 331616 h 2907193"/>
                <a:gd name="connsiteX5920" fmla="*/ 3070369 w 4044707"/>
                <a:gd name="connsiteY5920" fmla="*/ 320907 h 2907193"/>
                <a:gd name="connsiteX5921" fmla="*/ 3064349 w 4044707"/>
                <a:gd name="connsiteY5921" fmla="*/ 320544 h 2907193"/>
                <a:gd name="connsiteX5922" fmla="*/ 3060023 w 4044707"/>
                <a:gd name="connsiteY5922" fmla="*/ 323055 h 2907193"/>
                <a:gd name="connsiteX5923" fmla="*/ 3056333 w 4044707"/>
                <a:gd name="connsiteY5923" fmla="*/ 327956 h 2907193"/>
                <a:gd name="connsiteX5924" fmla="*/ 3053519 w 4044707"/>
                <a:gd name="connsiteY5924" fmla="*/ 335609 h 2907193"/>
                <a:gd name="connsiteX5925" fmla="*/ 3051916 w 4044707"/>
                <a:gd name="connsiteY5925" fmla="*/ 346379 h 2907193"/>
                <a:gd name="connsiteX5926" fmla="*/ 3054759 w 4044707"/>
                <a:gd name="connsiteY5926" fmla="*/ 346379 h 2907193"/>
                <a:gd name="connsiteX5927" fmla="*/ 3058087 w 4044707"/>
                <a:gd name="connsiteY5927" fmla="*/ 347740 h 2907193"/>
                <a:gd name="connsiteX5928" fmla="*/ 3061264 w 4044707"/>
                <a:gd name="connsiteY5928" fmla="*/ 350281 h 2907193"/>
                <a:gd name="connsiteX5929" fmla="*/ 3063683 w 4044707"/>
                <a:gd name="connsiteY5929" fmla="*/ 353760 h 2907193"/>
                <a:gd name="connsiteX5930" fmla="*/ 3051946 w 4044707"/>
                <a:gd name="connsiteY5930" fmla="*/ 353760 h 2907193"/>
                <a:gd name="connsiteX5931" fmla="*/ 3053429 w 4044707"/>
                <a:gd name="connsiteY5931" fmla="*/ 367222 h 2907193"/>
                <a:gd name="connsiteX5932" fmla="*/ 3053338 w 4044707"/>
                <a:gd name="connsiteY5932" fmla="*/ 370459 h 2907193"/>
                <a:gd name="connsiteX5933" fmla="*/ 3051674 w 4044707"/>
                <a:gd name="connsiteY5933" fmla="*/ 374392 h 2907193"/>
                <a:gd name="connsiteX5934" fmla="*/ 3048921 w 4044707"/>
                <a:gd name="connsiteY5934" fmla="*/ 377417 h 2907193"/>
                <a:gd name="connsiteX5935" fmla="*/ 3045986 w 4044707"/>
                <a:gd name="connsiteY5935" fmla="*/ 379262 h 2907193"/>
                <a:gd name="connsiteX5936" fmla="*/ 3043657 w 4044707"/>
                <a:gd name="connsiteY5936" fmla="*/ 379625 h 2907193"/>
                <a:gd name="connsiteX5937" fmla="*/ 3045079 w 4044707"/>
                <a:gd name="connsiteY5937" fmla="*/ 375935 h 2907193"/>
                <a:gd name="connsiteX5938" fmla="*/ 3049072 w 4044707"/>
                <a:gd name="connsiteY5938" fmla="*/ 368009 h 2907193"/>
                <a:gd name="connsiteX5939" fmla="*/ 3049889 w 4044707"/>
                <a:gd name="connsiteY5939" fmla="*/ 363955 h 2907193"/>
                <a:gd name="connsiteX5940" fmla="*/ 3048044 w 4044707"/>
                <a:gd name="connsiteY5940" fmla="*/ 362321 h 2907193"/>
                <a:gd name="connsiteX5941" fmla="*/ 3039452 w 4044707"/>
                <a:gd name="connsiteY5941" fmla="*/ 364893 h 2907193"/>
                <a:gd name="connsiteX5942" fmla="*/ 3036760 w 4044707"/>
                <a:gd name="connsiteY5942" fmla="*/ 366617 h 2907193"/>
                <a:gd name="connsiteX5943" fmla="*/ 3037788 w 4044707"/>
                <a:gd name="connsiteY5943" fmla="*/ 371185 h 2907193"/>
                <a:gd name="connsiteX5944" fmla="*/ 3035792 w 4044707"/>
                <a:gd name="connsiteY5944" fmla="*/ 374059 h 2907193"/>
                <a:gd name="connsiteX5945" fmla="*/ 3032706 w 4044707"/>
                <a:gd name="connsiteY5945" fmla="*/ 375541 h 2907193"/>
                <a:gd name="connsiteX5946" fmla="*/ 3030498 w 4044707"/>
                <a:gd name="connsiteY5946" fmla="*/ 375965 h 2907193"/>
                <a:gd name="connsiteX5947" fmla="*/ 3031345 w 4044707"/>
                <a:gd name="connsiteY5947" fmla="*/ 378899 h 2907193"/>
                <a:gd name="connsiteX5948" fmla="*/ 3034461 w 4044707"/>
                <a:gd name="connsiteY5948" fmla="*/ 381229 h 2907193"/>
                <a:gd name="connsiteX5949" fmla="*/ 3035973 w 4044707"/>
                <a:gd name="connsiteY5949" fmla="*/ 383286 h 2907193"/>
                <a:gd name="connsiteX5950" fmla="*/ 3032918 w 4044707"/>
                <a:gd name="connsiteY5950" fmla="*/ 385827 h 2907193"/>
                <a:gd name="connsiteX5951" fmla="*/ 3030316 w 4044707"/>
                <a:gd name="connsiteY5951" fmla="*/ 384405 h 2907193"/>
                <a:gd name="connsiteX5952" fmla="*/ 3024932 w 4044707"/>
                <a:gd name="connsiteY5952" fmla="*/ 377629 h 2907193"/>
                <a:gd name="connsiteX5953" fmla="*/ 3025416 w 4044707"/>
                <a:gd name="connsiteY5953" fmla="*/ 375783 h 2907193"/>
                <a:gd name="connsiteX5954" fmla="*/ 3025990 w 4044707"/>
                <a:gd name="connsiteY5954" fmla="*/ 374634 h 2907193"/>
                <a:gd name="connsiteX5955" fmla="*/ 3026716 w 4044707"/>
                <a:gd name="connsiteY5955" fmla="*/ 374089 h 2907193"/>
                <a:gd name="connsiteX5956" fmla="*/ 3027715 w 4044707"/>
                <a:gd name="connsiteY5956" fmla="*/ 373968 h 2907193"/>
                <a:gd name="connsiteX5957" fmla="*/ 3026293 w 4044707"/>
                <a:gd name="connsiteY5957" fmla="*/ 370278 h 2907193"/>
                <a:gd name="connsiteX5958" fmla="*/ 3024387 w 4044707"/>
                <a:gd name="connsiteY5958" fmla="*/ 369521 h 2907193"/>
                <a:gd name="connsiteX5959" fmla="*/ 3022209 w 4044707"/>
                <a:gd name="connsiteY5959" fmla="*/ 369582 h 2907193"/>
                <a:gd name="connsiteX5960" fmla="*/ 3020152 w 4044707"/>
                <a:gd name="connsiteY5960" fmla="*/ 368462 h 2907193"/>
                <a:gd name="connsiteX5961" fmla="*/ 3020152 w 4044707"/>
                <a:gd name="connsiteY5961" fmla="*/ 366617 h 2907193"/>
                <a:gd name="connsiteX5962" fmla="*/ 3022663 w 4044707"/>
                <a:gd name="connsiteY5962" fmla="*/ 364711 h 2907193"/>
                <a:gd name="connsiteX5963" fmla="*/ 3029046 w 4044707"/>
                <a:gd name="connsiteY5963" fmla="*/ 354698 h 2907193"/>
                <a:gd name="connsiteX5964" fmla="*/ 3040118 w 4044707"/>
                <a:gd name="connsiteY5964" fmla="*/ 344413 h 2907193"/>
                <a:gd name="connsiteX5965" fmla="*/ 3040118 w 4044707"/>
                <a:gd name="connsiteY5965" fmla="*/ 342749 h 2907193"/>
                <a:gd name="connsiteX5966" fmla="*/ 3036034 w 4044707"/>
                <a:gd name="connsiteY5966" fmla="*/ 343747 h 2907193"/>
                <a:gd name="connsiteX5967" fmla="*/ 3013648 w 4044707"/>
                <a:gd name="connsiteY5967" fmla="*/ 360355 h 2907193"/>
                <a:gd name="connsiteX5968" fmla="*/ 3009836 w 4044707"/>
                <a:gd name="connsiteY5968" fmla="*/ 361293 h 2907193"/>
                <a:gd name="connsiteX5969" fmla="*/ 3010683 w 4044707"/>
                <a:gd name="connsiteY5969" fmla="*/ 364832 h 2907193"/>
                <a:gd name="connsiteX5970" fmla="*/ 3012135 w 4044707"/>
                <a:gd name="connsiteY5970" fmla="*/ 368160 h 2907193"/>
                <a:gd name="connsiteX5971" fmla="*/ 3013224 w 4044707"/>
                <a:gd name="connsiteY5971" fmla="*/ 371488 h 2907193"/>
                <a:gd name="connsiteX5972" fmla="*/ 3012952 w 4044707"/>
                <a:gd name="connsiteY5972" fmla="*/ 374967 h 2907193"/>
                <a:gd name="connsiteX5973" fmla="*/ 3011077 w 4044707"/>
                <a:gd name="connsiteY5973" fmla="*/ 379444 h 2907193"/>
                <a:gd name="connsiteX5974" fmla="*/ 3009201 w 4044707"/>
                <a:gd name="connsiteY5974" fmla="*/ 382197 h 2907193"/>
                <a:gd name="connsiteX5975" fmla="*/ 2994892 w 4044707"/>
                <a:gd name="connsiteY5975" fmla="*/ 390002 h 2907193"/>
                <a:gd name="connsiteX5976" fmla="*/ 2981702 w 4044707"/>
                <a:gd name="connsiteY5976" fmla="*/ 390849 h 2907193"/>
                <a:gd name="connsiteX5977" fmla="*/ 2978738 w 4044707"/>
                <a:gd name="connsiteY5977" fmla="*/ 392452 h 2907193"/>
                <a:gd name="connsiteX5978" fmla="*/ 2978738 w 4044707"/>
                <a:gd name="connsiteY5978" fmla="*/ 394448 h 2907193"/>
                <a:gd name="connsiteX5979" fmla="*/ 2981854 w 4044707"/>
                <a:gd name="connsiteY5979" fmla="*/ 396385 h 2907193"/>
                <a:gd name="connsiteX5980" fmla="*/ 2984032 w 4044707"/>
                <a:gd name="connsiteY5980" fmla="*/ 401285 h 2907193"/>
                <a:gd name="connsiteX5981" fmla="*/ 2984697 w 4044707"/>
                <a:gd name="connsiteY5981" fmla="*/ 407971 h 2907193"/>
                <a:gd name="connsiteX5982" fmla="*/ 2983215 w 4044707"/>
                <a:gd name="connsiteY5982" fmla="*/ 415322 h 2907193"/>
                <a:gd name="connsiteX5983" fmla="*/ 2979313 w 4044707"/>
                <a:gd name="connsiteY5983" fmla="*/ 423157 h 2907193"/>
                <a:gd name="connsiteX5984" fmla="*/ 2978707 w 4044707"/>
                <a:gd name="connsiteY5984" fmla="*/ 426212 h 2907193"/>
                <a:gd name="connsiteX5985" fmla="*/ 2979705 w 4044707"/>
                <a:gd name="connsiteY5985" fmla="*/ 428754 h 2907193"/>
                <a:gd name="connsiteX5986" fmla="*/ 2984516 w 4044707"/>
                <a:gd name="connsiteY5986" fmla="*/ 433261 h 2907193"/>
                <a:gd name="connsiteX5987" fmla="*/ 2993198 w 4044707"/>
                <a:gd name="connsiteY5987" fmla="*/ 437496 h 2907193"/>
                <a:gd name="connsiteX5988" fmla="*/ 2995285 w 4044707"/>
                <a:gd name="connsiteY5988" fmla="*/ 439916 h 2907193"/>
                <a:gd name="connsiteX5989" fmla="*/ 2996404 w 4044707"/>
                <a:gd name="connsiteY5989" fmla="*/ 442215 h 2907193"/>
                <a:gd name="connsiteX5990" fmla="*/ 2999036 w 4044707"/>
                <a:gd name="connsiteY5990" fmla="*/ 449869 h 2907193"/>
                <a:gd name="connsiteX5991" fmla="*/ 3002424 w 4044707"/>
                <a:gd name="connsiteY5991" fmla="*/ 455012 h 2907193"/>
                <a:gd name="connsiteX5992" fmla="*/ 3011863 w 4044707"/>
                <a:gd name="connsiteY5992" fmla="*/ 459761 h 2907193"/>
                <a:gd name="connsiteX5993" fmla="*/ 3015977 w 4044707"/>
                <a:gd name="connsiteY5993" fmla="*/ 463603 h 2907193"/>
                <a:gd name="connsiteX5994" fmla="*/ 3014374 w 4044707"/>
                <a:gd name="connsiteY5994" fmla="*/ 465116 h 2907193"/>
                <a:gd name="connsiteX5995" fmla="*/ 3012952 w 4044707"/>
                <a:gd name="connsiteY5995" fmla="*/ 464027 h 2907193"/>
                <a:gd name="connsiteX5996" fmla="*/ 3011469 w 4044707"/>
                <a:gd name="connsiteY5996" fmla="*/ 461818 h 2907193"/>
                <a:gd name="connsiteX5997" fmla="*/ 3009776 w 4044707"/>
                <a:gd name="connsiteY5997" fmla="*/ 460003 h 2907193"/>
                <a:gd name="connsiteX5998" fmla="*/ 2995224 w 4044707"/>
                <a:gd name="connsiteY5998" fmla="*/ 456948 h 2907193"/>
                <a:gd name="connsiteX5999" fmla="*/ 2987571 w 4044707"/>
                <a:gd name="connsiteY5999" fmla="*/ 450686 h 2907193"/>
                <a:gd name="connsiteX6000" fmla="*/ 2982943 w 4044707"/>
                <a:gd name="connsiteY6000" fmla="*/ 445452 h 2907193"/>
                <a:gd name="connsiteX6001" fmla="*/ 2981611 w 4044707"/>
                <a:gd name="connsiteY6001" fmla="*/ 443426 h 2907193"/>
                <a:gd name="connsiteX6002" fmla="*/ 2980190 w 4044707"/>
                <a:gd name="connsiteY6002" fmla="*/ 441973 h 2907193"/>
                <a:gd name="connsiteX6003" fmla="*/ 2978677 w 4044707"/>
                <a:gd name="connsiteY6003" fmla="*/ 441913 h 2907193"/>
                <a:gd name="connsiteX6004" fmla="*/ 2977709 w 4044707"/>
                <a:gd name="connsiteY6004" fmla="*/ 443093 h 2907193"/>
                <a:gd name="connsiteX6005" fmla="*/ 2976560 w 4044707"/>
                <a:gd name="connsiteY6005" fmla="*/ 445301 h 2907193"/>
                <a:gd name="connsiteX6006" fmla="*/ 2975622 w 4044707"/>
                <a:gd name="connsiteY6006" fmla="*/ 447782 h 2907193"/>
                <a:gd name="connsiteX6007" fmla="*/ 2975228 w 4044707"/>
                <a:gd name="connsiteY6007" fmla="*/ 449899 h 2907193"/>
                <a:gd name="connsiteX6008" fmla="*/ 2974502 w 4044707"/>
                <a:gd name="connsiteY6008" fmla="*/ 456524 h 2907193"/>
                <a:gd name="connsiteX6009" fmla="*/ 2972657 w 4044707"/>
                <a:gd name="connsiteY6009" fmla="*/ 460729 h 2907193"/>
                <a:gd name="connsiteX6010" fmla="*/ 2967665 w 4044707"/>
                <a:gd name="connsiteY6010" fmla="*/ 467233 h 2907193"/>
                <a:gd name="connsiteX6011" fmla="*/ 2965760 w 4044707"/>
                <a:gd name="connsiteY6011" fmla="*/ 470985 h 2907193"/>
                <a:gd name="connsiteX6012" fmla="*/ 2957985 w 4044707"/>
                <a:gd name="connsiteY6012" fmla="*/ 490951 h 2907193"/>
                <a:gd name="connsiteX6013" fmla="*/ 2956957 w 4044707"/>
                <a:gd name="connsiteY6013" fmla="*/ 492161 h 2907193"/>
                <a:gd name="connsiteX6014" fmla="*/ 2952782 w 4044707"/>
                <a:gd name="connsiteY6014" fmla="*/ 493038 h 2907193"/>
                <a:gd name="connsiteX6015" fmla="*/ 2937202 w 4044707"/>
                <a:gd name="connsiteY6015" fmla="*/ 505713 h 2907193"/>
                <a:gd name="connsiteX6016" fmla="*/ 2934873 w 4044707"/>
                <a:gd name="connsiteY6016" fmla="*/ 509434 h 2907193"/>
                <a:gd name="connsiteX6017" fmla="*/ 2932907 w 4044707"/>
                <a:gd name="connsiteY6017" fmla="*/ 513942 h 2907193"/>
                <a:gd name="connsiteX6018" fmla="*/ 2930154 w 4044707"/>
                <a:gd name="connsiteY6018" fmla="*/ 518903 h 2907193"/>
                <a:gd name="connsiteX6019" fmla="*/ 2927280 w 4044707"/>
                <a:gd name="connsiteY6019" fmla="*/ 522957 h 2907193"/>
                <a:gd name="connsiteX6020" fmla="*/ 2924890 w 4044707"/>
                <a:gd name="connsiteY6020" fmla="*/ 524802 h 2907193"/>
                <a:gd name="connsiteX6021" fmla="*/ 2921744 w 4044707"/>
                <a:gd name="connsiteY6021" fmla="*/ 523199 h 2907193"/>
                <a:gd name="connsiteX6022" fmla="*/ 2923801 w 4044707"/>
                <a:gd name="connsiteY6022" fmla="*/ 518207 h 2907193"/>
                <a:gd name="connsiteX6023" fmla="*/ 2930396 w 4044707"/>
                <a:gd name="connsiteY6023" fmla="*/ 508557 h 2907193"/>
                <a:gd name="connsiteX6024" fmla="*/ 2929851 w 4044707"/>
                <a:gd name="connsiteY6024" fmla="*/ 507801 h 2907193"/>
                <a:gd name="connsiteX6025" fmla="*/ 2928853 w 4044707"/>
                <a:gd name="connsiteY6025" fmla="*/ 505774 h 2907193"/>
                <a:gd name="connsiteX6026" fmla="*/ 2928339 w 4044707"/>
                <a:gd name="connsiteY6026" fmla="*/ 504987 h 2907193"/>
                <a:gd name="connsiteX6027" fmla="*/ 2930154 w 4044707"/>
                <a:gd name="connsiteY6027" fmla="*/ 502507 h 2907193"/>
                <a:gd name="connsiteX6028" fmla="*/ 2935932 w 4044707"/>
                <a:gd name="connsiteY6028" fmla="*/ 499633 h 2907193"/>
                <a:gd name="connsiteX6029" fmla="*/ 2941801 w 4044707"/>
                <a:gd name="connsiteY6029" fmla="*/ 493461 h 2907193"/>
                <a:gd name="connsiteX6030" fmla="*/ 2947125 w 4044707"/>
                <a:gd name="connsiteY6030" fmla="*/ 490618 h 2907193"/>
                <a:gd name="connsiteX6031" fmla="*/ 2949394 w 4044707"/>
                <a:gd name="connsiteY6031" fmla="*/ 485475 h 2907193"/>
                <a:gd name="connsiteX6032" fmla="*/ 2950937 w 4044707"/>
                <a:gd name="connsiteY6032" fmla="*/ 478457 h 2907193"/>
                <a:gd name="connsiteX6033" fmla="*/ 2951814 w 4044707"/>
                <a:gd name="connsiteY6033" fmla="*/ 470864 h 2907193"/>
                <a:gd name="connsiteX6034" fmla="*/ 2954446 w 4044707"/>
                <a:gd name="connsiteY6034" fmla="*/ 473193 h 2907193"/>
                <a:gd name="connsiteX6035" fmla="*/ 2956957 w 4044707"/>
                <a:gd name="connsiteY6035" fmla="*/ 471015 h 2907193"/>
                <a:gd name="connsiteX6036" fmla="*/ 2958137 w 4044707"/>
                <a:gd name="connsiteY6036" fmla="*/ 466507 h 2907193"/>
                <a:gd name="connsiteX6037" fmla="*/ 2956684 w 4044707"/>
                <a:gd name="connsiteY6037" fmla="*/ 461849 h 2907193"/>
                <a:gd name="connsiteX6038" fmla="*/ 2957229 w 4044707"/>
                <a:gd name="connsiteY6038" fmla="*/ 458007 h 2907193"/>
                <a:gd name="connsiteX6039" fmla="*/ 2958046 w 4044707"/>
                <a:gd name="connsiteY6039" fmla="*/ 454921 h 2907193"/>
                <a:gd name="connsiteX6040" fmla="*/ 2959195 w 4044707"/>
                <a:gd name="connsiteY6040" fmla="*/ 452561 h 2907193"/>
                <a:gd name="connsiteX6041" fmla="*/ 2960738 w 4044707"/>
                <a:gd name="connsiteY6041" fmla="*/ 450867 h 2907193"/>
                <a:gd name="connsiteX6042" fmla="*/ 2957683 w 4044707"/>
                <a:gd name="connsiteY6042" fmla="*/ 446572 h 2907193"/>
                <a:gd name="connsiteX6043" fmla="*/ 2959407 w 4044707"/>
                <a:gd name="connsiteY6043" fmla="*/ 443153 h 2907193"/>
                <a:gd name="connsiteX6044" fmla="*/ 2963309 w 4044707"/>
                <a:gd name="connsiteY6044" fmla="*/ 440854 h 2907193"/>
                <a:gd name="connsiteX6045" fmla="*/ 2966909 w 4044707"/>
                <a:gd name="connsiteY6045" fmla="*/ 440037 h 2907193"/>
                <a:gd name="connsiteX6046" fmla="*/ 2967968 w 4044707"/>
                <a:gd name="connsiteY6046" fmla="*/ 439009 h 2907193"/>
                <a:gd name="connsiteX6047" fmla="*/ 2968573 w 4044707"/>
                <a:gd name="connsiteY6047" fmla="*/ 436468 h 2907193"/>
                <a:gd name="connsiteX6048" fmla="*/ 2968876 w 4044707"/>
                <a:gd name="connsiteY6048" fmla="*/ 433201 h 2907193"/>
                <a:gd name="connsiteX6049" fmla="*/ 2968966 w 4044707"/>
                <a:gd name="connsiteY6049" fmla="*/ 430054 h 2907193"/>
                <a:gd name="connsiteX6050" fmla="*/ 2968634 w 4044707"/>
                <a:gd name="connsiteY6050" fmla="*/ 426908 h 2907193"/>
                <a:gd name="connsiteX6051" fmla="*/ 2967847 w 4044707"/>
                <a:gd name="connsiteY6051" fmla="*/ 424912 h 2907193"/>
                <a:gd name="connsiteX6052" fmla="*/ 2963309 w 4044707"/>
                <a:gd name="connsiteY6052" fmla="*/ 419285 h 2907193"/>
                <a:gd name="connsiteX6053" fmla="*/ 2962583 w 4044707"/>
                <a:gd name="connsiteY6053" fmla="*/ 417712 h 2907193"/>
                <a:gd name="connsiteX6054" fmla="*/ 2962130 w 4044707"/>
                <a:gd name="connsiteY6054" fmla="*/ 414414 h 2907193"/>
                <a:gd name="connsiteX6055" fmla="*/ 2962432 w 4044707"/>
                <a:gd name="connsiteY6055" fmla="*/ 413204 h 2907193"/>
                <a:gd name="connsiteX6056" fmla="*/ 2963854 w 4044707"/>
                <a:gd name="connsiteY6056" fmla="*/ 402677 h 2907193"/>
                <a:gd name="connsiteX6057" fmla="*/ 2964550 w 4044707"/>
                <a:gd name="connsiteY6057" fmla="*/ 400529 h 2907193"/>
                <a:gd name="connsiteX6058" fmla="*/ 2965306 w 4044707"/>
                <a:gd name="connsiteY6058" fmla="*/ 397474 h 2907193"/>
                <a:gd name="connsiteX6059" fmla="*/ 2965911 w 4044707"/>
                <a:gd name="connsiteY6059" fmla="*/ 394267 h 2907193"/>
                <a:gd name="connsiteX6060" fmla="*/ 2966153 w 4044707"/>
                <a:gd name="connsiteY6060" fmla="*/ 391665 h 2907193"/>
                <a:gd name="connsiteX6061" fmla="*/ 2966637 w 4044707"/>
                <a:gd name="connsiteY6061" fmla="*/ 388519 h 2907193"/>
                <a:gd name="connsiteX6062" fmla="*/ 2967726 w 4044707"/>
                <a:gd name="connsiteY6062" fmla="*/ 385827 h 2907193"/>
                <a:gd name="connsiteX6063" fmla="*/ 2968906 w 4044707"/>
                <a:gd name="connsiteY6063" fmla="*/ 383528 h 2907193"/>
                <a:gd name="connsiteX6064" fmla="*/ 2969632 w 4044707"/>
                <a:gd name="connsiteY6064" fmla="*/ 381592 h 2907193"/>
                <a:gd name="connsiteX6065" fmla="*/ 2969874 w 4044707"/>
                <a:gd name="connsiteY6065" fmla="*/ 379232 h 2907193"/>
                <a:gd name="connsiteX6066" fmla="*/ 2969934 w 4044707"/>
                <a:gd name="connsiteY6066" fmla="*/ 373635 h 2907193"/>
                <a:gd name="connsiteX6067" fmla="*/ 2970237 w 4044707"/>
                <a:gd name="connsiteY6067" fmla="*/ 370580 h 2907193"/>
                <a:gd name="connsiteX6068" fmla="*/ 2971205 w 4044707"/>
                <a:gd name="connsiteY6068" fmla="*/ 367343 h 2907193"/>
                <a:gd name="connsiteX6069" fmla="*/ 2972294 w 4044707"/>
                <a:gd name="connsiteY6069" fmla="*/ 364742 h 2907193"/>
                <a:gd name="connsiteX6070" fmla="*/ 2972808 w 4044707"/>
                <a:gd name="connsiteY6070" fmla="*/ 362049 h 2907193"/>
                <a:gd name="connsiteX6071" fmla="*/ 2971992 w 4044707"/>
                <a:gd name="connsiteY6071" fmla="*/ 358510 h 2907193"/>
                <a:gd name="connsiteX6072" fmla="*/ 2961706 w 4044707"/>
                <a:gd name="connsiteY6072" fmla="*/ 338725 h 2907193"/>
                <a:gd name="connsiteX6073" fmla="*/ 2959437 w 4044707"/>
                <a:gd name="connsiteY6073" fmla="*/ 336789 h 2907193"/>
                <a:gd name="connsiteX6074" fmla="*/ 2957199 w 4044707"/>
                <a:gd name="connsiteY6074" fmla="*/ 337636 h 2907193"/>
                <a:gd name="connsiteX6075" fmla="*/ 2953750 w 4044707"/>
                <a:gd name="connsiteY6075" fmla="*/ 343596 h 2907193"/>
                <a:gd name="connsiteX6076" fmla="*/ 2950906 w 4044707"/>
                <a:gd name="connsiteY6076" fmla="*/ 347347 h 2907193"/>
                <a:gd name="connsiteX6077" fmla="*/ 2950331 w 4044707"/>
                <a:gd name="connsiteY6077" fmla="*/ 349404 h 2907193"/>
                <a:gd name="connsiteX6078" fmla="*/ 2951027 w 4044707"/>
                <a:gd name="connsiteY6078" fmla="*/ 361444 h 2907193"/>
                <a:gd name="connsiteX6079" fmla="*/ 2950876 w 4044707"/>
                <a:gd name="connsiteY6079" fmla="*/ 366980 h 2907193"/>
                <a:gd name="connsiteX6080" fmla="*/ 2950392 w 4044707"/>
                <a:gd name="connsiteY6080" fmla="*/ 366980 h 2907193"/>
                <a:gd name="connsiteX6081" fmla="*/ 2949454 w 4044707"/>
                <a:gd name="connsiteY6081" fmla="*/ 364621 h 2907193"/>
                <a:gd name="connsiteX6082" fmla="*/ 2947941 w 4044707"/>
                <a:gd name="connsiteY6082" fmla="*/ 363138 h 2907193"/>
                <a:gd name="connsiteX6083" fmla="*/ 2947185 w 4044707"/>
                <a:gd name="connsiteY6083" fmla="*/ 361202 h 2907193"/>
                <a:gd name="connsiteX6084" fmla="*/ 2946943 w 4044707"/>
                <a:gd name="connsiteY6084" fmla="*/ 356937 h 2907193"/>
                <a:gd name="connsiteX6085" fmla="*/ 2946883 w 4044707"/>
                <a:gd name="connsiteY6085" fmla="*/ 350402 h 2907193"/>
                <a:gd name="connsiteX6086" fmla="*/ 2947125 w 4044707"/>
                <a:gd name="connsiteY6086" fmla="*/ 348648 h 2907193"/>
                <a:gd name="connsiteX6087" fmla="*/ 2947125 w 4044707"/>
                <a:gd name="connsiteY6087" fmla="*/ 347649 h 2907193"/>
                <a:gd name="connsiteX6088" fmla="*/ 2946883 w 4044707"/>
                <a:gd name="connsiteY6088" fmla="*/ 344564 h 2907193"/>
                <a:gd name="connsiteX6089" fmla="*/ 2945552 w 4044707"/>
                <a:gd name="connsiteY6089" fmla="*/ 346530 h 2907193"/>
                <a:gd name="connsiteX6090" fmla="*/ 2944463 w 4044707"/>
                <a:gd name="connsiteY6090" fmla="*/ 349949 h 2907193"/>
                <a:gd name="connsiteX6091" fmla="*/ 2941558 w 4044707"/>
                <a:gd name="connsiteY6091" fmla="*/ 361747 h 2907193"/>
                <a:gd name="connsiteX6092" fmla="*/ 2937898 w 4044707"/>
                <a:gd name="connsiteY6092" fmla="*/ 370610 h 2907193"/>
                <a:gd name="connsiteX6093" fmla="*/ 2933421 w 4044707"/>
                <a:gd name="connsiteY6093" fmla="*/ 385373 h 2907193"/>
                <a:gd name="connsiteX6094" fmla="*/ 2930698 w 4044707"/>
                <a:gd name="connsiteY6094" fmla="*/ 391212 h 2907193"/>
                <a:gd name="connsiteX6095" fmla="*/ 2926796 w 4044707"/>
                <a:gd name="connsiteY6095" fmla="*/ 392573 h 2907193"/>
                <a:gd name="connsiteX6096" fmla="*/ 2928278 w 4044707"/>
                <a:gd name="connsiteY6096" fmla="*/ 383679 h 2907193"/>
                <a:gd name="connsiteX6097" fmla="*/ 2930244 w 4044707"/>
                <a:gd name="connsiteY6097" fmla="*/ 377145 h 2907193"/>
                <a:gd name="connsiteX6098" fmla="*/ 2930880 w 4044707"/>
                <a:gd name="connsiteY6098" fmla="*/ 373454 h 2907193"/>
                <a:gd name="connsiteX6099" fmla="*/ 2930577 w 4044707"/>
                <a:gd name="connsiteY6099" fmla="*/ 371306 h 2907193"/>
                <a:gd name="connsiteX6100" fmla="*/ 2928853 w 4044707"/>
                <a:gd name="connsiteY6100" fmla="*/ 372456 h 2907193"/>
                <a:gd name="connsiteX6101" fmla="*/ 2927734 w 4044707"/>
                <a:gd name="connsiteY6101" fmla="*/ 374604 h 2907193"/>
                <a:gd name="connsiteX6102" fmla="*/ 2924376 w 4044707"/>
                <a:gd name="connsiteY6102" fmla="*/ 384344 h 2907193"/>
                <a:gd name="connsiteX6103" fmla="*/ 2922682 w 4044707"/>
                <a:gd name="connsiteY6103" fmla="*/ 387037 h 2907193"/>
                <a:gd name="connsiteX6104" fmla="*/ 2918840 w 4044707"/>
                <a:gd name="connsiteY6104" fmla="*/ 389517 h 2907193"/>
                <a:gd name="connsiteX6105" fmla="*/ 2917115 w 4044707"/>
                <a:gd name="connsiteY6105" fmla="*/ 392573 h 2907193"/>
                <a:gd name="connsiteX6106" fmla="*/ 2917690 w 4044707"/>
                <a:gd name="connsiteY6106" fmla="*/ 397685 h 2907193"/>
                <a:gd name="connsiteX6107" fmla="*/ 2915905 w 4044707"/>
                <a:gd name="connsiteY6107" fmla="*/ 400741 h 2907193"/>
                <a:gd name="connsiteX6108" fmla="*/ 2913516 w 4044707"/>
                <a:gd name="connsiteY6108" fmla="*/ 403131 h 2907193"/>
                <a:gd name="connsiteX6109" fmla="*/ 2912306 w 4044707"/>
                <a:gd name="connsiteY6109" fmla="*/ 406337 h 2907193"/>
                <a:gd name="connsiteX6110" fmla="*/ 2912124 w 4044707"/>
                <a:gd name="connsiteY6110" fmla="*/ 412539 h 2907193"/>
                <a:gd name="connsiteX6111" fmla="*/ 2912306 w 4044707"/>
                <a:gd name="connsiteY6111" fmla="*/ 414445 h 2907193"/>
                <a:gd name="connsiteX6112" fmla="*/ 2912789 w 4044707"/>
                <a:gd name="connsiteY6112" fmla="*/ 416593 h 2907193"/>
                <a:gd name="connsiteX6113" fmla="*/ 2914121 w 4044707"/>
                <a:gd name="connsiteY6113" fmla="*/ 420253 h 2907193"/>
                <a:gd name="connsiteX6114" fmla="*/ 2914362 w 4044707"/>
                <a:gd name="connsiteY6114" fmla="*/ 422734 h 2907193"/>
                <a:gd name="connsiteX6115" fmla="*/ 2915633 w 4044707"/>
                <a:gd name="connsiteY6115" fmla="*/ 428905 h 2907193"/>
                <a:gd name="connsiteX6116" fmla="*/ 2918749 w 4044707"/>
                <a:gd name="connsiteY6116" fmla="*/ 431174 h 2907193"/>
                <a:gd name="connsiteX6117" fmla="*/ 2922409 w 4044707"/>
                <a:gd name="connsiteY6117" fmla="*/ 431990 h 2907193"/>
                <a:gd name="connsiteX6118" fmla="*/ 2925404 w 4044707"/>
                <a:gd name="connsiteY6118" fmla="*/ 433715 h 2907193"/>
                <a:gd name="connsiteX6119" fmla="*/ 2928883 w 4044707"/>
                <a:gd name="connsiteY6119" fmla="*/ 436982 h 2907193"/>
                <a:gd name="connsiteX6120" fmla="*/ 2933149 w 4044707"/>
                <a:gd name="connsiteY6120" fmla="*/ 439251 h 2907193"/>
                <a:gd name="connsiteX6121" fmla="*/ 2937505 w 4044707"/>
                <a:gd name="connsiteY6121" fmla="*/ 440310 h 2907193"/>
                <a:gd name="connsiteX6122" fmla="*/ 2941286 w 4044707"/>
                <a:gd name="connsiteY6122" fmla="*/ 440037 h 2907193"/>
                <a:gd name="connsiteX6123" fmla="*/ 2936023 w 4044707"/>
                <a:gd name="connsiteY6123" fmla="*/ 441701 h 2907193"/>
                <a:gd name="connsiteX6124" fmla="*/ 2929398 w 4044707"/>
                <a:gd name="connsiteY6124" fmla="*/ 439069 h 2907193"/>
                <a:gd name="connsiteX6125" fmla="*/ 2922772 w 4044707"/>
                <a:gd name="connsiteY6125" fmla="*/ 434804 h 2907193"/>
                <a:gd name="connsiteX6126" fmla="*/ 2910188 w 4044707"/>
                <a:gd name="connsiteY6126" fmla="*/ 432414 h 2907193"/>
                <a:gd name="connsiteX6127" fmla="*/ 2906195 w 4044707"/>
                <a:gd name="connsiteY6127" fmla="*/ 433140 h 2907193"/>
                <a:gd name="connsiteX6128" fmla="*/ 2904107 w 4044707"/>
                <a:gd name="connsiteY6128" fmla="*/ 432838 h 2907193"/>
                <a:gd name="connsiteX6129" fmla="*/ 2904440 w 4044707"/>
                <a:gd name="connsiteY6129" fmla="*/ 433927 h 2907193"/>
                <a:gd name="connsiteX6130" fmla="*/ 2904622 w 4044707"/>
                <a:gd name="connsiteY6130" fmla="*/ 434774 h 2907193"/>
                <a:gd name="connsiteX6131" fmla="*/ 2904894 w 4044707"/>
                <a:gd name="connsiteY6131" fmla="*/ 435500 h 2907193"/>
                <a:gd name="connsiteX6132" fmla="*/ 2905469 w 4044707"/>
                <a:gd name="connsiteY6132" fmla="*/ 436316 h 2907193"/>
                <a:gd name="connsiteX6133" fmla="*/ 2900598 w 4044707"/>
                <a:gd name="connsiteY6133" fmla="*/ 454558 h 2907193"/>
                <a:gd name="connsiteX6134" fmla="*/ 2902262 w 4044707"/>
                <a:gd name="connsiteY6134" fmla="*/ 458430 h 2907193"/>
                <a:gd name="connsiteX6135" fmla="*/ 2901355 w 4044707"/>
                <a:gd name="connsiteY6135" fmla="*/ 464723 h 2907193"/>
                <a:gd name="connsiteX6136" fmla="*/ 2899569 w 4044707"/>
                <a:gd name="connsiteY6136" fmla="*/ 471650 h 2907193"/>
                <a:gd name="connsiteX6137" fmla="*/ 2898602 w 4044707"/>
                <a:gd name="connsiteY6137" fmla="*/ 477247 h 2907193"/>
                <a:gd name="connsiteX6138" fmla="*/ 2882689 w 4044707"/>
                <a:gd name="connsiteY6138" fmla="*/ 488924 h 2907193"/>
                <a:gd name="connsiteX6139" fmla="*/ 2884867 w 4044707"/>
                <a:gd name="connsiteY6139" fmla="*/ 483720 h 2907193"/>
                <a:gd name="connsiteX6140" fmla="*/ 2887862 w 4044707"/>
                <a:gd name="connsiteY6140" fmla="*/ 479152 h 2907193"/>
                <a:gd name="connsiteX6141" fmla="*/ 2891130 w 4044707"/>
                <a:gd name="connsiteY6141" fmla="*/ 475916 h 2907193"/>
                <a:gd name="connsiteX6142" fmla="*/ 2894094 w 4044707"/>
                <a:gd name="connsiteY6142" fmla="*/ 474706 h 2907193"/>
                <a:gd name="connsiteX6143" fmla="*/ 2894760 w 4044707"/>
                <a:gd name="connsiteY6143" fmla="*/ 473314 h 2907193"/>
                <a:gd name="connsiteX6144" fmla="*/ 2894124 w 4044707"/>
                <a:gd name="connsiteY6144" fmla="*/ 470107 h 2907193"/>
                <a:gd name="connsiteX6145" fmla="*/ 2893005 w 4044707"/>
                <a:gd name="connsiteY6145" fmla="*/ 466447 h 2907193"/>
                <a:gd name="connsiteX6146" fmla="*/ 2892370 w 4044707"/>
                <a:gd name="connsiteY6146" fmla="*/ 463724 h 2907193"/>
                <a:gd name="connsiteX6147" fmla="*/ 2892370 w 4044707"/>
                <a:gd name="connsiteY6147" fmla="*/ 460457 h 2907193"/>
                <a:gd name="connsiteX6148" fmla="*/ 2892703 w 4044707"/>
                <a:gd name="connsiteY6148" fmla="*/ 457220 h 2907193"/>
                <a:gd name="connsiteX6149" fmla="*/ 2893308 w 4044707"/>
                <a:gd name="connsiteY6149" fmla="*/ 454286 h 2907193"/>
                <a:gd name="connsiteX6150" fmla="*/ 2894064 w 4044707"/>
                <a:gd name="connsiteY6150" fmla="*/ 451896 h 2907193"/>
                <a:gd name="connsiteX6151" fmla="*/ 2899751 w 4044707"/>
                <a:gd name="connsiteY6151" fmla="*/ 437829 h 2907193"/>
                <a:gd name="connsiteX6152" fmla="*/ 2901294 w 4044707"/>
                <a:gd name="connsiteY6152" fmla="*/ 432807 h 2907193"/>
                <a:gd name="connsiteX6153" fmla="*/ 2902504 w 4044707"/>
                <a:gd name="connsiteY6153" fmla="*/ 424942 h 2907193"/>
                <a:gd name="connsiteX6154" fmla="*/ 2901324 w 4044707"/>
                <a:gd name="connsiteY6154" fmla="*/ 421554 h 2907193"/>
                <a:gd name="connsiteX6155" fmla="*/ 2899086 w 4044707"/>
                <a:gd name="connsiteY6155" fmla="*/ 419224 h 2907193"/>
                <a:gd name="connsiteX6156" fmla="*/ 2897180 w 4044707"/>
                <a:gd name="connsiteY6156" fmla="*/ 414475 h 2907193"/>
                <a:gd name="connsiteX6157" fmla="*/ 2898723 w 4044707"/>
                <a:gd name="connsiteY6157" fmla="*/ 412146 h 2907193"/>
                <a:gd name="connsiteX6158" fmla="*/ 2900780 w 4044707"/>
                <a:gd name="connsiteY6158" fmla="*/ 408122 h 2907193"/>
                <a:gd name="connsiteX6159" fmla="*/ 2902655 w 4044707"/>
                <a:gd name="connsiteY6159" fmla="*/ 403463 h 2907193"/>
                <a:gd name="connsiteX6160" fmla="*/ 2903411 w 4044707"/>
                <a:gd name="connsiteY6160" fmla="*/ 399016 h 2907193"/>
                <a:gd name="connsiteX6161" fmla="*/ 2903170 w 4044707"/>
                <a:gd name="connsiteY6161" fmla="*/ 395265 h 2907193"/>
                <a:gd name="connsiteX6162" fmla="*/ 2902897 w 4044707"/>
                <a:gd name="connsiteY6162" fmla="*/ 394418 h 2907193"/>
                <a:gd name="connsiteX6163" fmla="*/ 2906709 w 4044707"/>
                <a:gd name="connsiteY6163" fmla="*/ 387067 h 2907193"/>
                <a:gd name="connsiteX6164" fmla="*/ 2907465 w 4044707"/>
                <a:gd name="connsiteY6164" fmla="*/ 385101 h 2907193"/>
                <a:gd name="connsiteX6165" fmla="*/ 2908191 w 4044707"/>
                <a:gd name="connsiteY6165" fmla="*/ 381682 h 2907193"/>
                <a:gd name="connsiteX6166" fmla="*/ 2903472 w 4044707"/>
                <a:gd name="connsiteY6166" fmla="*/ 379353 h 2907193"/>
                <a:gd name="connsiteX6167" fmla="*/ 2885503 w 4044707"/>
                <a:gd name="connsiteY6167" fmla="*/ 382802 h 2907193"/>
                <a:gd name="connsiteX6168" fmla="*/ 2877879 w 4044707"/>
                <a:gd name="connsiteY6168" fmla="*/ 387823 h 2907193"/>
                <a:gd name="connsiteX6169" fmla="*/ 2873977 w 4044707"/>
                <a:gd name="connsiteY6169" fmla="*/ 388973 h 2907193"/>
                <a:gd name="connsiteX6170" fmla="*/ 2859003 w 4044707"/>
                <a:gd name="connsiteY6170" fmla="*/ 387400 h 2907193"/>
                <a:gd name="connsiteX6171" fmla="*/ 2854313 w 4044707"/>
                <a:gd name="connsiteY6171" fmla="*/ 388973 h 2907193"/>
                <a:gd name="connsiteX6172" fmla="*/ 2852680 w 4044707"/>
                <a:gd name="connsiteY6172" fmla="*/ 390728 h 2907193"/>
                <a:gd name="connsiteX6173" fmla="*/ 2849504 w 4044707"/>
                <a:gd name="connsiteY6173" fmla="*/ 395326 h 2907193"/>
                <a:gd name="connsiteX6174" fmla="*/ 2847779 w 4044707"/>
                <a:gd name="connsiteY6174" fmla="*/ 396264 h 2907193"/>
                <a:gd name="connsiteX6175" fmla="*/ 2843272 w 4044707"/>
                <a:gd name="connsiteY6175" fmla="*/ 396899 h 2907193"/>
                <a:gd name="connsiteX6176" fmla="*/ 2841094 w 4044707"/>
                <a:gd name="connsiteY6176" fmla="*/ 398018 h 2907193"/>
                <a:gd name="connsiteX6177" fmla="*/ 2839127 w 4044707"/>
                <a:gd name="connsiteY6177" fmla="*/ 399954 h 2907193"/>
                <a:gd name="connsiteX6178" fmla="*/ 2837796 w 4044707"/>
                <a:gd name="connsiteY6178" fmla="*/ 411359 h 2907193"/>
                <a:gd name="connsiteX6179" fmla="*/ 2823638 w 4044707"/>
                <a:gd name="connsiteY6179" fmla="*/ 432142 h 2907193"/>
                <a:gd name="connsiteX6180" fmla="*/ 2825030 w 4044707"/>
                <a:gd name="connsiteY6180" fmla="*/ 446511 h 2907193"/>
                <a:gd name="connsiteX6181" fmla="*/ 2826543 w 4044707"/>
                <a:gd name="connsiteY6181" fmla="*/ 449325 h 2907193"/>
                <a:gd name="connsiteX6182" fmla="*/ 2828691 w 4044707"/>
                <a:gd name="connsiteY6182" fmla="*/ 452198 h 2907193"/>
                <a:gd name="connsiteX6183" fmla="*/ 2830869 w 4044707"/>
                <a:gd name="connsiteY6183" fmla="*/ 453590 h 2907193"/>
                <a:gd name="connsiteX6184" fmla="*/ 2832593 w 4044707"/>
                <a:gd name="connsiteY6184" fmla="*/ 451956 h 2907193"/>
                <a:gd name="connsiteX6185" fmla="*/ 2834589 w 4044707"/>
                <a:gd name="connsiteY6185" fmla="*/ 448901 h 2907193"/>
                <a:gd name="connsiteX6186" fmla="*/ 2839611 w 4044707"/>
                <a:gd name="connsiteY6186" fmla="*/ 447903 h 2907193"/>
                <a:gd name="connsiteX6187" fmla="*/ 2844088 w 4044707"/>
                <a:gd name="connsiteY6187" fmla="*/ 445543 h 2907193"/>
                <a:gd name="connsiteX6188" fmla="*/ 2852317 w 4044707"/>
                <a:gd name="connsiteY6188" fmla="*/ 444726 h 2907193"/>
                <a:gd name="connsiteX6189" fmla="*/ 2852710 w 4044707"/>
                <a:gd name="connsiteY6189" fmla="*/ 448629 h 2907193"/>
                <a:gd name="connsiteX6190" fmla="*/ 2853678 w 4044707"/>
                <a:gd name="connsiteY6190" fmla="*/ 451109 h 2907193"/>
                <a:gd name="connsiteX6191" fmla="*/ 2854767 w 4044707"/>
                <a:gd name="connsiteY6191" fmla="*/ 453348 h 2907193"/>
                <a:gd name="connsiteX6192" fmla="*/ 2855675 w 4044707"/>
                <a:gd name="connsiteY6192" fmla="*/ 456524 h 2907193"/>
                <a:gd name="connsiteX6193" fmla="*/ 2854404 w 4044707"/>
                <a:gd name="connsiteY6193" fmla="*/ 456161 h 2907193"/>
                <a:gd name="connsiteX6194" fmla="*/ 2852952 w 4044707"/>
                <a:gd name="connsiteY6194" fmla="*/ 455193 h 2907193"/>
                <a:gd name="connsiteX6195" fmla="*/ 2851591 w 4044707"/>
                <a:gd name="connsiteY6195" fmla="*/ 453741 h 2907193"/>
                <a:gd name="connsiteX6196" fmla="*/ 2848868 w 4044707"/>
                <a:gd name="connsiteY6196" fmla="*/ 449294 h 2907193"/>
                <a:gd name="connsiteX6197" fmla="*/ 2847053 w 4044707"/>
                <a:gd name="connsiteY6197" fmla="*/ 449234 h 2907193"/>
                <a:gd name="connsiteX6198" fmla="*/ 2836193 w 4044707"/>
                <a:gd name="connsiteY6198" fmla="*/ 453862 h 2907193"/>
                <a:gd name="connsiteX6199" fmla="*/ 2832442 w 4044707"/>
                <a:gd name="connsiteY6199" fmla="*/ 457069 h 2907193"/>
                <a:gd name="connsiteX6200" fmla="*/ 2829810 w 4044707"/>
                <a:gd name="connsiteY6200" fmla="*/ 461032 h 2907193"/>
                <a:gd name="connsiteX6201" fmla="*/ 2828509 w 4044707"/>
                <a:gd name="connsiteY6201" fmla="*/ 467112 h 2907193"/>
                <a:gd name="connsiteX6202" fmla="*/ 2829386 w 4044707"/>
                <a:gd name="connsiteY6202" fmla="*/ 472074 h 2907193"/>
                <a:gd name="connsiteX6203" fmla="*/ 2831444 w 4044707"/>
                <a:gd name="connsiteY6203" fmla="*/ 475795 h 2907193"/>
                <a:gd name="connsiteX6204" fmla="*/ 2833652 w 4044707"/>
                <a:gd name="connsiteY6204" fmla="*/ 478154 h 2907193"/>
                <a:gd name="connsiteX6205" fmla="*/ 2836314 w 4044707"/>
                <a:gd name="connsiteY6205" fmla="*/ 479152 h 2907193"/>
                <a:gd name="connsiteX6206" fmla="*/ 2837101 w 4044707"/>
                <a:gd name="connsiteY6206" fmla="*/ 479969 h 2907193"/>
                <a:gd name="connsiteX6207" fmla="*/ 2837524 w 4044707"/>
                <a:gd name="connsiteY6207" fmla="*/ 481361 h 2907193"/>
                <a:gd name="connsiteX6208" fmla="*/ 2837615 w 4044707"/>
                <a:gd name="connsiteY6208" fmla="*/ 482843 h 2907193"/>
                <a:gd name="connsiteX6209" fmla="*/ 2837615 w 4044707"/>
                <a:gd name="connsiteY6209" fmla="*/ 484204 h 2907193"/>
                <a:gd name="connsiteX6210" fmla="*/ 2837796 w 4044707"/>
                <a:gd name="connsiteY6210" fmla="*/ 485324 h 2907193"/>
                <a:gd name="connsiteX6211" fmla="*/ 2840277 w 4044707"/>
                <a:gd name="connsiteY6211" fmla="*/ 491102 h 2907193"/>
                <a:gd name="connsiteX6212" fmla="*/ 2841275 w 4044707"/>
                <a:gd name="connsiteY6212" fmla="*/ 492675 h 2907193"/>
                <a:gd name="connsiteX6213" fmla="*/ 2844996 w 4044707"/>
                <a:gd name="connsiteY6213" fmla="*/ 495004 h 2907193"/>
                <a:gd name="connsiteX6214" fmla="*/ 2859305 w 4044707"/>
                <a:gd name="connsiteY6214" fmla="*/ 492735 h 2907193"/>
                <a:gd name="connsiteX6215" fmla="*/ 2861967 w 4044707"/>
                <a:gd name="connsiteY6215" fmla="*/ 493219 h 2907193"/>
                <a:gd name="connsiteX6216" fmla="*/ 2864508 w 4044707"/>
                <a:gd name="connsiteY6216" fmla="*/ 494520 h 2907193"/>
                <a:gd name="connsiteX6217" fmla="*/ 2872495 w 4044707"/>
                <a:gd name="connsiteY6217" fmla="*/ 504322 h 2907193"/>
                <a:gd name="connsiteX6218" fmla="*/ 2874491 w 4044707"/>
                <a:gd name="connsiteY6218" fmla="*/ 508738 h 2907193"/>
                <a:gd name="connsiteX6219" fmla="*/ 2875005 w 4044707"/>
                <a:gd name="connsiteY6219" fmla="*/ 510432 h 2907193"/>
                <a:gd name="connsiteX6220" fmla="*/ 2875005 w 4044707"/>
                <a:gd name="connsiteY6220" fmla="*/ 513639 h 2907193"/>
                <a:gd name="connsiteX6221" fmla="*/ 2874491 w 4044707"/>
                <a:gd name="connsiteY6221" fmla="*/ 515605 h 2907193"/>
                <a:gd name="connsiteX6222" fmla="*/ 2873916 w 4044707"/>
                <a:gd name="connsiteY6222" fmla="*/ 517239 h 2907193"/>
                <a:gd name="connsiteX6223" fmla="*/ 2873644 w 4044707"/>
                <a:gd name="connsiteY6223" fmla="*/ 519508 h 2907193"/>
                <a:gd name="connsiteX6224" fmla="*/ 2874400 w 4044707"/>
                <a:gd name="connsiteY6224" fmla="*/ 525619 h 2907193"/>
                <a:gd name="connsiteX6225" fmla="*/ 2876155 w 4044707"/>
                <a:gd name="connsiteY6225" fmla="*/ 528583 h 2907193"/>
                <a:gd name="connsiteX6226" fmla="*/ 2878333 w 4044707"/>
                <a:gd name="connsiteY6226" fmla="*/ 530610 h 2907193"/>
                <a:gd name="connsiteX6227" fmla="*/ 2880511 w 4044707"/>
                <a:gd name="connsiteY6227" fmla="*/ 533787 h 2907193"/>
                <a:gd name="connsiteX6228" fmla="*/ 2877274 w 4044707"/>
                <a:gd name="connsiteY6228" fmla="*/ 535965 h 2907193"/>
                <a:gd name="connsiteX6229" fmla="*/ 2870831 w 4044707"/>
                <a:gd name="connsiteY6229" fmla="*/ 530913 h 2907193"/>
                <a:gd name="connsiteX6230" fmla="*/ 2867442 w 4044707"/>
                <a:gd name="connsiteY6230" fmla="*/ 530277 h 2907193"/>
                <a:gd name="connsiteX6231" fmla="*/ 2865990 w 4044707"/>
                <a:gd name="connsiteY6231" fmla="*/ 531487 h 2907193"/>
                <a:gd name="connsiteX6232" fmla="*/ 2863117 w 4044707"/>
                <a:gd name="connsiteY6232" fmla="*/ 534906 h 2907193"/>
                <a:gd name="connsiteX6233" fmla="*/ 2861211 w 4044707"/>
                <a:gd name="connsiteY6233" fmla="*/ 535632 h 2907193"/>
                <a:gd name="connsiteX6234" fmla="*/ 2859517 w 4044707"/>
                <a:gd name="connsiteY6234" fmla="*/ 535148 h 2907193"/>
                <a:gd name="connsiteX6235" fmla="*/ 2855735 w 4044707"/>
                <a:gd name="connsiteY6235" fmla="*/ 532214 h 2907193"/>
                <a:gd name="connsiteX6236" fmla="*/ 2854313 w 4044707"/>
                <a:gd name="connsiteY6236" fmla="*/ 530277 h 2907193"/>
                <a:gd name="connsiteX6237" fmla="*/ 2856643 w 4044707"/>
                <a:gd name="connsiteY6237" fmla="*/ 527736 h 2907193"/>
                <a:gd name="connsiteX6238" fmla="*/ 2856250 w 4044707"/>
                <a:gd name="connsiteY6238" fmla="*/ 524136 h 2907193"/>
                <a:gd name="connsiteX6239" fmla="*/ 2854495 w 4044707"/>
                <a:gd name="connsiteY6239" fmla="*/ 522019 h 2907193"/>
                <a:gd name="connsiteX6240" fmla="*/ 2852589 w 4044707"/>
                <a:gd name="connsiteY6240" fmla="*/ 524015 h 2907193"/>
                <a:gd name="connsiteX6241" fmla="*/ 2851803 w 4044707"/>
                <a:gd name="connsiteY6241" fmla="*/ 525165 h 2907193"/>
                <a:gd name="connsiteX6242" fmla="*/ 2849019 w 4044707"/>
                <a:gd name="connsiteY6242" fmla="*/ 527978 h 2907193"/>
                <a:gd name="connsiteX6243" fmla="*/ 2848142 w 4044707"/>
                <a:gd name="connsiteY6243" fmla="*/ 528462 h 2907193"/>
                <a:gd name="connsiteX6244" fmla="*/ 2847114 w 4044707"/>
                <a:gd name="connsiteY6244" fmla="*/ 527434 h 2907193"/>
                <a:gd name="connsiteX6245" fmla="*/ 2846236 w 4044707"/>
                <a:gd name="connsiteY6245" fmla="*/ 525619 h 2907193"/>
                <a:gd name="connsiteX6246" fmla="*/ 2846055 w 4044707"/>
                <a:gd name="connsiteY6246" fmla="*/ 523894 h 2907193"/>
                <a:gd name="connsiteX6247" fmla="*/ 2848293 w 4044707"/>
                <a:gd name="connsiteY6247" fmla="*/ 522563 h 2907193"/>
                <a:gd name="connsiteX6248" fmla="*/ 2850925 w 4044707"/>
                <a:gd name="connsiteY6248" fmla="*/ 520113 h 2907193"/>
                <a:gd name="connsiteX6249" fmla="*/ 2852317 w 4044707"/>
                <a:gd name="connsiteY6249" fmla="*/ 519568 h 2907193"/>
                <a:gd name="connsiteX6250" fmla="*/ 2857914 w 4044707"/>
                <a:gd name="connsiteY6250" fmla="*/ 521686 h 2907193"/>
                <a:gd name="connsiteX6251" fmla="*/ 2864508 w 4044707"/>
                <a:gd name="connsiteY6251" fmla="*/ 517784 h 2907193"/>
                <a:gd name="connsiteX6252" fmla="*/ 2866565 w 4044707"/>
                <a:gd name="connsiteY6252" fmla="*/ 515273 h 2907193"/>
                <a:gd name="connsiteX6253" fmla="*/ 2867382 w 4044707"/>
                <a:gd name="connsiteY6253" fmla="*/ 509585 h 2907193"/>
                <a:gd name="connsiteX6254" fmla="*/ 2864175 w 4044707"/>
                <a:gd name="connsiteY6254" fmla="*/ 503717 h 2907193"/>
                <a:gd name="connsiteX6255" fmla="*/ 2843907 w 4044707"/>
                <a:gd name="connsiteY6255" fmla="*/ 501539 h 2907193"/>
                <a:gd name="connsiteX6256" fmla="*/ 2841517 w 4044707"/>
                <a:gd name="connsiteY6256" fmla="*/ 499905 h 2907193"/>
                <a:gd name="connsiteX6257" fmla="*/ 2834983 w 4044707"/>
                <a:gd name="connsiteY6257" fmla="*/ 492735 h 2907193"/>
                <a:gd name="connsiteX6258" fmla="*/ 2830657 w 4044707"/>
                <a:gd name="connsiteY6258" fmla="*/ 489861 h 2907193"/>
                <a:gd name="connsiteX6259" fmla="*/ 2829538 w 4044707"/>
                <a:gd name="connsiteY6259" fmla="*/ 486988 h 2907193"/>
                <a:gd name="connsiteX6260" fmla="*/ 2830173 w 4044707"/>
                <a:gd name="connsiteY6260" fmla="*/ 481603 h 2907193"/>
                <a:gd name="connsiteX6261" fmla="*/ 2822731 w 4044707"/>
                <a:gd name="connsiteY6261" fmla="*/ 476853 h 2907193"/>
                <a:gd name="connsiteX6262" fmla="*/ 2820856 w 4044707"/>
                <a:gd name="connsiteY6262" fmla="*/ 473737 h 2907193"/>
                <a:gd name="connsiteX6263" fmla="*/ 2820462 w 4044707"/>
                <a:gd name="connsiteY6263" fmla="*/ 471771 h 2907193"/>
                <a:gd name="connsiteX6264" fmla="*/ 2820311 w 4044707"/>
                <a:gd name="connsiteY6264" fmla="*/ 467475 h 2907193"/>
                <a:gd name="connsiteX6265" fmla="*/ 2819827 w 4044707"/>
                <a:gd name="connsiteY6265" fmla="*/ 465388 h 2907193"/>
                <a:gd name="connsiteX6266" fmla="*/ 2818556 w 4044707"/>
                <a:gd name="connsiteY6266" fmla="*/ 463301 h 2907193"/>
                <a:gd name="connsiteX6267" fmla="*/ 2816892 w 4044707"/>
                <a:gd name="connsiteY6267" fmla="*/ 462151 h 2907193"/>
                <a:gd name="connsiteX6268" fmla="*/ 2815168 w 4044707"/>
                <a:gd name="connsiteY6268" fmla="*/ 461758 h 2907193"/>
                <a:gd name="connsiteX6269" fmla="*/ 2813595 w 4044707"/>
                <a:gd name="connsiteY6269" fmla="*/ 461909 h 2907193"/>
                <a:gd name="connsiteX6270" fmla="*/ 2814502 w 4044707"/>
                <a:gd name="connsiteY6270" fmla="*/ 460457 h 2907193"/>
                <a:gd name="connsiteX6271" fmla="*/ 2815168 w 4044707"/>
                <a:gd name="connsiteY6271" fmla="*/ 458793 h 2907193"/>
                <a:gd name="connsiteX6272" fmla="*/ 2815591 w 4044707"/>
                <a:gd name="connsiteY6272" fmla="*/ 456827 h 2907193"/>
                <a:gd name="connsiteX6273" fmla="*/ 2815713 w 4044707"/>
                <a:gd name="connsiteY6273" fmla="*/ 454498 h 2907193"/>
                <a:gd name="connsiteX6274" fmla="*/ 2815350 w 4044707"/>
                <a:gd name="connsiteY6274" fmla="*/ 450262 h 2907193"/>
                <a:gd name="connsiteX6275" fmla="*/ 2814442 w 4044707"/>
                <a:gd name="connsiteY6275" fmla="*/ 448780 h 2907193"/>
                <a:gd name="connsiteX6276" fmla="*/ 2792086 w 4044707"/>
                <a:gd name="connsiteY6276" fmla="*/ 451775 h 2907193"/>
                <a:gd name="connsiteX6277" fmla="*/ 2785461 w 4044707"/>
                <a:gd name="connsiteY6277" fmla="*/ 455587 h 2907193"/>
                <a:gd name="connsiteX6278" fmla="*/ 2778685 w 4044707"/>
                <a:gd name="connsiteY6278" fmla="*/ 456797 h 2907193"/>
                <a:gd name="connsiteX6279" fmla="*/ 2776355 w 4044707"/>
                <a:gd name="connsiteY6279" fmla="*/ 458249 h 2907193"/>
                <a:gd name="connsiteX6280" fmla="*/ 2775781 w 4044707"/>
                <a:gd name="connsiteY6280" fmla="*/ 461516 h 2907193"/>
                <a:gd name="connsiteX6281" fmla="*/ 2777838 w 4044707"/>
                <a:gd name="connsiteY6281" fmla="*/ 467264 h 2907193"/>
                <a:gd name="connsiteX6282" fmla="*/ 2776779 w 4044707"/>
                <a:gd name="connsiteY6282" fmla="*/ 467990 h 2907193"/>
                <a:gd name="connsiteX6283" fmla="*/ 2775569 w 4044707"/>
                <a:gd name="connsiteY6283" fmla="*/ 469502 h 2907193"/>
                <a:gd name="connsiteX6284" fmla="*/ 2774631 w 4044707"/>
                <a:gd name="connsiteY6284" fmla="*/ 471711 h 2907193"/>
                <a:gd name="connsiteX6285" fmla="*/ 2774389 w 4044707"/>
                <a:gd name="connsiteY6285" fmla="*/ 474645 h 2907193"/>
                <a:gd name="connsiteX6286" fmla="*/ 2775599 w 4044707"/>
                <a:gd name="connsiteY6286" fmla="*/ 477035 h 2907193"/>
                <a:gd name="connsiteX6287" fmla="*/ 2777959 w 4044707"/>
                <a:gd name="connsiteY6287" fmla="*/ 477942 h 2907193"/>
                <a:gd name="connsiteX6288" fmla="*/ 2781952 w 4044707"/>
                <a:gd name="connsiteY6288" fmla="*/ 478033 h 2907193"/>
                <a:gd name="connsiteX6289" fmla="*/ 2785280 w 4044707"/>
                <a:gd name="connsiteY6289" fmla="*/ 479183 h 2907193"/>
                <a:gd name="connsiteX6290" fmla="*/ 2786792 w 4044707"/>
                <a:gd name="connsiteY6290" fmla="*/ 480665 h 2907193"/>
                <a:gd name="connsiteX6291" fmla="*/ 2788184 w 4044707"/>
                <a:gd name="connsiteY6291" fmla="*/ 483448 h 2907193"/>
                <a:gd name="connsiteX6292" fmla="*/ 2788668 w 4044707"/>
                <a:gd name="connsiteY6292" fmla="*/ 485717 h 2907193"/>
                <a:gd name="connsiteX6293" fmla="*/ 2789061 w 4044707"/>
                <a:gd name="connsiteY6293" fmla="*/ 488772 h 2907193"/>
                <a:gd name="connsiteX6294" fmla="*/ 2789636 w 4044707"/>
                <a:gd name="connsiteY6294" fmla="*/ 491435 h 2907193"/>
                <a:gd name="connsiteX6295" fmla="*/ 2790544 w 4044707"/>
                <a:gd name="connsiteY6295" fmla="*/ 492584 h 2907193"/>
                <a:gd name="connsiteX6296" fmla="*/ 2792117 w 4044707"/>
                <a:gd name="connsiteY6296" fmla="*/ 493401 h 2907193"/>
                <a:gd name="connsiteX6297" fmla="*/ 2795475 w 4044707"/>
                <a:gd name="connsiteY6297" fmla="*/ 496971 h 2907193"/>
                <a:gd name="connsiteX6298" fmla="*/ 2822549 w 4044707"/>
                <a:gd name="connsiteY6298" fmla="*/ 506228 h 2907193"/>
                <a:gd name="connsiteX6299" fmla="*/ 2824637 w 4044707"/>
                <a:gd name="connsiteY6299" fmla="*/ 507740 h 2907193"/>
                <a:gd name="connsiteX6300" fmla="*/ 2828025 w 4044707"/>
                <a:gd name="connsiteY6300" fmla="*/ 513306 h 2907193"/>
                <a:gd name="connsiteX6301" fmla="*/ 2829084 w 4044707"/>
                <a:gd name="connsiteY6301" fmla="*/ 514093 h 2907193"/>
                <a:gd name="connsiteX6302" fmla="*/ 2829870 w 4044707"/>
                <a:gd name="connsiteY6302" fmla="*/ 514426 h 2907193"/>
                <a:gd name="connsiteX6303" fmla="*/ 2830536 w 4044707"/>
                <a:gd name="connsiteY6303" fmla="*/ 515363 h 2907193"/>
                <a:gd name="connsiteX6304" fmla="*/ 2830808 w 4044707"/>
                <a:gd name="connsiteY6304" fmla="*/ 516755 h 2907193"/>
                <a:gd name="connsiteX6305" fmla="*/ 2830475 w 4044707"/>
                <a:gd name="connsiteY6305" fmla="*/ 518570 h 2907193"/>
                <a:gd name="connsiteX6306" fmla="*/ 2829719 w 4044707"/>
                <a:gd name="connsiteY6306" fmla="*/ 518963 h 2907193"/>
                <a:gd name="connsiteX6307" fmla="*/ 2822096 w 4044707"/>
                <a:gd name="connsiteY6307" fmla="*/ 516271 h 2907193"/>
                <a:gd name="connsiteX6308" fmla="*/ 2815440 w 4044707"/>
                <a:gd name="connsiteY6308" fmla="*/ 510130 h 2907193"/>
                <a:gd name="connsiteX6309" fmla="*/ 2811447 w 4044707"/>
                <a:gd name="connsiteY6309" fmla="*/ 508557 h 2907193"/>
                <a:gd name="connsiteX6310" fmla="*/ 2802523 w 4044707"/>
                <a:gd name="connsiteY6310" fmla="*/ 508829 h 2907193"/>
                <a:gd name="connsiteX6311" fmla="*/ 2797955 w 4044707"/>
                <a:gd name="connsiteY6311" fmla="*/ 510493 h 2907193"/>
                <a:gd name="connsiteX6312" fmla="*/ 2796352 w 4044707"/>
                <a:gd name="connsiteY6312" fmla="*/ 514093 h 2907193"/>
                <a:gd name="connsiteX6313" fmla="*/ 2797078 w 4044707"/>
                <a:gd name="connsiteY6313" fmla="*/ 516120 h 2907193"/>
                <a:gd name="connsiteX6314" fmla="*/ 2798257 w 4044707"/>
                <a:gd name="connsiteY6314" fmla="*/ 517148 h 2907193"/>
                <a:gd name="connsiteX6315" fmla="*/ 2799317 w 4044707"/>
                <a:gd name="connsiteY6315" fmla="*/ 518419 h 2907193"/>
                <a:gd name="connsiteX6316" fmla="*/ 2799770 w 4044707"/>
                <a:gd name="connsiteY6316" fmla="*/ 521262 h 2907193"/>
                <a:gd name="connsiteX6317" fmla="*/ 2799286 w 4044707"/>
                <a:gd name="connsiteY6317" fmla="*/ 525014 h 2907193"/>
                <a:gd name="connsiteX6318" fmla="*/ 2798137 w 4044707"/>
                <a:gd name="connsiteY6318" fmla="*/ 524741 h 2907193"/>
                <a:gd name="connsiteX6319" fmla="*/ 2796866 w 4044707"/>
                <a:gd name="connsiteY6319" fmla="*/ 522503 h 2907193"/>
                <a:gd name="connsiteX6320" fmla="*/ 2795989 w 4044707"/>
                <a:gd name="connsiteY6320" fmla="*/ 520355 h 2907193"/>
                <a:gd name="connsiteX6321" fmla="*/ 2794113 w 4044707"/>
                <a:gd name="connsiteY6321" fmla="*/ 518268 h 2907193"/>
                <a:gd name="connsiteX6322" fmla="*/ 2791451 w 4044707"/>
                <a:gd name="connsiteY6322" fmla="*/ 516997 h 2907193"/>
                <a:gd name="connsiteX6323" fmla="*/ 2789121 w 4044707"/>
                <a:gd name="connsiteY6323" fmla="*/ 515152 h 2907193"/>
                <a:gd name="connsiteX6324" fmla="*/ 2788093 w 4044707"/>
                <a:gd name="connsiteY6324" fmla="*/ 511370 h 2907193"/>
                <a:gd name="connsiteX6325" fmla="*/ 2787791 w 4044707"/>
                <a:gd name="connsiteY6325" fmla="*/ 506500 h 2907193"/>
                <a:gd name="connsiteX6326" fmla="*/ 2786883 w 4044707"/>
                <a:gd name="connsiteY6326" fmla="*/ 501327 h 2907193"/>
                <a:gd name="connsiteX6327" fmla="*/ 2785370 w 4044707"/>
                <a:gd name="connsiteY6327" fmla="*/ 498241 h 2907193"/>
                <a:gd name="connsiteX6328" fmla="*/ 2783283 w 4044707"/>
                <a:gd name="connsiteY6328" fmla="*/ 499633 h 2907193"/>
                <a:gd name="connsiteX6329" fmla="*/ 2782708 w 4044707"/>
                <a:gd name="connsiteY6329" fmla="*/ 502628 h 2907193"/>
                <a:gd name="connsiteX6330" fmla="*/ 2782497 w 4044707"/>
                <a:gd name="connsiteY6330" fmla="*/ 507589 h 2907193"/>
                <a:gd name="connsiteX6331" fmla="*/ 2782557 w 4044707"/>
                <a:gd name="connsiteY6331" fmla="*/ 516694 h 2907193"/>
                <a:gd name="connsiteX6332" fmla="*/ 2782194 w 4044707"/>
                <a:gd name="connsiteY6332" fmla="*/ 520960 h 2907193"/>
                <a:gd name="connsiteX6333" fmla="*/ 2781377 w 4044707"/>
                <a:gd name="connsiteY6333" fmla="*/ 525104 h 2907193"/>
                <a:gd name="connsiteX6334" fmla="*/ 2779108 w 4044707"/>
                <a:gd name="connsiteY6334" fmla="*/ 532093 h 2907193"/>
                <a:gd name="connsiteX6335" fmla="*/ 2778594 w 4044707"/>
                <a:gd name="connsiteY6335" fmla="*/ 529612 h 2907193"/>
                <a:gd name="connsiteX6336" fmla="*/ 2778715 w 4044707"/>
                <a:gd name="connsiteY6336" fmla="*/ 527706 h 2907193"/>
                <a:gd name="connsiteX6337" fmla="*/ 2779290 w 4044707"/>
                <a:gd name="connsiteY6337" fmla="*/ 525951 h 2907193"/>
                <a:gd name="connsiteX6338" fmla="*/ 2780137 w 4044707"/>
                <a:gd name="connsiteY6338" fmla="*/ 523925 h 2907193"/>
                <a:gd name="connsiteX6339" fmla="*/ 2780500 w 4044707"/>
                <a:gd name="connsiteY6339" fmla="*/ 521414 h 2907193"/>
                <a:gd name="connsiteX6340" fmla="*/ 2779834 w 4044707"/>
                <a:gd name="connsiteY6340" fmla="*/ 519629 h 2907193"/>
                <a:gd name="connsiteX6341" fmla="*/ 2778443 w 4044707"/>
                <a:gd name="connsiteY6341" fmla="*/ 517663 h 2907193"/>
                <a:gd name="connsiteX6342" fmla="*/ 2778655 w 4044707"/>
                <a:gd name="connsiteY6342" fmla="*/ 513337 h 2907193"/>
                <a:gd name="connsiteX6343" fmla="*/ 2779593 w 4044707"/>
                <a:gd name="connsiteY6343" fmla="*/ 505259 h 2907193"/>
                <a:gd name="connsiteX6344" fmla="*/ 2779834 w 4044707"/>
                <a:gd name="connsiteY6344" fmla="*/ 500510 h 2907193"/>
                <a:gd name="connsiteX6345" fmla="*/ 2779199 w 4044707"/>
                <a:gd name="connsiteY6345" fmla="*/ 496789 h 2907193"/>
                <a:gd name="connsiteX6346" fmla="*/ 2777596 w 4044707"/>
                <a:gd name="connsiteY6346" fmla="*/ 493643 h 2907193"/>
                <a:gd name="connsiteX6347" fmla="*/ 2775599 w 4044707"/>
                <a:gd name="connsiteY6347" fmla="*/ 491465 h 2907193"/>
                <a:gd name="connsiteX6348" fmla="*/ 2773603 w 4044707"/>
                <a:gd name="connsiteY6348" fmla="*/ 490618 h 2907193"/>
                <a:gd name="connsiteX6349" fmla="*/ 2765616 w 4044707"/>
                <a:gd name="connsiteY6349" fmla="*/ 490951 h 2907193"/>
                <a:gd name="connsiteX6350" fmla="*/ 2765284 w 4044707"/>
                <a:gd name="connsiteY6350" fmla="*/ 491162 h 2907193"/>
                <a:gd name="connsiteX6351" fmla="*/ 2765647 w 4044707"/>
                <a:gd name="connsiteY6351" fmla="*/ 490709 h 2907193"/>
                <a:gd name="connsiteX6352" fmla="*/ 2766463 w 4044707"/>
                <a:gd name="connsiteY6352" fmla="*/ 486927 h 2907193"/>
                <a:gd name="connsiteX6353" fmla="*/ 2767189 w 4044707"/>
                <a:gd name="connsiteY6353" fmla="*/ 485082 h 2907193"/>
                <a:gd name="connsiteX6354" fmla="*/ 2767582 w 4044707"/>
                <a:gd name="connsiteY6354" fmla="*/ 483115 h 2907193"/>
                <a:gd name="connsiteX6355" fmla="*/ 2767068 w 4044707"/>
                <a:gd name="connsiteY6355" fmla="*/ 480695 h 2907193"/>
                <a:gd name="connsiteX6356" fmla="*/ 2762954 w 4044707"/>
                <a:gd name="connsiteY6356" fmla="*/ 471106 h 2907193"/>
                <a:gd name="connsiteX6357" fmla="*/ 2761048 w 4044707"/>
                <a:gd name="connsiteY6357" fmla="*/ 468111 h 2907193"/>
                <a:gd name="connsiteX6358" fmla="*/ 2758870 w 4044707"/>
                <a:gd name="connsiteY6358" fmla="*/ 466054 h 2907193"/>
                <a:gd name="connsiteX6359" fmla="*/ 2756359 w 4044707"/>
                <a:gd name="connsiteY6359" fmla="*/ 465297 h 2907193"/>
                <a:gd name="connsiteX6360" fmla="*/ 2755089 w 4044707"/>
                <a:gd name="connsiteY6360" fmla="*/ 465721 h 2907193"/>
                <a:gd name="connsiteX6361" fmla="*/ 2754302 w 4044707"/>
                <a:gd name="connsiteY6361" fmla="*/ 466749 h 2907193"/>
                <a:gd name="connsiteX6362" fmla="*/ 2753667 w 4044707"/>
                <a:gd name="connsiteY6362" fmla="*/ 467959 h 2907193"/>
                <a:gd name="connsiteX6363" fmla="*/ 2752880 w 4044707"/>
                <a:gd name="connsiteY6363" fmla="*/ 468897 h 2907193"/>
                <a:gd name="connsiteX6364" fmla="*/ 2748040 w 4044707"/>
                <a:gd name="connsiteY6364" fmla="*/ 470652 h 2907193"/>
                <a:gd name="connsiteX6365" fmla="*/ 2745227 w 4044707"/>
                <a:gd name="connsiteY6365" fmla="*/ 473102 h 2907193"/>
                <a:gd name="connsiteX6366" fmla="*/ 2744501 w 4044707"/>
                <a:gd name="connsiteY6366" fmla="*/ 473253 h 2907193"/>
                <a:gd name="connsiteX6367" fmla="*/ 2744168 w 4044707"/>
                <a:gd name="connsiteY6367" fmla="*/ 473798 h 2907193"/>
                <a:gd name="connsiteX6368" fmla="*/ 2743896 w 4044707"/>
                <a:gd name="connsiteY6368" fmla="*/ 476279 h 2907193"/>
                <a:gd name="connsiteX6369" fmla="*/ 2744228 w 4044707"/>
                <a:gd name="connsiteY6369" fmla="*/ 477912 h 2907193"/>
                <a:gd name="connsiteX6370" fmla="*/ 2745136 w 4044707"/>
                <a:gd name="connsiteY6370" fmla="*/ 478729 h 2907193"/>
                <a:gd name="connsiteX6371" fmla="*/ 2745771 w 4044707"/>
                <a:gd name="connsiteY6371" fmla="*/ 480090 h 2907193"/>
                <a:gd name="connsiteX6372" fmla="*/ 2745257 w 4044707"/>
                <a:gd name="connsiteY6372" fmla="*/ 483478 h 2907193"/>
                <a:gd name="connsiteX6373" fmla="*/ 2745711 w 4044707"/>
                <a:gd name="connsiteY6373" fmla="*/ 484144 h 2907193"/>
                <a:gd name="connsiteX6374" fmla="*/ 2746195 w 4044707"/>
                <a:gd name="connsiteY6374" fmla="*/ 485747 h 2907193"/>
                <a:gd name="connsiteX6375" fmla="*/ 2746709 w 4044707"/>
                <a:gd name="connsiteY6375" fmla="*/ 486897 h 2907193"/>
                <a:gd name="connsiteX6376" fmla="*/ 2745197 w 4044707"/>
                <a:gd name="connsiteY6376" fmla="*/ 490588 h 2907193"/>
                <a:gd name="connsiteX6377" fmla="*/ 2743049 w 4044707"/>
                <a:gd name="connsiteY6377" fmla="*/ 493673 h 2907193"/>
                <a:gd name="connsiteX6378" fmla="*/ 2741687 w 4044707"/>
                <a:gd name="connsiteY6378" fmla="*/ 497001 h 2907193"/>
                <a:gd name="connsiteX6379" fmla="*/ 2742504 w 4044707"/>
                <a:gd name="connsiteY6379" fmla="*/ 501418 h 2907193"/>
                <a:gd name="connsiteX6380" fmla="*/ 2739872 w 4044707"/>
                <a:gd name="connsiteY6380" fmla="*/ 506409 h 2907193"/>
                <a:gd name="connsiteX6381" fmla="*/ 2733126 w 4044707"/>
                <a:gd name="connsiteY6381" fmla="*/ 510614 h 2907193"/>
                <a:gd name="connsiteX6382" fmla="*/ 2730131 w 4044707"/>
                <a:gd name="connsiteY6382" fmla="*/ 514093 h 2907193"/>
                <a:gd name="connsiteX6383" fmla="*/ 2728861 w 4044707"/>
                <a:gd name="connsiteY6383" fmla="*/ 518903 h 2907193"/>
                <a:gd name="connsiteX6384" fmla="*/ 2728952 w 4044707"/>
                <a:gd name="connsiteY6384" fmla="*/ 528190 h 2907193"/>
                <a:gd name="connsiteX6385" fmla="*/ 2727379 w 4044707"/>
                <a:gd name="connsiteY6385" fmla="*/ 532093 h 2907193"/>
                <a:gd name="connsiteX6386" fmla="*/ 2730161 w 4044707"/>
                <a:gd name="connsiteY6386" fmla="*/ 533666 h 2907193"/>
                <a:gd name="connsiteX6387" fmla="*/ 2736272 w 4044707"/>
                <a:gd name="connsiteY6387" fmla="*/ 531608 h 2907193"/>
                <a:gd name="connsiteX6388" fmla="*/ 2739116 w 4044707"/>
                <a:gd name="connsiteY6388" fmla="*/ 533726 h 2907193"/>
                <a:gd name="connsiteX6389" fmla="*/ 2737604 w 4044707"/>
                <a:gd name="connsiteY6389" fmla="*/ 537447 h 2907193"/>
                <a:gd name="connsiteX6390" fmla="*/ 2736515 w 4044707"/>
                <a:gd name="connsiteY6390" fmla="*/ 539474 h 2907193"/>
                <a:gd name="connsiteX6391" fmla="*/ 2735879 w 4044707"/>
                <a:gd name="connsiteY6391" fmla="*/ 541985 h 2907193"/>
                <a:gd name="connsiteX6392" fmla="*/ 2735667 w 4044707"/>
                <a:gd name="connsiteY6392" fmla="*/ 547158 h 2907193"/>
                <a:gd name="connsiteX6393" fmla="*/ 2736696 w 4044707"/>
                <a:gd name="connsiteY6393" fmla="*/ 549336 h 2907193"/>
                <a:gd name="connsiteX6394" fmla="*/ 2743835 w 4044707"/>
                <a:gd name="connsiteY6394" fmla="*/ 553299 h 2907193"/>
                <a:gd name="connsiteX6395" fmla="*/ 2730918 w 4044707"/>
                <a:gd name="connsiteY6395" fmla="*/ 552845 h 2907193"/>
                <a:gd name="connsiteX6396" fmla="*/ 2724353 w 4044707"/>
                <a:gd name="connsiteY6396" fmla="*/ 554721 h 2907193"/>
                <a:gd name="connsiteX6397" fmla="*/ 2715308 w 4044707"/>
                <a:gd name="connsiteY6397" fmla="*/ 561799 h 2907193"/>
                <a:gd name="connsiteX6398" fmla="*/ 2694163 w 4044707"/>
                <a:gd name="connsiteY6398" fmla="*/ 562949 h 2907193"/>
                <a:gd name="connsiteX6399" fmla="*/ 2691410 w 4044707"/>
                <a:gd name="connsiteY6399" fmla="*/ 565883 h 2907193"/>
                <a:gd name="connsiteX6400" fmla="*/ 2692620 w 4044707"/>
                <a:gd name="connsiteY6400" fmla="*/ 567124 h 2907193"/>
                <a:gd name="connsiteX6401" fmla="*/ 2695040 w 4044707"/>
                <a:gd name="connsiteY6401" fmla="*/ 568364 h 2907193"/>
                <a:gd name="connsiteX6402" fmla="*/ 2696189 w 4044707"/>
                <a:gd name="connsiteY6402" fmla="*/ 569453 h 2907193"/>
                <a:gd name="connsiteX6403" fmla="*/ 2693920 w 4044707"/>
                <a:gd name="connsiteY6403" fmla="*/ 573023 h 2907193"/>
                <a:gd name="connsiteX6404" fmla="*/ 2688506 w 4044707"/>
                <a:gd name="connsiteY6404" fmla="*/ 577560 h 2907193"/>
                <a:gd name="connsiteX6405" fmla="*/ 2684089 w 4044707"/>
                <a:gd name="connsiteY6405" fmla="*/ 585033 h 2907193"/>
                <a:gd name="connsiteX6406" fmla="*/ 2676949 w 4044707"/>
                <a:gd name="connsiteY6406" fmla="*/ 594350 h 2907193"/>
                <a:gd name="connsiteX6407" fmla="*/ 2676949 w 4044707"/>
                <a:gd name="connsiteY6407" fmla="*/ 596135 h 2907193"/>
                <a:gd name="connsiteX6408" fmla="*/ 2680065 w 4044707"/>
                <a:gd name="connsiteY6408" fmla="*/ 595711 h 2907193"/>
                <a:gd name="connsiteX6409" fmla="*/ 2681215 w 4044707"/>
                <a:gd name="connsiteY6409" fmla="*/ 596649 h 2907193"/>
                <a:gd name="connsiteX6410" fmla="*/ 2681759 w 4044707"/>
                <a:gd name="connsiteY6410" fmla="*/ 599674 h 2907193"/>
                <a:gd name="connsiteX6411" fmla="*/ 2681517 w 4044707"/>
                <a:gd name="connsiteY6411" fmla="*/ 603365 h 2907193"/>
                <a:gd name="connsiteX6412" fmla="*/ 2680549 w 4044707"/>
                <a:gd name="connsiteY6412" fmla="*/ 604877 h 2907193"/>
                <a:gd name="connsiteX6413" fmla="*/ 2677645 w 4044707"/>
                <a:gd name="connsiteY6413" fmla="*/ 604938 h 2907193"/>
                <a:gd name="connsiteX6414" fmla="*/ 2676102 w 4044707"/>
                <a:gd name="connsiteY6414" fmla="*/ 606723 h 2907193"/>
                <a:gd name="connsiteX6415" fmla="*/ 2671746 w 4044707"/>
                <a:gd name="connsiteY6415" fmla="*/ 615586 h 2907193"/>
                <a:gd name="connsiteX6416" fmla="*/ 2670718 w 4044707"/>
                <a:gd name="connsiteY6416" fmla="*/ 619156 h 2907193"/>
                <a:gd name="connsiteX6417" fmla="*/ 2673894 w 4044707"/>
                <a:gd name="connsiteY6417" fmla="*/ 619065 h 2907193"/>
                <a:gd name="connsiteX6418" fmla="*/ 2680307 w 4044707"/>
                <a:gd name="connsiteY6418" fmla="*/ 614709 h 2907193"/>
                <a:gd name="connsiteX6419" fmla="*/ 2700394 w 4044707"/>
                <a:gd name="connsiteY6419" fmla="*/ 610202 h 2907193"/>
                <a:gd name="connsiteX6420" fmla="*/ 2699457 w 4044707"/>
                <a:gd name="connsiteY6420" fmla="*/ 614165 h 2907193"/>
                <a:gd name="connsiteX6421" fmla="*/ 2699033 w 4044707"/>
                <a:gd name="connsiteY6421" fmla="*/ 615465 h 2907193"/>
                <a:gd name="connsiteX6422" fmla="*/ 2710982 w 4044707"/>
                <a:gd name="connsiteY6422" fmla="*/ 620608 h 2907193"/>
                <a:gd name="connsiteX6423" fmla="*/ 2713523 w 4044707"/>
                <a:gd name="connsiteY6423" fmla="*/ 625993 h 2907193"/>
                <a:gd name="connsiteX6424" fmla="*/ 2710740 w 4044707"/>
                <a:gd name="connsiteY6424" fmla="*/ 627143 h 2907193"/>
                <a:gd name="connsiteX6425" fmla="*/ 2707957 w 4044707"/>
                <a:gd name="connsiteY6425" fmla="*/ 627203 h 2907193"/>
                <a:gd name="connsiteX6426" fmla="*/ 2705204 w 4044707"/>
                <a:gd name="connsiteY6426" fmla="*/ 626265 h 2907193"/>
                <a:gd name="connsiteX6427" fmla="*/ 2702451 w 4044707"/>
                <a:gd name="connsiteY6427" fmla="*/ 624420 h 2907193"/>
                <a:gd name="connsiteX6428" fmla="*/ 2700122 w 4044707"/>
                <a:gd name="connsiteY6428" fmla="*/ 621364 h 2907193"/>
                <a:gd name="connsiteX6429" fmla="*/ 2699033 w 4044707"/>
                <a:gd name="connsiteY6429" fmla="*/ 620729 h 2907193"/>
                <a:gd name="connsiteX6430" fmla="*/ 2697702 w 4044707"/>
                <a:gd name="connsiteY6430" fmla="*/ 621122 h 2907193"/>
                <a:gd name="connsiteX6431" fmla="*/ 2694737 w 4044707"/>
                <a:gd name="connsiteY6431" fmla="*/ 623754 h 2907193"/>
                <a:gd name="connsiteX6432" fmla="*/ 2691258 w 4044707"/>
                <a:gd name="connsiteY6432" fmla="*/ 624934 h 2907193"/>
                <a:gd name="connsiteX6433" fmla="*/ 2689171 w 4044707"/>
                <a:gd name="connsiteY6433" fmla="*/ 626326 h 2907193"/>
                <a:gd name="connsiteX6434" fmla="*/ 2682788 w 4044707"/>
                <a:gd name="connsiteY6434" fmla="*/ 632558 h 2907193"/>
                <a:gd name="connsiteX6435" fmla="*/ 2674922 w 4044707"/>
                <a:gd name="connsiteY6435" fmla="*/ 636641 h 2907193"/>
                <a:gd name="connsiteX6436" fmla="*/ 2692801 w 4044707"/>
                <a:gd name="connsiteY6436" fmla="*/ 645384 h 2907193"/>
                <a:gd name="connsiteX6437" fmla="*/ 2702270 w 4044707"/>
                <a:gd name="connsiteY6437" fmla="*/ 646866 h 2907193"/>
                <a:gd name="connsiteX6438" fmla="*/ 2706656 w 4044707"/>
                <a:gd name="connsiteY6438" fmla="*/ 650224 h 2907193"/>
                <a:gd name="connsiteX6439" fmla="*/ 2706656 w 4044707"/>
                <a:gd name="connsiteY6439" fmla="*/ 657787 h 2907193"/>
                <a:gd name="connsiteX6440" fmla="*/ 2700515 w 4044707"/>
                <a:gd name="connsiteY6440" fmla="*/ 650164 h 2907193"/>
                <a:gd name="connsiteX6441" fmla="*/ 2684724 w 4044707"/>
                <a:gd name="connsiteY6441" fmla="*/ 647532 h 2907193"/>
                <a:gd name="connsiteX6442" fmla="*/ 2674287 w 4044707"/>
                <a:gd name="connsiteY6442" fmla="*/ 640725 h 2907193"/>
                <a:gd name="connsiteX6443" fmla="*/ 2670929 w 4044707"/>
                <a:gd name="connsiteY6443" fmla="*/ 642540 h 2907193"/>
                <a:gd name="connsiteX6444" fmla="*/ 2667693 w 4044707"/>
                <a:gd name="connsiteY6444" fmla="*/ 645566 h 2907193"/>
                <a:gd name="connsiteX6445" fmla="*/ 2661430 w 4044707"/>
                <a:gd name="connsiteY6445" fmla="*/ 647955 h 2907193"/>
                <a:gd name="connsiteX6446" fmla="*/ 2654352 w 4044707"/>
                <a:gd name="connsiteY6446" fmla="*/ 652765 h 2907193"/>
                <a:gd name="connsiteX6447" fmla="*/ 2651477 w 4044707"/>
                <a:gd name="connsiteY6447" fmla="*/ 655881 h 2907193"/>
                <a:gd name="connsiteX6448" fmla="*/ 2657105 w 4044707"/>
                <a:gd name="connsiteY6448" fmla="*/ 660873 h 2907193"/>
                <a:gd name="connsiteX6449" fmla="*/ 2660462 w 4044707"/>
                <a:gd name="connsiteY6449" fmla="*/ 662143 h 2907193"/>
                <a:gd name="connsiteX6450" fmla="*/ 2662882 w 4044707"/>
                <a:gd name="connsiteY6450" fmla="*/ 660268 h 2907193"/>
                <a:gd name="connsiteX6451" fmla="*/ 2665514 w 4044707"/>
                <a:gd name="connsiteY6451" fmla="*/ 657364 h 2907193"/>
                <a:gd name="connsiteX6452" fmla="*/ 2668479 w 4044707"/>
                <a:gd name="connsiteY6452" fmla="*/ 658846 h 2907193"/>
                <a:gd name="connsiteX6453" fmla="*/ 2671141 w 4044707"/>
                <a:gd name="connsiteY6453" fmla="*/ 662567 h 2907193"/>
                <a:gd name="connsiteX6454" fmla="*/ 2672896 w 4044707"/>
                <a:gd name="connsiteY6454" fmla="*/ 666348 h 2907193"/>
                <a:gd name="connsiteX6455" fmla="*/ 2677645 w 4044707"/>
                <a:gd name="connsiteY6455" fmla="*/ 672641 h 2907193"/>
                <a:gd name="connsiteX6456" fmla="*/ 2690321 w 4044707"/>
                <a:gd name="connsiteY6456" fmla="*/ 674940 h 2907193"/>
                <a:gd name="connsiteX6457" fmla="*/ 2696219 w 4044707"/>
                <a:gd name="connsiteY6457" fmla="*/ 680264 h 2907193"/>
                <a:gd name="connsiteX6458" fmla="*/ 2693829 w 4044707"/>
                <a:gd name="connsiteY6458" fmla="*/ 681051 h 2907193"/>
                <a:gd name="connsiteX6459" fmla="*/ 2685874 w 4044707"/>
                <a:gd name="connsiteY6459" fmla="*/ 676785 h 2907193"/>
                <a:gd name="connsiteX6460" fmla="*/ 2677161 w 4044707"/>
                <a:gd name="connsiteY6460" fmla="*/ 678933 h 2907193"/>
                <a:gd name="connsiteX6461" fmla="*/ 2674166 w 4044707"/>
                <a:gd name="connsiteY6461" fmla="*/ 678691 h 2907193"/>
                <a:gd name="connsiteX6462" fmla="*/ 2672200 w 4044707"/>
                <a:gd name="connsiteY6462" fmla="*/ 677844 h 2907193"/>
                <a:gd name="connsiteX6463" fmla="*/ 2670264 w 4044707"/>
                <a:gd name="connsiteY6463" fmla="*/ 676392 h 2907193"/>
                <a:gd name="connsiteX6464" fmla="*/ 2668479 w 4044707"/>
                <a:gd name="connsiteY6464" fmla="*/ 674153 h 2907193"/>
                <a:gd name="connsiteX6465" fmla="*/ 2665121 w 4044707"/>
                <a:gd name="connsiteY6465" fmla="*/ 667377 h 2907193"/>
                <a:gd name="connsiteX6466" fmla="*/ 2663185 w 4044707"/>
                <a:gd name="connsiteY6466" fmla="*/ 667044 h 2907193"/>
                <a:gd name="connsiteX6467" fmla="*/ 2661158 w 4044707"/>
                <a:gd name="connsiteY6467" fmla="*/ 667952 h 2907193"/>
                <a:gd name="connsiteX6468" fmla="*/ 2659040 w 4044707"/>
                <a:gd name="connsiteY6468" fmla="*/ 668284 h 2907193"/>
                <a:gd name="connsiteX6469" fmla="*/ 2655108 w 4044707"/>
                <a:gd name="connsiteY6469" fmla="*/ 665108 h 2907193"/>
                <a:gd name="connsiteX6470" fmla="*/ 2653020 w 4044707"/>
                <a:gd name="connsiteY6470" fmla="*/ 664140 h 2907193"/>
                <a:gd name="connsiteX6471" fmla="*/ 2648513 w 4044707"/>
                <a:gd name="connsiteY6471" fmla="*/ 667347 h 2907193"/>
                <a:gd name="connsiteX6472" fmla="*/ 2639407 w 4044707"/>
                <a:gd name="connsiteY6472" fmla="*/ 670493 h 2907193"/>
                <a:gd name="connsiteX6473" fmla="*/ 2638772 w 4044707"/>
                <a:gd name="connsiteY6473" fmla="*/ 671037 h 2907193"/>
                <a:gd name="connsiteX6474" fmla="*/ 2637985 w 4044707"/>
                <a:gd name="connsiteY6474" fmla="*/ 672641 h 2907193"/>
                <a:gd name="connsiteX6475" fmla="*/ 2637653 w 4044707"/>
                <a:gd name="connsiteY6475" fmla="*/ 674304 h 2907193"/>
                <a:gd name="connsiteX6476" fmla="*/ 2637653 w 4044707"/>
                <a:gd name="connsiteY6476" fmla="*/ 676331 h 2907193"/>
                <a:gd name="connsiteX6477" fmla="*/ 2637955 w 4044707"/>
                <a:gd name="connsiteY6477" fmla="*/ 678025 h 2907193"/>
                <a:gd name="connsiteX6478" fmla="*/ 2638651 w 4044707"/>
                <a:gd name="connsiteY6478" fmla="*/ 678751 h 2907193"/>
                <a:gd name="connsiteX6479" fmla="*/ 2639740 w 4044707"/>
                <a:gd name="connsiteY6479" fmla="*/ 679296 h 2907193"/>
                <a:gd name="connsiteX6480" fmla="*/ 2641192 w 4044707"/>
                <a:gd name="connsiteY6480" fmla="*/ 681656 h 2907193"/>
                <a:gd name="connsiteX6481" fmla="*/ 2642432 w 4044707"/>
                <a:gd name="connsiteY6481" fmla="*/ 682200 h 2907193"/>
                <a:gd name="connsiteX6482" fmla="*/ 2644943 w 4044707"/>
                <a:gd name="connsiteY6482" fmla="*/ 682503 h 2907193"/>
                <a:gd name="connsiteX6483" fmla="*/ 2645942 w 4044707"/>
                <a:gd name="connsiteY6483" fmla="*/ 683561 h 2907193"/>
                <a:gd name="connsiteX6484" fmla="*/ 2646607 w 4044707"/>
                <a:gd name="connsiteY6484" fmla="*/ 685800 h 2907193"/>
                <a:gd name="connsiteX6485" fmla="*/ 2644701 w 4044707"/>
                <a:gd name="connsiteY6485" fmla="*/ 687010 h 2907193"/>
                <a:gd name="connsiteX6486" fmla="*/ 2642795 w 4044707"/>
                <a:gd name="connsiteY6486" fmla="*/ 687434 h 2907193"/>
                <a:gd name="connsiteX6487" fmla="*/ 2640889 w 4044707"/>
                <a:gd name="connsiteY6487" fmla="*/ 687071 h 2907193"/>
                <a:gd name="connsiteX6488" fmla="*/ 2636896 w 4044707"/>
                <a:gd name="connsiteY6488" fmla="*/ 684650 h 2907193"/>
                <a:gd name="connsiteX6489" fmla="*/ 2636231 w 4044707"/>
                <a:gd name="connsiteY6489" fmla="*/ 683924 h 2907193"/>
                <a:gd name="connsiteX6490" fmla="*/ 2636049 w 4044707"/>
                <a:gd name="connsiteY6490" fmla="*/ 682745 h 2907193"/>
                <a:gd name="connsiteX6491" fmla="*/ 2636110 w 4044707"/>
                <a:gd name="connsiteY6491" fmla="*/ 680990 h 2907193"/>
                <a:gd name="connsiteX6492" fmla="*/ 2635959 w 4044707"/>
                <a:gd name="connsiteY6492" fmla="*/ 679417 h 2907193"/>
                <a:gd name="connsiteX6493" fmla="*/ 2632359 w 4044707"/>
                <a:gd name="connsiteY6493" fmla="*/ 676422 h 2907193"/>
                <a:gd name="connsiteX6494" fmla="*/ 2629818 w 4044707"/>
                <a:gd name="connsiteY6494" fmla="*/ 671824 h 2907193"/>
                <a:gd name="connsiteX6495" fmla="*/ 2627095 w 4044707"/>
                <a:gd name="connsiteY6495" fmla="*/ 668224 h 2907193"/>
                <a:gd name="connsiteX6496" fmla="*/ 2623858 w 4044707"/>
                <a:gd name="connsiteY6496" fmla="*/ 669101 h 2907193"/>
                <a:gd name="connsiteX6497" fmla="*/ 2620288 w 4044707"/>
                <a:gd name="connsiteY6497" fmla="*/ 671975 h 2907193"/>
                <a:gd name="connsiteX6498" fmla="*/ 2608672 w 4044707"/>
                <a:gd name="connsiteY6498" fmla="*/ 675091 h 2907193"/>
                <a:gd name="connsiteX6499" fmla="*/ 2597328 w 4044707"/>
                <a:gd name="connsiteY6499" fmla="*/ 682835 h 2907193"/>
                <a:gd name="connsiteX6500" fmla="*/ 2590521 w 4044707"/>
                <a:gd name="connsiteY6500" fmla="*/ 685074 h 2907193"/>
                <a:gd name="connsiteX6501" fmla="*/ 2587254 w 4044707"/>
                <a:gd name="connsiteY6501" fmla="*/ 688160 h 2907193"/>
                <a:gd name="connsiteX6502" fmla="*/ 2584713 w 4044707"/>
                <a:gd name="connsiteY6502" fmla="*/ 692576 h 2907193"/>
                <a:gd name="connsiteX6503" fmla="*/ 2583805 w 4044707"/>
                <a:gd name="connsiteY6503" fmla="*/ 697810 h 2907193"/>
                <a:gd name="connsiteX6504" fmla="*/ 2584168 w 4044707"/>
                <a:gd name="connsiteY6504" fmla="*/ 701289 h 2907193"/>
                <a:gd name="connsiteX6505" fmla="*/ 2584864 w 4044707"/>
                <a:gd name="connsiteY6505" fmla="*/ 703467 h 2907193"/>
                <a:gd name="connsiteX6506" fmla="*/ 2585862 w 4044707"/>
                <a:gd name="connsiteY6506" fmla="*/ 705010 h 2907193"/>
                <a:gd name="connsiteX6507" fmla="*/ 2587254 w 4044707"/>
                <a:gd name="connsiteY6507" fmla="*/ 706462 h 2907193"/>
                <a:gd name="connsiteX6508" fmla="*/ 2589039 w 4044707"/>
                <a:gd name="connsiteY6508" fmla="*/ 707642 h 2907193"/>
                <a:gd name="connsiteX6509" fmla="*/ 2590400 w 4044707"/>
                <a:gd name="connsiteY6509" fmla="*/ 708126 h 2907193"/>
                <a:gd name="connsiteX6510" fmla="*/ 2590763 w 4044707"/>
                <a:gd name="connsiteY6510" fmla="*/ 709275 h 2907193"/>
                <a:gd name="connsiteX6511" fmla="*/ 2589674 w 4044707"/>
                <a:gd name="connsiteY6511" fmla="*/ 712512 h 2907193"/>
                <a:gd name="connsiteX6512" fmla="*/ 2587980 w 4044707"/>
                <a:gd name="connsiteY6512" fmla="*/ 713692 h 2907193"/>
                <a:gd name="connsiteX6513" fmla="*/ 2585620 w 4044707"/>
                <a:gd name="connsiteY6513" fmla="*/ 712270 h 2907193"/>
                <a:gd name="connsiteX6514" fmla="*/ 2581718 w 4044707"/>
                <a:gd name="connsiteY6514" fmla="*/ 709910 h 2907193"/>
                <a:gd name="connsiteX6515" fmla="*/ 2575970 w 4044707"/>
                <a:gd name="connsiteY6515" fmla="*/ 713662 h 2907193"/>
                <a:gd name="connsiteX6516" fmla="*/ 2574820 w 4044707"/>
                <a:gd name="connsiteY6516" fmla="*/ 715083 h 2907193"/>
                <a:gd name="connsiteX6517" fmla="*/ 2573943 w 4044707"/>
                <a:gd name="connsiteY6517" fmla="*/ 718472 h 2907193"/>
                <a:gd name="connsiteX6518" fmla="*/ 2574216 w 4044707"/>
                <a:gd name="connsiteY6518" fmla="*/ 720135 h 2907193"/>
                <a:gd name="connsiteX6519" fmla="*/ 2575153 w 4044707"/>
                <a:gd name="connsiteY6519" fmla="*/ 721497 h 2907193"/>
                <a:gd name="connsiteX6520" fmla="*/ 2576182 w 4044707"/>
                <a:gd name="connsiteY6520" fmla="*/ 723856 h 2907193"/>
                <a:gd name="connsiteX6521" fmla="*/ 2577271 w 4044707"/>
                <a:gd name="connsiteY6521" fmla="*/ 727729 h 2907193"/>
                <a:gd name="connsiteX6522" fmla="*/ 2577513 w 4044707"/>
                <a:gd name="connsiteY6522" fmla="*/ 729725 h 2907193"/>
                <a:gd name="connsiteX6523" fmla="*/ 2577513 w 4044707"/>
                <a:gd name="connsiteY6523" fmla="*/ 733325 h 2907193"/>
                <a:gd name="connsiteX6524" fmla="*/ 2578602 w 4044707"/>
                <a:gd name="connsiteY6524" fmla="*/ 735775 h 2907193"/>
                <a:gd name="connsiteX6525" fmla="*/ 2580992 w 4044707"/>
                <a:gd name="connsiteY6525" fmla="*/ 736532 h 2907193"/>
                <a:gd name="connsiteX6526" fmla="*/ 2594484 w 4044707"/>
                <a:gd name="connsiteY6526" fmla="*/ 736532 h 2907193"/>
                <a:gd name="connsiteX6527" fmla="*/ 2601563 w 4044707"/>
                <a:gd name="connsiteY6527" fmla="*/ 732992 h 2907193"/>
                <a:gd name="connsiteX6528" fmla="*/ 2612574 w 4044707"/>
                <a:gd name="connsiteY6528" fmla="*/ 733900 h 2907193"/>
                <a:gd name="connsiteX6529" fmla="*/ 2616598 w 4044707"/>
                <a:gd name="connsiteY6529" fmla="*/ 729816 h 2907193"/>
                <a:gd name="connsiteX6530" fmla="*/ 2617808 w 4044707"/>
                <a:gd name="connsiteY6530" fmla="*/ 727517 h 2907193"/>
                <a:gd name="connsiteX6531" fmla="*/ 2625522 w 4044707"/>
                <a:gd name="connsiteY6531" fmla="*/ 718895 h 2907193"/>
                <a:gd name="connsiteX6532" fmla="*/ 2626581 w 4044707"/>
                <a:gd name="connsiteY6532" fmla="*/ 718532 h 2907193"/>
                <a:gd name="connsiteX6533" fmla="*/ 2627700 w 4044707"/>
                <a:gd name="connsiteY6533" fmla="*/ 719107 h 2907193"/>
                <a:gd name="connsiteX6534" fmla="*/ 2629727 w 4044707"/>
                <a:gd name="connsiteY6534" fmla="*/ 721587 h 2907193"/>
                <a:gd name="connsiteX6535" fmla="*/ 2630725 w 4044707"/>
                <a:gd name="connsiteY6535" fmla="*/ 722132 h 2907193"/>
                <a:gd name="connsiteX6536" fmla="*/ 2632540 w 4044707"/>
                <a:gd name="connsiteY6536" fmla="*/ 722556 h 2907193"/>
                <a:gd name="connsiteX6537" fmla="*/ 2635021 w 4044707"/>
                <a:gd name="connsiteY6537" fmla="*/ 723766 h 2907193"/>
                <a:gd name="connsiteX6538" fmla="*/ 2637078 w 4044707"/>
                <a:gd name="connsiteY6538" fmla="*/ 725853 h 2907193"/>
                <a:gd name="connsiteX6539" fmla="*/ 2637592 w 4044707"/>
                <a:gd name="connsiteY6539" fmla="*/ 728908 h 2907193"/>
                <a:gd name="connsiteX6540" fmla="*/ 2635989 w 4044707"/>
                <a:gd name="connsiteY6540" fmla="*/ 731540 h 2907193"/>
                <a:gd name="connsiteX6541" fmla="*/ 2630150 w 4044707"/>
                <a:gd name="connsiteY6541" fmla="*/ 733023 h 2907193"/>
                <a:gd name="connsiteX6542" fmla="*/ 2627972 w 4044707"/>
                <a:gd name="connsiteY6542" fmla="*/ 734233 h 2907193"/>
                <a:gd name="connsiteX6543" fmla="*/ 2632510 w 4044707"/>
                <a:gd name="connsiteY6543" fmla="*/ 737621 h 2907193"/>
                <a:gd name="connsiteX6544" fmla="*/ 2653989 w 4044707"/>
                <a:gd name="connsiteY6544" fmla="*/ 732327 h 2907193"/>
                <a:gd name="connsiteX6545" fmla="*/ 2660795 w 4044707"/>
                <a:gd name="connsiteY6545" fmla="*/ 723251 h 2907193"/>
                <a:gd name="connsiteX6546" fmla="*/ 2664516 w 4044707"/>
                <a:gd name="connsiteY6546" fmla="*/ 720287 h 2907193"/>
                <a:gd name="connsiteX6547" fmla="*/ 2671958 w 4044707"/>
                <a:gd name="connsiteY6547" fmla="*/ 719379 h 2907193"/>
                <a:gd name="connsiteX6548" fmla="*/ 2676254 w 4044707"/>
                <a:gd name="connsiteY6548" fmla="*/ 715870 h 2907193"/>
                <a:gd name="connsiteX6549" fmla="*/ 2680640 w 4044707"/>
                <a:gd name="connsiteY6549" fmla="*/ 713662 h 2907193"/>
                <a:gd name="connsiteX6550" fmla="*/ 2682849 w 4044707"/>
                <a:gd name="connsiteY6550" fmla="*/ 713389 h 2907193"/>
                <a:gd name="connsiteX6551" fmla="*/ 2682606 w 4044707"/>
                <a:gd name="connsiteY6551" fmla="*/ 716324 h 2907193"/>
                <a:gd name="connsiteX6552" fmla="*/ 2674922 w 4044707"/>
                <a:gd name="connsiteY6552" fmla="*/ 734233 h 2907193"/>
                <a:gd name="connsiteX6553" fmla="*/ 2689473 w 4044707"/>
                <a:gd name="connsiteY6553" fmla="*/ 733416 h 2907193"/>
                <a:gd name="connsiteX6554" fmla="*/ 2709954 w 4044707"/>
                <a:gd name="connsiteY6554" fmla="*/ 746908 h 2907193"/>
                <a:gd name="connsiteX6555" fmla="*/ 2715611 w 4044707"/>
                <a:gd name="connsiteY6555" fmla="*/ 747997 h 2907193"/>
                <a:gd name="connsiteX6556" fmla="*/ 2710075 w 4044707"/>
                <a:gd name="connsiteY6556" fmla="*/ 750084 h 2907193"/>
                <a:gd name="connsiteX6557" fmla="*/ 2699275 w 4044707"/>
                <a:gd name="connsiteY6557" fmla="*/ 743278 h 2907193"/>
                <a:gd name="connsiteX6558" fmla="*/ 2682213 w 4044707"/>
                <a:gd name="connsiteY6558" fmla="*/ 739103 h 2907193"/>
                <a:gd name="connsiteX6559" fmla="*/ 2667662 w 4044707"/>
                <a:gd name="connsiteY6559" fmla="*/ 740434 h 2907193"/>
                <a:gd name="connsiteX6560" fmla="*/ 2664577 w 4044707"/>
                <a:gd name="connsiteY6560" fmla="*/ 742824 h 2907193"/>
                <a:gd name="connsiteX6561" fmla="*/ 2682788 w 4044707"/>
                <a:gd name="connsiteY6561" fmla="*/ 752051 h 2907193"/>
                <a:gd name="connsiteX6562" fmla="*/ 2685964 w 4044707"/>
                <a:gd name="connsiteY6562" fmla="*/ 756558 h 2907193"/>
                <a:gd name="connsiteX6563" fmla="*/ 2677796 w 4044707"/>
                <a:gd name="connsiteY6563" fmla="*/ 754985 h 2907193"/>
                <a:gd name="connsiteX6564" fmla="*/ 2660916 w 4044707"/>
                <a:gd name="connsiteY6564" fmla="*/ 744095 h 2907193"/>
                <a:gd name="connsiteX6565" fmla="*/ 2652869 w 4044707"/>
                <a:gd name="connsiteY6565" fmla="*/ 744700 h 2907193"/>
                <a:gd name="connsiteX6566" fmla="*/ 2653353 w 4044707"/>
                <a:gd name="connsiteY6566" fmla="*/ 747059 h 2907193"/>
                <a:gd name="connsiteX6567" fmla="*/ 2653626 w 4044707"/>
                <a:gd name="connsiteY6567" fmla="*/ 747967 h 2907193"/>
                <a:gd name="connsiteX6568" fmla="*/ 2651689 w 4044707"/>
                <a:gd name="connsiteY6568" fmla="*/ 751264 h 2907193"/>
                <a:gd name="connsiteX6569" fmla="*/ 2649723 w 4044707"/>
                <a:gd name="connsiteY6569" fmla="*/ 751748 h 2907193"/>
                <a:gd name="connsiteX6570" fmla="*/ 2648664 w 4044707"/>
                <a:gd name="connsiteY6570" fmla="*/ 752958 h 2907193"/>
                <a:gd name="connsiteX6571" fmla="*/ 2649451 w 4044707"/>
                <a:gd name="connsiteY6571" fmla="*/ 758373 h 2907193"/>
                <a:gd name="connsiteX6572" fmla="*/ 2650358 w 4044707"/>
                <a:gd name="connsiteY6572" fmla="*/ 761338 h 2907193"/>
                <a:gd name="connsiteX6573" fmla="*/ 2651689 w 4044707"/>
                <a:gd name="connsiteY6573" fmla="*/ 764091 h 2907193"/>
                <a:gd name="connsiteX6574" fmla="*/ 2653232 w 4044707"/>
                <a:gd name="connsiteY6574" fmla="*/ 766602 h 2907193"/>
                <a:gd name="connsiteX6575" fmla="*/ 2654956 w 4044707"/>
                <a:gd name="connsiteY6575" fmla="*/ 768659 h 2907193"/>
                <a:gd name="connsiteX6576" fmla="*/ 2663366 w 4044707"/>
                <a:gd name="connsiteY6576" fmla="*/ 775072 h 2907193"/>
                <a:gd name="connsiteX6577" fmla="*/ 2667178 w 4044707"/>
                <a:gd name="connsiteY6577" fmla="*/ 779549 h 2907193"/>
                <a:gd name="connsiteX6578" fmla="*/ 2670203 w 4044707"/>
                <a:gd name="connsiteY6578" fmla="*/ 787263 h 2907193"/>
                <a:gd name="connsiteX6579" fmla="*/ 2665575 w 4044707"/>
                <a:gd name="connsiteY6579" fmla="*/ 788020 h 2907193"/>
                <a:gd name="connsiteX6580" fmla="*/ 2663366 w 4044707"/>
                <a:gd name="connsiteY6580" fmla="*/ 789865 h 2907193"/>
                <a:gd name="connsiteX6581" fmla="*/ 2663608 w 4044707"/>
                <a:gd name="connsiteY6581" fmla="*/ 793465 h 2907193"/>
                <a:gd name="connsiteX6582" fmla="*/ 2664486 w 4044707"/>
                <a:gd name="connsiteY6582" fmla="*/ 796732 h 2907193"/>
                <a:gd name="connsiteX6583" fmla="*/ 2664577 w 4044707"/>
                <a:gd name="connsiteY6583" fmla="*/ 800332 h 2907193"/>
                <a:gd name="connsiteX6584" fmla="*/ 2663669 w 4044707"/>
                <a:gd name="connsiteY6584" fmla="*/ 803236 h 2907193"/>
                <a:gd name="connsiteX6585" fmla="*/ 2661551 w 4044707"/>
                <a:gd name="connsiteY6585" fmla="*/ 804446 h 2907193"/>
                <a:gd name="connsiteX6586" fmla="*/ 2660009 w 4044707"/>
                <a:gd name="connsiteY6586" fmla="*/ 803690 h 2907193"/>
                <a:gd name="connsiteX6587" fmla="*/ 2660130 w 4044707"/>
                <a:gd name="connsiteY6587" fmla="*/ 801572 h 2907193"/>
                <a:gd name="connsiteX6588" fmla="*/ 2660856 w 4044707"/>
                <a:gd name="connsiteY6588" fmla="*/ 798335 h 2907193"/>
                <a:gd name="connsiteX6589" fmla="*/ 2661188 w 4044707"/>
                <a:gd name="connsiteY6589" fmla="*/ 794221 h 2907193"/>
                <a:gd name="connsiteX6590" fmla="*/ 2660825 w 4044707"/>
                <a:gd name="connsiteY6590" fmla="*/ 792890 h 2907193"/>
                <a:gd name="connsiteX6591" fmla="*/ 2660130 w 4044707"/>
                <a:gd name="connsiteY6591" fmla="*/ 791831 h 2907193"/>
                <a:gd name="connsiteX6592" fmla="*/ 2659434 w 4044707"/>
                <a:gd name="connsiteY6592" fmla="*/ 790470 h 2907193"/>
                <a:gd name="connsiteX6593" fmla="*/ 2659131 w 4044707"/>
                <a:gd name="connsiteY6593" fmla="*/ 788171 h 2907193"/>
                <a:gd name="connsiteX6594" fmla="*/ 2659373 w 4044707"/>
                <a:gd name="connsiteY6594" fmla="*/ 787082 h 2907193"/>
                <a:gd name="connsiteX6595" fmla="*/ 2661188 w 4044707"/>
                <a:gd name="connsiteY6595" fmla="*/ 782302 h 2907193"/>
                <a:gd name="connsiteX6596" fmla="*/ 2650449 w 4044707"/>
                <a:gd name="connsiteY6596" fmla="*/ 775193 h 2907193"/>
                <a:gd name="connsiteX6597" fmla="*/ 2647726 w 4044707"/>
                <a:gd name="connsiteY6597" fmla="*/ 771139 h 2907193"/>
                <a:gd name="connsiteX6598" fmla="*/ 2647363 w 4044707"/>
                <a:gd name="connsiteY6598" fmla="*/ 769294 h 2907193"/>
                <a:gd name="connsiteX6599" fmla="*/ 2646365 w 4044707"/>
                <a:gd name="connsiteY6599" fmla="*/ 761822 h 2907193"/>
                <a:gd name="connsiteX6600" fmla="*/ 2645609 w 4044707"/>
                <a:gd name="connsiteY6600" fmla="*/ 760824 h 2907193"/>
                <a:gd name="connsiteX6601" fmla="*/ 2642553 w 4044707"/>
                <a:gd name="connsiteY6601" fmla="*/ 754047 h 2907193"/>
                <a:gd name="connsiteX6602" fmla="*/ 2640769 w 4044707"/>
                <a:gd name="connsiteY6602" fmla="*/ 753019 h 2907193"/>
                <a:gd name="connsiteX6603" fmla="*/ 2632691 w 4044707"/>
                <a:gd name="connsiteY6603" fmla="*/ 755590 h 2907193"/>
                <a:gd name="connsiteX6604" fmla="*/ 2630937 w 4044707"/>
                <a:gd name="connsiteY6604" fmla="*/ 756709 h 2907193"/>
                <a:gd name="connsiteX6605" fmla="*/ 2627428 w 4044707"/>
                <a:gd name="connsiteY6605" fmla="*/ 760158 h 2907193"/>
                <a:gd name="connsiteX6606" fmla="*/ 2612604 w 4044707"/>
                <a:gd name="connsiteY6606" fmla="*/ 765452 h 2907193"/>
                <a:gd name="connsiteX6607" fmla="*/ 2610245 w 4044707"/>
                <a:gd name="connsiteY6607" fmla="*/ 765301 h 2907193"/>
                <a:gd name="connsiteX6608" fmla="*/ 2611455 w 4044707"/>
                <a:gd name="connsiteY6608" fmla="*/ 763183 h 2907193"/>
                <a:gd name="connsiteX6609" fmla="*/ 2614994 w 4044707"/>
                <a:gd name="connsiteY6609" fmla="*/ 758706 h 2907193"/>
                <a:gd name="connsiteX6610" fmla="*/ 2615751 w 4044707"/>
                <a:gd name="connsiteY6610" fmla="*/ 757496 h 2907193"/>
                <a:gd name="connsiteX6611" fmla="*/ 2614843 w 4044707"/>
                <a:gd name="connsiteY6611" fmla="*/ 753109 h 2907193"/>
                <a:gd name="connsiteX6612" fmla="*/ 2612756 w 4044707"/>
                <a:gd name="connsiteY6612" fmla="*/ 751627 h 2907193"/>
                <a:gd name="connsiteX6613" fmla="*/ 2608127 w 4044707"/>
                <a:gd name="connsiteY6613" fmla="*/ 751415 h 2907193"/>
                <a:gd name="connsiteX6614" fmla="*/ 2599960 w 4044707"/>
                <a:gd name="connsiteY6614" fmla="*/ 745849 h 2907193"/>
                <a:gd name="connsiteX6615" fmla="*/ 2597207 w 4044707"/>
                <a:gd name="connsiteY6615" fmla="*/ 744851 h 2907193"/>
                <a:gd name="connsiteX6616" fmla="*/ 2569859 w 4044707"/>
                <a:gd name="connsiteY6616" fmla="*/ 748905 h 2907193"/>
                <a:gd name="connsiteX6617" fmla="*/ 2563143 w 4044707"/>
                <a:gd name="connsiteY6617" fmla="*/ 753533 h 2907193"/>
                <a:gd name="connsiteX6618" fmla="*/ 2553856 w 4044707"/>
                <a:gd name="connsiteY6618" fmla="*/ 755711 h 2907193"/>
                <a:gd name="connsiteX6619" fmla="*/ 2549439 w 4044707"/>
                <a:gd name="connsiteY6619" fmla="*/ 758434 h 2907193"/>
                <a:gd name="connsiteX6620" fmla="*/ 2550952 w 4044707"/>
                <a:gd name="connsiteY6620" fmla="*/ 760007 h 2907193"/>
                <a:gd name="connsiteX6621" fmla="*/ 2554038 w 4044707"/>
                <a:gd name="connsiteY6621" fmla="*/ 759523 h 2907193"/>
                <a:gd name="connsiteX6622" fmla="*/ 2555611 w 4044707"/>
                <a:gd name="connsiteY6622" fmla="*/ 760128 h 2907193"/>
                <a:gd name="connsiteX6623" fmla="*/ 2551557 w 4044707"/>
                <a:gd name="connsiteY6623" fmla="*/ 763395 h 2907193"/>
                <a:gd name="connsiteX6624" fmla="*/ 2553887 w 4044707"/>
                <a:gd name="connsiteY6624" fmla="*/ 765210 h 2907193"/>
                <a:gd name="connsiteX6625" fmla="*/ 2559271 w 4044707"/>
                <a:gd name="connsiteY6625" fmla="*/ 763940 h 2907193"/>
                <a:gd name="connsiteX6626" fmla="*/ 2561540 w 4044707"/>
                <a:gd name="connsiteY6626" fmla="*/ 766057 h 2907193"/>
                <a:gd name="connsiteX6627" fmla="*/ 2563295 w 4044707"/>
                <a:gd name="connsiteY6627" fmla="*/ 768356 h 2907193"/>
                <a:gd name="connsiteX6628" fmla="*/ 2568740 w 4044707"/>
                <a:gd name="connsiteY6628" fmla="*/ 771623 h 2907193"/>
                <a:gd name="connsiteX6629" fmla="*/ 2579903 w 4044707"/>
                <a:gd name="connsiteY6629" fmla="*/ 774104 h 2907193"/>
                <a:gd name="connsiteX6630" fmla="*/ 2584380 w 4044707"/>
                <a:gd name="connsiteY6630" fmla="*/ 777250 h 2907193"/>
                <a:gd name="connsiteX6631" fmla="*/ 2588040 w 4044707"/>
                <a:gd name="connsiteY6631" fmla="*/ 782363 h 2907193"/>
                <a:gd name="connsiteX6632" fmla="*/ 2586921 w 4044707"/>
                <a:gd name="connsiteY6632" fmla="*/ 786447 h 2907193"/>
                <a:gd name="connsiteX6633" fmla="*/ 2588887 w 4044707"/>
                <a:gd name="connsiteY6633" fmla="*/ 791529 h 2907193"/>
                <a:gd name="connsiteX6634" fmla="*/ 2592064 w 4044707"/>
                <a:gd name="connsiteY6634" fmla="*/ 795855 h 2907193"/>
                <a:gd name="connsiteX6635" fmla="*/ 2600867 w 4044707"/>
                <a:gd name="connsiteY6635" fmla="*/ 802087 h 2907193"/>
                <a:gd name="connsiteX6636" fmla="*/ 2601896 w 4044707"/>
                <a:gd name="connsiteY6636" fmla="*/ 803720 h 2907193"/>
                <a:gd name="connsiteX6637" fmla="*/ 2602682 w 4044707"/>
                <a:gd name="connsiteY6637" fmla="*/ 806745 h 2907193"/>
                <a:gd name="connsiteX6638" fmla="*/ 2608097 w 4044707"/>
                <a:gd name="connsiteY6638" fmla="*/ 813159 h 2907193"/>
                <a:gd name="connsiteX6639" fmla="*/ 2604951 w 4044707"/>
                <a:gd name="connsiteY6639" fmla="*/ 813068 h 2907193"/>
                <a:gd name="connsiteX6640" fmla="*/ 2601684 w 4044707"/>
                <a:gd name="connsiteY6640" fmla="*/ 811525 h 2907193"/>
                <a:gd name="connsiteX6641" fmla="*/ 2583896 w 4044707"/>
                <a:gd name="connsiteY6641" fmla="*/ 797730 h 2907193"/>
                <a:gd name="connsiteX6642" fmla="*/ 2583593 w 4044707"/>
                <a:gd name="connsiteY6642" fmla="*/ 788141 h 2907193"/>
                <a:gd name="connsiteX6643" fmla="*/ 2578420 w 4044707"/>
                <a:gd name="connsiteY6643" fmla="*/ 782484 h 2907193"/>
                <a:gd name="connsiteX6644" fmla="*/ 2567409 w 4044707"/>
                <a:gd name="connsiteY6644" fmla="*/ 777129 h 2907193"/>
                <a:gd name="connsiteX6645" fmla="*/ 2566350 w 4044707"/>
                <a:gd name="connsiteY6645" fmla="*/ 775314 h 2907193"/>
                <a:gd name="connsiteX6646" fmla="*/ 2561389 w 4044707"/>
                <a:gd name="connsiteY6646" fmla="*/ 776373 h 2907193"/>
                <a:gd name="connsiteX6647" fmla="*/ 2559150 w 4044707"/>
                <a:gd name="connsiteY6647" fmla="*/ 775556 h 2907193"/>
                <a:gd name="connsiteX6648" fmla="*/ 2558545 w 4044707"/>
                <a:gd name="connsiteY6648" fmla="*/ 774497 h 2907193"/>
                <a:gd name="connsiteX6649" fmla="*/ 2557728 w 4044707"/>
                <a:gd name="connsiteY6649" fmla="*/ 771442 h 2907193"/>
                <a:gd name="connsiteX6650" fmla="*/ 2557033 w 4044707"/>
                <a:gd name="connsiteY6650" fmla="*/ 770292 h 2907193"/>
                <a:gd name="connsiteX6651" fmla="*/ 2555611 w 4044707"/>
                <a:gd name="connsiteY6651" fmla="*/ 769475 h 2907193"/>
                <a:gd name="connsiteX6652" fmla="*/ 2554522 w 4044707"/>
                <a:gd name="connsiteY6652" fmla="*/ 769627 h 2907193"/>
                <a:gd name="connsiteX6653" fmla="*/ 2553463 w 4044707"/>
                <a:gd name="connsiteY6653" fmla="*/ 770111 h 2907193"/>
                <a:gd name="connsiteX6654" fmla="*/ 2552162 w 4044707"/>
                <a:gd name="connsiteY6654" fmla="*/ 770292 h 2907193"/>
                <a:gd name="connsiteX6655" fmla="*/ 2550135 w 4044707"/>
                <a:gd name="connsiteY6655" fmla="*/ 769597 h 2907193"/>
                <a:gd name="connsiteX6656" fmla="*/ 2546596 w 4044707"/>
                <a:gd name="connsiteY6656" fmla="*/ 767358 h 2907193"/>
                <a:gd name="connsiteX6657" fmla="*/ 2544599 w 4044707"/>
                <a:gd name="connsiteY6657" fmla="*/ 766874 h 2907193"/>
                <a:gd name="connsiteX6658" fmla="*/ 2542330 w 4044707"/>
                <a:gd name="connsiteY6658" fmla="*/ 768084 h 2907193"/>
                <a:gd name="connsiteX6659" fmla="*/ 2539487 w 4044707"/>
                <a:gd name="connsiteY6659" fmla="*/ 773862 h 2907193"/>
                <a:gd name="connsiteX6660" fmla="*/ 2537672 w 4044707"/>
                <a:gd name="connsiteY6660" fmla="*/ 775586 h 2907193"/>
                <a:gd name="connsiteX6661" fmla="*/ 2539336 w 4044707"/>
                <a:gd name="connsiteY6661" fmla="*/ 777916 h 2907193"/>
                <a:gd name="connsiteX6662" fmla="*/ 2546505 w 4044707"/>
                <a:gd name="connsiteY6662" fmla="*/ 781758 h 2907193"/>
                <a:gd name="connsiteX6663" fmla="*/ 2561540 w 4044707"/>
                <a:gd name="connsiteY6663" fmla="*/ 783966 h 2907193"/>
                <a:gd name="connsiteX6664" fmla="*/ 2562417 w 4044707"/>
                <a:gd name="connsiteY6664" fmla="*/ 784783 h 2907193"/>
                <a:gd name="connsiteX6665" fmla="*/ 2563083 w 4044707"/>
                <a:gd name="connsiteY6665" fmla="*/ 786598 h 2907193"/>
                <a:gd name="connsiteX6666" fmla="*/ 2563143 w 4044707"/>
                <a:gd name="connsiteY6666" fmla="*/ 788383 h 2907193"/>
                <a:gd name="connsiteX6667" fmla="*/ 2562266 w 4044707"/>
                <a:gd name="connsiteY6667" fmla="*/ 789230 h 2907193"/>
                <a:gd name="connsiteX6668" fmla="*/ 2548804 w 4044707"/>
                <a:gd name="connsiteY6668" fmla="*/ 789774 h 2907193"/>
                <a:gd name="connsiteX6669" fmla="*/ 2545749 w 4044707"/>
                <a:gd name="connsiteY6669" fmla="*/ 791045 h 2907193"/>
                <a:gd name="connsiteX6670" fmla="*/ 2543601 w 4044707"/>
                <a:gd name="connsiteY6670" fmla="*/ 793525 h 2907193"/>
                <a:gd name="connsiteX6671" fmla="*/ 2544599 w 4044707"/>
                <a:gd name="connsiteY6671" fmla="*/ 795401 h 2907193"/>
                <a:gd name="connsiteX6672" fmla="*/ 2568105 w 4044707"/>
                <a:gd name="connsiteY6672" fmla="*/ 794312 h 2907193"/>
                <a:gd name="connsiteX6673" fmla="*/ 2569345 w 4044707"/>
                <a:gd name="connsiteY6673" fmla="*/ 793525 h 2907193"/>
                <a:gd name="connsiteX6674" fmla="*/ 2571704 w 4044707"/>
                <a:gd name="connsiteY6674" fmla="*/ 790016 h 2907193"/>
                <a:gd name="connsiteX6675" fmla="*/ 2572884 w 4044707"/>
                <a:gd name="connsiteY6675" fmla="*/ 789230 h 2907193"/>
                <a:gd name="connsiteX6676" fmla="*/ 2573610 w 4044707"/>
                <a:gd name="connsiteY6676" fmla="*/ 790288 h 2907193"/>
                <a:gd name="connsiteX6677" fmla="*/ 2573610 w 4044707"/>
                <a:gd name="connsiteY6677" fmla="*/ 794947 h 2907193"/>
                <a:gd name="connsiteX6678" fmla="*/ 2574246 w 4044707"/>
                <a:gd name="connsiteY6678" fmla="*/ 796036 h 2907193"/>
                <a:gd name="connsiteX6679" fmla="*/ 2575214 w 4044707"/>
                <a:gd name="connsiteY6679" fmla="*/ 796551 h 2907193"/>
                <a:gd name="connsiteX6680" fmla="*/ 2580901 w 4044707"/>
                <a:gd name="connsiteY6680" fmla="*/ 801784 h 2907193"/>
                <a:gd name="connsiteX6681" fmla="*/ 2584894 w 4044707"/>
                <a:gd name="connsiteY6681" fmla="*/ 802903 h 2907193"/>
                <a:gd name="connsiteX6682" fmla="*/ 2586649 w 4044707"/>
                <a:gd name="connsiteY6682" fmla="*/ 804537 h 2907193"/>
                <a:gd name="connsiteX6683" fmla="*/ 2582111 w 4044707"/>
                <a:gd name="connsiteY6683" fmla="*/ 805021 h 2907193"/>
                <a:gd name="connsiteX6684" fmla="*/ 2568770 w 4044707"/>
                <a:gd name="connsiteY6684" fmla="*/ 799576 h 2907193"/>
                <a:gd name="connsiteX6685" fmla="*/ 2568770 w 4044707"/>
                <a:gd name="connsiteY6685" fmla="*/ 801119 h 2907193"/>
                <a:gd name="connsiteX6686" fmla="*/ 2572340 w 4044707"/>
                <a:gd name="connsiteY6686" fmla="*/ 802934 h 2907193"/>
                <a:gd name="connsiteX6687" fmla="*/ 2573973 w 4044707"/>
                <a:gd name="connsiteY6687" fmla="*/ 804870 h 2907193"/>
                <a:gd name="connsiteX6688" fmla="*/ 2574881 w 4044707"/>
                <a:gd name="connsiteY6688" fmla="*/ 808076 h 2907193"/>
                <a:gd name="connsiteX6689" fmla="*/ 2572945 w 4044707"/>
                <a:gd name="connsiteY6689" fmla="*/ 807865 h 2907193"/>
                <a:gd name="connsiteX6690" fmla="*/ 2571009 w 4044707"/>
                <a:gd name="connsiteY6690" fmla="*/ 806927 h 2907193"/>
                <a:gd name="connsiteX6691" fmla="*/ 2569163 w 4044707"/>
                <a:gd name="connsiteY6691" fmla="*/ 806594 h 2907193"/>
                <a:gd name="connsiteX6692" fmla="*/ 2567409 w 4044707"/>
                <a:gd name="connsiteY6692" fmla="*/ 808076 h 2907193"/>
                <a:gd name="connsiteX6693" fmla="*/ 2568044 w 4044707"/>
                <a:gd name="connsiteY6693" fmla="*/ 809075 h 2907193"/>
                <a:gd name="connsiteX6694" fmla="*/ 2568770 w 4044707"/>
                <a:gd name="connsiteY6694" fmla="*/ 809770 h 2907193"/>
                <a:gd name="connsiteX6695" fmla="*/ 2567711 w 4044707"/>
                <a:gd name="connsiteY6695" fmla="*/ 811979 h 2907193"/>
                <a:gd name="connsiteX6696" fmla="*/ 2563476 w 4044707"/>
                <a:gd name="connsiteY6696" fmla="*/ 810224 h 2907193"/>
                <a:gd name="connsiteX6697" fmla="*/ 2559453 w 4044707"/>
                <a:gd name="connsiteY6697" fmla="*/ 814762 h 2907193"/>
                <a:gd name="connsiteX6698" fmla="*/ 2556791 w 4044707"/>
                <a:gd name="connsiteY6698" fmla="*/ 814762 h 2907193"/>
                <a:gd name="connsiteX6699" fmla="*/ 2551557 w 4044707"/>
                <a:gd name="connsiteY6699" fmla="*/ 813159 h 2907193"/>
                <a:gd name="connsiteX6700" fmla="*/ 2552797 w 4044707"/>
                <a:gd name="connsiteY6700" fmla="*/ 815790 h 2907193"/>
                <a:gd name="connsiteX6701" fmla="*/ 2554401 w 4044707"/>
                <a:gd name="connsiteY6701" fmla="*/ 817031 h 2907193"/>
                <a:gd name="connsiteX6702" fmla="*/ 2557728 w 4044707"/>
                <a:gd name="connsiteY6702" fmla="*/ 818241 h 2907193"/>
                <a:gd name="connsiteX6703" fmla="*/ 2556851 w 4044707"/>
                <a:gd name="connsiteY6703" fmla="*/ 822052 h 2907193"/>
                <a:gd name="connsiteX6704" fmla="*/ 2556367 w 4044707"/>
                <a:gd name="connsiteY6704" fmla="*/ 823323 h 2907193"/>
                <a:gd name="connsiteX6705" fmla="*/ 2562145 w 4044707"/>
                <a:gd name="connsiteY6705" fmla="*/ 825592 h 2907193"/>
                <a:gd name="connsiteX6706" fmla="*/ 2572067 w 4044707"/>
                <a:gd name="connsiteY6706" fmla="*/ 817303 h 2907193"/>
                <a:gd name="connsiteX6707" fmla="*/ 2577664 w 4044707"/>
                <a:gd name="connsiteY6707" fmla="*/ 816547 h 2907193"/>
                <a:gd name="connsiteX6708" fmla="*/ 2579721 w 4044707"/>
                <a:gd name="connsiteY6708" fmla="*/ 818211 h 2907193"/>
                <a:gd name="connsiteX6709" fmla="*/ 2583109 w 4044707"/>
                <a:gd name="connsiteY6709" fmla="*/ 822990 h 2907193"/>
                <a:gd name="connsiteX6710" fmla="*/ 2585318 w 4044707"/>
                <a:gd name="connsiteY6710" fmla="*/ 824866 h 2907193"/>
                <a:gd name="connsiteX6711" fmla="*/ 2596602 w 4044707"/>
                <a:gd name="connsiteY6711" fmla="*/ 828345 h 2907193"/>
                <a:gd name="connsiteX6712" fmla="*/ 2595392 w 4044707"/>
                <a:gd name="connsiteY6712" fmla="*/ 828980 h 2907193"/>
                <a:gd name="connsiteX6713" fmla="*/ 2594212 w 4044707"/>
                <a:gd name="connsiteY6713" fmla="*/ 830220 h 2907193"/>
                <a:gd name="connsiteX6714" fmla="*/ 2595785 w 4044707"/>
                <a:gd name="connsiteY6714" fmla="*/ 831551 h 2907193"/>
                <a:gd name="connsiteX6715" fmla="*/ 2596359 w 4044707"/>
                <a:gd name="connsiteY6715" fmla="*/ 831763 h 2907193"/>
                <a:gd name="connsiteX6716" fmla="*/ 2594000 w 4044707"/>
                <a:gd name="connsiteY6716" fmla="*/ 833366 h 2907193"/>
                <a:gd name="connsiteX6717" fmla="*/ 2582655 w 4044707"/>
                <a:gd name="connsiteY6717" fmla="*/ 829525 h 2907193"/>
                <a:gd name="connsiteX6718" fmla="*/ 2576303 w 4044707"/>
                <a:gd name="connsiteY6718" fmla="*/ 823323 h 2907193"/>
                <a:gd name="connsiteX6719" fmla="*/ 2573943 w 4044707"/>
                <a:gd name="connsiteY6719" fmla="*/ 822567 h 2907193"/>
                <a:gd name="connsiteX6720" fmla="*/ 2572763 w 4044707"/>
                <a:gd name="connsiteY6720" fmla="*/ 824473 h 2907193"/>
                <a:gd name="connsiteX6721" fmla="*/ 2571826 w 4044707"/>
                <a:gd name="connsiteY6721" fmla="*/ 827074 h 2907193"/>
                <a:gd name="connsiteX6722" fmla="*/ 2570192 w 4044707"/>
                <a:gd name="connsiteY6722" fmla="*/ 828375 h 2907193"/>
                <a:gd name="connsiteX6723" fmla="*/ 2568316 w 4044707"/>
                <a:gd name="connsiteY6723" fmla="*/ 829131 h 2907193"/>
                <a:gd name="connsiteX6724" fmla="*/ 2566441 w 4044707"/>
                <a:gd name="connsiteY6724" fmla="*/ 831249 h 2907193"/>
                <a:gd name="connsiteX6725" fmla="*/ 2564898 w 4044707"/>
                <a:gd name="connsiteY6725" fmla="*/ 834456 h 2907193"/>
                <a:gd name="connsiteX6726" fmla="*/ 2563991 w 4044707"/>
                <a:gd name="connsiteY6726" fmla="*/ 838540 h 2907193"/>
                <a:gd name="connsiteX6727" fmla="*/ 2577664 w 4044707"/>
                <a:gd name="connsiteY6727" fmla="*/ 841928 h 2907193"/>
                <a:gd name="connsiteX6728" fmla="*/ 2575032 w 4044707"/>
                <a:gd name="connsiteY6728" fmla="*/ 846405 h 2907193"/>
                <a:gd name="connsiteX6729" fmla="*/ 2573883 w 4044707"/>
                <a:gd name="connsiteY6729" fmla="*/ 848946 h 2907193"/>
                <a:gd name="connsiteX6730" fmla="*/ 2573883 w 4044707"/>
                <a:gd name="connsiteY6730" fmla="*/ 851245 h 2907193"/>
                <a:gd name="connsiteX6731" fmla="*/ 2575668 w 4044707"/>
                <a:gd name="connsiteY6731" fmla="*/ 853423 h 2907193"/>
                <a:gd name="connsiteX6732" fmla="*/ 2579994 w 4044707"/>
                <a:gd name="connsiteY6732" fmla="*/ 853938 h 2907193"/>
                <a:gd name="connsiteX6733" fmla="*/ 2581839 w 4044707"/>
                <a:gd name="connsiteY6733" fmla="*/ 855511 h 2907193"/>
                <a:gd name="connsiteX6734" fmla="*/ 2578935 w 4044707"/>
                <a:gd name="connsiteY6734" fmla="*/ 856509 h 2907193"/>
                <a:gd name="connsiteX6735" fmla="*/ 2575758 w 4044707"/>
                <a:gd name="connsiteY6735" fmla="*/ 856448 h 2907193"/>
                <a:gd name="connsiteX6736" fmla="*/ 2572703 w 4044707"/>
                <a:gd name="connsiteY6736" fmla="*/ 855057 h 2907193"/>
                <a:gd name="connsiteX6737" fmla="*/ 2570162 w 4044707"/>
                <a:gd name="connsiteY6737" fmla="*/ 851971 h 2907193"/>
                <a:gd name="connsiteX6738" fmla="*/ 2567227 w 4044707"/>
                <a:gd name="connsiteY6738" fmla="*/ 845649 h 2907193"/>
                <a:gd name="connsiteX6739" fmla="*/ 2565533 w 4044707"/>
                <a:gd name="connsiteY6739" fmla="*/ 843652 h 2907193"/>
                <a:gd name="connsiteX6740" fmla="*/ 2563234 w 4044707"/>
                <a:gd name="connsiteY6740" fmla="*/ 843531 h 2907193"/>
                <a:gd name="connsiteX6741" fmla="*/ 2560814 w 4044707"/>
                <a:gd name="connsiteY6741" fmla="*/ 845255 h 2907193"/>
                <a:gd name="connsiteX6742" fmla="*/ 2560935 w 4044707"/>
                <a:gd name="connsiteY6742" fmla="*/ 847222 h 2907193"/>
                <a:gd name="connsiteX6743" fmla="*/ 2564626 w 4044707"/>
                <a:gd name="connsiteY6743" fmla="*/ 851941 h 2907193"/>
                <a:gd name="connsiteX6744" fmla="*/ 2567106 w 4044707"/>
                <a:gd name="connsiteY6744" fmla="*/ 855964 h 2907193"/>
                <a:gd name="connsiteX6745" fmla="*/ 2568074 w 4044707"/>
                <a:gd name="connsiteY6745" fmla="*/ 856993 h 2907193"/>
                <a:gd name="connsiteX6746" fmla="*/ 2572733 w 4044707"/>
                <a:gd name="connsiteY6746" fmla="*/ 859050 h 2907193"/>
                <a:gd name="connsiteX6747" fmla="*/ 2574216 w 4044707"/>
                <a:gd name="connsiteY6747" fmla="*/ 860532 h 2907193"/>
                <a:gd name="connsiteX6748" fmla="*/ 2573671 w 4044707"/>
                <a:gd name="connsiteY6748" fmla="*/ 861228 h 2907193"/>
                <a:gd name="connsiteX6749" fmla="*/ 2572673 w 4044707"/>
                <a:gd name="connsiteY6749" fmla="*/ 863164 h 2907193"/>
                <a:gd name="connsiteX6750" fmla="*/ 2572158 w 4044707"/>
                <a:gd name="connsiteY6750" fmla="*/ 863890 h 2907193"/>
                <a:gd name="connsiteX6751" fmla="*/ 2573368 w 4044707"/>
                <a:gd name="connsiteY6751" fmla="*/ 866976 h 2907193"/>
                <a:gd name="connsiteX6752" fmla="*/ 2573822 w 4044707"/>
                <a:gd name="connsiteY6752" fmla="*/ 868640 h 2907193"/>
                <a:gd name="connsiteX6753" fmla="*/ 2574216 w 4044707"/>
                <a:gd name="connsiteY6753" fmla="*/ 870606 h 2907193"/>
                <a:gd name="connsiteX6754" fmla="*/ 2572824 w 4044707"/>
                <a:gd name="connsiteY6754" fmla="*/ 870757 h 2907193"/>
                <a:gd name="connsiteX6755" fmla="*/ 2568800 w 4044707"/>
                <a:gd name="connsiteY6755" fmla="*/ 868942 h 2907193"/>
                <a:gd name="connsiteX6756" fmla="*/ 2568135 w 4044707"/>
                <a:gd name="connsiteY6756" fmla="*/ 865705 h 2907193"/>
                <a:gd name="connsiteX6757" fmla="*/ 2557577 w 4044707"/>
                <a:gd name="connsiteY6757" fmla="*/ 847433 h 2907193"/>
                <a:gd name="connsiteX6758" fmla="*/ 2554885 w 4044707"/>
                <a:gd name="connsiteY6758" fmla="*/ 844439 h 2907193"/>
                <a:gd name="connsiteX6759" fmla="*/ 2551920 w 4044707"/>
                <a:gd name="connsiteY6759" fmla="*/ 843501 h 2907193"/>
                <a:gd name="connsiteX6760" fmla="*/ 2548109 w 4044707"/>
                <a:gd name="connsiteY6760" fmla="*/ 845195 h 2907193"/>
                <a:gd name="connsiteX6761" fmla="*/ 2551769 w 4044707"/>
                <a:gd name="connsiteY6761" fmla="*/ 847222 h 2907193"/>
                <a:gd name="connsiteX6762" fmla="*/ 2553493 w 4044707"/>
                <a:gd name="connsiteY6762" fmla="*/ 849067 h 2907193"/>
                <a:gd name="connsiteX6763" fmla="*/ 2555006 w 4044707"/>
                <a:gd name="connsiteY6763" fmla="*/ 851941 h 2907193"/>
                <a:gd name="connsiteX6764" fmla="*/ 2554582 w 4044707"/>
                <a:gd name="connsiteY6764" fmla="*/ 854512 h 2907193"/>
                <a:gd name="connsiteX6765" fmla="*/ 2555036 w 4044707"/>
                <a:gd name="connsiteY6765" fmla="*/ 860442 h 2907193"/>
                <a:gd name="connsiteX6766" fmla="*/ 2555036 w 4044707"/>
                <a:gd name="connsiteY6766" fmla="*/ 863890 h 2907193"/>
                <a:gd name="connsiteX6767" fmla="*/ 2554250 w 4044707"/>
                <a:gd name="connsiteY6767" fmla="*/ 866280 h 2907193"/>
                <a:gd name="connsiteX6768" fmla="*/ 2553221 w 4044707"/>
                <a:gd name="connsiteY6768" fmla="*/ 868307 h 2907193"/>
                <a:gd name="connsiteX6769" fmla="*/ 2552918 w 4044707"/>
                <a:gd name="connsiteY6769" fmla="*/ 870424 h 2907193"/>
                <a:gd name="connsiteX6770" fmla="*/ 2554340 w 4044707"/>
                <a:gd name="connsiteY6770" fmla="*/ 873147 h 2907193"/>
                <a:gd name="connsiteX6771" fmla="*/ 2558606 w 4044707"/>
                <a:gd name="connsiteY6771" fmla="*/ 876929 h 2907193"/>
                <a:gd name="connsiteX6772" fmla="*/ 2572945 w 4044707"/>
                <a:gd name="connsiteY6772" fmla="*/ 882525 h 2907193"/>
                <a:gd name="connsiteX6773" fmla="*/ 2571947 w 4044707"/>
                <a:gd name="connsiteY6773" fmla="*/ 887335 h 2907193"/>
                <a:gd name="connsiteX6774" fmla="*/ 2573641 w 4044707"/>
                <a:gd name="connsiteY6774" fmla="*/ 890723 h 2907193"/>
                <a:gd name="connsiteX6775" fmla="*/ 2576545 w 4044707"/>
                <a:gd name="connsiteY6775" fmla="*/ 892901 h 2907193"/>
                <a:gd name="connsiteX6776" fmla="*/ 2579116 w 4044707"/>
                <a:gd name="connsiteY6776" fmla="*/ 894081 h 2907193"/>
                <a:gd name="connsiteX6777" fmla="*/ 2576061 w 4044707"/>
                <a:gd name="connsiteY6777" fmla="*/ 895563 h 2907193"/>
                <a:gd name="connsiteX6778" fmla="*/ 2571281 w 4044707"/>
                <a:gd name="connsiteY6778" fmla="*/ 893174 h 2907193"/>
                <a:gd name="connsiteX6779" fmla="*/ 2558485 w 4044707"/>
                <a:gd name="connsiteY6779" fmla="*/ 880014 h 2907193"/>
                <a:gd name="connsiteX6780" fmla="*/ 2557396 w 4044707"/>
                <a:gd name="connsiteY6780" fmla="*/ 878169 h 2907193"/>
                <a:gd name="connsiteX6781" fmla="*/ 2555641 w 4044707"/>
                <a:gd name="connsiteY6781" fmla="*/ 876112 h 2907193"/>
                <a:gd name="connsiteX6782" fmla="*/ 2551103 w 4044707"/>
                <a:gd name="connsiteY6782" fmla="*/ 874539 h 2907193"/>
                <a:gd name="connsiteX6783" fmla="*/ 2549409 w 4044707"/>
                <a:gd name="connsiteY6783" fmla="*/ 872300 h 2907193"/>
                <a:gd name="connsiteX6784" fmla="*/ 2548744 w 4044707"/>
                <a:gd name="connsiteY6784" fmla="*/ 867641 h 2907193"/>
                <a:gd name="connsiteX6785" fmla="*/ 2548804 w 4044707"/>
                <a:gd name="connsiteY6785" fmla="*/ 861984 h 2907193"/>
                <a:gd name="connsiteX6786" fmla="*/ 2548472 w 4044707"/>
                <a:gd name="connsiteY6786" fmla="*/ 856025 h 2907193"/>
                <a:gd name="connsiteX6787" fmla="*/ 2546687 w 4044707"/>
                <a:gd name="connsiteY6787" fmla="*/ 850428 h 2907193"/>
                <a:gd name="connsiteX6788" fmla="*/ 2543178 w 4044707"/>
                <a:gd name="connsiteY6788" fmla="*/ 845951 h 2907193"/>
                <a:gd name="connsiteX6789" fmla="*/ 2531500 w 4044707"/>
                <a:gd name="connsiteY6789" fmla="*/ 838509 h 2907193"/>
                <a:gd name="connsiteX6790" fmla="*/ 2532650 w 4044707"/>
                <a:gd name="connsiteY6790" fmla="*/ 835726 h 2907193"/>
                <a:gd name="connsiteX6791" fmla="*/ 2534253 w 4044707"/>
                <a:gd name="connsiteY6791" fmla="*/ 833941 h 2907193"/>
                <a:gd name="connsiteX6792" fmla="*/ 2535705 w 4044707"/>
                <a:gd name="connsiteY6792" fmla="*/ 831703 h 2907193"/>
                <a:gd name="connsiteX6793" fmla="*/ 2536310 w 4044707"/>
                <a:gd name="connsiteY6793" fmla="*/ 827528 h 2907193"/>
                <a:gd name="connsiteX6794" fmla="*/ 2534768 w 4044707"/>
                <a:gd name="connsiteY6794" fmla="*/ 821478 h 2907193"/>
                <a:gd name="connsiteX6795" fmla="*/ 2534283 w 4044707"/>
                <a:gd name="connsiteY6795" fmla="*/ 818029 h 2907193"/>
                <a:gd name="connsiteX6796" fmla="*/ 2536371 w 4044707"/>
                <a:gd name="connsiteY6796" fmla="*/ 814762 h 2907193"/>
                <a:gd name="connsiteX6797" fmla="*/ 2537339 w 4044707"/>
                <a:gd name="connsiteY6797" fmla="*/ 810738 h 2907193"/>
                <a:gd name="connsiteX6798" fmla="*/ 2537762 w 4044707"/>
                <a:gd name="connsiteY6798" fmla="*/ 806170 h 2907193"/>
                <a:gd name="connsiteX6799" fmla="*/ 2537067 w 4044707"/>
                <a:gd name="connsiteY6799" fmla="*/ 802934 h 2907193"/>
                <a:gd name="connsiteX6800" fmla="*/ 2535524 w 4044707"/>
                <a:gd name="connsiteY6800" fmla="*/ 803236 h 2907193"/>
                <a:gd name="connsiteX6801" fmla="*/ 2533527 w 4044707"/>
                <a:gd name="connsiteY6801" fmla="*/ 805263 h 2907193"/>
                <a:gd name="connsiteX6802" fmla="*/ 2531561 w 4044707"/>
                <a:gd name="connsiteY6802" fmla="*/ 805686 h 2907193"/>
                <a:gd name="connsiteX6803" fmla="*/ 2530079 w 4044707"/>
                <a:gd name="connsiteY6803" fmla="*/ 801088 h 2907193"/>
                <a:gd name="connsiteX6804" fmla="*/ 2531137 w 4044707"/>
                <a:gd name="connsiteY6804" fmla="*/ 800846 h 2907193"/>
                <a:gd name="connsiteX6805" fmla="*/ 2532075 w 4044707"/>
                <a:gd name="connsiteY6805" fmla="*/ 799848 h 2907193"/>
                <a:gd name="connsiteX6806" fmla="*/ 2532922 w 4044707"/>
                <a:gd name="connsiteY6806" fmla="*/ 798154 h 2907193"/>
                <a:gd name="connsiteX6807" fmla="*/ 2533618 w 4044707"/>
                <a:gd name="connsiteY6807" fmla="*/ 796006 h 2907193"/>
                <a:gd name="connsiteX6808" fmla="*/ 2532287 w 4044707"/>
                <a:gd name="connsiteY6808" fmla="*/ 793374 h 2907193"/>
                <a:gd name="connsiteX6809" fmla="*/ 2531833 w 4044707"/>
                <a:gd name="connsiteY6809" fmla="*/ 789320 h 2907193"/>
                <a:gd name="connsiteX6810" fmla="*/ 2531077 w 4044707"/>
                <a:gd name="connsiteY6810" fmla="*/ 785569 h 2907193"/>
                <a:gd name="connsiteX6811" fmla="*/ 2528748 w 4044707"/>
                <a:gd name="connsiteY6811" fmla="*/ 783936 h 2907193"/>
                <a:gd name="connsiteX6812" fmla="*/ 2525238 w 4044707"/>
                <a:gd name="connsiteY6812" fmla="*/ 783815 h 2907193"/>
                <a:gd name="connsiteX6813" fmla="*/ 2523665 w 4044707"/>
                <a:gd name="connsiteY6813" fmla="*/ 784541 h 2907193"/>
                <a:gd name="connsiteX6814" fmla="*/ 2522213 w 4044707"/>
                <a:gd name="connsiteY6814" fmla="*/ 786598 h 2907193"/>
                <a:gd name="connsiteX6815" fmla="*/ 2521760 w 4044707"/>
                <a:gd name="connsiteY6815" fmla="*/ 788564 h 2907193"/>
                <a:gd name="connsiteX6816" fmla="*/ 2521971 w 4044707"/>
                <a:gd name="connsiteY6816" fmla="*/ 790742 h 2907193"/>
                <a:gd name="connsiteX6817" fmla="*/ 2522365 w 4044707"/>
                <a:gd name="connsiteY6817" fmla="*/ 792981 h 2907193"/>
                <a:gd name="connsiteX6818" fmla="*/ 2522606 w 4044707"/>
                <a:gd name="connsiteY6818" fmla="*/ 795159 h 2907193"/>
                <a:gd name="connsiteX6819" fmla="*/ 2521487 w 4044707"/>
                <a:gd name="connsiteY6819" fmla="*/ 799818 h 2907193"/>
                <a:gd name="connsiteX6820" fmla="*/ 2518916 w 4044707"/>
                <a:gd name="connsiteY6820" fmla="*/ 799545 h 2907193"/>
                <a:gd name="connsiteX6821" fmla="*/ 2516102 w 4044707"/>
                <a:gd name="connsiteY6821" fmla="*/ 798184 h 2907193"/>
                <a:gd name="connsiteX6822" fmla="*/ 2514318 w 4044707"/>
                <a:gd name="connsiteY6822" fmla="*/ 799545 h 2907193"/>
                <a:gd name="connsiteX6823" fmla="*/ 2514469 w 4044707"/>
                <a:gd name="connsiteY6823" fmla="*/ 803841 h 2907193"/>
                <a:gd name="connsiteX6824" fmla="*/ 2516193 w 4044707"/>
                <a:gd name="connsiteY6824" fmla="*/ 807683 h 2907193"/>
                <a:gd name="connsiteX6825" fmla="*/ 2519823 w 4044707"/>
                <a:gd name="connsiteY6825" fmla="*/ 813128 h 2907193"/>
                <a:gd name="connsiteX6826" fmla="*/ 2517948 w 4044707"/>
                <a:gd name="connsiteY6826" fmla="*/ 813068 h 2907193"/>
                <a:gd name="connsiteX6827" fmla="*/ 2516435 w 4044707"/>
                <a:gd name="connsiteY6827" fmla="*/ 814822 h 2907193"/>
                <a:gd name="connsiteX6828" fmla="*/ 2513682 w 4044707"/>
                <a:gd name="connsiteY6828" fmla="*/ 819905 h 2907193"/>
                <a:gd name="connsiteX6829" fmla="*/ 2511655 w 4044707"/>
                <a:gd name="connsiteY6829" fmla="*/ 822052 h 2907193"/>
                <a:gd name="connsiteX6830" fmla="*/ 2509598 w 4044707"/>
                <a:gd name="connsiteY6830" fmla="*/ 823051 h 2907193"/>
                <a:gd name="connsiteX6831" fmla="*/ 2505000 w 4044707"/>
                <a:gd name="connsiteY6831" fmla="*/ 823293 h 2907193"/>
                <a:gd name="connsiteX6832" fmla="*/ 2503790 w 4044707"/>
                <a:gd name="connsiteY6832" fmla="*/ 823716 h 2907193"/>
                <a:gd name="connsiteX6833" fmla="*/ 2503518 w 4044707"/>
                <a:gd name="connsiteY6833" fmla="*/ 824745 h 2907193"/>
                <a:gd name="connsiteX6834" fmla="*/ 2503518 w 4044707"/>
                <a:gd name="connsiteY6834" fmla="*/ 825864 h 2907193"/>
                <a:gd name="connsiteX6835" fmla="*/ 2503276 w 4044707"/>
                <a:gd name="connsiteY6835" fmla="*/ 826681 h 2907193"/>
                <a:gd name="connsiteX6836" fmla="*/ 2500584 w 4044707"/>
                <a:gd name="connsiteY6836" fmla="*/ 827982 h 2907193"/>
                <a:gd name="connsiteX6837" fmla="*/ 2494019 w 4044707"/>
                <a:gd name="connsiteY6837" fmla="*/ 827982 h 2907193"/>
                <a:gd name="connsiteX6838" fmla="*/ 2492809 w 4044707"/>
                <a:gd name="connsiteY6838" fmla="*/ 829373 h 2907193"/>
                <a:gd name="connsiteX6839" fmla="*/ 2493656 w 4044707"/>
                <a:gd name="connsiteY6839" fmla="*/ 833427 h 2907193"/>
                <a:gd name="connsiteX6840" fmla="*/ 2492355 w 4044707"/>
                <a:gd name="connsiteY6840" fmla="*/ 833578 h 2907193"/>
                <a:gd name="connsiteX6841" fmla="*/ 2491115 w 4044707"/>
                <a:gd name="connsiteY6841" fmla="*/ 833366 h 2907193"/>
                <a:gd name="connsiteX6842" fmla="*/ 2489905 w 4044707"/>
                <a:gd name="connsiteY6842" fmla="*/ 832762 h 2907193"/>
                <a:gd name="connsiteX6843" fmla="*/ 2488816 w 4044707"/>
                <a:gd name="connsiteY6843" fmla="*/ 831733 h 2907193"/>
                <a:gd name="connsiteX6844" fmla="*/ 2489542 w 4044707"/>
                <a:gd name="connsiteY6844" fmla="*/ 829283 h 2907193"/>
                <a:gd name="connsiteX6845" fmla="*/ 2489905 w 4044707"/>
                <a:gd name="connsiteY6845" fmla="*/ 826983 h 2907193"/>
                <a:gd name="connsiteX6846" fmla="*/ 2489753 w 4044707"/>
                <a:gd name="connsiteY6846" fmla="*/ 824957 h 2907193"/>
                <a:gd name="connsiteX6847" fmla="*/ 2488785 w 4044707"/>
                <a:gd name="connsiteY6847" fmla="*/ 823293 h 2907193"/>
                <a:gd name="connsiteX6848" fmla="*/ 2491508 w 4044707"/>
                <a:gd name="connsiteY6848" fmla="*/ 821962 h 2907193"/>
                <a:gd name="connsiteX6849" fmla="*/ 2498133 w 4044707"/>
                <a:gd name="connsiteY6849" fmla="*/ 824926 h 2907193"/>
                <a:gd name="connsiteX6850" fmla="*/ 2500553 w 4044707"/>
                <a:gd name="connsiteY6850" fmla="*/ 823263 h 2907193"/>
                <a:gd name="connsiteX6851" fmla="*/ 2500886 w 4044707"/>
                <a:gd name="connsiteY6851" fmla="*/ 820419 h 2907193"/>
                <a:gd name="connsiteX6852" fmla="*/ 2499978 w 4044707"/>
                <a:gd name="connsiteY6852" fmla="*/ 817848 h 2907193"/>
                <a:gd name="connsiteX6853" fmla="*/ 2498496 w 4044707"/>
                <a:gd name="connsiteY6853" fmla="*/ 815821 h 2907193"/>
                <a:gd name="connsiteX6854" fmla="*/ 2497135 w 4044707"/>
                <a:gd name="connsiteY6854" fmla="*/ 814641 h 2907193"/>
                <a:gd name="connsiteX6855" fmla="*/ 2498950 w 4044707"/>
                <a:gd name="connsiteY6855" fmla="*/ 813280 h 2907193"/>
                <a:gd name="connsiteX6856" fmla="*/ 2500553 w 4044707"/>
                <a:gd name="connsiteY6856" fmla="*/ 811253 h 2907193"/>
                <a:gd name="connsiteX6857" fmla="*/ 2498768 w 4044707"/>
                <a:gd name="connsiteY6857" fmla="*/ 809801 h 2907193"/>
                <a:gd name="connsiteX6858" fmla="*/ 2494836 w 4044707"/>
                <a:gd name="connsiteY6858" fmla="*/ 808984 h 2907193"/>
                <a:gd name="connsiteX6859" fmla="*/ 2492930 w 4044707"/>
                <a:gd name="connsiteY6859" fmla="*/ 808016 h 2907193"/>
                <a:gd name="connsiteX6860" fmla="*/ 2493111 w 4044707"/>
                <a:gd name="connsiteY6860" fmla="*/ 807139 h 2907193"/>
                <a:gd name="connsiteX6861" fmla="*/ 2493202 w 4044707"/>
                <a:gd name="connsiteY6861" fmla="*/ 806322 h 2907193"/>
                <a:gd name="connsiteX6862" fmla="*/ 2493384 w 4044707"/>
                <a:gd name="connsiteY6862" fmla="*/ 805475 h 2907193"/>
                <a:gd name="connsiteX6863" fmla="*/ 2493686 w 4044707"/>
                <a:gd name="connsiteY6863" fmla="*/ 804476 h 2907193"/>
                <a:gd name="connsiteX6864" fmla="*/ 2491478 w 4044707"/>
                <a:gd name="connsiteY6864" fmla="*/ 803992 h 2907193"/>
                <a:gd name="connsiteX6865" fmla="*/ 2490722 w 4044707"/>
                <a:gd name="connsiteY6865" fmla="*/ 804839 h 2907193"/>
                <a:gd name="connsiteX6866" fmla="*/ 2490903 w 4044707"/>
                <a:gd name="connsiteY6866" fmla="*/ 810496 h 2907193"/>
                <a:gd name="connsiteX6867" fmla="*/ 2490086 w 4044707"/>
                <a:gd name="connsiteY6867" fmla="*/ 812523 h 2907193"/>
                <a:gd name="connsiteX6868" fmla="*/ 2486396 w 4044707"/>
                <a:gd name="connsiteY6868" fmla="*/ 817243 h 2907193"/>
                <a:gd name="connsiteX6869" fmla="*/ 2485367 w 4044707"/>
                <a:gd name="connsiteY6869" fmla="*/ 818180 h 2907193"/>
                <a:gd name="connsiteX6870" fmla="*/ 2480890 w 4044707"/>
                <a:gd name="connsiteY6870" fmla="*/ 818180 h 2907193"/>
                <a:gd name="connsiteX6871" fmla="*/ 2480527 w 4044707"/>
                <a:gd name="connsiteY6871" fmla="*/ 818997 h 2907193"/>
                <a:gd name="connsiteX6872" fmla="*/ 2480376 w 4044707"/>
                <a:gd name="connsiteY6872" fmla="*/ 822537 h 2907193"/>
                <a:gd name="connsiteX6873" fmla="*/ 2479891 w 4044707"/>
                <a:gd name="connsiteY6873" fmla="*/ 823293 h 2907193"/>
                <a:gd name="connsiteX6874" fmla="*/ 2478318 w 4044707"/>
                <a:gd name="connsiteY6874" fmla="*/ 822204 h 2907193"/>
                <a:gd name="connsiteX6875" fmla="*/ 2477411 w 4044707"/>
                <a:gd name="connsiteY6875" fmla="*/ 819844 h 2907193"/>
                <a:gd name="connsiteX6876" fmla="*/ 2477199 w 4044707"/>
                <a:gd name="connsiteY6876" fmla="*/ 816668 h 2907193"/>
                <a:gd name="connsiteX6877" fmla="*/ 2477774 w 4044707"/>
                <a:gd name="connsiteY6877" fmla="*/ 813128 h 2907193"/>
                <a:gd name="connsiteX6878" fmla="*/ 2473327 w 4044707"/>
                <a:gd name="connsiteY6878" fmla="*/ 815125 h 2907193"/>
                <a:gd name="connsiteX6879" fmla="*/ 2467307 w 4044707"/>
                <a:gd name="connsiteY6879" fmla="*/ 819995 h 2907193"/>
                <a:gd name="connsiteX6880" fmla="*/ 2462346 w 4044707"/>
                <a:gd name="connsiteY6880" fmla="*/ 826076 h 2907193"/>
                <a:gd name="connsiteX6881" fmla="*/ 2461136 w 4044707"/>
                <a:gd name="connsiteY6881" fmla="*/ 831733 h 2907193"/>
                <a:gd name="connsiteX6882" fmla="*/ 2459502 w 4044707"/>
                <a:gd name="connsiteY6882" fmla="*/ 832671 h 2907193"/>
                <a:gd name="connsiteX6883" fmla="*/ 2457838 w 4044707"/>
                <a:gd name="connsiteY6883" fmla="*/ 833185 h 2907193"/>
                <a:gd name="connsiteX6884" fmla="*/ 2456295 w 4044707"/>
                <a:gd name="connsiteY6884" fmla="*/ 834214 h 2907193"/>
                <a:gd name="connsiteX6885" fmla="*/ 2455025 w 4044707"/>
                <a:gd name="connsiteY6885" fmla="*/ 836815 h 2907193"/>
                <a:gd name="connsiteX6886" fmla="*/ 2458595 w 4044707"/>
                <a:gd name="connsiteY6886" fmla="*/ 843289 h 2907193"/>
                <a:gd name="connsiteX6887" fmla="*/ 2462588 w 4044707"/>
                <a:gd name="connsiteY6887" fmla="*/ 846889 h 2907193"/>
                <a:gd name="connsiteX6888" fmla="*/ 2466762 w 4044707"/>
                <a:gd name="connsiteY6888" fmla="*/ 847131 h 2907193"/>
                <a:gd name="connsiteX6889" fmla="*/ 2470816 w 4044707"/>
                <a:gd name="connsiteY6889" fmla="*/ 843561 h 2907193"/>
                <a:gd name="connsiteX6890" fmla="*/ 2469273 w 4044707"/>
                <a:gd name="connsiteY6890" fmla="*/ 843138 h 2907193"/>
                <a:gd name="connsiteX6891" fmla="*/ 2467609 w 4044707"/>
                <a:gd name="connsiteY6891" fmla="*/ 843531 h 2907193"/>
                <a:gd name="connsiteX6892" fmla="*/ 2466187 w 4044707"/>
                <a:gd name="connsiteY6892" fmla="*/ 843107 h 2907193"/>
                <a:gd name="connsiteX6893" fmla="*/ 2465310 w 4044707"/>
                <a:gd name="connsiteY6893" fmla="*/ 840203 h 2907193"/>
                <a:gd name="connsiteX6894" fmla="*/ 2479075 w 4044707"/>
                <a:gd name="connsiteY6894" fmla="*/ 830220 h 2907193"/>
                <a:gd name="connsiteX6895" fmla="*/ 2480376 w 4044707"/>
                <a:gd name="connsiteY6895" fmla="*/ 828526 h 2907193"/>
                <a:gd name="connsiteX6896" fmla="*/ 2481555 w 4044707"/>
                <a:gd name="connsiteY6896" fmla="*/ 827407 h 2907193"/>
                <a:gd name="connsiteX6897" fmla="*/ 2482917 w 4044707"/>
                <a:gd name="connsiteY6897" fmla="*/ 827679 h 2907193"/>
                <a:gd name="connsiteX6898" fmla="*/ 2484641 w 4044707"/>
                <a:gd name="connsiteY6898" fmla="*/ 830190 h 2907193"/>
                <a:gd name="connsiteX6899" fmla="*/ 2485791 w 4044707"/>
                <a:gd name="connsiteY6899" fmla="*/ 833155 h 2907193"/>
                <a:gd name="connsiteX6900" fmla="*/ 2486365 w 4044707"/>
                <a:gd name="connsiteY6900" fmla="*/ 835212 h 2907193"/>
                <a:gd name="connsiteX6901" fmla="*/ 2487303 w 4044707"/>
                <a:gd name="connsiteY6901" fmla="*/ 836422 h 2907193"/>
                <a:gd name="connsiteX6902" fmla="*/ 2506120 w 4044707"/>
                <a:gd name="connsiteY6902" fmla="*/ 837420 h 2907193"/>
                <a:gd name="connsiteX6903" fmla="*/ 2508812 w 4044707"/>
                <a:gd name="connsiteY6903" fmla="*/ 834395 h 2907193"/>
                <a:gd name="connsiteX6904" fmla="*/ 2509689 w 4044707"/>
                <a:gd name="connsiteY6904" fmla="*/ 832883 h 2907193"/>
                <a:gd name="connsiteX6905" fmla="*/ 2513743 w 4044707"/>
                <a:gd name="connsiteY6905" fmla="*/ 829131 h 2907193"/>
                <a:gd name="connsiteX6906" fmla="*/ 2514983 w 4044707"/>
                <a:gd name="connsiteY6906" fmla="*/ 828375 h 2907193"/>
                <a:gd name="connsiteX6907" fmla="*/ 2517071 w 4044707"/>
                <a:gd name="connsiteY6907" fmla="*/ 829373 h 2907193"/>
                <a:gd name="connsiteX6908" fmla="*/ 2516042 w 4044707"/>
                <a:gd name="connsiteY6908" fmla="*/ 831582 h 2907193"/>
                <a:gd name="connsiteX6909" fmla="*/ 2512261 w 4044707"/>
                <a:gd name="connsiteY6909" fmla="*/ 835303 h 2907193"/>
                <a:gd name="connsiteX6910" fmla="*/ 2512261 w 4044707"/>
                <a:gd name="connsiteY6910" fmla="*/ 836845 h 2907193"/>
                <a:gd name="connsiteX6911" fmla="*/ 2517373 w 4044707"/>
                <a:gd name="connsiteY6911" fmla="*/ 840082 h 2907193"/>
                <a:gd name="connsiteX6912" fmla="*/ 2533679 w 4044707"/>
                <a:gd name="connsiteY6912" fmla="*/ 841897 h 2907193"/>
                <a:gd name="connsiteX6913" fmla="*/ 2533679 w 4044707"/>
                <a:gd name="connsiteY6913" fmla="*/ 843561 h 2907193"/>
                <a:gd name="connsiteX6914" fmla="*/ 2527386 w 4044707"/>
                <a:gd name="connsiteY6914" fmla="*/ 842865 h 2907193"/>
                <a:gd name="connsiteX6915" fmla="*/ 2524180 w 4044707"/>
                <a:gd name="connsiteY6915" fmla="*/ 843773 h 2907193"/>
                <a:gd name="connsiteX6916" fmla="*/ 2522606 w 4044707"/>
                <a:gd name="connsiteY6916" fmla="*/ 847101 h 2907193"/>
                <a:gd name="connsiteX6917" fmla="*/ 2523938 w 4044707"/>
                <a:gd name="connsiteY6917" fmla="*/ 847101 h 2907193"/>
                <a:gd name="connsiteX6918" fmla="*/ 2522576 w 4044707"/>
                <a:gd name="connsiteY6918" fmla="*/ 852334 h 2907193"/>
                <a:gd name="connsiteX6919" fmla="*/ 2521790 w 4044707"/>
                <a:gd name="connsiteY6919" fmla="*/ 854391 h 2907193"/>
                <a:gd name="connsiteX6920" fmla="*/ 2520489 w 4044707"/>
                <a:gd name="connsiteY6920" fmla="*/ 856297 h 2907193"/>
                <a:gd name="connsiteX6921" fmla="*/ 2515800 w 4044707"/>
                <a:gd name="connsiteY6921" fmla="*/ 860956 h 2907193"/>
                <a:gd name="connsiteX6922" fmla="*/ 2514318 w 4044707"/>
                <a:gd name="connsiteY6922" fmla="*/ 863920 h 2907193"/>
                <a:gd name="connsiteX6923" fmla="*/ 2513682 w 4044707"/>
                <a:gd name="connsiteY6923" fmla="*/ 869820 h 2907193"/>
                <a:gd name="connsiteX6924" fmla="*/ 2513259 w 4044707"/>
                <a:gd name="connsiteY6924" fmla="*/ 870636 h 2907193"/>
                <a:gd name="connsiteX6925" fmla="*/ 2512291 w 4044707"/>
                <a:gd name="connsiteY6925" fmla="*/ 870969 h 2907193"/>
                <a:gd name="connsiteX6926" fmla="*/ 2511323 w 4044707"/>
                <a:gd name="connsiteY6926" fmla="*/ 870304 h 2907193"/>
                <a:gd name="connsiteX6927" fmla="*/ 2510869 w 4044707"/>
                <a:gd name="connsiteY6927" fmla="*/ 868095 h 2907193"/>
                <a:gd name="connsiteX6928" fmla="*/ 2510445 w 4044707"/>
                <a:gd name="connsiteY6928" fmla="*/ 863830 h 2907193"/>
                <a:gd name="connsiteX6929" fmla="*/ 2509296 w 4044707"/>
                <a:gd name="connsiteY6929" fmla="*/ 861289 h 2907193"/>
                <a:gd name="connsiteX6930" fmla="*/ 2506089 w 4044707"/>
                <a:gd name="connsiteY6930" fmla="*/ 857900 h 2907193"/>
                <a:gd name="connsiteX6931" fmla="*/ 2502429 w 4044707"/>
                <a:gd name="connsiteY6931" fmla="*/ 857719 h 2907193"/>
                <a:gd name="connsiteX6932" fmla="*/ 2487485 w 4044707"/>
                <a:gd name="connsiteY6932" fmla="*/ 863013 h 2907193"/>
                <a:gd name="connsiteX6933" fmla="*/ 2486910 w 4044707"/>
                <a:gd name="connsiteY6933" fmla="*/ 866431 h 2907193"/>
                <a:gd name="connsiteX6934" fmla="*/ 2485518 w 4044707"/>
                <a:gd name="connsiteY6934" fmla="*/ 868035 h 2907193"/>
                <a:gd name="connsiteX6935" fmla="*/ 2483703 w 4044707"/>
                <a:gd name="connsiteY6935" fmla="*/ 869003 h 2907193"/>
                <a:gd name="connsiteX6936" fmla="*/ 2481949 w 4044707"/>
                <a:gd name="connsiteY6936" fmla="*/ 870636 h 2907193"/>
                <a:gd name="connsiteX6937" fmla="*/ 2480557 w 4044707"/>
                <a:gd name="connsiteY6937" fmla="*/ 873026 h 2907193"/>
                <a:gd name="connsiteX6938" fmla="*/ 2479498 w 4044707"/>
                <a:gd name="connsiteY6938" fmla="*/ 875930 h 2907193"/>
                <a:gd name="connsiteX6939" fmla="*/ 2479498 w 4044707"/>
                <a:gd name="connsiteY6939" fmla="*/ 878683 h 2907193"/>
                <a:gd name="connsiteX6940" fmla="*/ 2481253 w 4044707"/>
                <a:gd name="connsiteY6940" fmla="*/ 880710 h 2907193"/>
                <a:gd name="connsiteX6941" fmla="*/ 2480315 w 4044707"/>
                <a:gd name="connsiteY6941" fmla="*/ 882223 h 2907193"/>
                <a:gd name="connsiteX6942" fmla="*/ 2479408 w 4044707"/>
                <a:gd name="connsiteY6942" fmla="*/ 882374 h 2907193"/>
                <a:gd name="connsiteX6943" fmla="*/ 2478560 w 4044707"/>
                <a:gd name="connsiteY6943" fmla="*/ 881255 h 2907193"/>
                <a:gd name="connsiteX6944" fmla="*/ 2477834 w 4044707"/>
                <a:gd name="connsiteY6944" fmla="*/ 879016 h 2907193"/>
                <a:gd name="connsiteX6945" fmla="*/ 2477381 w 4044707"/>
                <a:gd name="connsiteY6945" fmla="*/ 876566 h 2907193"/>
                <a:gd name="connsiteX6946" fmla="*/ 2477532 w 4044707"/>
                <a:gd name="connsiteY6946" fmla="*/ 875416 h 2907193"/>
                <a:gd name="connsiteX6947" fmla="*/ 2478076 w 4044707"/>
                <a:gd name="connsiteY6947" fmla="*/ 874629 h 2907193"/>
                <a:gd name="connsiteX6948" fmla="*/ 2478833 w 4044707"/>
                <a:gd name="connsiteY6948" fmla="*/ 873177 h 2907193"/>
                <a:gd name="connsiteX6949" fmla="*/ 2481434 w 4044707"/>
                <a:gd name="connsiteY6949" fmla="*/ 866371 h 2907193"/>
                <a:gd name="connsiteX6950" fmla="*/ 2480648 w 4044707"/>
                <a:gd name="connsiteY6950" fmla="*/ 865645 h 2907193"/>
                <a:gd name="connsiteX6951" fmla="*/ 2475384 w 4044707"/>
                <a:gd name="connsiteY6951" fmla="*/ 866189 h 2907193"/>
                <a:gd name="connsiteX6952" fmla="*/ 2462981 w 4044707"/>
                <a:gd name="connsiteY6952" fmla="*/ 872572 h 2907193"/>
                <a:gd name="connsiteX6953" fmla="*/ 2460803 w 4044707"/>
                <a:gd name="connsiteY6953" fmla="*/ 872572 h 2907193"/>
                <a:gd name="connsiteX6954" fmla="*/ 2460682 w 4044707"/>
                <a:gd name="connsiteY6954" fmla="*/ 870636 h 2907193"/>
                <a:gd name="connsiteX6955" fmla="*/ 2457173 w 4044707"/>
                <a:gd name="connsiteY6955" fmla="*/ 872905 h 2907193"/>
                <a:gd name="connsiteX6956" fmla="*/ 2446796 w 4044707"/>
                <a:gd name="connsiteY6956" fmla="*/ 887426 h 2907193"/>
                <a:gd name="connsiteX6957" fmla="*/ 2446222 w 4044707"/>
                <a:gd name="connsiteY6957" fmla="*/ 883463 h 2907193"/>
                <a:gd name="connsiteX6958" fmla="*/ 2447008 w 4044707"/>
                <a:gd name="connsiteY6958" fmla="*/ 880408 h 2907193"/>
                <a:gd name="connsiteX6959" fmla="*/ 2448551 w 4044707"/>
                <a:gd name="connsiteY6959" fmla="*/ 878350 h 2907193"/>
                <a:gd name="connsiteX6960" fmla="*/ 2450245 w 4044707"/>
                <a:gd name="connsiteY6960" fmla="*/ 877382 h 2907193"/>
                <a:gd name="connsiteX6961" fmla="*/ 2446101 w 4044707"/>
                <a:gd name="connsiteY6961" fmla="*/ 873994 h 2907193"/>
                <a:gd name="connsiteX6962" fmla="*/ 2435331 w 4044707"/>
                <a:gd name="connsiteY6962" fmla="*/ 873692 h 2907193"/>
                <a:gd name="connsiteX6963" fmla="*/ 2430430 w 4044707"/>
                <a:gd name="connsiteY6963" fmla="*/ 871907 h 2907193"/>
                <a:gd name="connsiteX6964" fmla="*/ 2426649 w 4044707"/>
                <a:gd name="connsiteY6964" fmla="*/ 871665 h 2907193"/>
                <a:gd name="connsiteX6965" fmla="*/ 2421264 w 4044707"/>
                <a:gd name="connsiteY6965" fmla="*/ 873813 h 2907193"/>
                <a:gd name="connsiteX6966" fmla="*/ 2416636 w 4044707"/>
                <a:gd name="connsiteY6966" fmla="*/ 877201 h 2907193"/>
                <a:gd name="connsiteX6967" fmla="*/ 2415063 w 4044707"/>
                <a:gd name="connsiteY6967" fmla="*/ 880740 h 2907193"/>
                <a:gd name="connsiteX6968" fmla="*/ 2413429 w 4044707"/>
                <a:gd name="connsiteY6968" fmla="*/ 882374 h 2907193"/>
                <a:gd name="connsiteX6969" fmla="*/ 2412612 w 4044707"/>
                <a:gd name="connsiteY6969" fmla="*/ 882676 h 2907193"/>
                <a:gd name="connsiteX6970" fmla="*/ 2411644 w 4044707"/>
                <a:gd name="connsiteY6970" fmla="*/ 882555 h 2907193"/>
                <a:gd name="connsiteX6971" fmla="*/ 2411644 w 4044707"/>
                <a:gd name="connsiteY6971" fmla="*/ 884068 h 2907193"/>
                <a:gd name="connsiteX6972" fmla="*/ 2434393 w 4044707"/>
                <a:gd name="connsiteY6972" fmla="*/ 879984 h 2907193"/>
                <a:gd name="connsiteX6973" fmla="*/ 2437116 w 4044707"/>
                <a:gd name="connsiteY6973" fmla="*/ 882525 h 2907193"/>
                <a:gd name="connsiteX6974" fmla="*/ 2433123 w 4044707"/>
                <a:gd name="connsiteY6974" fmla="*/ 885550 h 2907193"/>
                <a:gd name="connsiteX6975" fmla="*/ 2422656 w 4044707"/>
                <a:gd name="connsiteY6975" fmla="*/ 885913 h 2907193"/>
                <a:gd name="connsiteX6976" fmla="*/ 2413974 w 4044707"/>
                <a:gd name="connsiteY6976" fmla="*/ 889422 h 2907193"/>
                <a:gd name="connsiteX6977" fmla="*/ 2407318 w 4044707"/>
                <a:gd name="connsiteY6977" fmla="*/ 888848 h 2907193"/>
                <a:gd name="connsiteX6978" fmla="*/ 2405533 w 4044707"/>
                <a:gd name="connsiteY6978" fmla="*/ 889453 h 2907193"/>
                <a:gd name="connsiteX6979" fmla="*/ 2403900 w 4044707"/>
                <a:gd name="connsiteY6979" fmla="*/ 891117 h 2907193"/>
                <a:gd name="connsiteX6980" fmla="*/ 2401994 w 4044707"/>
                <a:gd name="connsiteY6980" fmla="*/ 894081 h 2907193"/>
                <a:gd name="connsiteX6981" fmla="*/ 2402720 w 4044707"/>
                <a:gd name="connsiteY6981" fmla="*/ 895896 h 2907193"/>
                <a:gd name="connsiteX6982" fmla="*/ 2403537 w 4044707"/>
                <a:gd name="connsiteY6982" fmla="*/ 897530 h 2907193"/>
                <a:gd name="connsiteX6983" fmla="*/ 2404475 w 4044707"/>
                <a:gd name="connsiteY6983" fmla="*/ 898710 h 2907193"/>
                <a:gd name="connsiteX6984" fmla="*/ 2405443 w 4044707"/>
                <a:gd name="connsiteY6984" fmla="*/ 899194 h 2907193"/>
                <a:gd name="connsiteX6985" fmla="*/ 2406834 w 4044707"/>
                <a:gd name="connsiteY6985" fmla="*/ 896471 h 2907193"/>
                <a:gd name="connsiteX6986" fmla="*/ 2408559 w 4044707"/>
                <a:gd name="connsiteY6986" fmla="*/ 895624 h 2907193"/>
                <a:gd name="connsiteX6987" fmla="*/ 2409738 w 4044707"/>
                <a:gd name="connsiteY6987" fmla="*/ 896985 h 2907193"/>
                <a:gd name="connsiteX6988" fmla="*/ 2409527 w 4044707"/>
                <a:gd name="connsiteY6988" fmla="*/ 900857 h 2907193"/>
                <a:gd name="connsiteX6989" fmla="*/ 2410586 w 4044707"/>
                <a:gd name="connsiteY6989" fmla="*/ 901705 h 2907193"/>
                <a:gd name="connsiteX6990" fmla="*/ 2410918 w 4044707"/>
                <a:gd name="connsiteY6990" fmla="*/ 902521 h 2907193"/>
                <a:gd name="connsiteX6991" fmla="*/ 2410586 w 4044707"/>
                <a:gd name="connsiteY6991" fmla="*/ 903368 h 2907193"/>
                <a:gd name="connsiteX6992" fmla="*/ 2409527 w 4044707"/>
                <a:gd name="connsiteY6992" fmla="*/ 904215 h 2907193"/>
                <a:gd name="connsiteX6993" fmla="*/ 2414337 w 4044707"/>
                <a:gd name="connsiteY6993" fmla="*/ 901553 h 2907193"/>
                <a:gd name="connsiteX6994" fmla="*/ 2430219 w 4044707"/>
                <a:gd name="connsiteY6994" fmla="*/ 899194 h 2907193"/>
                <a:gd name="connsiteX6995" fmla="*/ 2428252 w 4044707"/>
                <a:gd name="connsiteY6995" fmla="*/ 901221 h 2907193"/>
                <a:gd name="connsiteX6996" fmla="*/ 2426104 w 4044707"/>
                <a:gd name="connsiteY6996" fmla="*/ 902521 h 2907193"/>
                <a:gd name="connsiteX6997" fmla="*/ 2428283 w 4044707"/>
                <a:gd name="connsiteY6997" fmla="*/ 908027 h 2907193"/>
                <a:gd name="connsiteX6998" fmla="*/ 2431792 w 4044707"/>
                <a:gd name="connsiteY6998" fmla="*/ 908451 h 2907193"/>
                <a:gd name="connsiteX6999" fmla="*/ 2435573 w 4044707"/>
                <a:gd name="connsiteY6999" fmla="*/ 907573 h 2907193"/>
                <a:gd name="connsiteX7000" fmla="*/ 2438538 w 4044707"/>
                <a:gd name="connsiteY7000" fmla="*/ 909177 h 2907193"/>
                <a:gd name="connsiteX7001" fmla="*/ 2414216 w 4044707"/>
                <a:gd name="connsiteY7001" fmla="*/ 911809 h 2907193"/>
                <a:gd name="connsiteX7002" fmla="*/ 2412310 w 4044707"/>
                <a:gd name="connsiteY7002" fmla="*/ 913291 h 2907193"/>
                <a:gd name="connsiteX7003" fmla="*/ 2410404 w 4044707"/>
                <a:gd name="connsiteY7003" fmla="*/ 913442 h 2907193"/>
                <a:gd name="connsiteX7004" fmla="*/ 2408075 w 4044707"/>
                <a:gd name="connsiteY7004" fmla="*/ 912353 h 2907193"/>
                <a:gd name="connsiteX7005" fmla="*/ 2405957 w 4044707"/>
                <a:gd name="connsiteY7005" fmla="*/ 912353 h 2907193"/>
                <a:gd name="connsiteX7006" fmla="*/ 2404717 w 4044707"/>
                <a:gd name="connsiteY7006" fmla="*/ 915862 h 2907193"/>
                <a:gd name="connsiteX7007" fmla="*/ 2414397 w 4044707"/>
                <a:gd name="connsiteY7007" fmla="*/ 917526 h 2907193"/>
                <a:gd name="connsiteX7008" fmla="*/ 2414397 w 4044707"/>
                <a:gd name="connsiteY7008" fmla="*/ 919341 h 2907193"/>
                <a:gd name="connsiteX7009" fmla="*/ 2399271 w 4044707"/>
                <a:gd name="connsiteY7009" fmla="*/ 929294 h 2907193"/>
                <a:gd name="connsiteX7010" fmla="*/ 2401873 w 4044707"/>
                <a:gd name="connsiteY7010" fmla="*/ 932047 h 2907193"/>
                <a:gd name="connsiteX7011" fmla="*/ 2407500 w 4044707"/>
                <a:gd name="connsiteY7011" fmla="*/ 931956 h 2907193"/>
                <a:gd name="connsiteX7012" fmla="*/ 2410283 w 4044707"/>
                <a:gd name="connsiteY7012" fmla="*/ 933378 h 2907193"/>
                <a:gd name="connsiteX7013" fmla="*/ 2418541 w 4044707"/>
                <a:gd name="connsiteY7013" fmla="*/ 931200 h 2907193"/>
                <a:gd name="connsiteX7014" fmla="*/ 2420266 w 4044707"/>
                <a:gd name="connsiteY7014" fmla="*/ 930050 h 2907193"/>
                <a:gd name="connsiteX7015" fmla="*/ 2421990 w 4044707"/>
                <a:gd name="connsiteY7015" fmla="*/ 928235 h 2907193"/>
                <a:gd name="connsiteX7016" fmla="*/ 2430884 w 4044707"/>
                <a:gd name="connsiteY7016" fmla="*/ 924847 h 2907193"/>
                <a:gd name="connsiteX7017" fmla="*/ 2443136 w 4044707"/>
                <a:gd name="connsiteY7017" fmla="*/ 916346 h 2907193"/>
                <a:gd name="connsiteX7018" fmla="*/ 2445102 w 4044707"/>
                <a:gd name="connsiteY7018" fmla="*/ 915832 h 2907193"/>
                <a:gd name="connsiteX7019" fmla="*/ 2446282 w 4044707"/>
                <a:gd name="connsiteY7019" fmla="*/ 914531 h 2907193"/>
                <a:gd name="connsiteX7020" fmla="*/ 2449307 w 4044707"/>
                <a:gd name="connsiteY7020" fmla="*/ 908814 h 2907193"/>
                <a:gd name="connsiteX7021" fmla="*/ 2453179 w 4044707"/>
                <a:gd name="connsiteY7021" fmla="*/ 906635 h 2907193"/>
                <a:gd name="connsiteX7022" fmla="*/ 2457868 w 4044707"/>
                <a:gd name="connsiteY7022" fmla="*/ 900827 h 2907193"/>
                <a:gd name="connsiteX7023" fmla="*/ 2465431 w 4044707"/>
                <a:gd name="connsiteY7023" fmla="*/ 894021 h 2907193"/>
                <a:gd name="connsiteX7024" fmla="*/ 2464917 w 4044707"/>
                <a:gd name="connsiteY7024" fmla="*/ 891328 h 2907193"/>
                <a:gd name="connsiteX7025" fmla="*/ 2463011 w 4044707"/>
                <a:gd name="connsiteY7025" fmla="*/ 884340 h 2907193"/>
                <a:gd name="connsiteX7026" fmla="*/ 2462678 w 4044707"/>
                <a:gd name="connsiteY7026" fmla="*/ 882465 h 2907193"/>
                <a:gd name="connsiteX7027" fmla="*/ 2463949 w 4044707"/>
                <a:gd name="connsiteY7027" fmla="*/ 879016 h 2907193"/>
                <a:gd name="connsiteX7028" fmla="*/ 2465371 w 4044707"/>
                <a:gd name="connsiteY7028" fmla="*/ 881436 h 2907193"/>
                <a:gd name="connsiteX7029" fmla="*/ 2467488 w 4044707"/>
                <a:gd name="connsiteY7029" fmla="*/ 888999 h 2907193"/>
                <a:gd name="connsiteX7030" fmla="*/ 2468124 w 4044707"/>
                <a:gd name="connsiteY7030" fmla="*/ 884733 h 2907193"/>
                <a:gd name="connsiteX7031" fmla="*/ 2469122 w 4044707"/>
                <a:gd name="connsiteY7031" fmla="*/ 881043 h 2907193"/>
                <a:gd name="connsiteX7032" fmla="*/ 2470302 w 4044707"/>
                <a:gd name="connsiteY7032" fmla="*/ 880075 h 2907193"/>
                <a:gd name="connsiteX7033" fmla="*/ 2471633 w 4044707"/>
                <a:gd name="connsiteY7033" fmla="*/ 883947 h 2907193"/>
                <a:gd name="connsiteX7034" fmla="*/ 2471633 w 4044707"/>
                <a:gd name="connsiteY7034" fmla="*/ 887063 h 2907193"/>
                <a:gd name="connsiteX7035" fmla="*/ 2469152 w 4044707"/>
                <a:gd name="connsiteY7035" fmla="*/ 891722 h 2907193"/>
                <a:gd name="connsiteX7036" fmla="*/ 2468124 w 4044707"/>
                <a:gd name="connsiteY7036" fmla="*/ 895805 h 2907193"/>
                <a:gd name="connsiteX7037" fmla="*/ 2486607 w 4044707"/>
                <a:gd name="connsiteY7037" fmla="*/ 901341 h 2907193"/>
                <a:gd name="connsiteX7038" fmla="*/ 2488211 w 4044707"/>
                <a:gd name="connsiteY7038" fmla="*/ 900736 h 2907193"/>
                <a:gd name="connsiteX7039" fmla="*/ 2493111 w 4044707"/>
                <a:gd name="connsiteY7039" fmla="*/ 896471 h 2907193"/>
                <a:gd name="connsiteX7040" fmla="*/ 2494654 w 4044707"/>
                <a:gd name="connsiteY7040" fmla="*/ 895745 h 2907193"/>
                <a:gd name="connsiteX7041" fmla="*/ 2496409 w 4044707"/>
                <a:gd name="connsiteY7041" fmla="*/ 895805 h 2907193"/>
                <a:gd name="connsiteX7042" fmla="*/ 2494775 w 4044707"/>
                <a:gd name="connsiteY7042" fmla="*/ 897863 h 2907193"/>
                <a:gd name="connsiteX7043" fmla="*/ 2492869 w 4044707"/>
                <a:gd name="connsiteY7043" fmla="*/ 899224 h 2907193"/>
                <a:gd name="connsiteX7044" fmla="*/ 2491175 w 4044707"/>
                <a:gd name="connsiteY7044" fmla="*/ 900978 h 2907193"/>
                <a:gd name="connsiteX7045" fmla="*/ 2490147 w 4044707"/>
                <a:gd name="connsiteY7045" fmla="*/ 904155 h 2907193"/>
                <a:gd name="connsiteX7046" fmla="*/ 2494049 w 4044707"/>
                <a:gd name="connsiteY7046" fmla="*/ 904306 h 2907193"/>
                <a:gd name="connsiteX7047" fmla="*/ 2506059 w 4044707"/>
                <a:gd name="connsiteY7047" fmla="*/ 912504 h 2907193"/>
                <a:gd name="connsiteX7048" fmla="*/ 2505726 w 4044707"/>
                <a:gd name="connsiteY7048" fmla="*/ 914047 h 2907193"/>
                <a:gd name="connsiteX7049" fmla="*/ 2505726 w 4044707"/>
                <a:gd name="connsiteY7049" fmla="*/ 915892 h 2907193"/>
                <a:gd name="connsiteX7050" fmla="*/ 2505363 w 4044707"/>
                <a:gd name="connsiteY7050" fmla="*/ 917496 h 2907193"/>
                <a:gd name="connsiteX7051" fmla="*/ 2506573 w 4044707"/>
                <a:gd name="connsiteY7051" fmla="*/ 919281 h 2907193"/>
                <a:gd name="connsiteX7052" fmla="*/ 2507874 w 4044707"/>
                <a:gd name="connsiteY7052" fmla="*/ 920430 h 2907193"/>
                <a:gd name="connsiteX7053" fmla="*/ 2509326 w 4044707"/>
                <a:gd name="connsiteY7053" fmla="*/ 920944 h 2907193"/>
                <a:gd name="connsiteX7054" fmla="*/ 2510869 w 4044707"/>
                <a:gd name="connsiteY7054" fmla="*/ 920823 h 2907193"/>
                <a:gd name="connsiteX7055" fmla="*/ 2509417 w 4044707"/>
                <a:gd name="connsiteY7055" fmla="*/ 924786 h 2907193"/>
                <a:gd name="connsiteX7056" fmla="*/ 2507178 w 4044707"/>
                <a:gd name="connsiteY7056" fmla="*/ 924484 h 2907193"/>
                <a:gd name="connsiteX7057" fmla="*/ 2492960 w 4044707"/>
                <a:gd name="connsiteY7057" fmla="*/ 910810 h 2907193"/>
                <a:gd name="connsiteX7058" fmla="*/ 2486759 w 4044707"/>
                <a:gd name="connsiteY7058" fmla="*/ 907452 h 2907193"/>
                <a:gd name="connsiteX7059" fmla="*/ 2467398 w 4044707"/>
                <a:gd name="connsiteY7059" fmla="*/ 909146 h 2907193"/>
                <a:gd name="connsiteX7060" fmla="*/ 2467398 w 4044707"/>
                <a:gd name="connsiteY7060" fmla="*/ 910810 h 2907193"/>
                <a:gd name="connsiteX7061" fmla="*/ 2472692 w 4044707"/>
                <a:gd name="connsiteY7061" fmla="*/ 917466 h 2907193"/>
                <a:gd name="connsiteX7062" fmla="*/ 2475656 w 4044707"/>
                <a:gd name="connsiteY7062" fmla="*/ 919644 h 2907193"/>
                <a:gd name="connsiteX7063" fmla="*/ 2481828 w 4044707"/>
                <a:gd name="connsiteY7063" fmla="*/ 916649 h 2907193"/>
                <a:gd name="connsiteX7064" fmla="*/ 2485760 w 4044707"/>
                <a:gd name="connsiteY7064" fmla="*/ 918343 h 2907193"/>
                <a:gd name="connsiteX7065" fmla="*/ 2492930 w 4044707"/>
                <a:gd name="connsiteY7065" fmla="*/ 924181 h 2907193"/>
                <a:gd name="connsiteX7066" fmla="*/ 2478439 w 4044707"/>
                <a:gd name="connsiteY7066" fmla="*/ 920854 h 2907193"/>
                <a:gd name="connsiteX7067" fmla="*/ 2479196 w 4044707"/>
                <a:gd name="connsiteY7067" fmla="*/ 921912 h 2907193"/>
                <a:gd name="connsiteX7068" fmla="*/ 2481192 w 4044707"/>
                <a:gd name="connsiteY7068" fmla="*/ 925845 h 2907193"/>
                <a:gd name="connsiteX7069" fmla="*/ 2468154 w 4044707"/>
                <a:gd name="connsiteY7069" fmla="*/ 922094 h 2907193"/>
                <a:gd name="connsiteX7070" fmla="*/ 2463767 w 4044707"/>
                <a:gd name="connsiteY7070" fmla="*/ 916891 h 2907193"/>
                <a:gd name="connsiteX7071" fmla="*/ 2459926 w 4044707"/>
                <a:gd name="connsiteY7071" fmla="*/ 914410 h 2907193"/>
                <a:gd name="connsiteX7072" fmla="*/ 2458443 w 4044707"/>
                <a:gd name="connsiteY7072" fmla="*/ 914017 h 2907193"/>
                <a:gd name="connsiteX7073" fmla="*/ 2456991 w 4044707"/>
                <a:gd name="connsiteY7073" fmla="*/ 914440 h 2907193"/>
                <a:gd name="connsiteX7074" fmla="*/ 2456023 w 4044707"/>
                <a:gd name="connsiteY7074" fmla="*/ 915711 h 2907193"/>
                <a:gd name="connsiteX7075" fmla="*/ 2454359 w 4044707"/>
                <a:gd name="connsiteY7075" fmla="*/ 920793 h 2907193"/>
                <a:gd name="connsiteX7076" fmla="*/ 2455811 w 4044707"/>
                <a:gd name="connsiteY7076" fmla="*/ 922154 h 2907193"/>
                <a:gd name="connsiteX7077" fmla="*/ 2457384 w 4044707"/>
                <a:gd name="connsiteY7077" fmla="*/ 922608 h 2907193"/>
                <a:gd name="connsiteX7078" fmla="*/ 2460591 w 4044707"/>
                <a:gd name="connsiteY7078" fmla="*/ 922457 h 2907193"/>
                <a:gd name="connsiteX7079" fmla="*/ 2446464 w 4044707"/>
                <a:gd name="connsiteY7079" fmla="*/ 932833 h 2907193"/>
                <a:gd name="connsiteX7080" fmla="*/ 2444648 w 4044707"/>
                <a:gd name="connsiteY7080" fmla="*/ 939216 h 2907193"/>
                <a:gd name="connsiteX7081" fmla="*/ 2446222 w 4044707"/>
                <a:gd name="connsiteY7081" fmla="*/ 941576 h 2907193"/>
                <a:gd name="connsiteX7082" fmla="*/ 2449096 w 4044707"/>
                <a:gd name="connsiteY7082" fmla="*/ 940789 h 2907193"/>
                <a:gd name="connsiteX7083" fmla="*/ 2454329 w 4044707"/>
                <a:gd name="connsiteY7083" fmla="*/ 937552 h 2907193"/>
                <a:gd name="connsiteX7084" fmla="*/ 2457021 w 4044707"/>
                <a:gd name="connsiteY7084" fmla="*/ 938581 h 2907193"/>
                <a:gd name="connsiteX7085" fmla="*/ 2459926 w 4044707"/>
                <a:gd name="connsiteY7085" fmla="*/ 940941 h 2907193"/>
                <a:gd name="connsiteX7086" fmla="*/ 2462769 w 4044707"/>
                <a:gd name="connsiteY7086" fmla="*/ 942423 h 2907193"/>
                <a:gd name="connsiteX7087" fmla="*/ 2465280 w 4044707"/>
                <a:gd name="connsiteY7087" fmla="*/ 940759 h 2907193"/>
                <a:gd name="connsiteX7088" fmla="*/ 2464917 w 4044707"/>
                <a:gd name="connsiteY7088" fmla="*/ 940003 h 2907193"/>
                <a:gd name="connsiteX7089" fmla="*/ 2463919 w 4044707"/>
                <a:gd name="connsiteY7089" fmla="*/ 937583 h 2907193"/>
                <a:gd name="connsiteX7090" fmla="*/ 2465704 w 4044707"/>
                <a:gd name="connsiteY7090" fmla="*/ 935828 h 2907193"/>
                <a:gd name="connsiteX7091" fmla="*/ 2467549 w 4044707"/>
                <a:gd name="connsiteY7091" fmla="*/ 936100 h 2907193"/>
                <a:gd name="connsiteX7092" fmla="*/ 2469273 w 4044707"/>
                <a:gd name="connsiteY7092" fmla="*/ 937915 h 2907193"/>
                <a:gd name="connsiteX7093" fmla="*/ 2470786 w 4044707"/>
                <a:gd name="connsiteY7093" fmla="*/ 940759 h 2907193"/>
                <a:gd name="connsiteX7094" fmla="*/ 2469334 w 4044707"/>
                <a:gd name="connsiteY7094" fmla="*/ 942272 h 2907193"/>
                <a:gd name="connsiteX7095" fmla="*/ 2468789 w 4044707"/>
                <a:gd name="connsiteY7095" fmla="*/ 942574 h 2907193"/>
                <a:gd name="connsiteX7096" fmla="*/ 2473539 w 4044707"/>
                <a:gd name="connsiteY7096" fmla="*/ 949199 h 2907193"/>
                <a:gd name="connsiteX7097" fmla="*/ 2472752 w 4044707"/>
                <a:gd name="connsiteY7097" fmla="*/ 951256 h 2907193"/>
                <a:gd name="connsiteX7098" fmla="*/ 2471603 w 4044707"/>
                <a:gd name="connsiteY7098" fmla="*/ 953011 h 2907193"/>
                <a:gd name="connsiteX7099" fmla="*/ 2470574 w 4044707"/>
                <a:gd name="connsiteY7099" fmla="*/ 953465 h 2907193"/>
                <a:gd name="connsiteX7100" fmla="*/ 2469515 w 4044707"/>
                <a:gd name="connsiteY7100" fmla="*/ 948776 h 2907193"/>
                <a:gd name="connsiteX7101" fmla="*/ 2468033 w 4044707"/>
                <a:gd name="connsiteY7101" fmla="*/ 947747 h 2907193"/>
                <a:gd name="connsiteX7102" fmla="*/ 2464584 w 4044707"/>
                <a:gd name="connsiteY7102" fmla="*/ 947566 h 2907193"/>
                <a:gd name="connsiteX7103" fmla="*/ 2457657 w 4044707"/>
                <a:gd name="connsiteY7103" fmla="*/ 945146 h 2907193"/>
                <a:gd name="connsiteX7104" fmla="*/ 2454420 w 4044707"/>
                <a:gd name="connsiteY7104" fmla="*/ 945297 h 2907193"/>
                <a:gd name="connsiteX7105" fmla="*/ 2450911 w 4044707"/>
                <a:gd name="connsiteY7105" fmla="*/ 947566 h 2907193"/>
                <a:gd name="connsiteX7106" fmla="*/ 2452423 w 4044707"/>
                <a:gd name="connsiteY7106" fmla="*/ 948927 h 2907193"/>
                <a:gd name="connsiteX7107" fmla="*/ 2452998 w 4044707"/>
                <a:gd name="connsiteY7107" fmla="*/ 949260 h 2907193"/>
                <a:gd name="connsiteX7108" fmla="*/ 2450185 w 4044707"/>
                <a:gd name="connsiteY7108" fmla="*/ 951831 h 2907193"/>
                <a:gd name="connsiteX7109" fmla="*/ 2449670 w 4044707"/>
                <a:gd name="connsiteY7109" fmla="*/ 953767 h 2907193"/>
                <a:gd name="connsiteX7110" fmla="*/ 2449549 w 4044707"/>
                <a:gd name="connsiteY7110" fmla="*/ 958426 h 2907193"/>
                <a:gd name="connsiteX7111" fmla="*/ 2450790 w 4044707"/>
                <a:gd name="connsiteY7111" fmla="*/ 960907 h 2907193"/>
                <a:gd name="connsiteX7112" fmla="*/ 2453603 w 4044707"/>
                <a:gd name="connsiteY7112" fmla="*/ 962086 h 2907193"/>
                <a:gd name="connsiteX7113" fmla="*/ 2476897 w 4044707"/>
                <a:gd name="connsiteY7113" fmla="*/ 965444 h 2907193"/>
                <a:gd name="connsiteX7114" fmla="*/ 2482644 w 4044707"/>
                <a:gd name="connsiteY7114" fmla="*/ 964113 h 2907193"/>
                <a:gd name="connsiteX7115" fmla="*/ 2493928 w 4044707"/>
                <a:gd name="connsiteY7115" fmla="*/ 955401 h 2907193"/>
                <a:gd name="connsiteX7116" fmla="*/ 2514045 w 4044707"/>
                <a:gd name="connsiteY7116" fmla="*/ 950258 h 2907193"/>
                <a:gd name="connsiteX7117" fmla="*/ 2517040 w 4044707"/>
                <a:gd name="connsiteY7117" fmla="*/ 954221 h 2907193"/>
                <a:gd name="connsiteX7118" fmla="*/ 2505787 w 4044707"/>
                <a:gd name="connsiteY7118" fmla="*/ 955734 h 2907193"/>
                <a:gd name="connsiteX7119" fmla="*/ 2486849 w 4044707"/>
                <a:gd name="connsiteY7119" fmla="*/ 965596 h 2907193"/>
                <a:gd name="connsiteX7120" fmla="*/ 2482886 w 4044707"/>
                <a:gd name="connsiteY7120" fmla="*/ 969589 h 2907193"/>
                <a:gd name="connsiteX7121" fmla="*/ 2479891 w 4044707"/>
                <a:gd name="connsiteY7121" fmla="*/ 975851 h 2907193"/>
                <a:gd name="connsiteX7122" fmla="*/ 2481102 w 4044707"/>
                <a:gd name="connsiteY7122" fmla="*/ 977061 h 2907193"/>
                <a:gd name="connsiteX7123" fmla="*/ 2482463 w 4044707"/>
                <a:gd name="connsiteY7123" fmla="*/ 977484 h 2907193"/>
                <a:gd name="connsiteX7124" fmla="*/ 2485337 w 4044707"/>
                <a:gd name="connsiteY7124" fmla="*/ 977333 h 2907193"/>
                <a:gd name="connsiteX7125" fmla="*/ 2483703 w 4044707"/>
                <a:gd name="connsiteY7125" fmla="*/ 979753 h 2907193"/>
                <a:gd name="connsiteX7126" fmla="*/ 2480043 w 4044707"/>
                <a:gd name="connsiteY7126" fmla="*/ 982748 h 2907193"/>
                <a:gd name="connsiteX7127" fmla="*/ 2478470 w 4044707"/>
                <a:gd name="connsiteY7127" fmla="*/ 985743 h 2907193"/>
                <a:gd name="connsiteX7128" fmla="*/ 2483098 w 4044707"/>
                <a:gd name="connsiteY7128" fmla="*/ 989827 h 2907193"/>
                <a:gd name="connsiteX7129" fmla="*/ 2485609 w 4044707"/>
                <a:gd name="connsiteY7129" fmla="*/ 993215 h 2907193"/>
                <a:gd name="connsiteX7130" fmla="*/ 2486728 w 4044707"/>
                <a:gd name="connsiteY7130" fmla="*/ 996361 h 2907193"/>
                <a:gd name="connsiteX7131" fmla="*/ 2487000 w 4044707"/>
                <a:gd name="connsiteY7131" fmla="*/ 997723 h 2907193"/>
                <a:gd name="connsiteX7132" fmla="*/ 2488846 w 4044707"/>
                <a:gd name="connsiteY7132" fmla="*/ 1002351 h 2907193"/>
                <a:gd name="connsiteX7133" fmla="*/ 2489148 w 4044707"/>
                <a:gd name="connsiteY7133" fmla="*/ 1005104 h 2907193"/>
                <a:gd name="connsiteX7134" fmla="*/ 2488997 w 4044707"/>
                <a:gd name="connsiteY7134" fmla="*/ 1006677 h 2907193"/>
                <a:gd name="connsiteX7135" fmla="*/ 2489269 w 4044707"/>
                <a:gd name="connsiteY7135" fmla="*/ 1008069 h 2907193"/>
                <a:gd name="connsiteX7136" fmla="*/ 2490933 w 4044707"/>
                <a:gd name="connsiteY7136" fmla="*/ 1010337 h 2907193"/>
                <a:gd name="connsiteX7137" fmla="*/ 2496379 w 4044707"/>
                <a:gd name="connsiteY7137" fmla="*/ 1013090 h 2907193"/>
                <a:gd name="connsiteX7138" fmla="*/ 2497165 w 4044707"/>
                <a:gd name="connsiteY7138" fmla="*/ 1015389 h 2907193"/>
                <a:gd name="connsiteX7139" fmla="*/ 2492990 w 4044707"/>
                <a:gd name="connsiteY7139" fmla="*/ 1021954 h 2907193"/>
                <a:gd name="connsiteX7140" fmla="*/ 2489753 w 4044707"/>
                <a:gd name="connsiteY7140" fmla="*/ 1022680 h 2907193"/>
                <a:gd name="connsiteX7141" fmla="*/ 2487485 w 4044707"/>
                <a:gd name="connsiteY7141" fmla="*/ 1020835 h 2907193"/>
                <a:gd name="connsiteX7142" fmla="*/ 2487636 w 4044707"/>
                <a:gd name="connsiteY7142" fmla="*/ 1018294 h 2907193"/>
                <a:gd name="connsiteX7143" fmla="*/ 2491659 w 4044707"/>
                <a:gd name="connsiteY7143" fmla="*/ 1017023 h 2907193"/>
                <a:gd name="connsiteX7144" fmla="*/ 2491659 w 4044707"/>
                <a:gd name="connsiteY7144" fmla="*/ 1015389 h 2907193"/>
                <a:gd name="connsiteX7145" fmla="*/ 2488059 w 4044707"/>
                <a:gd name="connsiteY7145" fmla="*/ 1012485 h 2907193"/>
                <a:gd name="connsiteX7146" fmla="*/ 2484732 w 4044707"/>
                <a:gd name="connsiteY7146" fmla="*/ 1008674 h 2907193"/>
                <a:gd name="connsiteX7147" fmla="*/ 2482251 w 4044707"/>
                <a:gd name="connsiteY7147" fmla="*/ 1004045 h 2907193"/>
                <a:gd name="connsiteX7148" fmla="*/ 2481979 w 4044707"/>
                <a:gd name="connsiteY7148" fmla="*/ 1003773 h 2907193"/>
                <a:gd name="connsiteX7149" fmla="*/ 2481676 w 4044707"/>
                <a:gd name="connsiteY7149" fmla="*/ 1002079 h 2907193"/>
                <a:gd name="connsiteX7150" fmla="*/ 2481525 w 4044707"/>
                <a:gd name="connsiteY7150" fmla="*/ 998449 h 2907193"/>
                <a:gd name="connsiteX7151" fmla="*/ 2481313 w 4044707"/>
                <a:gd name="connsiteY7151" fmla="*/ 997027 h 2907193"/>
                <a:gd name="connsiteX7152" fmla="*/ 2476322 w 4044707"/>
                <a:gd name="connsiteY7152" fmla="*/ 984472 h 2907193"/>
                <a:gd name="connsiteX7153" fmla="*/ 2475021 w 4044707"/>
                <a:gd name="connsiteY7153" fmla="*/ 979330 h 2907193"/>
                <a:gd name="connsiteX7154" fmla="*/ 2474386 w 4044707"/>
                <a:gd name="connsiteY7154" fmla="*/ 977273 h 2907193"/>
                <a:gd name="connsiteX7155" fmla="*/ 2469969 w 4044707"/>
                <a:gd name="connsiteY7155" fmla="*/ 972039 h 2907193"/>
                <a:gd name="connsiteX7156" fmla="*/ 2464161 w 4044707"/>
                <a:gd name="connsiteY7156" fmla="*/ 970890 h 2907193"/>
                <a:gd name="connsiteX7157" fmla="*/ 2451062 w 4044707"/>
                <a:gd name="connsiteY7157" fmla="*/ 972947 h 2907193"/>
                <a:gd name="connsiteX7158" fmla="*/ 2450064 w 4044707"/>
                <a:gd name="connsiteY7158" fmla="*/ 973703 h 2907193"/>
                <a:gd name="connsiteX7159" fmla="*/ 2449640 w 4044707"/>
                <a:gd name="connsiteY7159" fmla="*/ 974853 h 2907193"/>
                <a:gd name="connsiteX7160" fmla="*/ 2449519 w 4044707"/>
                <a:gd name="connsiteY7160" fmla="*/ 976698 h 2907193"/>
                <a:gd name="connsiteX7161" fmla="*/ 2449216 w 4044707"/>
                <a:gd name="connsiteY7161" fmla="*/ 978604 h 2907193"/>
                <a:gd name="connsiteX7162" fmla="*/ 2448672 w 4044707"/>
                <a:gd name="connsiteY7162" fmla="*/ 980086 h 2907193"/>
                <a:gd name="connsiteX7163" fmla="*/ 2447916 w 4044707"/>
                <a:gd name="connsiteY7163" fmla="*/ 980691 h 2907193"/>
                <a:gd name="connsiteX7164" fmla="*/ 2445889 w 4044707"/>
                <a:gd name="connsiteY7164" fmla="*/ 981689 h 2907193"/>
                <a:gd name="connsiteX7165" fmla="*/ 2442501 w 4044707"/>
                <a:gd name="connsiteY7165" fmla="*/ 986136 h 2907193"/>
                <a:gd name="connsiteX7166" fmla="*/ 2440686 w 4044707"/>
                <a:gd name="connsiteY7166" fmla="*/ 987104 h 2907193"/>
                <a:gd name="connsiteX7167" fmla="*/ 2441260 w 4044707"/>
                <a:gd name="connsiteY7167" fmla="*/ 983172 h 2907193"/>
                <a:gd name="connsiteX7168" fmla="*/ 2442289 w 4044707"/>
                <a:gd name="connsiteY7168" fmla="*/ 980812 h 2907193"/>
                <a:gd name="connsiteX7169" fmla="*/ 2443348 w 4044707"/>
                <a:gd name="connsiteY7169" fmla="*/ 978755 h 2907193"/>
                <a:gd name="connsiteX7170" fmla="*/ 2444165 w 4044707"/>
                <a:gd name="connsiteY7170" fmla="*/ 975760 h 2907193"/>
                <a:gd name="connsiteX7171" fmla="*/ 2442622 w 4044707"/>
                <a:gd name="connsiteY7171" fmla="*/ 974247 h 2907193"/>
                <a:gd name="connsiteX7172" fmla="*/ 2442047 w 4044707"/>
                <a:gd name="connsiteY7172" fmla="*/ 973945 h 2907193"/>
                <a:gd name="connsiteX7173" fmla="*/ 2442047 w 4044707"/>
                <a:gd name="connsiteY7173" fmla="*/ 972463 h 2907193"/>
                <a:gd name="connsiteX7174" fmla="*/ 2445193 w 4044707"/>
                <a:gd name="connsiteY7174" fmla="*/ 972281 h 2907193"/>
                <a:gd name="connsiteX7175" fmla="*/ 2446706 w 4044707"/>
                <a:gd name="connsiteY7175" fmla="*/ 971767 h 2907193"/>
                <a:gd name="connsiteX7176" fmla="*/ 2448188 w 4044707"/>
                <a:gd name="connsiteY7176" fmla="*/ 970648 h 2907193"/>
                <a:gd name="connsiteX7177" fmla="*/ 2448188 w 4044707"/>
                <a:gd name="connsiteY7177" fmla="*/ 969165 h 2907193"/>
                <a:gd name="connsiteX7178" fmla="*/ 2446948 w 4044707"/>
                <a:gd name="connsiteY7178" fmla="*/ 968772 h 2907193"/>
                <a:gd name="connsiteX7179" fmla="*/ 2446040 w 4044707"/>
                <a:gd name="connsiteY7179" fmla="*/ 967532 h 2907193"/>
                <a:gd name="connsiteX7180" fmla="*/ 2445707 w 4044707"/>
                <a:gd name="connsiteY7180" fmla="*/ 965838 h 2907193"/>
                <a:gd name="connsiteX7181" fmla="*/ 2446191 w 4044707"/>
                <a:gd name="connsiteY7181" fmla="*/ 964083 h 2907193"/>
                <a:gd name="connsiteX7182" fmla="*/ 2444467 w 4044707"/>
                <a:gd name="connsiteY7182" fmla="*/ 962782 h 2907193"/>
                <a:gd name="connsiteX7183" fmla="*/ 2442773 w 4044707"/>
                <a:gd name="connsiteY7183" fmla="*/ 964113 h 2907193"/>
                <a:gd name="connsiteX7184" fmla="*/ 2441049 w 4044707"/>
                <a:gd name="connsiteY7184" fmla="*/ 966261 h 2907193"/>
                <a:gd name="connsiteX7185" fmla="*/ 2439264 w 4044707"/>
                <a:gd name="connsiteY7185" fmla="*/ 967380 h 2907193"/>
                <a:gd name="connsiteX7186" fmla="*/ 2437237 w 4044707"/>
                <a:gd name="connsiteY7186" fmla="*/ 967743 h 2907193"/>
                <a:gd name="connsiteX7187" fmla="*/ 2434787 w 4044707"/>
                <a:gd name="connsiteY7187" fmla="*/ 968832 h 2907193"/>
                <a:gd name="connsiteX7188" fmla="*/ 2432427 w 4044707"/>
                <a:gd name="connsiteY7188" fmla="*/ 970678 h 2907193"/>
                <a:gd name="connsiteX7189" fmla="*/ 2430612 w 4044707"/>
                <a:gd name="connsiteY7189" fmla="*/ 973249 h 2907193"/>
                <a:gd name="connsiteX7190" fmla="*/ 2428464 w 4044707"/>
                <a:gd name="connsiteY7190" fmla="*/ 975488 h 2907193"/>
                <a:gd name="connsiteX7191" fmla="*/ 2425469 w 4044707"/>
                <a:gd name="connsiteY7191" fmla="*/ 976153 h 2907193"/>
                <a:gd name="connsiteX7192" fmla="*/ 2412068 w 4044707"/>
                <a:gd name="connsiteY7192" fmla="*/ 975155 h 2907193"/>
                <a:gd name="connsiteX7193" fmla="*/ 2409587 w 4044707"/>
                <a:gd name="connsiteY7193" fmla="*/ 973975 h 2907193"/>
                <a:gd name="connsiteX7194" fmla="*/ 2415214 w 4044707"/>
                <a:gd name="connsiteY7194" fmla="*/ 971222 h 2907193"/>
                <a:gd name="connsiteX7195" fmla="*/ 2427829 w 4044707"/>
                <a:gd name="connsiteY7195" fmla="*/ 971071 h 2907193"/>
                <a:gd name="connsiteX7196" fmla="*/ 2432336 w 4044707"/>
                <a:gd name="connsiteY7196" fmla="*/ 964083 h 2907193"/>
                <a:gd name="connsiteX7197" fmla="*/ 2430461 w 4044707"/>
                <a:gd name="connsiteY7197" fmla="*/ 963448 h 2907193"/>
                <a:gd name="connsiteX7198" fmla="*/ 2427405 w 4044707"/>
                <a:gd name="connsiteY7198" fmla="*/ 958063 h 2907193"/>
                <a:gd name="connsiteX7199" fmla="*/ 2425469 w 4044707"/>
                <a:gd name="connsiteY7199" fmla="*/ 955976 h 2907193"/>
                <a:gd name="connsiteX7200" fmla="*/ 2427647 w 4044707"/>
                <a:gd name="connsiteY7200" fmla="*/ 952527 h 2907193"/>
                <a:gd name="connsiteX7201" fmla="*/ 2429825 w 4044707"/>
                <a:gd name="connsiteY7201" fmla="*/ 953465 h 2907193"/>
                <a:gd name="connsiteX7202" fmla="*/ 2431973 w 4044707"/>
                <a:gd name="connsiteY7202" fmla="*/ 956006 h 2907193"/>
                <a:gd name="connsiteX7203" fmla="*/ 2434877 w 4044707"/>
                <a:gd name="connsiteY7203" fmla="*/ 957972 h 2907193"/>
                <a:gd name="connsiteX7204" fmla="*/ 2436602 w 4044707"/>
                <a:gd name="connsiteY7204" fmla="*/ 960271 h 2907193"/>
                <a:gd name="connsiteX7205" fmla="*/ 2437570 w 4044707"/>
                <a:gd name="connsiteY7205" fmla="*/ 960786 h 2907193"/>
                <a:gd name="connsiteX7206" fmla="*/ 2440232 w 4044707"/>
                <a:gd name="connsiteY7206" fmla="*/ 960574 h 2907193"/>
                <a:gd name="connsiteX7207" fmla="*/ 2441533 w 4044707"/>
                <a:gd name="connsiteY7207" fmla="*/ 960120 h 2907193"/>
                <a:gd name="connsiteX7208" fmla="*/ 2442803 w 4044707"/>
                <a:gd name="connsiteY7208" fmla="*/ 959303 h 2907193"/>
                <a:gd name="connsiteX7209" fmla="*/ 2441291 w 4044707"/>
                <a:gd name="connsiteY7209" fmla="*/ 955703 h 2907193"/>
                <a:gd name="connsiteX7210" fmla="*/ 2438417 w 4044707"/>
                <a:gd name="connsiteY7210" fmla="*/ 952466 h 2907193"/>
                <a:gd name="connsiteX7211" fmla="*/ 2435210 w 4044707"/>
                <a:gd name="connsiteY7211" fmla="*/ 950107 h 2907193"/>
                <a:gd name="connsiteX7212" fmla="*/ 2432729 w 4044707"/>
                <a:gd name="connsiteY7212" fmla="*/ 949199 h 2907193"/>
                <a:gd name="connsiteX7213" fmla="*/ 2425862 w 4044707"/>
                <a:gd name="connsiteY7213" fmla="*/ 950833 h 2907193"/>
                <a:gd name="connsiteX7214" fmla="*/ 2406108 w 4044707"/>
                <a:gd name="connsiteY7214" fmla="*/ 961844 h 2907193"/>
                <a:gd name="connsiteX7215" fmla="*/ 2403265 w 4044707"/>
                <a:gd name="connsiteY7215" fmla="*/ 964476 h 2907193"/>
                <a:gd name="connsiteX7216" fmla="*/ 2400663 w 4044707"/>
                <a:gd name="connsiteY7216" fmla="*/ 967713 h 2907193"/>
                <a:gd name="connsiteX7217" fmla="*/ 2399332 w 4044707"/>
                <a:gd name="connsiteY7217" fmla="*/ 970678 h 2907193"/>
                <a:gd name="connsiteX7218" fmla="*/ 2400784 w 4044707"/>
                <a:gd name="connsiteY7218" fmla="*/ 970890 h 2907193"/>
                <a:gd name="connsiteX7219" fmla="*/ 2402176 w 4044707"/>
                <a:gd name="connsiteY7219" fmla="*/ 971525 h 2907193"/>
                <a:gd name="connsiteX7220" fmla="*/ 2403507 w 4044707"/>
                <a:gd name="connsiteY7220" fmla="*/ 972614 h 2907193"/>
                <a:gd name="connsiteX7221" fmla="*/ 2404717 w 4044707"/>
                <a:gd name="connsiteY7221" fmla="*/ 974005 h 2907193"/>
                <a:gd name="connsiteX7222" fmla="*/ 2403416 w 4044707"/>
                <a:gd name="connsiteY7222" fmla="*/ 975821 h 2907193"/>
                <a:gd name="connsiteX7223" fmla="*/ 2405049 w 4044707"/>
                <a:gd name="connsiteY7223" fmla="*/ 977031 h 2907193"/>
                <a:gd name="connsiteX7224" fmla="*/ 2408922 w 4044707"/>
                <a:gd name="connsiteY7224" fmla="*/ 976184 h 2907193"/>
                <a:gd name="connsiteX7225" fmla="*/ 2410949 w 4044707"/>
                <a:gd name="connsiteY7225" fmla="*/ 977303 h 2907193"/>
                <a:gd name="connsiteX7226" fmla="*/ 2409436 w 4044707"/>
                <a:gd name="connsiteY7226" fmla="*/ 980025 h 2907193"/>
                <a:gd name="connsiteX7227" fmla="*/ 2408891 w 4044707"/>
                <a:gd name="connsiteY7227" fmla="*/ 980782 h 2907193"/>
                <a:gd name="connsiteX7228" fmla="*/ 2420629 w 4044707"/>
                <a:gd name="connsiteY7228" fmla="*/ 982264 h 2907193"/>
                <a:gd name="connsiteX7229" fmla="*/ 2431701 w 4044707"/>
                <a:gd name="connsiteY7229" fmla="*/ 980782 h 2907193"/>
                <a:gd name="connsiteX7230" fmla="*/ 2425046 w 4044707"/>
                <a:gd name="connsiteY7230" fmla="*/ 986378 h 2907193"/>
                <a:gd name="connsiteX7231" fmla="*/ 2421204 w 4044707"/>
                <a:gd name="connsiteY7231" fmla="*/ 988284 h 2907193"/>
                <a:gd name="connsiteX7232" fmla="*/ 2417876 w 4044707"/>
                <a:gd name="connsiteY7232" fmla="*/ 989010 h 2907193"/>
                <a:gd name="connsiteX7233" fmla="*/ 2415002 w 4044707"/>
                <a:gd name="connsiteY7233" fmla="*/ 990976 h 2907193"/>
                <a:gd name="connsiteX7234" fmla="*/ 2412098 w 4044707"/>
                <a:gd name="connsiteY7234" fmla="*/ 994788 h 2907193"/>
                <a:gd name="connsiteX7235" fmla="*/ 2409164 w 4044707"/>
                <a:gd name="connsiteY7235" fmla="*/ 997360 h 2907193"/>
                <a:gd name="connsiteX7236" fmla="*/ 2406199 w 4044707"/>
                <a:gd name="connsiteY7236" fmla="*/ 995605 h 2907193"/>
                <a:gd name="connsiteX7237" fmla="*/ 2407470 w 4044707"/>
                <a:gd name="connsiteY7237" fmla="*/ 992610 h 2907193"/>
                <a:gd name="connsiteX7238" fmla="*/ 2408105 w 4044707"/>
                <a:gd name="connsiteY7238" fmla="*/ 991461 h 2907193"/>
                <a:gd name="connsiteX7239" fmla="*/ 2408922 w 4044707"/>
                <a:gd name="connsiteY7239" fmla="*/ 990674 h 2907193"/>
                <a:gd name="connsiteX7240" fmla="*/ 2406653 w 4044707"/>
                <a:gd name="connsiteY7240" fmla="*/ 986862 h 2907193"/>
                <a:gd name="connsiteX7241" fmla="*/ 2403839 w 4044707"/>
                <a:gd name="connsiteY7241" fmla="*/ 986499 h 2907193"/>
                <a:gd name="connsiteX7242" fmla="*/ 2400875 w 4044707"/>
                <a:gd name="connsiteY7242" fmla="*/ 987286 h 2907193"/>
                <a:gd name="connsiteX7243" fmla="*/ 2391830 w 4044707"/>
                <a:gd name="connsiteY7243" fmla="*/ 985773 h 2907193"/>
                <a:gd name="connsiteX7244" fmla="*/ 2388865 w 4044707"/>
                <a:gd name="connsiteY7244" fmla="*/ 987135 h 2907193"/>
                <a:gd name="connsiteX7245" fmla="*/ 2388260 w 4044707"/>
                <a:gd name="connsiteY7245" fmla="*/ 990644 h 2907193"/>
                <a:gd name="connsiteX7246" fmla="*/ 2386233 w 4044707"/>
                <a:gd name="connsiteY7246" fmla="*/ 992096 h 2907193"/>
                <a:gd name="connsiteX7247" fmla="*/ 2385205 w 4044707"/>
                <a:gd name="connsiteY7247" fmla="*/ 992429 h 2907193"/>
                <a:gd name="connsiteX7248" fmla="*/ 2384116 w 4044707"/>
                <a:gd name="connsiteY7248" fmla="*/ 992429 h 2907193"/>
                <a:gd name="connsiteX7249" fmla="*/ 2384116 w 4044707"/>
                <a:gd name="connsiteY7249" fmla="*/ 993941 h 2907193"/>
                <a:gd name="connsiteX7250" fmla="*/ 2387050 w 4044707"/>
                <a:gd name="connsiteY7250" fmla="*/ 993608 h 2907193"/>
                <a:gd name="connsiteX7251" fmla="*/ 2387685 w 4044707"/>
                <a:gd name="connsiteY7251" fmla="*/ 995030 h 2907193"/>
                <a:gd name="connsiteX7252" fmla="*/ 2386687 w 4044707"/>
                <a:gd name="connsiteY7252" fmla="*/ 997571 h 2907193"/>
                <a:gd name="connsiteX7253" fmla="*/ 2375645 w 4044707"/>
                <a:gd name="connsiteY7253" fmla="*/ 1010670 h 2907193"/>
                <a:gd name="connsiteX7254" fmla="*/ 2371591 w 4044707"/>
                <a:gd name="connsiteY7254" fmla="*/ 1017083 h 2907193"/>
                <a:gd name="connsiteX7255" fmla="*/ 2368143 w 4044707"/>
                <a:gd name="connsiteY7255" fmla="*/ 1019897 h 2907193"/>
                <a:gd name="connsiteX7256" fmla="*/ 2367023 w 4044707"/>
                <a:gd name="connsiteY7256" fmla="*/ 1021440 h 2907193"/>
                <a:gd name="connsiteX7257" fmla="*/ 2367477 w 4044707"/>
                <a:gd name="connsiteY7257" fmla="*/ 1023497 h 2907193"/>
                <a:gd name="connsiteX7258" fmla="*/ 2365481 w 4044707"/>
                <a:gd name="connsiteY7258" fmla="*/ 1025826 h 2907193"/>
                <a:gd name="connsiteX7259" fmla="*/ 2359098 w 4044707"/>
                <a:gd name="connsiteY7259" fmla="*/ 1030182 h 2907193"/>
                <a:gd name="connsiteX7260" fmla="*/ 2361215 w 4044707"/>
                <a:gd name="connsiteY7260" fmla="*/ 1031755 h 2907193"/>
                <a:gd name="connsiteX7261" fmla="*/ 2363303 w 4044707"/>
                <a:gd name="connsiteY7261" fmla="*/ 1031060 h 2907193"/>
                <a:gd name="connsiteX7262" fmla="*/ 2365359 w 4044707"/>
                <a:gd name="connsiteY7262" fmla="*/ 1029547 h 2907193"/>
                <a:gd name="connsiteX7263" fmla="*/ 2367386 w 4044707"/>
                <a:gd name="connsiteY7263" fmla="*/ 1028730 h 2907193"/>
                <a:gd name="connsiteX7264" fmla="*/ 2383964 w 4044707"/>
                <a:gd name="connsiteY7264" fmla="*/ 1027732 h 2907193"/>
                <a:gd name="connsiteX7265" fmla="*/ 2388804 w 4044707"/>
                <a:gd name="connsiteY7265" fmla="*/ 1025282 h 2907193"/>
                <a:gd name="connsiteX7266" fmla="*/ 2392707 w 4044707"/>
                <a:gd name="connsiteY7266" fmla="*/ 1022256 h 2907193"/>
                <a:gd name="connsiteX7267" fmla="*/ 2394643 w 4044707"/>
                <a:gd name="connsiteY7267" fmla="*/ 1021409 h 2907193"/>
                <a:gd name="connsiteX7268" fmla="*/ 2396428 w 4044707"/>
                <a:gd name="connsiteY7268" fmla="*/ 1022014 h 2907193"/>
                <a:gd name="connsiteX7269" fmla="*/ 2395702 w 4044707"/>
                <a:gd name="connsiteY7269" fmla="*/ 1023497 h 2907193"/>
                <a:gd name="connsiteX7270" fmla="*/ 2395944 w 4044707"/>
                <a:gd name="connsiteY7270" fmla="*/ 1028549 h 2907193"/>
                <a:gd name="connsiteX7271" fmla="*/ 2393766 w 4044707"/>
                <a:gd name="connsiteY7271" fmla="*/ 1032088 h 2907193"/>
                <a:gd name="connsiteX7272" fmla="*/ 2388139 w 4044707"/>
                <a:gd name="connsiteY7272" fmla="*/ 1036717 h 2907193"/>
                <a:gd name="connsiteX7273" fmla="*/ 2393856 w 4044707"/>
                <a:gd name="connsiteY7273" fmla="*/ 1036142 h 2907193"/>
                <a:gd name="connsiteX7274" fmla="*/ 2407681 w 4044707"/>
                <a:gd name="connsiteY7274" fmla="*/ 1029456 h 2907193"/>
                <a:gd name="connsiteX7275" fmla="*/ 2410132 w 4044707"/>
                <a:gd name="connsiteY7275" fmla="*/ 1026915 h 2907193"/>
                <a:gd name="connsiteX7276" fmla="*/ 2408649 w 4044707"/>
                <a:gd name="connsiteY7276" fmla="*/ 1025493 h 2907193"/>
                <a:gd name="connsiteX7277" fmla="*/ 2405473 w 4044707"/>
                <a:gd name="connsiteY7277" fmla="*/ 1024888 h 2907193"/>
                <a:gd name="connsiteX7278" fmla="*/ 2403991 w 4044707"/>
                <a:gd name="connsiteY7278" fmla="*/ 1023497 h 2907193"/>
                <a:gd name="connsiteX7279" fmla="*/ 2417573 w 4044707"/>
                <a:gd name="connsiteY7279" fmla="*/ 1022256 h 2907193"/>
                <a:gd name="connsiteX7280" fmla="*/ 2424683 w 4044707"/>
                <a:gd name="connsiteY7280" fmla="*/ 1023497 h 2907193"/>
                <a:gd name="connsiteX7281" fmla="*/ 2425651 w 4044707"/>
                <a:gd name="connsiteY7281" fmla="*/ 1023255 h 2907193"/>
                <a:gd name="connsiteX7282" fmla="*/ 2426528 w 4044707"/>
                <a:gd name="connsiteY7282" fmla="*/ 1022529 h 2907193"/>
                <a:gd name="connsiteX7283" fmla="*/ 2427163 w 4044707"/>
                <a:gd name="connsiteY7283" fmla="*/ 1021288 h 2907193"/>
                <a:gd name="connsiteX7284" fmla="*/ 2427435 w 4044707"/>
                <a:gd name="connsiteY7284" fmla="*/ 1019473 h 2907193"/>
                <a:gd name="connsiteX7285" fmla="*/ 2428071 w 4044707"/>
                <a:gd name="connsiteY7285" fmla="*/ 1018173 h 2907193"/>
                <a:gd name="connsiteX7286" fmla="*/ 2429493 w 4044707"/>
                <a:gd name="connsiteY7286" fmla="*/ 1017537 h 2907193"/>
                <a:gd name="connsiteX7287" fmla="*/ 2432245 w 4044707"/>
                <a:gd name="connsiteY7287" fmla="*/ 1017053 h 2907193"/>
                <a:gd name="connsiteX7288" fmla="*/ 2440595 w 4044707"/>
                <a:gd name="connsiteY7288" fmla="*/ 1013484 h 2907193"/>
                <a:gd name="connsiteX7289" fmla="*/ 2443317 w 4044707"/>
                <a:gd name="connsiteY7289" fmla="*/ 1013605 h 2907193"/>
                <a:gd name="connsiteX7290" fmla="*/ 2441563 w 4044707"/>
                <a:gd name="connsiteY7290" fmla="*/ 1021440 h 2907193"/>
                <a:gd name="connsiteX7291" fmla="*/ 2440565 w 4044707"/>
                <a:gd name="connsiteY7291" fmla="*/ 1023406 h 2907193"/>
                <a:gd name="connsiteX7292" fmla="*/ 2438689 w 4044707"/>
                <a:gd name="connsiteY7292" fmla="*/ 1024646 h 2907193"/>
                <a:gd name="connsiteX7293" fmla="*/ 2436571 w 4044707"/>
                <a:gd name="connsiteY7293" fmla="*/ 1024828 h 2907193"/>
                <a:gd name="connsiteX7294" fmla="*/ 2434545 w 4044707"/>
                <a:gd name="connsiteY7294" fmla="*/ 1025584 h 2907193"/>
                <a:gd name="connsiteX7295" fmla="*/ 2433002 w 4044707"/>
                <a:gd name="connsiteY7295" fmla="*/ 1028609 h 2907193"/>
                <a:gd name="connsiteX7296" fmla="*/ 2448127 w 4044707"/>
                <a:gd name="connsiteY7296" fmla="*/ 1031725 h 2907193"/>
                <a:gd name="connsiteX7297" fmla="*/ 2450971 w 4044707"/>
                <a:gd name="connsiteY7297" fmla="*/ 1031150 h 2907193"/>
                <a:gd name="connsiteX7298" fmla="*/ 2452423 w 4044707"/>
                <a:gd name="connsiteY7298" fmla="*/ 1030394 h 2907193"/>
                <a:gd name="connsiteX7299" fmla="*/ 2453694 w 4044707"/>
                <a:gd name="connsiteY7299" fmla="*/ 1029335 h 2907193"/>
                <a:gd name="connsiteX7300" fmla="*/ 2455206 w 4044707"/>
                <a:gd name="connsiteY7300" fmla="*/ 1028791 h 2907193"/>
                <a:gd name="connsiteX7301" fmla="*/ 2461196 w 4044707"/>
                <a:gd name="connsiteY7301" fmla="*/ 1030092 h 2907193"/>
                <a:gd name="connsiteX7302" fmla="*/ 2459835 w 4044707"/>
                <a:gd name="connsiteY7302" fmla="*/ 1033752 h 2907193"/>
                <a:gd name="connsiteX7303" fmla="*/ 2457687 w 4044707"/>
                <a:gd name="connsiteY7303" fmla="*/ 1034811 h 2907193"/>
                <a:gd name="connsiteX7304" fmla="*/ 2455206 w 4044707"/>
                <a:gd name="connsiteY7304" fmla="*/ 1035113 h 2907193"/>
                <a:gd name="connsiteX7305" fmla="*/ 2452998 w 4044707"/>
                <a:gd name="connsiteY7305" fmla="*/ 1036626 h 2907193"/>
                <a:gd name="connsiteX7306" fmla="*/ 2455630 w 4044707"/>
                <a:gd name="connsiteY7306" fmla="*/ 1038713 h 2907193"/>
                <a:gd name="connsiteX7307" fmla="*/ 2458080 w 4044707"/>
                <a:gd name="connsiteY7307" fmla="*/ 1037927 h 2907193"/>
                <a:gd name="connsiteX7308" fmla="*/ 2462618 w 4044707"/>
                <a:gd name="connsiteY7308" fmla="*/ 1033359 h 2907193"/>
                <a:gd name="connsiteX7309" fmla="*/ 2465310 w 4044707"/>
                <a:gd name="connsiteY7309" fmla="*/ 1031755 h 2907193"/>
                <a:gd name="connsiteX7310" fmla="*/ 2467791 w 4044707"/>
                <a:gd name="connsiteY7310" fmla="*/ 1031513 h 2907193"/>
                <a:gd name="connsiteX7311" fmla="*/ 2482130 w 4044707"/>
                <a:gd name="connsiteY7311" fmla="*/ 1035386 h 2907193"/>
                <a:gd name="connsiteX7312" fmla="*/ 2487727 w 4044707"/>
                <a:gd name="connsiteY7312" fmla="*/ 1039379 h 2907193"/>
                <a:gd name="connsiteX7313" fmla="*/ 2497800 w 4044707"/>
                <a:gd name="connsiteY7313" fmla="*/ 1036626 h 2907193"/>
                <a:gd name="connsiteX7314" fmla="*/ 2496439 w 4044707"/>
                <a:gd name="connsiteY7314" fmla="*/ 1038411 h 2907193"/>
                <a:gd name="connsiteX7315" fmla="*/ 2497740 w 4044707"/>
                <a:gd name="connsiteY7315" fmla="*/ 1040649 h 2907193"/>
                <a:gd name="connsiteX7316" fmla="*/ 2499222 w 4044707"/>
                <a:gd name="connsiteY7316" fmla="*/ 1041648 h 2907193"/>
                <a:gd name="connsiteX7317" fmla="*/ 2500493 w 4044707"/>
                <a:gd name="connsiteY7317" fmla="*/ 1043009 h 2907193"/>
                <a:gd name="connsiteX7318" fmla="*/ 2501219 w 4044707"/>
                <a:gd name="connsiteY7318" fmla="*/ 1046427 h 2907193"/>
                <a:gd name="connsiteX7319" fmla="*/ 2498799 w 4044707"/>
                <a:gd name="connsiteY7319" fmla="*/ 1046427 h 2907193"/>
                <a:gd name="connsiteX7320" fmla="*/ 2472510 w 4044707"/>
                <a:gd name="connsiteY7320" fmla="*/ 1036807 h 2907193"/>
                <a:gd name="connsiteX7321" fmla="*/ 2468033 w 4044707"/>
                <a:gd name="connsiteY7321" fmla="*/ 1036928 h 2907193"/>
                <a:gd name="connsiteX7322" fmla="*/ 2464645 w 4044707"/>
                <a:gd name="connsiteY7322" fmla="*/ 1039923 h 2907193"/>
                <a:gd name="connsiteX7323" fmla="*/ 2467065 w 4044707"/>
                <a:gd name="connsiteY7323" fmla="*/ 1042948 h 2907193"/>
                <a:gd name="connsiteX7324" fmla="*/ 2472571 w 4044707"/>
                <a:gd name="connsiteY7324" fmla="*/ 1046790 h 2907193"/>
                <a:gd name="connsiteX7325" fmla="*/ 2474325 w 4044707"/>
                <a:gd name="connsiteY7325" fmla="*/ 1051298 h 2907193"/>
                <a:gd name="connsiteX7326" fmla="*/ 2475051 w 4044707"/>
                <a:gd name="connsiteY7326" fmla="*/ 1051298 h 2907193"/>
                <a:gd name="connsiteX7327" fmla="*/ 2474053 w 4044707"/>
                <a:gd name="connsiteY7327" fmla="*/ 1053688 h 2907193"/>
                <a:gd name="connsiteX7328" fmla="*/ 2470877 w 4044707"/>
                <a:gd name="connsiteY7328" fmla="*/ 1059405 h 2907193"/>
                <a:gd name="connsiteX7329" fmla="*/ 2471240 w 4044707"/>
                <a:gd name="connsiteY7329" fmla="*/ 1061946 h 2907193"/>
                <a:gd name="connsiteX7330" fmla="*/ 2470877 w 4044707"/>
                <a:gd name="connsiteY7330" fmla="*/ 1064427 h 2907193"/>
                <a:gd name="connsiteX7331" fmla="*/ 2472510 w 4044707"/>
                <a:gd name="connsiteY7331" fmla="*/ 1066212 h 2907193"/>
                <a:gd name="connsiteX7332" fmla="*/ 2476171 w 4044707"/>
                <a:gd name="connsiteY7332" fmla="*/ 1068481 h 2907193"/>
                <a:gd name="connsiteX7333" fmla="*/ 2477199 w 4044707"/>
                <a:gd name="connsiteY7333" fmla="*/ 1070931 h 2907193"/>
                <a:gd name="connsiteX7334" fmla="*/ 2473932 w 4044707"/>
                <a:gd name="connsiteY7334" fmla="*/ 1070719 h 2907193"/>
                <a:gd name="connsiteX7335" fmla="*/ 2470574 w 4044707"/>
                <a:gd name="connsiteY7335" fmla="*/ 1069630 h 2907193"/>
                <a:gd name="connsiteX7336" fmla="*/ 2467398 w 4044707"/>
                <a:gd name="connsiteY7336" fmla="*/ 1067573 h 2907193"/>
                <a:gd name="connsiteX7337" fmla="*/ 2464645 w 4044707"/>
                <a:gd name="connsiteY7337" fmla="*/ 1064427 h 2907193"/>
                <a:gd name="connsiteX7338" fmla="*/ 2466187 w 4044707"/>
                <a:gd name="connsiteY7338" fmla="*/ 1058588 h 2907193"/>
                <a:gd name="connsiteX7339" fmla="*/ 2466460 w 4044707"/>
                <a:gd name="connsiteY7339" fmla="*/ 1053839 h 2907193"/>
                <a:gd name="connsiteX7340" fmla="*/ 2465310 w 4044707"/>
                <a:gd name="connsiteY7340" fmla="*/ 1050330 h 2907193"/>
                <a:gd name="connsiteX7341" fmla="*/ 2462648 w 4044707"/>
                <a:gd name="connsiteY7341" fmla="*/ 1048152 h 2907193"/>
                <a:gd name="connsiteX7342" fmla="*/ 2456991 w 4044707"/>
                <a:gd name="connsiteY7342" fmla="*/ 1047395 h 2907193"/>
                <a:gd name="connsiteX7343" fmla="*/ 2455085 w 4044707"/>
                <a:gd name="connsiteY7343" fmla="*/ 1046367 h 2907193"/>
                <a:gd name="connsiteX7344" fmla="*/ 2450820 w 4044707"/>
                <a:gd name="connsiteY7344" fmla="*/ 1042888 h 2907193"/>
                <a:gd name="connsiteX7345" fmla="*/ 2448733 w 4044707"/>
                <a:gd name="connsiteY7345" fmla="*/ 1041829 h 2907193"/>
                <a:gd name="connsiteX7346" fmla="*/ 2441926 w 4044707"/>
                <a:gd name="connsiteY7346" fmla="*/ 1041648 h 2907193"/>
                <a:gd name="connsiteX7347" fmla="*/ 2439808 w 4044707"/>
                <a:gd name="connsiteY7347" fmla="*/ 1041012 h 2907193"/>
                <a:gd name="connsiteX7348" fmla="*/ 2436239 w 4044707"/>
                <a:gd name="connsiteY7348" fmla="*/ 1036807 h 2907193"/>
                <a:gd name="connsiteX7349" fmla="*/ 2434182 w 4044707"/>
                <a:gd name="connsiteY7349" fmla="*/ 1036807 h 2907193"/>
                <a:gd name="connsiteX7350" fmla="*/ 2428676 w 4044707"/>
                <a:gd name="connsiteY7350" fmla="*/ 1039016 h 2907193"/>
                <a:gd name="connsiteX7351" fmla="*/ 2427254 w 4044707"/>
                <a:gd name="connsiteY7351" fmla="*/ 1040619 h 2907193"/>
                <a:gd name="connsiteX7352" fmla="*/ 2421113 w 4044707"/>
                <a:gd name="connsiteY7352" fmla="*/ 1050088 h 2907193"/>
                <a:gd name="connsiteX7353" fmla="*/ 2419842 w 4044707"/>
                <a:gd name="connsiteY7353" fmla="*/ 1051237 h 2907193"/>
                <a:gd name="connsiteX7354" fmla="*/ 2421597 w 4044707"/>
                <a:gd name="connsiteY7354" fmla="*/ 1053839 h 2907193"/>
                <a:gd name="connsiteX7355" fmla="*/ 2425348 w 4044707"/>
                <a:gd name="connsiteY7355" fmla="*/ 1057106 h 2907193"/>
                <a:gd name="connsiteX7356" fmla="*/ 2427133 w 4044707"/>
                <a:gd name="connsiteY7356" fmla="*/ 1060252 h 2907193"/>
                <a:gd name="connsiteX7357" fmla="*/ 2427557 w 4044707"/>
                <a:gd name="connsiteY7357" fmla="*/ 1063277 h 2907193"/>
                <a:gd name="connsiteX7358" fmla="*/ 2426135 w 4044707"/>
                <a:gd name="connsiteY7358" fmla="*/ 1064034 h 2907193"/>
                <a:gd name="connsiteX7359" fmla="*/ 2424017 w 4044707"/>
                <a:gd name="connsiteY7359" fmla="*/ 1062884 h 2907193"/>
                <a:gd name="connsiteX7360" fmla="*/ 2420810 w 4044707"/>
                <a:gd name="connsiteY7360" fmla="*/ 1058165 h 2907193"/>
                <a:gd name="connsiteX7361" fmla="*/ 2416575 w 4044707"/>
                <a:gd name="connsiteY7361" fmla="*/ 1053900 h 2907193"/>
                <a:gd name="connsiteX7362" fmla="*/ 2415728 w 4044707"/>
                <a:gd name="connsiteY7362" fmla="*/ 1051237 h 2907193"/>
                <a:gd name="connsiteX7363" fmla="*/ 2416726 w 4044707"/>
                <a:gd name="connsiteY7363" fmla="*/ 1048152 h 2907193"/>
                <a:gd name="connsiteX7364" fmla="*/ 2418632 w 4044707"/>
                <a:gd name="connsiteY7364" fmla="*/ 1046669 h 2907193"/>
                <a:gd name="connsiteX7365" fmla="*/ 2419933 w 4044707"/>
                <a:gd name="connsiteY7365" fmla="*/ 1044612 h 2907193"/>
                <a:gd name="connsiteX7366" fmla="*/ 2419147 w 4044707"/>
                <a:gd name="connsiteY7366" fmla="*/ 1039802 h 2907193"/>
                <a:gd name="connsiteX7367" fmla="*/ 2420447 w 4044707"/>
                <a:gd name="connsiteY7367" fmla="*/ 1038865 h 2907193"/>
                <a:gd name="connsiteX7368" fmla="*/ 2424622 w 4044707"/>
                <a:gd name="connsiteY7368" fmla="*/ 1038320 h 2907193"/>
                <a:gd name="connsiteX7369" fmla="*/ 2424622 w 4044707"/>
                <a:gd name="connsiteY7369" fmla="*/ 1036535 h 2907193"/>
                <a:gd name="connsiteX7370" fmla="*/ 2414942 w 4044707"/>
                <a:gd name="connsiteY7370" fmla="*/ 1038471 h 2907193"/>
                <a:gd name="connsiteX7371" fmla="*/ 2404717 w 4044707"/>
                <a:gd name="connsiteY7371" fmla="*/ 1036535 h 2907193"/>
                <a:gd name="connsiteX7372" fmla="*/ 2403295 w 4044707"/>
                <a:gd name="connsiteY7372" fmla="*/ 1037049 h 2907193"/>
                <a:gd name="connsiteX7373" fmla="*/ 2400784 w 4044707"/>
                <a:gd name="connsiteY7373" fmla="*/ 1039288 h 2907193"/>
                <a:gd name="connsiteX7374" fmla="*/ 2397063 w 4044707"/>
                <a:gd name="connsiteY7374" fmla="*/ 1040922 h 2907193"/>
                <a:gd name="connsiteX7375" fmla="*/ 2394340 w 4044707"/>
                <a:gd name="connsiteY7375" fmla="*/ 1042858 h 2907193"/>
                <a:gd name="connsiteX7376" fmla="*/ 2391618 w 4044707"/>
                <a:gd name="connsiteY7376" fmla="*/ 1043463 h 2907193"/>
                <a:gd name="connsiteX7377" fmla="*/ 2389167 w 4044707"/>
                <a:gd name="connsiteY7377" fmla="*/ 1040619 h 2907193"/>
                <a:gd name="connsiteX7378" fmla="*/ 2386808 w 4044707"/>
                <a:gd name="connsiteY7378" fmla="*/ 1038925 h 2907193"/>
                <a:gd name="connsiteX7379" fmla="*/ 2383420 w 4044707"/>
                <a:gd name="connsiteY7379" fmla="*/ 1039954 h 2907193"/>
                <a:gd name="connsiteX7380" fmla="*/ 2380031 w 4044707"/>
                <a:gd name="connsiteY7380" fmla="*/ 1042313 h 2907193"/>
                <a:gd name="connsiteX7381" fmla="*/ 2377763 w 4044707"/>
                <a:gd name="connsiteY7381" fmla="*/ 1044703 h 2907193"/>
                <a:gd name="connsiteX7382" fmla="*/ 2391588 w 4044707"/>
                <a:gd name="connsiteY7382" fmla="*/ 1045520 h 2907193"/>
                <a:gd name="connsiteX7383" fmla="*/ 2398818 w 4044707"/>
                <a:gd name="connsiteY7383" fmla="*/ 1049211 h 2907193"/>
                <a:gd name="connsiteX7384" fmla="*/ 2400179 w 4044707"/>
                <a:gd name="connsiteY7384" fmla="*/ 1050481 h 2907193"/>
                <a:gd name="connsiteX7385" fmla="*/ 2401238 w 4044707"/>
                <a:gd name="connsiteY7385" fmla="*/ 1052962 h 2907193"/>
                <a:gd name="connsiteX7386" fmla="*/ 2401601 w 4044707"/>
                <a:gd name="connsiteY7386" fmla="*/ 1055412 h 2907193"/>
                <a:gd name="connsiteX7387" fmla="*/ 2401540 w 4044707"/>
                <a:gd name="connsiteY7387" fmla="*/ 1058074 h 2907193"/>
                <a:gd name="connsiteX7388" fmla="*/ 2400844 w 4044707"/>
                <a:gd name="connsiteY7388" fmla="*/ 1059405 h 2907193"/>
                <a:gd name="connsiteX7389" fmla="*/ 2399846 w 4044707"/>
                <a:gd name="connsiteY7389" fmla="*/ 1057832 h 2907193"/>
                <a:gd name="connsiteX7390" fmla="*/ 2397396 w 4044707"/>
                <a:gd name="connsiteY7390" fmla="*/ 1051661 h 2907193"/>
                <a:gd name="connsiteX7391" fmla="*/ 2394129 w 4044707"/>
                <a:gd name="connsiteY7391" fmla="*/ 1049574 h 2907193"/>
                <a:gd name="connsiteX7392" fmla="*/ 2372227 w 4044707"/>
                <a:gd name="connsiteY7392" fmla="*/ 1051177 h 2907193"/>
                <a:gd name="connsiteX7393" fmla="*/ 2372559 w 4044707"/>
                <a:gd name="connsiteY7393" fmla="*/ 1052084 h 2907193"/>
                <a:gd name="connsiteX7394" fmla="*/ 2372771 w 4044707"/>
                <a:gd name="connsiteY7394" fmla="*/ 1052871 h 2907193"/>
                <a:gd name="connsiteX7395" fmla="*/ 2373043 w 4044707"/>
                <a:gd name="connsiteY7395" fmla="*/ 1053627 h 2907193"/>
                <a:gd name="connsiteX7396" fmla="*/ 2373588 w 4044707"/>
                <a:gd name="connsiteY7396" fmla="*/ 1054414 h 2907193"/>
                <a:gd name="connsiteX7397" fmla="*/ 2372196 w 4044707"/>
                <a:gd name="connsiteY7397" fmla="*/ 1057136 h 2907193"/>
                <a:gd name="connsiteX7398" fmla="*/ 2370321 w 4044707"/>
                <a:gd name="connsiteY7398" fmla="*/ 1060131 h 2907193"/>
                <a:gd name="connsiteX7399" fmla="*/ 2368536 w 4044707"/>
                <a:gd name="connsiteY7399" fmla="*/ 1061493 h 2907193"/>
                <a:gd name="connsiteX7400" fmla="*/ 2367386 w 4044707"/>
                <a:gd name="connsiteY7400" fmla="*/ 1059284 h 2907193"/>
                <a:gd name="connsiteX7401" fmla="*/ 2367840 w 4044707"/>
                <a:gd name="connsiteY7401" fmla="*/ 1056743 h 2907193"/>
                <a:gd name="connsiteX7402" fmla="*/ 2369080 w 4044707"/>
                <a:gd name="connsiteY7402" fmla="*/ 1052992 h 2907193"/>
                <a:gd name="connsiteX7403" fmla="*/ 2370502 w 4044707"/>
                <a:gd name="connsiteY7403" fmla="*/ 1049604 h 2907193"/>
                <a:gd name="connsiteX7404" fmla="*/ 2371501 w 4044707"/>
                <a:gd name="connsiteY7404" fmla="*/ 1048031 h 2907193"/>
                <a:gd name="connsiteX7405" fmla="*/ 2362546 w 4044707"/>
                <a:gd name="connsiteY7405" fmla="*/ 1049513 h 2907193"/>
                <a:gd name="connsiteX7406" fmla="*/ 2360761 w 4044707"/>
                <a:gd name="connsiteY7406" fmla="*/ 1050572 h 2907193"/>
                <a:gd name="connsiteX7407" fmla="*/ 2359037 w 4044707"/>
                <a:gd name="connsiteY7407" fmla="*/ 1052508 h 2907193"/>
                <a:gd name="connsiteX7408" fmla="*/ 2358402 w 4044707"/>
                <a:gd name="connsiteY7408" fmla="*/ 1055049 h 2907193"/>
                <a:gd name="connsiteX7409" fmla="*/ 2359824 w 4044707"/>
                <a:gd name="connsiteY7409" fmla="*/ 1057802 h 2907193"/>
                <a:gd name="connsiteX7410" fmla="*/ 2358129 w 4044707"/>
                <a:gd name="connsiteY7410" fmla="*/ 1060434 h 2907193"/>
                <a:gd name="connsiteX7411" fmla="*/ 2356587 w 4044707"/>
                <a:gd name="connsiteY7411" fmla="*/ 1063519 h 2907193"/>
                <a:gd name="connsiteX7412" fmla="*/ 2354953 w 4044707"/>
                <a:gd name="connsiteY7412" fmla="*/ 1066151 h 2907193"/>
                <a:gd name="connsiteX7413" fmla="*/ 2352926 w 4044707"/>
                <a:gd name="connsiteY7413" fmla="*/ 1067543 h 2907193"/>
                <a:gd name="connsiteX7414" fmla="*/ 2355195 w 4044707"/>
                <a:gd name="connsiteY7414" fmla="*/ 1069479 h 2907193"/>
                <a:gd name="connsiteX7415" fmla="*/ 2363907 w 4044707"/>
                <a:gd name="connsiteY7415" fmla="*/ 1069025 h 2907193"/>
                <a:gd name="connsiteX7416" fmla="*/ 2376008 w 4044707"/>
                <a:gd name="connsiteY7416" fmla="*/ 1072413 h 2907193"/>
                <a:gd name="connsiteX7417" fmla="*/ 2381514 w 4044707"/>
                <a:gd name="connsiteY7417" fmla="*/ 1072262 h 2907193"/>
                <a:gd name="connsiteX7418" fmla="*/ 2384509 w 4044707"/>
                <a:gd name="connsiteY7418" fmla="*/ 1073623 h 2907193"/>
                <a:gd name="connsiteX7419" fmla="*/ 2385961 w 4044707"/>
                <a:gd name="connsiteY7419" fmla="*/ 1077284 h 2907193"/>
                <a:gd name="connsiteX7420" fmla="*/ 2385144 w 4044707"/>
                <a:gd name="connsiteY7420" fmla="*/ 1081126 h 2907193"/>
                <a:gd name="connsiteX7421" fmla="*/ 2383178 w 4044707"/>
                <a:gd name="connsiteY7421" fmla="*/ 1083183 h 2907193"/>
                <a:gd name="connsiteX7422" fmla="*/ 2381574 w 4044707"/>
                <a:gd name="connsiteY7422" fmla="*/ 1083092 h 2907193"/>
                <a:gd name="connsiteX7423" fmla="*/ 2381877 w 4044707"/>
                <a:gd name="connsiteY7423" fmla="*/ 1080551 h 2907193"/>
                <a:gd name="connsiteX7424" fmla="*/ 2380757 w 4044707"/>
                <a:gd name="connsiteY7424" fmla="*/ 1076739 h 2907193"/>
                <a:gd name="connsiteX7425" fmla="*/ 2379275 w 4044707"/>
                <a:gd name="connsiteY7425" fmla="*/ 1075983 h 2907193"/>
                <a:gd name="connsiteX7426" fmla="*/ 2375645 w 4044707"/>
                <a:gd name="connsiteY7426" fmla="*/ 1077284 h 2907193"/>
                <a:gd name="connsiteX7427" fmla="*/ 2373709 w 4044707"/>
                <a:gd name="connsiteY7427" fmla="*/ 1076528 h 2907193"/>
                <a:gd name="connsiteX7428" fmla="*/ 2370018 w 4044707"/>
                <a:gd name="connsiteY7428" fmla="*/ 1073170 h 2907193"/>
                <a:gd name="connsiteX7429" fmla="*/ 2368112 w 4044707"/>
                <a:gd name="connsiteY7429" fmla="*/ 1072413 h 2907193"/>
                <a:gd name="connsiteX7430" fmla="*/ 2353410 w 4044707"/>
                <a:gd name="connsiteY7430" fmla="*/ 1073230 h 2907193"/>
                <a:gd name="connsiteX7431" fmla="*/ 2350809 w 4044707"/>
                <a:gd name="connsiteY7431" fmla="*/ 1075650 h 2907193"/>
                <a:gd name="connsiteX7432" fmla="*/ 2353259 w 4044707"/>
                <a:gd name="connsiteY7432" fmla="*/ 1077223 h 2907193"/>
                <a:gd name="connsiteX7433" fmla="*/ 2353078 w 4044707"/>
                <a:gd name="connsiteY7433" fmla="*/ 1081761 h 2907193"/>
                <a:gd name="connsiteX7434" fmla="*/ 2351323 w 4044707"/>
                <a:gd name="connsiteY7434" fmla="*/ 1086541 h 2907193"/>
                <a:gd name="connsiteX7435" fmla="*/ 2349114 w 4044707"/>
                <a:gd name="connsiteY7435" fmla="*/ 1088749 h 2907193"/>
                <a:gd name="connsiteX7436" fmla="*/ 2348751 w 4044707"/>
                <a:gd name="connsiteY7436" fmla="*/ 1089233 h 2907193"/>
                <a:gd name="connsiteX7437" fmla="*/ 2348812 w 4044707"/>
                <a:gd name="connsiteY7437" fmla="*/ 1091351 h 2907193"/>
                <a:gd name="connsiteX7438" fmla="*/ 2348419 w 4044707"/>
                <a:gd name="connsiteY7438" fmla="*/ 1091835 h 2907193"/>
                <a:gd name="connsiteX7439" fmla="*/ 2347209 w 4044707"/>
                <a:gd name="connsiteY7439" fmla="*/ 1092168 h 2907193"/>
                <a:gd name="connsiteX7440" fmla="*/ 2346210 w 4044707"/>
                <a:gd name="connsiteY7440" fmla="*/ 1092773 h 2907193"/>
                <a:gd name="connsiteX7441" fmla="*/ 2345182 w 4044707"/>
                <a:gd name="connsiteY7441" fmla="*/ 1093015 h 2907193"/>
                <a:gd name="connsiteX7442" fmla="*/ 2343820 w 4044707"/>
                <a:gd name="connsiteY7442" fmla="*/ 1092289 h 2907193"/>
                <a:gd name="connsiteX7443" fmla="*/ 2342550 w 4044707"/>
                <a:gd name="connsiteY7443" fmla="*/ 1092410 h 2907193"/>
                <a:gd name="connsiteX7444" fmla="*/ 2341219 w 4044707"/>
                <a:gd name="connsiteY7444" fmla="*/ 1094164 h 2907193"/>
                <a:gd name="connsiteX7445" fmla="*/ 2336984 w 4044707"/>
                <a:gd name="connsiteY7445" fmla="*/ 1089657 h 2907193"/>
                <a:gd name="connsiteX7446" fmla="*/ 2335985 w 4044707"/>
                <a:gd name="connsiteY7446" fmla="*/ 1086722 h 2907193"/>
                <a:gd name="connsiteX7447" fmla="*/ 2334564 w 4044707"/>
                <a:gd name="connsiteY7447" fmla="*/ 1080249 h 2907193"/>
                <a:gd name="connsiteX7448" fmla="*/ 2334564 w 4044707"/>
                <a:gd name="connsiteY7448" fmla="*/ 1078736 h 2907193"/>
                <a:gd name="connsiteX7449" fmla="*/ 2333898 w 4044707"/>
                <a:gd name="connsiteY7449" fmla="*/ 1077405 h 2907193"/>
                <a:gd name="connsiteX7450" fmla="*/ 2333172 w 4044707"/>
                <a:gd name="connsiteY7450" fmla="*/ 1074803 h 2907193"/>
                <a:gd name="connsiteX7451" fmla="*/ 2332022 w 4044707"/>
                <a:gd name="connsiteY7451" fmla="*/ 1073049 h 2907193"/>
                <a:gd name="connsiteX7452" fmla="*/ 2330056 w 4044707"/>
                <a:gd name="connsiteY7452" fmla="*/ 1074198 h 2907193"/>
                <a:gd name="connsiteX7453" fmla="*/ 2329300 w 4044707"/>
                <a:gd name="connsiteY7453" fmla="*/ 1075953 h 2907193"/>
                <a:gd name="connsiteX7454" fmla="*/ 2328301 w 4044707"/>
                <a:gd name="connsiteY7454" fmla="*/ 1080370 h 2907193"/>
                <a:gd name="connsiteX7455" fmla="*/ 2327424 w 4044707"/>
                <a:gd name="connsiteY7455" fmla="*/ 1082154 h 2907193"/>
                <a:gd name="connsiteX7456" fmla="*/ 2329088 w 4044707"/>
                <a:gd name="connsiteY7456" fmla="*/ 1085300 h 2907193"/>
                <a:gd name="connsiteX7457" fmla="*/ 2330268 w 4044707"/>
                <a:gd name="connsiteY7457" fmla="*/ 1088658 h 2907193"/>
                <a:gd name="connsiteX7458" fmla="*/ 2330389 w 4044707"/>
                <a:gd name="connsiteY7458" fmla="*/ 1091986 h 2907193"/>
                <a:gd name="connsiteX7459" fmla="*/ 2328755 w 4044707"/>
                <a:gd name="connsiteY7459" fmla="*/ 1095072 h 2907193"/>
                <a:gd name="connsiteX7460" fmla="*/ 2328029 w 4044707"/>
                <a:gd name="connsiteY7460" fmla="*/ 1095405 h 2907193"/>
                <a:gd name="connsiteX7461" fmla="*/ 2325246 w 4044707"/>
                <a:gd name="connsiteY7461" fmla="*/ 1095072 h 2907193"/>
                <a:gd name="connsiteX7462" fmla="*/ 2324520 w 4044707"/>
                <a:gd name="connsiteY7462" fmla="*/ 1095525 h 2907193"/>
                <a:gd name="connsiteX7463" fmla="*/ 2324278 w 4044707"/>
                <a:gd name="connsiteY7463" fmla="*/ 1096554 h 2907193"/>
                <a:gd name="connsiteX7464" fmla="*/ 2324187 w 4044707"/>
                <a:gd name="connsiteY7464" fmla="*/ 1097704 h 2907193"/>
                <a:gd name="connsiteX7465" fmla="*/ 2323945 w 4044707"/>
                <a:gd name="connsiteY7465" fmla="*/ 1098460 h 2907193"/>
                <a:gd name="connsiteX7466" fmla="*/ 2319075 w 4044707"/>
                <a:gd name="connsiteY7466" fmla="*/ 1103300 h 2907193"/>
                <a:gd name="connsiteX7467" fmla="*/ 2321102 w 4044707"/>
                <a:gd name="connsiteY7467" fmla="*/ 1104510 h 2907193"/>
                <a:gd name="connsiteX7468" fmla="*/ 2321797 w 4044707"/>
                <a:gd name="connsiteY7468" fmla="*/ 1104752 h 2907193"/>
                <a:gd name="connsiteX7469" fmla="*/ 2319347 w 4044707"/>
                <a:gd name="connsiteY7469" fmla="*/ 1105871 h 2907193"/>
                <a:gd name="connsiteX7470" fmla="*/ 2317623 w 4044707"/>
                <a:gd name="connsiteY7470" fmla="*/ 1104298 h 2907193"/>
                <a:gd name="connsiteX7471" fmla="*/ 2314870 w 4044707"/>
                <a:gd name="connsiteY7471" fmla="*/ 1098460 h 2907193"/>
                <a:gd name="connsiteX7472" fmla="*/ 2317139 w 4044707"/>
                <a:gd name="connsiteY7472" fmla="*/ 1096463 h 2907193"/>
                <a:gd name="connsiteX7473" fmla="*/ 2319529 w 4044707"/>
                <a:gd name="connsiteY7473" fmla="*/ 1095525 h 2907193"/>
                <a:gd name="connsiteX7474" fmla="*/ 2321677 w 4044707"/>
                <a:gd name="connsiteY7474" fmla="*/ 1093650 h 2907193"/>
                <a:gd name="connsiteX7475" fmla="*/ 2323189 w 4044707"/>
                <a:gd name="connsiteY7475" fmla="*/ 1088779 h 2907193"/>
                <a:gd name="connsiteX7476" fmla="*/ 2319740 w 4044707"/>
                <a:gd name="connsiteY7476" fmla="*/ 1088779 h 2907193"/>
                <a:gd name="connsiteX7477" fmla="*/ 2317199 w 4044707"/>
                <a:gd name="connsiteY7477" fmla="*/ 1088931 h 2907193"/>
                <a:gd name="connsiteX7478" fmla="*/ 2316050 w 4044707"/>
                <a:gd name="connsiteY7478" fmla="*/ 1089354 h 2907193"/>
                <a:gd name="connsiteX7479" fmla="*/ 2314870 w 4044707"/>
                <a:gd name="connsiteY7479" fmla="*/ 1090231 h 2907193"/>
                <a:gd name="connsiteX7480" fmla="*/ 2314083 w 4044707"/>
                <a:gd name="connsiteY7480" fmla="*/ 1091381 h 2907193"/>
                <a:gd name="connsiteX7481" fmla="*/ 2312752 w 4044707"/>
                <a:gd name="connsiteY7481" fmla="*/ 1094225 h 2907193"/>
                <a:gd name="connsiteX7482" fmla="*/ 2312117 w 4044707"/>
                <a:gd name="connsiteY7482" fmla="*/ 1095102 h 2907193"/>
                <a:gd name="connsiteX7483" fmla="*/ 2309727 w 4044707"/>
                <a:gd name="connsiteY7483" fmla="*/ 1095979 h 2907193"/>
                <a:gd name="connsiteX7484" fmla="*/ 2301801 w 4044707"/>
                <a:gd name="connsiteY7484" fmla="*/ 1095102 h 2907193"/>
                <a:gd name="connsiteX7485" fmla="*/ 2302618 w 4044707"/>
                <a:gd name="connsiteY7485" fmla="*/ 1097855 h 2907193"/>
                <a:gd name="connsiteX7486" fmla="*/ 2303072 w 4044707"/>
                <a:gd name="connsiteY7486" fmla="*/ 1099095 h 2907193"/>
                <a:gd name="connsiteX7487" fmla="*/ 2303798 w 4044707"/>
                <a:gd name="connsiteY7487" fmla="*/ 1100214 h 2907193"/>
                <a:gd name="connsiteX7488" fmla="*/ 2300198 w 4044707"/>
                <a:gd name="connsiteY7488" fmla="*/ 1102362 h 2907193"/>
                <a:gd name="connsiteX7489" fmla="*/ 2284619 w 4044707"/>
                <a:gd name="connsiteY7489" fmla="*/ 1102060 h 2907193"/>
                <a:gd name="connsiteX7490" fmla="*/ 2282138 w 4044707"/>
                <a:gd name="connsiteY7490" fmla="*/ 1103451 h 2907193"/>
                <a:gd name="connsiteX7491" fmla="*/ 2279990 w 4044707"/>
                <a:gd name="connsiteY7491" fmla="*/ 1105932 h 2907193"/>
                <a:gd name="connsiteX7492" fmla="*/ 2277691 w 4044707"/>
                <a:gd name="connsiteY7492" fmla="*/ 1109744 h 2907193"/>
                <a:gd name="connsiteX7493" fmla="*/ 2280383 w 4044707"/>
                <a:gd name="connsiteY7493" fmla="*/ 1111196 h 2907193"/>
                <a:gd name="connsiteX7494" fmla="*/ 2286252 w 4044707"/>
                <a:gd name="connsiteY7494" fmla="*/ 1109471 h 2907193"/>
                <a:gd name="connsiteX7495" fmla="*/ 2288763 w 4044707"/>
                <a:gd name="connsiteY7495" fmla="*/ 1111196 h 2907193"/>
                <a:gd name="connsiteX7496" fmla="*/ 2289338 w 4044707"/>
                <a:gd name="connsiteY7496" fmla="*/ 1113071 h 2907193"/>
                <a:gd name="connsiteX7497" fmla="*/ 2289489 w 4044707"/>
                <a:gd name="connsiteY7497" fmla="*/ 1117064 h 2907193"/>
                <a:gd name="connsiteX7498" fmla="*/ 2290124 w 4044707"/>
                <a:gd name="connsiteY7498" fmla="*/ 1118638 h 2907193"/>
                <a:gd name="connsiteX7499" fmla="*/ 2291455 w 4044707"/>
                <a:gd name="connsiteY7499" fmla="*/ 1119636 h 2907193"/>
                <a:gd name="connsiteX7500" fmla="*/ 2294299 w 4044707"/>
                <a:gd name="connsiteY7500" fmla="*/ 1120211 h 2907193"/>
                <a:gd name="connsiteX7501" fmla="*/ 2295630 w 4044707"/>
                <a:gd name="connsiteY7501" fmla="*/ 1120997 h 2907193"/>
                <a:gd name="connsiteX7502" fmla="*/ 2295146 w 4044707"/>
                <a:gd name="connsiteY7502" fmla="*/ 1121360 h 2907193"/>
                <a:gd name="connsiteX7503" fmla="*/ 2294238 w 4044707"/>
                <a:gd name="connsiteY7503" fmla="*/ 1122358 h 2907193"/>
                <a:gd name="connsiteX7504" fmla="*/ 2293603 w 4044707"/>
                <a:gd name="connsiteY7504" fmla="*/ 1122601 h 2907193"/>
                <a:gd name="connsiteX7505" fmla="*/ 2294662 w 4044707"/>
                <a:gd name="connsiteY7505" fmla="*/ 1126382 h 2907193"/>
                <a:gd name="connsiteX7506" fmla="*/ 2296144 w 4044707"/>
                <a:gd name="connsiteY7506" fmla="*/ 1127047 h 2907193"/>
                <a:gd name="connsiteX7507" fmla="*/ 2299805 w 4044707"/>
                <a:gd name="connsiteY7507" fmla="*/ 1125807 h 2907193"/>
                <a:gd name="connsiteX7508" fmla="*/ 2301741 w 4044707"/>
                <a:gd name="connsiteY7508" fmla="*/ 1127047 h 2907193"/>
                <a:gd name="connsiteX7509" fmla="*/ 2304463 w 4044707"/>
                <a:gd name="connsiteY7509" fmla="*/ 1131434 h 2907193"/>
                <a:gd name="connsiteX7510" fmla="*/ 2306067 w 4044707"/>
                <a:gd name="connsiteY7510" fmla="*/ 1132402 h 2907193"/>
                <a:gd name="connsiteX7511" fmla="*/ 2320829 w 4044707"/>
                <a:gd name="connsiteY7511" fmla="*/ 1134610 h 2907193"/>
                <a:gd name="connsiteX7512" fmla="*/ 2325367 w 4044707"/>
                <a:gd name="connsiteY7512" fmla="*/ 1137061 h 2907193"/>
                <a:gd name="connsiteX7513" fmla="*/ 2302769 w 4044707"/>
                <a:gd name="connsiteY7513" fmla="*/ 1136365 h 2907193"/>
                <a:gd name="connsiteX7514" fmla="*/ 2294632 w 4044707"/>
                <a:gd name="connsiteY7514" fmla="*/ 1132977 h 2907193"/>
                <a:gd name="connsiteX7515" fmla="*/ 2287069 w 4044707"/>
                <a:gd name="connsiteY7515" fmla="*/ 1132311 h 2907193"/>
                <a:gd name="connsiteX7516" fmla="*/ 2279990 w 4044707"/>
                <a:gd name="connsiteY7516" fmla="*/ 1133854 h 2907193"/>
                <a:gd name="connsiteX7517" fmla="*/ 2276481 w 4044707"/>
                <a:gd name="connsiteY7517" fmla="*/ 1138755 h 2907193"/>
                <a:gd name="connsiteX7518" fmla="*/ 2280111 w 4044707"/>
                <a:gd name="connsiteY7518" fmla="*/ 1141296 h 2907193"/>
                <a:gd name="connsiteX7519" fmla="*/ 2280928 w 4044707"/>
                <a:gd name="connsiteY7519" fmla="*/ 1141084 h 2907193"/>
                <a:gd name="connsiteX7520" fmla="*/ 2282168 w 4044707"/>
                <a:gd name="connsiteY7520" fmla="*/ 1139965 h 2907193"/>
                <a:gd name="connsiteX7521" fmla="*/ 2298020 w 4044707"/>
                <a:gd name="connsiteY7521" fmla="*/ 1141750 h 2907193"/>
                <a:gd name="connsiteX7522" fmla="*/ 2301257 w 4044707"/>
                <a:gd name="connsiteY7522" fmla="*/ 1143565 h 2907193"/>
                <a:gd name="connsiteX7523" fmla="*/ 2297748 w 4044707"/>
                <a:gd name="connsiteY7523" fmla="*/ 1146197 h 2907193"/>
                <a:gd name="connsiteX7524" fmla="*/ 2284770 w 4044707"/>
                <a:gd name="connsiteY7524" fmla="*/ 1143565 h 2907193"/>
                <a:gd name="connsiteX7525" fmla="*/ 2281714 w 4044707"/>
                <a:gd name="connsiteY7525" fmla="*/ 1145501 h 2907193"/>
                <a:gd name="connsiteX7526" fmla="*/ 2280141 w 4044707"/>
                <a:gd name="connsiteY7526" fmla="*/ 1148859 h 2907193"/>
                <a:gd name="connsiteX7527" fmla="*/ 2280534 w 4044707"/>
                <a:gd name="connsiteY7527" fmla="*/ 1152338 h 2907193"/>
                <a:gd name="connsiteX7528" fmla="*/ 2283378 w 4044707"/>
                <a:gd name="connsiteY7528" fmla="*/ 1154758 h 2907193"/>
                <a:gd name="connsiteX7529" fmla="*/ 2286918 w 4044707"/>
                <a:gd name="connsiteY7529" fmla="*/ 1154758 h 2907193"/>
                <a:gd name="connsiteX7530" fmla="*/ 2293573 w 4044707"/>
                <a:gd name="connsiteY7530" fmla="*/ 1150825 h 2907193"/>
                <a:gd name="connsiteX7531" fmla="*/ 2297112 w 4044707"/>
                <a:gd name="connsiteY7531" fmla="*/ 1149827 h 2907193"/>
                <a:gd name="connsiteX7532" fmla="*/ 2315021 w 4044707"/>
                <a:gd name="connsiteY7532" fmla="*/ 1149827 h 2907193"/>
                <a:gd name="connsiteX7533" fmla="*/ 2311119 w 4044707"/>
                <a:gd name="connsiteY7533" fmla="*/ 1154032 h 2907193"/>
                <a:gd name="connsiteX7534" fmla="*/ 2305885 w 4044707"/>
                <a:gd name="connsiteY7534" fmla="*/ 1155333 h 2907193"/>
                <a:gd name="connsiteX7535" fmla="*/ 2295751 w 4044707"/>
                <a:gd name="connsiteY7535" fmla="*/ 1154758 h 2907193"/>
                <a:gd name="connsiteX7536" fmla="*/ 2295751 w 4044707"/>
                <a:gd name="connsiteY7536" fmla="*/ 1156331 h 2907193"/>
                <a:gd name="connsiteX7537" fmla="*/ 2297808 w 4044707"/>
                <a:gd name="connsiteY7537" fmla="*/ 1157934 h 2907193"/>
                <a:gd name="connsiteX7538" fmla="*/ 2295237 w 4044707"/>
                <a:gd name="connsiteY7538" fmla="*/ 1160052 h 2907193"/>
                <a:gd name="connsiteX7539" fmla="*/ 2278599 w 4044707"/>
                <a:gd name="connsiteY7539" fmla="*/ 1159537 h 2907193"/>
                <a:gd name="connsiteX7540" fmla="*/ 2277479 w 4044707"/>
                <a:gd name="connsiteY7540" fmla="*/ 1158781 h 2907193"/>
                <a:gd name="connsiteX7541" fmla="*/ 2275846 w 4044707"/>
                <a:gd name="connsiteY7541" fmla="*/ 1155484 h 2907193"/>
                <a:gd name="connsiteX7542" fmla="*/ 2275120 w 4044707"/>
                <a:gd name="connsiteY7542" fmla="*/ 1154728 h 2907193"/>
                <a:gd name="connsiteX7543" fmla="*/ 2251281 w 4044707"/>
                <a:gd name="connsiteY7543" fmla="*/ 1152368 h 2907193"/>
                <a:gd name="connsiteX7544" fmla="*/ 2248196 w 4044707"/>
                <a:gd name="connsiteY7544" fmla="*/ 1154728 h 2907193"/>
                <a:gd name="connsiteX7545" fmla="*/ 2252370 w 4044707"/>
                <a:gd name="connsiteY7545" fmla="*/ 1157601 h 2907193"/>
                <a:gd name="connsiteX7546" fmla="*/ 2273849 w 4044707"/>
                <a:gd name="connsiteY7546" fmla="*/ 1163773 h 2907193"/>
                <a:gd name="connsiteX7547" fmla="*/ 2278114 w 4044707"/>
                <a:gd name="connsiteY7547" fmla="*/ 1167100 h 2907193"/>
                <a:gd name="connsiteX7548" fmla="*/ 2280625 w 4044707"/>
                <a:gd name="connsiteY7548" fmla="*/ 1172425 h 2907193"/>
                <a:gd name="connsiteX7549" fmla="*/ 2277993 w 4044707"/>
                <a:gd name="connsiteY7549" fmla="*/ 1171880 h 2907193"/>
                <a:gd name="connsiteX7550" fmla="*/ 2271005 w 4044707"/>
                <a:gd name="connsiteY7550" fmla="*/ 1167645 h 2907193"/>
                <a:gd name="connsiteX7551" fmla="*/ 2268313 w 4044707"/>
                <a:gd name="connsiteY7551" fmla="*/ 1167554 h 2907193"/>
                <a:gd name="connsiteX7552" fmla="*/ 2263291 w 4044707"/>
                <a:gd name="connsiteY7552" fmla="*/ 1170156 h 2907193"/>
                <a:gd name="connsiteX7553" fmla="*/ 2260629 w 4044707"/>
                <a:gd name="connsiteY7553" fmla="*/ 1170700 h 2907193"/>
                <a:gd name="connsiteX7554" fmla="*/ 2258602 w 4044707"/>
                <a:gd name="connsiteY7554" fmla="*/ 1169732 h 2907193"/>
                <a:gd name="connsiteX7555" fmla="*/ 2256424 w 4044707"/>
                <a:gd name="connsiteY7555" fmla="*/ 1168099 h 2907193"/>
                <a:gd name="connsiteX7556" fmla="*/ 2254095 w 4044707"/>
                <a:gd name="connsiteY7556" fmla="*/ 1167221 h 2907193"/>
                <a:gd name="connsiteX7557" fmla="*/ 2251705 w 4044707"/>
                <a:gd name="connsiteY7557" fmla="*/ 1168492 h 2907193"/>
                <a:gd name="connsiteX7558" fmla="*/ 2249406 w 4044707"/>
                <a:gd name="connsiteY7558" fmla="*/ 1168794 h 2907193"/>
                <a:gd name="connsiteX7559" fmla="*/ 2247046 w 4044707"/>
                <a:gd name="connsiteY7559" fmla="*/ 1166798 h 2907193"/>
                <a:gd name="connsiteX7560" fmla="*/ 2244747 w 4044707"/>
                <a:gd name="connsiteY7560" fmla="*/ 1165860 h 2907193"/>
                <a:gd name="connsiteX7561" fmla="*/ 2242690 w 4044707"/>
                <a:gd name="connsiteY7561" fmla="*/ 1169278 h 2907193"/>
                <a:gd name="connsiteX7562" fmla="*/ 2250737 w 4044707"/>
                <a:gd name="connsiteY7562" fmla="*/ 1173665 h 2907193"/>
                <a:gd name="connsiteX7563" fmla="*/ 2263080 w 4044707"/>
                <a:gd name="connsiteY7563" fmla="*/ 1173665 h 2907193"/>
                <a:gd name="connsiteX7564" fmla="*/ 2266105 w 4044707"/>
                <a:gd name="connsiteY7564" fmla="*/ 1175510 h 2907193"/>
                <a:gd name="connsiteX7565" fmla="*/ 2263896 w 4044707"/>
                <a:gd name="connsiteY7565" fmla="*/ 1176932 h 2907193"/>
                <a:gd name="connsiteX7566" fmla="*/ 2258905 w 4044707"/>
                <a:gd name="connsiteY7566" fmla="*/ 1175268 h 2907193"/>
                <a:gd name="connsiteX7567" fmla="*/ 2254488 w 4044707"/>
                <a:gd name="connsiteY7567" fmla="*/ 1177567 h 2907193"/>
                <a:gd name="connsiteX7568" fmla="*/ 2250646 w 4044707"/>
                <a:gd name="connsiteY7568" fmla="*/ 1178172 h 2907193"/>
                <a:gd name="connsiteX7569" fmla="*/ 2248922 w 4044707"/>
                <a:gd name="connsiteY7569" fmla="*/ 1180290 h 2907193"/>
                <a:gd name="connsiteX7570" fmla="*/ 2249587 w 4044707"/>
                <a:gd name="connsiteY7570" fmla="*/ 1181198 h 2907193"/>
                <a:gd name="connsiteX7571" fmla="*/ 2250223 w 4044707"/>
                <a:gd name="connsiteY7571" fmla="*/ 1181893 h 2907193"/>
                <a:gd name="connsiteX7572" fmla="*/ 2247439 w 4044707"/>
                <a:gd name="connsiteY7572" fmla="*/ 1185372 h 2907193"/>
                <a:gd name="connsiteX7573" fmla="*/ 2246592 w 4044707"/>
                <a:gd name="connsiteY7573" fmla="*/ 1187550 h 2907193"/>
                <a:gd name="connsiteX7574" fmla="*/ 2246078 w 4044707"/>
                <a:gd name="connsiteY7574" fmla="*/ 1191574 h 2907193"/>
                <a:gd name="connsiteX7575" fmla="*/ 2249527 w 4044707"/>
                <a:gd name="connsiteY7575" fmla="*/ 1193419 h 2907193"/>
                <a:gd name="connsiteX7576" fmla="*/ 2252673 w 4044707"/>
                <a:gd name="connsiteY7576" fmla="*/ 1193540 h 2907193"/>
                <a:gd name="connsiteX7577" fmla="*/ 2259207 w 4044707"/>
                <a:gd name="connsiteY7577" fmla="*/ 1191574 h 2907193"/>
                <a:gd name="connsiteX7578" fmla="*/ 2265348 w 4044707"/>
                <a:gd name="connsiteY7578" fmla="*/ 1191362 h 2907193"/>
                <a:gd name="connsiteX7579" fmla="*/ 2268071 w 4044707"/>
                <a:gd name="connsiteY7579" fmla="*/ 1190091 h 2907193"/>
                <a:gd name="connsiteX7580" fmla="*/ 2273002 w 4044707"/>
                <a:gd name="connsiteY7580" fmla="*/ 1182045 h 2907193"/>
                <a:gd name="connsiteX7581" fmla="*/ 2276057 w 4044707"/>
                <a:gd name="connsiteY7581" fmla="*/ 1179927 h 2907193"/>
                <a:gd name="connsiteX7582" fmla="*/ 2294632 w 4044707"/>
                <a:gd name="connsiteY7582" fmla="*/ 1177749 h 2907193"/>
                <a:gd name="connsiteX7583" fmla="*/ 2298534 w 4044707"/>
                <a:gd name="connsiteY7583" fmla="*/ 1180320 h 2907193"/>
                <a:gd name="connsiteX7584" fmla="*/ 2285980 w 4044707"/>
                <a:gd name="connsiteY7584" fmla="*/ 1179745 h 2907193"/>
                <a:gd name="connsiteX7585" fmla="*/ 2276481 w 4044707"/>
                <a:gd name="connsiteY7585" fmla="*/ 1185100 h 2907193"/>
                <a:gd name="connsiteX7586" fmla="*/ 2271610 w 4044707"/>
                <a:gd name="connsiteY7586" fmla="*/ 1189880 h 2907193"/>
                <a:gd name="connsiteX7587" fmla="*/ 2273758 w 4044707"/>
                <a:gd name="connsiteY7587" fmla="*/ 1191937 h 2907193"/>
                <a:gd name="connsiteX7588" fmla="*/ 2288188 w 4044707"/>
                <a:gd name="connsiteY7588" fmla="*/ 1195718 h 2907193"/>
                <a:gd name="connsiteX7589" fmla="*/ 2290759 w 4044707"/>
                <a:gd name="connsiteY7589" fmla="*/ 1197624 h 2907193"/>
                <a:gd name="connsiteX7590" fmla="*/ 2292998 w 4044707"/>
                <a:gd name="connsiteY7590" fmla="*/ 1201164 h 2907193"/>
                <a:gd name="connsiteX7591" fmla="*/ 2287765 w 4044707"/>
                <a:gd name="connsiteY7591" fmla="*/ 1200316 h 2907193"/>
                <a:gd name="connsiteX7592" fmla="*/ 2282682 w 4044707"/>
                <a:gd name="connsiteY7592" fmla="*/ 1198138 h 2907193"/>
                <a:gd name="connsiteX7593" fmla="*/ 2277540 w 4044707"/>
                <a:gd name="connsiteY7593" fmla="*/ 1194387 h 2907193"/>
                <a:gd name="connsiteX7594" fmla="*/ 2274696 w 4044707"/>
                <a:gd name="connsiteY7594" fmla="*/ 1193117 h 2907193"/>
                <a:gd name="connsiteX7595" fmla="*/ 2272306 w 4044707"/>
                <a:gd name="connsiteY7595" fmla="*/ 1193964 h 2907193"/>
                <a:gd name="connsiteX7596" fmla="*/ 2269856 w 4044707"/>
                <a:gd name="connsiteY7596" fmla="*/ 1195476 h 2907193"/>
                <a:gd name="connsiteX7597" fmla="*/ 2261264 w 4044707"/>
                <a:gd name="connsiteY7597" fmla="*/ 1194841 h 2907193"/>
                <a:gd name="connsiteX7598" fmla="*/ 2258693 w 4044707"/>
                <a:gd name="connsiteY7598" fmla="*/ 1195718 h 2907193"/>
                <a:gd name="connsiteX7599" fmla="*/ 2254125 w 4044707"/>
                <a:gd name="connsiteY7599" fmla="*/ 1199167 h 2907193"/>
                <a:gd name="connsiteX7600" fmla="*/ 2251584 w 4044707"/>
                <a:gd name="connsiteY7600" fmla="*/ 1199621 h 2907193"/>
                <a:gd name="connsiteX7601" fmla="*/ 2251584 w 4044707"/>
                <a:gd name="connsiteY7601" fmla="*/ 1201194 h 2907193"/>
                <a:gd name="connsiteX7602" fmla="*/ 2254427 w 4044707"/>
                <a:gd name="connsiteY7602" fmla="*/ 1202555 h 2907193"/>
                <a:gd name="connsiteX7603" fmla="*/ 2254095 w 4044707"/>
                <a:gd name="connsiteY7603" fmla="*/ 1205126 h 2907193"/>
                <a:gd name="connsiteX7604" fmla="*/ 2252703 w 4044707"/>
                <a:gd name="connsiteY7604" fmla="*/ 1208515 h 2907193"/>
                <a:gd name="connsiteX7605" fmla="*/ 2252340 w 4044707"/>
                <a:gd name="connsiteY7605" fmla="*/ 1212417 h 2907193"/>
                <a:gd name="connsiteX7606" fmla="*/ 2254458 w 4044707"/>
                <a:gd name="connsiteY7606" fmla="*/ 1214020 h 2907193"/>
                <a:gd name="connsiteX7607" fmla="*/ 2265469 w 4044707"/>
                <a:gd name="connsiteY7607" fmla="*/ 1212417 h 2907193"/>
                <a:gd name="connsiteX7608" fmla="*/ 2261930 w 4044707"/>
                <a:gd name="connsiteY7608" fmla="*/ 1215079 h 2907193"/>
                <a:gd name="connsiteX7609" fmla="*/ 2248165 w 4044707"/>
                <a:gd name="connsiteY7609" fmla="*/ 1215442 h 2907193"/>
                <a:gd name="connsiteX7610" fmla="*/ 2248165 w 4044707"/>
                <a:gd name="connsiteY7610" fmla="*/ 1213990 h 2907193"/>
                <a:gd name="connsiteX7611" fmla="*/ 2248770 w 4044707"/>
                <a:gd name="connsiteY7611" fmla="*/ 1212145 h 2907193"/>
                <a:gd name="connsiteX7612" fmla="*/ 2248468 w 4044707"/>
                <a:gd name="connsiteY7612" fmla="*/ 1209725 h 2907193"/>
                <a:gd name="connsiteX7613" fmla="*/ 2247863 w 4044707"/>
                <a:gd name="connsiteY7613" fmla="*/ 1206851 h 2907193"/>
                <a:gd name="connsiteX7614" fmla="*/ 2247530 w 4044707"/>
                <a:gd name="connsiteY7614" fmla="*/ 1203584 h 2907193"/>
                <a:gd name="connsiteX7615" fmla="*/ 2246502 w 4044707"/>
                <a:gd name="connsiteY7615" fmla="*/ 1201436 h 2907193"/>
                <a:gd name="connsiteX7616" fmla="*/ 2244172 w 4044707"/>
                <a:gd name="connsiteY7616" fmla="*/ 1199711 h 2907193"/>
                <a:gd name="connsiteX7617" fmla="*/ 2238878 w 4044707"/>
                <a:gd name="connsiteY7617" fmla="*/ 1197594 h 2907193"/>
                <a:gd name="connsiteX7618" fmla="*/ 2236882 w 4044707"/>
                <a:gd name="connsiteY7618" fmla="*/ 1195325 h 2907193"/>
                <a:gd name="connsiteX7619" fmla="*/ 2235793 w 4044707"/>
                <a:gd name="connsiteY7619" fmla="*/ 1194811 h 2907193"/>
                <a:gd name="connsiteX7620" fmla="*/ 2222633 w 4044707"/>
                <a:gd name="connsiteY7620" fmla="*/ 1199590 h 2907193"/>
                <a:gd name="connsiteX7621" fmla="*/ 2224993 w 4044707"/>
                <a:gd name="connsiteY7621" fmla="*/ 1202011 h 2907193"/>
                <a:gd name="connsiteX7622" fmla="*/ 2227171 w 4044707"/>
                <a:gd name="connsiteY7622" fmla="*/ 1203523 h 2907193"/>
                <a:gd name="connsiteX7623" fmla="*/ 2229530 w 4044707"/>
                <a:gd name="connsiteY7623" fmla="*/ 1204279 h 2907193"/>
                <a:gd name="connsiteX7624" fmla="*/ 2232314 w 4044707"/>
                <a:gd name="connsiteY7624" fmla="*/ 1204491 h 2907193"/>
                <a:gd name="connsiteX7625" fmla="*/ 2233675 w 4044707"/>
                <a:gd name="connsiteY7625" fmla="*/ 1205217 h 2907193"/>
                <a:gd name="connsiteX7626" fmla="*/ 2234310 w 4044707"/>
                <a:gd name="connsiteY7626" fmla="*/ 1206972 h 2907193"/>
                <a:gd name="connsiteX7627" fmla="*/ 2234794 w 4044707"/>
                <a:gd name="connsiteY7627" fmla="*/ 1208999 h 2907193"/>
                <a:gd name="connsiteX7628" fmla="*/ 2235793 w 4044707"/>
                <a:gd name="connsiteY7628" fmla="*/ 1210662 h 2907193"/>
                <a:gd name="connsiteX7629" fmla="*/ 2237245 w 4044707"/>
                <a:gd name="connsiteY7629" fmla="*/ 1211358 h 2907193"/>
                <a:gd name="connsiteX7630" fmla="*/ 2240421 w 4044707"/>
                <a:gd name="connsiteY7630" fmla="*/ 1211600 h 2907193"/>
                <a:gd name="connsiteX7631" fmla="*/ 2241934 w 4044707"/>
                <a:gd name="connsiteY7631" fmla="*/ 1212387 h 2907193"/>
                <a:gd name="connsiteX7632" fmla="*/ 2241934 w 4044707"/>
                <a:gd name="connsiteY7632" fmla="*/ 1213960 h 2907193"/>
                <a:gd name="connsiteX7633" fmla="*/ 2238697 w 4044707"/>
                <a:gd name="connsiteY7633" fmla="*/ 1213778 h 2907193"/>
                <a:gd name="connsiteX7634" fmla="*/ 2237154 w 4044707"/>
                <a:gd name="connsiteY7634" fmla="*/ 1214172 h 2907193"/>
                <a:gd name="connsiteX7635" fmla="*/ 2235762 w 4044707"/>
                <a:gd name="connsiteY7635" fmla="*/ 1215382 h 2907193"/>
                <a:gd name="connsiteX7636" fmla="*/ 2240512 w 4044707"/>
                <a:gd name="connsiteY7636" fmla="*/ 1217772 h 2907193"/>
                <a:gd name="connsiteX7637" fmla="*/ 2241238 w 4044707"/>
                <a:gd name="connsiteY7637" fmla="*/ 1219375 h 2907193"/>
                <a:gd name="connsiteX7638" fmla="*/ 2241359 w 4044707"/>
                <a:gd name="connsiteY7638" fmla="*/ 1221129 h 2907193"/>
                <a:gd name="connsiteX7639" fmla="*/ 2241661 w 4044707"/>
                <a:gd name="connsiteY7639" fmla="*/ 1222733 h 2907193"/>
                <a:gd name="connsiteX7640" fmla="*/ 2242085 w 4044707"/>
                <a:gd name="connsiteY7640" fmla="*/ 1224034 h 2907193"/>
                <a:gd name="connsiteX7641" fmla="*/ 2242569 w 4044707"/>
                <a:gd name="connsiteY7641" fmla="*/ 1224971 h 2907193"/>
                <a:gd name="connsiteX7642" fmla="*/ 2239574 w 4044707"/>
                <a:gd name="connsiteY7642" fmla="*/ 1231022 h 2907193"/>
                <a:gd name="connsiteX7643" fmla="*/ 2225386 w 4044707"/>
                <a:gd name="connsiteY7643" fmla="*/ 1237707 h 2907193"/>
                <a:gd name="connsiteX7644" fmla="*/ 2226959 w 4044707"/>
                <a:gd name="connsiteY7644" fmla="*/ 1243001 h 2907193"/>
                <a:gd name="connsiteX7645" fmla="*/ 2229137 w 4044707"/>
                <a:gd name="connsiteY7645" fmla="*/ 1246268 h 2907193"/>
                <a:gd name="connsiteX7646" fmla="*/ 2231860 w 4044707"/>
                <a:gd name="connsiteY7646" fmla="*/ 1247569 h 2907193"/>
                <a:gd name="connsiteX7647" fmla="*/ 2235006 w 4044707"/>
                <a:gd name="connsiteY7647" fmla="*/ 1247025 h 2907193"/>
                <a:gd name="connsiteX7648" fmla="*/ 2238848 w 4044707"/>
                <a:gd name="connsiteY7648" fmla="*/ 1244272 h 2907193"/>
                <a:gd name="connsiteX7649" fmla="*/ 2240512 w 4044707"/>
                <a:gd name="connsiteY7649" fmla="*/ 1243909 h 2907193"/>
                <a:gd name="connsiteX7650" fmla="*/ 2241661 w 4044707"/>
                <a:gd name="connsiteY7650" fmla="*/ 1244756 h 2907193"/>
                <a:gd name="connsiteX7651" fmla="*/ 2241268 w 4044707"/>
                <a:gd name="connsiteY7651" fmla="*/ 1246692 h 2907193"/>
                <a:gd name="connsiteX7652" fmla="*/ 2240179 w 4044707"/>
                <a:gd name="connsiteY7652" fmla="*/ 1248810 h 2907193"/>
                <a:gd name="connsiteX7653" fmla="*/ 2239151 w 4044707"/>
                <a:gd name="connsiteY7653" fmla="*/ 1250171 h 2907193"/>
                <a:gd name="connsiteX7654" fmla="*/ 2241026 w 4044707"/>
                <a:gd name="connsiteY7654" fmla="*/ 1250050 h 2907193"/>
                <a:gd name="connsiteX7655" fmla="*/ 2246744 w 4044707"/>
                <a:gd name="connsiteY7655" fmla="*/ 1251895 h 2907193"/>
                <a:gd name="connsiteX7656" fmla="*/ 2248196 w 4044707"/>
                <a:gd name="connsiteY7656" fmla="*/ 1251502 h 2907193"/>
                <a:gd name="connsiteX7657" fmla="*/ 2257332 w 4044707"/>
                <a:gd name="connsiteY7657" fmla="*/ 1245875 h 2907193"/>
                <a:gd name="connsiteX7658" fmla="*/ 2258784 w 4044707"/>
                <a:gd name="connsiteY7658" fmla="*/ 1245452 h 2907193"/>
                <a:gd name="connsiteX7659" fmla="*/ 2259389 w 4044707"/>
                <a:gd name="connsiteY7659" fmla="*/ 1244484 h 2907193"/>
                <a:gd name="connsiteX7660" fmla="*/ 2258693 w 4044707"/>
                <a:gd name="connsiteY7660" fmla="*/ 1242336 h 2907193"/>
                <a:gd name="connsiteX7661" fmla="*/ 2257090 w 4044707"/>
                <a:gd name="connsiteY7661" fmla="*/ 1239280 h 2907193"/>
                <a:gd name="connsiteX7662" fmla="*/ 2256303 w 4044707"/>
                <a:gd name="connsiteY7662" fmla="*/ 1234924 h 2907193"/>
                <a:gd name="connsiteX7663" fmla="*/ 2256696 w 4044707"/>
                <a:gd name="connsiteY7663" fmla="*/ 1233684 h 2907193"/>
                <a:gd name="connsiteX7664" fmla="*/ 2257967 w 4044707"/>
                <a:gd name="connsiteY7664" fmla="*/ 1234864 h 2907193"/>
                <a:gd name="connsiteX7665" fmla="*/ 2259842 w 4044707"/>
                <a:gd name="connsiteY7665" fmla="*/ 1237707 h 2907193"/>
                <a:gd name="connsiteX7666" fmla="*/ 2260871 w 4044707"/>
                <a:gd name="connsiteY7666" fmla="*/ 1239825 h 2907193"/>
                <a:gd name="connsiteX7667" fmla="*/ 2261446 w 4044707"/>
                <a:gd name="connsiteY7667" fmla="*/ 1241247 h 2907193"/>
                <a:gd name="connsiteX7668" fmla="*/ 2262111 w 4044707"/>
                <a:gd name="connsiteY7668" fmla="*/ 1242033 h 2907193"/>
                <a:gd name="connsiteX7669" fmla="*/ 2263654 w 4044707"/>
                <a:gd name="connsiteY7669" fmla="*/ 1242275 h 2907193"/>
                <a:gd name="connsiteX7670" fmla="*/ 2267254 w 4044707"/>
                <a:gd name="connsiteY7670" fmla="*/ 1241035 h 2907193"/>
                <a:gd name="connsiteX7671" fmla="*/ 2269009 w 4044707"/>
                <a:gd name="connsiteY7671" fmla="*/ 1240884 h 2907193"/>
                <a:gd name="connsiteX7672" fmla="*/ 2270915 w 4044707"/>
                <a:gd name="connsiteY7672" fmla="*/ 1242275 h 2907193"/>
                <a:gd name="connsiteX7673" fmla="*/ 2268041 w 4044707"/>
                <a:gd name="connsiteY7673" fmla="*/ 1243364 h 2907193"/>
                <a:gd name="connsiteX7674" fmla="*/ 2266831 w 4044707"/>
                <a:gd name="connsiteY7674" fmla="*/ 1244544 h 2907193"/>
                <a:gd name="connsiteX7675" fmla="*/ 2266044 w 4044707"/>
                <a:gd name="connsiteY7675" fmla="*/ 1246964 h 2907193"/>
                <a:gd name="connsiteX7676" fmla="*/ 2276330 w 4044707"/>
                <a:gd name="connsiteY7676" fmla="*/ 1246541 h 2907193"/>
                <a:gd name="connsiteX7677" fmla="*/ 2279234 w 4044707"/>
                <a:gd name="connsiteY7677" fmla="*/ 1248688 h 2907193"/>
                <a:gd name="connsiteX7678" fmla="*/ 2275180 w 4044707"/>
                <a:gd name="connsiteY7678" fmla="*/ 1250836 h 2907193"/>
                <a:gd name="connsiteX7679" fmla="*/ 2257786 w 4044707"/>
                <a:gd name="connsiteY7679" fmla="*/ 1250776 h 2907193"/>
                <a:gd name="connsiteX7680" fmla="*/ 2241843 w 4044707"/>
                <a:gd name="connsiteY7680" fmla="*/ 1260245 h 2907193"/>
                <a:gd name="connsiteX7681" fmla="*/ 2238969 w 4044707"/>
                <a:gd name="connsiteY7681" fmla="*/ 1263028 h 2907193"/>
                <a:gd name="connsiteX7682" fmla="*/ 2236761 w 4044707"/>
                <a:gd name="connsiteY7682" fmla="*/ 1266779 h 2907193"/>
                <a:gd name="connsiteX7683" fmla="*/ 2234431 w 4044707"/>
                <a:gd name="connsiteY7683" fmla="*/ 1269108 h 2907193"/>
                <a:gd name="connsiteX7684" fmla="*/ 2230983 w 4044707"/>
                <a:gd name="connsiteY7684" fmla="*/ 1271347 h 2907193"/>
                <a:gd name="connsiteX7685" fmla="*/ 2228623 w 4044707"/>
                <a:gd name="connsiteY7685" fmla="*/ 1274251 h 2907193"/>
                <a:gd name="connsiteX7686" fmla="*/ 2229500 w 4044707"/>
                <a:gd name="connsiteY7686" fmla="*/ 1278516 h 2907193"/>
                <a:gd name="connsiteX7687" fmla="*/ 2232435 w 4044707"/>
                <a:gd name="connsiteY7687" fmla="*/ 1279787 h 2907193"/>
                <a:gd name="connsiteX7688" fmla="*/ 2246048 w 4044707"/>
                <a:gd name="connsiteY7688" fmla="*/ 1272769 h 2907193"/>
                <a:gd name="connsiteX7689" fmla="*/ 2254367 w 4044707"/>
                <a:gd name="connsiteY7689" fmla="*/ 1264419 h 2907193"/>
                <a:gd name="connsiteX7690" fmla="*/ 2258390 w 4044707"/>
                <a:gd name="connsiteY7690" fmla="*/ 1263330 h 2907193"/>
                <a:gd name="connsiteX7691" fmla="*/ 2267073 w 4044707"/>
                <a:gd name="connsiteY7691" fmla="*/ 1263935 h 2907193"/>
                <a:gd name="connsiteX7692" fmla="*/ 2272488 w 4044707"/>
                <a:gd name="connsiteY7692" fmla="*/ 1261122 h 2907193"/>
                <a:gd name="connsiteX7693" fmla="*/ 2276057 w 4044707"/>
                <a:gd name="connsiteY7693" fmla="*/ 1260305 h 2907193"/>
                <a:gd name="connsiteX7694" fmla="*/ 2282138 w 4044707"/>
                <a:gd name="connsiteY7694" fmla="*/ 1254073 h 2907193"/>
                <a:gd name="connsiteX7695" fmla="*/ 2283348 w 4044707"/>
                <a:gd name="connsiteY7695" fmla="*/ 1253317 h 2907193"/>
                <a:gd name="connsiteX7696" fmla="*/ 2284619 w 4044707"/>
                <a:gd name="connsiteY7696" fmla="*/ 1253408 h 2907193"/>
                <a:gd name="connsiteX7697" fmla="*/ 2285889 w 4044707"/>
                <a:gd name="connsiteY7697" fmla="*/ 1254134 h 2907193"/>
                <a:gd name="connsiteX7698" fmla="*/ 2287099 w 4044707"/>
                <a:gd name="connsiteY7698" fmla="*/ 1255253 h 2907193"/>
                <a:gd name="connsiteX7699" fmla="*/ 2288128 w 4044707"/>
                <a:gd name="connsiteY7699" fmla="*/ 1256584 h 2907193"/>
                <a:gd name="connsiteX7700" fmla="*/ 2283318 w 4044707"/>
                <a:gd name="connsiteY7700" fmla="*/ 1259579 h 2907193"/>
                <a:gd name="connsiteX7701" fmla="*/ 2284951 w 4044707"/>
                <a:gd name="connsiteY7701" fmla="*/ 1263784 h 2907193"/>
                <a:gd name="connsiteX7702" fmla="*/ 2287795 w 4044707"/>
                <a:gd name="connsiteY7702" fmla="*/ 1264449 h 2907193"/>
                <a:gd name="connsiteX7703" fmla="*/ 2295781 w 4044707"/>
                <a:gd name="connsiteY7703" fmla="*/ 1261666 h 2907193"/>
                <a:gd name="connsiteX7704" fmla="*/ 2298262 w 4044707"/>
                <a:gd name="connsiteY7704" fmla="*/ 1259125 h 2907193"/>
                <a:gd name="connsiteX7705" fmla="*/ 2299956 w 4044707"/>
                <a:gd name="connsiteY7705" fmla="*/ 1256040 h 2907193"/>
                <a:gd name="connsiteX7706" fmla="*/ 2299835 w 4044707"/>
                <a:gd name="connsiteY7706" fmla="*/ 1253287 h 2907193"/>
                <a:gd name="connsiteX7707" fmla="*/ 2301287 w 4044707"/>
                <a:gd name="connsiteY7707" fmla="*/ 1251804 h 2907193"/>
                <a:gd name="connsiteX7708" fmla="*/ 2302346 w 4044707"/>
                <a:gd name="connsiteY7708" fmla="*/ 1252349 h 2907193"/>
                <a:gd name="connsiteX7709" fmla="*/ 2303949 w 4044707"/>
                <a:gd name="connsiteY7709" fmla="*/ 1254830 h 2907193"/>
                <a:gd name="connsiteX7710" fmla="*/ 2306278 w 4044707"/>
                <a:gd name="connsiteY7710" fmla="*/ 1255949 h 2907193"/>
                <a:gd name="connsiteX7711" fmla="*/ 2316746 w 4044707"/>
                <a:gd name="connsiteY7711" fmla="*/ 1258097 h 2907193"/>
                <a:gd name="connsiteX7712" fmla="*/ 2317532 w 4044707"/>
                <a:gd name="connsiteY7712" fmla="*/ 1257280 h 2907193"/>
                <a:gd name="connsiteX7713" fmla="*/ 2319861 w 4044707"/>
                <a:gd name="connsiteY7713" fmla="*/ 1251835 h 2907193"/>
                <a:gd name="connsiteX7714" fmla="*/ 2322433 w 4044707"/>
                <a:gd name="connsiteY7714" fmla="*/ 1249747 h 2907193"/>
                <a:gd name="connsiteX7715" fmla="*/ 2330903 w 4044707"/>
                <a:gd name="connsiteY7715" fmla="*/ 1246964 h 2907193"/>
                <a:gd name="connsiteX7716" fmla="*/ 2336106 w 4044707"/>
                <a:gd name="connsiteY7716" fmla="*/ 1242336 h 2907193"/>
                <a:gd name="connsiteX7717" fmla="*/ 2339162 w 4044707"/>
                <a:gd name="connsiteY7717" fmla="*/ 1240914 h 2907193"/>
                <a:gd name="connsiteX7718" fmla="*/ 2340493 w 4044707"/>
                <a:gd name="connsiteY7718" fmla="*/ 1243062 h 2907193"/>
                <a:gd name="connsiteX7719" fmla="*/ 2339555 w 4044707"/>
                <a:gd name="connsiteY7719" fmla="*/ 1247085 h 2907193"/>
                <a:gd name="connsiteX7720" fmla="*/ 2337347 w 4044707"/>
                <a:gd name="connsiteY7720" fmla="*/ 1250322 h 2907193"/>
                <a:gd name="connsiteX7721" fmla="*/ 2334715 w 4044707"/>
                <a:gd name="connsiteY7721" fmla="*/ 1252470 h 2907193"/>
                <a:gd name="connsiteX7722" fmla="*/ 2331176 w 4044707"/>
                <a:gd name="connsiteY7722" fmla="*/ 1253771 h 2907193"/>
                <a:gd name="connsiteX7723" fmla="*/ 2329602 w 4044707"/>
                <a:gd name="connsiteY7723" fmla="*/ 1256009 h 2907193"/>
                <a:gd name="connsiteX7724" fmla="*/ 2326971 w 4044707"/>
                <a:gd name="connsiteY7724" fmla="*/ 1257522 h 2907193"/>
                <a:gd name="connsiteX7725" fmla="*/ 2326214 w 4044707"/>
                <a:gd name="connsiteY7725" fmla="*/ 1259791 h 2907193"/>
                <a:gd name="connsiteX7726" fmla="*/ 2325609 w 4044707"/>
                <a:gd name="connsiteY7726" fmla="*/ 1262392 h 2907193"/>
                <a:gd name="connsiteX7727" fmla="*/ 2324581 w 4044707"/>
                <a:gd name="connsiteY7727" fmla="*/ 1264389 h 2907193"/>
                <a:gd name="connsiteX7728" fmla="*/ 2323249 w 4044707"/>
                <a:gd name="connsiteY7728" fmla="*/ 1265115 h 2907193"/>
                <a:gd name="connsiteX7729" fmla="*/ 2309546 w 4044707"/>
                <a:gd name="connsiteY7729" fmla="*/ 1268745 h 2907193"/>
                <a:gd name="connsiteX7730" fmla="*/ 2304706 w 4044707"/>
                <a:gd name="connsiteY7730" fmla="*/ 1273616 h 2907193"/>
                <a:gd name="connsiteX7731" fmla="*/ 2301862 w 4044707"/>
                <a:gd name="connsiteY7731" fmla="*/ 1273918 h 2907193"/>
                <a:gd name="connsiteX7732" fmla="*/ 2303132 w 4044707"/>
                <a:gd name="connsiteY7732" fmla="*/ 1271438 h 2907193"/>
                <a:gd name="connsiteX7733" fmla="*/ 2305764 w 4044707"/>
                <a:gd name="connsiteY7733" fmla="*/ 1268352 h 2907193"/>
                <a:gd name="connsiteX7734" fmla="*/ 2306672 w 4044707"/>
                <a:gd name="connsiteY7734" fmla="*/ 1265962 h 2907193"/>
                <a:gd name="connsiteX7735" fmla="*/ 2301590 w 4044707"/>
                <a:gd name="connsiteY7735" fmla="*/ 1264086 h 2907193"/>
                <a:gd name="connsiteX7736" fmla="*/ 2295418 w 4044707"/>
                <a:gd name="connsiteY7736" fmla="*/ 1264933 h 2907193"/>
                <a:gd name="connsiteX7737" fmla="*/ 2289852 w 4044707"/>
                <a:gd name="connsiteY7737" fmla="*/ 1269078 h 2907193"/>
                <a:gd name="connsiteX7738" fmla="*/ 2286675 w 4044707"/>
                <a:gd name="connsiteY7738" fmla="*/ 1277064 h 2907193"/>
                <a:gd name="connsiteX7739" fmla="*/ 2296296 w 4044707"/>
                <a:gd name="connsiteY7739" fmla="*/ 1280059 h 2907193"/>
                <a:gd name="connsiteX7740" fmla="*/ 2303495 w 4044707"/>
                <a:gd name="connsiteY7740" fmla="*/ 1279273 h 2907193"/>
                <a:gd name="connsiteX7741" fmla="*/ 2308094 w 4044707"/>
                <a:gd name="connsiteY7741" fmla="*/ 1280271 h 2907193"/>
                <a:gd name="connsiteX7742" fmla="*/ 2309031 w 4044707"/>
                <a:gd name="connsiteY7742" fmla="*/ 1281027 h 2907193"/>
                <a:gd name="connsiteX7743" fmla="*/ 2309334 w 4044707"/>
                <a:gd name="connsiteY7743" fmla="*/ 1283326 h 2907193"/>
                <a:gd name="connsiteX7744" fmla="*/ 2308880 w 4044707"/>
                <a:gd name="connsiteY7744" fmla="*/ 1285565 h 2907193"/>
                <a:gd name="connsiteX7745" fmla="*/ 2308003 w 4044707"/>
                <a:gd name="connsiteY7745" fmla="*/ 1285958 h 2907193"/>
                <a:gd name="connsiteX7746" fmla="*/ 2304796 w 4044707"/>
                <a:gd name="connsiteY7746" fmla="*/ 1284083 h 2907193"/>
                <a:gd name="connsiteX7747" fmla="*/ 2302920 w 4044707"/>
                <a:gd name="connsiteY7747" fmla="*/ 1282268 h 2907193"/>
                <a:gd name="connsiteX7748" fmla="*/ 2301831 w 4044707"/>
                <a:gd name="connsiteY7748" fmla="*/ 1281632 h 2907193"/>
                <a:gd name="connsiteX7749" fmla="*/ 2300440 w 4044707"/>
                <a:gd name="connsiteY7749" fmla="*/ 1281572 h 2907193"/>
                <a:gd name="connsiteX7750" fmla="*/ 2296961 w 4044707"/>
                <a:gd name="connsiteY7750" fmla="*/ 1283357 h 2907193"/>
                <a:gd name="connsiteX7751" fmla="*/ 2289670 w 4044707"/>
                <a:gd name="connsiteY7751" fmla="*/ 1283629 h 2907193"/>
                <a:gd name="connsiteX7752" fmla="*/ 2287401 w 4044707"/>
                <a:gd name="connsiteY7752" fmla="*/ 1284778 h 2907193"/>
                <a:gd name="connsiteX7753" fmla="*/ 2285768 w 4044707"/>
                <a:gd name="connsiteY7753" fmla="*/ 1286836 h 2907193"/>
                <a:gd name="connsiteX7754" fmla="*/ 2283015 w 4044707"/>
                <a:gd name="connsiteY7754" fmla="*/ 1292341 h 2907193"/>
                <a:gd name="connsiteX7755" fmla="*/ 2281835 w 4044707"/>
                <a:gd name="connsiteY7755" fmla="*/ 1294156 h 2907193"/>
                <a:gd name="connsiteX7756" fmla="*/ 2280414 w 4044707"/>
                <a:gd name="connsiteY7756" fmla="*/ 1294913 h 2907193"/>
                <a:gd name="connsiteX7757" fmla="*/ 2279234 w 4044707"/>
                <a:gd name="connsiteY7757" fmla="*/ 1294338 h 2907193"/>
                <a:gd name="connsiteX7758" fmla="*/ 2278659 w 4044707"/>
                <a:gd name="connsiteY7758" fmla="*/ 1292099 h 2907193"/>
                <a:gd name="connsiteX7759" fmla="*/ 2279082 w 4044707"/>
                <a:gd name="connsiteY7759" fmla="*/ 1287925 h 2907193"/>
                <a:gd name="connsiteX7760" fmla="*/ 2280111 w 4044707"/>
                <a:gd name="connsiteY7760" fmla="*/ 1284869 h 2907193"/>
                <a:gd name="connsiteX7761" fmla="*/ 2282834 w 4044707"/>
                <a:gd name="connsiteY7761" fmla="*/ 1280211 h 2907193"/>
                <a:gd name="connsiteX7762" fmla="*/ 2283923 w 4044707"/>
                <a:gd name="connsiteY7762" fmla="*/ 1277155 h 2907193"/>
                <a:gd name="connsiteX7763" fmla="*/ 2274908 w 4044707"/>
                <a:gd name="connsiteY7763" fmla="*/ 1277155 h 2907193"/>
                <a:gd name="connsiteX7764" fmla="*/ 2274908 w 4044707"/>
                <a:gd name="connsiteY7764" fmla="*/ 1275431 h 2907193"/>
                <a:gd name="connsiteX7765" fmla="*/ 2277963 w 4044707"/>
                <a:gd name="connsiteY7765" fmla="*/ 1274886 h 2907193"/>
                <a:gd name="connsiteX7766" fmla="*/ 2281412 w 4044707"/>
                <a:gd name="connsiteY7766" fmla="*/ 1272738 h 2907193"/>
                <a:gd name="connsiteX7767" fmla="*/ 2283348 w 4044707"/>
                <a:gd name="connsiteY7767" fmla="*/ 1269562 h 2907193"/>
                <a:gd name="connsiteX7768" fmla="*/ 2281866 w 4044707"/>
                <a:gd name="connsiteY7768" fmla="*/ 1266053 h 2907193"/>
                <a:gd name="connsiteX7769" fmla="*/ 2278387 w 4044707"/>
                <a:gd name="connsiteY7769" fmla="*/ 1264692 h 2907193"/>
                <a:gd name="connsiteX7770" fmla="*/ 2256122 w 4044707"/>
                <a:gd name="connsiteY7770" fmla="*/ 1269774 h 2907193"/>
                <a:gd name="connsiteX7771" fmla="*/ 2248014 w 4044707"/>
                <a:gd name="connsiteY7771" fmla="*/ 1277125 h 2907193"/>
                <a:gd name="connsiteX7772" fmla="*/ 2242781 w 4044707"/>
                <a:gd name="connsiteY7772" fmla="*/ 1279515 h 2907193"/>
                <a:gd name="connsiteX7773" fmla="*/ 2241087 w 4044707"/>
                <a:gd name="connsiteY7773" fmla="*/ 1280876 h 2907193"/>
                <a:gd name="connsiteX7774" fmla="*/ 2235762 w 4044707"/>
                <a:gd name="connsiteY7774" fmla="*/ 1282661 h 2907193"/>
                <a:gd name="connsiteX7775" fmla="*/ 2234946 w 4044707"/>
                <a:gd name="connsiteY7775" fmla="*/ 1284052 h 2907193"/>
                <a:gd name="connsiteX7776" fmla="*/ 2234341 w 4044707"/>
                <a:gd name="connsiteY7776" fmla="*/ 1286170 h 2907193"/>
                <a:gd name="connsiteX7777" fmla="*/ 2232919 w 4044707"/>
                <a:gd name="connsiteY7777" fmla="*/ 1286170 h 2907193"/>
                <a:gd name="connsiteX7778" fmla="*/ 2230105 w 4044707"/>
                <a:gd name="connsiteY7778" fmla="*/ 1284748 h 2907193"/>
                <a:gd name="connsiteX7779" fmla="*/ 2212136 w 4044707"/>
                <a:gd name="connsiteY7779" fmla="*/ 1288862 h 2907193"/>
                <a:gd name="connsiteX7780" fmla="*/ 2205813 w 4044707"/>
                <a:gd name="connsiteY7780" fmla="*/ 1293128 h 2907193"/>
                <a:gd name="connsiteX7781" fmla="*/ 2202516 w 4044707"/>
                <a:gd name="connsiteY7781" fmla="*/ 1294126 h 2907193"/>
                <a:gd name="connsiteX7782" fmla="*/ 2200338 w 4044707"/>
                <a:gd name="connsiteY7782" fmla="*/ 1295548 h 2907193"/>
                <a:gd name="connsiteX7783" fmla="*/ 2193834 w 4044707"/>
                <a:gd name="connsiteY7783" fmla="*/ 1302506 h 2907193"/>
                <a:gd name="connsiteX7784" fmla="*/ 2192140 w 4044707"/>
                <a:gd name="connsiteY7784" fmla="*/ 1305168 h 2907193"/>
                <a:gd name="connsiteX7785" fmla="*/ 2195074 w 4044707"/>
                <a:gd name="connsiteY7785" fmla="*/ 1305047 h 2907193"/>
                <a:gd name="connsiteX7786" fmla="*/ 2196436 w 4044707"/>
                <a:gd name="connsiteY7786" fmla="*/ 1305470 h 2907193"/>
                <a:gd name="connsiteX7787" fmla="*/ 2197706 w 4044707"/>
                <a:gd name="connsiteY7787" fmla="*/ 1306711 h 2907193"/>
                <a:gd name="connsiteX7788" fmla="*/ 2197101 w 4044707"/>
                <a:gd name="connsiteY7788" fmla="*/ 1307437 h 2907193"/>
                <a:gd name="connsiteX7789" fmla="*/ 2196859 w 4044707"/>
                <a:gd name="connsiteY7789" fmla="*/ 1308072 h 2907193"/>
                <a:gd name="connsiteX7790" fmla="*/ 2196677 w 4044707"/>
                <a:gd name="connsiteY7790" fmla="*/ 1308798 h 2907193"/>
                <a:gd name="connsiteX7791" fmla="*/ 2196345 w 4044707"/>
                <a:gd name="connsiteY7791" fmla="*/ 1309827 h 2907193"/>
                <a:gd name="connsiteX7792" fmla="*/ 2218005 w 4044707"/>
                <a:gd name="connsiteY7792" fmla="*/ 1305501 h 2907193"/>
                <a:gd name="connsiteX7793" fmla="*/ 2225537 w 4044707"/>
                <a:gd name="connsiteY7793" fmla="*/ 1300660 h 2907193"/>
                <a:gd name="connsiteX7794" fmla="*/ 2229379 w 4044707"/>
                <a:gd name="connsiteY7794" fmla="*/ 1300479 h 2907193"/>
                <a:gd name="connsiteX7795" fmla="*/ 2227685 w 4044707"/>
                <a:gd name="connsiteY7795" fmla="*/ 1304170 h 2907193"/>
                <a:gd name="connsiteX7796" fmla="*/ 2222361 w 4044707"/>
                <a:gd name="connsiteY7796" fmla="*/ 1307467 h 2907193"/>
                <a:gd name="connsiteX7797" fmla="*/ 2220455 w 4044707"/>
                <a:gd name="connsiteY7797" fmla="*/ 1311400 h 2907193"/>
                <a:gd name="connsiteX7798" fmla="*/ 2222119 w 4044707"/>
                <a:gd name="connsiteY7798" fmla="*/ 1314304 h 2907193"/>
                <a:gd name="connsiteX7799" fmla="*/ 2221635 w 4044707"/>
                <a:gd name="connsiteY7799" fmla="*/ 1317178 h 2907193"/>
                <a:gd name="connsiteX7800" fmla="*/ 2219880 w 4044707"/>
                <a:gd name="connsiteY7800" fmla="*/ 1319537 h 2907193"/>
                <a:gd name="connsiteX7801" fmla="*/ 2217733 w 4044707"/>
                <a:gd name="connsiteY7801" fmla="*/ 1320868 h 2907193"/>
                <a:gd name="connsiteX7802" fmla="*/ 2219548 w 4044707"/>
                <a:gd name="connsiteY7802" fmla="*/ 1325436 h 2907193"/>
                <a:gd name="connsiteX7803" fmla="*/ 2223147 w 4044707"/>
                <a:gd name="connsiteY7803" fmla="*/ 1328613 h 2907193"/>
                <a:gd name="connsiteX7804" fmla="*/ 2230196 w 4044707"/>
                <a:gd name="connsiteY7804" fmla="*/ 1331577 h 2907193"/>
                <a:gd name="connsiteX7805" fmla="*/ 2236640 w 4044707"/>
                <a:gd name="connsiteY7805" fmla="*/ 1331577 h 2907193"/>
                <a:gd name="connsiteX7806" fmla="*/ 2237668 w 4044707"/>
                <a:gd name="connsiteY7806" fmla="*/ 1332424 h 2907193"/>
                <a:gd name="connsiteX7807" fmla="*/ 2237971 w 4044707"/>
                <a:gd name="connsiteY7807" fmla="*/ 1334633 h 2907193"/>
                <a:gd name="connsiteX7808" fmla="*/ 2238727 w 4044707"/>
                <a:gd name="connsiteY7808" fmla="*/ 1336690 h 2907193"/>
                <a:gd name="connsiteX7809" fmla="*/ 2240330 w 4044707"/>
                <a:gd name="connsiteY7809" fmla="*/ 1339443 h 2907193"/>
                <a:gd name="connsiteX7810" fmla="*/ 2240481 w 4044707"/>
                <a:gd name="connsiteY7810" fmla="*/ 1343890 h 2907193"/>
                <a:gd name="connsiteX7811" fmla="*/ 2242085 w 4044707"/>
                <a:gd name="connsiteY7811" fmla="*/ 1348609 h 2907193"/>
                <a:gd name="connsiteX7812" fmla="*/ 2242993 w 4044707"/>
                <a:gd name="connsiteY7812" fmla="*/ 1352209 h 2907193"/>
                <a:gd name="connsiteX7813" fmla="*/ 2241087 w 4044707"/>
                <a:gd name="connsiteY7813" fmla="*/ 1353358 h 2907193"/>
                <a:gd name="connsiteX7814" fmla="*/ 2237668 w 4044707"/>
                <a:gd name="connsiteY7814" fmla="*/ 1347187 h 2907193"/>
                <a:gd name="connsiteX7815" fmla="*/ 2237668 w 4044707"/>
                <a:gd name="connsiteY7815" fmla="*/ 1344858 h 2907193"/>
                <a:gd name="connsiteX7816" fmla="*/ 2237426 w 4044707"/>
                <a:gd name="connsiteY7816" fmla="*/ 1343950 h 2907193"/>
                <a:gd name="connsiteX7817" fmla="*/ 2236851 w 4044707"/>
                <a:gd name="connsiteY7817" fmla="*/ 1343950 h 2907193"/>
                <a:gd name="connsiteX7818" fmla="*/ 2236186 w 4044707"/>
                <a:gd name="connsiteY7818" fmla="*/ 1344132 h 2907193"/>
                <a:gd name="connsiteX7819" fmla="*/ 2235641 w 4044707"/>
                <a:gd name="connsiteY7819" fmla="*/ 1344071 h 2907193"/>
                <a:gd name="connsiteX7820" fmla="*/ 2234764 w 4044707"/>
                <a:gd name="connsiteY7820" fmla="*/ 1343587 h 2907193"/>
                <a:gd name="connsiteX7821" fmla="*/ 2233100 w 4044707"/>
                <a:gd name="connsiteY7821" fmla="*/ 1343194 h 2907193"/>
                <a:gd name="connsiteX7822" fmla="*/ 2232162 w 4044707"/>
                <a:gd name="connsiteY7822" fmla="*/ 1342528 h 2907193"/>
                <a:gd name="connsiteX7823" fmla="*/ 2231285 w 4044707"/>
                <a:gd name="connsiteY7823" fmla="*/ 1341016 h 2907193"/>
                <a:gd name="connsiteX7824" fmla="*/ 2230196 w 4044707"/>
                <a:gd name="connsiteY7824" fmla="*/ 1337688 h 2907193"/>
                <a:gd name="connsiteX7825" fmla="*/ 2229349 w 4044707"/>
                <a:gd name="connsiteY7825" fmla="*/ 1336297 h 2907193"/>
                <a:gd name="connsiteX7826" fmla="*/ 2227594 w 4044707"/>
                <a:gd name="connsiteY7826" fmla="*/ 1335389 h 2907193"/>
                <a:gd name="connsiteX7827" fmla="*/ 2223813 w 4044707"/>
                <a:gd name="connsiteY7827" fmla="*/ 1336387 h 2907193"/>
                <a:gd name="connsiteX7828" fmla="*/ 2221847 w 4044707"/>
                <a:gd name="connsiteY7828" fmla="*/ 1336297 h 2907193"/>
                <a:gd name="connsiteX7829" fmla="*/ 2220425 w 4044707"/>
                <a:gd name="connsiteY7829" fmla="*/ 1335147 h 2907193"/>
                <a:gd name="connsiteX7830" fmla="*/ 2218216 w 4044707"/>
                <a:gd name="connsiteY7830" fmla="*/ 1331608 h 2907193"/>
                <a:gd name="connsiteX7831" fmla="*/ 2216976 w 4044707"/>
                <a:gd name="connsiteY7831" fmla="*/ 1330065 h 2907193"/>
                <a:gd name="connsiteX7832" fmla="*/ 2210049 w 4044707"/>
                <a:gd name="connsiteY7832" fmla="*/ 1326949 h 2907193"/>
                <a:gd name="connsiteX7833" fmla="*/ 2206902 w 4044707"/>
                <a:gd name="connsiteY7833" fmla="*/ 1326495 h 2907193"/>
                <a:gd name="connsiteX7834" fmla="*/ 2204059 w 4044707"/>
                <a:gd name="connsiteY7834" fmla="*/ 1327342 h 2907193"/>
                <a:gd name="connsiteX7835" fmla="*/ 2193320 w 4044707"/>
                <a:gd name="connsiteY7835" fmla="*/ 1336055 h 2907193"/>
                <a:gd name="connsiteX7836" fmla="*/ 2191111 w 4044707"/>
                <a:gd name="connsiteY7836" fmla="*/ 1339412 h 2907193"/>
                <a:gd name="connsiteX7837" fmla="*/ 2189296 w 4044707"/>
                <a:gd name="connsiteY7837" fmla="*/ 1344011 h 2907193"/>
                <a:gd name="connsiteX7838" fmla="*/ 2189084 w 4044707"/>
                <a:gd name="connsiteY7838" fmla="*/ 1345342 h 2907193"/>
                <a:gd name="connsiteX7839" fmla="*/ 2188933 w 4044707"/>
                <a:gd name="connsiteY7839" fmla="*/ 1348609 h 2907193"/>
                <a:gd name="connsiteX7840" fmla="*/ 2188661 w 4044707"/>
                <a:gd name="connsiteY7840" fmla="*/ 1350152 h 2907193"/>
                <a:gd name="connsiteX7841" fmla="*/ 2188177 w 4044707"/>
                <a:gd name="connsiteY7841" fmla="*/ 1351180 h 2907193"/>
                <a:gd name="connsiteX7842" fmla="*/ 2186997 w 4044707"/>
                <a:gd name="connsiteY7842" fmla="*/ 1352179 h 2907193"/>
                <a:gd name="connsiteX7843" fmla="*/ 2186604 w 4044707"/>
                <a:gd name="connsiteY7843" fmla="*/ 1353237 h 2907193"/>
                <a:gd name="connsiteX7844" fmla="*/ 2186211 w 4044707"/>
                <a:gd name="connsiteY7844" fmla="*/ 1356868 h 2907193"/>
                <a:gd name="connsiteX7845" fmla="*/ 2186604 w 4044707"/>
                <a:gd name="connsiteY7845" fmla="*/ 1358380 h 2907193"/>
                <a:gd name="connsiteX7846" fmla="*/ 2187663 w 4044707"/>
                <a:gd name="connsiteY7846" fmla="*/ 1358501 h 2907193"/>
                <a:gd name="connsiteX7847" fmla="*/ 2191686 w 4044707"/>
                <a:gd name="connsiteY7847" fmla="*/ 1356958 h 2907193"/>
                <a:gd name="connsiteX7848" fmla="*/ 2194439 w 4044707"/>
                <a:gd name="connsiteY7848" fmla="*/ 1356656 h 2907193"/>
                <a:gd name="connsiteX7849" fmla="*/ 2196224 w 4044707"/>
                <a:gd name="connsiteY7849" fmla="*/ 1358562 h 2907193"/>
                <a:gd name="connsiteX7850" fmla="*/ 2195558 w 4044707"/>
                <a:gd name="connsiteY7850" fmla="*/ 1364188 h 2907193"/>
                <a:gd name="connsiteX7851" fmla="*/ 2196859 w 4044707"/>
                <a:gd name="connsiteY7851" fmla="*/ 1367153 h 2907193"/>
                <a:gd name="connsiteX7852" fmla="*/ 2194953 w 4044707"/>
                <a:gd name="connsiteY7852" fmla="*/ 1366820 h 2907193"/>
                <a:gd name="connsiteX7853" fmla="*/ 2193592 w 4044707"/>
                <a:gd name="connsiteY7853" fmla="*/ 1365187 h 2907193"/>
                <a:gd name="connsiteX7854" fmla="*/ 2192382 w 4044707"/>
                <a:gd name="connsiteY7854" fmla="*/ 1363372 h 2907193"/>
                <a:gd name="connsiteX7855" fmla="*/ 2191111 w 4044707"/>
                <a:gd name="connsiteY7855" fmla="*/ 1362494 h 2907193"/>
                <a:gd name="connsiteX7856" fmla="*/ 2189599 w 4044707"/>
                <a:gd name="connsiteY7856" fmla="*/ 1362948 h 2907193"/>
                <a:gd name="connsiteX7857" fmla="*/ 2188479 w 4044707"/>
                <a:gd name="connsiteY7857" fmla="*/ 1364067 h 2907193"/>
                <a:gd name="connsiteX7858" fmla="*/ 2186604 w 4044707"/>
                <a:gd name="connsiteY7858" fmla="*/ 1367123 h 2907193"/>
                <a:gd name="connsiteX7859" fmla="*/ 2181703 w 4044707"/>
                <a:gd name="connsiteY7859" fmla="*/ 1372205 h 2907193"/>
                <a:gd name="connsiteX7860" fmla="*/ 2180765 w 4044707"/>
                <a:gd name="connsiteY7860" fmla="*/ 1375109 h 2907193"/>
                <a:gd name="connsiteX7861" fmla="*/ 2182429 w 4044707"/>
                <a:gd name="connsiteY7861" fmla="*/ 1379556 h 2907193"/>
                <a:gd name="connsiteX7862" fmla="*/ 2183639 w 4044707"/>
                <a:gd name="connsiteY7862" fmla="*/ 1380948 h 2907193"/>
                <a:gd name="connsiteX7863" fmla="*/ 2187360 w 4044707"/>
                <a:gd name="connsiteY7863" fmla="*/ 1383670 h 2907193"/>
                <a:gd name="connsiteX7864" fmla="*/ 2190053 w 4044707"/>
                <a:gd name="connsiteY7864" fmla="*/ 1384971 h 2907193"/>
                <a:gd name="connsiteX7865" fmla="*/ 2190627 w 4044707"/>
                <a:gd name="connsiteY7865" fmla="*/ 1386938 h 2907193"/>
                <a:gd name="connsiteX7866" fmla="*/ 2190869 w 4044707"/>
                <a:gd name="connsiteY7866" fmla="*/ 1389418 h 2907193"/>
                <a:gd name="connsiteX7867" fmla="*/ 2191383 w 4044707"/>
                <a:gd name="connsiteY7867" fmla="*/ 1391838 h 2907193"/>
                <a:gd name="connsiteX7868" fmla="*/ 2192472 w 4044707"/>
                <a:gd name="connsiteY7868" fmla="*/ 1394500 h 2907193"/>
                <a:gd name="connsiteX7869" fmla="*/ 2193410 w 4044707"/>
                <a:gd name="connsiteY7869" fmla="*/ 1395862 h 2907193"/>
                <a:gd name="connsiteX7870" fmla="*/ 2194711 w 4044707"/>
                <a:gd name="connsiteY7870" fmla="*/ 1396376 h 2907193"/>
                <a:gd name="connsiteX7871" fmla="*/ 2198765 w 4044707"/>
                <a:gd name="connsiteY7871" fmla="*/ 1396588 h 2907193"/>
                <a:gd name="connsiteX7872" fmla="*/ 2200882 w 4044707"/>
                <a:gd name="connsiteY7872" fmla="*/ 1397223 h 2907193"/>
                <a:gd name="connsiteX7873" fmla="*/ 2202758 w 4044707"/>
                <a:gd name="connsiteY7873" fmla="*/ 1398615 h 2907193"/>
                <a:gd name="connsiteX7874" fmla="*/ 2203786 w 4044707"/>
                <a:gd name="connsiteY7874" fmla="*/ 1401004 h 2907193"/>
                <a:gd name="connsiteX7875" fmla="*/ 2202577 w 4044707"/>
                <a:gd name="connsiteY7875" fmla="*/ 1402003 h 2907193"/>
                <a:gd name="connsiteX7876" fmla="*/ 2200852 w 4044707"/>
                <a:gd name="connsiteY7876" fmla="*/ 1402850 h 2907193"/>
                <a:gd name="connsiteX7877" fmla="*/ 2199158 w 4044707"/>
                <a:gd name="connsiteY7877" fmla="*/ 1402971 h 2907193"/>
                <a:gd name="connsiteX7878" fmla="*/ 2196314 w 4044707"/>
                <a:gd name="connsiteY7878" fmla="*/ 1399734 h 2907193"/>
                <a:gd name="connsiteX7879" fmla="*/ 2194348 w 4044707"/>
                <a:gd name="connsiteY7879" fmla="*/ 1399734 h 2907193"/>
                <a:gd name="connsiteX7880" fmla="*/ 2190718 w 4044707"/>
                <a:gd name="connsiteY7880" fmla="*/ 1401004 h 2907193"/>
                <a:gd name="connsiteX7881" fmla="*/ 2186513 w 4044707"/>
                <a:gd name="connsiteY7881" fmla="*/ 1397828 h 2907193"/>
                <a:gd name="connsiteX7882" fmla="*/ 2185848 w 4044707"/>
                <a:gd name="connsiteY7882" fmla="*/ 1398070 h 2907193"/>
                <a:gd name="connsiteX7883" fmla="*/ 2185848 w 4044707"/>
                <a:gd name="connsiteY7883" fmla="*/ 1395408 h 2907193"/>
                <a:gd name="connsiteX7884" fmla="*/ 2186574 w 4044707"/>
                <a:gd name="connsiteY7884" fmla="*/ 1393139 h 2907193"/>
                <a:gd name="connsiteX7885" fmla="*/ 2187663 w 4044707"/>
                <a:gd name="connsiteY7885" fmla="*/ 1391385 h 2907193"/>
                <a:gd name="connsiteX7886" fmla="*/ 2188661 w 4044707"/>
                <a:gd name="connsiteY7886" fmla="*/ 1390235 h 2907193"/>
                <a:gd name="connsiteX7887" fmla="*/ 2184426 w 4044707"/>
                <a:gd name="connsiteY7887" fmla="*/ 1390235 h 2907193"/>
                <a:gd name="connsiteX7888" fmla="*/ 2183790 w 4044707"/>
                <a:gd name="connsiteY7888" fmla="*/ 1389479 h 2907193"/>
                <a:gd name="connsiteX7889" fmla="*/ 2183730 w 4044707"/>
                <a:gd name="connsiteY7889" fmla="*/ 1387270 h 2907193"/>
                <a:gd name="connsiteX7890" fmla="*/ 2183548 w 4044707"/>
                <a:gd name="connsiteY7890" fmla="*/ 1385637 h 2907193"/>
                <a:gd name="connsiteX7891" fmla="*/ 2183125 w 4044707"/>
                <a:gd name="connsiteY7891" fmla="*/ 1384185 h 2907193"/>
                <a:gd name="connsiteX7892" fmla="*/ 2182399 w 4044707"/>
                <a:gd name="connsiteY7892" fmla="*/ 1382581 h 2907193"/>
                <a:gd name="connsiteX7893" fmla="*/ 2180432 w 4044707"/>
                <a:gd name="connsiteY7893" fmla="*/ 1380524 h 2907193"/>
                <a:gd name="connsiteX7894" fmla="*/ 2177468 w 4044707"/>
                <a:gd name="connsiteY7894" fmla="*/ 1379405 h 2907193"/>
                <a:gd name="connsiteX7895" fmla="*/ 2174473 w 4044707"/>
                <a:gd name="connsiteY7895" fmla="*/ 1379647 h 2907193"/>
                <a:gd name="connsiteX7896" fmla="*/ 2172476 w 4044707"/>
                <a:gd name="connsiteY7896" fmla="*/ 1381734 h 2907193"/>
                <a:gd name="connsiteX7897" fmla="*/ 2171599 w 4044707"/>
                <a:gd name="connsiteY7897" fmla="*/ 1383368 h 2907193"/>
                <a:gd name="connsiteX7898" fmla="*/ 2169723 w 4044707"/>
                <a:gd name="connsiteY7898" fmla="*/ 1384790 h 2907193"/>
                <a:gd name="connsiteX7899" fmla="*/ 2168755 w 4044707"/>
                <a:gd name="connsiteY7899" fmla="*/ 1385788 h 2907193"/>
                <a:gd name="connsiteX7900" fmla="*/ 2167969 w 4044707"/>
                <a:gd name="connsiteY7900" fmla="*/ 1387028 h 2907193"/>
                <a:gd name="connsiteX7901" fmla="*/ 2166305 w 4044707"/>
                <a:gd name="connsiteY7901" fmla="*/ 1390991 h 2907193"/>
                <a:gd name="connsiteX7902" fmla="*/ 2164732 w 4044707"/>
                <a:gd name="connsiteY7902" fmla="*/ 1393593 h 2907193"/>
                <a:gd name="connsiteX7903" fmla="*/ 2161283 w 4044707"/>
                <a:gd name="connsiteY7903" fmla="*/ 1397798 h 2907193"/>
                <a:gd name="connsiteX7904" fmla="*/ 2159771 w 4044707"/>
                <a:gd name="connsiteY7904" fmla="*/ 1400974 h 2907193"/>
                <a:gd name="connsiteX7905" fmla="*/ 2160648 w 4044707"/>
                <a:gd name="connsiteY7905" fmla="*/ 1403001 h 2907193"/>
                <a:gd name="connsiteX7906" fmla="*/ 2160799 w 4044707"/>
                <a:gd name="connsiteY7906" fmla="*/ 1405633 h 2907193"/>
                <a:gd name="connsiteX7907" fmla="*/ 2160588 w 4044707"/>
                <a:gd name="connsiteY7907" fmla="*/ 1407841 h 2907193"/>
                <a:gd name="connsiteX7908" fmla="*/ 2160376 w 4044707"/>
                <a:gd name="connsiteY7908" fmla="*/ 1408628 h 2907193"/>
                <a:gd name="connsiteX7909" fmla="*/ 2161707 w 4044707"/>
                <a:gd name="connsiteY7909" fmla="*/ 1411199 h 2907193"/>
                <a:gd name="connsiteX7910" fmla="*/ 2163038 w 4044707"/>
                <a:gd name="connsiteY7910" fmla="*/ 1411260 h 2907193"/>
                <a:gd name="connsiteX7911" fmla="*/ 2164611 w 4044707"/>
                <a:gd name="connsiteY7911" fmla="*/ 1410413 h 2907193"/>
                <a:gd name="connsiteX7912" fmla="*/ 2166608 w 4044707"/>
                <a:gd name="connsiteY7912" fmla="*/ 1410322 h 2907193"/>
                <a:gd name="connsiteX7913" fmla="*/ 2165337 w 4044707"/>
                <a:gd name="connsiteY7913" fmla="*/ 1415374 h 2907193"/>
                <a:gd name="connsiteX7914" fmla="*/ 2164550 w 4044707"/>
                <a:gd name="connsiteY7914" fmla="*/ 1420335 h 2907193"/>
                <a:gd name="connsiteX7915" fmla="*/ 2165337 w 4044707"/>
                <a:gd name="connsiteY7915" fmla="*/ 1424117 h 2907193"/>
                <a:gd name="connsiteX7916" fmla="*/ 2168755 w 4044707"/>
                <a:gd name="connsiteY7916" fmla="*/ 1425569 h 2907193"/>
                <a:gd name="connsiteX7917" fmla="*/ 2171599 w 4044707"/>
                <a:gd name="connsiteY7917" fmla="*/ 1423693 h 2907193"/>
                <a:gd name="connsiteX7918" fmla="*/ 2175986 w 4044707"/>
                <a:gd name="connsiteY7918" fmla="*/ 1415465 h 2907193"/>
                <a:gd name="connsiteX7919" fmla="*/ 2178376 w 4044707"/>
                <a:gd name="connsiteY7919" fmla="*/ 1413347 h 2907193"/>
                <a:gd name="connsiteX7920" fmla="*/ 2177559 w 4044707"/>
                <a:gd name="connsiteY7920" fmla="*/ 1418127 h 2907193"/>
                <a:gd name="connsiteX7921" fmla="*/ 2175804 w 4044707"/>
                <a:gd name="connsiteY7921" fmla="*/ 1420970 h 2907193"/>
                <a:gd name="connsiteX7922" fmla="*/ 2173626 w 4044707"/>
                <a:gd name="connsiteY7922" fmla="*/ 1423451 h 2907193"/>
                <a:gd name="connsiteX7923" fmla="*/ 2171478 w 4044707"/>
                <a:gd name="connsiteY7923" fmla="*/ 1427111 h 2907193"/>
                <a:gd name="connsiteX7924" fmla="*/ 2176379 w 4044707"/>
                <a:gd name="connsiteY7924" fmla="*/ 1429229 h 2907193"/>
                <a:gd name="connsiteX7925" fmla="*/ 2178739 w 4044707"/>
                <a:gd name="connsiteY7925" fmla="*/ 1424177 h 2907193"/>
                <a:gd name="connsiteX7926" fmla="*/ 2180221 w 4044707"/>
                <a:gd name="connsiteY7926" fmla="*/ 1416765 h 2907193"/>
                <a:gd name="connsiteX7927" fmla="*/ 2182490 w 4044707"/>
                <a:gd name="connsiteY7927" fmla="*/ 1411834 h 2907193"/>
                <a:gd name="connsiteX7928" fmla="*/ 2182308 w 4044707"/>
                <a:gd name="connsiteY7928" fmla="*/ 1416342 h 2907193"/>
                <a:gd name="connsiteX7929" fmla="*/ 2183004 w 4044707"/>
                <a:gd name="connsiteY7929" fmla="*/ 1420910 h 2907193"/>
                <a:gd name="connsiteX7930" fmla="*/ 2184486 w 4044707"/>
                <a:gd name="connsiteY7930" fmla="*/ 1424389 h 2907193"/>
                <a:gd name="connsiteX7931" fmla="*/ 2186634 w 4044707"/>
                <a:gd name="connsiteY7931" fmla="*/ 1425629 h 2907193"/>
                <a:gd name="connsiteX7932" fmla="*/ 2184396 w 4044707"/>
                <a:gd name="connsiteY7932" fmla="*/ 1427111 h 2907193"/>
                <a:gd name="connsiteX7933" fmla="*/ 2182369 w 4044707"/>
                <a:gd name="connsiteY7933" fmla="*/ 1427716 h 2907193"/>
                <a:gd name="connsiteX7934" fmla="*/ 2181491 w 4044707"/>
                <a:gd name="connsiteY7934" fmla="*/ 1428957 h 2907193"/>
                <a:gd name="connsiteX7935" fmla="*/ 2182822 w 4044707"/>
                <a:gd name="connsiteY7935" fmla="*/ 1432436 h 2907193"/>
                <a:gd name="connsiteX7936" fmla="*/ 2184698 w 4044707"/>
                <a:gd name="connsiteY7936" fmla="*/ 1434553 h 2907193"/>
                <a:gd name="connsiteX7937" fmla="*/ 2188449 w 4044707"/>
                <a:gd name="connsiteY7937" fmla="*/ 1434674 h 2907193"/>
                <a:gd name="connsiteX7938" fmla="*/ 2190779 w 4044707"/>
                <a:gd name="connsiteY7938" fmla="*/ 1436308 h 2907193"/>
                <a:gd name="connsiteX7939" fmla="*/ 2189478 w 4044707"/>
                <a:gd name="connsiteY7939" fmla="*/ 1436883 h 2907193"/>
                <a:gd name="connsiteX7940" fmla="*/ 2187148 w 4044707"/>
                <a:gd name="connsiteY7940" fmla="*/ 1438758 h 2907193"/>
                <a:gd name="connsiteX7941" fmla="*/ 2185908 w 4044707"/>
                <a:gd name="connsiteY7941" fmla="*/ 1439333 h 2907193"/>
                <a:gd name="connsiteX7942" fmla="*/ 2185908 w 4044707"/>
                <a:gd name="connsiteY7942" fmla="*/ 1440997 h 2907193"/>
                <a:gd name="connsiteX7943" fmla="*/ 2199249 w 4044707"/>
                <a:gd name="connsiteY7943" fmla="*/ 1439182 h 2907193"/>
                <a:gd name="connsiteX7944" fmla="*/ 2203212 w 4044707"/>
                <a:gd name="connsiteY7944" fmla="*/ 1440997 h 2907193"/>
                <a:gd name="connsiteX7945" fmla="*/ 2190083 w 4044707"/>
                <a:gd name="connsiteY7945" fmla="*/ 1443084 h 2907193"/>
                <a:gd name="connsiteX7946" fmla="*/ 2188026 w 4044707"/>
                <a:gd name="connsiteY7946" fmla="*/ 1447077 h 2907193"/>
                <a:gd name="connsiteX7947" fmla="*/ 2189175 w 4044707"/>
                <a:gd name="connsiteY7947" fmla="*/ 1450617 h 2907193"/>
                <a:gd name="connsiteX7948" fmla="*/ 2196345 w 4044707"/>
                <a:gd name="connsiteY7948" fmla="*/ 1460751 h 2907193"/>
                <a:gd name="connsiteX7949" fmla="*/ 2193198 w 4044707"/>
                <a:gd name="connsiteY7949" fmla="*/ 1458724 h 2907193"/>
                <a:gd name="connsiteX7950" fmla="*/ 2188026 w 4044707"/>
                <a:gd name="connsiteY7950" fmla="*/ 1449558 h 2907193"/>
                <a:gd name="connsiteX7951" fmla="*/ 2185303 w 4044707"/>
                <a:gd name="connsiteY7951" fmla="*/ 1447077 h 2907193"/>
                <a:gd name="connsiteX7952" fmla="*/ 2184244 w 4044707"/>
                <a:gd name="connsiteY7952" fmla="*/ 1447622 h 2907193"/>
                <a:gd name="connsiteX7953" fmla="*/ 2183397 w 4044707"/>
                <a:gd name="connsiteY7953" fmla="*/ 1450284 h 2907193"/>
                <a:gd name="connsiteX7954" fmla="*/ 2182490 w 4044707"/>
                <a:gd name="connsiteY7954" fmla="*/ 1450133 h 2907193"/>
                <a:gd name="connsiteX7955" fmla="*/ 2181975 w 4044707"/>
                <a:gd name="connsiteY7955" fmla="*/ 1449074 h 2907193"/>
                <a:gd name="connsiteX7956" fmla="*/ 2181975 w 4044707"/>
                <a:gd name="connsiteY7956" fmla="*/ 1447773 h 2907193"/>
                <a:gd name="connsiteX7957" fmla="*/ 2182066 w 4044707"/>
                <a:gd name="connsiteY7957" fmla="*/ 1446472 h 2907193"/>
                <a:gd name="connsiteX7958" fmla="*/ 2181794 w 4044707"/>
                <a:gd name="connsiteY7958" fmla="*/ 1445474 h 2907193"/>
                <a:gd name="connsiteX7959" fmla="*/ 2179918 w 4044707"/>
                <a:gd name="connsiteY7959" fmla="*/ 1443871 h 2907193"/>
                <a:gd name="connsiteX7960" fmla="*/ 2177861 w 4044707"/>
                <a:gd name="connsiteY7960" fmla="*/ 1443508 h 2907193"/>
                <a:gd name="connsiteX7961" fmla="*/ 2172900 w 4044707"/>
                <a:gd name="connsiteY7961" fmla="*/ 1443992 h 2907193"/>
                <a:gd name="connsiteX7962" fmla="*/ 2173898 w 4044707"/>
                <a:gd name="connsiteY7962" fmla="*/ 1447168 h 2907193"/>
                <a:gd name="connsiteX7963" fmla="*/ 2176530 w 4044707"/>
                <a:gd name="connsiteY7963" fmla="*/ 1450587 h 2907193"/>
                <a:gd name="connsiteX7964" fmla="*/ 2177770 w 4044707"/>
                <a:gd name="connsiteY7964" fmla="*/ 1453097 h 2907193"/>
                <a:gd name="connsiteX7965" fmla="*/ 2178466 w 4044707"/>
                <a:gd name="connsiteY7965" fmla="*/ 1456123 h 2907193"/>
                <a:gd name="connsiteX7966" fmla="*/ 2178890 w 4044707"/>
                <a:gd name="connsiteY7966" fmla="*/ 1460449 h 2907193"/>
                <a:gd name="connsiteX7967" fmla="*/ 2179797 w 4044707"/>
                <a:gd name="connsiteY7967" fmla="*/ 1462324 h 2907193"/>
                <a:gd name="connsiteX7968" fmla="*/ 2183427 w 4044707"/>
                <a:gd name="connsiteY7968" fmla="*/ 1463564 h 2907193"/>
                <a:gd name="connsiteX7969" fmla="*/ 2187541 w 4044707"/>
                <a:gd name="connsiteY7969" fmla="*/ 1463746 h 2907193"/>
                <a:gd name="connsiteX7970" fmla="*/ 2191414 w 4044707"/>
                <a:gd name="connsiteY7970" fmla="*/ 1464381 h 2907193"/>
                <a:gd name="connsiteX7971" fmla="*/ 2194318 w 4044707"/>
                <a:gd name="connsiteY7971" fmla="*/ 1469887 h 2907193"/>
                <a:gd name="connsiteX7972" fmla="*/ 2192594 w 4044707"/>
                <a:gd name="connsiteY7972" fmla="*/ 1471490 h 2907193"/>
                <a:gd name="connsiteX7973" fmla="*/ 2190779 w 4044707"/>
                <a:gd name="connsiteY7973" fmla="*/ 1470795 h 2907193"/>
                <a:gd name="connsiteX7974" fmla="*/ 2189084 w 4044707"/>
                <a:gd name="connsiteY7974" fmla="*/ 1468677 h 2907193"/>
                <a:gd name="connsiteX7975" fmla="*/ 2187693 w 4044707"/>
                <a:gd name="connsiteY7975" fmla="*/ 1466015 h 2907193"/>
                <a:gd name="connsiteX7976" fmla="*/ 2185182 w 4044707"/>
                <a:gd name="connsiteY7976" fmla="*/ 1464351 h 2907193"/>
                <a:gd name="connsiteX7977" fmla="*/ 2176712 w 4044707"/>
                <a:gd name="connsiteY7977" fmla="*/ 1463806 h 2907193"/>
                <a:gd name="connsiteX7978" fmla="*/ 2176349 w 4044707"/>
                <a:gd name="connsiteY7978" fmla="*/ 1463322 h 2907193"/>
                <a:gd name="connsiteX7979" fmla="*/ 2176076 w 4044707"/>
                <a:gd name="connsiteY7979" fmla="*/ 1462264 h 2907193"/>
                <a:gd name="connsiteX7980" fmla="*/ 2175683 w 4044707"/>
                <a:gd name="connsiteY7980" fmla="*/ 1461205 h 2907193"/>
                <a:gd name="connsiteX7981" fmla="*/ 2174957 w 4044707"/>
                <a:gd name="connsiteY7981" fmla="*/ 1460751 h 2907193"/>
                <a:gd name="connsiteX7982" fmla="*/ 2174231 w 4044707"/>
                <a:gd name="connsiteY7982" fmla="*/ 1461114 h 2907193"/>
                <a:gd name="connsiteX7983" fmla="*/ 2168271 w 4044707"/>
                <a:gd name="connsiteY7983" fmla="*/ 1466559 h 2907193"/>
                <a:gd name="connsiteX7984" fmla="*/ 2166819 w 4044707"/>
                <a:gd name="connsiteY7984" fmla="*/ 1468647 h 2907193"/>
                <a:gd name="connsiteX7985" fmla="*/ 2166002 w 4044707"/>
                <a:gd name="connsiteY7985" fmla="*/ 1471460 h 2907193"/>
                <a:gd name="connsiteX7986" fmla="*/ 2170994 w 4044707"/>
                <a:gd name="connsiteY7986" fmla="*/ 1468284 h 2907193"/>
                <a:gd name="connsiteX7987" fmla="*/ 2172870 w 4044707"/>
                <a:gd name="connsiteY7987" fmla="*/ 1468284 h 2907193"/>
                <a:gd name="connsiteX7988" fmla="*/ 2170117 w 4044707"/>
                <a:gd name="connsiteY7988" fmla="*/ 1473426 h 2907193"/>
                <a:gd name="connsiteX7989" fmla="*/ 2166577 w 4044707"/>
                <a:gd name="connsiteY7989" fmla="*/ 1474485 h 2907193"/>
                <a:gd name="connsiteX7990" fmla="*/ 2162735 w 4044707"/>
                <a:gd name="connsiteY7990" fmla="*/ 1474364 h 2907193"/>
                <a:gd name="connsiteX7991" fmla="*/ 2159105 w 4044707"/>
                <a:gd name="connsiteY7991" fmla="*/ 1475877 h 2907193"/>
                <a:gd name="connsiteX7992" fmla="*/ 2157926 w 4044707"/>
                <a:gd name="connsiteY7992" fmla="*/ 1477510 h 2907193"/>
                <a:gd name="connsiteX7993" fmla="*/ 2156050 w 4044707"/>
                <a:gd name="connsiteY7993" fmla="*/ 1481685 h 2907193"/>
                <a:gd name="connsiteX7994" fmla="*/ 2154900 w 4044707"/>
                <a:gd name="connsiteY7994" fmla="*/ 1483561 h 2907193"/>
                <a:gd name="connsiteX7995" fmla="*/ 2150544 w 4044707"/>
                <a:gd name="connsiteY7995" fmla="*/ 1488582 h 2907193"/>
                <a:gd name="connsiteX7996" fmla="*/ 2149334 w 4044707"/>
                <a:gd name="connsiteY7996" fmla="*/ 1491124 h 2907193"/>
                <a:gd name="connsiteX7997" fmla="*/ 2152450 w 4044707"/>
                <a:gd name="connsiteY7997" fmla="*/ 1491426 h 2907193"/>
                <a:gd name="connsiteX7998" fmla="*/ 2154810 w 4044707"/>
                <a:gd name="connsiteY7998" fmla="*/ 1488673 h 2907193"/>
                <a:gd name="connsiteX7999" fmla="*/ 2156927 w 4044707"/>
                <a:gd name="connsiteY7999" fmla="*/ 1485255 h 2907193"/>
                <a:gd name="connsiteX8000" fmla="*/ 2159408 w 4044707"/>
                <a:gd name="connsiteY8000" fmla="*/ 1483591 h 2907193"/>
                <a:gd name="connsiteX8001" fmla="*/ 2168514 w 4044707"/>
                <a:gd name="connsiteY8001" fmla="*/ 1482351 h 2907193"/>
                <a:gd name="connsiteX8002" fmla="*/ 2171448 w 4044707"/>
                <a:gd name="connsiteY8002" fmla="*/ 1483591 h 2907193"/>
                <a:gd name="connsiteX8003" fmla="*/ 2171206 w 4044707"/>
                <a:gd name="connsiteY8003" fmla="*/ 1484408 h 2907193"/>
                <a:gd name="connsiteX8004" fmla="*/ 2170752 w 4044707"/>
                <a:gd name="connsiteY8004" fmla="*/ 1486616 h 2907193"/>
                <a:gd name="connsiteX8005" fmla="*/ 2172416 w 4044707"/>
                <a:gd name="connsiteY8005" fmla="*/ 1486344 h 2907193"/>
                <a:gd name="connsiteX8006" fmla="*/ 2175229 w 4044707"/>
                <a:gd name="connsiteY8006" fmla="*/ 1484135 h 2907193"/>
                <a:gd name="connsiteX8007" fmla="*/ 2176621 w 4044707"/>
                <a:gd name="connsiteY8007" fmla="*/ 1483591 h 2907193"/>
                <a:gd name="connsiteX8008" fmla="*/ 2183821 w 4044707"/>
                <a:gd name="connsiteY8008" fmla="*/ 1485103 h 2907193"/>
                <a:gd name="connsiteX8009" fmla="*/ 2193138 w 4044707"/>
                <a:gd name="connsiteY8009" fmla="*/ 1484740 h 2907193"/>
                <a:gd name="connsiteX8010" fmla="*/ 2196284 w 4044707"/>
                <a:gd name="connsiteY8010" fmla="*/ 1486616 h 2907193"/>
                <a:gd name="connsiteX8011" fmla="*/ 2192745 w 4044707"/>
                <a:gd name="connsiteY8011" fmla="*/ 1487705 h 2907193"/>
                <a:gd name="connsiteX8012" fmla="*/ 2176953 w 4044707"/>
                <a:gd name="connsiteY8012" fmla="*/ 1487372 h 2907193"/>
                <a:gd name="connsiteX8013" fmla="*/ 2175744 w 4044707"/>
                <a:gd name="connsiteY8013" fmla="*/ 1489581 h 2907193"/>
                <a:gd name="connsiteX8014" fmla="*/ 2172930 w 4044707"/>
                <a:gd name="connsiteY8014" fmla="*/ 1489671 h 2907193"/>
                <a:gd name="connsiteX8015" fmla="*/ 2167999 w 4044707"/>
                <a:gd name="connsiteY8015" fmla="*/ 1488129 h 2907193"/>
                <a:gd name="connsiteX8016" fmla="*/ 2165730 w 4044707"/>
                <a:gd name="connsiteY8016" fmla="*/ 1488219 h 2907193"/>
                <a:gd name="connsiteX8017" fmla="*/ 2163885 w 4044707"/>
                <a:gd name="connsiteY8017" fmla="*/ 1489157 h 2907193"/>
                <a:gd name="connsiteX8018" fmla="*/ 2160376 w 4044707"/>
                <a:gd name="connsiteY8018" fmla="*/ 1492636 h 2907193"/>
                <a:gd name="connsiteX8019" fmla="*/ 2160376 w 4044707"/>
                <a:gd name="connsiteY8019" fmla="*/ 1494149 h 2907193"/>
                <a:gd name="connsiteX8020" fmla="*/ 2162675 w 4044707"/>
                <a:gd name="connsiteY8020" fmla="*/ 1493816 h 2907193"/>
                <a:gd name="connsiteX8021" fmla="*/ 2166608 w 4044707"/>
                <a:gd name="connsiteY8021" fmla="*/ 1491880 h 2907193"/>
                <a:gd name="connsiteX8022" fmla="*/ 2168755 w 4044707"/>
                <a:gd name="connsiteY8022" fmla="*/ 1492636 h 2907193"/>
                <a:gd name="connsiteX8023" fmla="*/ 2168755 w 4044707"/>
                <a:gd name="connsiteY8023" fmla="*/ 1495510 h 2907193"/>
                <a:gd name="connsiteX8024" fmla="*/ 2170087 w 4044707"/>
                <a:gd name="connsiteY8024" fmla="*/ 1497144 h 2907193"/>
                <a:gd name="connsiteX8025" fmla="*/ 2171085 w 4044707"/>
                <a:gd name="connsiteY8025" fmla="*/ 1497930 h 2907193"/>
                <a:gd name="connsiteX8026" fmla="*/ 2173747 w 4044707"/>
                <a:gd name="connsiteY8026" fmla="*/ 1498565 h 2907193"/>
                <a:gd name="connsiteX8027" fmla="*/ 2174927 w 4044707"/>
                <a:gd name="connsiteY8027" fmla="*/ 1498565 h 2907193"/>
                <a:gd name="connsiteX8028" fmla="*/ 2172053 w 4044707"/>
                <a:gd name="connsiteY8028" fmla="*/ 1502407 h 2907193"/>
                <a:gd name="connsiteX8029" fmla="*/ 2163098 w 4044707"/>
                <a:gd name="connsiteY8029" fmla="*/ 1503587 h 2907193"/>
                <a:gd name="connsiteX8030" fmla="*/ 2161797 w 4044707"/>
                <a:gd name="connsiteY8030" fmla="*/ 1509214 h 2907193"/>
                <a:gd name="connsiteX8031" fmla="*/ 2163946 w 4044707"/>
                <a:gd name="connsiteY8031" fmla="*/ 1511241 h 2907193"/>
                <a:gd name="connsiteX8032" fmla="*/ 2167848 w 4044707"/>
                <a:gd name="connsiteY8032" fmla="*/ 1511967 h 2907193"/>
                <a:gd name="connsiteX8033" fmla="*/ 2175290 w 4044707"/>
                <a:gd name="connsiteY8033" fmla="*/ 1510696 h 2907193"/>
                <a:gd name="connsiteX8034" fmla="*/ 2176500 w 4044707"/>
                <a:gd name="connsiteY8034" fmla="*/ 1510000 h 2907193"/>
                <a:gd name="connsiteX8035" fmla="*/ 2179132 w 4044707"/>
                <a:gd name="connsiteY8035" fmla="*/ 1506884 h 2907193"/>
                <a:gd name="connsiteX8036" fmla="*/ 2180402 w 4044707"/>
                <a:gd name="connsiteY8036" fmla="*/ 1506189 h 2907193"/>
                <a:gd name="connsiteX8037" fmla="*/ 2181915 w 4044707"/>
                <a:gd name="connsiteY8037" fmla="*/ 1505886 h 2907193"/>
                <a:gd name="connsiteX8038" fmla="*/ 2191928 w 4044707"/>
                <a:gd name="connsiteY8038" fmla="*/ 1499443 h 2907193"/>
                <a:gd name="connsiteX8039" fmla="*/ 2207750 w 4044707"/>
                <a:gd name="connsiteY8039" fmla="*/ 1482078 h 2907193"/>
                <a:gd name="connsiteX8040" fmla="*/ 2209777 w 4044707"/>
                <a:gd name="connsiteY8040" fmla="*/ 1478781 h 2907193"/>
                <a:gd name="connsiteX8041" fmla="*/ 2210896 w 4044707"/>
                <a:gd name="connsiteY8041" fmla="*/ 1477389 h 2907193"/>
                <a:gd name="connsiteX8042" fmla="*/ 2214889 w 4044707"/>
                <a:gd name="connsiteY8042" fmla="*/ 1473789 h 2907193"/>
                <a:gd name="connsiteX8043" fmla="*/ 2218459 w 4044707"/>
                <a:gd name="connsiteY8043" fmla="*/ 1469100 h 2907193"/>
                <a:gd name="connsiteX8044" fmla="*/ 2219275 w 4044707"/>
                <a:gd name="connsiteY8044" fmla="*/ 1470280 h 2907193"/>
                <a:gd name="connsiteX8045" fmla="*/ 2218368 w 4044707"/>
                <a:gd name="connsiteY8045" fmla="*/ 1473699 h 2907193"/>
                <a:gd name="connsiteX8046" fmla="*/ 2209020 w 4044707"/>
                <a:gd name="connsiteY8046" fmla="*/ 1486707 h 2907193"/>
                <a:gd name="connsiteX8047" fmla="*/ 2206993 w 4044707"/>
                <a:gd name="connsiteY8047" fmla="*/ 1488098 h 2907193"/>
                <a:gd name="connsiteX8048" fmla="*/ 2205935 w 4044707"/>
                <a:gd name="connsiteY8048" fmla="*/ 1489248 h 2907193"/>
                <a:gd name="connsiteX8049" fmla="*/ 2205299 w 4044707"/>
                <a:gd name="connsiteY8049" fmla="*/ 1491789 h 2907193"/>
                <a:gd name="connsiteX8050" fmla="*/ 2204815 w 4044707"/>
                <a:gd name="connsiteY8050" fmla="*/ 1494330 h 2907193"/>
                <a:gd name="connsiteX8051" fmla="*/ 2204240 w 4044707"/>
                <a:gd name="connsiteY8051" fmla="*/ 1495480 h 2907193"/>
                <a:gd name="connsiteX8052" fmla="*/ 2202637 w 4044707"/>
                <a:gd name="connsiteY8052" fmla="*/ 1495964 h 2907193"/>
                <a:gd name="connsiteX8053" fmla="*/ 2196708 w 4044707"/>
                <a:gd name="connsiteY8053" fmla="*/ 1501893 h 2907193"/>
                <a:gd name="connsiteX8054" fmla="*/ 2192866 w 4044707"/>
                <a:gd name="connsiteY8054" fmla="*/ 1507520 h 2907193"/>
                <a:gd name="connsiteX8055" fmla="*/ 2190960 w 4044707"/>
                <a:gd name="connsiteY8055" fmla="*/ 1508548 h 2907193"/>
                <a:gd name="connsiteX8056" fmla="*/ 2188842 w 4044707"/>
                <a:gd name="connsiteY8056" fmla="*/ 1508760 h 2907193"/>
                <a:gd name="connsiteX8057" fmla="*/ 2186846 w 4044707"/>
                <a:gd name="connsiteY8057" fmla="*/ 1509577 h 2907193"/>
                <a:gd name="connsiteX8058" fmla="*/ 2185333 w 4044707"/>
                <a:gd name="connsiteY8058" fmla="*/ 1512300 h 2907193"/>
                <a:gd name="connsiteX8059" fmla="*/ 2186332 w 4044707"/>
                <a:gd name="connsiteY8059" fmla="*/ 1512118 h 2907193"/>
                <a:gd name="connsiteX8060" fmla="*/ 2187178 w 4044707"/>
                <a:gd name="connsiteY8060" fmla="*/ 1512420 h 2907193"/>
                <a:gd name="connsiteX8061" fmla="*/ 2188782 w 4044707"/>
                <a:gd name="connsiteY8061" fmla="*/ 1513631 h 2907193"/>
                <a:gd name="connsiteX8062" fmla="*/ 2185787 w 4044707"/>
                <a:gd name="connsiteY8062" fmla="*/ 1514810 h 2907193"/>
                <a:gd name="connsiteX8063" fmla="*/ 2175834 w 4044707"/>
                <a:gd name="connsiteY8063" fmla="*/ 1515839 h 2907193"/>
                <a:gd name="connsiteX8064" fmla="*/ 2173686 w 4044707"/>
                <a:gd name="connsiteY8064" fmla="*/ 1517533 h 2907193"/>
                <a:gd name="connsiteX8065" fmla="*/ 2172234 w 4044707"/>
                <a:gd name="connsiteY8065" fmla="*/ 1522857 h 2907193"/>
                <a:gd name="connsiteX8066" fmla="*/ 2168877 w 4044707"/>
                <a:gd name="connsiteY8066" fmla="*/ 1523886 h 2907193"/>
                <a:gd name="connsiteX8067" fmla="*/ 2161919 w 4044707"/>
                <a:gd name="connsiteY8067" fmla="*/ 1522645 h 2907193"/>
                <a:gd name="connsiteX8068" fmla="*/ 2158924 w 4044707"/>
                <a:gd name="connsiteY8068" fmla="*/ 1524370 h 2907193"/>
                <a:gd name="connsiteX8069" fmla="*/ 2153055 w 4044707"/>
                <a:gd name="connsiteY8069" fmla="*/ 1529271 h 2907193"/>
                <a:gd name="connsiteX8070" fmla="*/ 2144222 w 4044707"/>
                <a:gd name="connsiteY8070" fmla="*/ 1531388 h 2907193"/>
                <a:gd name="connsiteX8071" fmla="*/ 2143344 w 4044707"/>
                <a:gd name="connsiteY8071" fmla="*/ 1532447 h 2907193"/>
                <a:gd name="connsiteX8072" fmla="*/ 2143586 w 4044707"/>
                <a:gd name="connsiteY8072" fmla="*/ 1534867 h 2907193"/>
                <a:gd name="connsiteX8073" fmla="*/ 2144222 w 4044707"/>
                <a:gd name="connsiteY8073" fmla="*/ 1536743 h 2907193"/>
                <a:gd name="connsiteX8074" fmla="*/ 2145099 w 4044707"/>
                <a:gd name="connsiteY8074" fmla="*/ 1538164 h 2907193"/>
                <a:gd name="connsiteX8075" fmla="*/ 2146037 w 4044707"/>
                <a:gd name="connsiteY8075" fmla="*/ 1539254 h 2907193"/>
                <a:gd name="connsiteX8076" fmla="*/ 2145643 w 4044707"/>
                <a:gd name="connsiteY8076" fmla="*/ 1541129 h 2907193"/>
                <a:gd name="connsiteX8077" fmla="*/ 2145069 w 4044707"/>
                <a:gd name="connsiteY8077" fmla="*/ 1542611 h 2907193"/>
                <a:gd name="connsiteX8078" fmla="*/ 2145069 w 4044707"/>
                <a:gd name="connsiteY8078" fmla="*/ 1542611 h 2907193"/>
                <a:gd name="connsiteX8079" fmla="*/ 2144312 w 4044707"/>
                <a:gd name="connsiteY8079" fmla="*/ 1543579 h 2907193"/>
                <a:gd name="connsiteX8080" fmla="*/ 2143344 w 4044707"/>
                <a:gd name="connsiteY8080" fmla="*/ 1543761 h 2907193"/>
                <a:gd name="connsiteX8081" fmla="*/ 2142225 w 4044707"/>
                <a:gd name="connsiteY8081" fmla="*/ 1542944 h 2907193"/>
                <a:gd name="connsiteX8082" fmla="*/ 2142164 w 4044707"/>
                <a:gd name="connsiteY8082" fmla="*/ 1541674 h 2907193"/>
                <a:gd name="connsiteX8083" fmla="*/ 2142497 w 4044707"/>
                <a:gd name="connsiteY8083" fmla="*/ 1540312 h 2907193"/>
                <a:gd name="connsiteX8084" fmla="*/ 2142497 w 4044707"/>
                <a:gd name="connsiteY8084" fmla="*/ 1539980 h 2907193"/>
                <a:gd name="connsiteX8085" fmla="*/ 2142588 w 4044707"/>
                <a:gd name="connsiteY8085" fmla="*/ 1539223 h 2907193"/>
                <a:gd name="connsiteX8086" fmla="*/ 2141469 w 4044707"/>
                <a:gd name="connsiteY8086" fmla="*/ 1536198 h 2907193"/>
                <a:gd name="connsiteX8087" fmla="*/ 2140198 w 4044707"/>
                <a:gd name="connsiteY8087" fmla="*/ 1533778 h 2907193"/>
                <a:gd name="connsiteX8088" fmla="*/ 2138565 w 4044707"/>
                <a:gd name="connsiteY8088" fmla="*/ 1532205 h 2907193"/>
                <a:gd name="connsiteX8089" fmla="*/ 2136417 w 4044707"/>
                <a:gd name="connsiteY8089" fmla="*/ 1531630 h 2907193"/>
                <a:gd name="connsiteX8090" fmla="*/ 2135207 w 4044707"/>
                <a:gd name="connsiteY8090" fmla="*/ 1532235 h 2907193"/>
                <a:gd name="connsiteX8091" fmla="*/ 2133845 w 4044707"/>
                <a:gd name="connsiteY8091" fmla="*/ 1533354 h 2907193"/>
                <a:gd name="connsiteX8092" fmla="*/ 2132423 w 4044707"/>
                <a:gd name="connsiteY8092" fmla="*/ 1533778 h 2907193"/>
                <a:gd name="connsiteX8093" fmla="*/ 2131183 w 4044707"/>
                <a:gd name="connsiteY8093" fmla="*/ 1532447 h 2907193"/>
                <a:gd name="connsiteX8094" fmla="*/ 2131123 w 4044707"/>
                <a:gd name="connsiteY8094" fmla="*/ 1531328 h 2907193"/>
                <a:gd name="connsiteX8095" fmla="*/ 2130850 w 4044707"/>
                <a:gd name="connsiteY8095" fmla="*/ 1529271 h 2907193"/>
                <a:gd name="connsiteX8096" fmla="*/ 2130245 w 4044707"/>
                <a:gd name="connsiteY8096" fmla="*/ 1528060 h 2907193"/>
                <a:gd name="connsiteX8097" fmla="*/ 2129126 w 4044707"/>
                <a:gd name="connsiteY8097" fmla="*/ 1529513 h 2907193"/>
                <a:gd name="connsiteX8098" fmla="*/ 2128672 w 4044707"/>
                <a:gd name="connsiteY8098" fmla="*/ 1531146 h 2907193"/>
                <a:gd name="connsiteX8099" fmla="*/ 2127916 w 4044707"/>
                <a:gd name="connsiteY8099" fmla="*/ 1534474 h 2907193"/>
                <a:gd name="connsiteX8100" fmla="*/ 2127371 w 4044707"/>
                <a:gd name="connsiteY8100" fmla="*/ 1535593 h 2907193"/>
                <a:gd name="connsiteX8101" fmla="*/ 2126313 w 4044707"/>
                <a:gd name="connsiteY8101" fmla="*/ 1535956 h 2907193"/>
                <a:gd name="connsiteX8102" fmla="*/ 2125768 w 4044707"/>
                <a:gd name="connsiteY8102" fmla="*/ 1534565 h 2907193"/>
                <a:gd name="connsiteX8103" fmla="*/ 2125677 w 4044707"/>
                <a:gd name="connsiteY8103" fmla="*/ 1532356 h 2907193"/>
                <a:gd name="connsiteX8104" fmla="*/ 2125980 w 4044707"/>
                <a:gd name="connsiteY8104" fmla="*/ 1530299 h 2907193"/>
                <a:gd name="connsiteX8105" fmla="*/ 2122561 w 4044707"/>
                <a:gd name="connsiteY8105" fmla="*/ 1527365 h 2907193"/>
                <a:gd name="connsiteX8106" fmla="*/ 2118992 w 4044707"/>
                <a:gd name="connsiteY8106" fmla="*/ 1528756 h 2907193"/>
                <a:gd name="connsiteX8107" fmla="*/ 2115422 w 4044707"/>
                <a:gd name="connsiteY8107" fmla="*/ 1531660 h 2907193"/>
                <a:gd name="connsiteX8108" fmla="*/ 2111913 w 4044707"/>
                <a:gd name="connsiteY8108" fmla="*/ 1533233 h 2907193"/>
                <a:gd name="connsiteX8109" fmla="*/ 2106044 w 4044707"/>
                <a:gd name="connsiteY8109" fmla="*/ 1538467 h 2907193"/>
                <a:gd name="connsiteX8110" fmla="*/ 2104743 w 4044707"/>
                <a:gd name="connsiteY8110" fmla="*/ 1540736 h 2907193"/>
                <a:gd name="connsiteX8111" fmla="*/ 2105046 w 4044707"/>
                <a:gd name="connsiteY8111" fmla="*/ 1542702 h 2907193"/>
                <a:gd name="connsiteX8112" fmla="*/ 2106377 w 4044707"/>
                <a:gd name="connsiteY8112" fmla="*/ 1544275 h 2907193"/>
                <a:gd name="connsiteX8113" fmla="*/ 2108131 w 4044707"/>
                <a:gd name="connsiteY8113" fmla="*/ 1545334 h 2907193"/>
                <a:gd name="connsiteX8114" fmla="*/ 2106649 w 4044707"/>
                <a:gd name="connsiteY8114" fmla="*/ 1546514 h 2907193"/>
                <a:gd name="connsiteX8115" fmla="*/ 2102233 w 4044707"/>
                <a:gd name="connsiteY8115" fmla="*/ 1547482 h 2907193"/>
                <a:gd name="connsiteX8116" fmla="*/ 2101265 w 4044707"/>
                <a:gd name="connsiteY8116" fmla="*/ 1548753 h 2907193"/>
                <a:gd name="connsiteX8117" fmla="*/ 2095607 w 4044707"/>
                <a:gd name="connsiteY8117" fmla="*/ 1551747 h 2907193"/>
                <a:gd name="connsiteX8118" fmla="*/ 2090828 w 4044707"/>
                <a:gd name="connsiteY8118" fmla="*/ 1552655 h 2907193"/>
                <a:gd name="connsiteX8119" fmla="*/ 2089527 w 4044707"/>
                <a:gd name="connsiteY8119" fmla="*/ 1551929 h 2907193"/>
                <a:gd name="connsiteX8120" fmla="*/ 2088498 w 4044707"/>
                <a:gd name="connsiteY8120" fmla="*/ 1550537 h 2907193"/>
                <a:gd name="connsiteX8121" fmla="*/ 2087409 w 4044707"/>
                <a:gd name="connsiteY8121" fmla="*/ 1549872 h 2907193"/>
                <a:gd name="connsiteX8122" fmla="*/ 2086078 w 4044707"/>
                <a:gd name="connsiteY8122" fmla="*/ 1551173 h 2907193"/>
                <a:gd name="connsiteX8123" fmla="*/ 2086714 w 4044707"/>
                <a:gd name="connsiteY8123" fmla="*/ 1551929 h 2907193"/>
                <a:gd name="connsiteX8124" fmla="*/ 2087561 w 4044707"/>
                <a:gd name="connsiteY8124" fmla="*/ 1553562 h 2907193"/>
                <a:gd name="connsiteX8125" fmla="*/ 2088075 w 4044707"/>
                <a:gd name="connsiteY8125" fmla="*/ 1554288 h 2907193"/>
                <a:gd name="connsiteX8126" fmla="*/ 2086592 w 4044707"/>
                <a:gd name="connsiteY8126" fmla="*/ 1554561 h 2907193"/>
                <a:gd name="connsiteX8127" fmla="*/ 2082448 w 4044707"/>
                <a:gd name="connsiteY8127" fmla="*/ 1552715 h 2907193"/>
                <a:gd name="connsiteX8128" fmla="*/ 2080452 w 4044707"/>
                <a:gd name="connsiteY8128" fmla="*/ 1552655 h 2907193"/>
                <a:gd name="connsiteX8129" fmla="*/ 2073948 w 4044707"/>
                <a:gd name="connsiteY8129" fmla="*/ 1555317 h 2907193"/>
                <a:gd name="connsiteX8130" fmla="*/ 2072133 w 4044707"/>
                <a:gd name="connsiteY8130" fmla="*/ 1557102 h 2907193"/>
                <a:gd name="connsiteX8131" fmla="*/ 2076640 w 4044707"/>
                <a:gd name="connsiteY8131" fmla="*/ 1562426 h 2907193"/>
                <a:gd name="connsiteX8132" fmla="*/ 2077850 w 4044707"/>
                <a:gd name="connsiteY8132" fmla="*/ 1563182 h 2907193"/>
                <a:gd name="connsiteX8133" fmla="*/ 2079393 w 4044707"/>
                <a:gd name="connsiteY8133" fmla="*/ 1562487 h 2907193"/>
                <a:gd name="connsiteX8134" fmla="*/ 2082267 w 4044707"/>
                <a:gd name="connsiteY8134" fmla="*/ 1559310 h 2907193"/>
                <a:gd name="connsiteX8135" fmla="*/ 2083961 w 4044707"/>
                <a:gd name="connsiteY8135" fmla="*/ 1558735 h 2907193"/>
                <a:gd name="connsiteX8136" fmla="*/ 2083961 w 4044707"/>
                <a:gd name="connsiteY8136" fmla="*/ 1560218 h 2907193"/>
                <a:gd name="connsiteX8137" fmla="*/ 2081934 w 4044707"/>
                <a:gd name="connsiteY8137" fmla="*/ 1562729 h 2907193"/>
                <a:gd name="connsiteX8138" fmla="*/ 2079907 w 4044707"/>
                <a:gd name="connsiteY8138" fmla="*/ 1564453 h 2907193"/>
                <a:gd name="connsiteX8139" fmla="*/ 2077820 w 4044707"/>
                <a:gd name="connsiteY8139" fmla="*/ 1565149 h 2907193"/>
                <a:gd name="connsiteX8140" fmla="*/ 2075702 w 4044707"/>
                <a:gd name="connsiteY8140" fmla="*/ 1564574 h 2907193"/>
                <a:gd name="connsiteX8141" fmla="*/ 2069470 w 4044707"/>
                <a:gd name="connsiteY8141" fmla="*/ 1559371 h 2907193"/>
                <a:gd name="connsiteX8142" fmla="*/ 2066748 w 4044707"/>
                <a:gd name="connsiteY8142" fmla="*/ 1558735 h 2907193"/>
                <a:gd name="connsiteX8143" fmla="*/ 2064539 w 4044707"/>
                <a:gd name="connsiteY8143" fmla="*/ 1559371 h 2907193"/>
                <a:gd name="connsiteX8144" fmla="*/ 2051047 w 4044707"/>
                <a:gd name="connsiteY8144" fmla="*/ 1570806 h 2907193"/>
                <a:gd name="connsiteX8145" fmla="*/ 2048839 w 4044707"/>
                <a:gd name="connsiteY8145" fmla="*/ 1573468 h 2907193"/>
                <a:gd name="connsiteX8146" fmla="*/ 2084687 w 4044707"/>
                <a:gd name="connsiteY8146" fmla="*/ 1566177 h 2907193"/>
                <a:gd name="connsiteX8147" fmla="*/ 2091826 w 4044707"/>
                <a:gd name="connsiteY8147" fmla="*/ 1561549 h 2907193"/>
                <a:gd name="connsiteX8148" fmla="*/ 2094307 w 4044707"/>
                <a:gd name="connsiteY8148" fmla="*/ 1561549 h 2907193"/>
                <a:gd name="connsiteX8149" fmla="*/ 2091070 w 4044707"/>
                <a:gd name="connsiteY8149" fmla="*/ 1565693 h 2907193"/>
                <a:gd name="connsiteX8150" fmla="*/ 2076882 w 4044707"/>
                <a:gd name="connsiteY8150" fmla="*/ 1572379 h 2907193"/>
                <a:gd name="connsiteX8151" fmla="*/ 2052560 w 4044707"/>
                <a:gd name="connsiteY8151" fmla="*/ 1576281 h 2907193"/>
                <a:gd name="connsiteX8152" fmla="*/ 2049625 w 4044707"/>
                <a:gd name="connsiteY8152" fmla="*/ 1577764 h 2907193"/>
                <a:gd name="connsiteX8153" fmla="*/ 2047508 w 4044707"/>
                <a:gd name="connsiteY8153" fmla="*/ 1581031 h 2907193"/>
                <a:gd name="connsiteX8154" fmla="*/ 2049867 w 4044707"/>
                <a:gd name="connsiteY8154" fmla="*/ 1582362 h 2907193"/>
                <a:gd name="connsiteX8155" fmla="*/ 2054647 w 4044707"/>
                <a:gd name="connsiteY8155" fmla="*/ 1581182 h 2907193"/>
                <a:gd name="connsiteX8156" fmla="*/ 2059064 w 4044707"/>
                <a:gd name="connsiteY8156" fmla="*/ 1584873 h 2907193"/>
                <a:gd name="connsiteX8157" fmla="*/ 2067443 w 4044707"/>
                <a:gd name="connsiteY8157" fmla="*/ 1582513 h 2907193"/>
                <a:gd name="connsiteX8158" fmla="*/ 2066596 w 4044707"/>
                <a:gd name="connsiteY8158" fmla="*/ 1584177 h 2907193"/>
                <a:gd name="connsiteX8159" fmla="*/ 2060485 w 4044707"/>
                <a:gd name="connsiteY8159" fmla="*/ 1592224 h 2907193"/>
                <a:gd name="connsiteX8160" fmla="*/ 2059578 w 4044707"/>
                <a:gd name="connsiteY8160" fmla="*/ 1593041 h 2907193"/>
                <a:gd name="connsiteX8161" fmla="*/ 2058247 w 4044707"/>
                <a:gd name="connsiteY8161" fmla="*/ 1593525 h 2907193"/>
                <a:gd name="connsiteX8162" fmla="*/ 2055434 w 4044707"/>
                <a:gd name="connsiteY8162" fmla="*/ 1595551 h 2907193"/>
                <a:gd name="connsiteX8163" fmla="*/ 2049504 w 4044707"/>
                <a:gd name="connsiteY8163" fmla="*/ 1597881 h 2907193"/>
                <a:gd name="connsiteX8164" fmla="*/ 2048264 w 4044707"/>
                <a:gd name="connsiteY8164" fmla="*/ 1599000 h 2907193"/>
                <a:gd name="connsiteX8165" fmla="*/ 2050533 w 4044707"/>
                <a:gd name="connsiteY8165" fmla="*/ 1600271 h 2907193"/>
                <a:gd name="connsiteX8166" fmla="*/ 2062361 w 4044707"/>
                <a:gd name="connsiteY8166" fmla="*/ 1596368 h 2907193"/>
                <a:gd name="connsiteX8167" fmla="*/ 2064842 w 4044707"/>
                <a:gd name="connsiteY8167" fmla="*/ 1594795 h 2907193"/>
                <a:gd name="connsiteX8168" fmla="*/ 2067202 w 4044707"/>
                <a:gd name="connsiteY8168" fmla="*/ 1592526 h 2907193"/>
                <a:gd name="connsiteX8169" fmla="*/ 2069289 w 4044707"/>
                <a:gd name="connsiteY8169" fmla="*/ 1589350 h 2907193"/>
                <a:gd name="connsiteX8170" fmla="*/ 2071043 w 4044707"/>
                <a:gd name="connsiteY8170" fmla="*/ 1585811 h 2907193"/>
                <a:gd name="connsiteX8171" fmla="*/ 2072405 w 4044707"/>
                <a:gd name="connsiteY8171" fmla="*/ 1583784 h 2907193"/>
                <a:gd name="connsiteX8172" fmla="*/ 2074068 w 4044707"/>
                <a:gd name="connsiteY8172" fmla="*/ 1582846 h 2907193"/>
                <a:gd name="connsiteX8173" fmla="*/ 2076821 w 4044707"/>
                <a:gd name="connsiteY8173" fmla="*/ 1582634 h 2907193"/>
                <a:gd name="connsiteX8174" fmla="*/ 2079362 w 4044707"/>
                <a:gd name="connsiteY8174" fmla="*/ 1581817 h 2907193"/>
                <a:gd name="connsiteX8175" fmla="*/ 2086865 w 4044707"/>
                <a:gd name="connsiteY8175" fmla="*/ 1576705 h 2907193"/>
                <a:gd name="connsiteX8176" fmla="*/ 2086865 w 4044707"/>
                <a:gd name="connsiteY8176" fmla="*/ 1575192 h 2907193"/>
                <a:gd name="connsiteX8177" fmla="*/ 2085473 w 4044707"/>
                <a:gd name="connsiteY8177" fmla="*/ 1572621 h 2907193"/>
                <a:gd name="connsiteX8178" fmla="*/ 2086351 w 4044707"/>
                <a:gd name="connsiteY8178" fmla="*/ 1570957 h 2907193"/>
                <a:gd name="connsiteX8179" fmla="*/ 2098603 w 4044707"/>
                <a:gd name="connsiteY8179" fmla="*/ 1566268 h 2907193"/>
                <a:gd name="connsiteX8180" fmla="*/ 2115997 w 4044707"/>
                <a:gd name="connsiteY8180" fmla="*/ 1553532 h 2907193"/>
                <a:gd name="connsiteX8181" fmla="*/ 2123076 w 4044707"/>
                <a:gd name="connsiteY8181" fmla="*/ 1552715 h 2907193"/>
                <a:gd name="connsiteX8182" fmla="*/ 2124679 w 4044707"/>
                <a:gd name="connsiteY8182" fmla="*/ 1552050 h 2907193"/>
                <a:gd name="connsiteX8183" fmla="*/ 2128249 w 4044707"/>
                <a:gd name="connsiteY8183" fmla="*/ 1549055 h 2907193"/>
                <a:gd name="connsiteX8184" fmla="*/ 2130276 w 4044707"/>
                <a:gd name="connsiteY8184" fmla="*/ 1548389 h 2907193"/>
                <a:gd name="connsiteX8185" fmla="*/ 2139381 w 4044707"/>
                <a:gd name="connsiteY8185" fmla="*/ 1549176 h 2907193"/>
                <a:gd name="connsiteX8186" fmla="*/ 2143647 w 4044707"/>
                <a:gd name="connsiteY8186" fmla="*/ 1551354 h 2907193"/>
                <a:gd name="connsiteX8187" fmla="*/ 2147519 w 4044707"/>
                <a:gd name="connsiteY8187" fmla="*/ 1555741 h 2907193"/>
                <a:gd name="connsiteX8188" fmla="*/ 2131304 w 4044707"/>
                <a:gd name="connsiteY8188" fmla="*/ 1551263 h 2907193"/>
                <a:gd name="connsiteX8189" fmla="*/ 2130004 w 4044707"/>
                <a:gd name="connsiteY8189" fmla="*/ 1551838 h 2907193"/>
                <a:gd name="connsiteX8190" fmla="*/ 2126827 w 4044707"/>
                <a:gd name="connsiteY8190" fmla="*/ 1554924 h 2907193"/>
                <a:gd name="connsiteX8191" fmla="*/ 2125768 w 4044707"/>
                <a:gd name="connsiteY8191" fmla="*/ 1556497 h 2907193"/>
                <a:gd name="connsiteX8192" fmla="*/ 2124074 w 4044707"/>
                <a:gd name="connsiteY8192" fmla="*/ 1557767 h 2907193"/>
                <a:gd name="connsiteX8193" fmla="*/ 2116511 w 4044707"/>
                <a:gd name="connsiteY8193" fmla="*/ 1558887 h 2907193"/>
                <a:gd name="connsiteX8194" fmla="*/ 2106195 w 4044707"/>
                <a:gd name="connsiteY8194" fmla="*/ 1565451 h 2907193"/>
                <a:gd name="connsiteX8195" fmla="*/ 2101385 w 4044707"/>
                <a:gd name="connsiteY8195" fmla="*/ 1566722 h 2907193"/>
                <a:gd name="connsiteX8196" fmla="*/ 2099268 w 4044707"/>
                <a:gd name="connsiteY8196" fmla="*/ 1567811 h 2907193"/>
                <a:gd name="connsiteX8197" fmla="*/ 2097302 w 4044707"/>
                <a:gd name="connsiteY8197" fmla="*/ 1569444 h 2907193"/>
                <a:gd name="connsiteX8198" fmla="*/ 2095517 w 4044707"/>
                <a:gd name="connsiteY8198" fmla="*/ 1573438 h 2907193"/>
                <a:gd name="connsiteX8199" fmla="*/ 2089587 w 4044707"/>
                <a:gd name="connsiteY8199" fmla="*/ 1576735 h 2907193"/>
                <a:gd name="connsiteX8200" fmla="*/ 2093036 w 4044707"/>
                <a:gd name="connsiteY8200" fmla="*/ 1578066 h 2907193"/>
                <a:gd name="connsiteX8201" fmla="*/ 2096576 w 4044707"/>
                <a:gd name="connsiteY8201" fmla="*/ 1577159 h 2907193"/>
                <a:gd name="connsiteX8202" fmla="*/ 2103443 w 4044707"/>
                <a:gd name="connsiteY8202" fmla="*/ 1573619 h 2907193"/>
                <a:gd name="connsiteX8203" fmla="*/ 2102686 w 4044707"/>
                <a:gd name="connsiteY8203" fmla="*/ 1575253 h 2907193"/>
                <a:gd name="connsiteX8204" fmla="*/ 2103261 w 4044707"/>
                <a:gd name="connsiteY8204" fmla="*/ 1576614 h 2907193"/>
                <a:gd name="connsiteX8205" fmla="*/ 2103382 w 4044707"/>
                <a:gd name="connsiteY8205" fmla="*/ 1577280 h 2907193"/>
                <a:gd name="connsiteX8206" fmla="*/ 2103382 w 4044707"/>
                <a:gd name="connsiteY8206" fmla="*/ 1578338 h 2907193"/>
                <a:gd name="connsiteX8207" fmla="*/ 2092340 w 4044707"/>
                <a:gd name="connsiteY8207" fmla="*/ 1579155 h 2907193"/>
                <a:gd name="connsiteX8208" fmla="*/ 2088922 w 4044707"/>
                <a:gd name="connsiteY8208" fmla="*/ 1581182 h 2907193"/>
                <a:gd name="connsiteX8209" fmla="*/ 2091705 w 4044707"/>
                <a:gd name="connsiteY8209" fmla="*/ 1581636 h 2907193"/>
                <a:gd name="connsiteX8210" fmla="*/ 2096303 w 4044707"/>
                <a:gd name="connsiteY8210" fmla="*/ 1583663 h 2907193"/>
                <a:gd name="connsiteX8211" fmla="*/ 2099207 w 4044707"/>
                <a:gd name="connsiteY8211" fmla="*/ 1584116 h 2907193"/>
                <a:gd name="connsiteX8212" fmla="*/ 2098512 w 4044707"/>
                <a:gd name="connsiteY8212" fmla="*/ 1585599 h 2907193"/>
                <a:gd name="connsiteX8213" fmla="*/ 2108888 w 4044707"/>
                <a:gd name="connsiteY8213" fmla="*/ 1585599 h 2907193"/>
                <a:gd name="connsiteX8214" fmla="*/ 2108888 w 4044707"/>
                <a:gd name="connsiteY8214" fmla="*/ 1587232 h 2907193"/>
                <a:gd name="connsiteX8215" fmla="*/ 2107042 w 4044707"/>
                <a:gd name="connsiteY8215" fmla="*/ 1587474 h 2907193"/>
                <a:gd name="connsiteX8216" fmla="*/ 2103715 w 4044707"/>
                <a:gd name="connsiteY8216" fmla="*/ 1589683 h 2907193"/>
                <a:gd name="connsiteX8217" fmla="*/ 2079877 w 4044707"/>
                <a:gd name="connsiteY8217" fmla="*/ 1593192 h 2907193"/>
                <a:gd name="connsiteX8218" fmla="*/ 2081329 w 4044707"/>
                <a:gd name="connsiteY8218" fmla="*/ 1594099 h 2907193"/>
                <a:gd name="connsiteX8219" fmla="*/ 2082993 w 4044707"/>
                <a:gd name="connsiteY8219" fmla="*/ 1594372 h 2907193"/>
                <a:gd name="connsiteX8220" fmla="*/ 2084112 w 4044707"/>
                <a:gd name="connsiteY8220" fmla="*/ 1595128 h 2907193"/>
                <a:gd name="connsiteX8221" fmla="*/ 2084051 w 4044707"/>
                <a:gd name="connsiteY8221" fmla="*/ 1597457 h 2907193"/>
                <a:gd name="connsiteX8222" fmla="*/ 2085594 w 4044707"/>
                <a:gd name="connsiteY8222" fmla="*/ 1598788 h 2907193"/>
                <a:gd name="connsiteX8223" fmla="*/ 2086169 w 4044707"/>
                <a:gd name="connsiteY8223" fmla="*/ 1599061 h 2907193"/>
                <a:gd name="connsiteX8224" fmla="*/ 2083416 w 4044707"/>
                <a:gd name="connsiteY8224" fmla="*/ 1599877 h 2907193"/>
                <a:gd name="connsiteX8225" fmla="*/ 2080572 w 4044707"/>
                <a:gd name="connsiteY8225" fmla="*/ 1598607 h 2907193"/>
                <a:gd name="connsiteX8226" fmla="*/ 2077699 w 4044707"/>
                <a:gd name="connsiteY8226" fmla="*/ 1598123 h 2907193"/>
                <a:gd name="connsiteX8227" fmla="*/ 2072496 w 4044707"/>
                <a:gd name="connsiteY8227" fmla="*/ 1603538 h 2907193"/>
                <a:gd name="connsiteX8228" fmla="*/ 2066566 w 4044707"/>
                <a:gd name="connsiteY8228" fmla="*/ 1604778 h 2907193"/>
                <a:gd name="connsiteX8229" fmla="*/ 2064055 w 4044707"/>
                <a:gd name="connsiteY8229" fmla="*/ 1606291 h 2907193"/>
                <a:gd name="connsiteX8230" fmla="*/ 2064781 w 4044707"/>
                <a:gd name="connsiteY8230" fmla="*/ 1606533 h 2907193"/>
                <a:gd name="connsiteX8231" fmla="*/ 2065719 w 4044707"/>
                <a:gd name="connsiteY8231" fmla="*/ 1607107 h 2907193"/>
                <a:gd name="connsiteX8232" fmla="*/ 2066536 w 4044707"/>
                <a:gd name="connsiteY8232" fmla="*/ 1607864 h 2907193"/>
                <a:gd name="connsiteX8233" fmla="*/ 2066868 w 4044707"/>
                <a:gd name="connsiteY8233" fmla="*/ 1608620 h 2907193"/>
                <a:gd name="connsiteX8234" fmla="*/ 2066476 w 4044707"/>
                <a:gd name="connsiteY8234" fmla="*/ 1610738 h 2907193"/>
                <a:gd name="connsiteX8235" fmla="*/ 2065598 w 4044707"/>
                <a:gd name="connsiteY8235" fmla="*/ 1610738 h 2907193"/>
                <a:gd name="connsiteX8236" fmla="*/ 2064660 w 4044707"/>
                <a:gd name="connsiteY8236" fmla="*/ 1610254 h 2907193"/>
                <a:gd name="connsiteX8237" fmla="*/ 2064055 w 4044707"/>
                <a:gd name="connsiteY8237" fmla="*/ 1610828 h 2907193"/>
                <a:gd name="connsiteX8238" fmla="*/ 2064055 w 4044707"/>
                <a:gd name="connsiteY8238" fmla="*/ 1613581 h 2907193"/>
                <a:gd name="connsiteX8239" fmla="*/ 2064660 w 4044707"/>
                <a:gd name="connsiteY8239" fmla="*/ 1615669 h 2907193"/>
                <a:gd name="connsiteX8240" fmla="*/ 2065719 w 4044707"/>
                <a:gd name="connsiteY8240" fmla="*/ 1617211 h 2907193"/>
                <a:gd name="connsiteX8241" fmla="*/ 2066868 w 4044707"/>
                <a:gd name="connsiteY8241" fmla="*/ 1618210 h 2907193"/>
                <a:gd name="connsiteX8242" fmla="*/ 2066868 w 4044707"/>
                <a:gd name="connsiteY8242" fmla="*/ 1619813 h 2907193"/>
                <a:gd name="connsiteX8243" fmla="*/ 2066536 w 4044707"/>
                <a:gd name="connsiteY8243" fmla="*/ 1621447 h 2907193"/>
                <a:gd name="connsiteX8244" fmla="*/ 2067413 w 4044707"/>
                <a:gd name="connsiteY8244" fmla="*/ 1622475 h 2907193"/>
                <a:gd name="connsiteX8245" fmla="*/ 2068805 w 4044707"/>
                <a:gd name="connsiteY8245" fmla="*/ 1623443 h 2907193"/>
                <a:gd name="connsiteX8246" fmla="*/ 2069924 w 4044707"/>
                <a:gd name="connsiteY8246" fmla="*/ 1624895 h 2907193"/>
                <a:gd name="connsiteX8247" fmla="*/ 2070862 w 4044707"/>
                <a:gd name="connsiteY8247" fmla="*/ 1626862 h 2907193"/>
                <a:gd name="connsiteX8248" fmla="*/ 2073040 w 4044707"/>
                <a:gd name="connsiteY8248" fmla="*/ 1630310 h 2907193"/>
                <a:gd name="connsiteX8249" fmla="*/ 2073978 w 4044707"/>
                <a:gd name="connsiteY8249" fmla="*/ 1632246 h 2907193"/>
                <a:gd name="connsiteX8250" fmla="*/ 2076186 w 4044707"/>
                <a:gd name="connsiteY8250" fmla="*/ 1635120 h 2907193"/>
                <a:gd name="connsiteX8251" fmla="*/ 2079302 w 4044707"/>
                <a:gd name="connsiteY8251" fmla="*/ 1636149 h 2907193"/>
                <a:gd name="connsiteX8252" fmla="*/ 2082267 w 4044707"/>
                <a:gd name="connsiteY8252" fmla="*/ 1634667 h 2907193"/>
                <a:gd name="connsiteX8253" fmla="*/ 2084051 w 4044707"/>
                <a:gd name="connsiteY8253" fmla="*/ 1629947 h 2907193"/>
                <a:gd name="connsiteX8254" fmla="*/ 2082902 w 4044707"/>
                <a:gd name="connsiteY8254" fmla="*/ 1630129 h 2907193"/>
                <a:gd name="connsiteX8255" fmla="*/ 2081813 w 4044707"/>
                <a:gd name="connsiteY8255" fmla="*/ 1630038 h 2907193"/>
                <a:gd name="connsiteX8256" fmla="*/ 2080815 w 4044707"/>
                <a:gd name="connsiteY8256" fmla="*/ 1629584 h 2907193"/>
                <a:gd name="connsiteX8257" fmla="*/ 2079846 w 4044707"/>
                <a:gd name="connsiteY8257" fmla="*/ 1628616 h 2907193"/>
                <a:gd name="connsiteX8258" fmla="*/ 2081329 w 4044707"/>
                <a:gd name="connsiteY8258" fmla="*/ 1626559 h 2907193"/>
                <a:gd name="connsiteX8259" fmla="*/ 2083447 w 4044707"/>
                <a:gd name="connsiteY8259" fmla="*/ 1624321 h 2907193"/>
                <a:gd name="connsiteX8260" fmla="*/ 2085685 w 4044707"/>
                <a:gd name="connsiteY8260" fmla="*/ 1623110 h 2907193"/>
                <a:gd name="connsiteX8261" fmla="*/ 2087470 w 4044707"/>
                <a:gd name="connsiteY8261" fmla="*/ 1624048 h 2907193"/>
                <a:gd name="connsiteX8262" fmla="*/ 2087954 w 4044707"/>
                <a:gd name="connsiteY8262" fmla="*/ 1626468 h 2907193"/>
                <a:gd name="connsiteX8263" fmla="*/ 2087379 w 4044707"/>
                <a:gd name="connsiteY8263" fmla="*/ 1628707 h 2907193"/>
                <a:gd name="connsiteX8264" fmla="*/ 2087016 w 4044707"/>
                <a:gd name="connsiteY8264" fmla="*/ 1630855 h 2907193"/>
                <a:gd name="connsiteX8265" fmla="*/ 2088166 w 4044707"/>
                <a:gd name="connsiteY8265" fmla="*/ 1633003 h 2907193"/>
                <a:gd name="connsiteX8266" fmla="*/ 2090556 w 4044707"/>
                <a:gd name="connsiteY8266" fmla="*/ 1630462 h 2907193"/>
                <a:gd name="connsiteX8267" fmla="*/ 2102656 w 4044707"/>
                <a:gd name="connsiteY8267" fmla="*/ 1629917 h 2907193"/>
                <a:gd name="connsiteX8268" fmla="*/ 2099722 w 4044707"/>
                <a:gd name="connsiteY8268" fmla="*/ 1632337 h 2907193"/>
                <a:gd name="connsiteX8269" fmla="*/ 2090253 w 4044707"/>
                <a:gd name="connsiteY8269" fmla="*/ 1635816 h 2907193"/>
                <a:gd name="connsiteX8270" fmla="*/ 2081571 w 4044707"/>
                <a:gd name="connsiteY8270" fmla="*/ 1642744 h 2907193"/>
                <a:gd name="connsiteX8271" fmla="*/ 2079272 w 4044707"/>
                <a:gd name="connsiteY8271" fmla="*/ 1641806 h 2907193"/>
                <a:gd name="connsiteX8272" fmla="*/ 2079998 w 4044707"/>
                <a:gd name="connsiteY8272" fmla="*/ 1641171 h 2907193"/>
                <a:gd name="connsiteX8273" fmla="*/ 2081934 w 4044707"/>
                <a:gd name="connsiteY8273" fmla="*/ 1638720 h 2907193"/>
                <a:gd name="connsiteX8274" fmla="*/ 2075127 w 4044707"/>
                <a:gd name="connsiteY8274" fmla="*/ 1640324 h 2907193"/>
                <a:gd name="connsiteX8275" fmla="*/ 2075581 w 4044707"/>
                <a:gd name="connsiteY8275" fmla="*/ 1642260 h 2907193"/>
                <a:gd name="connsiteX8276" fmla="*/ 2076337 w 4044707"/>
                <a:gd name="connsiteY8276" fmla="*/ 1643591 h 2907193"/>
                <a:gd name="connsiteX8277" fmla="*/ 2077336 w 4044707"/>
                <a:gd name="connsiteY8277" fmla="*/ 1644408 h 2907193"/>
                <a:gd name="connsiteX8278" fmla="*/ 2078516 w 4044707"/>
                <a:gd name="connsiteY8278" fmla="*/ 1644710 h 2907193"/>
                <a:gd name="connsiteX8279" fmla="*/ 2078516 w 4044707"/>
                <a:gd name="connsiteY8279" fmla="*/ 1646192 h 2907193"/>
                <a:gd name="connsiteX8280" fmla="*/ 2076670 w 4044707"/>
                <a:gd name="connsiteY8280" fmla="*/ 1646828 h 2907193"/>
                <a:gd name="connsiteX8281" fmla="*/ 2072042 w 4044707"/>
                <a:gd name="connsiteY8281" fmla="*/ 1647039 h 2907193"/>
                <a:gd name="connsiteX8282" fmla="*/ 2070590 w 4044707"/>
                <a:gd name="connsiteY8282" fmla="*/ 1648340 h 2907193"/>
                <a:gd name="connsiteX8283" fmla="*/ 2069682 w 4044707"/>
                <a:gd name="connsiteY8283" fmla="*/ 1651547 h 2907193"/>
                <a:gd name="connsiteX8284" fmla="*/ 2069289 w 4044707"/>
                <a:gd name="connsiteY8284" fmla="*/ 1655691 h 2907193"/>
                <a:gd name="connsiteX8285" fmla="*/ 2068291 w 4044707"/>
                <a:gd name="connsiteY8285" fmla="*/ 1658081 h 2907193"/>
                <a:gd name="connsiteX8286" fmla="*/ 2090283 w 4044707"/>
                <a:gd name="connsiteY8286" fmla="*/ 1655026 h 2907193"/>
                <a:gd name="connsiteX8287" fmla="*/ 2085897 w 4044707"/>
                <a:gd name="connsiteY8287" fmla="*/ 1657295 h 2907193"/>
                <a:gd name="connsiteX8288" fmla="*/ 2076610 w 4044707"/>
                <a:gd name="connsiteY8288" fmla="*/ 1658807 h 2907193"/>
                <a:gd name="connsiteX8289" fmla="*/ 2072284 w 4044707"/>
                <a:gd name="connsiteY8289" fmla="*/ 1661016 h 2907193"/>
                <a:gd name="connsiteX8290" fmla="*/ 2069924 w 4044707"/>
                <a:gd name="connsiteY8290" fmla="*/ 1663647 h 2907193"/>
                <a:gd name="connsiteX8291" fmla="*/ 2068865 w 4044707"/>
                <a:gd name="connsiteY8291" fmla="*/ 1663950 h 2907193"/>
                <a:gd name="connsiteX8292" fmla="*/ 2067988 w 4044707"/>
                <a:gd name="connsiteY8292" fmla="*/ 1663436 h 2907193"/>
                <a:gd name="connsiteX8293" fmla="*/ 2066203 w 4044707"/>
                <a:gd name="connsiteY8293" fmla="*/ 1661348 h 2907193"/>
                <a:gd name="connsiteX8294" fmla="*/ 2065507 w 4044707"/>
                <a:gd name="connsiteY8294" fmla="*/ 1661016 h 2907193"/>
                <a:gd name="connsiteX8295" fmla="*/ 2064237 w 4044707"/>
                <a:gd name="connsiteY8295" fmla="*/ 1662407 h 2907193"/>
                <a:gd name="connsiteX8296" fmla="*/ 2061454 w 4044707"/>
                <a:gd name="connsiteY8296" fmla="*/ 1667883 h 2907193"/>
                <a:gd name="connsiteX8297" fmla="*/ 2060697 w 4044707"/>
                <a:gd name="connsiteY8297" fmla="*/ 1669788 h 2907193"/>
                <a:gd name="connsiteX8298" fmla="*/ 2061484 w 4044707"/>
                <a:gd name="connsiteY8298" fmla="*/ 1669910 h 2907193"/>
                <a:gd name="connsiteX8299" fmla="*/ 2063450 w 4044707"/>
                <a:gd name="connsiteY8299" fmla="*/ 1671119 h 2907193"/>
                <a:gd name="connsiteX8300" fmla="*/ 2062271 w 4044707"/>
                <a:gd name="connsiteY8300" fmla="*/ 1672814 h 2907193"/>
                <a:gd name="connsiteX8301" fmla="*/ 2054465 w 4044707"/>
                <a:gd name="connsiteY8301" fmla="*/ 1678561 h 2907193"/>
                <a:gd name="connsiteX8302" fmla="*/ 2051168 w 4044707"/>
                <a:gd name="connsiteY8302" fmla="*/ 1685156 h 2907193"/>
                <a:gd name="connsiteX8303" fmla="*/ 2049141 w 4044707"/>
                <a:gd name="connsiteY8303" fmla="*/ 1688121 h 2907193"/>
                <a:gd name="connsiteX8304" fmla="*/ 2046872 w 4044707"/>
                <a:gd name="connsiteY8304" fmla="*/ 1688786 h 2907193"/>
                <a:gd name="connsiteX8305" fmla="*/ 2051289 w 4044707"/>
                <a:gd name="connsiteY8305" fmla="*/ 1679348 h 2907193"/>
                <a:gd name="connsiteX8306" fmla="*/ 2056492 w 4044707"/>
                <a:gd name="connsiteY8306" fmla="*/ 1672481 h 2907193"/>
                <a:gd name="connsiteX8307" fmla="*/ 2057642 w 4044707"/>
                <a:gd name="connsiteY8307" fmla="*/ 1669607 h 2907193"/>
                <a:gd name="connsiteX8308" fmla="*/ 2058640 w 4044707"/>
                <a:gd name="connsiteY8308" fmla="*/ 1665402 h 2907193"/>
                <a:gd name="connsiteX8309" fmla="*/ 2056220 w 4044707"/>
                <a:gd name="connsiteY8309" fmla="*/ 1663163 h 2907193"/>
                <a:gd name="connsiteX8310" fmla="*/ 2053830 w 4044707"/>
                <a:gd name="connsiteY8310" fmla="*/ 1661651 h 2907193"/>
                <a:gd name="connsiteX8311" fmla="*/ 2051380 w 4044707"/>
                <a:gd name="connsiteY8311" fmla="*/ 1660925 h 2907193"/>
                <a:gd name="connsiteX8312" fmla="*/ 2048930 w 4044707"/>
                <a:gd name="connsiteY8312" fmla="*/ 1661016 h 2907193"/>
                <a:gd name="connsiteX8313" fmla="*/ 2042849 w 4044707"/>
                <a:gd name="connsiteY8313" fmla="*/ 1663284 h 2907193"/>
                <a:gd name="connsiteX8314" fmla="*/ 2040610 w 4044707"/>
                <a:gd name="connsiteY8314" fmla="*/ 1662347 h 2907193"/>
                <a:gd name="connsiteX8315" fmla="*/ 2041972 w 4044707"/>
                <a:gd name="connsiteY8315" fmla="*/ 1658172 h 2907193"/>
                <a:gd name="connsiteX8316" fmla="*/ 2042153 w 4044707"/>
                <a:gd name="connsiteY8316" fmla="*/ 1655328 h 2907193"/>
                <a:gd name="connsiteX8317" fmla="*/ 2041064 w 4044707"/>
                <a:gd name="connsiteY8317" fmla="*/ 1653090 h 2907193"/>
                <a:gd name="connsiteX8318" fmla="*/ 2034409 w 4044707"/>
                <a:gd name="connsiteY8318" fmla="*/ 1646223 h 2907193"/>
                <a:gd name="connsiteX8319" fmla="*/ 2032685 w 4044707"/>
                <a:gd name="connsiteY8319" fmla="*/ 1646162 h 2907193"/>
                <a:gd name="connsiteX8320" fmla="*/ 2031868 w 4044707"/>
                <a:gd name="connsiteY8320" fmla="*/ 1645708 h 2907193"/>
                <a:gd name="connsiteX8321" fmla="*/ 2030597 w 4044707"/>
                <a:gd name="connsiteY8321" fmla="*/ 1642592 h 2907193"/>
                <a:gd name="connsiteX8322" fmla="*/ 2030234 w 4044707"/>
                <a:gd name="connsiteY8322" fmla="*/ 1640596 h 2907193"/>
                <a:gd name="connsiteX8323" fmla="*/ 2030597 w 4044707"/>
                <a:gd name="connsiteY8323" fmla="*/ 1636572 h 2907193"/>
                <a:gd name="connsiteX8324" fmla="*/ 2030295 w 4044707"/>
                <a:gd name="connsiteY8324" fmla="*/ 1634485 h 2907193"/>
                <a:gd name="connsiteX8325" fmla="*/ 2029447 w 4044707"/>
                <a:gd name="connsiteY8325" fmla="*/ 1633608 h 2907193"/>
                <a:gd name="connsiteX8326" fmla="*/ 2023760 w 4044707"/>
                <a:gd name="connsiteY8326" fmla="*/ 1630855 h 2907193"/>
                <a:gd name="connsiteX8327" fmla="*/ 2021340 w 4044707"/>
                <a:gd name="connsiteY8327" fmla="*/ 1628707 h 2907193"/>
                <a:gd name="connsiteX8328" fmla="*/ 2019888 w 4044707"/>
                <a:gd name="connsiteY8328" fmla="*/ 1628616 h 2907193"/>
                <a:gd name="connsiteX8329" fmla="*/ 2019888 w 4044707"/>
                <a:gd name="connsiteY8329" fmla="*/ 1628979 h 2907193"/>
                <a:gd name="connsiteX8330" fmla="*/ 2019797 w 4044707"/>
                <a:gd name="connsiteY8330" fmla="*/ 1629857 h 2907193"/>
                <a:gd name="connsiteX8331" fmla="*/ 2019586 w 4044707"/>
                <a:gd name="connsiteY8331" fmla="*/ 1630825 h 2907193"/>
                <a:gd name="connsiteX8332" fmla="*/ 2019283 w 4044707"/>
                <a:gd name="connsiteY8332" fmla="*/ 1631399 h 2907193"/>
                <a:gd name="connsiteX8333" fmla="*/ 2017710 w 4044707"/>
                <a:gd name="connsiteY8333" fmla="*/ 1632791 h 2907193"/>
                <a:gd name="connsiteX8334" fmla="*/ 2016893 w 4044707"/>
                <a:gd name="connsiteY8334" fmla="*/ 1633124 h 2907193"/>
                <a:gd name="connsiteX8335" fmla="*/ 2015834 w 4044707"/>
                <a:gd name="connsiteY8335" fmla="*/ 1633003 h 2907193"/>
                <a:gd name="connsiteX8336" fmla="*/ 2015834 w 4044707"/>
                <a:gd name="connsiteY8336" fmla="*/ 1634485 h 2907193"/>
                <a:gd name="connsiteX8337" fmla="*/ 2016863 w 4044707"/>
                <a:gd name="connsiteY8337" fmla="*/ 1635211 h 2907193"/>
                <a:gd name="connsiteX8338" fmla="*/ 2018224 w 4044707"/>
                <a:gd name="connsiteY8338" fmla="*/ 1636572 h 2907193"/>
                <a:gd name="connsiteX8339" fmla="*/ 2019404 w 4044707"/>
                <a:gd name="connsiteY8339" fmla="*/ 1638145 h 2907193"/>
                <a:gd name="connsiteX8340" fmla="*/ 2019919 w 4044707"/>
                <a:gd name="connsiteY8340" fmla="*/ 1639567 h 2907193"/>
                <a:gd name="connsiteX8341" fmla="*/ 2019616 w 4044707"/>
                <a:gd name="connsiteY8341" fmla="*/ 1642350 h 2907193"/>
                <a:gd name="connsiteX8342" fmla="*/ 2019132 w 4044707"/>
                <a:gd name="connsiteY8342" fmla="*/ 1644619 h 2907193"/>
                <a:gd name="connsiteX8343" fmla="*/ 2019253 w 4044707"/>
                <a:gd name="connsiteY8343" fmla="*/ 1646374 h 2907193"/>
                <a:gd name="connsiteX8344" fmla="*/ 2020675 w 4044707"/>
                <a:gd name="connsiteY8344" fmla="*/ 1647554 h 2907193"/>
                <a:gd name="connsiteX8345" fmla="*/ 2020675 w 4044707"/>
                <a:gd name="connsiteY8345" fmla="*/ 1649157 h 2907193"/>
                <a:gd name="connsiteX8346" fmla="*/ 2018133 w 4044707"/>
                <a:gd name="connsiteY8346" fmla="*/ 1647977 h 2907193"/>
                <a:gd name="connsiteX8347" fmla="*/ 2017044 w 4044707"/>
                <a:gd name="connsiteY8347" fmla="*/ 1647886 h 2907193"/>
                <a:gd name="connsiteX8348" fmla="*/ 2016530 w 4044707"/>
                <a:gd name="connsiteY8348" fmla="*/ 1649157 h 2907193"/>
                <a:gd name="connsiteX8349" fmla="*/ 2016893 w 4044707"/>
                <a:gd name="connsiteY8349" fmla="*/ 1650337 h 2907193"/>
                <a:gd name="connsiteX8350" fmla="*/ 2019949 w 4044707"/>
                <a:gd name="connsiteY8350" fmla="*/ 1653574 h 2907193"/>
                <a:gd name="connsiteX8351" fmla="*/ 2018799 w 4044707"/>
                <a:gd name="connsiteY8351" fmla="*/ 1654209 h 2907193"/>
                <a:gd name="connsiteX8352" fmla="*/ 2017861 w 4044707"/>
                <a:gd name="connsiteY8352" fmla="*/ 1653483 h 2907193"/>
                <a:gd name="connsiteX8353" fmla="*/ 2016954 w 4044707"/>
                <a:gd name="connsiteY8353" fmla="*/ 1652454 h 2907193"/>
                <a:gd name="connsiteX8354" fmla="*/ 2015834 w 4044707"/>
                <a:gd name="connsiteY8354" fmla="*/ 1652243 h 2907193"/>
                <a:gd name="connsiteX8355" fmla="*/ 2015048 w 4044707"/>
                <a:gd name="connsiteY8355" fmla="*/ 1653271 h 2907193"/>
                <a:gd name="connsiteX8356" fmla="*/ 2014231 w 4044707"/>
                <a:gd name="connsiteY8356" fmla="*/ 1654965 h 2907193"/>
                <a:gd name="connsiteX8357" fmla="*/ 2013414 w 4044707"/>
                <a:gd name="connsiteY8357" fmla="*/ 1656206 h 2907193"/>
                <a:gd name="connsiteX8358" fmla="*/ 2012749 w 4044707"/>
                <a:gd name="connsiteY8358" fmla="*/ 1655812 h 2907193"/>
                <a:gd name="connsiteX8359" fmla="*/ 2011115 w 4044707"/>
                <a:gd name="connsiteY8359" fmla="*/ 1652485 h 2907193"/>
                <a:gd name="connsiteX8360" fmla="*/ 2008998 w 4044707"/>
                <a:gd name="connsiteY8360" fmla="*/ 1649732 h 2907193"/>
                <a:gd name="connsiteX8361" fmla="*/ 2006608 w 4044707"/>
                <a:gd name="connsiteY8361" fmla="*/ 1648340 h 2907193"/>
                <a:gd name="connsiteX8362" fmla="*/ 2004157 w 4044707"/>
                <a:gd name="connsiteY8362" fmla="*/ 1649187 h 2907193"/>
                <a:gd name="connsiteX8363" fmla="*/ 2005609 w 4044707"/>
                <a:gd name="connsiteY8363" fmla="*/ 1651184 h 2907193"/>
                <a:gd name="connsiteX8364" fmla="*/ 2006910 w 4044707"/>
                <a:gd name="connsiteY8364" fmla="*/ 1652545 h 2907193"/>
                <a:gd name="connsiteX8365" fmla="*/ 2007848 w 4044707"/>
                <a:gd name="connsiteY8365" fmla="*/ 1654481 h 2907193"/>
                <a:gd name="connsiteX8366" fmla="*/ 2008271 w 4044707"/>
                <a:gd name="connsiteY8366" fmla="*/ 1658142 h 2907193"/>
                <a:gd name="connsiteX8367" fmla="*/ 2006880 w 4044707"/>
                <a:gd name="connsiteY8367" fmla="*/ 1657839 h 2907193"/>
                <a:gd name="connsiteX8368" fmla="*/ 2004732 w 4044707"/>
                <a:gd name="connsiteY8368" fmla="*/ 1655843 h 2907193"/>
                <a:gd name="connsiteX8369" fmla="*/ 2003431 w 4044707"/>
                <a:gd name="connsiteY8369" fmla="*/ 1655056 h 2907193"/>
                <a:gd name="connsiteX8370" fmla="*/ 2000346 w 4044707"/>
                <a:gd name="connsiteY8370" fmla="*/ 1655056 h 2907193"/>
                <a:gd name="connsiteX8371" fmla="*/ 1999862 w 4044707"/>
                <a:gd name="connsiteY8371" fmla="*/ 1655540 h 2907193"/>
                <a:gd name="connsiteX8372" fmla="*/ 1999559 w 4044707"/>
                <a:gd name="connsiteY8372" fmla="*/ 1656599 h 2907193"/>
                <a:gd name="connsiteX8373" fmla="*/ 1999408 w 4044707"/>
                <a:gd name="connsiteY8373" fmla="*/ 1657627 h 2907193"/>
                <a:gd name="connsiteX8374" fmla="*/ 1999408 w 4044707"/>
                <a:gd name="connsiteY8374" fmla="*/ 1658111 h 2907193"/>
                <a:gd name="connsiteX8375" fmla="*/ 1998107 w 4044707"/>
                <a:gd name="connsiteY8375" fmla="*/ 1657930 h 2907193"/>
                <a:gd name="connsiteX8376" fmla="*/ 1995596 w 4044707"/>
                <a:gd name="connsiteY8376" fmla="*/ 1656690 h 2907193"/>
                <a:gd name="connsiteX8377" fmla="*/ 1994477 w 4044707"/>
                <a:gd name="connsiteY8377" fmla="*/ 1656629 h 2907193"/>
                <a:gd name="connsiteX8378" fmla="*/ 1993267 w 4044707"/>
                <a:gd name="connsiteY8378" fmla="*/ 1657658 h 2907193"/>
                <a:gd name="connsiteX8379" fmla="*/ 1991089 w 4044707"/>
                <a:gd name="connsiteY8379" fmla="*/ 1660592 h 2907193"/>
                <a:gd name="connsiteX8380" fmla="*/ 1989697 w 4044707"/>
                <a:gd name="connsiteY8380" fmla="*/ 1661046 h 2907193"/>
                <a:gd name="connsiteX8381" fmla="*/ 1989697 w 4044707"/>
                <a:gd name="connsiteY8381" fmla="*/ 1662377 h 2907193"/>
                <a:gd name="connsiteX8382" fmla="*/ 1992057 w 4044707"/>
                <a:gd name="connsiteY8382" fmla="*/ 1663859 h 2907193"/>
                <a:gd name="connsiteX8383" fmla="*/ 1999378 w 4044707"/>
                <a:gd name="connsiteY8383" fmla="*/ 1662377 h 2907193"/>
                <a:gd name="connsiteX8384" fmla="*/ 2001586 w 4044707"/>
                <a:gd name="connsiteY8384" fmla="*/ 1663254 h 2907193"/>
                <a:gd name="connsiteX8385" fmla="*/ 2003825 w 4044707"/>
                <a:gd name="connsiteY8385" fmla="*/ 1665311 h 2907193"/>
                <a:gd name="connsiteX8386" fmla="*/ 2004672 w 4044707"/>
                <a:gd name="connsiteY8386" fmla="*/ 1667792 h 2907193"/>
                <a:gd name="connsiteX8387" fmla="*/ 2002796 w 4044707"/>
                <a:gd name="connsiteY8387" fmla="*/ 1669819 h 2907193"/>
                <a:gd name="connsiteX8388" fmla="*/ 2004067 w 4044707"/>
                <a:gd name="connsiteY8388" fmla="*/ 1672057 h 2907193"/>
                <a:gd name="connsiteX8389" fmla="*/ 2009663 w 4044707"/>
                <a:gd name="connsiteY8389" fmla="*/ 1676988 h 2907193"/>
                <a:gd name="connsiteX8390" fmla="*/ 2007667 w 4044707"/>
                <a:gd name="connsiteY8390" fmla="*/ 1678834 h 2907193"/>
                <a:gd name="connsiteX8391" fmla="*/ 2005670 w 4044707"/>
                <a:gd name="connsiteY8391" fmla="*/ 1678592 h 2907193"/>
                <a:gd name="connsiteX8392" fmla="*/ 1999499 w 4044707"/>
                <a:gd name="connsiteY8392" fmla="*/ 1673721 h 2907193"/>
                <a:gd name="connsiteX8393" fmla="*/ 1998621 w 4044707"/>
                <a:gd name="connsiteY8393" fmla="*/ 1672723 h 2907193"/>
                <a:gd name="connsiteX8394" fmla="*/ 1998077 w 4044707"/>
                <a:gd name="connsiteY8394" fmla="*/ 1671482 h 2907193"/>
                <a:gd name="connsiteX8395" fmla="*/ 1997774 w 4044707"/>
                <a:gd name="connsiteY8395" fmla="*/ 1670030 h 2907193"/>
                <a:gd name="connsiteX8396" fmla="*/ 1997320 w 4044707"/>
                <a:gd name="connsiteY8396" fmla="*/ 1668820 h 2907193"/>
                <a:gd name="connsiteX8397" fmla="*/ 1996231 w 4044707"/>
                <a:gd name="connsiteY8397" fmla="*/ 1668306 h 2907193"/>
                <a:gd name="connsiteX8398" fmla="*/ 1990696 w 4044707"/>
                <a:gd name="connsiteY8398" fmla="*/ 1668306 h 2907193"/>
                <a:gd name="connsiteX8399" fmla="*/ 1989939 w 4044707"/>
                <a:gd name="connsiteY8399" fmla="*/ 1667641 h 2907193"/>
                <a:gd name="connsiteX8400" fmla="*/ 1988669 w 4044707"/>
                <a:gd name="connsiteY8400" fmla="*/ 1664616 h 2907193"/>
                <a:gd name="connsiteX8401" fmla="*/ 1987943 w 4044707"/>
                <a:gd name="connsiteY8401" fmla="*/ 1663950 h 2907193"/>
                <a:gd name="connsiteX8402" fmla="*/ 1987156 w 4044707"/>
                <a:gd name="connsiteY8402" fmla="*/ 1663466 h 2907193"/>
                <a:gd name="connsiteX8403" fmla="*/ 1985553 w 4044707"/>
                <a:gd name="connsiteY8403" fmla="*/ 1661469 h 2907193"/>
                <a:gd name="connsiteX8404" fmla="*/ 1984494 w 4044707"/>
                <a:gd name="connsiteY8404" fmla="*/ 1661016 h 2907193"/>
                <a:gd name="connsiteX8405" fmla="*/ 1983950 w 4044707"/>
                <a:gd name="connsiteY8405" fmla="*/ 1661742 h 2907193"/>
                <a:gd name="connsiteX8406" fmla="*/ 1983344 w 4044707"/>
                <a:gd name="connsiteY8406" fmla="*/ 1663345 h 2907193"/>
                <a:gd name="connsiteX8407" fmla="*/ 1982558 w 4044707"/>
                <a:gd name="connsiteY8407" fmla="*/ 1664857 h 2907193"/>
                <a:gd name="connsiteX8408" fmla="*/ 1982800 w 4044707"/>
                <a:gd name="connsiteY8408" fmla="*/ 1665190 h 2907193"/>
                <a:gd name="connsiteX8409" fmla="*/ 1983224 w 4044707"/>
                <a:gd name="connsiteY8409" fmla="*/ 1665765 h 2907193"/>
                <a:gd name="connsiteX8410" fmla="*/ 1983435 w 4044707"/>
                <a:gd name="connsiteY8410" fmla="*/ 1666884 h 2907193"/>
                <a:gd name="connsiteX8411" fmla="*/ 1984222 w 4044707"/>
                <a:gd name="connsiteY8411" fmla="*/ 1666551 h 2907193"/>
                <a:gd name="connsiteX8412" fmla="*/ 1985341 w 4044707"/>
                <a:gd name="connsiteY8412" fmla="*/ 1667762 h 2907193"/>
                <a:gd name="connsiteX8413" fmla="*/ 1986339 w 4044707"/>
                <a:gd name="connsiteY8413" fmla="*/ 1670000 h 2907193"/>
                <a:gd name="connsiteX8414" fmla="*/ 1986854 w 4044707"/>
                <a:gd name="connsiteY8414" fmla="*/ 1672723 h 2907193"/>
                <a:gd name="connsiteX8415" fmla="*/ 1983919 w 4044707"/>
                <a:gd name="connsiteY8415" fmla="*/ 1671785 h 2907193"/>
                <a:gd name="connsiteX8416" fmla="*/ 1978383 w 4044707"/>
                <a:gd name="connsiteY8416" fmla="*/ 1666612 h 2907193"/>
                <a:gd name="connsiteX8417" fmla="*/ 1975116 w 4044707"/>
                <a:gd name="connsiteY8417" fmla="*/ 1665432 h 2907193"/>
                <a:gd name="connsiteX8418" fmla="*/ 1973694 w 4044707"/>
                <a:gd name="connsiteY8418" fmla="*/ 1665977 h 2907193"/>
                <a:gd name="connsiteX8419" fmla="*/ 1972273 w 4044707"/>
                <a:gd name="connsiteY8419" fmla="*/ 1667126 h 2907193"/>
                <a:gd name="connsiteX8420" fmla="*/ 1971062 w 4044707"/>
                <a:gd name="connsiteY8420" fmla="*/ 1668851 h 2907193"/>
                <a:gd name="connsiteX8421" fmla="*/ 1970367 w 4044707"/>
                <a:gd name="connsiteY8421" fmla="*/ 1671119 h 2907193"/>
                <a:gd name="connsiteX8422" fmla="*/ 1979321 w 4044707"/>
                <a:gd name="connsiteY8422" fmla="*/ 1671119 h 2907193"/>
                <a:gd name="connsiteX8423" fmla="*/ 1980047 w 4044707"/>
                <a:gd name="connsiteY8423" fmla="*/ 1671604 h 2907193"/>
                <a:gd name="connsiteX8424" fmla="*/ 1980440 w 4044707"/>
                <a:gd name="connsiteY8424" fmla="*/ 1672632 h 2907193"/>
                <a:gd name="connsiteX8425" fmla="*/ 1980712 w 4044707"/>
                <a:gd name="connsiteY8425" fmla="*/ 1673691 h 2907193"/>
                <a:gd name="connsiteX8426" fmla="*/ 1981045 w 4044707"/>
                <a:gd name="connsiteY8426" fmla="*/ 1674175 h 2907193"/>
                <a:gd name="connsiteX8427" fmla="*/ 1982164 w 4044707"/>
                <a:gd name="connsiteY8427" fmla="*/ 1674266 h 2907193"/>
                <a:gd name="connsiteX8428" fmla="*/ 1983163 w 4044707"/>
                <a:gd name="connsiteY8428" fmla="*/ 1674750 h 2907193"/>
                <a:gd name="connsiteX8429" fmla="*/ 1983859 w 4044707"/>
                <a:gd name="connsiteY8429" fmla="*/ 1675809 h 2907193"/>
                <a:gd name="connsiteX8430" fmla="*/ 1984131 w 4044707"/>
                <a:gd name="connsiteY8430" fmla="*/ 1677745 h 2907193"/>
                <a:gd name="connsiteX8431" fmla="*/ 1984736 w 4044707"/>
                <a:gd name="connsiteY8431" fmla="*/ 1679560 h 2907193"/>
                <a:gd name="connsiteX8432" fmla="*/ 1986128 w 4044707"/>
                <a:gd name="connsiteY8432" fmla="*/ 1680104 h 2907193"/>
                <a:gd name="connsiteX8433" fmla="*/ 1988941 w 4044707"/>
                <a:gd name="connsiteY8433" fmla="*/ 1679862 h 2907193"/>
                <a:gd name="connsiteX8434" fmla="*/ 1988941 w 4044707"/>
                <a:gd name="connsiteY8434" fmla="*/ 1681466 h 2907193"/>
                <a:gd name="connsiteX8435" fmla="*/ 1985492 w 4044707"/>
                <a:gd name="connsiteY8435" fmla="*/ 1683644 h 2907193"/>
                <a:gd name="connsiteX8436" fmla="*/ 1983859 w 4044707"/>
                <a:gd name="connsiteY8436" fmla="*/ 1683795 h 2907193"/>
                <a:gd name="connsiteX8437" fmla="*/ 1980743 w 4044707"/>
                <a:gd name="connsiteY8437" fmla="*/ 1679923 h 2907193"/>
                <a:gd name="connsiteX8438" fmla="*/ 1978746 w 4044707"/>
                <a:gd name="connsiteY8438" fmla="*/ 1678864 h 2907193"/>
                <a:gd name="connsiteX8439" fmla="*/ 1974420 w 4044707"/>
                <a:gd name="connsiteY8439" fmla="*/ 1678561 h 2907193"/>
                <a:gd name="connsiteX8440" fmla="*/ 1974420 w 4044707"/>
                <a:gd name="connsiteY8440" fmla="*/ 1679892 h 2907193"/>
                <a:gd name="connsiteX8441" fmla="*/ 1977899 w 4044707"/>
                <a:gd name="connsiteY8441" fmla="*/ 1682192 h 2907193"/>
                <a:gd name="connsiteX8442" fmla="*/ 1979321 w 4044707"/>
                <a:gd name="connsiteY8442" fmla="*/ 1684279 h 2907193"/>
                <a:gd name="connsiteX8443" fmla="*/ 1979926 w 4044707"/>
                <a:gd name="connsiteY8443" fmla="*/ 1687304 h 2907193"/>
                <a:gd name="connsiteX8444" fmla="*/ 1975691 w 4044707"/>
                <a:gd name="connsiteY8444" fmla="*/ 1682887 h 2907193"/>
                <a:gd name="connsiteX8445" fmla="*/ 1973331 w 4044707"/>
                <a:gd name="connsiteY8445" fmla="*/ 1681526 h 2907193"/>
                <a:gd name="connsiteX8446" fmla="*/ 1971002 w 4044707"/>
                <a:gd name="connsiteY8446" fmla="*/ 1681526 h 2907193"/>
                <a:gd name="connsiteX8447" fmla="*/ 1971698 w 4044707"/>
                <a:gd name="connsiteY8447" fmla="*/ 1682948 h 2907193"/>
                <a:gd name="connsiteX8448" fmla="*/ 1971032 w 4044707"/>
                <a:gd name="connsiteY8448" fmla="*/ 1682827 h 2907193"/>
                <a:gd name="connsiteX8449" fmla="*/ 1968945 w 4044707"/>
                <a:gd name="connsiteY8449" fmla="*/ 1682948 h 2907193"/>
                <a:gd name="connsiteX8450" fmla="*/ 1969126 w 4044707"/>
                <a:gd name="connsiteY8450" fmla="*/ 1686971 h 2907193"/>
                <a:gd name="connsiteX8451" fmla="*/ 1968884 w 4044707"/>
                <a:gd name="connsiteY8451" fmla="*/ 1690843 h 2907193"/>
                <a:gd name="connsiteX8452" fmla="*/ 1969701 w 4044707"/>
                <a:gd name="connsiteY8452" fmla="*/ 1693354 h 2907193"/>
                <a:gd name="connsiteX8453" fmla="*/ 1973089 w 4044707"/>
                <a:gd name="connsiteY8453" fmla="*/ 1693264 h 2907193"/>
                <a:gd name="connsiteX8454" fmla="*/ 1973089 w 4044707"/>
                <a:gd name="connsiteY8454" fmla="*/ 1694595 h 2907193"/>
                <a:gd name="connsiteX8455" fmla="*/ 1971576 w 4044707"/>
                <a:gd name="connsiteY8455" fmla="*/ 1694474 h 2907193"/>
                <a:gd name="connsiteX8456" fmla="*/ 1970185 w 4044707"/>
                <a:gd name="connsiteY8456" fmla="*/ 1694837 h 2907193"/>
                <a:gd name="connsiteX8457" fmla="*/ 1968854 w 4044707"/>
                <a:gd name="connsiteY8457" fmla="*/ 1695623 h 2907193"/>
                <a:gd name="connsiteX8458" fmla="*/ 1967523 w 4044707"/>
                <a:gd name="connsiteY8458" fmla="*/ 1696773 h 2907193"/>
                <a:gd name="connsiteX8459" fmla="*/ 1964619 w 4044707"/>
                <a:gd name="connsiteY8459" fmla="*/ 1695865 h 2907193"/>
                <a:gd name="connsiteX8460" fmla="*/ 1962985 w 4044707"/>
                <a:gd name="connsiteY8460" fmla="*/ 1696198 h 2907193"/>
                <a:gd name="connsiteX8461" fmla="*/ 1963046 w 4044707"/>
                <a:gd name="connsiteY8461" fmla="*/ 1698346 h 2907193"/>
                <a:gd name="connsiteX8462" fmla="*/ 1963590 w 4044707"/>
                <a:gd name="connsiteY8462" fmla="*/ 1701189 h 2907193"/>
                <a:gd name="connsiteX8463" fmla="*/ 1958992 w 4044707"/>
                <a:gd name="connsiteY8463" fmla="*/ 1698921 h 2907193"/>
                <a:gd name="connsiteX8464" fmla="*/ 1956481 w 4044707"/>
                <a:gd name="connsiteY8464" fmla="*/ 1699102 h 2907193"/>
                <a:gd name="connsiteX8465" fmla="*/ 1956874 w 4044707"/>
                <a:gd name="connsiteY8465" fmla="*/ 1701250 h 2907193"/>
                <a:gd name="connsiteX8466" fmla="*/ 1957147 w 4044707"/>
                <a:gd name="connsiteY8466" fmla="*/ 1702037 h 2907193"/>
                <a:gd name="connsiteX8467" fmla="*/ 1952125 w 4044707"/>
                <a:gd name="connsiteY8467" fmla="*/ 1703731 h 2907193"/>
                <a:gd name="connsiteX8468" fmla="*/ 1949614 w 4044707"/>
                <a:gd name="connsiteY8468" fmla="*/ 1705213 h 2907193"/>
                <a:gd name="connsiteX8469" fmla="*/ 1948253 w 4044707"/>
                <a:gd name="connsiteY8469" fmla="*/ 1707724 h 2907193"/>
                <a:gd name="connsiteX8470" fmla="*/ 1956118 w 4044707"/>
                <a:gd name="connsiteY8470" fmla="*/ 1710174 h 2907193"/>
                <a:gd name="connsiteX8471" fmla="*/ 1960353 w 4044707"/>
                <a:gd name="connsiteY8471" fmla="*/ 1713381 h 2907193"/>
                <a:gd name="connsiteX8472" fmla="*/ 1961261 w 4044707"/>
                <a:gd name="connsiteY8472" fmla="*/ 1718009 h 2907193"/>
                <a:gd name="connsiteX8473" fmla="*/ 1960293 w 4044707"/>
                <a:gd name="connsiteY8473" fmla="*/ 1718070 h 2907193"/>
                <a:gd name="connsiteX8474" fmla="*/ 1955755 w 4044707"/>
                <a:gd name="connsiteY8474" fmla="*/ 1713653 h 2907193"/>
                <a:gd name="connsiteX8475" fmla="*/ 1953456 w 4044707"/>
                <a:gd name="connsiteY8475" fmla="*/ 1712776 h 2907193"/>
                <a:gd name="connsiteX8476" fmla="*/ 1949191 w 4044707"/>
                <a:gd name="connsiteY8476" fmla="*/ 1713714 h 2907193"/>
                <a:gd name="connsiteX8477" fmla="*/ 1946831 w 4044707"/>
                <a:gd name="connsiteY8477" fmla="*/ 1713653 h 2907193"/>
                <a:gd name="connsiteX8478" fmla="*/ 1947043 w 4044707"/>
                <a:gd name="connsiteY8478" fmla="*/ 1714591 h 2907193"/>
                <a:gd name="connsiteX8479" fmla="*/ 1947133 w 4044707"/>
                <a:gd name="connsiteY8479" fmla="*/ 1714651 h 2907193"/>
                <a:gd name="connsiteX8480" fmla="*/ 1947436 w 4044707"/>
                <a:gd name="connsiteY8480" fmla="*/ 1715105 h 2907193"/>
                <a:gd name="connsiteX8481" fmla="*/ 1945893 w 4044707"/>
                <a:gd name="connsiteY8481" fmla="*/ 1716466 h 2907193"/>
                <a:gd name="connsiteX8482" fmla="*/ 1944229 w 4044707"/>
                <a:gd name="connsiteY8482" fmla="*/ 1716164 h 2907193"/>
                <a:gd name="connsiteX8483" fmla="*/ 1942445 w 4044707"/>
                <a:gd name="connsiteY8483" fmla="*/ 1715347 h 2907193"/>
                <a:gd name="connsiteX8484" fmla="*/ 1940629 w 4044707"/>
                <a:gd name="connsiteY8484" fmla="*/ 1715105 h 2907193"/>
                <a:gd name="connsiteX8485" fmla="*/ 1940902 w 4044707"/>
                <a:gd name="connsiteY8485" fmla="*/ 1715740 h 2907193"/>
                <a:gd name="connsiteX8486" fmla="*/ 1941113 w 4044707"/>
                <a:gd name="connsiteY8486" fmla="*/ 1716466 h 2907193"/>
                <a:gd name="connsiteX8487" fmla="*/ 1941416 w 4044707"/>
                <a:gd name="connsiteY8487" fmla="*/ 1717223 h 2907193"/>
                <a:gd name="connsiteX8488" fmla="*/ 1941991 w 4044707"/>
                <a:gd name="connsiteY8488" fmla="*/ 1718009 h 2907193"/>
                <a:gd name="connsiteX8489" fmla="*/ 1941325 w 4044707"/>
                <a:gd name="connsiteY8489" fmla="*/ 1720218 h 2907193"/>
                <a:gd name="connsiteX8490" fmla="*/ 1941446 w 4044707"/>
                <a:gd name="connsiteY8490" fmla="*/ 1721972 h 2907193"/>
                <a:gd name="connsiteX8491" fmla="*/ 1942202 w 4044707"/>
                <a:gd name="connsiteY8491" fmla="*/ 1723213 h 2907193"/>
                <a:gd name="connsiteX8492" fmla="*/ 1943382 w 4044707"/>
                <a:gd name="connsiteY8492" fmla="*/ 1723818 h 2907193"/>
                <a:gd name="connsiteX8493" fmla="*/ 1939268 w 4044707"/>
                <a:gd name="connsiteY8493" fmla="*/ 1723818 h 2907193"/>
                <a:gd name="connsiteX8494" fmla="*/ 1939268 w 4044707"/>
                <a:gd name="connsiteY8494" fmla="*/ 1725270 h 2907193"/>
                <a:gd name="connsiteX8495" fmla="*/ 1939752 w 4044707"/>
                <a:gd name="connsiteY8495" fmla="*/ 1726026 h 2907193"/>
                <a:gd name="connsiteX8496" fmla="*/ 1940629 w 4044707"/>
                <a:gd name="connsiteY8496" fmla="*/ 1728295 h 2907193"/>
                <a:gd name="connsiteX8497" fmla="*/ 1938905 w 4044707"/>
                <a:gd name="connsiteY8497" fmla="*/ 1727478 h 2907193"/>
                <a:gd name="connsiteX8498" fmla="*/ 1936999 w 4044707"/>
                <a:gd name="connsiteY8498" fmla="*/ 1727962 h 2907193"/>
                <a:gd name="connsiteX8499" fmla="*/ 1935366 w 4044707"/>
                <a:gd name="connsiteY8499" fmla="*/ 1729656 h 2907193"/>
                <a:gd name="connsiteX8500" fmla="*/ 1934398 w 4044707"/>
                <a:gd name="connsiteY8500" fmla="*/ 1732469 h 2907193"/>
                <a:gd name="connsiteX8501" fmla="*/ 1942838 w 4044707"/>
                <a:gd name="connsiteY8501" fmla="*/ 1732409 h 2907193"/>
                <a:gd name="connsiteX8502" fmla="*/ 1945470 w 4044707"/>
                <a:gd name="connsiteY8502" fmla="*/ 1731017 h 2907193"/>
                <a:gd name="connsiteX8503" fmla="*/ 1944592 w 4044707"/>
                <a:gd name="connsiteY8503" fmla="*/ 1734012 h 2907193"/>
                <a:gd name="connsiteX8504" fmla="*/ 1942898 w 4044707"/>
                <a:gd name="connsiteY8504" fmla="*/ 1735767 h 2907193"/>
                <a:gd name="connsiteX8505" fmla="*/ 1934428 w 4044707"/>
                <a:gd name="connsiteY8505" fmla="*/ 1738247 h 2907193"/>
                <a:gd name="connsiteX8506" fmla="*/ 1933460 w 4044707"/>
                <a:gd name="connsiteY8506" fmla="*/ 1737794 h 2907193"/>
                <a:gd name="connsiteX8507" fmla="*/ 1932038 w 4044707"/>
                <a:gd name="connsiteY8507" fmla="*/ 1735797 h 2907193"/>
                <a:gd name="connsiteX8508" fmla="*/ 1927168 w 4044707"/>
                <a:gd name="connsiteY8508" fmla="*/ 1732802 h 2907193"/>
                <a:gd name="connsiteX8509" fmla="*/ 1924929 w 4044707"/>
                <a:gd name="connsiteY8509" fmla="*/ 1732106 h 2907193"/>
                <a:gd name="connsiteX8510" fmla="*/ 1923326 w 4044707"/>
                <a:gd name="connsiteY8510" fmla="*/ 1734073 h 2907193"/>
                <a:gd name="connsiteX8511" fmla="*/ 1923114 w 4044707"/>
                <a:gd name="connsiteY8511" fmla="*/ 1737068 h 2907193"/>
                <a:gd name="connsiteX8512" fmla="*/ 1923870 w 4044707"/>
                <a:gd name="connsiteY8512" fmla="*/ 1739911 h 2907193"/>
                <a:gd name="connsiteX8513" fmla="*/ 1925050 w 4044707"/>
                <a:gd name="connsiteY8513" fmla="*/ 1742331 h 2907193"/>
                <a:gd name="connsiteX8514" fmla="*/ 1926139 w 4044707"/>
                <a:gd name="connsiteY8514" fmla="*/ 1744026 h 2907193"/>
                <a:gd name="connsiteX8515" fmla="*/ 1925020 w 4044707"/>
                <a:gd name="connsiteY8515" fmla="*/ 1746809 h 2907193"/>
                <a:gd name="connsiteX8516" fmla="*/ 1925020 w 4044707"/>
                <a:gd name="connsiteY8516" fmla="*/ 1747867 h 2907193"/>
                <a:gd name="connsiteX8517" fmla="*/ 1925413 w 4044707"/>
                <a:gd name="connsiteY8517" fmla="*/ 1749803 h 2907193"/>
                <a:gd name="connsiteX8518" fmla="*/ 1923386 w 4044707"/>
                <a:gd name="connsiteY8518" fmla="*/ 1749561 h 2907193"/>
                <a:gd name="connsiteX8519" fmla="*/ 1922690 w 4044707"/>
                <a:gd name="connsiteY8519" fmla="*/ 1751800 h 2907193"/>
                <a:gd name="connsiteX8520" fmla="*/ 1922509 w 4044707"/>
                <a:gd name="connsiteY8520" fmla="*/ 1755219 h 2907193"/>
                <a:gd name="connsiteX8521" fmla="*/ 1921995 w 4044707"/>
                <a:gd name="connsiteY8521" fmla="*/ 1758607 h 2907193"/>
                <a:gd name="connsiteX8522" fmla="*/ 1920815 w 4044707"/>
                <a:gd name="connsiteY8522" fmla="*/ 1760634 h 2907193"/>
                <a:gd name="connsiteX8523" fmla="*/ 1918032 w 4044707"/>
                <a:gd name="connsiteY8523" fmla="*/ 1763205 h 2907193"/>
                <a:gd name="connsiteX8524" fmla="*/ 1917184 w 4044707"/>
                <a:gd name="connsiteY8524" fmla="*/ 1765776 h 2907193"/>
                <a:gd name="connsiteX8525" fmla="*/ 1919877 w 4044707"/>
                <a:gd name="connsiteY8525" fmla="*/ 1765716 h 2907193"/>
                <a:gd name="connsiteX8526" fmla="*/ 1922902 w 4044707"/>
                <a:gd name="connsiteY8526" fmla="*/ 1764687 h 2907193"/>
                <a:gd name="connsiteX8527" fmla="*/ 1929497 w 4044707"/>
                <a:gd name="connsiteY8527" fmla="*/ 1759998 h 2907193"/>
                <a:gd name="connsiteX8528" fmla="*/ 1930072 w 4044707"/>
                <a:gd name="connsiteY8528" fmla="*/ 1760845 h 2907193"/>
                <a:gd name="connsiteX8529" fmla="*/ 1930586 w 4044707"/>
                <a:gd name="connsiteY8529" fmla="*/ 1762207 h 2907193"/>
                <a:gd name="connsiteX8530" fmla="*/ 1931675 w 4044707"/>
                <a:gd name="connsiteY8530" fmla="*/ 1762902 h 2907193"/>
                <a:gd name="connsiteX8531" fmla="*/ 1932855 w 4044707"/>
                <a:gd name="connsiteY8531" fmla="*/ 1762267 h 2907193"/>
                <a:gd name="connsiteX8532" fmla="*/ 1933883 w 4044707"/>
                <a:gd name="connsiteY8532" fmla="*/ 1760997 h 2907193"/>
                <a:gd name="connsiteX8533" fmla="*/ 1934972 w 4044707"/>
                <a:gd name="connsiteY8533" fmla="*/ 1759968 h 2907193"/>
                <a:gd name="connsiteX8534" fmla="*/ 1936485 w 4044707"/>
                <a:gd name="connsiteY8534" fmla="*/ 1760028 h 2907193"/>
                <a:gd name="connsiteX8535" fmla="*/ 1932371 w 4044707"/>
                <a:gd name="connsiteY8535" fmla="*/ 1764294 h 2907193"/>
                <a:gd name="connsiteX8536" fmla="*/ 1920845 w 4044707"/>
                <a:gd name="connsiteY8536" fmla="*/ 1769497 h 2907193"/>
                <a:gd name="connsiteX8537" fmla="*/ 1917880 w 4044707"/>
                <a:gd name="connsiteY8537" fmla="*/ 1774428 h 2907193"/>
                <a:gd name="connsiteX8538" fmla="*/ 1919756 w 4044707"/>
                <a:gd name="connsiteY8538" fmla="*/ 1774337 h 2907193"/>
                <a:gd name="connsiteX8539" fmla="*/ 1922963 w 4044707"/>
                <a:gd name="connsiteY8539" fmla="*/ 1772129 h 2907193"/>
                <a:gd name="connsiteX8540" fmla="*/ 1926714 w 4044707"/>
                <a:gd name="connsiteY8540" fmla="*/ 1771101 h 2907193"/>
                <a:gd name="connsiteX8541" fmla="*/ 1930011 w 4044707"/>
                <a:gd name="connsiteY8541" fmla="*/ 1769134 h 2907193"/>
                <a:gd name="connsiteX8542" fmla="*/ 1933188 w 4044707"/>
                <a:gd name="connsiteY8542" fmla="*/ 1768075 h 2907193"/>
                <a:gd name="connsiteX8543" fmla="*/ 1936243 w 4044707"/>
                <a:gd name="connsiteY8543" fmla="*/ 1765262 h 2907193"/>
                <a:gd name="connsiteX8544" fmla="*/ 1937816 w 4044707"/>
                <a:gd name="connsiteY8544" fmla="*/ 1764536 h 2907193"/>
                <a:gd name="connsiteX8545" fmla="*/ 1939540 w 4044707"/>
                <a:gd name="connsiteY8545" fmla="*/ 1764929 h 2907193"/>
                <a:gd name="connsiteX8546" fmla="*/ 1940902 w 4044707"/>
                <a:gd name="connsiteY8546" fmla="*/ 1766291 h 2907193"/>
                <a:gd name="connsiteX8547" fmla="*/ 1943382 w 4044707"/>
                <a:gd name="connsiteY8547" fmla="*/ 1770284 h 2907193"/>
                <a:gd name="connsiteX8548" fmla="*/ 1941023 w 4044707"/>
                <a:gd name="connsiteY8548" fmla="*/ 1771161 h 2907193"/>
                <a:gd name="connsiteX8549" fmla="*/ 1935214 w 4044707"/>
                <a:gd name="connsiteY8549" fmla="*/ 1769679 h 2907193"/>
                <a:gd name="connsiteX8550" fmla="*/ 1930404 w 4044707"/>
                <a:gd name="connsiteY8550" fmla="*/ 1774610 h 2907193"/>
                <a:gd name="connsiteX8551" fmla="*/ 1920573 w 4044707"/>
                <a:gd name="connsiteY8551" fmla="*/ 1777453 h 2907193"/>
                <a:gd name="connsiteX8552" fmla="*/ 1917184 w 4044707"/>
                <a:gd name="connsiteY8552" fmla="*/ 1781204 h 2907193"/>
                <a:gd name="connsiteX8553" fmla="*/ 1916065 w 4044707"/>
                <a:gd name="connsiteY8553" fmla="*/ 1781749 h 2907193"/>
                <a:gd name="connsiteX8554" fmla="*/ 1914159 w 4044707"/>
                <a:gd name="connsiteY8554" fmla="*/ 1781658 h 2907193"/>
                <a:gd name="connsiteX8555" fmla="*/ 1914250 w 4044707"/>
                <a:gd name="connsiteY8555" fmla="*/ 1781174 h 2907193"/>
                <a:gd name="connsiteX8556" fmla="*/ 1914946 w 4044707"/>
                <a:gd name="connsiteY8556" fmla="*/ 1780115 h 2907193"/>
                <a:gd name="connsiteX8557" fmla="*/ 1914734 w 4044707"/>
                <a:gd name="connsiteY8557" fmla="*/ 1778149 h 2907193"/>
                <a:gd name="connsiteX8558" fmla="*/ 1912707 w 4044707"/>
                <a:gd name="connsiteY8558" fmla="*/ 1777786 h 2907193"/>
                <a:gd name="connsiteX8559" fmla="*/ 1902664 w 4044707"/>
                <a:gd name="connsiteY8559" fmla="*/ 1781749 h 2907193"/>
                <a:gd name="connsiteX8560" fmla="*/ 1904570 w 4044707"/>
                <a:gd name="connsiteY8560" fmla="*/ 1783625 h 2907193"/>
                <a:gd name="connsiteX8561" fmla="*/ 1906536 w 4044707"/>
                <a:gd name="connsiteY8561" fmla="*/ 1784502 h 2907193"/>
                <a:gd name="connsiteX8562" fmla="*/ 1910923 w 4044707"/>
                <a:gd name="connsiteY8562" fmla="*/ 1784774 h 2907193"/>
                <a:gd name="connsiteX8563" fmla="*/ 1910923 w 4044707"/>
                <a:gd name="connsiteY8563" fmla="*/ 1786075 h 2907193"/>
                <a:gd name="connsiteX8564" fmla="*/ 1906596 w 4044707"/>
                <a:gd name="connsiteY8564" fmla="*/ 1786408 h 2907193"/>
                <a:gd name="connsiteX8565" fmla="*/ 1889656 w 4044707"/>
                <a:gd name="connsiteY8565" fmla="*/ 1795392 h 2907193"/>
                <a:gd name="connsiteX8566" fmla="*/ 1877888 w 4044707"/>
                <a:gd name="connsiteY8566" fmla="*/ 1804680 h 2907193"/>
                <a:gd name="connsiteX8567" fmla="*/ 1881458 w 4044707"/>
                <a:gd name="connsiteY8567" fmla="*/ 1807886 h 2907193"/>
                <a:gd name="connsiteX8568" fmla="*/ 1901272 w 4044707"/>
                <a:gd name="connsiteY8568" fmla="*/ 1804680 h 2907193"/>
                <a:gd name="connsiteX8569" fmla="*/ 1901272 w 4044707"/>
                <a:gd name="connsiteY8569" fmla="*/ 1806101 h 2907193"/>
                <a:gd name="connsiteX8570" fmla="*/ 1895373 w 4044707"/>
                <a:gd name="connsiteY8570" fmla="*/ 1807069 h 2907193"/>
                <a:gd name="connsiteX8571" fmla="*/ 1878584 w 4044707"/>
                <a:gd name="connsiteY8571" fmla="*/ 1814783 h 2907193"/>
                <a:gd name="connsiteX8572" fmla="*/ 1878584 w 4044707"/>
                <a:gd name="connsiteY8572" fmla="*/ 1816084 h 2907193"/>
                <a:gd name="connsiteX8573" fmla="*/ 1880096 w 4044707"/>
                <a:gd name="connsiteY8573" fmla="*/ 1818807 h 2907193"/>
                <a:gd name="connsiteX8574" fmla="*/ 1878433 w 4044707"/>
                <a:gd name="connsiteY8574" fmla="*/ 1823738 h 2907193"/>
                <a:gd name="connsiteX8575" fmla="*/ 1877706 w 4044707"/>
                <a:gd name="connsiteY8575" fmla="*/ 1827398 h 2907193"/>
                <a:gd name="connsiteX8576" fmla="*/ 1882002 w 4044707"/>
                <a:gd name="connsiteY8576" fmla="*/ 1826188 h 2907193"/>
                <a:gd name="connsiteX8577" fmla="*/ 1885451 w 4044707"/>
                <a:gd name="connsiteY8577" fmla="*/ 1823345 h 2907193"/>
                <a:gd name="connsiteX8578" fmla="*/ 1885935 w 4044707"/>
                <a:gd name="connsiteY8578" fmla="*/ 1823163 h 2907193"/>
                <a:gd name="connsiteX8579" fmla="*/ 1887084 w 4044707"/>
                <a:gd name="connsiteY8579" fmla="*/ 1823496 h 2907193"/>
                <a:gd name="connsiteX8580" fmla="*/ 1887599 w 4044707"/>
                <a:gd name="connsiteY8580" fmla="*/ 1823345 h 2907193"/>
                <a:gd name="connsiteX8581" fmla="*/ 1887659 w 4044707"/>
                <a:gd name="connsiteY8581" fmla="*/ 1822891 h 2907193"/>
                <a:gd name="connsiteX8582" fmla="*/ 1887750 w 4044707"/>
                <a:gd name="connsiteY8582" fmla="*/ 1821953 h 2907193"/>
                <a:gd name="connsiteX8583" fmla="*/ 1887931 w 4044707"/>
                <a:gd name="connsiteY8583" fmla="*/ 1820985 h 2907193"/>
                <a:gd name="connsiteX8584" fmla="*/ 1888264 w 4044707"/>
                <a:gd name="connsiteY8584" fmla="*/ 1820380 h 2907193"/>
                <a:gd name="connsiteX8585" fmla="*/ 1896311 w 4044707"/>
                <a:gd name="connsiteY8585" fmla="*/ 1819805 h 2907193"/>
                <a:gd name="connsiteX8586" fmla="*/ 1901424 w 4044707"/>
                <a:gd name="connsiteY8586" fmla="*/ 1815389 h 2907193"/>
                <a:gd name="connsiteX8587" fmla="*/ 1909289 w 4044707"/>
                <a:gd name="connsiteY8587" fmla="*/ 1813634 h 2907193"/>
                <a:gd name="connsiteX8588" fmla="*/ 1914220 w 4044707"/>
                <a:gd name="connsiteY8588" fmla="*/ 1808280 h 2907193"/>
                <a:gd name="connsiteX8589" fmla="*/ 1919181 w 4044707"/>
                <a:gd name="connsiteY8589" fmla="*/ 1806404 h 2907193"/>
                <a:gd name="connsiteX8590" fmla="*/ 1920996 w 4044707"/>
                <a:gd name="connsiteY8590" fmla="*/ 1806132 h 2907193"/>
                <a:gd name="connsiteX8591" fmla="*/ 1922811 w 4044707"/>
                <a:gd name="connsiteY8591" fmla="*/ 1805194 h 2907193"/>
                <a:gd name="connsiteX8592" fmla="*/ 1924838 w 4044707"/>
                <a:gd name="connsiteY8592" fmla="*/ 1803500 h 2907193"/>
                <a:gd name="connsiteX8593" fmla="*/ 1926593 w 4044707"/>
                <a:gd name="connsiteY8593" fmla="*/ 1802804 h 2907193"/>
                <a:gd name="connsiteX8594" fmla="*/ 1927591 w 4044707"/>
                <a:gd name="connsiteY8594" fmla="*/ 1804710 h 2907193"/>
                <a:gd name="connsiteX8595" fmla="*/ 1926442 w 4044707"/>
                <a:gd name="connsiteY8595" fmla="*/ 1805345 h 2907193"/>
                <a:gd name="connsiteX8596" fmla="*/ 1925413 w 4044707"/>
                <a:gd name="connsiteY8596" fmla="*/ 1806495 h 2907193"/>
                <a:gd name="connsiteX8597" fmla="*/ 1924596 w 4044707"/>
                <a:gd name="connsiteY8597" fmla="*/ 1808249 h 2907193"/>
                <a:gd name="connsiteX8598" fmla="*/ 1924173 w 4044707"/>
                <a:gd name="connsiteY8598" fmla="*/ 1810579 h 2907193"/>
                <a:gd name="connsiteX8599" fmla="*/ 1926683 w 4044707"/>
                <a:gd name="connsiteY8599" fmla="*/ 1810276 h 2907193"/>
                <a:gd name="connsiteX8600" fmla="*/ 1931282 w 4044707"/>
                <a:gd name="connsiteY8600" fmla="*/ 1806555 h 2907193"/>
                <a:gd name="connsiteX8601" fmla="*/ 1933823 w 4044707"/>
                <a:gd name="connsiteY8601" fmla="*/ 1806192 h 2907193"/>
                <a:gd name="connsiteX8602" fmla="*/ 1930767 w 4044707"/>
                <a:gd name="connsiteY8602" fmla="*/ 1809883 h 2907193"/>
                <a:gd name="connsiteX8603" fmla="*/ 1927289 w 4044707"/>
                <a:gd name="connsiteY8603" fmla="*/ 1813089 h 2907193"/>
                <a:gd name="connsiteX8604" fmla="*/ 1923628 w 4044707"/>
                <a:gd name="connsiteY8604" fmla="*/ 1815328 h 2907193"/>
                <a:gd name="connsiteX8605" fmla="*/ 1916005 w 4044707"/>
                <a:gd name="connsiteY8605" fmla="*/ 1817083 h 2907193"/>
                <a:gd name="connsiteX8606" fmla="*/ 1907897 w 4044707"/>
                <a:gd name="connsiteY8606" fmla="*/ 1821106 h 2907193"/>
                <a:gd name="connsiteX8607" fmla="*/ 1903420 w 4044707"/>
                <a:gd name="connsiteY8607" fmla="*/ 1822014 h 2907193"/>
                <a:gd name="connsiteX8608" fmla="*/ 1903874 w 4044707"/>
                <a:gd name="connsiteY8608" fmla="*/ 1824162 h 2907193"/>
                <a:gd name="connsiteX8609" fmla="*/ 1904116 w 4044707"/>
                <a:gd name="connsiteY8609" fmla="*/ 1824978 h 2907193"/>
                <a:gd name="connsiteX8610" fmla="*/ 1903541 w 4044707"/>
                <a:gd name="connsiteY8610" fmla="*/ 1825583 h 2907193"/>
                <a:gd name="connsiteX8611" fmla="*/ 1903269 w 4044707"/>
                <a:gd name="connsiteY8611" fmla="*/ 1826188 h 2907193"/>
                <a:gd name="connsiteX8612" fmla="*/ 1903087 w 4044707"/>
                <a:gd name="connsiteY8612" fmla="*/ 1826854 h 2907193"/>
                <a:gd name="connsiteX8613" fmla="*/ 1902754 w 4044707"/>
                <a:gd name="connsiteY8613" fmla="*/ 1827701 h 2907193"/>
                <a:gd name="connsiteX8614" fmla="*/ 1905266 w 4044707"/>
                <a:gd name="connsiteY8614" fmla="*/ 1828881 h 2907193"/>
                <a:gd name="connsiteX8615" fmla="*/ 1906203 w 4044707"/>
                <a:gd name="connsiteY8615" fmla="*/ 1830000 h 2907193"/>
                <a:gd name="connsiteX8616" fmla="*/ 1906899 w 4044707"/>
                <a:gd name="connsiteY8616" fmla="*/ 1831966 h 2907193"/>
                <a:gd name="connsiteX8617" fmla="*/ 1904993 w 4044707"/>
                <a:gd name="connsiteY8617" fmla="*/ 1833207 h 2907193"/>
                <a:gd name="connsiteX8618" fmla="*/ 1904630 w 4044707"/>
                <a:gd name="connsiteY8618" fmla="*/ 1835506 h 2907193"/>
                <a:gd name="connsiteX8619" fmla="*/ 1905387 w 4044707"/>
                <a:gd name="connsiteY8619" fmla="*/ 1838228 h 2907193"/>
                <a:gd name="connsiteX8620" fmla="*/ 1906899 w 4044707"/>
                <a:gd name="connsiteY8620" fmla="*/ 1840649 h 2907193"/>
                <a:gd name="connsiteX8621" fmla="*/ 1908563 w 4044707"/>
                <a:gd name="connsiteY8621" fmla="*/ 1841707 h 2907193"/>
                <a:gd name="connsiteX8622" fmla="*/ 1912163 w 4044707"/>
                <a:gd name="connsiteY8622" fmla="*/ 1842191 h 2907193"/>
                <a:gd name="connsiteX8623" fmla="*/ 1913827 w 4044707"/>
                <a:gd name="connsiteY8623" fmla="*/ 1843371 h 2907193"/>
                <a:gd name="connsiteX8624" fmla="*/ 1913464 w 4044707"/>
                <a:gd name="connsiteY8624" fmla="*/ 1844006 h 2907193"/>
                <a:gd name="connsiteX8625" fmla="*/ 1912405 w 4044707"/>
                <a:gd name="connsiteY8625" fmla="*/ 1846336 h 2907193"/>
                <a:gd name="connsiteX8626" fmla="*/ 1914008 w 4044707"/>
                <a:gd name="connsiteY8626" fmla="*/ 1850601 h 2907193"/>
                <a:gd name="connsiteX8627" fmla="*/ 1914462 w 4044707"/>
                <a:gd name="connsiteY8627" fmla="*/ 1855200 h 2907193"/>
                <a:gd name="connsiteX8628" fmla="*/ 1915460 w 4044707"/>
                <a:gd name="connsiteY8628" fmla="*/ 1858860 h 2907193"/>
                <a:gd name="connsiteX8629" fmla="*/ 1919242 w 4044707"/>
                <a:gd name="connsiteY8629" fmla="*/ 1860554 h 2907193"/>
                <a:gd name="connsiteX8630" fmla="*/ 1919937 w 4044707"/>
                <a:gd name="connsiteY8630" fmla="*/ 1861129 h 2907193"/>
                <a:gd name="connsiteX8631" fmla="*/ 1920603 w 4044707"/>
                <a:gd name="connsiteY8631" fmla="*/ 1861855 h 2907193"/>
                <a:gd name="connsiteX8632" fmla="*/ 1921057 w 4044707"/>
                <a:gd name="connsiteY8632" fmla="*/ 1862611 h 2907193"/>
                <a:gd name="connsiteX8633" fmla="*/ 1921692 w 4044707"/>
                <a:gd name="connsiteY8633" fmla="*/ 1863277 h 2907193"/>
                <a:gd name="connsiteX8634" fmla="*/ 1922237 w 4044707"/>
                <a:gd name="connsiteY8634" fmla="*/ 1862944 h 2907193"/>
                <a:gd name="connsiteX8635" fmla="*/ 1922841 w 4044707"/>
                <a:gd name="connsiteY8635" fmla="*/ 1862278 h 2907193"/>
                <a:gd name="connsiteX8636" fmla="*/ 1923537 w 4044707"/>
                <a:gd name="connsiteY8636" fmla="*/ 1861915 h 2907193"/>
                <a:gd name="connsiteX8637" fmla="*/ 1927833 w 4044707"/>
                <a:gd name="connsiteY8637" fmla="*/ 1861583 h 2907193"/>
                <a:gd name="connsiteX8638" fmla="*/ 1931796 w 4044707"/>
                <a:gd name="connsiteY8638" fmla="*/ 1860372 h 2907193"/>
                <a:gd name="connsiteX8639" fmla="*/ 1940448 w 4044707"/>
                <a:gd name="connsiteY8639" fmla="*/ 1854262 h 2907193"/>
                <a:gd name="connsiteX8640" fmla="*/ 1943201 w 4044707"/>
                <a:gd name="connsiteY8640" fmla="*/ 1853415 h 2907193"/>
                <a:gd name="connsiteX8641" fmla="*/ 1944350 w 4044707"/>
                <a:gd name="connsiteY8641" fmla="*/ 1852719 h 2907193"/>
                <a:gd name="connsiteX8642" fmla="*/ 1946710 w 4044707"/>
                <a:gd name="connsiteY8642" fmla="*/ 1849724 h 2907193"/>
                <a:gd name="connsiteX8643" fmla="*/ 1948041 w 4044707"/>
                <a:gd name="connsiteY8643" fmla="*/ 1849028 h 2907193"/>
                <a:gd name="connsiteX8644" fmla="*/ 1955967 w 4044707"/>
                <a:gd name="connsiteY8644" fmla="*/ 1849028 h 2907193"/>
                <a:gd name="connsiteX8645" fmla="*/ 1957480 w 4044707"/>
                <a:gd name="connsiteY8645" fmla="*/ 1848635 h 2907193"/>
                <a:gd name="connsiteX8646" fmla="*/ 1960625 w 4044707"/>
                <a:gd name="connsiteY8646" fmla="*/ 1846759 h 2907193"/>
                <a:gd name="connsiteX8647" fmla="*/ 1964135 w 4044707"/>
                <a:gd name="connsiteY8647" fmla="*/ 1846124 h 2907193"/>
                <a:gd name="connsiteX8648" fmla="*/ 1965556 w 4044707"/>
                <a:gd name="connsiteY8648" fmla="*/ 1845489 h 2907193"/>
                <a:gd name="connsiteX8649" fmla="*/ 1977022 w 4044707"/>
                <a:gd name="connsiteY8649" fmla="*/ 1837170 h 2907193"/>
                <a:gd name="connsiteX8650" fmla="*/ 1980743 w 4044707"/>
                <a:gd name="connsiteY8650" fmla="*/ 1835959 h 2907193"/>
                <a:gd name="connsiteX8651" fmla="*/ 1984343 w 4044707"/>
                <a:gd name="connsiteY8651" fmla="*/ 1833721 h 2907193"/>
                <a:gd name="connsiteX8652" fmla="*/ 1985280 w 4044707"/>
                <a:gd name="connsiteY8652" fmla="*/ 1832813 h 2907193"/>
                <a:gd name="connsiteX8653" fmla="*/ 1987489 w 4044707"/>
                <a:gd name="connsiteY8653" fmla="*/ 1826703 h 2907193"/>
                <a:gd name="connsiteX8654" fmla="*/ 1988396 w 4044707"/>
                <a:gd name="connsiteY8654" fmla="*/ 1825039 h 2907193"/>
                <a:gd name="connsiteX8655" fmla="*/ 1991300 w 4044707"/>
                <a:gd name="connsiteY8655" fmla="*/ 1823133 h 2907193"/>
                <a:gd name="connsiteX8656" fmla="*/ 1998258 w 4044707"/>
                <a:gd name="connsiteY8656" fmla="*/ 1822377 h 2907193"/>
                <a:gd name="connsiteX8657" fmla="*/ 2005337 w 4044707"/>
                <a:gd name="connsiteY8657" fmla="*/ 1816175 h 2907193"/>
                <a:gd name="connsiteX8658" fmla="*/ 2015290 w 4044707"/>
                <a:gd name="connsiteY8658" fmla="*/ 1813906 h 2907193"/>
                <a:gd name="connsiteX8659" fmla="*/ 2019011 w 4044707"/>
                <a:gd name="connsiteY8659" fmla="*/ 1809913 h 2907193"/>
                <a:gd name="connsiteX8660" fmla="*/ 2019767 w 4044707"/>
                <a:gd name="connsiteY8660" fmla="*/ 1808703 h 2907193"/>
                <a:gd name="connsiteX8661" fmla="*/ 2021491 w 4044707"/>
                <a:gd name="connsiteY8661" fmla="*/ 1807191 h 2907193"/>
                <a:gd name="connsiteX8662" fmla="*/ 2022127 w 4044707"/>
                <a:gd name="connsiteY8662" fmla="*/ 1806283 h 2907193"/>
                <a:gd name="connsiteX8663" fmla="*/ 2022581 w 4044707"/>
                <a:gd name="connsiteY8663" fmla="*/ 1804559 h 2907193"/>
                <a:gd name="connsiteX8664" fmla="*/ 2023064 w 4044707"/>
                <a:gd name="connsiteY8664" fmla="*/ 1800656 h 2907193"/>
                <a:gd name="connsiteX8665" fmla="*/ 2023488 w 4044707"/>
                <a:gd name="connsiteY8665" fmla="*/ 1799113 h 2907193"/>
                <a:gd name="connsiteX8666" fmla="*/ 2025091 w 4044707"/>
                <a:gd name="connsiteY8666" fmla="*/ 1796723 h 2907193"/>
                <a:gd name="connsiteX8667" fmla="*/ 2027330 w 4044707"/>
                <a:gd name="connsiteY8667" fmla="*/ 1794576 h 2907193"/>
                <a:gd name="connsiteX8668" fmla="*/ 2029720 w 4044707"/>
                <a:gd name="connsiteY8668" fmla="*/ 1792881 h 2907193"/>
                <a:gd name="connsiteX8669" fmla="*/ 2031777 w 4044707"/>
                <a:gd name="connsiteY8669" fmla="*/ 1791974 h 2907193"/>
                <a:gd name="connsiteX8670" fmla="*/ 2029962 w 4044707"/>
                <a:gd name="connsiteY8670" fmla="*/ 1786650 h 2907193"/>
                <a:gd name="connsiteX8671" fmla="*/ 2027391 w 4044707"/>
                <a:gd name="connsiteY8671" fmla="*/ 1784411 h 2907193"/>
                <a:gd name="connsiteX8672" fmla="*/ 2024426 w 4044707"/>
                <a:gd name="connsiteY8672" fmla="*/ 1783262 h 2907193"/>
                <a:gd name="connsiteX8673" fmla="*/ 2017801 w 4044707"/>
                <a:gd name="connsiteY8673" fmla="*/ 1778905 h 2907193"/>
                <a:gd name="connsiteX8674" fmla="*/ 2014322 w 4044707"/>
                <a:gd name="connsiteY8674" fmla="*/ 1779631 h 2907193"/>
                <a:gd name="connsiteX8675" fmla="*/ 2001223 w 4044707"/>
                <a:gd name="connsiteY8675" fmla="*/ 1788979 h 2907193"/>
                <a:gd name="connsiteX8676" fmla="*/ 1994235 w 4044707"/>
                <a:gd name="connsiteY8676" fmla="*/ 1790552 h 2907193"/>
                <a:gd name="connsiteX8677" fmla="*/ 1993086 w 4044707"/>
                <a:gd name="connsiteY8677" fmla="*/ 1791097 h 2907193"/>
                <a:gd name="connsiteX8678" fmla="*/ 1987307 w 4044707"/>
                <a:gd name="connsiteY8678" fmla="*/ 1796088 h 2907193"/>
                <a:gd name="connsiteX8679" fmla="*/ 1985432 w 4044707"/>
                <a:gd name="connsiteY8679" fmla="*/ 1797086 h 2907193"/>
                <a:gd name="connsiteX8680" fmla="*/ 1983465 w 4044707"/>
                <a:gd name="connsiteY8680" fmla="*/ 1797661 h 2907193"/>
                <a:gd name="connsiteX8681" fmla="*/ 1981438 w 4044707"/>
                <a:gd name="connsiteY8681" fmla="*/ 1797571 h 2907193"/>
                <a:gd name="connsiteX8682" fmla="*/ 1983617 w 4044707"/>
                <a:gd name="connsiteY8682" fmla="*/ 1795241 h 2907193"/>
                <a:gd name="connsiteX8683" fmla="*/ 1988729 w 4044707"/>
                <a:gd name="connsiteY8683" fmla="*/ 1792518 h 2907193"/>
                <a:gd name="connsiteX8684" fmla="*/ 1993025 w 4044707"/>
                <a:gd name="connsiteY8684" fmla="*/ 1786831 h 2907193"/>
                <a:gd name="connsiteX8685" fmla="*/ 1996171 w 4044707"/>
                <a:gd name="connsiteY8685" fmla="*/ 1784835 h 2907193"/>
                <a:gd name="connsiteX8686" fmla="*/ 2008060 w 4044707"/>
                <a:gd name="connsiteY8686" fmla="*/ 1781174 h 2907193"/>
                <a:gd name="connsiteX8687" fmla="*/ 2011418 w 4044707"/>
                <a:gd name="connsiteY8687" fmla="*/ 1779087 h 2907193"/>
                <a:gd name="connsiteX8688" fmla="*/ 2013505 w 4044707"/>
                <a:gd name="connsiteY8688" fmla="*/ 1776909 h 2907193"/>
                <a:gd name="connsiteX8689" fmla="*/ 2015381 w 4044707"/>
                <a:gd name="connsiteY8689" fmla="*/ 1773914 h 2907193"/>
                <a:gd name="connsiteX8690" fmla="*/ 2017922 w 4044707"/>
                <a:gd name="connsiteY8690" fmla="*/ 1770828 h 2907193"/>
                <a:gd name="connsiteX8691" fmla="*/ 2020584 w 4044707"/>
                <a:gd name="connsiteY8691" fmla="*/ 1768378 h 2907193"/>
                <a:gd name="connsiteX8692" fmla="*/ 2041972 w 4044707"/>
                <a:gd name="connsiteY8692" fmla="*/ 1755914 h 2907193"/>
                <a:gd name="connsiteX8693" fmla="*/ 2044240 w 4044707"/>
                <a:gd name="connsiteY8693" fmla="*/ 1753010 h 2907193"/>
                <a:gd name="connsiteX8694" fmla="*/ 2044846 w 4044707"/>
                <a:gd name="connsiteY8694" fmla="*/ 1751619 h 2907193"/>
                <a:gd name="connsiteX8695" fmla="*/ 2047054 w 4044707"/>
                <a:gd name="connsiteY8695" fmla="*/ 1742210 h 2907193"/>
                <a:gd name="connsiteX8696" fmla="*/ 2054556 w 4044707"/>
                <a:gd name="connsiteY8696" fmla="*/ 1734769 h 2907193"/>
                <a:gd name="connsiteX8697" fmla="*/ 2057400 w 4044707"/>
                <a:gd name="connsiteY8697" fmla="*/ 1733226 h 2907193"/>
                <a:gd name="connsiteX8698" fmla="*/ 2060788 w 4044707"/>
                <a:gd name="connsiteY8698" fmla="*/ 1732651 h 2907193"/>
                <a:gd name="connsiteX8699" fmla="*/ 2059064 w 4044707"/>
                <a:gd name="connsiteY8699" fmla="*/ 1735253 h 2907193"/>
                <a:gd name="connsiteX8700" fmla="*/ 2052529 w 4044707"/>
                <a:gd name="connsiteY8700" fmla="*/ 1741333 h 2907193"/>
                <a:gd name="connsiteX8701" fmla="*/ 2049746 w 4044707"/>
                <a:gd name="connsiteY8701" fmla="*/ 1743027 h 2907193"/>
                <a:gd name="connsiteX8702" fmla="*/ 2048536 w 4044707"/>
                <a:gd name="connsiteY8702" fmla="*/ 1744509 h 2907193"/>
                <a:gd name="connsiteX8703" fmla="*/ 2048688 w 4044707"/>
                <a:gd name="connsiteY8703" fmla="*/ 1746506 h 2907193"/>
                <a:gd name="connsiteX8704" fmla="*/ 2049928 w 4044707"/>
                <a:gd name="connsiteY8704" fmla="*/ 1749410 h 2907193"/>
                <a:gd name="connsiteX8705" fmla="*/ 2050714 w 4044707"/>
                <a:gd name="connsiteY8705" fmla="*/ 1749773 h 2907193"/>
                <a:gd name="connsiteX8706" fmla="*/ 2061211 w 4044707"/>
                <a:gd name="connsiteY8706" fmla="*/ 1751649 h 2907193"/>
                <a:gd name="connsiteX8707" fmla="*/ 2067232 w 4044707"/>
                <a:gd name="connsiteY8707" fmla="*/ 1751346 h 2907193"/>
                <a:gd name="connsiteX8708" fmla="*/ 2068805 w 4044707"/>
                <a:gd name="connsiteY8708" fmla="*/ 1751982 h 2907193"/>
                <a:gd name="connsiteX8709" fmla="*/ 2070075 w 4044707"/>
                <a:gd name="connsiteY8709" fmla="*/ 1753736 h 2907193"/>
                <a:gd name="connsiteX8710" fmla="*/ 2074462 w 4044707"/>
                <a:gd name="connsiteY8710" fmla="*/ 1753010 h 2907193"/>
                <a:gd name="connsiteX8711" fmla="*/ 2073342 w 4044707"/>
                <a:gd name="connsiteY8711" fmla="*/ 1756005 h 2907193"/>
                <a:gd name="connsiteX8712" fmla="*/ 2070953 w 4044707"/>
                <a:gd name="connsiteY8712" fmla="*/ 1758849 h 2907193"/>
                <a:gd name="connsiteX8713" fmla="*/ 2068321 w 4044707"/>
                <a:gd name="connsiteY8713" fmla="*/ 1760966 h 2907193"/>
                <a:gd name="connsiteX8714" fmla="*/ 2054556 w 4044707"/>
                <a:gd name="connsiteY8714" fmla="*/ 1764687 h 2907193"/>
                <a:gd name="connsiteX8715" fmla="*/ 2046842 w 4044707"/>
                <a:gd name="connsiteY8715" fmla="*/ 1768922 h 2907193"/>
                <a:gd name="connsiteX8716" fmla="*/ 2045541 w 4044707"/>
                <a:gd name="connsiteY8716" fmla="*/ 1771070 h 2907193"/>
                <a:gd name="connsiteX8717" fmla="*/ 2044513 w 4044707"/>
                <a:gd name="connsiteY8717" fmla="*/ 1774307 h 2907193"/>
                <a:gd name="connsiteX8718" fmla="*/ 2042123 w 4044707"/>
                <a:gd name="connsiteY8718" fmla="*/ 1776516 h 2907193"/>
                <a:gd name="connsiteX8719" fmla="*/ 2035649 w 4044707"/>
                <a:gd name="connsiteY8719" fmla="*/ 1779692 h 2907193"/>
                <a:gd name="connsiteX8720" fmla="*/ 2034590 w 4044707"/>
                <a:gd name="connsiteY8720" fmla="*/ 1779813 h 2907193"/>
                <a:gd name="connsiteX8721" fmla="*/ 2034046 w 4044707"/>
                <a:gd name="connsiteY8721" fmla="*/ 1780630 h 2907193"/>
                <a:gd name="connsiteX8722" fmla="*/ 2033864 w 4044707"/>
                <a:gd name="connsiteY8722" fmla="*/ 1783322 h 2907193"/>
                <a:gd name="connsiteX8723" fmla="*/ 2033864 w 4044707"/>
                <a:gd name="connsiteY8723" fmla="*/ 1785409 h 2907193"/>
                <a:gd name="connsiteX8724" fmla="*/ 2034076 w 4044707"/>
                <a:gd name="connsiteY8724" fmla="*/ 1787255 h 2907193"/>
                <a:gd name="connsiteX8725" fmla="*/ 2034590 w 4044707"/>
                <a:gd name="connsiteY8725" fmla="*/ 1788556 h 2907193"/>
                <a:gd name="connsiteX8726" fmla="*/ 2035589 w 4044707"/>
                <a:gd name="connsiteY8726" fmla="*/ 1789040 h 2907193"/>
                <a:gd name="connsiteX8727" fmla="*/ 2049686 w 4044707"/>
                <a:gd name="connsiteY8727" fmla="*/ 1785349 h 2907193"/>
                <a:gd name="connsiteX8728" fmla="*/ 2052227 w 4044707"/>
                <a:gd name="connsiteY8728" fmla="*/ 1785349 h 2907193"/>
                <a:gd name="connsiteX8729" fmla="*/ 2054738 w 4044707"/>
                <a:gd name="connsiteY8729" fmla="*/ 1786226 h 2907193"/>
                <a:gd name="connsiteX8730" fmla="*/ 2057309 w 4044707"/>
                <a:gd name="connsiteY8730" fmla="*/ 1788313 h 2907193"/>
                <a:gd name="connsiteX8731" fmla="*/ 2060062 w 4044707"/>
                <a:gd name="connsiteY8731" fmla="*/ 1789342 h 2907193"/>
                <a:gd name="connsiteX8732" fmla="*/ 2066142 w 4044707"/>
                <a:gd name="connsiteY8732" fmla="*/ 1788919 h 2907193"/>
                <a:gd name="connsiteX8733" fmla="*/ 2068411 w 4044707"/>
                <a:gd name="connsiteY8733" fmla="*/ 1791913 h 2907193"/>
                <a:gd name="connsiteX8734" fmla="*/ 2068048 w 4044707"/>
                <a:gd name="connsiteY8734" fmla="*/ 1792579 h 2907193"/>
                <a:gd name="connsiteX8735" fmla="*/ 2067383 w 4044707"/>
                <a:gd name="connsiteY8735" fmla="*/ 1794122 h 2907193"/>
                <a:gd name="connsiteX8736" fmla="*/ 2067020 w 4044707"/>
                <a:gd name="connsiteY8736" fmla="*/ 1794757 h 2907193"/>
                <a:gd name="connsiteX8737" fmla="*/ 2068260 w 4044707"/>
                <a:gd name="connsiteY8737" fmla="*/ 1794818 h 2907193"/>
                <a:gd name="connsiteX8738" fmla="*/ 2069591 w 4044707"/>
                <a:gd name="connsiteY8738" fmla="*/ 1795423 h 2907193"/>
                <a:gd name="connsiteX8739" fmla="*/ 2070620 w 4044707"/>
                <a:gd name="connsiteY8739" fmla="*/ 1796784 h 2907193"/>
                <a:gd name="connsiteX8740" fmla="*/ 2071043 w 4044707"/>
                <a:gd name="connsiteY8740" fmla="*/ 1799053 h 2907193"/>
                <a:gd name="connsiteX8741" fmla="*/ 2070408 w 4044707"/>
                <a:gd name="connsiteY8741" fmla="*/ 1801503 h 2907193"/>
                <a:gd name="connsiteX8742" fmla="*/ 2068926 w 4044707"/>
                <a:gd name="connsiteY8742" fmla="*/ 1802320 h 2907193"/>
                <a:gd name="connsiteX8743" fmla="*/ 2058277 w 4044707"/>
                <a:gd name="connsiteY8743" fmla="*/ 1802713 h 2907193"/>
                <a:gd name="connsiteX8744" fmla="*/ 2051077 w 4044707"/>
                <a:gd name="connsiteY8744" fmla="*/ 1804770 h 2907193"/>
                <a:gd name="connsiteX8745" fmla="*/ 2048718 w 4044707"/>
                <a:gd name="connsiteY8745" fmla="*/ 1806706 h 2907193"/>
                <a:gd name="connsiteX8746" fmla="*/ 2045057 w 4044707"/>
                <a:gd name="connsiteY8746" fmla="*/ 1813271 h 2907193"/>
                <a:gd name="connsiteX8747" fmla="*/ 2042849 w 4044707"/>
                <a:gd name="connsiteY8747" fmla="*/ 1816175 h 2907193"/>
                <a:gd name="connsiteX8748" fmla="*/ 2040096 w 4044707"/>
                <a:gd name="connsiteY8748" fmla="*/ 1817990 h 2907193"/>
                <a:gd name="connsiteX8749" fmla="*/ 2036375 w 4044707"/>
                <a:gd name="connsiteY8749" fmla="*/ 1819382 h 2907193"/>
                <a:gd name="connsiteX8750" fmla="*/ 2032685 w 4044707"/>
                <a:gd name="connsiteY8750" fmla="*/ 1819382 h 2907193"/>
                <a:gd name="connsiteX8751" fmla="*/ 2030053 w 4044707"/>
                <a:gd name="connsiteY8751" fmla="*/ 1816962 h 2907193"/>
                <a:gd name="connsiteX8752" fmla="*/ 2027693 w 4044707"/>
                <a:gd name="connsiteY8752" fmla="*/ 1816296 h 2907193"/>
                <a:gd name="connsiteX8753" fmla="*/ 2014806 w 4044707"/>
                <a:gd name="connsiteY8753" fmla="*/ 1823526 h 2907193"/>
                <a:gd name="connsiteX8754" fmla="*/ 2010661 w 4044707"/>
                <a:gd name="connsiteY8754" fmla="*/ 1830393 h 2907193"/>
                <a:gd name="connsiteX8755" fmla="*/ 2008665 w 4044707"/>
                <a:gd name="connsiteY8755" fmla="*/ 1831936 h 2907193"/>
                <a:gd name="connsiteX8756" fmla="*/ 2002947 w 4044707"/>
                <a:gd name="connsiteY8756" fmla="*/ 1833872 h 2907193"/>
                <a:gd name="connsiteX8757" fmla="*/ 1999710 w 4044707"/>
                <a:gd name="connsiteY8757" fmla="*/ 1835899 h 2907193"/>
                <a:gd name="connsiteX8758" fmla="*/ 1997593 w 4044707"/>
                <a:gd name="connsiteY8758" fmla="*/ 1838349 h 2907193"/>
                <a:gd name="connsiteX8759" fmla="*/ 1997048 w 4044707"/>
                <a:gd name="connsiteY8759" fmla="*/ 1839287 h 2907193"/>
                <a:gd name="connsiteX8760" fmla="*/ 1996080 w 4044707"/>
                <a:gd name="connsiteY8760" fmla="*/ 1840407 h 2907193"/>
                <a:gd name="connsiteX8761" fmla="*/ 1995536 w 4044707"/>
                <a:gd name="connsiteY8761" fmla="*/ 1841314 h 2907193"/>
                <a:gd name="connsiteX8762" fmla="*/ 1995142 w 4044707"/>
                <a:gd name="connsiteY8762" fmla="*/ 1842524 h 2907193"/>
                <a:gd name="connsiteX8763" fmla="*/ 1994931 w 4044707"/>
                <a:gd name="connsiteY8763" fmla="*/ 1843674 h 2907193"/>
                <a:gd name="connsiteX8764" fmla="*/ 1994598 w 4044707"/>
                <a:gd name="connsiteY8764" fmla="*/ 1844521 h 2907193"/>
                <a:gd name="connsiteX8765" fmla="*/ 1993812 w 4044707"/>
                <a:gd name="connsiteY8765" fmla="*/ 1844884 h 2907193"/>
                <a:gd name="connsiteX8766" fmla="*/ 1992662 w 4044707"/>
                <a:gd name="connsiteY8766" fmla="*/ 1845821 h 2907193"/>
                <a:gd name="connsiteX8767" fmla="*/ 1992057 w 4044707"/>
                <a:gd name="connsiteY8767" fmla="*/ 1847879 h 2907193"/>
                <a:gd name="connsiteX8768" fmla="*/ 1991331 w 4044707"/>
                <a:gd name="connsiteY8768" fmla="*/ 1849845 h 2907193"/>
                <a:gd name="connsiteX8769" fmla="*/ 1989697 w 4044707"/>
                <a:gd name="connsiteY8769" fmla="*/ 1850571 h 2907193"/>
                <a:gd name="connsiteX8770" fmla="*/ 1989697 w 4044707"/>
                <a:gd name="connsiteY8770" fmla="*/ 1851872 h 2907193"/>
                <a:gd name="connsiteX8771" fmla="*/ 1991240 w 4044707"/>
                <a:gd name="connsiteY8771" fmla="*/ 1851811 h 2907193"/>
                <a:gd name="connsiteX8772" fmla="*/ 1992813 w 4044707"/>
                <a:gd name="connsiteY8772" fmla="*/ 1851146 h 2907193"/>
                <a:gd name="connsiteX8773" fmla="*/ 1994295 w 4044707"/>
                <a:gd name="connsiteY8773" fmla="*/ 1849996 h 2907193"/>
                <a:gd name="connsiteX8774" fmla="*/ 1995536 w 4044707"/>
                <a:gd name="connsiteY8774" fmla="*/ 1848453 h 2907193"/>
                <a:gd name="connsiteX8775" fmla="*/ 1997109 w 4044707"/>
                <a:gd name="connsiteY8775" fmla="*/ 1847032 h 2907193"/>
                <a:gd name="connsiteX8776" fmla="*/ 2000951 w 4044707"/>
                <a:gd name="connsiteY8776" fmla="*/ 1846547 h 2907193"/>
                <a:gd name="connsiteX8777" fmla="*/ 2002736 w 4044707"/>
                <a:gd name="connsiteY8777" fmla="*/ 1845610 h 2907193"/>
                <a:gd name="connsiteX8778" fmla="*/ 2005912 w 4044707"/>
                <a:gd name="connsiteY8778" fmla="*/ 1843099 h 2907193"/>
                <a:gd name="connsiteX8779" fmla="*/ 2009300 w 4044707"/>
                <a:gd name="connsiteY8779" fmla="*/ 1841586 h 2907193"/>
                <a:gd name="connsiteX8780" fmla="*/ 2016470 w 4044707"/>
                <a:gd name="connsiteY8780" fmla="*/ 1840679 h 2907193"/>
                <a:gd name="connsiteX8781" fmla="*/ 2015441 w 4044707"/>
                <a:gd name="connsiteY8781" fmla="*/ 1843583 h 2907193"/>
                <a:gd name="connsiteX8782" fmla="*/ 2013899 w 4044707"/>
                <a:gd name="connsiteY8782" fmla="*/ 1844430 h 2907193"/>
                <a:gd name="connsiteX8783" fmla="*/ 2012083 w 4044707"/>
                <a:gd name="connsiteY8783" fmla="*/ 1844642 h 2907193"/>
                <a:gd name="connsiteX8784" fmla="*/ 2010298 w 4044707"/>
                <a:gd name="connsiteY8784" fmla="*/ 1845610 h 2907193"/>
                <a:gd name="connsiteX8785" fmla="*/ 2009845 w 4044707"/>
                <a:gd name="connsiteY8785" fmla="*/ 1847546 h 2907193"/>
                <a:gd name="connsiteX8786" fmla="*/ 2011872 w 4044707"/>
                <a:gd name="connsiteY8786" fmla="*/ 1848574 h 2907193"/>
                <a:gd name="connsiteX8787" fmla="*/ 2016440 w 4044707"/>
                <a:gd name="connsiteY8787" fmla="*/ 1849028 h 2907193"/>
                <a:gd name="connsiteX8788" fmla="*/ 2016440 w 4044707"/>
                <a:gd name="connsiteY8788" fmla="*/ 1850571 h 2907193"/>
                <a:gd name="connsiteX8789" fmla="*/ 2007213 w 4044707"/>
                <a:gd name="connsiteY8789" fmla="*/ 1851478 h 2907193"/>
                <a:gd name="connsiteX8790" fmla="*/ 2002161 w 4044707"/>
                <a:gd name="connsiteY8790" fmla="*/ 1853838 h 2907193"/>
                <a:gd name="connsiteX8791" fmla="*/ 1999952 w 4044707"/>
                <a:gd name="connsiteY8791" fmla="*/ 1858315 h 2907193"/>
                <a:gd name="connsiteX8792" fmla="*/ 2001858 w 4044707"/>
                <a:gd name="connsiteY8792" fmla="*/ 1864517 h 2907193"/>
                <a:gd name="connsiteX8793" fmla="*/ 2006396 w 4044707"/>
                <a:gd name="connsiteY8793" fmla="*/ 1866937 h 2907193"/>
                <a:gd name="connsiteX8794" fmla="*/ 2015834 w 4044707"/>
                <a:gd name="connsiteY8794" fmla="*/ 1868873 h 2907193"/>
                <a:gd name="connsiteX8795" fmla="*/ 2014988 w 4044707"/>
                <a:gd name="connsiteY8795" fmla="*/ 1870991 h 2907193"/>
                <a:gd name="connsiteX8796" fmla="*/ 2013475 w 4044707"/>
                <a:gd name="connsiteY8796" fmla="*/ 1872382 h 2907193"/>
                <a:gd name="connsiteX8797" fmla="*/ 2011750 w 4044707"/>
                <a:gd name="connsiteY8797" fmla="*/ 1873108 h 2907193"/>
                <a:gd name="connsiteX8798" fmla="*/ 2011750 w 4044707"/>
                <a:gd name="connsiteY8798" fmla="*/ 1873108 h 2907193"/>
                <a:gd name="connsiteX8799" fmla="*/ 2008241 w 4044707"/>
                <a:gd name="connsiteY8799" fmla="*/ 1873502 h 2907193"/>
                <a:gd name="connsiteX8800" fmla="*/ 2007092 w 4044707"/>
                <a:gd name="connsiteY8800" fmla="*/ 1874197 h 2907193"/>
                <a:gd name="connsiteX8801" fmla="*/ 2005126 w 4044707"/>
                <a:gd name="connsiteY8801" fmla="*/ 1878191 h 2907193"/>
                <a:gd name="connsiteX8802" fmla="*/ 2003885 w 4044707"/>
                <a:gd name="connsiteY8802" fmla="*/ 1878977 h 2907193"/>
                <a:gd name="connsiteX8803" fmla="*/ 2002433 w 4044707"/>
                <a:gd name="connsiteY8803" fmla="*/ 1877797 h 2907193"/>
                <a:gd name="connsiteX8804" fmla="*/ 1999922 w 4044707"/>
                <a:gd name="connsiteY8804" fmla="*/ 1874560 h 2907193"/>
                <a:gd name="connsiteX8805" fmla="*/ 1993600 w 4044707"/>
                <a:gd name="connsiteY8805" fmla="*/ 1872776 h 2907193"/>
                <a:gd name="connsiteX8806" fmla="*/ 1993025 w 4044707"/>
                <a:gd name="connsiteY8806" fmla="*/ 1871747 h 2907193"/>
                <a:gd name="connsiteX8807" fmla="*/ 1981590 w 4044707"/>
                <a:gd name="connsiteY8807" fmla="*/ 1876224 h 2907193"/>
                <a:gd name="connsiteX8808" fmla="*/ 1978474 w 4044707"/>
                <a:gd name="connsiteY8808" fmla="*/ 1875377 h 2907193"/>
                <a:gd name="connsiteX8809" fmla="*/ 1975449 w 4044707"/>
                <a:gd name="connsiteY8809" fmla="*/ 1872836 h 2907193"/>
                <a:gd name="connsiteX8810" fmla="*/ 1972030 w 4044707"/>
                <a:gd name="connsiteY8810" fmla="*/ 1871263 h 2907193"/>
                <a:gd name="connsiteX8811" fmla="*/ 1968551 w 4044707"/>
                <a:gd name="connsiteY8811" fmla="*/ 1870809 h 2907193"/>
                <a:gd name="connsiteX8812" fmla="*/ 1965375 w 4044707"/>
                <a:gd name="connsiteY8812" fmla="*/ 1871717 h 2907193"/>
                <a:gd name="connsiteX8813" fmla="*/ 1962471 w 4044707"/>
                <a:gd name="connsiteY8813" fmla="*/ 1873623 h 2907193"/>
                <a:gd name="connsiteX8814" fmla="*/ 1961079 w 4044707"/>
                <a:gd name="connsiteY8814" fmla="*/ 1873895 h 2907193"/>
                <a:gd name="connsiteX8815" fmla="*/ 1959234 w 4044707"/>
                <a:gd name="connsiteY8815" fmla="*/ 1873229 h 2907193"/>
                <a:gd name="connsiteX8816" fmla="*/ 1955453 w 4044707"/>
                <a:gd name="connsiteY8816" fmla="*/ 1869327 h 2907193"/>
                <a:gd name="connsiteX8817" fmla="*/ 1953759 w 4044707"/>
                <a:gd name="connsiteY8817" fmla="*/ 1868752 h 2907193"/>
                <a:gd name="connsiteX8818" fmla="*/ 1939238 w 4044707"/>
                <a:gd name="connsiteY8818" fmla="*/ 1871687 h 2907193"/>
                <a:gd name="connsiteX8819" fmla="*/ 1933006 w 4044707"/>
                <a:gd name="connsiteY8819" fmla="*/ 1874500 h 2907193"/>
                <a:gd name="connsiteX8820" fmla="*/ 1931977 w 4044707"/>
                <a:gd name="connsiteY8820" fmla="*/ 1875770 h 2907193"/>
                <a:gd name="connsiteX8821" fmla="*/ 1929618 w 4044707"/>
                <a:gd name="connsiteY8821" fmla="*/ 1879401 h 2907193"/>
                <a:gd name="connsiteX8822" fmla="*/ 1928559 w 4044707"/>
                <a:gd name="connsiteY8822" fmla="*/ 1880157 h 2907193"/>
                <a:gd name="connsiteX8823" fmla="*/ 1927682 w 4044707"/>
                <a:gd name="connsiteY8823" fmla="*/ 1881185 h 2907193"/>
                <a:gd name="connsiteX8824" fmla="*/ 1927803 w 4044707"/>
                <a:gd name="connsiteY8824" fmla="*/ 1883605 h 2907193"/>
                <a:gd name="connsiteX8825" fmla="*/ 1928498 w 4044707"/>
                <a:gd name="connsiteY8825" fmla="*/ 1886268 h 2907193"/>
                <a:gd name="connsiteX8826" fmla="*/ 1929224 w 4044707"/>
                <a:gd name="connsiteY8826" fmla="*/ 1888113 h 2907193"/>
                <a:gd name="connsiteX8827" fmla="*/ 1930465 w 4044707"/>
                <a:gd name="connsiteY8827" fmla="*/ 1889626 h 2907193"/>
                <a:gd name="connsiteX8828" fmla="*/ 1932008 w 4044707"/>
                <a:gd name="connsiteY8828" fmla="*/ 1890503 h 2907193"/>
                <a:gd name="connsiteX8829" fmla="*/ 1948192 w 4044707"/>
                <a:gd name="connsiteY8829" fmla="*/ 1894042 h 2907193"/>
                <a:gd name="connsiteX8830" fmla="*/ 1950310 w 4044707"/>
                <a:gd name="connsiteY8830" fmla="*/ 1896553 h 2907193"/>
                <a:gd name="connsiteX8831" fmla="*/ 1950522 w 4044707"/>
                <a:gd name="connsiteY8831" fmla="*/ 1897158 h 2907193"/>
                <a:gd name="connsiteX8832" fmla="*/ 1950975 w 4044707"/>
                <a:gd name="connsiteY8832" fmla="*/ 1897582 h 2907193"/>
                <a:gd name="connsiteX8833" fmla="*/ 1951429 w 4044707"/>
                <a:gd name="connsiteY8833" fmla="*/ 1898217 h 2907193"/>
                <a:gd name="connsiteX8834" fmla="*/ 1951671 w 4044707"/>
                <a:gd name="connsiteY8834" fmla="*/ 1899367 h 2907193"/>
                <a:gd name="connsiteX8835" fmla="*/ 1951550 w 4044707"/>
                <a:gd name="connsiteY8835" fmla="*/ 1900607 h 2907193"/>
                <a:gd name="connsiteX8836" fmla="*/ 1951278 w 4044707"/>
                <a:gd name="connsiteY8836" fmla="*/ 1901182 h 2907193"/>
                <a:gd name="connsiteX8837" fmla="*/ 1951036 w 4044707"/>
                <a:gd name="connsiteY8837" fmla="*/ 1901514 h 2907193"/>
                <a:gd name="connsiteX8838" fmla="*/ 1950915 w 4044707"/>
                <a:gd name="connsiteY8838" fmla="*/ 1902120 h 2907193"/>
                <a:gd name="connsiteX8839" fmla="*/ 1950915 w 4044707"/>
                <a:gd name="connsiteY8839" fmla="*/ 1906899 h 2907193"/>
                <a:gd name="connsiteX8840" fmla="*/ 1950552 w 4044707"/>
                <a:gd name="connsiteY8840" fmla="*/ 1908684 h 2907193"/>
                <a:gd name="connsiteX8841" fmla="*/ 1949584 w 4044707"/>
                <a:gd name="connsiteY8841" fmla="*/ 1909864 h 2907193"/>
                <a:gd name="connsiteX8842" fmla="*/ 1949100 w 4044707"/>
                <a:gd name="connsiteY8842" fmla="*/ 1900153 h 2907193"/>
                <a:gd name="connsiteX8843" fmla="*/ 1947890 w 4044707"/>
                <a:gd name="connsiteY8843" fmla="*/ 1897703 h 2907193"/>
                <a:gd name="connsiteX8844" fmla="*/ 1944774 w 4044707"/>
                <a:gd name="connsiteY8844" fmla="*/ 1897189 h 2907193"/>
                <a:gd name="connsiteX8845" fmla="*/ 1937514 w 4044707"/>
                <a:gd name="connsiteY8845" fmla="*/ 1898520 h 2907193"/>
                <a:gd name="connsiteX8846" fmla="*/ 1933520 w 4044707"/>
                <a:gd name="connsiteY8846" fmla="*/ 1897975 h 2907193"/>
                <a:gd name="connsiteX8847" fmla="*/ 1928257 w 4044707"/>
                <a:gd name="connsiteY8847" fmla="*/ 1892318 h 2907193"/>
                <a:gd name="connsiteX8848" fmla="*/ 1924868 w 4044707"/>
                <a:gd name="connsiteY8848" fmla="*/ 1890352 h 2907193"/>
                <a:gd name="connsiteX8849" fmla="*/ 1921420 w 4044707"/>
                <a:gd name="connsiteY8849" fmla="*/ 1890019 h 2907193"/>
                <a:gd name="connsiteX8850" fmla="*/ 1916610 w 4044707"/>
                <a:gd name="connsiteY8850" fmla="*/ 1894496 h 2907193"/>
                <a:gd name="connsiteX8851" fmla="*/ 1912889 w 4044707"/>
                <a:gd name="connsiteY8851" fmla="*/ 1896674 h 2907193"/>
                <a:gd name="connsiteX8852" fmla="*/ 1909107 w 4044707"/>
                <a:gd name="connsiteY8852" fmla="*/ 1897854 h 2907193"/>
                <a:gd name="connsiteX8853" fmla="*/ 1906748 w 4044707"/>
                <a:gd name="connsiteY8853" fmla="*/ 1897158 h 2907193"/>
                <a:gd name="connsiteX8854" fmla="*/ 1916338 w 4044707"/>
                <a:gd name="connsiteY8854" fmla="*/ 1887175 h 2907193"/>
                <a:gd name="connsiteX8855" fmla="*/ 1917638 w 4044707"/>
                <a:gd name="connsiteY8855" fmla="*/ 1883605 h 2907193"/>
                <a:gd name="connsiteX8856" fmla="*/ 1919574 w 4044707"/>
                <a:gd name="connsiteY8856" fmla="*/ 1876739 h 2907193"/>
                <a:gd name="connsiteX8857" fmla="*/ 1918243 w 4044707"/>
                <a:gd name="connsiteY8857" fmla="*/ 1872231 h 2907193"/>
                <a:gd name="connsiteX8858" fmla="*/ 1913342 w 4044707"/>
                <a:gd name="connsiteY8858" fmla="*/ 1866483 h 2907193"/>
                <a:gd name="connsiteX8859" fmla="*/ 1904025 w 4044707"/>
                <a:gd name="connsiteY8859" fmla="*/ 1858951 h 2907193"/>
                <a:gd name="connsiteX8860" fmla="*/ 1904812 w 4044707"/>
                <a:gd name="connsiteY8860" fmla="*/ 1855169 h 2907193"/>
                <a:gd name="connsiteX8861" fmla="*/ 1904509 w 4044707"/>
                <a:gd name="connsiteY8861" fmla="*/ 1851721 h 2907193"/>
                <a:gd name="connsiteX8862" fmla="*/ 1903420 w 4044707"/>
                <a:gd name="connsiteY8862" fmla="*/ 1848695 h 2907193"/>
                <a:gd name="connsiteX8863" fmla="*/ 1901968 w 4044707"/>
                <a:gd name="connsiteY8863" fmla="*/ 1846184 h 2907193"/>
                <a:gd name="connsiteX8864" fmla="*/ 1897340 w 4044707"/>
                <a:gd name="connsiteY8864" fmla="*/ 1840467 h 2907193"/>
                <a:gd name="connsiteX8865" fmla="*/ 1895373 w 4044707"/>
                <a:gd name="connsiteY8865" fmla="*/ 1836686 h 2907193"/>
                <a:gd name="connsiteX8866" fmla="*/ 1895767 w 4044707"/>
                <a:gd name="connsiteY8866" fmla="*/ 1833358 h 2907193"/>
                <a:gd name="connsiteX8867" fmla="*/ 1893256 w 4044707"/>
                <a:gd name="connsiteY8867" fmla="*/ 1831724 h 2907193"/>
                <a:gd name="connsiteX8868" fmla="*/ 1890079 w 4044707"/>
                <a:gd name="connsiteY8868" fmla="*/ 1833116 h 2907193"/>
                <a:gd name="connsiteX8869" fmla="*/ 1884059 w 4044707"/>
                <a:gd name="connsiteY8869" fmla="*/ 1837472 h 2907193"/>
                <a:gd name="connsiteX8870" fmla="*/ 1877827 w 4044707"/>
                <a:gd name="connsiteY8870" fmla="*/ 1838803 h 2907193"/>
                <a:gd name="connsiteX8871" fmla="*/ 1874893 w 4044707"/>
                <a:gd name="connsiteY8871" fmla="*/ 1840164 h 2907193"/>
                <a:gd name="connsiteX8872" fmla="*/ 1872261 w 4044707"/>
                <a:gd name="connsiteY8872" fmla="*/ 1843129 h 2907193"/>
                <a:gd name="connsiteX8873" fmla="*/ 1875649 w 4044707"/>
                <a:gd name="connsiteY8873" fmla="*/ 1843492 h 2907193"/>
                <a:gd name="connsiteX8874" fmla="*/ 1877827 w 4044707"/>
                <a:gd name="connsiteY8874" fmla="*/ 1844975 h 2907193"/>
                <a:gd name="connsiteX8875" fmla="*/ 1879310 w 4044707"/>
                <a:gd name="connsiteY8875" fmla="*/ 1848030 h 2907193"/>
                <a:gd name="connsiteX8876" fmla="*/ 1880580 w 4044707"/>
                <a:gd name="connsiteY8876" fmla="*/ 1853203 h 2907193"/>
                <a:gd name="connsiteX8877" fmla="*/ 1879219 w 4044707"/>
                <a:gd name="connsiteY8877" fmla="*/ 1852205 h 2907193"/>
                <a:gd name="connsiteX8878" fmla="*/ 1876859 w 4044707"/>
                <a:gd name="connsiteY8878" fmla="*/ 1847758 h 2907193"/>
                <a:gd name="connsiteX8879" fmla="*/ 1875075 w 4044707"/>
                <a:gd name="connsiteY8879" fmla="*/ 1846124 h 2907193"/>
                <a:gd name="connsiteX8880" fmla="*/ 1872745 w 4044707"/>
                <a:gd name="connsiteY8880" fmla="*/ 1845761 h 2907193"/>
                <a:gd name="connsiteX8881" fmla="*/ 1870870 w 4044707"/>
                <a:gd name="connsiteY8881" fmla="*/ 1846820 h 2907193"/>
                <a:gd name="connsiteX8882" fmla="*/ 1869175 w 4044707"/>
                <a:gd name="connsiteY8882" fmla="*/ 1848907 h 2907193"/>
                <a:gd name="connsiteX8883" fmla="*/ 1864789 w 4044707"/>
                <a:gd name="connsiteY8883" fmla="*/ 1856531 h 2907193"/>
                <a:gd name="connsiteX8884" fmla="*/ 1863458 w 4044707"/>
                <a:gd name="connsiteY8884" fmla="*/ 1857862 h 2907193"/>
                <a:gd name="connsiteX8885" fmla="*/ 1861945 w 4044707"/>
                <a:gd name="connsiteY8885" fmla="*/ 1857287 h 2907193"/>
                <a:gd name="connsiteX8886" fmla="*/ 1860947 w 4044707"/>
                <a:gd name="connsiteY8886" fmla="*/ 1855351 h 2907193"/>
                <a:gd name="connsiteX8887" fmla="*/ 1860584 w 4044707"/>
                <a:gd name="connsiteY8887" fmla="*/ 1852900 h 2907193"/>
                <a:gd name="connsiteX8888" fmla="*/ 1860917 w 4044707"/>
                <a:gd name="connsiteY8888" fmla="*/ 1850511 h 2907193"/>
                <a:gd name="connsiteX8889" fmla="*/ 1861976 w 4044707"/>
                <a:gd name="connsiteY8889" fmla="*/ 1848786 h 2907193"/>
                <a:gd name="connsiteX8890" fmla="*/ 1859949 w 4044707"/>
                <a:gd name="connsiteY8890" fmla="*/ 1848544 h 2907193"/>
                <a:gd name="connsiteX8891" fmla="*/ 1857408 w 4044707"/>
                <a:gd name="connsiteY8891" fmla="*/ 1850147 h 2907193"/>
                <a:gd name="connsiteX8892" fmla="*/ 1855018 w 4044707"/>
                <a:gd name="connsiteY8892" fmla="*/ 1852719 h 2907193"/>
                <a:gd name="connsiteX8893" fmla="*/ 1853324 w 4044707"/>
                <a:gd name="connsiteY8893" fmla="*/ 1855290 h 2907193"/>
                <a:gd name="connsiteX8894" fmla="*/ 1851418 w 4044707"/>
                <a:gd name="connsiteY8894" fmla="*/ 1855532 h 2907193"/>
                <a:gd name="connsiteX8895" fmla="*/ 1848635 w 4044707"/>
                <a:gd name="connsiteY8895" fmla="*/ 1854352 h 2907193"/>
                <a:gd name="connsiteX8896" fmla="*/ 1846759 w 4044707"/>
                <a:gd name="connsiteY8896" fmla="*/ 1854534 h 2907193"/>
                <a:gd name="connsiteX8897" fmla="*/ 1847485 w 4044707"/>
                <a:gd name="connsiteY8897" fmla="*/ 1858830 h 2907193"/>
                <a:gd name="connsiteX8898" fmla="*/ 1842282 w 4044707"/>
                <a:gd name="connsiteY8898" fmla="*/ 1858830 h 2907193"/>
                <a:gd name="connsiteX8899" fmla="*/ 1839196 w 4044707"/>
                <a:gd name="connsiteY8899" fmla="*/ 1860191 h 2907193"/>
                <a:gd name="connsiteX8900" fmla="*/ 1837865 w 4044707"/>
                <a:gd name="connsiteY8900" fmla="*/ 1864608 h 2907193"/>
                <a:gd name="connsiteX8901" fmla="*/ 1839741 w 4044707"/>
                <a:gd name="connsiteY8901" fmla="*/ 1868540 h 2907193"/>
                <a:gd name="connsiteX8902" fmla="*/ 1844067 w 4044707"/>
                <a:gd name="connsiteY8902" fmla="*/ 1870083 h 2907193"/>
                <a:gd name="connsiteX8903" fmla="*/ 1852325 w 4044707"/>
                <a:gd name="connsiteY8903" fmla="*/ 1870144 h 2907193"/>
                <a:gd name="connsiteX8904" fmla="*/ 1850873 w 4044707"/>
                <a:gd name="connsiteY8904" fmla="*/ 1868964 h 2907193"/>
                <a:gd name="connsiteX8905" fmla="*/ 1849905 w 4044707"/>
                <a:gd name="connsiteY8905" fmla="*/ 1867179 h 2907193"/>
                <a:gd name="connsiteX8906" fmla="*/ 1849300 w 4044707"/>
                <a:gd name="connsiteY8906" fmla="*/ 1864759 h 2907193"/>
                <a:gd name="connsiteX8907" fmla="*/ 1848877 w 4044707"/>
                <a:gd name="connsiteY8907" fmla="*/ 1861673 h 2907193"/>
                <a:gd name="connsiteX8908" fmla="*/ 1849905 w 4044707"/>
                <a:gd name="connsiteY8908" fmla="*/ 1862611 h 2907193"/>
                <a:gd name="connsiteX8909" fmla="*/ 1851115 w 4044707"/>
                <a:gd name="connsiteY8909" fmla="*/ 1865334 h 2907193"/>
                <a:gd name="connsiteX8910" fmla="*/ 1851660 w 4044707"/>
                <a:gd name="connsiteY8910" fmla="*/ 1865908 h 2907193"/>
                <a:gd name="connsiteX8911" fmla="*/ 1853203 w 4044707"/>
                <a:gd name="connsiteY8911" fmla="*/ 1866271 h 2907193"/>
                <a:gd name="connsiteX8912" fmla="*/ 1856470 w 4044707"/>
                <a:gd name="connsiteY8912" fmla="*/ 1868601 h 2907193"/>
                <a:gd name="connsiteX8913" fmla="*/ 1859616 w 4044707"/>
                <a:gd name="connsiteY8913" fmla="*/ 1868661 h 2907193"/>
                <a:gd name="connsiteX8914" fmla="*/ 1868903 w 4044707"/>
                <a:gd name="connsiteY8914" fmla="*/ 1865908 h 2907193"/>
                <a:gd name="connsiteX8915" fmla="*/ 1870476 w 4044707"/>
                <a:gd name="connsiteY8915" fmla="*/ 1864668 h 2907193"/>
                <a:gd name="connsiteX8916" fmla="*/ 1871323 w 4044707"/>
                <a:gd name="connsiteY8916" fmla="*/ 1864366 h 2907193"/>
                <a:gd name="connsiteX8917" fmla="*/ 1871686 w 4044707"/>
                <a:gd name="connsiteY8917" fmla="*/ 1865273 h 2907193"/>
                <a:gd name="connsiteX8918" fmla="*/ 1871626 w 4044707"/>
                <a:gd name="connsiteY8918" fmla="*/ 1866634 h 2907193"/>
                <a:gd name="connsiteX8919" fmla="*/ 1871444 w 4044707"/>
                <a:gd name="connsiteY8919" fmla="*/ 1867240 h 2907193"/>
                <a:gd name="connsiteX8920" fmla="*/ 1841344 w 4044707"/>
                <a:gd name="connsiteY8920" fmla="*/ 1875256 h 2907193"/>
                <a:gd name="connsiteX8921" fmla="*/ 1839953 w 4044707"/>
                <a:gd name="connsiteY8921" fmla="*/ 1878009 h 2907193"/>
                <a:gd name="connsiteX8922" fmla="*/ 1839801 w 4044707"/>
                <a:gd name="connsiteY8922" fmla="*/ 1881972 h 2907193"/>
                <a:gd name="connsiteX8923" fmla="*/ 1842222 w 4044707"/>
                <a:gd name="connsiteY8923" fmla="*/ 1885753 h 2907193"/>
                <a:gd name="connsiteX8924" fmla="*/ 1843492 w 4044707"/>
                <a:gd name="connsiteY8924" fmla="*/ 1887205 h 2907193"/>
                <a:gd name="connsiteX8925" fmla="*/ 1844884 w 4044707"/>
                <a:gd name="connsiteY8925" fmla="*/ 1888143 h 2907193"/>
                <a:gd name="connsiteX8926" fmla="*/ 1846094 w 4044707"/>
                <a:gd name="connsiteY8926" fmla="*/ 1887962 h 2907193"/>
                <a:gd name="connsiteX8927" fmla="*/ 1849149 w 4044707"/>
                <a:gd name="connsiteY8927" fmla="*/ 1886238 h 2907193"/>
                <a:gd name="connsiteX8928" fmla="*/ 1862581 w 4044707"/>
                <a:gd name="connsiteY8928" fmla="*/ 1885118 h 2907193"/>
                <a:gd name="connsiteX8929" fmla="*/ 1868238 w 4044707"/>
                <a:gd name="connsiteY8929" fmla="*/ 1882184 h 2907193"/>
                <a:gd name="connsiteX8930" fmla="*/ 1870960 w 4044707"/>
                <a:gd name="connsiteY8930" fmla="*/ 1881579 h 2907193"/>
                <a:gd name="connsiteX8931" fmla="*/ 1866695 w 4044707"/>
                <a:gd name="connsiteY8931" fmla="*/ 1886419 h 2907193"/>
                <a:gd name="connsiteX8932" fmla="*/ 1849603 w 4044707"/>
                <a:gd name="connsiteY8932" fmla="*/ 1890019 h 2907193"/>
                <a:gd name="connsiteX8933" fmla="*/ 1842252 w 4044707"/>
                <a:gd name="connsiteY8933" fmla="*/ 1895071 h 2907193"/>
                <a:gd name="connsiteX8934" fmla="*/ 1837351 w 4044707"/>
                <a:gd name="connsiteY8934" fmla="*/ 1896644 h 2907193"/>
                <a:gd name="connsiteX8935" fmla="*/ 1835566 w 4044707"/>
                <a:gd name="connsiteY8935" fmla="*/ 1898761 h 2907193"/>
                <a:gd name="connsiteX8936" fmla="*/ 1832360 w 4044707"/>
                <a:gd name="connsiteY8936" fmla="*/ 1904237 h 2907193"/>
                <a:gd name="connsiteX8937" fmla="*/ 1831876 w 4044707"/>
                <a:gd name="connsiteY8937" fmla="*/ 1898883 h 2907193"/>
                <a:gd name="connsiteX8938" fmla="*/ 1833297 w 4044707"/>
                <a:gd name="connsiteY8938" fmla="*/ 1894103 h 2907193"/>
                <a:gd name="connsiteX8939" fmla="*/ 1835657 w 4044707"/>
                <a:gd name="connsiteY8939" fmla="*/ 1890170 h 2907193"/>
                <a:gd name="connsiteX8940" fmla="*/ 1837926 w 4044707"/>
                <a:gd name="connsiteY8940" fmla="*/ 1887357 h 2907193"/>
                <a:gd name="connsiteX8941" fmla="*/ 1836595 w 4044707"/>
                <a:gd name="connsiteY8941" fmla="*/ 1885602 h 2907193"/>
                <a:gd name="connsiteX8942" fmla="*/ 1835899 w 4044707"/>
                <a:gd name="connsiteY8942" fmla="*/ 1883333 h 2907193"/>
                <a:gd name="connsiteX8943" fmla="*/ 1835354 w 4044707"/>
                <a:gd name="connsiteY8943" fmla="*/ 1880883 h 2907193"/>
                <a:gd name="connsiteX8944" fmla="*/ 1834507 w 4044707"/>
                <a:gd name="connsiteY8944" fmla="*/ 1878644 h 2907193"/>
                <a:gd name="connsiteX8945" fmla="*/ 1828306 w 4044707"/>
                <a:gd name="connsiteY8945" fmla="*/ 1871565 h 2907193"/>
                <a:gd name="connsiteX8946" fmla="*/ 1824827 w 4044707"/>
                <a:gd name="connsiteY8946" fmla="*/ 1868631 h 2907193"/>
                <a:gd name="connsiteX8947" fmla="*/ 1823617 w 4044707"/>
                <a:gd name="connsiteY8947" fmla="*/ 1868480 h 2907193"/>
                <a:gd name="connsiteX8948" fmla="*/ 1823072 w 4044707"/>
                <a:gd name="connsiteY8948" fmla="*/ 1868722 h 2907193"/>
                <a:gd name="connsiteX8949" fmla="*/ 1820440 w 4044707"/>
                <a:gd name="connsiteY8949" fmla="*/ 1872776 h 2907193"/>
                <a:gd name="connsiteX8950" fmla="*/ 1819684 w 4044707"/>
                <a:gd name="connsiteY8950" fmla="*/ 1875498 h 2907193"/>
                <a:gd name="connsiteX8951" fmla="*/ 1820289 w 4044707"/>
                <a:gd name="connsiteY8951" fmla="*/ 1877374 h 2907193"/>
                <a:gd name="connsiteX8952" fmla="*/ 1822679 w 4044707"/>
                <a:gd name="connsiteY8952" fmla="*/ 1877374 h 2907193"/>
                <a:gd name="connsiteX8953" fmla="*/ 1822679 w 4044707"/>
                <a:gd name="connsiteY8953" fmla="*/ 1878675 h 2907193"/>
                <a:gd name="connsiteX8954" fmla="*/ 1819684 w 4044707"/>
                <a:gd name="connsiteY8954" fmla="*/ 1878584 h 2907193"/>
                <a:gd name="connsiteX8955" fmla="*/ 1815509 w 4044707"/>
                <a:gd name="connsiteY8955" fmla="*/ 1877465 h 2907193"/>
                <a:gd name="connsiteX8956" fmla="*/ 1812000 w 4044707"/>
                <a:gd name="connsiteY8956" fmla="*/ 1878009 h 2907193"/>
                <a:gd name="connsiteX8957" fmla="*/ 1810972 w 4044707"/>
                <a:gd name="connsiteY8957" fmla="*/ 1882910 h 2907193"/>
                <a:gd name="connsiteX8958" fmla="*/ 1808733 w 4044707"/>
                <a:gd name="connsiteY8958" fmla="*/ 1880701 h 2907193"/>
                <a:gd name="connsiteX8959" fmla="*/ 1807099 w 4044707"/>
                <a:gd name="connsiteY8959" fmla="*/ 1878221 h 2907193"/>
                <a:gd name="connsiteX8960" fmla="*/ 1805164 w 4044707"/>
                <a:gd name="connsiteY8960" fmla="*/ 1876345 h 2907193"/>
                <a:gd name="connsiteX8961" fmla="*/ 1801987 w 4044707"/>
                <a:gd name="connsiteY8961" fmla="*/ 1875982 h 2907193"/>
                <a:gd name="connsiteX8962" fmla="*/ 1801442 w 4044707"/>
                <a:gd name="connsiteY8962" fmla="*/ 1876254 h 2907193"/>
                <a:gd name="connsiteX8963" fmla="*/ 1799385 w 4044707"/>
                <a:gd name="connsiteY8963" fmla="*/ 1877374 h 2907193"/>
                <a:gd name="connsiteX8964" fmla="*/ 1796874 w 4044707"/>
                <a:gd name="connsiteY8964" fmla="*/ 1879522 h 2907193"/>
                <a:gd name="connsiteX8965" fmla="*/ 1794606 w 4044707"/>
                <a:gd name="connsiteY8965" fmla="*/ 1880762 h 2907193"/>
                <a:gd name="connsiteX8966" fmla="*/ 1789977 w 4044707"/>
                <a:gd name="connsiteY8966" fmla="*/ 1878070 h 2907193"/>
                <a:gd name="connsiteX8967" fmla="*/ 1787406 w 4044707"/>
                <a:gd name="connsiteY8967" fmla="*/ 1880580 h 2907193"/>
                <a:gd name="connsiteX8968" fmla="*/ 1786619 w 4044707"/>
                <a:gd name="connsiteY8968" fmla="*/ 1884120 h 2907193"/>
                <a:gd name="connsiteX8969" fmla="*/ 1790189 w 4044707"/>
                <a:gd name="connsiteY8969" fmla="*/ 1886631 h 2907193"/>
                <a:gd name="connsiteX8970" fmla="*/ 1790945 w 4044707"/>
                <a:gd name="connsiteY8970" fmla="*/ 1888264 h 2907193"/>
                <a:gd name="connsiteX8971" fmla="*/ 1791611 w 4044707"/>
                <a:gd name="connsiteY8971" fmla="*/ 1890110 h 2907193"/>
                <a:gd name="connsiteX8972" fmla="*/ 1792276 w 4044707"/>
                <a:gd name="connsiteY8972" fmla="*/ 1891410 h 2907193"/>
                <a:gd name="connsiteX8973" fmla="*/ 1793849 w 4044707"/>
                <a:gd name="connsiteY8973" fmla="*/ 1892560 h 2907193"/>
                <a:gd name="connsiteX8974" fmla="*/ 1795574 w 4044707"/>
                <a:gd name="connsiteY8974" fmla="*/ 1892984 h 2907193"/>
                <a:gd name="connsiteX8975" fmla="*/ 1799204 w 4044707"/>
                <a:gd name="connsiteY8975" fmla="*/ 1892984 h 2907193"/>
                <a:gd name="connsiteX8976" fmla="*/ 1796511 w 4044707"/>
                <a:gd name="connsiteY8976" fmla="*/ 1895978 h 2907193"/>
                <a:gd name="connsiteX8977" fmla="*/ 1792942 w 4044707"/>
                <a:gd name="connsiteY8977" fmla="*/ 1898187 h 2907193"/>
                <a:gd name="connsiteX8978" fmla="*/ 1774095 w 4044707"/>
                <a:gd name="connsiteY8978" fmla="*/ 1901908 h 2907193"/>
                <a:gd name="connsiteX8979" fmla="*/ 1770253 w 4044707"/>
                <a:gd name="connsiteY8979" fmla="*/ 1904358 h 2907193"/>
                <a:gd name="connsiteX8980" fmla="*/ 1772825 w 4044707"/>
                <a:gd name="connsiteY8980" fmla="*/ 1905477 h 2907193"/>
                <a:gd name="connsiteX8981" fmla="*/ 1775335 w 4044707"/>
                <a:gd name="connsiteY8981" fmla="*/ 1907444 h 2907193"/>
                <a:gd name="connsiteX8982" fmla="*/ 1779994 w 4044707"/>
                <a:gd name="connsiteY8982" fmla="*/ 1912768 h 2907193"/>
                <a:gd name="connsiteX8983" fmla="*/ 1781991 w 4044707"/>
                <a:gd name="connsiteY8983" fmla="*/ 1916368 h 2907193"/>
                <a:gd name="connsiteX8984" fmla="*/ 1783019 w 4044707"/>
                <a:gd name="connsiteY8984" fmla="*/ 1918667 h 2907193"/>
                <a:gd name="connsiteX8985" fmla="*/ 1783927 w 4044707"/>
                <a:gd name="connsiteY8985" fmla="*/ 1922872 h 2907193"/>
                <a:gd name="connsiteX8986" fmla="*/ 1785077 w 4044707"/>
                <a:gd name="connsiteY8986" fmla="*/ 1923356 h 2907193"/>
                <a:gd name="connsiteX8987" fmla="*/ 1787557 w 4044707"/>
                <a:gd name="connsiteY8987" fmla="*/ 1922448 h 2907193"/>
                <a:gd name="connsiteX8988" fmla="*/ 1809731 w 4044707"/>
                <a:gd name="connsiteY8988" fmla="*/ 1921511 h 2907193"/>
                <a:gd name="connsiteX8989" fmla="*/ 1817204 w 4044707"/>
                <a:gd name="connsiteY8989" fmla="*/ 1921178 h 2907193"/>
                <a:gd name="connsiteX8990" fmla="*/ 1807826 w 4044707"/>
                <a:gd name="connsiteY8990" fmla="*/ 1922963 h 2907193"/>
                <a:gd name="connsiteX8991" fmla="*/ 1783564 w 4044707"/>
                <a:gd name="connsiteY8991" fmla="*/ 1927561 h 2907193"/>
                <a:gd name="connsiteX8992" fmla="*/ 1780539 w 4044707"/>
                <a:gd name="connsiteY8992" fmla="*/ 1928892 h 2907193"/>
                <a:gd name="connsiteX8993" fmla="*/ 1779238 w 4044707"/>
                <a:gd name="connsiteY8993" fmla="*/ 1931615 h 2907193"/>
                <a:gd name="connsiteX8994" fmla="*/ 1780266 w 4044707"/>
                <a:gd name="connsiteY8994" fmla="*/ 1935093 h 2907193"/>
                <a:gd name="connsiteX8995" fmla="*/ 1785167 w 4044707"/>
                <a:gd name="connsiteY8995" fmla="*/ 1938391 h 2907193"/>
                <a:gd name="connsiteX8996" fmla="*/ 1786831 w 4044707"/>
                <a:gd name="connsiteY8996" fmla="*/ 1942172 h 2907193"/>
                <a:gd name="connsiteX8997" fmla="*/ 1777030 w 4044707"/>
                <a:gd name="connsiteY8997" fmla="*/ 1937514 h 2907193"/>
                <a:gd name="connsiteX8998" fmla="*/ 1746082 w 4044707"/>
                <a:gd name="connsiteY8998" fmla="*/ 1933762 h 2907193"/>
                <a:gd name="connsiteX8999" fmla="*/ 1746082 w 4044707"/>
                <a:gd name="connsiteY8999" fmla="*/ 1935305 h 2907193"/>
                <a:gd name="connsiteX9000" fmla="*/ 1750802 w 4044707"/>
                <a:gd name="connsiteY9000" fmla="*/ 1937362 h 2907193"/>
                <a:gd name="connsiteX9001" fmla="*/ 1752950 w 4044707"/>
                <a:gd name="connsiteY9001" fmla="*/ 1938996 h 2907193"/>
                <a:gd name="connsiteX9002" fmla="*/ 1754462 w 4044707"/>
                <a:gd name="connsiteY9002" fmla="*/ 1942172 h 2907193"/>
                <a:gd name="connsiteX9003" fmla="*/ 1753887 w 4044707"/>
                <a:gd name="connsiteY9003" fmla="*/ 1943715 h 2907193"/>
                <a:gd name="connsiteX9004" fmla="*/ 1754341 w 4044707"/>
                <a:gd name="connsiteY9004" fmla="*/ 1944623 h 2907193"/>
                <a:gd name="connsiteX9005" fmla="*/ 1755007 w 4044707"/>
                <a:gd name="connsiteY9005" fmla="*/ 1945379 h 2907193"/>
                <a:gd name="connsiteX9006" fmla="*/ 1755128 w 4044707"/>
                <a:gd name="connsiteY9006" fmla="*/ 1946468 h 2907193"/>
                <a:gd name="connsiteX9007" fmla="*/ 1754371 w 4044707"/>
                <a:gd name="connsiteY9007" fmla="*/ 1947708 h 2907193"/>
                <a:gd name="connsiteX9008" fmla="*/ 1753222 w 4044707"/>
                <a:gd name="connsiteY9008" fmla="*/ 1948495 h 2907193"/>
                <a:gd name="connsiteX9009" fmla="*/ 1750953 w 4044707"/>
                <a:gd name="connsiteY9009" fmla="*/ 1949130 h 2907193"/>
                <a:gd name="connsiteX9010" fmla="*/ 1751165 w 4044707"/>
                <a:gd name="connsiteY9010" fmla="*/ 1948192 h 2907193"/>
                <a:gd name="connsiteX9011" fmla="*/ 1751467 w 4044707"/>
                <a:gd name="connsiteY9011" fmla="*/ 1945893 h 2907193"/>
                <a:gd name="connsiteX9012" fmla="*/ 1751649 w 4044707"/>
                <a:gd name="connsiteY9012" fmla="*/ 1944955 h 2907193"/>
                <a:gd name="connsiteX9013" fmla="*/ 1748805 w 4044707"/>
                <a:gd name="connsiteY9013" fmla="*/ 1942626 h 2907193"/>
                <a:gd name="connsiteX9014" fmla="*/ 1746657 w 4044707"/>
                <a:gd name="connsiteY9014" fmla="*/ 1939329 h 2907193"/>
                <a:gd name="connsiteX9015" fmla="*/ 1744419 w 4044707"/>
                <a:gd name="connsiteY9015" fmla="*/ 1937090 h 2907193"/>
                <a:gd name="connsiteX9016" fmla="*/ 1741273 w 4044707"/>
                <a:gd name="connsiteY9016" fmla="*/ 1937998 h 2907193"/>
                <a:gd name="connsiteX9017" fmla="*/ 1738973 w 4044707"/>
                <a:gd name="connsiteY9017" fmla="*/ 1941023 h 2907193"/>
                <a:gd name="connsiteX9018" fmla="*/ 1740244 w 4044707"/>
                <a:gd name="connsiteY9018" fmla="*/ 1943140 h 2907193"/>
                <a:gd name="connsiteX9019" fmla="*/ 1742725 w 4044707"/>
                <a:gd name="connsiteY9019" fmla="*/ 1945651 h 2907193"/>
                <a:gd name="connsiteX9020" fmla="*/ 1744086 w 4044707"/>
                <a:gd name="connsiteY9020" fmla="*/ 1949917 h 2907193"/>
                <a:gd name="connsiteX9021" fmla="*/ 1744388 w 4044707"/>
                <a:gd name="connsiteY9021" fmla="*/ 1950582 h 2907193"/>
                <a:gd name="connsiteX9022" fmla="*/ 1744963 w 4044707"/>
                <a:gd name="connsiteY9022" fmla="*/ 1951097 h 2907193"/>
                <a:gd name="connsiteX9023" fmla="*/ 1745356 w 4044707"/>
                <a:gd name="connsiteY9023" fmla="*/ 1951701 h 2907193"/>
                <a:gd name="connsiteX9024" fmla="*/ 1744903 w 4044707"/>
                <a:gd name="connsiteY9024" fmla="*/ 1953607 h 2907193"/>
                <a:gd name="connsiteX9025" fmla="*/ 1744721 w 4044707"/>
                <a:gd name="connsiteY9025" fmla="*/ 1955120 h 2907193"/>
                <a:gd name="connsiteX9026" fmla="*/ 1744661 w 4044707"/>
                <a:gd name="connsiteY9026" fmla="*/ 1956723 h 2907193"/>
                <a:gd name="connsiteX9027" fmla="*/ 1744782 w 4044707"/>
                <a:gd name="connsiteY9027" fmla="*/ 1957782 h 2907193"/>
                <a:gd name="connsiteX9028" fmla="*/ 1746324 w 4044707"/>
                <a:gd name="connsiteY9028" fmla="*/ 1959385 h 2907193"/>
                <a:gd name="connsiteX9029" fmla="*/ 1748714 w 4044707"/>
                <a:gd name="connsiteY9029" fmla="*/ 1960172 h 2907193"/>
                <a:gd name="connsiteX9030" fmla="*/ 1753040 w 4044707"/>
                <a:gd name="connsiteY9030" fmla="*/ 1960444 h 2907193"/>
                <a:gd name="connsiteX9031" fmla="*/ 1766139 w 4044707"/>
                <a:gd name="connsiteY9031" fmla="*/ 1958175 h 2907193"/>
                <a:gd name="connsiteX9032" fmla="*/ 1769648 w 4044707"/>
                <a:gd name="connsiteY9032" fmla="*/ 1960444 h 2907193"/>
                <a:gd name="connsiteX9033" fmla="*/ 1766139 w 4044707"/>
                <a:gd name="connsiteY9033" fmla="*/ 1962562 h 2907193"/>
                <a:gd name="connsiteX9034" fmla="*/ 1758062 w 4044707"/>
                <a:gd name="connsiteY9034" fmla="*/ 1962864 h 2907193"/>
                <a:gd name="connsiteX9035" fmla="*/ 1754462 w 4044707"/>
                <a:gd name="connsiteY9035" fmla="*/ 1964589 h 2907193"/>
                <a:gd name="connsiteX9036" fmla="*/ 1757033 w 4044707"/>
                <a:gd name="connsiteY9036" fmla="*/ 1965950 h 2907193"/>
                <a:gd name="connsiteX9037" fmla="*/ 1757850 w 4044707"/>
                <a:gd name="connsiteY9037" fmla="*/ 1966646 h 2907193"/>
                <a:gd name="connsiteX9038" fmla="*/ 1758395 w 4044707"/>
                <a:gd name="connsiteY9038" fmla="*/ 1967463 h 2907193"/>
                <a:gd name="connsiteX9039" fmla="*/ 1759484 w 4044707"/>
                <a:gd name="connsiteY9039" fmla="*/ 1969520 h 2907193"/>
                <a:gd name="connsiteX9040" fmla="*/ 1759938 w 4044707"/>
                <a:gd name="connsiteY9040" fmla="*/ 1970064 h 2907193"/>
                <a:gd name="connsiteX9041" fmla="*/ 1761904 w 4044707"/>
                <a:gd name="connsiteY9041" fmla="*/ 1970125 h 2907193"/>
                <a:gd name="connsiteX9042" fmla="*/ 1771403 w 4044707"/>
                <a:gd name="connsiteY9042" fmla="*/ 1965799 h 2907193"/>
                <a:gd name="connsiteX9043" fmla="*/ 1777998 w 4044707"/>
                <a:gd name="connsiteY9043" fmla="*/ 1959960 h 2907193"/>
                <a:gd name="connsiteX9044" fmla="*/ 1781265 w 4044707"/>
                <a:gd name="connsiteY9044" fmla="*/ 1960444 h 2907193"/>
                <a:gd name="connsiteX9045" fmla="*/ 1775941 w 4044707"/>
                <a:gd name="connsiteY9045" fmla="*/ 1964498 h 2907193"/>
                <a:gd name="connsiteX9046" fmla="*/ 1774761 w 4044707"/>
                <a:gd name="connsiteY9046" fmla="*/ 1966767 h 2907193"/>
                <a:gd name="connsiteX9047" fmla="*/ 1777120 w 4044707"/>
                <a:gd name="connsiteY9047" fmla="*/ 1968763 h 2907193"/>
                <a:gd name="connsiteX9048" fmla="*/ 1780146 w 4044707"/>
                <a:gd name="connsiteY9048" fmla="*/ 1968642 h 2907193"/>
                <a:gd name="connsiteX9049" fmla="*/ 1786650 w 4044707"/>
                <a:gd name="connsiteY9049" fmla="*/ 1966857 h 2907193"/>
                <a:gd name="connsiteX9050" fmla="*/ 1789554 w 4044707"/>
                <a:gd name="connsiteY9050" fmla="*/ 1968763 h 2907193"/>
                <a:gd name="connsiteX9051" fmla="*/ 1787073 w 4044707"/>
                <a:gd name="connsiteY9051" fmla="*/ 1971183 h 2907193"/>
                <a:gd name="connsiteX9052" fmla="*/ 1764082 w 4044707"/>
                <a:gd name="connsiteY9052" fmla="*/ 1972938 h 2907193"/>
                <a:gd name="connsiteX9053" fmla="*/ 1764838 w 4044707"/>
                <a:gd name="connsiteY9053" fmla="*/ 1975207 h 2907193"/>
                <a:gd name="connsiteX9054" fmla="*/ 1770526 w 4044707"/>
                <a:gd name="connsiteY9054" fmla="*/ 1983405 h 2907193"/>
                <a:gd name="connsiteX9055" fmla="*/ 1772462 w 4044707"/>
                <a:gd name="connsiteY9055" fmla="*/ 1985220 h 2907193"/>
                <a:gd name="connsiteX9056" fmla="*/ 1774670 w 4044707"/>
                <a:gd name="connsiteY9056" fmla="*/ 1986460 h 2907193"/>
                <a:gd name="connsiteX9057" fmla="*/ 1782263 w 4044707"/>
                <a:gd name="connsiteY9057" fmla="*/ 1987882 h 2907193"/>
                <a:gd name="connsiteX9058" fmla="*/ 1784623 w 4044707"/>
                <a:gd name="connsiteY9058" fmla="*/ 1989365 h 2907193"/>
                <a:gd name="connsiteX9059" fmla="*/ 1792972 w 4044707"/>
                <a:gd name="connsiteY9059" fmla="*/ 2000648 h 2907193"/>
                <a:gd name="connsiteX9060" fmla="*/ 1791248 w 4044707"/>
                <a:gd name="connsiteY9060" fmla="*/ 1999408 h 2907193"/>
                <a:gd name="connsiteX9061" fmla="*/ 1787739 w 4044707"/>
                <a:gd name="connsiteY9061" fmla="*/ 1997895 h 2907193"/>
                <a:gd name="connsiteX9062" fmla="*/ 1786105 w 4044707"/>
                <a:gd name="connsiteY9062" fmla="*/ 1996746 h 2907193"/>
                <a:gd name="connsiteX9063" fmla="*/ 1785046 w 4044707"/>
                <a:gd name="connsiteY9063" fmla="*/ 1995445 h 2907193"/>
                <a:gd name="connsiteX9064" fmla="*/ 1783201 w 4044707"/>
                <a:gd name="connsiteY9064" fmla="*/ 1992450 h 2907193"/>
                <a:gd name="connsiteX9065" fmla="*/ 1781991 w 4044707"/>
                <a:gd name="connsiteY9065" fmla="*/ 1991089 h 2907193"/>
                <a:gd name="connsiteX9066" fmla="*/ 1779994 w 4044707"/>
                <a:gd name="connsiteY9066" fmla="*/ 1989879 h 2907193"/>
                <a:gd name="connsiteX9067" fmla="*/ 1767591 w 4044707"/>
                <a:gd name="connsiteY9067" fmla="*/ 1985795 h 2907193"/>
                <a:gd name="connsiteX9068" fmla="*/ 1765383 w 4044707"/>
                <a:gd name="connsiteY9068" fmla="*/ 1985553 h 2907193"/>
                <a:gd name="connsiteX9069" fmla="*/ 1767954 w 4044707"/>
                <a:gd name="connsiteY9069" fmla="*/ 1988245 h 2907193"/>
                <a:gd name="connsiteX9070" fmla="*/ 1774972 w 4044707"/>
                <a:gd name="connsiteY9070" fmla="*/ 1990726 h 2907193"/>
                <a:gd name="connsiteX9071" fmla="*/ 1776425 w 4044707"/>
                <a:gd name="connsiteY9071" fmla="*/ 1994568 h 2907193"/>
                <a:gd name="connsiteX9072" fmla="*/ 1774852 w 4044707"/>
                <a:gd name="connsiteY9072" fmla="*/ 1996201 h 2907193"/>
                <a:gd name="connsiteX9073" fmla="*/ 1771342 w 4044707"/>
                <a:gd name="connsiteY9073" fmla="*/ 1994447 h 2907193"/>
                <a:gd name="connsiteX9074" fmla="*/ 1762781 w 4044707"/>
                <a:gd name="connsiteY9074" fmla="*/ 1987550 h 2907193"/>
                <a:gd name="connsiteX9075" fmla="*/ 1761420 w 4044707"/>
                <a:gd name="connsiteY9075" fmla="*/ 1986944 h 2907193"/>
                <a:gd name="connsiteX9076" fmla="*/ 1759877 w 4044707"/>
                <a:gd name="connsiteY9076" fmla="*/ 1986944 h 2907193"/>
                <a:gd name="connsiteX9077" fmla="*/ 1756912 w 4044707"/>
                <a:gd name="connsiteY9077" fmla="*/ 1988457 h 2907193"/>
                <a:gd name="connsiteX9078" fmla="*/ 1755370 w 4044707"/>
                <a:gd name="connsiteY9078" fmla="*/ 1988790 h 2907193"/>
                <a:gd name="connsiteX9079" fmla="*/ 1755370 w 4044707"/>
                <a:gd name="connsiteY9079" fmla="*/ 1987519 h 2907193"/>
                <a:gd name="connsiteX9080" fmla="*/ 1756096 w 4044707"/>
                <a:gd name="connsiteY9080" fmla="*/ 1982407 h 2907193"/>
                <a:gd name="connsiteX9081" fmla="*/ 1754341 w 4044707"/>
                <a:gd name="connsiteY9081" fmla="*/ 1978746 h 2907193"/>
                <a:gd name="connsiteX9082" fmla="*/ 1753403 w 4044707"/>
                <a:gd name="connsiteY9082" fmla="*/ 1975812 h 2907193"/>
                <a:gd name="connsiteX9083" fmla="*/ 1756459 w 4044707"/>
                <a:gd name="connsiteY9083" fmla="*/ 1972938 h 2907193"/>
                <a:gd name="connsiteX9084" fmla="*/ 1756096 w 4044707"/>
                <a:gd name="connsiteY9084" fmla="*/ 1971274 h 2907193"/>
                <a:gd name="connsiteX9085" fmla="*/ 1755491 w 4044707"/>
                <a:gd name="connsiteY9085" fmla="*/ 1969973 h 2907193"/>
                <a:gd name="connsiteX9086" fmla="*/ 1754674 w 4044707"/>
                <a:gd name="connsiteY9086" fmla="*/ 1969096 h 2907193"/>
                <a:gd name="connsiteX9087" fmla="*/ 1753736 w 4044707"/>
                <a:gd name="connsiteY9087" fmla="*/ 1968763 h 2907193"/>
                <a:gd name="connsiteX9088" fmla="*/ 1752012 w 4044707"/>
                <a:gd name="connsiteY9088" fmla="*/ 1968673 h 2907193"/>
                <a:gd name="connsiteX9089" fmla="*/ 1751044 w 4044707"/>
                <a:gd name="connsiteY9089" fmla="*/ 1968219 h 2907193"/>
                <a:gd name="connsiteX9090" fmla="*/ 1749228 w 4044707"/>
                <a:gd name="connsiteY9090" fmla="*/ 1965224 h 2907193"/>
                <a:gd name="connsiteX9091" fmla="*/ 1747111 w 4044707"/>
                <a:gd name="connsiteY9091" fmla="*/ 1962925 h 2907193"/>
                <a:gd name="connsiteX9092" fmla="*/ 1739941 w 4044707"/>
                <a:gd name="connsiteY9092" fmla="*/ 1960414 h 2907193"/>
                <a:gd name="connsiteX9093" fmla="*/ 1738429 w 4044707"/>
                <a:gd name="connsiteY9093" fmla="*/ 1959143 h 2907193"/>
                <a:gd name="connsiteX9094" fmla="*/ 1736553 w 4044707"/>
                <a:gd name="connsiteY9094" fmla="*/ 1956995 h 2907193"/>
                <a:gd name="connsiteX9095" fmla="*/ 1735222 w 4044707"/>
                <a:gd name="connsiteY9095" fmla="*/ 1954303 h 2907193"/>
                <a:gd name="connsiteX9096" fmla="*/ 1735767 w 4044707"/>
                <a:gd name="connsiteY9096" fmla="*/ 1948162 h 2907193"/>
                <a:gd name="connsiteX9097" fmla="*/ 1734466 w 4044707"/>
                <a:gd name="connsiteY9097" fmla="*/ 1945349 h 2907193"/>
                <a:gd name="connsiteX9098" fmla="*/ 1732560 w 4044707"/>
                <a:gd name="connsiteY9098" fmla="*/ 1943231 h 2907193"/>
                <a:gd name="connsiteX9099" fmla="*/ 1730987 w 4044707"/>
                <a:gd name="connsiteY9099" fmla="*/ 1942172 h 2907193"/>
                <a:gd name="connsiteX9100" fmla="*/ 1728718 w 4044707"/>
                <a:gd name="connsiteY9100" fmla="*/ 1941900 h 2907193"/>
                <a:gd name="connsiteX9101" fmla="*/ 1726298 w 4044707"/>
                <a:gd name="connsiteY9101" fmla="*/ 1942596 h 2907193"/>
                <a:gd name="connsiteX9102" fmla="*/ 1723969 w 4044707"/>
                <a:gd name="connsiteY9102" fmla="*/ 1943957 h 2907193"/>
                <a:gd name="connsiteX9103" fmla="*/ 1722002 w 4044707"/>
                <a:gd name="connsiteY9103" fmla="*/ 1945742 h 2907193"/>
                <a:gd name="connsiteX9104" fmla="*/ 1720369 w 4044707"/>
                <a:gd name="connsiteY9104" fmla="*/ 1947981 h 2907193"/>
                <a:gd name="connsiteX9105" fmla="*/ 1717101 w 4044707"/>
                <a:gd name="connsiteY9105" fmla="*/ 1954878 h 2907193"/>
                <a:gd name="connsiteX9106" fmla="*/ 1715317 w 4044707"/>
                <a:gd name="connsiteY9106" fmla="*/ 1956875 h 2907193"/>
                <a:gd name="connsiteX9107" fmla="*/ 1711505 w 4044707"/>
                <a:gd name="connsiteY9107" fmla="*/ 1959960 h 2907193"/>
                <a:gd name="connsiteX9108" fmla="*/ 1709872 w 4044707"/>
                <a:gd name="connsiteY9108" fmla="*/ 1962471 h 2907193"/>
                <a:gd name="connsiteX9109" fmla="*/ 1710658 w 4044707"/>
                <a:gd name="connsiteY9109" fmla="*/ 1963772 h 2907193"/>
                <a:gd name="connsiteX9110" fmla="*/ 1713592 w 4044707"/>
                <a:gd name="connsiteY9110" fmla="*/ 1964195 h 2907193"/>
                <a:gd name="connsiteX9111" fmla="*/ 1717011 w 4044707"/>
                <a:gd name="connsiteY9111" fmla="*/ 1963923 h 2907193"/>
                <a:gd name="connsiteX9112" fmla="*/ 1719219 w 4044707"/>
                <a:gd name="connsiteY9112" fmla="*/ 1963227 h 2907193"/>
                <a:gd name="connsiteX9113" fmla="*/ 1718735 w 4044707"/>
                <a:gd name="connsiteY9113" fmla="*/ 1961715 h 2907193"/>
                <a:gd name="connsiteX9114" fmla="*/ 1718281 w 4044707"/>
                <a:gd name="connsiteY9114" fmla="*/ 1960777 h 2907193"/>
                <a:gd name="connsiteX9115" fmla="*/ 1717616 w 4044707"/>
                <a:gd name="connsiteY9115" fmla="*/ 1960354 h 2907193"/>
                <a:gd name="connsiteX9116" fmla="*/ 1716466 w 4044707"/>
                <a:gd name="connsiteY9116" fmla="*/ 1960444 h 2907193"/>
                <a:gd name="connsiteX9117" fmla="*/ 1717313 w 4044707"/>
                <a:gd name="connsiteY9117" fmla="*/ 1959446 h 2907193"/>
                <a:gd name="connsiteX9118" fmla="*/ 1718342 w 4044707"/>
                <a:gd name="connsiteY9118" fmla="*/ 1958841 h 2907193"/>
                <a:gd name="connsiteX9119" fmla="*/ 1719461 w 4044707"/>
                <a:gd name="connsiteY9119" fmla="*/ 1958659 h 2907193"/>
                <a:gd name="connsiteX9120" fmla="*/ 1720550 w 4044707"/>
                <a:gd name="connsiteY9120" fmla="*/ 1959053 h 2907193"/>
                <a:gd name="connsiteX9121" fmla="*/ 1721034 w 4044707"/>
                <a:gd name="connsiteY9121" fmla="*/ 1959900 h 2907193"/>
                <a:gd name="connsiteX9122" fmla="*/ 1721972 w 4044707"/>
                <a:gd name="connsiteY9122" fmla="*/ 1962652 h 2907193"/>
                <a:gd name="connsiteX9123" fmla="*/ 1722335 w 4044707"/>
                <a:gd name="connsiteY9123" fmla="*/ 1963227 h 2907193"/>
                <a:gd name="connsiteX9124" fmla="*/ 1731017 w 4044707"/>
                <a:gd name="connsiteY9124" fmla="*/ 1971244 h 2907193"/>
                <a:gd name="connsiteX9125" fmla="*/ 1735252 w 4044707"/>
                <a:gd name="connsiteY9125" fmla="*/ 1972787 h 2907193"/>
                <a:gd name="connsiteX9126" fmla="*/ 1737098 w 4044707"/>
                <a:gd name="connsiteY9126" fmla="*/ 1974451 h 2907193"/>
                <a:gd name="connsiteX9127" fmla="*/ 1737733 w 4044707"/>
                <a:gd name="connsiteY9127" fmla="*/ 1975691 h 2907193"/>
                <a:gd name="connsiteX9128" fmla="*/ 1738338 w 4044707"/>
                <a:gd name="connsiteY9128" fmla="*/ 1977869 h 2907193"/>
                <a:gd name="connsiteX9129" fmla="*/ 1738852 w 4044707"/>
                <a:gd name="connsiteY9129" fmla="*/ 1979200 h 2907193"/>
                <a:gd name="connsiteX9130" fmla="*/ 1739881 w 4044707"/>
                <a:gd name="connsiteY9130" fmla="*/ 1980713 h 2907193"/>
                <a:gd name="connsiteX9131" fmla="*/ 1741000 w 4044707"/>
                <a:gd name="connsiteY9131" fmla="*/ 1981408 h 2907193"/>
                <a:gd name="connsiteX9132" fmla="*/ 1742210 w 4044707"/>
                <a:gd name="connsiteY9132" fmla="*/ 1981862 h 2907193"/>
                <a:gd name="connsiteX9133" fmla="*/ 1743390 w 4044707"/>
                <a:gd name="connsiteY9133" fmla="*/ 1982679 h 2907193"/>
                <a:gd name="connsiteX9134" fmla="*/ 1741636 w 4044707"/>
                <a:gd name="connsiteY9134" fmla="*/ 1983224 h 2907193"/>
                <a:gd name="connsiteX9135" fmla="*/ 1740335 w 4044707"/>
                <a:gd name="connsiteY9135" fmla="*/ 1984494 h 2907193"/>
                <a:gd name="connsiteX9136" fmla="*/ 1739518 w 4044707"/>
                <a:gd name="connsiteY9136" fmla="*/ 1986612 h 2907193"/>
                <a:gd name="connsiteX9137" fmla="*/ 1739215 w 4044707"/>
                <a:gd name="connsiteY9137" fmla="*/ 1989637 h 2907193"/>
                <a:gd name="connsiteX9138" fmla="*/ 1739609 w 4044707"/>
                <a:gd name="connsiteY9138" fmla="*/ 1993388 h 2907193"/>
                <a:gd name="connsiteX9139" fmla="*/ 1740819 w 4044707"/>
                <a:gd name="connsiteY9139" fmla="*/ 1995536 h 2907193"/>
                <a:gd name="connsiteX9140" fmla="*/ 1747081 w 4044707"/>
                <a:gd name="connsiteY9140" fmla="*/ 2001919 h 2907193"/>
                <a:gd name="connsiteX9141" fmla="*/ 1755612 w 4044707"/>
                <a:gd name="connsiteY9141" fmla="*/ 2005035 h 2907193"/>
                <a:gd name="connsiteX9142" fmla="*/ 1760210 w 4044707"/>
                <a:gd name="connsiteY9142" fmla="*/ 2009784 h 2907193"/>
                <a:gd name="connsiteX9143" fmla="*/ 1768106 w 4044707"/>
                <a:gd name="connsiteY9143" fmla="*/ 2014020 h 2907193"/>
                <a:gd name="connsiteX9144" fmla="*/ 1777030 w 4044707"/>
                <a:gd name="connsiteY9144" fmla="*/ 2021219 h 2907193"/>
                <a:gd name="connsiteX9145" fmla="*/ 1779117 w 4044707"/>
                <a:gd name="connsiteY9145" fmla="*/ 2024668 h 2907193"/>
                <a:gd name="connsiteX9146" fmla="*/ 1779359 w 4044707"/>
                <a:gd name="connsiteY9146" fmla="*/ 2028964 h 2907193"/>
                <a:gd name="connsiteX9147" fmla="*/ 1777151 w 4044707"/>
                <a:gd name="connsiteY9147" fmla="*/ 2034016 h 2907193"/>
                <a:gd name="connsiteX9148" fmla="*/ 1776394 w 4044707"/>
                <a:gd name="connsiteY9148" fmla="*/ 2027723 h 2907193"/>
                <a:gd name="connsiteX9149" fmla="*/ 1773914 w 4044707"/>
                <a:gd name="connsiteY9149" fmla="*/ 2023882 h 2907193"/>
                <a:gd name="connsiteX9150" fmla="*/ 1770647 w 4044707"/>
                <a:gd name="connsiteY9150" fmla="*/ 2022006 h 2907193"/>
                <a:gd name="connsiteX9151" fmla="*/ 1767470 w 4044707"/>
                <a:gd name="connsiteY9151" fmla="*/ 2021492 h 2907193"/>
                <a:gd name="connsiteX9152" fmla="*/ 1764052 w 4044707"/>
                <a:gd name="connsiteY9152" fmla="*/ 2020191 h 2907193"/>
                <a:gd name="connsiteX9153" fmla="*/ 1754371 w 4044707"/>
                <a:gd name="connsiteY9153" fmla="*/ 2009845 h 2907193"/>
                <a:gd name="connsiteX9154" fmla="*/ 1750287 w 4044707"/>
                <a:gd name="connsiteY9154" fmla="*/ 2007818 h 2907193"/>
                <a:gd name="connsiteX9155" fmla="*/ 1741363 w 4044707"/>
                <a:gd name="connsiteY9155" fmla="*/ 2005610 h 2907193"/>
                <a:gd name="connsiteX9156" fmla="*/ 1737794 w 4044707"/>
                <a:gd name="connsiteY9156" fmla="*/ 2002191 h 2907193"/>
                <a:gd name="connsiteX9157" fmla="*/ 1736281 w 4044707"/>
                <a:gd name="connsiteY9157" fmla="*/ 1997986 h 2907193"/>
                <a:gd name="connsiteX9158" fmla="*/ 1734768 w 4044707"/>
                <a:gd name="connsiteY9158" fmla="*/ 1991482 h 2907193"/>
                <a:gd name="connsiteX9159" fmla="*/ 1733740 w 4044707"/>
                <a:gd name="connsiteY9159" fmla="*/ 1985129 h 2907193"/>
                <a:gd name="connsiteX9160" fmla="*/ 1733679 w 4044707"/>
                <a:gd name="connsiteY9160" fmla="*/ 1981318 h 2907193"/>
                <a:gd name="connsiteX9161" fmla="*/ 1732439 w 4044707"/>
                <a:gd name="connsiteY9161" fmla="*/ 1980440 h 2907193"/>
                <a:gd name="connsiteX9162" fmla="*/ 1731925 w 4044707"/>
                <a:gd name="connsiteY9162" fmla="*/ 1979019 h 2907193"/>
                <a:gd name="connsiteX9163" fmla="*/ 1731622 w 4044707"/>
                <a:gd name="connsiteY9163" fmla="*/ 1977385 h 2907193"/>
                <a:gd name="connsiteX9164" fmla="*/ 1730987 w 4044707"/>
                <a:gd name="connsiteY9164" fmla="*/ 1975751 h 2907193"/>
                <a:gd name="connsiteX9165" fmla="*/ 1729868 w 4044707"/>
                <a:gd name="connsiteY9165" fmla="*/ 1974602 h 2907193"/>
                <a:gd name="connsiteX9166" fmla="*/ 1719643 w 4044707"/>
                <a:gd name="connsiteY9166" fmla="*/ 1969308 h 2907193"/>
                <a:gd name="connsiteX9167" fmla="*/ 1716164 w 4044707"/>
                <a:gd name="connsiteY9167" fmla="*/ 1969308 h 2907193"/>
                <a:gd name="connsiteX9168" fmla="*/ 1712170 w 4044707"/>
                <a:gd name="connsiteY9168" fmla="*/ 1973634 h 2907193"/>
                <a:gd name="connsiteX9169" fmla="*/ 1710325 w 4044707"/>
                <a:gd name="connsiteY9169" fmla="*/ 1974269 h 2907193"/>
                <a:gd name="connsiteX9170" fmla="*/ 1706816 w 4044707"/>
                <a:gd name="connsiteY9170" fmla="*/ 1974511 h 2907193"/>
                <a:gd name="connsiteX9171" fmla="*/ 1705364 w 4044707"/>
                <a:gd name="connsiteY9171" fmla="*/ 1974904 h 2907193"/>
                <a:gd name="connsiteX9172" fmla="*/ 1691509 w 4044707"/>
                <a:gd name="connsiteY9172" fmla="*/ 1982497 h 2907193"/>
                <a:gd name="connsiteX9173" fmla="*/ 1688877 w 4044707"/>
                <a:gd name="connsiteY9173" fmla="*/ 1981318 h 2907193"/>
                <a:gd name="connsiteX9174" fmla="*/ 1696924 w 4044707"/>
                <a:gd name="connsiteY9174" fmla="*/ 1976387 h 2907193"/>
                <a:gd name="connsiteX9175" fmla="*/ 1698860 w 4044707"/>
                <a:gd name="connsiteY9175" fmla="*/ 1973725 h 2907193"/>
                <a:gd name="connsiteX9176" fmla="*/ 1699707 w 4044707"/>
                <a:gd name="connsiteY9176" fmla="*/ 1971728 h 2907193"/>
                <a:gd name="connsiteX9177" fmla="*/ 1700130 w 4044707"/>
                <a:gd name="connsiteY9177" fmla="*/ 1970185 h 2907193"/>
                <a:gd name="connsiteX9178" fmla="*/ 1699647 w 4044707"/>
                <a:gd name="connsiteY9178" fmla="*/ 1969187 h 2907193"/>
                <a:gd name="connsiteX9179" fmla="*/ 1691025 w 4044707"/>
                <a:gd name="connsiteY9179" fmla="*/ 1968461 h 2907193"/>
                <a:gd name="connsiteX9180" fmla="*/ 1688847 w 4044707"/>
                <a:gd name="connsiteY9180" fmla="*/ 1968824 h 2907193"/>
                <a:gd name="connsiteX9181" fmla="*/ 1683583 w 4044707"/>
                <a:gd name="connsiteY9181" fmla="*/ 1972666 h 2907193"/>
                <a:gd name="connsiteX9182" fmla="*/ 1677926 w 4044707"/>
                <a:gd name="connsiteY9182" fmla="*/ 1978595 h 2907193"/>
                <a:gd name="connsiteX9183" fmla="*/ 1672027 w 4044707"/>
                <a:gd name="connsiteY9183" fmla="*/ 1982770 h 2907193"/>
                <a:gd name="connsiteX9184" fmla="*/ 1666037 w 4044707"/>
                <a:gd name="connsiteY9184" fmla="*/ 1981348 h 2907193"/>
                <a:gd name="connsiteX9185" fmla="*/ 1664494 w 4044707"/>
                <a:gd name="connsiteY9185" fmla="*/ 1975842 h 2907193"/>
                <a:gd name="connsiteX9186" fmla="*/ 1663980 w 4044707"/>
                <a:gd name="connsiteY9186" fmla="*/ 1974541 h 2907193"/>
                <a:gd name="connsiteX9187" fmla="*/ 1658807 w 4044707"/>
                <a:gd name="connsiteY9187" fmla="*/ 1970125 h 2907193"/>
                <a:gd name="connsiteX9188" fmla="*/ 1656145 w 4044707"/>
                <a:gd name="connsiteY9188" fmla="*/ 1969036 h 2907193"/>
                <a:gd name="connsiteX9189" fmla="*/ 1651547 w 4044707"/>
                <a:gd name="connsiteY9189" fmla="*/ 1963772 h 2907193"/>
                <a:gd name="connsiteX9190" fmla="*/ 1648885 w 4044707"/>
                <a:gd name="connsiteY9190" fmla="*/ 1961775 h 2907193"/>
                <a:gd name="connsiteX9191" fmla="*/ 1645527 w 4044707"/>
                <a:gd name="connsiteY9191" fmla="*/ 1961654 h 2907193"/>
                <a:gd name="connsiteX9192" fmla="*/ 1638932 w 4044707"/>
                <a:gd name="connsiteY9192" fmla="*/ 1965042 h 2907193"/>
                <a:gd name="connsiteX9193" fmla="*/ 1632518 w 4044707"/>
                <a:gd name="connsiteY9193" fmla="*/ 1966555 h 2907193"/>
                <a:gd name="connsiteX9194" fmla="*/ 1629282 w 4044707"/>
                <a:gd name="connsiteY9194" fmla="*/ 1968158 h 2907193"/>
                <a:gd name="connsiteX9195" fmla="*/ 1621658 w 4044707"/>
                <a:gd name="connsiteY9195" fmla="*/ 1974572 h 2907193"/>
                <a:gd name="connsiteX9196" fmla="*/ 1612613 w 4044707"/>
                <a:gd name="connsiteY9196" fmla="*/ 1979019 h 2907193"/>
                <a:gd name="connsiteX9197" fmla="*/ 1610707 w 4044707"/>
                <a:gd name="connsiteY9197" fmla="*/ 1980592 h 2907193"/>
                <a:gd name="connsiteX9198" fmla="*/ 1609588 w 4044707"/>
                <a:gd name="connsiteY9198" fmla="*/ 1982739 h 2907193"/>
                <a:gd name="connsiteX9199" fmla="*/ 1614519 w 4044707"/>
                <a:gd name="connsiteY9199" fmla="*/ 1982528 h 2907193"/>
                <a:gd name="connsiteX9200" fmla="*/ 1616425 w 4044707"/>
                <a:gd name="connsiteY9200" fmla="*/ 1983859 h 2907193"/>
                <a:gd name="connsiteX9201" fmla="*/ 1617211 w 4044707"/>
                <a:gd name="connsiteY9201" fmla="*/ 1987640 h 2907193"/>
                <a:gd name="connsiteX9202" fmla="*/ 1622082 w 4044707"/>
                <a:gd name="connsiteY9202" fmla="*/ 1995475 h 2907193"/>
                <a:gd name="connsiteX9203" fmla="*/ 1623352 w 4044707"/>
                <a:gd name="connsiteY9203" fmla="*/ 1996837 h 2907193"/>
                <a:gd name="connsiteX9204" fmla="*/ 1635090 w 4044707"/>
                <a:gd name="connsiteY9204" fmla="*/ 1995324 h 2907193"/>
                <a:gd name="connsiteX9205" fmla="*/ 1637268 w 4044707"/>
                <a:gd name="connsiteY9205" fmla="*/ 1996504 h 2907193"/>
                <a:gd name="connsiteX9206" fmla="*/ 1641019 w 4044707"/>
                <a:gd name="connsiteY9206" fmla="*/ 2000800 h 2907193"/>
                <a:gd name="connsiteX9207" fmla="*/ 1643409 w 4044707"/>
                <a:gd name="connsiteY9207" fmla="*/ 2002252 h 2907193"/>
                <a:gd name="connsiteX9208" fmla="*/ 1627678 w 4044707"/>
                <a:gd name="connsiteY9208" fmla="*/ 1999922 h 2907193"/>
                <a:gd name="connsiteX9209" fmla="*/ 1622656 w 4044707"/>
                <a:gd name="connsiteY9209" fmla="*/ 2002252 h 2907193"/>
                <a:gd name="connsiteX9210" fmla="*/ 1619329 w 4044707"/>
                <a:gd name="connsiteY9210" fmla="*/ 2005852 h 2907193"/>
                <a:gd name="connsiteX9211" fmla="*/ 1617847 w 4044707"/>
                <a:gd name="connsiteY9211" fmla="*/ 2008453 h 2907193"/>
                <a:gd name="connsiteX9212" fmla="*/ 1617242 w 4044707"/>
                <a:gd name="connsiteY9212" fmla="*/ 2011236 h 2907193"/>
                <a:gd name="connsiteX9213" fmla="*/ 1617665 w 4044707"/>
                <a:gd name="connsiteY9213" fmla="*/ 2012325 h 2907193"/>
                <a:gd name="connsiteX9214" fmla="*/ 1619541 w 4044707"/>
                <a:gd name="connsiteY9214" fmla="*/ 2013505 h 2907193"/>
                <a:gd name="connsiteX9215" fmla="*/ 1619964 w 4044707"/>
                <a:gd name="connsiteY9215" fmla="*/ 2014685 h 2907193"/>
                <a:gd name="connsiteX9216" fmla="*/ 1619631 w 4044707"/>
                <a:gd name="connsiteY9216" fmla="*/ 2016863 h 2907193"/>
                <a:gd name="connsiteX9217" fmla="*/ 1618815 w 4044707"/>
                <a:gd name="connsiteY9217" fmla="*/ 2018255 h 2907193"/>
                <a:gd name="connsiteX9218" fmla="*/ 1617725 w 4044707"/>
                <a:gd name="connsiteY9218" fmla="*/ 2018890 h 2907193"/>
                <a:gd name="connsiteX9219" fmla="*/ 1616546 w 4044707"/>
                <a:gd name="connsiteY9219" fmla="*/ 2018799 h 2907193"/>
                <a:gd name="connsiteX9220" fmla="*/ 1618694 w 4044707"/>
                <a:gd name="connsiteY9220" fmla="*/ 2020282 h 2907193"/>
                <a:gd name="connsiteX9221" fmla="*/ 1653120 w 4044707"/>
                <a:gd name="connsiteY9221" fmla="*/ 2016561 h 2907193"/>
                <a:gd name="connsiteX9222" fmla="*/ 1657052 w 4044707"/>
                <a:gd name="connsiteY9222" fmla="*/ 2014292 h 2907193"/>
                <a:gd name="connsiteX9223" fmla="*/ 1661439 w 4044707"/>
                <a:gd name="connsiteY9223" fmla="*/ 2014050 h 2907193"/>
                <a:gd name="connsiteX9224" fmla="*/ 1663435 w 4044707"/>
                <a:gd name="connsiteY9224" fmla="*/ 2013445 h 2907193"/>
                <a:gd name="connsiteX9225" fmla="*/ 1667005 w 4044707"/>
                <a:gd name="connsiteY9225" fmla="*/ 2011055 h 2907193"/>
                <a:gd name="connsiteX9226" fmla="*/ 1683008 w 4044707"/>
                <a:gd name="connsiteY9226" fmla="*/ 2006063 h 2907193"/>
                <a:gd name="connsiteX9227" fmla="*/ 1687788 w 4044707"/>
                <a:gd name="connsiteY9227" fmla="*/ 2006699 h 2907193"/>
                <a:gd name="connsiteX9228" fmla="*/ 1690238 w 4044707"/>
                <a:gd name="connsiteY9228" fmla="*/ 2006426 h 2907193"/>
                <a:gd name="connsiteX9229" fmla="*/ 1669123 w 4044707"/>
                <a:gd name="connsiteY9229" fmla="*/ 2011932 h 2907193"/>
                <a:gd name="connsiteX9230" fmla="*/ 1662226 w 4044707"/>
                <a:gd name="connsiteY9230" fmla="*/ 2017710 h 2907193"/>
                <a:gd name="connsiteX9231" fmla="*/ 1658565 w 4044707"/>
                <a:gd name="connsiteY9231" fmla="*/ 2018860 h 2907193"/>
                <a:gd name="connsiteX9232" fmla="*/ 1661348 w 4044707"/>
                <a:gd name="connsiteY9232" fmla="*/ 2021250 h 2907193"/>
                <a:gd name="connsiteX9233" fmla="*/ 1662286 w 4044707"/>
                <a:gd name="connsiteY9233" fmla="*/ 2023095 h 2907193"/>
                <a:gd name="connsiteX9234" fmla="*/ 1661197 w 4044707"/>
                <a:gd name="connsiteY9234" fmla="*/ 2024547 h 2907193"/>
                <a:gd name="connsiteX9235" fmla="*/ 1657899 w 4044707"/>
                <a:gd name="connsiteY9235" fmla="*/ 2025848 h 2907193"/>
                <a:gd name="connsiteX9236" fmla="*/ 1660441 w 4044707"/>
                <a:gd name="connsiteY9236" fmla="*/ 2027996 h 2907193"/>
                <a:gd name="connsiteX9237" fmla="*/ 1670938 w 4044707"/>
                <a:gd name="connsiteY9237" fmla="*/ 2028147 h 2907193"/>
                <a:gd name="connsiteX9238" fmla="*/ 1674507 w 4044707"/>
                <a:gd name="connsiteY9238" fmla="*/ 2027118 h 2907193"/>
                <a:gd name="connsiteX9239" fmla="*/ 1686699 w 4044707"/>
                <a:gd name="connsiteY9239" fmla="*/ 2019707 h 2907193"/>
                <a:gd name="connsiteX9240" fmla="*/ 1708692 w 4044707"/>
                <a:gd name="connsiteY9240" fmla="*/ 2015472 h 2907193"/>
                <a:gd name="connsiteX9241" fmla="*/ 1713139 w 4044707"/>
                <a:gd name="connsiteY9241" fmla="*/ 2012719 h 2907193"/>
                <a:gd name="connsiteX9242" fmla="*/ 1722426 w 4044707"/>
                <a:gd name="connsiteY9242" fmla="*/ 2011357 h 2907193"/>
                <a:gd name="connsiteX9243" fmla="*/ 1727206 w 4044707"/>
                <a:gd name="connsiteY9243" fmla="*/ 2009512 h 2907193"/>
                <a:gd name="connsiteX9244" fmla="*/ 1729656 w 4044707"/>
                <a:gd name="connsiteY9244" fmla="*/ 2009331 h 2907193"/>
                <a:gd name="connsiteX9245" fmla="*/ 1729232 w 4044707"/>
                <a:gd name="connsiteY9245" fmla="*/ 2010934 h 2907193"/>
                <a:gd name="connsiteX9246" fmla="*/ 1728597 w 4044707"/>
                <a:gd name="connsiteY9246" fmla="*/ 2012174 h 2907193"/>
                <a:gd name="connsiteX9247" fmla="*/ 1727811 w 4044707"/>
                <a:gd name="connsiteY9247" fmla="*/ 2013051 h 2907193"/>
                <a:gd name="connsiteX9248" fmla="*/ 1726873 w 4044707"/>
                <a:gd name="connsiteY9248" fmla="*/ 2013505 h 2907193"/>
                <a:gd name="connsiteX9249" fmla="*/ 1728900 w 4044707"/>
                <a:gd name="connsiteY9249" fmla="*/ 2017619 h 2907193"/>
                <a:gd name="connsiteX9250" fmla="*/ 1735373 w 4044707"/>
                <a:gd name="connsiteY9250" fmla="*/ 2021824 h 2907193"/>
                <a:gd name="connsiteX9251" fmla="*/ 1737188 w 4044707"/>
                <a:gd name="connsiteY9251" fmla="*/ 2027149 h 2907193"/>
                <a:gd name="connsiteX9252" fmla="*/ 1735101 w 4044707"/>
                <a:gd name="connsiteY9252" fmla="*/ 2026786 h 2907193"/>
                <a:gd name="connsiteX9253" fmla="*/ 1726540 w 4044707"/>
                <a:gd name="connsiteY9253" fmla="*/ 2019919 h 2907193"/>
                <a:gd name="connsiteX9254" fmla="*/ 1724241 w 4044707"/>
                <a:gd name="connsiteY9254" fmla="*/ 2018769 h 2907193"/>
                <a:gd name="connsiteX9255" fmla="*/ 1721912 w 4044707"/>
                <a:gd name="connsiteY9255" fmla="*/ 2018376 h 2907193"/>
                <a:gd name="connsiteX9256" fmla="*/ 1717132 w 4044707"/>
                <a:gd name="connsiteY9256" fmla="*/ 2019314 h 2907193"/>
                <a:gd name="connsiteX9257" fmla="*/ 1705848 w 4044707"/>
                <a:gd name="connsiteY9257" fmla="*/ 2019071 h 2907193"/>
                <a:gd name="connsiteX9258" fmla="*/ 1683795 w 4044707"/>
                <a:gd name="connsiteY9258" fmla="*/ 2025515 h 2907193"/>
                <a:gd name="connsiteX9259" fmla="*/ 1679197 w 4044707"/>
                <a:gd name="connsiteY9259" fmla="*/ 2029115 h 2907193"/>
                <a:gd name="connsiteX9260" fmla="*/ 1674356 w 4044707"/>
                <a:gd name="connsiteY9260" fmla="*/ 2030688 h 2907193"/>
                <a:gd name="connsiteX9261" fmla="*/ 1673086 w 4044707"/>
                <a:gd name="connsiteY9261" fmla="*/ 2032775 h 2907193"/>
                <a:gd name="connsiteX9262" fmla="*/ 1673025 w 4044707"/>
                <a:gd name="connsiteY9262" fmla="*/ 2035710 h 2907193"/>
                <a:gd name="connsiteX9263" fmla="*/ 1675324 w 4044707"/>
                <a:gd name="connsiteY9263" fmla="*/ 2042970 h 2907193"/>
                <a:gd name="connsiteX9264" fmla="*/ 1675264 w 4044707"/>
                <a:gd name="connsiteY9264" fmla="*/ 2046631 h 2907193"/>
                <a:gd name="connsiteX9265" fmla="*/ 1674023 w 4044707"/>
                <a:gd name="connsiteY9265" fmla="*/ 2048748 h 2907193"/>
                <a:gd name="connsiteX9266" fmla="*/ 1671694 w 4044707"/>
                <a:gd name="connsiteY9266" fmla="*/ 2048022 h 2907193"/>
                <a:gd name="connsiteX9267" fmla="*/ 1672027 w 4044707"/>
                <a:gd name="connsiteY9267" fmla="*/ 2041669 h 2907193"/>
                <a:gd name="connsiteX9268" fmla="*/ 1669728 w 4044707"/>
                <a:gd name="connsiteY9268" fmla="*/ 2037706 h 2907193"/>
                <a:gd name="connsiteX9269" fmla="*/ 1666430 w 4044707"/>
                <a:gd name="connsiteY9269" fmla="*/ 2036678 h 2907193"/>
                <a:gd name="connsiteX9270" fmla="*/ 1663798 w 4044707"/>
                <a:gd name="connsiteY9270" fmla="*/ 2039037 h 2907193"/>
                <a:gd name="connsiteX9271" fmla="*/ 1663254 w 4044707"/>
                <a:gd name="connsiteY9271" fmla="*/ 2042698 h 2907193"/>
                <a:gd name="connsiteX9272" fmla="*/ 1664252 w 4044707"/>
                <a:gd name="connsiteY9272" fmla="*/ 2046056 h 2907193"/>
                <a:gd name="connsiteX9273" fmla="*/ 1666158 w 4044707"/>
                <a:gd name="connsiteY9273" fmla="*/ 2048839 h 2907193"/>
                <a:gd name="connsiteX9274" fmla="*/ 1668276 w 4044707"/>
                <a:gd name="connsiteY9274" fmla="*/ 2050745 h 2907193"/>
                <a:gd name="connsiteX9275" fmla="*/ 1672541 w 4044707"/>
                <a:gd name="connsiteY9275" fmla="*/ 2052409 h 2907193"/>
                <a:gd name="connsiteX9276" fmla="*/ 1696712 w 4044707"/>
                <a:gd name="connsiteY9276" fmla="*/ 2048476 h 2907193"/>
                <a:gd name="connsiteX9277" fmla="*/ 1700010 w 4044707"/>
                <a:gd name="connsiteY9277" fmla="*/ 2050745 h 2907193"/>
                <a:gd name="connsiteX9278" fmla="*/ 1680921 w 4044707"/>
                <a:gd name="connsiteY9278" fmla="*/ 2054859 h 2907193"/>
                <a:gd name="connsiteX9279" fmla="*/ 1679348 w 4044707"/>
                <a:gd name="connsiteY9279" fmla="*/ 2055706 h 2907193"/>
                <a:gd name="connsiteX9280" fmla="*/ 1678834 w 4044707"/>
                <a:gd name="connsiteY9280" fmla="*/ 2057733 h 2907193"/>
                <a:gd name="connsiteX9281" fmla="*/ 1678712 w 4044707"/>
                <a:gd name="connsiteY9281" fmla="*/ 2060213 h 2907193"/>
                <a:gd name="connsiteX9282" fmla="*/ 1678228 w 4044707"/>
                <a:gd name="connsiteY9282" fmla="*/ 2062422 h 2907193"/>
                <a:gd name="connsiteX9283" fmla="*/ 1676292 w 4044707"/>
                <a:gd name="connsiteY9283" fmla="*/ 2065023 h 2907193"/>
                <a:gd name="connsiteX9284" fmla="*/ 1675385 w 4044707"/>
                <a:gd name="connsiteY9284" fmla="*/ 2063571 h 2907193"/>
                <a:gd name="connsiteX9285" fmla="*/ 1674810 w 4044707"/>
                <a:gd name="connsiteY9285" fmla="*/ 2060304 h 2907193"/>
                <a:gd name="connsiteX9286" fmla="*/ 1673781 w 4044707"/>
                <a:gd name="connsiteY9286" fmla="*/ 2057521 h 2907193"/>
                <a:gd name="connsiteX9287" fmla="*/ 1670908 w 4044707"/>
                <a:gd name="connsiteY9287" fmla="*/ 2055887 h 2907193"/>
                <a:gd name="connsiteX9288" fmla="*/ 1665039 w 4044707"/>
                <a:gd name="connsiteY9288" fmla="*/ 2056099 h 2907193"/>
                <a:gd name="connsiteX9289" fmla="*/ 1658444 w 4044707"/>
                <a:gd name="connsiteY9289" fmla="*/ 2047115 h 2907193"/>
                <a:gd name="connsiteX9290" fmla="*/ 1653453 w 4044707"/>
                <a:gd name="connsiteY9290" fmla="*/ 2044694 h 2907193"/>
                <a:gd name="connsiteX9291" fmla="*/ 1642743 w 4044707"/>
                <a:gd name="connsiteY9291" fmla="*/ 2042547 h 2907193"/>
                <a:gd name="connsiteX9292" fmla="*/ 1639053 w 4044707"/>
                <a:gd name="connsiteY9292" fmla="*/ 2040127 h 2907193"/>
                <a:gd name="connsiteX9293" fmla="*/ 1637571 w 4044707"/>
                <a:gd name="connsiteY9293" fmla="*/ 2039794 h 2907193"/>
                <a:gd name="connsiteX9294" fmla="*/ 1635120 w 4044707"/>
                <a:gd name="connsiteY9294" fmla="*/ 2045844 h 2907193"/>
                <a:gd name="connsiteX9295" fmla="*/ 1635453 w 4044707"/>
                <a:gd name="connsiteY9295" fmla="*/ 2046842 h 2907193"/>
                <a:gd name="connsiteX9296" fmla="*/ 1636845 w 4044707"/>
                <a:gd name="connsiteY9296" fmla="*/ 2049323 h 2907193"/>
                <a:gd name="connsiteX9297" fmla="*/ 1637208 w 4044707"/>
                <a:gd name="connsiteY9297" fmla="*/ 2050775 h 2907193"/>
                <a:gd name="connsiteX9298" fmla="*/ 1636905 w 4044707"/>
                <a:gd name="connsiteY9298" fmla="*/ 2052348 h 2907193"/>
                <a:gd name="connsiteX9299" fmla="*/ 1635544 w 4044707"/>
                <a:gd name="connsiteY9299" fmla="*/ 2057098 h 2907193"/>
                <a:gd name="connsiteX9300" fmla="*/ 1635120 w 4044707"/>
                <a:gd name="connsiteY9300" fmla="*/ 2059003 h 2907193"/>
                <a:gd name="connsiteX9301" fmla="*/ 1634515 w 4044707"/>
                <a:gd name="connsiteY9301" fmla="*/ 2059003 h 2907193"/>
                <a:gd name="connsiteX9302" fmla="*/ 1634334 w 4044707"/>
                <a:gd name="connsiteY9302" fmla="*/ 2055010 h 2907193"/>
                <a:gd name="connsiteX9303" fmla="*/ 1632760 w 4044707"/>
                <a:gd name="connsiteY9303" fmla="*/ 2049020 h 2907193"/>
                <a:gd name="connsiteX9304" fmla="*/ 1632397 w 4044707"/>
                <a:gd name="connsiteY9304" fmla="*/ 2045874 h 2907193"/>
                <a:gd name="connsiteX9305" fmla="*/ 1631460 w 4044707"/>
                <a:gd name="connsiteY9305" fmla="*/ 2043273 h 2907193"/>
                <a:gd name="connsiteX9306" fmla="*/ 1626983 w 4044707"/>
                <a:gd name="connsiteY9306" fmla="*/ 2043787 h 2907193"/>
                <a:gd name="connsiteX9307" fmla="*/ 1625561 w 4044707"/>
                <a:gd name="connsiteY9307" fmla="*/ 2041095 h 2907193"/>
                <a:gd name="connsiteX9308" fmla="*/ 1627134 w 4044707"/>
                <a:gd name="connsiteY9308" fmla="*/ 2040641 h 2907193"/>
                <a:gd name="connsiteX9309" fmla="*/ 1628828 w 4044707"/>
                <a:gd name="connsiteY9309" fmla="*/ 2039612 h 2907193"/>
                <a:gd name="connsiteX9310" fmla="*/ 1630250 w 4044707"/>
                <a:gd name="connsiteY9310" fmla="*/ 2037918 h 2907193"/>
                <a:gd name="connsiteX9311" fmla="*/ 1631036 w 4044707"/>
                <a:gd name="connsiteY9311" fmla="*/ 2035498 h 2907193"/>
                <a:gd name="connsiteX9312" fmla="*/ 1614852 w 4044707"/>
                <a:gd name="connsiteY9312" fmla="*/ 2034590 h 2907193"/>
                <a:gd name="connsiteX9313" fmla="*/ 1610405 w 4044707"/>
                <a:gd name="connsiteY9313" fmla="*/ 2036980 h 2907193"/>
                <a:gd name="connsiteX9314" fmla="*/ 1611252 w 4044707"/>
                <a:gd name="connsiteY9314" fmla="*/ 2038765 h 2907193"/>
                <a:gd name="connsiteX9315" fmla="*/ 1612220 w 4044707"/>
                <a:gd name="connsiteY9315" fmla="*/ 2040066 h 2907193"/>
                <a:gd name="connsiteX9316" fmla="*/ 1613309 w 4044707"/>
                <a:gd name="connsiteY9316" fmla="*/ 2040853 h 2907193"/>
                <a:gd name="connsiteX9317" fmla="*/ 1614549 w 4044707"/>
                <a:gd name="connsiteY9317" fmla="*/ 2041095 h 2907193"/>
                <a:gd name="connsiteX9318" fmla="*/ 1613218 w 4044707"/>
                <a:gd name="connsiteY9318" fmla="*/ 2044331 h 2907193"/>
                <a:gd name="connsiteX9319" fmla="*/ 1612492 w 4044707"/>
                <a:gd name="connsiteY9319" fmla="*/ 2045209 h 2907193"/>
                <a:gd name="connsiteX9320" fmla="*/ 1613097 w 4044707"/>
                <a:gd name="connsiteY9320" fmla="*/ 2046328 h 2907193"/>
                <a:gd name="connsiteX9321" fmla="*/ 1613763 w 4044707"/>
                <a:gd name="connsiteY9321" fmla="*/ 2048234 h 2907193"/>
                <a:gd name="connsiteX9322" fmla="*/ 1614065 w 4044707"/>
                <a:gd name="connsiteY9322" fmla="*/ 2050019 h 2907193"/>
                <a:gd name="connsiteX9323" fmla="*/ 1613490 w 4044707"/>
                <a:gd name="connsiteY9323" fmla="*/ 2050805 h 2907193"/>
                <a:gd name="connsiteX9324" fmla="*/ 1611705 w 4044707"/>
                <a:gd name="connsiteY9324" fmla="*/ 2050624 h 2907193"/>
                <a:gd name="connsiteX9325" fmla="*/ 1611494 w 4044707"/>
                <a:gd name="connsiteY9325" fmla="*/ 2050079 h 2907193"/>
                <a:gd name="connsiteX9326" fmla="*/ 1611857 w 4044707"/>
                <a:gd name="connsiteY9326" fmla="*/ 2049232 h 2907193"/>
                <a:gd name="connsiteX9327" fmla="*/ 1611736 w 4044707"/>
                <a:gd name="connsiteY9327" fmla="*/ 2048083 h 2907193"/>
                <a:gd name="connsiteX9328" fmla="*/ 1609860 w 4044707"/>
                <a:gd name="connsiteY9328" fmla="*/ 2045421 h 2907193"/>
                <a:gd name="connsiteX9329" fmla="*/ 1599333 w 4044707"/>
                <a:gd name="connsiteY9329" fmla="*/ 2035589 h 2907193"/>
                <a:gd name="connsiteX9330" fmla="*/ 1597215 w 4044707"/>
                <a:gd name="connsiteY9330" fmla="*/ 2034711 h 2907193"/>
                <a:gd name="connsiteX9331" fmla="*/ 1594583 w 4044707"/>
                <a:gd name="connsiteY9331" fmla="*/ 2035437 h 2907193"/>
                <a:gd name="connsiteX9332" fmla="*/ 1590257 w 4044707"/>
                <a:gd name="connsiteY9332" fmla="*/ 2038886 h 2907193"/>
                <a:gd name="connsiteX9333" fmla="*/ 1586234 w 4044707"/>
                <a:gd name="connsiteY9333" fmla="*/ 2043787 h 2907193"/>
                <a:gd name="connsiteX9334" fmla="*/ 1585689 w 4044707"/>
                <a:gd name="connsiteY9334" fmla="*/ 2041760 h 2907193"/>
                <a:gd name="connsiteX9335" fmla="*/ 1584782 w 4044707"/>
                <a:gd name="connsiteY9335" fmla="*/ 2041064 h 2907193"/>
                <a:gd name="connsiteX9336" fmla="*/ 1583723 w 4044707"/>
                <a:gd name="connsiteY9336" fmla="*/ 2041730 h 2907193"/>
                <a:gd name="connsiteX9337" fmla="*/ 1582816 w 4044707"/>
                <a:gd name="connsiteY9337" fmla="*/ 2043757 h 2907193"/>
                <a:gd name="connsiteX9338" fmla="*/ 1583753 w 4044707"/>
                <a:gd name="connsiteY9338" fmla="*/ 2045421 h 2907193"/>
                <a:gd name="connsiteX9339" fmla="*/ 1583753 w 4044707"/>
                <a:gd name="connsiteY9339" fmla="*/ 2047901 h 2907193"/>
                <a:gd name="connsiteX9340" fmla="*/ 1582816 w 4044707"/>
                <a:gd name="connsiteY9340" fmla="*/ 2053498 h 2907193"/>
                <a:gd name="connsiteX9341" fmla="*/ 1582120 w 4044707"/>
                <a:gd name="connsiteY9341" fmla="*/ 2053498 h 2907193"/>
                <a:gd name="connsiteX9342" fmla="*/ 1581636 w 4044707"/>
                <a:gd name="connsiteY9342" fmla="*/ 2049293 h 2907193"/>
                <a:gd name="connsiteX9343" fmla="*/ 1579851 w 4044707"/>
                <a:gd name="connsiteY9343" fmla="*/ 2045784 h 2907193"/>
                <a:gd name="connsiteX9344" fmla="*/ 1577461 w 4044707"/>
                <a:gd name="connsiteY9344" fmla="*/ 2043394 h 2907193"/>
                <a:gd name="connsiteX9345" fmla="*/ 1575222 w 4044707"/>
                <a:gd name="connsiteY9345" fmla="*/ 2042486 h 2907193"/>
                <a:gd name="connsiteX9346" fmla="*/ 1553320 w 4044707"/>
                <a:gd name="connsiteY9346" fmla="*/ 2043908 h 2907193"/>
                <a:gd name="connsiteX9347" fmla="*/ 1550446 w 4044707"/>
                <a:gd name="connsiteY9347" fmla="*/ 2045118 h 2907193"/>
                <a:gd name="connsiteX9348" fmla="*/ 1547936 w 4044707"/>
                <a:gd name="connsiteY9348" fmla="*/ 2047054 h 2907193"/>
                <a:gd name="connsiteX9349" fmla="*/ 1546816 w 4044707"/>
                <a:gd name="connsiteY9349" fmla="*/ 2048657 h 2907193"/>
                <a:gd name="connsiteX9350" fmla="*/ 1546241 w 4044707"/>
                <a:gd name="connsiteY9350" fmla="*/ 2050715 h 2907193"/>
                <a:gd name="connsiteX9351" fmla="*/ 1546725 w 4044707"/>
                <a:gd name="connsiteY9351" fmla="*/ 2052136 h 2907193"/>
                <a:gd name="connsiteX9352" fmla="*/ 1547754 w 4044707"/>
                <a:gd name="connsiteY9352" fmla="*/ 2053165 h 2907193"/>
                <a:gd name="connsiteX9353" fmla="*/ 1548359 w 4044707"/>
                <a:gd name="connsiteY9353" fmla="*/ 2054677 h 2907193"/>
                <a:gd name="connsiteX9354" fmla="*/ 1547603 w 4044707"/>
                <a:gd name="connsiteY9354" fmla="*/ 2057461 h 2907193"/>
                <a:gd name="connsiteX9355" fmla="*/ 1547875 w 4044707"/>
                <a:gd name="connsiteY9355" fmla="*/ 2058187 h 2907193"/>
                <a:gd name="connsiteX9356" fmla="*/ 1548056 w 4044707"/>
                <a:gd name="connsiteY9356" fmla="*/ 2058247 h 2907193"/>
                <a:gd name="connsiteX9357" fmla="*/ 1548056 w 4044707"/>
                <a:gd name="connsiteY9357" fmla="*/ 2058610 h 2907193"/>
                <a:gd name="connsiteX9358" fmla="*/ 1547573 w 4044707"/>
                <a:gd name="connsiteY9358" fmla="*/ 2060153 h 2907193"/>
                <a:gd name="connsiteX9359" fmla="*/ 1574738 w 4044707"/>
                <a:gd name="connsiteY9359" fmla="*/ 2058277 h 2907193"/>
                <a:gd name="connsiteX9360" fmla="*/ 1577945 w 4044707"/>
                <a:gd name="connsiteY9360" fmla="*/ 2060153 h 2907193"/>
                <a:gd name="connsiteX9361" fmla="*/ 1575767 w 4044707"/>
                <a:gd name="connsiteY9361" fmla="*/ 2060002 h 2907193"/>
                <a:gd name="connsiteX9362" fmla="*/ 1568990 w 4044707"/>
                <a:gd name="connsiteY9362" fmla="*/ 2061666 h 2907193"/>
                <a:gd name="connsiteX9363" fmla="*/ 1568990 w 4044707"/>
                <a:gd name="connsiteY9363" fmla="*/ 2063027 h 2907193"/>
                <a:gd name="connsiteX9364" fmla="*/ 1578157 w 4044707"/>
                <a:gd name="connsiteY9364" fmla="*/ 2063602 h 2907193"/>
                <a:gd name="connsiteX9365" fmla="*/ 1582846 w 4044707"/>
                <a:gd name="connsiteY9365" fmla="*/ 2061635 h 2907193"/>
                <a:gd name="connsiteX9366" fmla="*/ 1586657 w 4044707"/>
                <a:gd name="connsiteY9366" fmla="*/ 2064993 h 2907193"/>
                <a:gd name="connsiteX9367" fmla="*/ 1588956 w 4044707"/>
                <a:gd name="connsiteY9367" fmla="*/ 2065749 h 2907193"/>
                <a:gd name="connsiteX9368" fmla="*/ 1588956 w 4044707"/>
                <a:gd name="connsiteY9368" fmla="*/ 2067111 h 2907193"/>
                <a:gd name="connsiteX9369" fmla="*/ 1578550 w 4044707"/>
                <a:gd name="connsiteY9369" fmla="*/ 2067201 h 2907193"/>
                <a:gd name="connsiteX9370" fmla="*/ 1574678 w 4044707"/>
                <a:gd name="connsiteY9370" fmla="*/ 2065447 h 2907193"/>
                <a:gd name="connsiteX9371" fmla="*/ 1566722 w 4044707"/>
                <a:gd name="connsiteY9371" fmla="*/ 2065205 h 2907193"/>
                <a:gd name="connsiteX9372" fmla="*/ 1564422 w 4044707"/>
                <a:gd name="connsiteY9372" fmla="*/ 2066445 h 2907193"/>
                <a:gd name="connsiteX9373" fmla="*/ 1562849 w 4044707"/>
                <a:gd name="connsiteY9373" fmla="*/ 2067776 h 2907193"/>
                <a:gd name="connsiteX9374" fmla="*/ 1555166 w 4044707"/>
                <a:gd name="connsiteY9374" fmla="*/ 2071255 h 2907193"/>
                <a:gd name="connsiteX9375" fmla="*/ 1546211 w 4044707"/>
                <a:gd name="connsiteY9375" fmla="*/ 2072102 h 2907193"/>
                <a:gd name="connsiteX9376" fmla="*/ 1543489 w 4044707"/>
                <a:gd name="connsiteY9376" fmla="*/ 2073857 h 2907193"/>
                <a:gd name="connsiteX9377" fmla="*/ 1545515 w 4044707"/>
                <a:gd name="connsiteY9377" fmla="*/ 2075460 h 2907193"/>
                <a:gd name="connsiteX9378" fmla="*/ 1547633 w 4044707"/>
                <a:gd name="connsiteY9378" fmla="*/ 2075067 h 2907193"/>
                <a:gd name="connsiteX9379" fmla="*/ 1549720 w 4044707"/>
                <a:gd name="connsiteY9379" fmla="*/ 2074069 h 2907193"/>
                <a:gd name="connsiteX9380" fmla="*/ 1551747 w 4044707"/>
                <a:gd name="connsiteY9380" fmla="*/ 2073827 h 2907193"/>
                <a:gd name="connsiteX9381" fmla="*/ 1553199 w 4044707"/>
                <a:gd name="connsiteY9381" fmla="*/ 2074764 h 2907193"/>
                <a:gd name="connsiteX9382" fmla="*/ 1555619 w 4044707"/>
                <a:gd name="connsiteY9382" fmla="*/ 2077971 h 2907193"/>
                <a:gd name="connsiteX9383" fmla="*/ 1557253 w 4044707"/>
                <a:gd name="connsiteY9383" fmla="*/ 2079393 h 2907193"/>
                <a:gd name="connsiteX9384" fmla="*/ 1561125 w 4044707"/>
                <a:gd name="connsiteY9384" fmla="*/ 2080633 h 2907193"/>
                <a:gd name="connsiteX9385" fmla="*/ 1569777 w 4044707"/>
                <a:gd name="connsiteY9385" fmla="*/ 2079484 h 2907193"/>
                <a:gd name="connsiteX9386" fmla="*/ 1590560 w 4044707"/>
                <a:gd name="connsiteY9386" fmla="*/ 2070136 h 2907193"/>
                <a:gd name="connsiteX9387" fmla="*/ 1600694 w 4044707"/>
                <a:gd name="connsiteY9387" fmla="*/ 2069954 h 2907193"/>
                <a:gd name="connsiteX9388" fmla="*/ 1599000 w 4044707"/>
                <a:gd name="connsiteY9388" fmla="*/ 2071558 h 2907193"/>
                <a:gd name="connsiteX9389" fmla="*/ 1597245 w 4044707"/>
                <a:gd name="connsiteY9389" fmla="*/ 2072677 h 2907193"/>
                <a:gd name="connsiteX9390" fmla="*/ 1599272 w 4044707"/>
                <a:gd name="connsiteY9390" fmla="*/ 2073675 h 2907193"/>
                <a:gd name="connsiteX9391" fmla="*/ 1603507 w 4044707"/>
                <a:gd name="connsiteY9391" fmla="*/ 2073343 h 2907193"/>
                <a:gd name="connsiteX9392" fmla="*/ 1605625 w 4044707"/>
                <a:gd name="connsiteY9392" fmla="*/ 2073796 h 2907193"/>
                <a:gd name="connsiteX9393" fmla="*/ 1606805 w 4044707"/>
                <a:gd name="connsiteY9393" fmla="*/ 2074734 h 2907193"/>
                <a:gd name="connsiteX9394" fmla="*/ 1619299 w 4044707"/>
                <a:gd name="connsiteY9394" fmla="*/ 2090283 h 2907193"/>
                <a:gd name="connsiteX9395" fmla="*/ 1617877 w 4044707"/>
                <a:gd name="connsiteY9395" fmla="*/ 2091251 h 2907193"/>
                <a:gd name="connsiteX9396" fmla="*/ 1616364 w 4044707"/>
                <a:gd name="connsiteY9396" fmla="*/ 2091645 h 2907193"/>
                <a:gd name="connsiteX9397" fmla="*/ 1613127 w 4044707"/>
                <a:gd name="connsiteY9397" fmla="*/ 2091645 h 2907193"/>
                <a:gd name="connsiteX9398" fmla="*/ 1617453 w 4044707"/>
                <a:gd name="connsiteY9398" fmla="*/ 2100508 h 2907193"/>
                <a:gd name="connsiteX9399" fmla="*/ 1623927 w 4044707"/>
                <a:gd name="connsiteY9399" fmla="*/ 2104804 h 2907193"/>
                <a:gd name="connsiteX9400" fmla="*/ 1637994 w 4044707"/>
                <a:gd name="connsiteY9400" fmla="*/ 2108222 h 2907193"/>
                <a:gd name="connsiteX9401" fmla="*/ 1651305 w 4044707"/>
                <a:gd name="connsiteY9401" fmla="*/ 2105984 h 2907193"/>
                <a:gd name="connsiteX9402" fmla="*/ 1654209 w 4044707"/>
                <a:gd name="connsiteY9402" fmla="*/ 2107496 h 2907193"/>
                <a:gd name="connsiteX9403" fmla="*/ 1655177 w 4044707"/>
                <a:gd name="connsiteY9403" fmla="*/ 2108525 h 2907193"/>
                <a:gd name="connsiteX9404" fmla="*/ 1659382 w 4044707"/>
                <a:gd name="connsiteY9404" fmla="*/ 2110945 h 2907193"/>
                <a:gd name="connsiteX9405" fmla="*/ 1663556 w 4044707"/>
                <a:gd name="connsiteY9405" fmla="*/ 2117631 h 2907193"/>
                <a:gd name="connsiteX9406" fmla="*/ 1663556 w 4044707"/>
                <a:gd name="connsiteY9406" fmla="*/ 2119113 h 2907193"/>
                <a:gd name="connsiteX9407" fmla="*/ 1661620 w 4044707"/>
                <a:gd name="connsiteY9407" fmla="*/ 2118538 h 2907193"/>
                <a:gd name="connsiteX9408" fmla="*/ 1659351 w 4044707"/>
                <a:gd name="connsiteY9408" fmla="*/ 2116602 h 2907193"/>
                <a:gd name="connsiteX9409" fmla="*/ 1657204 w 4044707"/>
                <a:gd name="connsiteY9409" fmla="*/ 2114061 h 2907193"/>
                <a:gd name="connsiteX9410" fmla="*/ 1655600 w 4044707"/>
                <a:gd name="connsiteY9410" fmla="*/ 2111580 h 2907193"/>
                <a:gd name="connsiteX9411" fmla="*/ 1653059 w 4044707"/>
                <a:gd name="connsiteY9411" fmla="*/ 2109281 h 2907193"/>
                <a:gd name="connsiteX9412" fmla="*/ 1650095 w 4044707"/>
                <a:gd name="connsiteY9412" fmla="*/ 2109433 h 2907193"/>
                <a:gd name="connsiteX9413" fmla="*/ 1647281 w 4044707"/>
                <a:gd name="connsiteY9413" fmla="*/ 2111369 h 2907193"/>
                <a:gd name="connsiteX9414" fmla="*/ 1645224 w 4044707"/>
                <a:gd name="connsiteY9414" fmla="*/ 2114303 h 2907193"/>
                <a:gd name="connsiteX9415" fmla="*/ 1642834 w 4044707"/>
                <a:gd name="connsiteY9415" fmla="*/ 2115362 h 2907193"/>
                <a:gd name="connsiteX9416" fmla="*/ 1633124 w 4044707"/>
                <a:gd name="connsiteY9416" fmla="*/ 2109493 h 2907193"/>
                <a:gd name="connsiteX9417" fmla="*/ 1626952 w 4044707"/>
                <a:gd name="connsiteY9417" fmla="*/ 2110370 h 2907193"/>
                <a:gd name="connsiteX9418" fmla="*/ 1625561 w 4044707"/>
                <a:gd name="connsiteY9418" fmla="*/ 2110975 h 2907193"/>
                <a:gd name="connsiteX9419" fmla="*/ 1624593 w 4044707"/>
                <a:gd name="connsiteY9419" fmla="*/ 2112367 h 2907193"/>
                <a:gd name="connsiteX9420" fmla="*/ 1624381 w 4044707"/>
                <a:gd name="connsiteY9420" fmla="*/ 2113516 h 2907193"/>
                <a:gd name="connsiteX9421" fmla="*/ 1625561 w 4044707"/>
                <a:gd name="connsiteY9421" fmla="*/ 2124861 h 2907193"/>
                <a:gd name="connsiteX9422" fmla="*/ 1625470 w 4044707"/>
                <a:gd name="connsiteY9422" fmla="*/ 2128672 h 2907193"/>
                <a:gd name="connsiteX9423" fmla="*/ 1624472 w 4044707"/>
                <a:gd name="connsiteY9423" fmla="*/ 2131970 h 2907193"/>
                <a:gd name="connsiteX9424" fmla="*/ 1620388 w 4044707"/>
                <a:gd name="connsiteY9424" fmla="*/ 2136840 h 2907193"/>
                <a:gd name="connsiteX9425" fmla="*/ 1619057 w 4044707"/>
                <a:gd name="connsiteY9425" fmla="*/ 2139472 h 2907193"/>
                <a:gd name="connsiteX9426" fmla="*/ 1619662 w 4044707"/>
                <a:gd name="connsiteY9426" fmla="*/ 2142739 h 2907193"/>
                <a:gd name="connsiteX9427" fmla="*/ 1624744 w 4044707"/>
                <a:gd name="connsiteY9427" fmla="*/ 2145190 h 2907193"/>
                <a:gd name="connsiteX9428" fmla="*/ 1636784 w 4044707"/>
                <a:gd name="connsiteY9428" fmla="*/ 2139170 h 2907193"/>
                <a:gd name="connsiteX9429" fmla="*/ 1640626 w 4044707"/>
                <a:gd name="connsiteY9429" fmla="*/ 2144827 h 2907193"/>
                <a:gd name="connsiteX9430" fmla="*/ 1637086 w 4044707"/>
                <a:gd name="connsiteY9430" fmla="*/ 2142316 h 2907193"/>
                <a:gd name="connsiteX9431" fmla="*/ 1635816 w 4044707"/>
                <a:gd name="connsiteY9431" fmla="*/ 2141983 h 2907193"/>
                <a:gd name="connsiteX9432" fmla="*/ 1634303 w 4044707"/>
                <a:gd name="connsiteY9432" fmla="*/ 2142437 h 2907193"/>
                <a:gd name="connsiteX9433" fmla="*/ 1631792 w 4044707"/>
                <a:gd name="connsiteY9433" fmla="*/ 2144373 h 2907193"/>
                <a:gd name="connsiteX9434" fmla="*/ 1623867 w 4044707"/>
                <a:gd name="connsiteY9434" fmla="*/ 2147096 h 2907193"/>
                <a:gd name="connsiteX9435" fmla="*/ 1620509 w 4044707"/>
                <a:gd name="connsiteY9435" fmla="*/ 2147398 h 2907193"/>
                <a:gd name="connsiteX9436" fmla="*/ 1617272 w 4044707"/>
                <a:gd name="connsiteY9436" fmla="*/ 2144827 h 2907193"/>
                <a:gd name="connsiteX9437" fmla="*/ 1615547 w 4044707"/>
                <a:gd name="connsiteY9437" fmla="*/ 2140955 h 2907193"/>
                <a:gd name="connsiteX9438" fmla="*/ 1615941 w 4044707"/>
                <a:gd name="connsiteY9438" fmla="*/ 2137869 h 2907193"/>
                <a:gd name="connsiteX9439" fmla="*/ 1621326 w 4044707"/>
                <a:gd name="connsiteY9439" fmla="*/ 2128945 h 2907193"/>
                <a:gd name="connsiteX9440" fmla="*/ 1622233 w 4044707"/>
                <a:gd name="connsiteY9440" fmla="*/ 2126615 h 2907193"/>
                <a:gd name="connsiteX9441" fmla="*/ 1622475 w 4044707"/>
                <a:gd name="connsiteY9441" fmla="*/ 2123711 h 2907193"/>
                <a:gd name="connsiteX9442" fmla="*/ 1621658 w 4044707"/>
                <a:gd name="connsiteY9442" fmla="*/ 2114878 h 2907193"/>
                <a:gd name="connsiteX9443" fmla="*/ 1621356 w 4044707"/>
                <a:gd name="connsiteY9443" fmla="*/ 2113244 h 2907193"/>
                <a:gd name="connsiteX9444" fmla="*/ 1620660 w 4044707"/>
                <a:gd name="connsiteY9444" fmla="*/ 2110975 h 2907193"/>
                <a:gd name="connsiteX9445" fmla="*/ 1619631 w 4044707"/>
                <a:gd name="connsiteY9445" fmla="*/ 2108858 h 2907193"/>
                <a:gd name="connsiteX9446" fmla="*/ 1610314 w 4044707"/>
                <a:gd name="connsiteY9446" fmla="*/ 2097423 h 2907193"/>
                <a:gd name="connsiteX9447" fmla="*/ 1609043 w 4044707"/>
                <a:gd name="connsiteY9447" fmla="*/ 2094549 h 2907193"/>
                <a:gd name="connsiteX9448" fmla="*/ 1608983 w 4044707"/>
                <a:gd name="connsiteY9448" fmla="*/ 2089557 h 2907193"/>
                <a:gd name="connsiteX9449" fmla="*/ 1609769 w 4044707"/>
                <a:gd name="connsiteY9449" fmla="*/ 2085201 h 2907193"/>
                <a:gd name="connsiteX9450" fmla="*/ 1609588 w 4044707"/>
                <a:gd name="connsiteY9450" fmla="*/ 2082116 h 2907193"/>
                <a:gd name="connsiteX9451" fmla="*/ 1596429 w 4044707"/>
                <a:gd name="connsiteY9451" fmla="*/ 2078879 h 2907193"/>
                <a:gd name="connsiteX9452" fmla="*/ 1593918 w 4044707"/>
                <a:gd name="connsiteY9452" fmla="*/ 2076216 h 2907193"/>
                <a:gd name="connsiteX9453" fmla="*/ 1592435 w 4044707"/>
                <a:gd name="connsiteY9453" fmla="*/ 2075369 h 2907193"/>
                <a:gd name="connsiteX9454" fmla="*/ 1590439 w 4044707"/>
                <a:gd name="connsiteY9454" fmla="*/ 2075732 h 2907193"/>
                <a:gd name="connsiteX9455" fmla="*/ 1586415 w 4044707"/>
                <a:gd name="connsiteY9455" fmla="*/ 2078727 h 2907193"/>
                <a:gd name="connsiteX9456" fmla="*/ 1577824 w 4044707"/>
                <a:gd name="connsiteY9456" fmla="*/ 2082176 h 2907193"/>
                <a:gd name="connsiteX9457" fmla="*/ 1575888 w 4044707"/>
                <a:gd name="connsiteY9457" fmla="*/ 2083568 h 2907193"/>
                <a:gd name="connsiteX9458" fmla="*/ 1575888 w 4044707"/>
                <a:gd name="connsiteY9458" fmla="*/ 2084929 h 2907193"/>
                <a:gd name="connsiteX9459" fmla="*/ 1577370 w 4044707"/>
                <a:gd name="connsiteY9459" fmla="*/ 2086048 h 2907193"/>
                <a:gd name="connsiteX9460" fmla="*/ 1577733 w 4044707"/>
                <a:gd name="connsiteY9460" fmla="*/ 2088377 h 2907193"/>
                <a:gd name="connsiteX9461" fmla="*/ 1577673 w 4044707"/>
                <a:gd name="connsiteY9461" fmla="*/ 2091403 h 2907193"/>
                <a:gd name="connsiteX9462" fmla="*/ 1577945 w 4044707"/>
                <a:gd name="connsiteY9462" fmla="*/ 2094609 h 2907193"/>
                <a:gd name="connsiteX9463" fmla="*/ 1574859 w 4044707"/>
                <a:gd name="connsiteY9463" fmla="*/ 2089043 h 2907193"/>
                <a:gd name="connsiteX9464" fmla="*/ 1573831 w 4044707"/>
                <a:gd name="connsiteY9464" fmla="*/ 2087682 h 2907193"/>
                <a:gd name="connsiteX9465" fmla="*/ 1571471 w 4044707"/>
                <a:gd name="connsiteY9465" fmla="*/ 2085897 h 2907193"/>
                <a:gd name="connsiteX9466" fmla="*/ 1569414 w 4044707"/>
                <a:gd name="connsiteY9466" fmla="*/ 2085655 h 2907193"/>
                <a:gd name="connsiteX9467" fmla="*/ 1564846 w 4044707"/>
                <a:gd name="connsiteY9467" fmla="*/ 2086472 h 2907193"/>
                <a:gd name="connsiteX9468" fmla="*/ 1561397 w 4044707"/>
                <a:gd name="connsiteY9468" fmla="*/ 2088317 h 2907193"/>
                <a:gd name="connsiteX9469" fmla="*/ 1560369 w 4044707"/>
                <a:gd name="connsiteY9469" fmla="*/ 2092794 h 2907193"/>
                <a:gd name="connsiteX9470" fmla="*/ 1561155 w 4044707"/>
                <a:gd name="connsiteY9470" fmla="*/ 2098391 h 2907193"/>
                <a:gd name="connsiteX9471" fmla="*/ 1563152 w 4044707"/>
                <a:gd name="connsiteY9471" fmla="*/ 2103473 h 2907193"/>
                <a:gd name="connsiteX9472" fmla="*/ 1570927 w 4044707"/>
                <a:gd name="connsiteY9472" fmla="*/ 2115029 h 2907193"/>
                <a:gd name="connsiteX9473" fmla="*/ 1579578 w 4044707"/>
                <a:gd name="connsiteY9473" fmla="*/ 2133422 h 2907193"/>
                <a:gd name="connsiteX9474" fmla="*/ 1580698 w 4044707"/>
                <a:gd name="connsiteY9474" fmla="*/ 2138292 h 2907193"/>
                <a:gd name="connsiteX9475" fmla="*/ 1574496 w 4044707"/>
                <a:gd name="connsiteY9475" fmla="*/ 2143586 h 2907193"/>
                <a:gd name="connsiteX9476" fmla="*/ 1577159 w 4044707"/>
                <a:gd name="connsiteY9476" fmla="*/ 2137808 h 2907193"/>
                <a:gd name="connsiteX9477" fmla="*/ 1577552 w 4044707"/>
                <a:gd name="connsiteY9477" fmla="*/ 2135086 h 2907193"/>
                <a:gd name="connsiteX9478" fmla="*/ 1576523 w 4044707"/>
                <a:gd name="connsiteY9478" fmla="*/ 2131425 h 2907193"/>
                <a:gd name="connsiteX9479" fmla="*/ 1569656 w 4044707"/>
                <a:gd name="connsiteY9479" fmla="*/ 2119234 h 2907193"/>
                <a:gd name="connsiteX9480" fmla="*/ 1567417 w 4044707"/>
                <a:gd name="connsiteY9480" fmla="*/ 2116058 h 2907193"/>
                <a:gd name="connsiteX9481" fmla="*/ 1562729 w 4044707"/>
                <a:gd name="connsiteY9481" fmla="*/ 2112367 h 2907193"/>
                <a:gd name="connsiteX9482" fmla="*/ 1560732 w 4044707"/>
                <a:gd name="connsiteY9482" fmla="*/ 2109584 h 2907193"/>
                <a:gd name="connsiteX9483" fmla="*/ 1558675 w 4044707"/>
                <a:gd name="connsiteY9483" fmla="*/ 2102777 h 2907193"/>
                <a:gd name="connsiteX9484" fmla="*/ 1555680 w 4044707"/>
                <a:gd name="connsiteY9484" fmla="*/ 2096606 h 2907193"/>
                <a:gd name="connsiteX9485" fmla="*/ 1555256 w 4044707"/>
                <a:gd name="connsiteY9485" fmla="*/ 2095214 h 2907193"/>
                <a:gd name="connsiteX9486" fmla="*/ 1552443 w 4044707"/>
                <a:gd name="connsiteY9486" fmla="*/ 2091312 h 2907193"/>
                <a:gd name="connsiteX9487" fmla="*/ 1546060 w 4044707"/>
                <a:gd name="connsiteY9487" fmla="*/ 2093520 h 2907193"/>
                <a:gd name="connsiteX9488" fmla="*/ 1534595 w 4044707"/>
                <a:gd name="connsiteY9488" fmla="*/ 2100055 h 2907193"/>
                <a:gd name="connsiteX9489" fmla="*/ 1529573 w 4044707"/>
                <a:gd name="connsiteY9489" fmla="*/ 2101234 h 2907193"/>
                <a:gd name="connsiteX9490" fmla="*/ 1523976 w 4044707"/>
                <a:gd name="connsiteY9490" fmla="*/ 2104562 h 2907193"/>
                <a:gd name="connsiteX9491" fmla="*/ 1519015 w 4044707"/>
                <a:gd name="connsiteY9491" fmla="*/ 2109735 h 2907193"/>
                <a:gd name="connsiteX9492" fmla="*/ 1515929 w 4044707"/>
                <a:gd name="connsiteY9492" fmla="*/ 2116511 h 2907193"/>
                <a:gd name="connsiteX9493" fmla="*/ 1517684 w 4044707"/>
                <a:gd name="connsiteY9493" fmla="*/ 2116844 h 2907193"/>
                <a:gd name="connsiteX9494" fmla="*/ 1518682 w 4044707"/>
                <a:gd name="connsiteY9494" fmla="*/ 2118780 h 2907193"/>
                <a:gd name="connsiteX9495" fmla="*/ 1519439 w 4044707"/>
                <a:gd name="connsiteY9495" fmla="*/ 2120928 h 2907193"/>
                <a:gd name="connsiteX9496" fmla="*/ 1520377 w 4044707"/>
                <a:gd name="connsiteY9496" fmla="*/ 2121926 h 2907193"/>
                <a:gd name="connsiteX9497" fmla="*/ 1524188 w 4044707"/>
                <a:gd name="connsiteY9497" fmla="*/ 2122652 h 2907193"/>
                <a:gd name="connsiteX9498" fmla="*/ 1526215 w 4044707"/>
                <a:gd name="connsiteY9498" fmla="*/ 2123500 h 2907193"/>
                <a:gd name="connsiteX9499" fmla="*/ 1527667 w 4044707"/>
                <a:gd name="connsiteY9499" fmla="*/ 2124619 h 2907193"/>
                <a:gd name="connsiteX9500" fmla="*/ 1522918 w 4044707"/>
                <a:gd name="connsiteY9500" fmla="*/ 2124165 h 2907193"/>
                <a:gd name="connsiteX9501" fmla="*/ 1520830 w 4044707"/>
                <a:gd name="connsiteY9501" fmla="*/ 2123348 h 2907193"/>
                <a:gd name="connsiteX9502" fmla="*/ 1516898 w 4044707"/>
                <a:gd name="connsiteY9502" fmla="*/ 2120535 h 2907193"/>
                <a:gd name="connsiteX9503" fmla="*/ 1515113 w 4044707"/>
                <a:gd name="connsiteY9503" fmla="*/ 2119718 h 2907193"/>
                <a:gd name="connsiteX9504" fmla="*/ 1513721 w 4044707"/>
                <a:gd name="connsiteY9504" fmla="*/ 2120505 h 2907193"/>
                <a:gd name="connsiteX9505" fmla="*/ 1513177 w 4044707"/>
                <a:gd name="connsiteY9505" fmla="*/ 2123953 h 2907193"/>
                <a:gd name="connsiteX9506" fmla="*/ 1513994 w 4044707"/>
                <a:gd name="connsiteY9506" fmla="*/ 2125799 h 2907193"/>
                <a:gd name="connsiteX9507" fmla="*/ 1519408 w 4044707"/>
                <a:gd name="connsiteY9507" fmla="*/ 2128703 h 2907193"/>
                <a:gd name="connsiteX9508" fmla="*/ 1523885 w 4044707"/>
                <a:gd name="connsiteY9508" fmla="*/ 2135721 h 2907193"/>
                <a:gd name="connsiteX9509" fmla="*/ 1525217 w 4044707"/>
                <a:gd name="connsiteY9509" fmla="*/ 2136810 h 2907193"/>
                <a:gd name="connsiteX9510" fmla="*/ 1526064 w 4044707"/>
                <a:gd name="connsiteY9510" fmla="*/ 2137869 h 2907193"/>
                <a:gd name="connsiteX9511" fmla="*/ 1528847 w 4044707"/>
                <a:gd name="connsiteY9511" fmla="*/ 2142497 h 2907193"/>
                <a:gd name="connsiteX9512" fmla="*/ 1530087 w 4044707"/>
                <a:gd name="connsiteY9512" fmla="*/ 2143556 h 2907193"/>
                <a:gd name="connsiteX9513" fmla="*/ 1558070 w 4044707"/>
                <a:gd name="connsiteY9513" fmla="*/ 2151633 h 2907193"/>
                <a:gd name="connsiteX9514" fmla="*/ 1558070 w 4044707"/>
                <a:gd name="connsiteY9514" fmla="*/ 2152964 h 2907193"/>
                <a:gd name="connsiteX9515" fmla="*/ 1542127 w 4044707"/>
                <a:gd name="connsiteY9515" fmla="*/ 2149032 h 2907193"/>
                <a:gd name="connsiteX9516" fmla="*/ 1533778 w 4044707"/>
                <a:gd name="connsiteY9516" fmla="*/ 2148759 h 2907193"/>
                <a:gd name="connsiteX9517" fmla="*/ 1530087 w 4044707"/>
                <a:gd name="connsiteY9517" fmla="*/ 2149758 h 2907193"/>
                <a:gd name="connsiteX9518" fmla="*/ 1526275 w 4044707"/>
                <a:gd name="connsiteY9518" fmla="*/ 2151603 h 2907193"/>
                <a:gd name="connsiteX9519" fmla="*/ 1526729 w 4044707"/>
                <a:gd name="connsiteY9519" fmla="*/ 2148064 h 2907193"/>
                <a:gd name="connsiteX9520" fmla="*/ 1525610 w 4044707"/>
                <a:gd name="connsiteY9520" fmla="*/ 2145462 h 2907193"/>
                <a:gd name="connsiteX9521" fmla="*/ 1518228 w 4044707"/>
                <a:gd name="connsiteY9521" fmla="*/ 2137597 h 2907193"/>
                <a:gd name="connsiteX9522" fmla="*/ 1516595 w 4044707"/>
                <a:gd name="connsiteY9522" fmla="*/ 2137415 h 2907193"/>
                <a:gd name="connsiteX9523" fmla="*/ 1514780 w 4044707"/>
                <a:gd name="connsiteY9523" fmla="*/ 2147822 h 2907193"/>
                <a:gd name="connsiteX9524" fmla="*/ 1512027 w 4044707"/>
                <a:gd name="connsiteY9524" fmla="*/ 2152995 h 2907193"/>
                <a:gd name="connsiteX9525" fmla="*/ 1505584 w 4044707"/>
                <a:gd name="connsiteY9525" fmla="*/ 2161193 h 2907193"/>
                <a:gd name="connsiteX9526" fmla="*/ 1506310 w 4044707"/>
                <a:gd name="connsiteY9526" fmla="*/ 2154991 h 2907193"/>
                <a:gd name="connsiteX9527" fmla="*/ 1511785 w 4044707"/>
                <a:gd name="connsiteY9527" fmla="*/ 2146642 h 2907193"/>
                <a:gd name="connsiteX9528" fmla="*/ 1513146 w 4044707"/>
                <a:gd name="connsiteY9528" fmla="*/ 2141469 h 2907193"/>
                <a:gd name="connsiteX9529" fmla="*/ 1513570 w 4044707"/>
                <a:gd name="connsiteY9529" fmla="*/ 2135509 h 2907193"/>
                <a:gd name="connsiteX9530" fmla="*/ 1513631 w 4044707"/>
                <a:gd name="connsiteY9530" fmla="*/ 2132787 h 2907193"/>
                <a:gd name="connsiteX9531" fmla="*/ 1513146 w 4044707"/>
                <a:gd name="connsiteY9531" fmla="*/ 2129943 h 2907193"/>
                <a:gd name="connsiteX9532" fmla="*/ 1511634 w 4044707"/>
                <a:gd name="connsiteY9532" fmla="*/ 2127402 h 2907193"/>
                <a:gd name="connsiteX9533" fmla="*/ 1509274 w 4044707"/>
                <a:gd name="connsiteY9533" fmla="*/ 2125557 h 2907193"/>
                <a:gd name="connsiteX9534" fmla="*/ 1506794 w 4044707"/>
                <a:gd name="connsiteY9534" fmla="*/ 2124740 h 2907193"/>
                <a:gd name="connsiteX9535" fmla="*/ 1504888 w 4044707"/>
                <a:gd name="connsiteY9535" fmla="*/ 2125345 h 2907193"/>
                <a:gd name="connsiteX9536" fmla="*/ 1499624 w 4044707"/>
                <a:gd name="connsiteY9536" fmla="*/ 2129459 h 2907193"/>
                <a:gd name="connsiteX9537" fmla="*/ 1498021 w 4044707"/>
                <a:gd name="connsiteY9537" fmla="*/ 2129943 h 2907193"/>
                <a:gd name="connsiteX9538" fmla="*/ 1492424 w 4044707"/>
                <a:gd name="connsiteY9538" fmla="*/ 2129398 h 2907193"/>
                <a:gd name="connsiteX9539" fmla="*/ 1489399 w 4044707"/>
                <a:gd name="connsiteY9539" fmla="*/ 2129731 h 2907193"/>
                <a:gd name="connsiteX9540" fmla="*/ 1487644 w 4044707"/>
                <a:gd name="connsiteY9540" fmla="*/ 2131395 h 2907193"/>
                <a:gd name="connsiteX9541" fmla="*/ 1487765 w 4044707"/>
                <a:gd name="connsiteY9541" fmla="*/ 2136750 h 2907193"/>
                <a:gd name="connsiteX9542" fmla="*/ 1490549 w 4044707"/>
                <a:gd name="connsiteY9542" fmla="*/ 2140924 h 2907193"/>
                <a:gd name="connsiteX9543" fmla="*/ 1493967 w 4044707"/>
                <a:gd name="connsiteY9543" fmla="*/ 2144373 h 2907193"/>
                <a:gd name="connsiteX9544" fmla="*/ 1495933 w 4044707"/>
                <a:gd name="connsiteY9544" fmla="*/ 2147610 h 2907193"/>
                <a:gd name="connsiteX9545" fmla="*/ 1490246 w 4044707"/>
                <a:gd name="connsiteY9545" fmla="*/ 2142800 h 2907193"/>
                <a:gd name="connsiteX9546" fmla="*/ 1487039 w 4044707"/>
                <a:gd name="connsiteY9546" fmla="*/ 2141136 h 2907193"/>
                <a:gd name="connsiteX9547" fmla="*/ 1486223 w 4044707"/>
                <a:gd name="connsiteY9547" fmla="*/ 2138837 h 2907193"/>
                <a:gd name="connsiteX9548" fmla="*/ 1485708 w 4044707"/>
                <a:gd name="connsiteY9548" fmla="*/ 2136175 h 2907193"/>
                <a:gd name="connsiteX9549" fmla="*/ 1484861 w 4044707"/>
                <a:gd name="connsiteY9549" fmla="*/ 2133966 h 2907193"/>
                <a:gd name="connsiteX9550" fmla="*/ 1483076 w 4044707"/>
                <a:gd name="connsiteY9550" fmla="*/ 2132514 h 2907193"/>
                <a:gd name="connsiteX9551" fmla="*/ 1473214 w 4044707"/>
                <a:gd name="connsiteY9551" fmla="*/ 2130699 h 2907193"/>
                <a:gd name="connsiteX9552" fmla="*/ 1468677 w 4044707"/>
                <a:gd name="connsiteY9552" fmla="*/ 2127825 h 2907193"/>
                <a:gd name="connsiteX9553" fmla="*/ 1466196 w 4044707"/>
                <a:gd name="connsiteY9553" fmla="*/ 2127341 h 2907193"/>
                <a:gd name="connsiteX9554" fmla="*/ 1463867 w 4044707"/>
                <a:gd name="connsiteY9554" fmla="*/ 2128309 h 2907193"/>
                <a:gd name="connsiteX9555" fmla="*/ 1462808 w 4044707"/>
                <a:gd name="connsiteY9555" fmla="*/ 2130336 h 2907193"/>
                <a:gd name="connsiteX9556" fmla="*/ 1462143 w 4044707"/>
                <a:gd name="connsiteY9556" fmla="*/ 2133089 h 2907193"/>
                <a:gd name="connsiteX9557" fmla="*/ 1459904 w 4044707"/>
                <a:gd name="connsiteY9557" fmla="*/ 2138867 h 2907193"/>
                <a:gd name="connsiteX9558" fmla="*/ 1459813 w 4044707"/>
                <a:gd name="connsiteY9558" fmla="*/ 2140773 h 2907193"/>
                <a:gd name="connsiteX9559" fmla="*/ 1460751 w 4044707"/>
                <a:gd name="connsiteY9559" fmla="*/ 2142225 h 2907193"/>
                <a:gd name="connsiteX9560" fmla="*/ 1462747 w 4044707"/>
                <a:gd name="connsiteY9560" fmla="*/ 2143556 h 2907193"/>
                <a:gd name="connsiteX9561" fmla="*/ 1477299 w 4044707"/>
                <a:gd name="connsiteY9561" fmla="*/ 2147398 h 2907193"/>
                <a:gd name="connsiteX9562" fmla="*/ 1480021 w 4044707"/>
                <a:gd name="connsiteY9562" fmla="*/ 2151633 h 2907193"/>
                <a:gd name="connsiteX9563" fmla="*/ 1478871 w 4044707"/>
                <a:gd name="connsiteY9563" fmla="*/ 2151180 h 2907193"/>
                <a:gd name="connsiteX9564" fmla="*/ 1476905 w 4044707"/>
                <a:gd name="connsiteY9564" fmla="*/ 2149395 h 2907193"/>
                <a:gd name="connsiteX9565" fmla="*/ 1475876 w 4044707"/>
                <a:gd name="connsiteY9565" fmla="*/ 2149062 h 2907193"/>
                <a:gd name="connsiteX9566" fmla="*/ 1474455 w 4044707"/>
                <a:gd name="connsiteY9566" fmla="*/ 2149516 h 2907193"/>
                <a:gd name="connsiteX9567" fmla="*/ 1473910 w 4044707"/>
                <a:gd name="connsiteY9567" fmla="*/ 2150333 h 2907193"/>
                <a:gd name="connsiteX9568" fmla="*/ 1473638 w 4044707"/>
                <a:gd name="connsiteY9568" fmla="*/ 2151512 h 2907193"/>
                <a:gd name="connsiteX9569" fmla="*/ 1470371 w 4044707"/>
                <a:gd name="connsiteY9569" fmla="*/ 2159680 h 2907193"/>
                <a:gd name="connsiteX9570" fmla="*/ 1468889 w 4044707"/>
                <a:gd name="connsiteY9570" fmla="*/ 2162373 h 2907193"/>
                <a:gd name="connsiteX9571" fmla="*/ 1467557 w 4044707"/>
                <a:gd name="connsiteY9571" fmla="*/ 2163310 h 2907193"/>
                <a:gd name="connsiteX9572" fmla="*/ 1466922 w 4044707"/>
                <a:gd name="connsiteY9572" fmla="*/ 2163764 h 2907193"/>
                <a:gd name="connsiteX9573" fmla="*/ 1465894 w 4044707"/>
                <a:gd name="connsiteY9573" fmla="*/ 2152934 h 2907193"/>
                <a:gd name="connsiteX9574" fmla="*/ 1459813 w 4044707"/>
                <a:gd name="connsiteY9574" fmla="*/ 2147670 h 2907193"/>
                <a:gd name="connsiteX9575" fmla="*/ 1452462 w 4044707"/>
                <a:gd name="connsiteY9575" fmla="*/ 2144071 h 2907193"/>
                <a:gd name="connsiteX9576" fmla="*/ 1447622 w 4044707"/>
                <a:gd name="connsiteY9576" fmla="*/ 2138262 h 2907193"/>
                <a:gd name="connsiteX9577" fmla="*/ 1447622 w 4044707"/>
                <a:gd name="connsiteY9577" fmla="*/ 2137234 h 2907193"/>
                <a:gd name="connsiteX9578" fmla="*/ 1448136 w 4044707"/>
                <a:gd name="connsiteY9578" fmla="*/ 2134602 h 2907193"/>
                <a:gd name="connsiteX9579" fmla="*/ 1448287 w 4044707"/>
                <a:gd name="connsiteY9579" fmla="*/ 2133331 h 2907193"/>
                <a:gd name="connsiteX9580" fmla="*/ 1448045 w 4044707"/>
                <a:gd name="connsiteY9580" fmla="*/ 2131607 h 2907193"/>
                <a:gd name="connsiteX9581" fmla="*/ 1447470 w 4044707"/>
                <a:gd name="connsiteY9581" fmla="*/ 2131425 h 2907193"/>
                <a:gd name="connsiteX9582" fmla="*/ 1446684 w 4044707"/>
                <a:gd name="connsiteY9582" fmla="*/ 2131516 h 2907193"/>
                <a:gd name="connsiteX9583" fmla="*/ 1445898 w 4044707"/>
                <a:gd name="connsiteY9583" fmla="*/ 2130639 h 2907193"/>
                <a:gd name="connsiteX9584" fmla="*/ 1444687 w 4044707"/>
                <a:gd name="connsiteY9584" fmla="*/ 2128884 h 2907193"/>
                <a:gd name="connsiteX9585" fmla="*/ 1441571 w 4044707"/>
                <a:gd name="connsiteY9585" fmla="*/ 2126676 h 2907193"/>
                <a:gd name="connsiteX9586" fmla="*/ 1438698 w 4044707"/>
                <a:gd name="connsiteY9586" fmla="*/ 2123015 h 2907193"/>
                <a:gd name="connsiteX9587" fmla="*/ 1437488 w 4044707"/>
                <a:gd name="connsiteY9587" fmla="*/ 2122652 h 2907193"/>
                <a:gd name="connsiteX9588" fmla="*/ 1435158 w 4044707"/>
                <a:gd name="connsiteY9588" fmla="*/ 2124589 h 2907193"/>
                <a:gd name="connsiteX9589" fmla="*/ 1435098 w 4044707"/>
                <a:gd name="connsiteY9589" fmla="*/ 2125073 h 2907193"/>
                <a:gd name="connsiteX9590" fmla="*/ 1435188 w 4044707"/>
                <a:gd name="connsiteY9590" fmla="*/ 2126888 h 2907193"/>
                <a:gd name="connsiteX9591" fmla="*/ 1435188 w 4044707"/>
                <a:gd name="connsiteY9591" fmla="*/ 2127341 h 2907193"/>
                <a:gd name="connsiteX9592" fmla="*/ 1434644 w 4044707"/>
                <a:gd name="connsiteY9592" fmla="*/ 2127462 h 2907193"/>
                <a:gd name="connsiteX9593" fmla="*/ 1433585 w 4044707"/>
                <a:gd name="connsiteY9593" fmla="*/ 2127220 h 2907193"/>
                <a:gd name="connsiteX9594" fmla="*/ 1433101 w 4044707"/>
                <a:gd name="connsiteY9594" fmla="*/ 2127341 h 2907193"/>
                <a:gd name="connsiteX9595" fmla="*/ 1430106 w 4044707"/>
                <a:gd name="connsiteY9595" fmla="*/ 2126827 h 2907193"/>
                <a:gd name="connsiteX9596" fmla="*/ 1428987 w 4044707"/>
                <a:gd name="connsiteY9596" fmla="*/ 2127341 h 2907193"/>
                <a:gd name="connsiteX9597" fmla="*/ 1428896 w 4044707"/>
                <a:gd name="connsiteY9597" fmla="*/ 2128582 h 2907193"/>
                <a:gd name="connsiteX9598" fmla="*/ 1428715 w 4044707"/>
                <a:gd name="connsiteY9598" fmla="*/ 2128794 h 2907193"/>
                <a:gd name="connsiteX9599" fmla="*/ 1428291 w 4044707"/>
                <a:gd name="connsiteY9599" fmla="*/ 2128672 h 2907193"/>
                <a:gd name="connsiteX9600" fmla="*/ 1428654 w 4044707"/>
                <a:gd name="connsiteY9600" fmla="*/ 2129308 h 2907193"/>
                <a:gd name="connsiteX9601" fmla="*/ 1429290 w 4044707"/>
                <a:gd name="connsiteY9601" fmla="*/ 2130790 h 2907193"/>
                <a:gd name="connsiteX9602" fmla="*/ 1429653 w 4044707"/>
                <a:gd name="connsiteY9602" fmla="*/ 2131395 h 2907193"/>
                <a:gd name="connsiteX9603" fmla="*/ 1429108 w 4044707"/>
                <a:gd name="connsiteY9603" fmla="*/ 2131698 h 2907193"/>
                <a:gd name="connsiteX9604" fmla="*/ 1428110 w 4044707"/>
                <a:gd name="connsiteY9604" fmla="*/ 2132514 h 2907193"/>
                <a:gd name="connsiteX9605" fmla="*/ 1427535 w 4044707"/>
                <a:gd name="connsiteY9605" fmla="*/ 2132756 h 2907193"/>
                <a:gd name="connsiteX9606" fmla="*/ 1428503 w 4044707"/>
                <a:gd name="connsiteY9606" fmla="*/ 2134995 h 2907193"/>
                <a:gd name="connsiteX9607" fmla="*/ 1431619 w 4044707"/>
                <a:gd name="connsiteY9607" fmla="*/ 2137506 h 2907193"/>
                <a:gd name="connsiteX9608" fmla="*/ 1433101 w 4044707"/>
                <a:gd name="connsiteY9608" fmla="*/ 2139533 h 2907193"/>
                <a:gd name="connsiteX9609" fmla="*/ 1431468 w 4044707"/>
                <a:gd name="connsiteY9609" fmla="*/ 2140561 h 2907193"/>
                <a:gd name="connsiteX9610" fmla="*/ 1430651 w 4044707"/>
                <a:gd name="connsiteY9610" fmla="*/ 2140864 h 2907193"/>
                <a:gd name="connsiteX9611" fmla="*/ 1429653 w 4044707"/>
                <a:gd name="connsiteY9611" fmla="*/ 2140864 h 2907193"/>
                <a:gd name="connsiteX9612" fmla="*/ 1431407 w 4044707"/>
                <a:gd name="connsiteY9612" fmla="*/ 2143617 h 2907193"/>
                <a:gd name="connsiteX9613" fmla="*/ 1441420 w 4044707"/>
                <a:gd name="connsiteY9613" fmla="*/ 2144978 h 2907193"/>
                <a:gd name="connsiteX9614" fmla="*/ 1450405 w 4044707"/>
                <a:gd name="connsiteY9614" fmla="*/ 2151724 h 2907193"/>
                <a:gd name="connsiteX9615" fmla="*/ 1451948 w 4044707"/>
                <a:gd name="connsiteY9615" fmla="*/ 2153902 h 2907193"/>
                <a:gd name="connsiteX9616" fmla="*/ 1453400 w 4044707"/>
                <a:gd name="connsiteY9616" fmla="*/ 2156504 h 2907193"/>
                <a:gd name="connsiteX9617" fmla="*/ 1454731 w 4044707"/>
                <a:gd name="connsiteY9617" fmla="*/ 2157895 h 2907193"/>
                <a:gd name="connsiteX9618" fmla="*/ 1457847 w 4044707"/>
                <a:gd name="connsiteY9618" fmla="*/ 2157895 h 2907193"/>
                <a:gd name="connsiteX9619" fmla="*/ 1459268 w 4044707"/>
                <a:gd name="connsiteY9619" fmla="*/ 2158470 h 2907193"/>
                <a:gd name="connsiteX9620" fmla="*/ 1460691 w 4044707"/>
                <a:gd name="connsiteY9620" fmla="*/ 2161223 h 2907193"/>
                <a:gd name="connsiteX9621" fmla="*/ 1458331 w 4044707"/>
                <a:gd name="connsiteY9621" fmla="*/ 2162010 h 2907193"/>
                <a:gd name="connsiteX9622" fmla="*/ 1454549 w 4044707"/>
                <a:gd name="connsiteY9622" fmla="*/ 2161374 h 2907193"/>
                <a:gd name="connsiteX9623" fmla="*/ 1451645 w 4044707"/>
                <a:gd name="connsiteY9623" fmla="*/ 2159922 h 2907193"/>
                <a:gd name="connsiteX9624" fmla="*/ 1450768 w 4044707"/>
                <a:gd name="connsiteY9624" fmla="*/ 2164581 h 2907193"/>
                <a:gd name="connsiteX9625" fmla="*/ 1449497 w 4044707"/>
                <a:gd name="connsiteY9625" fmla="*/ 2166578 h 2907193"/>
                <a:gd name="connsiteX9626" fmla="*/ 1445595 w 4044707"/>
                <a:gd name="connsiteY9626" fmla="*/ 2169330 h 2907193"/>
                <a:gd name="connsiteX9627" fmla="*/ 1444687 w 4044707"/>
                <a:gd name="connsiteY9627" fmla="*/ 2170843 h 2907193"/>
                <a:gd name="connsiteX9628" fmla="*/ 1444597 w 4044707"/>
                <a:gd name="connsiteY9628" fmla="*/ 2172053 h 2907193"/>
                <a:gd name="connsiteX9629" fmla="*/ 1444415 w 4044707"/>
                <a:gd name="connsiteY9629" fmla="*/ 2172900 h 2907193"/>
                <a:gd name="connsiteX9630" fmla="*/ 1443386 w 4044707"/>
                <a:gd name="connsiteY9630" fmla="*/ 2173354 h 2907193"/>
                <a:gd name="connsiteX9631" fmla="*/ 1442903 w 4044707"/>
                <a:gd name="connsiteY9631" fmla="*/ 2173051 h 2907193"/>
                <a:gd name="connsiteX9632" fmla="*/ 1441541 w 4044707"/>
                <a:gd name="connsiteY9632" fmla="*/ 2171327 h 2907193"/>
                <a:gd name="connsiteX9633" fmla="*/ 1440694 w 4044707"/>
                <a:gd name="connsiteY9633" fmla="*/ 2170813 h 2907193"/>
                <a:gd name="connsiteX9634" fmla="*/ 1440029 w 4044707"/>
                <a:gd name="connsiteY9634" fmla="*/ 2171176 h 2907193"/>
                <a:gd name="connsiteX9635" fmla="*/ 1439515 w 4044707"/>
                <a:gd name="connsiteY9635" fmla="*/ 2172174 h 2907193"/>
                <a:gd name="connsiteX9636" fmla="*/ 1438879 w 4044707"/>
                <a:gd name="connsiteY9636" fmla="*/ 2173142 h 2907193"/>
                <a:gd name="connsiteX9637" fmla="*/ 1437881 w 4044707"/>
                <a:gd name="connsiteY9637" fmla="*/ 2173384 h 2907193"/>
                <a:gd name="connsiteX9638" fmla="*/ 1437003 w 4044707"/>
                <a:gd name="connsiteY9638" fmla="*/ 2172356 h 2907193"/>
                <a:gd name="connsiteX9639" fmla="*/ 1436640 w 4044707"/>
                <a:gd name="connsiteY9639" fmla="*/ 2170813 h 2907193"/>
                <a:gd name="connsiteX9640" fmla="*/ 1436036 w 4044707"/>
                <a:gd name="connsiteY9640" fmla="*/ 2169905 h 2907193"/>
                <a:gd name="connsiteX9641" fmla="*/ 1434523 w 4044707"/>
                <a:gd name="connsiteY9641" fmla="*/ 2170843 h 2907193"/>
                <a:gd name="connsiteX9642" fmla="*/ 1434523 w 4044707"/>
                <a:gd name="connsiteY9642" fmla="*/ 2171509 h 2907193"/>
                <a:gd name="connsiteX9643" fmla="*/ 1433071 w 4044707"/>
                <a:gd name="connsiteY9643" fmla="*/ 2176228 h 2907193"/>
                <a:gd name="connsiteX9644" fmla="*/ 1431861 w 4044707"/>
                <a:gd name="connsiteY9644" fmla="*/ 2178981 h 2907193"/>
                <a:gd name="connsiteX9645" fmla="*/ 1430348 w 4044707"/>
                <a:gd name="connsiteY9645" fmla="*/ 2181612 h 2907193"/>
                <a:gd name="connsiteX9646" fmla="*/ 1434039 w 4044707"/>
                <a:gd name="connsiteY9646" fmla="*/ 2184638 h 2907193"/>
                <a:gd name="connsiteX9647" fmla="*/ 1436096 w 4044707"/>
                <a:gd name="connsiteY9647" fmla="*/ 2185666 h 2907193"/>
                <a:gd name="connsiteX9648" fmla="*/ 1437578 w 4044707"/>
                <a:gd name="connsiteY9648" fmla="*/ 2184910 h 2907193"/>
                <a:gd name="connsiteX9649" fmla="*/ 1439907 w 4044707"/>
                <a:gd name="connsiteY9649" fmla="*/ 2182460 h 2907193"/>
                <a:gd name="connsiteX9650" fmla="*/ 1442721 w 4044707"/>
                <a:gd name="connsiteY9650" fmla="*/ 2182066 h 2907193"/>
                <a:gd name="connsiteX9651" fmla="*/ 1448287 w 4044707"/>
                <a:gd name="connsiteY9651" fmla="*/ 2182944 h 2907193"/>
                <a:gd name="connsiteX9652" fmla="*/ 1450798 w 4044707"/>
                <a:gd name="connsiteY9652" fmla="*/ 2182248 h 2907193"/>
                <a:gd name="connsiteX9653" fmla="*/ 1455548 w 4044707"/>
                <a:gd name="connsiteY9653" fmla="*/ 2179495 h 2907193"/>
                <a:gd name="connsiteX9654" fmla="*/ 1463413 w 4044707"/>
                <a:gd name="connsiteY9654" fmla="*/ 2177438 h 2907193"/>
                <a:gd name="connsiteX9655" fmla="*/ 1464442 w 4044707"/>
                <a:gd name="connsiteY9655" fmla="*/ 2178013 h 2907193"/>
                <a:gd name="connsiteX9656" fmla="*/ 1465077 w 4044707"/>
                <a:gd name="connsiteY9656" fmla="*/ 2179132 h 2907193"/>
                <a:gd name="connsiteX9657" fmla="*/ 1465742 w 4044707"/>
                <a:gd name="connsiteY9657" fmla="*/ 2179918 h 2907193"/>
                <a:gd name="connsiteX9658" fmla="*/ 1472428 w 4044707"/>
                <a:gd name="connsiteY9658" fmla="*/ 2177377 h 2907193"/>
                <a:gd name="connsiteX9659" fmla="*/ 1485375 w 4044707"/>
                <a:gd name="connsiteY9659" fmla="*/ 2180009 h 2907193"/>
                <a:gd name="connsiteX9660" fmla="*/ 1517200 w 4044707"/>
                <a:gd name="connsiteY9660" fmla="*/ 2181612 h 2907193"/>
                <a:gd name="connsiteX9661" fmla="*/ 1517200 w 4044707"/>
                <a:gd name="connsiteY9661" fmla="*/ 2182974 h 2907193"/>
                <a:gd name="connsiteX9662" fmla="*/ 1514357 w 4044707"/>
                <a:gd name="connsiteY9662" fmla="*/ 2184305 h 2907193"/>
                <a:gd name="connsiteX9663" fmla="*/ 1493816 w 4044707"/>
                <a:gd name="connsiteY9663" fmla="*/ 2185515 h 2907193"/>
                <a:gd name="connsiteX9664" fmla="*/ 1493816 w 4044707"/>
                <a:gd name="connsiteY9664" fmla="*/ 2186997 h 2907193"/>
                <a:gd name="connsiteX9665" fmla="*/ 1500562 w 4044707"/>
                <a:gd name="connsiteY9665" fmla="*/ 2193290 h 2907193"/>
                <a:gd name="connsiteX9666" fmla="*/ 1501379 w 4044707"/>
                <a:gd name="connsiteY9666" fmla="*/ 2193592 h 2907193"/>
                <a:gd name="connsiteX9667" fmla="*/ 1501953 w 4044707"/>
                <a:gd name="connsiteY9667" fmla="*/ 2193138 h 2907193"/>
                <a:gd name="connsiteX9668" fmla="*/ 1503194 w 4044707"/>
                <a:gd name="connsiteY9668" fmla="*/ 2191323 h 2907193"/>
                <a:gd name="connsiteX9669" fmla="*/ 1503799 w 4044707"/>
                <a:gd name="connsiteY9669" fmla="*/ 2190900 h 2907193"/>
                <a:gd name="connsiteX9670" fmla="*/ 1505251 w 4044707"/>
                <a:gd name="connsiteY9670" fmla="*/ 2190476 h 2907193"/>
                <a:gd name="connsiteX9671" fmla="*/ 1508155 w 4044707"/>
                <a:gd name="connsiteY9671" fmla="*/ 2188631 h 2907193"/>
                <a:gd name="connsiteX9672" fmla="*/ 1509607 w 4044707"/>
                <a:gd name="connsiteY9672" fmla="*/ 2188207 h 2907193"/>
                <a:gd name="connsiteX9673" fmla="*/ 1511694 w 4044707"/>
                <a:gd name="connsiteY9673" fmla="*/ 2188540 h 2907193"/>
                <a:gd name="connsiteX9674" fmla="*/ 1517170 w 4044707"/>
                <a:gd name="connsiteY9674" fmla="*/ 2190900 h 2907193"/>
                <a:gd name="connsiteX9675" fmla="*/ 1522887 w 4044707"/>
                <a:gd name="connsiteY9675" fmla="*/ 2190597 h 2907193"/>
                <a:gd name="connsiteX9676" fmla="*/ 1524763 w 4044707"/>
                <a:gd name="connsiteY9676" fmla="*/ 2190900 h 2907193"/>
                <a:gd name="connsiteX9677" fmla="*/ 1529270 w 4044707"/>
                <a:gd name="connsiteY9677" fmla="*/ 2194500 h 2907193"/>
                <a:gd name="connsiteX9678" fmla="*/ 1530632 w 4044707"/>
                <a:gd name="connsiteY9678" fmla="*/ 2195044 h 2907193"/>
                <a:gd name="connsiteX9679" fmla="*/ 1547028 w 4044707"/>
                <a:gd name="connsiteY9679" fmla="*/ 2193501 h 2907193"/>
                <a:gd name="connsiteX9680" fmla="*/ 1568930 w 4044707"/>
                <a:gd name="connsiteY9680" fmla="*/ 2199552 h 2907193"/>
                <a:gd name="connsiteX9681" fmla="*/ 1572318 w 4044707"/>
                <a:gd name="connsiteY9681" fmla="*/ 2197585 h 2907193"/>
                <a:gd name="connsiteX9682" fmla="*/ 1573921 w 4044707"/>
                <a:gd name="connsiteY9682" fmla="*/ 2194590 h 2907193"/>
                <a:gd name="connsiteX9683" fmla="*/ 1575162 w 4044707"/>
                <a:gd name="connsiteY9683" fmla="*/ 2191535 h 2907193"/>
                <a:gd name="connsiteX9684" fmla="*/ 1576886 w 4044707"/>
                <a:gd name="connsiteY9684" fmla="*/ 2189175 h 2907193"/>
                <a:gd name="connsiteX9685" fmla="*/ 1587111 w 4044707"/>
                <a:gd name="connsiteY9685" fmla="*/ 2186997 h 2907193"/>
                <a:gd name="connsiteX9686" fmla="*/ 1587625 w 4044707"/>
                <a:gd name="connsiteY9686" fmla="*/ 2186755 h 2907193"/>
                <a:gd name="connsiteX9687" fmla="*/ 1588563 w 4044707"/>
                <a:gd name="connsiteY9687" fmla="*/ 2185757 h 2907193"/>
                <a:gd name="connsiteX9688" fmla="*/ 1589199 w 4044707"/>
                <a:gd name="connsiteY9688" fmla="*/ 2185515 h 2907193"/>
                <a:gd name="connsiteX9689" fmla="*/ 1589773 w 4044707"/>
                <a:gd name="connsiteY9689" fmla="*/ 2185878 h 2907193"/>
                <a:gd name="connsiteX9690" fmla="*/ 1590408 w 4044707"/>
                <a:gd name="connsiteY9690" fmla="*/ 2187602 h 2907193"/>
                <a:gd name="connsiteX9691" fmla="*/ 1590892 w 4044707"/>
                <a:gd name="connsiteY9691" fmla="*/ 2188177 h 2907193"/>
                <a:gd name="connsiteX9692" fmla="*/ 1595672 w 4044707"/>
                <a:gd name="connsiteY9692" fmla="*/ 2189327 h 2907193"/>
                <a:gd name="connsiteX9693" fmla="*/ 1597094 w 4044707"/>
                <a:gd name="connsiteY9693" fmla="*/ 2190174 h 2907193"/>
                <a:gd name="connsiteX9694" fmla="*/ 1598516 w 4044707"/>
                <a:gd name="connsiteY9694" fmla="*/ 2190688 h 2907193"/>
                <a:gd name="connsiteX9695" fmla="*/ 1601632 w 4044707"/>
                <a:gd name="connsiteY9695" fmla="*/ 2189569 h 2907193"/>
                <a:gd name="connsiteX9696" fmla="*/ 1603296 w 4044707"/>
                <a:gd name="connsiteY9696" fmla="*/ 2189508 h 2907193"/>
                <a:gd name="connsiteX9697" fmla="*/ 1603296 w 4044707"/>
                <a:gd name="connsiteY9697" fmla="*/ 2190839 h 2907193"/>
                <a:gd name="connsiteX9698" fmla="*/ 1602418 w 4044707"/>
                <a:gd name="connsiteY9698" fmla="*/ 2191656 h 2907193"/>
                <a:gd name="connsiteX9699" fmla="*/ 1601632 w 4044707"/>
                <a:gd name="connsiteY9699" fmla="*/ 2192775 h 2907193"/>
                <a:gd name="connsiteX9700" fmla="*/ 1600180 w 4044707"/>
                <a:gd name="connsiteY9700" fmla="*/ 2195679 h 2907193"/>
                <a:gd name="connsiteX9701" fmla="*/ 1599212 w 4044707"/>
                <a:gd name="connsiteY9701" fmla="*/ 2196405 h 2907193"/>
                <a:gd name="connsiteX9702" fmla="*/ 1598092 w 4044707"/>
                <a:gd name="connsiteY9702" fmla="*/ 2195528 h 2907193"/>
                <a:gd name="connsiteX9703" fmla="*/ 1597003 w 4044707"/>
                <a:gd name="connsiteY9703" fmla="*/ 2194197 h 2907193"/>
                <a:gd name="connsiteX9704" fmla="*/ 1596066 w 4044707"/>
                <a:gd name="connsiteY9704" fmla="*/ 2193532 h 2907193"/>
                <a:gd name="connsiteX9705" fmla="*/ 1593524 w 4044707"/>
                <a:gd name="connsiteY9705" fmla="*/ 2192896 h 2907193"/>
                <a:gd name="connsiteX9706" fmla="*/ 1588140 w 4044707"/>
                <a:gd name="connsiteY9706" fmla="*/ 2190143 h 2907193"/>
                <a:gd name="connsiteX9707" fmla="*/ 1585417 w 4044707"/>
                <a:gd name="connsiteY9707" fmla="*/ 2189508 h 2907193"/>
                <a:gd name="connsiteX9708" fmla="*/ 1582755 w 4044707"/>
                <a:gd name="connsiteY9708" fmla="*/ 2189750 h 2907193"/>
                <a:gd name="connsiteX9709" fmla="*/ 1580335 w 4044707"/>
                <a:gd name="connsiteY9709" fmla="*/ 2190597 h 2907193"/>
                <a:gd name="connsiteX9710" fmla="*/ 1578157 w 4044707"/>
                <a:gd name="connsiteY9710" fmla="*/ 2192261 h 2907193"/>
                <a:gd name="connsiteX9711" fmla="*/ 1576372 w 4044707"/>
                <a:gd name="connsiteY9711" fmla="*/ 2194984 h 2907193"/>
                <a:gd name="connsiteX9712" fmla="*/ 1574647 w 4044707"/>
                <a:gd name="connsiteY9712" fmla="*/ 2199673 h 2907193"/>
                <a:gd name="connsiteX9713" fmla="*/ 1573468 w 4044707"/>
                <a:gd name="connsiteY9713" fmla="*/ 2201699 h 2907193"/>
                <a:gd name="connsiteX9714" fmla="*/ 1571592 w 4044707"/>
                <a:gd name="connsiteY9714" fmla="*/ 2203031 h 2907193"/>
                <a:gd name="connsiteX9715" fmla="*/ 1568688 w 4044707"/>
                <a:gd name="connsiteY9715" fmla="*/ 2203575 h 2907193"/>
                <a:gd name="connsiteX9716" fmla="*/ 1559643 w 4044707"/>
                <a:gd name="connsiteY9716" fmla="*/ 2203031 h 2907193"/>
                <a:gd name="connsiteX9717" fmla="*/ 1557162 w 4044707"/>
                <a:gd name="connsiteY9717" fmla="*/ 2202184 h 2907193"/>
                <a:gd name="connsiteX9718" fmla="*/ 1552534 w 4044707"/>
                <a:gd name="connsiteY9718" fmla="*/ 2198432 h 2907193"/>
                <a:gd name="connsiteX9719" fmla="*/ 1550265 w 4044707"/>
                <a:gd name="connsiteY9719" fmla="*/ 2197585 h 2907193"/>
                <a:gd name="connsiteX9720" fmla="*/ 1526820 w 4044707"/>
                <a:gd name="connsiteY9720" fmla="*/ 2197585 h 2907193"/>
                <a:gd name="connsiteX9721" fmla="*/ 1526820 w 4044707"/>
                <a:gd name="connsiteY9721" fmla="*/ 2199037 h 2907193"/>
                <a:gd name="connsiteX9722" fmla="*/ 1528544 w 4044707"/>
                <a:gd name="connsiteY9722" fmla="*/ 2199612 h 2907193"/>
                <a:gd name="connsiteX9723" fmla="*/ 1530329 w 4044707"/>
                <a:gd name="connsiteY9723" fmla="*/ 2201004 h 2907193"/>
                <a:gd name="connsiteX9724" fmla="*/ 1532023 w 4044707"/>
                <a:gd name="connsiteY9724" fmla="*/ 2202940 h 2907193"/>
                <a:gd name="connsiteX9725" fmla="*/ 1533354 w 4044707"/>
                <a:gd name="connsiteY9725" fmla="*/ 2205118 h 2907193"/>
                <a:gd name="connsiteX9726" fmla="*/ 1534836 w 4044707"/>
                <a:gd name="connsiteY9726" fmla="*/ 2206630 h 2907193"/>
                <a:gd name="connsiteX9727" fmla="*/ 1536591 w 4044707"/>
                <a:gd name="connsiteY9727" fmla="*/ 2207296 h 2907193"/>
                <a:gd name="connsiteX9728" fmla="*/ 1538195 w 4044707"/>
                <a:gd name="connsiteY9728" fmla="*/ 2208325 h 2907193"/>
                <a:gd name="connsiteX9729" fmla="*/ 1539223 w 4044707"/>
                <a:gd name="connsiteY9729" fmla="*/ 2211047 h 2907193"/>
                <a:gd name="connsiteX9730" fmla="*/ 1533415 w 4044707"/>
                <a:gd name="connsiteY9730" fmla="*/ 2210382 h 2907193"/>
                <a:gd name="connsiteX9731" fmla="*/ 1530934 w 4044707"/>
                <a:gd name="connsiteY9731" fmla="*/ 2208627 h 2907193"/>
                <a:gd name="connsiteX9732" fmla="*/ 1526941 w 4044707"/>
                <a:gd name="connsiteY9732" fmla="*/ 2202879 h 2907193"/>
                <a:gd name="connsiteX9733" fmla="*/ 1522040 w 4044707"/>
                <a:gd name="connsiteY9733" fmla="*/ 2198402 h 2907193"/>
                <a:gd name="connsiteX9734" fmla="*/ 1520195 w 4044707"/>
                <a:gd name="connsiteY9734" fmla="*/ 2197585 h 2907193"/>
                <a:gd name="connsiteX9735" fmla="*/ 1518289 w 4044707"/>
                <a:gd name="connsiteY9735" fmla="*/ 2198432 h 2907193"/>
                <a:gd name="connsiteX9736" fmla="*/ 1517412 w 4044707"/>
                <a:gd name="connsiteY9736" fmla="*/ 2200610 h 2907193"/>
                <a:gd name="connsiteX9737" fmla="*/ 1516444 w 4044707"/>
                <a:gd name="connsiteY9737" fmla="*/ 2207084 h 2907193"/>
                <a:gd name="connsiteX9738" fmla="*/ 1515203 w 4044707"/>
                <a:gd name="connsiteY9738" fmla="*/ 2210654 h 2907193"/>
                <a:gd name="connsiteX9739" fmla="*/ 1513963 w 4044707"/>
                <a:gd name="connsiteY9739" fmla="*/ 2212469 h 2907193"/>
                <a:gd name="connsiteX9740" fmla="*/ 1512602 w 4044707"/>
                <a:gd name="connsiteY9740" fmla="*/ 2213982 h 2907193"/>
                <a:gd name="connsiteX9741" fmla="*/ 1510878 w 4044707"/>
                <a:gd name="connsiteY9741" fmla="*/ 2216553 h 2907193"/>
                <a:gd name="connsiteX9742" fmla="*/ 1510968 w 4044707"/>
                <a:gd name="connsiteY9742" fmla="*/ 2214193 h 2907193"/>
                <a:gd name="connsiteX9743" fmla="*/ 1513660 w 4044707"/>
                <a:gd name="connsiteY9743" fmla="*/ 2207992 h 2907193"/>
                <a:gd name="connsiteX9744" fmla="*/ 1514689 w 4044707"/>
                <a:gd name="connsiteY9744" fmla="*/ 2201579 h 2907193"/>
                <a:gd name="connsiteX9745" fmla="*/ 1515294 w 4044707"/>
                <a:gd name="connsiteY9745" fmla="*/ 2199310 h 2907193"/>
                <a:gd name="connsiteX9746" fmla="*/ 1515597 w 4044707"/>
                <a:gd name="connsiteY9746" fmla="*/ 2197253 h 2907193"/>
                <a:gd name="connsiteX9747" fmla="*/ 1515052 w 4044707"/>
                <a:gd name="connsiteY9747" fmla="*/ 2195740 h 2907193"/>
                <a:gd name="connsiteX9748" fmla="*/ 1513207 w 4044707"/>
                <a:gd name="connsiteY9748" fmla="*/ 2194711 h 2907193"/>
                <a:gd name="connsiteX9749" fmla="*/ 1494390 w 4044707"/>
                <a:gd name="connsiteY9749" fmla="*/ 2197616 h 2907193"/>
                <a:gd name="connsiteX9750" fmla="*/ 1485497 w 4044707"/>
                <a:gd name="connsiteY9750" fmla="*/ 2201579 h 2907193"/>
                <a:gd name="connsiteX9751" fmla="*/ 1482713 w 4044707"/>
                <a:gd name="connsiteY9751" fmla="*/ 2201639 h 2907193"/>
                <a:gd name="connsiteX9752" fmla="*/ 1484861 w 4044707"/>
                <a:gd name="connsiteY9752" fmla="*/ 2197676 h 2907193"/>
                <a:gd name="connsiteX9753" fmla="*/ 1488340 w 4044707"/>
                <a:gd name="connsiteY9753" fmla="*/ 2196738 h 2907193"/>
                <a:gd name="connsiteX9754" fmla="*/ 1492091 w 4044707"/>
                <a:gd name="connsiteY9754" fmla="*/ 2196587 h 2907193"/>
                <a:gd name="connsiteX9755" fmla="*/ 1495147 w 4044707"/>
                <a:gd name="connsiteY9755" fmla="*/ 2195044 h 2907193"/>
                <a:gd name="connsiteX9756" fmla="*/ 1492455 w 4044707"/>
                <a:gd name="connsiteY9756" fmla="*/ 2192473 h 2907193"/>
                <a:gd name="connsiteX9757" fmla="*/ 1489974 w 4044707"/>
                <a:gd name="connsiteY9757" fmla="*/ 2188903 h 2907193"/>
                <a:gd name="connsiteX9758" fmla="*/ 1488401 w 4044707"/>
                <a:gd name="connsiteY9758" fmla="*/ 2187512 h 2907193"/>
                <a:gd name="connsiteX9759" fmla="*/ 1484438 w 4044707"/>
                <a:gd name="connsiteY9759" fmla="*/ 2187149 h 2907193"/>
                <a:gd name="connsiteX9760" fmla="*/ 1480777 w 4044707"/>
                <a:gd name="connsiteY9760" fmla="*/ 2185122 h 2907193"/>
                <a:gd name="connsiteX9761" fmla="*/ 1478811 w 4044707"/>
                <a:gd name="connsiteY9761" fmla="*/ 2184971 h 2907193"/>
                <a:gd name="connsiteX9762" fmla="*/ 1474757 w 4044707"/>
                <a:gd name="connsiteY9762" fmla="*/ 2185545 h 2907193"/>
                <a:gd name="connsiteX9763" fmla="*/ 1472942 w 4044707"/>
                <a:gd name="connsiteY9763" fmla="*/ 2185152 h 2907193"/>
                <a:gd name="connsiteX9764" fmla="*/ 1469463 w 4044707"/>
                <a:gd name="connsiteY9764" fmla="*/ 2183397 h 2907193"/>
                <a:gd name="connsiteX9765" fmla="*/ 1460116 w 4044707"/>
                <a:gd name="connsiteY9765" fmla="*/ 2182762 h 2907193"/>
                <a:gd name="connsiteX9766" fmla="*/ 1456879 w 4044707"/>
                <a:gd name="connsiteY9766" fmla="*/ 2183881 h 2907193"/>
                <a:gd name="connsiteX9767" fmla="*/ 1450284 w 4044707"/>
                <a:gd name="connsiteY9767" fmla="*/ 2191172 h 2907193"/>
                <a:gd name="connsiteX9768" fmla="*/ 1449618 w 4044707"/>
                <a:gd name="connsiteY9768" fmla="*/ 2192382 h 2907193"/>
                <a:gd name="connsiteX9769" fmla="*/ 1449739 w 4044707"/>
                <a:gd name="connsiteY9769" fmla="*/ 2194469 h 2907193"/>
                <a:gd name="connsiteX9770" fmla="*/ 1450919 w 4044707"/>
                <a:gd name="connsiteY9770" fmla="*/ 2194984 h 2907193"/>
                <a:gd name="connsiteX9771" fmla="*/ 1452644 w 4044707"/>
                <a:gd name="connsiteY9771" fmla="*/ 2195195 h 2907193"/>
                <a:gd name="connsiteX9772" fmla="*/ 1454368 w 4044707"/>
                <a:gd name="connsiteY9772" fmla="*/ 2196405 h 2907193"/>
                <a:gd name="connsiteX9773" fmla="*/ 1450163 w 4044707"/>
                <a:gd name="connsiteY9773" fmla="*/ 2196557 h 2907193"/>
                <a:gd name="connsiteX9774" fmla="*/ 1446200 w 4044707"/>
                <a:gd name="connsiteY9774" fmla="*/ 2197646 h 2907193"/>
                <a:gd name="connsiteX9775" fmla="*/ 1446835 w 4044707"/>
                <a:gd name="connsiteY9775" fmla="*/ 2198553 h 2907193"/>
                <a:gd name="connsiteX9776" fmla="*/ 1447107 w 4044707"/>
                <a:gd name="connsiteY9776" fmla="*/ 2198856 h 2907193"/>
                <a:gd name="connsiteX9777" fmla="*/ 1447561 w 4044707"/>
                <a:gd name="connsiteY9777" fmla="*/ 2199098 h 2907193"/>
                <a:gd name="connsiteX9778" fmla="*/ 1444990 w 4044707"/>
                <a:gd name="connsiteY9778" fmla="*/ 2201185 h 2907193"/>
                <a:gd name="connsiteX9779" fmla="*/ 1433646 w 4044707"/>
                <a:gd name="connsiteY9779" fmla="*/ 2205662 h 2907193"/>
                <a:gd name="connsiteX9780" fmla="*/ 1430862 w 4044707"/>
                <a:gd name="connsiteY9780" fmla="*/ 2207417 h 2907193"/>
                <a:gd name="connsiteX9781" fmla="*/ 1428352 w 4044707"/>
                <a:gd name="connsiteY9781" fmla="*/ 2209686 h 2907193"/>
                <a:gd name="connsiteX9782" fmla="*/ 1426900 w 4044707"/>
                <a:gd name="connsiteY9782" fmla="*/ 2212439 h 2907193"/>
                <a:gd name="connsiteX9783" fmla="*/ 1439544 w 4044707"/>
                <a:gd name="connsiteY9783" fmla="*/ 2210624 h 2907193"/>
                <a:gd name="connsiteX9784" fmla="*/ 1435340 w 4044707"/>
                <a:gd name="connsiteY9784" fmla="*/ 2212530 h 2907193"/>
                <a:gd name="connsiteX9785" fmla="*/ 1433101 w 4044707"/>
                <a:gd name="connsiteY9785" fmla="*/ 2213921 h 2907193"/>
                <a:gd name="connsiteX9786" fmla="*/ 1434069 w 4044707"/>
                <a:gd name="connsiteY9786" fmla="*/ 2215555 h 2907193"/>
                <a:gd name="connsiteX9787" fmla="*/ 1437306 w 4044707"/>
                <a:gd name="connsiteY9787" fmla="*/ 2219124 h 2907193"/>
                <a:gd name="connsiteX9788" fmla="*/ 1435158 w 4044707"/>
                <a:gd name="connsiteY9788" fmla="*/ 2220667 h 2907193"/>
                <a:gd name="connsiteX9789" fmla="*/ 1434281 w 4044707"/>
                <a:gd name="connsiteY9789" fmla="*/ 2220788 h 2907193"/>
                <a:gd name="connsiteX9790" fmla="*/ 1433131 w 4044707"/>
                <a:gd name="connsiteY9790" fmla="*/ 2220546 h 2907193"/>
                <a:gd name="connsiteX9791" fmla="*/ 1432708 w 4044707"/>
                <a:gd name="connsiteY9791" fmla="*/ 2220123 h 2907193"/>
                <a:gd name="connsiteX9792" fmla="*/ 1430983 w 4044707"/>
                <a:gd name="connsiteY9792" fmla="*/ 2217763 h 2907193"/>
                <a:gd name="connsiteX9793" fmla="*/ 1430379 w 4044707"/>
                <a:gd name="connsiteY9793" fmla="*/ 2217521 h 2907193"/>
                <a:gd name="connsiteX9794" fmla="*/ 1428956 w 4044707"/>
                <a:gd name="connsiteY9794" fmla="*/ 2217884 h 2907193"/>
                <a:gd name="connsiteX9795" fmla="*/ 1428291 w 4044707"/>
                <a:gd name="connsiteY9795" fmla="*/ 2217763 h 2907193"/>
                <a:gd name="connsiteX9796" fmla="*/ 1428140 w 4044707"/>
                <a:gd name="connsiteY9796" fmla="*/ 2217309 h 2907193"/>
                <a:gd name="connsiteX9797" fmla="*/ 1428140 w 4044707"/>
                <a:gd name="connsiteY9797" fmla="*/ 2216523 h 2907193"/>
                <a:gd name="connsiteX9798" fmla="*/ 1428019 w 4044707"/>
                <a:gd name="connsiteY9798" fmla="*/ 2215706 h 2907193"/>
                <a:gd name="connsiteX9799" fmla="*/ 1427535 w 4044707"/>
                <a:gd name="connsiteY9799" fmla="*/ 2215101 h 2907193"/>
                <a:gd name="connsiteX9800" fmla="*/ 1425841 w 4044707"/>
                <a:gd name="connsiteY9800" fmla="*/ 2214254 h 2907193"/>
                <a:gd name="connsiteX9801" fmla="*/ 1424086 w 4044707"/>
                <a:gd name="connsiteY9801" fmla="*/ 2213891 h 2907193"/>
                <a:gd name="connsiteX9802" fmla="*/ 1420758 w 4044707"/>
                <a:gd name="connsiteY9802" fmla="*/ 2214102 h 2907193"/>
                <a:gd name="connsiteX9803" fmla="*/ 1419216 w 4044707"/>
                <a:gd name="connsiteY9803" fmla="*/ 2214919 h 2907193"/>
                <a:gd name="connsiteX9804" fmla="*/ 1417854 w 4044707"/>
                <a:gd name="connsiteY9804" fmla="*/ 2216553 h 2907193"/>
                <a:gd name="connsiteX9805" fmla="*/ 1418459 w 4044707"/>
                <a:gd name="connsiteY9805" fmla="*/ 2217128 h 2907193"/>
                <a:gd name="connsiteX9806" fmla="*/ 1418731 w 4044707"/>
                <a:gd name="connsiteY9806" fmla="*/ 2217672 h 2907193"/>
                <a:gd name="connsiteX9807" fmla="*/ 1418913 w 4044707"/>
                <a:gd name="connsiteY9807" fmla="*/ 2218307 h 2907193"/>
                <a:gd name="connsiteX9808" fmla="*/ 1419246 w 4044707"/>
                <a:gd name="connsiteY9808" fmla="*/ 2219094 h 2907193"/>
                <a:gd name="connsiteX9809" fmla="*/ 1417642 w 4044707"/>
                <a:gd name="connsiteY9809" fmla="*/ 2219245 h 2907193"/>
                <a:gd name="connsiteX9810" fmla="*/ 1416614 w 4044707"/>
                <a:gd name="connsiteY9810" fmla="*/ 2220758 h 2907193"/>
                <a:gd name="connsiteX9811" fmla="*/ 1416372 w 4044707"/>
                <a:gd name="connsiteY9811" fmla="*/ 2222785 h 2907193"/>
                <a:gd name="connsiteX9812" fmla="*/ 1417159 w 4044707"/>
                <a:gd name="connsiteY9812" fmla="*/ 2224539 h 2907193"/>
                <a:gd name="connsiteX9813" fmla="*/ 1416100 w 4044707"/>
                <a:gd name="connsiteY9813" fmla="*/ 2225235 h 2907193"/>
                <a:gd name="connsiteX9814" fmla="*/ 1414920 w 4044707"/>
                <a:gd name="connsiteY9814" fmla="*/ 2226536 h 2907193"/>
                <a:gd name="connsiteX9815" fmla="*/ 1414285 w 4044707"/>
                <a:gd name="connsiteY9815" fmla="*/ 2228321 h 2907193"/>
                <a:gd name="connsiteX9816" fmla="*/ 1414738 w 4044707"/>
                <a:gd name="connsiteY9816" fmla="*/ 2230499 h 2907193"/>
                <a:gd name="connsiteX9817" fmla="*/ 1416584 w 4044707"/>
                <a:gd name="connsiteY9817" fmla="*/ 2235460 h 2907193"/>
                <a:gd name="connsiteX9818" fmla="*/ 1417189 w 4044707"/>
                <a:gd name="connsiteY9818" fmla="*/ 2236549 h 2907193"/>
                <a:gd name="connsiteX9819" fmla="*/ 1419639 w 4044707"/>
                <a:gd name="connsiteY9819" fmla="*/ 2237668 h 2907193"/>
                <a:gd name="connsiteX9820" fmla="*/ 1443447 w 4044707"/>
                <a:gd name="connsiteY9820" fmla="*/ 2238001 h 2907193"/>
                <a:gd name="connsiteX9821" fmla="*/ 1444718 w 4044707"/>
                <a:gd name="connsiteY9821" fmla="*/ 2237608 h 2907193"/>
                <a:gd name="connsiteX9822" fmla="*/ 1448923 w 4044707"/>
                <a:gd name="connsiteY9822" fmla="*/ 2235339 h 2907193"/>
                <a:gd name="connsiteX9823" fmla="*/ 1454670 w 4044707"/>
                <a:gd name="connsiteY9823" fmla="*/ 2235188 h 2907193"/>
                <a:gd name="connsiteX9824" fmla="*/ 1452613 w 4044707"/>
                <a:gd name="connsiteY9824" fmla="*/ 2238001 h 2907193"/>
                <a:gd name="connsiteX9825" fmla="*/ 1447561 w 4044707"/>
                <a:gd name="connsiteY9825" fmla="*/ 2240542 h 2907193"/>
                <a:gd name="connsiteX9826" fmla="*/ 1455669 w 4044707"/>
                <a:gd name="connsiteY9826" fmla="*/ 2242327 h 2907193"/>
                <a:gd name="connsiteX9827" fmla="*/ 1463383 w 4044707"/>
                <a:gd name="connsiteY9827" fmla="*/ 2245746 h 2907193"/>
                <a:gd name="connsiteX9828" fmla="*/ 1460932 w 4044707"/>
                <a:gd name="connsiteY9828" fmla="*/ 2247409 h 2907193"/>
                <a:gd name="connsiteX9829" fmla="*/ 1451645 w 4044707"/>
                <a:gd name="connsiteY9829" fmla="*/ 2247046 h 2907193"/>
                <a:gd name="connsiteX9830" fmla="*/ 1451645 w 4044707"/>
                <a:gd name="connsiteY9830" fmla="*/ 2245746 h 2907193"/>
                <a:gd name="connsiteX9831" fmla="*/ 1452432 w 4044707"/>
                <a:gd name="connsiteY9831" fmla="*/ 2245564 h 2907193"/>
                <a:gd name="connsiteX9832" fmla="*/ 1454398 w 4044707"/>
                <a:gd name="connsiteY9832" fmla="*/ 2244536 h 2907193"/>
                <a:gd name="connsiteX9833" fmla="*/ 1435158 w 4044707"/>
                <a:gd name="connsiteY9833" fmla="*/ 2244536 h 2907193"/>
                <a:gd name="connsiteX9834" fmla="*/ 1437729 w 4044707"/>
                <a:gd name="connsiteY9834" fmla="*/ 2246411 h 2907193"/>
                <a:gd name="connsiteX9835" fmla="*/ 1453763 w 4044707"/>
                <a:gd name="connsiteY9835" fmla="*/ 2251100 h 2907193"/>
                <a:gd name="connsiteX9836" fmla="*/ 1456455 w 4044707"/>
                <a:gd name="connsiteY9836" fmla="*/ 2251160 h 2907193"/>
                <a:gd name="connsiteX9837" fmla="*/ 1456455 w 4044707"/>
                <a:gd name="connsiteY9837" fmla="*/ 2252492 h 2907193"/>
                <a:gd name="connsiteX9838" fmla="*/ 1445201 w 4044707"/>
                <a:gd name="connsiteY9838" fmla="*/ 2252492 h 2907193"/>
                <a:gd name="connsiteX9839" fmla="*/ 1441934 w 4044707"/>
                <a:gd name="connsiteY9839" fmla="*/ 2253762 h 2907193"/>
                <a:gd name="connsiteX9840" fmla="*/ 1440694 w 4044707"/>
                <a:gd name="connsiteY9840" fmla="*/ 2253913 h 2907193"/>
                <a:gd name="connsiteX9841" fmla="*/ 1436156 w 4044707"/>
                <a:gd name="connsiteY9841" fmla="*/ 2252431 h 2907193"/>
                <a:gd name="connsiteX9842" fmla="*/ 1434523 w 4044707"/>
                <a:gd name="connsiteY9842" fmla="*/ 2252492 h 2907193"/>
                <a:gd name="connsiteX9843" fmla="*/ 1434523 w 4044707"/>
                <a:gd name="connsiteY9843" fmla="*/ 2253913 h 2907193"/>
                <a:gd name="connsiteX9844" fmla="*/ 1434584 w 4044707"/>
                <a:gd name="connsiteY9844" fmla="*/ 2253913 h 2907193"/>
                <a:gd name="connsiteX9845" fmla="*/ 1435158 w 4044707"/>
                <a:gd name="connsiteY9845" fmla="*/ 2255245 h 2907193"/>
                <a:gd name="connsiteX9846" fmla="*/ 1434402 w 4044707"/>
                <a:gd name="connsiteY9846" fmla="*/ 2258330 h 2907193"/>
                <a:gd name="connsiteX9847" fmla="*/ 1438365 w 4044707"/>
                <a:gd name="connsiteY9847" fmla="*/ 2261113 h 2907193"/>
                <a:gd name="connsiteX9848" fmla="*/ 1445898 w 4044707"/>
                <a:gd name="connsiteY9848" fmla="*/ 2263927 h 2907193"/>
                <a:gd name="connsiteX9849" fmla="*/ 1449618 w 4044707"/>
                <a:gd name="connsiteY9849" fmla="*/ 2266952 h 2907193"/>
                <a:gd name="connsiteX9850" fmla="*/ 1460448 w 4044707"/>
                <a:gd name="connsiteY9850" fmla="*/ 2265560 h 2907193"/>
                <a:gd name="connsiteX9851" fmla="*/ 1464835 w 4044707"/>
                <a:gd name="connsiteY9851" fmla="*/ 2267073 h 2907193"/>
                <a:gd name="connsiteX9852" fmla="*/ 1464502 w 4044707"/>
                <a:gd name="connsiteY9852" fmla="*/ 2270703 h 2907193"/>
                <a:gd name="connsiteX9853" fmla="*/ 1466801 w 4044707"/>
                <a:gd name="connsiteY9853" fmla="*/ 2272185 h 2907193"/>
                <a:gd name="connsiteX9854" fmla="*/ 1469917 w 4044707"/>
                <a:gd name="connsiteY9854" fmla="*/ 2271943 h 2907193"/>
                <a:gd name="connsiteX9855" fmla="*/ 1473094 w 4044707"/>
                <a:gd name="connsiteY9855" fmla="*/ 2269886 h 2907193"/>
                <a:gd name="connsiteX9856" fmla="*/ 1478236 w 4044707"/>
                <a:gd name="connsiteY9856" fmla="*/ 2269886 h 2907193"/>
                <a:gd name="connsiteX9857" fmla="*/ 1479114 w 4044707"/>
                <a:gd name="connsiteY9857" fmla="*/ 2269342 h 2907193"/>
                <a:gd name="connsiteX9858" fmla="*/ 1481987 w 4044707"/>
                <a:gd name="connsiteY9858" fmla="*/ 2265863 h 2907193"/>
                <a:gd name="connsiteX9859" fmla="*/ 1484589 w 4044707"/>
                <a:gd name="connsiteY9859" fmla="*/ 2264108 h 2907193"/>
                <a:gd name="connsiteX9860" fmla="*/ 1487342 w 4044707"/>
                <a:gd name="connsiteY9860" fmla="*/ 2263352 h 2907193"/>
                <a:gd name="connsiteX9861" fmla="*/ 1493120 w 4044707"/>
                <a:gd name="connsiteY9861" fmla="*/ 2263231 h 2907193"/>
                <a:gd name="connsiteX9862" fmla="*/ 1495570 w 4044707"/>
                <a:gd name="connsiteY9862" fmla="*/ 2264381 h 2907193"/>
                <a:gd name="connsiteX9863" fmla="*/ 1499110 w 4044707"/>
                <a:gd name="connsiteY9863" fmla="*/ 2269675 h 2907193"/>
                <a:gd name="connsiteX9864" fmla="*/ 1501379 w 4044707"/>
                <a:gd name="connsiteY9864" fmla="*/ 2271157 h 2907193"/>
                <a:gd name="connsiteX9865" fmla="*/ 1501379 w 4044707"/>
                <a:gd name="connsiteY9865" fmla="*/ 2272488 h 2907193"/>
                <a:gd name="connsiteX9866" fmla="*/ 1499170 w 4044707"/>
                <a:gd name="connsiteY9866" fmla="*/ 2272609 h 2907193"/>
                <a:gd name="connsiteX9867" fmla="*/ 1497960 w 4044707"/>
                <a:gd name="connsiteY9867" fmla="*/ 2271732 h 2907193"/>
                <a:gd name="connsiteX9868" fmla="*/ 1496206 w 4044707"/>
                <a:gd name="connsiteY9868" fmla="*/ 2267738 h 2907193"/>
                <a:gd name="connsiteX9869" fmla="*/ 1494511 w 4044707"/>
                <a:gd name="connsiteY9869" fmla="*/ 2266014 h 2907193"/>
                <a:gd name="connsiteX9870" fmla="*/ 1492152 w 4044707"/>
                <a:gd name="connsiteY9870" fmla="*/ 2265530 h 2907193"/>
                <a:gd name="connsiteX9871" fmla="*/ 1487584 w 4044707"/>
                <a:gd name="connsiteY9871" fmla="*/ 2265863 h 2907193"/>
                <a:gd name="connsiteX9872" fmla="*/ 1485950 w 4044707"/>
                <a:gd name="connsiteY9872" fmla="*/ 2266528 h 2907193"/>
                <a:gd name="connsiteX9873" fmla="*/ 1484710 w 4044707"/>
                <a:gd name="connsiteY9873" fmla="*/ 2268101 h 2907193"/>
                <a:gd name="connsiteX9874" fmla="*/ 1483712 w 4044707"/>
                <a:gd name="connsiteY9874" fmla="*/ 2269856 h 2907193"/>
                <a:gd name="connsiteX9875" fmla="*/ 1482774 w 4044707"/>
                <a:gd name="connsiteY9875" fmla="*/ 2271157 h 2907193"/>
                <a:gd name="connsiteX9876" fmla="*/ 1480747 w 4044707"/>
                <a:gd name="connsiteY9876" fmla="*/ 2272216 h 2907193"/>
                <a:gd name="connsiteX9877" fmla="*/ 1476451 w 4044707"/>
                <a:gd name="connsiteY9877" fmla="*/ 2272760 h 2907193"/>
                <a:gd name="connsiteX9878" fmla="*/ 1474455 w 4044707"/>
                <a:gd name="connsiteY9878" fmla="*/ 2273819 h 2907193"/>
                <a:gd name="connsiteX9879" fmla="*/ 1475150 w 4044707"/>
                <a:gd name="connsiteY9879" fmla="*/ 2275241 h 2907193"/>
                <a:gd name="connsiteX9880" fmla="*/ 1472640 w 4044707"/>
                <a:gd name="connsiteY9880" fmla="*/ 2276572 h 2907193"/>
                <a:gd name="connsiteX9881" fmla="*/ 1469130 w 4044707"/>
                <a:gd name="connsiteY9881" fmla="*/ 2276269 h 2907193"/>
                <a:gd name="connsiteX9882" fmla="*/ 1454398 w 4044707"/>
                <a:gd name="connsiteY9882" fmla="*/ 2269856 h 2907193"/>
                <a:gd name="connsiteX9883" fmla="*/ 1451706 w 4044707"/>
                <a:gd name="connsiteY9883" fmla="*/ 2272851 h 2907193"/>
                <a:gd name="connsiteX9884" fmla="*/ 1447228 w 4044707"/>
                <a:gd name="connsiteY9884" fmla="*/ 2271701 h 2907193"/>
                <a:gd name="connsiteX9885" fmla="*/ 1442388 w 4044707"/>
                <a:gd name="connsiteY9885" fmla="*/ 2269281 h 2907193"/>
                <a:gd name="connsiteX9886" fmla="*/ 1438607 w 4044707"/>
                <a:gd name="connsiteY9886" fmla="*/ 2268404 h 2907193"/>
                <a:gd name="connsiteX9887" fmla="*/ 1439363 w 4044707"/>
                <a:gd name="connsiteY9887" fmla="*/ 2269856 h 2907193"/>
                <a:gd name="connsiteX9888" fmla="*/ 1436882 w 4044707"/>
                <a:gd name="connsiteY9888" fmla="*/ 2272579 h 2907193"/>
                <a:gd name="connsiteX9889" fmla="*/ 1426174 w 4044707"/>
                <a:gd name="connsiteY9889" fmla="*/ 2273849 h 2907193"/>
                <a:gd name="connsiteX9890" fmla="*/ 1415192 w 4044707"/>
                <a:gd name="connsiteY9890" fmla="*/ 2279234 h 2907193"/>
                <a:gd name="connsiteX9891" fmla="*/ 1415192 w 4044707"/>
                <a:gd name="connsiteY9891" fmla="*/ 2280414 h 2907193"/>
                <a:gd name="connsiteX9892" fmla="*/ 1419337 w 4044707"/>
                <a:gd name="connsiteY9892" fmla="*/ 2280232 h 2907193"/>
                <a:gd name="connsiteX9893" fmla="*/ 1423360 w 4044707"/>
                <a:gd name="connsiteY9893" fmla="*/ 2279204 h 2907193"/>
                <a:gd name="connsiteX9894" fmla="*/ 1427626 w 4044707"/>
                <a:gd name="connsiteY9894" fmla="*/ 2279083 h 2907193"/>
                <a:gd name="connsiteX9895" fmla="*/ 1429743 w 4044707"/>
                <a:gd name="connsiteY9895" fmla="*/ 2278478 h 2907193"/>
                <a:gd name="connsiteX9896" fmla="*/ 1431679 w 4044707"/>
                <a:gd name="connsiteY9896" fmla="*/ 2276451 h 2907193"/>
                <a:gd name="connsiteX9897" fmla="*/ 1431982 w 4044707"/>
                <a:gd name="connsiteY9897" fmla="*/ 2277207 h 2907193"/>
                <a:gd name="connsiteX9898" fmla="*/ 1432163 w 4044707"/>
                <a:gd name="connsiteY9898" fmla="*/ 2277752 h 2907193"/>
                <a:gd name="connsiteX9899" fmla="*/ 1432254 w 4044707"/>
                <a:gd name="connsiteY9899" fmla="*/ 2278326 h 2907193"/>
                <a:gd name="connsiteX9900" fmla="*/ 1432345 w 4044707"/>
                <a:gd name="connsiteY9900" fmla="*/ 2279234 h 2907193"/>
                <a:gd name="connsiteX9901" fmla="*/ 1429017 w 4044707"/>
                <a:gd name="connsiteY9901" fmla="*/ 2279778 h 2907193"/>
                <a:gd name="connsiteX9902" fmla="*/ 1428291 w 4044707"/>
                <a:gd name="connsiteY9902" fmla="*/ 2280414 h 2907193"/>
                <a:gd name="connsiteX9903" fmla="*/ 1428200 w 4044707"/>
                <a:gd name="connsiteY9903" fmla="*/ 2281472 h 2907193"/>
                <a:gd name="connsiteX9904" fmla="*/ 1428442 w 4044707"/>
                <a:gd name="connsiteY9904" fmla="*/ 2284679 h 2907193"/>
                <a:gd name="connsiteX9905" fmla="*/ 1428321 w 4044707"/>
                <a:gd name="connsiteY9905" fmla="*/ 2285677 h 2907193"/>
                <a:gd name="connsiteX9906" fmla="*/ 1426748 w 4044707"/>
                <a:gd name="connsiteY9906" fmla="*/ 2287311 h 2907193"/>
                <a:gd name="connsiteX9907" fmla="*/ 1426264 w 4044707"/>
                <a:gd name="connsiteY9907" fmla="*/ 2286131 h 2907193"/>
                <a:gd name="connsiteX9908" fmla="*/ 1425931 w 4044707"/>
                <a:gd name="connsiteY9908" fmla="*/ 2283772 h 2907193"/>
                <a:gd name="connsiteX9909" fmla="*/ 1424873 w 4044707"/>
                <a:gd name="connsiteY9909" fmla="*/ 2281866 h 2907193"/>
                <a:gd name="connsiteX9910" fmla="*/ 1423269 w 4044707"/>
                <a:gd name="connsiteY9910" fmla="*/ 2282108 h 2907193"/>
                <a:gd name="connsiteX9911" fmla="*/ 1421575 w 4044707"/>
                <a:gd name="connsiteY9911" fmla="*/ 2284044 h 2907193"/>
                <a:gd name="connsiteX9912" fmla="*/ 1420305 w 4044707"/>
                <a:gd name="connsiteY9912" fmla="*/ 2286857 h 2907193"/>
                <a:gd name="connsiteX9913" fmla="*/ 1419972 w 4044707"/>
                <a:gd name="connsiteY9913" fmla="*/ 2289761 h 2907193"/>
                <a:gd name="connsiteX9914" fmla="*/ 1421061 w 4044707"/>
                <a:gd name="connsiteY9914" fmla="*/ 2292514 h 2907193"/>
                <a:gd name="connsiteX9915" fmla="*/ 1423027 w 4044707"/>
                <a:gd name="connsiteY9915" fmla="*/ 2294057 h 2907193"/>
                <a:gd name="connsiteX9916" fmla="*/ 1424116 w 4044707"/>
                <a:gd name="connsiteY9916" fmla="*/ 2296205 h 2907193"/>
                <a:gd name="connsiteX9917" fmla="*/ 1426325 w 4044707"/>
                <a:gd name="connsiteY9917" fmla="*/ 2297143 h 2907193"/>
                <a:gd name="connsiteX9918" fmla="*/ 1429834 w 4044707"/>
                <a:gd name="connsiteY9918" fmla="*/ 2296114 h 2907193"/>
                <a:gd name="connsiteX9919" fmla="*/ 1433313 w 4044707"/>
                <a:gd name="connsiteY9919" fmla="*/ 2293997 h 2907193"/>
                <a:gd name="connsiteX9920" fmla="*/ 1435551 w 4044707"/>
                <a:gd name="connsiteY9920" fmla="*/ 2291728 h 2907193"/>
                <a:gd name="connsiteX9921" fmla="*/ 1436973 w 4044707"/>
                <a:gd name="connsiteY9921" fmla="*/ 2290851 h 2907193"/>
                <a:gd name="connsiteX9922" fmla="*/ 1476239 w 4044707"/>
                <a:gd name="connsiteY9922" fmla="*/ 2286555 h 2907193"/>
                <a:gd name="connsiteX9923" fmla="*/ 1480777 w 4044707"/>
                <a:gd name="connsiteY9923" fmla="*/ 2287009 h 2907193"/>
                <a:gd name="connsiteX9924" fmla="*/ 1484135 w 4044707"/>
                <a:gd name="connsiteY9924" fmla="*/ 2289731 h 2907193"/>
                <a:gd name="connsiteX9925" fmla="*/ 1464774 w 4044707"/>
                <a:gd name="connsiteY9925" fmla="*/ 2288642 h 2907193"/>
                <a:gd name="connsiteX9926" fmla="*/ 1446230 w 4044707"/>
                <a:gd name="connsiteY9926" fmla="*/ 2292363 h 2907193"/>
                <a:gd name="connsiteX9927" fmla="*/ 1447773 w 4044707"/>
                <a:gd name="connsiteY9927" fmla="*/ 2294178 h 2907193"/>
                <a:gd name="connsiteX9928" fmla="*/ 1451161 w 4044707"/>
                <a:gd name="connsiteY9928" fmla="*/ 2296145 h 2907193"/>
                <a:gd name="connsiteX9929" fmla="*/ 1452704 w 4044707"/>
                <a:gd name="connsiteY9929" fmla="*/ 2298262 h 2907193"/>
                <a:gd name="connsiteX9930" fmla="*/ 1453370 w 4044707"/>
                <a:gd name="connsiteY9930" fmla="*/ 2300531 h 2907193"/>
                <a:gd name="connsiteX9931" fmla="*/ 1454035 w 4044707"/>
                <a:gd name="connsiteY9931" fmla="*/ 2304070 h 2907193"/>
                <a:gd name="connsiteX9932" fmla="*/ 1454368 w 4044707"/>
                <a:gd name="connsiteY9932" fmla="*/ 2307640 h 2907193"/>
                <a:gd name="connsiteX9933" fmla="*/ 1454065 w 4044707"/>
                <a:gd name="connsiteY9933" fmla="*/ 2310090 h 2907193"/>
                <a:gd name="connsiteX9934" fmla="*/ 1452674 w 4044707"/>
                <a:gd name="connsiteY9934" fmla="*/ 2310816 h 2907193"/>
                <a:gd name="connsiteX9935" fmla="*/ 1451615 w 4044707"/>
                <a:gd name="connsiteY9935" fmla="*/ 2308003 h 2907193"/>
                <a:gd name="connsiteX9936" fmla="*/ 1450375 w 4044707"/>
                <a:gd name="connsiteY9936" fmla="*/ 2301439 h 2907193"/>
                <a:gd name="connsiteX9937" fmla="*/ 1449528 w 4044707"/>
                <a:gd name="connsiteY9937" fmla="*/ 2299291 h 2907193"/>
                <a:gd name="connsiteX9938" fmla="*/ 1448499 w 4044707"/>
                <a:gd name="connsiteY9938" fmla="*/ 2297536 h 2907193"/>
                <a:gd name="connsiteX9939" fmla="*/ 1447198 w 4044707"/>
                <a:gd name="connsiteY9939" fmla="*/ 2296114 h 2907193"/>
                <a:gd name="connsiteX9940" fmla="*/ 1445565 w 4044707"/>
                <a:gd name="connsiteY9940" fmla="*/ 2294995 h 2907193"/>
                <a:gd name="connsiteX9941" fmla="*/ 1443447 w 4044707"/>
                <a:gd name="connsiteY9941" fmla="*/ 2294027 h 2907193"/>
                <a:gd name="connsiteX9942" fmla="*/ 1440694 w 4044707"/>
                <a:gd name="connsiteY9942" fmla="*/ 2293392 h 2907193"/>
                <a:gd name="connsiteX9943" fmla="*/ 1438304 w 4044707"/>
                <a:gd name="connsiteY9943" fmla="*/ 2294027 h 2907193"/>
                <a:gd name="connsiteX9944" fmla="*/ 1436459 w 4044707"/>
                <a:gd name="connsiteY9944" fmla="*/ 2299472 h 2907193"/>
                <a:gd name="connsiteX9945" fmla="*/ 1434432 w 4044707"/>
                <a:gd name="connsiteY9945" fmla="*/ 2300410 h 2907193"/>
                <a:gd name="connsiteX9946" fmla="*/ 1429985 w 4044707"/>
                <a:gd name="connsiteY9946" fmla="*/ 2300228 h 2907193"/>
                <a:gd name="connsiteX9947" fmla="*/ 1429471 w 4044707"/>
                <a:gd name="connsiteY9947" fmla="*/ 2300622 h 2907193"/>
                <a:gd name="connsiteX9948" fmla="*/ 1427837 w 4044707"/>
                <a:gd name="connsiteY9948" fmla="*/ 2302437 h 2907193"/>
                <a:gd name="connsiteX9949" fmla="*/ 1426839 w 4044707"/>
                <a:gd name="connsiteY9949" fmla="*/ 2302860 h 2907193"/>
                <a:gd name="connsiteX9950" fmla="*/ 1424389 w 4044707"/>
                <a:gd name="connsiteY9950" fmla="*/ 2303163 h 2907193"/>
                <a:gd name="connsiteX9951" fmla="*/ 1422029 w 4044707"/>
                <a:gd name="connsiteY9951" fmla="*/ 2304040 h 2907193"/>
                <a:gd name="connsiteX9952" fmla="*/ 1418399 w 4044707"/>
                <a:gd name="connsiteY9952" fmla="*/ 2306339 h 2907193"/>
                <a:gd name="connsiteX9953" fmla="*/ 1416796 w 4044707"/>
                <a:gd name="connsiteY9953" fmla="*/ 2308185 h 2907193"/>
                <a:gd name="connsiteX9954" fmla="*/ 1415827 w 4044707"/>
                <a:gd name="connsiteY9954" fmla="*/ 2310695 h 2907193"/>
                <a:gd name="connsiteX9955" fmla="*/ 1417703 w 4044707"/>
                <a:gd name="connsiteY9955" fmla="*/ 2309879 h 2907193"/>
                <a:gd name="connsiteX9956" fmla="*/ 1418671 w 4044707"/>
                <a:gd name="connsiteY9956" fmla="*/ 2309879 h 2907193"/>
                <a:gd name="connsiteX9957" fmla="*/ 1419337 w 4044707"/>
                <a:gd name="connsiteY9957" fmla="*/ 2310756 h 2907193"/>
                <a:gd name="connsiteX9958" fmla="*/ 1420305 w 4044707"/>
                <a:gd name="connsiteY9958" fmla="*/ 2312692 h 2907193"/>
                <a:gd name="connsiteX9959" fmla="*/ 1421696 w 4044707"/>
                <a:gd name="connsiteY9959" fmla="*/ 2313781 h 2907193"/>
                <a:gd name="connsiteX9960" fmla="*/ 1423511 w 4044707"/>
                <a:gd name="connsiteY9960" fmla="*/ 2313539 h 2907193"/>
                <a:gd name="connsiteX9961" fmla="*/ 1426869 w 4044707"/>
                <a:gd name="connsiteY9961" fmla="*/ 2312027 h 2907193"/>
                <a:gd name="connsiteX9962" fmla="*/ 1425659 w 4044707"/>
                <a:gd name="connsiteY9962" fmla="*/ 2314325 h 2907193"/>
                <a:gd name="connsiteX9963" fmla="*/ 1423572 w 4044707"/>
                <a:gd name="connsiteY9963" fmla="*/ 2314961 h 2907193"/>
                <a:gd name="connsiteX9964" fmla="*/ 1421212 w 4044707"/>
                <a:gd name="connsiteY9964" fmla="*/ 2315173 h 2907193"/>
                <a:gd name="connsiteX9965" fmla="*/ 1419246 w 4044707"/>
                <a:gd name="connsiteY9965" fmla="*/ 2316110 h 2907193"/>
                <a:gd name="connsiteX9966" fmla="*/ 1422483 w 4044707"/>
                <a:gd name="connsiteY9966" fmla="*/ 2317684 h 2907193"/>
                <a:gd name="connsiteX9967" fmla="*/ 1434432 w 4044707"/>
                <a:gd name="connsiteY9967" fmla="*/ 2316110 h 2907193"/>
                <a:gd name="connsiteX9968" fmla="*/ 1437276 w 4044707"/>
                <a:gd name="connsiteY9968" fmla="*/ 2316836 h 2907193"/>
                <a:gd name="connsiteX9969" fmla="*/ 1440241 w 4044707"/>
                <a:gd name="connsiteY9969" fmla="*/ 2318742 h 2907193"/>
                <a:gd name="connsiteX9970" fmla="*/ 1445565 w 4044707"/>
                <a:gd name="connsiteY9970" fmla="*/ 2323976 h 2907193"/>
                <a:gd name="connsiteX9971" fmla="*/ 1441995 w 4044707"/>
                <a:gd name="connsiteY9971" fmla="*/ 2323976 h 2907193"/>
                <a:gd name="connsiteX9972" fmla="*/ 1442207 w 4044707"/>
                <a:gd name="connsiteY9972" fmla="*/ 2324853 h 2907193"/>
                <a:gd name="connsiteX9973" fmla="*/ 1442570 w 4044707"/>
                <a:gd name="connsiteY9973" fmla="*/ 2327031 h 2907193"/>
                <a:gd name="connsiteX9974" fmla="*/ 1442812 w 4044707"/>
                <a:gd name="connsiteY9974" fmla="*/ 2327878 h 2907193"/>
                <a:gd name="connsiteX9975" fmla="*/ 1432284 w 4044707"/>
                <a:gd name="connsiteY9975" fmla="*/ 2323522 h 2907193"/>
                <a:gd name="connsiteX9976" fmla="*/ 1426355 w 4044707"/>
                <a:gd name="connsiteY9976" fmla="*/ 2323159 h 2907193"/>
                <a:gd name="connsiteX9977" fmla="*/ 1424812 w 4044707"/>
                <a:gd name="connsiteY9977" fmla="*/ 2327909 h 2907193"/>
                <a:gd name="connsiteX9978" fmla="*/ 1426325 w 4044707"/>
                <a:gd name="connsiteY9978" fmla="*/ 2328937 h 2907193"/>
                <a:gd name="connsiteX9979" fmla="*/ 1432950 w 4044707"/>
                <a:gd name="connsiteY9979" fmla="*/ 2331387 h 2907193"/>
                <a:gd name="connsiteX9980" fmla="*/ 1434795 w 4044707"/>
                <a:gd name="connsiteY9980" fmla="*/ 2331176 h 2907193"/>
                <a:gd name="connsiteX9981" fmla="*/ 1436671 w 4044707"/>
                <a:gd name="connsiteY9981" fmla="*/ 2329240 h 2907193"/>
                <a:gd name="connsiteX9982" fmla="*/ 1438788 w 4044707"/>
                <a:gd name="connsiteY9982" fmla="*/ 2329663 h 2907193"/>
                <a:gd name="connsiteX9983" fmla="*/ 1441057 w 4044707"/>
                <a:gd name="connsiteY9983" fmla="*/ 2330994 h 2907193"/>
                <a:gd name="connsiteX9984" fmla="*/ 1443386 w 4044707"/>
                <a:gd name="connsiteY9984" fmla="*/ 2331811 h 2907193"/>
                <a:gd name="connsiteX9985" fmla="*/ 1441511 w 4044707"/>
                <a:gd name="connsiteY9985" fmla="*/ 2332537 h 2907193"/>
                <a:gd name="connsiteX9986" fmla="*/ 1439363 w 4044707"/>
                <a:gd name="connsiteY9986" fmla="*/ 2332204 h 2907193"/>
                <a:gd name="connsiteX9987" fmla="*/ 1437518 w 4044707"/>
                <a:gd name="connsiteY9987" fmla="*/ 2332325 h 2907193"/>
                <a:gd name="connsiteX9988" fmla="*/ 1436519 w 4044707"/>
                <a:gd name="connsiteY9988" fmla="*/ 2334412 h 2907193"/>
                <a:gd name="connsiteX9989" fmla="*/ 1437457 w 4044707"/>
                <a:gd name="connsiteY9989" fmla="*/ 2334987 h 2907193"/>
                <a:gd name="connsiteX9990" fmla="*/ 1437972 w 4044707"/>
                <a:gd name="connsiteY9990" fmla="*/ 2335744 h 2907193"/>
                <a:gd name="connsiteX9991" fmla="*/ 1438940 w 4044707"/>
                <a:gd name="connsiteY9991" fmla="*/ 2337770 h 2907193"/>
                <a:gd name="connsiteX9992" fmla="*/ 1439907 w 4044707"/>
                <a:gd name="connsiteY9992" fmla="*/ 2338980 h 2907193"/>
                <a:gd name="connsiteX9993" fmla="*/ 1440482 w 4044707"/>
                <a:gd name="connsiteY9993" fmla="*/ 2339041 h 2907193"/>
                <a:gd name="connsiteX9994" fmla="*/ 1441027 w 4044707"/>
                <a:gd name="connsiteY9994" fmla="*/ 2338587 h 2907193"/>
                <a:gd name="connsiteX9995" fmla="*/ 1446563 w 4044707"/>
                <a:gd name="connsiteY9995" fmla="*/ 2338103 h 2907193"/>
                <a:gd name="connsiteX9996" fmla="*/ 1448680 w 4044707"/>
                <a:gd name="connsiteY9996" fmla="*/ 2336893 h 2907193"/>
                <a:gd name="connsiteX9997" fmla="*/ 1450375 w 4044707"/>
                <a:gd name="connsiteY9997" fmla="*/ 2334412 h 2907193"/>
                <a:gd name="connsiteX9998" fmla="*/ 1454065 w 4044707"/>
                <a:gd name="connsiteY9998" fmla="*/ 2340584 h 2907193"/>
                <a:gd name="connsiteX9999" fmla="*/ 1458301 w 4044707"/>
                <a:gd name="connsiteY9999" fmla="*/ 2343700 h 2907193"/>
                <a:gd name="connsiteX10000" fmla="*/ 1463020 w 4044707"/>
                <a:gd name="connsiteY10000" fmla="*/ 2343851 h 2907193"/>
                <a:gd name="connsiteX10001" fmla="*/ 1468223 w 4044707"/>
                <a:gd name="connsiteY10001" fmla="*/ 2341068 h 2907193"/>
                <a:gd name="connsiteX10002" fmla="*/ 1474394 w 4044707"/>
                <a:gd name="connsiteY10002" fmla="*/ 2333989 h 2907193"/>
                <a:gd name="connsiteX10003" fmla="*/ 1476451 w 4044707"/>
                <a:gd name="connsiteY10003" fmla="*/ 2332991 h 2907193"/>
                <a:gd name="connsiteX10004" fmla="*/ 1488401 w 4044707"/>
                <a:gd name="connsiteY10004" fmla="*/ 2331871 h 2907193"/>
                <a:gd name="connsiteX10005" fmla="*/ 1490337 w 4044707"/>
                <a:gd name="connsiteY10005" fmla="*/ 2331145 h 2907193"/>
                <a:gd name="connsiteX10006" fmla="*/ 1491032 w 4044707"/>
                <a:gd name="connsiteY10006" fmla="*/ 2329361 h 2907193"/>
                <a:gd name="connsiteX10007" fmla="*/ 1492666 w 4044707"/>
                <a:gd name="connsiteY10007" fmla="*/ 2329149 h 2907193"/>
                <a:gd name="connsiteX10008" fmla="*/ 1494511 w 4044707"/>
                <a:gd name="connsiteY10008" fmla="*/ 2329481 h 2907193"/>
                <a:gd name="connsiteX10009" fmla="*/ 1495843 w 4044707"/>
                <a:gd name="connsiteY10009" fmla="*/ 2329300 h 2907193"/>
                <a:gd name="connsiteX10010" fmla="*/ 1496750 w 4044707"/>
                <a:gd name="connsiteY10010" fmla="*/ 2327757 h 2907193"/>
                <a:gd name="connsiteX10011" fmla="*/ 1497204 w 4044707"/>
                <a:gd name="connsiteY10011" fmla="*/ 2324278 h 2907193"/>
                <a:gd name="connsiteX10012" fmla="*/ 1497930 w 4044707"/>
                <a:gd name="connsiteY10012" fmla="*/ 2322493 h 2907193"/>
                <a:gd name="connsiteX10013" fmla="*/ 1499201 w 4044707"/>
                <a:gd name="connsiteY10013" fmla="*/ 2321435 h 2907193"/>
                <a:gd name="connsiteX10014" fmla="*/ 1499079 w 4044707"/>
                <a:gd name="connsiteY10014" fmla="*/ 2324006 h 2907193"/>
                <a:gd name="connsiteX10015" fmla="*/ 1499261 w 4044707"/>
                <a:gd name="connsiteY10015" fmla="*/ 2327485 h 2907193"/>
                <a:gd name="connsiteX10016" fmla="*/ 1501379 w 4044707"/>
                <a:gd name="connsiteY10016" fmla="*/ 2329270 h 2907193"/>
                <a:gd name="connsiteX10017" fmla="*/ 1508427 w 4044707"/>
                <a:gd name="connsiteY10017" fmla="*/ 2328755 h 2907193"/>
                <a:gd name="connsiteX10018" fmla="*/ 1515113 w 4044707"/>
                <a:gd name="connsiteY10018" fmla="*/ 2326517 h 2907193"/>
                <a:gd name="connsiteX10019" fmla="*/ 1524793 w 4044707"/>
                <a:gd name="connsiteY10019" fmla="*/ 2319952 h 2907193"/>
                <a:gd name="connsiteX10020" fmla="*/ 1523855 w 4044707"/>
                <a:gd name="connsiteY10020" fmla="*/ 2323038 h 2907193"/>
                <a:gd name="connsiteX10021" fmla="*/ 1521707 w 4044707"/>
                <a:gd name="connsiteY10021" fmla="*/ 2324974 h 2907193"/>
                <a:gd name="connsiteX10022" fmla="*/ 1517170 w 4044707"/>
                <a:gd name="connsiteY10022" fmla="*/ 2327818 h 2907193"/>
                <a:gd name="connsiteX10023" fmla="*/ 1522464 w 4044707"/>
                <a:gd name="connsiteY10023" fmla="*/ 2330450 h 2907193"/>
                <a:gd name="connsiteX10024" fmla="*/ 1528453 w 4044707"/>
                <a:gd name="connsiteY10024" fmla="*/ 2330722 h 2907193"/>
                <a:gd name="connsiteX10025" fmla="*/ 1534141 w 4044707"/>
                <a:gd name="connsiteY10025" fmla="*/ 2328544 h 2907193"/>
                <a:gd name="connsiteX10026" fmla="*/ 1538588 w 4044707"/>
                <a:gd name="connsiteY10026" fmla="*/ 2323885 h 2907193"/>
                <a:gd name="connsiteX10027" fmla="*/ 1541583 w 4044707"/>
                <a:gd name="connsiteY10027" fmla="*/ 2330601 h 2907193"/>
                <a:gd name="connsiteX10028" fmla="*/ 1549509 w 4044707"/>
                <a:gd name="connsiteY10028" fmla="*/ 2335048 h 2907193"/>
                <a:gd name="connsiteX10029" fmla="*/ 1558524 w 4044707"/>
                <a:gd name="connsiteY10029" fmla="*/ 2337226 h 2907193"/>
                <a:gd name="connsiteX10030" fmla="*/ 1564755 w 4044707"/>
                <a:gd name="connsiteY10030" fmla="*/ 2337105 h 2907193"/>
                <a:gd name="connsiteX10031" fmla="*/ 1569838 w 4044707"/>
                <a:gd name="connsiteY10031" fmla="*/ 2334049 h 2907193"/>
                <a:gd name="connsiteX10032" fmla="*/ 1571017 w 4044707"/>
                <a:gd name="connsiteY10032" fmla="*/ 2332960 h 2907193"/>
                <a:gd name="connsiteX10033" fmla="*/ 1572016 w 4044707"/>
                <a:gd name="connsiteY10033" fmla="*/ 2330964 h 2907193"/>
                <a:gd name="connsiteX10034" fmla="*/ 1572137 w 4044707"/>
                <a:gd name="connsiteY10034" fmla="*/ 2329149 h 2907193"/>
                <a:gd name="connsiteX10035" fmla="*/ 1571834 w 4044707"/>
                <a:gd name="connsiteY10035" fmla="*/ 2327152 h 2907193"/>
                <a:gd name="connsiteX10036" fmla="*/ 1571622 w 4044707"/>
                <a:gd name="connsiteY10036" fmla="*/ 2324520 h 2907193"/>
                <a:gd name="connsiteX10037" fmla="*/ 1571168 w 4044707"/>
                <a:gd name="connsiteY10037" fmla="*/ 2322282 h 2907193"/>
                <a:gd name="connsiteX10038" fmla="*/ 1570140 w 4044707"/>
                <a:gd name="connsiteY10038" fmla="*/ 2321193 h 2907193"/>
                <a:gd name="connsiteX10039" fmla="*/ 1568900 w 4044707"/>
                <a:gd name="connsiteY10039" fmla="*/ 2320497 h 2907193"/>
                <a:gd name="connsiteX10040" fmla="*/ 1567841 w 4044707"/>
                <a:gd name="connsiteY10040" fmla="*/ 2319347 h 2907193"/>
                <a:gd name="connsiteX10041" fmla="*/ 1568446 w 4044707"/>
                <a:gd name="connsiteY10041" fmla="*/ 2318652 h 2907193"/>
                <a:gd name="connsiteX10042" fmla="*/ 1575132 w 4044707"/>
                <a:gd name="connsiteY10042" fmla="*/ 2320013 h 2907193"/>
                <a:gd name="connsiteX10043" fmla="*/ 1574012 w 4044707"/>
                <a:gd name="connsiteY10043" fmla="*/ 2318440 h 2907193"/>
                <a:gd name="connsiteX10044" fmla="*/ 1573740 w 4044707"/>
                <a:gd name="connsiteY10044" fmla="*/ 2316988 h 2907193"/>
                <a:gd name="connsiteX10045" fmla="*/ 1573831 w 4044707"/>
                <a:gd name="connsiteY10045" fmla="*/ 2315687 h 2907193"/>
                <a:gd name="connsiteX10046" fmla="*/ 1573770 w 4044707"/>
                <a:gd name="connsiteY10046" fmla="*/ 2314658 h 2907193"/>
                <a:gd name="connsiteX10047" fmla="*/ 1572742 w 4044707"/>
                <a:gd name="connsiteY10047" fmla="*/ 2311694 h 2907193"/>
                <a:gd name="connsiteX10048" fmla="*/ 1571350 w 4044707"/>
                <a:gd name="connsiteY10048" fmla="*/ 2308790 h 2907193"/>
                <a:gd name="connsiteX10049" fmla="*/ 1571501 w 4044707"/>
                <a:gd name="connsiteY10049" fmla="*/ 2307700 h 2907193"/>
                <a:gd name="connsiteX10050" fmla="*/ 1572318 w 4044707"/>
                <a:gd name="connsiteY10050" fmla="*/ 2306097 h 2907193"/>
                <a:gd name="connsiteX10051" fmla="*/ 1573347 w 4044707"/>
                <a:gd name="connsiteY10051" fmla="*/ 2304645 h 2907193"/>
                <a:gd name="connsiteX10052" fmla="*/ 1574133 w 4044707"/>
                <a:gd name="connsiteY10052" fmla="*/ 2304010 h 2907193"/>
                <a:gd name="connsiteX10053" fmla="*/ 1575162 w 4044707"/>
                <a:gd name="connsiteY10053" fmla="*/ 2304675 h 2907193"/>
                <a:gd name="connsiteX10054" fmla="*/ 1576735 w 4044707"/>
                <a:gd name="connsiteY10054" fmla="*/ 2307549 h 2907193"/>
                <a:gd name="connsiteX10055" fmla="*/ 1577915 w 4044707"/>
                <a:gd name="connsiteY10055" fmla="*/ 2308185 h 2907193"/>
                <a:gd name="connsiteX10056" fmla="*/ 1581817 w 4044707"/>
                <a:gd name="connsiteY10056" fmla="*/ 2305643 h 2907193"/>
                <a:gd name="connsiteX10057" fmla="*/ 1585205 w 4044707"/>
                <a:gd name="connsiteY10057" fmla="*/ 2299714 h 2907193"/>
                <a:gd name="connsiteX10058" fmla="*/ 1591286 w 4044707"/>
                <a:gd name="connsiteY10058" fmla="*/ 2282380 h 2907193"/>
                <a:gd name="connsiteX10059" fmla="*/ 1591740 w 4044707"/>
                <a:gd name="connsiteY10059" fmla="*/ 2281715 h 2907193"/>
                <a:gd name="connsiteX10060" fmla="*/ 1593010 w 4044707"/>
                <a:gd name="connsiteY10060" fmla="*/ 2282198 h 2907193"/>
                <a:gd name="connsiteX10061" fmla="*/ 1593101 w 4044707"/>
                <a:gd name="connsiteY10061" fmla="*/ 2284044 h 2907193"/>
                <a:gd name="connsiteX10062" fmla="*/ 1592587 w 4044707"/>
                <a:gd name="connsiteY10062" fmla="*/ 2286040 h 2907193"/>
                <a:gd name="connsiteX10063" fmla="*/ 1592072 w 4044707"/>
                <a:gd name="connsiteY10063" fmla="*/ 2286978 h 2907193"/>
                <a:gd name="connsiteX10064" fmla="*/ 1591770 w 4044707"/>
                <a:gd name="connsiteY10064" fmla="*/ 2287735 h 2907193"/>
                <a:gd name="connsiteX10065" fmla="*/ 1591165 w 4044707"/>
                <a:gd name="connsiteY10065" fmla="*/ 2291486 h 2907193"/>
                <a:gd name="connsiteX10066" fmla="*/ 1591044 w 4044707"/>
                <a:gd name="connsiteY10066" fmla="*/ 2292908 h 2907193"/>
                <a:gd name="connsiteX10067" fmla="*/ 1590590 w 4044707"/>
                <a:gd name="connsiteY10067" fmla="*/ 2293724 h 2907193"/>
                <a:gd name="connsiteX10068" fmla="*/ 1588351 w 4044707"/>
                <a:gd name="connsiteY10068" fmla="*/ 2296326 h 2907193"/>
                <a:gd name="connsiteX10069" fmla="*/ 1587565 w 4044707"/>
                <a:gd name="connsiteY10069" fmla="*/ 2297506 h 2907193"/>
                <a:gd name="connsiteX10070" fmla="*/ 1583814 w 4044707"/>
                <a:gd name="connsiteY10070" fmla="*/ 2307428 h 2907193"/>
                <a:gd name="connsiteX10071" fmla="*/ 1582180 w 4044707"/>
                <a:gd name="connsiteY10071" fmla="*/ 2309697 h 2907193"/>
                <a:gd name="connsiteX10072" fmla="*/ 1578489 w 4044707"/>
                <a:gd name="connsiteY10072" fmla="*/ 2312904 h 2907193"/>
                <a:gd name="connsiteX10073" fmla="*/ 1577279 w 4044707"/>
                <a:gd name="connsiteY10073" fmla="*/ 2316020 h 2907193"/>
                <a:gd name="connsiteX10074" fmla="*/ 1588049 w 4044707"/>
                <a:gd name="connsiteY10074" fmla="*/ 2321677 h 2907193"/>
                <a:gd name="connsiteX10075" fmla="*/ 1602660 w 4044707"/>
                <a:gd name="connsiteY10075" fmla="*/ 2324278 h 2907193"/>
                <a:gd name="connsiteX10076" fmla="*/ 1611131 w 4044707"/>
                <a:gd name="connsiteY10076" fmla="*/ 2327818 h 2907193"/>
                <a:gd name="connsiteX10077" fmla="*/ 1613944 w 4044707"/>
                <a:gd name="connsiteY10077" fmla="*/ 2328060 h 2907193"/>
                <a:gd name="connsiteX10078" fmla="*/ 1616788 w 4044707"/>
                <a:gd name="connsiteY10078" fmla="*/ 2327061 h 2907193"/>
                <a:gd name="connsiteX10079" fmla="*/ 1622142 w 4044707"/>
                <a:gd name="connsiteY10079" fmla="*/ 2323915 h 2907193"/>
                <a:gd name="connsiteX10080" fmla="*/ 1619752 w 4044707"/>
                <a:gd name="connsiteY10080" fmla="*/ 2327152 h 2907193"/>
                <a:gd name="connsiteX10081" fmla="*/ 1615910 w 4044707"/>
                <a:gd name="connsiteY10081" fmla="*/ 2329935 h 2907193"/>
                <a:gd name="connsiteX10082" fmla="*/ 1613460 w 4044707"/>
                <a:gd name="connsiteY10082" fmla="*/ 2333021 h 2907193"/>
                <a:gd name="connsiteX10083" fmla="*/ 1615275 w 4044707"/>
                <a:gd name="connsiteY10083" fmla="*/ 2337135 h 2907193"/>
                <a:gd name="connsiteX10084" fmla="*/ 1617060 w 4044707"/>
                <a:gd name="connsiteY10084" fmla="*/ 2337710 h 2907193"/>
                <a:gd name="connsiteX10085" fmla="*/ 1619117 w 4044707"/>
                <a:gd name="connsiteY10085" fmla="*/ 2336923 h 2907193"/>
                <a:gd name="connsiteX10086" fmla="*/ 1622778 w 4044707"/>
                <a:gd name="connsiteY10086" fmla="*/ 2334382 h 2907193"/>
                <a:gd name="connsiteX10087" fmla="*/ 1635604 w 4044707"/>
                <a:gd name="connsiteY10087" fmla="*/ 2331206 h 2907193"/>
                <a:gd name="connsiteX10088" fmla="*/ 1636633 w 4044707"/>
                <a:gd name="connsiteY10088" fmla="*/ 2330480 h 2907193"/>
                <a:gd name="connsiteX10089" fmla="*/ 1637238 w 4044707"/>
                <a:gd name="connsiteY10089" fmla="*/ 2329512 h 2907193"/>
                <a:gd name="connsiteX10090" fmla="*/ 1637571 w 4044707"/>
                <a:gd name="connsiteY10090" fmla="*/ 2328332 h 2907193"/>
                <a:gd name="connsiteX10091" fmla="*/ 1637752 w 4044707"/>
                <a:gd name="connsiteY10091" fmla="*/ 2327243 h 2907193"/>
                <a:gd name="connsiteX10092" fmla="*/ 1638024 w 4044707"/>
                <a:gd name="connsiteY10092" fmla="*/ 2326577 h 2907193"/>
                <a:gd name="connsiteX10093" fmla="*/ 1639416 w 4044707"/>
                <a:gd name="connsiteY10093" fmla="*/ 2325458 h 2907193"/>
                <a:gd name="connsiteX10094" fmla="*/ 1643288 w 4044707"/>
                <a:gd name="connsiteY10094" fmla="*/ 2323976 h 2907193"/>
                <a:gd name="connsiteX10095" fmla="*/ 1644891 w 4044707"/>
                <a:gd name="connsiteY10095" fmla="*/ 2323976 h 2907193"/>
                <a:gd name="connsiteX10096" fmla="*/ 1645466 w 4044707"/>
                <a:gd name="connsiteY10096" fmla="*/ 2324399 h 2907193"/>
                <a:gd name="connsiteX10097" fmla="*/ 1646948 w 4044707"/>
                <a:gd name="connsiteY10097" fmla="*/ 2326033 h 2907193"/>
                <a:gd name="connsiteX10098" fmla="*/ 1647674 w 4044707"/>
                <a:gd name="connsiteY10098" fmla="*/ 2326608 h 2907193"/>
                <a:gd name="connsiteX10099" fmla="*/ 1650004 w 4044707"/>
                <a:gd name="connsiteY10099" fmla="*/ 2327818 h 2907193"/>
                <a:gd name="connsiteX10100" fmla="*/ 1651184 w 4044707"/>
                <a:gd name="connsiteY10100" fmla="*/ 2328090 h 2907193"/>
                <a:gd name="connsiteX10101" fmla="*/ 1652484 w 4044707"/>
                <a:gd name="connsiteY10101" fmla="*/ 2327939 h 2907193"/>
                <a:gd name="connsiteX10102" fmla="*/ 1653906 w 4044707"/>
                <a:gd name="connsiteY10102" fmla="*/ 2327152 h 2907193"/>
                <a:gd name="connsiteX10103" fmla="*/ 1657960 w 4044707"/>
                <a:gd name="connsiteY10103" fmla="*/ 2322615 h 2907193"/>
                <a:gd name="connsiteX10104" fmla="*/ 1655994 w 4044707"/>
                <a:gd name="connsiteY10104" fmla="*/ 2321465 h 2907193"/>
                <a:gd name="connsiteX10105" fmla="*/ 1654239 w 4044707"/>
                <a:gd name="connsiteY10105" fmla="*/ 2319892 h 2907193"/>
                <a:gd name="connsiteX10106" fmla="*/ 1652968 w 4044707"/>
                <a:gd name="connsiteY10106" fmla="*/ 2317562 h 2907193"/>
                <a:gd name="connsiteX10107" fmla="*/ 1651789 w 4044707"/>
                <a:gd name="connsiteY10107" fmla="*/ 2309304 h 2907193"/>
                <a:gd name="connsiteX10108" fmla="*/ 1650064 w 4044707"/>
                <a:gd name="connsiteY10108" fmla="*/ 2306763 h 2907193"/>
                <a:gd name="connsiteX10109" fmla="*/ 1647916 w 4044707"/>
                <a:gd name="connsiteY10109" fmla="*/ 2304948 h 2907193"/>
                <a:gd name="connsiteX10110" fmla="*/ 1645920 w 4044707"/>
                <a:gd name="connsiteY10110" fmla="*/ 2302255 h 2907193"/>
                <a:gd name="connsiteX10111" fmla="*/ 1646464 w 4044707"/>
                <a:gd name="connsiteY10111" fmla="*/ 2300198 h 2907193"/>
                <a:gd name="connsiteX10112" fmla="*/ 1652515 w 4044707"/>
                <a:gd name="connsiteY10112" fmla="*/ 2292484 h 2907193"/>
                <a:gd name="connsiteX10113" fmla="*/ 1652878 w 4044707"/>
                <a:gd name="connsiteY10113" fmla="*/ 2289459 h 2907193"/>
                <a:gd name="connsiteX10114" fmla="*/ 1651879 w 4044707"/>
                <a:gd name="connsiteY10114" fmla="*/ 2287462 h 2907193"/>
                <a:gd name="connsiteX10115" fmla="*/ 1650125 w 4044707"/>
                <a:gd name="connsiteY10115" fmla="*/ 2285677 h 2907193"/>
                <a:gd name="connsiteX10116" fmla="*/ 1648310 w 4044707"/>
                <a:gd name="connsiteY10116" fmla="*/ 2283257 h 2907193"/>
                <a:gd name="connsiteX10117" fmla="*/ 1650488 w 4044707"/>
                <a:gd name="connsiteY10117" fmla="*/ 2283530 h 2907193"/>
                <a:gd name="connsiteX10118" fmla="*/ 1654360 w 4044707"/>
                <a:gd name="connsiteY10118" fmla="*/ 2285163 h 2907193"/>
                <a:gd name="connsiteX10119" fmla="*/ 1656629 w 4044707"/>
                <a:gd name="connsiteY10119" fmla="*/ 2284558 h 2907193"/>
                <a:gd name="connsiteX10120" fmla="*/ 1670968 w 4044707"/>
                <a:gd name="connsiteY10120" fmla="*/ 2270764 h 2907193"/>
                <a:gd name="connsiteX10121" fmla="*/ 1679348 w 4044707"/>
                <a:gd name="connsiteY10121" fmla="*/ 2265923 h 2907193"/>
                <a:gd name="connsiteX10122" fmla="*/ 1677865 w 4044707"/>
                <a:gd name="connsiteY10122" fmla="*/ 2268979 h 2907193"/>
                <a:gd name="connsiteX10123" fmla="*/ 1675687 w 4044707"/>
                <a:gd name="connsiteY10123" fmla="*/ 2271520 h 2907193"/>
                <a:gd name="connsiteX10124" fmla="*/ 1673177 w 4044707"/>
                <a:gd name="connsiteY10124" fmla="*/ 2273244 h 2907193"/>
                <a:gd name="connsiteX10125" fmla="*/ 1670787 w 4044707"/>
                <a:gd name="connsiteY10125" fmla="*/ 2273879 h 2907193"/>
                <a:gd name="connsiteX10126" fmla="*/ 1668850 w 4044707"/>
                <a:gd name="connsiteY10126" fmla="*/ 2274999 h 2907193"/>
                <a:gd name="connsiteX10127" fmla="*/ 1667247 w 4044707"/>
                <a:gd name="connsiteY10127" fmla="*/ 2277661 h 2907193"/>
                <a:gd name="connsiteX10128" fmla="*/ 1665765 w 4044707"/>
                <a:gd name="connsiteY10128" fmla="*/ 2280777 h 2907193"/>
                <a:gd name="connsiteX10129" fmla="*/ 1664192 w 4044707"/>
                <a:gd name="connsiteY10129" fmla="*/ 2283197 h 2907193"/>
                <a:gd name="connsiteX10130" fmla="*/ 1660108 w 4044707"/>
                <a:gd name="connsiteY10130" fmla="*/ 2286585 h 2907193"/>
                <a:gd name="connsiteX10131" fmla="*/ 1659049 w 4044707"/>
                <a:gd name="connsiteY10131" fmla="*/ 2288763 h 2907193"/>
                <a:gd name="connsiteX10132" fmla="*/ 1658686 w 4044707"/>
                <a:gd name="connsiteY10132" fmla="*/ 2293089 h 2907193"/>
                <a:gd name="connsiteX10133" fmla="*/ 1657627 w 4044707"/>
                <a:gd name="connsiteY10133" fmla="*/ 2296659 h 2907193"/>
                <a:gd name="connsiteX10134" fmla="*/ 1653392 w 4044707"/>
                <a:gd name="connsiteY10134" fmla="*/ 2300107 h 2907193"/>
                <a:gd name="connsiteX10135" fmla="*/ 1653210 w 4044707"/>
                <a:gd name="connsiteY10135" fmla="*/ 2304161 h 2907193"/>
                <a:gd name="connsiteX10136" fmla="*/ 1653846 w 4044707"/>
                <a:gd name="connsiteY10136" fmla="*/ 2305250 h 2907193"/>
                <a:gd name="connsiteX10137" fmla="*/ 1654784 w 4044707"/>
                <a:gd name="connsiteY10137" fmla="*/ 2305764 h 2907193"/>
                <a:gd name="connsiteX10138" fmla="*/ 1655600 w 4044707"/>
                <a:gd name="connsiteY10138" fmla="*/ 2306642 h 2907193"/>
                <a:gd name="connsiteX10139" fmla="*/ 1655963 w 4044707"/>
                <a:gd name="connsiteY10139" fmla="*/ 2308911 h 2907193"/>
                <a:gd name="connsiteX10140" fmla="*/ 1656084 w 4044707"/>
                <a:gd name="connsiteY10140" fmla="*/ 2310847 h 2907193"/>
                <a:gd name="connsiteX10141" fmla="*/ 1656538 w 4044707"/>
                <a:gd name="connsiteY10141" fmla="*/ 2314598 h 2907193"/>
                <a:gd name="connsiteX10142" fmla="*/ 1656659 w 4044707"/>
                <a:gd name="connsiteY10142" fmla="*/ 2316776 h 2907193"/>
                <a:gd name="connsiteX10143" fmla="*/ 1657930 w 4044707"/>
                <a:gd name="connsiteY10143" fmla="*/ 2319831 h 2907193"/>
                <a:gd name="connsiteX10144" fmla="*/ 1660894 w 4044707"/>
                <a:gd name="connsiteY10144" fmla="*/ 2321253 h 2907193"/>
                <a:gd name="connsiteX10145" fmla="*/ 1667005 w 4044707"/>
                <a:gd name="connsiteY10145" fmla="*/ 2321435 h 2907193"/>
                <a:gd name="connsiteX10146" fmla="*/ 1682222 w 4044707"/>
                <a:gd name="connsiteY10146" fmla="*/ 2318561 h 2907193"/>
                <a:gd name="connsiteX10147" fmla="*/ 1685580 w 4044707"/>
                <a:gd name="connsiteY10147" fmla="*/ 2316201 h 2907193"/>
                <a:gd name="connsiteX10148" fmla="*/ 1688272 w 4044707"/>
                <a:gd name="connsiteY10148" fmla="*/ 2315203 h 2907193"/>
                <a:gd name="connsiteX10149" fmla="*/ 1691751 w 4044707"/>
                <a:gd name="connsiteY10149" fmla="*/ 2314779 h 2907193"/>
                <a:gd name="connsiteX10150" fmla="*/ 1687758 w 4044707"/>
                <a:gd name="connsiteY10150" fmla="*/ 2319619 h 2907193"/>
                <a:gd name="connsiteX10151" fmla="*/ 1682827 w 4044707"/>
                <a:gd name="connsiteY10151" fmla="*/ 2321253 h 2907193"/>
                <a:gd name="connsiteX10152" fmla="*/ 1667550 w 4044707"/>
                <a:gd name="connsiteY10152" fmla="*/ 2322312 h 2907193"/>
                <a:gd name="connsiteX10153" fmla="*/ 1664797 w 4044707"/>
                <a:gd name="connsiteY10153" fmla="*/ 2323643 h 2907193"/>
                <a:gd name="connsiteX10154" fmla="*/ 1663587 w 4044707"/>
                <a:gd name="connsiteY10154" fmla="*/ 2325972 h 2907193"/>
                <a:gd name="connsiteX10155" fmla="*/ 1662619 w 4044707"/>
                <a:gd name="connsiteY10155" fmla="*/ 2327182 h 2907193"/>
                <a:gd name="connsiteX10156" fmla="*/ 1658021 w 4044707"/>
                <a:gd name="connsiteY10156" fmla="*/ 2330117 h 2907193"/>
                <a:gd name="connsiteX10157" fmla="*/ 1656659 w 4044707"/>
                <a:gd name="connsiteY10157" fmla="*/ 2331932 h 2907193"/>
                <a:gd name="connsiteX10158" fmla="*/ 1657688 w 4044707"/>
                <a:gd name="connsiteY10158" fmla="*/ 2332839 h 2907193"/>
                <a:gd name="connsiteX10159" fmla="*/ 1661288 w 4044707"/>
                <a:gd name="connsiteY10159" fmla="*/ 2336984 h 2907193"/>
                <a:gd name="connsiteX10160" fmla="*/ 1662437 w 4044707"/>
                <a:gd name="connsiteY10160" fmla="*/ 2337801 h 2907193"/>
                <a:gd name="connsiteX10161" fmla="*/ 1663798 w 4044707"/>
                <a:gd name="connsiteY10161" fmla="*/ 2338285 h 2907193"/>
                <a:gd name="connsiteX10162" fmla="*/ 1665614 w 4044707"/>
                <a:gd name="connsiteY10162" fmla="*/ 2338436 h 2907193"/>
                <a:gd name="connsiteX10163" fmla="*/ 1665614 w 4044707"/>
                <a:gd name="connsiteY10163" fmla="*/ 2339858 h 2907193"/>
                <a:gd name="connsiteX10164" fmla="*/ 1658928 w 4044707"/>
                <a:gd name="connsiteY10164" fmla="*/ 2339192 h 2907193"/>
                <a:gd name="connsiteX10165" fmla="*/ 1655842 w 4044707"/>
                <a:gd name="connsiteY10165" fmla="*/ 2337801 h 2907193"/>
                <a:gd name="connsiteX10166" fmla="*/ 1653543 w 4044707"/>
                <a:gd name="connsiteY10166" fmla="*/ 2335199 h 2907193"/>
                <a:gd name="connsiteX10167" fmla="*/ 1652424 w 4044707"/>
                <a:gd name="connsiteY10167" fmla="*/ 2334322 h 2907193"/>
                <a:gd name="connsiteX10168" fmla="*/ 1644195 w 4044707"/>
                <a:gd name="connsiteY10168" fmla="*/ 2332386 h 2907193"/>
                <a:gd name="connsiteX10169" fmla="*/ 1642834 w 4044707"/>
                <a:gd name="connsiteY10169" fmla="*/ 2332688 h 2907193"/>
                <a:gd name="connsiteX10170" fmla="*/ 1641443 w 4044707"/>
                <a:gd name="connsiteY10170" fmla="*/ 2334564 h 2907193"/>
                <a:gd name="connsiteX10171" fmla="*/ 1638538 w 4044707"/>
                <a:gd name="connsiteY10171" fmla="*/ 2338224 h 2907193"/>
                <a:gd name="connsiteX10172" fmla="*/ 1627830 w 4044707"/>
                <a:gd name="connsiteY10172" fmla="*/ 2338799 h 2907193"/>
                <a:gd name="connsiteX10173" fmla="*/ 1623564 w 4044707"/>
                <a:gd name="connsiteY10173" fmla="*/ 2339918 h 2907193"/>
                <a:gd name="connsiteX10174" fmla="*/ 1621870 w 4044707"/>
                <a:gd name="connsiteY10174" fmla="*/ 2341491 h 2907193"/>
                <a:gd name="connsiteX10175" fmla="*/ 1621779 w 4044707"/>
                <a:gd name="connsiteY10175" fmla="*/ 2342611 h 2907193"/>
                <a:gd name="connsiteX10176" fmla="*/ 1622415 w 4044707"/>
                <a:gd name="connsiteY10176" fmla="*/ 2344154 h 2907193"/>
                <a:gd name="connsiteX10177" fmla="*/ 1623231 w 4044707"/>
                <a:gd name="connsiteY10177" fmla="*/ 2349387 h 2907193"/>
                <a:gd name="connsiteX10178" fmla="*/ 1624169 w 4044707"/>
                <a:gd name="connsiteY10178" fmla="*/ 2351051 h 2907193"/>
                <a:gd name="connsiteX10179" fmla="*/ 1625288 w 4044707"/>
                <a:gd name="connsiteY10179" fmla="*/ 2352503 h 2907193"/>
                <a:gd name="connsiteX10180" fmla="*/ 1626287 w 4044707"/>
                <a:gd name="connsiteY10180" fmla="*/ 2354167 h 2907193"/>
                <a:gd name="connsiteX10181" fmla="*/ 1630129 w 4044707"/>
                <a:gd name="connsiteY10181" fmla="*/ 2364059 h 2907193"/>
                <a:gd name="connsiteX10182" fmla="*/ 1631278 w 4044707"/>
                <a:gd name="connsiteY10182" fmla="*/ 2366146 h 2907193"/>
                <a:gd name="connsiteX10183" fmla="*/ 1632004 w 4044707"/>
                <a:gd name="connsiteY10183" fmla="*/ 2366963 h 2907193"/>
                <a:gd name="connsiteX10184" fmla="*/ 1637238 w 4044707"/>
                <a:gd name="connsiteY10184" fmla="*/ 2368113 h 2907193"/>
                <a:gd name="connsiteX10185" fmla="*/ 1638115 w 4044707"/>
                <a:gd name="connsiteY10185" fmla="*/ 2368597 h 2907193"/>
                <a:gd name="connsiteX10186" fmla="*/ 1639144 w 4044707"/>
                <a:gd name="connsiteY10186" fmla="*/ 2373709 h 2907193"/>
                <a:gd name="connsiteX10187" fmla="*/ 1637722 w 4044707"/>
                <a:gd name="connsiteY10187" fmla="*/ 2378761 h 2907193"/>
                <a:gd name="connsiteX10188" fmla="*/ 1635120 w 4044707"/>
                <a:gd name="connsiteY10188" fmla="*/ 2382966 h 2907193"/>
                <a:gd name="connsiteX10189" fmla="*/ 1632549 w 4044707"/>
                <a:gd name="connsiteY10189" fmla="*/ 2385568 h 2907193"/>
                <a:gd name="connsiteX10190" fmla="*/ 1635120 w 4044707"/>
                <a:gd name="connsiteY10190" fmla="*/ 2375948 h 2907193"/>
                <a:gd name="connsiteX10191" fmla="*/ 1634969 w 4044707"/>
                <a:gd name="connsiteY10191" fmla="*/ 2373195 h 2907193"/>
                <a:gd name="connsiteX10192" fmla="*/ 1633396 w 4044707"/>
                <a:gd name="connsiteY10192" fmla="*/ 2370805 h 2907193"/>
                <a:gd name="connsiteX10193" fmla="*/ 1627043 w 4044707"/>
                <a:gd name="connsiteY10193" fmla="*/ 2365995 h 2907193"/>
                <a:gd name="connsiteX10194" fmla="*/ 1622959 w 4044707"/>
                <a:gd name="connsiteY10194" fmla="*/ 2364724 h 2907193"/>
                <a:gd name="connsiteX10195" fmla="*/ 1618331 w 4044707"/>
                <a:gd name="connsiteY10195" fmla="*/ 2365783 h 2907193"/>
                <a:gd name="connsiteX10196" fmla="*/ 1609134 w 4044707"/>
                <a:gd name="connsiteY10196" fmla="*/ 2371168 h 2907193"/>
                <a:gd name="connsiteX10197" fmla="*/ 1615729 w 4044707"/>
                <a:gd name="connsiteY10197" fmla="*/ 2364331 h 2907193"/>
                <a:gd name="connsiteX10198" fmla="*/ 1618905 w 4044707"/>
                <a:gd name="connsiteY10198" fmla="*/ 2362698 h 2907193"/>
                <a:gd name="connsiteX10199" fmla="*/ 1620600 w 4044707"/>
                <a:gd name="connsiteY10199" fmla="*/ 2361094 h 2907193"/>
                <a:gd name="connsiteX10200" fmla="*/ 1622142 w 4044707"/>
                <a:gd name="connsiteY10200" fmla="*/ 2359158 h 2907193"/>
                <a:gd name="connsiteX10201" fmla="*/ 1622808 w 4044707"/>
                <a:gd name="connsiteY10201" fmla="*/ 2357525 h 2907193"/>
                <a:gd name="connsiteX10202" fmla="*/ 1622505 w 4044707"/>
                <a:gd name="connsiteY10202" fmla="*/ 2355528 h 2907193"/>
                <a:gd name="connsiteX10203" fmla="*/ 1621779 w 4044707"/>
                <a:gd name="connsiteY10203" fmla="*/ 2353683 h 2907193"/>
                <a:gd name="connsiteX10204" fmla="*/ 1620115 w 4044707"/>
                <a:gd name="connsiteY10204" fmla="*/ 2350325 h 2907193"/>
                <a:gd name="connsiteX10205" fmla="*/ 1618300 w 4044707"/>
                <a:gd name="connsiteY10205" fmla="*/ 2343881 h 2907193"/>
                <a:gd name="connsiteX10206" fmla="*/ 1617362 w 4044707"/>
                <a:gd name="connsiteY10206" fmla="*/ 2342399 h 2907193"/>
                <a:gd name="connsiteX10207" fmla="*/ 1615669 w 4044707"/>
                <a:gd name="connsiteY10207" fmla="*/ 2341764 h 2907193"/>
                <a:gd name="connsiteX10208" fmla="*/ 1609800 w 4044707"/>
                <a:gd name="connsiteY10208" fmla="*/ 2342399 h 2907193"/>
                <a:gd name="connsiteX10209" fmla="*/ 1608529 w 4044707"/>
                <a:gd name="connsiteY10209" fmla="*/ 2341975 h 2907193"/>
                <a:gd name="connsiteX10210" fmla="*/ 1607894 w 4044707"/>
                <a:gd name="connsiteY10210" fmla="*/ 2340765 h 2907193"/>
                <a:gd name="connsiteX10211" fmla="*/ 1607682 w 4044707"/>
                <a:gd name="connsiteY10211" fmla="*/ 2338920 h 2907193"/>
                <a:gd name="connsiteX10212" fmla="*/ 1607682 w 4044707"/>
                <a:gd name="connsiteY10212" fmla="*/ 2336560 h 2907193"/>
                <a:gd name="connsiteX10213" fmla="*/ 1607319 w 4044707"/>
                <a:gd name="connsiteY10213" fmla="*/ 2334715 h 2907193"/>
                <a:gd name="connsiteX10214" fmla="*/ 1606502 w 4044707"/>
                <a:gd name="connsiteY10214" fmla="*/ 2333444 h 2907193"/>
                <a:gd name="connsiteX10215" fmla="*/ 1605383 w 4044707"/>
                <a:gd name="connsiteY10215" fmla="*/ 2332567 h 2907193"/>
                <a:gd name="connsiteX10216" fmla="*/ 1600361 w 4044707"/>
                <a:gd name="connsiteY10216" fmla="*/ 2330450 h 2907193"/>
                <a:gd name="connsiteX10217" fmla="*/ 1586446 w 4044707"/>
                <a:gd name="connsiteY10217" fmla="*/ 2329088 h 2907193"/>
                <a:gd name="connsiteX10218" fmla="*/ 1585205 w 4044707"/>
                <a:gd name="connsiteY10218" fmla="*/ 2328241 h 2907193"/>
                <a:gd name="connsiteX10219" fmla="*/ 1582846 w 4044707"/>
                <a:gd name="connsiteY10219" fmla="*/ 2325942 h 2907193"/>
                <a:gd name="connsiteX10220" fmla="*/ 1581605 w 4044707"/>
                <a:gd name="connsiteY10220" fmla="*/ 2325670 h 2907193"/>
                <a:gd name="connsiteX10221" fmla="*/ 1580940 w 4044707"/>
                <a:gd name="connsiteY10221" fmla="*/ 2327303 h 2907193"/>
                <a:gd name="connsiteX10222" fmla="*/ 1580123 w 4044707"/>
                <a:gd name="connsiteY10222" fmla="*/ 2331902 h 2907193"/>
                <a:gd name="connsiteX10223" fmla="*/ 1578187 w 4044707"/>
                <a:gd name="connsiteY10223" fmla="*/ 2336470 h 2907193"/>
                <a:gd name="connsiteX10224" fmla="*/ 1576099 w 4044707"/>
                <a:gd name="connsiteY10224" fmla="*/ 2339313 h 2907193"/>
                <a:gd name="connsiteX10225" fmla="*/ 1573710 w 4044707"/>
                <a:gd name="connsiteY10225" fmla="*/ 2340765 h 2907193"/>
                <a:gd name="connsiteX10226" fmla="*/ 1567992 w 4044707"/>
                <a:gd name="connsiteY10226" fmla="*/ 2341885 h 2907193"/>
                <a:gd name="connsiteX10227" fmla="*/ 1565239 w 4044707"/>
                <a:gd name="connsiteY10227" fmla="*/ 2343669 h 2907193"/>
                <a:gd name="connsiteX10228" fmla="*/ 1562789 w 4044707"/>
                <a:gd name="connsiteY10228" fmla="*/ 2346180 h 2907193"/>
                <a:gd name="connsiteX10229" fmla="*/ 1559794 w 4044707"/>
                <a:gd name="connsiteY10229" fmla="*/ 2350416 h 2907193"/>
                <a:gd name="connsiteX10230" fmla="*/ 1558887 w 4044707"/>
                <a:gd name="connsiteY10230" fmla="*/ 2352079 h 2907193"/>
                <a:gd name="connsiteX10231" fmla="*/ 1558433 w 4044707"/>
                <a:gd name="connsiteY10231" fmla="*/ 2354136 h 2907193"/>
                <a:gd name="connsiteX10232" fmla="*/ 1558735 w 4044707"/>
                <a:gd name="connsiteY10232" fmla="*/ 2356859 h 2907193"/>
                <a:gd name="connsiteX10233" fmla="*/ 1557041 w 4044707"/>
                <a:gd name="connsiteY10233" fmla="*/ 2357131 h 2907193"/>
                <a:gd name="connsiteX10234" fmla="*/ 1555317 w 4044707"/>
                <a:gd name="connsiteY10234" fmla="*/ 2356859 h 2907193"/>
                <a:gd name="connsiteX10235" fmla="*/ 1556285 w 4044707"/>
                <a:gd name="connsiteY10235" fmla="*/ 2353410 h 2907193"/>
                <a:gd name="connsiteX10236" fmla="*/ 1557737 w 4044707"/>
                <a:gd name="connsiteY10236" fmla="*/ 2350748 h 2907193"/>
                <a:gd name="connsiteX10237" fmla="*/ 1558493 w 4044707"/>
                <a:gd name="connsiteY10237" fmla="*/ 2348479 h 2907193"/>
                <a:gd name="connsiteX10238" fmla="*/ 1557374 w 4044707"/>
                <a:gd name="connsiteY10238" fmla="*/ 2346332 h 2907193"/>
                <a:gd name="connsiteX10239" fmla="*/ 1556164 w 4044707"/>
                <a:gd name="connsiteY10239" fmla="*/ 2345848 h 2907193"/>
                <a:gd name="connsiteX10240" fmla="*/ 1554379 w 4044707"/>
                <a:gd name="connsiteY10240" fmla="*/ 2345757 h 2907193"/>
                <a:gd name="connsiteX10241" fmla="*/ 1552624 w 4044707"/>
                <a:gd name="connsiteY10241" fmla="*/ 2346120 h 2907193"/>
                <a:gd name="connsiteX10242" fmla="*/ 1551505 w 4044707"/>
                <a:gd name="connsiteY10242" fmla="*/ 2346997 h 2907193"/>
                <a:gd name="connsiteX10243" fmla="*/ 1550144 w 4044707"/>
                <a:gd name="connsiteY10243" fmla="*/ 2349054 h 2907193"/>
                <a:gd name="connsiteX10244" fmla="*/ 1548873 w 4044707"/>
                <a:gd name="connsiteY10244" fmla="*/ 2350022 h 2907193"/>
                <a:gd name="connsiteX10245" fmla="*/ 1545636 w 4044707"/>
                <a:gd name="connsiteY10245" fmla="*/ 2350294 h 2907193"/>
                <a:gd name="connsiteX10246" fmla="*/ 1548026 w 4044707"/>
                <a:gd name="connsiteY10246" fmla="*/ 2347965 h 2907193"/>
                <a:gd name="connsiteX10247" fmla="*/ 1548480 w 4044707"/>
                <a:gd name="connsiteY10247" fmla="*/ 2344456 h 2907193"/>
                <a:gd name="connsiteX10248" fmla="*/ 1547210 w 4044707"/>
                <a:gd name="connsiteY10248" fmla="*/ 2341249 h 2907193"/>
                <a:gd name="connsiteX10249" fmla="*/ 1544335 w 4044707"/>
                <a:gd name="connsiteY10249" fmla="*/ 2339858 h 2907193"/>
                <a:gd name="connsiteX10250" fmla="*/ 1540857 w 4044707"/>
                <a:gd name="connsiteY10250" fmla="*/ 2339253 h 2907193"/>
                <a:gd name="connsiteX10251" fmla="*/ 1534504 w 4044707"/>
                <a:gd name="connsiteY10251" fmla="*/ 2336500 h 2907193"/>
                <a:gd name="connsiteX10252" fmla="*/ 1531146 w 4044707"/>
                <a:gd name="connsiteY10252" fmla="*/ 2335804 h 2907193"/>
                <a:gd name="connsiteX10253" fmla="*/ 1524309 w 4044707"/>
                <a:gd name="connsiteY10253" fmla="*/ 2337226 h 2907193"/>
                <a:gd name="connsiteX10254" fmla="*/ 1522343 w 4044707"/>
                <a:gd name="connsiteY10254" fmla="*/ 2337165 h 2907193"/>
                <a:gd name="connsiteX10255" fmla="*/ 1518894 w 4044707"/>
                <a:gd name="connsiteY10255" fmla="*/ 2336046 h 2907193"/>
                <a:gd name="connsiteX10256" fmla="*/ 1510454 w 4044707"/>
                <a:gd name="connsiteY10256" fmla="*/ 2335864 h 2907193"/>
                <a:gd name="connsiteX10257" fmla="*/ 1507520 w 4044707"/>
                <a:gd name="connsiteY10257" fmla="*/ 2336621 h 2907193"/>
                <a:gd name="connsiteX10258" fmla="*/ 1504313 w 4044707"/>
                <a:gd name="connsiteY10258" fmla="*/ 2338406 h 2907193"/>
                <a:gd name="connsiteX10259" fmla="*/ 1504676 w 4044707"/>
                <a:gd name="connsiteY10259" fmla="*/ 2339011 h 2907193"/>
                <a:gd name="connsiteX10260" fmla="*/ 1505674 w 4044707"/>
                <a:gd name="connsiteY10260" fmla="*/ 2341128 h 2907193"/>
                <a:gd name="connsiteX10261" fmla="*/ 1504283 w 4044707"/>
                <a:gd name="connsiteY10261" fmla="*/ 2341522 h 2907193"/>
                <a:gd name="connsiteX10262" fmla="*/ 1502891 w 4044707"/>
                <a:gd name="connsiteY10262" fmla="*/ 2342580 h 2907193"/>
                <a:gd name="connsiteX10263" fmla="*/ 1501590 w 4044707"/>
                <a:gd name="connsiteY10263" fmla="*/ 2344032 h 2907193"/>
                <a:gd name="connsiteX10264" fmla="*/ 1500531 w 4044707"/>
                <a:gd name="connsiteY10264" fmla="*/ 2345636 h 2907193"/>
                <a:gd name="connsiteX10265" fmla="*/ 1499201 w 4044707"/>
                <a:gd name="connsiteY10265" fmla="*/ 2346846 h 2907193"/>
                <a:gd name="connsiteX10266" fmla="*/ 1499201 w 4044707"/>
                <a:gd name="connsiteY10266" fmla="*/ 2344395 h 2907193"/>
                <a:gd name="connsiteX10267" fmla="*/ 1500199 w 4044707"/>
                <a:gd name="connsiteY10267" fmla="*/ 2339101 h 2907193"/>
                <a:gd name="connsiteX10268" fmla="*/ 1498505 w 4044707"/>
                <a:gd name="connsiteY10268" fmla="*/ 2337256 h 2907193"/>
                <a:gd name="connsiteX10269" fmla="*/ 1494693 w 4044707"/>
                <a:gd name="connsiteY10269" fmla="*/ 2338133 h 2907193"/>
                <a:gd name="connsiteX10270" fmla="*/ 1490700 w 4044707"/>
                <a:gd name="connsiteY10270" fmla="*/ 2340251 h 2907193"/>
                <a:gd name="connsiteX10271" fmla="*/ 1488431 w 4044707"/>
                <a:gd name="connsiteY10271" fmla="*/ 2342308 h 2907193"/>
                <a:gd name="connsiteX10272" fmla="*/ 1486646 w 4044707"/>
                <a:gd name="connsiteY10272" fmla="*/ 2341158 h 2907193"/>
                <a:gd name="connsiteX10273" fmla="*/ 1484861 w 4044707"/>
                <a:gd name="connsiteY10273" fmla="*/ 2341280 h 2907193"/>
                <a:gd name="connsiteX10274" fmla="*/ 1481170 w 4044707"/>
                <a:gd name="connsiteY10274" fmla="*/ 2342308 h 2907193"/>
                <a:gd name="connsiteX10275" fmla="*/ 1480717 w 4044707"/>
                <a:gd name="connsiteY10275" fmla="*/ 2342853 h 2907193"/>
                <a:gd name="connsiteX10276" fmla="*/ 1482018 w 4044707"/>
                <a:gd name="connsiteY10276" fmla="*/ 2344123 h 2907193"/>
                <a:gd name="connsiteX10277" fmla="*/ 1484952 w 4044707"/>
                <a:gd name="connsiteY10277" fmla="*/ 2346211 h 2907193"/>
                <a:gd name="connsiteX10278" fmla="*/ 1484952 w 4044707"/>
                <a:gd name="connsiteY10278" fmla="*/ 2347632 h 2907193"/>
                <a:gd name="connsiteX10279" fmla="*/ 1481745 w 4044707"/>
                <a:gd name="connsiteY10279" fmla="*/ 2347118 h 2907193"/>
                <a:gd name="connsiteX10280" fmla="*/ 1477601 w 4044707"/>
                <a:gd name="connsiteY10280" fmla="*/ 2345454 h 2907193"/>
                <a:gd name="connsiteX10281" fmla="*/ 1473608 w 4044707"/>
                <a:gd name="connsiteY10281" fmla="*/ 2344698 h 2907193"/>
                <a:gd name="connsiteX10282" fmla="*/ 1469705 w 4044707"/>
                <a:gd name="connsiteY10282" fmla="*/ 2347844 h 2907193"/>
                <a:gd name="connsiteX10283" fmla="*/ 1468193 w 4044707"/>
                <a:gd name="connsiteY10283" fmla="*/ 2348449 h 2907193"/>
                <a:gd name="connsiteX10284" fmla="*/ 1466831 w 4044707"/>
                <a:gd name="connsiteY10284" fmla="*/ 2349568 h 2907193"/>
                <a:gd name="connsiteX10285" fmla="*/ 1466226 w 4044707"/>
                <a:gd name="connsiteY10285" fmla="*/ 2352140 h 2907193"/>
                <a:gd name="connsiteX10286" fmla="*/ 1466559 w 4044707"/>
                <a:gd name="connsiteY10286" fmla="*/ 2354257 h 2907193"/>
                <a:gd name="connsiteX10287" fmla="*/ 1467164 w 4044707"/>
                <a:gd name="connsiteY10287" fmla="*/ 2356073 h 2907193"/>
                <a:gd name="connsiteX10288" fmla="*/ 1467497 w 4044707"/>
                <a:gd name="connsiteY10288" fmla="*/ 2357706 h 2907193"/>
                <a:gd name="connsiteX10289" fmla="*/ 1466952 w 4044707"/>
                <a:gd name="connsiteY10289" fmla="*/ 2359249 h 2907193"/>
                <a:gd name="connsiteX10290" fmla="*/ 1465621 w 4044707"/>
                <a:gd name="connsiteY10290" fmla="*/ 2360005 h 2907193"/>
                <a:gd name="connsiteX10291" fmla="*/ 1465047 w 4044707"/>
                <a:gd name="connsiteY10291" fmla="*/ 2358251 h 2907193"/>
                <a:gd name="connsiteX10292" fmla="*/ 1464714 w 4044707"/>
                <a:gd name="connsiteY10292" fmla="*/ 2355710 h 2907193"/>
                <a:gd name="connsiteX10293" fmla="*/ 1464139 w 4044707"/>
                <a:gd name="connsiteY10293" fmla="*/ 2354046 h 2907193"/>
                <a:gd name="connsiteX10294" fmla="*/ 1462869 w 4044707"/>
                <a:gd name="connsiteY10294" fmla="*/ 2353562 h 2907193"/>
                <a:gd name="connsiteX10295" fmla="*/ 1458331 w 4044707"/>
                <a:gd name="connsiteY10295" fmla="*/ 2354046 h 2907193"/>
                <a:gd name="connsiteX10296" fmla="*/ 1451948 w 4044707"/>
                <a:gd name="connsiteY10296" fmla="*/ 2352987 h 2907193"/>
                <a:gd name="connsiteX10297" fmla="*/ 1448832 w 4044707"/>
                <a:gd name="connsiteY10297" fmla="*/ 2351777 h 2907193"/>
                <a:gd name="connsiteX10298" fmla="*/ 1440845 w 4044707"/>
                <a:gd name="connsiteY10298" fmla="*/ 2346755 h 2907193"/>
                <a:gd name="connsiteX10299" fmla="*/ 1434099 w 4044707"/>
                <a:gd name="connsiteY10299" fmla="*/ 2344486 h 2907193"/>
                <a:gd name="connsiteX10300" fmla="*/ 1427414 w 4044707"/>
                <a:gd name="connsiteY10300" fmla="*/ 2345091 h 2907193"/>
                <a:gd name="connsiteX10301" fmla="*/ 1422120 w 4044707"/>
                <a:gd name="connsiteY10301" fmla="*/ 2350234 h 2907193"/>
                <a:gd name="connsiteX10302" fmla="*/ 1421303 w 4044707"/>
                <a:gd name="connsiteY10302" fmla="*/ 2352684 h 2907193"/>
                <a:gd name="connsiteX10303" fmla="*/ 1420880 w 4044707"/>
                <a:gd name="connsiteY10303" fmla="*/ 2356042 h 2907193"/>
                <a:gd name="connsiteX10304" fmla="*/ 1420970 w 4044707"/>
                <a:gd name="connsiteY10304" fmla="*/ 2359582 h 2907193"/>
                <a:gd name="connsiteX10305" fmla="*/ 1421757 w 4044707"/>
                <a:gd name="connsiteY10305" fmla="*/ 2362577 h 2907193"/>
                <a:gd name="connsiteX10306" fmla="*/ 1422846 w 4044707"/>
                <a:gd name="connsiteY10306" fmla="*/ 2363272 h 2907193"/>
                <a:gd name="connsiteX10307" fmla="*/ 1428291 w 4044707"/>
                <a:gd name="connsiteY10307" fmla="*/ 2364573 h 2907193"/>
                <a:gd name="connsiteX10308" fmla="*/ 1429834 w 4044707"/>
                <a:gd name="connsiteY10308" fmla="*/ 2364119 h 2907193"/>
                <a:gd name="connsiteX10309" fmla="*/ 1432617 w 4044707"/>
                <a:gd name="connsiteY10309" fmla="*/ 2362214 h 2907193"/>
                <a:gd name="connsiteX10310" fmla="*/ 1433797 w 4044707"/>
                <a:gd name="connsiteY10310" fmla="*/ 2361851 h 2907193"/>
                <a:gd name="connsiteX10311" fmla="*/ 1433646 w 4044707"/>
                <a:gd name="connsiteY10311" fmla="*/ 2361639 h 2907193"/>
                <a:gd name="connsiteX10312" fmla="*/ 1433918 w 4044707"/>
                <a:gd name="connsiteY10312" fmla="*/ 2361245 h 2907193"/>
                <a:gd name="connsiteX10313" fmla="*/ 1434553 w 4044707"/>
                <a:gd name="connsiteY10313" fmla="*/ 2360671 h 2907193"/>
                <a:gd name="connsiteX10314" fmla="*/ 1434825 w 4044707"/>
                <a:gd name="connsiteY10314" fmla="*/ 2364422 h 2907193"/>
                <a:gd name="connsiteX10315" fmla="*/ 1433676 w 4044707"/>
                <a:gd name="connsiteY10315" fmla="*/ 2365693 h 2907193"/>
                <a:gd name="connsiteX10316" fmla="*/ 1431952 w 4044707"/>
                <a:gd name="connsiteY10316" fmla="*/ 2366388 h 2907193"/>
                <a:gd name="connsiteX10317" fmla="*/ 1430409 w 4044707"/>
                <a:gd name="connsiteY10317" fmla="*/ 2368476 h 2907193"/>
                <a:gd name="connsiteX10318" fmla="*/ 1430167 w 4044707"/>
                <a:gd name="connsiteY10318" fmla="*/ 2370744 h 2907193"/>
                <a:gd name="connsiteX10319" fmla="*/ 1431044 w 4044707"/>
                <a:gd name="connsiteY10319" fmla="*/ 2379548 h 2907193"/>
                <a:gd name="connsiteX10320" fmla="*/ 1430620 w 4044707"/>
                <a:gd name="connsiteY10320" fmla="*/ 2382361 h 2907193"/>
                <a:gd name="connsiteX10321" fmla="*/ 1429683 w 4044707"/>
                <a:gd name="connsiteY10321" fmla="*/ 2382361 h 2907193"/>
                <a:gd name="connsiteX10322" fmla="*/ 1428775 w 4044707"/>
                <a:gd name="connsiteY10322" fmla="*/ 2380274 h 2907193"/>
                <a:gd name="connsiteX10323" fmla="*/ 1428352 w 4044707"/>
                <a:gd name="connsiteY10323" fmla="*/ 2376976 h 2907193"/>
                <a:gd name="connsiteX10324" fmla="*/ 1428805 w 4044707"/>
                <a:gd name="connsiteY10324" fmla="*/ 2370381 h 2907193"/>
                <a:gd name="connsiteX10325" fmla="*/ 1428261 w 4044707"/>
                <a:gd name="connsiteY10325" fmla="*/ 2368718 h 2907193"/>
                <a:gd name="connsiteX10326" fmla="*/ 1426234 w 4044707"/>
                <a:gd name="connsiteY10326" fmla="*/ 2367175 h 2907193"/>
                <a:gd name="connsiteX10327" fmla="*/ 1424237 w 4044707"/>
                <a:gd name="connsiteY10327" fmla="*/ 2366298 h 2907193"/>
                <a:gd name="connsiteX10328" fmla="*/ 1421696 w 4044707"/>
                <a:gd name="connsiteY10328" fmla="*/ 2365783 h 2907193"/>
                <a:gd name="connsiteX10329" fmla="*/ 1419548 w 4044707"/>
                <a:gd name="connsiteY10329" fmla="*/ 2366267 h 2907193"/>
                <a:gd name="connsiteX10330" fmla="*/ 1418671 w 4044707"/>
                <a:gd name="connsiteY10330" fmla="*/ 2368476 h 2907193"/>
                <a:gd name="connsiteX10331" fmla="*/ 1419125 w 4044707"/>
                <a:gd name="connsiteY10331" fmla="*/ 2369837 h 2907193"/>
                <a:gd name="connsiteX10332" fmla="*/ 1421000 w 4044707"/>
                <a:gd name="connsiteY10332" fmla="*/ 2372196 h 2907193"/>
                <a:gd name="connsiteX10333" fmla="*/ 1421424 w 4044707"/>
                <a:gd name="connsiteY10333" fmla="*/ 2373074 h 2907193"/>
                <a:gd name="connsiteX10334" fmla="*/ 1421424 w 4044707"/>
                <a:gd name="connsiteY10334" fmla="*/ 2375101 h 2907193"/>
                <a:gd name="connsiteX10335" fmla="*/ 1421545 w 4044707"/>
                <a:gd name="connsiteY10335" fmla="*/ 2376281 h 2907193"/>
                <a:gd name="connsiteX10336" fmla="*/ 1421847 w 4044707"/>
                <a:gd name="connsiteY10336" fmla="*/ 2377158 h 2907193"/>
                <a:gd name="connsiteX10337" fmla="*/ 1422453 w 4044707"/>
                <a:gd name="connsiteY10337" fmla="*/ 2378307 h 2907193"/>
                <a:gd name="connsiteX10338" fmla="*/ 1423360 w 4044707"/>
                <a:gd name="connsiteY10338" fmla="*/ 2380818 h 2907193"/>
                <a:gd name="connsiteX10339" fmla="*/ 1424510 w 4044707"/>
                <a:gd name="connsiteY10339" fmla="*/ 2386475 h 2907193"/>
                <a:gd name="connsiteX10340" fmla="*/ 1425236 w 4044707"/>
                <a:gd name="connsiteY10340" fmla="*/ 2388714 h 2907193"/>
                <a:gd name="connsiteX10341" fmla="*/ 1427202 w 4044707"/>
                <a:gd name="connsiteY10341" fmla="*/ 2390589 h 2907193"/>
                <a:gd name="connsiteX10342" fmla="*/ 1431921 w 4044707"/>
                <a:gd name="connsiteY10342" fmla="*/ 2389984 h 2907193"/>
                <a:gd name="connsiteX10343" fmla="*/ 1433857 w 4044707"/>
                <a:gd name="connsiteY10343" fmla="*/ 2390529 h 2907193"/>
                <a:gd name="connsiteX10344" fmla="*/ 1432405 w 4044707"/>
                <a:gd name="connsiteY10344" fmla="*/ 2391951 h 2907193"/>
                <a:gd name="connsiteX10345" fmla="*/ 1433676 w 4044707"/>
                <a:gd name="connsiteY10345" fmla="*/ 2394855 h 2907193"/>
                <a:gd name="connsiteX10346" fmla="*/ 1435521 w 4044707"/>
                <a:gd name="connsiteY10346" fmla="*/ 2394310 h 2907193"/>
                <a:gd name="connsiteX10347" fmla="*/ 1437034 w 4044707"/>
                <a:gd name="connsiteY10347" fmla="*/ 2391285 h 2907193"/>
                <a:gd name="connsiteX10348" fmla="*/ 1437366 w 4044707"/>
                <a:gd name="connsiteY10348" fmla="*/ 2386778 h 2907193"/>
                <a:gd name="connsiteX10349" fmla="*/ 1439393 w 4044707"/>
                <a:gd name="connsiteY10349" fmla="*/ 2391890 h 2907193"/>
                <a:gd name="connsiteX10350" fmla="*/ 1444627 w 4044707"/>
                <a:gd name="connsiteY10350" fmla="*/ 2393887 h 2907193"/>
                <a:gd name="connsiteX10351" fmla="*/ 1450012 w 4044707"/>
                <a:gd name="connsiteY10351" fmla="*/ 2392828 h 2907193"/>
                <a:gd name="connsiteX10352" fmla="*/ 1452462 w 4044707"/>
                <a:gd name="connsiteY10352" fmla="*/ 2388714 h 2907193"/>
                <a:gd name="connsiteX10353" fmla="*/ 1453370 w 4044707"/>
                <a:gd name="connsiteY10353" fmla="*/ 2384206 h 2907193"/>
                <a:gd name="connsiteX10354" fmla="*/ 1455548 w 4044707"/>
                <a:gd name="connsiteY10354" fmla="*/ 2382361 h 2907193"/>
                <a:gd name="connsiteX10355" fmla="*/ 1460691 w 4044707"/>
                <a:gd name="connsiteY10355" fmla="*/ 2381575 h 2907193"/>
                <a:gd name="connsiteX10356" fmla="*/ 1467951 w 4044707"/>
                <a:gd name="connsiteY10356" fmla="*/ 2376734 h 2907193"/>
                <a:gd name="connsiteX10357" fmla="*/ 1470371 w 4044707"/>
                <a:gd name="connsiteY10357" fmla="*/ 2376250 h 2907193"/>
                <a:gd name="connsiteX10358" fmla="*/ 1467860 w 4044707"/>
                <a:gd name="connsiteY10358" fmla="*/ 2378882 h 2907193"/>
                <a:gd name="connsiteX10359" fmla="*/ 1468737 w 4044707"/>
                <a:gd name="connsiteY10359" fmla="*/ 2381060 h 2907193"/>
                <a:gd name="connsiteX10360" fmla="*/ 1471490 w 4044707"/>
                <a:gd name="connsiteY10360" fmla="*/ 2382482 h 2907193"/>
                <a:gd name="connsiteX10361" fmla="*/ 1474515 w 4044707"/>
                <a:gd name="connsiteY10361" fmla="*/ 2382754 h 2907193"/>
                <a:gd name="connsiteX10362" fmla="*/ 1471883 w 4044707"/>
                <a:gd name="connsiteY10362" fmla="*/ 2384569 h 2907193"/>
                <a:gd name="connsiteX10363" fmla="*/ 1470492 w 4044707"/>
                <a:gd name="connsiteY10363" fmla="*/ 2385205 h 2907193"/>
                <a:gd name="connsiteX10364" fmla="*/ 1468949 w 4044707"/>
                <a:gd name="connsiteY10364" fmla="*/ 2385477 h 2907193"/>
                <a:gd name="connsiteX10365" fmla="*/ 1467255 w 4044707"/>
                <a:gd name="connsiteY10365" fmla="*/ 2385084 h 2907193"/>
                <a:gd name="connsiteX10366" fmla="*/ 1465561 w 4044707"/>
                <a:gd name="connsiteY10366" fmla="*/ 2384327 h 2907193"/>
                <a:gd name="connsiteX10367" fmla="*/ 1463836 w 4044707"/>
                <a:gd name="connsiteY10367" fmla="*/ 2383995 h 2907193"/>
                <a:gd name="connsiteX10368" fmla="*/ 1456364 w 4044707"/>
                <a:gd name="connsiteY10368" fmla="*/ 2387141 h 2907193"/>
                <a:gd name="connsiteX10369" fmla="*/ 1454519 w 4044707"/>
                <a:gd name="connsiteY10369" fmla="*/ 2389621 h 2907193"/>
                <a:gd name="connsiteX10370" fmla="*/ 1455880 w 4044707"/>
                <a:gd name="connsiteY10370" fmla="*/ 2394673 h 2907193"/>
                <a:gd name="connsiteX10371" fmla="*/ 1453642 w 4044707"/>
                <a:gd name="connsiteY10371" fmla="*/ 2396004 h 2907193"/>
                <a:gd name="connsiteX10372" fmla="*/ 1449104 w 4044707"/>
                <a:gd name="connsiteY10372" fmla="*/ 2397245 h 2907193"/>
                <a:gd name="connsiteX10373" fmla="*/ 1446956 w 4044707"/>
                <a:gd name="connsiteY10373" fmla="*/ 2398546 h 2907193"/>
                <a:gd name="connsiteX10374" fmla="*/ 1444566 w 4044707"/>
                <a:gd name="connsiteY10374" fmla="*/ 2400996 h 2907193"/>
                <a:gd name="connsiteX10375" fmla="*/ 1444234 w 4044707"/>
                <a:gd name="connsiteY10375" fmla="*/ 2401661 h 2907193"/>
                <a:gd name="connsiteX10376" fmla="*/ 1444536 w 4044707"/>
                <a:gd name="connsiteY10376" fmla="*/ 2403991 h 2907193"/>
                <a:gd name="connsiteX10377" fmla="*/ 1445323 w 4044707"/>
                <a:gd name="connsiteY10377" fmla="*/ 2404566 h 2907193"/>
                <a:gd name="connsiteX10378" fmla="*/ 1446321 w 4044707"/>
                <a:gd name="connsiteY10378" fmla="*/ 2404656 h 2907193"/>
                <a:gd name="connsiteX10379" fmla="*/ 1449104 w 4044707"/>
                <a:gd name="connsiteY10379" fmla="*/ 2407046 h 2907193"/>
                <a:gd name="connsiteX10380" fmla="*/ 1451675 w 4044707"/>
                <a:gd name="connsiteY10380" fmla="*/ 2407621 h 2907193"/>
                <a:gd name="connsiteX10381" fmla="*/ 1456213 w 4044707"/>
                <a:gd name="connsiteY10381" fmla="*/ 2407621 h 2907193"/>
                <a:gd name="connsiteX10382" fmla="*/ 1456969 w 4044707"/>
                <a:gd name="connsiteY10382" fmla="*/ 2408196 h 2907193"/>
                <a:gd name="connsiteX10383" fmla="*/ 1457272 w 4044707"/>
                <a:gd name="connsiteY10383" fmla="*/ 2409617 h 2907193"/>
                <a:gd name="connsiteX10384" fmla="*/ 1457484 w 4044707"/>
                <a:gd name="connsiteY10384" fmla="*/ 2411281 h 2907193"/>
                <a:gd name="connsiteX10385" fmla="*/ 1457968 w 4044707"/>
                <a:gd name="connsiteY10385" fmla="*/ 2412643 h 2907193"/>
                <a:gd name="connsiteX10386" fmla="*/ 1458875 w 4044707"/>
                <a:gd name="connsiteY10386" fmla="*/ 2413641 h 2907193"/>
                <a:gd name="connsiteX10387" fmla="*/ 1462082 w 4044707"/>
                <a:gd name="connsiteY10387" fmla="*/ 2415335 h 2907193"/>
                <a:gd name="connsiteX10388" fmla="*/ 1461780 w 4044707"/>
                <a:gd name="connsiteY10388" fmla="*/ 2418209 h 2907193"/>
                <a:gd name="connsiteX10389" fmla="*/ 1462717 w 4044707"/>
                <a:gd name="connsiteY10389" fmla="*/ 2419752 h 2907193"/>
                <a:gd name="connsiteX10390" fmla="*/ 1463867 w 4044707"/>
                <a:gd name="connsiteY10390" fmla="*/ 2421022 h 2907193"/>
                <a:gd name="connsiteX10391" fmla="*/ 1464169 w 4044707"/>
                <a:gd name="connsiteY10391" fmla="*/ 2423079 h 2907193"/>
                <a:gd name="connsiteX10392" fmla="*/ 1463413 w 4044707"/>
                <a:gd name="connsiteY10392" fmla="*/ 2423079 h 2907193"/>
                <a:gd name="connsiteX10393" fmla="*/ 1460146 w 4044707"/>
                <a:gd name="connsiteY10393" fmla="*/ 2419722 h 2907193"/>
                <a:gd name="connsiteX10394" fmla="*/ 1458664 w 4044707"/>
                <a:gd name="connsiteY10394" fmla="*/ 2419086 h 2907193"/>
                <a:gd name="connsiteX10395" fmla="*/ 1457816 w 4044707"/>
                <a:gd name="connsiteY10395" fmla="*/ 2420901 h 2907193"/>
                <a:gd name="connsiteX10396" fmla="*/ 1459783 w 4044707"/>
                <a:gd name="connsiteY10396" fmla="*/ 2423684 h 2907193"/>
                <a:gd name="connsiteX10397" fmla="*/ 1462566 w 4044707"/>
                <a:gd name="connsiteY10397" fmla="*/ 2426800 h 2907193"/>
                <a:gd name="connsiteX10398" fmla="*/ 1464139 w 4044707"/>
                <a:gd name="connsiteY10398" fmla="*/ 2429523 h 2907193"/>
                <a:gd name="connsiteX10399" fmla="*/ 1461961 w 4044707"/>
                <a:gd name="connsiteY10399" fmla="*/ 2428706 h 2907193"/>
                <a:gd name="connsiteX10400" fmla="*/ 1458028 w 4044707"/>
                <a:gd name="connsiteY10400" fmla="*/ 2424683 h 2907193"/>
                <a:gd name="connsiteX10401" fmla="*/ 1455880 w 4044707"/>
                <a:gd name="connsiteY10401" fmla="*/ 2423079 h 2907193"/>
                <a:gd name="connsiteX10402" fmla="*/ 1456001 w 4044707"/>
                <a:gd name="connsiteY10402" fmla="*/ 2424925 h 2907193"/>
                <a:gd name="connsiteX10403" fmla="*/ 1456395 w 4044707"/>
                <a:gd name="connsiteY10403" fmla="*/ 2426347 h 2907193"/>
                <a:gd name="connsiteX10404" fmla="*/ 1457060 w 4044707"/>
                <a:gd name="connsiteY10404" fmla="*/ 2427436 h 2907193"/>
                <a:gd name="connsiteX10405" fmla="*/ 1457968 w 4044707"/>
                <a:gd name="connsiteY10405" fmla="*/ 2428192 h 2907193"/>
                <a:gd name="connsiteX10406" fmla="*/ 1455517 w 4044707"/>
                <a:gd name="connsiteY10406" fmla="*/ 2427284 h 2907193"/>
                <a:gd name="connsiteX10407" fmla="*/ 1453309 w 4044707"/>
                <a:gd name="connsiteY10407" fmla="*/ 2424441 h 2907193"/>
                <a:gd name="connsiteX10408" fmla="*/ 1451706 w 4044707"/>
                <a:gd name="connsiteY10408" fmla="*/ 2420568 h 2907193"/>
                <a:gd name="connsiteX10409" fmla="*/ 1451070 w 4044707"/>
                <a:gd name="connsiteY10409" fmla="*/ 2416485 h 2907193"/>
                <a:gd name="connsiteX10410" fmla="*/ 1451070 w 4044707"/>
                <a:gd name="connsiteY10410" fmla="*/ 2413792 h 2907193"/>
                <a:gd name="connsiteX10411" fmla="*/ 1448680 w 4044707"/>
                <a:gd name="connsiteY10411" fmla="*/ 2411917 h 2907193"/>
                <a:gd name="connsiteX10412" fmla="*/ 1438274 w 4044707"/>
                <a:gd name="connsiteY10412" fmla="*/ 2408165 h 2907193"/>
                <a:gd name="connsiteX10413" fmla="*/ 1435491 w 4044707"/>
                <a:gd name="connsiteY10413" fmla="*/ 2406471 h 2907193"/>
                <a:gd name="connsiteX10414" fmla="*/ 1431468 w 4044707"/>
                <a:gd name="connsiteY10414" fmla="*/ 2402085 h 2907193"/>
                <a:gd name="connsiteX10415" fmla="*/ 1426174 w 4044707"/>
                <a:gd name="connsiteY10415" fmla="*/ 2401087 h 2907193"/>
                <a:gd name="connsiteX10416" fmla="*/ 1421545 w 4044707"/>
                <a:gd name="connsiteY10416" fmla="*/ 2396761 h 2907193"/>
                <a:gd name="connsiteX10417" fmla="*/ 1418641 w 4044707"/>
                <a:gd name="connsiteY10417" fmla="*/ 2395430 h 2907193"/>
                <a:gd name="connsiteX10418" fmla="*/ 1415646 w 4044707"/>
                <a:gd name="connsiteY10418" fmla="*/ 2395430 h 2907193"/>
                <a:gd name="connsiteX10419" fmla="*/ 1413135 w 4044707"/>
                <a:gd name="connsiteY10419" fmla="*/ 2397063 h 2907193"/>
                <a:gd name="connsiteX10420" fmla="*/ 1416251 w 4044707"/>
                <a:gd name="connsiteY10420" fmla="*/ 2398213 h 2907193"/>
                <a:gd name="connsiteX10421" fmla="*/ 1419004 w 4044707"/>
                <a:gd name="connsiteY10421" fmla="*/ 2400875 h 2907193"/>
                <a:gd name="connsiteX10422" fmla="*/ 1423814 w 4044707"/>
                <a:gd name="connsiteY10422" fmla="*/ 2408105 h 2907193"/>
                <a:gd name="connsiteX10423" fmla="*/ 1426658 w 4044707"/>
                <a:gd name="connsiteY10423" fmla="*/ 2410162 h 2907193"/>
                <a:gd name="connsiteX10424" fmla="*/ 1430046 w 4044707"/>
                <a:gd name="connsiteY10424" fmla="*/ 2410465 h 2907193"/>
                <a:gd name="connsiteX10425" fmla="*/ 1433161 w 4044707"/>
                <a:gd name="connsiteY10425" fmla="*/ 2411372 h 2907193"/>
                <a:gd name="connsiteX10426" fmla="*/ 1435249 w 4044707"/>
                <a:gd name="connsiteY10426" fmla="*/ 2415244 h 2907193"/>
                <a:gd name="connsiteX10427" fmla="*/ 1430711 w 4044707"/>
                <a:gd name="connsiteY10427" fmla="*/ 2413822 h 2907193"/>
                <a:gd name="connsiteX10428" fmla="*/ 1429047 w 4044707"/>
                <a:gd name="connsiteY10428" fmla="*/ 2413822 h 2907193"/>
                <a:gd name="connsiteX10429" fmla="*/ 1436792 w 4044707"/>
                <a:gd name="connsiteY10429" fmla="*/ 2421658 h 2907193"/>
                <a:gd name="connsiteX10430" fmla="*/ 1443477 w 4044707"/>
                <a:gd name="connsiteY10430" fmla="*/ 2430854 h 2907193"/>
                <a:gd name="connsiteX10431" fmla="*/ 1442933 w 4044707"/>
                <a:gd name="connsiteY10431" fmla="*/ 2432034 h 2907193"/>
                <a:gd name="connsiteX10432" fmla="*/ 1436308 w 4044707"/>
                <a:gd name="connsiteY10432" fmla="*/ 2425651 h 2907193"/>
                <a:gd name="connsiteX10433" fmla="*/ 1432920 w 4044707"/>
                <a:gd name="connsiteY10433" fmla="*/ 2423533 h 2907193"/>
                <a:gd name="connsiteX10434" fmla="*/ 1429078 w 4044707"/>
                <a:gd name="connsiteY10434" fmla="*/ 2423019 h 2907193"/>
                <a:gd name="connsiteX10435" fmla="*/ 1430348 w 4044707"/>
                <a:gd name="connsiteY10435" fmla="*/ 2425621 h 2907193"/>
                <a:gd name="connsiteX10436" fmla="*/ 1436640 w 4044707"/>
                <a:gd name="connsiteY10436" fmla="*/ 2432034 h 2907193"/>
                <a:gd name="connsiteX10437" fmla="*/ 1439544 w 4044707"/>
                <a:gd name="connsiteY10437" fmla="*/ 2436027 h 2907193"/>
                <a:gd name="connsiteX10438" fmla="*/ 1442933 w 4044707"/>
                <a:gd name="connsiteY10438" fmla="*/ 2439748 h 2907193"/>
                <a:gd name="connsiteX10439" fmla="*/ 1445716 w 4044707"/>
                <a:gd name="connsiteY10439" fmla="*/ 2441775 h 2907193"/>
                <a:gd name="connsiteX10440" fmla="*/ 1448166 w 4044707"/>
                <a:gd name="connsiteY10440" fmla="*/ 2442561 h 2907193"/>
                <a:gd name="connsiteX10441" fmla="*/ 1450707 w 4044707"/>
                <a:gd name="connsiteY10441" fmla="*/ 2442259 h 2907193"/>
                <a:gd name="connsiteX10442" fmla="*/ 1457968 w 4044707"/>
                <a:gd name="connsiteY10442" fmla="*/ 2438568 h 2907193"/>
                <a:gd name="connsiteX10443" fmla="*/ 1465077 w 4044707"/>
                <a:gd name="connsiteY10443" fmla="*/ 2432125 h 2907193"/>
                <a:gd name="connsiteX10444" fmla="*/ 1471248 w 4044707"/>
                <a:gd name="connsiteY10444" fmla="*/ 2429795 h 2907193"/>
                <a:gd name="connsiteX10445" fmla="*/ 1473457 w 4044707"/>
                <a:gd name="connsiteY10445" fmla="*/ 2429493 h 2907193"/>
                <a:gd name="connsiteX10446" fmla="*/ 1474394 w 4044707"/>
                <a:gd name="connsiteY10446" fmla="*/ 2427436 h 2907193"/>
                <a:gd name="connsiteX10447" fmla="*/ 1473124 w 4044707"/>
                <a:gd name="connsiteY10447" fmla="*/ 2418511 h 2907193"/>
                <a:gd name="connsiteX10448" fmla="*/ 1474152 w 4044707"/>
                <a:gd name="connsiteY10448" fmla="*/ 2416485 h 2907193"/>
                <a:gd name="connsiteX10449" fmla="*/ 1478629 w 4044707"/>
                <a:gd name="connsiteY10449" fmla="*/ 2416848 h 2907193"/>
                <a:gd name="connsiteX10450" fmla="*/ 1480021 w 4044707"/>
                <a:gd name="connsiteY10450" fmla="*/ 2416485 h 2907193"/>
                <a:gd name="connsiteX10451" fmla="*/ 1480959 w 4044707"/>
                <a:gd name="connsiteY10451" fmla="*/ 2415638 h 2907193"/>
                <a:gd name="connsiteX10452" fmla="*/ 1482865 w 4044707"/>
                <a:gd name="connsiteY10452" fmla="*/ 2413127 h 2907193"/>
                <a:gd name="connsiteX10453" fmla="*/ 1483863 w 4044707"/>
                <a:gd name="connsiteY10453" fmla="*/ 2412613 h 2907193"/>
                <a:gd name="connsiteX10454" fmla="*/ 1485678 w 4044707"/>
                <a:gd name="connsiteY10454" fmla="*/ 2410918 h 2907193"/>
                <a:gd name="connsiteX10455" fmla="*/ 1487039 w 4044707"/>
                <a:gd name="connsiteY10455" fmla="*/ 2407560 h 2907193"/>
                <a:gd name="connsiteX10456" fmla="*/ 1488491 w 4044707"/>
                <a:gd name="connsiteY10456" fmla="*/ 2405110 h 2907193"/>
                <a:gd name="connsiteX10457" fmla="*/ 1490458 w 4044707"/>
                <a:gd name="connsiteY10457" fmla="*/ 2406139 h 2907193"/>
                <a:gd name="connsiteX10458" fmla="*/ 1489459 w 4044707"/>
                <a:gd name="connsiteY10458" fmla="*/ 2407802 h 2907193"/>
                <a:gd name="connsiteX10459" fmla="*/ 1488068 w 4044707"/>
                <a:gd name="connsiteY10459" fmla="*/ 2410918 h 2907193"/>
                <a:gd name="connsiteX10460" fmla="*/ 1487100 w 4044707"/>
                <a:gd name="connsiteY10460" fmla="*/ 2413944 h 2907193"/>
                <a:gd name="connsiteX10461" fmla="*/ 1487312 w 4044707"/>
                <a:gd name="connsiteY10461" fmla="*/ 2415305 h 2907193"/>
                <a:gd name="connsiteX10462" fmla="*/ 1491819 w 4044707"/>
                <a:gd name="connsiteY10462" fmla="*/ 2415577 h 2907193"/>
                <a:gd name="connsiteX10463" fmla="*/ 1493816 w 4044707"/>
                <a:gd name="connsiteY10463" fmla="*/ 2414851 h 2907193"/>
                <a:gd name="connsiteX10464" fmla="*/ 1495994 w 4044707"/>
                <a:gd name="connsiteY10464" fmla="*/ 2412643 h 2907193"/>
                <a:gd name="connsiteX10465" fmla="*/ 1494874 w 4044707"/>
                <a:gd name="connsiteY10465" fmla="*/ 2415093 h 2907193"/>
                <a:gd name="connsiteX10466" fmla="*/ 1493604 w 4044707"/>
                <a:gd name="connsiteY10466" fmla="*/ 2418693 h 2907193"/>
                <a:gd name="connsiteX10467" fmla="*/ 1493332 w 4044707"/>
                <a:gd name="connsiteY10467" fmla="*/ 2422172 h 2907193"/>
                <a:gd name="connsiteX10468" fmla="*/ 1495328 w 4044707"/>
                <a:gd name="connsiteY10468" fmla="*/ 2424229 h 2907193"/>
                <a:gd name="connsiteX10469" fmla="*/ 1493181 w 4044707"/>
                <a:gd name="connsiteY10469" fmla="*/ 2427496 h 2907193"/>
                <a:gd name="connsiteX10470" fmla="*/ 1492091 w 4044707"/>
                <a:gd name="connsiteY10470" fmla="*/ 2434333 h 2907193"/>
                <a:gd name="connsiteX10471" fmla="*/ 1491758 w 4044707"/>
                <a:gd name="connsiteY10471" fmla="*/ 2441926 h 2907193"/>
                <a:gd name="connsiteX10472" fmla="*/ 1491880 w 4044707"/>
                <a:gd name="connsiteY10472" fmla="*/ 2447492 h 2907193"/>
                <a:gd name="connsiteX10473" fmla="*/ 1492455 w 4044707"/>
                <a:gd name="connsiteY10473" fmla="*/ 2453906 h 2907193"/>
                <a:gd name="connsiteX10474" fmla="*/ 1492455 w 4044707"/>
                <a:gd name="connsiteY10474" fmla="*/ 2456659 h 2907193"/>
                <a:gd name="connsiteX10475" fmla="*/ 1491880 w 4044707"/>
                <a:gd name="connsiteY10475" fmla="*/ 2459139 h 2907193"/>
                <a:gd name="connsiteX10476" fmla="*/ 1490095 w 4044707"/>
                <a:gd name="connsiteY10476" fmla="*/ 2460803 h 2907193"/>
                <a:gd name="connsiteX10477" fmla="*/ 1487675 w 4044707"/>
                <a:gd name="connsiteY10477" fmla="*/ 2461892 h 2907193"/>
                <a:gd name="connsiteX10478" fmla="*/ 1485981 w 4044707"/>
                <a:gd name="connsiteY10478" fmla="*/ 2463495 h 2907193"/>
                <a:gd name="connsiteX10479" fmla="*/ 1486374 w 4044707"/>
                <a:gd name="connsiteY10479" fmla="*/ 2466672 h 2907193"/>
                <a:gd name="connsiteX10480" fmla="*/ 1482774 w 4044707"/>
                <a:gd name="connsiteY10480" fmla="*/ 2469243 h 2907193"/>
                <a:gd name="connsiteX10481" fmla="*/ 1478297 w 4044707"/>
                <a:gd name="connsiteY10481" fmla="*/ 2469667 h 2907193"/>
                <a:gd name="connsiteX10482" fmla="*/ 1473729 w 4044707"/>
                <a:gd name="connsiteY10482" fmla="*/ 2468608 h 2907193"/>
                <a:gd name="connsiteX10483" fmla="*/ 1468526 w 4044707"/>
                <a:gd name="connsiteY10483" fmla="*/ 2465916 h 2907193"/>
                <a:gd name="connsiteX10484" fmla="*/ 1465773 w 4044707"/>
                <a:gd name="connsiteY10484" fmla="*/ 2463798 h 2907193"/>
                <a:gd name="connsiteX10485" fmla="*/ 1460600 w 4044707"/>
                <a:gd name="connsiteY10485" fmla="*/ 2457203 h 2907193"/>
                <a:gd name="connsiteX10486" fmla="*/ 1459450 w 4044707"/>
                <a:gd name="connsiteY10486" fmla="*/ 2456477 h 2907193"/>
                <a:gd name="connsiteX10487" fmla="*/ 1457363 w 4044707"/>
                <a:gd name="connsiteY10487" fmla="*/ 2454662 h 2907193"/>
                <a:gd name="connsiteX10488" fmla="*/ 1454459 w 4044707"/>
                <a:gd name="connsiteY10488" fmla="*/ 2451062 h 2907193"/>
                <a:gd name="connsiteX10489" fmla="*/ 1451403 w 4044707"/>
                <a:gd name="connsiteY10489" fmla="*/ 2448430 h 2907193"/>
                <a:gd name="connsiteX10490" fmla="*/ 1448832 w 4044707"/>
                <a:gd name="connsiteY10490" fmla="*/ 2449549 h 2907193"/>
                <a:gd name="connsiteX10491" fmla="*/ 1444597 w 4044707"/>
                <a:gd name="connsiteY10491" fmla="*/ 2455781 h 2907193"/>
                <a:gd name="connsiteX10492" fmla="*/ 1444475 w 4044707"/>
                <a:gd name="connsiteY10492" fmla="*/ 2458685 h 2907193"/>
                <a:gd name="connsiteX10493" fmla="*/ 1447107 w 4044707"/>
                <a:gd name="connsiteY10493" fmla="*/ 2463011 h 2907193"/>
                <a:gd name="connsiteX10494" fmla="*/ 1446684 w 4044707"/>
                <a:gd name="connsiteY10494" fmla="*/ 2463737 h 2907193"/>
                <a:gd name="connsiteX10495" fmla="*/ 1445807 w 4044707"/>
                <a:gd name="connsiteY10495" fmla="*/ 2466702 h 2907193"/>
                <a:gd name="connsiteX10496" fmla="*/ 1449134 w 4044707"/>
                <a:gd name="connsiteY10496" fmla="*/ 2472268 h 2907193"/>
                <a:gd name="connsiteX10497" fmla="*/ 1450617 w 4044707"/>
                <a:gd name="connsiteY10497" fmla="*/ 2473206 h 2907193"/>
                <a:gd name="connsiteX10498" fmla="*/ 1447380 w 4044707"/>
                <a:gd name="connsiteY10498" fmla="*/ 2474870 h 2907193"/>
                <a:gd name="connsiteX10499" fmla="*/ 1438546 w 4044707"/>
                <a:gd name="connsiteY10499" fmla="*/ 2474598 h 2907193"/>
                <a:gd name="connsiteX10500" fmla="*/ 1435400 w 4044707"/>
                <a:gd name="connsiteY10500" fmla="*/ 2478409 h 2907193"/>
                <a:gd name="connsiteX10501" fmla="*/ 1434856 w 4044707"/>
                <a:gd name="connsiteY10501" fmla="*/ 2481525 h 2907193"/>
                <a:gd name="connsiteX10502" fmla="*/ 1435491 w 4044707"/>
                <a:gd name="connsiteY10502" fmla="*/ 2482947 h 2907193"/>
                <a:gd name="connsiteX10503" fmla="*/ 1436610 w 4044707"/>
                <a:gd name="connsiteY10503" fmla="*/ 2483310 h 2907193"/>
                <a:gd name="connsiteX10504" fmla="*/ 1440664 w 4044707"/>
                <a:gd name="connsiteY10504" fmla="*/ 2483945 h 2907193"/>
                <a:gd name="connsiteX10505" fmla="*/ 1441965 w 4044707"/>
                <a:gd name="connsiteY10505" fmla="*/ 2484944 h 2907193"/>
                <a:gd name="connsiteX10506" fmla="*/ 1443629 w 4044707"/>
                <a:gd name="connsiteY10506" fmla="*/ 2487182 h 2907193"/>
                <a:gd name="connsiteX10507" fmla="*/ 1440543 w 4044707"/>
                <a:gd name="connsiteY10507" fmla="*/ 2486849 h 2907193"/>
                <a:gd name="connsiteX10508" fmla="*/ 1438909 w 4044707"/>
                <a:gd name="connsiteY10508" fmla="*/ 2486970 h 2907193"/>
                <a:gd name="connsiteX10509" fmla="*/ 1437851 w 4044707"/>
                <a:gd name="connsiteY10509" fmla="*/ 2487878 h 2907193"/>
                <a:gd name="connsiteX10510" fmla="*/ 1437336 w 4044707"/>
                <a:gd name="connsiteY10510" fmla="*/ 2489602 h 2907193"/>
                <a:gd name="connsiteX10511" fmla="*/ 1436943 w 4044707"/>
                <a:gd name="connsiteY10511" fmla="*/ 2492023 h 2907193"/>
                <a:gd name="connsiteX10512" fmla="*/ 1437003 w 4044707"/>
                <a:gd name="connsiteY10512" fmla="*/ 2494140 h 2907193"/>
                <a:gd name="connsiteX10513" fmla="*/ 1437851 w 4044707"/>
                <a:gd name="connsiteY10513" fmla="*/ 2495048 h 2907193"/>
                <a:gd name="connsiteX10514" fmla="*/ 1448499 w 4044707"/>
                <a:gd name="connsiteY10514" fmla="*/ 2497619 h 2907193"/>
                <a:gd name="connsiteX10515" fmla="*/ 1451887 w 4044707"/>
                <a:gd name="connsiteY10515" fmla="*/ 2497468 h 2907193"/>
                <a:gd name="connsiteX10516" fmla="*/ 1450556 w 4044707"/>
                <a:gd name="connsiteY10516" fmla="*/ 2500553 h 2907193"/>
                <a:gd name="connsiteX10517" fmla="*/ 1443084 w 4044707"/>
                <a:gd name="connsiteY10517" fmla="*/ 2507662 h 2907193"/>
                <a:gd name="connsiteX10518" fmla="*/ 1445898 w 4044707"/>
                <a:gd name="connsiteY10518" fmla="*/ 2508328 h 2907193"/>
                <a:gd name="connsiteX10519" fmla="*/ 1452946 w 4044707"/>
                <a:gd name="connsiteY10519" fmla="*/ 2505666 h 2907193"/>
                <a:gd name="connsiteX10520" fmla="*/ 1456062 w 4044707"/>
                <a:gd name="connsiteY10520" fmla="*/ 2506483 h 2907193"/>
                <a:gd name="connsiteX10521" fmla="*/ 1456062 w 4044707"/>
                <a:gd name="connsiteY10521" fmla="*/ 2507632 h 2907193"/>
                <a:gd name="connsiteX10522" fmla="*/ 1453339 w 4044707"/>
                <a:gd name="connsiteY10522" fmla="*/ 2508691 h 2907193"/>
                <a:gd name="connsiteX10523" fmla="*/ 1452129 w 4044707"/>
                <a:gd name="connsiteY10523" fmla="*/ 2509750 h 2907193"/>
                <a:gd name="connsiteX10524" fmla="*/ 1451222 w 4044707"/>
                <a:gd name="connsiteY10524" fmla="*/ 2511414 h 2907193"/>
                <a:gd name="connsiteX10525" fmla="*/ 1452855 w 4044707"/>
                <a:gd name="connsiteY10525" fmla="*/ 2513017 h 2907193"/>
                <a:gd name="connsiteX10526" fmla="*/ 1458119 w 4044707"/>
                <a:gd name="connsiteY10526" fmla="*/ 2515225 h 2907193"/>
                <a:gd name="connsiteX10527" fmla="*/ 1458119 w 4044707"/>
                <a:gd name="connsiteY10527" fmla="*/ 2516587 h 2907193"/>
                <a:gd name="connsiteX10528" fmla="*/ 1457453 w 4044707"/>
                <a:gd name="connsiteY10528" fmla="*/ 2516829 h 2907193"/>
                <a:gd name="connsiteX10529" fmla="*/ 1456032 w 4044707"/>
                <a:gd name="connsiteY10529" fmla="*/ 2517857 h 2907193"/>
                <a:gd name="connsiteX10530" fmla="*/ 1459541 w 4044707"/>
                <a:gd name="connsiteY10530" fmla="*/ 2519914 h 2907193"/>
                <a:gd name="connsiteX10531" fmla="*/ 1461870 w 4044707"/>
                <a:gd name="connsiteY10531" fmla="*/ 2522395 h 2907193"/>
                <a:gd name="connsiteX10532" fmla="*/ 1462626 w 4044707"/>
                <a:gd name="connsiteY10532" fmla="*/ 2521034 h 2907193"/>
                <a:gd name="connsiteX10533" fmla="*/ 1463080 w 4044707"/>
                <a:gd name="connsiteY10533" fmla="*/ 2518553 h 2907193"/>
                <a:gd name="connsiteX10534" fmla="*/ 1463595 w 4044707"/>
                <a:gd name="connsiteY10534" fmla="*/ 2516587 h 2907193"/>
                <a:gd name="connsiteX10535" fmla="*/ 1464744 w 4044707"/>
                <a:gd name="connsiteY10535" fmla="*/ 2514832 h 2907193"/>
                <a:gd name="connsiteX10536" fmla="*/ 1468404 w 4044707"/>
                <a:gd name="connsiteY10536" fmla="*/ 2512019 h 2907193"/>
                <a:gd name="connsiteX10537" fmla="*/ 1472579 w 4044707"/>
                <a:gd name="connsiteY10537" fmla="*/ 2507148 h 2907193"/>
                <a:gd name="connsiteX10538" fmla="*/ 1473608 w 4044707"/>
                <a:gd name="connsiteY10538" fmla="*/ 2506422 h 2907193"/>
                <a:gd name="connsiteX10539" fmla="*/ 1473940 w 4044707"/>
                <a:gd name="connsiteY10539" fmla="*/ 2504093 h 2907193"/>
                <a:gd name="connsiteX10540" fmla="*/ 1477782 w 4044707"/>
                <a:gd name="connsiteY10540" fmla="*/ 2494382 h 2907193"/>
                <a:gd name="connsiteX10541" fmla="*/ 1478751 w 4044707"/>
                <a:gd name="connsiteY10541" fmla="*/ 2492960 h 2907193"/>
                <a:gd name="connsiteX10542" fmla="*/ 1479386 w 4044707"/>
                <a:gd name="connsiteY10542" fmla="*/ 2489088 h 2907193"/>
                <a:gd name="connsiteX10543" fmla="*/ 1480868 w 4044707"/>
                <a:gd name="connsiteY10543" fmla="*/ 2484762 h 2907193"/>
                <a:gd name="connsiteX10544" fmla="*/ 1482713 w 4044707"/>
                <a:gd name="connsiteY10544" fmla="*/ 2480860 h 2907193"/>
                <a:gd name="connsiteX10545" fmla="*/ 1484317 w 4044707"/>
                <a:gd name="connsiteY10545" fmla="*/ 2478288 h 2907193"/>
                <a:gd name="connsiteX10546" fmla="*/ 1484438 w 4044707"/>
                <a:gd name="connsiteY10546" fmla="*/ 2479347 h 2907193"/>
                <a:gd name="connsiteX10547" fmla="*/ 1484861 w 4044707"/>
                <a:gd name="connsiteY10547" fmla="*/ 2481041 h 2907193"/>
                <a:gd name="connsiteX10548" fmla="*/ 1485012 w 4044707"/>
                <a:gd name="connsiteY10548" fmla="*/ 2482100 h 2907193"/>
                <a:gd name="connsiteX10549" fmla="*/ 1485981 w 4044707"/>
                <a:gd name="connsiteY10549" fmla="*/ 2480255 h 2907193"/>
                <a:gd name="connsiteX10550" fmla="*/ 1487070 w 4044707"/>
                <a:gd name="connsiteY10550" fmla="*/ 2478591 h 2907193"/>
                <a:gd name="connsiteX10551" fmla="*/ 1488340 w 4044707"/>
                <a:gd name="connsiteY10551" fmla="*/ 2477381 h 2907193"/>
                <a:gd name="connsiteX10552" fmla="*/ 1489853 w 4044707"/>
                <a:gd name="connsiteY10552" fmla="*/ 2476897 h 2907193"/>
                <a:gd name="connsiteX10553" fmla="*/ 1490609 w 4044707"/>
                <a:gd name="connsiteY10553" fmla="*/ 2475959 h 2907193"/>
                <a:gd name="connsiteX10554" fmla="*/ 1492847 w 4044707"/>
                <a:gd name="connsiteY10554" fmla="*/ 2474325 h 2907193"/>
                <a:gd name="connsiteX10555" fmla="*/ 1494723 w 4044707"/>
                <a:gd name="connsiteY10555" fmla="*/ 2473811 h 2907193"/>
                <a:gd name="connsiteX10556" fmla="*/ 1494300 w 4044707"/>
                <a:gd name="connsiteY10556" fmla="*/ 2476261 h 2907193"/>
                <a:gd name="connsiteX10557" fmla="*/ 1492938 w 4044707"/>
                <a:gd name="connsiteY10557" fmla="*/ 2477865 h 2907193"/>
                <a:gd name="connsiteX10558" fmla="*/ 1489399 w 4044707"/>
                <a:gd name="connsiteY10558" fmla="*/ 2479408 h 2907193"/>
                <a:gd name="connsiteX10559" fmla="*/ 1487735 w 4044707"/>
                <a:gd name="connsiteY10559" fmla="*/ 2480739 h 2907193"/>
                <a:gd name="connsiteX10560" fmla="*/ 1487039 w 4044707"/>
                <a:gd name="connsiteY10560" fmla="*/ 2482070 h 2907193"/>
                <a:gd name="connsiteX10561" fmla="*/ 1486313 w 4044707"/>
                <a:gd name="connsiteY10561" fmla="*/ 2484127 h 2907193"/>
                <a:gd name="connsiteX10562" fmla="*/ 1485738 w 4044707"/>
                <a:gd name="connsiteY10562" fmla="*/ 2486063 h 2907193"/>
                <a:gd name="connsiteX10563" fmla="*/ 1485587 w 4044707"/>
                <a:gd name="connsiteY10563" fmla="*/ 2487092 h 2907193"/>
                <a:gd name="connsiteX10564" fmla="*/ 1484710 w 4044707"/>
                <a:gd name="connsiteY10564" fmla="*/ 2488453 h 2907193"/>
                <a:gd name="connsiteX10565" fmla="*/ 1482078 w 4044707"/>
                <a:gd name="connsiteY10565" fmla="*/ 2493898 h 2907193"/>
                <a:gd name="connsiteX10566" fmla="*/ 1481533 w 4044707"/>
                <a:gd name="connsiteY10566" fmla="*/ 2495562 h 2907193"/>
                <a:gd name="connsiteX10567" fmla="*/ 1480929 w 4044707"/>
                <a:gd name="connsiteY10567" fmla="*/ 2496711 h 2907193"/>
                <a:gd name="connsiteX10568" fmla="*/ 1479628 w 4044707"/>
                <a:gd name="connsiteY10568" fmla="*/ 2497619 h 2907193"/>
                <a:gd name="connsiteX10569" fmla="*/ 1478418 w 4044707"/>
                <a:gd name="connsiteY10569" fmla="*/ 2499253 h 2907193"/>
                <a:gd name="connsiteX10570" fmla="*/ 1478085 w 4044707"/>
                <a:gd name="connsiteY10570" fmla="*/ 2502520 h 2907193"/>
                <a:gd name="connsiteX10571" fmla="*/ 1479688 w 4044707"/>
                <a:gd name="connsiteY10571" fmla="*/ 2500916 h 2907193"/>
                <a:gd name="connsiteX10572" fmla="*/ 1481019 w 4044707"/>
                <a:gd name="connsiteY10572" fmla="*/ 2498315 h 2907193"/>
                <a:gd name="connsiteX10573" fmla="*/ 1482441 w 4044707"/>
                <a:gd name="connsiteY10573" fmla="*/ 2496227 h 2907193"/>
                <a:gd name="connsiteX10574" fmla="*/ 1484286 w 4044707"/>
                <a:gd name="connsiteY10574" fmla="*/ 2496167 h 2907193"/>
                <a:gd name="connsiteX10575" fmla="*/ 1484801 w 4044707"/>
                <a:gd name="connsiteY10575" fmla="*/ 2497740 h 2907193"/>
                <a:gd name="connsiteX10576" fmla="*/ 1483712 w 4044707"/>
                <a:gd name="connsiteY10576" fmla="*/ 2499888 h 2907193"/>
                <a:gd name="connsiteX10577" fmla="*/ 1480807 w 4044707"/>
                <a:gd name="connsiteY10577" fmla="*/ 2503700 h 2907193"/>
                <a:gd name="connsiteX10578" fmla="*/ 1483439 w 4044707"/>
                <a:gd name="connsiteY10578" fmla="*/ 2502792 h 2907193"/>
                <a:gd name="connsiteX10579" fmla="*/ 1491880 w 4044707"/>
                <a:gd name="connsiteY10579" fmla="*/ 2502550 h 2907193"/>
                <a:gd name="connsiteX10580" fmla="*/ 1491880 w 4044707"/>
                <a:gd name="connsiteY10580" fmla="*/ 2503700 h 2907193"/>
                <a:gd name="connsiteX10581" fmla="*/ 1488038 w 4044707"/>
                <a:gd name="connsiteY10581" fmla="*/ 2504668 h 2907193"/>
                <a:gd name="connsiteX10582" fmla="*/ 1480989 w 4044707"/>
                <a:gd name="connsiteY10582" fmla="*/ 2508570 h 2907193"/>
                <a:gd name="connsiteX10583" fmla="*/ 1477359 w 4044707"/>
                <a:gd name="connsiteY10583" fmla="*/ 2508903 h 2907193"/>
                <a:gd name="connsiteX10584" fmla="*/ 1477359 w 4044707"/>
                <a:gd name="connsiteY10584" fmla="*/ 2510294 h 2907193"/>
                <a:gd name="connsiteX10585" fmla="*/ 1478781 w 4044707"/>
                <a:gd name="connsiteY10585" fmla="*/ 2511928 h 2907193"/>
                <a:gd name="connsiteX10586" fmla="*/ 1478388 w 4044707"/>
                <a:gd name="connsiteY10586" fmla="*/ 2514015 h 2907193"/>
                <a:gd name="connsiteX10587" fmla="*/ 1476965 w 4044707"/>
                <a:gd name="connsiteY10587" fmla="*/ 2515830 h 2907193"/>
                <a:gd name="connsiteX10588" fmla="*/ 1475332 w 4044707"/>
                <a:gd name="connsiteY10588" fmla="*/ 2516617 h 2907193"/>
                <a:gd name="connsiteX10589" fmla="*/ 1476391 w 4044707"/>
                <a:gd name="connsiteY10589" fmla="*/ 2518886 h 2907193"/>
                <a:gd name="connsiteX10590" fmla="*/ 1478266 w 4044707"/>
                <a:gd name="connsiteY10590" fmla="*/ 2520610 h 2907193"/>
                <a:gd name="connsiteX10591" fmla="*/ 1480293 w 4044707"/>
                <a:gd name="connsiteY10591" fmla="*/ 2521124 h 2907193"/>
                <a:gd name="connsiteX10592" fmla="*/ 1482713 w 4044707"/>
                <a:gd name="connsiteY10592" fmla="*/ 2519007 h 2907193"/>
                <a:gd name="connsiteX10593" fmla="*/ 1484771 w 4044707"/>
                <a:gd name="connsiteY10593" fmla="*/ 2519430 h 2907193"/>
                <a:gd name="connsiteX10594" fmla="*/ 1485648 w 4044707"/>
                <a:gd name="connsiteY10594" fmla="*/ 2519067 h 2907193"/>
                <a:gd name="connsiteX10595" fmla="*/ 1486101 w 4044707"/>
                <a:gd name="connsiteY10595" fmla="*/ 2517857 h 2907193"/>
                <a:gd name="connsiteX10596" fmla="*/ 1486192 w 4044707"/>
                <a:gd name="connsiteY10596" fmla="*/ 2515014 h 2907193"/>
                <a:gd name="connsiteX10597" fmla="*/ 1486374 w 4044707"/>
                <a:gd name="connsiteY10597" fmla="*/ 2514106 h 2907193"/>
                <a:gd name="connsiteX10598" fmla="*/ 1489157 w 4044707"/>
                <a:gd name="connsiteY10598" fmla="*/ 2511444 h 2907193"/>
                <a:gd name="connsiteX10599" fmla="*/ 1492938 w 4044707"/>
                <a:gd name="connsiteY10599" fmla="*/ 2509236 h 2907193"/>
                <a:gd name="connsiteX10600" fmla="*/ 1496901 w 4044707"/>
                <a:gd name="connsiteY10600" fmla="*/ 2507814 h 2907193"/>
                <a:gd name="connsiteX10601" fmla="*/ 1500199 w 4044707"/>
                <a:gd name="connsiteY10601" fmla="*/ 2507632 h 2907193"/>
                <a:gd name="connsiteX10602" fmla="*/ 1500199 w 4044707"/>
                <a:gd name="connsiteY10602" fmla="*/ 2508903 h 2907193"/>
                <a:gd name="connsiteX10603" fmla="*/ 1493574 w 4044707"/>
                <a:gd name="connsiteY10603" fmla="*/ 2512170 h 2907193"/>
                <a:gd name="connsiteX10604" fmla="*/ 1491910 w 4044707"/>
                <a:gd name="connsiteY10604" fmla="*/ 2514076 h 2907193"/>
                <a:gd name="connsiteX10605" fmla="*/ 1491638 w 4044707"/>
                <a:gd name="connsiteY10605" fmla="*/ 2517071 h 2907193"/>
                <a:gd name="connsiteX10606" fmla="*/ 1494027 w 4044707"/>
                <a:gd name="connsiteY10606" fmla="*/ 2522244 h 2907193"/>
                <a:gd name="connsiteX10607" fmla="*/ 1493664 w 4044707"/>
                <a:gd name="connsiteY10607" fmla="*/ 2524876 h 2907193"/>
                <a:gd name="connsiteX10608" fmla="*/ 1491910 w 4044707"/>
                <a:gd name="connsiteY10608" fmla="*/ 2526449 h 2907193"/>
                <a:gd name="connsiteX10609" fmla="*/ 1491093 w 4044707"/>
                <a:gd name="connsiteY10609" fmla="*/ 2527538 h 2907193"/>
                <a:gd name="connsiteX10610" fmla="*/ 1492091 w 4044707"/>
                <a:gd name="connsiteY10610" fmla="*/ 2528627 h 2907193"/>
                <a:gd name="connsiteX10611" fmla="*/ 1492545 w 4044707"/>
                <a:gd name="connsiteY10611" fmla="*/ 2529928 h 2907193"/>
                <a:gd name="connsiteX10612" fmla="*/ 1493211 w 4044707"/>
                <a:gd name="connsiteY10612" fmla="*/ 2531228 h 2907193"/>
                <a:gd name="connsiteX10613" fmla="*/ 1494360 w 4044707"/>
                <a:gd name="connsiteY10613" fmla="*/ 2531803 h 2907193"/>
                <a:gd name="connsiteX10614" fmla="*/ 1495359 w 4044707"/>
                <a:gd name="connsiteY10614" fmla="*/ 2531410 h 2907193"/>
                <a:gd name="connsiteX10615" fmla="*/ 1495843 w 4044707"/>
                <a:gd name="connsiteY10615" fmla="*/ 2530533 h 2907193"/>
                <a:gd name="connsiteX10616" fmla="*/ 1496175 w 4044707"/>
                <a:gd name="connsiteY10616" fmla="*/ 2529655 h 2907193"/>
                <a:gd name="connsiteX10617" fmla="*/ 1496780 w 4044707"/>
                <a:gd name="connsiteY10617" fmla="*/ 2529262 h 2907193"/>
                <a:gd name="connsiteX10618" fmla="*/ 1500894 w 4044707"/>
                <a:gd name="connsiteY10618" fmla="*/ 2529262 h 2907193"/>
                <a:gd name="connsiteX10619" fmla="*/ 1500199 w 4044707"/>
                <a:gd name="connsiteY10619" fmla="*/ 2532559 h 2907193"/>
                <a:gd name="connsiteX10620" fmla="*/ 1498716 w 4044707"/>
                <a:gd name="connsiteY10620" fmla="*/ 2534616 h 2907193"/>
                <a:gd name="connsiteX10621" fmla="*/ 1496780 w 4044707"/>
                <a:gd name="connsiteY10621" fmla="*/ 2535554 h 2907193"/>
                <a:gd name="connsiteX10622" fmla="*/ 1494663 w 4044707"/>
                <a:gd name="connsiteY10622" fmla="*/ 2535554 h 2907193"/>
                <a:gd name="connsiteX10623" fmla="*/ 1491032 w 4044707"/>
                <a:gd name="connsiteY10623" fmla="*/ 2534405 h 2907193"/>
                <a:gd name="connsiteX10624" fmla="*/ 1489943 w 4044707"/>
                <a:gd name="connsiteY10624" fmla="*/ 2535464 h 2907193"/>
                <a:gd name="connsiteX10625" fmla="*/ 1489217 w 4044707"/>
                <a:gd name="connsiteY10625" fmla="*/ 2539366 h 2907193"/>
                <a:gd name="connsiteX10626" fmla="*/ 1489913 w 4044707"/>
                <a:gd name="connsiteY10626" fmla="*/ 2540032 h 2907193"/>
                <a:gd name="connsiteX10627" fmla="*/ 1490579 w 4044707"/>
                <a:gd name="connsiteY10627" fmla="*/ 2541060 h 2907193"/>
                <a:gd name="connsiteX10628" fmla="*/ 1491063 w 4044707"/>
                <a:gd name="connsiteY10628" fmla="*/ 2542361 h 2907193"/>
                <a:gd name="connsiteX10629" fmla="*/ 1491244 w 4044707"/>
                <a:gd name="connsiteY10629" fmla="*/ 2543843 h 2907193"/>
                <a:gd name="connsiteX10630" fmla="*/ 1491698 w 4044707"/>
                <a:gd name="connsiteY10630" fmla="*/ 2545084 h 2907193"/>
                <a:gd name="connsiteX10631" fmla="*/ 1495056 w 4044707"/>
                <a:gd name="connsiteY10631" fmla="*/ 2547746 h 2907193"/>
                <a:gd name="connsiteX10632" fmla="*/ 1496750 w 4044707"/>
                <a:gd name="connsiteY10632" fmla="*/ 2548441 h 2907193"/>
                <a:gd name="connsiteX10633" fmla="*/ 1498323 w 4044707"/>
                <a:gd name="connsiteY10633" fmla="*/ 2542361 h 2907193"/>
                <a:gd name="connsiteX10634" fmla="*/ 1500229 w 4044707"/>
                <a:gd name="connsiteY10634" fmla="*/ 2543147 h 2907193"/>
                <a:gd name="connsiteX10635" fmla="*/ 1499836 w 4044707"/>
                <a:gd name="connsiteY10635" fmla="*/ 2544509 h 2907193"/>
                <a:gd name="connsiteX10636" fmla="*/ 1499564 w 4044707"/>
                <a:gd name="connsiteY10636" fmla="*/ 2545779 h 2907193"/>
                <a:gd name="connsiteX10637" fmla="*/ 1503647 w 4044707"/>
                <a:gd name="connsiteY10637" fmla="*/ 2545265 h 2907193"/>
                <a:gd name="connsiteX10638" fmla="*/ 1506824 w 4044707"/>
                <a:gd name="connsiteY10638" fmla="*/ 2542300 h 2907193"/>
                <a:gd name="connsiteX10639" fmla="*/ 1508578 w 4044707"/>
                <a:gd name="connsiteY10639" fmla="*/ 2537279 h 2907193"/>
                <a:gd name="connsiteX10640" fmla="*/ 1508518 w 4044707"/>
                <a:gd name="connsiteY10640" fmla="*/ 2530502 h 2907193"/>
                <a:gd name="connsiteX10641" fmla="*/ 1506521 w 4044707"/>
                <a:gd name="connsiteY10641" fmla="*/ 2521306 h 2907193"/>
                <a:gd name="connsiteX10642" fmla="*/ 1506400 w 4044707"/>
                <a:gd name="connsiteY10642" fmla="*/ 2518976 h 2907193"/>
                <a:gd name="connsiteX10643" fmla="*/ 1507308 w 4044707"/>
                <a:gd name="connsiteY10643" fmla="*/ 2516466 h 2907193"/>
                <a:gd name="connsiteX10644" fmla="*/ 1508639 w 4044707"/>
                <a:gd name="connsiteY10644" fmla="*/ 2516466 h 2907193"/>
                <a:gd name="connsiteX10645" fmla="*/ 1510272 w 4044707"/>
                <a:gd name="connsiteY10645" fmla="*/ 2517071 h 2907193"/>
                <a:gd name="connsiteX10646" fmla="*/ 1511967 w 4044707"/>
                <a:gd name="connsiteY10646" fmla="*/ 2516526 h 2907193"/>
                <a:gd name="connsiteX10647" fmla="*/ 1512753 w 4044707"/>
                <a:gd name="connsiteY10647" fmla="*/ 2515377 h 2907193"/>
                <a:gd name="connsiteX10648" fmla="*/ 1514689 w 4044707"/>
                <a:gd name="connsiteY10648" fmla="*/ 2511323 h 2907193"/>
                <a:gd name="connsiteX10649" fmla="*/ 1518198 w 4044707"/>
                <a:gd name="connsiteY10649" fmla="*/ 2506362 h 2907193"/>
                <a:gd name="connsiteX10650" fmla="*/ 1519136 w 4044707"/>
                <a:gd name="connsiteY10650" fmla="*/ 2503367 h 2907193"/>
                <a:gd name="connsiteX10651" fmla="*/ 1519862 w 4044707"/>
                <a:gd name="connsiteY10651" fmla="*/ 2500160 h 2907193"/>
                <a:gd name="connsiteX10652" fmla="*/ 1520951 w 4044707"/>
                <a:gd name="connsiteY10652" fmla="*/ 2497468 h 2907193"/>
                <a:gd name="connsiteX10653" fmla="*/ 1522978 w 4044707"/>
                <a:gd name="connsiteY10653" fmla="*/ 2496046 h 2907193"/>
                <a:gd name="connsiteX10654" fmla="*/ 1525035 w 4044707"/>
                <a:gd name="connsiteY10654" fmla="*/ 2496590 h 2907193"/>
                <a:gd name="connsiteX10655" fmla="*/ 1529724 w 4044707"/>
                <a:gd name="connsiteY10655" fmla="*/ 2500130 h 2907193"/>
                <a:gd name="connsiteX10656" fmla="*/ 1531902 w 4044707"/>
                <a:gd name="connsiteY10656" fmla="*/ 2501158 h 2907193"/>
                <a:gd name="connsiteX10657" fmla="*/ 1533869 w 4044707"/>
                <a:gd name="connsiteY10657" fmla="*/ 2500886 h 2907193"/>
                <a:gd name="connsiteX10658" fmla="*/ 1535381 w 4044707"/>
                <a:gd name="connsiteY10658" fmla="*/ 2499464 h 2907193"/>
                <a:gd name="connsiteX10659" fmla="*/ 1536561 w 4044707"/>
                <a:gd name="connsiteY10659" fmla="*/ 2496984 h 2907193"/>
                <a:gd name="connsiteX10660" fmla="*/ 1537468 w 4044707"/>
                <a:gd name="connsiteY10660" fmla="*/ 2493535 h 2907193"/>
                <a:gd name="connsiteX10661" fmla="*/ 1536773 w 4044707"/>
                <a:gd name="connsiteY10661" fmla="*/ 2492627 h 2907193"/>
                <a:gd name="connsiteX10662" fmla="*/ 1536259 w 4044707"/>
                <a:gd name="connsiteY10662" fmla="*/ 2491659 h 2907193"/>
                <a:gd name="connsiteX10663" fmla="*/ 1535442 w 4044707"/>
                <a:gd name="connsiteY10663" fmla="*/ 2489693 h 2907193"/>
                <a:gd name="connsiteX10664" fmla="*/ 1536531 w 4044707"/>
                <a:gd name="connsiteY10664" fmla="*/ 2487001 h 2907193"/>
                <a:gd name="connsiteX10665" fmla="*/ 1539404 w 4044707"/>
                <a:gd name="connsiteY10665" fmla="*/ 2483492 h 2907193"/>
                <a:gd name="connsiteX10666" fmla="*/ 1540312 w 4044707"/>
                <a:gd name="connsiteY10666" fmla="*/ 2480648 h 2907193"/>
                <a:gd name="connsiteX10667" fmla="*/ 1534836 w 4044707"/>
                <a:gd name="connsiteY10667" fmla="*/ 2479377 h 2907193"/>
                <a:gd name="connsiteX10668" fmla="*/ 1533294 w 4044707"/>
                <a:gd name="connsiteY10668" fmla="*/ 2478228 h 2907193"/>
                <a:gd name="connsiteX10669" fmla="*/ 1534716 w 4044707"/>
                <a:gd name="connsiteY10669" fmla="*/ 2477260 h 2907193"/>
                <a:gd name="connsiteX10670" fmla="*/ 1537952 w 4044707"/>
                <a:gd name="connsiteY10670" fmla="*/ 2477199 h 2907193"/>
                <a:gd name="connsiteX10671" fmla="*/ 1540645 w 4044707"/>
                <a:gd name="connsiteY10671" fmla="*/ 2475354 h 2907193"/>
                <a:gd name="connsiteX10672" fmla="*/ 1544003 w 4044707"/>
                <a:gd name="connsiteY10672" fmla="*/ 2477139 h 2907193"/>
                <a:gd name="connsiteX10673" fmla="*/ 1545395 w 4044707"/>
                <a:gd name="connsiteY10673" fmla="*/ 2476201 h 2907193"/>
                <a:gd name="connsiteX10674" fmla="*/ 1545546 w 4044707"/>
                <a:gd name="connsiteY10674" fmla="*/ 2474537 h 2907193"/>
                <a:gd name="connsiteX10675" fmla="*/ 1544668 w 4044707"/>
                <a:gd name="connsiteY10675" fmla="*/ 2473176 h 2907193"/>
                <a:gd name="connsiteX10676" fmla="*/ 1542611 w 4044707"/>
                <a:gd name="connsiteY10676" fmla="*/ 2471149 h 2907193"/>
                <a:gd name="connsiteX10677" fmla="*/ 1540645 w 4044707"/>
                <a:gd name="connsiteY10677" fmla="*/ 2466157 h 2907193"/>
                <a:gd name="connsiteX10678" fmla="*/ 1539919 w 4044707"/>
                <a:gd name="connsiteY10678" fmla="*/ 2464705 h 2907193"/>
                <a:gd name="connsiteX10679" fmla="*/ 1539344 w 4044707"/>
                <a:gd name="connsiteY10679" fmla="*/ 2463042 h 2907193"/>
                <a:gd name="connsiteX10680" fmla="*/ 1538981 w 4044707"/>
                <a:gd name="connsiteY10680" fmla="*/ 2460712 h 2907193"/>
                <a:gd name="connsiteX10681" fmla="*/ 1539163 w 4044707"/>
                <a:gd name="connsiteY10681" fmla="*/ 2458958 h 2907193"/>
                <a:gd name="connsiteX10682" fmla="*/ 1540282 w 4044707"/>
                <a:gd name="connsiteY10682" fmla="*/ 2458958 h 2907193"/>
                <a:gd name="connsiteX10683" fmla="*/ 1540947 w 4044707"/>
                <a:gd name="connsiteY10683" fmla="*/ 2460228 h 2907193"/>
                <a:gd name="connsiteX10684" fmla="*/ 1542248 w 4044707"/>
                <a:gd name="connsiteY10684" fmla="*/ 2466520 h 2907193"/>
                <a:gd name="connsiteX10685" fmla="*/ 1543942 w 4044707"/>
                <a:gd name="connsiteY10685" fmla="*/ 2469999 h 2907193"/>
                <a:gd name="connsiteX10686" fmla="*/ 1546060 w 4044707"/>
                <a:gd name="connsiteY10686" fmla="*/ 2472662 h 2907193"/>
                <a:gd name="connsiteX10687" fmla="*/ 1548510 w 4044707"/>
                <a:gd name="connsiteY10687" fmla="*/ 2474235 h 2907193"/>
                <a:gd name="connsiteX10688" fmla="*/ 1551172 w 4044707"/>
                <a:gd name="connsiteY10688" fmla="*/ 2474446 h 2907193"/>
                <a:gd name="connsiteX10689" fmla="*/ 1553441 w 4044707"/>
                <a:gd name="connsiteY10689" fmla="*/ 2472964 h 2907193"/>
                <a:gd name="connsiteX10690" fmla="*/ 1558584 w 4044707"/>
                <a:gd name="connsiteY10690" fmla="*/ 2467700 h 2907193"/>
                <a:gd name="connsiteX10691" fmla="*/ 1561246 w 4044707"/>
                <a:gd name="connsiteY10691" fmla="*/ 2466551 h 2907193"/>
                <a:gd name="connsiteX10692" fmla="*/ 1564302 w 4044707"/>
                <a:gd name="connsiteY10692" fmla="*/ 2465976 h 2907193"/>
                <a:gd name="connsiteX10693" fmla="*/ 1569868 w 4044707"/>
                <a:gd name="connsiteY10693" fmla="*/ 2463435 h 2907193"/>
                <a:gd name="connsiteX10694" fmla="*/ 1572954 w 4044707"/>
                <a:gd name="connsiteY10694" fmla="*/ 2462860 h 2907193"/>
                <a:gd name="connsiteX10695" fmla="*/ 1577824 w 4044707"/>
                <a:gd name="connsiteY10695" fmla="*/ 2460561 h 2907193"/>
                <a:gd name="connsiteX10696" fmla="*/ 1586446 w 4044707"/>
                <a:gd name="connsiteY10696" fmla="*/ 2451153 h 2907193"/>
                <a:gd name="connsiteX10697" fmla="*/ 1591225 w 4044707"/>
                <a:gd name="connsiteY10697" fmla="*/ 2450034 h 2907193"/>
                <a:gd name="connsiteX10698" fmla="*/ 1589077 w 4044707"/>
                <a:gd name="connsiteY10698" fmla="*/ 2453482 h 2907193"/>
                <a:gd name="connsiteX10699" fmla="*/ 1581908 w 4044707"/>
                <a:gd name="connsiteY10699" fmla="*/ 2460107 h 2907193"/>
                <a:gd name="connsiteX10700" fmla="*/ 1580879 w 4044707"/>
                <a:gd name="connsiteY10700" fmla="*/ 2464131 h 2907193"/>
                <a:gd name="connsiteX10701" fmla="*/ 1582241 w 4044707"/>
                <a:gd name="connsiteY10701" fmla="*/ 2466006 h 2907193"/>
                <a:gd name="connsiteX10702" fmla="*/ 1584691 w 4044707"/>
                <a:gd name="connsiteY10702" fmla="*/ 2466520 h 2907193"/>
                <a:gd name="connsiteX10703" fmla="*/ 1587323 w 4044707"/>
                <a:gd name="connsiteY10703" fmla="*/ 2466157 h 2907193"/>
                <a:gd name="connsiteX10704" fmla="*/ 1589199 w 4044707"/>
                <a:gd name="connsiteY10704" fmla="*/ 2465431 h 2907193"/>
                <a:gd name="connsiteX10705" fmla="*/ 1595400 w 4044707"/>
                <a:gd name="connsiteY10705" fmla="*/ 2459018 h 2907193"/>
                <a:gd name="connsiteX10706" fmla="*/ 1599030 w 4044707"/>
                <a:gd name="connsiteY10706" fmla="*/ 2456356 h 2907193"/>
                <a:gd name="connsiteX10707" fmla="*/ 1605807 w 4044707"/>
                <a:gd name="connsiteY10707" fmla="*/ 2454329 h 2907193"/>
                <a:gd name="connsiteX10708" fmla="*/ 1607440 w 4044707"/>
                <a:gd name="connsiteY10708" fmla="*/ 2452998 h 2907193"/>
                <a:gd name="connsiteX10709" fmla="*/ 1610616 w 4044707"/>
                <a:gd name="connsiteY10709" fmla="*/ 2447371 h 2907193"/>
                <a:gd name="connsiteX10710" fmla="*/ 1613218 w 4044707"/>
                <a:gd name="connsiteY10710" fmla="*/ 2443650 h 2907193"/>
                <a:gd name="connsiteX10711" fmla="*/ 1616909 w 4044707"/>
                <a:gd name="connsiteY10711" fmla="*/ 2439506 h 2907193"/>
                <a:gd name="connsiteX10712" fmla="*/ 1620720 w 4044707"/>
                <a:gd name="connsiteY10712" fmla="*/ 2436753 h 2907193"/>
                <a:gd name="connsiteX10713" fmla="*/ 1623655 w 4044707"/>
                <a:gd name="connsiteY10713" fmla="*/ 2437086 h 2907193"/>
                <a:gd name="connsiteX10714" fmla="*/ 1618149 w 4044707"/>
                <a:gd name="connsiteY10714" fmla="*/ 2446192 h 2907193"/>
                <a:gd name="connsiteX10715" fmla="*/ 1617211 w 4044707"/>
                <a:gd name="connsiteY10715" fmla="*/ 2446615 h 2907193"/>
                <a:gd name="connsiteX10716" fmla="*/ 1616092 w 4044707"/>
                <a:gd name="connsiteY10716" fmla="*/ 2446736 h 2907193"/>
                <a:gd name="connsiteX10717" fmla="*/ 1615124 w 4044707"/>
                <a:gd name="connsiteY10717" fmla="*/ 2447371 h 2907193"/>
                <a:gd name="connsiteX10718" fmla="*/ 1614731 w 4044707"/>
                <a:gd name="connsiteY10718" fmla="*/ 2449398 h 2907193"/>
                <a:gd name="connsiteX10719" fmla="*/ 1614398 w 4044707"/>
                <a:gd name="connsiteY10719" fmla="*/ 2450245 h 2907193"/>
                <a:gd name="connsiteX10720" fmla="*/ 1613611 w 4044707"/>
                <a:gd name="connsiteY10720" fmla="*/ 2450850 h 2907193"/>
                <a:gd name="connsiteX10721" fmla="*/ 1612674 w 4044707"/>
                <a:gd name="connsiteY10721" fmla="*/ 2451213 h 2907193"/>
                <a:gd name="connsiteX10722" fmla="*/ 1611917 w 4044707"/>
                <a:gd name="connsiteY10722" fmla="*/ 2451304 h 2907193"/>
                <a:gd name="connsiteX10723" fmla="*/ 1611917 w 4044707"/>
                <a:gd name="connsiteY10723" fmla="*/ 2452484 h 2907193"/>
                <a:gd name="connsiteX10724" fmla="*/ 1632579 w 4044707"/>
                <a:gd name="connsiteY10724" fmla="*/ 2452484 h 2907193"/>
                <a:gd name="connsiteX10725" fmla="*/ 1629826 w 4044707"/>
                <a:gd name="connsiteY10725" fmla="*/ 2457445 h 2907193"/>
                <a:gd name="connsiteX10726" fmla="*/ 1625168 w 4044707"/>
                <a:gd name="connsiteY10726" fmla="*/ 2457748 h 2907193"/>
                <a:gd name="connsiteX10727" fmla="*/ 1616062 w 4044707"/>
                <a:gd name="connsiteY10727" fmla="*/ 2455055 h 2907193"/>
                <a:gd name="connsiteX10728" fmla="*/ 1602025 w 4044707"/>
                <a:gd name="connsiteY10728" fmla="*/ 2458716 h 2907193"/>
                <a:gd name="connsiteX10729" fmla="*/ 1600089 w 4044707"/>
                <a:gd name="connsiteY10729" fmla="*/ 2459835 h 2907193"/>
                <a:gd name="connsiteX10730" fmla="*/ 1598123 w 4044707"/>
                <a:gd name="connsiteY10730" fmla="*/ 2461590 h 2907193"/>
                <a:gd name="connsiteX10731" fmla="*/ 1596549 w 4044707"/>
                <a:gd name="connsiteY10731" fmla="*/ 2463677 h 2907193"/>
                <a:gd name="connsiteX10732" fmla="*/ 1593252 w 4044707"/>
                <a:gd name="connsiteY10732" fmla="*/ 2470544 h 2907193"/>
                <a:gd name="connsiteX10733" fmla="*/ 1591830 w 4044707"/>
                <a:gd name="connsiteY10733" fmla="*/ 2472480 h 2907193"/>
                <a:gd name="connsiteX10734" fmla="*/ 1588805 w 4044707"/>
                <a:gd name="connsiteY10734" fmla="*/ 2474144 h 2907193"/>
                <a:gd name="connsiteX10735" fmla="*/ 1587050 w 4044707"/>
                <a:gd name="connsiteY10735" fmla="*/ 2475656 h 2907193"/>
                <a:gd name="connsiteX10736" fmla="*/ 1584661 w 4044707"/>
                <a:gd name="connsiteY10736" fmla="*/ 2480315 h 2907193"/>
                <a:gd name="connsiteX10737" fmla="*/ 1581242 w 4044707"/>
                <a:gd name="connsiteY10737" fmla="*/ 2492023 h 2907193"/>
                <a:gd name="connsiteX10738" fmla="*/ 1578731 w 4044707"/>
                <a:gd name="connsiteY10738" fmla="*/ 2496197 h 2907193"/>
                <a:gd name="connsiteX10739" fmla="*/ 1579700 w 4044707"/>
                <a:gd name="connsiteY10739" fmla="*/ 2500674 h 2907193"/>
                <a:gd name="connsiteX10740" fmla="*/ 1579760 w 4044707"/>
                <a:gd name="connsiteY10740" fmla="*/ 2502580 h 2907193"/>
                <a:gd name="connsiteX10741" fmla="*/ 1579427 w 4044707"/>
                <a:gd name="connsiteY10741" fmla="*/ 2505091 h 2907193"/>
                <a:gd name="connsiteX10742" fmla="*/ 1576402 w 4044707"/>
                <a:gd name="connsiteY10742" fmla="*/ 2512896 h 2907193"/>
                <a:gd name="connsiteX10743" fmla="*/ 1574496 w 4044707"/>
                <a:gd name="connsiteY10743" fmla="*/ 2516405 h 2907193"/>
                <a:gd name="connsiteX10744" fmla="*/ 1573982 w 4044707"/>
                <a:gd name="connsiteY10744" fmla="*/ 2521729 h 2907193"/>
                <a:gd name="connsiteX10745" fmla="*/ 1573982 w 4044707"/>
                <a:gd name="connsiteY10745" fmla="*/ 2531833 h 2907193"/>
                <a:gd name="connsiteX10746" fmla="*/ 1573256 w 4044707"/>
                <a:gd name="connsiteY10746" fmla="*/ 2531833 h 2907193"/>
                <a:gd name="connsiteX10747" fmla="*/ 1572560 w 4044707"/>
                <a:gd name="connsiteY10747" fmla="*/ 2526388 h 2907193"/>
                <a:gd name="connsiteX10748" fmla="*/ 1572560 w 4044707"/>
                <a:gd name="connsiteY10748" fmla="*/ 2521699 h 2907193"/>
                <a:gd name="connsiteX10749" fmla="*/ 1572832 w 4044707"/>
                <a:gd name="connsiteY10749" fmla="*/ 2518432 h 2907193"/>
                <a:gd name="connsiteX10750" fmla="*/ 1573740 w 4044707"/>
                <a:gd name="connsiteY10750" fmla="*/ 2512291 h 2907193"/>
                <a:gd name="connsiteX10751" fmla="*/ 1574617 w 4044707"/>
                <a:gd name="connsiteY10751" fmla="*/ 2498073 h 2907193"/>
                <a:gd name="connsiteX10752" fmla="*/ 1575283 w 4044707"/>
                <a:gd name="connsiteY10752" fmla="*/ 2496197 h 2907193"/>
                <a:gd name="connsiteX10753" fmla="*/ 1578368 w 4044707"/>
                <a:gd name="connsiteY10753" fmla="*/ 2492174 h 2907193"/>
                <a:gd name="connsiteX10754" fmla="*/ 1579457 w 4044707"/>
                <a:gd name="connsiteY10754" fmla="*/ 2489784 h 2907193"/>
                <a:gd name="connsiteX10755" fmla="*/ 1578792 w 4044707"/>
                <a:gd name="connsiteY10755" fmla="*/ 2485276 h 2907193"/>
                <a:gd name="connsiteX10756" fmla="*/ 1580819 w 4044707"/>
                <a:gd name="connsiteY10756" fmla="*/ 2479135 h 2907193"/>
                <a:gd name="connsiteX10757" fmla="*/ 1585689 w 4044707"/>
                <a:gd name="connsiteY10757" fmla="*/ 2469243 h 2907193"/>
                <a:gd name="connsiteX10758" fmla="*/ 1579034 w 4044707"/>
                <a:gd name="connsiteY10758" fmla="*/ 2466339 h 2907193"/>
                <a:gd name="connsiteX10759" fmla="*/ 1575373 w 4044707"/>
                <a:gd name="connsiteY10759" fmla="*/ 2465946 h 2907193"/>
                <a:gd name="connsiteX10760" fmla="*/ 1571834 w 4044707"/>
                <a:gd name="connsiteY10760" fmla="*/ 2466581 h 2907193"/>
                <a:gd name="connsiteX10761" fmla="*/ 1569414 w 4044707"/>
                <a:gd name="connsiteY10761" fmla="*/ 2468578 h 2907193"/>
                <a:gd name="connsiteX10762" fmla="*/ 1565693 w 4044707"/>
                <a:gd name="connsiteY10762" fmla="*/ 2474446 h 2907193"/>
                <a:gd name="connsiteX10763" fmla="*/ 1563273 w 4044707"/>
                <a:gd name="connsiteY10763" fmla="*/ 2475656 h 2907193"/>
                <a:gd name="connsiteX10764" fmla="*/ 1559854 w 4044707"/>
                <a:gd name="connsiteY10764" fmla="*/ 2476655 h 2907193"/>
                <a:gd name="connsiteX10765" fmla="*/ 1556678 w 4044707"/>
                <a:gd name="connsiteY10765" fmla="*/ 2478319 h 2907193"/>
                <a:gd name="connsiteX10766" fmla="*/ 1556103 w 4044707"/>
                <a:gd name="connsiteY10766" fmla="*/ 2479135 h 2907193"/>
                <a:gd name="connsiteX10767" fmla="*/ 1555589 w 4044707"/>
                <a:gd name="connsiteY10767" fmla="*/ 2480043 h 2907193"/>
                <a:gd name="connsiteX10768" fmla="*/ 1555317 w 4044707"/>
                <a:gd name="connsiteY10768" fmla="*/ 2480708 h 2907193"/>
                <a:gd name="connsiteX10769" fmla="*/ 1555377 w 4044707"/>
                <a:gd name="connsiteY10769" fmla="*/ 2480769 h 2907193"/>
                <a:gd name="connsiteX10770" fmla="*/ 1555045 w 4044707"/>
                <a:gd name="connsiteY10770" fmla="*/ 2481707 h 2907193"/>
                <a:gd name="connsiteX10771" fmla="*/ 1555045 w 4044707"/>
                <a:gd name="connsiteY10771" fmla="*/ 2482524 h 2907193"/>
                <a:gd name="connsiteX10772" fmla="*/ 1554833 w 4044707"/>
                <a:gd name="connsiteY10772" fmla="*/ 2483098 h 2907193"/>
                <a:gd name="connsiteX10773" fmla="*/ 1553653 w 4044707"/>
                <a:gd name="connsiteY10773" fmla="*/ 2483340 h 2907193"/>
                <a:gd name="connsiteX10774" fmla="*/ 1552413 w 4044707"/>
                <a:gd name="connsiteY10774" fmla="*/ 2484006 h 2907193"/>
                <a:gd name="connsiteX10775" fmla="*/ 1550235 w 4044707"/>
                <a:gd name="connsiteY10775" fmla="*/ 2487303 h 2907193"/>
                <a:gd name="connsiteX10776" fmla="*/ 1549176 w 4044707"/>
                <a:gd name="connsiteY10776" fmla="*/ 2488574 h 2907193"/>
                <a:gd name="connsiteX10777" fmla="*/ 1547270 w 4044707"/>
                <a:gd name="connsiteY10777" fmla="*/ 2489572 h 2907193"/>
                <a:gd name="connsiteX10778" fmla="*/ 1541553 w 4044707"/>
                <a:gd name="connsiteY10778" fmla="*/ 2491115 h 2907193"/>
                <a:gd name="connsiteX10779" fmla="*/ 1542732 w 4044707"/>
                <a:gd name="connsiteY10779" fmla="*/ 2493626 h 2907193"/>
                <a:gd name="connsiteX10780" fmla="*/ 1542309 w 4044707"/>
                <a:gd name="connsiteY10780" fmla="*/ 2495411 h 2907193"/>
                <a:gd name="connsiteX10781" fmla="*/ 1539495 w 4044707"/>
                <a:gd name="connsiteY10781" fmla="*/ 2498738 h 2907193"/>
                <a:gd name="connsiteX10782" fmla="*/ 1538013 w 4044707"/>
                <a:gd name="connsiteY10782" fmla="*/ 2501854 h 2907193"/>
                <a:gd name="connsiteX10783" fmla="*/ 1536924 w 4044707"/>
                <a:gd name="connsiteY10783" fmla="*/ 2504728 h 2907193"/>
                <a:gd name="connsiteX10784" fmla="*/ 1535563 w 4044707"/>
                <a:gd name="connsiteY10784" fmla="*/ 2506815 h 2907193"/>
                <a:gd name="connsiteX10785" fmla="*/ 1528786 w 4044707"/>
                <a:gd name="connsiteY10785" fmla="*/ 2509992 h 2907193"/>
                <a:gd name="connsiteX10786" fmla="*/ 1529724 w 4044707"/>
                <a:gd name="connsiteY10786" fmla="*/ 2515528 h 2907193"/>
                <a:gd name="connsiteX10787" fmla="*/ 1532084 w 4044707"/>
                <a:gd name="connsiteY10787" fmla="*/ 2521941 h 2907193"/>
                <a:gd name="connsiteX10788" fmla="*/ 1531842 w 4044707"/>
                <a:gd name="connsiteY10788" fmla="*/ 2526902 h 2907193"/>
                <a:gd name="connsiteX10789" fmla="*/ 1534322 w 4044707"/>
                <a:gd name="connsiteY10789" fmla="*/ 2526660 h 2907193"/>
                <a:gd name="connsiteX10790" fmla="*/ 1538043 w 4044707"/>
                <a:gd name="connsiteY10790" fmla="*/ 2525481 h 2907193"/>
                <a:gd name="connsiteX10791" fmla="*/ 1541431 w 4044707"/>
                <a:gd name="connsiteY10791" fmla="*/ 2523544 h 2907193"/>
                <a:gd name="connsiteX10792" fmla="*/ 1542914 w 4044707"/>
                <a:gd name="connsiteY10792" fmla="*/ 2521064 h 2907193"/>
                <a:gd name="connsiteX10793" fmla="*/ 1543458 w 4044707"/>
                <a:gd name="connsiteY10793" fmla="*/ 2519672 h 2907193"/>
                <a:gd name="connsiteX10794" fmla="*/ 1544729 w 4044707"/>
                <a:gd name="connsiteY10794" fmla="*/ 2518069 h 2907193"/>
                <a:gd name="connsiteX10795" fmla="*/ 1546121 w 4044707"/>
                <a:gd name="connsiteY10795" fmla="*/ 2516829 h 2907193"/>
                <a:gd name="connsiteX10796" fmla="*/ 1547058 w 4044707"/>
                <a:gd name="connsiteY10796" fmla="*/ 2516587 h 2907193"/>
                <a:gd name="connsiteX10797" fmla="*/ 1547663 w 4044707"/>
                <a:gd name="connsiteY10797" fmla="*/ 2518583 h 2907193"/>
                <a:gd name="connsiteX10798" fmla="*/ 1547542 w 4044707"/>
                <a:gd name="connsiteY10798" fmla="*/ 2521215 h 2907193"/>
                <a:gd name="connsiteX10799" fmla="*/ 1548026 w 4044707"/>
                <a:gd name="connsiteY10799" fmla="*/ 2523091 h 2907193"/>
                <a:gd name="connsiteX10800" fmla="*/ 1550507 w 4044707"/>
                <a:gd name="connsiteY10800" fmla="*/ 2522818 h 2907193"/>
                <a:gd name="connsiteX10801" fmla="*/ 1550507 w 4044707"/>
                <a:gd name="connsiteY10801" fmla="*/ 2524210 h 2907193"/>
                <a:gd name="connsiteX10802" fmla="*/ 1531085 w 4044707"/>
                <a:gd name="connsiteY10802" fmla="*/ 2529746 h 2907193"/>
                <a:gd name="connsiteX10803" fmla="*/ 1522222 w 4044707"/>
                <a:gd name="connsiteY10803" fmla="*/ 2536129 h 2907193"/>
                <a:gd name="connsiteX10804" fmla="*/ 1515960 w 4044707"/>
                <a:gd name="connsiteY10804" fmla="*/ 2547231 h 2907193"/>
                <a:gd name="connsiteX10805" fmla="*/ 1518985 w 4044707"/>
                <a:gd name="connsiteY10805" fmla="*/ 2549591 h 2907193"/>
                <a:gd name="connsiteX10806" fmla="*/ 1519439 w 4044707"/>
                <a:gd name="connsiteY10806" fmla="*/ 2550287 h 2907193"/>
                <a:gd name="connsiteX10807" fmla="*/ 1519288 w 4044707"/>
                <a:gd name="connsiteY10807" fmla="*/ 2551436 h 2907193"/>
                <a:gd name="connsiteX10808" fmla="*/ 1518894 w 4044707"/>
                <a:gd name="connsiteY10808" fmla="*/ 2552949 h 2907193"/>
                <a:gd name="connsiteX10809" fmla="*/ 1518319 w 4044707"/>
                <a:gd name="connsiteY10809" fmla="*/ 2554250 h 2907193"/>
                <a:gd name="connsiteX10810" fmla="*/ 1517684 w 4044707"/>
                <a:gd name="connsiteY10810" fmla="*/ 2554794 h 2907193"/>
                <a:gd name="connsiteX10811" fmla="*/ 1507066 w 4044707"/>
                <a:gd name="connsiteY10811" fmla="*/ 2555823 h 2907193"/>
                <a:gd name="connsiteX10812" fmla="*/ 1502952 w 4044707"/>
                <a:gd name="connsiteY10812" fmla="*/ 2557033 h 2907193"/>
                <a:gd name="connsiteX10813" fmla="*/ 1498263 w 4044707"/>
                <a:gd name="connsiteY10813" fmla="*/ 2559574 h 2907193"/>
                <a:gd name="connsiteX10814" fmla="*/ 1495056 w 4044707"/>
                <a:gd name="connsiteY10814" fmla="*/ 2563416 h 2907193"/>
                <a:gd name="connsiteX10815" fmla="*/ 1495328 w 4044707"/>
                <a:gd name="connsiteY10815" fmla="*/ 2568528 h 2907193"/>
                <a:gd name="connsiteX10816" fmla="*/ 1490669 w 4044707"/>
                <a:gd name="connsiteY10816" fmla="*/ 2572189 h 2907193"/>
                <a:gd name="connsiteX10817" fmla="*/ 1488038 w 4044707"/>
                <a:gd name="connsiteY10817" fmla="*/ 2573369 h 2907193"/>
                <a:gd name="connsiteX10818" fmla="*/ 1485587 w 4044707"/>
                <a:gd name="connsiteY10818" fmla="*/ 2573671 h 2907193"/>
                <a:gd name="connsiteX10819" fmla="*/ 1486979 w 4044707"/>
                <a:gd name="connsiteY10819" fmla="*/ 2576273 h 2907193"/>
                <a:gd name="connsiteX10820" fmla="*/ 1489157 w 4044707"/>
                <a:gd name="connsiteY10820" fmla="*/ 2576000 h 2907193"/>
                <a:gd name="connsiteX10821" fmla="*/ 1491456 w 4044707"/>
                <a:gd name="connsiteY10821" fmla="*/ 2574216 h 2907193"/>
                <a:gd name="connsiteX10822" fmla="*/ 1493211 w 4044707"/>
                <a:gd name="connsiteY10822" fmla="*/ 2572400 h 2907193"/>
                <a:gd name="connsiteX10823" fmla="*/ 1491758 w 4044707"/>
                <a:gd name="connsiteY10823" fmla="*/ 2576605 h 2907193"/>
                <a:gd name="connsiteX10824" fmla="*/ 1492515 w 4044707"/>
                <a:gd name="connsiteY10824" fmla="*/ 2577785 h 2907193"/>
                <a:gd name="connsiteX10825" fmla="*/ 1494572 w 4044707"/>
                <a:gd name="connsiteY10825" fmla="*/ 2578330 h 2907193"/>
                <a:gd name="connsiteX10826" fmla="*/ 1496992 w 4044707"/>
                <a:gd name="connsiteY10826" fmla="*/ 2580568 h 2907193"/>
                <a:gd name="connsiteX10827" fmla="*/ 1500078 w 4044707"/>
                <a:gd name="connsiteY10827" fmla="*/ 2585590 h 2907193"/>
                <a:gd name="connsiteX10828" fmla="*/ 1501953 w 4044707"/>
                <a:gd name="connsiteY10828" fmla="*/ 2587617 h 2907193"/>
                <a:gd name="connsiteX10829" fmla="*/ 1504252 w 4044707"/>
                <a:gd name="connsiteY10829" fmla="*/ 2588736 h 2907193"/>
                <a:gd name="connsiteX10830" fmla="*/ 1506370 w 4044707"/>
                <a:gd name="connsiteY10830" fmla="*/ 2588373 h 2907193"/>
                <a:gd name="connsiteX10831" fmla="*/ 1509607 w 4044707"/>
                <a:gd name="connsiteY10831" fmla="*/ 2587073 h 2907193"/>
                <a:gd name="connsiteX10832" fmla="*/ 1512571 w 4044707"/>
                <a:gd name="connsiteY10832" fmla="*/ 2585197 h 2907193"/>
                <a:gd name="connsiteX10833" fmla="*/ 1513872 w 4044707"/>
                <a:gd name="connsiteY10833" fmla="*/ 2583140 h 2907193"/>
                <a:gd name="connsiteX10834" fmla="*/ 1513994 w 4044707"/>
                <a:gd name="connsiteY10834" fmla="*/ 2579479 h 2907193"/>
                <a:gd name="connsiteX10835" fmla="*/ 1514568 w 4044707"/>
                <a:gd name="connsiteY10835" fmla="*/ 2576000 h 2907193"/>
                <a:gd name="connsiteX10836" fmla="*/ 1515839 w 4044707"/>
                <a:gd name="connsiteY10836" fmla="*/ 2573429 h 2907193"/>
                <a:gd name="connsiteX10837" fmla="*/ 1518077 w 4044707"/>
                <a:gd name="connsiteY10837" fmla="*/ 2572431 h 2907193"/>
                <a:gd name="connsiteX10838" fmla="*/ 1517079 w 4044707"/>
                <a:gd name="connsiteY10838" fmla="*/ 2574367 h 2907193"/>
                <a:gd name="connsiteX10839" fmla="*/ 1516928 w 4044707"/>
                <a:gd name="connsiteY10839" fmla="*/ 2576091 h 2907193"/>
                <a:gd name="connsiteX10840" fmla="*/ 1517321 w 4044707"/>
                <a:gd name="connsiteY10840" fmla="*/ 2580629 h 2907193"/>
                <a:gd name="connsiteX10841" fmla="*/ 1516746 w 4044707"/>
                <a:gd name="connsiteY10841" fmla="*/ 2582505 h 2907193"/>
                <a:gd name="connsiteX10842" fmla="*/ 1515566 w 4044707"/>
                <a:gd name="connsiteY10842" fmla="*/ 2583412 h 2907193"/>
                <a:gd name="connsiteX10843" fmla="*/ 1514598 w 4044707"/>
                <a:gd name="connsiteY10843" fmla="*/ 2584652 h 2907193"/>
                <a:gd name="connsiteX10844" fmla="*/ 1514598 w 4044707"/>
                <a:gd name="connsiteY10844" fmla="*/ 2587526 h 2907193"/>
                <a:gd name="connsiteX10845" fmla="*/ 1515687 w 4044707"/>
                <a:gd name="connsiteY10845" fmla="*/ 2589916 h 2907193"/>
                <a:gd name="connsiteX10846" fmla="*/ 1517563 w 4044707"/>
                <a:gd name="connsiteY10846" fmla="*/ 2591035 h 2907193"/>
                <a:gd name="connsiteX10847" fmla="*/ 1521435 w 4044707"/>
                <a:gd name="connsiteY10847" fmla="*/ 2591277 h 2907193"/>
                <a:gd name="connsiteX10848" fmla="*/ 1523250 w 4044707"/>
                <a:gd name="connsiteY10848" fmla="*/ 2591005 h 2907193"/>
                <a:gd name="connsiteX10849" fmla="*/ 1524914 w 4044707"/>
                <a:gd name="connsiteY10849" fmla="*/ 2590158 h 2907193"/>
                <a:gd name="connsiteX10850" fmla="*/ 1533445 w 4044707"/>
                <a:gd name="connsiteY10850" fmla="*/ 2582807 h 2907193"/>
                <a:gd name="connsiteX10851" fmla="*/ 1545758 w 4044707"/>
                <a:gd name="connsiteY10851" fmla="*/ 2575668 h 2907193"/>
                <a:gd name="connsiteX10852" fmla="*/ 1552534 w 4044707"/>
                <a:gd name="connsiteY10852" fmla="*/ 2573732 h 2907193"/>
                <a:gd name="connsiteX10853" fmla="*/ 1550537 w 4044707"/>
                <a:gd name="connsiteY10853" fmla="*/ 2576273 h 2907193"/>
                <a:gd name="connsiteX10854" fmla="*/ 1542823 w 4044707"/>
                <a:gd name="connsiteY10854" fmla="*/ 2578632 h 2907193"/>
                <a:gd name="connsiteX10855" fmla="*/ 1542399 w 4044707"/>
                <a:gd name="connsiteY10855" fmla="*/ 2579177 h 2907193"/>
                <a:gd name="connsiteX10856" fmla="*/ 1541129 w 4044707"/>
                <a:gd name="connsiteY10856" fmla="*/ 2581930 h 2907193"/>
                <a:gd name="connsiteX10857" fmla="*/ 1540464 w 4044707"/>
                <a:gd name="connsiteY10857" fmla="*/ 2582565 h 2907193"/>
                <a:gd name="connsiteX10858" fmla="*/ 1539011 w 4044707"/>
                <a:gd name="connsiteY10858" fmla="*/ 2582625 h 2907193"/>
                <a:gd name="connsiteX10859" fmla="*/ 1538346 w 4044707"/>
                <a:gd name="connsiteY10859" fmla="*/ 2583170 h 2907193"/>
                <a:gd name="connsiteX10860" fmla="*/ 1537468 w 4044707"/>
                <a:gd name="connsiteY10860" fmla="*/ 2584229 h 2907193"/>
                <a:gd name="connsiteX10861" fmla="*/ 1524975 w 4044707"/>
                <a:gd name="connsiteY10861" fmla="*/ 2593728 h 2907193"/>
                <a:gd name="connsiteX10862" fmla="*/ 1519711 w 4044707"/>
                <a:gd name="connsiteY10862" fmla="*/ 2595452 h 2907193"/>
                <a:gd name="connsiteX10863" fmla="*/ 1514508 w 4044707"/>
                <a:gd name="connsiteY10863" fmla="*/ 2593758 h 2907193"/>
                <a:gd name="connsiteX10864" fmla="*/ 1513842 w 4044707"/>
                <a:gd name="connsiteY10864" fmla="*/ 2592911 h 2907193"/>
                <a:gd name="connsiteX10865" fmla="*/ 1513146 w 4044707"/>
                <a:gd name="connsiteY10865" fmla="*/ 2591671 h 2907193"/>
                <a:gd name="connsiteX10866" fmla="*/ 1512330 w 4044707"/>
                <a:gd name="connsiteY10866" fmla="*/ 2590582 h 2907193"/>
                <a:gd name="connsiteX10867" fmla="*/ 1511362 w 4044707"/>
                <a:gd name="connsiteY10867" fmla="*/ 2590098 h 2907193"/>
                <a:gd name="connsiteX10868" fmla="*/ 1510454 w 4044707"/>
                <a:gd name="connsiteY10868" fmla="*/ 2590642 h 2907193"/>
                <a:gd name="connsiteX10869" fmla="*/ 1510363 w 4044707"/>
                <a:gd name="connsiteY10869" fmla="*/ 2591973 h 2907193"/>
                <a:gd name="connsiteX10870" fmla="*/ 1510363 w 4044707"/>
                <a:gd name="connsiteY10870" fmla="*/ 2593576 h 2907193"/>
                <a:gd name="connsiteX10871" fmla="*/ 1509667 w 4044707"/>
                <a:gd name="connsiteY10871" fmla="*/ 2594968 h 2907193"/>
                <a:gd name="connsiteX10872" fmla="*/ 1508518 w 4044707"/>
                <a:gd name="connsiteY10872" fmla="*/ 2595482 h 2907193"/>
                <a:gd name="connsiteX10873" fmla="*/ 1502437 w 4044707"/>
                <a:gd name="connsiteY10873" fmla="*/ 2596632 h 2907193"/>
                <a:gd name="connsiteX10874" fmla="*/ 1501772 w 4044707"/>
                <a:gd name="connsiteY10874" fmla="*/ 2597630 h 2907193"/>
                <a:gd name="connsiteX10875" fmla="*/ 1501379 w 4044707"/>
                <a:gd name="connsiteY10875" fmla="*/ 2598901 h 2907193"/>
                <a:gd name="connsiteX10876" fmla="*/ 1500774 w 4044707"/>
                <a:gd name="connsiteY10876" fmla="*/ 2600111 h 2907193"/>
                <a:gd name="connsiteX10877" fmla="*/ 1496569 w 4044707"/>
                <a:gd name="connsiteY10877" fmla="*/ 2604104 h 2907193"/>
                <a:gd name="connsiteX10878" fmla="*/ 1495600 w 4044707"/>
                <a:gd name="connsiteY10878" fmla="*/ 2606433 h 2907193"/>
                <a:gd name="connsiteX10879" fmla="*/ 1497355 w 4044707"/>
                <a:gd name="connsiteY10879" fmla="*/ 2608854 h 2907193"/>
                <a:gd name="connsiteX10880" fmla="*/ 1499896 w 4044707"/>
                <a:gd name="connsiteY10880" fmla="*/ 2609247 h 2907193"/>
                <a:gd name="connsiteX10881" fmla="*/ 1509032 w 4044707"/>
                <a:gd name="connsiteY10881" fmla="*/ 2606222 h 2907193"/>
                <a:gd name="connsiteX10882" fmla="*/ 1509032 w 4044707"/>
                <a:gd name="connsiteY10882" fmla="*/ 2610094 h 2907193"/>
                <a:gd name="connsiteX10883" fmla="*/ 1503072 w 4044707"/>
                <a:gd name="connsiteY10883" fmla="*/ 2609489 h 2907193"/>
                <a:gd name="connsiteX10884" fmla="*/ 1499927 w 4044707"/>
                <a:gd name="connsiteY10884" fmla="*/ 2609912 h 2907193"/>
                <a:gd name="connsiteX10885" fmla="*/ 1497688 w 4044707"/>
                <a:gd name="connsiteY10885" fmla="*/ 2611909 h 2907193"/>
                <a:gd name="connsiteX10886" fmla="*/ 1497415 w 4044707"/>
                <a:gd name="connsiteY10886" fmla="*/ 2613210 h 2907193"/>
                <a:gd name="connsiteX10887" fmla="*/ 1497537 w 4044707"/>
                <a:gd name="connsiteY10887" fmla="*/ 2616507 h 2907193"/>
                <a:gd name="connsiteX10888" fmla="*/ 1497355 w 4044707"/>
                <a:gd name="connsiteY10888" fmla="*/ 2617596 h 2907193"/>
                <a:gd name="connsiteX10889" fmla="*/ 1496448 w 4044707"/>
                <a:gd name="connsiteY10889" fmla="*/ 2618443 h 2907193"/>
                <a:gd name="connsiteX10890" fmla="*/ 1495298 w 4044707"/>
                <a:gd name="connsiteY10890" fmla="*/ 2618806 h 2907193"/>
                <a:gd name="connsiteX10891" fmla="*/ 1492545 w 4044707"/>
                <a:gd name="connsiteY10891" fmla="*/ 2618806 h 2907193"/>
                <a:gd name="connsiteX10892" fmla="*/ 1493695 w 4044707"/>
                <a:gd name="connsiteY10892" fmla="*/ 2615237 h 2907193"/>
                <a:gd name="connsiteX10893" fmla="*/ 1494088 w 4044707"/>
                <a:gd name="connsiteY10893" fmla="*/ 2611546 h 2907193"/>
                <a:gd name="connsiteX10894" fmla="*/ 1493181 w 4044707"/>
                <a:gd name="connsiteY10894" fmla="*/ 2608642 h 2907193"/>
                <a:gd name="connsiteX10895" fmla="*/ 1490428 w 4044707"/>
                <a:gd name="connsiteY10895" fmla="*/ 2607492 h 2907193"/>
                <a:gd name="connsiteX10896" fmla="*/ 1483530 w 4044707"/>
                <a:gd name="connsiteY10896" fmla="*/ 2607492 h 2907193"/>
                <a:gd name="connsiteX10897" fmla="*/ 1481745 w 4044707"/>
                <a:gd name="connsiteY10897" fmla="*/ 2607099 h 2907193"/>
                <a:gd name="connsiteX10898" fmla="*/ 1478932 w 4044707"/>
                <a:gd name="connsiteY10898" fmla="*/ 2605828 h 2907193"/>
                <a:gd name="connsiteX10899" fmla="*/ 1477268 w 4044707"/>
                <a:gd name="connsiteY10899" fmla="*/ 2606252 h 2907193"/>
                <a:gd name="connsiteX10900" fmla="*/ 1475876 w 4044707"/>
                <a:gd name="connsiteY10900" fmla="*/ 2608581 h 2907193"/>
                <a:gd name="connsiteX10901" fmla="*/ 1474243 w 4044707"/>
                <a:gd name="connsiteY10901" fmla="*/ 2612877 h 2907193"/>
                <a:gd name="connsiteX10902" fmla="*/ 1473184 w 4044707"/>
                <a:gd name="connsiteY10902" fmla="*/ 2617021 h 2907193"/>
                <a:gd name="connsiteX10903" fmla="*/ 1473487 w 4044707"/>
                <a:gd name="connsiteY10903" fmla="*/ 2618897 h 2907193"/>
                <a:gd name="connsiteX10904" fmla="*/ 1474848 w 4044707"/>
                <a:gd name="connsiteY10904" fmla="*/ 2620621 h 2907193"/>
                <a:gd name="connsiteX10905" fmla="*/ 1474576 w 4044707"/>
                <a:gd name="connsiteY10905" fmla="*/ 2624554 h 2907193"/>
                <a:gd name="connsiteX10906" fmla="*/ 1473698 w 4044707"/>
                <a:gd name="connsiteY10906" fmla="*/ 2628003 h 2907193"/>
                <a:gd name="connsiteX10907" fmla="*/ 1473517 w 4044707"/>
                <a:gd name="connsiteY10907" fmla="*/ 2628759 h 2907193"/>
                <a:gd name="connsiteX10908" fmla="*/ 1472458 w 4044707"/>
                <a:gd name="connsiteY10908" fmla="*/ 2631391 h 2907193"/>
                <a:gd name="connsiteX10909" fmla="*/ 1471369 w 4044707"/>
                <a:gd name="connsiteY10909" fmla="*/ 2632510 h 2907193"/>
                <a:gd name="connsiteX10910" fmla="*/ 1464895 w 4044707"/>
                <a:gd name="connsiteY10910" fmla="*/ 2635233 h 2907193"/>
                <a:gd name="connsiteX10911" fmla="*/ 1464199 w 4044707"/>
                <a:gd name="connsiteY10911" fmla="*/ 2635808 h 2907193"/>
                <a:gd name="connsiteX10912" fmla="*/ 1463020 w 4044707"/>
                <a:gd name="connsiteY10912" fmla="*/ 2637381 h 2907193"/>
                <a:gd name="connsiteX10913" fmla="*/ 1462445 w 4044707"/>
                <a:gd name="connsiteY10913" fmla="*/ 2637713 h 2907193"/>
                <a:gd name="connsiteX10914" fmla="*/ 1461568 w 4044707"/>
                <a:gd name="connsiteY10914" fmla="*/ 2636776 h 2907193"/>
                <a:gd name="connsiteX10915" fmla="*/ 1461568 w 4044707"/>
                <a:gd name="connsiteY10915" fmla="*/ 2634628 h 2907193"/>
                <a:gd name="connsiteX10916" fmla="*/ 1461931 w 4044707"/>
                <a:gd name="connsiteY10916" fmla="*/ 2632268 h 2907193"/>
                <a:gd name="connsiteX10917" fmla="*/ 1462445 w 4044707"/>
                <a:gd name="connsiteY10917" fmla="*/ 2630756 h 2907193"/>
                <a:gd name="connsiteX10918" fmla="*/ 1463141 w 4044707"/>
                <a:gd name="connsiteY10918" fmla="*/ 2630120 h 2907193"/>
                <a:gd name="connsiteX10919" fmla="*/ 1464048 w 4044707"/>
                <a:gd name="connsiteY10919" fmla="*/ 2629969 h 2907193"/>
                <a:gd name="connsiteX10920" fmla="*/ 1465863 w 4044707"/>
                <a:gd name="connsiteY10920" fmla="*/ 2630120 h 2907193"/>
                <a:gd name="connsiteX10921" fmla="*/ 1466105 w 4044707"/>
                <a:gd name="connsiteY10921" fmla="*/ 2629788 h 2907193"/>
                <a:gd name="connsiteX10922" fmla="*/ 1466589 w 4044707"/>
                <a:gd name="connsiteY10922" fmla="*/ 2628214 h 2907193"/>
                <a:gd name="connsiteX10923" fmla="*/ 1466983 w 4044707"/>
                <a:gd name="connsiteY10923" fmla="*/ 2627609 h 2907193"/>
                <a:gd name="connsiteX10924" fmla="*/ 1469373 w 4044707"/>
                <a:gd name="connsiteY10924" fmla="*/ 2625825 h 2907193"/>
                <a:gd name="connsiteX10925" fmla="*/ 1469615 w 4044707"/>
                <a:gd name="connsiteY10925" fmla="*/ 2624857 h 2907193"/>
                <a:gd name="connsiteX10926" fmla="*/ 1469736 w 4044707"/>
                <a:gd name="connsiteY10926" fmla="*/ 2622618 h 2907193"/>
                <a:gd name="connsiteX10927" fmla="*/ 1469554 w 4044707"/>
                <a:gd name="connsiteY10927" fmla="*/ 2620561 h 2907193"/>
                <a:gd name="connsiteX10928" fmla="*/ 1469100 w 4044707"/>
                <a:gd name="connsiteY10928" fmla="*/ 2618474 h 2907193"/>
                <a:gd name="connsiteX10929" fmla="*/ 1468889 w 4044707"/>
                <a:gd name="connsiteY10929" fmla="*/ 2616416 h 2907193"/>
                <a:gd name="connsiteX10930" fmla="*/ 1469373 w 4044707"/>
                <a:gd name="connsiteY10930" fmla="*/ 2614480 h 2907193"/>
                <a:gd name="connsiteX10931" fmla="*/ 1470643 w 4044707"/>
                <a:gd name="connsiteY10931" fmla="*/ 2611062 h 2907193"/>
                <a:gd name="connsiteX10932" fmla="*/ 1471308 w 4044707"/>
                <a:gd name="connsiteY10932" fmla="*/ 2607190 h 2907193"/>
                <a:gd name="connsiteX10933" fmla="*/ 1471399 w 4044707"/>
                <a:gd name="connsiteY10933" fmla="*/ 2603378 h 2907193"/>
                <a:gd name="connsiteX10934" fmla="*/ 1471067 w 4044707"/>
                <a:gd name="connsiteY10934" fmla="*/ 2600171 h 2907193"/>
                <a:gd name="connsiteX10935" fmla="*/ 1470734 w 4044707"/>
                <a:gd name="connsiteY10935" fmla="*/ 2599385 h 2907193"/>
                <a:gd name="connsiteX10936" fmla="*/ 1470159 w 4044707"/>
                <a:gd name="connsiteY10936" fmla="*/ 2598659 h 2907193"/>
                <a:gd name="connsiteX10937" fmla="*/ 1469010 w 4044707"/>
                <a:gd name="connsiteY10937" fmla="*/ 2597661 h 2907193"/>
                <a:gd name="connsiteX10938" fmla="*/ 1469252 w 4044707"/>
                <a:gd name="connsiteY10938" fmla="*/ 2596935 h 2907193"/>
                <a:gd name="connsiteX10939" fmla="*/ 1469736 w 4044707"/>
                <a:gd name="connsiteY10939" fmla="*/ 2595029 h 2907193"/>
                <a:gd name="connsiteX10940" fmla="*/ 1464532 w 4044707"/>
                <a:gd name="connsiteY10940" fmla="*/ 2600504 h 2907193"/>
                <a:gd name="connsiteX10941" fmla="*/ 1461961 w 4044707"/>
                <a:gd name="connsiteY10941" fmla="*/ 2603983 h 2907193"/>
                <a:gd name="connsiteX10942" fmla="*/ 1460751 w 4044707"/>
                <a:gd name="connsiteY10942" fmla="*/ 2607523 h 2907193"/>
                <a:gd name="connsiteX10943" fmla="*/ 1460963 w 4044707"/>
                <a:gd name="connsiteY10943" fmla="*/ 2609156 h 2907193"/>
                <a:gd name="connsiteX10944" fmla="*/ 1462596 w 4044707"/>
                <a:gd name="connsiteY10944" fmla="*/ 2611243 h 2907193"/>
                <a:gd name="connsiteX10945" fmla="*/ 1463534 w 4044707"/>
                <a:gd name="connsiteY10945" fmla="*/ 2613754 h 2907193"/>
                <a:gd name="connsiteX10946" fmla="*/ 1463655 w 4044707"/>
                <a:gd name="connsiteY10946" fmla="*/ 2615721 h 2907193"/>
                <a:gd name="connsiteX10947" fmla="*/ 1462415 w 4044707"/>
                <a:gd name="connsiteY10947" fmla="*/ 2618231 h 2907193"/>
                <a:gd name="connsiteX10948" fmla="*/ 1462173 w 4044707"/>
                <a:gd name="connsiteY10948" fmla="*/ 2621257 h 2907193"/>
                <a:gd name="connsiteX10949" fmla="*/ 1460993 w 4044707"/>
                <a:gd name="connsiteY10949" fmla="*/ 2619260 h 2907193"/>
                <a:gd name="connsiteX10950" fmla="*/ 1460176 w 4044707"/>
                <a:gd name="connsiteY10950" fmla="*/ 2613331 h 2907193"/>
                <a:gd name="connsiteX10951" fmla="*/ 1459420 w 4044707"/>
                <a:gd name="connsiteY10951" fmla="*/ 2611243 h 2907193"/>
                <a:gd name="connsiteX10952" fmla="*/ 1457575 w 4044707"/>
                <a:gd name="connsiteY10952" fmla="*/ 2610638 h 2907193"/>
                <a:gd name="connsiteX10953" fmla="*/ 1455245 w 4044707"/>
                <a:gd name="connsiteY10953" fmla="*/ 2611546 h 2907193"/>
                <a:gd name="connsiteX10954" fmla="*/ 1452946 w 4044707"/>
                <a:gd name="connsiteY10954" fmla="*/ 2613270 h 2907193"/>
                <a:gd name="connsiteX10955" fmla="*/ 1451222 w 4044707"/>
                <a:gd name="connsiteY10955" fmla="*/ 2615116 h 2907193"/>
                <a:gd name="connsiteX10956" fmla="*/ 1449860 w 4044707"/>
                <a:gd name="connsiteY10956" fmla="*/ 2620107 h 2907193"/>
                <a:gd name="connsiteX10957" fmla="*/ 1444566 w 4044707"/>
                <a:gd name="connsiteY10957" fmla="*/ 2627640 h 2907193"/>
                <a:gd name="connsiteX10958" fmla="*/ 1443023 w 4044707"/>
                <a:gd name="connsiteY10958" fmla="*/ 2629092 h 2907193"/>
                <a:gd name="connsiteX10959" fmla="*/ 1440936 w 4044707"/>
                <a:gd name="connsiteY10959" fmla="*/ 2630090 h 2907193"/>
                <a:gd name="connsiteX10960" fmla="*/ 1440936 w 4044707"/>
                <a:gd name="connsiteY10960" fmla="*/ 2631330 h 2907193"/>
                <a:gd name="connsiteX10961" fmla="*/ 1445050 w 4044707"/>
                <a:gd name="connsiteY10961" fmla="*/ 2632692 h 2907193"/>
                <a:gd name="connsiteX10962" fmla="*/ 1445050 w 4044707"/>
                <a:gd name="connsiteY10962" fmla="*/ 2633841 h 2907193"/>
                <a:gd name="connsiteX10963" fmla="*/ 1442116 w 4044707"/>
                <a:gd name="connsiteY10963" fmla="*/ 2633690 h 2907193"/>
                <a:gd name="connsiteX10964" fmla="*/ 1440755 w 4044707"/>
                <a:gd name="connsiteY10964" fmla="*/ 2634053 h 2907193"/>
                <a:gd name="connsiteX10965" fmla="*/ 1439575 w 4044707"/>
                <a:gd name="connsiteY10965" fmla="*/ 2635202 h 2907193"/>
                <a:gd name="connsiteX10966" fmla="*/ 1439000 w 4044707"/>
                <a:gd name="connsiteY10966" fmla="*/ 2636503 h 2907193"/>
                <a:gd name="connsiteX10967" fmla="*/ 1439000 w 4044707"/>
                <a:gd name="connsiteY10967" fmla="*/ 2637320 h 2907193"/>
                <a:gd name="connsiteX10968" fmla="*/ 1439363 w 4044707"/>
                <a:gd name="connsiteY10968" fmla="*/ 2638016 h 2907193"/>
                <a:gd name="connsiteX10969" fmla="*/ 1439575 w 4044707"/>
                <a:gd name="connsiteY10969" fmla="*/ 2638924 h 2907193"/>
                <a:gd name="connsiteX10970" fmla="*/ 1439968 w 4044707"/>
                <a:gd name="connsiteY10970" fmla="*/ 2645246 h 2907193"/>
                <a:gd name="connsiteX10971" fmla="*/ 1440392 w 4044707"/>
                <a:gd name="connsiteY10971" fmla="*/ 2648664 h 2907193"/>
                <a:gd name="connsiteX10972" fmla="*/ 1440967 w 4044707"/>
                <a:gd name="connsiteY10972" fmla="*/ 2651327 h 2907193"/>
                <a:gd name="connsiteX10973" fmla="*/ 1443931 w 4044707"/>
                <a:gd name="connsiteY10973" fmla="*/ 2652295 h 2907193"/>
                <a:gd name="connsiteX10974" fmla="*/ 1450586 w 4044707"/>
                <a:gd name="connsiteY10974" fmla="*/ 2666725 h 2907193"/>
                <a:gd name="connsiteX10975" fmla="*/ 1454035 w 4044707"/>
                <a:gd name="connsiteY10975" fmla="*/ 2665061 h 2907193"/>
                <a:gd name="connsiteX10976" fmla="*/ 1453944 w 4044707"/>
                <a:gd name="connsiteY10976" fmla="*/ 2664304 h 2907193"/>
                <a:gd name="connsiteX10977" fmla="*/ 1454186 w 4044707"/>
                <a:gd name="connsiteY10977" fmla="*/ 2654594 h 2907193"/>
                <a:gd name="connsiteX10978" fmla="*/ 1454549 w 4044707"/>
                <a:gd name="connsiteY10978" fmla="*/ 2653958 h 2907193"/>
                <a:gd name="connsiteX10979" fmla="*/ 1455760 w 4044707"/>
                <a:gd name="connsiteY10979" fmla="*/ 2653807 h 2907193"/>
                <a:gd name="connsiteX10980" fmla="*/ 1456304 w 4044707"/>
                <a:gd name="connsiteY10980" fmla="*/ 2654684 h 2907193"/>
                <a:gd name="connsiteX10981" fmla="*/ 1456697 w 4044707"/>
                <a:gd name="connsiteY10981" fmla="*/ 2656711 h 2907193"/>
                <a:gd name="connsiteX10982" fmla="*/ 1456758 w 4044707"/>
                <a:gd name="connsiteY10982" fmla="*/ 2659010 h 2907193"/>
                <a:gd name="connsiteX10983" fmla="*/ 1455941 w 4044707"/>
                <a:gd name="connsiteY10983" fmla="*/ 2662792 h 2907193"/>
                <a:gd name="connsiteX10984" fmla="*/ 1456334 w 4044707"/>
                <a:gd name="connsiteY10984" fmla="*/ 2664819 h 2907193"/>
                <a:gd name="connsiteX10985" fmla="*/ 1457514 w 4044707"/>
                <a:gd name="connsiteY10985" fmla="*/ 2667541 h 2907193"/>
                <a:gd name="connsiteX10986" fmla="*/ 1457907 w 4044707"/>
                <a:gd name="connsiteY10986" fmla="*/ 2671504 h 2907193"/>
                <a:gd name="connsiteX10987" fmla="*/ 1458240 w 4044707"/>
                <a:gd name="connsiteY10987" fmla="*/ 2673531 h 2907193"/>
                <a:gd name="connsiteX10988" fmla="*/ 1458905 w 4044707"/>
                <a:gd name="connsiteY10988" fmla="*/ 2674953 h 2907193"/>
                <a:gd name="connsiteX10989" fmla="*/ 1460085 w 4044707"/>
                <a:gd name="connsiteY10989" fmla="*/ 2675800 h 2907193"/>
                <a:gd name="connsiteX10990" fmla="*/ 1460932 w 4044707"/>
                <a:gd name="connsiteY10990" fmla="*/ 2675407 h 2907193"/>
                <a:gd name="connsiteX10991" fmla="*/ 1461447 w 4044707"/>
                <a:gd name="connsiteY10991" fmla="*/ 2674045 h 2907193"/>
                <a:gd name="connsiteX10992" fmla="*/ 1461628 w 4044707"/>
                <a:gd name="connsiteY10992" fmla="*/ 2671867 h 2907193"/>
                <a:gd name="connsiteX10993" fmla="*/ 1461265 w 4044707"/>
                <a:gd name="connsiteY10993" fmla="*/ 2664123 h 2907193"/>
                <a:gd name="connsiteX10994" fmla="*/ 1461417 w 4044707"/>
                <a:gd name="connsiteY10994" fmla="*/ 2660493 h 2907193"/>
                <a:gd name="connsiteX10995" fmla="*/ 1462324 w 4044707"/>
                <a:gd name="connsiteY10995" fmla="*/ 2657498 h 2907193"/>
                <a:gd name="connsiteX10996" fmla="*/ 1464321 w 4044707"/>
                <a:gd name="connsiteY10996" fmla="*/ 2655743 h 2907193"/>
                <a:gd name="connsiteX10997" fmla="*/ 1465198 w 4044707"/>
                <a:gd name="connsiteY10997" fmla="*/ 2658073 h 2907193"/>
                <a:gd name="connsiteX10998" fmla="*/ 1465077 w 4044707"/>
                <a:gd name="connsiteY10998" fmla="*/ 2662157 h 2907193"/>
                <a:gd name="connsiteX10999" fmla="*/ 1464048 w 4044707"/>
                <a:gd name="connsiteY10999" fmla="*/ 2665605 h 2907193"/>
                <a:gd name="connsiteX11000" fmla="*/ 1463383 w 4044707"/>
                <a:gd name="connsiteY11000" fmla="*/ 2669296 h 2907193"/>
                <a:gd name="connsiteX11001" fmla="*/ 1464593 w 4044707"/>
                <a:gd name="connsiteY11001" fmla="*/ 2673440 h 2907193"/>
                <a:gd name="connsiteX11002" fmla="*/ 1466620 w 4044707"/>
                <a:gd name="connsiteY11002" fmla="*/ 2676919 h 2907193"/>
                <a:gd name="connsiteX11003" fmla="*/ 1468556 w 4044707"/>
                <a:gd name="connsiteY11003" fmla="*/ 2678704 h 2907193"/>
                <a:gd name="connsiteX11004" fmla="*/ 1471581 w 4044707"/>
                <a:gd name="connsiteY11004" fmla="*/ 2678886 h 2907193"/>
                <a:gd name="connsiteX11005" fmla="*/ 1474001 w 4044707"/>
                <a:gd name="connsiteY11005" fmla="*/ 2677434 h 2907193"/>
                <a:gd name="connsiteX11006" fmla="*/ 1476028 w 4044707"/>
                <a:gd name="connsiteY11006" fmla="*/ 2674923 h 2907193"/>
                <a:gd name="connsiteX11007" fmla="*/ 1477903 w 4044707"/>
                <a:gd name="connsiteY11007" fmla="*/ 2671897 h 2907193"/>
                <a:gd name="connsiteX11008" fmla="*/ 1478751 w 4044707"/>
                <a:gd name="connsiteY11008" fmla="*/ 2668872 h 2907193"/>
                <a:gd name="connsiteX11009" fmla="*/ 1478902 w 4044707"/>
                <a:gd name="connsiteY11009" fmla="*/ 2661098 h 2907193"/>
                <a:gd name="connsiteX11010" fmla="*/ 1479658 w 4044707"/>
                <a:gd name="connsiteY11010" fmla="*/ 2657558 h 2907193"/>
                <a:gd name="connsiteX11011" fmla="*/ 1478932 w 4044707"/>
                <a:gd name="connsiteY11011" fmla="*/ 2656227 h 2907193"/>
                <a:gd name="connsiteX11012" fmla="*/ 1478115 w 4044707"/>
                <a:gd name="connsiteY11012" fmla="*/ 2655380 h 2907193"/>
                <a:gd name="connsiteX11013" fmla="*/ 1477177 w 4044707"/>
                <a:gd name="connsiteY11013" fmla="*/ 2655047 h 2907193"/>
                <a:gd name="connsiteX11014" fmla="*/ 1479779 w 4044707"/>
                <a:gd name="connsiteY11014" fmla="*/ 2653747 h 2907193"/>
                <a:gd name="connsiteX11015" fmla="*/ 1481867 w 4044707"/>
                <a:gd name="connsiteY11015" fmla="*/ 2658496 h 2907193"/>
                <a:gd name="connsiteX11016" fmla="*/ 1483500 w 4044707"/>
                <a:gd name="connsiteY11016" fmla="*/ 2664970 h 2907193"/>
                <a:gd name="connsiteX11017" fmla="*/ 1485799 w 4044707"/>
                <a:gd name="connsiteY11017" fmla="*/ 2668691 h 2907193"/>
                <a:gd name="connsiteX11018" fmla="*/ 1485799 w 4044707"/>
                <a:gd name="connsiteY11018" fmla="*/ 2670052 h 2907193"/>
                <a:gd name="connsiteX11019" fmla="*/ 1484468 w 4044707"/>
                <a:gd name="connsiteY11019" fmla="*/ 2670385 h 2907193"/>
                <a:gd name="connsiteX11020" fmla="*/ 1483016 w 4044707"/>
                <a:gd name="connsiteY11020" fmla="*/ 2671807 h 2907193"/>
                <a:gd name="connsiteX11021" fmla="*/ 1482108 w 4044707"/>
                <a:gd name="connsiteY11021" fmla="*/ 2673864 h 2907193"/>
                <a:gd name="connsiteX11022" fmla="*/ 1482350 w 4044707"/>
                <a:gd name="connsiteY11022" fmla="*/ 2676133 h 2907193"/>
                <a:gd name="connsiteX11023" fmla="*/ 1483591 w 4044707"/>
                <a:gd name="connsiteY11023" fmla="*/ 2676284 h 2907193"/>
                <a:gd name="connsiteX11024" fmla="*/ 1487856 w 4044707"/>
                <a:gd name="connsiteY11024" fmla="*/ 2674015 h 2907193"/>
                <a:gd name="connsiteX11025" fmla="*/ 1489006 w 4044707"/>
                <a:gd name="connsiteY11025" fmla="*/ 2673077 h 2907193"/>
                <a:gd name="connsiteX11026" fmla="*/ 1489459 w 4044707"/>
                <a:gd name="connsiteY11026" fmla="*/ 2672503 h 2907193"/>
                <a:gd name="connsiteX11027" fmla="*/ 1490760 w 4044707"/>
                <a:gd name="connsiteY11027" fmla="*/ 2671262 h 2907193"/>
                <a:gd name="connsiteX11028" fmla="*/ 1491093 w 4044707"/>
                <a:gd name="connsiteY11028" fmla="*/ 2670143 h 2907193"/>
                <a:gd name="connsiteX11029" fmla="*/ 1491002 w 4044707"/>
                <a:gd name="connsiteY11029" fmla="*/ 2668903 h 2907193"/>
                <a:gd name="connsiteX11030" fmla="*/ 1491002 w 4044707"/>
                <a:gd name="connsiteY11030" fmla="*/ 2667935 h 2907193"/>
                <a:gd name="connsiteX11031" fmla="*/ 1491728 w 4044707"/>
                <a:gd name="connsiteY11031" fmla="*/ 2667541 h 2907193"/>
                <a:gd name="connsiteX11032" fmla="*/ 1495116 w 4044707"/>
                <a:gd name="connsiteY11032" fmla="*/ 2668540 h 2907193"/>
                <a:gd name="connsiteX11033" fmla="*/ 1496538 w 4044707"/>
                <a:gd name="connsiteY11033" fmla="*/ 2668267 h 2907193"/>
                <a:gd name="connsiteX11034" fmla="*/ 1497627 w 4044707"/>
                <a:gd name="connsiteY11034" fmla="*/ 2666180 h 2907193"/>
                <a:gd name="connsiteX11035" fmla="*/ 1499654 w 4044707"/>
                <a:gd name="connsiteY11035" fmla="*/ 2666997 h 2907193"/>
                <a:gd name="connsiteX11036" fmla="*/ 1505977 w 4044707"/>
                <a:gd name="connsiteY11036" fmla="*/ 2666331 h 2907193"/>
                <a:gd name="connsiteX11037" fmla="*/ 1507308 w 4044707"/>
                <a:gd name="connsiteY11037" fmla="*/ 2665635 h 2907193"/>
                <a:gd name="connsiteX11038" fmla="*/ 1507157 w 4044707"/>
                <a:gd name="connsiteY11038" fmla="*/ 2661309 h 2907193"/>
                <a:gd name="connsiteX11039" fmla="*/ 1506582 w 4044707"/>
                <a:gd name="connsiteY11039" fmla="*/ 2659404 h 2907193"/>
                <a:gd name="connsiteX11040" fmla="*/ 1501560 w 4044707"/>
                <a:gd name="connsiteY11040" fmla="*/ 2653021 h 2907193"/>
                <a:gd name="connsiteX11041" fmla="*/ 1499715 w 4044707"/>
                <a:gd name="connsiteY11041" fmla="*/ 2651357 h 2907193"/>
                <a:gd name="connsiteX11042" fmla="*/ 1497597 w 4044707"/>
                <a:gd name="connsiteY11042" fmla="*/ 2650782 h 2907193"/>
                <a:gd name="connsiteX11043" fmla="*/ 1494844 w 4044707"/>
                <a:gd name="connsiteY11043" fmla="*/ 2651266 h 2907193"/>
                <a:gd name="connsiteX11044" fmla="*/ 1487675 w 4044707"/>
                <a:gd name="connsiteY11044" fmla="*/ 2655471 h 2907193"/>
                <a:gd name="connsiteX11045" fmla="*/ 1485829 w 4044707"/>
                <a:gd name="connsiteY11045" fmla="*/ 2655108 h 2907193"/>
                <a:gd name="connsiteX11046" fmla="*/ 1490881 w 4044707"/>
                <a:gd name="connsiteY11046" fmla="*/ 2651296 h 2907193"/>
                <a:gd name="connsiteX11047" fmla="*/ 1492606 w 4044707"/>
                <a:gd name="connsiteY11047" fmla="*/ 2648150 h 2907193"/>
                <a:gd name="connsiteX11048" fmla="*/ 1492061 w 4044707"/>
                <a:gd name="connsiteY11048" fmla="*/ 2643794 h 2907193"/>
                <a:gd name="connsiteX11049" fmla="*/ 1493513 w 4044707"/>
                <a:gd name="connsiteY11049" fmla="*/ 2647333 h 2907193"/>
                <a:gd name="connsiteX11050" fmla="*/ 1496085 w 4044707"/>
                <a:gd name="connsiteY11050" fmla="*/ 2648301 h 2907193"/>
                <a:gd name="connsiteX11051" fmla="*/ 1498898 w 4044707"/>
                <a:gd name="connsiteY11051" fmla="*/ 2647364 h 2907193"/>
                <a:gd name="connsiteX11052" fmla="*/ 1501046 w 4044707"/>
                <a:gd name="connsiteY11052" fmla="*/ 2645155 h 2907193"/>
                <a:gd name="connsiteX11053" fmla="*/ 1502074 w 4044707"/>
                <a:gd name="connsiteY11053" fmla="*/ 2642039 h 2907193"/>
                <a:gd name="connsiteX11054" fmla="*/ 1501620 w 4044707"/>
                <a:gd name="connsiteY11054" fmla="*/ 2639407 h 2907193"/>
                <a:gd name="connsiteX11055" fmla="*/ 1498958 w 4044707"/>
                <a:gd name="connsiteY11055" fmla="*/ 2633750 h 2907193"/>
                <a:gd name="connsiteX11056" fmla="*/ 1500138 w 4044707"/>
                <a:gd name="connsiteY11056" fmla="*/ 2633236 h 2907193"/>
                <a:gd name="connsiteX11057" fmla="*/ 1501983 w 4044707"/>
                <a:gd name="connsiteY11057" fmla="*/ 2631270 h 2907193"/>
                <a:gd name="connsiteX11058" fmla="*/ 1503072 w 4044707"/>
                <a:gd name="connsiteY11058" fmla="*/ 2631270 h 2907193"/>
                <a:gd name="connsiteX11059" fmla="*/ 1503557 w 4044707"/>
                <a:gd name="connsiteY11059" fmla="*/ 2632208 h 2907193"/>
                <a:gd name="connsiteX11060" fmla="*/ 1504706 w 4044707"/>
                <a:gd name="connsiteY11060" fmla="*/ 2635596 h 2907193"/>
                <a:gd name="connsiteX11061" fmla="*/ 1505493 w 4044707"/>
                <a:gd name="connsiteY11061" fmla="*/ 2636352 h 2907193"/>
                <a:gd name="connsiteX11062" fmla="*/ 1506188 w 4044707"/>
                <a:gd name="connsiteY11062" fmla="*/ 2636866 h 2907193"/>
                <a:gd name="connsiteX11063" fmla="*/ 1507610 w 4044707"/>
                <a:gd name="connsiteY11063" fmla="*/ 2639498 h 2907193"/>
                <a:gd name="connsiteX11064" fmla="*/ 1508548 w 4044707"/>
                <a:gd name="connsiteY11064" fmla="*/ 2640648 h 2907193"/>
                <a:gd name="connsiteX11065" fmla="*/ 1510030 w 4044707"/>
                <a:gd name="connsiteY11065" fmla="*/ 2641676 h 2907193"/>
                <a:gd name="connsiteX11066" fmla="*/ 1511482 w 4044707"/>
                <a:gd name="connsiteY11066" fmla="*/ 2642251 h 2907193"/>
                <a:gd name="connsiteX11067" fmla="*/ 1523825 w 4044707"/>
                <a:gd name="connsiteY11067" fmla="*/ 2643128 h 2907193"/>
                <a:gd name="connsiteX11068" fmla="*/ 1528756 w 4044707"/>
                <a:gd name="connsiteY11068" fmla="*/ 2640466 h 2907193"/>
                <a:gd name="connsiteX11069" fmla="*/ 1531842 w 4044707"/>
                <a:gd name="connsiteY11069" fmla="*/ 2639740 h 2907193"/>
                <a:gd name="connsiteX11070" fmla="*/ 1534776 w 4044707"/>
                <a:gd name="connsiteY11070" fmla="*/ 2640255 h 2907193"/>
                <a:gd name="connsiteX11071" fmla="*/ 1536742 w 4044707"/>
                <a:gd name="connsiteY11071" fmla="*/ 2642554 h 2907193"/>
                <a:gd name="connsiteX11072" fmla="*/ 1513691 w 4044707"/>
                <a:gd name="connsiteY11072" fmla="*/ 2648241 h 2907193"/>
                <a:gd name="connsiteX11073" fmla="*/ 1509909 w 4044707"/>
                <a:gd name="connsiteY11073" fmla="*/ 2648090 h 2907193"/>
                <a:gd name="connsiteX11074" fmla="*/ 1509789 w 4044707"/>
                <a:gd name="connsiteY11074" fmla="*/ 2650328 h 2907193"/>
                <a:gd name="connsiteX11075" fmla="*/ 1509577 w 4044707"/>
                <a:gd name="connsiteY11075" fmla="*/ 2652083 h 2907193"/>
                <a:gd name="connsiteX11076" fmla="*/ 1509577 w 4044707"/>
                <a:gd name="connsiteY11076" fmla="*/ 2653898 h 2907193"/>
                <a:gd name="connsiteX11077" fmla="*/ 1509940 w 4044707"/>
                <a:gd name="connsiteY11077" fmla="*/ 2656258 h 2907193"/>
                <a:gd name="connsiteX11078" fmla="*/ 1510575 w 4044707"/>
                <a:gd name="connsiteY11078" fmla="*/ 2657558 h 2907193"/>
                <a:gd name="connsiteX11079" fmla="*/ 1511482 w 4044707"/>
                <a:gd name="connsiteY11079" fmla="*/ 2658647 h 2907193"/>
                <a:gd name="connsiteX11080" fmla="*/ 1512330 w 4044707"/>
                <a:gd name="connsiteY11080" fmla="*/ 2659918 h 2907193"/>
                <a:gd name="connsiteX11081" fmla="*/ 1512693 w 4044707"/>
                <a:gd name="connsiteY11081" fmla="*/ 2661824 h 2907193"/>
                <a:gd name="connsiteX11082" fmla="*/ 1513751 w 4044707"/>
                <a:gd name="connsiteY11082" fmla="*/ 2664698 h 2907193"/>
                <a:gd name="connsiteX11083" fmla="*/ 1516202 w 4044707"/>
                <a:gd name="connsiteY11083" fmla="*/ 2663881 h 2907193"/>
                <a:gd name="connsiteX11084" fmla="*/ 1520921 w 4044707"/>
                <a:gd name="connsiteY11084" fmla="*/ 2660100 h 2907193"/>
                <a:gd name="connsiteX11085" fmla="*/ 1520558 w 4044707"/>
                <a:gd name="connsiteY11085" fmla="*/ 2658587 h 2907193"/>
                <a:gd name="connsiteX11086" fmla="*/ 1519953 w 4044707"/>
                <a:gd name="connsiteY11086" fmla="*/ 2657437 h 2907193"/>
                <a:gd name="connsiteX11087" fmla="*/ 1519166 w 4044707"/>
                <a:gd name="connsiteY11087" fmla="*/ 2656651 h 2907193"/>
                <a:gd name="connsiteX11088" fmla="*/ 1518228 w 4044707"/>
                <a:gd name="connsiteY11088" fmla="*/ 2656258 h 2907193"/>
                <a:gd name="connsiteX11089" fmla="*/ 1518228 w 4044707"/>
                <a:gd name="connsiteY11089" fmla="*/ 2655138 h 2907193"/>
                <a:gd name="connsiteX11090" fmla="*/ 1518773 w 4044707"/>
                <a:gd name="connsiteY11090" fmla="*/ 2654896 h 2907193"/>
                <a:gd name="connsiteX11091" fmla="*/ 1519681 w 4044707"/>
                <a:gd name="connsiteY11091" fmla="*/ 2654110 h 2907193"/>
                <a:gd name="connsiteX11092" fmla="*/ 1520225 w 4044707"/>
                <a:gd name="connsiteY11092" fmla="*/ 2653777 h 2907193"/>
                <a:gd name="connsiteX11093" fmla="*/ 1519620 w 4044707"/>
                <a:gd name="connsiteY11093" fmla="*/ 2651296 h 2907193"/>
                <a:gd name="connsiteX11094" fmla="*/ 1521193 w 4044707"/>
                <a:gd name="connsiteY11094" fmla="*/ 2651508 h 2907193"/>
                <a:gd name="connsiteX11095" fmla="*/ 1522313 w 4044707"/>
                <a:gd name="connsiteY11095" fmla="*/ 2655289 h 2907193"/>
                <a:gd name="connsiteX11096" fmla="*/ 1524067 w 4044707"/>
                <a:gd name="connsiteY11096" fmla="*/ 2656258 h 2907193"/>
                <a:gd name="connsiteX11097" fmla="*/ 1525519 w 4044707"/>
                <a:gd name="connsiteY11097" fmla="*/ 2655773 h 2907193"/>
                <a:gd name="connsiteX11098" fmla="*/ 1529210 w 4044707"/>
                <a:gd name="connsiteY11098" fmla="*/ 2653172 h 2907193"/>
                <a:gd name="connsiteX11099" fmla="*/ 1531328 w 4044707"/>
                <a:gd name="connsiteY11099" fmla="*/ 2650752 h 2907193"/>
                <a:gd name="connsiteX11100" fmla="*/ 1535472 w 4044707"/>
                <a:gd name="connsiteY11100" fmla="*/ 2647606 h 2907193"/>
                <a:gd name="connsiteX11101" fmla="*/ 1536742 w 4044707"/>
                <a:gd name="connsiteY11101" fmla="*/ 2645912 h 2907193"/>
                <a:gd name="connsiteX11102" fmla="*/ 1537741 w 4044707"/>
                <a:gd name="connsiteY11102" fmla="*/ 2644278 h 2907193"/>
                <a:gd name="connsiteX11103" fmla="*/ 1541310 w 4044707"/>
                <a:gd name="connsiteY11103" fmla="*/ 2636534 h 2907193"/>
                <a:gd name="connsiteX11104" fmla="*/ 1543398 w 4044707"/>
                <a:gd name="connsiteY11104" fmla="*/ 2633267 h 2907193"/>
                <a:gd name="connsiteX11105" fmla="*/ 1545243 w 4044707"/>
                <a:gd name="connsiteY11105" fmla="*/ 2629485 h 2907193"/>
                <a:gd name="connsiteX11106" fmla="*/ 1546090 w 4044707"/>
                <a:gd name="connsiteY11106" fmla="*/ 2627277 h 2907193"/>
                <a:gd name="connsiteX11107" fmla="*/ 1546453 w 4044707"/>
                <a:gd name="connsiteY11107" fmla="*/ 2625825 h 2907193"/>
                <a:gd name="connsiteX11108" fmla="*/ 1546937 w 4044707"/>
                <a:gd name="connsiteY11108" fmla="*/ 2621136 h 2907193"/>
                <a:gd name="connsiteX11109" fmla="*/ 1548208 w 4044707"/>
                <a:gd name="connsiteY11109" fmla="*/ 2615630 h 2907193"/>
                <a:gd name="connsiteX11110" fmla="*/ 1550204 w 4044707"/>
                <a:gd name="connsiteY11110" fmla="*/ 2611304 h 2907193"/>
                <a:gd name="connsiteX11111" fmla="*/ 1552715 w 4044707"/>
                <a:gd name="connsiteY11111" fmla="*/ 2610154 h 2907193"/>
                <a:gd name="connsiteX11112" fmla="*/ 1551263 w 4044707"/>
                <a:gd name="connsiteY11112" fmla="*/ 2612091 h 2907193"/>
                <a:gd name="connsiteX11113" fmla="*/ 1550416 w 4044707"/>
                <a:gd name="connsiteY11113" fmla="*/ 2614995 h 2907193"/>
                <a:gd name="connsiteX11114" fmla="*/ 1550053 w 4044707"/>
                <a:gd name="connsiteY11114" fmla="*/ 2618443 h 2907193"/>
                <a:gd name="connsiteX11115" fmla="*/ 1549962 w 4044707"/>
                <a:gd name="connsiteY11115" fmla="*/ 2621952 h 2907193"/>
                <a:gd name="connsiteX11116" fmla="*/ 1549388 w 4044707"/>
                <a:gd name="connsiteY11116" fmla="*/ 2625431 h 2907193"/>
                <a:gd name="connsiteX11117" fmla="*/ 1548026 w 4044707"/>
                <a:gd name="connsiteY11117" fmla="*/ 2628396 h 2907193"/>
                <a:gd name="connsiteX11118" fmla="*/ 1546453 w 4044707"/>
                <a:gd name="connsiteY11118" fmla="*/ 2631119 h 2907193"/>
                <a:gd name="connsiteX11119" fmla="*/ 1545152 w 4044707"/>
                <a:gd name="connsiteY11119" fmla="*/ 2633871 h 2907193"/>
                <a:gd name="connsiteX11120" fmla="*/ 1548752 w 4044707"/>
                <a:gd name="connsiteY11120" fmla="*/ 2633448 h 2907193"/>
                <a:gd name="connsiteX11121" fmla="*/ 1555196 w 4044707"/>
                <a:gd name="connsiteY11121" fmla="*/ 2628819 h 2907193"/>
                <a:gd name="connsiteX11122" fmla="*/ 1572228 w 4044707"/>
                <a:gd name="connsiteY11122" fmla="*/ 2625583 h 2907193"/>
                <a:gd name="connsiteX11123" fmla="*/ 1576160 w 4044707"/>
                <a:gd name="connsiteY11123" fmla="*/ 2627640 h 2907193"/>
                <a:gd name="connsiteX11124" fmla="*/ 1564422 w 4044707"/>
                <a:gd name="connsiteY11124" fmla="*/ 2629273 h 2907193"/>
                <a:gd name="connsiteX11125" fmla="*/ 1545818 w 4044707"/>
                <a:gd name="connsiteY11125" fmla="*/ 2636655 h 2907193"/>
                <a:gd name="connsiteX11126" fmla="*/ 1543791 w 4044707"/>
                <a:gd name="connsiteY11126" fmla="*/ 2638984 h 2907193"/>
                <a:gd name="connsiteX11127" fmla="*/ 1543307 w 4044707"/>
                <a:gd name="connsiteY11127" fmla="*/ 2640678 h 2907193"/>
                <a:gd name="connsiteX11128" fmla="*/ 1543126 w 4044707"/>
                <a:gd name="connsiteY11128" fmla="*/ 2644399 h 2907193"/>
                <a:gd name="connsiteX11129" fmla="*/ 1542672 w 4044707"/>
                <a:gd name="connsiteY11129" fmla="*/ 2645851 h 2907193"/>
                <a:gd name="connsiteX11130" fmla="*/ 1541310 w 4044707"/>
                <a:gd name="connsiteY11130" fmla="*/ 2648483 h 2907193"/>
                <a:gd name="connsiteX11131" fmla="*/ 1540796 w 4044707"/>
                <a:gd name="connsiteY11131" fmla="*/ 2649814 h 2907193"/>
                <a:gd name="connsiteX11132" fmla="*/ 1540342 w 4044707"/>
                <a:gd name="connsiteY11132" fmla="*/ 2651387 h 2907193"/>
                <a:gd name="connsiteX11133" fmla="*/ 1540010 w 4044707"/>
                <a:gd name="connsiteY11133" fmla="*/ 2650721 h 2907193"/>
                <a:gd name="connsiteX11134" fmla="*/ 1539223 w 4044707"/>
                <a:gd name="connsiteY11134" fmla="*/ 2649512 h 2907193"/>
                <a:gd name="connsiteX11135" fmla="*/ 1538890 w 4044707"/>
                <a:gd name="connsiteY11135" fmla="*/ 2648816 h 2907193"/>
                <a:gd name="connsiteX11136" fmla="*/ 1536833 w 4044707"/>
                <a:gd name="connsiteY11136" fmla="*/ 2651810 h 2907193"/>
                <a:gd name="connsiteX11137" fmla="*/ 1534353 w 4044707"/>
                <a:gd name="connsiteY11137" fmla="*/ 2653656 h 2907193"/>
                <a:gd name="connsiteX11138" fmla="*/ 1529270 w 4044707"/>
                <a:gd name="connsiteY11138" fmla="*/ 2656378 h 2907193"/>
                <a:gd name="connsiteX11139" fmla="*/ 1526729 w 4044707"/>
                <a:gd name="connsiteY11139" fmla="*/ 2658466 h 2907193"/>
                <a:gd name="connsiteX11140" fmla="*/ 1525519 w 4044707"/>
                <a:gd name="connsiteY11140" fmla="*/ 2659767 h 2907193"/>
                <a:gd name="connsiteX11141" fmla="*/ 1524400 w 4044707"/>
                <a:gd name="connsiteY11141" fmla="*/ 2661340 h 2907193"/>
                <a:gd name="connsiteX11142" fmla="*/ 1523583 w 4044707"/>
                <a:gd name="connsiteY11142" fmla="*/ 2663094 h 2907193"/>
                <a:gd name="connsiteX11143" fmla="*/ 1522887 w 4044707"/>
                <a:gd name="connsiteY11143" fmla="*/ 2664940 h 2907193"/>
                <a:gd name="connsiteX11144" fmla="*/ 1522101 w 4044707"/>
                <a:gd name="connsiteY11144" fmla="*/ 2666543 h 2907193"/>
                <a:gd name="connsiteX11145" fmla="*/ 1520891 w 4044707"/>
                <a:gd name="connsiteY11145" fmla="*/ 2667602 h 2907193"/>
                <a:gd name="connsiteX11146" fmla="*/ 1520891 w 4044707"/>
                <a:gd name="connsiteY11146" fmla="*/ 2668721 h 2907193"/>
                <a:gd name="connsiteX11147" fmla="*/ 1522887 w 4044707"/>
                <a:gd name="connsiteY11147" fmla="*/ 2669719 h 2907193"/>
                <a:gd name="connsiteX11148" fmla="*/ 1525096 w 4044707"/>
                <a:gd name="connsiteY11148" fmla="*/ 2669931 h 2907193"/>
                <a:gd name="connsiteX11149" fmla="*/ 1526760 w 4044707"/>
                <a:gd name="connsiteY11149" fmla="*/ 2668630 h 2907193"/>
                <a:gd name="connsiteX11150" fmla="*/ 1527123 w 4044707"/>
                <a:gd name="connsiteY11150" fmla="*/ 2665121 h 2907193"/>
                <a:gd name="connsiteX11151" fmla="*/ 1527667 w 4044707"/>
                <a:gd name="connsiteY11151" fmla="*/ 2667360 h 2907193"/>
                <a:gd name="connsiteX11152" fmla="*/ 1528302 w 4044707"/>
                <a:gd name="connsiteY11152" fmla="*/ 2669114 h 2907193"/>
                <a:gd name="connsiteX11153" fmla="*/ 1529210 w 4044707"/>
                <a:gd name="connsiteY11153" fmla="*/ 2670415 h 2907193"/>
                <a:gd name="connsiteX11154" fmla="*/ 1530632 w 4044707"/>
                <a:gd name="connsiteY11154" fmla="*/ 2671292 h 2907193"/>
                <a:gd name="connsiteX11155" fmla="*/ 1531509 w 4044707"/>
                <a:gd name="connsiteY11155" fmla="*/ 2671474 h 2907193"/>
                <a:gd name="connsiteX11156" fmla="*/ 1532598 w 4044707"/>
                <a:gd name="connsiteY11156" fmla="*/ 2671534 h 2907193"/>
                <a:gd name="connsiteX11157" fmla="*/ 1533657 w 4044707"/>
                <a:gd name="connsiteY11157" fmla="*/ 2671292 h 2907193"/>
                <a:gd name="connsiteX11158" fmla="*/ 1534383 w 4044707"/>
                <a:gd name="connsiteY11158" fmla="*/ 2670688 h 2907193"/>
                <a:gd name="connsiteX11159" fmla="*/ 1535774 w 4044707"/>
                <a:gd name="connsiteY11159" fmla="*/ 2668056 h 2907193"/>
                <a:gd name="connsiteX11160" fmla="*/ 1536077 w 4044707"/>
                <a:gd name="connsiteY11160" fmla="*/ 2667602 h 2907193"/>
                <a:gd name="connsiteX11161" fmla="*/ 1537226 w 4044707"/>
                <a:gd name="connsiteY11161" fmla="*/ 2668267 h 2907193"/>
                <a:gd name="connsiteX11162" fmla="*/ 1537832 w 4044707"/>
                <a:gd name="connsiteY11162" fmla="*/ 2669931 h 2907193"/>
                <a:gd name="connsiteX11163" fmla="*/ 1538588 w 4044707"/>
                <a:gd name="connsiteY11163" fmla="*/ 2671051 h 2907193"/>
                <a:gd name="connsiteX11164" fmla="*/ 1540252 w 4044707"/>
                <a:gd name="connsiteY11164" fmla="*/ 2670082 h 2907193"/>
                <a:gd name="connsiteX11165" fmla="*/ 1541159 w 4044707"/>
                <a:gd name="connsiteY11165" fmla="*/ 2668600 h 2907193"/>
                <a:gd name="connsiteX11166" fmla="*/ 1541462 w 4044707"/>
                <a:gd name="connsiteY11166" fmla="*/ 2666876 h 2907193"/>
                <a:gd name="connsiteX11167" fmla="*/ 1541310 w 4044707"/>
                <a:gd name="connsiteY11167" fmla="*/ 2665545 h 2907193"/>
                <a:gd name="connsiteX11168" fmla="*/ 1542611 w 4044707"/>
                <a:gd name="connsiteY11168" fmla="*/ 2667662 h 2907193"/>
                <a:gd name="connsiteX11169" fmla="*/ 1544063 w 4044707"/>
                <a:gd name="connsiteY11169" fmla="*/ 2669417 h 2907193"/>
                <a:gd name="connsiteX11170" fmla="*/ 1545031 w 4044707"/>
                <a:gd name="connsiteY11170" fmla="*/ 2671292 h 2907193"/>
                <a:gd name="connsiteX11171" fmla="*/ 1545031 w 4044707"/>
                <a:gd name="connsiteY11171" fmla="*/ 2672533 h 2907193"/>
                <a:gd name="connsiteX11172" fmla="*/ 1529815 w 4044707"/>
                <a:gd name="connsiteY11172" fmla="*/ 2673652 h 2907193"/>
                <a:gd name="connsiteX11173" fmla="*/ 1532568 w 4044707"/>
                <a:gd name="connsiteY11173" fmla="*/ 2679460 h 2907193"/>
                <a:gd name="connsiteX11174" fmla="*/ 1536773 w 4044707"/>
                <a:gd name="connsiteY11174" fmla="*/ 2680701 h 2907193"/>
                <a:gd name="connsiteX11175" fmla="*/ 1541613 w 4044707"/>
                <a:gd name="connsiteY11175" fmla="*/ 2679037 h 2907193"/>
                <a:gd name="connsiteX11176" fmla="*/ 1552836 w 4044707"/>
                <a:gd name="connsiteY11176" fmla="*/ 2670718 h 2907193"/>
                <a:gd name="connsiteX11177" fmla="*/ 1555377 w 4044707"/>
                <a:gd name="connsiteY11177" fmla="*/ 2670052 h 2907193"/>
                <a:gd name="connsiteX11178" fmla="*/ 1567720 w 4044707"/>
                <a:gd name="connsiteY11178" fmla="*/ 2670052 h 2907193"/>
                <a:gd name="connsiteX11179" fmla="*/ 1567720 w 4044707"/>
                <a:gd name="connsiteY11179" fmla="*/ 2671292 h 2907193"/>
                <a:gd name="connsiteX11180" fmla="*/ 1558433 w 4044707"/>
                <a:gd name="connsiteY11180" fmla="*/ 2671020 h 2907193"/>
                <a:gd name="connsiteX11181" fmla="*/ 1553865 w 4044707"/>
                <a:gd name="connsiteY11181" fmla="*/ 2672170 h 2907193"/>
                <a:gd name="connsiteX11182" fmla="*/ 1546635 w 4044707"/>
                <a:gd name="connsiteY11182" fmla="*/ 2679007 h 2907193"/>
                <a:gd name="connsiteX11183" fmla="*/ 1538497 w 4044707"/>
                <a:gd name="connsiteY11183" fmla="*/ 2681880 h 2907193"/>
                <a:gd name="connsiteX11184" fmla="*/ 1533838 w 4044707"/>
                <a:gd name="connsiteY11184" fmla="*/ 2686872 h 2907193"/>
                <a:gd name="connsiteX11185" fmla="*/ 1529179 w 4044707"/>
                <a:gd name="connsiteY11185" fmla="*/ 2689958 h 2907193"/>
                <a:gd name="connsiteX11186" fmla="*/ 1527727 w 4044707"/>
                <a:gd name="connsiteY11186" fmla="*/ 2691682 h 2907193"/>
                <a:gd name="connsiteX11187" fmla="*/ 1524309 w 4044707"/>
                <a:gd name="connsiteY11187" fmla="*/ 2697369 h 2907193"/>
                <a:gd name="connsiteX11188" fmla="*/ 1522131 w 4044707"/>
                <a:gd name="connsiteY11188" fmla="*/ 2702119 h 2907193"/>
                <a:gd name="connsiteX11189" fmla="*/ 1525217 w 4044707"/>
                <a:gd name="connsiteY11189" fmla="*/ 2702482 h 2907193"/>
                <a:gd name="connsiteX11190" fmla="*/ 1530239 w 4044707"/>
                <a:gd name="connsiteY11190" fmla="*/ 2701483 h 2907193"/>
                <a:gd name="connsiteX11191" fmla="*/ 1533959 w 4044707"/>
                <a:gd name="connsiteY11191" fmla="*/ 2702300 h 2907193"/>
                <a:gd name="connsiteX11192" fmla="*/ 1532144 w 4044707"/>
                <a:gd name="connsiteY11192" fmla="*/ 2703359 h 2907193"/>
                <a:gd name="connsiteX11193" fmla="*/ 1526336 w 4044707"/>
                <a:gd name="connsiteY11193" fmla="*/ 2704750 h 2907193"/>
                <a:gd name="connsiteX11194" fmla="*/ 1523432 w 4044707"/>
                <a:gd name="connsiteY11194" fmla="*/ 2706293 h 2907193"/>
                <a:gd name="connsiteX11195" fmla="*/ 1513479 w 4044707"/>
                <a:gd name="connsiteY11195" fmla="*/ 2708562 h 2907193"/>
                <a:gd name="connsiteX11196" fmla="*/ 1510212 w 4044707"/>
                <a:gd name="connsiteY11196" fmla="*/ 2710287 h 2907193"/>
                <a:gd name="connsiteX11197" fmla="*/ 1508397 w 4044707"/>
                <a:gd name="connsiteY11197" fmla="*/ 2713342 h 2907193"/>
                <a:gd name="connsiteX11198" fmla="*/ 1508669 w 4044707"/>
                <a:gd name="connsiteY11198" fmla="*/ 2717063 h 2907193"/>
                <a:gd name="connsiteX11199" fmla="*/ 1510303 w 4044707"/>
                <a:gd name="connsiteY11199" fmla="*/ 2720814 h 2907193"/>
                <a:gd name="connsiteX11200" fmla="*/ 1512511 w 4044707"/>
                <a:gd name="connsiteY11200" fmla="*/ 2723930 h 2907193"/>
                <a:gd name="connsiteX11201" fmla="*/ 1514538 w 4044707"/>
                <a:gd name="connsiteY11201" fmla="*/ 2725715 h 2907193"/>
                <a:gd name="connsiteX11202" fmla="*/ 1516535 w 4044707"/>
                <a:gd name="connsiteY11202" fmla="*/ 2726017 h 2907193"/>
                <a:gd name="connsiteX11203" fmla="*/ 1520407 w 4044707"/>
                <a:gd name="connsiteY11203" fmla="*/ 2724444 h 2907193"/>
                <a:gd name="connsiteX11204" fmla="*/ 1522070 w 4044707"/>
                <a:gd name="connsiteY11204" fmla="*/ 2724354 h 2907193"/>
                <a:gd name="connsiteX11205" fmla="*/ 1523159 w 4044707"/>
                <a:gd name="connsiteY11205" fmla="*/ 2725352 h 2907193"/>
                <a:gd name="connsiteX11206" fmla="*/ 1524914 w 4044707"/>
                <a:gd name="connsiteY11206" fmla="*/ 2728437 h 2907193"/>
                <a:gd name="connsiteX11207" fmla="*/ 1526275 w 4044707"/>
                <a:gd name="connsiteY11207" fmla="*/ 2729254 h 2907193"/>
                <a:gd name="connsiteX11208" fmla="*/ 1524370 w 4044707"/>
                <a:gd name="connsiteY11208" fmla="*/ 2730222 h 2907193"/>
                <a:gd name="connsiteX11209" fmla="*/ 1521798 w 4044707"/>
                <a:gd name="connsiteY11209" fmla="*/ 2730555 h 2907193"/>
                <a:gd name="connsiteX11210" fmla="*/ 1519560 w 4044707"/>
                <a:gd name="connsiteY11210" fmla="*/ 2731795 h 2907193"/>
                <a:gd name="connsiteX11211" fmla="*/ 1518652 w 4044707"/>
                <a:gd name="connsiteY11211" fmla="*/ 2735486 h 2907193"/>
                <a:gd name="connsiteX11212" fmla="*/ 1519408 w 4044707"/>
                <a:gd name="connsiteY11212" fmla="*/ 2737604 h 2907193"/>
                <a:gd name="connsiteX11213" fmla="*/ 1524582 w 4044707"/>
                <a:gd name="connsiteY11213" fmla="*/ 2745953 h 2907193"/>
                <a:gd name="connsiteX11214" fmla="*/ 1533929 w 4044707"/>
                <a:gd name="connsiteY11214" fmla="*/ 2731886 h 2907193"/>
                <a:gd name="connsiteX11215" fmla="*/ 1537317 w 4044707"/>
                <a:gd name="connsiteY11215" fmla="*/ 2729285 h 2907193"/>
                <a:gd name="connsiteX11216" fmla="*/ 1551233 w 4044707"/>
                <a:gd name="connsiteY11216" fmla="*/ 2726259 h 2907193"/>
                <a:gd name="connsiteX11217" fmla="*/ 1556587 w 4044707"/>
                <a:gd name="connsiteY11217" fmla="*/ 2723053 h 2907193"/>
                <a:gd name="connsiteX11218" fmla="*/ 1584177 w 4044707"/>
                <a:gd name="connsiteY11218" fmla="*/ 2718243 h 2907193"/>
                <a:gd name="connsiteX11219" fmla="*/ 1584177 w 4044707"/>
                <a:gd name="connsiteY11219" fmla="*/ 2719483 h 2907193"/>
                <a:gd name="connsiteX11220" fmla="*/ 1540766 w 4044707"/>
                <a:gd name="connsiteY11220" fmla="*/ 2731856 h 2907193"/>
                <a:gd name="connsiteX11221" fmla="*/ 1533899 w 4044707"/>
                <a:gd name="connsiteY11221" fmla="*/ 2735758 h 2907193"/>
                <a:gd name="connsiteX11222" fmla="*/ 1531781 w 4044707"/>
                <a:gd name="connsiteY11222" fmla="*/ 2737846 h 2907193"/>
                <a:gd name="connsiteX11223" fmla="*/ 1529028 w 4044707"/>
                <a:gd name="connsiteY11223" fmla="*/ 2741808 h 2907193"/>
                <a:gd name="connsiteX11224" fmla="*/ 1527607 w 4044707"/>
                <a:gd name="connsiteY11224" fmla="*/ 2744441 h 2907193"/>
                <a:gd name="connsiteX11225" fmla="*/ 1527001 w 4044707"/>
                <a:gd name="connsiteY11225" fmla="*/ 2746528 h 2907193"/>
                <a:gd name="connsiteX11226" fmla="*/ 1527727 w 4044707"/>
                <a:gd name="connsiteY11226" fmla="*/ 2749492 h 2907193"/>
                <a:gd name="connsiteX11227" fmla="*/ 1529452 w 4044707"/>
                <a:gd name="connsiteY11227" fmla="*/ 2752124 h 2907193"/>
                <a:gd name="connsiteX11228" fmla="*/ 1531509 w 4044707"/>
                <a:gd name="connsiteY11228" fmla="*/ 2754091 h 2907193"/>
                <a:gd name="connsiteX11229" fmla="*/ 1533173 w 4044707"/>
                <a:gd name="connsiteY11229" fmla="*/ 2755180 h 2907193"/>
                <a:gd name="connsiteX11230" fmla="*/ 1541946 w 4044707"/>
                <a:gd name="connsiteY11230" fmla="*/ 2755996 h 2907193"/>
                <a:gd name="connsiteX11231" fmla="*/ 1544215 w 4044707"/>
                <a:gd name="connsiteY11231" fmla="*/ 2757600 h 2907193"/>
                <a:gd name="connsiteX11232" fmla="*/ 1534776 w 4044707"/>
                <a:gd name="connsiteY11232" fmla="*/ 2757690 h 2907193"/>
                <a:gd name="connsiteX11233" fmla="*/ 1530511 w 4044707"/>
                <a:gd name="connsiteY11233" fmla="*/ 2756329 h 2907193"/>
                <a:gd name="connsiteX11234" fmla="*/ 1518198 w 4044707"/>
                <a:gd name="connsiteY11234" fmla="*/ 2746225 h 2907193"/>
                <a:gd name="connsiteX11235" fmla="*/ 1516928 w 4044707"/>
                <a:gd name="connsiteY11235" fmla="*/ 2744471 h 2907193"/>
                <a:gd name="connsiteX11236" fmla="*/ 1514598 w 4044707"/>
                <a:gd name="connsiteY11236" fmla="*/ 2740417 h 2907193"/>
                <a:gd name="connsiteX11237" fmla="*/ 1513146 w 4044707"/>
                <a:gd name="connsiteY11237" fmla="*/ 2738844 h 2907193"/>
                <a:gd name="connsiteX11238" fmla="*/ 1509395 w 4044707"/>
                <a:gd name="connsiteY11238" fmla="*/ 2736303 h 2907193"/>
                <a:gd name="connsiteX11239" fmla="*/ 1507731 w 4044707"/>
                <a:gd name="connsiteY11239" fmla="*/ 2735547 h 2907193"/>
                <a:gd name="connsiteX11240" fmla="*/ 1506491 w 4044707"/>
                <a:gd name="connsiteY11240" fmla="*/ 2735274 h 2907193"/>
                <a:gd name="connsiteX11241" fmla="*/ 1503315 w 4044707"/>
                <a:gd name="connsiteY11241" fmla="*/ 2735547 h 2907193"/>
                <a:gd name="connsiteX11242" fmla="*/ 1502861 w 4044707"/>
                <a:gd name="connsiteY11242" fmla="*/ 2736212 h 2907193"/>
                <a:gd name="connsiteX11243" fmla="*/ 1503072 w 4044707"/>
                <a:gd name="connsiteY11243" fmla="*/ 2739358 h 2907193"/>
                <a:gd name="connsiteX11244" fmla="*/ 1502921 w 4044707"/>
                <a:gd name="connsiteY11244" fmla="*/ 2740447 h 2907193"/>
                <a:gd name="connsiteX11245" fmla="*/ 1501167 w 4044707"/>
                <a:gd name="connsiteY11245" fmla="*/ 2741234 h 2907193"/>
                <a:gd name="connsiteX11246" fmla="*/ 1496478 w 4044707"/>
                <a:gd name="connsiteY11246" fmla="*/ 2740871 h 2907193"/>
                <a:gd name="connsiteX11247" fmla="*/ 1494602 w 4044707"/>
                <a:gd name="connsiteY11247" fmla="*/ 2741808 h 2907193"/>
                <a:gd name="connsiteX11248" fmla="*/ 1492606 w 4044707"/>
                <a:gd name="connsiteY11248" fmla="*/ 2752820 h 2907193"/>
                <a:gd name="connsiteX11249" fmla="*/ 1491335 w 4044707"/>
                <a:gd name="connsiteY11249" fmla="*/ 2749190 h 2907193"/>
                <a:gd name="connsiteX11250" fmla="*/ 1491123 w 4044707"/>
                <a:gd name="connsiteY11250" fmla="*/ 2743533 h 2907193"/>
                <a:gd name="connsiteX11251" fmla="*/ 1491668 w 4044707"/>
                <a:gd name="connsiteY11251" fmla="*/ 2737604 h 2907193"/>
                <a:gd name="connsiteX11252" fmla="*/ 1492606 w 4044707"/>
                <a:gd name="connsiteY11252" fmla="*/ 2733157 h 2907193"/>
                <a:gd name="connsiteX11253" fmla="*/ 1475998 w 4044707"/>
                <a:gd name="connsiteY11253" fmla="*/ 2722115 h 2907193"/>
                <a:gd name="connsiteX11254" fmla="*/ 1475181 w 4044707"/>
                <a:gd name="connsiteY11254" fmla="*/ 2727318 h 2907193"/>
                <a:gd name="connsiteX11255" fmla="*/ 1474485 w 4044707"/>
                <a:gd name="connsiteY11255" fmla="*/ 2729285 h 2907193"/>
                <a:gd name="connsiteX11256" fmla="*/ 1473245 w 4044707"/>
                <a:gd name="connsiteY11256" fmla="*/ 2730585 h 2907193"/>
                <a:gd name="connsiteX11257" fmla="*/ 1475030 w 4044707"/>
                <a:gd name="connsiteY11257" fmla="*/ 2731826 h 2907193"/>
                <a:gd name="connsiteX11258" fmla="*/ 1478841 w 4044707"/>
                <a:gd name="connsiteY11258" fmla="*/ 2731009 h 2907193"/>
                <a:gd name="connsiteX11259" fmla="*/ 1480112 w 4044707"/>
                <a:gd name="connsiteY11259" fmla="*/ 2733157 h 2907193"/>
                <a:gd name="connsiteX11260" fmla="*/ 1479053 w 4044707"/>
                <a:gd name="connsiteY11260" fmla="*/ 2732219 h 2907193"/>
                <a:gd name="connsiteX11261" fmla="*/ 1478025 w 4044707"/>
                <a:gd name="connsiteY11261" fmla="*/ 2732219 h 2907193"/>
                <a:gd name="connsiteX11262" fmla="*/ 1476996 w 4044707"/>
                <a:gd name="connsiteY11262" fmla="*/ 2732975 h 2907193"/>
                <a:gd name="connsiteX11263" fmla="*/ 1475998 w 4044707"/>
                <a:gd name="connsiteY11263" fmla="*/ 2734246 h 2907193"/>
                <a:gd name="connsiteX11264" fmla="*/ 1480324 w 4044707"/>
                <a:gd name="connsiteY11264" fmla="*/ 2737997 h 2907193"/>
                <a:gd name="connsiteX11265" fmla="*/ 1482623 w 4044707"/>
                <a:gd name="connsiteY11265" fmla="*/ 2740568 h 2907193"/>
                <a:gd name="connsiteX11266" fmla="*/ 1483591 w 4044707"/>
                <a:gd name="connsiteY11266" fmla="*/ 2742353 h 2907193"/>
                <a:gd name="connsiteX11267" fmla="*/ 1482713 w 4044707"/>
                <a:gd name="connsiteY11267" fmla="*/ 2745620 h 2907193"/>
                <a:gd name="connsiteX11268" fmla="*/ 1480717 w 4044707"/>
                <a:gd name="connsiteY11268" fmla="*/ 2744138 h 2907193"/>
                <a:gd name="connsiteX11269" fmla="*/ 1477722 w 4044707"/>
                <a:gd name="connsiteY11269" fmla="*/ 2739237 h 2907193"/>
                <a:gd name="connsiteX11270" fmla="*/ 1476633 w 4044707"/>
                <a:gd name="connsiteY11270" fmla="*/ 2738451 h 2907193"/>
                <a:gd name="connsiteX11271" fmla="*/ 1475574 w 4044707"/>
                <a:gd name="connsiteY11271" fmla="*/ 2737120 h 2907193"/>
                <a:gd name="connsiteX11272" fmla="*/ 1474636 w 4044707"/>
                <a:gd name="connsiteY11272" fmla="*/ 2736878 h 2907193"/>
                <a:gd name="connsiteX11273" fmla="*/ 1474485 w 4044707"/>
                <a:gd name="connsiteY11273" fmla="*/ 2738693 h 2907193"/>
                <a:gd name="connsiteX11274" fmla="*/ 1475241 w 4044707"/>
                <a:gd name="connsiteY11274" fmla="*/ 2740689 h 2907193"/>
                <a:gd name="connsiteX11275" fmla="*/ 1475846 w 4044707"/>
                <a:gd name="connsiteY11275" fmla="*/ 2743170 h 2907193"/>
                <a:gd name="connsiteX11276" fmla="*/ 1475967 w 4044707"/>
                <a:gd name="connsiteY11276" fmla="*/ 2744077 h 2907193"/>
                <a:gd name="connsiteX11277" fmla="*/ 1477147 w 4044707"/>
                <a:gd name="connsiteY11277" fmla="*/ 2745953 h 2907193"/>
                <a:gd name="connsiteX11278" fmla="*/ 1477994 w 4044707"/>
                <a:gd name="connsiteY11278" fmla="*/ 2746891 h 2907193"/>
                <a:gd name="connsiteX11279" fmla="*/ 1478176 w 4044707"/>
                <a:gd name="connsiteY11279" fmla="*/ 2747980 h 2907193"/>
                <a:gd name="connsiteX11280" fmla="*/ 1477329 w 4044707"/>
                <a:gd name="connsiteY11280" fmla="*/ 2750218 h 2907193"/>
                <a:gd name="connsiteX11281" fmla="*/ 1476270 w 4044707"/>
                <a:gd name="connsiteY11281" fmla="*/ 2750914 h 2907193"/>
                <a:gd name="connsiteX11282" fmla="*/ 1474818 w 4044707"/>
                <a:gd name="connsiteY11282" fmla="*/ 2751398 h 2907193"/>
                <a:gd name="connsiteX11283" fmla="*/ 1473940 w 4044707"/>
                <a:gd name="connsiteY11283" fmla="*/ 2752518 h 2907193"/>
                <a:gd name="connsiteX11284" fmla="*/ 1474576 w 4044707"/>
                <a:gd name="connsiteY11284" fmla="*/ 2755210 h 2907193"/>
                <a:gd name="connsiteX11285" fmla="*/ 1474848 w 4044707"/>
                <a:gd name="connsiteY11285" fmla="*/ 2758749 h 2907193"/>
                <a:gd name="connsiteX11286" fmla="*/ 1474848 w 4044707"/>
                <a:gd name="connsiteY11286" fmla="*/ 2762047 h 2907193"/>
                <a:gd name="connsiteX11287" fmla="*/ 1474424 w 4044707"/>
                <a:gd name="connsiteY11287" fmla="*/ 2765011 h 2907193"/>
                <a:gd name="connsiteX11288" fmla="*/ 1473547 w 4044707"/>
                <a:gd name="connsiteY11288" fmla="*/ 2767643 h 2907193"/>
                <a:gd name="connsiteX11289" fmla="*/ 1470371 w 4044707"/>
                <a:gd name="connsiteY11289" fmla="*/ 2770880 h 2907193"/>
                <a:gd name="connsiteX11290" fmla="*/ 1468646 w 4044707"/>
                <a:gd name="connsiteY11290" fmla="*/ 2772877 h 2907193"/>
                <a:gd name="connsiteX11291" fmla="*/ 1471551 w 4044707"/>
                <a:gd name="connsiteY11291" fmla="*/ 2777324 h 2907193"/>
                <a:gd name="connsiteX11292" fmla="*/ 1472700 w 4044707"/>
                <a:gd name="connsiteY11292" fmla="*/ 2780107 h 2907193"/>
                <a:gd name="connsiteX11293" fmla="*/ 1473517 w 4044707"/>
                <a:gd name="connsiteY11293" fmla="*/ 2783646 h 2907193"/>
                <a:gd name="connsiteX11294" fmla="*/ 1475695 w 4044707"/>
                <a:gd name="connsiteY11294" fmla="*/ 2788517 h 2907193"/>
                <a:gd name="connsiteX11295" fmla="*/ 1478085 w 4044707"/>
                <a:gd name="connsiteY11295" fmla="*/ 2795384 h 2907193"/>
                <a:gd name="connsiteX11296" fmla="*/ 1482411 w 4044707"/>
                <a:gd name="connsiteY11296" fmla="*/ 2801616 h 2907193"/>
                <a:gd name="connsiteX11297" fmla="*/ 1486192 w 4044707"/>
                <a:gd name="connsiteY11297" fmla="*/ 2807031 h 2907193"/>
                <a:gd name="connsiteX11298" fmla="*/ 1485587 w 4044707"/>
                <a:gd name="connsiteY11298" fmla="*/ 2809541 h 2907193"/>
                <a:gd name="connsiteX11299" fmla="*/ 1491426 w 4044707"/>
                <a:gd name="connsiteY11299" fmla="*/ 2814472 h 2907193"/>
                <a:gd name="connsiteX11300" fmla="*/ 1495237 w 4044707"/>
                <a:gd name="connsiteY11300" fmla="*/ 2813353 h 2907193"/>
                <a:gd name="connsiteX11301" fmla="*/ 1498898 w 4044707"/>
                <a:gd name="connsiteY11301" fmla="*/ 2814442 h 2907193"/>
                <a:gd name="connsiteX11302" fmla="*/ 1500743 w 4044707"/>
                <a:gd name="connsiteY11302" fmla="*/ 2820039 h 2907193"/>
                <a:gd name="connsiteX11303" fmla="*/ 1504827 w 4044707"/>
                <a:gd name="connsiteY11303" fmla="*/ 2821430 h 2907193"/>
                <a:gd name="connsiteX11304" fmla="*/ 1513994 w 4044707"/>
                <a:gd name="connsiteY11304" fmla="*/ 2821037 h 2907193"/>
                <a:gd name="connsiteX11305" fmla="*/ 1516625 w 4044707"/>
                <a:gd name="connsiteY11305" fmla="*/ 2822126 h 2907193"/>
                <a:gd name="connsiteX11306" fmla="*/ 1517593 w 4044707"/>
                <a:gd name="connsiteY11306" fmla="*/ 2823760 h 2907193"/>
                <a:gd name="connsiteX11307" fmla="*/ 1517865 w 4044707"/>
                <a:gd name="connsiteY11307" fmla="*/ 2825423 h 2907193"/>
                <a:gd name="connsiteX11308" fmla="*/ 1517865 w 4044707"/>
                <a:gd name="connsiteY11308" fmla="*/ 2827239 h 2907193"/>
                <a:gd name="connsiteX11309" fmla="*/ 1518047 w 4044707"/>
                <a:gd name="connsiteY11309" fmla="*/ 2829326 h 2907193"/>
                <a:gd name="connsiteX11310" fmla="*/ 1518501 w 4044707"/>
                <a:gd name="connsiteY11310" fmla="*/ 2831534 h 2907193"/>
                <a:gd name="connsiteX11311" fmla="*/ 1518954 w 4044707"/>
                <a:gd name="connsiteY11311" fmla="*/ 2833228 h 2907193"/>
                <a:gd name="connsiteX11312" fmla="*/ 1519560 w 4044707"/>
                <a:gd name="connsiteY11312" fmla="*/ 2834650 h 2907193"/>
                <a:gd name="connsiteX11313" fmla="*/ 1521344 w 4044707"/>
                <a:gd name="connsiteY11313" fmla="*/ 2837524 h 2907193"/>
                <a:gd name="connsiteX11314" fmla="*/ 1522222 w 4044707"/>
                <a:gd name="connsiteY11314" fmla="*/ 2838432 h 2907193"/>
                <a:gd name="connsiteX11315" fmla="*/ 1523341 w 4044707"/>
                <a:gd name="connsiteY11315" fmla="*/ 2838916 h 2907193"/>
                <a:gd name="connsiteX11316" fmla="*/ 1526306 w 4044707"/>
                <a:gd name="connsiteY11316" fmla="*/ 2839400 h 2907193"/>
                <a:gd name="connsiteX11317" fmla="*/ 1527425 w 4044707"/>
                <a:gd name="connsiteY11317" fmla="*/ 2840247 h 2907193"/>
                <a:gd name="connsiteX11318" fmla="*/ 1529754 w 4044707"/>
                <a:gd name="connsiteY11318" fmla="*/ 2842818 h 2907193"/>
                <a:gd name="connsiteX11319" fmla="*/ 1535321 w 4044707"/>
                <a:gd name="connsiteY11319" fmla="*/ 2846418 h 2907193"/>
                <a:gd name="connsiteX11320" fmla="*/ 1541673 w 4044707"/>
                <a:gd name="connsiteY11320" fmla="*/ 2847144 h 2907193"/>
                <a:gd name="connsiteX11321" fmla="*/ 1543246 w 4044707"/>
                <a:gd name="connsiteY11321" fmla="*/ 2848142 h 2907193"/>
                <a:gd name="connsiteX11322" fmla="*/ 1544487 w 4044707"/>
                <a:gd name="connsiteY11322" fmla="*/ 2849322 h 2907193"/>
                <a:gd name="connsiteX11323" fmla="*/ 1546211 w 4044707"/>
                <a:gd name="connsiteY11323" fmla="*/ 2850260 h 2907193"/>
                <a:gd name="connsiteX11324" fmla="*/ 1547996 w 4044707"/>
                <a:gd name="connsiteY11324" fmla="*/ 2850895 h 2907193"/>
                <a:gd name="connsiteX11325" fmla="*/ 1549478 w 4044707"/>
                <a:gd name="connsiteY11325" fmla="*/ 2851137 h 2907193"/>
                <a:gd name="connsiteX11326" fmla="*/ 1550598 w 4044707"/>
                <a:gd name="connsiteY11326" fmla="*/ 2851893 h 2907193"/>
                <a:gd name="connsiteX11327" fmla="*/ 1556194 w 4044707"/>
                <a:gd name="connsiteY11327" fmla="*/ 2855917 h 2907193"/>
                <a:gd name="connsiteX11328" fmla="*/ 1561549 w 4044707"/>
                <a:gd name="connsiteY11328" fmla="*/ 2858307 h 2907193"/>
                <a:gd name="connsiteX11329" fmla="*/ 1571471 w 4044707"/>
                <a:gd name="connsiteY11329" fmla="*/ 2859940 h 2907193"/>
                <a:gd name="connsiteX11330" fmla="*/ 1577824 w 4044707"/>
                <a:gd name="connsiteY11330" fmla="*/ 2863419 h 2907193"/>
                <a:gd name="connsiteX11331" fmla="*/ 1584237 w 4044707"/>
                <a:gd name="connsiteY11331" fmla="*/ 2863147 h 2907193"/>
                <a:gd name="connsiteX11332" fmla="*/ 1583572 w 4044707"/>
                <a:gd name="connsiteY11332" fmla="*/ 2859638 h 2907193"/>
                <a:gd name="connsiteX11333" fmla="*/ 1583572 w 4044707"/>
                <a:gd name="connsiteY11333" fmla="*/ 2850048 h 2907193"/>
                <a:gd name="connsiteX11334" fmla="*/ 1585689 w 4044707"/>
                <a:gd name="connsiteY11334" fmla="*/ 2850532 h 2907193"/>
                <a:gd name="connsiteX11335" fmla="*/ 1588019 w 4044707"/>
                <a:gd name="connsiteY11335" fmla="*/ 2849231 h 2907193"/>
                <a:gd name="connsiteX11336" fmla="*/ 1590348 w 4044707"/>
                <a:gd name="connsiteY11336" fmla="*/ 2848596 h 2907193"/>
                <a:gd name="connsiteX11337" fmla="*/ 1592496 w 4044707"/>
                <a:gd name="connsiteY11337" fmla="*/ 2851137 h 2907193"/>
                <a:gd name="connsiteX11338" fmla="*/ 1591135 w 4044707"/>
                <a:gd name="connsiteY11338" fmla="*/ 2854858 h 2907193"/>
                <a:gd name="connsiteX11339" fmla="*/ 1589259 w 4044707"/>
                <a:gd name="connsiteY11339" fmla="*/ 2853043 h 2907193"/>
                <a:gd name="connsiteX11340" fmla="*/ 1587232 w 4044707"/>
                <a:gd name="connsiteY11340" fmla="*/ 2852922 h 2907193"/>
                <a:gd name="connsiteX11341" fmla="*/ 1585598 w 4044707"/>
                <a:gd name="connsiteY11341" fmla="*/ 2854525 h 2907193"/>
                <a:gd name="connsiteX11342" fmla="*/ 1584933 w 4044707"/>
                <a:gd name="connsiteY11342" fmla="*/ 2857853 h 2907193"/>
                <a:gd name="connsiteX11343" fmla="*/ 1585508 w 4044707"/>
                <a:gd name="connsiteY11343" fmla="*/ 2859759 h 2907193"/>
                <a:gd name="connsiteX11344" fmla="*/ 1588473 w 4044707"/>
                <a:gd name="connsiteY11344" fmla="*/ 2865476 h 2907193"/>
                <a:gd name="connsiteX11345" fmla="*/ 1589743 w 4044707"/>
                <a:gd name="connsiteY11345" fmla="*/ 2866959 h 2907193"/>
                <a:gd name="connsiteX11346" fmla="*/ 1591467 w 4044707"/>
                <a:gd name="connsiteY11346" fmla="*/ 2866686 h 2907193"/>
                <a:gd name="connsiteX11347" fmla="*/ 1597336 w 4044707"/>
                <a:gd name="connsiteY11347" fmla="*/ 2861453 h 2907193"/>
                <a:gd name="connsiteX11348" fmla="*/ 1601995 w 4044707"/>
                <a:gd name="connsiteY11348" fmla="*/ 2858640 h 2907193"/>
                <a:gd name="connsiteX11349" fmla="*/ 1604566 w 4044707"/>
                <a:gd name="connsiteY11349" fmla="*/ 2857883 h 2907193"/>
                <a:gd name="connsiteX11350" fmla="*/ 1606321 w 4044707"/>
                <a:gd name="connsiteY11350" fmla="*/ 2858458 h 2907193"/>
                <a:gd name="connsiteX11351" fmla="*/ 1598244 w 4044707"/>
                <a:gd name="connsiteY11351" fmla="*/ 2862875 h 2907193"/>
                <a:gd name="connsiteX11352" fmla="*/ 1594160 w 4044707"/>
                <a:gd name="connsiteY11352" fmla="*/ 2867201 h 2907193"/>
                <a:gd name="connsiteX11353" fmla="*/ 1589108 w 4044707"/>
                <a:gd name="connsiteY11353" fmla="*/ 2869772 h 2907193"/>
                <a:gd name="connsiteX11354" fmla="*/ 1586990 w 4044707"/>
                <a:gd name="connsiteY11354" fmla="*/ 2872858 h 2907193"/>
                <a:gd name="connsiteX11355" fmla="*/ 1587625 w 4044707"/>
                <a:gd name="connsiteY11355" fmla="*/ 2873069 h 2907193"/>
                <a:gd name="connsiteX11356" fmla="*/ 1589077 w 4044707"/>
                <a:gd name="connsiteY11356" fmla="*/ 2874128 h 2907193"/>
                <a:gd name="connsiteX11357" fmla="*/ 1586899 w 4044707"/>
                <a:gd name="connsiteY11357" fmla="*/ 2874854 h 2907193"/>
                <a:gd name="connsiteX11358" fmla="*/ 1581273 w 4044707"/>
                <a:gd name="connsiteY11358" fmla="*/ 2875096 h 2907193"/>
                <a:gd name="connsiteX11359" fmla="*/ 1580153 w 4044707"/>
                <a:gd name="connsiteY11359" fmla="*/ 2877063 h 2907193"/>
                <a:gd name="connsiteX11360" fmla="*/ 1579669 w 4044707"/>
                <a:gd name="connsiteY11360" fmla="*/ 2880390 h 2907193"/>
                <a:gd name="connsiteX11361" fmla="*/ 1578399 w 4044707"/>
                <a:gd name="connsiteY11361" fmla="*/ 2882931 h 2907193"/>
                <a:gd name="connsiteX11362" fmla="*/ 1576614 w 4044707"/>
                <a:gd name="connsiteY11362" fmla="*/ 2884505 h 2907193"/>
                <a:gd name="connsiteX11363" fmla="*/ 1574617 w 4044707"/>
                <a:gd name="connsiteY11363" fmla="*/ 2884898 h 2907193"/>
                <a:gd name="connsiteX11364" fmla="*/ 1575767 w 4044707"/>
                <a:gd name="connsiteY11364" fmla="*/ 2887167 h 2907193"/>
                <a:gd name="connsiteX11365" fmla="*/ 1581182 w 4044707"/>
                <a:gd name="connsiteY11365" fmla="*/ 2892733 h 2907193"/>
                <a:gd name="connsiteX11366" fmla="*/ 1583451 w 4044707"/>
                <a:gd name="connsiteY11366" fmla="*/ 2894064 h 2907193"/>
                <a:gd name="connsiteX11367" fmla="*/ 1593918 w 4044707"/>
                <a:gd name="connsiteY11367" fmla="*/ 2894457 h 2907193"/>
                <a:gd name="connsiteX11368" fmla="*/ 1595037 w 4044707"/>
                <a:gd name="connsiteY11368" fmla="*/ 2894760 h 2907193"/>
                <a:gd name="connsiteX11369" fmla="*/ 1597094 w 4044707"/>
                <a:gd name="connsiteY11369" fmla="*/ 2895849 h 2907193"/>
                <a:gd name="connsiteX11370" fmla="*/ 1598092 w 4044707"/>
                <a:gd name="connsiteY11370" fmla="*/ 2895758 h 2907193"/>
                <a:gd name="connsiteX11371" fmla="*/ 1599968 w 4044707"/>
                <a:gd name="connsiteY11371" fmla="*/ 2894578 h 2907193"/>
                <a:gd name="connsiteX11372" fmla="*/ 1600028 w 4044707"/>
                <a:gd name="connsiteY11372" fmla="*/ 2893792 h 2907193"/>
                <a:gd name="connsiteX11373" fmla="*/ 1599121 w 4044707"/>
                <a:gd name="connsiteY11373" fmla="*/ 2893066 h 2907193"/>
                <a:gd name="connsiteX11374" fmla="*/ 1597034 w 4044707"/>
                <a:gd name="connsiteY11374" fmla="*/ 2890857 h 2907193"/>
                <a:gd name="connsiteX11375" fmla="*/ 1594976 w 4044707"/>
                <a:gd name="connsiteY11375" fmla="*/ 2889526 h 2907193"/>
                <a:gd name="connsiteX11376" fmla="*/ 1593887 w 4044707"/>
                <a:gd name="connsiteY11376" fmla="*/ 2888498 h 2907193"/>
                <a:gd name="connsiteX11377" fmla="*/ 1593161 w 4044707"/>
                <a:gd name="connsiteY11377" fmla="*/ 2887136 h 2907193"/>
                <a:gd name="connsiteX11378" fmla="*/ 1592677 w 4044707"/>
                <a:gd name="connsiteY11378" fmla="*/ 2885805 h 2907193"/>
                <a:gd name="connsiteX11379" fmla="*/ 1591951 w 4044707"/>
                <a:gd name="connsiteY11379" fmla="*/ 2884928 h 2907193"/>
                <a:gd name="connsiteX11380" fmla="*/ 1590439 w 4044707"/>
                <a:gd name="connsiteY11380" fmla="*/ 2884928 h 2907193"/>
                <a:gd name="connsiteX11381" fmla="*/ 1591558 w 4044707"/>
                <a:gd name="connsiteY11381" fmla="*/ 2882115 h 2907193"/>
                <a:gd name="connsiteX11382" fmla="*/ 1593887 w 4044707"/>
                <a:gd name="connsiteY11382" fmla="*/ 2872827 h 2907193"/>
                <a:gd name="connsiteX11383" fmla="*/ 1593978 w 4044707"/>
                <a:gd name="connsiteY11383" fmla="*/ 2875853 h 2907193"/>
                <a:gd name="connsiteX11384" fmla="*/ 1594371 w 4044707"/>
                <a:gd name="connsiteY11384" fmla="*/ 2878424 h 2907193"/>
                <a:gd name="connsiteX11385" fmla="*/ 1594371 w 4044707"/>
                <a:gd name="connsiteY11385" fmla="*/ 2880572 h 2907193"/>
                <a:gd name="connsiteX11386" fmla="*/ 1593192 w 4044707"/>
                <a:gd name="connsiteY11386" fmla="*/ 2882387 h 2907193"/>
                <a:gd name="connsiteX11387" fmla="*/ 1594795 w 4044707"/>
                <a:gd name="connsiteY11387" fmla="*/ 2885019 h 2907193"/>
                <a:gd name="connsiteX11388" fmla="*/ 1597397 w 4044707"/>
                <a:gd name="connsiteY11388" fmla="*/ 2885624 h 2907193"/>
                <a:gd name="connsiteX11389" fmla="*/ 1602479 w 4044707"/>
                <a:gd name="connsiteY11389" fmla="*/ 2884898 h 2907193"/>
                <a:gd name="connsiteX11390" fmla="*/ 1602963 w 4044707"/>
                <a:gd name="connsiteY11390" fmla="*/ 2883537 h 2907193"/>
                <a:gd name="connsiteX11391" fmla="*/ 1599424 w 4044707"/>
                <a:gd name="connsiteY11391" fmla="*/ 2874098 h 2907193"/>
                <a:gd name="connsiteX11392" fmla="*/ 1601813 w 4044707"/>
                <a:gd name="connsiteY11392" fmla="*/ 2874582 h 2907193"/>
                <a:gd name="connsiteX11393" fmla="*/ 1606593 w 4044707"/>
                <a:gd name="connsiteY11393" fmla="*/ 2880148 h 2907193"/>
                <a:gd name="connsiteX11394" fmla="*/ 1609104 w 4044707"/>
                <a:gd name="connsiteY11394" fmla="*/ 2882387 h 2907193"/>
                <a:gd name="connsiteX11395" fmla="*/ 1612159 w 4044707"/>
                <a:gd name="connsiteY11395" fmla="*/ 2883052 h 2907193"/>
                <a:gd name="connsiteX11396" fmla="*/ 1617665 w 4044707"/>
                <a:gd name="connsiteY11396" fmla="*/ 2881479 h 2907193"/>
                <a:gd name="connsiteX11397" fmla="*/ 1620720 w 4044707"/>
                <a:gd name="connsiteY11397" fmla="*/ 2881298 h 2907193"/>
                <a:gd name="connsiteX11398" fmla="*/ 1619268 w 4044707"/>
                <a:gd name="connsiteY11398" fmla="*/ 2883809 h 2907193"/>
                <a:gd name="connsiteX11399" fmla="*/ 1616758 w 4044707"/>
                <a:gd name="connsiteY11399" fmla="*/ 2884837 h 2907193"/>
                <a:gd name="connsiteX11400" fmla="*/ 1608801 w 4044707"/>
                <a:gd name="connsiteY11400" fmla="*/ 2885140 h 2907193"/>
                <a:gd name="connsiteX11401" fmla="*/ 1606533 w 4044707"/>
                <a:gd name="connsiteY11401" fmla="*/ 2885836 h 2907193"/>
                <a:gd name="connsiteX11402" fmla="*/ 1602116 w 4044707"/>
                <a:gd name="connsiteY11402" fmla="*/ 2888468 h 2907193"/>
                <a:gd name="connsiteX11403" fmla="*/ 1603144 w 4044707"/>
                <a:gd name="connsiteY11403" fmla="*/ 2890010 h 2907193"/>
                <a:gd name="connsiteX11404" fmla="*/ 1604929 w 4044707"/>
                <a:gd name="connsiteY11404" fmla="*/ 2891220 h 2907193"/>
                <a:gd name="connsiteX11405" fmla="*/ 1606865 w 4044707"/>
                <a:gd name="connsiteY11405" fmla="*/ 2891977 h 2907193"/>
                <a:gd name="connsiteX11406" fmla="*/ 1608378 w 4044707"/>
                <a:gd name="connsiteY11406" fmla="*/ 2892067 h 2907193"/>
                <a:gd name="connsiteX11407" fmla="*/ 1609649 w 4044707"/>
                <a:gd name="connsiteY11407" fmla="*/ 2891341 h 2907193"/>
                <a:gd name="connsiteX11408" fmla="*/ 1611342 w 4044707"/>
                <a:gd name="connsiteY11408" fmla="*/ 2889224 h 2907193"/>
                <a:gd name="connsiteX11409" fmla="*/ 1612553 w 4044707"/>
                <a:gd name="connsiteY11409" fmla="*/ 2888498 h 2907193"/>
                <a:gd name="connsiteX11410" fmla="*/ 1613037 w 4044707"/>
                <a:gd name="connsiteY11410" fmla="*/ 2890888 h 2907193"/>
                <a:gd name="connsiteX11411" fmla="*/ 1612976 w 4044707"/>
                <a:gd name="connsiteY11411" fmla="*/ 2892884 h 2907193"/>
                <a:gd name="connsiteX11412" fmla="*/ 1612492 w 4044707"/>
                <a:gd name="connsiteY11412" fmla="*/ 2894790 h 2907193"/>
                <a:gd name="connsiteX11413" fmla="*/ 1611796 w 4044707"/>
                <a:gd name="connsiteY11413" fmla="*/ 2896847 h 2907193"/>
                <a:gd name="connsiteX11414" fmla="*/ 1614126 w 4044707"/>
                <a:gd name="connsiteY11414" fmla="*/ 2894578 h 2907193"/>
                <a:gd name="connsiteX11415" fmla="*/ 1619813 w 4044707"/>
                <a:gd name="connsiteY11415" fmla="*/ 2887560 h 2907193"/>
                <a:gd name="connsiteX11416" fmla="*/ 1621416 w 4044707"/>
                <a:gd name="connsiteY11416" fmla="*/ 2888498 h 2907193"/>
                <a:gd name="connsiteX11417" fmla="*/ 1619752 w 4044707"/>
                <a:gd name="connsiteY11417" fmla="*/ 2890434 h 2907193"/>
                <a:gd name="connsiteX11418" fmla="*/ 1617030 w 4044707"/>
                <a:gd name="connsiteY11418" fmla="*/ 2895849 h 2907193"/>
                <a:gd name="connsiteX11419" fmla="*/ 1615306 w 4044707"/>
                <a:gd name="connsiteY11419" fmla="*/ 2898057 h 2907193"/>
                <a:gd name="connsiteX11420" fmla="*/ 1617665 w 4044707"/>
                <a:gd name="connsiteY11420" fmla="*/ 2898118 h 2907193"/>
                <a:gd name="connsiteX11421" fmla="*/ 1625349 w 4044707"/>
                <a:gd name="connsiteY11421" fmla="*/ 2895123 h 2907193"/>
                <a:gd name="connsiteX11422" fmla="*/ 1627013 w 4044707"/>
                <a:gd name="connsiteY11422" fmla="*/ 2893943 h 2907193"/>
                <a:gd name="connsiteX11423" fmla="*/ 1628344 w 4044707"/>
                <a:gd name="connsiteY11423" fmla="*/ 2892370 h 2907193"/>
                <a:gd name="connsiteX11424" fmla="*/ 1634666 w 4044707"/>
                <a:gd name="connsiteY11424" fmla="*/ 2888982 h 2907193"/>
                <a:gd name="connsiteX11425" fmla="*/ 1636663 w 4044707"/>
                <a:gd name="connsiteY11425" fmla="*/ 2888558 h 2907193"/>
                <a:gd name="connsiteX11426" fmla="*/ 1636663 w 4044707"/>
                <a:gd name="connsiteY11426" fmla="*/ 2889738 h 2907193"/>
                <a:gd name="connsiteX11427" fmla="*/ 1635937 w 4044707"/>
                <a:gd name="connsiteY11427" fmla="*/ 2890948 h 2907193"/>
                <a:gd name="connsiteX11428" fmla="*/ 1634364 w 4044707"/>
                <a:gd name="connsiteY11428" fmla="*/ 2894941 h 2907193"/>
                <a:gd name="connsiteX11429" fmla="*/ 1633517 w 4044707"/>
                <a:gd name="connsiteY11429" fmla="*/ 2895788 h 2907193"/>
                <a:gd name="connsiteX11430" fmla="*/ 1632518 w 4044707"/>
                <a:gd name="connsiteY11430" fmla="*/ 2895183 h 2907193"/>
                <a:gd name="connsiteX11431" fmla="*/ 1631641 w 4044707"/>
                <a:gd name="connsiteY11431" fmla="*/ 2894064 h 2907193"/>
                <a:gd name="connsiteX11432" fmla="*/ 1630673 w 4044707"/>
                <a:gd name="connsiteY11432" fmla="*/ 2893671 h 2907193"/>
                <a:gd name="connsiteX11433" fmla="*/ 1629403 w 4044707"/>
                <a:gd name="connsiteY11433" fmla="*/ 2895123 h 2907193"/>
                <a:gd name="connsiteX11434" fmla="*/ 1627255 w 4044707"/>
                <a:gd name="connsiteY11434" fmla="*/ 2896787 h 2907193"/>
                <a:gd name="connsiteX11435" fmla="*/ 1624078 w 4044707"/>
                <a:gd name="connsiteY11435" fmla="*/ 2898420 h 2907193"/>
                <a:gd name="connsiteX11436" fmla="*/ 1621749 w 4044707"/>
                <a:gd name="connsiteY11436" fmla="*/ 2900629 h 2907193"/>
                <a:gd name="connsiteX11437" fmla="*/ 1622172 w 4044707"/>
                <a:gd name="connsiteY11437" fmla="*/ 2904017 h 2907193"/>
                <a:gd name="connsiteX11438" fmla="*/ 1621537 w 4044707"/>
                <a:gd name="connsiteY11438" fmla="*/ 2906497 h 2907193"/>
                <a:gd name="connsiteX11439" fmla="*/ 1622475 w 4044707"/>
                <a:gd name="connsiteY11439" fmla="*/ 2907193 h 2907193"/>
                <a:gd name="connsiteX11440" fmla="*/ 1624139 w 4044707"/>
                <a:gd name="connsiteY11440" fmla="*/ 2906891 h 2907193"/>
                <a:gd name="connsiteX11441" fmla="*/ 1627890 w 4044707"/>
                <a:gd name="connsiteY11441" fmla="*/ 2905439 h 2907193"/>
                <a:gd name="connsiteX11442" fmla="*/ 1628707 w 4044707"/>
                <a:gd name="connsiteY11442" fmla="*/ 2905318 h 2907193"/>
                <a:gd name="connsiteX11443" fmla="*/ 1629463 w 4044707"/>
                <a:gd name="connsiteY11443" fmla="*/ 2904864 h 2907193"/>
                <a:gd name="connsiteX11444" fmla="*/ 1629614 w 4044707"/>
                <a:gd name="connsiteY11444" fmla="*/ 2903805 h 2907193"/>
                <a:gd name="connsiteX11445" fmla="*/ 1629554 w 4044707"/>
                <a:gd name="connsiteY11445" fmla="*/ 2902565 h 2907193"/>
                <a:gd name="connsiteX11446" fmla="*/ 1629735 w 4044707"/>
                <a:gd name="connsiteY11446" fmla="*/ 2901657 h 2907193"/>
                <a:gd name="connsiteX11447" fmla="*/ 1629735 w 4044707"/>
                <a:gd name="connsiteY11447" fmla="*/ 2900326 h 2907193"/>
                <a:gd name="connsiteX11448" fmla="*/ 1630159 w 4044707"/>
                <a:gd name="connsiteY11448" fmla="*/ 2899600 h 2907193"/>
                <a:gd name="connsiteX11449" fmla="*/ 1637480 w 4044707"/>
                <a:gd name="connsiteY11449" fmla="*/ 2897271 h 2907193"/>
                <a:gd name="connsiteX11450" fmla="*/ 1638569 w 4044707"/>
                <a:gd name="connsiteY11450" fmla="*/ 2897997 h 2907193"/>
                <a:gd name="connsiteX11451" fmla="*/ 1639446 w 4044707"/>
                <a:gd name="connsiteY11451" fmla="*/ 2900598 h 2907193"/>
                <a:gd name="connsiteX11452" fmla="*/ 1640989 w 4044707"/>
                <a:gd name="connsiteY11452" fmla="*/ 2898723 h 2907193"/>
                <a:gd name="connsiteX11453" fmla="*/ 1646979 w 4044707"/>
                <a:gd name="connsiteY11453" fmla="*/ 2895819 h 2907193"/>
                <a:gd name="connsiteX11454" fmla="*/ 1647342 w 4044707"/>
                <a:gd name="connsiteY11454" fmla="*/ 2898420 h 2907193"/>
                <a:gd name="connsiteX11455" fmla="*/ 1648763 w 4044707"/>
                <a:gd name="connsiteY11455" fmla="*/ 2899751 h 2907193"/>
                <a:gd name="connsiteX11456" fmla="*/ 1661136 w 4044707"/>
                <a:gd name="connsiteY11456" fmla="*/ 2902958 h 2907193"/>
                <a:gd name="connsiteX11457" fmla="*/ 1680074 w 4044707"/>
                <a:gd name="connsiteY11457" fmla="*/ 2902958 h 2907193"/>
                <a:gd name="connsiteX11458" fmla="*/ 1679711 w 4044707"/>
                <a:gd name="connsiteY11458" fmla="*/ 2901445 h 2907193"/>
                <a:gd name="connsiteX11459" fmla="*/ 1679711 w 4044707"/>
                <a:gd name="connsiteY11459" fmla="*/ 2900417 h 2907193"/>
                <a:gd name="connsiteX11460" fmla="*/ 1680074 w 4044707"/>
                <a:gd name="connsiteY11460" fmla="*/ 2898087 h 2907193"/>
                <a:gd name="connsiteX11461" fmla="*/ 1681617 w 4044707"/>
                <a:gd name="connsiteY11461" fmla="*/ 2901445 h 2907193"/>
                <a:gd name="connsiteX11462" fmla="*/ 1683704 w 4044707"/>
                <a:gd name="connsiteY11462" fmla="*/ 2902171 h 2907193"/>
                <a:gd name="connsiteX11463" fmla="*/ 1685156 w 4044707"/>
                <a:gd name="connsiteY11463" fmla="*/ 2900568 h 2907193"/>
                <a:gd name="connsiteX11464" fmla="*/ 1684914 w 4044707"/>
                <a:gd name="connsiteY11464" fmla="*/ 2896877 h 2907193"/>
                <a:gd name="connsiteX11465" fmla="*/ 1685700 w 4044707"/>
                <a:gd name="connsiteY11465" fmla="*/ 2897664 h 2907193"/>
                <a:gd name="connsiteX11466" fmla="*/ 1686517 w 4044707"/>
                <a:gd name="connsiteY11466" fmla="*/ 2897997 h 2907193"/>
                <a:gd name="connsiteX11467" fmla="*/ 1688333 w 4044707"/>
                <a:gd name="connsiteY11467" fmla="*/ 2898057 h 2907193"/>
                <a:gd name="connsiteX11468" fmla="*/ 1687606 w 4044707"/>
                <a:gd name="connsiteY11468" fmla="*/ 2894699 h 2907193"/>
                <a:gd name="connsiteX11469" fmla="*/ 1688635 w 4044707"/>
                <a:gd name="connsiteY11469" fmla="*/ 2894245 h 2907193"/>
                <a:gd name="connsiteX11470" fmla="*/ 1691872 w 4044707"/>
                <a:gd name="connsiteY11470" fmla="*/ 2895788 h 2907193"/>
                <a:gd name="connsiteX11471" fmla="*/ 1693808 w 4044707"/>
                <a:gd name="connsiteY11471" fmla="*/ 2895425 h 2907193"/>
                <a:gd name="connsiteX11472" fmla="*/ 1697831 w 4044707"/>
                <a:gd name="connsiteY11472" fmla="*/ 2893792 h 2907193"/>
                <a:gd name="connsiteX11473" fmla="*/ 1713986 w 4044707"/>
                <a:gd name="connsiteY11473" fmla="*/ 2891735 h 2907193"/>
                <a:gd name="connsiteX11474" fmla="*/ 1718070 w 4044707"/>
                <a:gd name="connsiteY11474" fmla="*/ 2889738 h 2907193"/>
                <a:gd name="connsiteX11475" fmla="*/ 1715831 w 4044707"/>
                <a:gd name="connsiteY11475" fmla="*/ 2886894 h 2907193"/>
                <a:gd name="connsiteX11476" fmla="*/ 1717797 w 4044707"/>
                <a:gd name="connsiteY11476" fmla="*/ 2884232 h 2907193"/>
                <a:gd name="connsiteX11477" fmla="*/ 1723212 w 4044707"/>
                <a:gd name="connsiteY11477" fmla="*/ 2880784 h 2907193"/>
                <a:gd name="connsiteX11478" fmla="*/ 1724695 w 4044707"/>
                <a:gd name="connsiteY11478" fmla="*/ 2877395 h 2907193"/>
                <a:gd name="connsiteX11479" fmla="*/ 1725239 w 4044707"/>
                <a:gd name="connsiteY11479" fmla="*/ 2874007 h 2907193"/>
                <a:gd name="connsiteX11480" fmla="*/ 1724695 w 4044707"/>
                <a:gd name="connsiteY11480" fmla="*/ 2870559 h 2907193"/>
                <a:gd name="connsiteX11481" fmla="*/ 1722880 w 4044707"/>
                <a:gd name="connsiteY11481" fmla="*/ 2867019 h 2907193"/>
                <a:gd name="connsiteX11482" fmla="*/ 1725451 w 4044707"/>
                <a:gd name="connsiteY11482" fmla="*/ 2866717 h 2907193"/>
                <a:gd name="connsiteX11483" fmla="*/ 1727084 w 4044707"/>
                <a:gd name="connsiteY11483" fmla="*/ 2870377 h 2907193"/>
                <a:gd name="connsiteX11484" fmla="*/ 1728537 w 4044707"/>
                <a:gd name="connsiteY11484" fmla="*/ 2875036 h 2907193"/>
                <a:gd name="connsiteX11485" fmla="*/ 1730533 w 4044707"/>
                <a:gd name="connsiteY11485" fmla="*/ 2877728 h 2907193"/>
                <a:gd name="connsiteX11486" fmla="*/ 1729293 w 4044707"/>
                <a:gd name="connsiteY11486" fmla="*/ 2879211 h 2907193"/>
                <a:gd name="connsiteX11487" fmla="*/ 1727871 w 4044707"/>
                <a:gd name="connsiteY11487" fmla="*/ 2880148 h 2907193"/>
                <a:gd name="connsiteX11488" fmla="*/ 1724967 w 4044707"/>
                <a:gd name="connsiteY11488" fmla="*/ 2881389 h 2907193"/>
                <a:gd name="connsiteX11489" fmla="*/ 1726056 w 4044707"/>
                <a:gd name="connsiteY11489" fmla="*/ 2883294 h 2907193"/>
                <a:gd name="connsiteX11490" fmla="*/ 1727206 w 4044707"/>
                <a:gd name="connsiteY11490" fmla="*/ 2885624 h 2907193"/>
                <a:gd name="connsiteX11491" fmla="*/ 1727750 w 4044707"/>
                <a:gd name="connsiteY11491" fmla="*/ 2886259 h 2907193"/>
                <a:gd name="connsiteX11492" fmla="*/ 1729081 w 4044707"/>
                <a:gd name="connsiteY11492" fmla="*/ 2886773 h 2907193"/>
                <a:gd name="connsiteX11493" fmla="*/ 1732378 w 4044707"/>
                <a:gd name="connsiteY11493" fmla="*/ 2887106 h 2907193"/>
                <a:gd name="connsiteX11494" fmla="*/ 1733528 w 4044707"/>
                <a:gd name="connsiteY11494" fmla="*/ 2887953 h 2907193"/>
                <a:gd name="connsiteX11495" fmla="*/ 1734859 w 4044707"/>
                <a:gd name="connsiteY11495" fmla="*/ 2888195 h 2907193"/>
                <a:gd name="connsiteX11496" fmla="*/ 1736251 w 4044707"/>
                <a:gd name="connsiteY11496" fmla="*/ 2885926 h 2907193"/>
                <a:gd name="connsiteX11497" fmla="*/ 1738399 w 4044707"/>
                <a:gd name="connsiteY11497" fmla="*/ 2880753 h 2907193"/>
                <a:gd name="connsiteX11498" fmla="*/ 1739881 w 4044707"/>
                <a:gd name="connsiteY11498" fmla="*/ 2880451 h 2907193"/>
                <a:gd name="connsiteX11499" fmla="*/ 1741242 w 4044707"/>
                <a:gd name="connsiteY11499" fmla="*/ 2882780 h 2907193"/>
                <a:gd name="connsiteX11500" fmla="*/ 1742815 w 4044707"/>
                <a:gd name="connsiteY11500" fmla="*/ 2884505 h 2907193"/>
                <a:gd name="connsiteX11501" fmla="*/ 1744963 w 4044707"/>
                <a:gd name="connsiteY11501" fmla="*/ 2882448 h 2907193"/>
                <a:gd name="connsiteX11502" fmla="*/ 1744903 w 4044707"/>
                <a:gd name="connsiteY11502" fmla="*/ 2881510 h 2907193"/>
                <a:gd name="connsiteX11503" fmla="*/ 1744903 w 4044707"/>
                <a:gd name="connsiteY11503" fmla="*/ 2879483 h 2907193"/>
                <a:gd name="connsiteX11504" fmla="*/ 1745114 w 4044707"/>
                <a:gd name="connsiteY11504" fmla="*/ 2878575 h 2907193"/>
                <a:gd name="connsiteX11505" fmla="*/ 1745387 w 4044707"/>
                <a:gd name="connsiteY11505" fmla="*/ 2877486 h 2907193"/>
                <a:gd name="connsiteX11506" fmla="*/ 1747565 w 4044707"/>
                <a:gd name="connsiteY11506" fmla="*/ 2876064 h 2907193"/>
                <a:gd name="connsiteX11507" fmla="*/ 1748442 w 4044707"/>
                <a:gd name="connsiteY11507" fmla="*/ 2874794 h 2907193"/>
                <a:gd name="connsiteX11508" fmla="*/ 1749864 w 4044707"/>
                <a:gd name="connsiteY11508" fmla="*/ 2871708 h 2907193"/>
                <a:gd name="connsiteX11509" fmla="*/ 1749168 w 4044707"/>
                <a:gd name="connsiteY11509" fmla="*/ 2871254 h 2907193"/>
                <a:gd name="connsiteX11510" fmla="*/ 1747807 w 4044707"/>
                <a:gd name="connsiteY11510" fmla="*/ 2870619 h 2907193"/>
                <a:gd name="connsiteX11511" fmla="*/ 1747020 w 4044707"/>
                <a:gd name="connsiteY11511" fmla="*/ 2870498 h 2907193"/>
                <a:gd name="connsiteX11512" fmla="*/ 1748593 w 4044707"/>
                <a:gd name="connsiteY11512" fmla="*/ 2869742 h 2907193"/>
                <a:gd name="connsiteX11513" fmla="*/ 1752224 w 4044707"/>
                <a:gd name="connsiteY11513" fmla="*/ 2868804 h 2907193"/>
                <a:gd name="connsiteX11514" fmla="*/ 1753585 w 4044707"/>
                <a:gd name="connsiteY11514" fmla="*/ 2867564 h 2907193"/>
                <a:gd name="connsiteX11515" fmla="*/ 1754432 w 4044707"/>
                <a:gd name="connsiteY11515" fmla="*/ 2866535 h 2907193"/>
                <a:gd name="connsiteX11516" fmla="*/ 1757215 w 4044707"/>
                <a:gd name="connsiteY11516" fmla="*/ 2863813 h 2907193"/>
                <a:gd name="connsiteX11517" fmla="*/ 1758062 w 4044707"/>
                <a:gd name="connsiteY11517" fmla="*/ 2863238 h 2907193"/>
                <a:gd name="connsiteX11518" fmla="*/ 1761632 w 4044707"/>
                <a:gd name="connsiteY11518" fmla="*/ 2863722 h 2907193"/>
                <a:gd name="connsiteX11519" fmla="*/ 1763386 w 4044707"/>
                <a:gd name="connsiteY11519" fmla="*/ 2863298 h 2907193"/>
                <a:gd name="connsiteX11520" fmla="*/ 1763235 w 4044707"/>
                <a:gd name="connsiteY11520" fmla="*/ 2861513 h 2907193"/>
                <a:gd name="connsiteX11521" fmla="*/ 1762812 w 4044707"/>
                <a:gd name="connsiteY11521" fmla="*/ 2859487 h 2907193"/>
                <a:gd name="connsiteX11522" fmla="*/ 1763689 w 4044707"/>
                <a:gd name="connsiteY11522" fmla="*/ 2858398 h 2907193"/>
                <a:gd name="connsiteX11523" fmla="*/ 1765110 w 4044707"/>
                <a:gd name="connsiteY11523" fmla="*/ 2858700 h 2907193"/>
                <a:gd name="connsiteX11524" fmla="*/ 1766290 w 4044707"/>
                <a:gd name="connsiteY11524" fmla="*/ 2860878 h 2907193"/>
                <a:gd name="connsiteX11525" fmla="*/ 1768347 w 4044707"/>
                <a:gd name="connsiteY11525" fmla="*/ 2859759 h 2907193"/>
                <a:gd name="connsiteX11526" fmla="*/ 1770707 w 4044707"/>
                <a:gd name="connsiteY11526" fmla="*/ 2860606 h 2907193"/>
                <a:gd name="connsiteX11527" fmla="*/ 1772915 w 4044707"/>
                <a:gd name="connsiteY11527" fmla="*/ 2860969 h 2907193"/>
                <a:gd name="connsiteX11528" fmla="*/ 1774609 w 4044707"/>
                <a:gd name="connsiteY11528" fmla="*/ 2858488 h 2907193"/>
                <a:gd name="connsiteX11529" fmla="*/ 1773430 w 4044707"/>
                <a:gd name="connsiteY11529" fmla="*/ 2856431 h 2907193"/>
                <a:gd name="connsiteX11530" fmla="*/ 1774156 w 4044707"/>
                <a:gd name="connsiteY11530" fmla="*/ 2854616 h 2907193"/>
                <a:gd name="connsiteX11531" fmla="*/ 1777362 w 4044707"/>
                <a:gd name="connsiteY11531" fmla="*/ 2851167 h 2907193"/>
                <a:gd name="connsiteX11532" fmla="*/ 1780781 w 4044707"/>
                <a:gd name="connsiteY11532" fmla="*/ 2845087 h 2907193"/>
                <a:gd name="connsiteX11533" fmla="*/ 1781628 w 4044707"/>
                <a:gd name="connsiteY11533" fmla="*/ 2846146 h 2907193"/>
                <a:gd name="connsiteX11534" fmla="*/ 1781688 w 4044707"/>
                <a:gd name="connsiteY11534" fmla="*/ 2847447 h 2907193"/>
                <a:gd name="connsiteX11535" fmla="*/ 1782354 w 4044707"/>
                <a:gd name="connsiteY11535" fmla="*/ 2847931 h 2907193"/>
                <a:gd name="connsiteX11536" fmla="*/ 1783594 w 4044707"/>
                <a:gd name="connsiteY11536" fmla="*/ 2847688 h 2907193"/>
                <a:gd name="connsiteX11537" fmla="*/ 1784804 w 4044707"/>
                <a:gd name="connsiteY11537" fmla="*/ 2846660 h 2907193"/>
                <a:gd name="connsiteX11538" fmla="*/ 1785621 w 4044707"/>
                <a:gd name="connsiteY11538" fmla="*/ 2845087 h 2907193"/>
                <a:gd name="connsiteX11539" fmla="*/ 1786286 w 4044707"/>
                <a:gd name="connsiteY11539" fmla="*/ 2843453 h 2907193"/>
                <a:gd name="connsiteX11540" fmla="*/ 1787043 w 4044707"/>
                <a:gd name="connsiteY11540" fmla="*/ 2842213 h 2907193"/>
                <a:gd name="connsiteX11541" fmla="*/ 1788162 w 4044707"/>
                <a:gd name="connsiteY11541" fmla="*/ 2841790 h 2907193"/>
                <a:gd name="connsiteX11542" fmla="*/ 1789765 w 4044707"/>
                <a:gd name="connsiteY11542" fmla="*/ 2841517 h 2907193"/>
                <a:gd name="connsiteX11543" fmla="*/ 1791187 w 4044707"/>
                <a:gd name="connsiteY11543" fmla="*/ 2841003 h 2907193"/>
                <a:gd name="connsiteX11544" fmla="*/ 1793668 w 4044707"/>
                <a:gd name="connsiteY11544" fmla="*/ 2839581 h 2907193"/>
                <a:gd name="connsiteX11545" fmla="*/ 1794394 w 4044707"/>
                <a:gd name="connsiteY11545" fmla="*/ 2837312 h 2907193"/>
                <a:gd name="connsiteX11546" fmla="*/ 1796239 w 4044707"/>
                <a:gd name="connsiteY11546" fmla="*/ 2835165 h 2907193"/>
                <a:gd name="connsiteX11547" fmla="*/ 1796996 w 4044707"/>
                <a:gd name="connsiteY11547" fmla="*/ 2833107 h 2907193"/>
                <a:gd name="connsiteX11548" fmla="*/ 1798387 w 4044707"/>
                <a:gd name="connsiteY11548" fmla="*/ 2830990 h 2907193"/>
                <a:gd name="connsiteX11549" fmla="*/ 1800747 w 4044707"/>
                <a:gd name="connsiteY11549" fmla="*/ 2829840 h 2907193"/>
                <a:gd name="connsiteX11550" fmla="*/ 1802441 w 4044707"/>
                <a:gd name="connsiteY11550" fmla="*/ 2828721 h 2907193"/>
                <a:gd name="connsiteX11551" fmla="*/ 1805375 w 4044707"/>
                <a:gd name="connsiteY11551" fmla="*/ 2826512 h 2907193"/>
                <a:gd name="connsiteX11552" fmla="*/ 1807765 w 4044707"/>
                <a:gd name="connsiteY11552" fmla="*/ 2823941 h 2907193"/>
                <a:gd name="connsiteX11553" fmla="*/ 1813997 w 4044707"/>
                <a:gd name="connsiteY11553" fmla="*/ 2818012 h 2907193"/>
                <a:gd name="connsiteX11554" fmla="*/ 1815872 w 4044707"/>
                <a:gd name="connsiteY11554" fmla="*/ 2815773 h 2907193"/>
                <a:gd name="connsiteX11555" fmla="*/ 1817476 w 4044707"/>
                <a:gd name="connsiteY11555" fmla="*/ 2813565 h 2907193"/>
                <a:gd name="connsiteX11556" fmla="*/ 1818111 w 4044707"/>
                <a:gd name="connsiteY11556" fmla="*/ 2809814 h 2907193"/>
                <a:gd name="connsiteX11557" fmla="*/ 1817718 w 4044707"/>
                <a:gd name="connsiteY11557" fmla="*/ 2805881 h 2907193"/>
                <a:gd name="connsiteX11558" fmla="*/ 1817990 w 4044707"/>
                <a:gd name="connsiteY11558" fmla="*/ 2804036 h 2907193"/>
                <a:gd name="connsiteX11559" fmla="*/ 1817143 w 4044707"/>
                <a:gd name="connsiteY11559" fmla="*/ 2802795 h 2907193"/>
                <a:gd name="connsiteX11560" fmla="*/ 1814935 w 4044707"/>
                <a:gd name="connsiteY11560" fmla="*/ 2801041 h 2907193"/>
                <a:gd name="connsiteX11561" fmla="*/ 1814390 w 4044707"/>
                <a:gd name="connsiteY11561" fmla="*/ 2799226 h 2907193"/>
                <a:gd name="connsiteX11562" fmla="*/ 1815600 w 4044707"/>
                <a:gd name="connsiteY11562" fmla="*/ 2799226 h 2907193"/>
                <a:gd name="connsiteX11563" fmla="*/ 1818020 w 4044707"/>
                <a:gd name="connsiteY11563" fmla="*/ 2800406 h 2907193"/>
                <a:gd name="connsiteX11564" fmla="*/ 1818595 w 4044707"/>
                <a:gd name="connsiteY11564" fmla="*/ 2800920 h 2907193"/>
                <a:gd name="connsiteX11565" fmla="*/ 1819472 w 4044707"/>
                <a:gd name="connsiteY11565" fmla="*/ 2802463 h 2907193"/>
                <a:gd name="connsiteX11566" fmla="*/ 1820198 w 4044707"/>
                <a:gd name="connsiteY11566" fmla="*/ 2802795 h 2907193"/>
                <a:gd name="connsiteX11567" fmla="*/ 1820864 w 4044707"/>
                <a:gd name="connsiteY11567" fmla="*/ 2802493 h 2907193"/>
                <a:gd name="connsiteX11568" fmla="*/ 1821257 w 4044707"/>
                <a:gd name="connsiteY11568" fmla="*/ 2801767 h 2907193"/>
                <a:gd name="connsiteX11569" fmla="*/ 1821651 w 4044707"/>
                <a:gd name="connsiteY11569" fmla="*/ 2800920 h 2907193"/>
                <a:gd name="connsiteX11570" fmla="*/ 1822195 w 4044707"/>
                <a:gd name="connsiteY11570" fmla="*/ 2800375 h 2907193"/>
                <a:gd name="connsiteX11571" fmla="*/ 1826521 w 4044707"/>
                <a:gd name="connsiteY11571" fmla="*/ 2801374 h 2907193"/>
                <a:gd name="connsiteX11572" fmla="*/ 1832087 w 4044707"/>
                <a:gd name="connsiteY11572" fmla="*/ 2797895 h 2907193"/>
                <a:gd name="connsiteX11573" fmla="*/ 1838410 w 4044707"/>
                <a:gd name="connsiteY11573" fmla="*/ 2792782 h 2907193"/>
                <a:gd name="connsiteX11574" fmla="*/ 1842222 w 4044707"/>
                <a:gd name="connsiteY11574" fmla="*/ 2788940 h 2907193"/>
                <a:gd name="connsiteX11575" fmla="*/ 1843250 w 4044707"/>
                <a:gd name="connsiteY11575" fmla="*/ 2787609 h 2907193"/>
                <a:gd name="connsiteX11576" fmla="*/ 1841465 w 4044707"/>
                <a:gd name="connsiteY11576" fmla="*/ 2785129 h 2907193"/>
                <a:gd name="connsiteX11577" fmla="*/ 1838773 w 4044707"/>
                <a:gd name="connsiteY11577" fmla="*/ 2784735 h 2907193"/>
                <a:gd name="connsiteX11578" fmla="*/ 1832057 w 4044707"/>
                <a:gd name="connsiteY11578" fmla="*/ 2785673 h 2907193"/>
                <a:gd name="connsiteX11579" fmla="*/ 1829062 w 4044707"/>
                <a:gd name="connsiteY11579" fmla="*/ 2785734 h 2907193"/>
                <a:gd name="connsiteX11580" fmla="*/ 1832662 w 4044707"/>
                <a:gd name="connsiteY11580" fmla="*/ 2784433 h 2907193"/>
                <a:gd name="connsiteX11581" fmla="*/ 1841889 w 4044707"/>
                <a:gd name="connsiteY11581" fmla="*/ 2784191 h 2907193"/>
                <a:gd name="connsiteX11582" fmla="*/ 1844853 w 4044707"/>
                <a:gd name="connsiteY11582" fmla="*/ 2782194 h 2907193"/>
                <a:gd name="connsiteX11583" fmla="*/ 1844702 w 4044707"/>
                <a:gd name="connsiteY11583" fmla="*/ 2778836 h 2907193"/>
                <a:gd name="connsiteX11584" fmla="*/ 1833237 w 4044707"/>
                <a:gd name="connsiteY11584" fmla="*/ 2775993 h 2907193"/>
                <a:gd name="connsiteX11585" fmla="*/ 1834598 w 4044707"/>
                <a:gd name="connsiteY11585" fmla="*/ 2777142 h 2907193"/>
                <a:gd name="connsiteX11586" fmla="*/ 1840104 w 4044707"/>
                <a:gd name="connsiteY11586" fmla="*/ 2779744 h 2907193"/>
                <a:gd name="connsiteX11587" fmla="*/ 1837533 w 4044707"/>
                <a:gd name="connsiteY11587" fmla="*/ 2780924 h 2907193"/>
                <a:gd name="connsiteX11588" fmla="*/ 1829425 w 4044707"/>
                <a:gd name="connsiteY11588" fmla="*/ 2778413 h 2907193"/>
                <a:gd name="connsiteX11589" fmla="*/ 1828971 w 4044707"/>
                <a:gd name="connsiteY11589" fmla="*/ 2777838 h 2907193"/>
                <a:gd name="connsiteX11590" fmla="*/ 1829365 w 4044707"/>
                <a:gd name="connsiteY11590" fmla="*/ 2776568 h 2907193"/>
                <a:gd name="connsiteX11591" fmla="*/ 1830242 w 4044707"/>
                <a:gd name="connsiteY11591" fmla="*/ 2775297 h 2907193"/>
                <a:gd name="connsiteX11592" fmla="*/ 1831149 w 4044707"/>
                <a:gd name="connsiteY11592" fmla="*/ 2774722 h 2907193"/>
                <a:gd name="connsiteX11593" fmla="*/ 1848181 w 4044707"/>
                <a:gd name="connsiteY11593" fmla="*/ 2776628 h 2907193"/>
                <a:gd name="connsiteX11594" fmla="*/ 1853929 w 4044707"/>
                <a:gd name="connsiteY11594" fmla="*/ 2775720 h 2907193"/>
                <a:gd name="connsiteX11595" fmla="*/ 1857347 w 4044707"/>
                <a:gd name="connsiteY11595" fmla="*/ 2773512 h 2907193"/>
                <a:gd name="connsiteX11596" fmla="*/ 1858436 w 4044707"/>
                <a:gd name="connsiteY11596" fmla="*/ 2770941 h 2907193"/>
                <a:gd name="connsiteX11597" fmla="*/ 1860402 w 4044707"/>
                <a:gd name="connsiteY11597" fmla="*/ 2768702 h 2907193"/>
                <a:gd name="connsiteX11598" fmla="*/ 1862550 w 4044707"/>
                <a:gd name="connsiteY11598" fmla="*/ 2767038 h 2907193"/>
                <a:gd name="connsiteX11599" fmla="*/ 1864184 w 4044707"/>
                <a:gd name="connsiteY11599" fmla="*/ 2766161 h 2907193"/>
                <a:gd name="connsiteX11600" fmla="*/ 1864184 w 4044707"/>
                <a:gd name="connsiteY11600" fmla="*/ 2764830 h 2907193"/>
                <a:gd name="connsiteX11601" fmla="*/ 1862157 w 4044707"/>
                <a:gd name="connsiteY11601" fmla="*/ 2765768 h 2907193"/>
                <a:gd name="connsiteX11602" fmla="*/ 1860009 w 4044707"/>
                <a:gd name="connsiteY11602" fmla="*/ 2766161 h 2907193"/>
                <a:gd name="connsiteX11603" fmla="*/ 1862127 w 4044707"/>
                <a:gd name="connsiteY11603" fmla="*/ 2764164 h 2907193"/>
                <a:gd name="connsiteX11604" fmla="*/ 1866967 w 4044707"/>
                <a:gd name="connsiteY11604" fmla="*/ 2761139 h 2907193"/>
                <a:gd name="connsiteX11605" fmla="*/ 1868389 w 4044707"/>
                <a:gd name="connsiteY11605" fmla="*/ 2758840 h 2907193"/>
                <a:gd name="connsiteX11606" fmla="*/ 1865939 w 4044707"/>
                <a:gd name="connsiteY11606" fmla="*/ 2757600 h 2907193"/>
                <a:gd name="connsiteX11607" fmla="*/ 1863640 w 4044707"/>
                <a:gd name="connsiteY11607" fmla="*/ 2756904 h 2907193"/>
                <a:gd name="connsiteX11608" fmla="*/ 1861280 w 4044707"/>
                <a:gd name="connsiteY11608" fmla="*/ 2756904 h 2907193"/>
                <a:gd name="connsiteX11609" fmla="*/ 1858709 w 4044707"/>
                <a:gd name="connsiteY11609" fmla="*/ 2757630 h 2907193"/>
                <a:gd name="connsiteX11610" fmla="*/ 1855593 w 4044707"/>
                <a:gd name="connsiteY11610" fmla="*/ 2759657 h 2907193"/>
                <a:gd name="connsiteX11611" fmla="*/ 1854534 w 4044707"/>
                <a:gd name="connsiteY11611" fmla="*/ 2760080 h 2907193"/>
                <a:gd name="connsiteX11612" fmla="*/ 1853566 w 4044707"/>
                <a:gd name="connsiteY11612" fmla="*/ 2759929 h 2907193"/>
                <a:gd name="connsiteX11613" fmla="*/ 1851509 w 4044707"/>
                <a:gd name="connsiteY11613" fmla="*/ 2758870 h 2907193"/>
                <a:gd name="connsiteX11614" fmla="*/ 1850329 w 4044707"/>
                <a:gd name="connsiteY11614" fmla="*/ 2758870 h 2907193"/>
                <a:gd name="connsiteX11615" fmla="*/ 1852689 w 4044707"/>
                <a:gd name="connsiteY11615" fmla="*/ 2752578 h 2907193"/>
                <a:gd name="connsiteX11616" fmla="*/ 1853142 w 4044707"/>
                <a:gd name="connsiteY11616" fmla="*/ 2750218 h 2907193"/>
                <a:gd name="connsiteX11617" fmla="*/ 1855139 w 4044707"/>
                <a:gd name="connsiteY11617" fmla="*/ 2753002 h 2907193"/>
                <a:gd name="connsiteX11618" fmla="*/ 1857256 w 4044707"/>
                <a:gd name="connsiteY11618" fmla="*/ 2753607 h 2907193"/>
                <a:gd name="connsiteX11619" fmla="*/ 1861764 w 4044707"/>
                <a:gd name="connsiteY11619" fmla="*/ 2752790 h 2907193"/>
                <a:gd name="connsiteX11620" fmla="*/ 1862460 w 4044707"/>
                <a:gd name="connsiteY11620" fmla="*/ 2752427 h 2907193"/>
                <a:gd name="connsiteX11621" fmla="*/ 1863246 w 4044707"/>
                <a:gd name="connsiteY11621" fmla="*/ 2751519 h 2907193"/>
                <a:gd name="connsiteX11622" fmla="*/ 1863730 w 4044707"/>
                <a:gd name="connsiteY11622" fmla="*/ 2750309 h 2907193"/>
                <a:gd name="connsiteX11623" fmla="*/ 1863579 w 4044707"/>
                <a:gd name="connsiteY11623" fmla="*/ 2748978 h 2907193"/>
                <a:gd name="connsiteX11624" fmla="*/ 1862792 w 4044707"/>
                <a:gd name="connsiteY11624" fmla="*/ 2748706 h 2907193"/>
                <a:gd name="connsiteX11625" fmla="*/ 1861522 w 4044707"/>
                <a:gd name="connsiteY11625" fmla="*/ 2749099 h 2907193"/>
                <a:gd name="connsiteX11626" fmla="*/ 1859374 w 4044707"/>
                <a:gd name="connsiteY11626" fmla="*/ 2750188 h 2907193"/>
                <a:gd name="connsiteX11627" fmla="*/ 1860735 w 4044707"/>
                <a:gd name="connsiteY11627" fmla="*/ 2747708 h 2907193"/>
                <a:gd name="connsiteX11628" fmla="*/ 1863307 w 4044707"/>
                <a:gd name="connsiteY11628" fmla="*/ 2747163 h 2907193"/>
                <a:gd name="connsiteX11629" fmla="*/ 1866181 w 4044707"/>
                <a:gd name="connsiteY11629" fmla="*/ 2748131 h 2907193"/>
                <a:gd name="connsiteX11630" fmla="*/ 1868419 w 4044707"/>
                <a:gd name="connsiteY11630" fmla="*/ 2750218 h 2907193"/>
                <a:gd name="connsiteX11631" fmla="*/ 1868964 w 4044707"/>
                <a:gd name="connsiteY11631" fmla="*/ 2747345 h 2907193"/>
                <a:gd name="connsiteX11632" fmla="*/ 1870537 w 4044707"/>
                <a:gd name="connsiteY11632" fmla="*/ 2746770 h 2907193"/>
                <a:gd name="connsiteX11633" fmla="*/ 1874560 w 4044707"/>
                <a:gd name="connsiteY11633" fmla="*/ 2747768 h 2907193"/>
                <a:gd name="connsiteX11634" fmla="*/ 1875831 w 4044707"/>
                <a:gd name="connsiteY11634" fmla="*/ 2746891 h 2907193"/>
                <a:gd name="connsiteX11635" fmla="*/ 1874288 w 4044707"/>
                <a:gd name="connsiteY11635" fmla="*/ 2744955 h 2907193"/>
                <a:gd name="connsiteX11636" fmla="*/ 1870416 w 4044707"/>
                <a:gd name="connsiteY11636" fmla="*/ 2741748 h 2907193"/>
                <a:gd name="connsiteX11637" fmla="*/ 1881064 w 4044707"/>
                <a:gd name="connsiteY11637" fmla="*/ 2743049 h 2907193"/>
                <a:gd name="connsiteX11638" fmla="*/ 1884271 w 4044707"/>
                <a:gd name="connsiteY11638" fmla="*/ 2741748 h 2907193"/>
                <a:gd name="connsiteX11639" fmla="*/ 1883303 w 4044707"/>
                <a:gd name="connsiteY11639" fmla="*/ 2740689 h 2907193"/>
                <a:gd name="connsiteX11640" fmla="*/ 1882879 w 4044707"/>
                <a:gd name="connsiteY11640" fmla="*/ 2740387 h 2907193"/>
                <a:gd name="connsiteX11641" fmla="*/ 1882879 w 4044707"/>
                <a:gd name="connsiteY11641" fmla="*/ 2739177 h 2907193"/>
                <a:gd name="connsiteX11642" fmla="*/ 1889837 w 4044707"/>
                <a:gd name="connsiteY11642" fmla="*/ 2736333 h 2907193"/>
                <a:gd name="connsiteX11643" fmla="*/ 1892499 w 4044707"/>
                <a:gd name="connsiteY11643" fmla="*/ 2736696 h 2907193"/>
                <a:gd name="connsiteX11644" fmla="*/ 1892015 w 4044707"/>
                <a:gd name="connsiteY11644" fmla="*/ 2734972 h 2907193"/>
                <a:gd name="connsiteX11645" fmla="*/ 1891259 w 4044707"/>
                <a:gd name="connsiteY11645" fmla="*/ 2733853 h 2907193"/>
                <a:gd name="connsiteX11646" fmla="*/ 1890261 w 4044707"/>
                <a:gd name="connsiteY11646" fmla="*/ 2733217 h 2907193"/>
                <a:gd name="connsiteX11647" fmla="*/ 1889081 w 4044707"/>
                <a:gd name="connsiteY11647" fmla="*/ 2733036 h 2907193"/>
                <a:gd name="connsiteX11648" fmla="*/ 1889081 w 4044707"/>
                <a:gd name="connsiteY11648" fmla="*/ 2731795 h 2907193"/>
                <a:gd name="connsiteX11649" fmla="*/ 1891985 w 4044707"/>
                <a:gd name="connsiteY11649" fmla="*/ 2731886 h 2907193"/>
                <a:gd name="connsiteX11650" fmla="*/ 1893074 w 4044707"/>
                <a:gd name="connsiteY11650" fmla="*/ 2731190 h 2907193"/>
                <a:gd name="connsiteX11651" fmla="*/ 1893861 w 4044707"/>
                <a:gd name="connsiteY11651" fmla="*/ 2729224 h 2907193"/>
                <a:gd name="connsiteX11652" fmla="*/ 1894375 w 4044707"/>
                <a:gd name="connsiteY11652" fmla="*/ 2730101 h 2907193"/>
                <a:gd name="connsiteX11653" fmla="*/ 1895010 w 4044707"/>
                <a:gd name="connsiteY11653" fmla="*/ 2730948 h 2907193"/>
                <a:gd name="connsiteX11654" fmla="*/ 1895313 w 4044707"/>
                <a:gd name="connsiteY11654" fmla="*/ 2731795 h 2907193"/>
                <a:gd name="connsiteX11655" fmla="*/ 1895918 w 4044707"/>
                <a:gd name="connsiteY11655" fmla="*/ 2731795 h 2907193"/>
                <a:gd name="connsiteX11656" fmla="*/ 1896220 w 4044707"/>
                <a:gd name="connsiteY11656" fmla="*/ 2726169 h 2907193"/>
                <a:gd name="connsiteX11657" fmla="*/ 1892953 w 4044707"/>
                <a:gd name="connsiteY11657" fmla="*/ 2723597 h 2907193"/>
                <a:gd name="connsiteX11658" fmla="*/ 1888899 w 4044707"/>
                <a:gd name="connsiteY11658" fmla="*/ 2722206 h 2907193"/>
                <a:gd name="connsiteX11659" fmla="*/ 1886933 w 4044707"/>
                <a:gd name="connsiteY11659" fmla="*/ 2720028 h 2907193"/>
                <a:gd name="connsiteX11660" fmla="*/ 1885602 w 4044707"/>
                <a:gd name="connsiteY11660" fmla="*/ 2715399 h 2907193"/>
                <a:gd name="connsiteX11661" fmla="*/ 1879340 w 4044707"/>
                <a:gd name="connsiteY11661" fmla="*/ 2710529 h 2907193"/>
                <a:gd name="connsiteX11662" fmla="*/ 1877313 w 4044707"/>
                <a:gd name="connsiteY11662" fmla="*/ 2707261 h 2907193"/>
                <a:gd name="connsiteX11663" fmla="*/ 1883545 w 4044707"/>
                <a:gd name="connsiteY11663" fmla="*/ 2708139 h 2907193"/>
                <a:gd name="connsiteX11664" fmla="*/ 1886540 w 4044707"/>
                <a:gd name="connsiteY11664" fmla="*/ 2705295 h 2907193"/>
                <a:gd name="connsiteX11665" fmla="*/ 1887478 w 4044707"/>
                <a:gd name="connsiteY11665" fmla="*/ 2706051 h 2907193"/>
                <a:gd name="connsiteX11666" fmla="*/ 1887538 w 4044707"/>
                <a:gd name="connsiteY11666" fmla="*/ 2707806 h 2907193"/>
                <a:gd name="connsiteX11667" fmla="*/ 1886328 w 4044707"/>
                <a:gd name="connsiteY11667" fmla="*/ 2709500 h 2907193"/>
                <a:gd name="connsiteX11668" fmla="*/ 1887629 w 4044707"/>
                <a:gd name="connsiteY11668" fmla="*/ 2710529 h 2907193"/>
                <a:gd name="connsiteX11669" fmla="*/ 1887992 w 4044707"/>
                <a:gd name="connsiteY11669" fmla="*/ 2712071 h 2907193"/>
                <a:gd name="connsiteX11670" fmla="*/ 1888052 w 4044707"/>
                <a:gd name="connsiteY11670" fmla="*/ 2713917 h 2907193"/>
                <a:gd name="connsiteX11671" fmla="*/ 1888415 w 4044707"/>
                <a:gd name="connsiteY11671" fmla="*/ 2715792 h 2907193"/>
                <a:gd name="connsiteX11672" fmla="*/ 1889625 w 4044707"/>
                <a:gd name="connsiteY11672" fmla="*/ 2718848 h 2907193"/>
                <a:gd name="connsiteX11673" fmla="*/ 1890412 w 4044707"/>
                <a:gd name="connsiteY11673" fmla="*/ 2719725 h 2907193"/>
                <a:gd name="connsiteX11674" fmla="*/ 1891864 w 4044707"/>
                <a:gd name="connsiteY11674" fmla="*/ 2720693 h 2907193"/>
                <a:gd name="connsiteX11675" fmla="*/ 1892197 w 4044707"/>
                <a:gd name="connsiteY11675" fmla="*/ 2717698 h 2907193"/>
                <a:gd name="connsiteX11676" fmla="*/ 1892106 w 4044707"/>
                <a:gd name="connsiteY11676" fmla="*/ 2714552 h 2907193"/>
                <a:gd name="connsiteX11677" fmla="*/ 1892409 w 4044707"/>
                <a:gd name="connsiteY11677" fmla="*/ 2712616 h 2907193"/>
                <a:gd name="connsiteX11678" fmla="*/ 1893921 w 4044707"/>
                <a:gd name="connsiteY11678" fmla="*/ 2713281 h 2907193"/>
                <a:gd name="connsiteX11679" fmla="*/ 1893982 w 4044707"/>
                <a:gd name="connsiteY11679" fmla="*/ 2713766 h 2907193"/>
                <a:gd name="connsiteX11680" fmla="*/ 1893921 w 4044707"/>
                <a:gd name="connsiteY11680" fmla="*/ 2716337 h 2907193"/>
                <a:gd name="connsiteX11681" fmla="*/ 1894193 w 4044707"/>
                <a:gd name="connsiteY11681" fmla="*/ 2717365 h 2907193"/>
                <a:gd name="connsiteX11682" fmla="*/ 1894799 w 4044707"/>
                <a:gd name="connsiteY11682" fmla="*/ 2717728 h 2907193"/>
                <a:gd name="connsiteX11683" fmla="*/ 1895494 w 4044707"/>
                <a:gd name="connsiteY11683" fmla="*/ 2717880 h 2907193"/>
                <a:gd name="connsiteX11684" fmla="*/ 1896008 w 4044707"/>
                <a:gd name="connsiteY11684" fmla="*/ 2718212 h 2907193"/>
                <a:gd name="connsiteX11685" fmla="*/ 1898519 w 4044707"/>
                <a:gd name="connsiteY11685" fmla="*/ 2722115 h 2907193"/>
                <a:gd name="connsiteX11686" fmla="*/ 1899457 w 4044707"/>
                <a:gd name="connsiteY11686" fmla="*/ 2723113 h 2907193"/>
                <a:gd name="connsiteX11687" fmla="*/ 1900244 w 4044707"/>
                <a:gd name="connsiteY11687" fmla="*/ 2719513 h 2907193"/>
                <a:gd name="connsiteX11688" fmla="*/ 1901817 w 4044707"/>
                <a:gd name="connsiteY11688" fmla="*/ 2719725 h 2907193"/>
                <a:gd name="connsiteX11689" fmla="*/ 1905629 w 4044707"/>
                <a:gd name="connsiteY11689" fmla="*/ 2724323 h 2907193"/>
                <a:gd name="connsiteX11690" fmla="*/ 1907353 w 4044707"/>
                <a:gd name="connsiteY11690" fmla="*/ 2727227 h 2907193"/>
                <a:gd name="connsiteX11691" fmla="*/ 1908200 w 4044707"/>
                <a:gd name="connsiteY11691" fmla="*/ 2730827 h 2907193"/>
                <a:gd name="connsiteX11692" fmla="*/ 1907565 w 4044707"/>
                <a:gd name="connsiteY11692" fmla="*/ 2733973 h 2907193"/>
                <a:gd name="connsiteX11693" fmla="*/ 1904872 w 4044707"/>
                <a:gd name="connsiteY11693" fmla="*/ 2735486 h 2907193"/>
                <a:gd name="connsiteX11694" fmla="*/ 1908291 w 4044707"/>
                <a:gd name="connsiteY11694" fmla="*/ 2736878 h 2907193"/>
                <a:gd name="connsiteX11695" fmla="*/ 1919484 w 4044707"/>
                <a:gd name="connsiteY11695" fmla="*/ 2736696 h 2907193"/>
                <a:gd name="connsiteX11696" fmla="*/ 1922115 w 4044707"/>
                <a:gd name="connsiteY11696" fmla="*/ 2735940 h 2907193"/>
                <a:gd name="connsiteX11697" fmla="*/ 1925262 w 4044707"/>
                <a:gd name="connsiteY11697" fmla="*/ 2733731 h 2907193"/>
                <a:gd name="connsiteX11698" fmla="*/ 1927137 w 4044707"/>
                <a:gd name="connsiteY11698" fmla="*/ 2730071 h 2907193"/>
                <a:gd name="connsiteX11699" fmla="*/ 1925473 w 4044707"/>
                <a:gd name="connsiteY11699" fmla="*/ 2722871 h 2907193"/>
                <a:gd name="connsiteX11700" fmla="*/ 1927168 w 4044707"/>
                <a:gd name="connsiteY11700" fmla="*/ 2723325 h 2907193"/>
                <a:gd name="connsiteX11701" fmla="*/ 1929194 w 4044707"/>
                <a:gd name="connsiteY11701" fmla="*/ 2724807 h 2907193"/>
                <a:gd name="connsiteX11702" fmla="*/ 1929769 w 4044707"/>
                <a:gd name="connsiteY11702" fmla="*/ 2725654 h 2907193"/>
                <a:gd name="connsiteX11703" fmla="*/ 1931493 w 4044707"/>
                <a:gd name="connsiteY11703" fmla="*/ 2725080 h 2907193"/>
                <a:gd name="connsiteX11704" fmla="*/ 1934246 w 4044707"/>
                <a:gd name="connsiteY11704" fmla="*/ 2722538 h 2907193"/>
                <a:gd name="connsiteX11705" fmla="*/ 1935668 w 4044707"/>
                <a:gd name="connsiteY11705" fmla="*/ 2721964 h 2907193"/>
                <a:gd name="connsiteX11706" fmla="*/ 1938784 w 4044707"/>
                <a:gd name="connsiteY11706" fmla="*/ 2719634 h 2907193"/>
                <a:gd name="connsiteX11707" fmla="*/ 1940236 w 4044707"/>
                <a:gd name="connsiteY11707" fmla="*/ 2719513 h 2907193"/>
                <a:gd name="connsiteX11708" fmla="*/ 1940872 w 4044707"/>
                <a:gd name="connsiteY11708" fmla="*/ 2722538 h 2907193"/>
                <a:gd name="connsiteX11709" fmla="*/ 1940085 w 4044707"/>
                <a:gd name="connsiteY11709" fmla="*/ 2723960 h 2907193"/>
                <a:gd name="connsiteX11710" fmla="*/ 1936424 w 4044707"/>
                <a:gd name="connsiteY11710" fmla="*/ 2726290 h 2907193"/>
                <a:gd name="connsiteX11711" fmla="*/ 1935305 w 4044707"/>
                <a:gd name="connsiteY11711" fmla="*/ 2727984 h 2907193"/>
                <a:gd name="connsiteX11712" fmla="*/ 1937937 w 4044707"/>
                <a:gd name="connsiteY11712" fmla="*/ 2728891 h 2907193"/>
                <a:gd name="connsiteX11713" fmla="*/ 1941386 w 4044707"/>
                <a:gd name="connsiteY11713" fmla="*/ 2727923 h 2907193"/>
                <a:gd name="connsiteX11714" fmla="*/ 1944592 w 4044707"/>
                <a:gd name="connsiteY11714" fmla="*/ 2725926 h 2907193"/>
                <a:gd name="connsiteX11715" fmla="*/ 1946680 w 4044707"/>
                <a:gd name="connsiteY11715" fmla="*/ 2723688 h 2907193"/>
                <a:gd name="connsiteX11716" fmla="*/ 1947133 w 4044707"/>
                <a:gd name="connsiteY11716" fmla="*/ 2721631 h 2907193"/>
                <a:gd name="connsiteX11717" fmla="*/ 1946498 w 4044707"/>
                <a:gd name="connsiteY11717" fmla="*/ 2719846 h 2907193"/>
                <a:gd name="connsiteX11718" fmla="*/ 1945560 w 4044707"/>
                <a:gd name="connsiteY11718" fmla="*/ 2718273 h 2907193"/>
                <a:gd name="connsiteX11719" fmla="*/ 1945016 w 4044707"/>
                <a:gd name="connsiteY11719" fmla="*/ 2716881 h 2907193"/>
                <a:gd name="connsiteX11720" fmla="*/ 1945167 w 4044707"/>
                <a:gd name="connsiteY11720" fmla="*/ 2714794 h 2907193"/>
                <a:gd name="connsiteX11721" fmla="*/ 1946166 w 4044707"/>
                <a:gd name="connsiteY11721" fmla="*/ 2710680 h 2907193"/>
                <a:gd name="connsiteX11722" fmla="*/ 1946317 w 4044707"/>
                <a:gd name="connsiteY11722" fmla="*/ 2708260 h 2907193"/>
                <a:gd name="connsiteX11723" fmla="*/ 1946982 w 4044707"/>
                <a:gd name="connsiteY11723" fmla="*/ 2708260 h 2907193"/>
                <a:gd name="connsiteX11724" fmla="*/ 1949917 w 4044707"/>
                <a:gd name="connsiteY11724" fmla="*/ 2719846 h 2907193"/>
                <a:gd name="connsiteX11725" fmla="*/ 1950159 w 4044707"/>
                <a:gd name="connsiteY11725" fmla="*/ 2721903 h 2907193"/>
                <a:gd name="connsiteX11726" fmla="*/ 1950885 w 4044707"/>
                <a:gd name="connsiteY11726" fmla="*/ 2720239 h 2907193"/>
                <a:gd name="connsiteX11727" fmla="*/ 1950733 w 4044707"/>
                <a:gd name="connsiteY11727" fmla="*/ 2711799 h 2907193"/>
                <a:gd name="connsiteX11728" fmla="*/ 1951157 w 4044707"/>
                <a:gd name="connsiteY11728" fmla="*/ 2708260 h 2907193"/>
                <a:gd name="connsiteX11729" fmla="*/ 1952155 w 4044707"/>
                <a:gd name="connsiteY11729" fmla="*/ 2710892 h 2907193"/>
                <a:gd name="connsiteX11730" fmla="*/ 1952609 w 4044707"/>
                <a:gd name="connsiteY11730" fmla="*/ 2713644 h 2907193"/>
                <a:gd name="connsiteX11731" fmla="*/ 1953214 w 4044707"/>
                <a:gd name="connsiteY11731" fmla="*/ 2716186 h 2907193"/>
                <a:gd name="connsiteX11732" fmla="*/ 1954636 w 4044707"/>
                <a:gd name="connsiteY11732" fmla="*/ 2718061 h 2907193"/>
                <a:gd name="connsiteX11733" fmla="*/ 1953547 w 4044707"/>
                <a:gd name="connsiteY11733" fmla="*/ 2713554 h 2907193"/>
                <a:gd name="connsiteX11734" fmla="*/ 1952639 w 4044707"/>
                <a:gd name="connsiteY11734" fmla="*/ 2708109 h 2907193"/>
                <a:gd name="connsiteX11735" fmla="*/ 1952912 w 4044707"/>
                <a:gd name="connsiteY11735" fmla="*/ 2704569 h 2907193"/>
                <a:gd name="connsiteX11736" fmla="*/ 1955331 w 4044707"/>
                <a:gd name="connsiteY11736" fmla="*/ 2705749 h 2907193"/>
                <a:gd name="connsiteX11737" fmla="*/ 1955120 w 4044707"/>
                <a:gd name="connsiteY11737" fmla="*/ 2703631 h 2907193"/>
                <a:gd name="connsiteX11738" fmla="*/ 1955271 w 4044707"/>
                <a:gd name="connsiteY11738" fmla="*/ 2700092 h 2907193"/>
                <a:gd name="connsiteX11739" fmla="*/ 1955664 w 4044707"/>
                <a:gd name="connsiteY11739" fmla="*/ 2696431 h 2907193"/>
                <a:gd name="connsiteX11740" fmla="*/ 1956814 w 4044707"/>
                <a:gd name="connsiteY11740" fmla="*/ 2692347 h 2907193"/>
                <a:gd name="connsiteX11741" fmla="*/ 1956995 w 4044707"/>
                <a:gd name="connsiteY11741" fmla="*/ 2691016 h 2907193"/>
                <a:gd name="connsiteX11742" fmla="*/ 1957449 w 4044707"/>
                <a:gd name="connsiteY11742" fmla="*/ 2690079 h 2907193"/>
                <a:gd name="connsiteX11743" fmla="*/ 1960202 w 4044707"/>
                <a:gd name="connsiteY11743" fmla="*/ 2689232 h 2907193"/>
                <a:gd name="connsiteX11744" fmla="*/ 1960474 w 4044707"/>
                <a:gd name="connsiteY11744" fmla="*/ 2688052 h 2907193"/>
                <a:gd name="connsiteX11745" fmla="*/ 1960081 w 4044707"/>
                <a:gd name="connsiteY11745" fmla="*/ 2685904 h 2907193"/>
                <a:gd name="connsiteX11746" fmla="*/ 1960081 w 4044707"/>
                <a:gd name="connsiteY11746" fmla="*/ 2684573 h 2907193"/>
                <a:gd name="connsiteX11747" fmla="*/ 1959899 w 4044707"/>
                <a:gd name="connsiteY11747" fmla="*/ 2680973 h 2907193"/>
                <a:gd name="connsiteX11748" fmla="*/ 1960081 w 4044707"/>
                <a:gd name="connsiteY11748" fmla="*/ 2679854 h 2907193"/>
                <a:gd name="connsiteX11749" fmla="*/ 1961170 w 4044707"/>
                <a:gd name="connsiteY11749" fmla="*/ 2679400 h 2907193"/>
                <a:gd name="connsiteX11750" fmla="*/ 1965647 w 4044707"/>
                <a:gd name="connsiteY11750" fmla="*/ 2680973 h 2907193"/>
                <a:gd name="connsiteX11751" fmla="*/ 1969157 w 4044707"/>
                <a:gd name="connsiteY11751" fmla="*/ 2683877 h 2907193"/>
                <a:gd name="connsiteX11752" fmla="*/ 1971002 w 4044707"/>
                <a:gd name="connsiteY11752" fmla="*/ 2684089 h 2907193"/>
                <a:gd name="connsiteX11753" fmla="*/ 1971819 w 4044707"/>
                <a:gd name="connsiteY11753" fmla="*/ 2680398 h 2907193"/>
                <a:gd name="connsiteX11754" fmla="*/ 1972756 w 4044707"/>
                <a:gd name="connsiteY11754" fmla="*/ 2677524 h 2907193"/>
                <a:gd name="connsiteX11755" fmla="*/ 1974541 w 4044707"/>
                <a:gd name="connsiteY11755" fmla="*/ 2675830 h 2907193"/>
                <a:gd name="connsiteX11756" fmla="*/ 1975479 w 4044707"/>
                <a:gd name="connsiteY11756" fmla="*/ 2674106 h 2907193"/>
                <a:gd name="connsiteX11757" fmla="*/ 1973936 w 4044707"/>
                <a:gd name="connsiteY11757" fmla="*/ 2671051 h 2907193"/>
                <a:gd name="connsiteX11758" fmla="*/ 1970215 w 4044707"/>
                <a:gd name="connsiteY11758" fmla="*/ 2668146 h 2907193"/>
                <a:gd name="connsiteX11759" fmla="*/ 1968491 w 4044707"/>
                <a:gd name="connsiteY11759" fmla="*/ 2665757 h 2907193"/>
                <a:gd name="connsiteX11760" fmla="*/ 1968733 w 4044707"/>
                <a:gd name="connsiteY11760" fmla="*/ 2662883 h 2907193"/>
                <a:gd name="connsiteX11761" fmla="*/ 1971274 w 4044707"/>
                <a:gd name="connsiteY11761" fmla="*/ 2657589 h 2907193"/>
                <a:gd name="connsiteX11762" fmla="*/ 1972091 w 4044707"/>
                <a:gd name="connsiteY11762" fmla="*/ 2654291 h 2907193"/>
                <a:gd name="connsiteX11763" fmla="*/ 1971819 w 4044707"/>
                <a:gd name="connsiteY11763" fmla="*/ 2651115 h 2907193"/>
                <a:gd name="connsiteX11764" fmla="*/ 1969943 w 4044707"/>
                <a:gd name="connsiteY11764" fmla="*/ 2649088 h 2907193"/>
                <a:gd name="connsiteX11765" fmla="*/ 1960928 w 4044707"/>
                <a:gd name="connsiteY11765" fmla="*/ 2646456 h 2907193"/>
                <a:gd name="connsiteX11766" fmla="*/ 1957086 w 4044707"/>
                <a:gd name="connsiteY11766" fmla="*/ 2639226 h 2907193"/>
                <a:gd name="connsiteX11767" fmla="*/ 1954968 w 4044707"/>
                <a:gd name="connsiteY11767" fmla="*/ 2637471 h 2907193"/>
                <a:gd name="connsiteX11768" fmla="*/ 1953033 w 4044707"/>
                <a:gd name="connsiteY11768" fmla="*/ 2636413 h 2907193"/>
                <a:gd name="connsiteX11769" fmla="*/ 1950703 w 4044707"/>
                <a:gd name="connsiteY11769" fmla="*/ 2633781 h 2907193"/>
                <a:gd name="connsiteX11770" fmla="*/ 1948676 w 4044707"/>
                <a:gd name="connsiteY11770" fmla="*/ 2630483 h 2907193"/>
                <a:gd name="connsiteX11771" fmla="*/ 1947618 w 4044707"/>
                <a:gd name="connsiteY11771" fmla="*/ 2627428 h 2907193"/>
                <a:gd name="connsiteX11772" fmla="*/ 1950824 w 4044707"/>
                <a:gd name="connsiteY11772" fmla="*/ 2627609 h 2907193"/>
                <a:gd name="connsiteX11773" fmla="*/ 1957207 w 4044707"/>
                <a:gd name="connsiteY11773" fmla="*/ 2632419 h 2907193"/>
                <a:gd name="connsiteX11774" fmla="*/ 1960384 w 4044707"/>
                <a:gd name="connsiteY11774" fmla="*/ 2633660 h 2907193"/>
                <a:gd name="connsiteX11775" fmla="*/ 1962078 w 4044707"/>
                <a:gd name="connsiteY11775" fmla="*/ 2631905 h 2907193"/>
                <a:gd name="connsiteX11776" fmla="*/ 1962985 w 4044707"/>
                <a:gd name="connsiteY11776" fmla="*/ 2627730 h 2907193"/>
                <a:gd name="connsiteX11777" fmla="*/ 1963409 w 4044707"/>
                <a:gd name="connsiteY11777" fmla="*/ 2622588 h 2907193"/>
                <a:gd name="connsiteX11778" fmla="*/ 1963500 w 4044707"/>
                <a:gd name="connsiteY11778" fmla="*/ 2618050 h 2907193"/>
                <a:gd name="connsiteX11779" fmla="*/ 1963106 w 4044707"/>
                <a:gd name="connsiteY11779" fmla="*/ 2613119 h 2907193"/>
                <a:gd name="connsiteX11780" fmla="*/ 1961926 w 4044707"/>
                <a:gd name="connsiteY11780" fmla="*/ 2609428 h 2907193"/>
                <a:gd name="connsiteX11781" fmla="*/ 1959990 w 4044707"/>
                <a:gd name="connsiteY11781" fmla="*/ 2606796 h 2907193"/>
                <a:gd name="connsiteX11782" fmla="*/ 1953668 w 4044707"/>
                <a:gd name="connsiteY11782" fmla="*/ 2603318 h 2907193"/>
                <a:gd name="connsiteX11783" fmla="*/ 1952367 w 4044707"/>
                <a:gd name="connsiteY11783" fmla="*/ 2602592 h 2907193"/>
                <a:gd name="connsiteX11784" fmla="*/ 1950824 w 4044707"/>
                <a:gd name="connsiteY11784" fmla="*/ 2602319 h 2907193"/>
                <a:gd name="connsiteX11785" fmla="*/ 1949644 w 4044707"/>
                <a:gd name="connsiteY11785" fmla="*/ 2601593 h 2907193"/>
                <a:gd name="connsiteX11786" fmla="*/ 1947739 w 4044707"/>
                <a:gd name="connsiteY11786" fmla="*/ 2598326 h 2907193"/>
                <a:gd name="connsiteX11787" fmla="*/ 1946377 w 4044707"/>
                <a:gd name="connsiteY11787" fmla="*/ 2597418 h 2907193"/>
                <a:gd name="connsiteX11788" fmla="*/ 1947829 w 4044707"/>
                <a:gd name="connsiteY11788" fmla="*/ 2594696 h 2907193"/>
                <a:gd name="connsiteX11789" fmla="*/ 1950643 w 4044707"/>
                <a:gd name="connsiteY11789" fmla="*/ 2594514 h 2907193"/>
                <a:gd name="connsiteX11790" fmla="*/ 1953638 w 4044707"/>
                <a:gd name="connsiteY11790" fmla="*/ 2595936 h 2907193"/>
                <a:gd name="connsiteX11791" fmla="*/ 1957237 w 4044707"/>
                <a:gd name="connsiteY11791" fmla="*/ 2599687 h 2907193"/>
                <a:gd name="connsiteX11792" fmla="*/ 1958750 w 4044707"/>
                <a:gd name="connsiteY11792" fmla="*/ 2599899 h 2907193"/>
                <a:gd name="connsiteX11793" fmla="*/ 1959264 w 4044707"/>
                <a:gd name="connsiteY11793" fmla="*/ 2599899 h 2907193"/>
                <a:gd name="connsiteX11794" fmla="*/ 1959385 w 4044707"/>
                <a:gd name="connsiteY11794" fmla="*/ 2599839 h 2907193"/>
                <a:gd name="connsiteX11795" fmla="*/ 1960081 w 4044707"/>
                <a:gd name="connsiteY11795" fmla="*/ 2599778 h 2907193"/>
                <a:gd name="connsiteX11796" fmla="*/ 1961140 w 4044707"/>
                <a:gd name="connsiteY11796" fmla="*/ 2600565 h 2907193"/>
                <a:gd name="connsiteX11797" fmla="*/ 1961503 w 4044707"/>
                <a:gd name="connsiteY11797" fmla="*/ 2601018 h 2907193"/>
                <a:gd name="connsiteX11798" fmla="*/ 1963832 w 4044707"/>
                <a:gd name="connsiteY11798" fmla="*/ 2603983 h 2907193"/>
                <a:gd name="connsiteX11799" fmla="*/ 1964377 w 4044707"/>
                <a:gd name="connsiteY11799" fmla="*/ 2604921 h 2907193"/>
                <a:gd name="connsiteX11800" fmla="*/ 1964952 w 4044707"/>
                <a:gd name="connsiteY11800" fmla="*/ 2607038 h 2907193"/>
                <a:gd name="connsiteX11801" fmla="*/ 1965224 w 4044707"/>
                <a:gd name="connsiteY11801" fmla="*/ 2608672 h 2907193"/>
                <a:gd name="connsiteX11802" fmla="*/ 1965647 w 4044707"/>
                <a:gd name="connsiteY11802" fmla="*/ 2612393 h 2907193"/>
                <a:gd name="connsiteX11803" fmla="*/ 1966827 w 4044707"/>
                <a:gd name="connsiteY11803" fmla="*/ 2618715 h 2907193"/>
                <a:gd name="connsiteX11804" fmla="*/ 1967009 w 4044707"/>
                <a:gd name="connsiteY11804" fmla="*/ 2620470 h 2907193"/>
                <a:gd name="connsiteX11805" fmla="*/ 1966313 w 4044707"/>
                <a:gd name="connsiteY11805" fmla="*/ 2628456 h 2907193"/>
                <a:gd name="connsiteX11806" fmla="*/ 1966434 w 4044707"/>
                <a:gd name="connsiteY11806" fmla="*/ 2632147 h 2907193"/>
                <a:gd name="connsiteX11807" fmla="*/ 1967765 w 4044707"/>
                <a:gd name="connsiteY11807" fmla="*/ 2634961 h 2907193"/>
                <a:gd name="connsiteX11808" fmla="*/ 1972484 w 4044707"/>
                <a:gd name="connsiteY11808" fmla="*/ 2635687 h 2907193"/>
                <a:gd name="connsiteX11809" fmla="*/ 1978413 w 4044707"/>
                <a:gd name="connsiteY11809" fmla="*/ 2631845 h 2907193"/>
                <a:gd name="connsiteX11810" fmla="*/ 1983496 w 4044707"/>
                <a:gd name="connsiteY11810" fmla="*/ 2625492 h 2907193"/>
                <a:gd name="connsiteX11811" fmla="*/ 1985643 w 4044707"/>
                <a:gd name="connsiteY11811" fmla="*/ 2618655 h 2907193"/>
                <a:gd name="connsiteX11812" fmla="*/ 1985220 w 4044707"/>
                <a:gd name="connsiteY11812" fmla="*/ 2615811 h 2907193"/>
                <a:gd name="connsiteX11813" fmla="*/ 1984070 w 4044707"/>
                <a:gd name="connsiteY11813" fmla="*/ 2612030 h 2907193"/>
                <a:gd name="connsiteX11814" fmla="*/ 1982437 w 4044707"/>
                <a:gd name="connsiteY11814" fmla="*/ 2608732 h 2907193"/>
                <a:gd name="connsiteX11815" fmla="*/ 1980471 w 4044707"/>
                <a:gd name="connsiteY11815" fmla="*/ 2607311 h 2907193"/>
                <a:gd name="connsiteX11816" fmla="*/ 1978111 w 4044707"/>
                <a:gd name="connsiteY11816" fmla="*/ 2606343 h 2907193"/>
                <a:gd name="connsiteX11817" fmla="*/ 1975993 w 4044707"/>
                <a:gd name="connsiteY11817" fmla="*/ 2603771 h 2907193"/>
                <a:gd name="connsiteX11818" fmla="*/ 1974329 w 4044707"/>
                <a:gd name="connsiteY11818" fmla="*/ 2600171 h 2907193"/>
                <a:gd name="connsiteX11819" fmla="*/ 1973210 w 4044707"/>
                <a:gd name="connsiteY11819" fmla="*/ 2596027 h 2907193"/>
                <a:gd name="connsiteX11820" fmla="*/ 1972636 w 4044707"/>
                <a:gd name="connsiteY11820" fmla="*/ 2591156 h 2907193"/>
                <a:gd name="connsiteX11821" fmla="*/ 1972514 w 4044707"/>
                <a:gd name="connsiteY11821" fmla="*/ 2585499 h 2907193"/>
                <a:gd name="connsiteX11822" fmla="*/ 1972726 w 4044707"/>
                <a:gd name="connsiteY11822" fmla="*/ 2582837 h 2907193"/>
                <a:gd name="connsiteX11823" fmla="*/ 1972938 w 4044707"/>
                <a:gd name="connsiteY11823" fmla="*/ 2580417 h 2907193"/>
                <a:gd name="connsiteX11824" fmla="*/ 1973966 w 4044707"/>
                <a:gd name="connsiteY11824" fmla="*/ 2577211 h 2907193"/>
                <a:gd name="connsiteX11825" fmla="*/ 1971456 w 4044707"/>
                <a:gd name="connsiteY11825" fmla="*/ 2575789 h 2907193"/>
                <a:gd name="connsiteX11826" fmla="*/ 1971637 w 4044707"/>
                <a:gd name="connsiteY11826" fmla="*/ 2574185 h 2907193"/>
                <a:gd name="connsiteX11827" fmla="*/ 1974935 w 4044707"/>
                <a:gd name="connsiteY11827" fmla="*/ 2570222 h 2907193"/>
                <a:gd name="connsiteX11828" fmla="*/ 1977082 w 4044707"/>
                <a:gd name="connsiteY11828" fmla="*/ 2568226 h 2907193"/>
                <a:gd name="connsiteX11829" fmla="*/ 1979472 w 4044707"/>
                <a:gd name="connsiteY11829" fmla="*/ 2567893 h 2907193"/>
                <a:gd name="connsiteX11830" fmla="*/ 1983587 w 4044707"/>
                <a:gd name="connsiteY11830" fmla="*/ 2568256 h 2907193"/>
                <a:gd name="connsiteX11831" fmla="*/ 1984464 w 4044707"/>
                <a:gd name="connsiteY11831" fmla="*/ 2567651 h 2907193"/>
                <a:gd name="connsiteX11832" fmla="*/ 1985734 w 4044707"/>
                <a:gd name="connsiteY11832" fmla="*/ 2565927 h 2907193"/>
                <a:gd name="connsiteX11833" fmla="*/ 1986339 w 4044707"/>
                <a:gd name="connsiteY11833" fmla="*/ 2565624 h 2907193"/>
                <a:gd name="connsiteX11834" fmla="*/ 1990847 w 4044707"/>
                <a:gd name="connsiteY11834" fmla="*/ 2566986 h 2907193"/>
                <a:gd name="connsiteX11835" fmla="*/ 1991663 w 4044707"/>
                <a:gd name="connsiteY11835" fmla="*/ 2565957 h 2907193"/>
                <a:gd name="connsiteX11836" fmla="*/ 1992329 w 4044707"/>
                <a:gd name="connsiteY11836" fmla="*/ 2564021 h 2907193"/>
                <a:gd name="connsiteX11837" fmla="*/ 1993116 w 4044707"/>
                <a:gd name="connsiteY11837" fmla="*/ 2562781 h 2907193"/>
                <a:gd name="connsiteX11838" fmla="*/ 1995385 w 4044707"/>
                <a:gd name="connsiteY11838" fmla="*/ 2564838 h 2907193"/>
                <a:gd name="connsiteX11839" fmla="*/ 1998289 w 4044707"/>
                <a:gd name="connsiteY11839" fmla="*/ 2565866 h 2907193"/>
                <a:gd name="connsiteX11840" fmla="*/ 1999559 w 4044707"/>
                <a:gd name="connsiteY11840" fmla="*/ 2567016 h 2907193"/>
                <a:gd name="connsiteX11841" fmla="*/ 1998803 w 4044707"/>
                <a:gd name="connsiteY11841" fmla="*/ 2568286 h 2907193"/>
                <a:gd name="connsiteX11842" fmla="*/ 2000134 w 4044707"/>
                <a:gd name="connsiteY11842" fmla="*/ 2574155 h 2907193"/>
                <a:gd name="connsiteX11843" fmla="*/ 1999015 w 4044707"/>
                <a:gd name="connsiteY11843" fmla="*/ 2580750 h 2907193"/>
                <a:gd name="connsiteX11844" fmla="*/ 1997079 w 4044707"/>
                <a:gd name="connsiteY11844" fmla="*/ 2587738 h 2907193"/>
                <a:gd name="connsiteX11845" fmla="*/ 1996020 w 4044707"/>
                <a:gd name="connsiteY11845" fmla="*/ 2594756 h 2907193"/>
                <a:gd name="connsiteX11846" fmla="*/ 1994053 w 4044707"/>
                <a:gd name="connsiteY11846" fmla="*/ 2587587 h 2907193"/>
                <a:gd name="connsiteX11847" fmla="*/ 1992269 w 4044707"/>
                <a:gd name="connsiteY11847" fmla="*/ 2578360 h 2907193"/>
                <a:gd name="connsiteX11848" fmla="*/ 1989758 w 4044707"/>
                <a:gd name="connsiteY11848" fmla="*/ 2572975 h 2907193"/>
                <a:gd name="connsiteX11849" fmla="*/ 1985643 w 4044707"/>
                <a:gd name="connsiteY11849" fmla="*/ 2577211 h 2907193"/>
                <a:gd name="connsiteX11850" fmla="*/ 1984373 w 4044707"/>
                <a:gd name="connsiteY11850" fmla="*/ 2580841 h 2907193"/>
                <a:gd name="connsiteX11851" fmla="*/ 1981892 w 4044707"/>
                <a:gd name="connsiteY11851" fmla="*/ 2589553 h 2907193"/>
                <a:gd name="connsiteX11852" fmla="*/ 1980501 w 4044707"/>
                <a:gd name="connsiteY11852" fmla="*/ 2592881 h 2907193"/>
                <a:gd name="connsiteX11853" fmla="*/ 1980198 w 4044707"/>
                <a:gd name="connsiteY11853" fmla="*/ 2596935 h 2907193"/>
                <a:gd name="connsiteX11854" fmla="*/ 1981741 w 4044707"/>
                <a:gd name="connsiteY11854" fmla="*/ 2601805 h 2907193"/>
                <a:gd name="connsiteX11855" fmla="*/ 1983980 w 4044707"/>
                <a:gd name="connsiteY11855" fmla="*/ 2604558 h 2907193"/>
                <a:gd name="connsiteX11856" fmla="*/ 1985704 w 4044707"/>
                <a:gd name="connsiteY11856" fmla="*/ 2602259 h 2907193"/>
                <a:gd name="connsiteX11857" fmla="*/ 1986006 w 4044707"/>
                <a:gd name="connsiteY11857" fmla="*/ 2608491 h 2907193"/>
                <a:gd name="connsiteX11858" fmla="*/ 1986854 w 4044707"/>
                <a:gd name="connsiteY11858" fmla="*/ 2613210 h 2907193"/>
                <a:gd name="connsiteX11859" fmla="*/ 1988155 w 4044707"/>
                <a:gd name="connsiteY11859" fmla="*/ 2617142 h 2907193"/>
                <a:gd name="connsiteX11860" fmla="*/ 1989909 w 4044707"/>
                <a:gd name="connsiteY11860" fmla="*/ 2621015 h 2907193"/>
                <a:gd name="connsiteX11861" fmla="*/ 1988941 w 4044707"/>
                <a:gd name="connsiteY11861" fmla="*/ 2625038 h 2907193"/>
                <a:gd name="connsiteX11862" fmla="*/ 1988820 w 4044707"/>
                <a:gd name="connsiteY11862" fmla="*/ 2629243 h 2907193"/>
                <a:gd name="connsiteX11863" fmla="*/ 1989364 w 4044707"/>
                <a:gd name="connsiteY11863" fmla="*/ 2633448 h 2907193"/>
                <a:gd name="connsiteX11864" fmla="*/ 1990574 w 4044707"/>
                <a:gd name="connsiteY11864" fmla="*/ 2637411 h 2907193"/>
                <a:gd name="connsiteX11865" fmla="*/ 1991633 w 4044707"/>
                <a:gd name="connsiteY11865" fmla="*/ 2639135 h 2907193"/>
                <a:gd name="connsiteX11866" fmla="*/ 1992632 w 4044707"/>
                <a:gd name="connsiteY11866" fmla="*/ 2640224 h 2907193"/>
                <a:gd name="connsiteX11867" fmla="*/ 1993327 w 4044707"/>
                <a:gd name="connsiteY11867" fmla="*/ 2641797 h 2907193"/>
                <a:gd name="connsiteX11868" fmla="*/ 1993327 w 4044707"/>
                <a:gd name="connsiteY11868" fmla="*/ 2645004 h 2907193"/>
                <a:gd name="connsiteX11869" fmla="*/ 1992813 w 4044707"/>
                <a:gd name="connsiteY11869" fmla="*/ 2647333 h 2907193"/>
                <a:gd name="connsiteX11870" fmla="*/ 1991815 w 4044707"/>
                <a:gd name="connsiteY11870" fmla="*/ 2649058 h 2907193"/>
                <a:gd name="connsiteX11871" fmla="*/ 1990544 w 4044707"/>
                <a:gd name="connsiteY11871" fmla="*/ 2649602 h 2907193"/>
                <a:gd name="connsiteX11872" fmla="*/ 1989183 w 4044707"/>
                <a:gd name="connsiteY11872" fmla="*/ 2648513 h 2907193"/>
                <a:gd name="connsiteX11873" fmla="*/ 1990393 w 4044707"/>
                <a:gd name="connsiteY11873" fmla="*/ 2643159 h 2907193"/>
                <a:gd name="connsiteX11874" fmla="*/ 1990574 w 4044707"/>
                <a:gd name="connsiteY11874" fmla="*/ 2640345 h 2907193"/>
                <a:gd name="connsiteX11875" fmla="*/ 1989909 w 4044707"/>
                <a:gd name="connsiteY11875" fmla="*/ 2638681 h 2907193"/>
                <a:gd name="connsiteX11876" fmla="*/ 1988729 w 4044707"/>
                <a:gd name="connsiteY11876" fmla="*/ 2639528 h 2907193"/>
                <a:gd name="connsiteX11877" fmla="*/ 1987005 w 4044707"/>
                <a:gd name="connsiteY11877" fmla="*/ 2642130 h 2907193"/>
                <a:gd name="connsiteX11878" fmla="*/ 1984343 w 4044707"/>
                <a:gd name="connsiteY11878" fmla="*/ 2647364 h 2907193"/>
                <a:gd name="connsiteX11879" fmla="*/ 1983375 w 4044707"/>
                <a:gd name="connsiteY11879" fmla="*/ 2650903 h 2907193"/>
                <a:gd name="connsiteX11880" fmla="*/ 1983828 w 4044707"/>
                <a:gd name="connsiteY11880" fmla="*/ 2652174 h 2907193"/>
                <a:gd name="connsiteX11881" fmla="*/ 1987792 w 4044707"/>
                <a:gd name="connsiteY11881" fmla="*/ 2653595 h 2907193"/>
                <a:gd name="connsiteX11882" fmla="*/ 1989576 w 4044707"/>
                <a:gd name="connsiteY11882" fmla="*/ 2655017 h 2907193"/>
                <a:gd name="connsiteX11883" fmla="*/ 1990242 w 4044707"/>
                <a:gd name="connsiteY11883" fmla="*/ 2656469 h 2907193"/>
                <a:gd name="connsiteX11884" fmla="*/ 1989879 w 4044707"/>
                <a:gd name="connsiteY11884" fmla="*/ 2658375 h 2907193"/>
                <a:gd name="connsiteX11885" fmla="*/ 1988518 w 4044707"/>
                <a:gd name="connsiteY11885" fmla="*/ 2661067 h 2907193"/>
                <a:gd name="connsiteX11886" fmla="*/ 1990242 w 4044707"/>
                <a:gd name="connsiteY11886" fmla="*/ 2663911 h 2907193"/>
                <a:gd name="connsiteX11887" fmla="*/ 1990786 w 4044707"/>
                <a:gd name="connsiteY11887" fmla="*/ 2668056 h 2907193"/>
                <a:gd name="connsiteX11888" fmla="*/ 1991663 w 4044707"/>
                <a:gd name="connsiteY11888" fmla="*/ 2671807 h 2907193"/>
                <a:gd name="connsiteX11889" fmla="*/ 1994356 w 4044707"/>
                <a:gd name="connsiteY11889" fmla="*/ 2673440 h 2907193"/>
                <a:gd name="connsiteX11890" fmla="*/ 1995203 w 4044707"/>
                <a:gd name="connsiteY11890" fmla="*/ 2672684 h 2907193"/>
                <a:gd name="connsiteX11891" fmla="*/ 1996776 w 4044707"/>
                <a:gd name="connsiteY11891" fmla="*/ 2669266 h 2907193"/>
                <a:gd name="connsiteX11892" fmla="*/ 1997805 w 4044707"/>
                <a:gd name="connsiteY11892" fmla="*/ 2668479 h 2907193"/>
                <a:gd name="connsiteX11893" fmla="*/ 1998773 w 4044707"/>
                <a:gd name="connsiteY11893" fmla="*/ 2669114 h 2907193"/>
                <a:gd name="connsiteX11894" fmla="*/ 1999650 w 4044707"/>
                <a:gd name="connsiteY11894" fmla="*/ 2670536 h 2907193"/>
                <a:gd name="connsiteX11895" fmla="*/ 2000739 w 4044707"/>
                <a:gd name="connsiteY11895" fmla="*/ 2671867 h 2907193"/>
                <a:gd name="connsiteX11896" fmla="*/ 2002312 w 4044707"/>
                <a:gd name="connsiteY11896" fmla="*/ 2672291 h 2907193"/>
                <a:gd name="connsiteX11897" fmla="*/ 2000527 w 4044707"/>
                <a:gd name="connsiteY11897" fmla="*/ 2675800 h 2907193"/>
                <a:gd name="connsiteX11898" fmla="*/ 1998712 w 4044707"/>
                <a:gd name="connsiteY11898" fmla="*/ 2680428 h 2907193"/>
                <a:gd name="connsiteX11899" fmla="*/ 1997653 w 4044707"/>
                <a:gd name="connsiteY11899" fmla="*/ 2685329 h 2907193"/>
                <a:gd name="connsiteX11900" fmla="*/ 1998168 w 4044707"/>
                <a:gd name="connsiteY11900" fmla="*/ 2689685 h 2907193"/>
                <a:gd name="connsiteX11901" fmla="*/ 1999287 w 4044707"/>
                <a:gd name="connsiteY11901" fmla="*/ 2688385 h 2907193"/>
                <a:gd name="connsiteX11902" fmla="*/ 2000558 w 4044707"/>
                <a:gd name="connsiteY11902" fmla="*/ 2684603 h 2907193"/>
                <a:gd name="connsiteX11903" fmla="*/ 2001677 w 4044707"/>
                <a:gd name="connsiteY11903" fmla="*/ 2683302 h 2907193"/>
                <a:gd name="connsiteX11904" fmla="*/ 2001011 w 4044707"/>
                <a:gd name="connsiteY11904" fmla="*/ 2686993 h 2907193"/>
                <a:gd name="connsiteX11905" fmla="*/ 2002826 w 4044707"/>
                <a:gd name="connsiteY11905" fmla="*/ 2691591 h 2907193"/>
                <a:gd name="connsiteX11906" fmla="*/ 2002312 w 4044707"/>
                <a:gd name="connsiteY11906" fmla="*/ 2694647 h 2907193"/>
                <a:gd name="connsiteX11907" fmla="*/ 2004611 w 4044707"/>
                <a:gd name="connsiteY11907" fmla="*/ 2694768 h 2907193"/>
                <a:gd name="connsiteX11908" fmla="*/ 2006699 w 4044707"/>
                <a:gd name="connsiteY11908" fmla="*/ 2699245 h 2907193"/>
                <a:gd name="connsiteX11909" fmla="*/ 2008544 w 4044707"/>
                <a:gd name="connsiteY11909" fmla="*/ 2699699 h 2907193"/>
                <a:gd name="connsiteX11910" fmla="*/ 2009209 w 4044707"/>
                <a:gd name="connsiteY11910" fmla="*/ 2698791 h 2907193"/>
                <a:gd name="connsiteX11911" fmla="*/ 2009270 w 4044707"/>
                <a:gd name="connsiteY11911" fmla="*/ 2697490 h 2907193"/>
                <a:gd name="connsiteX11912" fmla="*/ 2009451 w 4044707"/>
                <a:gd name="connsiteY11912" fmla="*/ 2696310 h 2907193"/>
                <a:gd name="connsiteX11913" fmla="*/ 2010571 w 4044707"/>
                <a:gd name="connsiteY11913" fmla="*/ 2695796 h 2907193"/>
                <a:gd name="connsiteX11914" fmla="*/ 2011690 w 4044707"/>
                <a:gd name="connsiteY11914" fmla="*/ 2695554 h 2907193"/>
                <a:gd name="connsiteX11915" fmla="*/ 2012719 w 4044707"/>
                <a:gd name="connsiteY11915" fmla="*/ 2694979 h 2907193"/>
                <a:gd name="connsiteX11916" fmla="*/ 2014655 w 4044707"/>
                <a:gd name="connsiteY11916" fmla="*/ 2693316 h 2907193"/>
                <a:gd name="connsiteX11917" fmla="*/ 2014201 w 4044707"/>
                <a:gd name="connsiteY11917" fmla="*/ 2696189 h 2907193"/>
                <a:gd name="connsiteX11918" fmla="*/ 2014503 w 4044707"/>
                <a:gd name="connsiteY11918" fmla="*/ 2699245 h 2907193"/>
                <a:gd name="connsiteX11919" fmla="*/ 2015229 w 4044707"/>
                <a:gd name="connsiteY11919" fmla="*/ 2701786 h 2907193"/>
                <a:gd name="connsiteX11920" fmla="*/ 2016077 w 4044707"/>
                <a:gd name="connsiteY11920" fmla="*/ 2703147 h 2907193"/>
                <a:gd name="connsiteX11921" fmla="*/ 2017861 w 4044707"/>
                <a:gd name="connsiteY11921" fmla="*/ 2703480 h 2907193"/>
                <a:gd name="connsiteX11922" fmla="*/ 2018859 w 4044707"/>
                <a:gd name="connsiteY11922" fmla="*/ 2701846 h 2907193"/>
                <a:gd name="connsiteX11923" fmla="*/ 2018920 w 4044707"/>
                <a:gd name="connsiteY11923" fmla="*/ 2699033 h 2907193"/>
                <a:gd name="connsiteX11924" fmla="*/ 2018043 w 4044707"/>
                <a:gd name="connsiteY11924" fmla="*/ 2695736 h 2907193"/>
                <a:gd name="connsiteX11925" fmla="*/ 2019283 w 4044707"/>
                <a:gd name="connsiteY11925" fmla="*/ 2695736 h 2907193"/>
                <a:gd name="connsiteX11926" fmla="*/ 2023427 w 4044707"/>
                <a:gd name="connsiteY11926" fmla="*/ 2697097 h 2907193"/>
                <a:gd name="connsiteX11927" fmla="*/ 2024305 w 4044707"/>
                <a:gd name="connsiteY11927" fmla="*/ 2697702 h 2907193"/>
                <a:gd name="connsiteX11928" fmla="*/ 2025243 w 4044707"/>
                <a:gd name="connsiteY11928" fmla="*/ 2700092 h 2907193"/>
                <a:gd name="connsiteX11929" fmla="*/ 2027149 w 4044707"/>
                <a:gd name="connsiteY11929" fmla="*/ 2701423 h 2907193"/>
                <a:gd name="connsiteX11930" fmla="*/ 2028480 w 4044707"/>
                <a:gd name="connsiteY11930" fmla="*/ 2702875 h 2907193"/>
                <a:gd name="connsiteX11931" fmla="*/ 2027723 w 4044707"/>
                <a:gd name="connsiteY11931" fmla="*/ 2705719 h 2907193"/>
                <a:gd name="connsiteX11932" fmla="*/ 2033622 w 4044707"/>
                <a:gd name="connsiteY11932" fmla="*/ 2705719 h 2907193"/>
                <a:gd name="connsiteX11933" fmla="*/ 2034439 w 4044707"/>
                <a:gd name="connsiteY11933" fmla="*/ 2704599 h 2907193"/>
                <a:gd name="connsiteX11934" fmla="*/ 2034258 w 4044707"/>
                <a:gd name="connsiteY11934" fmla="*/ 2702028 h 2907193"/>
                <a:gd name="connsiteX11935" fmla="*/ 2033289 w 4044707"/>
                <a:gd name="connsiteY11935" fmla="*/ 2697097 h 2907193"/>
                <a:gd name="connsiteX11936" fmla="*/ 2035226 w 4044707"/>
                <a:gd name="connsiteY11936" fmla="*/ 2701635 h 2907193"/>
                <a:gd name="connsiteX11937" fmla="*/ 2036405 w 4044707"/>
                <a:gd name="connsiteY11937" fmla="*/ 2703147 h 2907193"/>
                <a:gd name="connsiteX11938" fmla="*/ 2038069 w 4044707"/>
                <a:gd name="connsiteY11938" fmla="*/ 2703147 h 2907193"/>
                <a:gd name="connsiteX11939" fmla="*/ 2039249 w 4044707"/>
                <a:gd name="connsiteY11939" fmla="*/ 2701756 h 2907193"/>
                <a:gd name="connsiteX11940" fmla="*/ 2039824 w 4044707"/>
                <a:gd name="connsiteY11940" fmla="*/ 2699487 h 2907193"/>
                <a:gd name="connsiteX11941" fmla="*/ 2039521 w 4044707"/>
                <a:gd name="connsiteY11941" fmla="*/ 2697218 h 2907193"/>
                <a:gd name="connsiteX11942" fmla="*/ 2038039 w 4044707"/>
                <a:gd name="connsiteY11942" fmla="*/ 2695796 h 2907193"/>
                <a:gd name="connsiteX11943" fmla="*/ 2041185 w 4044707"/>
                <a:gd name="connsiteY11943" fmla="*/ 2694162 h 2907193"/>
                <a:gd name="connsiteX11944" fmla="*/ 2042153 w 4044707"/>
                <a:gd name="connsiteY11944" fmla="*/ 2693316 h 2907193"/>
                <a:gd name="connsiteX11945" fmla="*/ 2042607 w 4044707"/>
                <a:gd name="connsiteY11945" fmla="*/ 2694919 h 2907193"/>
                <a:gd name="connsiteX11946" fmla="*/ 2042607 w 4044707"/>
                <a:gd name="connsiteY11946" fmla="*/ 2695615 h 2907193"/>
                <a:gd name="connsiteX11947" fmla="*/ 2042304 w 4044707"/>
                <a:gd name="connsiteY11947" fmla="*/ 2696250 h 2907193"/>
                <a:gd name="connsiteX11948" fmla="*/ 2042153 w 4044707"/>
                <a:gd name="connsiteY11948" fmla="*/ 2697762 h 2907193"/>
                <a:gd name="connsiteX11949" fmla="*/ 2042365 w 4044707"/>
                <a:gd name="connsiteY11949" fmla="*/ 2699093 h 2907193"/>
                <a:gd name="connsiteX11950" fmla="*/ 2042819 w 4044707"/>
                <a:gd name="connsiteY11950" fmla="*/ 2699971 h 2907193"/>
                <a:gd name="connsiteX11951" fmla="*/ 2043545 w 4044707"/>
                <a:gd name="connsiteY11951" fmla="*/ 2700848 h 2907193"/>
                <a:gd name="connsiteX11952" fmla="*/ 2043908 w 4044707"/>
                <a:gd name="connsiteY11952" fmla="*/ 2700425 h 2907193"/>
                <a:gd name="connsiteX11953" fmla="*/ 2044725 w 4044707"/>
                <a:gd name="connsiteY11953" fmla="*/ 2701332 h 2907193"/>
                <a:gd name="connsiteX11954" fmla="*/ 2045239 w 4044707"/>
                <a:gd name="connsiteY11954" fmla="*/ 2702572 h 2907193"/>
                <a:gd name="connsiteX11955" fmla="*/ 2044664 w 4044707"/>
                <a:gd name="connsiteY11955" fmla="*/ 2703208 h 2907193"/>
                <a:gd name="connsiteX11956" fmla="*/ 2042849 w 4044707"/>
                <a:gd name="connsiteY11956" fmla="*/ 2703087 h 2907193"/>
                <a:gd name="connsiteX11957" fmla="*/ 2042002 w 4044707"/>
                <a:gd name="connsiteY11957" fmla="*/ 2703450 h 2907193"/>
                <a:gd name="connsiteX11958" fmla="*/ 2041548 w 4044707"/>
                <a:gd name="connsiteY11958" fmla="*/ 2704569 h 2907193"/>
                <a:gd name="connsiteX11959" fmla="*/ 2042788 w 4044707"/>
                <a:gd name="connsiteY11959" fmla="*/ 2707957 h 2907193"/>
                <a:gd name="connsiteX11960" fmla="*/ 2046237 w 4044707"/>
                <a:gd name="connsiteY11960" fmla="*/ 2708986 h 2907193"/>
                <a:gd name="connsiteX11961" fmla="*/ 2056039 w 4044707"/>
                <a:gd name="connsiteY11961" fmla="*/ 2708109 h 2907193"/>
                <a:gd name="connsiteX11962" fmla="*/ 2059124 w 4044707"/>
                <a:gd name="connsiteY11962" fmla="*/ 2708774 h 2907193"/>
                <a:gd name="connsiteX11963" fmla="*/ 2061726 w 4044707"/>
                <a:gd name="connsiteY11963" fmla="*/ 2710710 h 2907193"/>
                <a:gd name="connsiteX11964" fmla="*/ 2063632 w 4044707"/>
                <a:gd name="connsiteY11964" fmla="*/ 2714310 h 2907193"/>
                <a:gd name="connsiteX11965" fmla="*/ 2064086 w 4044707"/>
                <a:gd name="connsiteY11965" fmla="*/ 2716246 h 2907193"/>
                <a:gd name="connsiteX11966" fmla="*/ 2064660 w 4044707"/>
                <a:gd name="connsiteY11966" fmla="*/ 2720269 h 2907193"/>
                <a:gd name="connsiteX11967" fmla="*/ 2065053 w 4044707"/>
                <a:gd name="connsiteY11967" fmla="*/ 2721903 h 2907193"/>
                <a:gd name="connsiteX11968" fmla="*/ 2068472 w 4044707"/>
                <a:gd name="connsiteY11968" fmla="*/ 2729133 h 2907193"/>
                <a:gd name="connsiteX11969" fmla="*/ 2068472 w 4044707"/>
                <a:gd name="connsiteY11969" fmla="*/ 2730283 h 2907193"/>
                <a:gd name="connsiteX11970" fmla="*/ 2068472 w 4044707"/>
                <a:gd name="connsiteY11970" fmla="*/ 2730283 h 2907193"/>
                <a:gd name="connsiteX11971" fmla="*/ 2068532 w 4044707"/>
                <a:gd name="connsiteY11971" fmla="*/ 2730404 h 2907193"/>
                <a:gd name="connsiteX11972" fmla="*/ 2070045 w 4044707"/>
                <a:gd name="connsiteY11972" fmla="*/ 2735910 h 2907193"/>
                <a:gd name="connsiteX11973" fmla="*/ 2069924 w 4044707"/>
                <a:gd name="connsiteY11973" fmla="*/ 2747466 h 2907193"/>
                <a:gd name="connsiteX11974" fmla="*/ 2073010 w 4044707"/>
                <a:gd name="connsiteY11974" fmla="*/ 2749099 h 2907193"/>
                <a:gd name="connsiteX11975" fmla="*/ 2079514 w 4044707"/>
                <a:gd name="connsiteY11975" fmla="*/ 2749492 h 2907193"/>
                <a:gd name="connsiteX11976" fmla="*/ 2086018 w 4044707"/>
                <a:gd name="connsiteY11976" fmla="*/ 2747980 h 2907193"/>
                <a:gd name="connsiteX11977" fmla="*/ 2091312 w 4044707"/>
                <a:gd name="connsiteY11977" fmla="*/ 2743170 h 2907193"/>
                <a:gd name="connsiteX11978" fmla="*/ 2094276 w 4044707"/>
                <a:gd name="connsiteY11978" fmla="*/ 2733580 h 2907193"/>
                <a:gd name="connsiteX11979" fmla="*/ 2094942 w 4044707"/>
                <a:gd name="connsiteY11979" fmla="*/ 2728982 h 2907193"/>
                <a:gd name="connsiteX11980" fmla="*/ 2095819 w 4044707"/>
                <a:gd name="connsiteY11980" fmla="*/ 2724959 h 2907193"/>
                <a:gd name="connsiteX11981" fmla="*/ 2098360 w 4044707"/>
                <a:gd name="connsiteY11981" fmla="*/ 2717063 h 2907193"/>
                <a:gd name="connsiteX11982" fmla="*/ 2099480 w 4044707"/>
                <a:gd name="connsiteY11982" fmla="*/ 2712283 h 2907193"/>
                <a:gd name="connsiteX11983" fmla="*/ 2099782 w 4044707"/>
                <a:gd name="connsiteY11983" fmla="*/ 2703661 h 2907193"/>
                <a:gd name="connsiteX11984" fmla="*/ 2102505 w 4044707"/>
                <a:gd name="connsiteY11984" fmla="*/ 2692408 h 2907193"/>
                <a:gd name="connsiteX11985" fmla="*/ 2103412 w 4044707"/>
                <a:gd name="connsiteY11985" fmla="*/ 2689595 h 2907193"/>
                <a:gd name="connsiteX11986" fmla="*/ 2105197 w 4044707"/>
                <a:gd name="connsiteY11986" fmla="*/ 2686660 h 2907193"/>
                <a:gd name="connsiteX11987" fmla="*/ 2106075 w 4044707"/>
                <a:gd name="connsiteY11987" fmla="*/ 2684089 h 2907193"/>
                <a:gd name="connsiteX11988" fmla="*/ 2106135 w 4044707"/>
                <a:gd name="connsiteY11988" fmla="*/ 2683907 h 2907193"/>
                <a:gd name="connsiteX11989" fmla="*/ 2106135 w 4044707"/>
                <a:gd name="connsiteY11989" fmla="*/ 2680065 h 2907193"/>
                <a:gd name="connsiteX11990" fmla="*/ 2105651 w 4044707"/>
                <a:gd name="connsiteY11990" fmla="*/ 2675951 h 2907193"/>
                <a:gd name="connsiteX11991" fmla="*/ 2103352 w 4044707"/>
                <a:gd name="connsiteY11991" fmla="*/ 2663790 h 2907193"/>
                <a:gd name="connsiteX11992" fmla="*/ 2092643 w 4044707"/>
                <a:gd name="connsiteY11992" fmla="*/ 2627700 h 2907193"/>
                <a:gd name="connsiteX11993" fmla="*/ 2091977 w 4044707"/>
                <a:gd name="connsiteY11993" fmla="*/ 2623768 h 2907193"/>
                <a:gd name="connsiteX11994" fmla="*/ 2092371 w 4044707"/>
                <a:gd name="connsiteY11994" fmla="*/ 2618927 h 2907193"/>
                <a:gd name="connsiteX11995" fmla="*/ 2094276 w 4044707"/>
                <a:gd name="connsiteY11995" fmla="*/ 2616144 h 2907193"/>
                <a:gd name="connsiteX11996" fmla="*/ 2107829 w 4044707"/>
                <a:gd name="connsiteY11996" fmla="*/ 2609307 h 2907193"/>
                <a:gd name="connsiteX11997" fmla="*/ 2110249 w 4044707"/>
                <a:gd name="connsiteY11997" fmla="*/ 2606827 h 2907193"/>
                <a:gd name="connsiteX11998" fmla="*/ 2114182 w 4044707"/>
                <a:gd name="connsiteY11998" fmla="*/ 2600897 h 2907193"/>
                <a:gd name="connsiteX11999" fmla="*/ 2114726 w 4044707"/>
                <a:gd name="connsiteY11999" fmla="*/ 2599385 h 2907193"/>
                <a:gd name="connsiteX12000" fmla="*/ 2114726 w 4044707"/>
                <a:gd name="connsiteY12000" fmla="*/ 2596087 h 2907193"/>
                <a:gd name="connsiteX12001" fmla="*/ 2115362 w 4044707"/>
                <a:gd name="connsiteY12001" fmla="*/ 2589130 h 2907193"/>
                <a:gd name="connsiteX12002" fmla="*/ 2115211 w 4044707"/>
                <a:gd name="connsiteY12002" fmla="*/ 2586347 h 2907193"/>
                <a:gd name="connsiteX12003" fmla="*/ 2113970 w 4044707"/>
                <a:gd name="connsiteY12003" fmla="*/ 2583352 h 2907193"/>
                <a:gd name="connsiteX12004" fmla="*/ 2113365 w 4044707"/>
                <a:gd name="connsiteY12004" fmla="*/ 2582625 h 2907193"/>
                <a:gd name="connsiteX12005" fmla="*/ 2110461 w 4044707"/>
                <a:gd name="connsiteY12005" fmla="*/ 2579147 h 2907193"/>
                <a:gd name="connsiteX12006" fmla="*/ 2109281 w 4044707"/>
                <a:gd name="connsiteY12006" fmla="*/ 2576545 h 2907193"/>
                <a:gd name="connsiteX12007" fmla="*/ 2109947 w 4044707"/>
                <a:gd name="connsiteY12007" fmla="*/ 2570283 h 2907193"/>
                <a:gd name="connsiteX12008" fmla="*/ 2112458 w 4044707"/>
                <a:gd name="connsiteY12008" fmla="*/ 2567984 h 2907193"/>
                <a:gd name="connsiteX12009" fmla="*/ 2114031 w 4044707"/>
                <a:gd name="connsiteY12009" fmla="*/ 2566532 h 2907193"/>
                <a:gd name="connsiteX12010" fmla="*/ 2119264 w 4044707"/>
                <a:gd name="connsiteY12010" fmla="*/ 2564807 h 2907193"/>
                <a:gd name="connsiteX12011" fmla="*/ 2135418 w 4044707"/>
                <a:gd name="connsiteY12011" fmla="*/ 2566290 h 2907193"/>
                <a:gd name="connsiteX12012" fmla="*/ 2139532 w 4044707"/>
                <a:gd name="connsiteY12012" fmla="*/ 2565473 h 2907193"/>
                <a:gd name="connsiteX12013" fmla="*/ 2154295 w 4044707"/>
                <a:gd name="connsiteY12013" fmla="*/ 2554340 h 2907193"/>
                <a:gd name="connsiteX12014" fmla="*/ 2169996 w 4044707"/>
                <a:gd name="connsiteY12014" fmla="*/ 2537248 h 2907193"/>
                <a:gd name="connsiteX12015" fmla="*/ 2173656 w 4044707"/>
                <a:gd name="connsiteY12015" fmla="*/ 2531652 h 2907193"/>
                <a:gd name="connsiteX12016" fmla="*/ 2176439 w 4044707"/>
                <a:gd name="connsiteY12016" fmla="*/ 2524845 h 2907193"/>
                <a:gd name="connsiteX12017" fmla="*/ 2177801 w 4044707"/>
                <a:gd name="connsiteY12017" fmla="*/ 2516738 h 2907193"/>
                <a:gd name="connsiteX12018" fmla="*/ 2177498 w 4044707"/>
                <a:gd name="connsiteY12018" fmla="*/ 2510052 h 2907193"/>
                <a:gd name="connsiteX12019" fmla="*/ 2174897 w 4044707"/>
                <a:gd name="connsiteY12019" fmla="*/ 2498043 h 2907193"/>
                <a:gd name="connsiteX12020" fmla="*/ 2174049 w 4044707"/>
                <a:gd name="connsiteY12020" fmla="*/ 2491720 h 2907193"/>
                <a:gd name="connsiteX12021" fmla="*/ 2174503 w 4044707"/>
                <a:gd name="connsiteY12021" fmla="*/ 2488665 h 2907193"/>
                <a:gd name="connsiteX12022" fmla="*/ 2175804 w 4044707"/>
                <a:gd name="connsiteY12022" fmla="*/ 2486184 h 2907193"/>
                <a:gd name="connsiteX12023" fmla="*/ 2181249 w 4044707"/>
                <a:gd name="connsiteY12023" fmla="*/ 2479771 h 2907193"/>
                <a:gd name="connsiteX12024" fmla="*/ 2183185 w 4044707"/>
                <a:gd name="connsiteY12024" fmla="*/ 2476776 h 2907193"/>
                <a:gd name="connsiteX12025" fmla="*/ 2184759 w 4044707"/>
                <a:gd name="connsiteY12025" fmla="*/ 2473206 h 2907193"/>
                <a:gd name="connsiteX12026" fmla="*/ 2185938 w 4044707"/>
                <a:gd name="connsiteY12026" fmla="*/ 2468699 h 2907193"/>
                <a:gd name="connsiteX12027" fmla="*/ 2186695 w 4044707"/>
                <a:gd name="connsiteY12027" fmla="*/ 2461922 h 2907193"/>
                <a:gd name="connsiteX12028" fmla="*/ 2186301 w 4044707"/>
                <a:gd name="connsiteY12028" fmla="*/ 2456084 h 2907193"/>
                <a:gd name="connsiteX12029" fmla="*/ 2184849 w 4044707"/>
                <a:gd name="connsiteY12029" fmla="*/ 2450729 h 2907193"/>
                <a:gd name="connsiteX12030" fmla="*/ 2173596 w 4044707"/>
                <a:gd name="connsiteY12030" fmla="*/ 2423927 h 2907193"/>
                <a:gd name="connsiteX12031" fmla="*/ 2162977 w 4044707"/>
                <a:gd name="connsiteY12031" fmla="*/ 2405655 h 2907193"/>
                <a:gd name="connsiteX12032" fmla="*/ 2160285 w 4044707"/>
                <a:gd name="connsiteY12032" fmla="*/ 2398213 h 2907193"/>
                <a:gd name="connsiteX12033" fmla="*/ 2158772 w 4044707"/>
                <a:gd name="connsiteY12033" fmla="*/ 2391467 h 2907193"/>
                <a:gd name="connsiteX12034" fmla="*/ 2156594 w 4044707"/>
                <a:gd name="connsiteY12034" fmla="*/ 2377612 h 2907193"/>
                <a:gd name="connsiteX12035" fmla="*/ 2154749 w 4044707"/>
                <a:gd name="connsiteY12035" fmla="*/ 2371228 h 2907193"/>
                <a:gd name="connsiteX12036" fmla="*/ 2150846 w 4044707"/>
                <a:gd name="connsiteY12036" fmla="*/ 2362486 h 2907193"/>
                <a:gd name="connsiteX12037" fmla="*/ 2150574 w 4044707"/>
                <a:gd name="connsiteY12037" fmla="*/ 2358583 h 2907193"/>
                <a:gd name="connsiteX12038" fmla="*/ 2153358 w 4044707"/>
                <a:gd name="connsiteY12038" fmla="*/ 2356012 h 2907193"/>
                <a:gd name="connsiteX12039" fmla="*/ 2176560 w 4044707"/>
                <a:gd name="connsiteY12039" fmla="*/ 2349538 h 2907193"/>
                <a:gd name="connsiteX12040" fmla="*/ 2182399 w 4044707"/>
                <a:gd name="connsiteY12040" fmla="*/ 2349266 h 2907193"/>
                <a:gd name="connsiteX12041" fmla="*/ 2193743 w 4044707"/>
                <a:gd name="connsiteY12041" fmla="*/ 2351232 h 2907193"/>
                <a:gd name="connsiteX12042" fmla="*/ 2195891 w 4044707"/>
                <a:gd name="connsiteY12042" fmla="*/ 2350113 h 2907193"/>
                <a:gd name="connsiteX12043" fmla="*/ 2196587 w 4044707"/>
                <a:gd name="connsiteY12043" fmla="*/ 2348056 h 2907193"/>
                <a:gd name="connsiteX12044" fmla="*/ 2196859 w 4044707"/>
                <a:gd name="connsiteY12044" fmla="*/ 2347269 h 2907193"/>
                <a:gd name="connsiteX12045" fmla="*/ 2198826 w 4044707"/>
                <a:gd name="connsiteY12045" fmla="*/ 2334261 h 2907193"/>
                <a:gd name="connsiteX12046" fmla="*/ 2199461 w 4044707"/>
                <a:gd name="connsiteY12046" fmla="*/ 2331690 h 2907193"/>
                <a:gd name="connsiteX12047" fmla="*/ 2200217 w 4044707"/>
                <a:gd name="connsiteY12047" fmla="*/ 2329966 h 2907193"/>
                <a:gd name="connsiteX12048" fmla="*/ 2207568 w 4044707"/>
                <a:gd name="connsiteY12048" fmla="*/ 2319710 h 2907193"/>
                <a:gd name="connsiteX12049" fmla="*/ 2209595 w 4044707"/>
                <a:gd name="connsiteY12049" fmla="*/ 2315475 h 2907193"/>
                <a:gd name="connsiteX12050" fmla="*/ 2211107 w 4044707"/>
                <a:gd name="connsiteY12050" fmla="*/ 2310030 h 2907193"/>
                <a:gd name="connsiteX12051" fmla="*/ 2214465 w 4044707"/>
                <a:gd name="connsiteY12051" fmla="*/ 2291879 h 2907193"/>
                <a:gd name="connsiteX12052" fmla="*/ 2214344 w 4044707"/>
                <a:gd name="connsiteY12052" fmla="*/ 2289580 h 2907193"/>
                <a:gd name="connsiteX12053" fmla="*/ 2213346 w 4044707"/>
                <a:gd name="connsiteY12053" fmla="*/ 2287735 h 2907193"/>
                <a:gd name="connsiteX12054" fmla="*/ 2186846 w 4044707"/>
                <a:gd name="connsiteY12054" fmla="*/ 2253671 h 2907193"/>
                <a:gd name="connsiteX12055" fmla="*/ 2183790 w 4044707"/>
                <a:gd name="connsiteY12055" fmla="*/ 2250949 h 2907193"/>
                <a:gd name="connsiteX12056" fmla="*/ 2180523 w 4044707"/>
                <a:gd name="connsiteY12056" fmla="*/ 2249830 h 2907193"/>
                <a:gd name="connsiteX12057" fmla="*/ 2173626 w 4044707"/>
                <a:gd name="connsiteY12057" fmla="*/ 2249406 h 2907193"/>
                <a:gd name="connsiteX12058" fmla="*/ 2169844 w 4044707"/>
                <a:gd name="connsiteY12058" fmla="*/ 2248559 h 2907193"/>
                <a:gd name="connsiteX12059" fmla="*/ 2167001 w 4044707"/>
                <a:gd name="connsiteY12059" fmla="*/ 2246865 h 2907193"/>
                <a:gd name="connsiteX12060" fmla="*/ 2159075 w 4044707"/>
                <a:gd name="connsiteY12060" fmla="*/ 2237003 h 2907193"/>
                <a:gd name="connsiteX12061" fmla="*/ 2154386 w 4044707"/>
                <a:gd name="connsiteY12061" fmla="*/ 2233463 h 2907193"/>
                <a:gd name="connsiteX12062" fmla="*/ 2142739 w 4044707"/>
                <a:gd name="connsiteY12062" fmla="*/ 2221696 h 2907193"/>
                <a:gd name="connsiteX12063" fmla="*/ 2141348 w 4044707"/>
                <a:gd name="connsiteY12063" fmla="*/ 2219094 h 2907193"/>
                <a:gd name="connsiteX12064" fmla="*/ 2149183 w 4044707"/>
                <a:gd name="connsiteY12064" fmla="*/ 2169179 h 2907193"/>
                <a:gd name="connsiteX12065" fmla="*/ 2157018 w 4044707"/>
                <a:gd name="connsiteY12065" fmla="*/ 2118841 h 2907193"/>
                <a:gd name="connsiteX12066" fmla="*/ 2156776 w 4044707"/>
                <a:gd name="connsiteY12066" fmla="*/ 2111338 h 2907193"/>
                <a:gd name="connsiteX12067" fmla="*/ 2156685 w 4044707"/>
                <a:gd name="connsiteY12067" fmla="*/ 2108495 h 2907193"/>
                <a:gd name="connsiteX12068" fmla="*/ 2153872 w 4044707"/>
                <a:gd name="connsiteY12068" fmla="*/ 2098693 h 2907193"/>
                <a:gd name="connsiteX12069" fmla="*/ 2153176 w 4044707"/>
                <a:gd name="connsiteY12069" fmla="*/ 2096939 h 2907193"/>
                <a:gd name="connsiteX12070" fmla="*/ 2134238 w 4044707"/>
                <a:gd name="connsiteY12070" fmla="*/ 2048506 h 2907193"/>
                <a:gd name="connsiteX12071" fmla="*/ 2134118 w 4044707"/>
                <a:gd name="connsiteY12071" fmla="*/ 2044483 h 2907193"/>
                <a:gd name="connsiteX12072" fmla="*/ 2135418 w 4044707"/>
                <a:gd name="connsiteY12072" fmla="*/ 2038916 h 2907193"/>
                <a:gd name="connsiteX12073" fmla="*/ 2139018 w 4044707"/>
                <a:gd name="connsiteY12073" fmla="*/ 2029115 h 2907193"/>
                <a:gd name="connsiteX12074" fmla="*/ 2140561 w 4044707"/>
                <a:gd name="connsiteY12074" fmla="*/ 2023518 h 2907193"/>
                <a:gd name="connsiteX12075" fmla="*/ 2140773 w 4044707"/>
                <a:gd name="connsiteY12075" fmla="*/ 2018829 h 2907193"/>
                <a:gd name="connsiteX12076" fmla="*/ 2134813 w 4044707"/>
                <a:gd name="connsiteY12076" fmla="*/ 1987882 h 2907193"/>
                <a:gd name="connsiteX12077" fmla="*/ 2134450 w 4044707"/>
                <a:gd name="connsiteY12077" fmla="*/ 1983647 h 2907193"/>
                <a:gd name="connsiteX12078" fmla="*/ 2135570 w 4044707"/>
                <a:gd name="connsiteY12078" fmla="*/ 1980410 h 2907193"/>
                <a:gd name="connsiteX12079" fmla="*/ 2147489 w 4044707"/>
                <a:gd name="connsiteY12079" fmla="*/ 1964528 h 2907193"/>
                <a:gd name="connsiteX12080" fmla="*/ 2131093 w 4044707"/>
                <a:gd name="connsiteY12080" fmla="*/ 1922963 h 2907193"/>
                <a:gd name="connsiteX12081" fmla="*/ 2124316 w 4044707"/>
                <a:gd name="connsiteY12081" fmla="*/ 1905689 h 2907193"/>
                <a:gd name="connsiteX12082" fmla="*/ 2145704 w 4044707"/>
                <a:gd name="connsiteY12082" fmla="*/ 1871505 h 2907193"/>
                <a:gd name="connsiteX12083" fmla="*/ 2147216 w 4044707"/>
                <a:gd name="connsiteY12083" fmla="*/ 1867451 h 2907193"/>
                <a:gd name="connsiteX12084" fmla="*/ 2147216 w 4044707"/>
                <a:gd name="connsiteY12084" fmla="*/ 1862823 h 2907193"/>
                <a:gd name="connsiteX12085" fmla="*/ 2142225 w 4044707"/>
                <a:gd name="connsiteY12085" fmla="*/ 1841738 h 2907193"/>
                <a:gd name="connsiteX12086" fmla="*/ 2154598 w 4044707"/>
                <a:gd name="connsiteY12086" fmla="*/ 1829486 h 2907193"/>
                <a:gd name="connsiteX12087" fmla="*/ 2173656 w 4044707"/>
                <a:gd name="connsiteY12087" fmla="*/ 1797601 h 2907193"/>
                <a:gd name="connsiteX12088" fmla="*/ 2193713 w 4044707"/>
                <a:gd name="connsiteY12088" fmla="*/ 1766744 h 2907193"/>
                <a:gd name="connsiteX12089" fmla="*/ 2201094 w 4044707"/>
                <a:gd name="connsiteY12089" fmla="*/ 1759363 h 2907193"/>
                <a:gd name="connsiteX12090" fmla="*/ 2223964 w 4044707"/>
                <a:gd name="connsiteY12090" fmla="*/ 1745115 h 2907193"/>
                <a:gd name="connsiteX12091" fmla="*/ 2249285 w 4044707"/>
                <a:gd name="connsiteY12091" fmla="*/ 1738338 h 2907193"/>
                <a:gd name="connsiteX12092" fmla="*/ 2284770 w 4044707"/>
                <a:gd name="connsiteY12092" fmla="*/ 1746930 h 2907193"/>
                <a:gd name="connsiteX12093" fmla="*/ 2320255 w 4044707"/>
                <a:gd name="connsiteY12093" fmla="*/ 1755521 h 2907193"/>
                <a:gd name="connsiteX12094" fmla="*/ 2322766 w 4044707"/>
                <a:gd name="connsiteY12094" fmla="*/ 1755521 h 2907193"/>
                <a:gd name="connsiteX12095" fmla="*/ 2324581 w 4044707"/>
                <a:gd name="connsiteY12095" fmla="*/ 1753403 h 2907193"/>
                <a:gd name="connsiteX12096" fmla="*/ 2341249 w 4044707"/>
                <a:gd name="connsiteY12096" fmla="*/ 1721760 h 2907193"/>
                <a:gd name="connsiteX12097" fmla="*/ 2342520 w 4044707"/>
                <a:gd name="connsiteY12097" fmla="*/ 1717888 h 2907193"/>
                <a:gd name="connsiteX12098" fmla="*/ 2342610 w 4044707"/>
                <a:gd name="connsiteY12098" fmla="*/ 1714016 h 2907193"/>
                <a:gd name="connsiteX12099" fmla="*/ 2338012 w 4044707"/>
                <a:gd name="connsiteY12099" fmla="*/ 1663678 h 2907193"/>
                <a:gd name="connsiteX12100" fmla="*/ 2336137 w 4044707"/>
                <a:gd name="connsiteY12100" fmla="*/ 1658505 h 2907193"/>
                <a:gd name="connsiteX12101" fmla="*/ 2332506 w 4044707"/>
                <a:gd name="connsiteY12101" fmla="*/ 1656085 h 2907193"/>
                <a:gd name="connsiteX12102" fmla="*/ 2324611 w 4044707"/>
                <a:gd name="connsiteY12102" fmla="*/ 1654421 h 2907193"/>
                <a:gd name="connsiteX12103" fmla="*/ 2320376 w 4044707"/>
                <a:gd name="connsiteY12103" fmla="*/ 1652938 h 2907193"/>
                <a:gd name="connsiteX12104" fmla="*/ 2290457 w 4044707"/>
                <a:gd name="connsiteY12104" fmla="*/ 1633003 h 2907193"/>
                <a:gd name="connsiteX12105" fmla="*/ 2317109 w 4044707"/>
                <a:gd name="connsiteY12105" fmla="*/ 1588957 h 2907193"/>
                <a:gd name="connsiteX12106" fmla="*/ 2343760 w 4044707"/>
                <a:gd name="connsiteY12106" fmla="*/ 1544548 h 2907193"/>
                <a:gd name="connsiteX12107" fmla="*/ 2343760 w 4044707"/>
                <a:gd name="connsiteY12107" fmla="*/ 1544548 h 2907193"/>
                <a:gd name="connsiteX12108" fmla="*/ 2357646 w 4044707"/>
                <a:gd name="connsiteY12108" fmla="*/ 1524219 h 2907193"/>
                <a:gd name="connsiteX12109" fmla="*/ 2359793 w 4044707"/>
                <a:gd name="connsiteY12109" fmla="*/ 1517684 h 2907193"/>
                <a:gd name="connsiteX12110" fmla="*/ 2359884 w 4044707"/>
                <a:gd name="connsiteY12110" fmla="*/ 1517442 h 2907193"/>
                <a:gd name="connsiteX12111" fmla="*/ 2360459 w 4044707"/>
                <a:gd name="connsiteY12111" fmla="*/ 1515718 h 2907193"/>
                <a:gd name="connsiteX12112" fmla="*/ 2363242 w 4044707"/>
                <a:gd name="connsiteY12112" fmla="*/ 1495268 h 2907193"/>
                <a:gd name="connsiteX12113" fmla="*/ 2364664 w 4044707"/>
                <a:gd name="connsiteY12113" fmla="*/ 1489853 h 2907193"/>
                <a:gd name="connsiteX12114" fmla="*/ 2366721 w 4044707"/>
                <a:gd name="connsiteY12114" fmla="*/ 1486495 h 2907193"/>
                <a:gd name="connsiteX12115" fmla="*/ 2374919 w 4044707"/>
                <a:gd name="connsiteY12115" fmla="*/ 1479144 h 2907193"/>
                <a:gd name="connsiteX12116" fmla="*/ 2378156 w 4044707"/>
                <a:gd name="connsiteY12116" fmla="*/ 1472640 h 2907193"/>
                <a:gd name="connsiteX12117" fmla="*/ 2378549 w 4044707"/>
                <a:gd name="connsiteY12117" fmla="*/ 1462324 h 2907193"/>
                <a:gd name="connsiteX12118" fmla="*/ 2377853 w 4044707"/>
                <a:gd name="connsiteY12118" fmla="*/ 1450647 h 2907193"/>
                <a:gd name="connsiteX12119" fmla="*/ 2377732 w 4044707"/>
                <a:gd name="connsiteY12119" fmla="*/ 1440059 h 2907193"/>
                <a:gd name="connsiteX12120" fmla="*/ 2382815 w 4044707"/>
                <a:gd name="connsiteY12120" fmla="*/ 1387180 h 2907193"/>
                <a:gd name="connsiteX12121" fmla="*/ 2383783 w 4044707"/>
                <a:gd name="connsiteY12121" fmla="*/ 1383640 h 2907193"/>
                <a:gd name="connsiteX12122" fmla="*/ 2390499 w 4044707"/>
                <a:gd name="connsiteY12122" fmla="*/ 1369119 h 2907193"/>
                <a:gd name="connsiteX12123" fmla="*/ 2391678 w 4044707"/>
                <a:gd name="connsiteY12123" fmla="*/ 1364340 h 2907193"/>
                <a:gd name="connsiteX12124" fmla="*/ 2391225 w 4044707"/>
                <a:gd name="connsiteY12124" fmla="*/ 1355174 h 2907193"/>
                <a:gd name="connsiteX12125" fmla="*/ 2380788 w 4044707"/>
                <a:gd name="connsiteY12125" fmla="*/ 1290950 h 2907193"/>
                <a:gd name="connsiteX12126" fmla="*/ 2406592 w 4044707"/>
                <a:gd name="connsiteY12126" fmla="*/ 1287773 h 2907193"/>
                <a:gd name="connsiteX12127" fmla="*/ 2432397 w 4044707"/>
                <a:gd name="connsiteY12127" fmla="*/ 1284597 h 2907193"/>
                <a:gd name="connsiteX12128" fmla="*/ 2475505 w 4044707"/>
                <a:gd name="connsiteY12128" fmla="*/ 1256705 h 2907193"/>
                <a:gd name="connsiteX12129" fmla="*/ 2476534 w 4044707"/>
                <a:gd name="connsiteY12129" fmla="*/ 1253680 h 2907193"/>
                <a:gd name="connsiteX12130" fmla="*/ 2476352 w 4044707"/>
                <a:gd name="connsiteY12130" fmla="*/ 1248961 h 2907193"/>
                <a:gd name="connsiteX12131" fmla="*/ 2475566 w 4044707"/>
                <a:gd name="connsiteY12131" fmla="*/ 1241519 h 2907193"/>
                <a:gd name="connsiteX12132" fmla="*/ 2474960 w 4044707"/>
                <a:gd name="connsiteY12132" fmla="*/ 1238252 h 2907193"/>
                <a:gd name="connsiteX12133" fmla="*/ 2470302 w 4044707"/>
                <a:gd name="connsiteY12133" fmla="*/ 1213143 h 2907193"/>
                <a:gd name="connsiteX12134" fmla="*/ 2469939 w 4044707"/>
                <a:gd name="connsiteY12134" fmla="*/ 1206730 h 2907193"/>
                <a:gd name="connsiteX12135" fmla="*/ 2494412 w 4044707"/>
                <a:gd name="connsiteY12135" fmla="*/ 1181591 h 2907193"/>
                <a:gd name="connsiteX12136" fmla="*/ 2531591 w 4044707"/>
                <a:gd name="connsiteY12136" fmla="*/ 1114070 h 2907193"/>
                <a:gd name="connsiteX12137" fmla="*/ 2540334 w 4044707"/>
                <a:gd name="connsiteY12137" fmla="*/ 1103028 h 2907193"/>
                <a:gd name="connsiteX12138" fmla="*/ 2558938 w 4044707"/>
                <a:gd name="connsiteY12138" fmla="*/ 1085180 h 2907193"/>
                <a:gd name="connsiteX12139" fmla="*/ 2564868 w 4044707"/>
                <a:gd name="connsiteY12139" fmla="*/ 1081761 h 2907193"/>
                <a:gd name="connsiteX12140" fmla="*/ 2567893 w 4044707"/>
                <a:gd name="connsiteY12140" fmla="*/ 1079008 h 2907193"/>
                <a:gd name="connsiteX12141" fmla="*/ 2569496 w 4044707"/>
                <a:gd name="connsiteY12141" fmla="*/ 1075045 h 2907193"/>
                <a:gd name="connsiteX12142" fmla="*/ 2572340 w 4044707"/>
                <a:gd name="connsiteY12142" fmla="*/ 1044128 h 2907193"/>
                <a:gd name="connsiteX12143" fmla="*/ 2571735 w 4044707"/>
                <a:gd name="connsiteY12143" fmla="*/ 1039893 h 2907193"/>
                <a:gd name="connsiteX12144" fmla="*/ 2540455 w 4044707"/>
                <a:gd name="connsiteY12144" fmla="*/ 986530 h 2907193"/>
                <a:gd name="connsiteX12145" fmla="*/ 2545840 w 4044707"/>
                <a:gd name="connsiteY12145" fmla="*/ 968742 h 2907193"/>
                <a:gd name="connsiteX12146" fmla="*/ 2547746 w 4044707"/>
                <a:gd name="connsiteY12146" fmla="*/ 965868 h 2907193"/>
                <a:gd name="connsiteX12147" fmla="*/ 2564595 w 4044707"/>
                <a:gd name="connsiteY12147" fmla="*/ 962631 h 2907193"/>
                <a:gd name="connsiteX12148" fmla="*/ 2570797 w 4044707"/>
                <a:gd name="connsiteY12148" fmla="*/ 959636 h 2907193"/>
                <a:gd name="connsiteX12149" fmla="*/ 2576272 w 4044707"/>
                <a:gd name="connsiteY12149" fmla="*/ 953858 h 2907193"/>
                <a:gd name="connsiteX12150" fmla="*/ 2586770 w 4044707"/>
                <a:gd name="connsiteY12150" fmla="*/ 937341 h 2907193"/>
                <a:gd name="connsiteX12151" fmla="*/ 2588918 w 4044707"/>
                <a:gd name="connsiteY12151" fmla="*/ 932137 h 2907193"/>
                <a:gd name="connsiteX12152" fmla="*/ 2604316 w 4044707"/>
                <a:gd name="connsiteY12152" fmla="*/ 875930 h 2907193"/>
                <a:gd name="connsiteX12153" fmla="*/ 2606433 w 4044707"/>
                <a:gd name="connsiteY12153" fmla="*/ 871060 h 2907193"/>
                <a:gd name="connsiteX12154" fmla="*/ 2608944 w 4044707"/>
                <a:gd name="connsiteY12154" fmla="*/ 867702 h 2907193"/>
                <a:gd name="connsiteX12155" fmla="*/ 2650419 w 4044707"/>
                <a:gd name="connsiteY12155" fmla="*/ 835756 h 2907193"/>
                <a:gd name="connsiteX12156" fmla="*/ 2658466 w 4044707"/>
                <a:gd name="connsiteY12156" fmla="*/ 821447 h 2907193"/>
                <a:gd name="connsiteX12157" fmla="*/ 2660644 w 4044707"/>
                <a:gd name="connsiteY12157" fmla="*/ 819602 h 2907193"/>
                <a:gd name="connsiteX12158" fmla="*/ 2689504 w 4044707"/>
                <a:gd name="connsiteY12158" fmla="*/ 836422 h 2907193"/>
                <a:gd name="connsiteX12159" fmla="*/ 2718364 w 4044707"/>
                <a:gd name="connsiteY12159" fmla="*/ 853181 h 2907193"/>
                <a:gd name="connsiteX12160" fmla="*/ 2720935 w 4044707"/>
                <a:gd name="connsiteY12160" fmla="*/ 852395 h 2907193"/>
                <a:gd name="connsiteX12161" fmla="*/ 2723930 w 4044707"/>
                <a:gd name="connsiteY12161" fmla="*/ 847887 h 2907193"/>
                <a:gd name="connsiteX12162" fmla="*/ 2727076 w 4044707"/>
                <a:gd name="connsiteY12162" fmla="*/ 841686 h 2907193"/>
                <a:gd name="connsiteX12163" fmla="*/ 2745650 w 4044707"/>
                <a:gd name="connsiteY12163" fmla="*/ 806413 h 2907193"/>
                <a:gd name="connsiteX12164" fmla="*/ 2747859 w 4044707"/>
                <a:gd name="connsiteY12164" fmla="*/ 796399 h 2907193"/>
                <a:gd name="connsiteX12165" fmla="*/ 2742535 w 4044707"/>
                <a:gd name="connsiteY12165" fmla="*/ 747120 h 2907193"/>
                <a:gd name="connsiteX12166" fmla="*/ 2742655 w 4044707"/>
                <a:gd name="connsiteY12166" fmla="*/ 739436 h 2907193"/>
                <a:gd name="connsiteX12167" fmla="*/ 2744622 w 4044707"/>
                <a:gd name="connsiteY12167" fmla="*/ 716172 h 2907193"/>
                <a:gd name="connsiteX12168" fmla="*/ 2745166 w 4044707"/>
                <a:gd name="connsiteY12168" fmla="*/ 713238 h 2907193"/>
                <a:gd name="connsiteX12169" fmla="*/ 2746195 w 4044707"/>
                <a:gd name="connsiteY12169" fmla="*/ 711786 h 2907193"/>
                <a:gd name="connsiteX12170" fmla="*/ 2747949 w 4044707"/>
                <a:gd name="connsiteY12170" fmla="*/ 711151 h 2907193"/>
                <a:gd name="connsiteX12171" fmla="*/ 2772786 w 4044707"/>
                <a:gd name="connsiteY12171" fmla="*/ 702166 h 2907193"/>
                <a:gd name="connsiteX12172" fmla="*/ 2777384 w 4044707"/>
                <a:gd name="connsiteY12172" fmla="*/ 705191 h 2907193"/>
                <a:gd name="connsiteX12173" fmla="*/ 2793780 w 4044707"/>
                <a:gd name="connsiteY12173" fmla="*/ 720529 h 2907193"/>
                <a:gd name="connsiteX12174" fmla="*/ 2799377 w 4044707"/>
                <a:gd name="connsiteY12174" fmla="*/ 721950 h 2907193"/>
                <a:gd name="connsiteX12175" fmla="*/ 2833379 w 4044707"/>
                <a:gd name="connsiteY12175" fmla="*/ 719409 h 2907193"/>
                <a:gd name="connsiteX12176" fmla="*/ 2878030 w 4044707"/>
                <a:gd name="connsiteY12176" fmla="*/ 739980 h 2907193"/>
                <a:gd name="connsiteX12177" fmla="*/ 2923226 w 4044707"/>
                <a:gd name="connsiteY12177" fmla="*/ 758524 h 2907193"/>
                <a:gd name="connsiteX12178" fmla="*/ 2927280 w 4044707"/>
                <a:gd name="connsiteY12178" fmla="*/ 758252 h 2907193"/>
                <a:gd name="connsiteX12179" fmla="*/ 2931213 w 4044707"/>
                <a:gd name="connsiteY12179" fmla="*/ 755076 h 2907193"/>
                <a:gd name="connsiteX12180" fmla="*/ 2954930 w 4044707"/>
                <a:gd name="connsiteY12180" fmla="*/ 726518 h 2907193"/>
                <a:gd name="connsiteX12181" fmla="*/ 2926373 w 4044707"/>
                <a:gd name="connsiteY12181" fmla="*/ 710394 h 2907193"/>
                <a:gd name="connsiteX12182" fmla="*/ 2945431 w 4044707"/>
                <a:gd name="connsiteY12182" fmla="*/ 693756 h 2907193"/>
                <a:gd name="connsiteX12183" fmla="*/ 2953962 w 4044707"/>
                <a:gd name="connsiteY12183" fmla="*/ 680476 h 2907193"/>
                <a:gd name="connsiteX12184" fmla="*/ 2964247 w 4044707"/>
                <a:gd name="connsiteY12184" fmla="*/ 653371 h 2907193"/>
                <a:gd name="connsiteX12185" fmla="*/ 2965609 w 4044707"/>
                <a:gd name="connsiteY12185" fmla="*/ 648197 h 2907193"/>
                <a:gd name="connsiteX12186" fmla="*/ 2966032 w 4044707"/>
                <a:gd name="connsiteY12186" fmla="*/ 643357 h 2907193"/>
                <a:gd name="connsiteX12187" fmla="*/ 2965246 w 4044707"/>
                <a:gd name="connsiteY12187" fmla="*/ 620669 h 2907193"/>
                <a:gd name="connsiteX12188" fmla="*/ 2964459 w 4044707"/>
                <a:gd name="connsiteY12188" fmla="*/ 616312 h 2907193"/>
                <a:gd name="connsiteX12189" fmla="*/ 2940409 w 4044707"/>
                <a:gd name="connsiteY12189" fmla="*/ 587422 h 2907193"/>
                <a:gd name="connsiteX12190" fmla="*/ 2966637 w 4044707"/>
                <a:gd name="connsiteY12190" fmla="*/ 585577 h 2907193"/>
                <a:gd name="connsiteX12191" fmla="*/ 2992835 w 4044707"/>
                <a:gd name="connsiteY12191" fmla="*/ 583732 h 2907193"/>
                <a:gd name="connsiteX12192" fmla="*/ 3002243 w 4044707"/>
                <a:gd name="connsiteY12192" fmla="*/ 567547 h 2907193"/>
                <a:gd name="connsiteX12193" fmla="*/ 3005026 w 4044707"/>
                <a:gd name="connsiteY12193" fmla="*/ 566095 h 2907193"/>
                <a:gd name="connsiteX12194" fmla="*/ 3034037 w 4044707"/>
                <a:gd name="connsiteY12194" fmla="*/ 582491 h 2907193"/>
                <a:gd name="connsiteX12195" fmla="*/ 3037939 w 4044707"/>
                <a:gd name="connsiteY12195" fmla="*/ 583611 h 2907193"/>
                <a:gd name="connsiteX12196" fmla="*/ 3040692 w 4044707"/>
                <a:gd name="connsiteY12196" fmla="*/ 581765 h 2907193"/>
                <a:gd name="connsiteX12197" fmla="*/ 3046471 w 4044707"/>
                <a:gd name="connsiteY12197" fmla="*/ 570421 h 2907193"/>
                <a:gd name="connsiteX12198" fmla="*/ 3034128 w 4044707"/>
                <a:gd name="connsiteY12198" fmla="*/ 546099 h 2907193"/>
                <a:gd name="connsiteX12199" fmla="*/ 3037093 w 4044707"/>
                <a:gd name="connsiteY12199" fmla="*/ 537296 h 2907193"/>
                <a:gd name="connsiteX12200" fmla="*/ 3038756 w 4044707"/>
                <a:gd name="connsiteY12200" fmla="*/ 533333 h 2907193"/>
                <a:gd name="connsiteX12201" fmla="*/ 3040632 w 4044707"/>
                <a:gd name="connsiteY12201" fmla="*/ 530882 h 2907193"/>
                <a:gd name="connsiteX12202" fmla="*/ 3062292 w 4044707"/>
                <a:gd name="connsiteY12202" fmla="*/ 517300 h 2907193"/>
                <a:gd name="connsiteX12203" fmla="*/ 3095024 w 4044707"/>
                <a:gd name="connsiteY12203" fmla="*/ 522533 h 2907193"/>
                <a:gd name="connsiteX12204" fmla="*/ 3097444 w 4044707"/>
                <a:gd name="connsiteY12204" fmla="*/ 524681 h 2907193"/>
                <a:gd name="connsiteX12205" fmla="*/ 3125941 w 4044707"/>
                <a:gd name="connsiteY12205" fmla="*/ 576078 h 2907193"/>
                <a:gd name="connsiteX12206" fmla="*/ 3133685 w 4044707"/>
                <a:gd name="connsiteY12206" fmla="*/ 589963 h 2907193"/>
                <a:gd name="connsiteX12207" fmla="*/ 3147541 w 4044707"/>
                <a:gd name="connsiteY12207" fmla="*/ 604393 h 2907193"/>
                <a:gd name="connsiteX12208" fmla="*/ 3148932 w 4044707"/>
                <a:gd name="connsiteY12208" fmla="*/ 607600 h 2907193"/>
                <a:gd name="connsiteX12209" fmla="*/ 3150354 w 4044707"/>
                <a:gd name="connsiteY12209" fmla="*/ 614044 h 2907193"/>
                <a:gd name="connsiteX12210" fmla="*/ 3151534 w 4044707"/>
                <a:gd name="connsiteY12210" fmla="*/ 616675 h 2907193"/>
                <a:gd name="connsiteX12211" fmla="*/ 3159278 w 4044707"/>
                <a:gd name="connsiteY12211" fmla="*/ 629774 h 2907193"/>
                <a:gd name="connsiteX12212" fmla="*/ 3167295 w 4044707"/>
                <a:gd name="connsiteY12212" fmla="*/ 636097 h 2907193"/>
                <a:gd name="connsiteX12213" fmla="*/ 3168747 w 4044707"/>
                <a:gd name="connsiteY12213" fmla="*/ 638699 h 2907193"/>
                <a:gd name="connsiteX12214" fmla="*/ 3171288 w 4044707"/>
                <a:gd name="connsiteY12214" fmla="*/ 661901 h 2907193"/>
                <a:gd name="connsiteX12215" fmla="*/ 3172528 w 4044707"/>
                <a:gd name="connsiteY12215" fmla="*/ 666711 h 2907193"/>
                <a:gd name="connsiteX12216" fmla="*/ 3174494 w 4044707"/>
                <a:gd name="connsiteY12216" fmla="*/ 667437 h 2907193"/>
                <a:gd name="connsiteX12217" fmla="*/ 3185990 w 4044707"/>
                <a:gd name="connsiteY12217" fmla="*/ 663353 h 2907193"/>
                <a:gd name="connsiteX12218" fmla="*/ 3188713 w 4044707"/>
                <a:gd name="connsiteY12218" fmla="*/ 663172 h 2907193"/>
                <a:gd name="connsiteX12219" fmla="*/ 3191345 w 4044707"/>
                <a:gd name="connsiteY12219" fmla="*/ 663716 h 2907193"/>
                <a:gd name="connsiteX12220" fmla="*/ 3217028 w 4044707"/>
                <a:gd name="connsiteY12220" fmla="*/ 676180 h 2907193"/>
                <a:gd name="connsiteX12221" fmla="*/ 3233908 w 4044707"/>
                <a:gd name="connsiteY12221" fmla="*/ 673397 h 2907193"/>
                <a:gd name="connsiteX12222" fmla="*/ 3239142 w 4044707"/>
                <a:gd name="connsiteY12222" fmla="*/ 674879 h 2907193"/>
                <a:gd name="connsiteX12223" fmla="*/ 3241804 w 4044707"/>
                <a:gd name="connsiteY12223" fmla="*/ 677602 h 2907193"/>
                <a:gd name="connsiteX12224" fmla="*/ 3249609 w 4044707"/>
                <a:gd name="connsiteY12224" fmla="*/ 689914 h 2907193"/>
                <a:gd name="connsiteX12225" fmla="*/ 3251848 w 4044707"/>
                <a:gd name="connsiteY12225" fmla="*/ 690822 h 2907193"/>
                <a:gd name="connsiteX12226" fmla="*/ 3280435 w 4044707"/>
                <a:gd name="connsiteY12226" fmla="*/ 673639 h 2907193"/>
                <a:gd name="connsiteX12227" fmla="*/ 3296529 w 4044707"/>
                <a:gd name="connsiteY12227" fmla="*/ 671249 h 2907193"/>
                <a:gd name="connsiteX12228" fmla="*/ 3305907 w 4044707"/>
                <a:gd name="connsiteY12228" fmla="*/ 666046 h 2907193"/>
                <a:gd name="connsiteX12229" fmla="*/ 3309234 w 4044707"/>
                <a:gd name="connsiteY12229" fmla="*/ 655700 h 2907193"/>
                <a:gd name="connsiteX12230" fmla="*/ 3311171 w 4044707"/>
                <a:gd name="connsiteY12230" fmla="*/ 644507 h 2907193"/>
                <a:gd name="connsiteX12231" fmla="*/ 3317765 w 4044707"/>
                <a:gd name="connsiteY12231" fmla="*/ 640181 h 2907193"/>
                <a:gd name="connsiteX12232" fmla="*/ 3325449 w 4044707"/>
                <a:gd name="connsiteY12232" fmla="*/ 640302 h 2907193"/>
                <a:gd name="connsiteX12233" fmla="*/ 3345778 w 4044707"/>
                <a:gd name="connsiteY12233" fmla="*/ 650557 h 2907193"/>
                <a:gd name="connsiteX12234" fmla="*/ 3349045 w 4044707"/>
                <a:gd name="connsiteY12234" fmla="*/ 656002 h 2907193"/>
                <a:gd name="connsiteX12235" fmla="*/ 3351375 w 4044707"/>
                <a:gd name="connsiteY12235" fmla="*/ 658634 h 2907193"/>
                <a:gd name="connsiteX12236" fmla="*/ 3366016 w 4044707"/>
                <a:gd name="connsiteY12236" fmla="*/ 667800 h 2907193"/>
                <a:gd name="connsiteX12237" fmla="*/ 3380991 w 4044707"/>
                <a:gd name="connsiteY12237" fmla="*/ 672731 h 2907193"/>
                <a:gd name="connsiteX12238" fmla="*/ 3399323 w 4044707"/>
                <a:gd name="connsiteY12238" fmla="*/ 678600 h 2907193"/>
                <a:gd name="connsiteX12239" fmla="*/ 3408459 w 4044707"/>
                <a:gd name="connsiteY12239" fmla="*/ 685770 h 2907193"/>
                <a:gd name="connsiteX12240" fmla="*/ 3416052 w 4044707"/>
                <a:gd name="connsiteY12240" fmla="*/ 696872 h 2907193"/>
                <a:gd name="connsiteX12241" fmla="*/ 3419198 w 4044707"/>
                <a:gd name="connsiteY12241" fmla="*/ 704647 h 2907193"/>
                <a:gd name="connsiteX12242" fmla="*/ 3421044 w 4044707"/>
                <a:gd name="connsiteY12242" fmla="*/ 706825 h 2907193"/>
                <a:gd name="connsiteX12243" fmla="*/ 3423645 w 4044707"/>
                <a:gd name="connsiteY12243" fmla="*/ 706280 h 2907193"/>
                <a:gd name="connsiteX12244" fmla="*/ 3425854 w 4044707"/>
                <a:gd name="connsiteY12244" fmla="*/ 702892 h 2907193"/>
                <a:gd name="connsiteX12245" fmla="*/ 3426973 w 4044707"/>
                <a:gd name="connsiteY12245" fmla="*/ 698354 h 2907193"/>
                <a:gd name="connsiteX12246" fmla="*/ 3428334 w 4044707"/>
                <a:gd name="connsiteY12246" fmla="*/ 694089 h 2907193"/>
                <a:gd name="connsiteX12247" fmla="*/ 3431299 w 4044707"/>
                <a:gd name="connsiteY12247" fmla="*/ 691548 h 2907193"/>
                <a:gd name="connsiteX12248" fmla="*/ 3433870 w 4044707"/>
                <a:gd name="connsiteY12248" fmla="*/ 691669 h 2907193"/>
                <a:gd name="connsiteX12249" fmla="*/ 3440314 w 4044707"/>
                <a:gd name="connsiteY12249" fmla="*/ 687403 h 2907193"/>
                <a:gd name="connsiteX12250" fmla="*/ 3443036 w 4044707"/>
                <a:gd name="connsiteY12250" fmla="*/ 686829 h 2907193"/>
                <a:gd name="connsiteX12251" fmla="*/ 3445033 w 4044707"/>
                <a:gd name="connsiteY12251" fmla="*/ 685830 h 2907193"/>
                <a:gd name="connsiteX12252" fmla="*/ 3446546 w 4044707"/>
                <a:gd name="connsiteY12252" fmla="*/ 683289 h 2907193"/>
                <a:gd name="connsiteX12253" fmla="*/ 3447726 w 4044707"/>
                <a:gd name="connsiteY12253" fmla="*/ 678116 h 2907193"/>
                <a:gd name="connsiteX12254" fmla="*/ 3446515 w 4044707"/>
                <a:gd name="connsiteY12254" fmla="*/ 675938 h 2907193"/>
                <a:gd name="connsiteX12255" fmla="*/ 3446576 w 4044707"/>
                <a:gd name="connsiteY12255" fmla="*/ 674395 h 2907193"/>
                <a:gd name="connsiteX12256" fmla="*/ 3447181 w 4044707"/>
                <a:gd name="connsiteY12256" fmla="*/ 672973 h 2907193"/>
                <a:gd name="connsiteX12257" fmla="*/ 3447604 w 4044707"/>
                <a:gd name="connsiteY12257" fmla="*/ 671037 h 2907193"/>
                <a:gd name="connsiteX12258" fmla="*/ 3447786 w 4044707"/>
                <a:gd name="connsiteY12258" fmla="*/ 659149 h 2907193"/>
                <a:gd name="connsiteX12259" fmla="*/ 3448270 w 4044707"/>
                <a:gd name="connsiteY12259" fmla="*/ 653522 h 2907193"/>
                <a:gd name="connsiteX12260" fmla="*/ 3449601 w 4044707"/>
                <a:gd name="connsiteY12260" fmla="*/ 648409 h 2907193"/>
                <a:gd name="connsiteX12261" fmla="*/ 3453504 w 4044707"/>
                <a:gd name="connsiteY12261" fmla="*/ 641240 h 2907193"/>
                <a:gd name="connsiteX12262" fmla="*/ 3472199 w 4044707"/>
                <a:gd name="connsiteY12262" fmla="*/ 625358 h 2907193"/>
                <a:gd name="connsiteX12263" fmla="*/ 3476918 w 4044707"/>
                <a:gd name="connsiteY12263" fmla="*/ 622968 h 2907193"/>
                <a:gd name="connsiteX12264" fmla="*/ 3481668 w 4044707"/>
                <a:gd name="connsiteY12264" fmla="*/ 621970 h 2907193"/>
                <a:gd name="connsiteX12265" fmla="*/ 3493889 w 4044707"/>
                <a:gd name="connsiteY12265" fmla="*/ 625993 h 2907193"/>
                <a:gd name="connsiteX12266" fmla="*/ 3496430 w 4044707"/>
                <a:gd name="connsiteY12266" fmla="*/ 625479 h 2907193"/>
                <a:gd name="connsiteX12267" fmla="*/ 3498851 w 4044707"/>
                <a:gd name="connsiteY12267" fmla="*/ 623089 h 2907193"/>
                <a:gd name="connsiteX12268" fmla="*/ 3500303 w 4044707"/>
                <a:gd name="connsiteY12268" fmla="*/ 619519 h 2907193"/>
                <a:gd name="connsiteX12269" fmla="*/ 3501543 w 4044707"/>
                <a:gd name="connsiteY12269" fmla="*/ 615617 h 2907193"/>
                <a:gd name="connsiteX12270" fmla="*/ 3503207 w 4044707"/>
                <a:gd name="connsiteY12270" fmla="*/ 612259 h 2907193"/>
                <a:gd name="connsiteX12271" fmla="*/ 3506383 w 4044707"/>
                <a:gd name="connsiteY12271" fmla="*/ 607933 h 2907193"/>
                <a:gd name="connsiteX12272" fmla="*/ 3507502 w 4044707"/>
                <a:gd name="connsiteY12272" fmla="*/ 605331 h 2907193"/>
                <a:gd name="connsiteX12273" fmla="*/ 3508047 w 4044707"/>
                <a:gd name="connsiteY12273" fmla="*/ 601883 h 2907193"/>
                <a:gd name="connsiteX12274" fmla="*/ 3509166 w 4044707"/>
                <a:gd name="connsiteY12274" fmla="*/ 598676 h 2907193"/>
                <a:gd name="connsiteX12275" fmla="*/ 3513401 w 4044707"/>
                <a:gd name="connsiteY12275" fmla="*/ 594804 h 2907193"/>
                <a:gd name="connsiteX12276" fmla="*/ 3514279 w 4044707"/>
                <a:gd name="connsiteY12276" fmla="*/ 591506 h 2907193"/>
                <a:gd name="connsiteX12277" fmla="*/ 3513916 w 4044707"/>
                <a:gd name="connsiteY12277" fmla="*/ 589691 h 2907193"/>
                <a:gd name="connsiteX12278" fmla="*/ 3513099 w 4044707"/>
                <a:gd name="connsiteY12278" fmla="*/ 588390 h 2907193"/>
                <a:gd name="connsiteX12279" fmla="*/ 3511193 w 4044707"/>
                <a:gd name="connsiteY12279" fmla="*/ 586515 h 2907193"/>
                <a:gd name="connsiteX12280" fmla="*/ 3510376 w 4044707"/>
                <a:gd name="connsiteY12280" fmla="*/ 585154 h 2907193"/>
                <a:gd name="connsiteX12281" fmla="*/ 3510255 w 4044707"/>
                <a:gd name="connsiteY12281" fmla="*/ 584004 h 2907193"/>
                <a:gd name="connsiteX12282" fmla="*/ 3510376 w 4044707"/>
                <a:gd name="connsiteY12282" fmla="*/ 582945 h 2907193"/>
                <a:gd name="connsiteX12283" fmla="*/ 3510316 w 4044707"/>
                <a:gd name="connsiteY12283" fmla="*/ 581856 h 2907193"/>
                <a:gd name="connsiteX12284" fmla="*/ 3508803 w 4044707"/>
                <a:gd name="connsiteY12284" fmla="*/ 577742 h 2907193"/>
                <a:gd name="connsiteX12285" fmla="*/ 3508713 w 4044707"/>
                <a:gd name="connsiteY12285" fmla="*/ 576108 h 2907193"/>
                <a:gd name="connsiteX12286" fmla="*/ 3509499 w 4044707"/>
                <a:gd name="connsiteY12286" fmla="*/ 573628 h 2907193"/>
                <a:gd name="connsiteX12287" fmla="*/ 3509711 w 4044707"/>
                <a:gd name="connsiteY12287" fmla="*/ 571843 h 2907193"/>
                <a:gd name="connsiteX12288" fmla="*/ 3509862 w 4044707"/>
                <a:gd name="connsiteY12288" fmla="*/ 563251 h 2907193"/>
                <a:gd name="connsiteX12289" fmla="*/ 3510074 w 4044707"/>
                <a:gd name="connsiteY12289" fmla="*/ 562193 h 2907193"/>
                <a:gd name="connsiteX12290" fmla="*/ 3510467 w 4044707"/>
                <a:gd name="connsiteY12290" fmla="*/ 561285 h 2907193"/>
                <a:gd name="connsiteX12291" fmla="*/ 3510830 w 4044707"/>
                <a:gd name="connsiteY12291" fmla="*/ 560075 h 2907193"/>
                <a:gd name="connsiteX12292" fmla="*/ 3510951 w 4044707"/>
                <a:gd name="connsiteY12292" fmla="*/ 558078 h 2907193"/>
                <a:gd name="connsiteX12293" fmla="*/ 3510679 w 4044707"/>
                <a:gd name="connsiteY12293" fmla="*/ 556263 h 2907193"/>
                <a:gd name="connsiteX12294" fmla="*/ 3509348 w 4044707"/>
                <a:gd name="connsiteY12294" fmla="*/ 551726 h 2907193"/>
                <a:gd name="connsiteX12295" fmla="*/ 3508803 w 4044707"/>
                <a:gd name="connsiteY12295" fmla="*/ 550274 h 2907193"/>
                <a:gd name="connsiteX12296" fmla="*/ 3507230 w 4044707"/>
                <a:gd name="connsiteY12296" fmla="*/ 543467 h 2907193"/>
                <a:gd name="connsiteX12297" fmla="*/ 3507533 w 4044707"/>
                <a:gd name="connsiteY12297" fmla="*/ 536449 h 2907193"/>
                <a:gd name="connsiteX12298" fmla="*/ 3511284 w 4044707"/>
                <a:gd name="connsiteY12298" fmla="*/ 515394 h 2907193"/>
                <a:gd name="connsiteX12299" fmla="*/ 3512494 w 4044707"/>
                <a:gd name="connsiteY12299" fmla="*/ 511733 h 2907193"/>
                <a:gd name="connsiteX12300" fmla="*/ 3521630 w 4044707"/>
                <a:gd name="connsiteY12300" fmla="*/ 496517 h 2907193"/>
                <a:gd name="connsiteX12301" fmla="*/ 3521176 w 4044707"/>
                <a:gd name="connsiteY12301" fmla="*/ 494339 h 2907193"/>
                <a:gd name="connsiteX12302" fmla="*/ 3518030 w 4044707"/>
                <a:gd name="connsiteY12302" fmla="*/ 484144 h 2907193"/>
                <a:gd name="connsiteX12303" fmla="*/ 3520480 w 4044707"/>
                <a:gd name="connsiteY12303" fmla="*/ 478033 h 2907193"/>
                <a:gd name="connsiteX12304" fmla="*/ 3521660 w 4044707"/>
                <a:gd name="connsiteY12304" fmla="*/ 476430 h 2907193"/>
                <a:gd name="connsiteX12305" fmla="*/ 3522598 w 4044707"/>
                <a:gd name="connsiteY12305" fmla="*/ 474282 h 2907193"/>
                <a:gd name="connsiteX12306" fmla="*/ 3522507 w 4044707"/>
                <a:gd name="connsiteY12306" fmla="*/ 467959 h 2907193"/>
                <a:gd name="connsiteX12307" fmla="*/ 3523142 w 4044707"/>
                <a:gd name="connsiteY12307" fmla="*/ 464844 h 2907193"/>
                <a:gd name="connsiteX12308" fmla="*/ 3524564 w 4044707"/>
                <a:gd name="connsiteY12308" fmla="*/ 461939 h 2907193"/>
                <a:gd name="connsiteX12309" fmla="*/ 3524080 w 4044707"/>
                <a:gd name="connsiteY12309" fmla="*/ 460003 h 2907193"/>
                <a:gd name="connsiteX12310" fmla="*/ 3522991 w 4044707"/>
                <a:gd name="connsiteY12310" fmla="*/ 458491 h 2907193"/>
                <a:gd name="connsiteX12311" fmla="*/ 3522598 w 4044707"/>
                <a:gd name="connsiteY12311" fmla="*/ 456887 h 2907193"/>
                <a:gd name="connsiteX12312" fmla="*/ 3523959 w 4044707"/>
                <a:gd name="connsiteY12312" fmla="*/ 453923 h 2907193"/>
                <a:gd name="connsiteX12313" fmla="*/ 3530009 w 4044707"/>
                <a:gd name="connsiteY12313" fmla="*/ 449536 h 2907193"/>
                <a:gd name="connsiteX12314" fmla="*/ 3532611 w 4044707"/>
                <a:gd name="connsiteY12314" fmla="*/ 445089 h 2907193"/>
                <a:gd name="connsiteX12315" fmla="*/ 3534396 w 4044707"/>
                <a:gd name="connsiteY12315" fmla="*/ 439311 h 2907193"/>
                <a:gd name="connsiteX12316" fmla="*/ 3534517 w 4044707"/>
                <a:gd name="connsiteY12316" fmla="*/ 433019 h 2907193"/>
                <a:gd name="connsiteX12317" fmla="*/ 3532097 w 4044707"/>
                <a:gd name="connsiteY12317" fmla="*/ 426999 h 2907193"/>
                <a:gd name="connsiteX12318" fmla="*/ 3530403 w 4044707"/>
                <a:gd name="connsiteY12318" fmla="*/ 424549 h 2907193"/>
                <a:gd name="connsiteX12319" fmla="*/ 3530130 w 4044707"/>
                <a:gd name="connsiteY12319" fmla="*/ 421917 h 2907193"/>
                <a:gd name="connsiteX12320" fmla="*/ 3530856 w 4044707"/>
                <a:gd name="connsiteY12320" fmla="*/ 419073 h 2907193"/>
                <a:gd name="connsiteX12321" fmla="*/ 3532127 w 4044707"/>
                <a:gd name="connsiteY12321" fmla="*/ 415957 h 2907193"/>
                <a:gd name="connsiteX12322" fmla="*/ 3534517 w 4044707"/>
                <a:gd name="connsiteY12322" fmla="*/ 412085 h 2907193"/>
                <a:gd name="connsiteX12323" fmla="*/ 3537239 w 4044707"/>
                <a:gd name="connsiteY12323" fmla="*/ 410119 h 2907193"/>
                <a:gd name="connsiteX12324" fmla="*/ 3552274 w 4044707"/>
                <a:gd name="connsiteY12324" fmla="*/ 406216 h 2907193"/>
                <a:gd name="connsiteX12325" fmla="*/ 3553969 w 4044707"/>
                <a:gd name="connsiteY12325" fmla="*/ 405097 h 2907193"/>
                <a:gd name="connsiteX12326" fmla="*/ 3555239 w 4044707"/>
                <a:gd name="connsiteY12326" fmla="*/ 403100 h 2907193"/>
                <a:gd name="connsiteX12327" fmla="*/ 3556449 w 4044707"/>
                <a:gd name="connsiteY12327" fmla="*/ 400680 h 2907193"/>
                <a:gd name="connsiteX12328" fmla="*/ 3560987 w 4044707"/>
                <a:gd name="connsiteY12328" fmla="*/ 393632 h 2907193"/>
                <a:gd name="connsiteX12329" fmla="*/ 3565888 w 4044707"/>
                <a:gd name="connsiteY12329" fmla="*/ 383830 h 2907193"/>
                <a:gd name="connsiteX12330" fmla="*/ 3576143 w 4044707"/>
                <a:gd name="connsiteY12330" fmla="*/ 372909 h 2907193"/>
                <a:gd name="connsiteX12331" fmla="*/ 3579077 w 4044707"/>
                <a:gd name="connsiteY12331" fmla="*/ 367434 h 2907193"/>
                <a:gd name="connsiteX12332" fmla="*/ 3577867 w 4044707"/>
                <a:gd name="connsiteY12332" fmla="*/ 362533 h 2907193"/>
                <a:gd name="connsiteX12333" fmla="*/ 3578896 w 4044707"/>
                <a:gd name="connsiteY12333" fmla="*/ 360506 h 2907193"/>
                <a:gd name="connsiteX12334" fmla="*/ 3582435 w 4044707"/>
                <a:gd name="connsiteY12334" fmla="*/ 355757 h 2907193"/>
                <a:gd name="connsiteX12335" fmla="*/ 3584401 w 4044707"/>
                <a:gd name="connsiteY12335" fmla="*/ 350675 h 2907193"/>
                <a:gd name="connsiteX12336" fmla="*/ 3587759 w 4044707"/>
                <a:gd name="connsiteY12336" fmla="*/ 348799 h 2907193"/>
                <a:gd name="connsiteX12337" fmla="*/ 3605184 w 4044707"/>
                <a:gd name="connsiteY12337" fmla="*/ 346167 h 2907193"/>
                <a:gd name="connsiteX12338" fmla="*/ 3611719 w 4044707"/>
                <a:gd name="connsiteY12338" fmla="*/ 347952 h 2907193"/>
                <a:gd name="connsiteX12339" fmla="*/ 3621036 w 4044707"/>
                <a:gd name="connsiteY12339" fmla="*/ 345350 h 2907193"/>
                <a:gd name="connsiteX12340" fmla="*/ 3624152 w 4044707"/>
                <a:gd name="connsiteY12340" fmla="*/ 346349 h 2907193"/>
                <a:gd name="connsiteX12341" fmla="*/ 3629748 w 4044707"/>
                <a:gd name="connsiteY12341" fmla="*/ 350160 h 2907193"/>
                <a:gd name="connsiteX12342" fmla="*/ 3632743 w 4044707"/>
                <a:gd name="connsiteY12342" fmla="*/ 349313 h 2907193"/>
                <a:gd name="connsiteX12343" fmla="*/ 3635405 w 4044707"/>
                <a:gd name="connsiteY12343" fmla="*/ 349525 h 2907193"/>
                <a:gd name="connsiteX12344" fmla="*/ 3642817 w 4044707"/>
                <a:gd name="connsiteY12344" fmla="*/ 354789 h 2907193"/>
                <a:gd name="connsiteX12345" fmla="*/ 3644723 w 4044707"/>
                <a:gd name="connsiteY12345" fmla="*/ 355122 h 2907193"/>
                <a:gd name="connsiteX12346" fmla="*/ 3666020 w 4044707"/>
                <a:gd name="connsiteY12346" fmla="*/ 347649 h 2907193"/>
                <a:gd name="connsiteX12347" fmla="*/ 3670104 w 4044707"/>
                <a:gd name="connsiteY12347" fmla="*/ 342476 h 2907193"/>
                <a:gd name="connsiteX12348" fmla="*/ 3669378 w 4044707"/>
                <a:gd name="connsiteY12348" fmla="*/ 341932 h 2907193"/>
                <a:gd name="connsiteX12349" fmla="*/ 3667926 w 4044707"/>
                <a:gd name="connsiteY12349" fmla="*/ 340117 h 2907193"/>
                <a:gd name="connsiteX12350" fmla="*/ 3667200 w 4044707"/>
                <a:gd name="connsiteY12350" fmla="*/ 339512 h 2907193"/>
                <a:gd name="connsiteX12351" fmla="*/ 3668319 w 4044707"/>
                <a:gd name="connsiteY12351" fmla="*/ 337092 h 2907193"/>
                <a:gd name="connsiteX12352" fmla="*/ 3669801 w 4044707"/>
                <a:gd name="connsiteY12352" fmla="*/ 336366 h 2907193"/>
                <a:gd name="connsiteX12353" fmla="*/ 3671405 w 4044707"/>
                <a:gd name="connsiteY12353" fmla="*/ 336245 h 2907193"/>
                <a:gd name="connsiteX12354" fmla="*/ 3673008 w 4044707"/>
                <a:gd name="connsiteY12354" fmla="*/ 335579 h 2907193"/>
                <a:gd name="connsiteX12355" fmla="*/ 3679482 w 4044707"/>
                <a:gd name="connsiteY12355" fmla="*/ 327744 h 2907193"/>
                <a:gd name="connsiteX12356" fmla="*/ 3691370 w 4044707"/>
                <a:gd name="connsiteY12356" fmla="*/ 322238 h 2907193"/>
                <a:gd name="connsiteX12357" fmla="*/ 3692127 w 4044707"/>
                <a:gd name="connsiteY12357" fmla="*/ 317549 h 2907193"/>
                <a:gd name="connsiteX12358" fmla="*/ 3696301 w 4044707"/>
                <a:gd name="connsiteY12358" fmla="*/ 311802 h 2907193"/>
                <a:gd name="connsiteX12359" fmla="*/ 3701595 w 4044707"/>
                <a:gd name="connsiteY12359" fmla="*/ 310107 h 2907193"/>
                <a:gd name="connsiteX12360" fmla="*/ 3714392 w 4044707"/>
                <a:gd name="connsiteY12360" fmla="*/ 312649 h 2907193"/>
                <a:gd name="connsiteX12361" fmla="*/ 3721894 w 4044707"/>
                <a:gd name="connsiteY12361" fmla="*/ 308202 h 2907193"/>
                <a:gd name="connsiteX12362" fmla="*/ 3724950 w 4044707"/>
                <a:gd name="connsiteY12362" fmla="*/ 309472 h 2907193"/>
                <a:gd name="connsiteX12363" fmla="*/ 3727945 w 4044707"/>
                <a:gd name="connsiteY12363" fmla="*/ 314191 h 2907193"/>
                <a:gd name="connsiteX12364" fmla="*/ 3733359 w 4044707"/>
                <a:gd name="connsiteY12364" fmla="*/ 326020 h 2907193"/>
                <a:gd name="connsiteX12365" fmla="*/ 3752116 w 4044707"/>
                <a:gd name="connsiteY12365" fmla="*/ 357148 h 2907193"/>
                <a:gd name="connsiteX12366" fmla="*/ 3754324 w 4044707"/>
                <a:gd name="connsiteY12366" fmla="*/ 359387 h 2907193"/>
                <a:gd name="connsiteX12367" fmla="*/ 3773655 w 4044707"/>
                <a:gd name="connsiteY12367" fmla="*/ 367404 h 2907193"/>
                <a:gd name="connsiteX12368" fmla="*/ 3773503 w 4044707"/>
                <a:gd name="connsiteY12368" fmla="*/ 376479 h 2907193"/>
                <a:gd name="connsiteX12369" fmla="*/ 3776014 w 4044707"/>
                <a:gd name="connsiteY12369" fmla="*/ 381864 h 2907193"/>
                <a:gd name="connsiteX12370" fmla="*/ 3779856 w 4044707"/>
                <a:gd name="connsiteY12370" fmla="*/ 384768 h 2907193"/>
                <a:gd name="connsiteX12371" fmla="*/ 3783698 w 4044707"/>
                <a:gd name="connsiteY12371" fmla="*/ 386311 h 2907193"/>
                <a:gd name="connsiteX12372" fmla="*/ 3816400 w 4044707"/>
                <a:gd name="connsiteY12372" fmla="*/ 401225 h 2907193"/>
                <a:gd name="connsiteX12373" fmla="*/ 3849132 w 4044707"/>
                <a:gd name="connsiteY12373" fmla="*/ 416108 h 2907193"/>
                <a:gd name="connsiteX12374" fmla="*/ 3850735 w 4044707"/>
                <a:gd name="connsiteY12374" fmla="*/ 418861 h 2907193"/>
                <a:gd name="connsiteX12375" fmla="*/ 3856362 w 4044707"/>
                <a:gd name="connsiteY12375" fmla="*/ 439584 h 2907193"/>
                <a:gd name="connsiteX12376" fmla="*/ 3870580 w 4044707"/>
                <a:gd name="connsiteY12376" fmla="*/ 471741 h 2907193"/>
                <a:gd name="connsiteX12377" fmla="*/ 3858963 w 4044707"/>
                <a:gd name="connsiteY12377" fmla="*/ 494792 h 2907193"/>
                <a:gd name="connsiteX12378" fmla="*/ 3822299 w 4044707"/>
                <a:gd name="connsiteY12378" fmla="*/ 536721 h 2907193"/>
                <a:gd name="connsiteX12379" fmla="*/ 3821028 w 4044707"/>
                <a:gd name="connsiteY12379" fmla="*/ 540139 h 2907193"/>
                <a:gd name="connsiteX12380" fmla="*/ 3820212 w 4044707"/>
                <a:gd name="connsiteY12380" fmla="*/ 545948 h 2907193"/>
                <a:gd name="connsiteX12381" fmla="*/ 3818487 w 4044707"/>
                <a:gd name="connsiteY12381" fmla="*/ 565278 h 2907193"/>
                <a:gd name="connsiteX12382" fmla="*/ 3818548 w 4044707"/>
                <a:gd name="connsiteY12382" fmla="*/ 569453 h 2907193"/>
                <a:gd name="connsiteX12383" fmla="*/ 3819758 w 4044707"/>
                <a:gd name="connsiteY12383" fmla="*/ 572176 h 2907193"/>
                <a:gd name="connsiteX12384" fmla="*/ 3831283 w 4044707"/>
                <a:gd name="connsiteY12384" fmla="*/ 585910 h 2907193"/>
                <a:gd name="connsiteX12385" fmla="*/ 3833250 w 4044707"/>
                <a:gd name="connsiteY12385" fmla="*/ 584095 h 2907193"/>
                <a:gd name="connsiteX12386" fmla="*/ 3836698 w 4044707"/>
                <a:gd name="connsiteY12386" fmla="*/ 583399 h 2907193"/>
                <a:gd name="connsiteX12387" fmla="*/ 3842386 w 4044707"/>
                <a:gd name="connsiteY12387" fmla="*/ 583974 h 2907193"/>
                <a:gd name="connsiteX12388" fmla="*/ 3847982 w 4044707"/>
                <a:gd name="connsiteY12388" fmla="*/ 580828 h 2907193"/>
                <a:gd name="connsiteX12389" fmla="*/ 3853276 w 4044707"/>
                <a:gd name="connsiteY12389" fmla="*/ 574989 h 2907193"/>
                <a:gd name="connsiteX12390" fmla="*/ 3858117 w 4044707"/>
                <a:gd name="connsiteY12390" fmla="*/ 567456 h 2907193"/>
                <a:gd name="connsiteX12391" fmla="*/ 3860083 w 4044707"/>
                <a:gd name="connsiteY12391" fmla="*/ 563130 h 2907193"/>
                <a:gd name="connsiteX12392" fmla="*/ 3861142 w 4044707"/>
                <a:gd name="connsiteY12392" fmla="*/ 559047 h 2907193"/>
                <a:gd name="connsiteX12393" fmla="*/ 3862927 w 4044707"/>
                <a:gd name="connsiteY12393" fmla="*/ 549699 h 2907193"/>
                <a:gd name="connsiteX12394" fmla="*/ 3863683 w 4044707"/>
                <a:gd name="connsiteY12394" fmla="*/ 547279 h 2907193"/>
                <a:gd name="connsiteX12395" fmla="*/ 3865498 w 4044707"/>
                <a:gd name="connsiteY12395" fmla="*/ 543165 h 2907193"/>
                <a:gd name="connsiteX12396" fmla="*/ 3866284 w 4044707"/>
                <a:gd name="connsiteY12396" fmla="*/ 540775 h 2907193"/>
                <a:gd name="connsiteX12397" fmla="*/ 3866587 w 4044707"/>
                <a:gd name="connsiteY12397" fmla="*/ 538445 h 2907193"/>
                <a:gd name="connsiteX12398" fmla="*/ 3866587 w 4044707"/>
                <a:gd name="connsiteY12398" fmla="*/ 536267 h 2907193"/>
                <a:gd name="connsiteX12399" fmla="*/ 3866799 w 4044707"/>
                <a:gd name="connsiteY12399" fmla="*/ 534119 h 2907193"/>
                <a:gd name="connsiteX12400" fmla="*/ 3867646 w 4044707"/>
                <a:gd name="connsiteY12400" fmla="*/ 531881 h 2907193"/>
                <a:gd name="connsiteX12401" fmla="*/ 3868735 w 4044707"/>
                <a:gd name="connsiteY12401" fmla="*/ 524651 h 2907193"/>
                <a:gd name="connsiteX12402" fmla="*/ 3869521 w 4044707"/>
                <a:gd name="connsiteY12402" fmla="*/ 520809 h 2907193"/>
                <a:gd name="connsiteX12403" fmla="*/ 3873787 w 4044707"/>
                <a:gd name="connsiteY12403" fmla="*/ 514456 h 2907193"/>
                <a:gd name="connsiteX12404" fmla="*/ 3879595 w 4044707"/>
                <a:gd name="connsiteY12404" fmla="*/ 511794 h 2907193"/>
                <a:gd name="connsiteX12405" fmla="*/ 3896657 w 4044707"/>
                <a:gd name="connsiteY12405" fmla="*/ 510916 h 2907193"/>
                <a:gd name="connsiteX12406" fmla="*/ 3902465 w 4044707"/>
                <a:gd name="connsiteY12406" fmla="*/ 508345 h 2907193"/>
                <a:gd name="connsiteX12407" fmla="*/ 3909151 w 4044707"/>
                <a:gd name="connsiteY12407" fmla="*/ 501387 h 2907193"/>
                <a:gd name="connsiteX12408" fmla="*/ 3911450 w 4044707"/>
                <a:gd name="connsiteY12408" fmla="*/ 499905 h 2907193"/>
                <a:gd name="connsiteX12409" fmla="*/ 3926485 w 4044707"/>
                <a:gd name="connsiteY12409" fmla="*/ 499633 h 2907193"/>
                <a:gd name="connsiteX12410" fmla="*/ 3931234 w 4044707"/>
                <a:gd name="connsiteY12410" fmla="*/ 497697 h 2907193"/>
                <a:gd name="connsiteX12411" fmla="*/ 3933140 w 4044707"/>
                <a:gd name="connsiteY12411" fmla="*/ 495609 h 2907193"/>
                <a:gd name="connsiteX12412" fmla="*/ 3936619 w 4044707"/>
                <a:gd name="connsiteY12412" fmla="*/ 490073 h 2907193"/>
                <a:gd name="connsiteX12413" fmla="*/ 3948841 w 4044707"/>
                <a:gd name="connsiteY12413" fmla="*/ 477610 h 2907193"/>
                <a:gd name="connsiteX12414" fmla="*/ 3950232 w 4044707"/>
                <a:gd name="connsiteY12414" fmla="*/ 474706 h 2907193"/>
                <a:gd name="connsiteX12415" fmla="*/ 3950595 w 4044707"/>
                <a:gd name="connsiteY12415" fmla="*/ 471680 h 2907193"/>
                <a:gd name="connsiteX12416" fmla="*/ 3950595 w 4044707"/>
                <a:gd name="connsiteY12416" fmla="*/ 468413 h 2907193"/>
                <a:gd name="connsiteX12417" fmla="*/ 3951019 w 4044707"/>
                <a:gd name="connsiteY12417" fmla="*/ 464662 h 2907193"/>
                <a:gd name="connsiteX12418" fmla="*/ 3951987 w 4044707"/>
                <a:gd name="connsiteY12418" fmla="*/ 460699 h 2907193"/>
                <a:gd name="connsiteX12419" fmla="*/ 3952894 w 4044707"/>
                <a:gd name="connsiteY12419" fmla="*/ 459187 h 2907193"/>
                <a:gd name="connsiteX12420" fmla="*/ 3955738 w 4044707"/>
                <a:gd name="connsiteY12420" fmla="*/ 457250 h 2907193"/>
                <a:gd name="connsiteX12421" fmla="*/ 3957583 w 4044707"/>
                <a:gd name="connsiteY12421" fmla="*/ 454861 h 2907193"/>
                <a:gd name="connsiteX12422" fmla="*/ 3959005 w 4044707"/>
                <a:gd name="connsiteY12422" fmla="*/ 451533 h 2907193"/>
                <a:gd name="connsiteX12423" fmla="*/ 3959701 w 4044707"/>
                <a:gd name="connsiteY12423" fmla="*/ 446904 h 2907193"/>
                <a:gd name="connsiteX12424" fmla="*/ 3959398 w 4044707"/>
                <a:gd name="connsiteY12424" fmla="*/ 440612 h 2907193"/>
                <a:gd name="connsiteX12425" fmla="*/ 3958551 w 4044707"/>
                <a:gd name="connsiteY12425" fmla="*/ 435802 h 2907193"/>
                <a:gd name="connsiteX12426" fmla="*/ 3957402 w 4044707"/>
                <a:gd name="connsiteY12426" fmla="*/ 433564 h 2907193"/>
                <a:gd name="connsiteX12427" fmla="*/ 3951351 w 4044707"/>
                <a:gd name="connsiteY12427" fmla="*/ 430962 h 2907193"/>
                <a:gd name="connsiteX12428" fmla="*/ 3949173 w 4044707"/>
                <a:gd name="connsiteY12428" fmla="*/ 428844 h 2907193"/>
                <a:gd name="connsiteX12429" fmla="*/ 3948417 w 4044707"/>
                <a:gd name="connsiteY12429" fmla="*/ 426696 h 2907193"/>
                <a:gd name="connsiteX12430" fmla="*/ 3950656 w 4044707"/>
                <a:gd name="connsiteY12430" fmla="*/ 425275 h 2907193"/>
                <a:gd name="connsiteX12431" fmla="*/ 3955163 w 4044707"/>
                <a:gd name="connsiteY12431" fmla="*/ 424881 h 2907193"/>
                <a:gd name="connsiteX12432" fmla="*/ 3959640 w 4044707"/>
                <a:gd name="connsiteY12432" fmla="*/ 425940 h 2907193"/>
                <a:gd name="connsiteX12433" fmla="*/ 3966054 w 4044707"/>
                <a:gd name="connsiteY12433" fmla="*/ 430478 h 2907193"/>
                <a:gd name="connsiteX12434" fmla="*/ 3984809 w 4044707"/>
                <a:gd name="connsiteY12434" fmla="*/ 450656 h 2907193"/>
                <a:gd name="connsiteX12435" fmla="*/ 3987925 w 4044707"/>
                <a:gd name="connsiteY12435" fmla="*/ 452713 h 2907193"/>
                <a:gd name="connsiteX12436" fmla="*/ 4012429 w 4044707"/>
                <a:gd name="connsiteY12436" fmla="*/ 456645 h 2907193"/>
                <a:gd name="connsiteX12437" fmla="*/ 4022261 w 4044707"/>
                <a:gd name="connsiteY12437" fmla="*/ 455072 h 2907193"/>
                <a:gd name="connsiteX12438" fmla="*/ 4026799 w 4044707"/>
                <a:gd name="connsiteY12438" fmla="*/ 450625 h 2907193"/>
                <a:gd name="connsiteX12439" fmla="*/ 4029703 w 4044707"/>
                <a:gd name="connsiteY12439" fmla="*/ 441550 h 2907193"/>
                <a:gd name="connsiteX12440" fmla="*/ 4030096 w 4044707"/>
                <a:gd name="connsiteY12440" fmla="*/ 437194 h 2907193"/>
                <a:gd name="connsiteX12441" fmla="*/ 4029763 w 4044707"/>
                <a:gd name="connsiteY12441" fmla="*/ 416653 h 2907193"/>
                <a:gd name="connsiteX12442" fmla="*/ 4027101 w 4044707"/>
                <a:gd name="connsiteY12442" fmla="*/ 412176 h 2907193"/>
                <a:gd name="connsiteX12443" fmla="*/ 4025377 w 4044707"/>
                <a:gd name="connsiteY12443" fmla="*/ 408606 h 2907193"/>
                <a:gd name="connsiteX12444" fmla="*/ 4025074 w 4044707"/>
                <a:gd name="connsiteY12444" fmla="*/ 406428 h 2907193"/>
                <a:gd name="connsiteX12445" fmla="*/ 4025195 w 4044707"/>
                <a:gd name="connsiteY12445" fmla="*/ 403887 h 2907193"/>
                <a:gd name="connsiteX12446" fmla="*/ 4024651 w 4044707"/>
                <a:gd name="connsiteY12446" fmla="*/ 399198 h 2907193"/>
                <a:gd name="connsiteX12447" fmla="*/ 4023713 w 4044707"/>
                <a:gd name="connsiteY12447" fmla="*/ 396143 h 2907193"/>
                <a:gd name="connsiteX12448" fmla="*/ 4021293 w 4044707"/>
                <a:gd name="connsiteY12448" fmla="*/ 391514 h 2907193"/>
                <a:gd name="connsiteX12449" fmla="*/ 4020990 w 4044707"/>
                <a:gd name="connsiteY12449" fmla="*/ 380896 h 2907193"/>
                <a:gd name="connsiteX12450" fmla="*/ 4015817 w 4044707"/>
                <a:gd name="connsiteY12450" fmla="*/ 384950 h 2907193"/>
                <a:gd name="connsiteX12451" fmla="*/ 4015061 w 4044707"/>
                <a:gd name="connsiteY12451" fmla="*/ 384950 h 2907193"/>
                <a:gd name="connsiteX12452" fmla="*/ 4011794 w 4044707"/>
                <a:gd name="connsiteY12452" fmla="*/ 388580 h 2907193"/>
                <a:gd name="connsiteX12453" fmla="*/ 4010070 w 4044707"/>
                <a:gd name="connsiteY12453" fmla="*/ 389911 h 2907193"/>
                <a:gd name="connsiteX12454" fmla="*/ 4008496 w 4044707"/>
                <a:gd name="connsiteY12454" fmla="*/ 390425 h 2907193"/>
                <a:gd name="connsiteX12455" fmla="*/ 4007105 w 4044707"/>
                <a:gd name="connsiteY12455" fmla="*/ 389306 h 2907193"/>
                <a:gd name="connsiteX12456" fmla="*/ 4006832 w 4044707"/>
                <a:gd name="connsiteY12456" fmla="*/ 386886 h 2907193"/>
                <a:gd name="connsiteX12457" fmla="*/ 4007468 w 4044707"/>
                <a:gd name="connsiteY12457" fmla="*/ 384375 h 2907193"/>
                <a:gd name="connsiteX12458" fmla="*/ 4008889 w 4044707"/>
                <a:gd name="connsiteY12458" fmla="*/ 383104 h 2907193"/>
                <a:gd name="connsiteX12459" fmla="*/ 4006681 w 4044707"/>
                <a:gd name="connsiteY12459" fmla="*/ 380170 h 2907193"/>
                <a:gd name="connsiteX12460" fmla="*/ 3984961 w 4044707"/>
                <a:gd name="connsiteY12460" fmla="*/ 377598 h 2907193"/>
                <a:gd name="connsiteX12461" fmla="*/ 3981724 w 4044707"/>
                <a:gd name="connsiteY12461" fmla="*/ 379716 h 2907193"/>
                <a:gd name="connsiteX12462" fmla="*/ 3982662 w 4044707"/>
                <a:gd name="connsiteY12462" fmla="*/ 384950 h 2907193"/>
                <a:gd name="connsiteX12463" fmla="*/ 3981845 w 4044707"/>
                <a:gd name="connsiteY12463" fmla="*/ 387370 h 2907193"/>
                <a:gd name="connsiteX12464" fmla="*/ 3982178 w 4044707"/>
                <a:gd name="connsiteY12464" fmla="*/ 389608 h 2907193"/>
                <a:gd name="connsiteX12465" fmla="*/ 3982934 w 4044707"/>
                <a:gd name="connsiteY12465" fmla="*/ 392059 h 2907193"/>
                <a:gd name="connsiteX12466" fmla="*/ 3983357 w 4044707"/>
                <a:gd name="connsiteY12466" fmla="*/ 395084 h 2907193"/>
                <a:gd name="connsiteX12467" fmla="*/ 3983357 w 4044707"/>
                <a:gd name="connsiteY12467" fmla="*/ 396657 h 2907193"/>
                <a:gd name="connsiteX12468" fmla="*/ 3983176 w 4044707"/>
                <a:gd name="connsiteY12468" fmla="*/ 398079 h 2907193"/>
                <a:gd name="connsiteX12469" fmla="*/ 3982874 w 4044707"/>
                <a:gd name="connsiteY12469" fmla="*/ 399107 h 2907193"/>
                <a:gd name="connsiteX12470" fmla="*/ 3981391 w 4044707"/>
                <a:gd name="connsiteY12470" fmla="*/ 400287 h 2907193"/>
                <a:gd name="connsiteX12471" fmla="*/ 3981391 w 4044707"/>
                <a:gd name="connsiteY12471" fmla="*/ 402042 h 2907193"/>
                <a:gd name="connsiteX12472" fmla="*/ 3981905 w 4044707"/>
                <a:gd name="connsiteY12472" fmla="*/ 405188 h 2907193"/>
                <a:gd name="connsiteX12473" fmla="*/ 3981512 w 4044707"/>
                <a:gd name="connsiteY12473" fmla="*/ 412146 h 2907193"/>
                <a:gd name="connsiteX12474" fmla="*/ 3980998 w 4044707"/>
                <a:gd name="connsiteY12474" fmla="*/ 414959 h 2907193"/>
                <a:gd name="connsiteX12475" fmla="*/ 3979576 w 4044707"/>
                <a:gd name="connsiteY12475" fmla="*/ 416108 h 2907193"/>
                <a:gd name="connsiteX12476" fmla="*/ 3972618 w 4044707"/>
                <a:gd name="connsiteY12476" fmla="*/ 417863 h 2907193"/>
                <a:gd name="connsiteX12477" fmla="*/ 3970319 w 4044707"/>
                <a:gd name="connsiteY12477" fmla="*/ 416108 h 2907193"/>
                <a:gd name="connsiteX12478" fmla="*/ 3975462 w 4044707"/>
                <a:gd name="connsiteY12478" fmla="*/ 414445 h 2907193"/>
                <a:gd name="connsiteX12479" fmla="*/ 3977640 w 4044707"/>
                <a:gd name="connsiteY12479" fmla="*/ 408576 h 2907193"/>
                <a:gd name="connsiteX12480" fmla="*/ 3978003 w 4044707"/>
                <a:gd name="connsiteY12480" fmla="*/ 399410 h 2907193"/>
                <a:gd name="connsiteX12481" fmla="*/ 3977882 w 4044707"/>
                <a:gd name="connsiteY12481" fmla="*/ 387672 h 2907193"/>
                <a:gd name="connsiteX12482" fmla="*/ 3977761 w 4044707"/>
                <a:gd name="connsiteY12482" fmla="*/ 387279 h 2907193"/>
                <a:gd name="connsiteX12483" fmla="*/ 3977125 w 4044707"/>
                <a:gd name="connsiteY12483" fmla="*/ 381259 h 2907193"/>
                <a:gd name="connsiteX12484" fmla="*/ 3977035 w 4044707"/>
                <a:gd name="connsiteY12484" fmla="*/ 378899 h 2907193"/>
                <a:gd name="connsiteX12485" fmla="*/ 3977035 w 4044707"/>
                <a:gd name="connsiteY12485" fmla="*/ 376419 h 2907193"/>
                <a:gd name="connsiteX12486" fmla="*/ 3976914 w 4044707"/>
                <a:gd name="connsiteY12486" fmla="*/ 374059 h 2907193"/>
                <a:gd name="connsiteX12487" fmla="*/ 3976520 w 4044707"/>
                <a:gd name="connsiteY12487" fmla="*/ 372093 h 2907193"/>
                <a:gd name="connsiteX12488" fmla="*/ 3973828 w 4044707"/>
                <a:gd name="connsiteY12488" fmla="*/ 369673 h 2907193"/>
                <a:gd name="connsiteX12489" fmla="*/ 3966568 w 4044707"/>
                <a:gd name="connsiteY12489" fmla="*/ 372183 h 2907193"/>
                <a:gd name="connsiteX12490" fmla="*/ 3963482 w 4044707"/>
                <a:gd name="connsiteY12490" fmla="*/ 370247 h 2907193"/>
                <a:gd name="connsiteX12491" fmla="*/ 3968444 w 4044707"/>
                <a:gd name="connsiteY12491" fmla="*/ 366526 h 2907193"/>
                <a:gd name="connsiteX12492" fmla="*/ 3969018 w 4044707"/>
                <a:gd name="connsiteY12492" fmla="*/ 364409 h 2907193"/>
                <a:gd name="connsiteX12493" fmla="*/ 3966901 w 4044707"/>
                <a:gd name="connsiteY12493" fmla="*/ 360083 h 2907193"/>
                <a:gd name="connsiteX12494" fmla="*/ 3965540 w 4044707"/>
                <a:gd name="connsiteY12494" fmla="*/ 359206 h 2907193"/>
                <a:gd name="connsiteX12495" fmla="*/ 3960669 w 4044707"/>
                <a:gd name="connsiteY12495" fmla="*/ 361081 h 2907193"/>
                <a:gd name="connsiteX12496" fmla="*/ 3953045 w 4044707"/>
                <a:gd name="connsiteY12496" fmla="*/ 361081 h 2907193"/>
                <a:gd name="connsiteX12497" fmla="*/ 3953257 w 4044707"/>
                <a:gd name="connsiteY12497" fmla="*/ 363985 h 2907193"/>
                <a:gd name="connsiteX12498" fmla="*/ 3953318 w 4044707"/>
                <a:gd name="connsiteY12498" fmla="*/ 369915 h 2907193"/>
                <a:gd name="connsiteX12499" fmla="*/ 3953106 w 4044707"/>
                <a:gd name="connsiteY12499" fmla="*/ 375995 h 2907193"/>
                <a:gd name="connsiteX12500" fmla="*/ 3952410 w 4044707"/>
                <a:gd name="connsiteY12500" fmla="*/ 379413 h 2907193"/>
                <a:gd name="connsiteX12501" fmla="*/ 3953983 w 4044707"/>
                <a:gd name="connsiteY12501" fmla="*/ 382045 h 2907193"/>
                <a:gd name="connsiteX12502" fmla="*/ 3956010 w 4044707"/>
                <a:gd name="connsiteY12502" fmla="*/ 384133 h 2907193"/>
                <a:gd name="connsiteX12503" fmla="*/ 3957462 w 4044707"/>
                <a:gd name="connsiteY12503" fmla="*/ 386613 h 2907193"/>
                <a:gd name="connsiteX12504" fmla="*/ 3957220 w 4044707"/>
                <a:gd name="connsiteY12504" fmla="*/ 390395 h 2907193"/>
                <a:gd name="connsiteX12505" fmla="*/ 3955435 w 4044707"/>
                <a:gd name="connsiteY12505" fmla="*/ 392452 h 2907193"/>
                <a:gd name="connsiteX12506" fmla="*/ 3949657 w 4044707"/>
                <a:gd name="connsiteY12506" fmla="*/ 393117 h 2907193"/>
                <a:gd name="connsiteX12507" fmla="*/ 3947509 w 4044707"/>
                <a:gd name="connsiteY12507" fmla="*/ 394176 h 2907193"/>
                <a:gd name="connsiteX12508" fmla="*/ 3948689 w 4044707"/>
                <a:gd name="connsiteY12508" fmla="*/ 397413 h 2907193"/>
                <a:gd name="connsiteX12509" fmla="*/ 3952682 w 4044707"/>
                <a:gd name="connsiteY12509" fmla="*/ 405944 h 2907193"/>
                <a:gd name="connsiteX12510" fmla="*/ 3954558 w 4044707"/>
                <a:gd name="connsiteY12510" fmla="*/ 408606 h 2907193"/>
                <a:gd name="connsiteX12511" fmla="*/ 3955314 w 4044707"/>
                <a:gd name="connsiteY12511" fmla="*/ 410270 h 2907193"/>
                <a:gd name="connsiteX12512" fmla="*/ 3955133 w 4044707"/>
                <a:gd name="connsiteY12512" fmla="*/ 412388 h 2907193"/>
                <a:gd name="connsiteX12513" fmla="*/ 3954014 w 4044707"/>
                <a:gd name="connsiteY12513" fmla="*/ 412751 h 2907193"/>
                <a:gd name="connsiteX12514" fmla="*/ 3947903 w 4044707"/>
                <a:gd name="connsiteY12514" fmla="*/ 407457 h 2907193"/>
                <a:gd name="connsiteX12515" fmla="*/ 3946602 w 4044707"/>
                <a:gd name="connsiteY12515" fmla="*/ 404794 h 2907193"/>
                <a:gd name="connsiteX12516" fmla="*/ 3944515 w 4044707"/>
                <a:gd name="connsiteY12516" fmla="*/ 398805 h 2907193"/>
                <a:gd name="connsiteX12517" fmla="*/ 3943547 w 4044707"/>
                <a:gd name="connsiteY12517" fmla="*/ 398472 h 2907193"/>
                <a:gd name="connsiteX12518" fmla="*/ 3939251 w 4044707"/>
                <a:gd name="connsiteY12518" fmla="*/ 403131 h 2907193"/>
                <a:gd name="connsiteX12519" fmla="*/ 3934138 w 4044707"/>
                <a:gd name="connsiteY12519" fmla="*/ 405339 h 2907193"/>
                <a:gd name="connsiteX12520" fmla="*/ 3931567 w 4044707"/>
                <a:gd name="connsiteY12520" fmla="*/ 407729 h 2907193"/>
                <a:gd name="connsiteX12521" fmla="*/ 3930266 w 4044707"/>
                <a:gd name="connsiteY12521" fmla="*/ 412388 h 2907193"/>
                <a:gd name="connsiteX12522" fmla="*/ 3929994 w 4044707"/>
                <a:gd name="connsiteY12522" fmla="*/ 407578 h 2907193"/>
                <a:gd name="connsiteX12523" fmla="*/ 3931839 w 4044707"/>
                <a:gd name="connsiteY12523" fmla="*/ 405036 h 2907193"/>
                <a:gd name="connsiteX12524" fmla="*/ 3936468 w 4044707"/>
                <a:gd name="connsiteY12524" fmla="*/ 402284 h 2907193"/>
                <a:gd name="connsiteX12525" fmla="*/ 3938283 w 4044707"/>
                <a:gd name="connsiteY12525" fmla="*/ 399107 h 2907193"/>
                <a:gd name="connsiteX12526" fmla="*/ 3940733 w 4044707"/>
                <a:gd name="connsiteY12526" fmla="*/ 392724 h 2907193"/>
                <a:gd name="connsiteX12527" fmla="*/ 3942669 w 4044707"/>
                <a:gd name="connsiteY12527" fmla="*/ 390365 h 2907193"/>
                <a:gd name="connsiteX12528" fmla="*/ 3939432 w 4044707"/>
                <a:gd name="connsiteY12528" fmla="*/ 388852 h 2907193"/>
                <a:gd name="connsiteX12529" fmla="*/ 3935651 w 4044707"/>
                <a:gd name="connsiteY12529" fmla="*/ 390970 h 2907193"/>
                <a:gd name="connsiteX12530" fmla="*/ 3927150 w 4044707"/>
                <a:gd name="connsiteY12530" fmla="*/ 399137 h 2907193"/>
                <a:gd name="connsiteX12531" fmla="*/ 3926455 w 4044707"/>
                <a:gd name="connsiteY12531" fmla="*/ 399440 h 2907193"/>
                <a:gd name="connsiteX12532" fmla="*/ 3918347 w 4044707"/>
                <a:gd name="connsiteY12532" fmla="*/ 397383 h 2907193"/>
                <a:gd name="connsiteX12533" fmla="*/ 3907759 w 4044707"/>
                <a:gd name="connsiteY12533" fmla="*/ 398139 h 2907193"/>
                <a:gd name="connsiteX12534" fmla="*/ 3904190 w 4044707"/>
                <a:gd name="connsiteY12534" fmla="*/ 399652 h 2907193"/>
                <a:gd name="connsiteX12535" fmla="*/ 3892845 w 4044707"/>
                <a:gd name="connsiteY12535" fmla="*/ 410482 h 2907193"/>
                <a:gd name="connsiteX12536" fmla="*/ 3889881 w 4044707"/>
                <a:gd name="connsiteY12536" fmla="*/ 415776 h 2907193"/>
                <a:gd name="connsiteX12537" fmla="*/ 3888247 w 4044707"/>
                <a:gd name="connsiteY12537" fmla="*/ 417530 h 2907193"/>
                <a:gd name="connsiteX12538" fmla="*/ 3884798 w 4044707"/>
                <a:gd name="connsiteY12538" fmla="*/ 419497 h 2907193"/>
                <a:gd name="connsiteX12539" fmla="*/ 3886674 w 4044707"/>
                <a:gd name="connsiteY12539" fmla="*/ 415231 h 2907193"/>
                <a:gd name="connsiteX12540" fmla="*/ 3889457 w 4044707"/>
                <a:gd name="connsiteY12540" fmla="*/ 410391 h 2907193"/>
                <a:gd name="connsiteX12541" fmla="*/ 3890425 w 4044707"/>
                <a:gd name="connsiteY12541" fmla="*/ 406912 h 2907193"/>
                <a:gd name="connsiteX12542" fmla="*/ 3886856 w 4044707"/>
                <a:gd name="connsiteY12542" fmla="*/ 406791 h 2907193"/>
                <a:gd name="connsiteX12543" fmla="*/ 3888882 w 4044707"/>
                <a:gd name="connsiteY12543" fmla="*/ 405672 h 2907193"/>
                <a:gd name="connsiteX12544" fmla="*/ 3893148 w 4044707"/>
                <a:gd name="connsiteY12544" fmla="*/ 404734 h 2907193"/>
                <a:gd name="connsiteX12545" fmla="*/ 3895084 w 4044707"/>
                <a:gd name="connsiteY12545" fmla="*/ 403131 h 2907193"/>
                <a:gd name="connsiteX12546" fmla="*/ 3896415 w 4044707"/>
                <a:gd name="connsiteY12546" fmla="*/ 400317 h 2907193"/>
                <a:gd name="connsiteX12547" fmla="*/ 3897383 w 4044707"/>
                <a:gd name="connsiteY12547" fmla="*/ 397141 h 2907193"/>
                <a:gd name="connsiteX12548" fmla="*/ 3898623 w 4044707"/>
                <a:gd name="connsiteY12548" fmla="*/ 394690 h 2907193"/>
                <a:gd name="connsiteX12549" fmla="*/ 3900680 w 4044707"/>
                <a:gd name="connsiteY12549" fmla="*/ 394176 h 2907193"/>
                <a:gd name="connsiteX12550" fmla="*/ 3900680 w 4044707"/>
                <a:gd name="connsiteY12550" fmla="*/ 392180 h 2907193"/>
                <a:gd name="connsiteX12551" fmla="*/ 3901104 w 4044707"/>
                <a:gd name="connsiteY12551" fmla="*/ 389911 h 2907193"/>
                <a:gd name="connsiteX12552" fmla="*/ 3906156 w 4044707"/>
                <a:gd name="connsiteY12552" fmla="*/ 384193 h 2907193"/>
                <a:gd name="connsiteX12553" fmla="*/ 3909937 w 4044707"/>
                <a:gd name="connsiteY12553" fmla="*/ 381622 h 2907193"/>
                <a:gd name="connsiteX12554" fmla="*/ 3911783 w 4044707"/>
                <a:gd name="connsiteY12554" fmla="*/ 374664 h 2907193"/>
                <a:gd name="connsiteX12555" fmla="*/ 3913779 w 4044707"/>
                <a:gd name="connsiteY12555" fmla="*/ 372062 h 2907193"/>
                <a:gd name="connsiteX12556" fmla="*/ 3910330 w 4044707"/>
                <a:gd name="connsiteY12556" fmla="*/ 364742 h 2907193"/>
                <a:gd name="connsiteX12557" fmla="*/ 3910845 w 4044707"/>
                <a:gd name="connsiteY12557" fmla="*/ 361626 h 2907193"/>
                <a:gd name="connsiteX12558" fmla="*/ 3910028 w 4044707"/>
                <a:gd name="connsiteY12558" fmla="*/ 359387 h 2907193"/>
                <a:gd name="connsiteX12559" fmla="*/ 3909393 w 4044707"/>
                <a:gd name="connsiteY12559" fmla="*/ 357058 h 2907193"/>
                <a:gd name="connsiteX12560" fmla="*/ 3910361 w 4044707"/>
                <a:gd name="connsiteY12560" fmla="*/ 353549 h 2907193"/>
                <a:gd name="connsiteX12561" fmla="*/ 3907668 w 4044707"/>
                <a:gd name="connsiteY12561" fmla="*/ 351885 h 2907193"/>
                <a:gd name="connsiteX12562" fmla="*/ 3902919 w 4044707"/>
                <a:gd name="connsiteY12562" fmla="*/ 355182 h 2907193"/>
                <a:gd name="connsiteX12563" fmla="*/ 3899168 w 4044707"/>
                <a:gd name="connsiteY12563" fmla="*/ 353639 h 2907193"/>
                <a:gd name="connsiteX12564" fmla="*/ 3896596 w 4044707"/>
                <a:gd name="connsiteY12564" fmla="*/ 355182 h 2907193"/>
                <a:gd name="connsiteX12565" fmla="*/ 3895205 w 4044707"/>
                <a:gd name="connsiteY12565" fmla="*/ 354426 h 2907193"/>
                <a:gd name="connsiteX12566" fmla="*/ 3893904 w 4044707"/>
                <a:gd name="connsiteY12566" fmla="*/ 353004 h 2907193"/>
                <a:gd name="connsiteX12567" fmla="*/ 3892513 w 4044707"/>
                <a:gd name="connsiteY12567" fmla="*/ 352036 h 2907193"/>
                <a:gd name="connsiteX12568" fmla="*/ 3891090 w 4044707"/>
                <a:gd name="connsiteY12568" fmla="*/ 351582 h 2907193"/>
                <a:gd name="connsiteX12569" fmla="*/ 3889638 w 4044707"/>
                <a:gd name="connsiteY12569" fmla="*/ 351703 h 2907193"/>
                <a:gd name="connsiteX12570" fmla="*/ 3887642 w 4044707"/>
                <a:gd name="connsiteY12570" fmla="*/ 353034 h 2907193"/>
                <a:gd name="connsiteX12571" fmla="*/ 3883225 w 4044707"/>
                <a:gd name="connsiteY12571" fmla="*/ 358812 h 2907193"/>
                <a:gd name="connsiteX12572" fmla="*/ 3879625 w 4044707"/>
                <a:gd name="connsiteY12572" fmla="*/ 365649 h 2907193"/>
                <a:gd name="connsiteX12573" fmla="*/ 3877357 w 4044707"/>
                <a:gd name="connsiteY12573" fmla="*/ 367101 h 2907193"/>
                <a:gd name="connsiteX12574" fmla="*/ 3872365 w 4044707"/>
                <a:gd name="connsiteY12574" fmla="*/ 366345 h 2907193"/>
                <a:gd name="connsiteX12575" fmla="*/ 3875027 w 4044707"/>
                <a:gd name="connsiteY12575" fmla="*/ 364590 h 2907193"/>
                <a:gd name="connsiteX12576" fmla="*/ 3875814 w 4044707"/>
                <a:gd name="connsiteY12576" fmla="*/ 363683 h 2907193"/>
                <a:gd name="connsiteX12577" fmla="*/ 3876842 w 4044707"/>
                <a:gd name="connsiteY12577" fmla="*/ 361989 h 2907193"/>
                <a:gd name="connsiteX12578" fmla="*/ 3877235 w 4044707"/>
                <a:gd name="connsiteY12578" fmla="*/ 360990 h 2907193"/>
                <a:gd name="connsiteX12579" fmla="*/ 3877508 w 4044707"/>
                <a:gd name="connsiteY12579" fmla="*/ 359932 h 2907193"/>
                <a:gd name="connsiteX12580" fmla="*/ 3878173 w 4044707"/>
                <a:gd name="connsiteY12580" fmla="*/ 358116 h 2907193"/>
                <a:gd name="connsiteX12581" fmla="*/ 3880049 w 4044707"/>
                <a:gd name="connsiteY12581" fmla="*/ 355303 h 2907193"/>
                <a:gd name="connsiteX12582" fmla="*/ 3884707 w 4044707"/>
                <a:gd name="connsiteY12582" fmla="*/ 352641 h 2907193"/>
                <a:gd name="connsiteX12583" fmla="*/ 3889034 w 4044707"/>
                <a:gd name="connsiteY12583" fmla="*/ 348708 h 2907193"/>
                <a:gd name="connsiteX12584" fmla="*/ 3893662 w 4044707"/>
                <a:gd name="connsiteY12584" fmla="*/ 345895 h 2907193"/>
                <a:gd name="connsiteX12585" fmla="*/ 3902526 w 4044707"/>
                <a:gd name="connsiteY12585" fmla="*/ 337757 h 2907193"/>
                <a:gd name="connsiteX12586" fmla="*/ 3904764 w 4044707"/>
                <a:gd name="connsiteY12586" fmla="*/ 336789 h 2907193"/>
                <a:gd name="connsiteX12587" fmla="*/ 3874936 w 4044707"/>
                <a:gd name="connsiteY12587" fmla="*/ 327230 h 2907193"/>
                <a:gd name="connsiteX12588" fmla="*/ 3870308 w 4044707"/>
                <a:gd name="connsiteY12588" fmla="*/ 324023 h 2907193"/>
                <a:gd name="connsiteX12589" fmla="*/ 3851673 w 4044707"/>
                <a:gd name="connsiteY12589" fmla="*/ 326050 h 2907193"/>
                <a:gd name="connsiteX12590" fmla="*/ 3848860 w 4044707"/>
                <a:gd name="connsiteY12590" fmla="*/ 324023 h 2907193"/>
                <a:gd name="connsiteX12591" fmla="*/ 3854244 w 4044707"/>
                <a:gd name="connsiteY12591" fmla="*/ 319637 h 2907193"/>
                <a:gd name="connsiteX12592" fmla="*/ 3855121 w 4044707"/>
                <a:gd name="connsiteY12592" fmla="*/ 318487 h 2907193"/>
                <a:gd name="connsiteX12593" fmla="*/ 3854184 w 4044707"/>
                <a:gd name="connsiteY12593" fmla="*/ 316793 h 2907193"/>
                <a:gd name="connsiteX12594" fmla="*/ 3852036 w 4044707"/>
                <a:gd name="connsiteY12594" fmla="*/ 316309 h 2907193"/>
                <a:gd name="connsiteX12595" fmla="*/ 3848255 w 4044707"/>
                <a:gd name="connsiteY12595" fmla="*/ 316612 h 2907193"/>
                <a:gd name="connsiteX12596" fmla="*/ 3848769 w 4044707"/>
                <a:gd name="connsiteY12596" fmla="*/ 315643 h 2907193"/>
                <a:gd name="connsiteX12597" fmla="*/ 3849646 w 4044707"/>
                <a:gd name="connsiteY12597" fmla="*/ 312921 h 2907193"/>
                <a:gd name="connsiteX12598" fmla="*/ 3835095 w 4044707"/>
                <a:gd name="connsiteY12598" fmla="*/ 313405 h 2907193"/>
                <a:gd name="connsiteX12599" fmla="*/ 3828137 w 4044707"/>
                <a:gd name="connsiteY12599" fmla="*/ 308504 h 2907193"/>
                <a:gd name="connsiteX12600" fmla="*/ 3808867 w 4044707"/>
                <a:gd name="connsiteY12600" fmla="*/ 305328 h 2907193"/>
                <a:gd name="connsiteX12601" fmla="*/ 3811529 w 4044707"/>
                <a:gd name="connsiteY12601" fmla="*/ 303150 h 2907193"/>
                <a:gd name="connsiteX12602" fmla="*/ 3820665 w 4044707"/>
                <a:gd name="connsiteY12602" fmla="*/ 303452 h 2907193"/>
                <a:gd name="connsiteX12603" fmla="*/ 3820665 w 4044707"/>
                <a:gd name="connsiteY12603" fmla="*/ 301788 h 2907193"/>
                <a:gd name="connsiteX12604" fmla="*/ 3819062 w 4044707"/>
                <a:gd name="connsiteY12604" fmla="*/ 301546 h 2907193"/>
                <a:gd name="connsiteX12605" fmla="*/ 3814252 w 4044707"/>
                <a:gd name="connsiteY12605" fmla="*/ 298370 h 2907193"/>
                <a:gd name="connsiteX12606" fmla="*/ 3813012 w 4044707"/>
                <a:gd name="connsiteY12606" fmla="*/ 298309 h 2907193"/>
                <a:gd name="connsiteX12607" fmla="*/ 3808837 w 4044707"/>
                <a:gd name="connsiteY12607" fmla="*/ 301788 h 2907193"/>
                <a:gd name="connsiteX12608" fmla="*/ 3802000 w 4044707"/>
                <a:gd name="connsiteY12608" fmla="*/ 301395 h 2907193"/>
                <a:gd name="connsiteX12609" fmla="*/ 3798430 w 4044707"/>
                <a:gd name="connsiteY12609" fmla="*/ 299459 h 2907193"/>
                <a:gd name="connsiteX12610" fmla="*/ 3796524 w 4044707"/>
                <a:gd name="connsiteY12610" fmla="*/ 295859 h 2907193"/>
                <a:gd name="connsiteX12611" fmla="*/ 3799852 w 4044707"/>
                <a:gd name="connsiteY12611" fmla="*/ 294891 h 2907193"/>
                <a:gd name="connsiteX12612" fmla="*/ 3804541 w 4044707"/>
                <a:gd name="connsiteY12612" fmla="*/ 292108 h 2907193"/>
                <a:gd name="connsiteX12613" fmla="*/ 3808807 w 4044707"/>
                <a:gd name="connsiteY12613" fmla="*/ 287963 h 2907193"/>
                <a:gd name="connsiteX12614" fmla="*/ 3810924 w 4044707"/>
                <a:gd name="connsiteY12614" fmla="*/ 283002 h 2907193"/>
                <a:gd name="connsiteX12615" fmla="*/ 3795133 w 4044707"/>
                <a:gd name="connsiteY12615" fmla="*/ 284696 h 2907193"/>
                <a:gd name="connsiteX12616" fmla="*/ 3797130 w 4044707"/>
                <a:gd name="connsiteY12616" fmla="*/ 280431 h 2907193"/>
                <a:gd name="connsiteX12617" fmla="*/ 3800851 w 4044707"/>
                <a:gd name="connsiteY12617" fmla="*/ 278948 h 2907193"/>
                <a:gd name="connsiteX12618" fmla="*/ 3829680 w 4044707"/>
                <a:gd name="connsiteY12618" fmla="*/ 287389 h 2907193"/>
                <a:gd name="connsiteX12619" fmla="*/ 3858510 w 4044707"/>
                <a:gd name="connsiteY12619" fmla="*/ 295829 h 2907193"/>
                <a:gd name="connsiteX12620" fmla="*/ 3857874 w 4044707"/>
                <a:gd name="connsiteY12620" fmla="*/ 295829 h 2907193"/>
                <a:gd name="connsiteX12621" fmla="*/ 3905097 w 4044707"/>
                <a:gd name="connsiteY12621" fmla="*/ 302484 h 2907193"/>
                <a:gd name="connsiteX12622" fmla="*/ 3952319 w 4044707"/>
                <a:gd name="connsiteY12622" fmla="*/ 309139 h 2907193"/>
                <a:gd name="connsiteX12623" fmla="*/ 3949718 w 4044707"/>
                <a:gd name="connsiteY12623" fmla="*/ 308625 h 2907193"/>
                <a:gd name="connsiteX12624" fmla="*/ 3948205 w 4044707"/>
                <a:gd name="connsiteY12624" fmla="*/ 307294 h 2907193"/>
                <a:gd name="connsiteX12625" fmla="*/ 3948357 w 4044707"/>
                <a:gd name="connsiteY12625" fmla="*/ 305449 h 2907193"/>
                <a:gd name="connsiteX12626" fmla="*/ 3950898 w 4044707"/>
                <a:gd name="connsiteY12626" fmla="*/ 303392 h 2907193"/>
                <a:gd name="connsiteX12627" fmla="*/ 3968232 w 4044707"/>
                <a:gd name="connsiteY12627" fmla="*/ 296615 h 2907193"/>
                <a:gd name="connsiteX12628" fmla="*/ 3972074 w 4044707"/>
                <a:gd name="connsiteY12628" fmla="*/ 293257 h 2907193"/>
                <a:gd name="connsiteX12629" fmla="*/ 3975008 w 4044707"/>
                <a:gd name="connsiteY12629" fmla="*/ 286663 h 2907193"/>
                <a:gd name="connsiteX12630" fmla="*/ 3972316 w 4044707"/>
                <a:gd name="connsiteY12630" fmla="*/ 284636 h 2907193"/>
                <a:gd name="connsiteX12631" fmla="*/ 3972316 w 4044707"/>
                <a:gd name="connsiteY12631" fmla="*/ 281369 h 2907193"/>
                <a:gd name="connsiteX12632" fmla="*/ 3974070 w 4044707"/>
                <a:gd name="connsiteY12632" fmla="*/ 277920 h 2907193"/>
                <a:gd name="connsiteX12633" fmla="*/ 3976460 w 4044707"/>
                <a:gd name="connsiteY12633" fmla="*/ 275288 h 2907193"/>
                <a:gd name="connsiteX12634" fmla="*/ 3985535 w 4044707"/>
                <a:gd name="connsiteY12634" fmla="*/ 273201 h 2907193"/>
                <a:gd name="connsiteX12635" fmla="*/ 3988107 w 4044707"/>
                <a:gd name="connsiteY12635" fmla="*/ 269692 h 2907193"/>
                <a:gd name="connsiteX12636" fmla="*/ 3988168 w 4044707"/>
                <a:gd name="connsiteY12636" fmla="*/ 263339 h 2907193"/>
                <a:gd name="connsiteX12637" fmla="*/ 3991555 w 4044707"/>
                <a:gd name="connsiteY12637" fmla="*/ 260707 h 2907193"/>
                <a:gd name="connsiteX12638" fmla="*/ 4030277 w 4044707"/>
                <a:gd name="connsiteY12638" fmla="*/ 256593 h 2907193"/>
                <a:gd name="connsiteX12639" fmla="*/ 4041108 w 4044707"/>
                <a:gd name="connsiteY12639" fmla="*/ 250815 h 2907193"/>
                <a:gd name="connsiteX12640" fmla="*/ 4044707 w 4044707"/>
                <a:gd name="connsiteY12640" fmla="*/ 250996 h 2907193"/>
                <a:gd name="connsiteX12641" fmla="*/ 4043648 w 4044707"/>
                <a:gd name="connsiteY12641" fmla="*/ 246549 h 2907193"/>
                <a:gd name="connsiteX12642" fmla="*/ 3462821 w 4044707"/>
                <a:gd name="connsiteY12642" fmla="*/ 45740 h 2907193"/>
                <a:gd name="connsiteX12643" fmla="*/ 3464122 w 4044707"/>
                <a:gd name="connsiteY12643" fmla="*/ 48372 h 2907193"/>
                <a:gd name="connsiteX12644" fmla="*/ 3465997 w 4044707"/>
                <a:gd name="connsiteY12644" fmla="*/ 49401 h 2907193"/>
                <a:gd name="connsiteX12645" fmla="*/ 3478945 w 4044707"/>
                <a:gd name="connsiteY12645" fmla="*/ 42987 h 2907193"/>
                <a:gd name="connsiteX12646" fmla="*/ 3480669 w 4044707"/>
                <a:gd name="connsiteY12646" fmla="*/ 43623 h 2907193"/>
                <a:gd name="connsiteX12647" fmla="*/ 3482575 w 4044707"/>
                <a:gd name="connsiteY12647" fmla="*/ 45286 h 2907193"/>
                <a:gd name="connsiteX12648" fmla="*/ 3489654 w 4044707"/>
                <a:gd name="connsiteY12648" fmla="*/ 46617 h 2907193"/>
                <a:gd name="connsiteX12649" fmla="*/ 3487385 w 4044707"/>
                <a:gd name="connsiteY12649" fmla="*/ 50580 h 2907193"/>
                <a:gd name="connsiteX12650" fmla="*/ 3475103 w 4044707"/>
                <a:gd name="connsiteY12650" fmla="*/ 56328 h 2907193"/>
                <a:gd name="connsiteX12651" fmla="*/ 3479187 w 4044707"/>
                <a:gd name="connsiteY12651" fmla="*/ 59263 h 2907193"/>
                <a:gd name="connsiteX12652" fmla="*/ 3482757 w 4044707"/>
                <a:gd name="connsiteY12652" fmla="*/ 63104 h 2907193"/>
                <a:gd name="connsiteX12653" fmla="*/ 3485419 w 4044707"/>
                <a:gd name="connsiteY12653" fmla="*/ 68459 h 2907193"/>
                <a:gd name="connsiteX12654" fmla="*/ 3486931 w 4044707"/>
                <a:gd name="connsiteY12654" fmla="*/ 70849 h 2907193"/>
                <a:gd name="connsiteX12655" fmla="*/ 3488928 w 4044707"/>
                <a:gd name="connsiteY12655" fmla="*/ 71968 h 2907193"/>
                <a:gd name="connsiteX12656" fmla="*/ 3493647 w 4044707"/>
                <a:gd name="connsiteY12656" fmla="*/ 70788 h 2907193"/>
                <a:gd name="connsiteX12657" fmla="*/ 3500484 w 4044707"/>
                <a:gd name="connsiteY12657" fmla="*/ 67007 h 2907193"/>
                <a:gd name="connsiteX12658" fmla="*/ 3509045 w 4044707"/>
                <a:gd name="connsiteY12658" fmla="*/ 67914 h 2907193"/>
                <a:gd name="connsiteX12659" fmla="*/ 3509045 w 4044707"/>
                <a:gd name="connsiteY12659" fmla="*/ 65797 h 2907193"/>
                <a:gd name="connsiteX12660" fmla="*/ 3508138 w 4044707"/>
                <a:gd name="connsiteY12660" fmla="*/ 65646 h 2907193"/>
                <a:gd name="connsiteX12661" fmla="*/ 3505536 w 4044707"/>
                <a:gd name="connsiteY12661" fmla="*/ 64042 h 2907193"/>
                <a:gd name="connsiteX12662" fmla="*/ 3506807 w 4044707"/>
                <a:gd name="connsiteY12662" fmla="*/ 58476 h 2907193"/>
                <a:gd name="connsiteX12663" fmla="*/ 3508985 w 4044707"/>
                <a:gd name="connsiteY12663" fmla="*/ 58174 h 2907193"/>
                <a:gd name="connsiteX12664" fmla="*/ 3513795 w 4044707"/>
                <a:gd name="connsiteY12664" fmla="*/ 62136 h 2907193"/>
                <a:gd name="connsiteX12665" fmla="*/ 3523838 w 4044707"/>
                <a:gd name="connsiteY12665" fmla="*/ 62499 h 2907193"/>
                <a:gd name="connsiteX12666" fmla="*/ 3526198 w 4044707"/>
                <a:gd name="connsiteY12666" fmla="*/ 61259 h 2907193"/>
                <a:gd name="connsiteX12667" fmla="*/ 3528678 w 4044707"/>
                <a:gd name="connsiteY12667" fmla="*/ 58658 h 2907193"/>
                <a:gd name="connsiteX12668" fmla="*/ 3530735 w 4044707"/>
                <a:gd name="connsiteY12668" fmla="*/ 57871 h 2907193"/>
                <a:gd name="connsiteX12669" fmla="*/ 3541203 w 4044707"/>
                <a:gd name="connsiteY12669" fmla="*/ 58597 h 2907193"/>
                <a:gd name="connsiteX12670" fmla="*/ 3542745 w 4044707"/>
                <a:gd name="connsiteY12670" fmla="*/ 57296 h 2907193"/>
                <a:gd name="connsiteX12671" fmla="*/ 3544530 w 4044707"/>
                <a:gd name="connsiteY12671" fmla="*/ 53908 h 2907193"/>
                <a:gd name="connsiteX12672" fmla="*/ 3545317 w 4044707"/>
                <a:gd name="connsiteY12672" fmla="*/ 52849 h 2907193"/>
                <a:gd name="connsiteX12673" fmla="*/ 3552002 w 4044707"/>
                <a:gd name="connsiteY12673" fmla="*/ 50762 h 2907193"/>
                <a:gd name="connsiteX12674" fmla="*/ 3554664 w 4044707"/>
                <a:gd name="connsiteY12674" fmla="*/ 47767 h 2907193"/>
                <a:gd name="connsiteX12675" fmla="*/ 3555814 w 4044707"/>
                <a:gd name="connsiteY12675" fmla="*/ 42564 h 2907193"/>
                <a:gd name="connsiteX12676" fmla="*/ 3554846 w 4044707"/>
                <a:gd name="connsiteY12676" fmla="*/ 37421 h 2907193"/>
                <a:gd name="connsiteX12677" fmla="*/ 3552517 w 4044707"/>
                <a:gd name="connsiteY12677" fmla="*/ 37361 h 2907193"/>
                <a:gd name="connsiteX12678" fmla="*/ 3547555 w 4044707"/>
                <a:gd name="connsiteY12678" fmla="*/ 40809 h 2907193"/>
                <a:gd name="connsiteX12679" fmla="*/ 3545528 w 4044707"/>
                <a:gd name="connsiteY12679" fmla="*/ 42049 h 2907193"/>
                <a:gd name="connsiteX12680" fmla="*/ 3541384 w 4044707"/>
                <a:gd name="connsiteY12680" fmla="*/ 48070 h 2907193"/>
                <a:gd name="connsiteX12681" fmla="*/ 3539297 w 4044707"/>
                <a:gd name="connsiteY12681" fmla="*/ 50369 h 2907193"/>
                <a:gd name="connsiteX12682" fmla="*/ 3536513 w 4044707"/>
                <a:gd name="connsiteY12682" fmla="*/ 51518 h 2907193"/>
                <a:gd name="connsiteX12683" fmla="*/ 3532974 w 4044707"/>
                <a:gd name="connsiteY12683" fmla="*/ 51881 h 2907193"/>
                <a:gd name="connsiteX12684" fmla="*/ 3529465 w 4044707"/>
                <a:gd name="connsiteY12684" fmla="*/ 51004 h 2907193"/>
                <a:gd name="connsiteX12685" fmla="*/ 3526833 w 4044707"/>
                <a:gd name="connsiteY12685" fmla="*/ 48433 h 2907193"/>
                <a:gd name="connsiteX12686" fmla="*/ 3527771 w 4044707"/>
                <a:gd name="connsiteY12686" fmla="*/ 48493 h 2907193"/>
                <a:gd name="connsiteX12687" fmla="*/ 3530252 w 4044707"/>
                <a:gd name="connsiteY12687" fmla="*/ 46648 h 2907193"/>
                <a:gd name="connsiteX12688" fmla="*/ 3530252 w 4044707"/>
                <a:gd name="connsiteY12688" fmla="*/ 40809 h 2907193"/>
                <a:gd name="connsiteX12689" fmla="*/ 3528285 w 4044707"/>
                <a:gd name="connsiteY12689" fmla="*/ 40870 h 2907193"/>
                <a:gd name="connsiteX12690" fmla="*/ 3526319 w 4044707"/>
                <a:gd name="connsiteY12690" fmla="*/ 40265 h 2907193"/>
                <a:gd name="connsiteX12691" fmla="*/ 3524443 w 4044707"/>
                <a:gd name="connsiteY12691" fmla="*/ 38903 h 2907193"/>
                <a:gd name="connsiteX12692" fmla="*/ 3522779 w 4044707"/>
                <a:gd name="connsiteY12692" fmla="*/ 36786 h 2907193"/>
                <a:gd name="connsiteX12693" fmla="*/ 3527105 w 4044707"/>
                <a:gd name="connsiteY12693" fmla="*/ 35818 h 2907193"/>
                <a:gd name="connsiteX12694" fmla="*/ 3532944 w 4044707"/>
                <a:gd name="connsiteY12694" fmla="*/ 32490 h 2907193"/>
                <a:gd name="connsiteX12695" fmla="*/ 3537239 w 4044707"/>
                <a:gd name="connsiteY12695" fmla="*/ 26742 h 2907193"/>
                <a:gd name="connsiteX12696" fmla="*/ 3536846 w 4044707"/>
                <a:gd name="connsiteY12696" fmla="*/ 18363 h 2907193"/>
                <a:gd name="connsiteX12697" fmla="*/ 3534487 w 4044707"/>
                <a:gd name="connsiteY12697" fmla="*/ 15882 h 2907193"/>
                <a:gd name="connsiteX12698" fmla="*/ 3529858 w 4044707"/>
                <a:gd name="connsiteY12698" fmla="*/ 20934 h 2907193"/>
                <a:gd name="connsiteX12699" fmla="*/ 3527499 w 4044707"/>
                <a:gd name="connsiteY12699" fmla="*/ 20299 h 2907193"/>
                <a:gd name="connsiteX12700" fmla="*/ 3525925 w 4044707"/>
                <a:gd name="connsiteY12700" fmla="*/ 21146 h 2907193"/>
                <a:gd name="connsiteX12701" fmla="*/ 3523505 w 4044707"/>
                <a:gd name="connsiteY12701" fmla="*/ 23475 h 2907193"/>
                <a:gd name="connsiteX12702" fmla="*/ 3521720 w 4044707"/>
                <a:gd name="connsiteY12702" fmla="*/ 23959 h 2907193"/>
                <a:gd name="connsiteX12703" fmla="*/ 3522083 w 4044707"/>
                <a:gd name="connsiteY12703" fmla="*/ 19210 h 2907193"/>
                <a:gd name="connsiteX12704" fmla="*/ 3519664 w 4044707"/>
                <a:gd name="connsiteY12704" fmla="*/ 19210 h 2907193"/>
                <a:gd name="connsiteX12705" fmla="*/ 3514279 w 4044707"/>
                <a:gd name="connsiteY12705" fmla="*/ 24231 h 2907193"/>
                <a:gd name="connsiteX12706" fmla="*/ 3512070 w 4044707"/>
                <a:gd name="connsiteY12706" fmla="*/ 22205 h 2907193"/>
                <a:gd name="connsiteX12707" fmla="*/ 3512070 w 4044707"/>
                <a:gd name="connsiteY12707" fmla="*/ 19542 h 2907193"/>
                <a:gd name="connsiteX12708" fmla="*/ 3513885 w 4044707"/>
                <a:gd name="connsiteY12708" fmla="*/ 11133 h 2907193"/>
                <a:gd name="connsiteX12709" fmla="*/ 3514460 w 4044707"/>
                <a:gd name="connsiteY12709" fmla="*/ 7442 h 2907193"/>
                <a:gd name="connsiteX12710" fmla="*/ 3502057 w 4044707"/>
                <a:gd name="connsiteY12710" fmla="*/ 10225 h 2907193"/>
                <a:gd name="connsiteX12711" fmla="*/ 3501331 w 4044707"/>
                <a:gd name="connsiteY12711" fmla="*/ 5687 h 2907193"/>
                <a:gd name="connsiteX12712" fmla="*/ 3500333 w 4044707"/>
                <a:gd name="connsiteY12712" fmla="*/ 4356 h 2907193"/>
                <a:gd name="connsiteX12713" fmla="*/ 3498941 w 4044707"/>
                <a:gd name="connsiteY12713" fmla="*/ 4507 h 2907193"/>
                <a:gd name="connsiteX12714" fmla="*/ 3497429 w 4044707"/>
                <a:gd name="connsiteY12714" fmla="*/ 5929 h 2907193"/>
                <a:gd name="connsiteX12715" fmla="*/ 3496158 w 4044707"/>
                <a:gd name="connsiteY12715" fmla="*/ 8410 h 2907193"/>
                <a:gd name="connsiteX12716" fmla="*/ 3494283 w 4044707"/>
                <a:gd name="connsiteY12716" fmla="*/ 10134 h 2907193"/>
                <a:gd name="connsiteX12717" fmla="*/ 3490078 w 4044707"/>
                <a:gd name="connsiteY12717" fmla="*/ 8077 h 2907193"/>
                <a:gd name="connsiteX12718" fmla="*/ 3488867 w 4044707"/>
                <a:gd name="connsiteY12718" fmla="*/ 11344 h 2907193"/>
                <a:gd name="connsiteX12719" fmla="*/ 3501966 w 4044707"/>
                <a:gd name="connsiteY12719" fmla="*/ 24957 h 2907193"/>
                <a:gd name="connsiteX12720" fmla="*/ 3503721 w 4044707"/>
                <a:gd name="connsiteY12720" fmla="*/ 27620 h 2907193"/>
                <a:gd name="connsiteX12721" fmla="*/ 3504961 w 4044707"/>
                <a:gd name="connsiteY12721" fmla="*/ 31401 h 2907193"/>
                <a:gd name="connsiteX12722" fmla="*/ 3505475 w 4044707"/>
                <a:gd name="connsiteY12722" fmla="*/ 36755 h 2907193"/>
                <a:gd name="connsiteX12723" fmla="*/ 3504477 w 4044707"/>
                <a:gd name="connsiteY12723" fmla="*/ 33882 h 2907193"/>
                <a:gd name="connsiteX12724" fmla="*/ 3497035 w 4044707"/>
                <a:gd name="connsiteY12724" fmla="*/ 28648 h 2907193"/>
                <a:gd name="connsiteX12725" fmla="*/ 3492740 w 4044707"/>
                <a:gd name="connsiteY12725" fmla="*/ 29283 h 2907193"/>
                <a:gd name="connsiteX12726" fmla="*/ 3490925 w 4044707"/>
                <a:gd name="connsiteY12726" fmla="*/ 28043 h 2907193"/>
                <a:gd name="connsiteX12727" fmla="*/ 3489533 w 4044707"/>
                <a:gd name="connsiteY12727" fmla="*/ 25895 h 2907193"/>
                <a:gd name="connsiteX12728" fmla="*/ 3488898 w 4044707"/>
                <a:gd name="connsiteY12728" fmla="*/ 25169 h 2907193"/>
                <a:gd name="connsiteX12729" fmla="*/ 3486114 w 4044707"/>
                <a:gd name="connsiteY12729" fmla="*/ 25048 h 2907193"/>
                <a:gd name="connsiteX12730" fmla="*/ 3482394 w 4044707"/>
                <a:gd name="connsiteY12730" fmla="*/ 22537 h 2907193"/>
                <a:gd name="connsiteX12731" fmla="*/ 3480639 w 4044707"/>
                <a:gd name="connsiteY12731" fmla="*/ 22295 h 2907193"/>
                <a:gd name="connsiteX12732" fmla="*/ 3479157 w 4044707"/>
                <a:gd name="connsiteY12732" fmla="*/ 25048 h 2907193"/>
                <a:gd name="connsiteX12733" fmla="*/ 3479853 w 4044707"/>
                <a:gd name="connsiteY12733" fmla="*/ 26016 h 2907193"/>
                <a:gd name="connsiteX12734" fmla="*/ 3480730 w 4044707"/>
                <a:gd name="connsiteY12734" fmla="*/ 28134 h 2907193"/>
                <a:gd name="connsiteX12735" fmla="*/ 3481274 w 4044707"/>
                <a:gd name="connsiteY12735" fmla="*/ 29102 h 2907193"/>
                <a:gd name="connsiteX12736" fmla="*/ 3479308 w 4044707"/>
                <a:gd name="connsiteY12736" fmla="*/ 31008 h 2907193"/>
                <a:gd name="connsiteX12737" fmla="*/ 3477342 w 4044707"/>
                <a:gd name="connsiteY12737" fmla="*/ 30009 h 2907193"/>
                <a:gd name="connsiteX12738" fmla="*/ 3475345 w 4044707"/>
                <a:gd name="connsiteY12738" fmla="*/ 28073 h 2907193"/>
                <a:gd name="connsiteX12739" fmla="*/ 3473318 w 4044707"/>
                <a:gd name="connsiteY12739" fmla="*/ 26984 h 2907193"/>
                <a:gd name="connsiteX12740" fmla="*/ 3468902 w 4044707"/>
                <a:gd name="connsiteY12740" fmla="*/ 27741 h 2907193"/>
                <a:gd name="connsiteX12741" fmla="*/ 3466572 w 4044707"/>
                <a:gd name="connsiteY12741" fmla="*/ 28920 h 2907193"/>
                <a:gd name="connsiteX12742" fmla="*/ 3464727 w 4044707"/>
                <a:gd name="connsiteY12742" fmla="*/ 30887 h 2907193"/>
                <a:gd name="connsiteX12743" fmla="*/ 3468176 w 4044707"/>
                <a:gd name="connsiteY12743" fmla="*/ 32823 h 2907193"/>
                <a:gd name="connsiteX12744" fmla="*/ 3462670 w 4044707"/>
                <a:gd name="connsiteY12744" fmla="*/ 38661 h 2907193"/>
                <a:gd name="connsiteX12745" fmla="*/ 3462791 w 4044707"/>
                <a:gd name="connsiteY12745" fmla="*/ 41263 h 2907193"/>
                <a:gd name="connsiteX12746" fmla="*/ 3462579 w 4044707"/>
                <a:gd name="connsiteY12746" fmla="*/ 43502 h 2907193"/>
                <a:gd name="connsiteX12747" fmla="*/ 3462760 w 4044707"/>
                <a:gd name="connsiteY12747" fmla="*/ 45740 h 2907193"/>
                <a:gd name="connsiteX12748" fmla="*/ 114108 w 4044707"/>
                <a:gd name="connsiteY12748" fmla="*/ 61 h 2907193"/>
                <a:gd name="connsiteX12749" fmla="*/ 112082 w 4044707"/>
                <a:gd name="connsiteY12749" fmla="*/ 0 h 2907193"/>
                <a:gd name="connsiteX12750" fmla="*/ 107846 w 4044707"/>
                <a:gd name="connsiteY12750" fmla="*/ 1573 h 2907193"/>
                <a:gd name="connsiteX12751" fmla="*/ 100042 w 4044707"/>
                <a:gd name="connsiteY12751" fmla="*/ 696 h 2907193"/>
                <a:gd name="connsiteX12752" fmla="*/ 97591 w 4044707"/>
                <a:gd name="connsiteY12752" fmla="*/ 1573 h 2907193"/>
                <a:gd name="connsiteX12753" fmla="*/ 96926 w 4044707"/>
                <a:gd name="connsiteY12753" fmla="*/ 2420 h 2907193"/>
                <a:gd name="connsiteX12754" fmla="*/ 94778 w 4044707"/>
                <a:gd name="connsiteY12754" fmla="*/ 6534 h 2907193"/>
                <a:gd name="connsiteX12755" fmla="*/ 93568 w 4044707"/>
                <a:gd name="connsiteY12755" fmla="*/ 7472 h 2907193"/>
                <a:gd name="connsiteX12756" fmla="*/ 79652 w 4044707"/>
                <a:gd name="connsiteY12756" fmla="*/ 9378 h 2907193"/>
                <a:gd name="connsiteX12757" fmla="*/ 74691 w 4044707"/>
                <a:gd name="connsiteY12757" fmla="*/ 15186 h 2907193"/>
                <a:gd name="connsiteX12758" fmla="*/ 72422 w 4044707"/>
                <a:gd name="connsiteY12758" fmla="*/ 19058 h 2907193"/>
                <a:gd name="connsiteX12759" fmla="*/ 67884 w 4044707"/>
                <a:gd name="connsiteY12759" fmla="*/ 30856 h 2907193"/>
                <a:gd name="connsiteX12760" fmla="*/ 67037 w 4044707"/>
                <a:gd name="connsiteY12760" fmla="*/ 32551 h 2907193"/>
                <a:gd name="connsiteX12761" fmla="*/ 65373 w 4044707"/>
                <a:gd name="connsiteY12761" fmla="*/ 35031 h 2907193"/>
                <a:gd name="connsiteX12762" fmla="*/ 64526 w 4044707"/>
                <a:gd name="connsiteY12762" fmla="*/ 36695 h 2907193"/>
                <a:gd name="connsiteX12763" fmla="*/ 61410 w 4044707"/>
                <a:gd name="connsiteY12763" fmla="*/ 45619 h 2907193"/>
                <a:gd name="connsiteX12764" fmla="*/ 60473 w 4044707"/>
                <a:gd name="connsiteY12764" fmla="*/ 47404 h 2907193"/>
                <a:gd name="connsiteX12765" fmla="*/ 59444 w 4044707"/>
                <a:gd name="connsiteY12765" fmla="*/ 48191 h 2907193"/>
                <a:gd name="connsiteX12766" fmla="*/ 57236 w 4044707"/>
                <a:gd name="connsiteY12766" fmla="*/ 48372 h 2907193"/>
                <a:gd name="connsiteX12767" fmla="*/ 56358 w 4044707"/>
                <a:gd name="connsiteY12767" fmla="*/ 48886 h 2907193"/>
                <a:gd name="connsiteX12768" fmla="*/ 55905 w 4044707"/>
                <a:gd name="connsiteY12768" fmla="*/ 50066 h 2907193"/>
                <a:gd name="connsiteX12769" fmla="*/ 55511 w 4044707"/>
                <a:gd name="connsiteY12769" fmla="*/ 51427 h 2907193"/>
                <a:gd name="connsiteX12770" fmla="*/ 54846 w 4044707"/>
                <a:gd name="connsiteY12770" fmla="*/ 52456 h 2907193"/>
                <a:gd name="connsiteX12771" fmla="*/ 42775 w 4044707"/>
                <a:gd name="connsiteY12771" fmla="*/ 55511 h 2907193"/>
                <a:gd name="connsiteX12772" fmla="*/ 38934 w 4044707"/>
                <a:gd name="connsiteY12772" fmla="*/ 58264 h 2907193"/>
                <a:gd name="connsiteX12773" fmla="*/ 38752 w 4044707"/>
                <a:gd name="connsiteY12773" fmla="*/ 58809 h 2907193"/>
                <a:gd name="connsiteX12774" fmla="*/ 38540 w 4044707"/>
                <a:gd name="connsiteY12774" fmla="*/ 59898 h 2907193"/>
                <a:gd name="connsiteX12775" fmla="*/ 38147 w 4044707"/>
                <a:gd name="connsiteY12775" fmla="*/ 61078 h 2907193"/>
                <a:gd name="connsiteX12776" fmla="*/ 37542 w 4044707"/>
                <a:gd name="connsiteY12776" fmla="*/ 62136 h 2907193"/>
                <a:gd name="connsiteX12777" fmla="*/ 32944 w 4044707"/>
                <a:gd name="connsiteY12777" fmla="*/ 66946 h 2907193"/>
                <a:gd name="connsiteX12778" fmla="*/ 28648 w 4044707"/>
                <a:gd name="connsiteY12778" fmla="*/ 69306 h 2907193"/>
                <a:gd name="connsiteX12779" fmla="*/ 20268 w 4044707"/>
                <a:gd name="connsiteY12779" fmla="*/ 70577 h 2907193"/>
                <a:gd name="connsiteX12780" fmla="*/ 18242 w 4044707"/>
                <a:gd name="connsiteY12780" fmla="*/ 71968 h 2907193"/>
                <a:gd name="connsiteX12781" fmla="*/ 17395 w 4044707"/>
                <a:gd name="connsiteY12781" fmla="*/ 73390 h 2907193"/>
                <a:gd name="connsiteX12782" fmla="*/ 16517 w 4044707"/>
                <a:gd name="connsiteY12782" fmla="*/ 75266 h 2907193"/>
                <a:gd name="connsiteX12783" fmla="*/ 15398 w 4044707"/>
                <a:gd name="connsiteY12783" fmla="*/ 76899 h 2907193"/>
                <a:gd name="connsiteX12784" fmla="*/ 12282 w 4044707"/>
                <a:gd name="connsiteY12784" fmla="*/ 78381 h 2907193"/>
                <a:gd name="connsiteX12785" fmla="*/ 8622 w 4044707"/>
                <a:gd name="connsiteY12785" fmla="*/ 83554 h 2907193"/>
                <a:gd name="connsiteX12786" fmla="*/ 7139 w 4044707"/>
                <a:gd name="connsiteY12786" fmla="*/ 84795 h 2907193"/>
                <a:gd name="connsiteX12787" fmla="*/ 5959 w 4044707"/>
                <a:gd name="connsiteY12787" fmla="*/ 85279 h 2907193"/>
                <a:gd name="connsiteX12788" fmla="*/ 3116 w 4044707"/>
                <a:gd name="connsiteY12788" fmla="*/ 85279 h 2907193"/>
                <a:gd name="connsiteX12789" fmla="*/ 0 w 4044707"/>
                <a:gd name="connsiteY12789" fmla="*/ 86943 h 2907193"/>
                <a:gd name="connsiteX12790" fmla="*/ 756 w 4044707"/>
                <a:gd name="connsiteY12790" fmla="*/ 90845 h 2907193"/>
                <a:gd name="connsiteX12791" fmla="*/ 5143 w 4044707"/>
                <a:gd name="connsiteY12791" fmla="*/ 98983 h 2907193"/>
                <a:gd name="connsiteX12792" fmla="*/ 4719 w 4044707"/>
                <a:gd name="connsiteY12792" fmla="*/ 100102 h 2907193"/>
                <a:gd name="connsiteX12793" fmla="*/ 4205 w 4044707"/>
                <a:gd name="connsiteY12793" fmla="*/ 102764 h 2907193"/>
                <a:gd name="connsiteX12794" fmla="*/ 3751 w 4044707"/>
                <a:gd name="connsiteY12794" fmla="*/ 104549 h 2907193"/>
                <a:gd name="connsiteX12795" fmla="*/ 6292 w 4044707"/>
                <a:gd name="connsiteY12795" fmla="*/ 106062 h 2907193"/>
                <a:gd name="connsiteX12796" fmla="*/ 9741 w 4044707"/>
                <a:gd name="connsiteY12796" fmla="*/ 106152 h 2907193"/>
                <a:gd name="connsiteX12797" fmla="*/ 13129 w 4044707"/>
                <a:gd name="connsiteY12797" fmla="*/ 105003 h 2907193"/>
                <a:gd name="connsiteX12798" fmla="*/ 15489 w 4044707"/>
                <a:gd name="connsiteY12798" fmla="*/ 102976 h 2907193"/>
                <a:gd name="connsiteX12799" fmla="*/ 16366 w 4044707"/>
                <a:gd name="connsiteY12799" fmla="*/ 101191 h 2907193"/>
                <a:gd name="connsiteX12800" fmla="*/ 18060 w 4044707"/>
                <a:gd name="connsiteY12800" fmla="*/ 96835 h 2907193"/>
                <a:gd name="connsiteX12801" fmla="*/ 18937 w 4044707"/>
                <a:gd name="connsiteY12801" fmla="*/ 95111 h 2907193"/>
                <a:gd name="connsiteX12802" fmla="*/ 20631 w 4044707"/>
                <a:gd name="connsiteY12802" fmla="*/ 93356 h 2907193"/>
                <a:gd name="connsiteX12803" fmla="*/ 24171 w 4044707"/>
                <a:gd name="connsiteY12803" fmla="*/ 91783 h 2907193"/>
                <a:gd name="connsiteX12804" fmla="*/ 25835 w 4044707"/>
                <a:gd name="connsiteY12804" fmla="*/ 90301 h 2907193"/>
                <a:gd name="connsiteX12805" fmla="*/ 42231 w 4044707"/>
                <a:gd name="connsiteY12805" fmla="*/ 69034 h 2907193"/>
                <a:gd name="connsiteX12806" fmla="*/ 46194 w 4044707"/>
                <a:gd name="connsiteY12806" fmla="*/ 67128 h 2907193"/>
                <a:gd name="connsiteX12807" fmla="*/ 50066 w 4044707"/>
                <a:gd name="connsiteY12807" fmla="*/ 63377 h 2907193"/>
                <a:gd name="connsiteX12808" fmla="*/ 62348 w 4044707"/>
                <a:gd name="connsiteY12808" fmla="*/ 58204 h 2907193"/>
                <a:gd name="connsiteX12809" fmla="*/ 64919 w 4044707"/>
                <a:gd name="connsiteY12809" fmla="*/ 58416 h 2907193"/>
                <a:gd name="connsiteX12810" fmla="*/ 69669 w 4044707"/>
                <a:gd name="connsiteY12810" fmla="*/ 61350 h 2907193"/>
                <a:gd name="connsiteX12811" fmla="*/ 72029 w 4044707"/>
                <a:gd name="connsiteY12811" fmla="*/ 62076 h 2907193"/>
                <a:gd name="connsiteX12812" fmla="*/ 111809 w 4044707"/>
                <a:gd name="connsiteY12812" fmla="*/ 42201 h 2907193"/>
                <a:gd name="connsiteX12813" fmla="*/ 114108 w 4044707"/>
                <a:gd name="connsiteY12813" fmla="*/ 38601 h 2907193"/>
                <a:gd name="connsiteX12814" fmla="*/ 113594 w 4044707"/>
                <a:gd name="connsiteY12814" fmla="*/ 33488 h 2907193"/>
                <a:gd name="connsiteX12815" fmla="*/ 112112 w 4044707"/>
                <a:gd name="connsiteY12815" fmla="*/ 27045 h 2907193"/>
                <a:gd name="connsiteX12816" fmla="*/ 111507 w 4044707"/>
                <a:gd name="connsiteY12816" fmla="*/ 21479 h 2907193"/>
                <a:gd name="connsiteX12817" fmla="*/ 113745 w 4044707"/>
                <a:gd name="connsiteY12817" fmla="*/ 19119 h 2907193"/>
                <a:gd name="connsiteX12818" fmla="*/ 116650 w 4044707"/>
                <a:gd name="connsiteY12818" fmla="*/ 17213 h 2907193"/>
                <a:gd name="connsiteX12819" fmla="*/ 118525 w 4044707"/>
                <a:gd name="connsiteY12819" fmla="*/ 12554 h 2907193"/>
                <a:gd name="connsiteX12820" fmla="*/ 118616 w 4044707"/>
                <a:gd name="connsiteY12820" fmla="*/ 6776 h 2907193"/>
                <a:gd name="connsiteX12821" fmla="*/ 116196 w 4044707"/>
                <a:gd name="connsiteY12821" fmla="*/ 1513 h 2907193"/>
                <a:gd name="connsiteX12822" fmla="*/ 114078 w 4044707"/>
                <a:gd name="connsiteY12822" fmla="*/ 0 h 290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Lst>
              <a:rect l="l" t="t" r="r" b="b"/>
              <a:pathLst>
                <a:path w="4044707" h="2907193">
                  <a:moveTo>
                    <a:pt x="2031474" y="2714552"/>
                  </a:moveTo>
                  <a:lnTo>
                    <a:pt x="2031414" y="2714855"/>
                  </a:lnTo>
                  <a:lnTo>
                    <a:pt x="2031505" y="2715338"/>
                  </a:lnTo>
                  <a:lnTo>
                    <a:pt x="2029206" y="2715641"/>
                  </a:lnTo>
                  <a:lnTo>
                    <a:pt x="2028419" y="2715429"/>
                  </a:lnTo>
                  <a:lnTo>
                    <a:pt x="2028419" y="2714249"/>
                  </a:lnTo>
                  <a:lnTo>
                    <a:pt x="2027875" y="2712828"/>
                  </a:lnTo>
                  <a:lnTo>
                    <a:pt x="2026483" y="2712404"/>
                  </a:lnTo>
                  <a:lnTo>
                    <a:pt x="2024728" y="2713281"/>
                  </a:lnTo>
                  <a:lnTo>
                    <a:pt x="2023700" y="2715066"/>
                  </a:lnTo>
                  <a:lnTo>
                    <a:pt x="2023700" y="2717638"/>
                  </a:lnTo>
                  <a:lnTo>
                    <a:pt x="2023549" y="2720421"/>
                  </a:lnTo>
                  <a:lnTo>
                    <a:pt x="2023549" y="2722811"/>
                  </a:lnTo>
                  <a:lnTo>
                    <a:pt x="2024487" y="2723537"/>
                  </a:lnTo>
                  <a:lnTo>
                    <a:pt x="2025303" y="2723597"/>
                  </a:lnTo>
                  <a:lnTo>
                    <a:pt x="2025545" y="2724293"/>
                  </a:lnTo>
                  <a:lnTo>
                    <a:pt x="2025757" y="2724959"/>
                  </a:lnTo>
                  <a:lnTo>
                    <a:pt x="2026211" y="2725352"/>
                  </a:lnTo>
                  <a:lnTo>
                    <a:pt x="2027451" y="2725080"/>
                  </a:lnTo>
                  <a:lnTo>
                    <a:pt x="2029054" y="2723991"/>
                  </a:lnTo>
                  <a:lnTo>
                    <a:pt x="2029901" y="2722357"/>
                  </a:lnTo>
                  <a:lnTo>
                    <a:pt x="2029447" y="2721207"/>
                  </a:lnTo>
                  <a:lnTo>
                    <a:pt x="2029569" y="2720512"/>
                  </a:lnTo>
                  <a:lnTo>
                    <a:pt x="2030900" y="2719543"/>
                  </a:lnTo>
                  <a:lnTo>
                    <a:pt x="2031989" y="2718273"/>
                  </a:lnTo>
                  <a:lnTo>
                    <a:pt x="2032654" y="2716609"/>
                  </a:lnTo>
                  <a:lnTo>
                    <a:pt x="2032745" y="2714915"/>
                  </a:lnTo>
                  <a:lnTo>
                    <a:pt x="2031989" y="2714340"/>
                  </a:lnTo>
                  <a:lnTo>
                    <a:pt x="2031444" y="2714552"/>
                  </a:lnTo>
                  <a:close/>
                  <a:moveTo>
                    <a:pt x="2015411" y="2707866"/>
                  </a:moveTo>
                  <a:lnTo>
                    <a:pt x="2014110" y="2708018"/>
                  </a:lnTo>
                  <a:lnTo>
                    <a:pt x="2011509" y="2709651"/>
                  </a:lnTo>
                  <a:lnTo>
                    <a:pt x="2010026" y="2710982"/>
                  </a:lnTo>
                  <a:lnTo>
                    <a:pt x="2009875" y="2710377"/>
                  </a:lnTo>
                  <a:lnTo>
                    <a:pt x="2010208" y="2709712"/>
                  </a:lnTo>
                  <a:lnTo>
                    <a:pt x="2010813" y="2709198"/>
                  </a:lnTo>
                  <a:lnTo>
                    <a:pt x="2011115" y="2708411"/>
                  </a:lnTo>
                  <a:lnTo>
                    <a:pt x="2010843" y="2707806"/>
                  </a:lnTo>
                  <a:lnTo>
                    <a:pt x="2009845" y="2708018"/>
                  </a:lnTo>
                  <a:lnTo>
                    <a:pt x="2008544" y="2708986"/>
                  </a:lnTo>
                  <a:lnTo>
                    <a:pt x="2007545" y="2709984"/>
                  </a:lnTo>
                  <a:lnTo>
                    <a:pt x="2007182" y="2710892"/>
                  </a:lnTo>
                  <a:lnTo>
                    <a:pt x="2008120" y="2713221"/>
                  </a:lnTo>
                  <a:lnTo>
                    <a:pt x="2008453" y="2714340"/>
                  </a:lnTo>
                  <a:lnTo>
                    <a:pt x="2008846" y="2715157"/>
                  </a:lnTo>
                  <a:lnTo>
                    <a:pt x="2009845" y="2715429"/>
                  </a:lnTo>
                  <a:lnTo>
                    <a:pt x="2011267" y="2714915"/>
                  </a:lnTo>
                  <a:lnTo>
                    <a:pt x="2011750" y="2715157"/>
                  </a:lnTo>
                  <a:lnTo>
                    <a:pt x="2012023" y="2715944"/>
                  </a:lnTo>
                  <a:lnTo>
                    <a:pt x="2012658" y="2715762"/>
                  </a:lnTo>
                  <a:lnTo>
                    <a:pt x="2015018" y="2712465"/>
                  </a:lnTo>
                  <a:lnTo>
                    <a:pt x="2015744" y="2710650"/>
                  </a:lnTo>
                  <a:lnTo>
                    <a:pt x="2015683" y="2708683"/>
                  </a:lnTo>
                  <a:lnTo>
                    <a:pt x="2015351" y="2707806"/>
                  </a:lnTo>
                  <a:close/>
                  <a:moveTo>
                    <a:pt x="1496175" y="2715792"/>
                  </a:moveTo>
                  <a:lnTo>
                    <a:pt x="1498595" y="2714310"/>
                  </a:lnTo>
                  <a:lnTo>
                    <a:pt x="1498958" y="2710559"/>
                  </a:lnTo>
                  <a:lnTo>
                    <a:pt x="1498686" y="2708502"/>
                  </a:lnTo>
                  <a:lnTo>
                    <a:pt x="1497506" y="2707564"/>
                  </a:lnTo>
                  <a:lnTo>
                    <a:pt x="1494996" y="2706384"/>
                  </a:lnTo>
                  <a:lnTo>
                    <a:pt x="1493181" y="2706142"/>
                  </a:lnTo>
                  <a:lnTo>
                    <a:pt x="1490851" y="2707140"/>
                  </a:lnTo>
                  <a:lnTo>
                    <a:pt x="1488794" y="2706717"/>
                  </a:lnTo>
                  <a:lnTo>
                    <a:pt x="1485708" y="2705235"/>
                  </a:lnTo>
                  <a:lnTo>
                    <a:pt x="1484498" y="2705083"/>
                  </a:lnTo>
                  <a:lnTo>
                    <a:pt x="1483439" y="2705174"/>
                  </a:lnTo>
                  <a:lnTo>
                    <a:pt x="1481806" y="2704569"/>
                  </a:lnTo>
                  <a:lnTo>
                    <a:pt x="1480354" y="2704902"/>
                  </a:lnTo>
                  <a:lnTo>
                    <a:pt x="1479507" y="2705870"/>
                  </a:lnTo>
                  <a:lnTo>
                    <a:pt x="1478508" y="2706445"/>
                  </a:lnTo>
                  <a:lnTo>
                    <a:pt x="1481170" y="2708018"/>
                  </a:lnTo>
                  <a:lnTo>
                    <a:pt x="1487765" y="2710680"/>
                  </a:lnTo>
                  <a:lnTo>
                    <a:pt x="1496175" y="2715732"/>
                  </a:lnTo>
                  <a:close/>
                  <a:moveTo>
                    <a:pt x="1467134" y="2690835"/>
                  </a:moveTo>
                  <a:lnTo>
                    <a:pt x="1466136" y="2688808"/>
                  </a:lnTo>
                  <a:lnTo>
                    <a:pt x="1464835" y="2687386"/>
                  </a:lnTo>
                  <a:lnTo>
                    <a:pt x="1464139" y="2686872"/>
                  </a:lnTo>
                  <a:lnTo>
                    <a:pt x="1463473" y="2686207"/>
                  </a:lnTo>
                  <a:lnTo>
                    <a:pt x="1462294" y="2685420"/>
                  </a:lnTo>
                  <a:lnTo>
                    <a:pt x="1461295" y="2685178"/>
                  </a:lnTo>
                  <a:lnTo>
                    <a:pt x="1460297" y="2685480"/>
                  </a:lnTo>
                  <a:lnTo>
                    <a:pt x="1459420" y="2686630"/>
                  </a:lnTo>
                  <a:lnTo>
                    <a:pt x="1458754" y="2687961"/>
                  </a:lnTo>
                  <a:lnTo>
                    <a:pt x="1458452" y="2689413"/>
                  </a:lnTo>
                  <a:lnTo>
                    <a:pt x="1458603" y="2691501"/>
                  </a:lnTo>
                  <a:lnTo>
                    <a:pt x="1459390" y="2693648"/>
                  </a:lnTo>
                  <a:lnTo>
                    <a:pt x="1460509" y="2694979"/>
                  </a:lnTo>
                  <a:lnTo>
                    <a:pt x="1463110" y="2696795"/>
                  </a:lnTo>
                  <a:lnTo>
                    <a:pt x="1463685" y="2697399"/>
                  </a:lnTo>
                  <a:lnTo>
                    <a:pt x="1464139" y="2698095"/>
                  </a:lnTo>
                  <a:lnTo>
                    <a:pt x="1464199" y="2698700"/>
                  </a:lnTo>
                  <a:lnTo>
                    <a:pt x="1464018" y="2699154"/>
                  </a:lnTo>
                  <a:lnTo>
                    <a:pt x="1464381" y="2699820"/>
                  </a:lnTo>
                  <a:lnTo>
                    <a:pt x="1465258" y="2700213"/>
                  </a:lnTo>
                  <a:lnTo>
                    <a:pt x="1466075" y="2699396"/>
                  </a:lnTo>
                  <a:lnTo>
                    <a:pt x="1467437" y="2695857"/>
                  </a:lnTo>
                  <a:lnTo>
                    <a:pt x="1467800" y="2693406"/>
                  </a:lnTo>
                  <a:lnTo>
                    <a:pt x="1467618" y="2691984"/>
                  </a:lnTo>
                  <a:lnTo>
                    <a:pt x="1467194" y="2690835"/>
                  </a:lnTo>
                  <a:close/>
                  <a:moveTo>
                    <a:pt x="1526941" y="2685450"/>
                  </a:moveTo>
                  <a:lnTo>
                    <a:pt x="1530511" y="2681699"/>
                  </a:lnTo>
                  <a:lnTo>
                    <a:pt x="1531328" y="2678976"/>
                  </a:lnTo>
                  <a:lnTo>
                    <a:pt x="1528575" y="2677434"/>
                  </a:lnTo>
                  <a:lnTo>
                    <a:pt x="1522918" y="2676133"/>
                  </a:lnTo>
                  <a:lnTo>
                    <a:pt x="1520014" y="2676375"/>
                  </a:lnTo>
                  <a:lnTo>
                    <a:pt x="1516504" y="2677615"/>
                  </a:lnTo>
                  <a:lnTo>
                    <a:pt x="1514477" y="2680307"/>
                  </a:lnTo>
                  <a:lnTo>
                    <a:pt x="1514205" y="2684936"/>
                  </a:lnTo>
                  <a:lnTo>
                    <a:pt x="1517049" y="2687749"/>
                  </a:lnTo>
                  <a:lnTo>
                    <a:pt x="1521707" y="2687235"/>
                  </a:lnTo>
                  <a:lnTo>
                    <a:pt x="1526941" y="2685450"/>
                  </a:lnTo>
                  <a:close/>
                  <a:moveTo>
                    <a:pt x="1450344" y="2677827"/>
                  </a:moveTo>
                  <a:lnTo>
                    <a:pt x="1448711" y="2676072"/>
                  </a:lnTo>
                  <a:lnTo>
                    <a:pt x="1448499" y="2674862"/>
                  </a:lnTo>
                  <a:lnTo>
                    <a:pt x="1448711" y="2672896"/>
                  </a:lnTo>
                  <a:lnTo>
                    <a:pt x="1449225" y="2671958"/>
                  </a:lnTo>
                  <a:lnTo>
                    <a:pt x="1449467" y="2671051"/>
                  </a:lnTo>
                  <a:lnTo>
                    <a:pt x="1448832" y="2669266"/>
                  </a:lnTo>
                  <a:lnTo>
                    <a:pt x="1448045" y="2668298"/>
                  </a:lnTo>
                  <a:lnTo>
                    <a:pt x="1447047" y="2667329"/>
                  </a:lnTo>
                  <a:lnTo>
                    <a:pt x="1446170" y="2666089"/>
                  </a:lnTo>
                  <a:lnTo>
                    <a:pt x="1445262" y="2662247"/>
                  </a:lnTo>
                  <a:lnTo>
                    <a:pt x="1441602" y="2653747"/>
                  </a:lnTo>
                  <a:lnTo>
                    <a:pt x="1439333" y="2653958"/>
                  </a:lnTo>
                  <a:lnTo>
                    <a:pt x="1438758" y="2656530"/>
                  </a:lnTo>
                  <a:lnTo>
                    <a:pt x="1439605" y="2659555"/>
                  </a:lnTo>
                  <a:lnTo>
                    <a:pt x="1441632" y="2661189"/>
                  </a:lnTo>
                  <a:lnTo>
                    <a:pt x="1440664" y="2663578"/>
                  </a:lnTo>
                  <a:lnTo>
                    <a:pt x="1439303" y="2664667"/>
                  </a:lnTo>
                  <a:lnTo>
                    <a:pt x="1438214" y="2665847"/>
                  </a:lnTo>
                  <a:lnTo>
                    <a:pt x="1438153" y="2668600"/>
                  </a:lnTo>
                  <a:lnTo>
                    <a:pt x="1439061" y="2671141"/>
                  </a:lnTo>
                  <a:lnTo>
                    <a:pt x="1443659" y="2677373"/>
                  </a:lnTo>
                  <a:lnTo>
                    <a:pt x="1438667" y="2676163"/>
                  </a:lnTo>
                  <a:lnTo>
                    <a:pt x="1437306" y="2679551"/>
                  </a:lnTo>
                  <a:lnTo>
                    <a:pt x="1438092" y="2680398"/>
                  </a:lnTo>
                  <a:lnTo>
                    <a:pt x="1438002" y="2682274"/>
                  </a:lnTo>
                  <a:lnTo>
                    <a:pt x="1438062" y="2685390"/>
                  </a:lnTo>
                  <a:lnTo>
                    <a:pt x="1437215" y="2689534"/>
                  </a:lnTo>
                  <a:lnTo>
                    <a:pt x="1437397" y="2693588"/>
                  </a:lnTo>
                  <a:lnTo>
                    <a:pt x="1438667" y="2698125"/>
                  </a:lnTo>
                  <a:lnTo>
                    <a:pt x="1439635" y="2700515"/>
                  </a:lnTo>
                  <a:lnTo>
                    <a:pt x="1441662" y="2703117"/>
                  </a:lnTo>
                  <a:lnTo>
                    <a:pt x="1444415" y="2703450"/>
                  </a:lnTo>
                  <a:lnTo>
                    <a:pt x="1447168" y="2701514"/>
                  </a:lnTo>
                  <a:lnTo>
                    <a:pt x="1450586" y="2698428"/>
                  </a:lnTo>
                  <a:lnTo>
                    <a:pt x="1451131" y="2691833"/>
                  </a:lnTo>
                  <a:lnTo>
                    <a:pt x="1452644" y="2687628"/>
                  </a:lnTo>
                  <a:lnTo>
                    <a:pt x="1452704" y="2682607"/>
                  </a:lnTo>
                  <a:lnTo>
                    <a:pt x="1452311" y="2679521"/>
                  </a:lnTo>
                  <a:lnTo>
                    <a:pt x="1450405" y="2677857"/>
                  </a:lnTo>
                  <a:close/>
                  <a:moveTo>
                    <a:pt x="1439333" y="2619865"/>
                  </a:moveTo>
                  <a:lnTo>
                    <a:pt x="1440150" y="2618837"/>
                  </a:lnTo>
                  <a:lnTo>
                    <a:pt x="1440936" y="2617505"/>
                  </a:lnTo>
                  <a:lnTo>
                    <a:pt x="1440180" y="2616265"/>
                  </a:lnTo>
                  <a:lnTo>
                    <a:pt x="1440936" y="2614117"/>
                  </a:lnTo>
                  <a:lnTo>
                    <a:pt x="1440543" y="2612695"/>
                  </a:lnTo>
                  <a:lnTo>
                    <a:pt x="1439817" y="2611516"/>
                  </a:lnTo>
                  <a:lnTo>
                    <a:pt x="1439575" y="2610003"/>
                  </a:lnTo>
                  <a:lnTo>
                    <a:pt x="1439938" y="2608551"/>
                  </a:lnTo>
                  <a:lnTo>
                    <a:pt x="1441632" y="2605012"/>
                  </a:lnTo>
                  <a:lnTo>
                    <a:pt x="1440059" y="2606282"/>
                  </a:lnTo>
                  <a:lnTo>
                    <a:pt x="1438244" y="2608823"/>
                  </a:lnTo>
                  <a:lnTo>
                    <a:pt x="1436762" y="2610064"/>
                  </a:lnTo>
                  <a:lnTo>
                    <a:pt x="1436126" y="2607401"/>
                  </a:lnTo>
                  <a:lnTo>
                    <a:pt x="1436762" y="2605102"/>
                  </a:lnTo>
                  <a:lnTo>
                    <a:pt x="1439575" y="2601412"/>
                  </a:lnTo>
                  <a:lnTo>
                    <a:pt x="1440210" y="2599355"/>
                  </a:lnTo>
                  <a:lnTo>
                    <a:pt x="1440089" y="2597630"/>
                  </a:lnTo>
                  <a:lnTo>
                    <a:pt x="1439847" y="2596390"/>
                  </a:lnTo>
                  <a:lnTo>
                    <a:pt x="1439787" y="2595210"/>
                  </a:lnTo>
                  <a:lnTo>
                    <a:pt x="1440210" y="2593637"/>
                  </a:lnTo>
                  <a:lnTo>
                    <a:pt x="1440876" y="2592820"/>
                  </a:lnTo>
                  <a:lnTo>
                    <a:pt x="1441874" y="2592124"/>
                  </a:lnTo>
                  <a:lnTo>
                    <a:pt x="1442842" y="2591731"/>
                  </a:lnTo>
                  <a:lnTo>
                    <a:pt x="1443356" y="2591792"/>
                  </a:lnTo>
                  <a:lnTo>
                    <a:pt x="1444929" y="2594121"/>
                  </a:lnTo>
                  <a:lnTo>
                    <a:pt x="1446865" y="2595694"/>
                  </a:lnTo>
                  <a:lnTo>
                    <a:pt x="1448166" y="2595482"/>
                  </a:lnTo>
                  <a:lnTo>
                    <a:pt x="1447803" y="2592397"/>
                  </a:lnTo>
                  <a:lnTo>
                    <a:pt x="1449739" y="2592760"/>
                  </a:lnTo>
                  <a:lnTo>
                    <a:pt x="1450586" y="2595240"/>
                  </a:lnTo>
                  <a:lnTo>
                    <a:pt x="1451040" y="2598507"/>
                  </a:lnTo>
                  <a:lnTo>
                    <a:pt x="1451827" y="2601291"/>
                  </a:lnTo>
                  <a:lnTo>
                    <a:pt x="1448862" y="2603469"/>
                  </a:lnTo>
                  <a:lnTo>
                    <a:pt x="1447743" y="2603771"/>
                  </a:lnTo>
                  <a:lnTo>
                    <a:pt x="1447743" y="2605042"/>
                  </a:lnTo>
                  <a:lnTo>
                    <a:pt x="1449830" y="2604921"/>
                  </a:lnTo>
                  <a:lnTo>
                    <a:pt x="1451736" y="2603711"/>
                  </a:lnTo>
                  <a:lnTo>
                    <a:pt x="1455275" y="2600050"/>
                  </a:lnTo>
                  <a:lnTo>
                    <a:pt x="1454186" y="2597963"/>
                  </a:lnTo>
                  <a:lnTo>
                    <a:pt x="1452522" y="2592306"/>
                  </a:lnTo>
                  <a:lnTo>
                    <a:pt x="1451464" y="2591126"/>
                  </a:lnTo>
                  <a:lnTo>
                    <a:pt x="1450072" y="2590067"/>
                  </a:lnTo>
                  <a:lnTo>
                    <a:pt x="1448680" y="2587587"/>
                  </a:lnTo>
                  <a:lnTo>
                    <a:pt x="1446684" y="2583049"/>
                  </a:lnTo>
                  <a:lnTo>
                    <a:pt x="1445686" y="2582474"/>
                  </a:lnTo>
                  <a:lnTo>
                    <a:pt x="1444445" y="2582474"/>
                  </a:lnTo>
                  <a:lnTo>
                    <a:pt x="1443386" y="2582172"/>
                  </a:lnTo>
                  <a:lnTo>
                    <a:pt x="1442933" y="2580478"/>
                  </a:lnTo>
                  <a:lnTo>
                    <a:pt x="1442660" y="2578632"/>
                  </a:lnTo>
                  <a:lnTo>
                    <a:pt x="1441965" y="2578058"/>
                  </a:lnTo>
                  <a:lnTo>
                    <a:pt x="1441027" y="2577906"/>
                  </a:lnTo>
                  <a:lnTo>
                    <a:pt x="1440029" y="2577301"/>
                  </a:lnTo>
                  <a:lnTo>
                    <a:pt x="1437427" y="2574306"/>
                  </a:lnTo>
                  <a:lnTo>
                    <a:pt x="1436550" y="2572491"/>
                  </a:lnTo>
                  <a:lnTo>
                    <a:pt x="1435975" y="2569769"/>
                  </a:lnTo>
                  <a:lnTo>
                    <a:pt x="1433373" y="2569708"/>
                  </a:lnTo>
                  <a:lnTo>
                    <a:pt x="1432163" y="2570041"/>
                  </a:lnTo>
                  <a:lnTo>
                    <a:pt x="1431014" y="2570918"/>
                  </a:lnTo>
                  <a:lnTo>
                    <a:pt x="1434432" y="2576000"/>
                  </a:lnTo>
                  <a:lnTo>
                    <a:pt x="1435188" y="2578451"/>
                  </a:lnTo>
                  <a:lnTo>
                    <a:pt x="1434190" y="2577816"/>
                  </a:lnTo>
                  <a:lnTo>
                    <a:pt x="1433373" y="2577694"/>
                  </a:lnTo>
                  <a:lnTo>
                    <a:pt x="1432738" y="2578330"/>
                  </a:lnTo>
                  <a:lnTo>
                    <a:pt x="1432345" y="2579842"/>
                  </a:lnTo>
                  <a:lnTo>
                    <a:pt x="1431921" y="2579479"/>
                  </a:lnTo>
                  <a:lnTo>
                    <a:pt x="1430802" y="2578874"/>
                  </a:lnTo>
                  <a:lnTo>
                    <a:pt x="1430379" y="2578481"/>
                  </a:lnTo>
                  <a:lnTo>
                    <a:pt x="1430257" y="2581809"/>
                  </a:lnTo>
                  <a:lnTo>
                    <a:pt x="1429259" y="2583352"/>
                  </a:lnTo>
                  <a:lnTo>
                    <a:pt x="1428140" y="2584501"/>
                  </a:lnTo>
                  <a:lnTo>
                    <a:pt x="1427595" y="2586679"/>
                  </a:lnTo>
                  <a:lnTo>
                    <a:pt x="1428140" y="2589704"/>
                  </a:lnTo>
                  <a:lnTo>
                    <a:pt x="1429471" y="2590430"/>
                  </a:lnTo>
                  <a:lnTo>
                    <a:pt x="1431044" y="2589462"/>
                  </a:lnTo>
                  <a:lnTo>
                    <a:pt x="1432375" y="2587375"/>
                  </a:lnTo>
                  <a:lnTo>
                    <a:pt x="1433010" y="2590521"/>
                  </a:lnTo>
                  <a:lnTo>
                    <a:pt x="1435037" y="2591308"/>
                  </a:lnTo>
                  <a:lnTo>
                    <a:pt x="1439393" y="2591096"/>
                  </a:lnTo>
                  <a:lnTo>
                    <a:pt x="1436126" y="2595422"/>
                  </a:lnTo>
                  <a:lnTo>
                    <a:pt x="1433706" y="2599657"/>
                  </a:lnTo>
                  <a:lnTo>
                    <a:pt x="1432224" y="2604467"/>
                  </a:lnTo>
                  <a:lnTo>
                    <a:pt x="1431709" y="2610548"/>
                  </a:lnTo>
                  <a:lnTo>
                    <a:pt x="1432072" y="2613543"/>
                  </a:lnTo>
                  <a:lnTo>
                    <a:pt x="1432980" y="2616205"/>
                  </a:lnTo>
                  <a:lnTo>
                    <a:pt x="1434130" y="2618383"/>
                  </a:lnTo>
                  <a:lnTo>
                    <a:pt x="1435219" y="2619926"/>
                  </a:lnTo>
                  <a:lnTo>
                    <a:pt x="1435824" y="2621075"/>
                  </a:lnTo>
                  <a:lnTo>
                    <a:pt x="1435824" y="2621620"/>
                  </a:lnTo>
                  <a:lnTo>
                    <a:pt x="1436096" y="2621620"/>
                  </a:lnTo>
                  <a:lnTo>
                    <a:pt x="1438304" y="2620561"/>
                  </a:lnTo>
                  <a:lnTo>
                    <a:pt x="1439181" y="2619805"/>
                  </a:lnTo>
                  <a:close/>
                  <a:moveTo>
                    <a:pt x="1454610" y="2551830"/>
                  </a:moveTo>
                  <a:lnTo>
                    <a:pt x="1453460" y="2550983"/>
                  </a:lnTo>
                  <a:lnTo>
                    <a:pt x="1452250" y="2550680"/>
                  </a:lnTo>
                  <a:lnTo>
                    <a:pt x="1451252" y="2550771"/>
                  </a:lnTo>
                  <a:lnTo>
                    <a:pt x="1450344" y="2551497"/>
                  </a:lnTo>
                  <a:lnTo>
                    <a:pt x="1449134" y="2552828"/>
                  </a:lnTo>
                  <a:lnTo>
                    <a:pt x="1448378" y="2554098"/>
                  </a:lnTo>
                  <a:lnTo>
                    <a:pt x="1448862" y="2554673"/>
                  </a:lnTo>
                  <a:lnTo>
                    <a:pt x="1450586" y="2555702"/>
                  </a:lnTo>
                  <a:lnTo>
                    <a:pt x="1449588" y="2558122"/>
                  </a:lnTo>
                  <a:lnTo>
                    <a:pt x="1445807" y="2563355"/>
                  </a:lnTo>
                  <a:lnTo>
                    <a:pt x="1446593" y="2564475"/>
                  </a:lnTo>
                  <a:lnTo>
                    <a:pt x="1446987" y="2565987"/>
                  </a:lnTo>
                  <a:lnTo>
                    <a:pt x="1446987" y="2567833"/>
                  </a:lnTo>
                  <a:lnTo>
                    <a:pt x="1446412" y="2569769"/>
                  </a:lnTo>
                  <a:lnTo>
                    <a:pt x="1448106" y="2572159"/>
                  </a:lnTo>
                  <a:lnTo>
                    <a:pt x="1449286" y="2574639"/>
                  </a:lnTo>
                  <a:lnTo>
                    <a:pt x="1451222" y="2581083"/>
                  </a:lnTo>
                  <a:lnTo>
                    <a:pt x="1451857" y="2584441"/>
                  </a:lnTo>
                  <a:lnTo>
                    <a:pt x="1452250" y="2585469"/>
                  </a:lnTo>
                  <a:lnTo>
                    <a:pt x="1453279" y="2586679"/>
                  </a:lnTo>
                  <a:lnTo>
                    <a:pt x="1454459" y="2587375"/>
                  </a:lnTo>
                  <a:lnTo>
                    <a:pt x="1456062" y="2587617"/>
                  </a:lnTo>
                  <a:lnTo>
                    <a:pt x="1457484" y="2587103"/>
                  </a:lnTo>
                  <a:lnTo>
                    <a:pt x="1458089" y="2585409"/>
                  </a:lnTo>
                  <a:lnTo>
                    <a:pt x="1458664" y="2584804"/>
                  </a:lnTo>
                  <a:lnTo>
                    <a:pt x="1459874" y="2584955"/>
                  </a:lnTo>
                  <a:lnTo>
                    <a:pt x="1461054" y="2585832"/>
                  </a:lnTo>
                  <a:lnTo>
                    <a:pt x="1461537" y="2587345"/>
                  </a:lnTo>
                  <a:lnTo>
                    <a:pt x="1460842" y="2588767"/>
                  </a:lnTo>
                  <a:lnTo>
                    <a:pt x="1459480" y="2588615"/>
                  </a:lnTo>
                  <a:lnTo>
                    <a:pt x="1457907" y="2588131"/>
                  </a:lnTo>
                  <a:lnTo>
                    <a:pt x="1456667" y="2588585"/>
                  </a:lnTo>
                  <a:lnTo>
                    <a:pt x="1457181" y="2590067"/>
                  </a:lnTo>
                  <a:lnTo>
                    <a:pt x="1459843" y="2591066"/>
                  </a:lnTo>
                  <a:lnTo>
                    <a:pt x="1463080" y="2591005"/>
                  </a:lnTo>
                  <a:lnTo>
                    <a:pt x="1469100" y="2585681"/>
                  </a:lnTo>
                  <a:lnTo>
                    <a:pt x="1470734" y="2582837"/>
                  </a:lnTo>
                  <a:lnTo>
                    <a:pt x="1470219" y="2579116"/>
                  </a:lnTo>
                  <a:lnTo>
                    <a:pt x="1470068" y="2573913"/>
                  </a:lnTo>
                  <a:lnTo>
                    <a:pt x="1469887" y="2572249"/>
                  </a:lnTo>
                  <a:lnTo>
                    <a:pt x="1467769" y="2568377"/>
                  </a:lnTo>
                  <a:lnTo>
                    <a:pt x="1465561" y="2562992"/>
                  </a:lnTo>
                  <a:lnTo>
                    <a:pt x="1463020" y="2558001"/>
                  </a:lnTo>
                  <a:lnTo>
                    <a:pt x="1459753" y="2554431"/>
                  </a:lnTo>
                  <a:lnTo>
                    <a:pt x="1455397" y="2553251"/>
                  </a:lnTo>
                  <a:lnTo>
                    <a:pt x="1454670" y="2551799"/>
                  </a:lnTo>
                  <a:close/>
                  <a:moveTo>
                    <a:pt x="1458391" y="2546173"/>
                  </a:moveTo>
                  <a:lnTo>
                    <a:pt x="1457030" y="2547504"/>
                  </a:lnTo>
                  <a:lnTo>
                    <a:pt x="1458089" y="2550771"/>
                  </a:lnTo>
                  <a:lnTo>
                    <a:pt x="1459753" y="2552888"/>
                  </a:lnTo>
                  <a:lnTo>
                    <a:pt x="1461870" y="2554492"/>
                  </a:lnTo>
                  <a:lnTo>
                    <a:pt x="1464139" y="2555490"/>
                  </a:lnTo>
                  <a:lnTo>
                    <a:pt x="1466287" y="2555732"/>
                  </a:lnTo>
                  <a:lnTo>
                    <a:pt x="1466559" y="2555066"/>
                  </a:lnTo>
                  <a:lnTo>
                    <a:pt x="1467527" y="2553917"/>
                  </a:lnTo>
                  <a:lnTo>
                    <a:pt x="1468586" y="2553524"/>
                  </a:lnTo>
                  <a:lnTo>
                    <a:pt x="1469070" y="2555218"/>
                  </a:lnTo>
                  <a:lnTo>
                    <a:pt x="1469826" y="2562266"/>
                  </a:lnTo>
                  <a:lnTo>
                    <a:pt x="1471732" y="2565322"/>
                  </a:lnTo>
                  <a:lnTo>
                    <a:pt x="1473759" y="2564838"/>
                  </a:lnTo>
                  <a:lnTo>
                    <a:pt x="1478115" y="2560905"/>
                  </a:lnTo>
                  <a:lnTo>
                    <a:pt x="1480142" y="2560905"/>
                  </a:lnTo>
                  <a:lnTo>
                    <a:pt x="1483228" y="2563083"/>
                  </a:lnTo>
                  <a:lnTo>
                    <a:pt x="1484982" y="2562266"/>
                  </a:lnTo>
                  <a:lnTo>
                    <a:pt x="1483197" y="2558031"/>
                  </a:lnTo>
                  <a:lnTo>
                    <a:pt x="1481594" y="2555823"/>
                  </a:lnTo>
                  <a:lnTo>
                    <a:pt x="1481503" y="2553645"/>
                  </a:lnTo>
                  <a:lnTo>
                    <a:pt x="1486283" y="2546505"/>
                  </a:lnTo>
                  <a:lnTo>
                    <a:pt x="1487039" y="2543541"/>
                  </a:lnTo>
                  <a:lnTo>
                    <a:pt x="1487039" y="2534375"/>
                  </a:lnTo>
                  <a:lnTo>
                    <a:pt x="1486676" y="2532075"/>
                  </a:lnTo>
                  <a:lnTo>
                    <a:pt x="1485708" y="2531833"/>
                  </a:lnTo>
                  <a:lnTo>
                    <a:pt x="1482895" y="2532983"/>
                  </a:lnTo>
                  <a:lnTo>
                    <a:pt x="1482048" y="2533074"/>
                  </a:lnTo>
                  <a:lnTo>
                    <a:pt x="1481776" y="2533406"/>
                  </a:lnTo>
                  <a:lnTo>
                    <a:pt x="1481624" y="2533981"/>
                  </a:lnTo>
                  <a:lnTo>
                    <a:pt x="1481170" y="2534949"/>
                  </a:lnTo>
                  <a:lnTo>
                    <a:pt x="1480414" y="2535554"/>
                  </a:lnTo>
                  <a:lnTo>
                    <a:pt x="1479809" y="2535222"/>
                  </a:lnTo>
                  <a:lnTo>
                    <a:pt x="1479265" y="2534616"/>
                  </a:lnTo>
                  <a:lnTo>
                    <a:pt x="1478720" y="2534344"/>
                  </a:lnTo>
                  <a:lnTo>
                    <a:pt x="1472186" y="2535494"/>
                  </a:lnTo>
                  <a:lnTo>
                    <a:pt x="1471762" y="2535736"/>
                  </a:lnTo>
                  <a:lnTo>
                    <a:pt x="1470522" y="2536946"/>
                  </a:lnTo>
                  <a:lnTo>
                    <a:pt x="1470099" y="2537460"/>
                  </a:lnTo>
                  <a:lnTo>
                    <a:pt x="1469252" y="2538065"/>
                  </a:lnTo>
                  <a:lnTo>
                    <a:pt x="1468404" y="2537611"/>
                  </a:lnTo>
                  <a:lnTo>
                    <a:pt x="1467648" y="2536946"/>
                  </a:lnTo>
                  <a:lnTo>
                    <a:pt x="1466983" y="2536885"/>
                  </a:lnTo>
                  <a:lnTo>
                    <a:pt x="1466105" y="2537763"/>
                  </a:lnTo>
                  <a:lnTo>
                    <a:pt x="1465228" y="2539063"/>
                  </a:lnTo>
                  <a:lnTo>
                    <a:pt x="1464774" y="2540636"/>
                  </a:lnTo>
                  <a:lnTo>
                    <a:pt x="1465228" y="2542482"/>
                  </a:lnTo>
                  <a:lnTo>
                    <a:pt x="1466166" y="2544841"/>
                  </a:lnTo>
                  <a:lnTo>
                    <a:pt x="1465742" y="2545689"/>
                  </a:lnTo>
                  <a:lnTo>
                    <a:pt x="1458270" y="2546142"/>
                  </a:lnTo>
                  <a:close/>
                  <a:moveTo>
                    <a:pt x="1443931" y="2539124"/>
                  </a:moveTo>
                  <a:lnTo>
                    <a:pt x="1443145" y="2538791"/>
                  </a:lnTo>
                  <a:lnTo>
                    <a:pt x="1442721" y="2537188"/>
                  </a:lnTo>
                  <a:lnTo>
                    <a:pt x="1442449" y="2535252"/>
                  </a:lnTo>
                  <a:lnTo>
                    <a:pt x="1441874" y="2533437"/>
                  </a:lnTo>
                  <a:lnTo>
                    <a:pt x="1441511" y="2531894"/>
                  </a:lnTo>
                  <a:lnTo>
                    <a:pt x="1441450" y="2530563"/>
                  </a:lnTo>
                  <a:lnTo>
                    <a:pt x="1441118" y="2530291"/>
                  </a:lnTo>
                  <a:lnTo>
                    <a:pt x="1440482" y="2531470"/>
                  </a:lnTo>
                  <a:lnTo>
                    <a:pt x="1438758" y="2534011"/>
                  </a:lnTo>
                  <a:lnTo>
                    <a:pt x="1438002" y="2536613"/>
                  </a:lnTo>
                  <a:lnTo>
                    <a:pt x="1437911" y="2537490"/>
                  </a:lnTo>
                  <a:lnTo>
                    <a:pt x="1438123" y="2538095"/>
                  </a:lnTo>
                  <a:lnTo>
                    <a:pt x="1440543" y="2540364"/>
                  </a:lnTo>
                  <a:lnTo>
                    <a:pt x="1440815" y="2541211"/>
                  </a:lnTo>
                  <a:lnTo>
                    <a:pt x="1440694" y="2542240"/>
                  </a:lnTo>
                  <a:lnTo>
                    <a:pt x="1441178" y="2543692"/>
                  </a:lnTo>
                  <a:lnTo>
                    <a:pt x="1442600" y="2545084"/>
                  </a:lnTo>
                  <a:lnTo>
                    <a:pt x="1443871" y="2545507"/>
                  </a:lnTo>
                  <a:lnTo>
                    <a:pt x="1444778" y="2545447"/>
                  </a:lnTo>
                  <a:lnTo>
                    <a:pt x="1445323" y="2545840"/>
                  </a:lnTo>
                  <a:lnTo>
                    <a:pt x="1445383" y="2546929"/>
                  </a:lnTo>
                  <a:lnTo>
                    <a:pt x="1446139" y="2547927"/>
                  </a:lnTo>
                  <a:lnTo>
                    <a:pt x="1447652" y="2547594"/>
                  </a:lnTo>
                  <a:lnTo>
                    <a:pt x="1448529" y="2545961"/>
                  </a:lnTo>
                  <a:lnTo>
                    <a:pt x="1448711" y="2544297"/>
                  </a:lnTo>
                  <a:lnTo>
                    <a:pt x="1450495" y="2541514"/>
                  </a:lnTo>
                  <a:lnTo>
                    <a:pt x="1450647" y="2539608"/>
                  </a:lnTo>
                  <a:lnTo>
                    <a:pt x="1450707" y="2538035"/>
                  </a:lnTo>
                  <a:lnTo>
                    <a:pt x="1450798" y="2537218"/>
                  </a:lnTo>
                  <a:lnTo>
                    <a:pt x="1450617" y="2535554"/>
                  </a:lnTo>
                  <a:lnTo>
                    <a:pt x="1449739" y="2532862"/>
                  </a:lnTo>
                  <a:lnTo>
                    <a:pt x="1448680" y="2531561"/>
                  </a:lnTo>
                  <a:lnTo>
                    <a:pt x="1448015" y="2531107"/>
                  </a:lnTo>
                  <a:lnTo>
                    <a:pt x="1447319" y="2531289"/>
                  </a:lnTo>
                  <a:lnTo>
                    <a:pt x="1446987" y="2532650"/>
                  </a:lnTo>
                  <a:lnTo>
                    <a:pt x="1446684" y="2532650"/>
                  </a:lnTo>
                  <a:lnTo>
                    <a:pt x="1445958" y="2530865"/>
                  </a:lnTo>
                  <a:lnTo>
                    <a:pt x="1445716" y="2530048"/>
                  </a:lnTo>
                  <a:lnTo>
                    <a:pt x="1446109" y="2529988"/>
                  </a:lnTo>
                  <a:lnTo>
                    <a:pt x="1445535" y="2528354"/>
                  </a:lnTo>
                  <a:lnTo>
                    <a:pt x="1443719" y="2525813"/>
                  </a:lnTo>
                  <a:lnTo>
                    <a:pt x="1442933" y="2524906"/>
                  </a:lnTo>
                  <a:lnTo>
                    <a:pt x="1442479" y="2524664"/>
                  </a:lnTo>
                  <a:lnTo>
                    <a:pt x="1441239" y="2524876"/>
                  </a:lnTo>
                  <a:lnTo>
                    <a:pt x="1441239" y="2526781"/>
                  </a:lnTo>
                  <a:lnTo>
                    <a:pt x="1442237" y="2530170"/>
                  </a:lnTo>
                  <a:lnTo>
                    <a:pt x="1442540" y="2530321"/>
                  </a:lnTo>
                  <a:lnTo>
                    <a:pt x="1442842" y="2530775"/>
                  </a:lnTo>
                  <a:lnTo>
                    <a:pt x="1443023" y="2532015"/>
                  </a:lnTo>
                  <a:lnTo>
                    <a:pt x="1443598" y="2534132"/>
                  </a:lnTo>
                  <a:lnTo>
                    <a:pt x="1444869" y="2536341"/>
                  </a:lnTo>
                  <a:lnTo>
                    <a:pt x="1445383" y="2537067"/>
                  </a:lnTo>
                  <a:lnTo>
                    <a:pt x="1444899" y="2537067"/>
                  </a:lnTo>
                  <a:lnTo>
                    <a:pt x="1444748" y="2537430"/>
                  </a:lnTo>
                  <a:lnTo>
                    <a:pt x="1444960" y="2537944"/>
                  </a:lnTo>
                  <a:lnTo>
                    <a:pt x="1444687" y="2538458"/>
                  </a:lnTo>
                  <a:lnTo>
                    <a:pt x="1443871" y="2539094"/>
                  </a:lnTo>
                  <a:close/>
                  <a:moveTo>
                    <a:pt x="1431014" y="2511262"/>
                  </a:moveTo>
                  <a:lnTo>
                    <a:pt x="1431861" y="2509447"/>
                  </a:lnTo>
                  <a:lnTo>
                    <a:pt x="1431770" y="2506694"/>
                  </a:lnTo>
                  <a:lnTo>
                    <a:pt x="1431528" y="2504063"/>
                  </a:lnTo>
                  <a:lnTo>
                    <a:pt x="1431135" y="2501794"/>
                  </a:lnTo>
                  <a:lnTo>
                    <a:pt x="1430560" y="2499979"/>
                  </a:lnTo>
                  <a:lnTo>
                    <a:pt x="1429319" y="2498103"/>
                  </a:lnTo>
                  <a:lnTo>
                    <a:pt x="1426537" y="2495562"/>
                  </a:lnTo>
                  <a:lnTo>
                    <a:pt x="1425720" y="2493505"/>
                  </a:lnTo>
                  <a:lnTo>
                    <a:pt x="1428987" y="2493626"/>
                  </a:lnTo>
                  <a:lnTo>
                    <a:pt x="1430469" y="2491266"/>
                  </a:lnTo>
                  <a:lnTo>
                    <a:pt x="1430076" y="2487152"/>
                  </a:lnTo>
                  <a:lnTo>
                    <a:pt x="1427747" y="2482039"/>
                  </a:lnTo>
                  <a:lnTo>
                    <a:pt x="1420849" y="2472238"/>
                  </a:lnTo>
                  <a:lnTo>
                    <a:pt x="1418822" y="2465371"/>
                  </a:lnTo>
                  <a:lnTo>
                    <a:pt x="1418308" y="2464494"/>
                  </a:lnTo>
                  <a:lnTo>
                    <a:pt x="1417461" y="2464010"/>
                  </a:lnTo>
                  <a:lnTo>
                    <a:pt x="1415525" y="2464887"/>
                  </a:lnTo>
                  <a:lnTo>
                    <a:pt x="1415101" y="2466551"/>
                  </a:lnTo>
                  <a:lnTo>
                    <a:pt x="1416100" y="2471088"/>
                  </a:lnTo>
                  <a:lnTo>
                    <a:pt x="1416614" y="2472601"/>
                  </a:lnTo>
                  <a:lnTo>
                    <a:pt x="1417491" y="2473660"/>
                  </a:lnTo>
                  <a:lnTo>
                    <a:pt x="1417854" y="2475203"/>
                  </a:lnTo>
                  <a:lnTo>
                    <a:pt x="1416735" y="2478167"/>
                  </a:lnTo>
                  <a:lnTo>
                    <a:pt x="1417159" y="2479801"/>
                  </a:lnTo>
                  <a:lnTo>
                    <a:pt x="1417764" y="2484762"/>
                  </a:lnTo>
                  <a:lnTo>
                    <a:pt x="1418490" y="2485821"/>
                  </a:lnTo>
                  <a:lnTo>
                    <a:pt x="1420032" y="2486729"/>
                  </a:lnTo>
                  <a:lnTo>
                    <a:pt x="1421333" y="2488423"/>
                  </a:lnTo>
                  <a:lnTo>
                    <a:pt x="1422695" y="2489451"/>
                  </a:lnTo>
                  <a:lnTo>
                    <a:pt x="1424328" y="2488362"/>
                  </a:lnTo>
                  <a:lnTo>
                    <a:pt x="1422967" y="2493444"/>
                  </a:lnTo>
                  <a:lnTo>
                    <a:pt x="1421424" y="2491690"/>
                  </a:lnTo>
                  <a:lnTo>
                    <a:pt x="1419911" y="2491417"/>
                  </a:lnTo>
                  <a:lnTo>
                    <a:pt x="1414769" y="2492506"/>
                  </a:lnTo>
                  <a:lnTo>
                    <a:pt x="1414194" y="2493565"/>
                  </a:lnTo>
                  <a:lnTo>
                    <a:pt x="1414466" y="2495532"/>
                  </a:lnTo>
                  <a:lnTo>
                    <a:pt x="1415404" y="2498557"/>
                  </a:lnTo>
                  <a:lnTo>
                    <a:pt x="1417098" y="2501461"/>
                  </a:lnTo>
                  <a:lnTo>
                    <a:pt x="1419942" y="2504789"/>
                  </a:lnTo>
                  <a:lnTo>
                    <a:pt x="1422392" y="2505636"/>
                  </a:lnTo>
                  <a:lnTo>
                    <a:pt x="1422936" y="2501098"/>
                  </a:lnTo>
                  <a:lnTo>
                    <a:pt x="1424237" y="2502429"/>
                  </a:lnTo>
                  <a:lnTo>
                    <a:pt x="1425326" y="2504940"/>
                  </a:lnTo>
                  <a:lnTo>
                    <a:pt x="1426113" y="2507935"/>
                  </a:lnTo>
                  <a:lnTo>
                    <a:pt x="1426385" y="2510688"/>
                  </a:lnTo>
                  <a:lnTo>
                    <a:pt x="1427232" y="2511141"/>
                  </a:lnTo>
                  <a:lnTo>
                    <a:pt x="1429108" y="2511565"/>
                  </a:lnTo>
                  <a:lnTo>
                    <a:pt x="1431014" y="2511232"/>
                  </a:lnTo>
                  <a:close/>
                  <a:moveTo>
                    <a:pt x="1432254" y="2466974"/>
                  </a:moveTo>
                  <a:lnTo>
                    <a:pt x="1432526" y="2469788"/>
                  </a:lnTo>
                  <a:lnTo>
                    <a:pt x="1433192" y="2471784"/>
                  </a:lnTo>
                  <a:lnTo>
                    <a:pt x="1434704" y="2471905"/>
                  </a:lnTo>
                  <a:lnTo>
                    <a:pt x="1439998" y="2468729"/>
                  </a:lnTo>
                  <a:lnTo>
                    <a:pt x="1441208" y="2466279"/>
                  </a:lnTo>
                  <a:lnTo>
                    <a:pt x="1441208" y="2463011"/>
                  </a:lnTo>
                  <a:lnTo>
                    <a:pt x="1440180" y="2458897"/>
                  </a:lnTo>
                  <a:lnTo>
                    <a:pt x="1435763" y="2453210"/>
                  </a:lnTo>
                  <a:lnTo>
                    <a:pt x="1423299" y="2449156"/>
                  </a:lnTo>
                  <a:lnTo>
                    <a:pt x="1418822" y="2443499"/>
                  </a:lnTo>
                  <a:lnTo>
                    <a:pt x="1418187" y="2443318"/>
                  </a:lnTo>
                  <a:lnTo>
                    <a:pt x="1417703" y="2443318"/>
                  </a:lnTo>
                  <a:lnTo>
                    <a:pt x="1416675" y="2442198"/>
                  </a:lnTo>
                  <a:lnTo>
                    <a:pt x="1418399" y="2448884"/>
                  </a:lnTo>
                  <a:lnTo>
                    <a:pt x="1419669" y="2452302"/>
                  </a:lnTo>
                  <a:lnTo>
                    <a:pt x="1421212" y="2453754"/>
                  </a:lnTo>
                  <a:lnTo>
                    <a:pt x="1422483" y="2453331"/>
                  </a:lnTo>
                  <a:lnTo>
                    <a:pt x="1423814" y="2452605"/>
                  </a:lnTo>
                  <a:lnTo>
                    <a:pt x="1425054" y="2452242"/>
                  </a:lnTo>
                  <a:lnTo>
                    <a:pt x="1426022" y="2453059"/>
                  </a:lnTo>
                  <a:lnTo>
                    <a:pt x="1426476" y="2454965"/>
                  </a:lnTo>
                  <a:lnTo>
                    <a:pt x="1426567" y="2456749"/>
                  </a:lnTo>
                  <a:lnTo>
                    <a:pt x="1426990" y="2457808"/>
                  </a:lnTo>
                  <a:lnTo>
                    <a:pt x="1428473" y="2457596"/>
                  </a:lnTo>
                  <a:lnTo>
                    <a:pt x="1428473" y="2458867"/>
                  </a:lnTo>
                  <a:lnTo>
                    <a:pt x="1428019" y="2459018"/>
                  </a:lnTo>
                  <a:lnTo>
                    <a:pt x="1427747" y="2459230"/>
                  </a:lnTo>
                  <a:lnTo>
                    <a:pt x="1427111" y="2460016"/>
                  </a:lnTo>
                  <a:lnTo>
                    <a:pt x="1428563" y="2461771"/>
                  </a:lnTo>
                  <a:lnTo>
                    <a:pt x="1433978" y="2463979"/>
                  </a:lnTo>
                  <a:lnTo>
                    <a:pt x="1432617" y="2465553"/>
                  </a:lnTo>
                  <a:lnTo>
                    <a:pt x="1432254" y="2466914"/>
                  </a:lnTo>
                  <a:close/>
                  <a:moveTo>
                    <a:pt x="1405118" y="2429372"/>
                  </a:moveTo>
                  <a:lnTo>
                    <a:pt x="1404332" y="2428918"/>
                  </a:lnTo>
                  <a:lnTo>
                    <a:pt x="1403485" y="2429069"/>
                  </a:lnTo>
                  <a:lnTo>
                    <a:pt x="1403273" y="2428736"/>
                  </a:lnTo>
                  <a:lnTo>
                    <a:pt x="1403636" y="2427950"/>
                  </a:lnTo>
                  <a:lnTo>
                    <a:pt x="1403576" y="2427103"/>
                  </a:lnTo>
                  <a:lnTo>
                    <a:pt x="1403092" y="2426437"/>
                  </a:lnTo>
                  <a:lnTo>
                    <a:pt x="1402940" y="2425893"/>
                  </a:lnTo>
                  <a:lnTo>
                    <a:pt x="1402940" y="2424955"/>
                  </a:lnTo>
                  <a:lnTo>
                    <a:pt x="1402608" y="2424017"/>
                  </a:lnTo>
                  <a:lnTo>
                    <a:pt x="1401549" y="2423110"/>
                  </a:lnTo>
                  <a:lnTo>
                    <a:pt x="1400671" y="2421990"/>
                  </a:lnTo>
                  <a:lnTo>
                    <a:pt x="1399643" y="2422202"/>
                  </a:lnTo>
                  <a:lnTo>
                    <a:pt x="1399129" y="2424108"/>
                  </a:lnTo>
                  <a:lnTo>
                    <a:pt x="1399129" y="2425560"/>
                  </a:lnTo>
                  <a:lnTo>
                    <a:pt x="1399280" y="2426347"/>
                  </a:lnTo>
                  <a:lnTo>
                    <a:pt x="1399371" y="2427496"/>
                  </a:lnTo>
                  <a:lnTo>
                    <a:pt x="1399643" y="2428918"/>
                  </a:lnTo>
                  <a:lnTo>
                    <a:pt x="1399915" y="2431308"/>
                  </a:lnTo>
                  <a:lnTo>
                    <a:pt x="1400036" y="2431762"/>
                  </a:lnTo>
                  <a:lnTo>
                    <a:pt x="1399734" y="2431913"/>
                  </a:lnTo>
                  <a:lnTo>
                    <a:pt x="1399401" y="2432034"/>
                  </a:lnTo>
                  <a:lnTo>
                    <a:pt x="1399068" y="2431671"/>
                  </a:lnTo>
                  <a:lnTo>
                    <a:pt x="1399129" y="2432427"/>
                  </a:lnTo>
                  <a:lnTo>
                    <a:pt x="1399613" y="2434605"/>
                  </a:lnTo>
                  <a:lnTo>
                    <a:pt x="1399431" y="2435120"/>
                  </a:lnTo>
                  <a:lnTo>
                    <a:pt x="1398493" y="2434908"/>
                  </a:lnTo>
                  <a:lnTo>
                    <a:pt x="1398826" y="2435997"/>
                  </a:lnTo>
                  <a:lnTo>
                    <a:pt x="1400732" y="2437056"/>
                  </a:lnTo>
                  <a:lnTo>
                    <a:pt x="1402668" y="2437570"/>
                  </a:lnTo>
                  <a:lnTo>
                    <a:pt x="1404272" y="2437116"/>
                  </a:lnTo>
                  <a:lnTo>
                    <a:pt x="1404998" y="2436572"/>
                  </a:lnTo>
                  <a:lnTo>
                    <a:pt x="1404695" y="2433365"/>
                  </a:lnTo>
                  <a:lnTo>
                    <a:pt x="1405088" y="2432488"/>
                  </a:lnTo>
                  <a:lnTo>
                    <a:pt x="1405784" y="2431973"/>
                  </a:lnTo>
                  <a:lnTo>
                    <a:pt x="1405784" y="2430673"/>
                  </a:lnTo>
                  <a:lnTo>
                    <a:pt x="1405179" y="2429341"/>
                  </a:lnTo>
                  <a:close/>
                  <a:moveTo>
                    <a:pt x="1489822" y="2432457"/>
                  </a:moveTo>
                  <a:lnTo>
                    <a:pt x="1489822" y="2420236"/>
                  </a:lnTo>
                  <a:lnTo>
                    <a:pt x="1487614" y="2417937"/>
                  </a:lnTo>
                  <a:lnTo>
                    <a:pt x="1484619" y="2417211"/>
                  </a:lnTo>
                  <a:lnTo>
                    <a:pt x="1481836" y="2417997"/>
                  </a:lnTo>
                  <a:lnTo>
                    <a:pt x="1480142" y="2420236"/>
                  </a:lnTo>
                  <a:lnTo>
                    <a:pt x="1479840" y="2422323"/>
                  </a:lnTo>
                  <a:lnTo>
                    <a:pt x="1479749" y="2426649"/>
                  </a:lnTo>
                  <a:lnTo>
                    <a:pt x="1479114" y="2428585"/>
                  </a:lnTo>
                  <a:lnTo>
                    <a:pt x="1477934" y="2429947"/>
                  </a:lnTo>
                  <a:lnTo>
                    <a:pt x="1475272" y="2431399"/>
                  </a:lnTo>
                  <a:lnTo>
                    <a:pt x="1473154" y="2433516"/>
                  </a:lnTo>
                  <a:lnTo>
                    <a:pt x="1468465" y="2435785"/>
                  </a:lnTo>
                  <a:lnTo>
                    <a:pt x="1464321" y="2438840"/>
                  </a:lnTo>
                  <a:lnTo>
                    <a:pt x="1463232" y="2440172"/>
                  </a:lnTo>
                  <a:lnTo>
                    <a:pt x="1462354" y="2441805"/>
                  </a:lnTo>
                  <a:lnTo>
                    <a:pt x="1461780" y="2442561"/>
                  </a:lnTo>
                  <a:lnTo>
                    <a:pt x="1459450" y="2443499"/>
                  </a:lnTo>
                  <a:lnTo>
                    <a:pt x="1454700" y="2443681"/>
                  </a:lnTo>
                  <a:lnTo>
                    <a:pt x="1453218" y="2444679"/>
                  </a:lnTo>
                  <a:lnTo>
                    <a:pt x="1460146" y="2451213"/>
                  </a:lnTo>
                  <a:lnTo>
                    <a:pt x="1464442" y="2457899"/>
                  </a:lnTo>
                  <a:lnTo>
                    <a:pt x="1465319" y="2458897"/>
                  </a:lnTo>
                  <a:lnTo>
                    <a:pt x="1466801" y="2459774"/>
                  </a:lnTo>
                  <a:lnTo>
                    <a:pt x="1469524" y="2463919"/>
                  </a:lnTo>
                  <a:lnTo>
                    <a:pt x="1471127" y="2465310"/>
                  </a:lnTo>
                  <a:lnTo>
                    <a:pt x="1473850" y="2465673"/>
                  </a:lnTo>
                  <a:lnTo>
                    <a:pt x="1481896" y="2464040"/>
                  </a:lnTo>
                  <a:lnTo>
                    <a:pt x="1482199" y="2463253"/>
                  </a:lnTo>
                  <a:lnTo>
                    <a:pt x="1482683" y="2461499"/>
                  </a:lnTo>
                  <a:lnTo>
                    <a:pt x="1483470" y="2459744"/>
                  </a:lnTo>
                  <a:lnTo>
                    <a:pt x="1484680" y="2458958"/>
                  </a:lnTo>
                  <a:lnTo>
                    <a:pt x="1487342" y="2459169"/>
                  </a:lnTo>
                  <a:lnTo>
                    <a:pt x="1488643" y="2458625"/>
                  </a:lnTo>
                  <a:lnTo>
                    <a:pt x="1489187" y="2456991"/>
                  </a:lnTo>
                  <a:lnTo>
                    <a:pt x="1488461" y="2448067"/>
                  </a:lnTo>
                  <a:lnTo>
                    <a:pt x="1488461" y="2444740"/>
                  </a:lnTo>
                  <a:lnTo>
                    <a:pt x="1489641" y="2435513"/>
                  </a:lnTo>
                  <a:lnTo>
                    <a:pt x="1489822" y="2432548"/>
                  </a:lnTo>
                  <a:close/>
                  <a:moveTo>
                    <a:pt x="1413528" y="2385265"/>
                  </a:moveTo>
                  <a:lnTo>
                    <a:pt x="1413437" y="2384690"/>
                  </a:lnTo>
                  <a:lnTo>
                    <a:pt x="1412833" y="2384085"/>
                  </a:lnTo>
                  <a:lnTo>
                    <a:pt x="1412591" y="2383934"/>
                  </a:lnTo>
                  <a:lnTo>
                    <a:pt x="1413014" y="2383390"/>
                  </a:lnTo>
                  <a:lnTo>
                    <a:pt x="1412863" y="2382058"/>
                  </a:lnTo>
                  <a:lnTo>
                    <a:pt x="1410322" y="2376492"/>
                  </a:lnTo>
                  <a:lnTo>
                    <a:pt x="1409112" y="2375282"/>
                  </a:lnTo>
                  <a:lnTo>
                    <a:pt x="1407992" y="2374526"/>
                  </a:lnTo>
                  <a:lnTo>
                    <a:pt x="1407660" y="2373376"/>
                  </a:lnTo>
                  <a:lnTo>
                    <a:pt x="1408234" y="2372953"/>
                  </a:lnTo>
                  <a:lnTo>
                    <a:pt x="1408991" y="2373013"/>
                  </a:lnTo>
                  <a:lnTo>
                    <a:pt x="1408840" y="2372166"/>
                  </a:lnTo>
                  <a:lnTo>
                    <a:pt x="1407629" y="2371592"/>
                  </a:lnTo>
                  <a:lnTo>
                    <a:pt x="1406117" y="2371682"/>
                  </a:lnTo>
                  <a:lnTo>
                    <a:pt x="1403183" y="2372348"/>
                  </a:lnTo>
                  <a:lnTo>
                    <a:pt x="1403031" y="2372136"/>
                  </a:lnTo>
                  <a:lnTo>
                    <a:pt x="1404211" y="2371561"/>
                  </a:lnTo>
                  <a:lnTo>
                    <a:pt x="1404876" y="2370472"/>
                  </a:lnTo>
                  <a:lnTo>
                    <a:pt x="1404211" y="2369655"/>
                  </a:lnTo>
                  <a:lnTo>
                    <a:pt x="1400006" y="2370472"/>
                  </a:lnTo>
                  <a:lnTo>
                    <a:pt x="1398645" y="2371138"/>
                  </a:lnTo>
                  <a:lnTo>
                    <a:pt x="1398161" y="2372166"/>
                  </a:lnTo>
                  <a:lnTo>
                    <a:pt x="1398675" y="2373316"/>
                  </a:lnTo>
                  <a:lnTo>
                    <a:pt x="1398887" y="2374042"/>
                  </a:lnTo>
                  <a:lnTo>
                    <a:pt x="1398645" y="2374526"/>
                  </a:lnTo>
                  <a:lnTo>
                    <a:pt x="1398887" y="2374677"/>
                  </a:lnTo>
                  <a:lnTo>
                    <a:pt x="1399643" y="2374405"/>
                  </a:lnTo>
                  <a:lnTo>
                    <a:pt x="1400551" y="2374677"/>
                  </a:lnTo>
                  <a:lnTo>
                    <a:pt x="1401488" y="2375645"/>
                  </a:lnTo>
                  <a:lnTo>
                    <a:pt x="1402214" y="2375645"/>
                  </a:lnTo>
                  <a:lnTo>
                    <a:pt x="1402638" y="2374375"/>
                  </a:lnTo>
                  <a:lnTo>
                    <a:pt x="1403061" y="2374012"/>
                  </a:lnTo>
                  <a:lnTo>
                    <a:pt x="1403666" y="2375161"/>
                  </a:lnTo>
                  <a:lnTo>
                    <a:pt x="1403848" y="2376311"/>
                  </a:lnTo>
                  <a:lnTo>
                    <a:pt x="1403606" y="2377460"/>
                  </a:lnTo>
                  <a:lnTo>
                    <a:pt x="1403999" y="2378822"/>
                  </a:lnTo>
                  <a:lnTo>
                    <a:pt x="1405058" y="2379790"/>
                  </a:lnTo>
                  <a:lnTo>
                    <a:pt x="1406631" y="2380818"/>
                  </a:lnTo>
                  <a:lnTo>
                    <a:pt x="1407085" y="2380637"/>
                  </a:lnTo>
                  <a:lnTo>
                    <a:pt x="1407357" y="2380243"/>
                  </a:lnTo>
                  <a:lnTo>
                    <a:pt x="1407780" y="2380969"/>
                  </a:lnTo>
                  <a:lnTo>
                    <a:pt x="1407780" y="2382664"/>
                  </a:lnTo>
                  <a:lnTo>
                    <a:pt x="1408446" y="2384539"/>
                  </a:lnTo>
                  <a:lnTo>
                    <a:pt x="1410382" y="2385810"/>
                  </a:lnTo>
                  <a:lnTo>
                    <a:pt x="1412439" y="2386384"/>
                  </a:lnTo>
                  <a:lnTo>
                    <a:pt x="1413135" y="2386384"/>
                  </a:lnTo>
                  <a:lnTo>
                    <a:pt x="1413528" y="2385779"/>
                  </a:lnTo>
                  <a:lnTo>
                    <a:pt x="1413528" y="2385295"/>
                  </a:lnTo>
                  <a:close/>
                  <a:moveTo>
                    <a:pt x="1392655" y="2351172"/>
                  </a:moveTo>
                  <a:lnTo>
                    <a:pt x="1391657" y="2349629"/>
                  </a:lnTo>
                  <a:lnTo>
                    <a:pt x="1391717" y="2348328"/>
                  </a:lnTo>
                  <a:lnTo>
                    <a:pt x="1391959" y="2347390"/>
                  </a:lnTo>
                  <a:lnTo>
                    <a:pt x="1391415" y="2346029"/>
                  </a:lnTo>
                  <a:lnTo>
                    <a:pt x="1391052" y="2344335"/>
                  </a:lnTo>
                  <a:lnTo>
                    <a:pt x="1390507" y="2343185"/>
                  </a:lnTo>
                  <a:lnTo>
                    <a:pt x="1389388" y="2343185"/>
                  </a:lnTo>
                  <a:lnTo>
                    <a:pt x="1388450" y="2343669"/>
                  </a:lnTo>
                  <a:lnTo>
                    <a:pt x="1387936" y="2344880"/>
                  </a:lnTo>
                  <a:lnTo>
                    <a:pt x="1387331" y="2345848"/>
                  </a:lnTo>
                  <a:lnTo>
                    <a:pt x="1386907" y="2345999"/>
                  </a:lnTo>
                  <a:lnTo>
                    <a:pt x="1386423" y="2346271"/>
                  </a:lnTo>
                  <a:lnTo>
                    <a:pt x="1384941" y="2347390"/>
                  </a:lnTo>
                  <a:lnTo>
                    <a:pt x="1384850" y="2347905"/>
                  </a:lnTo>
                  <a:lnTo>
                    <a:pt x="1385364" y="2348479"/>
                  </a:lnTo>
                  <a:lnTo>
                    <a:pt x="1385304" y="2348933"/>
                  </a:lnTo>
                  <a:lnTo>
                    <a:pt x="1384971" y="2350174"/>
                  </a:lnTo>
                  <a:lnTo>
                    <a:pt x="1385092" y="2351989"/>
                  </a:lnTo>
                  <a:lnTo>
                    <a:pt x="1385364" y="2353864"/>
                  </a:lnTo>
                  <a:lnTo>
                    <a:pt x="1386121" y="2355195"/>
                  </a:lnTo>
                  <a:lnTo>
                    <a:pt x="1386998" y="2355346"/>
                  </a:lnTo>
                  <a:lnTo>
                    <a:pt x="1387391" y="2356224"/>
                  </a:lnTo>
                  <a:lnTo>
                    <a:pt x="1387754" y="2358281"/>
                  </a:lnTo>
                  <a:lnTo>
                    <a:pt x="1388571" y="2359461"/>
                  </a:lnTo>
                  <a:lnTo>
                    <a:pt x="1389388" y="2359007"/>
                  </a:lnTo>
                  <a:lnTo>
                    <a:pt x="1389720" y="2358432"/>
                  </a:lnTo>
                  <a:lnTo>
                    <a:pt x="1390295" y="2357434"/>
                  </a:lnTo>
                  <a:lnTo>
                    <a:pt x="1391112" y="2355316"/>
                  </a:lnTo>
                  <a:lnTo>
                    <a:pt x="1391445" y="2355135"/>
                  </a:lnTo>
                  <a:lnTo>
                    <a:pt x="1391112" y="2356920"/>
                  </a:lnTo>
                  <a:lnTo>
                    <a:pt x="1390689" y="2358614"/>
                  </a:lnTo>
                  <a:lnTo>
                    <a:pt x="1390749" y="2360126"/>
                  </a:lnTo>
                  <a:lnTo>
                    <a:pt x="1391233" y="2361125"/>
                  </a:lnTo>
                  <a:lnTo>
                    <a:pt x="1392413" y="2360671"/>
                  </a:lnTo>
                  <a:lnTo>
                    <a:pt x="1393684" y="2358946"/>
                  </a:lnTo>
                  <a:lnTo>
                    <a:pt x="1394470" y="2356314"/>
                  </a:lnTo>
                  <a:lnTo>
                    <a:pt x="1394530" y="2353652"/>
                  </a:lnTo>
                  <a:lnTo>
                    <a:pt x="1393835" y="2352231"/>
                  </a:lnTo>
                  <a:lnTo>
                    <a:pt x="1392715" y="2351232"/>
                  </a:lnTo>
                  <a:close/>
                  <a:moveTo>
                    <a:pt x="1400127" y="2334775"/>
                  </a:moveTo>
                  <a:lnTo>
                    <a:pt x="1400218" y="2336228"/>
                  </a:lnTo>
                  <a:lnTo>
                    <a:pt x="1400097" y="2343034"/>
                  </a:lnTo>
                  <a:lnTo>
                    <a:pt x="1400278" y="2346876"/>
                  </a:lnTo>
                  <a:lnTo>
                    <a:pt x="1400914" y="2349992"/>
                  </a:lnTo>
                  <a:lnTo>
                    <a:pt x="1401791" y="2348540"/>
                  </a:lnTo>
                  <a:lnTo>
                    <a:pt x="1402003" y="2347148"/>
                  </a:lnTo>
                  <a:lnTo>
                    <a:pt x="1402123" y="2345696"/>
                  </a:lnTo>
                  <a:lnTo>
                    <a:pt x="1402668" y="2344063"/>
                  </a:lnTo>
                  <a:lnTo>
                    <a:pt x="1403213" y="2343700"/>
                  </a:lnTo>
                  <a:lnTo>
                    <a:pt x="1406208" y="2340432"/>
                  </a:lnTo>
                  <a:lnTo>
                    <a:pt x="1406480" y="2339555"/>
                  </a:lnTo>
                  <a:lnTo>
                    <a:pt x="1408204" y="2341733"/>
                  </a:lnTo>
                  <a:lnTo>
                    <a:pt x="1409142" y="2345575"/>
                  </a:lnTo>
                  <a:lnTo>
                    <a:pt x="1410049" y="2348177"/>
                  </a:lnTo>
                  <a:lnTo>
                    <a:pt x="1411653" y="2346695"/>
                  </a:lnTo>
                  <a:lnTo>
                    <a:pt x="1413347" y="2344395"/>
                  </a:lnTo>
                  <a:lnTo>
                    <a:pt x="1417522" y="2341249"/>
                  </a:lnTo>
                  <a:lnTo>
                    <a:pt x="1419276" y="2338860"/>
                  </a:lnTo>
                  <a:lnTo>
                    <a:pt x="1419488" y="2336016"/>
                  </a:lnTo>
                  <a:lnTo>
                    <a:pt x="1416826" y="2324944"/>
                  </a:lnTo>
                  <a:lnTo>
                    <a:pt x="1416039" y="2323461"/>
                  </a:lnTo>
                  <a:lnTo>
                    <a:pt x="1415101" y="2322493"/>
                  </a:lnTo>
                  <a:lnTo>
                    <a:pt x="1413982" y="2322100"/>
                  </a:lnTo>
                  <a:lnTo>
                    <a:pt x="1412742" y="2322312"/>
                  </a:lnTo>
                  <a:lnTo>
                    <a:pt x="1413226" y="2323219"/>
                  </a:lnTo>
                  <a:lnTo>
                    <a:pt x="1413710" y="2324369"/>
                  </a:lnTo>
                  <a:lnTo>
                    <a:pt x="1414164" y="2324944"/>
                  </a:lnTo>
                  <a:lnTo>
                    <a:pt x="1413347" y="2325761"/>
                  </a:lnTo>
                  <a:lnTo>
                    <a:pt x="1412591" y="2326275"/>
                  </a:lnTo>
                  <a:lnTo>
                    <a:pt x="1411774" y="2326517"/>
                  </a:lnTo>
                  <a:lnTo>
                    <a:pt x="1410745" y="2326396"/>
                  </a:lnTo>
                  <a:lnTo>
                    <a:pt x="1411078" y="2327636"/>
                  </a:lnTo>
                  <a:lnTo>
                    <a:pt x="1411320" y="2329270"/>
                  </a:lnTo>
                  <a:lnTo>
                    <a:pt x="1411320" y="2330903"/>
                  </a:lnTo>
                  <a:lnTo>
                    <a:pt x="1411048" y="2332204"/>
                  </a:lnTo>
                  <a:lnTo>
                    <a:pt x="1410261" y="2332628"/>
                  </a:lnTo>
                  <a:lnTo>
                    <a:pt x="1409777" y="2331115"/>
                  </a:lnTo>
                  <a:lnTo>
                    <a:pt x="1409323" y="2327666"/>
                  </a:lnTo>
                  <a:lnTo>
                    <a:pt x="1408023" y="2321646"/>
                  </a:lnTo>
                  <a:lnTo>
                    <a:pt x="1406994" y="2319952"/>
                  </a:lnTo>
                  <a:lnTo>
                    <a:pt x="1405209" y="2321132"/>
                  </a:lnTo>
                  <a:lnTo>
                    <a:pt x="1407751" y="2330177"/>
                  </a:lnTo>
                  <a:lnTo>
                    <a:pt x="1407962" y="2332779"/>
                  </a:lnTo>
                  <a:lnTo>
                    <a:pt x="1407085" y="2335592"/>
                  </a:lnTo>
                  <a:lnTo>
                    <a:pt x="1405875" y="2334140"/>
                  </a:lnTo>
                  <a:lnTo>
                    <a:pt x="1403787" y="2327636"/>
                  </a:lnTo>
                  <a:lnTo>
                    <a:pt x="1402547" y="2329118"/>
                  </a:lnTo>
                  <a:lnTo>
                    <a:pt x="1400157" y="2329451"/>
                  </a:lnTo>
                  <a:lnTo>
                    <a:pt x="1399704" y="2330903"/>
                  </a:lnTo>
                  <a:lnTo>
                    <a:pt x="1399794" y="2332658"/>
                  </a:lnTo>
                  <a:lnTo>
                    <a:pt x="1400248" y="2334745"/>
                  </a:lnTo>
                  <a:close/>
                  <a:moveTo>
                    <a:pt x="1407629" y="2221000"/>
                  </a:moveTo>
                  <a:lnTo>
                    <a:pt x="1406903" y="2222270"/>
                  </a:lnTo>
                  <a:lnTo>
                    <a:pt x="1406419" y="2223450"/>
                  </a:lnTo>
                  <a:lnTo>
                    <a:pt x="1405421" y="2223571"/>
                  </a:lnTo>
                  <a:lnTo>
                    <a:pt x="1404453" y="2223964"/>
                  </a:lnTo>
                  <a:lnTo>
                    <a:pt x="1403878" y="2224721"/>
                  </a:lnTo>
                  <a:lnTo>
                    <a:pt x="1403606" y="2225840"/>
                  </a:lnTo>
                  <a:lnTo>
                    <a:pt x="1403757" y="2227504"/>
                  </a:lnTo>
                  <a:lnTo>
                    <a:pt x="1404181" y="2228835"/>
                  </a:lnTo>
                  <a:lnTo>
                    <a:pt x="1404635" y="2229803"/>
                  </a:lnTo>
                  <a:lnTo>
                    <a:pt x="1405361" y="2230711"/>
                  </a:lnTo>
                  <a:lnTo>
                    <a:pt x="1405875" y="2231043"/>
                  </a:lnTo>
                  <a:lnTo>
                    <a:pt x="1406268" y="2231376"/>
                  </a:lnTo>
                  <a:lnTo>
                    <a:pt x="1407085" y="2231800"/>
                  </a:lnTo>
                  <a:lnTo>
                    <a:pt x="1408900" y="2230832"/>
                  </a:lnTo>
                  <a:lnTo>
                    <a:pt x="1409777" y="2231134"/>
                  </a:lnTo>
                  <a:lnTo>
                    <a:pt x="1410473" y="2231800"/>
                  </a:lnTo>
                  <a:lnTo>
                    <a:pt x="1410806" y="2232737"/>
                  </a:lnTo>
                  <a:lnTo>
                    <a:pt x="1410866" y="2233161"/>
                  </a:lnTo>
                  <a:lnTo>
                    <a:pt x="1411078" y="2231648"/>
                  </a:lnTo>
                  <a:lnTo>
                    <a:pt x="1410927" y="2228532"/>
                  </a:lnTo>
                  <a:lnTo>
                    <a:pt x="1410170" y="2226899"/>
                  </a:lnTo>
                  <a:lnTo>
                    <a:pt x="1409535" y="2226143"/>
                  </a:lnTo>
                  <a:lnTo>
                    <a:pt x="1409021" y="2224721"/>
                  </a:lnTo>
                  <a:lnTo>
                    <a:pt x="1408325" y="2223692"/>
                  </a:lnTo>
                  <a:lnTo>
                    <a:pt x="1408567" y="2221544"/>
                  </a:lnTo>
                  <a:lnTo>
                    <a:pt x="1407599" y="2221030"/>
                  </a:lnTo>
                  <a:close/>
                  <a:moveTo>
                    <a:pt x="1410443" y="2199007"/>
                  </a:moveTo>
                  <a:lnTo>
                    <a:pt x="1413317" y="2198826"/>
                  </a:lnTo>
                  <a:lnTo>
                    <a:pt x="1412046" y="2201155"/>
                  </a:lnTo>
                  <a:lnTo>
                    <a:pt x="1411381" y="2202093"/>
                  </a:lnTo>
                  <a:lnTo>
                    <a:pt x="1410624" y="2202849"/>
                  </a:lnTo>
                  <a:lnTo>
                    <a:pt x="1408658" y="2201488"/>
                  </a:lnTo>
                  <a:lnTo>
                    <a:pt x="1407660" y="2201669"/>
                  </a:lnTo>
                  <a:lnTo>
                    <a:pt x="1407780" y="2204180"/>
                  </a:lnTo>
                  <a:lnTo>
                    <a:pt x="1409535" y="2207205"/>
                  </a:lnTo>
                  <a:lnTo>
                    <a:pt x="1412228" y="2208022"/>
                  </a:lnTo>
                  <a:lnTo>
                    <a:pt x="1421969" y="2205118"/>
                  </a:lnTo>
                  <a:lnTo>
                    <a:pt x="1426052" y="2202577"/>
                  </a:lnTo>
                  <a:lnTo>
                    <a:pt x="1429804" y="2198795"/>
                  </a:lnTo>
                  <a:lnTo>
                    <a:pt x="1433373" y="2193350"/>
                  </a:lnTo>
                  <a:lnTo>
                    <a:pt x="1434523" y="2195014"/>
                  </a:lnTo>
                  <a:lnTo>
                    <a:pt x="1434644" y="2196980"/>
                  </a:lnTo>
                  <a:lnTo>
                    <a:pt x="1433948" y="2198856"/>
                  </a:lnTo>
                  <a:lnTo>
                    <a:pt x="1432587" y="2200157"/>
                  </a:lnTo>
                  <a:lnTo>
                    <a:pt x="1438455" y="2199279"/>
                  </a:lnTo>
                  <a:lnTo>
                    <a:pt x="1441360" y="2197646"/>
                  </a:lnTo>
                  <a:lnTo>
                    <a:pt x="1443114" y="2194802"/>
                  </a:lnTo>
                  <a:lnTo>
                    <a:pt x="1415979" y="2185273"/>
                  </a:lnTo>
                  <a:lnTo>
                    <a:pt x="1411592" y="2185031"/>
                  </a:lnTo>
                  <a:lnTo>
                    <a:pt x="1407145" y="2186755"/>
                  </a:lnTo>
                  <a:lnTo>
                    <a:pt x="1407145" y="2189962"/>
                  </a:lnTo>
                  <a:lnTo>
                    <a:pt x="1405239" y="2192019"/>
                  </a:lnTo>
                  <a:lnTo>
                    <a:pt x="1402759" y="2193804"/>
                  </a:lnTo>
                  <a:lnTo>
                    <a:pt x="1400883" y="2196103"/>
                  </a:lnTo>
                  <a:lnTo>
                    <a:pt x="1403515" y="2197555"/>
                  </a:lnTo>
                  <a:lnTo>
                    <a:pt x="1410443" y="2198947"/>
                  </a:lnTo>
                  <a:close/>
                  <a:moveTo>
                    <a:pt x="1419095" y="2163189"/>
                  </a:moveTo>
                  <a:lnTo>
                    <a:pt x="1419276" y="2164006"/>
                  </a:lnTo>
                  <a:lnTo>
                    <a:pt x="1420517" y="2165791"/>
                  </a:lnTo>
                  <a:lnTo>
                    <a:pt x="1426143" y="2170510"/>
                  </a:lnTo>
                  <a:lnTo>
                    <a:pt x="1426294" y="2173142"/>
                  </a:lnTo>
                  <a:lnTo>
                    <a:pt x="1425538" y="2174352"/>
                  </a:lnTo>
                  <a:lnTo>
                    <a:pt x="1425115" y="2173535"/>
                  </a:lnTo>
                  <a:lnTo>
                    <a:pt x="1424359" y="2172628"/>
                  </a:lnTo>
                  <a:lnTo>
                    <a:pt x="1423148" y="2172900"/>
                  </a:lnTo>
                  <a:lnTo>
                    <a:pt x="1422271" y="2174413"/>
                  </a:lnTo>
                  <a:lnTo>
                    <a:pt x="1422210" y="2176198"/>
                  </a:lnTo>
                  <a:lnTo>
                    <a:pt x="1422816" y="2177075"/>
                  </a:lnTo>
                  <a:lnTo>
                    <a:pt x="1424056" y="2177831"/>
                  </a:lnTo>
                  <a:lnTo>
                    <a:pt x="1424782" y="2177922"/>
                  </a:lnTo>
                  <a:lnTo>
                    <a:pt x="1428230" y="2179374"/>
                  </a:lnTo>
                  <a:lnTo>
                    <a:pt x="1430227" y="2179313"/>
                  </a:lnTo>
                  <a:lnTo>
                    <a:pt x="1431982" y="2177438"/>
                  </a:lnTo>
                  <a:lnTo>
                    <a:pt x="1433071" y="2175109"/>
                  </a:lnTo>
                  <a:lnTo>
                    <a:pt x="1433555" y="2173203"/>
                  </a:lnTo>
                  <a:lnTo>
                    <a:pt x="1433767" y="2172174"/>
                  </a:lnTo>
                  <a:lnTo>
                    <a:pt x="1434674" y="2169028"/>
                  </a:lnTo>
                  <a:lnTo>
                    <a:pt x="1435642" y="2167273"/>
                  </a:lnTo>
                  <a:lnTo>
                    <a:pt x="1435975" y="2165428"/>
                  </a:lnTo>
                  <a:lnTo>
                    <a:pt x="1434099" y="2161102"/>
                  </a:lnTo>
                  <a:lnTo>
                    <a:pt x="1432768" y="2159922"/>
                  </a:lnTo>
                  <a:lnTo>
                    <a:pt x="1430923" y="2160799"/>
                  </a:lnTo>
                  <a:lnTo>
                    <a:pt x="1429653" y="2161889"/>
                  </a:lnTo>
                  <a:lnTo>
                    <a:pt x="1429319" y="2162947"/>
                  </a:lnTo>
                  <a:lnTo>
                    <a:pt x="1428715" y="2163734"/>
                  </a:lnTo>
                  <a:lnTo>
                    <a:pt x="1427504" y="2163250"/>
                  </a:lnTo>
                  <a:lnTo>
                    <a:pt x="1421666" y="2158954"/>
                  </a:lnTo>
                  <a:lnTo>
                    <a:pt x="1420002" y="2158077"/>
                  </a:lnTo>
                  <a:lnTo>
                    <a:pt x="1419216" y="2158319"/>
                  </a:lnTo>
                  <a:lnTo>
                    <a:pt x="1419276" y="2159590"/>
                  </a:lnTo>
                  <a:lnTo>
                    <a:pt x="1419095" y="2161314"/>
                  </a:lnTo>
                  <a:lnTo>
                    <a:pt x="1419095" y="2163129"/>
                  </a:lnTo>
                  <a:close/>
                  <a:moveTo>
                    <a:pt x="1472912" y="2123015"/>
                  </a:moveTo>
                  <a:lnTo>
                    <a:pt x="1473275" y="2124589"/>
                  </a:lnTo>
                  <a:lnTo>
                    <a:pt x="1474031" y="2125950"/>
                  </a:lnTo>
                  <a:lnTo>
                    <a:pt x="1474818" y="2126525"/>
                  </a:lnTo>
                  <a:lnTo>
                    <a:pt x="1475725" y="2126948"/>
                  </a:lnTo>
                  <a:lnTo>
                    <a:pt x="1491275" y="2127281"/>
                  </a:lnTo>
                  <a:lnTo>
                    <a:pt x="1499019" y="2124014"/>
                  </a:lnTo>
                  <a:lnTo>
                    <a:pt x="1500259" y="2122501"/>
                  </a:lnTo>
                  <a:lnTo>
                    <a:pt x="1500350" y="2121684"/>
                  </a:lnTo>
                  <a:lnTo>
                    <a:pt x="1500925" y="2119113"/>
                  </a:lnTo>
                  <a:lnTo>
                    <a:pt x="1500653" y="2119325"/>
                  </a:lnTo>
                  <a:lnTo>
                    <a:pt x="1500168" y="2118750"/>
                  </a:lnTo>
                  <a:lnTo>
                    <a:pt x="1499715" y="2117843"/>
                  </a:lnTo>
                  <a:lnTo>
                    <a:pt x="1499533" y="2117026"/>
                  </a:lnTo>
                  <a:lnTo>
                    <a:pt x="1499684" y="2115211"/>
                  </a:lnTo>
                  <a:lnTo>
                    <a:pt x="1500078" y="2113789"/>
                  </a:lnTo>
                  <a:lnTo>
                    <a:pt x="1500713" y="2112760"/>
                  </a:lnTo>
                  <a:lnTo>
                    <a:pt x="1501590" y="2112186"/>
                  </a:lnTo>
                  <a:lnTo>
                    <a:pt x="1501257" y="2110068"/>
                  </a:lnTo>
                  <a:lnTo>
                    <a:pt x="1499261" y="2109312"/>
                  </a:lnTo>
                  <a:lnTo>
                    <a:pt x="1494723" y="2109463"/>
                  </a:lnTo>
                  <a:lnTo>
                    <a:pt x="1493755" y="2109191"/>
                  </a:lnTo>
                  <a:lnTo>
                    <a:pt x="1492938" y="2108465"/>
                  </a:lnTo>
                  <a:lnTo>
                    <a:pt x="1492243" y="2107376"/>
                  </a:lnTo>
                  <a:lnTo>
                    <a:pt x="1491547" y="2106075"/>
                  </a:lnTo>
                  <a:lnTo>
                    <a:pt x="1490700" y="2105258"/>
                  </a:lnTo>
                  <a:lnTo>
                    <a:pt x="1489822" y="2105591"/>
                  </a:lnTo>
                  <a:lnTo>
                    <a:pt x="1488945" y="2106347"/>
                  </a:lnTo>
                  <a:lnTo>
                    <a:pt x="1488098" y="2106770"/>
                  </a:lnTo>
                  <a:lnTo>
                    <a:pt x="1480838" y="2106165"/>
                  </a:lnTo>
                  <a:lnTo>
                    <a:pt x="1477299" y="2107285"/>
                  </a:lnTo>
                  <a:lnTo>
                    <a:pt x="1475332" y="2110945"/>
                  </a:lnTo>
                  <a:lnTo>
                    <a:pt x="1475876" y="2111580"/>
                  </a:lnTo>
                  <a:lnTo>
                    <a:pt x="1476179" y="2112216"/>
                  </a:lnTo>
                  <a:lnTo>
                    <a:pt x="1476391" y="2112851"/>
                  </a:lnTo>
                  <a:lnTo>
                    <a:pt x="1476693" y="2113547"/>
                  </a:lnTo>
                  <a:lnTo>
                    <a:pt x="1474909" y="2113880"/>
                  </a:lnTo>
                  <a:lnTo>
                    <a:pt x="1473335" y="2115301"/>
                  </a:lnTo>
                  <a:lnTo>
                    <a:pt x="1472761" y="2116874"/>
                  </a:lnTo>
                  <a:lnTo>
                    <a:pt x="1473971" y="2117601"/>
                  </a:lnTo>
                  <a:lnTo>
                    <a:pt x="1477813" y="2118236"/>
                  </a:lnTo>
                  <a:lnTo>
                    <a:pt x="1479840" y="2119083"/>
                  </a:lnTo>
                  <a:lnTo>
                    <a:pt x="1481564" y="2120323"/>
                  </a:lnTo>
                  <a:lnTo>
                    <a:pt x="1479295" y="2121805"/>
                  </a:lnTo>
                  <a:lnTo>
                    <a:pt x="1471127" y="2120323"/>
                  </a:lnTo>
                  <a:lnTo>
                    <a:pt x="1472307" y="2121442"/>
                  </a:lnTo>
                  <a:lnTo>
                    <a:pt x="1472791" y="2122925"/>
                  </a:lnTo>
                  <a:close/>
                  <a:moveTo>
                    <a:pt x="1484710" y="2101839"/>
                  </a:moveTo>
                  <a:lnTo>
                    <a:pt x="1486101" y="2101749"/>
                  </a:lnTo>
                  <a:lnTo>
                    <a:pt x="1486525" y="2100811"/>
                  </a:lnTo>
                  <a:lnTo>
                    <a:pt x="1487070" y="2100085"/>
                  </a:lnTo>
                  <a:lnTo>
                    <a:pt x="1487856" y="2099722"/>
                  </a:lnTo>
                  <a:lnTo>
                    <a:pt x="1488038" y="2100176"/>
                  </a:lnTo>
                  <a:lnTo>
                    <a:pt x="1488613" y="2101144"/>
                  </a:lnTo>
                  <a:lnTo>
                    <a:pt x="1491063" y="2101416"/>
                  </a:lnTo>
                  <a:lnTo>
                    <a:pt x="1494027" y="2100357"/>
                  </a:lnTo>
                  <a:lnTo>
                    <a:pt x="1495086" y="2099208"/>
                  </a:lnTo>
                  <a:lnTo>
                    <a:pt x="1494542" y="2099087"/>
                  </a:lnTo>
                  <a:lnTo>
                    <a:pt x="1494633" y="2098119"/>
                  </a:lnTo>
                  <a:lnTo>
                    <a:pt x="1495419" y="2095759"/>
                  </a:lnTo>
                  <a:lnTo>
                    <a:pt x="1495328" y="2093581"/>
                  </a:lnTo>
                  <a:lnTo>
                    <a:pt x="1494118" y="2093369"/>
                  </a:lnTo>
                  <a:lnTo>
                    <a:pt x="1493301" y="2093671"/>
                  </a:lnTo>
                  <a:lnTo>
                    <a:pt x="1493150" y="2093067"/>
                  </a:lnTo>
                  <a:lnTo>
                    <a:pt x="1492727" y="2092643"/>
                  </a:lnTo>
                  <a:lnTo>
                    <a:pt x="1490821" y="2092734"/>
                  </a:lnTo>
                  <a:lnTo>
                    <a:pt x="1489641" y="2093248"/>
                  </a:lnTo>
                  <a:lnTo>
                    <a:pt x="1489006" y="2094579"/>
                  </a:lnTo>
                  <a:lnTo>
                    <a:pt x="1489096" y="2096364"/>
                  </a:lnTo>
                  <a:lnTo>
                    <a:pt x="1488401" y="2096908"/>
                  </a:lnTo>
                  <a:lnTo>
                    <a:pt x="1486495" y="2096636"/>
                  </a:lnTo>
                  <a:lnTo>
                    <a:pt x="1484075" y="2097302"/>
                  </a:lnTo>
                  <a:lnTo>
                    <a:pt x="1482018" y="2098875"/>
                  </a:lnTo>
                  <a:lnTo>
                    <a:pt x="1481352" y="2099873"/>
                  </a:lnTo>
                  <a:lnTo>
                    <a:pt x="1482441" y="2100690"/>
                  </a:lnTo>
                  <a:lnTo>
                    <a:pt x="1484649" y="2101779"/>
                  </a:lnTo>
                  <a:close/>
                  <a:moveTo>
                    <a:pt x="1472519" y="2096606"/>
                  </a:moveTo>
                  <a:lnTo>
                    <a:pt x="1472579" y="2097665"/>
                  </a:lnTo>
                  <a:lnTo>
                    <a:pt x="1473154" y="2098754"/>
                  </a:lnTo>
                  <a:lnTo>
                    <a:pt x="1475272" y="2099389"/>
                  </a:lnTo>
                  <a:lnTo>
                    <a:pt x="1478720" y="2098693"/>
                  </a:lnTo>
                  <a:lnTo>
                    <a:pt x="1480444" y="2097786"/>
                  </a:lnTo>
                  <a:lnTo>
                    <a:pt x="1480807" y="2096787"/>
                  </a:lnTo>
                  <a:lnTo>
                    <a:pt x="1480687" y="2094851"/>
                  </a:lnTo>
                  <a:lnTo>
                    <a:pt x="1479204" y="2093974"/>
                  </a:lnTo>
                  <a:lnTo>
                    <a:pt x="1477510" y="2093520"/>
                  </a:lnTo>
                  <a:lnTo>
                    <a:pt x="1475756" y="2092159"/>
                  </a:lnTo>
                  <a:lnTo>
                    <a:pt x="1473366" y="2091796"/>
                  </a:lnTo>
                  <a:lnTo>
                    <a:pt x="1471974" y="2092945"/>
                  </a:lnTo>
                  <a:lnTo>
                    <a:pt x="1472670" y="2095850"/>
                  </a:lnTo>
                  <a:lnTo>
                    <a:pt x="1472458" y="2096636"/>
                  </a:lnTo>
                  <a:close/>
                  <a:moveTo>
                    <a:pt x="1504101" y="2099813"/>
                  </a:moveTo>
                  <a:lnTo>
                    <a:pt x="1505341" y="2103080"/>
                  </a:lnTo>
                  <a:lnTo>
                    <a:pt x="1504404" y="2108344"/>
                  </a:lnTo>
                  <a:lnTo>
                    <a:pt x="1504948" y="2108555"/>
                  </a:lnTo>
                  <a:lnTo>
                    <a:pt x="1505886" y="2109342"/>
                  </a:lnTo>
                  <a:lnTo>
                    <a:pt x="1506400" y="2109584"/>
                  </a:lnTo>
                  <a:lnTo>
                    <a:pt x="1505341" y="2111701"/>
                  </a:lnTo>
                  <a:lnTo>
                    <a:pt x="1503043" y="2114303"/>
                  </a:lnTo>
                  <a:lnTo>
                    <a:pt x="1502377" y="2116481"/>
                  </a:lnTo>
                  <a:lnTo>
                    <a:pt x="1508669" y="2114545"/>
                  </a:lnTo>
                  <a:lnTo>
                    <a:pt x="1525096" y="2098724"/>
                  </a:lnTo>
                  <a:lnTo>
                    <a:pt x="1527123" y="2097544"/>
                  </a:lnTo>
                  <a:lnTo>
                    <a:pt x="1528212" y="2097302"/>
                  </a:lnTo>
                  <a:lnTo>
                    <a:pt x="1529301" y="2097302"/>
                  </a:lnTo>
                  <a:lnTo>
                    <a:pt x="1528030" y="2096092"/>
                  </a:lnTo>
                  <a:lnTo>
                    <a:pt x="1524037" y="2093702"/>
                  </a:lnTo>
                  <a:lnTo>
                    <a:pt x="1522645" y="2093248"/>
                  </a:lnTo>
                  <a:lnTo>
                    <a:pt x="1521284" y="2092492"/>
                  </a:lnTo>
                  <a:lnTo>
                    <a:pt x="1520770" y="2090677"/>
                  </a:lnTo>
                  <a:lnTo>
                    <a:pt x="1520588" y="2088468"/>
                  </a:lnTo>
                  <a:lnTo>
                    <a:pt x="1520165" y="2086441"/>
                  </a:lnTo>
                  <a:lnTo>
                    <a:pt x="1518017" y="2082267"/>
                  </a:lnTo>
                  <a:lnTo>
                    <a:pt x="1515657" y="2080119"/>
                  </a:lnTo>
                  <a:lnTo>
                    <a:pt x="1512965" y="2079756"/>
                  </a:lnTo>
                  <a:lnTo>
                    <a:pt x="1509879" y="2080966"/>
                  </a:lnTo>
                  <a:lnTo>
                    <a:pt x="1507429" y="2082600"/>
                  </a:lnTo>
                  <a:lnTo>
                    <a:pt x="1504888" y="2085080"/>
                  </a:lnTo>
                  <a:lnTo>
                    <a:pt x="1502770" y="2088559"/>
                  </a:lnTo>
                  <a:lnTo>
                    <a:pt x="1501651" y="2093218"/>
                  </a:lnTo>
                  <a:lnTo>
                    <a:pt x="1502346" y="2096999"/>
                  </a:lnTo>
                  <a:lnTo>
                    <a:pt x="1504101" y="2099782"/>
                  </a:lnTo>
                  <a:close/>
                  <a:moveTo>
                    <a:pt x="1537922" y="2086441"/>
                  </a:moveTo>
                  <a:lnTo>
                    <a:pt x="1553350" y="2084959"/>
                  </a:lnTo>
                  <a:lnTo>
                    <a:pt x="1553714" y="2084445"/>
                  </a:lnTo>
                  <a:lnTo>
                    <a:pt x="1553986" y="2083931"/>
                  </a:lnTo>
                  <a:lnTo>
                    <a:pt x="1554288" y="2083598"/>
                  </a:lnTo>
                  <a:lnTo>
                    <a:pt x="1554772" y="2083598"/>
                  </a:lnTo>
                  <a:lnTo>
                    <a:pt x="1553653" y="2081178"/>
                  </a:lnTo>
                  <a:lnTo>
                    <a:pt x="1551838" y="2080694"/>
                  </a:lnTo>
                  <a:lnTo>
                    <a:pt x="1547784" y="2080966"/>
                  </a:lnTo>
                  <a:lnTo>
                    <a:pt x="1543095" y="2077457"/>
                  </a:lnTo>
                  <a:lnTo>
                    <a:pt x="1541613" y="2076761"/>
                  </a:lnTo>
                  <a:lnTo>
                    <a:pt x="1523674" y="2078243"/>
                  </a:lnTo>
                  <a:lnTo>
                    <a:pt x="1530450" y="2085231"/>
                  </a:lnTo>
                  <a:lnTo>
                    <a:pt x="1537922" y="2086411"/>
                  </a:lnTo>
                  <a:close/>
                  <a:moveTo>
                    <a:pt x="1588019" y="2030597"/>
                  </a:moveTo>
                  <a:lnTo>
                    <a:pt x="1588382" y="2031656"/>
                  </a:lnTo>
                  <a:lnTo>
                    <a:pt x="1588503" y="2033532"/>
                  </a:lnTo>
                  <a:lnTo>
                    <a:pt x="1588956" y="2034470"/>
                  </a:lnTo>
                  <a:lnTo>
                    <a:pt x="1590015" y="2034167"/>
                  </a:lnTo>
                  <a:lnTo>
                    <a:pt x="1596671" y="2030355"/>
                  </a:lnTo>
                  <a:lnTo>
                    <a:pt x="1613248" y="2025969"/>
                  </a:lnTo>
                  <a:lnTo>
                    <a:pt x="1613793" y="2022127"/>
                  </a:lnTo>
                  <a:lnTo>
                    <a:pt x="1612280" y="2019011"/>
                  </a:lnTo>
                  <a:lnTo>
                    <a:pt x="1609709" y="2016954"/>
                  </a:lnTo>
                  <a:lnTo>
                    <a:pt x="1607077" y="2016319"/>
                  </a:lnTo>
                  <a:lnTo>
                    <a:pt x="1596126" y="2020977"/>
                  </a:lnTo>
                  <a:lnTo>
                    <a:pt x="1593282" y="2020463"/>
                  </a:lnTo>
                  <a:lnTo>
                    <a:pt x="1593978" y="2018981"/>
                  </a:lnTo>
                  <a:lnTo>
                    <a:pt x="1592042" y="2018406"/>
                  </a:lnTo>
                  <a:lnTo>
                    <a:pt x="1590197" y="2019525"/>
                  </a:lnTo>
                  <a:lnTo>
                    <a:pt x="1589199" y="2022157"/>
                  </a:lnTo>
                  <a:lnTo>
                    <a:pt x="1589864" y="2025999"/>
                  </a:lnTo>
                  <a:lnTo>
                    <a:pt x="1589077" y="2027149"/>
                  </a:lnTo>
                  <a:lnTo>
                    <a:pt x="1588230" y="2027996"/>
                  </a:lnTo>
                  <a:lnTo>
                    <a:pt x="1587323" y="2028510"/>
                  </a:lnTo>
                  <a:lnTo>
                    <a:pt x="1586355" y="2028752"/>
                  </a:lnTo>
                  <a:lnTo>
                    <a:pt x="1586355" y="2029992"/>
                  </a:lnTo>
                  <a:lnTo>
                    <a:pt x="1587323" y="2030174"/>
                  </a:lnTo>
                  <a:lnTo>
                    <a:pt x="1587988" y="2030628"/>
                  </a:lnTo>
                  <a:close/>
                  <a:moveTo>
                    <a:pt x="1605837" y="2006517"/>
                  </a:moveTo>
                  <a:lnTo>
                    <a:pt x="1608771" y="2009482"/>
                  </a:lnTo>
                  <a:lnTo>
                    <a:pt x="1610556" y="2010420"/>
                  </a:lnTo>
                  <a:lnTo>
                    <a:pt x="1611948" y="2009391"/>
                  </a:lnTo>
                  <a:lnTo>
                    <a:pt x="1612280" y="2007304"/>
                  </a:lnTo>
                  <a:lnTo>
                    <a:pt x="1611766" y="2005519"/>
                  </a:lnTo>
                  <a:lnTo>
                    <a:pt x="1610828" y="2004248"/>
                  </a:lnTo>
                  <a:lnTo>
                    <a:pt x="1609921" y="2003734"/>
                  </a:lnTo>
                  <a:lnTo>
                    <a:pt x="1611554" y="2001344"/>
                  </a:lnTo>
                  <a:lnTo>
                    <a:pt x="1616152" y="2000104"/>
                  </a:lnTo>
                  <a:lnTo>
                    <a:pt x="1616152" y="1996927"/>
                  </a:lnTo>
                  <a:lnTo>
                    <a:pt x="1614368" y="1993872"/>
                  </a:lnTo>
                  <a:lnTo>
                    <a:pt x="1611282" y="1994417"/>
                  </a:lnTo>
                  <a:lnTo>
                    <a:pt x="1607863" y="1996201"/>
                  </a:lnTo>
                  <a:lnTo>
                    <a:pt x="1605081" y="1996927"/>
                  </a:lnTo>
                  <a:lnTo>
                    <a:pt x="1602388" y="1994326"/>
                  </a:lnTo>
                  <a:lnTo>
                    <a:pt x="1600815" y="1993690"/>
                  </a:lnTo>
                  <a:lnTo>
                    <a:pt x="1599575" y="1995445"/>
                  </a:lnTo>
                  <a:lnTo>
                    <a:pt x="1599575" y="1997290"/>
                  </a:lnTo>
                  <a:lnTo>
                    <a:pt x="1600331" y="1998833"/>
                  </a:lnTo>
                  <a:lnTo>
                    <a:pt x="1602267" y="2000860"/>
                  </a:lnTo>
                  <a:lnTo>
                    <a:pt x="1600331" y="2000527"/>
                  </a:lnTo>
                  <a:lnTo>
                    <a:pt x="1599061" y="2000860"/>
                  </a:lnTo>
                  <a:lnTo>
                    <a:pt x="1598879" y="2001919"/>
                  </a:lnTo>
                  <a:lnTo>
                    <a:pt x="1600301" y="2003734"/>
                  </a:lnTo>
                  <a:lnTo>
                    <a:pt x="1605867" y="2006487"/>
                  </a:lnTo>
                  <a:close/>
                  <a:moveTo>
                    <a:pt x="1697801" y="1957994"/>
                  </a:moveTo>
                  <a:lnTo>
                    <a:pt x="1698194" y="1958387"/>
                  </a:lnTo>
                  <a:lnTo>
                    <a:pt x="1699495" y="1960142"/>
                  </a:lnTo>
                  <a:lnTo>
                    <a:pt x="1700282" y="1960686"/>
                  </a:lnTo>
                  <a:lnTo>
                    <a:pt x="1701250" y="1960595"/>
                  </a:lnTo>
                  <a:lnTo>
                    <a:pt x="1703065" y="1959537"/>
                  </a:lnTo>
                  <a:lnTo>
                    <a:pt x="1706816" y="1958236"/>
                  </a:lnTo>
                  <a:lnTo>
                    <a:pt x="1709872" y="1955604"/>
                  </a:lnTo>
                  <a:lnTo>
                    <a:pt x="1712534" y="1952034"/>
                  </a:lnTo>
                  <a:lnTo>
                    <a:pt x="1714016" y="1948132"/>
                  </a:lnTo>
                  <a:lnTo>
                    <a:pt x="1711202" y="1944441"/>
                  </a:lnTo>
                  <a:lnTo>
                    <a:pt x="1707361" y="1944804"/>
                  </a:lnTo>
                  <a:lnTo>
                    <a:pt x="1700282" y="1948132"/>
                  </a:lnTo>
                  <a:lnTo>
                    <a:pt x="1695744" y="1945318"/>
                  </a:lnTo>
                  <a:lnTo>
                    <a:pt x="1695048" y="1945651"/>
                  </a:lnTo>
                  <a:lnTo>
                    <a:pt x="1694443" y="1946347"/>
                  </a:lnTo>
                  <a:lnTo>
                    <a:pt x="1693657" y="1946710"/>
                  </a:lnTo>
                  <a:lnTo>
                    <a:pt x="1693263" y="1947799"/>
                  </a:lnTo>
                  <a:lnTo>
                    <a:pt x="1693021" y="1950129"/>
                  </a:lnTo>
                  <a:lnTo>
                    <a:pt x="1692295" y="1952125"/>
                  </a:lnTo>
                  <a:lnTo>
                    <a:pt x="1690511" y="1952276"/>
                  </a:lnTo>
                  <a:lnTo>
                    <a:pt x="1690511" y="1953547"/>
                  </a:lnTo>
                  <a:lnTo>
                    <a:pt x="1695925" y="1957419"/>
                  </a:lnTo>
                  <a:lnTo>
                    <a:pt x="1697801" y="1957964"/>
                  </a:lnTo>
                  <a:close/>
                  <a:moveTo>
                    <a:pt x="1661499" y="1968945"/>
                  </a:moveTo>
                  <a:lnTo>
                    <a:pt x="1668790" y="1971819"/>
                  </a:lnTo>
                  <a:lnTo>
                    <a:pt x="1669546" y="1972484"/>
                  </a:lnTo>
                  <a:lnTo>
                    <a:pt x="1671180" y="1975540"/>
                  </a:lnTo>
                  <a:lnTo>
                    <a:pt x="1671271" y="1975963"/>
                  </a:lnTo>
                  <a:lnTo>
                    <a:pt x="1673146" y="1976447"/>
                  </a:lnTo>
                  <a:lnTo>
                    <a:pt x="1674931" y="1975812"/>
                  </a:lnTo>
                  <a:lnTo>
                    <a:pt x="1682191" y="1969913"/>
                  </a:lnTo>
                  <a:lnTo>
                    <a:pt x="1683280" y="1968340"/>
                  </a:lnTo>
                  <a:lnTo>
                    <a:pt x="1684732" y="1966948"/>
                  </a:lnTo>
                  <a:lnTo>
                    <a:pt x="1688786" y="1966252"/>
                  </a:lnTo>
                  <a:lnTo>
                    <a:pt x="1690541" y="1965496"/>
                  </a:lnTo>
                  <a:lnTo>
                    <a:pt x="1693021" y="1963469"/>
                  </a:lnTo>
                  <a:lnTo>
                    <a:pt x="1692144" y="1962895"/>
                  </a:lnTo>
                  <a:lnTo>
                    <a:pt x="1690511" y="1960686"/>
                  </a:lnTo>
                  <a:lnTo>
                    <a:pt x="1688635" y="1956149"/>
                  </a:lnTo>
                  <a:lnTo>
                    <a:pt x="1687576" y="1954212"/>
                  </a:lnTo>
                  <a:lnTo>
                    <a:pt x="1686396" y="1953577"/>
                  </a:lnTo>
                  <a:lnTo>
                    <a:pt x="1687334" y="1950643"/>
                  </a:lnTo>
                  <a:lnTo>
                    <a:pt x="1687425" y="1948374"/>
                  </a:lnTo>
                  <a:lnTo>
                    <a:pt x="1687183" y="1945924"/>
                  </a:lnTo>
                  <a:lnTo>
                    <a:pt x="1687183" y="1942414"/>
                  </a:lnTo>
                  <a:lnTo>
                    <a:pt x="1686064" y="1941174"/>
                  </a:lnTo>
                  <a:lnTo>
                    <a:pt x="1684400" y="1940811"/>
                  </a:lnTo>
                  <a:lnTo>
                    <a:pt x="1680830" y="1941053"/>
                  </a:lnTo>
                  <a:lnTo>
                    <a:pt x="1682887" y="1946498"/>
                  </a:lnTo>
                  <a:lnTo>
                    <a:pt x="1682948" y="1948858"/>
                  </a:lnTo>
                  <a:lnTo>
                    <a:pt x="1681889" y="1951671"/>
                  </a:lnTo>
                  <a:lnTo>
                    <a:pt x="1681254" y="1952034"/>
                  </a:lnTo>
                  <a:lnTo>
                    <a:pt x="1679741" y="1953244"/>
                  </a:lnTo>
                  <a:lnTo>
                    <a:pt x="1678652" y="1954545"/>
                  </a:lnTo>
                  <a:lnTo>
                    <a:pt x="1679832" y="1955846"/>
                  </a:lnTo>
                  <a:lnTo>
                    <a:pt x="1679832" y="1957480"/>
                  </a:lnTo>
                  <a:lnTo>
                    <a:pt x="1679469" y="1959325"/>
                  </a:lnTo>
                  <a:lnTo>
                    <a:pt x="1678834" y="1960747"/>
                  </a:lnTo>
                  <a:lnTo>
                    <a:pt x="1674992" y="1955362"/>
                  </a:lnTo>
                  <a:lnTo>
                    <a:pt x="1672753" y="1953789"/>
                  </a:lnTo>
                  <a:lnTo>
                    <a:pt x="1669879" y="1953638"/>
                  </a:lnTo>
                  <a:lnTo>
                    <a:pt x="1671271" y="1950975"/>
                  </a:lnTo>
                  <a:lnTo>
                    <a:pt x="1664585" y="1952427"/>
                  </a:lnTo>
                  <a:lnTo>
                    <a:pt x="1662346" y="1952367"/>
                  </a:lnTo>
                  <a:lnTo>
                    <a:pt x="1662346" y="1953638"/>
                  </a:lnTo>
                  <a:lnTo>
                    <a:pt x="1663284" y="1953638"/>
                  </a:lnTo>
                  <a:lnTo>
                    <a:pt x="1664101" y="1953970"/>
                  </a:lnTo>
                  <a:lnTo>
                    <a:pt x="1665765" y="1955180"/>
                  </a:lnTo>
                  <a:lnTo>
                    <a:pt x="1664282" y="1956058"/>
                  </a:lnTo>
                  <a:lnTo>
                    <a:pt x="1663950" y="1957510"/>
                  </a:lnTo>
                  <a:lnTo>
                    <a:pt x="1664524" y="1959204"/>
                  </a:lnTo>
                  <a:lnTo>
                    <a:pt x="1665765" y="1960717"/>
                  </a:lnTo>
                  <a:lnTo>
                    <a:pt x="1661863" y="1962259"/>
                  </a:lnTo>
                  <a:lnTo>
                    <a:pt x="1659745" y="1963590"/>
                  </a:lnTo>
                  <a:lnTo>
                    <a:pt x="1658807" y="1965496"/>
                  </a:lnTo>
                  <a:lnTo>
                    <a:pt x="1659594" y="1967463"/>
                  </a:lnTo>
                  <a:lnTo>
                    <a:pt x="1661439" y="1968975"/>
                  </a:lnTo>
                  <a:close/>
                  <a:moveTo>
                    <a:pt x="1739215" y="1921148"/>
                  </a:moveTo>
                  <a:lnTo>
                    <a:pt x="1740062" y="1922055"/>
                  </a:lnTo>
                  <a:lnTo>
                    <a:pt x="1740879" y="1923628"/>
                  </a:lnTo>
                  <a:lnTo>
                    <a:pt x="1741787" y="1929043"/>
                  </a:lnTo>
                  <a:lnTo>
                    <a:pt x="1742301" y="1930647"/>
                  </a:lnTo>
                  <a:lnTo>
                    <a:pt x="1743693" y="1931826"/>
                  </a:lnTo>
                  <a:lnTo>
                    <a:pt x="1745871" y="1932189"/>
                  </a:lnTo>
                  <a:lnTo>
                    <a:pt x="1753464" y="1930616"/>
                  </a:lnTo>
                  <a:lnTo>
                    <a:pt x="1755339" y="1929769"/>
                  </a:lnTo>
                  <a:lnTo>
                    <a:pt x="1754613" y="1928438"/>
                  </a:lnTo>
                  <a:lnTo>
                    <a:pt x="1754281" y="1927712"/>
                  </a:lnTo>
                  <a:lnTo>
                    <a:pt x="1753433" y="1926290"/>
                  </a:lnTo>
                  <a:lnTo>
                    <a:pt x="1751679" y="1924566"/>
                  </a:lnTo>
                  <a:lnTo>
                    <a:pt x="1750590" y="1923779"/>
                  </a:lnTo>
                  <a:lnTo>
                    <a:pt x="1746264" y="1919272"/>
                  </a:lnTo>
                  <a:lnTo>
                    <a:pt x="1743783" y="1918213"/>
                  </a:lnTo>
                  <a:lnTo>
                    <a:pt x="1741545" y="1918637"/>
                  </a:lnTo>
                  <a:lnTo>
                    <a:pt x="1739790" y="1919696"/>
                  </a:lnTo>
                  <a:lnTo>
                    <a:pt x="1739246" y="1921087"/>
                  </a:lnTo>
                  <a:close/>
                  <a:moveTo>
                    <a:pt x="1738247" y="1921662"/>
                  </a:moveTo>
                  <a:lnTo>
                    <a:pt x="1735948" y="1917911"/>
                  </a:lnTo>
                  <a:lnTo>
                    <a:pt x="1733982" y="1915823"/>
                  </a:lnTo>
                  <a:lnTo>
                    <a:pt x="1730412" y="1915460"/>
                  </a:lnTo>
                  <a:lnTo>
                    <a:pt x="1727326" y="1917638"/>
                  </a:lnTo>
                  <a:lnTo>
                    <a:pt x="1721609" y="1924233"/>
                  </a:lnTo>
                  <a:lnTo>
                    <a:pt x="1716285" y="1926744"/>
                  </a:lnTo>
                  <a:lnTo>
                    <a:pt x="1715347" y="1928408"/>
                  </a:lnTo>
                  <a:lnTo>
                    <a:pt x="1720217" y="1935517"/>
                  </a:lnTo>
                  <a:lnTo>
                    <a:pt x="1724574" y="1936606"/>
                  </a:lnTo>
                  <a:lnTo>
                    <a:pt x="1741514" y="1932613"/>
                  </a:lnTo>
                  <a:lnTo>
                    <a:pt x="1741514" y="1931070"/>
                  </a:lnTo>
                  <a:lnTo>
                    <a:pt x="1740879" y="1930616"/>
                  </a:lnTo>
                  <a:lnTo>
                    <a:pt x="1739427" y="1928408"/>
                  </a:lnTo>
                  <a:lnTo>
                    <a:pt x="1739699" y="1925655"/>
                  </a:lnTo>
                  <a:lnTo>
                    <a:pt x="1738187" y="1921662"/>
                  </a:lnTo>
                  <a:close/>
                  <a:moveTo>
                    <a:pt x="1757306" y="1928710"/>
                  </a:moveTo>
                  <a:lnTo>
                    <a:pt x="1760240" y="1931070"/>
                  </a:lnTo>
                  <a:lnTo>
                    <a:pt x="1765201" y="1931857"/>
                  </a:lnTo>
                  <a:lnTo>
                    <a:pt x="1779540" y="1928408"/>
                  </a:lnTo>
                  <a:lnTo>
                    <a:pt x="1780448" y="1923961"/>
                  </a:lnTo>
                  <a:lnTo>
                    <a:pt x="1777756" y="1919998"/>
                  </a:lnTo>
                  <a:lnTo>
                    <a:pt x="1771312" y="1914280"/>
                  </a:lnTo>
                  <a:lnTo>
                    <a:pt x="1768832" y="1908805"/>
                  </a:lnTo>
                  <a:lnTo>
                    <a:pt x="1767500" y="1906687"/>
                  </a:lnTo>
                  <a:lnTo>
                    <a:pt x="1765746" y="1905840"/>
                  </a:lnTo>
                  <a:lnTo>
                    <a:pt x="1763931" y="1906748"/>
                  </a:lnTo>
                  <a:lnTo>
                    <a:pt x="1763023" y="1909077"/>
                  </a:lnTo>
                  <a:lnTo>
                    <a:pt x="1762963" y="1912284"/>
                  </a:lnTo>
                  <a:lnTo>
                    <a:pt x="1763719" y="1915793"/>
                  </a:lnTo>
                  <a:lnTo>
                    <a:pt x="1762479" y="1918365"/>
                  </a:lnTo>
                  <a:lnTo>
                    <a:pt x="1761087" y="1916338"/>
                  </a:lnTo>
                  <a:lnTo>
                    <a:pt x="1759665" y="1912586"/>
                  </a:lnTo>
                  <a:lnTo>
                    <a:pt x="1758213" y="1910045"/>
                  </a:lnTo>
                  <a:lnTo>
                    <a:pt x="1757366" y="1910197"/>
                  </a:lnTo>
                  <a:lnTo>
                    <a:pt x="1756428" y="1911074"/>
                  </a:lnTo>
                  <a:lnTo>
                    <a:pt x="1755460" y="1911618"/>
                  </a:lnTo>
                  <a:lnTo>
                    <a:pt x="1754432" y="1910741"/>
                  </a:lnTo>
                  <a:lnTo>
                    <a:pt x="1753645" y="1909440"/>
                  </a:lnTo>
                  <a:lnTo>
                    <a:pt x="1752707" y="1908442"/>
                  </a:lnTo>
                  <a:lnTo>
                    <a:pt x="1751679" y="1908018"/>
                  </a:lnTo>
                  <a:lnTo>
                    <a:pt x="1750620" y="1908503"/>
                  </a:lnTo>
                  <a:lnTo>
                    <a:pt x="1750136" y="1910015"/>
                  </a:lnTo>
                  <a:lnTo>
                    <a:pt x="1749864" y="1915006"/>
                  </a:lnTo>
                  <a:lnTo>
                    <a:pt x="1749259" y="1917185"/>
                  </a:lnTo>
                  <a:lnTo>
                    <a:pt x="1752133" y="1920573"/>
                  </a:lnTo>
                  <a:lnTo>
                    <a:pt x="1757366" y="1928710"/>
                  </a:lnTo>
                  <a:close/>
                  <a:moveTo>
                    <a:pt x="1701582" y="1881911"/>
                  </a:moveTo>
                  <a:lnTo>
                    <a:pt x="1701129" y="1886268"/>
                  </a:lnTo>
                  <a:lnTo>
                    <a:pt x="1703095" y="1888627"/>
                  </a:lnTo>
                  <a:lnTo>
                    <a:pt x="1718947" y="1892348"/>
                  </a:lnTo>
                  <a:lnTo>
                    <a:pt x="1722305" y="1894557"/>
                  </a:lnTo>
                  <a:lnTo>
                    <a:pt x="1715831" y="1893800"/>
                  </a:lnTo>
                  <a:lnTo>
                    <a:pt x="1714016" y="1894557"/>
                  </a:lnTo>
                  <a:lnTo>
                    <a:pt x="1715861" y="1896130"/>
                  </a:lnTo>
                  <a:lnTo>
                    <a:pt x="1719945" y="1897945"/>
                  </a:lnTo>
                  <a:lnTo>
                    <a:pt x="1720248" y="1900153"/>
                  </a:lnTo>
                  <a:lnTo>
                    <a:pt x="1721972" y="1900062"/>
                  </a:lnTo>
                  <a:lnTo>
                    <a:pt x="1724846" y="1897915"/>
                  </a:lnTo>
                  <a:lnTo>
                    <a:pt x="1726449" y="1897370"/>
                  </a:lnTo>
                  <a:lnTo>
                    <a:pt x="1731320" y="1897370"/>
                  </a:lnTo>
                  <a:lnTo>
                    <a:pt x="1731804" y="1896886"/>
                  </a:lnTo>
                  <a:lnTo>
                    <a:pt x="1732137" y="1895252"/>
                  </a:lnTo>
                  <a:lnTo>
                    <a:pt x="1732651" y="1894587"/>
                  </a:lnTo>
                  <a:lnTo>
                    <a:pt x="1735434" y="1893528"/>
                  </a:lnTo>
                  <a:lnTo>
                    <a:pt x="1736523" y="1892832"/>
                  </a:lnTo>
                  <a:lnTo>
                    <a:pt x="1737763" y="1890987"/>
                  </a:lnTo>
                  <a:lnTo>
                    <a:pt x="1740879" y="1884725"/>
                  </a:lnTo>
                  <a:lnTo>
                    <a:pt x="1739911" y="1881458"/>
                  </a:lnTo>
                  <a:lnTo>
                    <a:pt x="1735101" y="1877344"/>
                  </a:lnTo>
                  <a:lnTo>
                    <a:pt x="1732711" y="1869448"/>
                  </a:lnTo>
                  <a:lnTo>
                    <a:pt x="1729656" y="1867542"/>
                  </a:lnTo>
                  <a:lnTo>
                    <a:pt x="1722970" y="1867633"/>
                  </a:lnTo>
                  <a:lnTo>
                    <a:pt x="1720097" y="1869206"/>
                  </a:lnTo>
                  <a:lnTo>
                    <a:pt x="1714893" y="1874954"/>
                  </a:lnTo>
                  <a:lnTo>
                    <a:pt x="1712261" y="1876224"/>
                  </a:lnTo>
                  <a:lnTo>
                    <a:pt x="1706241" y="1876739"/>
                  </a:lnTo>
                  <a:lnTo>
                    <a:pt x="1703398" y="1877948"/>
                  </a:lnTo>
                  <a:lnTo>
                    <a:pt x="1700251" y="1880338"/>
                  </a:lnTo>
                  <a:lnTo>
                    <a:pt x="1701189" y="1881518"/>
                  </a:lnTo>
                  <a:lnTo>
                    <a:pt x="1701582" y="1881881"/>
                  </a:lnTo>
                  <a:close/>
                  <a:moveTo>
                    <a:pt x="1785107" y="1839196"/>
                  </a:moveTo>
                  <a:lnTo>
                    <a:pt x="1781204" y="1838440"/>
                  </a:lnTo>
                  <a:lnTo>
                    <a:pt x="1779420" y="1838803"/>
                  </a:lnTo>
                  <a:lnTo>
                    <a:pt x="1777453" y="1840770"/>
                  </a:lnTo>
                  <a:lnTo>
                    <a:pt x="1781416" y="1843976"/>
                  </a:lnTo>
                  <a:lnTo>
                    <a:pt x="1791187" y="1845701"/>
                  </a:lnTo>
                  <a:lnTo>
                    <a:pt x="1795392" y="1848000"/>
                  </a:lnTo>
                  <a:lnTo>
                    <a:pt x="1794001" y="1848847"/>
                  </a:lnTo>
                  <a:lnTo>
                    <a:pt x="1792155" y="1848847"/>
                  </a:lnTo>
                  <a:lnTo>
                    <a:pt x="1784804" y="1847364"/>
                  </a:lnTo>
                  <a:lnTo>
                    <a:pt x="1766442" y="1849149"/>
                  </a:lnTo>
                  <a:lnTo>
                    <a:pt x="1764233" y="1850057"/>
                  </a:lnTo>
                  <a:lnTo>
                    <a:pt x="1754553" y="1859314"/>
                  </a:lnTo>
                  <a:lnTo>
                    <a:pt x="1752919" y="1861734"/>
                  </a:lnTo>
                  <a:lnTo>
                    <a:pt x="1751649" y="1864789"/>
                  </a:lnTo>
                  <a:lnTo>
                    <a:pt x="1750590" y="1868964"/>
                  </a:lnTo>
                  <a:lnTo>
                    <a:pt x="1751286" y="1868964"/>
                  </a:lnTo>
                  <a:lnTo>
                    <a:pt x="1751044" y="1871323"/>
                  </a:lnTo>
                  <a:lnTo>
                    <a:pt x="1751649" y="1872685"/>
                  </a:lnTo>
                  <a:lnTo>
                    <a:pt x="1752768" y="1873320"/>
                  </a:lnTo>
                  <a:lnTo>
                    <a:pt x="1754099" y="1873441"/>
                  </a:lnTo>
                  <a:lnTo>
                    <a:pt x="1754704" y="1872987"/>
                  </a:lnTo>
                  <a:lnTo>
                    <a:pt x="1754976" y="1871989"/>
                  </a:lnTo>
                  <a:lnTo>
                    <a:pt x="1755339" y="1870960"/>
                  </a:lnTo>
                  <a:lnTo>
                    <a:pt x="1756156" y="1870476"/>
                  </a:lnTo>
                  <a:lnTo>
                    <a:pt x="1756822" y="1870658"/>
                  </a:lnTo>
                  <a:lnTo>
                    <a:pt x="1757155" y="1871142"/>
                  </a:lnTo>
                  <a:lnTo>
                    <a:pt x="1757306" y="1871626"/>
                  </a:lnTo>
                  <a:lnTo>
                    <a:pt x="1757457" y="1871898"/>
                  </a:lnTo>
                  <a:lnTo>
                    <a:pt x="1761904" y="1875740"/>
                  </a:lnTo>
                  <a:lnTo>
                    <a:pt x="1763719" y="1876285"/>
                  </a:lnTo>
                  <a:lnTo>
                    <a:pt x="1770616" y="1876285"/>
                  </a:lnTo>
                  <a:lnTo>
                    <a:pt x="1773278" y="1875680"/>
                  </a:lnTo>
                  <a:lnTo>
                    <a:pt x="1780297" y="1870537"/>
                  </a:lnTo>
                  <a:lnTo>
                    <a:pt x="1789251" y="1868631"/>
                  </a:lnTo>
                  <a:lnTo>
                    <a:pt x="1794848" y="1865364"/>
                  </a:lnTo>
                  <a:lnTo>
                    <a:pt x="1809005" y="1864759"/>
                  </a:lnTo>
                  <a:lnTo>
                    <a:pt x="1833963" y="1855169"/>
                  </a:lnTo>
                  <a:lnTo>
                    <a:pt x="1837502" y="1850722"/>
                  </a:lnTo>
                  <a:lnTo>
                    <a:pt x="1840951" y="1849180"/>
                  </a:lnTo>
                  <a:lnTo>
                    <a:pt x="1840951" y="1848030"/>
                  </a:lnTo>
                  <a:lnTo>
                    <a:pt x="1837200" y="1848030"/>
                  </a:lnTo>
                  <a:lnTo>
                    <a:pt x="1835990" y="1847758"/>
                  </a:lnTo>
                  <a:lnTo>
                    <a:pt x="1835748" y="1847032"/>
                  </a:lnTo>
                  <a:lnTo>
                    <a:pt x="1835748" y="1846094"/>
                  </a:lnTo>
                  <a:lnTo>
                    <a:pt x="1835445" y="1845095"/>
                  </a:lnTo>
                  <a:lnTo>
                    <a:pt x="1831301" y="1840044"/>
                  </a:lnTo>
                  <a:lnTo>
                    <a:pt x="1828155" y="1839681"/>
                  </a:lnTo>
                  <a:lnTo>
                    <a:pt x="1824766" y="1841919"/>
                  </a:lnTo>
                  <a:lnTo>
                    <a:pt x="1822074" y="1842857"/>
                  </a:lnTo>
                  <a:lnTo>
                    <a:pt x="1820683" y="1837139"/>
                  </a:lnTo>
                  <a:lnTo>
                    <a:pt x="1819291" y="1836232"/>
                  </a:lnTo>
                  <a:lnTo>
                    <a:pt x="1818928" y="1835022"/>
                  </a:lnTo>
                  <a:lnTo>
                    <a:pt x="1819200" y="1834205"/>
                  </a:lnTo>
                  <a:lnTo>
                    <a:pt x="1819835" y="1833025"/>
                  </a:lnTo>
                  <a:lnTo>
                    <a:pt x="1820531" y="1832118"/>
                  </a:lnTo>
                  <a:lnTo>
                    <a:pt x="1820955" y="1832178"/>
                  </a:lnTo>
                  <a:lnTo>
                    <a:pt x="1819745" y="1829667"/>
                  </a:lnTo>
                  <a:lnTo>
                    <a:pt x="1818383" y="1829425"/>
                  </a:lnTo>
                  <a:lnTo>
                    <a:pt x="1815056" y="1830787"/>
                  </a:lnTo>
                  <a:lnTo>
                    <a:pt x="1811698" y="1831119"/>
                  </a:lnTo>
                  <a:lnTo>
                    <a:pt x="1809973" y="1831785"/>
                  </a:lnTo>
                  <a:lnTo>
                    <a:pt x="1809217" y="1832995"/>
                  </a:lnTo>
                  <a:lnTo>
                    <a:pt x="1809096" y="1835536"/>
                  </a:lnTo>
                  <a:lnTo>
                    <a:pt x="1808612" y="1837260"/>
                  </a:lnTo>
                  <a:lnTo>
                    <a:pt x="1807795" y="1838077"/>
                  </a:lnTo>
                  <a:lnTo>
                    <a:pt x="1806464" y="1837896"/>
                  </a:lnTo>
                  <a:lnTo>
                    <a:pt x="1805890" y="1833146"/>
                  </a:lnTo>
                  <a:lnTo>
                    <a:pt x="1801927" y="1833055"/>
                  </a:lnTo>
                  <a:lnTo>
                    <a:pt x="1785107" y="1839318"/>
                  </a:lnTo>
                  <a:close/>
                  <a:moveTo>
                    <a:pt x="1830907" y="1838561"/>
                  </a:moveTo>
                  <a:lnTo>
                    <a:pt x="1834356" y="1836867"/>
                  </a:lnTo>
                  <a:lnTo>
                    <a:pt x="1836565" y="1835324"/>
                  </a:lnTo>
                  <a:lnTo>
                    <a:pt x="1839559" y="1834235"/>
                  </a:lnTo>
                  <a:lnTo>
                    <a:pt x="1840437" y="1832662"/>
                  </a:lnTo>
                  <a:lnTo>
                    <a:pt x="1840043" y="1831452"/>
                  </a:lnTo>
                  <a:lnTo>
                    <a:pt x="1839348" y="1831331"/>
                  </a:lnTo>
                  <a:lnTo>
                    <a:pt x="1839015" y="1831210"/>
                  </a:lnTo>
                  <a:lnTo>
                    <a:pt x="1838380" y="1830696"/>
                  </a:lnTo>
                  <a:lnTo>
                    <a:pt x="1837805" y="1830393"/>
                  </a:lnTo>
                  <a:lnTo>
                    <a:pt x="1835657" y="1830938"/>
                  </a:lnTo>
                  <a:lnTo>
                    <a:pt x="1835203" y="1830545"/>
                  </a:lnTo>
                  <a:lnTo>
                    <a:pt x="1835203" y="1829788"/>
                  </a:lnTo>
                  <a:lnTo>
                    <a:pt x="1834084" y="1828881"/>
                  </a:lnTo>
                  <a:lnTo>
                    <a:pt x="1831785" y="1828457"/>
                  </a:lnTo>
                  <a:lnTo>
                    <a:pt x="1829092" y="1828608"/>
                  </a:lnTo>
                  <a:lnTo>
                    <a:pt x="1828124" y="1829002"/>
                  </a:lnTo>
                  <a:lnTo>
                    <a:pt x="1827459" y="1829970"/>
                  </a:lnTo>
                  <a:lnTo>
                    <a:pt x="1827368" y="1831089"/>
                  </a:lnTo>
                  <a:lnTo>
                    <a:pt x="1827126" y="1832118"/>
                  </a:lnTo>
                  <a:lnTo>
                    <a:pt x="1826400" y="1833388"/>
                  </a:lnTo>
                  <a:lnTo>
                    <a:pt x="1826340" y="1834447"/>
                  </a:lnTo>
                  <a:lnTo>
                    <a:pt x="1825977" y="1834992"/>
                  </a:lnTo>
                  <a:lnTo>
                    <a:pt x="1824676" y="1835748"/>
                  </a:lnTo>
                  <a:lnTo>
                    <a:pt x="1826279" y="1837714"/>
                  </a:lnTo>
                  <a:lnTo>
                    <a:pt x="1830938" y="1838592"/>
                  </a:lnTo>
                  <a:close/>
                  <a:moveTo>
                    <a:pt x="1754129" y="1827066"/>
                  </a:moveTo>
                  <a:lnTo>
                    <a:pt x="1756307" y="1827066"/>
                  </a:lnTo>
                  <a:lnTo>
                    <a:pt x="1758849" y="1826400"/>
                  </a:lnTo>
                  <a:lnTo>
                    <a:pt x="1764294" y="1824010"/>
                  </a:lnTo>
                  <a:lnTo>
                    <a:pt x="1767047" y="1823556"/>
                  </a:lnTo>
                  <a:lnTo>
                    <a:pt x="1768469" y="1825099"/>
                  </a:lnTo>
                  <a:lnTo>
                    <a:pt x="1769951" y="1823677"/>
                  </a:lnTo>
                  <a:lnTo>
                    <a:pt x="1775487" y="1822135"/>
                  </a:lnTo>
                  <a:lnTo>
                    <a:pt x="1768469" y="1826400"/>
                  </a:lnTo>
                  <a:lnTo>
                    <a:pt x="1770465" y="1827882"/>
                  </a:lnTo>
                  <a:lnTo>
                    <a:pt x="1777453" y="1825099"/>
                  </a:lnTo>
                  <a:lnTo>
                    <a:pt x="1797389" y="1822951"/>
                  </a:lnTo>
                  <a:lnTo>
                    <a:pt x="1802290" y="1820834"/>
                  </a:lnTo>
                  <a:lnTo>
                    <a:pt x="1805678" y="1816296"/>
                  </a:lnTo>
                  <a:lnTo>
                    <a:pt x="1805678" y="1813301"/>
                  </a:lnTo>
                  <a:lnTo>
                    <a:pt x="1805315" y="1811486"/>
                  </a:lnTo>
                  <a:lnTo>
                    <a:pt x="1804831" y="1809913"/>
                  </a:lnTo>
                  <a:lnTo>
                    <a:pt x="1804377" y="1807705"/>
                  </a:lnTo>
                  <a:lnTo>
                    <a:pt x="1804165" y="1803318"/>
                  </a:lnTo>
                  <a:lnTo>
                    <a:pt x="1803621" y="1801382"/>
                  </a:lnTo>
                  <a:lnTo>
                    <a:pt x="1802259" y="1800565"/>
                  </a:lnTo>
                  <a:lnTo>
                    <a:pt x="1802259" y="1799144"/>
                  </a:lnTo>
                  <a:lnTo>
                    <a:pt x="1802774" y="1798448"/>
                  </a:lnTo>
                  <a:lnTo>
                    <a:pt x="1803076" y="1797782"/>
                  </a:lnTo>
                  <a:lnTo>
                    <a:pt x="1803318" y="1797056"/>
                  </a:lnTo>
                  <a:lnTo>
                    <a:pt x="1803651" y="1796270"/>
                  </a:lnTo>
                  <a:lnTo>
                    <a:pt x="1801836" y="1796875"/>
                  </a:lnTo>
                  <a:lnTo>
                    <a:pt x="1800021" y="1798327"/>
                  </a:lnTo>
                  <a:lnTo>
                    <a:pt x="1798327" y="1799083"/>
                  </a:lnTo>
                  <a:lnTo>
                    <a:pt x="1796784" y="1797571"/>
                  </a:lnTo>
                  <a:lnTo>
                    <a:pt x="1791248" y="1803651"/>
                  </a:lnTo>
                  <a:lnTo>
                    <a:pt x="1790522" y="1806283"/>
                  </a:lnTo>
                  <a:lnTo>
                    <a:pt x="1792034" y="1804891"/>
                  </a:lnTo>
                  <a:lnTo>
                    <a:pt x="1793880" y="1803832"/>
                  </a:lnTo>
                  <a:lnTo>
                    <a:pt x="1795785" y="1803681"/>
                  </a:lnTo>
                  <a:lnTo>
                    <a:pt x="1797419" y="1804861"/>
                  </a:lnTo>
                  <a:lnTo>
                    <a:pt x="1774761" y="1816296"/>
                  </a:lnTo>
                  <a:lnTo>
                    <a:pt x="1755975" y="1820047"/>
                  </a:lnTo>
                  <a:lnTo>
                    <a:pt x="1749955" y="1823556"/>
                  </a:lnTo>
                  <a:lnTo>
                    <a:pt x="1752102" y="1826007"/>
                  </a:lnTo>
                  <a:lnTo>
                    <a:pt x="1754159" y="1827066"/>
                  </a:lnTo>
                  <a:close/>
                  <a:moveTo>
                    <a:pt x="1909440" y="1752526"/>
                  </a:moveTo>
                  <a:lnTo>
                    <a:pt x="1910499" y="1752526"/>
                  </a:lnTo>
                  <a:lnTo>
                    <a:pt x="1911316" y="1752677"/>
                  </a:lnTo>
                  <a:lnTo>
                    <a:pt x="1911890" y="1753252"/>
                  </a:lnTo>
                  <a:lnTo>
                    <a:pt x="1911164" y="1753978"/>
                  </a:lnTo>
                  <a:lnTo>
                    <a:pt x="1909380" y="1754734"/>
                  </a:lnTo>
                  <a:lnTo>
                    <a:pt x="1909168" y="1755612"/>
                  </a:lnTo>
                  <a:lnTo>
                    <a:pt x="1910560" y="1756126"/>
                  </a:lnTo>
                  <a:lnTo>
                    <a:pt x="1911890" y="1756943"/>
                  </a:lnTo>
                  <a:lnTo>
                    <a:pt x="1913040" y="1758123"/>
                  </a:lnTo>
                  <a:lnTo>
                    <a:pt x="1914643" y="1758032"/>
                  </a:lnTo>
                  <a:lnTo>
                    <a:pt x="1916670" y="1756852"/>
                  </a:lnTo>
                  <a:lnTo>
                    <a:pt x="1918213" y="1755097"/>
                  </a:lnTo>
                  <a:lnTo>
                    <a:pt x="1917820" y="1752859"/>
                  </a:lnTo>
                  <a:lnTo>
                    <a:pt x="1916912" y="1751709"/>
                  </a:lnTo>
                  <a:lnTo>
                    <a:pt x="1915793" y="1751498"/>
                  </a:lnTo>
                  <a:lnTo>
                    <a:pt x="1915793" y="1750862"/>
                  </a:lnTo>
                  <a:lnTo>
                    <a:pt x="1915581" y="1749683"/>
                  </a:lnTo>
                  <a:lnTo>
                    <a:pt x="1914190" y="1747928"/>
                  </a:lnTo>
                  <a:lnTo>
                    <a:pt x="1912677" y="1747172"/>
                  </a:lnTo>
                  <a:lnTo>
                    <a:pt x="1911800" y="1748351"/>
                  </a:lnTo>
                  <a:lnTo>
                    <a:pt x="1911346" y="1749471"/>
                  </a:lnTo>
                  <a:lnTo>
                    <a:pt x="1908926" y="1749471"/>
                  </a:lnTo>
                  <a:lnTo>
                    <a:pt x="1908170" y="1750529"/>
                  </a:lnTo>
                  <a:lnTo>
                    <a:pt x="1908533" y="1751982"/>
                  </a:lnTo>
                  <a:lnTo>
                    <a:pt x="1909470" y="1752617"/>
                  </a:lnTo>
                  <a:close/>
                  <a:moveTo>
                    <a:pt x="2059487" y="1633245"/>
                  </a:moveTo>
                  <a:lnTo>
                    <a:pt x="2059124" y="1635151"/>
                  </a:lnTo>
                  <a:lnTo>
                    <a:pt x="2059820" y="1637147"/>
                  </a:lnTo>
                  <a:lnTo>
                    <a:pt x="2063299" y="1639658"/>
                  </a:lnTo>
                  <a:lnTo>
                    <a:pt x="2066142" y="1641140"/>
                  </a:lnTo>
                  <a:lnTo>
                    <a:pt x="2068018" y="1641897"/>
                  </a:lnTo>
                  <a:lnTo>
                    <a:pt x="2068442" y="1641624"/>
                  </a:lnTo>
                  <a:lnTo>
                    <a:pt x="2068109" y="1640838"/>
                  </a:lnTo>
                  <a:lnTo>
                    <a:pt x="2068502" y="1640293"/>
                  </a:lnTo>
                  <a:lnTo>
                    <a:pt x="2071285" y="1640021"/>
                  </a:lnTo>
                  <a:lnTo>
                    <a:pt x="2072768" y="1638962"/>
                  </a:lnTo>
                  <a:lnTo>
                    <a:pt x="2072919" y="1637389"/>
                  </a:lnTo>
                  <a:lnTo>
                    <a:pt x="2072042" y="1636088"/>
                  </a:lnTo>
                  <a:lnTo>
                    <a:pt x="2071285" y="1632125"/>
                  </a:lnTo>
                  <a:lnTo>
                    <a:pt x="2070166" y="1630976"/>
                  </a:lnTo>
                  <a:lnTo>
                    <a:pt x="2069137" y="1630492"/>
                  </a:lnTo>
                  <a:lnTo>
                    <a:pt x="2064963" y="1624593"/>
                  </a:lnTo>
                  <a:lnTo>
                    <a:pt x="2063995" y="1623897"/>
                  </a:lnTo>
                  <a:lnTo>
                    <a:pt x="2063571" y="1625137"/>
                  </a:lnTo>
                  <a:lnTo>
                    <a:pt x="2063843" y="1627134"/>
                  </a:lnTo>
                  <a:lnTo>
                    <a:pt x="2061333" y="1622082"/>
                  </a:lnTo>
                  <a:lnTo>
                    <a:pt x="2060818" y="1623534"/>
                  </a:lnTo>
                  <a:lnTo>
                    <a:pt x="2061545" y="1628737"/>
                  </a:lnTo>
                  <a:lnTo>
                    <a:pt x="2061545" y="1631460"/>
                  </a:lnTo>
                  <a:lnTo>
                    <a:pt x="2060122" y="1632246"/>
                  </a:lnTo>
                  <a:lnTo>
                    <a:pt x="2059487" y="1633275"/>
                  </a:lnTo>
                  <a:close/>
                  <a:moveTo>
                    <a:pt x="2038735" y="1635695"/>
                  </a:moveTo>
                  <a:lnTo>
                    <a:pt x="2037434" y="1639023"/>
                  </a:lnTo>
                  <a:lnTo>
                    <a:pt x="2042637" y="1649429"/>
                  </a:lnTo>
                  <a:lnTo>
                    <a:pt x="2049353" y="1647765"/>
                  </a:lnTo>
                  <a:lnTo>
                    <a:pt x="2053074" y="1648189"/>
                  </a:lnTo>
                  <a:lnTo>
                    <a:pt x="2054708" y="1651698"/>
                  </a:lnTo>
                  <a:lnTo>
                    <a:pt x="2056280" y="1653604"/>
                  </a:lnTo>
                  <a:lnTo>
                    <a:pt x="2063904" y="1654723"/>
                  </a:lnTo>
                  <a:lnTo>
                    <a:pt x="2066445" y="1656871"/>
                  </a:lnTo>
                  <a:lnTo>
                    <a:pt x="2067837" y="1651698"/>
                  </a:lnTo>
                  <a:lnTo>
                    <a:pt x="2068684" y="1649520"/>
                  </a:lnTo>
                  <a:lnTo>
                    <a:pt x="2069924" y="1647765"/>
                  </a:lnTo>
                  <a:lnTo>
                    <a:pt x="2067322" y="1642441"/>
                  </a:lnTo>
                  <a:lnTo>
                    <a:pt x="2055917" y="1642350"/>
                  </a:lnTo>
                  <a:lnTo>
                    <a:pt x="2053316" y="1638297"/>
                  </a:lnTo>
                  <a:lnTo>
                    <a:pt x="2051592" y="1631127"/>
                  </a:lnTo>
                  <a:lnTo>
                    <a:pt x="2047568" y="1627013"/>
                  </a:lnTo>
                  <a:lnTo>
                    <a:pt x="2038826" y="1622747"/>
                  </a:lnTo>
                  <a:lnTo>
                    <a:pt x="2035165" y="1619450"/>
                  </a:lnTo>
                  <a:lnTo>
                    <a:pt x="2033138" y="1618210"/>
                  </a:lnTo>
                  <a:lnTo>
                    <a:pt x="2031202" y="1618331"/>
                  </a:lnTo>
                  <a:lnTo>
                    <a:pt x="2029932" y="1619934"/>
                  </a:lnTo>
                  <a:lnTo>
                    <a:pt x="2028812" y="1622869"/>
                  </a:lnTo>
                  <a:lnTo>
                    <a:pt x="2028268" y="1626287"/>
                  </a:lnTo>
                  <a:lnTo>
                    <a:pt x="2028843" y="1629433"/>
                  </a:lnTo>
                  <a:lnTo>
                    <a:pt x="2032957" y="1631944"/>
                  </a:lnTo>
                  <a:lnTo>
                    <a:pt x="2043787" y="1630371"/>
                  </a:lnTo>
                  <a:lnTo>
                    <a:pt x="2047115" y="1635998"/>
                  </a:lnTo>
                  <a:lnTo>
                    <a:pt x="2041578" y="1635030"/>
                  </a:lnTo>
                  <a:lnTo>
                    <a:pt x="2038735" y="1635635"/>
                  </a:lnTo>
                  <a:close/>
                  <a:moveTo>
                    <a:pt x="2055071" y="1609618"/>
                  </a:moveTo>
                  <a:lnTo>
                    <a:pt x="2043151" y="1613581"/>
                  </a:lnTo>
                  <a:lnTo>
                    <a:pt x="2042002" y="1614670"/>
                  </a:lnTo>
                  <a:lnTo>
                    <a:pt x="2041699" y="1615759"/>
                  </a:lnTo>
                  <a:lnTo>
                    <a:pt x="2041367" y="1616637"/>
                  </a:lnTo>
                  <a:lnTo>
                    <a:pt x="2042758" y="1617121"/>
                  </a:lnTo>
                  <a:lnTo>
                    <a:pt x="2042758" y="1617998"/>
                  </a:lnTo>
                  <a:lnTo>
                    <a:pt x="2041578" y="1619934"/>
                  </a:lnTo>
                  <a:lnTo>
                    <a:pt x="2041881" y="1621507"/>
                  </a:lnTo>
                  <a:lnTo>
                    <a:pt x="2046661" y="1622354"/>
                  </a:lnTo>
                  <a:lnTo>
                    <a:pt x="2047568" y="1622203"/>
                  </a:lnTo>
                  <a:lnTo>
                    <a:pt x="2047750" y="1621719"/>
                  </a:lnTo>
                  <a:lnTo>
                    <a:pt x="2048294" y="1621144"/>
                  </a:lnTo>
                  <a:lnTo>
                    <a:pt x="2049171" y="1621084"/>
                  </a:lnTo>
                  <a:lnTo>
                    <a:pt x="2050140" y="1622294"/>
                  </a:lnTo>
                  <a:lnTo>
                    <a:pt x="2051168" y="1624714"/>
                  </a:lnTo>
                  <a:lnTo>
                    <a:pt x="2052620" y="1627043"/>
                  </a:lnTo>
                  <a:lnTo>
                    <a:pt x="2054435" y="1628828"/>
                  </a:lnTo>
                  <a:lnTo>
                    <a:pt x="2055888" y="1629645"/>
                  </a:lnTo>
                  <a:lnTo>
                    <a:pt x="2056795" y="1628858"/>
                  </a:lnTo>
                  <a:lnTo>
                    <a:pt x="2057279" y="1627527"/>
                  </a:lnTo>
                  <a:lnTo>
                    <a:pt x="2057581" y="1626589"/>
                  </a:lnTo>
                  <a:lnTo>
                    <a:pt x="2058126" y="1625984"/>
                  </a:lnTo>
                  <a:lnTo>
                    <a:pt x="2058701" y="1625168"/>
                  </a:lnTo>
                  <a:lnTo>
                    <a:pt x="2058913" y="1624563"/>
                  </a:lnTo>
                  <a:lnTo>
                    <a:pt x="2058852" y="1623383"/>
                  </a:lnTo>
                  <a:lnTo>
                    <a:pt x="2059094" y="1621144"/>
                  </a:lnTo>
                  <a:lnTo>
                    <a:pt x="2059790" y="1618422"/>
                  </a:lnTo>
                  <a:lnTo>
                    <a:pt x="2060304" y="1615033"/>
                  </a:lnTo>
                  <a:lnTo>
                    <a:pt x="2058973" y="1612795"/>
                  </a:lnTo>
                  <a:lnTo>
                    <a:pt x="2056341" y="1612129"/>
                  </a:lnTo>
                  <a:lnTo>
                    <a:pt x="2056341" y="1610193"/>
                  </a:lnTo>
                  <a:lnTo>
                    <a:pt x="2055101" y="1609679"/>
                  </a:lnTo>
                  <a:close/>
                  <a:moveTo>
                    <a:pt x="2033441" y="1553441"/>
                  </a:moveTo>
                  <a:lnTo>
                    <a:pt x="2007062" y="1573680"/>
                  </a:lnTo>
                  <a:lnTo>
                    <a:pt x="2007062" y="1575313"/>
                  </a:lnTo>
                  <a:lnTo>
                    <a:pt x="2009391" y="1575495"/>
                  </a:lnTo>
                  <a:lnTo>
                    <a:pt x="2012325" y="1574980"/>
                  </a:lnTo>
                  <a:lnTo>
                    <a:pt x="2015108" y="1573710"/>
                  </a:lnTo>
                  <a:lnTo>
                    <a:pt x="2018466" y="1569929"/>
                  </a:lnTo>
                  <a:lnTo>
                    <a:pt x="2025031" y="1564755"/>
                  </a:lnTo>
                  <a:lnTo>
                    <a:pt x="2032654" y="1564755"/>
                  </a:lnTo>
                  <a:lnTo>
                    <a:pt x="2033622" y="1564090"/>
                  </a:lnTo>
                  <a:lnTo>
                    <a:pt x="2033713" y="1566692"/>
                  </a:lnTo>
                  <a:lnTo>
                    <a:pt x="2032533" y="1569868"/>
                  </a:lnTo>
                  <a:lnTo>
                    <a:pt x="2030748" y="1572560"/>
                  </a:lnTo>
                  <a:lnTo>
                    <a:pt x="2029115" y="1573680"/>
                  </a:lnTo>
                  <a:lnTo>
                    <a:pt x="2029115" y="1575313"/>
                  </a:lnTo>
                  <a:lnTo>
                    <a:pt x="2030174" y="1574617"/>
                  </a:lnTo>
                  <a:lnTo>
                    <a:pt x="2031263" y="1574285"/>
                  </a:lnTo>
                  <a:lnTo>
                    <a:pt x="2032322" y="1574466"/>
                  </a:lnTo>
                  <a:lnTo>
                    <a:pt x="2033320" y="1575313"/>
                  </a:lnTo>
                  <a:lnTo>
                    <a:pt x="2033048" y="1576190"/>
                  </a:lnTo>
                  <a:lnTo>
                    <a:pt x="2032624" y="1578429"/>
                  </a:lnTo>
                  <a:lnTo>
                    <a:pt x="2037797" y="1577764"/>
                  </a:lnTo>
                  <a:lnTo>
                    <a:pt x="2042244" y="1575646"/>
                  </a:lnTo>
                  <a:lnTo>
                    <a:pt x="2046358" y="1571895"/>
                  </a:lnTo>
                  <a:lnTo>
                    <a:pt x="2050563" y="1566389"/>
                  </a:lnTo>
                  <a:lnTo>
                    <a:pt x="2050896" y="1566177"/>
                  </a:lnTo>
                  <a:lnTo>
                    <a:pt x="2051168" y="1566177"/>
                  </a:lnTo>
                  <a:lnTo>
                    <a:pt x="2051289" y="1565814"/>
                  </a:lnTo>
                  <a:lnTo>
                    <a:pt x="2051229" y="1564786"/>
                  </a:lnTo>
                  <a:lnTo>
                    <a:pt x="2045300" y="1562456"/>
                  </a:lnTo>
                  <a:lnTo>
                    <a:pt x="2044362" y="1561125"/>
                  </a:lnTo>
                  <a:lnTo>
                    <a:pt x="2043877" y="1559219"/>
                  </a:lnTo>
                  <a:lnTo>
                    <a:pt x="2042698" y="1557525"/>
                  </a:lnTo>
                  <a:lnTo>
                    <a:pt x="2041336" y="1556315"/>
                  </a:lnTo>
                  <a:lnTo>
                    <a:pt x="2038705" y="1555377"/>
                  </a:lnTo>
                  <a:lnTo>
                    <a:pt x="2036224" y="1553320"/>
                  </a:lnTo>
                  <a:lnTo>
                    <a:pt x="2034712" y="1552867"/>
                  </a:lnTo>
                  <a:lnTo>
                    <a:pt x="2033471" y="1553441"/>
                  </a:lnTo>
                  <a:close/>
                  <a:moveTo>
                    <a:pt x="1998531" y="1573196"/>
                  </a:moveTo>
                  <a:lnTo>
                    <a:pt x="1998107" y="1575313"/>
                  </a:lnTo>
                  <a:lnTo>
                    <a:pt x="2006033" y="1571290"/>
                  </a:lnTo>
                  <a:lnTo>
                    <a:pt x="2008483" y="1569354"/>
                  </a:lnTo>
                  <a:lnTo>
                    <a:pt x="2014292" y="1562608"/>
                  </a:lnTo>
                  <a:lnTo>
                    <a:pt x="2020947" y="1560339"/>
                  </a:lnTo>
                  <a:lnTo>
                    <a:pt x="2035044" y="1549630"/>
                  </a:lnTo>
                  <a:lnTo>
                    <a:pt x="2035377" y="1549509"/>
                  </a:lnTo>
                  <a:lnTo>
                    <a:pt x="2035679" y="1549206"/>
                  </a:lnTo>
                  <a:lnTo>
                    <a:pt x="2036012" y="1548450"/>
                  </a:lnTo>
                  <a:lnTo>
                    <a:pt x="2033743" y="1546060"/>
                  </a:lnTo>
                  <a:lnTo>
                    <a:pt x="2030416" y="1544638"/>
                  </a:lnTo>
                  <a:lnTo>
                    <a:pt x="2027814" y="1545122"/>
                  </a:lnTo>
                  <a:lnTo>
                    <a:pt x="2027723" y="1548450"/>
                  </a:lnTo>
                  <a:lnTo>
                    <a:pt x="2020765" y="1551838"/>
                  </a:lnTo>
                  <a:lnTo>
                    <a:pt x="2016863" y="1555256"/>
                  </a:lnTo>
                  <a:lnTo>
                    <a:pt x="2011569" y="1558342"/>
                  </a:lnTo>
                  <a:lnTo>
                    <a:pt x="2009542" y="1558887"/>
                  </a:lnTo>
                  <a:lnTo>
                    <a:pt x="2002736" y="1559129"/>
                  </a:lnTo>
                  <a:lnTo>
                    <a:pt x="2000890" y="1560369"/>
                  </a:lnTo>
                  <a:lnTo>
                    <a:pt x="1999347" y="1563515"/>
                  </a:lnTo>
                  <a:lnTo>
                    <a:pt x="1998440" y="1567176"/>
                  </a:lnTo>
                  <a:lnTo>
                    <a:pt x="1997351" y="1570412"/>
                  </a:lnTo>
                  <a:lnTo>
                    <a:pt x="1995385" y="1572258"/>
                  </a:lnTo>
                  <a:lnTo>
                    <a:pt x="1998803" y="1572258"/>
                  </a:lnTo>
                  <a:lnTo>
                    <a:pt x="1998531" y="1573105"/>
                  </a:lnTo>
                  <a:close/>
                  <a:moveTo>
                    <a:pt x="2082811" y="1533294"/>
                  </a:moveTo>
                  <a:lnTo>
                    <a:pt x="2085201" y="1532054"/>
                  </a:lnTo>
                  <a:lnTo>
                    <a:pt x="2087561" y="1529876"/>
                  </a:lnTo>
                  <a:lnTo>
                    <a:pt x="2089860" y="1528333"/>
                  </a:lnTo>
                  <a:lnTo>
                    <a:pt x="2090677" y="1528423"/>
                  </a:lnTo>
                  <a:lnTo>
                    <a:pt x="2090102" y="1529452"/>
                  </a:lnTo>
                  <a:lnTo>
                    <a:pt x="2090102" y="1529997"/>
                  </a:lnTo>
                  <a:lnTo>
                    <a:pt x="2090253" y="1531328"/>
                  </a:lnTo>
                  <a:lnTo>
                    <a:pt x="2090071" y="1532598"/>
                  </a:lnTo>
                  <a:lnTo>
                    <a:pt x="2090616" y="1533324"/>
                  </a:lnTo>
                  <a:lnTo>
                    <a:pt x="2091826" y="1532780"/>
                  </a:lnTo>
                  <a:lnTo>
                    <a:pt x="2093338" y="1531539"/>
                  </a:lnTo>
                  <a:lnTo>
                    <a:pt x="2094761" y="1530027"/>
                  </a:lnTo>
                  <a:lnTo>
                    <a:pt x="2095002" y="1528423"/>
                  </a:lnTo>
                  <a:lnTo>
                    <a:pt x="2093732" y="1527576"/>
                  </a:lnTo>
                  <a:lnTo>
                    <a:pt x="2092249" y="1527576"/>
                  </a:lnTo>
                  <a:lnTo>
                    <a:pt x="2092249" y="1526881"/>
                  </a:lnTo>
                  <a:lnTo>
                    <a:pt x="2093792" y="1525701"/>
                  </a:lnTo>
                  <a:lnTo>
                    <a:pt x="2095880" y="1524703"/>
                  </a:lnTo>
                  <a:lnTo>
                    <a:pt x="2099480" y="1521738"/>
                  </a:lnTo>
                  <a:lnTo>
                    <a:pt x="2101476" y="1520195"/>
                  </a:lnTo>
                  <a:lnTo>
                    <a:pt x="2102656" y="1518441"/>
                  </a:lnTo>
                  <a:lnTo>
                    <a:pt x="2102656" y="1516595"/>
                  </a:lnTo>
                  <a:lnTo>
                    <a:pt x="2101083" y="1516383"/>
                  </a:lnTo>
                  <a:lnTo>
                    <a:pt x="2099207" y="1517261"/>
                  </a:lnTo>
                  <a:lnTo>
                    <a:pt x="2098209" y="1518017"/>
                  </a:lnTo>
                  <a:lnTo>
                    <a:pt x="2098028" y="1518713"/>
                  </a:lnTo>
                  <a:lnTo>
                    <a:pt x="2097483" y="1519167"/>
                  </a:lnTo>
                  <a:lnTo>
                    <a:pt x="2096787" y="1518773"/>
                  </a:lnTo>
                  <a:lnTo>
                    <a:pt x="2095638" y="1517563"/>
                  </a:lnTo>
                  <a:lnTo>
                    <a:pt x="2093792" y="1516656"/>
                  </a:lnTo>
                  <a:lnTo>
                    <a:pt x="2091040" y="1516565"/>
                  </a:lnTo>
                  <a:lnTo>
                    <a:pt x="2082841" y="1518471"/>
                  </a:lnTo>
                  <a:lnTo>
                    <a:pt x="2081359" y="1519741"/>
                  </a:lnTo>
                  <a:lnTo>
                    <a:pt x="2080240" y="1521405"/>
                  </a:lnTo>
                  <a:lnTo>
                    <a:pt x="2078848" y="1522403"/>
                  </a:lnTo>
                  <a:lnTo>
                    <a:pt x="2077850" y="1523825"/>
                  </a:lnTo>
                  <a:lnTo>
                    <a:pt x="2077638" y="1525973"/>
                  </a:lnTo>
                  <a:lnTo>
                    <a:pt x="2077275" y="1528182"/>
                  </a:lnTo>
                  <a:lnTo>
                    <a:pt x="2077578" y="1528545"/>
                  </a:lnTo>
                  <a:lnTo>
                    <a:pt x="2077427" y="1528938"/>
                  </a:lnTo>
                  <a:lnTo>
                    <a:pt x="2076670" y="1529634"/>
                  </a:lnTo>
                  <a:lnTo>
                    <a:pt x="2076670" y="1530541"/>
                  </a:lnTo>
                  <a:lnTo>
                    <a:pt x="2080633" y="1533294"/>
                  </a:lnTo>
                  <a:lnTo>
                    <a:pt x="2082750" y="1533173"/>
                  </a:lnTo>
                  <a:close/>
                  <a:moveTo>
                    <a:pt x="2124467" y="1523614"/>
                  </a:moveTo>
                  <a:lnTo>
                    <a:pt x="2122985" y="1524461"/>
                  </a:lnTo>
                  <a:lnTo>
                    <a:pt x="2125102" y="1526155"/>
                  </a:lnTo>
                  <a:lnTo>
                    <a:pt x="2129913" y="1527395"/>
                  </a:lnTo>
                  <a:lnTo>
                    <a:pt x="2132242" y="1527455"/>
                  </a:lnTo>
                  <a:lnTo>
                    <a:pt x="2134329" y="1528030"/>
                  </a:lnTo>
                  <a:lnTo>
                    <a:pt x="2138474" y="1530269"/>
                  </a:lnTo>
                  <a:lnTo>
                    <a:pt x="2140864" y="1530481"/>
                  </a:lnTo>
                  <a:lnTo>
                    <a:pt x="2148396" y="1527607"/>
                  </a:lnTo>
                  <a:lnTo>
                    <a:pt x="2152329" y="1524914"/>
                  </a:lnTo>
                  <a:lnTo>
                    <a:pt x="2155354" y="1521435"/>
                  </a:lnTo>
                  <a:lnTo>
                    <a:pt x="2156231" y="1518350"/>
                  </a:lnTo>
                  <a:lnTo>
                    <a:pt x="2153751" y="1517049"/>
                  </a:lnTo>
                  <a:lnTo>
                    <a:pt x="2150181" y="1516444"/>
                  </a:lnTo>
                  <a:lnTo>
                    <a:pt x="2147731" y="1515446"/>
                  </a:lnTo>
                  <a:lnTo>
                    <a:pt x="2151119" y="1510152"/>
                  </a:lnTo>
                  <a:lnTo>
                    <a:pt x="2152450" y="1506461"/>
                  </a:lnTo>
                  <a:lnTo>
                    <a:pt x="2149364" y="1503375"/>
                  </a:lnTo>
                  <a:lnTo>
                    <a:pt x="2146037" y="1497083"/>
                  </a:lnTo>
                  <a:lnTo>
                    <a:pt x="2144312" y="1495631"/>
                  </a:lnTo>
                  <a:lnTo>
                    <a:pt x="2141922" y="1496236"/>
                  </a:lnTo>
                  <a:lnTo>
                    <a:pt x="2139169" y="1497870"/>
                  </a:lnTo>
                  <a:lnTo>
                    <a:pt x="2136568" y="1500350"/>
                  </a:lnTo>
                  <a:lnTo>
                    <a:pt x="2134662" y="1503466"/>
                  </a:lnTo>
                  <a:lnTo>
                    <a:pt x="2134844" y="1504222"/>
                  </a:lnTo>
                  <a:lnTo>
                    <a:pt x="2134632" y="1507157"/>
                  </a:lnTo>
                  <a:lnTo>
                    <a:pt x="2134269" y="1510061"/>
                  </a:lnTo>
                  <a:lnTo>
                    <a:pt x="2133966" y="1510847"/>
                  </a:lnTo>
                  <a:lnTo>
                    <a:pt x="2134450" y="1512904"/>
                  </a:lnTo>
                  <a:lnTo>
                    <a:pt x="2135025" y="1514054"/>
                  </a:lnTo>
                  <a:lnTo>
                    <a:pt x="2135933" y="1514357"/>
                  </a:lnTo>
                  <a:lnTo>
                    <a:pt x="2137415" y="1513842"/>
                  </a:lnTo>
                  <a:lnTo>
                    <a:pt x="2135146" y="1515567"/>
                  </a:lnTo>
                  <a:lnTo>
                    <a:pt x="2131213" y="1516837"/>
                  </a:lnTo>
                  <a:lnTo>
                    <a:pt x="2129489" y="1519167"/>
                  </a:lnTo>
                  <a:lnTo>
                    <a:pt x="2129489" y="1520770"/>
                  </a:lnTo>
                  <a:lnTo>
                    <a:pt x="2129973" y="1522524"/>
                  </a:lnTo>
                  <a:lnTo>
                    <a:pt x="2129973" y="1523916"/>
                  </a:lnTo>
                  <a:lnTo>
                    <a:pt x="2128491" y="1524491"/>
                  </a:lnTo>
                  <a:lnTo>
                    <a:pt x="2124498" y="1523644"/>
                  </a:lnTo>
                  <a:close/>
                  <a:moveTo>
                    <a:pt x="2143617" y="1488250"/>
                  </a:moveTo>
                  <a:lnTo>
                    <a:pt x="2144615" y="1487282"/>
                  </a:lnTo>
                  <a:lnTo>
                    <a:pt x="2147338" y="1483016"/>
                  </a:lnTo>
                  <a:lnTo>
                    <a:pt x="2148820" y="1482048"/>
                  </a:lnTo>
                  <a:lnTo>
                    <a:pt x="2150030" y="1480899"/>
                  </a:lnTo>
                  <a:lnTo>
                    <a:pt x="2148880" y="1478509"/>
                  </a:lnTo>
                  <a:lnTo>
                    <a:pt x="2147095" y="1476361"/>
                  </a:lnTo>
                  <a:lnTo>
                    <a:pt x="2146339" y="1476028"/>
                  </a:lnTo>
                  <a:lnTo>
                    <a:pt x="2145643" y="1472307"/>
                  </a:lnTo>
                  <a:lnTo>
                    <a:pt x="2146339" y="1471127"/>
                  </a:lnTo>
                  <a:lnTo>
                    <a:pt x="2149153" y="1471611"/>
                  </a:lnTo>
                  <a:lnTo>
                    <a:pt x="2158954" y="1469615"/>
                  </a:lnTo>
                  <a:lnTo>
                    <a:pt x="2160588" y="1468556"/>
                  </a:lnTo>
                  <a:lnTo>
                    <a:pt x="2162009" y="1466862"/>
                  </a:lnTo>
                  <a:lnTo>
                    <a:pt x="2163310" y="1464623"/>
                  </a:lnTo>
                  <a:lnTo>
                    <a:pt x="2164611" y="1463262"/>
                  </a:lnTo>
                  <a:lnTo>
                    <a:pt x="2169875" y="1460902"/>
                  </a:lnTo>
                  <a:lnTo>
                    <a:pt x="2171296" y="1458361"/>
                  </a:lnTo>
                  <a:lnTo>
                    <a:pt x="2174624" y="1457212"/>
                  </a:lnTo>
                  <a:lnTo>
                    <a:pt x="2176107" y="1454852"/>
                  </a:lnTo>
                  <a:lnTo>
                    <a:pt x="2174473" y="1454973"/>
                  </a:lnTo>
                  <a:lnTo>
                    <a:pt x="2172900" y="1453793"/>
                  </a:lnTo>
                  <a:lnTo>
                    <a:pt x="2171569" y="1451585"/>
                  </a:lnTo>
                  <a:lnTo>
                    <a:pt x="2170540" y="1448650"/>
                  </a:lnTo>
                  <a:lnTo>
                    <a:pt x="2170056" y="1445898"/>
                  </a:lnTo>
                  <a:lnTo>
                    <a:pt x="2170056" y="1441451"/>
                  </a:lnTo>
                  <a:lnTo>
                    <a:pt x="2169844" y="1439545"/>
                  </a:lnTo>
                  <a:lnTo>
                    <a:pt x="2165095" y="1430530"/>
                  </a:lnTo>
                  <a:lnTo>
                    <a:pt x="2164006" y="1429048"/>
                  </a:lnTo>
                  <a:lnTo>
                    <a:pt x="2158863" y="1426143"/>
                  </a:lnTo>
                  <a:lnTo>
                    <a:pt x="2157804" y="1425115"/>
                  </a:lnTo>
                  <a:lnTo>
                    <a:pt x="2156927" y="1423058"/>
                  </a:lnTo>
                  <a:lnTo>
                    <a:pt x="2155051" y="1417492"/>
                  </a:lnTo>
                  <a:lnTo>
                    <a:pt x="2152722" y="1413982"/>
                  </a:lnTo>
                  <a:lnTo>
                    <a:pt x="2151149" y="1415586"/>
                  </a:lnTo>
                  <a:lnTo>
                    <a:pt x="2149727" y="1419125"/>
                  </a:lnTo>
                  <a:lnTo>
                    <a:pt x="2147761" y="1421333"/>
                  </a:lnTo>
                  <a:lnTo>
                    <a:pt x="2148275" y="1421757"/>
                  </a:lnTo>
                  <a:lnTo>
                    <a:pt x="2149153" y="1422755"/>
                  </a:lnTo>
                  <a:lnTo>
                    <a:pt x="2149818" y="1422997"/>
                  </a:lnTo>
                  <a:lnTo>
                    <a:pt x="2149334" y="1426446"/>
                  </a:lnTo>
                  <a:lnTo>
                    <a:pt x="2148305" y="1429532"/>
                  </a:lnTo>
                  <a:lnTo>
                    <a:pt x="2145704" y="1435068"/>
                  </a:lnTo>
                  <a:lnTo>
                    <a:pt x="2148487" y="1435068"/>
                  </a:lnTo>
                  <a:lnTo>
                    <a:pt x="2145008" y="1438123"/>
                  </a:lnTo>
                  <a:lnTo>
                    <a:pt x="2148184" y="1439303"/>
                  </a:lnTo>
                  <a:lnTo>
                    <a:pt x="2151180" y="1438304"/>
                  </a:lnTo>
                  <a:lnTo>
                    <a:pt x="2156776" y="1433404"/>
                  </a:lnTo>
                  <a:lnTo>
                    <a:pt x="2156837" y="1435098"/>
                  </a:lnTo>
                  <a:lnTo>
                    <a:pt x="2157048" y="1436580"/>
                  </a:lnTo>
                  <a:lnTo>
                    <a:pt x="2157502" y="1438032"/>
                  </a:lnTo>
                  <a:lnTo>
                    <a:pt x="2158198" y="1439636"/>
                  </a:lnTo>
                  <a:lnTo>
                    <a:pt x="2152087" y="1443568"/>
                  </a:lnTo>
                  <a:lnTo>
                    <a:pt x="2146400" y="1448741"/>
                  </a:lnTo>
                  <a:lnTo>
                    <a:pt x="2142739" y="1454096"/>
                  </a:lnTo>
                  <a:lnTo>
                    <a:pt x="2141348" y="1455457"/>
                  </a:lnTo>
                  <a:lnTo>
                    <a:pt x="2141862" y="1456576"/>
                  </a:lnTo>
                  <a:lnTo>
                    <a:pt x="2142679" y="1457575"/>
                  </a:lnTo>
                  <a:lnTo>
                    <a:pt x="2142981" y="1457847"/>
                  </a:lnTo>
                  <a:lnTo>
                    <a:pt x="2143647" y="1458210"/>
                  </a:lnTo>
                  <a:lnTo>
                    <a:pt x="2146400" y="1457847"/>
                  </a:lnTo>
                  <a:lnTo>
                    <a:pt x="2146400" y="1459511"/>
                  </a:lnTo>
                  <a:lnTo>
                    <a:pt x="2145522" y="1460812"/>
                  </a:lnTo>
                  <a:lnTo>
                    <a:pt x="2144040" y="1464623"/>
                  </a:lnTo>
                  <a:lnTo>
                    <a:pt x="2143344" y="1465410"/>
                  </a:lnTo>
                  <a:lnTo>
                    <a:pt x="2142407" y="1464926"/>
                  </a:lnTo>
                  <a:lnTo>
                    <a:pt x="2140803" y="1462869"/>
                  </a:lnTo>
                  <a:lnTo>
                    <a:pt x="2139563" y="1462536"/>
                  </a:lnTo>
                  <a:lnTo>
                    <a:pt x="2137506" y="1464018"/>
                  </a:lnTo>
                  <a:lnTo>
                    <a:pt x="2136175" y="1467195"/>
                  </a:lnTo>
                  <a:lnTo>
                    <a:pt x="2134995" y="1471097"/>
                  </a:lnTo>
                  <a:lnTo>
                    <a:pt x="2133331" y="1474757"/>
                  </a:lnTo>
                  <a:lnTo>
                    <a:pt x="2134269" y="1475756"/>
                  </a:lnTo>
                  <a:lnTo>
                    <a:pt x="2135298" y="1476240"/>
                  </a:lnTo>
                  <a:lnTo>
                    <a:pt x="2136387" y="1476331"/>
                  </a:lnTo>
                  <a:lnTo>
                    <a:pt x="2137506" y="1476149"/>
                  </a:lnTo>
                  <a:lnTo>
                    <a:pt x="2134723" y="1486495"/>
                  </a:lnTo>
                  <a:lnTo>
                    <a:pt x="2132968" y="1491396"/>
                  </a:lnTo>
                  <a:lnTo>
                    <a:pt x="2130548" y="1494421"/>
                  </a:lnTo>
                  <a:lnTo>
                    <a:pt x="2133271" y="1495510"/>
                  </a:lnTo>
                  <a:lnTo>
                    <a:pt x="2143677" y="1488371"/>
                  </a:lnTo>
                  <a:close/>
                  <a:moveTo>
                    <a:pt x="2109735" y="1406631"/>
                  </a:moveTo>
                  <a:lnTo>
                    <a:pt x="2111913" y="1407478"/>
                  </a:lnTo>
                  <a:lnTo>
                    <a:pt x="2109856" y="1408870"/>
                  </a:lnTo>
                  <a:lnTo>
                    <a:pt x="2110945" y="1410171"/>
                  </a:lnTo>
                  <a:lnTo>
                    <a:pt x="2111853" y="1410019"/>
                  </a:lnTo>
                  <a:lnTo>
                    <a:pt x="2112790" y="1409293"/>
                  </a:lnTo>
                  <a:lnTo>
                    <a:pt x="2114000" y="1408870"/>
                  </a:lnTo>
                  <a:lnTo>
                    <a:pt x="2114878" y="1409505"/>
                  </a:lnTo>
                  <a:lnTo>
                    <a:pt x="2115271" y="1410836"/>
                  </a:lnTo>
                  <a:lnTo>
                    <a:pt x="2115725" y="1411986"/>
                  </a:lnTo>
                  <a:lnTo>
                    <a:pt x="2116693" y="1412046"/>
                  </a:lnTo>
                  <a:lnTo>
                    <a:pt x="2117661" y="1410624"/>
                  </a:lnTo>
                  <a:lnTo>
                    <a:pt x="2120837" y="1404725"/>
                  </a:lnTo>
                  <a:lnTo>
                    <a:pt x="2122168" y="1402759"/>
                  </a:lnTo>
                  <a:lnTo>
                    <a:pt x="2122652" y="1400520"/>
                  </a:lnTo>
                  <a:lnTo>
                    <a:pt x="2122350" y="1398736"/>
                  </a:lnTo>
                  <a:lnTo>
                    <a:pt x="2120837" y="1395257"/>
                  </a:lnTo>
                  <a:lnTo>
                    <a:pt x="2123741" y="1393714"/>
                  </a:lnTo>
                  <a:lnTo>
                    <a:pt x="2125042" y="1392353"/>
                  </a:lnTo>
                  <a:lnTo>
                    <a:pt x="2125587" y="1389751"/>
                  </a:lnTo>
                  <a:lnTo>
                    <a:pt x="2124861" y="1387391"/>
                  </a:lnTo>
                  <a:lnTo>
                    <a:pt x="2123287" y="1387391"/>
                  </a:lnTo>
                  <a:lnTo>
                    <a:pt x="2121563" y="1388269"/>
                  </a:lnTo>
                  <a:lnTo>
                    <a:pt x="2120505" y="1388269"/>
                  </a:lnTo>
                  <a:lnTo>
                    <a:pt x="2117661" y="1385455"/>
                  </a:lnTo>
                  <a:lnTo>
                    <a:pt x="2114122" y="1386030"/>
                  </a:lnTo>
                  <a:lnTo>
                    <a:pt x="2107436" y="1388995"/>
                  </a:lnTo>
                  <a:lnTo>
                    <a:pt x="2105802" y="1391233"/>
                  </a:lnTo>
                  <a:lnTo>
                    <a:pt x="2103473" y="1396346"/>
                  </a:lnTo>
                  <a:lnTo>
                    <a:pt x="2101476" y="1402033"/>
                  </a:lnTo>
                  <a:lnTo>
                    <a:pt x="2100901" y="1405845"/>
                  </a:lnTo>
                  <a:lnTo>
                    <a:pt x="2102959" y="1408295"/>
                  </a:lnTo>
                  <a:lnTo>
                    <a:pt x="2109765" y="1406692"/>
                  </a:lnTo>
                  <a:close/>
                  <a:moveTo>
                    <a:pt x="2171206" y="1346189"/>
                  </a:moveTo>
                  <a:lnTo>
                    <a:pt x="2169784" y="1347066"/>
                  </a:lnTo>
                  <a:lnTo>
                    <a:pt x="2168453" y="1348790"/>
                  </a:lnTo>
                  <a:lnTo>
                    <a:pt x="2171962" y="1348306"/>
                  </a:lnTo>
                  <a:lnTo>
                    <a:pt x="2174685" y="1346824"/>
                  </a:lnTo>
                  <a:lnTo>
                    <a:pt x="2187844" y="1332697"/>
                  </a:lnTo>
                  <a:lnTo>
                    <a:pt x="2193017" y="1330398"/>
                  </a:lnTo>
                  <a:lnTo>
                    <a:pt x="2198977" y="1325104"/>
                  </a:lnTo>
                  <a:lnTo>
                    <a:pt x="2211410" y="1319447"/>
                  </a:lnTo>
                  <a:lnTo>
                    <a:pt x="2214677" y="1319235"/>
                  </a:lnTo>
                  <a:lnTo>
                    <a:pt x="2216069" y="1316119"/>
                  </a:lnTo>
                  <a:lnTo>
                    <a:pt x="2211682" y="1313457"/>
                  </a:lnTo>
                  <a:lnTo>
                    <a:pt x="2205662" y="1313911"/>
                  </a:lnTo>
                  <a:lnTo>
                    <a:pt x="2199672" y="1316482"/>
                  </a:lnTo>
                  <a:lnTo>
                    <a:pt x="2195377" y="1320082"/>
                  </a:lnTo>
                  <a:lnTo>
                    <a:pt x="2193532" y="1322109"/>
                  </a:lnTo>
                  <a:lnTo>
                    <a:pt x="2191383" y="1323803"/>
                  </a:lnTo>
                  <a:lnTo>
                    <a:pt x="2189145" y="1324983"/>
                  </a:lnTo>
                  <a:lnTo>
                    <a:pt x="2187058" y="1325406"/>
                  </a:lnTo>
                  <a:lnTo>
                    <a:pt x="2186392" y="1324105"/>
                  </a:lnTo>
                  <a:lnTo>
                    <a:pt x="2187572" y="1321110"/>
                  </a:lnTo>
                  <a:lnTo>
                    <a:pt x="2190567" y="1316089"/>
                  </a:lnTo>
                  <a:lnTo>
                    <a:pt x="2188267" y="1314274"/>
                  </a:lnTo>
                  <a:lnTo>
                    <a:pt x="2185666" y="1314576"/>
                  </a:lnTo>
                  <a:lnTo>
                    <a:pt x="2174594" y="1321625"/>
                  </a:lnTo>
                  <a:lnTo>
                    <a:pt x="2172688" y="1323833"/>
                  </a:lnTo>
                  <a:lnTo>
                    <a:pt x="2171599" y="1326314"/>
                  </a:lnTo>
                  <a:lnTo>
                    <a:pt x="2169844" y="1332213"/>
                  </a:lnTo>
                  <a:lnTo>
                    <a:pt x="2168544" y="1334814"/>
                  </a:lnTo>
                  <a:lnTo>
                    <a:pt x="2163794" y="1340744"/>
                  </a:lnTo>
                  <a:lnTo>
                    <a:pt x="2162312" y="1344102"/>
                  </a:lnTo>
                  <a:lnTo>
                    <a:pt x="2173384" y="1342559"/>
                  </a:lnTo>
                  <a:lnTo>
                    <a:pt x="2172567" y="1345009"/>
                  </a:lnTo>
                  <a:lnTo>
                    <a:pt x="2171327" y="1346128"/>
                  </a:lnTo>
                  <a:close/>
                  <a:moveTo>
                    <a:pt x="2182883" y="1302234"/>
                  </a:moveTo>
                  <a:lnTo>
                    <a:pt x="2184456" y="1300176"/>
                  </a:lnTo>
                  <a:lnTo>
                    <a:pt x="2185485" y="1299329"/>
                  </a:lnTo>
                  <a:lnTo>
                    <a:pt x="2189538" y="1298966"/>
                  </a:lnTo>
                  <a:lnTo>
                    <a:pt x="2190476" y="1298059"/>
                  </a:lnTo>
                  <a:lnTo>
                    <a:pt x="2191202" y="1295850"/>
                  </a:lnTo>
                  <a:lnTo>
                    <a:pt x="2190173" y="1293733"/>
                  </a:lnTo>
                  <a:lnTo>
                    <a:pt x="2188328" y="1293340"/>
                  </a:lnTo>
                  <a:lnTo>
                    <a:pt x="2184244" y="1294156"/>
                  </a:lnTo>
                  <a:lnTo>
                    <a:pt x="2184244" y="1292735"/>
                  </a:lnTo>
                  <a:lnTo>
                    <a:pt x="2186029" y="1291525"/>
                  </a:lnTo>
                  <a:lnTo>
                    <a:pt x="2187663" y="1289619"/>
                  </a:lnTo>
                  <a:lnTo>
                    <a:pt x="2180130" y="1289619"/>
                  </a:lnTo>
                  <a:lnTo>
                    <a:pt x="2180130" y="1287925"/>
                  </a:lnTo>
                  <a:lnTo>
                    <a:pt x="2184486" y="1285868"/>
                  </a:lnTo>
                  <a:lnTo>
                    <a:pt x="2186634" y="1283780"/>
                  </a:lnTo>
                  <a:lnTo>
                    <a:pt x="2186634" y="1280906"/>
                  </a:lnTo>
                  <a:lnTo>
                    <a:pt x="2185878" y="1278214"/>
                  </a:lnTo>
                  <a:lnTo>
                    <a:pt x="2185515" y="1275340"/>
                  </a:lnTo>
                  <a:lnTo>
                    <a:pt x="2184970" y="1272738"/>
                  </a:lnTo>
                  <a:lnTo>
                    <a:pt x="2183609" y="1270742"/>
                  </a:lnTo>
                  <a:lnTo>
                    <a:pt x="2181582" y="1269048"/>
                  </a:lnTo>
                  <a:lnTo>
                    <a:pt x="2180554" y="1269229"/>
                  </a:lnTo>
                  <a:lnTo>
                    <a:pt x="2179706" y="1273434"/>
                  </a:lnTo>
                  <a:lnTo>
                    <a:pt x="2178769" y="1274130"/>
                  </a:lnTo>
                  <a:lnTo>
                    <a:pt x="2177650" y="1274311"/>
                  </a:lnTo>
                  <a:lnTo>
                    <a:pt x="2168423" y="1280120"/>
                  </a:lnTo>
                  <a:lnTo>
                    <a:pt x="2168423" y="1281693"/>
                  </a:lnTo>
                  <a:lnTo>
                    <a:pt x="2171902" y="1279787"/>
                  </a:lnTo>
                  <a:lnTo>
                    <a:pt x="2175804" y="1279424"/>
                  </a:lnTo>
                  <a:lnTo>
                    <a:pt x="2179616" y="1280634"/>
                  </a:lnTo>
                  <a:lnTo>
                    <a:pt x="2182853" y="1283387"/>
                  </a:lnTo>
                  <a:lnTo>
                    <a:pt x="2177679" y="1287471"/>
                  </a:lnTo>
                  <a:lnTo>
                    <a:pt x="2174110" y="1288741"/>
                  </a:lnTo>
                  <a:lnTo>
                    <a:pt x="2173384" y="1290617"/>
                  </a:lnTo>
                  <a:lnTo>
                    <a:pt x="2173142" y="1292704"/>
                  </a:lnTo>
                  <a:lnTo>
                    <a:pt x="2172597" y="1294187"/>
                  </a:lnTo>
                  <a:lnTo>
                    <a:pt x="2171024" y="1295124"/>
                  </a:lnTo>
                  <a:lnTo>
                    <a:pt x="2165337" y="1295881"/>
                  </a:lnTo>
                  <a:lnTo>
                    <a:pt x="2163915" y="1296577"/>
                  </a:lnTo>
                  <a:lnTo>
                    <a:pt x="2161011" y="1299662"/>
                  </a:lnTo>
                  <a:lnTo>
                    <a:pt x="2159499" y="1300570"/>
                  </a:lnTo>
                  <a:lnTo>
                    <a:pt x="2159499" y="1302294"/>
                  </a:lnTo>
                  <a:lnTo>
                    <a:pt x="2161465" y="1302022"/>
                  </a:lnTo>
                  <a:lnTo>
                    <a:pt x="2165125" y="1299602"/>
                  </a:lnTo>
                  <a:lnTo>
                    <a:pt x="2167062" y="1298997"/>
                  </a:lnTo>
                  <a:lnTo>
                    <a:pt x="2168332" y="1299723"/>
                  </a:lnTo>
                  <a:lnTo>
                    <a:pt x="2167394" y="1301356"/>
                  </a:lnTo>
                  <a:lnTo>
                    <a:pt x="2164672" y="1304381"/>
                  </a:lnTo>
                  <a:lnTo>
                    <a:pt x="2163340" y="1306681"/>
                  </a:lnTo>
                  <a:lnTo>
                    <a:pt x="2161888" y="1307830"/>
                  </a:lnTo>
                  <a:lnTo>
                    <a:pt x="2160376" y="1308647"/>
                  </a:lnTo>
                  <a:lnTo>
                    <a:pt x="2158772" y="1309917"/>
                  </a:lnTo>
                  <a:lnTo>
                    <a:pt x="2154719" y="1316149"/>
                  </a:lnTo>
                  <a:lnTo>
                    <a:pt x="2178769" y="1305773"/>
                  </a:lnTo>
                  <a:lnTo>
                    <a:pt x="2182883" y="1302294"/>
                  </a:lnTo>
                  <a:close/>
                  <a:moveTo>
                    <a:pt x="2197494" y="1263966"/>
                  </a:moveTo>
                  <a:lnTo>
                    <a:pt x="2199642" y="1264298"/>
                  </a:lnTo>
                  <a:lnTo>
                    <a:pt x="2200641" y="1266265"/>
                  </a:lnTo>
                  <a:lnTo>
                    <a:pt x="2201639" y="1268836"/>
                  </a:lnTo>
                  <a:lnTo>
                    <a:pt x="2204301" y="1269895"/>
                  </a:lnTo>
                  <a:lnTo>
                    <a:pt x="2206600" y="1268443"/>
                  </a:lnTo>
                  <a:lnTo>
                    <a:pt x="2208082" y="1270197"/>
                  </a:lnTo>
                  <a:lnTo>
                    <a:pt x="2210200" y="1267807"/>
                  </a:lnTo>
                  <a:lnTo>
                    <a:pt x="2211349" y="1266023"/>
                  </a:lnTo>
                  <a:lnTo>
                    <a:pt x="2212469" y="1264782"/>
                  </a:lnTo>
                  <a:lnTo>
                    <a:pt x="2213558" y="1263875"/>
                  </a:lnTo>
                  <a:lnTo>
                    <a:pt x="2214314" y="1260789"/>
                  </a:lnTo>
                  <a:lnTo>
                    <a:pt x="2213860" y="1256221"/>
                  </a:lnTo>
                  <a:lnTo>
                    <a:pt x="2213165" y="1254194"/>
                  </a:lnTo>
                  <a:lnTo>
                    <a:pt x="2212922" y="1253589"/>
                  </a:lnTo>
                  <a:lnTo>
                    <a:pt x="2212348" y="1252803"/>
                  </a:lnTo>
                  <a:lnTo>
                    <a:pt x="2211592" y="1252561"/>
                  </a:lnTo>
                  <a:lnTo>
                    <a:pt x="2209565" y="1252470"/>
                  </a:lnTo>
                  <a:lnTo>
                    <a:pt x="2209171" y="1252349"/>
                  </a:lnTo>
                  <a:lnTo>
                    <a:pt x="2208536" y="1251835"/>
                  </a:lnTo>
                  <a:lnTo>
                    <a:pt x="2208052" y="1251109"/>
                  </a:lnTo>
                  <a:lnTo>
                    <a:pt x="2206812" y="1251623"/>
                  </a:lnTo>
                  <a:lnTo>
                    <a:pt x="2206298" y="1249989"/>
                  </a:lnTo>
                  <a:lnTo>
                    <a:pt x="2205602" y="1248114"/>
                  </a:lnTo>
                  <a:lnTo>
                    <a:pt x="2204966" y="1248265"/>
                  </a:lnTo>
                  <a:lnTo>
                    <a:pt x="2205118" y="1249657"/>
                  </a:lnTo>
                  <a:lnTo>
                    <a:pt x="2204997" y="1250746"/>
                  </a:lnTo>
                  <a:lnTo>
                    <a:pt x="2204876" y="1251986"/>
                  </a:lnTo>
                  <a:lnTo>
                    <a:pt x="2201276" y="1256009"/>
                  </a:lnTo>
                  <a:lnTo>
                    <a:pt x="2199309" y="1257613"/>
                  </a:lnTo>
                  <a:lnTo>
                    <a:pt x="2197010" y="1260245"/>
                  </a:lnTo>
                  <a:lnTo>
                    <a:pt x="2196042" y="1262150"/>
                  </a:lnTo>
                  <a:lnTo>
                    <a:pt x="2195558" y="1263905"/>
                  </a:lnTo>
                  <a:lnTo>
                    <a:pt x="2196042" y="1264359"/>
                  </a:lnTo>
                  <a:lnTo>
                    <a:pt x="2197494" y="1263935"/>
                  </a:lnTo>
                  <a:close/>
                  <a:moveTo>
                    <a:pt x="2214768" y="1225667"/>
                  </a:moveTo>
                  <a:lnTo>
                    <a:pt x="2215615" y="1224094"/>
                  </a:lnTo>
                  <a:lnTo>
                    <a:pt x="2215887" y="1226696"/>
                  </a:lnTo>
                  <a:lnTo>
                    <a:pt x="2216401" y="1228057"/>
                  </a:lnTo>
                  <a:lnTo>
                    <a:pt x="2217279" y="1229055"/>
                  </a:lnTo>
                  <a:lnTo>
                    <a:pt x="2218791" y="1230265"/>
                  </a:lnTo>
                  <a:lnTo>
                    <a:pt x="2219548" y="1229086"/>
                  </a:lnTo>
                  <a:lnTo>
                    <a:pt x="2220606" y="1225697"/>
                  </a:lnTo>
                  <a:lnTo>
                    <a:pt x="2221121" y="1220131"/>
                  </a:lnTo>
                  <a:lnTo>
                    <a:pt x="2222361" y="1215503"/>
                  </a:lnTo>
                  <a:lnTo>
                    <a:pt x="2221786" y="1214020"/>
                  </a:lnTo>
                  <a:lnTo>
                    <a:pt x="2219790" y="1213839"/>
                  </a:lnTo>
                  <a:lnTo>
                    <a:pt x="2218579" y="1214383"/>
                  </a:lnTo>
                  <a:lnTo>
                    <a:pt x="2218579" y="1215624"/>
                  </a:lnTo>
                  <a:lnTo>
                    <a:pt x="2218519" y="1218044"/>
                  </a:lnTo>
                  <a:lnTo>
                    <a:pt x="2217642" y="1220464"/>
                  </a:lnTo>
                  <a:lnTo>
                    <a:pt x="2216946" y="1220464"/>
                  </a:lnTo>
                  <a:lnTo>
                    <a:pt x="2216764" y="1219163"/>
                  </a:lnTo>
                  <a:lnTo>
                    <a:pt x="2216371" y="1217893"/>
                  </a:lnTo>
                  <a:lnTo>
                    <a:pt x="2215917" y="1217015"/>
                  </a:lnTo>
                  <a:lnTo>
                    <a:pt x="2215857" y="1215472"/>
                  </a:lnTo>
                  <a:lnTo>
                    <a:pt x="2215373" y="1214746"/>
                  </a:lnTo>
                  <a:lnTo>
                    <a:pt x="2214374" y="1214656"/>
                  </a:lnTo>
                  <a:lnTo>
                    <a:pt x="2208597" y="1216773"/>
                  </a:lnTo>
                  <a:lnTo>
                    <a:pt x="2207387" y="1217893"/>
                  </a:lnTo>
                  <a:lnTo>
                    <a:pt x="2207538" y="1219072"/>
                  </a:lnTo>
                  <a:lnTo>
                    <a:pt x="2208324" y="1219345"/>
                  </a:lnTo>
                  <a:lnTo>
                    <a:pt x="2209232" y="1222188"/>
                  </a:lnTo>
                  <a:lnTo>
                    <a:pt x="2210714" y="1225486"/>
                  </a:lnTo>
                  <a:lnTo>
                    <a:pt x="2210018" y="1228087"/>
                  </a:lnTo>
                  <a:lnTo>
                    <a:pt x="2206751" y="1230175"/>
                  </a:lnTo>
                  <a:lnTo>
                    <a:pt x="2205753" y="1231233"/>
                  </a:lnTo>
                  <a:lnTo>
                    <a:pt x="2207356" y="1232080"/>
                  </a:lnTo>
                  <a:lnTo>
                    <a:pt x="2208445" y="1233079"/>
                  </a:lnTo>
                  <a:lnTo>
                    <a:pt x="2208869" y="1233896"/>
                  </a:lnTo>
                  <a:lnTo>
                    <a:pt x="2209474" y="1234440"/>
                  </a:lnTo>
                  <a:lnTo>
                    <a:pt x="2210533" y="1234228"/>
                  </a:lnTo>
                  <a:lnTo>
                    <a:pt x="2211652" y="1235469"/>
                  </a:lnTo>
                  <a:lnTo>
                    <a:pt x="2212499" y="1236134"/>
                  </a:lnTo>
                  <a:lnTo>
                    <a:pt x="2213437" y="1237163"/>
                  </a:lnTo>
                  <a:lnTo>
                    <a:pt x="2215615" y="1238070"/>
                  </a:lnTo>
                  <a:lnTo>
                    <a:pt x="2215222" y="1236830"/>
                  </a:lnTo>
                  <a:lnTo>
                    <a:pt x="2214133" y="1233139"/>
                  </a:lnTo>
                  <a:lnTo>
                    <a:pt x="2213830" y="1229872"/>
                  </a:lnTo>
                  <a:lnTo>
                    <a:pt x="2214284" y="1227301"/>
                  </a:lnTo>
                  <a:lnTo>
                    <a:pt x="2214798" y="1225516"/>
                  </a:lnTo>
                  <a:close/>
                  <a:moveTo>
                    <a:pt x="2350446" y="1060071"/>
                  </a:moveTo>
                  <a:lnTo>
                    <a:pt x="2352352" y="1054807"/>
                  </a:lnTo>
                  <a:lnTo>
                    <a:pt x="2353864" y="1048091"/>
                  </a:lnTo>
                  <a:lnTo>
                    <a:pt x="2351172" y="1046216"/>
                  </a:lnTo>
                  <a:lnTo>
                    <a:pt x="2348419" y="1050451"/>
                  </a:lnTo>
                  <a:lnTo>
                    <a:pt x="2345847" y="1056773"/>
                  </a:lnTo>
                  <a:lnTo>
                    <a:pt x="2343609" y="1061099"/>
                  </a:lnTo>
                  <a:lnTo>
                    <a:pt x="2341612" y="1062098"/>
                  </a:lnTo>
                  <a:lnTo>
                    <a:pt x="2339767" y="1061402"/>
                  </a:lnTo>
                  <a:lnTo>
                    <a:pt x="2333051" y="1055473"/>
                  </a:lnTo>
                  <a:lnTo>
                    <a:pt x="2332083" y="1055926"/>
                  </a:lnTo>
                  <a:lnTo>
                    <a:pt x="2332567" y="1059345"/>
                  </a:lnTo>
                  <a:lnTo>
                    <a:pt x="2329421" y="1064276"/>
                  </a:lnTo>
                  <a:lnTo>
                    <a:pt x="2327666" y="1066212"/>
                  </a:lnTo>
                  <a:lnTo>
                    <a:pt x="2325609" y="1067634"/>
                  </a:lnTo>
                  <a:lnTo>
                    <a:pt x="2325609" y="1069116"/>
                  </a:lnTo>
                  <a:lnTo>
                    <a:pt x="2333111" y="1071052"/>
                  </a:lnTo>
                  <a:lnTo>
                    <a:pt x="2336379" y="1072928"/>
                  </a:lnTo>
                  <a:lnTo>
                    <a:pt x="2340463" y="1079038"/>
                  </a:lnTo>
                  <a:lnTo>
                    <a:pt x="2341128" y="1079795"/>
                  </a:lnTo>
                  <a:lnTo>
                    <a:pt x="2341461" y="1081156"/>
                  </a:lnTo>
                  <a:lnTo>
                    <a:pt x="2341552" y="1084726"/>
                  </a:lnTo>
                  <a:lnTo>
                    <a:pt x="2342247" y="1087206"/>
                  </a:lnTo>
                  <a:lnTo>
                    <a:pt x="2343851" y="1087569"/>
                  </a:lnTo>
                  <a:lnTo>
                    <a:pt x="2345666" y="1086692"/>
                  </a:lnTo>
                  <a:lnTo>
                    <a:pt x="2347058" y="1085452"/>
                  </a:lnTo>
                  <a:lnTo>
                    <a:pt x="2346906" y="1084756"/>
                  </a:lnTo>
                  <a:lnTo>
                    <a:pt x="2346573" y="1083092"/>
                  </a:lnTo>
                  <a:lnTo>
                    <a:pt x="2346301" y="1082215"/>
                  </a:lnTo>
                  <a:lnTo>
                    <a:pt x="2347965" y="1079886"/>
                  </a:lnTo>
                  <a:lnTo>
                    <a:pt x="2347723" y="1075892"/>
                  </a:lnTo>
                  <a:lnTo>
                    <a:pt x="2345666" y="1067664"/>
                  </a:lnTo>
                  <a:lnTo>
                    <a:pt x="2348207" y="1064306"/>
                  </a:lnTo>
                  <a:lnTo>
                    <a:pt x="2350415" y="1060162"/>
                  </a:lnTo>
                  <a:close/>
                  <a:moveTo>
                    <a:pt x="2354923" y="996906"/>
                  </a:moveTo>
                  <a:lnTo>
                    <a:pt x="2363212" y="994153"/>
                  </a:lnTo>
                  <a:lnTo>
                    <a:pt x="2365783" y="992338"/>
                  </a:lnTo>
                  <a:lnTo>
                    <a:pt x="2367870" y="988829"/>
                  </a:lnTo>
                  <a:lnTo>
                    <a:pt x="2368536" y="986348"/>
                  </a:lnTo>
                  <a:lnTo>
                    <a:pt x="2367810" y="985894"/>
                  </a:lnTo>
                  <a:lnTo>
                    <a:pt x="2367447" y="985773"/>
                  </a:lnTo>
                  <a:lnTo>
                    <a:pt x="2366509" y="986711"/>
                  </a:lnTo>
                  <a:lnTo>
                    <a:pt x="2366449" y="986257"/>
                  </a:lnTo>
                  <a:lnTo>
                    <a:pt x="2366933" y="984714"/>
                  </a:lnTo>
                  <a:lnTo>
                    <a:pt x="2366660" y="983172"/>
                  </a:lnTo>
                  <a:lnTo>
                    <a:pt x="2365571" y="982052"/>
                  </a:lnTo>
                  <a:lnTo>
                    <a:pt x="2363756" y="982052"/>
                  </a:lnTo>
                  <a:lnTo>
                    <a:pt x="2357464" y="986439"/>
                  </a:lnTo>
                  <a:lnTo>
                    <a:pt x="2354469" y="989918"/>
                  </a:lnTo>
                  <a:lnTo>
                    <a:pt x="2353441" y="991945"/>
                  </a:lnTo>
                  <a:lnTo>
                    <a:pt x="2352412" y="993094"/>
                  </a:lnTo>
                  <a:lnTo>
                    <a:pt x="2351383" y="993094"/>
                  </a:lnTo>
                  <a:lnTo>
                    <a:pt x="2351020" y="993790"/>
                  </a:lnTo>
                  <a:lnTo>
                    <a:pt x="2351353" y="994697"/>
                  </a:lnTo>
                  <a:lnTo>
                    <a:pt x="2349387" y="995847"/>
                  </a:lnTo>
                  <a:lnTo>
                    <a:pt x="2349145" y="997481"/>
                  </a:lnTo>
                  <a:lnTo>
                    <a:pt x="2350355" y="998297"/>
                  </a:lnTo>
                  <a:lnTo>
                    <a:pt x="2352079" y="998297"/>
                  </a:lnTo>
                  <a:lnTo>
                    <a:pt x="2353955" y="997632"/>
                  </a:lnTo>
                  <a:lnTo>
                    <a:pt x="2354893" y="996966"/>
                  </a:lnTo>
                  <a:close/>
                  <a:moveTo>
                    <a:pt x="2423442" y="857386"/>
                  </a:moveTo>
                  <a:lnTo>
                    <a:pt x="2423049" y="860079"/>
                  </a:lnTo>
                  <a:lnTo>
                    <a:pt x="2423835" y="864102"/>
                  </a:lnTo>
                  <a:lnTo>
                    <a:pt x="2424138" y="866250"/>
                  </a:lnTo>
                  <a:lnTo>
                    <a:pt x="2424955" y="866704"/>
                  </a:lnTo>
                  <a:lnTo>
                    <a:pt x="2429220" y="865645"/>
                  </a:lnTo>
                  <a:lnTo>
                    <a:pt x="2438961" y="866401"/>
                  </a:lnTo>
                  <a:lnTo>
                    <a:pt x="2441805" y="867672"/>
                  </a:lnTo>
                  <a:lnTo>
                    <a:pt x="2443348" y="867672"/>
                  </a:lnTo>
                  <a:lnTo>
                    <a:pt x="2451334" y="865433"/>
                  </a:lnTo>
                  <a:lnTo>
                    <a:pt x="2451727" y="865887"/>
                  </a:lnTo>
                  <a:lnTo>
                    <a:pt x="2452453" y="866220"/>
                  </a:lnTo>
                  <a:lnTo>
                    <a:pt x="2456023" y="863920"/>
                  </a:lnTo>
                  <a:lnTo>
                    <a:pt x="2457596" y="861016"/>
                  </a:lnTo>
                  <a:lnTo>
                    <a:pt x="2457505" y="859201"/>
                  </a:lnTo>
                  <a:lnTo>
                    <a:pt x="2456658" y="859141"/>
                  </a:lnTo>
                  <a:lnTo>
                    <a:pt x="2455116" y="859746"/>
                  </a:lnTo>
                  <a:lnTo>
                    <a:pt x="2455025" y="860502"/>
                  </a:lnTo>
                  <a:lnTo>
                    <a:pt x="2453361" y="862257"/>
                  </a:lnTo>
                  <a:lnTo>
                    <a:pt x="2452786" y="860321"/>
                  </a:lnTo>
                  <a:lnTo>
                    <a:pt x="2451727" y="860018"/>
                  </a:lnTo>
                  <a:lnTo>
                    <a:pt x="2450185" y="860018"/>
                  </a:lnTo>
                  <a:lnTo>
                    <a:pt x="2449852" y="858536"/>
                  </a:lnTo>
                  <a:lnTo>
                    <a:pt x="2448218" y="857658"/>
                  </a:lnTo>
                  <a:lnTo>
                    <a:pt x="2443287" y="856963"/>
                  </a:lnTo>
                  <a:lnTo>
                    <a:pt x="2441018" y="855874"/>
                  </a:lnTo>
                  <a:lnTo>
                    <a:pt x="2437902" y="851487"/>
                  </a:lnTo>
                  <a:lnTo>
                    <a:pt x="2437660" y="850338"/>
                  </a:lnTo>
                  <a:lnTo>
                    <a:pt x="2438114" y="848825"/>
                  </a:lnTo>
                  <a:lnTo>
                    <a:pt x="2438356" y="846889"/>
                  </a:lnTo>
                  <a:lnTo>
                    <a:pt x="2438054" y="845558"/>
                  </a:lnTo>
                  <a:lnTo>
                    <a:pt x="2437570" y="845437"/>
                  </a:lnTo>
                  <a:lnTo>
                    <a:pt x="2436602" y="847131"/>
                  </a:lnTo>
                  <a:lnTo>
                    <a:pt x="2433909" y="850428"/>
                  </a:lnTo>
                  <a:lnTo>
                    <a:pt x="2433153" y="851941"/>
                  </a:lnTo>
                  <a:lnTo>
                    <a:pt x="2432185" y="853453"/>
                  </a:lnTo>
                  <a:lnTo>
                    <a:pt x="2430824" y="853665"/>
                  </a:lnTo>
                  <a:lnTo>
                    <a:pt x="2428857" y="852909"/>
                  </a:lnTo>
                  <a:lnTo>
                    <a:pt x="2424773" y="852576"/>
                  </a:lnTo>
                  <a:lnTo>
                    <a:pt x="2424138" y="853030"/>
                  </a:lnTo>
                  <a:lnTo>
                    <a:pt x="2424652" y="854573"/>
                  </a:lnTo>
                  <a:lnTo>
                    <a:pt x="2424652" y="855722"/>
                  </a:lnTo>
                  <a:lnTo>
                    <a:pt x="2423442" y="857356"/>
                  </a:lnTo>
                  <a:close/>
                  <a:moveTo>
                    <a:pt x="2477653" y="846859"/>
                  </a:moveTo>
                  <a:lnTo>
                    <a:pt x="2478318" y="847464"/>
                  </a:lnTo>
                  <a:lnTo>
                    <a:pt x="2479619" y="848159"/>
                  </a:lnTo>
                  <a:lnTo>
                    <a:pt x="2489088" y="849339"/>
                  </a:lnTo>
                  <a:lnTo>
                    <a:pt x="2492567" y="848855"/>
                  </a:lnTo>
                  <a:lnTo>
                    <a:pt x="2493474" y="848522"/>
                  </a:lnTo>
                  <a:lnTo>
                    <a:pt x="2495320" y="847282"/>
                  </a:lnTo>
                  <a:lnTo>
                    <a:pt x="2498012" y="842654"/>
                  </a:lnTo>
                  <a:lnTo>
                    <a:pt x="2500281" y="842744"/>
                  </a:lnTo>
                  <a:lnTo>
                    <a:pt x="2506059" y="847403"/>
                  </a:lnTo>
                  <a:lnTo>
                    <a:pt x="2511595" y="849733"/>
                  </a:lnTo>
                  <a:lnTo>
                    <a:pt x="2515891" y="849642"/>
                  </a:lnTo>
                  <a:lnTo>
                    <a:pt x="2520005" y="847494"/>
                  </a:lnTo>
                  <a:lnTo>
                    <a:pt x="2520912" y="846465"/>
                  </a:lnTo>
                  <a:lnTo>
                    <a:pt x="2520852" y="844711"/>
                  </a:lnTo>
                  <a:lnTo>
                    <a:pt x="2520580" y="843682"/>
                  </a:lnTo>
                  <a:lnTo>
                    <a:pt x="2519430" y="842200"/>
                  </a:lnTo>
                  <a:lnTo>
                    <a:pt x="2516738" y="841111"/>
                  </a:lnTo>
                  <a:lnTo>
                    <a:pt x="2513501" y="838903"/>
                  </a:lnTo>
                  <a:lnTo>
                    <a:pt x="2484762" y="839387"/>
                  </a:lnTo>
                  <a:lnTo>
                    <a:pt x="2480920" y="840566"/>
                  </a:lnTo>
                  <a:lnTo>
                    <a:pt x="2479468" y="841837"/>
                  </a:lnTo>
                  <a:lnTo>
                    <a:pt x="2478167" y="843743"/>
                  </a:lnTo>
                  <a:lnTo>
                    <a:pt x="2476836" y="844348"/>
                  </a:lnTo>
                  <a:lnTo>
                    <a:pt x="2475596" y="844227"/>
                  </a:lnTo>
                  <a:lnTo>
                    <a:pt x="2475505" y="845074"/>
                  </a:lnTo>
                  <a:lnTo>
                    <a:pt x="2476866" y="846375"/>
                  </a:lnTo>
                  <a:lnTo>
                    <a:pt x="2477653" y="846889"/>
                  </a:lnTo>
                  <a:close/>
                  <a:moveTo>
                    <a:pt x="2452938" y="843289"/>
                  </a:moveTo>
                  <a:lnTo>
                    <a:pt x="2451153" y="838540"/>
                  </a:lnTo>
                  <a:lnTo>
                    <a:pt x="2450124" y="836634"/>
                  </a:lnTo>
                  <a:lnTo>
                    <a:pt x="2449277" y="836513"/>
                  </a:lnTo>
                  <a:lnTo>
                    <a:pt x="2449186" y="837934"/>
                  </a:lnTo>
                  <a:lnTo>
                    <a:pt x="2448218" y="839387"/>
                  </a:lnTo>
                  <a:lnTo>
                    <a:pt x="2446010" y="841020"/>
                  </a:lnTo>
                  <a:lnTo>
                    <a:pt x="2444709" y="842865"/>
                  </a:lnTo>
                  <a:lnTo>
                    <a:pt x="2444165" y="844408"/>
                  </a:lnTo>
                  <a:lnTo>
                    <a:pt x="2443378" y="845588"/>
                  </a:lnTo>
                  <a:lnTo>
                    <a:pt x="2443015" y="846798"/>
                  </a:lnTo>
                  <a:lnTo>
                    <a:pt x="2443106" y="847554"/>
                  </a:lnTo>
                  <a:lnTo>
                    <a:pt x="2443680" y="849007"/>
                  </a:lnTo>
                  <a:lnTo>
                    <a:pt x="2444407" y="852001"/>
                  </a:lnTo>
                  <a:lnTo>
                    <a:pt x="2445556" y="853938"/>
                  </a:lnTo>
                  <a:lnTo>
                    <a:pt x="2453966" y="853877"/>
                  </a:lnTo>
                  <a:lnTo>
                    <a:pt x="2455811" y="851427"/>
                  </a:lnTo>
                  <a:lnTo>
                    <a:pt x="2454632" y="846889"/>
                  </a:lnTo>
                  <a:lnTo>
                    <a:pt x="2452938" y="843350"/>
                  </a:lnTo>
                  <a:close/>
                  <a:moveTo>
                    <a:pt x="2212711" y="888727"/>
                  </a:moveTo>
                  <a:lnTo>
                    <a:pt x="2213981" y="884733"/>
                  </a:lnTo>
                  <a:lnTo>
                    <a:pt x="2215373" y="881194"/>
                  </a:lnTo>
                  <a:lnTo>
                    <a:pt x="2224962" y="877171"/>
                  </a:lnTo>
                  <a:lnTo>
                    <a:pt x="2227080" y="875477"/>
                  </a:lnTo>
                  <a:lnTo>
                    <a:pt x="2227231" y="874751"/>
                  </a:lnTo>
                  <a:lnTo>
                    <a:pt x="2227292" y="873601"/>
                  </a:lnTo>
                  <a:lnTo>
                    <a:pt x="2227504" y="872572"/>
                  </a:lnTo>
                  <a:lnTo>
                    <a:pt x="2229016" y="871181"/>
                  </a:lnTo>
                  <a:lnTo>
                    <a:pt x="2229954" y="869003"/>
                  </a:lnTo>
                  <a:lnTo>
                    <a:pt x="2230408" y="866492"/>
                  </a:lnTo>
                  <a:lnTo>
                    <a:pt x="2229863" y="864526"/>
                  </a:lnTo>
                  <a:lnTo>
                    <a:pt x="2228139" y="863225"/>
                  </a:lnTo>
                  <a:lnTo>
                    <a:pt x="2224630" y="862650"/>
                  </a:lnTo>
                  <a:lnTo>
                    <a:pt x="2222875" y="861833"/>
                  </a:lnTo>
                  <a:lnTo>
                    <a:pt x="2221695" y="860169"/>
                  </a:lnTo>
                  <a:lnTo>
                    <a:pt x="2221786" y="858778"/>
                  </a:lnTo>
                  <a:lnTo>
                    <a:pt x="2222754" y="858082"/>
                  </a:lnTo>
                  <a:lnTo>
                    <a:pt x="2224236" y="858475"/>
                  </a:lnTo>
                  <a:lnTo>
                    <a:pt x="2223329" y="853181"/>
                  </a:lnTo>
                  <a:lnTo>
                    <a:pt x="2225205" y="854331"/>
                  </a:lnTo>
                  <a:lnTo>
                    <a:pt x="2229742" y="860321"/>
                  </a:lnTo>
                  <a:lnTo>
                    <a:pt x="2231346" y="860744"/>
                  </a:lnTo>
                  <a:lnTo>
                    <a:pt x="2236307" y="860321"/>
                  </a:lnTo>
                  <a:lnTo>
                    <a:pt x="2238122" y="859473"/>
                  </a:lnTo>
                  <a:lnTo>
                    <a:pt x="2238848" y="857356"/>
                  </a:lnTo>
                  <a:lnTo>
                    <a:pt x="2238848" y="854573"/>
                  </a:lnTo>
                  <a:lnTo>
                    <a:pt x="2238364" y="848885"/>
                  </a:lnTo>
                  <a:lnTo>
                    <a:pt x="2237487" y="844650"/>
                  </a:lnTo>
                  <a:lnTo>
                    <a:pt x="2236851" y="838660"/>
                  </a:lnTo>
                  <a:lnTo>
                    <a:pt x="2235732" y="839387"/>
                  </a:lnTo>
                  <a:lnTo>
                    <a:pt x="2234371" y="841837"/>
                  </a:lnTo>
                  <a:lnTo>
                    <a:pt x="2233251" y="843319"/>
                  </a:lnTo>
                  <a:lnTo>
                    <a:pt x="2231679" y="842896"/>
                  </a:lnTo>
                  <a:lnTo>
                    <a:pt x="2230771" y="841565"/>
                  </a:lnTo>
                  <a:lnTo>
                    <a:pt x="2230771" y="839598"/>
                  </a:lnTo>
                  <a:lnTo>
                    <a:pt x="2231890" y="837450"/>
                  </a:lnTo>
                  <a:lnTo>
                    <a:pt x="2233887" y="836422"/>
                  </a:lnTo>
                  <a:lnTo>
                    <a:pt x="2235944" y="836634"/>
                  </a:lnTo>
                  <a:lnTo>
                    <a:pt x="2237850" y="836210"/>
                  </a:lnTo>
                  <a:lnTo>
                    <a:pt x="2239453" y="833215"/>
                  </a:lnTo>
                  <a:lnTo>
                    <a:pt x="2235339" y="833215"/>
                  </a:lnTo>
                  <a:lnTo>
                    <a:pt x="2235339" y="831521"/>
                  </a:lnTo>
                  <a:lnTo>
                    <a:pt x="2236700" y="831067"/>
                  </a:lnTo>
                  <a:lnTo>
                    <a:pt x="2237971" y="830251"/>
                  </a:lnTo>
                  <a:lnTo>
                    <a:pt x="2239151" y="828799"/>
                  </a:lnTo>
                  <a:lnTo>
                    <a:pt x="2240149" y="826469"/>
                  </a:lnTo>
                  <a:lnTo>
                    <a:pt x="2241510" y="826469"/>
                  </a:lnTo>
                  <a:lnTo>
                    <a:pt x="2241510" y="824624"/>
                  </a:lnTo>
                  <a:lnTo>
                    <a:pt x="2233735" y="819874"/>
                  </a:lnTo>
                  <a:lnTo>
                    <a:pt x="2231225" y="819693"/>
                  </a:lnTo>
                  <a:lnTo>
                    <a:pt x="2231225" y="821387"/>
                  </a:lnTo>
                  <a:lnTo>
                    <a:pt x="2231739" y="822083"/>
                  </a:lnTo>
                  <a:lnTo>
                    <a:pt x="2232616" y="823777"/>
                  </a:lnTo>
                  <a:lnTo>
                    <a:pt x="2233282" y="824594"/>
                  </a:lnTo>
                  <a:lnTo>
                    <a:pt x="2232011" y="828133"/>
                  </a:lnTo>
                  <a:lnTo>
                    <a:pt x="2230468" y="829646"/>
                  </a:lnTo>
                  <a:lnTo>
                    <a:pt x="2227111" y="831491"/>
                  </a:lnTo>
                  <a:lnTo>
                    <a:pt x="2224751" y="834577"/>
                  </a:lnTo>
                  <a:lnTo>
                    <a:pt x="2223632" y="836603"/>
                  </a:lnTo>
                  <a:lnTo>
                    <a:pt x="2218791" y="848371"/>
                  </a:lnTo>
                  <a:lnTo>
                    <a:pt x="2218610" y="849702"/>
                  </a:lnTo>
                  <a:lnTo>
                    <a:pt x="2218701" y="852909"/>
                  </a:lnTo>
                  <a:lnTo>
                    <a:pt x="2218428" y="854391"/>
                  </a:lnTo>
                  <a:lnTo>
                    <a:pt x="2217763" y="855238"/>
                  </a:lnTo>
                  <a:lnTo>
                    <a:pt x="2216311" y="855329"/>
                  </a:lnTo>
                  <a:lnTo>
                    <a:pt x="2215645" y="856055"/>
                  </a:lnTo>
                  <a:lnTo>
                    <a:pt x="2214919" y="858384"/>
                  </a:lnTo>
                  <a:lnTo>
                    <a:pt x="2214526" y="863255"/>
                  </a:lnTo>
                  <a:lnTo>
                    <a:pt x="2213588" y="866159"/>
                  </a:lnTo>
                  <a:lnTo>
                    <a:pt x="2211440" y="870546"/>
                  </a:lnTo>
                  <a:lnTo>
                    <a:pt x="2210563" y="872814"/>
                  </a:lnTo>
                  <a:lnTo>
                    <a:pt x="2209746" y="875446"/>
                  </a:lnTo>
                  <a:lnTo>
                    <a:pt x="2209746" y="876626"/>
                  </a:lnTo>
                  <a:lnTo>
                    <a:pt x="2210291" y="879923"/>
                  </a:lnTo>
                  <a:lnTo>
                    <a:pt x="2210442" y="881436"/>
                  </a:lnTo>
                  <a:lnTo>
                    <a:pt x="2210170" y="881950"/>
                  </a:lnTo>
                  <a:lnTo>
                    <a:pt x="2208687" y="883735"/>
                  </a:lnTo>
                  <a:lnTo>
                    <a:pt x="2204997" y="889846"/>
                  </a:lnTo>
                  <a:lnTo>
                    <a:pt x="2204271" y="892417"/>
                  </a:lnTo>
                  <a:lnTo>
                    <a:pt x="2209777" y="891086"/>
                  </a:lnTo>
                  <a:lnTo>
                    <a:pt x="2212681" y="888757"/>
                  </a:lnTo>
                  <a:close/>
                  <a:moveTo>
                    <a:pt x="2243083" y="843471"/>
                  </a:moveTo>
                  <a:lnTo>
                    <a:pt x="2244263" y="843380"/>
                  </a:lnTo>
                  <a:lnTo>
                    <a:pt x="2245171" y="841565"/>
                  </a:lnTo>
                  <a:lnTo>
                    <a:pt x="2245171" y="839326"/>
                  </a:lnTo>
                  <a:lnTo>
                    <a:pt x="2245534" y="837450"/>
                  </a:lnTo>
                  <a:lnTo>
                    <a:pt x="2247379" y="836634"/>
                  </a:lnTo>
                  <a:lnTo>
                    <a:pt x="2247984" y="837753"/>
                  </a:lnTo>
                  <a:lnTo>
                    <a:pt x="2248287" y="840385"/>
                  </a:lnTo>
                  <a:lnTo>
                    <a:pt x="2248377" y="845951"/>
                  </a:lnTo>
                  <a:lnTo>
                    <a:pt x="2249708" y="849248"/>
                  </a:lnTo>
                  <a:lnTo>
                    <a:pt x="2252764" y="846223"/>
                  </a:lnTo>
                  <a:lnTo>
                    <a:pt x="2258058" y="838297"/>
                  </a:lnTo>
                  <a:lnTo>
                    <a:pt x="2259238" y="839145"/>
                  </a:lnTo>
                  <a:lnTo>
                    <a:pt x="2261597" y="843047"/>
                  </a:lnTo>
                  <a:lnTo>
                    <a:pt x="2262565" y="842533"/>
                  </a:lnTo>
                  <a:lnTo>
                    <a:pt x="2263110" y="840324"/>
                  </a:lnTo>
                  <a:lnTo>
                    <a:pt x="2263957" y="834456"/>
                  </a:lnTo>
                  <a:lnTo>
                    <a:pt x="2263957" y="833246"/>
                  </a:lnTo>
                  <a:lnTo>
                    <a:pt x="2265530" y="830795"/>
                  </a:lnTo>
                  <a:lnTo>
                    <a:pt x="2267345" y="825168"/>
                  </a:lnTo>
                  <a:lnTo>
                    <a:pt x="2269765" y="814490"/>
                  </a:lnTo>
                  <a:lnTo>
                    <a:pt x="2268797" y="813431"/>
                  </a:lnTo>
                  <a:lnTo>
                    <a:pt x="2266891" y="810224"/>
                  </a:lnTo>
                  <a:lnTo>
                    <a:pt x="2266014" y="809559"/>
                  </a:lnTo>
                  <a:lnTo>
                    <a:pt x="2258995" y="807108"/>
                  </a:lnTo>
                  <a:lnTo>
                    <a:pt x="2255486" y="807955"/>
                  </a:lnTo>
                  <a:lnTo>
                    <a:pt x="2253944" y="813703"/>
                  </a:lnTo>
                  <a:lnTo>
                    <a:pt x="2255305" y="816365"/>
                  </a:lnTo>
                  <a:lnTo>
                    <a:pt x="2257937" y="819874"/>
                  </a:lnTo>
                  <a:lnTo>
                    <a:pt x="2259782" y="824382"/>
                  </a:lnTo>
                  <a:lnTo>
                    <a:pt x="2258753" y="829978"/>
                  </a:lnTo>
                  <a:lnTo>
                    <a:pt x="2257120" y="831249"/>
                  </a:lnTo>
                  <a:lnTo>
                    <a:pt x="2255698" y="829464"/>
                  </a:lnTo>
                  <a:lnTo>
                    <a:pt x="2253581" y="823837"/>
                  </a:lnTo>
                  <a:lnTo>
                    <a:pt x="2251705" y="821992"/>
                  </a:lnTo>
                  <a:lnTo>
                    <a:pt x="2249799" y="822869"/>
                  </a:lnTo>
                  <a:lnTo>
                    <a:pt x="2243628" y="830946"/>
                  </a:lnTo>
                  <a:lnTo>
                    <a:pt x="2242660" y="833336"/>
                  </a:lnTo>
                  <a:lnTo>
                    <a:pt x="2242176" y="836573"/>
                  </a:lnTo>
                  <a:lnTo>
                    <a:pt x="2242176" y="839326"/>
                  </a:lnTo>
                  <a:lnTo>
                    <a:pt x="2242448" y="841867"/>
                  </a:lnTo>
                  <a:lnTo>
                    <a:pt x="2243083" y="843440"/>
                  </a:lnTo>
                  <a:close/>
                  <a:moveTo>
                    <a:pt x="2408619" y="779035"/>
                  </a:moveTo>
                  <a:lnTo>
                    <a:pt x="2406381" y="784571"/>
                  </a:lnTo>
                  <a:lnTo>
                    <a:pt x="2408226" y="788141"/>
                  </a:lnTo>
                  <a:lnTo>
                    <a:pt x="2411221" y="789441"/>
                  </a:lnTo>
                  <a:lnTo>
                    <a:pt x="2414095" y="790410"/>
                  </a:lnTo>
                  <a:lnTo>
                    <a:pt x="2416575" y="785206"/>
                  </a:lnTo>
                  <a:lnTo>
                    <a:pt x="2422202" y="776766"/>
                  </a:lnTo>
                  <a:lnTo>
                    <a:pt x="2420901" y="770565"/>
                  </a:lnTo>
                  <a:lnTo>
                    <a:pt x="2415516" y="770897"/>
                  </a:lnTo>
                  <a:lnTo>
                    <a:pt x="2408559" y="779035"/>
                  </a:lnTo>
                  <a:close/>
                  <a:moveTo>
                    <a:pt x="2332234" y="771865"/>
                  </a:moveTo>
                  <a:lnTo>
                    <a:pt x="2337074" y="772198"/>
                  </a:lnTo>
                  <a:lnTo>
                    <a:pt x="2341007" y="772198"/>
                  </a:lnTo>
                  <a:lnTo>
                    <a:pt x="2340221" y="774800"/>
                  </a:lnTo>
                  <a:lnTo>
                    <a:pt x="2340735" y="777734"/>
                  </a:lnTo>
                  <a:lnTo>
                    <a:pt x="2342701" y="780336"/>
                  </a:lnTo>
                  <a:lnTo>
                    <a:pt x="2346513" y="783905"/>
                  </a:lnTo>
                  <a:lnTo>
                    <a:pt x="2350688" y="781969"/>
                  </a:lnTo>
                  <a:lnTo>
                    <a:pt x="2353319" y="775465"/>
                  </a:lnTo>
                  <a:lnTo>
                    <a:pt x="2350567" y="767660"/>
                  </a:lnTo>
                  <a:lnTo>
                    <a:pt x="2346392" y="767328"/>
                  </a:lnTo>
                  <a:lnTo>
                    <a:pt x="2343367" y="765694"/>
                  </a:lnTo>
                  <a:lnTo>
                    <a:pt x="2341128" y="762427"/>
                  </a:lnTo>
                  <a:lnTo>
                    <a:pt x="2338103" y="761792"/>
                  </a:lnTo>
                  <a:lnTo>
                    <a:pt x="2332991" y="763092"/>
                  </a:lnTo>
                  <a:lnTo>
                    <a:pt x="2334291" y="767328"/>
                  </a:lnTo>
                  <a:lnTo>
                    <a:pt x="2330359" y="767993"/>
                  </a:lnTo>
                  <a:lnTo>
                    <a:pt x="2332204" y="771896"/>
                  </a:lnTo>
                  <a:close/>
                  <a:moveTo>
                    <a:pt x="2271671" y="828133"/>
                  </a:moveTo>
                  <a:lnTo>
                    <a:pt x="2277328" y="835666"/>
                  </a:lnTo>
                  <a:lnTo>
                    <a:pt x="2278780" y="834970"/>
                  </a:lnTo>
                  <a:lnTo>
                    <a:pt x="2279899" y="832126"/>
                  </a:lnTo>
                  <a:lnTo>
                    <a:pt x="2280807" y="828163"/>
                  </a:lnTo>
                  <a:lnTo>
                    <a:pt x="2281109" y="828436"/>
                  </a:lnTo>
                  <a:lnTo>
                    <a:pt x="2281987" y="827135"/>
                  </a:lnTo>
                  <a:lnTo>
                    <a:pt x="2282561" y="825471"/>
                  </a:lnTo>
                  <a:lnTo>
                    <a:pt x="2281896" y="824654"/>
                  </a:lnTo>
                  <a:lnTo>
                    <a:pt x="2281321" y="824261"/>
                  </a:lnTo>
                  <a:lnTo>
                    <a:pt x="2280777" y="823263"/>
                  </a:lnTo>
                  <a:lnTo>
                    <a:pt x="2280323" y="821931"/>
                  </a:lnTo>
                  <a:lnTo>
                    <a:pt x="2280141" y="820600"/>
                  </a:lnTo>
                  <a:lnTo>
                    <a:pt x="2281896" y="816123"/>
                  </a:lnTo>
                  <a:lnTo>
                    <a:pt x="2285526" y="815881"/>
                  </a:lnTo>
                  <a:lnTo>
                    <a:pt x="2288521" y="819027"/>
                  </a:lnTo>
                  <a:lnTo>
                    <a:pt x="2288370" y="824684"/>
                  </a:lnTo>
                  <a:lnTo>
                    <a:pt x="2289096" y="825047"/>
                  </a:lnTo>
                  <a:lnTo>
                    <a:pt x="2290427" y="826197"/>
                  </a:lnTo>
                  <a:lnTo>
                    <a:pt x="2291153" y="826560"/>
                  </a:lnTo>
                  <a:lnTo>
                    <a:pt x="2290427" y="828224"/>
                  </a:lnTo>
                  <a:lnTo>
                    <a:pt x="2292544" y="828103"/>
                  </a:lnTo>
                  <a:lnTo>
                    <a:pt x="2294299" y="828496"/>
                  </a:lnTo>
                  <a:lnTo>
                    <a:pt x="2295993" y="828375"/>
                  </a:lnTo>
                  <a:lnTo>
                    <a:pt x="2297989" y="826560"/>
                  </a:lnTo>
                  <a:lnTo>
                    <a:pt x="2297203" y="825622"/>
                  </a:lnTo>
                  <a:lnTo>
                    <a:pt x="2296719" y="824503"/>
                  </a:lnTo>
                  <a:lnTo>
                    <a:pt x="2295933" y="821478"/>
                  </a:lnTo>
                  <a:lnTo>
                    <a:pt x="2296931" y="819390"/>
                  </a:lnTo>
                  <a:lnTo>
                    <a:pt x="2297475" y="817121"/>
                  </a:lnTo>
                  <a:lnTo>
                    <a:pt x="2298383" y="815306"/>
                  </a:lnTo>
                  <a:lnTo>
                    <a:pt x="2300379" y="814550"/>
                  </a:lnTo>
                  <a:lnTo>
                    <a:pt x="2301045" y="815246"/>
                  </a:lnTo>
                  <a:lnTo>
                    <a:pt x="2301559" y="818574"/>
                  </a:lnTo>
                  <a:lnTo>
                    <a:pt x="2302134" y="819784"/>
                  </a:lnTo>
                  <a:lnTo>
                    <a:pt x="2303526" y="820540"/>
                  </a:lnTo>
                  <a:lnTo>
                    <a:pt x="2308729" y="819360"/>
                  </a:lnTo>
                  <a:lnTo>
                    <a:pt x="2310090" y="818059"/>
                  </a:lnTo>
                  <a:lnTo>
                    <a:pt x="2310756" y="815942"/>
                  </a:lnTo>
                  <a:lnTo>
                    <a:pt x="2310393" y="813038"/>
                  </a:lnTo>
                  <a:lnTo>
                    <a:pt x="2308638" y="810345"/>
                  </a:lnTo>
                  <a:lnTo>
                    <a:pt x="2304615" y="809407"/>
                  </a:lnTo>
                  <a:lnTo>
                    <a:pt x="2303556" y="806261"/>
                  </a:lnTo>
                  <a:lnTo>
                    <a:pt x="2310363" y="806261"/>
                  </a:lnTo>
                  <a:lnTo>
                    <a:pt x="2311754" y="805475"/>
                  </a:lnTo>
                  <a:lnTo>
                    <a:pt x="2312571" y="803781"/>
                  </a:lnTo>
                  <a:lnTo>
                    <a:pt x="2313145" y="801996"/>
                  </a:lnTo>
                  <a:lnTo>
                    <a:pt x="2313811" y="801028"/>
                  </a:lnTo>
                  <a:lnTo>
                    <a:pt x="2315142" y="801542"/>
                  </a:lnTo>
                  <a:lnTo>
                    <a:pt x="2316171" y="803085"/>
                  </a:lnTo>
                  <a:lnTo>
                    <a:pt x="2317229" y="804265"/>
                  </a:lnTo>
                  <a:lnTo>
                    <a:pt x="2318682" y="803629"/>
                  </a:lnTo>
                  <a:lnTo>
                    <a:pt x="2319892" y="802450"/>
                  </a:lnTo>
                  <a:lnTo>
                    <a:pt x="2321011" y="801754"/>
                  </a:lnTo>
                  <a:lnTo>
                    <a:pt x="2329693" y="800998"/>
                  </a:lnTo>
                  <a:lnTo>
                    <a:pt x="2330631" y="800302"/>
                  </a:lnTo>
                  <a:lnTo>
                    <a:pt x="2331417" y="798729"/>
                  </a:lnTo>
                  <a:lnTo>
                    <a:pt x="2332506" y="795915"/>
                  </a:lnTo>
                  <a:lnTo>
                    <a:pt x="2337407" y="794433"/>
                  </a:lnTo>
                  <a:lnTo>
                    <a:pt x="2342247" y="782423"/>
                  </a:lnTo>
                  <a:lnTo>
                    <a:pt x="2338859" y="777553"/>
                  </a:lnTo>
                  <a:lnTo>
                    <a:pt x="2335048" y="775586"/>
                  </a:lnTo>
                  <a:lnTo>
                    <a:pt x="2329058" y="780578"/>
                  </a:lnTo>
                  <a:lnTo>
                    <a:pt x="2325609" y="781758"/>
                  </a:lnTo>
                  <a:lnTo>
                    <a:pt x="2322977" y="778823"/>
                  </a:lnTo>
                  <a:lnTo>
                    <a:pt x="2327031" y="772652"/>
                  </a:lnTo>
                  <a:lnTo>
                    <a:pt x="2324550" y="761882"/>
                  </a:lnTo>
                  <a:lnTo>
                    <a:pt x="2318137" y="760914"/>
                  </a:lnTo>
                  <a:lnTo>
                    <a:pt x="2313569" y="764847"/>
                  </a:lnTo>
                  <a:lnTo>
                    <a:pt x="2310816" y="770716"/>
                  </a:lnTo>
                  <a:lnTo>
                    <a:pt x="2309001" y="773620"/>
                  </a:lnTo>
                  <a:lnTo>
                    <a:pt x="2308124" y="774346"/>
                  </a:lnTo>
                  <a:lnTo>
                    <a:pt x="2306974" y="777734"/>
                  </a:lnTo>
                  <a:lnTo>
                    <a:pt x="2306218" y="778914"/>
                  </a:lnTo>
                  <a:lnTo>
                    <a:pt x="2305250" y="779277"/>
                  </a:lnTo>
                  <a:lnTo>
                    <a:pt x="2303223" y="776282"/>
                  </a:lnTo>
                  <a:lnTo>
                    <a:pt x="2301105" y="775617"/>
                  </a:lnTo>
                  <a:lnTo>
                    <a:pt x="2299532" y="776585"/>
                  </a:lnTo>
                  <a:lnTo>
                    <a:pt x="2297596" y="777613"/>
                  </a:lnTo>
                  <a:lnTo>
                    <a:pt x="2296205" y="776585"/>
                  </a:lnTo>
                  <a:lnTo>
                    <a:pt x="2294692" y="774316"/>
                  </a:lnTo>
                  <a:lnTo>
                    <a:pt x="2293845" y="773620"/>
                  </a:lnTo>
                  <a:lnTo>
                    <a:pt x="2292605" y="773559"/>
                  </a:lnTo>
                  <a:lnTo>
                    <a:pt x="2289670" y="772682"/>
                  </a:lnTo>
                  <a:lnTo>
                    <a:pt x="2275906" y="785690"/>
                  </a:lnTo>
                  <a:lnTo>
                    <a:pt x="2282501" y="786810"/>
                  </a:lnTo>
                  <a:lnTo>
                    <a:pt x="2284195" y="787263"/>
                  </a:lnTo>
                  <a:lnTo>
                    <a:pt x="2285647" y="788383"/>
                  </a:lnTo>
                  <a:lnTo>
                    <a:pt x="2287553" y="789562"/>
                  </a:lnTo>
                  <a:lnTo>
                    <a:pt x="2283106" y="791831"/>
                  </a:lnTo>
                  <a:lnTo>
                    <a:pt x="2277479" y="793798"/>
                  </a:lnTo>
                  <a:lnTo>
                    <a:pt x="2273819" y="799455"/>
                  </a:lnTo>
                  <a:lnTo>
                    <a:pt x="2277570" y="801421"/>
                  </a:lnTo>
                  <a:lnTo>
                    <a:pt x="2278689" y="802873"/>
                  </a:lnTo>
                  <a:lnTo>
                    <a:pt x="2273819" y="804416"/>
                  </a:lnTo>
                  <a:lnTo>
                    <a:pt x="2275392" y="805989"/>
                  </a:lnTo>
                  <a:lnTo>
                    <a:pt x="2276239" y="806322"/>
                  </a:lnTo>
                  <a:lnTo>
                    <a:pt x="2277267" y="806261"/>
                  </a:lnTo>
                  <a:lnTo>
                    <a:pt x="2276783" y="808621"/>
                  </a:lnTo>
                  <a:lnTo>
                    <a:pt x="2275997" y="810133"/>
                  </a:lnTo>
                  <a:lnTo>
                    <a:pt x="2274998" y="810980"/>
                  </a:lnTo>
                  <a:lnTo>
                    <a:pt x="2273849" y="811192"/>
                  </a:lnTo>
                  <a:lnTo>
                    <a:pt x="2273849" y="813038"/>
                  </a:lnTo>
                  <a:lnTo>
                    <a:pt x="2276935" y="811918"/>
                  </a:lnTo>
                  <a:lnTo>
                    <a:pt x="2282289" y="805081"/>
                  </a:lnTo>
                  <a:lnTo>
                    <a:pt x="2284921" y="806231"/>
                  </a:lnTo>
                  <a:lnTo>
                    <a:pt x="2274514" y="819360"/>
                  </a:lnTo>
                  <a:lnTo>
                    <a:pt x="2271610" y="828254"/>
                  </a:lnTo>
                  <a:close/>
                  <a:moveTo>
                    <a:pt x="2353924" y="786840"/>
                  </a:moveTo>
                  <a:lnTo>
                    <a:pt x="2356677" y="787142"/>
                  </a:lnTo>
                  <a:lnTo>
                    <a:pt x="2362183" y="785569"/>
                  </a:lnTo>
                  <a:lnTo>
                    <a:pt x="2358341" y="788020"/>
                  </a:lnTo>
                  <a:lnTo>
                    <a:pt x="2349962" y="791075"/>
                  </a:lnTo>
                  <a:lnTo>
                    <a:pt x="2346301" y="795764"/>
                  </a:lnTo>
                  <a:lnTo>
                    <a:pt x="2346634" y="797337"/>
                  </a:lnTo>
                  <a:lnTo>
                    <a:pt x="2347058" y="798729"/>
                  </a:lnTo>
                  <a:lnTo>
                    <a:pt x="2347632" y="799939"/>
                  </a:lnTo>
                  <a:lnTo>
                    <a:pt x="2348358" y="800876"/>
                  </a:lnTo>
                  <a:lnTo>
                    <a:pt x="2348419" y="802056"/>
                  </a:lnTo>
                  <a:lnTo>
                    <a:pt x="2348298" y="802419"/>
                  </a:lnTo>
                  <a:lnTo>
                    <a:pt x="2348056" y="802480"/>
                  </a:lnTo>
                  <a:lnTo>
                    <a:pt x="2347723" y="802722"/>
                  </a:lnTo>
                  <a:lnTo>
                    <a:pt x="2347330" y="803871"/>
                  </a:lnTo>
                  <a:lnTo>
                    <a:pt x="2346301" y="807804"/>
                  </a:lnTo>
                  <a:lnTo>
                    <a:pt x="2347753" y="807804"/>
                  </a:lnTo>
                  <a:lnTo>
                    <a:pt x="2351172" y="806413"/>
                  </a:lnTo>
                  <a:lnTo>
                    <a:pt x="2354197" y="804083"/>
                  </a:lnTo>
                  <a:lnTo>
                    <a:pt x="2357736" y="804023"/>
                  </a:lnTo>
                  <a:lnTo>
                    <a:pt x="2359339" y="802722"/>
                  </a:lnTo>
                  <a:lnTo>
                    <a:pt x="2359128" y="801814"/>
                  </a:lnTo>
                  <a:lnTo>
                    <a:pt x="2358735" y="799334"/>
                  </a:lnTo>
                  <a:lnTo>
                    <a:pt x="2360368" y="799394"/>
                  </a:lnTo>
                  <a:lnTo>
                    <a:pt x="2363423" y="800816"/>
                  </a:lnTo>
                  <a:lnTo>
                    <a:pt x="2364966" y="800907"/>
                  </a:lnTo>
                  <a:lnTo>
                    <a:pt x="2365753" y="800271"/>
                  </a:lnTo>
                  <a:lnTo>
                    <a:pt x="2367326" y="798003"/>
                  </a:lnTo>
                  <a:lnTo>
                    <a:pt x="2368445" y="797549"/>
                  </a:lnTo>
                  <a:lnTo>
                    <a:pt x="2376492" y="796944"/>
                  </a:lnTo>
                  <a:lnTo>
                    <a:pt x="2378822" y="795825"/>
                  </a:lnTo>
                  <a:lnTo>
                    <a:pt x="2382270" y="792315"/>
                  </a:lnTo>
                  <a:lnTo>
                    <a:pt x="2383934" y="791166"/>
                  </a:lnTo>
                  <a:lnTo>
                    <a:pt x="2388230" y="789986"/>
                  </a:lnTo>
                  <a:lnTo>
                    <a:pt x="2392404" y="785932"/>
                  </a:lnTo>
                  <a:lnTo>
                    <a:pt x="2393947" y="783754"/>
                  </a:lnTo>
                  <a:lnTo>
                    <a:pt x="2389773" y="781697"/>
                  </a:lnTo>
                  <a:lnTo>
                    <a:pt x="2389137" y="780487"/>
                  </a:lnTo>
                  <a:lnTo>
                    <a:pt x="2389621" y="779186"/>
                  </a:lnTo>
                  <a:lnTo>
                    <a:pt x="2390710" y="778037"/>
                  </a:lnTo>
                  <a:lnTo>
                    <a:pt x="2391890" y="777220"/>
                  </a:lnTo>
                  <a:lnTo>
                    <a:pt x="2394340" y="776312"/>
                  </a:lnTo>
                  <a:lnTo>
                    <a:pt x="2396186" y="774618"/>
                  </a:lnTo>
                  <a:lnTo>
                    <a:pt x="2397124" y="771956"/>
                  </a:lnTo>
                  <a:lnTo>
                    <a:pt x="2396034" y="768568"/>
                  </a:lnTo>
                  <a:lnTo>
                    <a:pt x="2397789" y="762911"/>
                  </a:lnTo>
                  <a:lnTo>
                    <a:pt x="2398697" y="761731"/>
                  </a:lnTo>
                  <a:lnTo>
                    <a:pt x="2400209" y="761731"/>
                  </a:lnTo>
                  <a:lnTo>
                    <a:pt x="2400965" y="762971"/>
                  </a:lnTo>
                  <a:lnTo>
                    <a:pt x="2401570" y="765119"/>
                  </a:lnTo>
                  <a:lnTo>
                    <a:pt x="2402508" y="766813"/>
                  </a:lnTo>
                  <a:lnTo>
                    <a:pt x="2404323" y="766692"/>
                  </a:lnTo>
                  <a:lnTo>
                    <a:pt x="2400693" y="772228"/>
                  </a:lnTo>
                  <a:lnTo>
                    <a:pt x="2399120" y="776282"/>
                  </a:lnTo>
                  <a:lnTo>
                    <a:pt x="2398818" y="780517"/>
                  </a:lnTo>
                  <a:lnTo>
                    <a:pt x="2400391" y="782453"/>
                  </a:lnTo>
                  <a:lnTo>
                    <a:pt x="2403174" y="781425"/>
                  </a:lnTo>
                  <a:lnTo>
                    <a:pt x="2420599" y="764181"/>
                  </a:lnTo>
                  <a:lnTo>
                    <a:pt x="2424925" y="761731"/>
                  </a:lnTo>
                  <a:lnTo>
                    <a:pt x="2423321" y="759795"/>
                  </a:lnTo>
                  <a:lnTo>
                    <a:pt x="2421537" y="758282"/>
                  </a:lnTo>
                  <a:lnTo>
                    <a:pt x="2427072" y="754864"/>
                  </a:lnTo>
                  <a:lnTo>
                    <a:pt x="2427254" y="754108"/>
                  </a:lnTo>
                  <a:lnTo>
                    <a:pt x="2427194" y="752837"/>
                  </a:lnTo>
                  <a:lnTo>
                    <a:pt x="2427435" y="751718"/>
                  </a:lnTo>
                  <a:lnTo>
                    <a:pt x="2428464" y="751294"/>
                  </a:lnTo>
                  <a:lnTo>
                    <a:pt x="2428918" y="751990"/>
                  </a:lnTo>
                  <a:lnTo>
                    <a:pt x="2428918" y="753533"/>
                  </a:lnTo>
                  <a:lnTo>
                    <a:pt x="2428676" y="755257"/>
                  </a:lnTo>
                  <a:lnTo>
                    <a:pt x="2428434" y="756437"/>
                  </a:lnTo>
                  <a:lnTo>
                    <a:pt x="2430461" y="755288"/>
                  </a:lnTo>
                  <a:lnTo>
                    <a:pt x="2442591" y="736380"/>
                  </a:lnTo>
                  <a:lnTo>
                    <a:pt x="2444376" y="732417"/>
                  </a:lnTo>
                  <a:lnTo>
                    <a:pt x="2437237" y="732599"/>
                  </a:lnTo>
                  <a:lnTo>
                    <a:pt x="2433395" y="733870"/>
                  </a:lnTo>
                  <a:lnTo>
                    <a:pt x="2428010" y="739073"/>
                  </a:lnTo>
                  <a:lnTo>
                    <a:pt x="2419963" y="736743"/>
                  </a:lnTo>
                  <a:lnTo>
                    <a:pt x="2416696" y="737621"/>
                  </a:lnTo>
                  <a:lnTo>
                    <a:pt x="2415395" y="741160"/>
                  </a:lnTo>
                  <a:lnTo>
                    <a:pt x="2414972" y="749661"/>
                  </a:lnTo>
                  <a:lnTo>
                    <a:pt x="2413943" y="751325"/>
                  </a:lnTo>
                  <a:lnTo>
                    <a:pt x="2410918" y="752535"/>
                  </a:lnTo>
                  <a:lnTo>
                    <a:pt x="2405231" y="757617"/>
                  </a:lnTo>
                  <a:lnTo>
                    <a:pt x="2402266" y="758313"/>
                  </a:lnTo>
                  <a:lnTo>
                    <a:pt x="2402266" y="756437"/>
                  </a:lnTo>
                  <a:lnTo>
                    <a:pt x="2409073" y="748663"/>
                  </a:lnTo>
                  <a:lnTo>
                    <a:pt x="2409436" y="747362"/>
                  </a:lnTo>
                  <a:lnTo>
                    <a:pt x="2409133" y="743671"/>
                  </a:lnTo>
                  <a:lnTo>
                    <a:pt x="2408317" y="741311"/>
                  </a:lnTo>
                  <a:lnTo>
                    <a:pt x="2406501" y="739406"/>
                  </a:lnTo>
                  <a:lnTo>
                    <a:pt x="2402932" y="737590"/>
                  </a:lnTo>
                  <a:lnTo>
                    <a:pt x="2401087" y="737681"/>
                  </a:lnTo>
                  <a:lnTo>
                    <a:pt x="2399453" y="738559"/>
                  </a:lnTo>
                  <a:lnTo>
                    <a:pt x="2398213" y="740253"/>
                  </a:lnTo>
                  <a:lnTo>
                    <a:pt x="2397365" y="742733"/>
                  </a:lnTo>
                  <a:lnTo>
                    <a:pt x="2397729" y="748935"/>
                  </a:lnTo>
                  <a:lnTo>
                    <a:pt x="2397547" y="751688"/>
                  </a:lnTo>
                  <a:lnTo>
                    <a:pt x="2396367" y="750538"/>
                  </a:lnTo>
                  <a:lnTo>
                    <a:pt x="2394613" y="747241"/>
                  </a:lnTo>
                  <a:lnTo>
                    <a:pt x="2394098" y="745274"/>
                  </a:lnTo>
                  <a:lnTo>
                    <a:pt x="2393947" y="741916"/>
                  </a:lnTo>
                  <a:lnTo>
                    <a:pt x="2392132" y="738982"/>
                  </a:lnTo>
                  <a:lnTo>
                    <a:pt x="2380878" y="744669"/>
                  </a:lnTo>
                  <a:lnTo>
                    <a:pt x="2382028" y="747664"/>
                  </a:lnTo>
                  <a:lnTo>
                    <a:pt x="2384932" y="750901"/>
                  </a:lnTo>
                  <a:lnTo>
                    <a:pt x="2385719" y="754925"/>
                  </a:lnTo>
                  <a:lnTo>
                    <a:pt x="2383026" y="754138"/>
                  </a:lnTo>
                  <a:lnTo>
                    <a:pt x="2378640" y="750599"/>
                  </a:lnTo>
                  <a:lnTo>
                    <a:pt x="2376038" y="749782"/>
                  </a:lnTo>
                  <a:lnTo>
                    <a:pt x="2364996" y="753049"/>
                  </a:lnTo>
                  <a:lnTo>
                    <a:pt x="2366267" y="754380"/>
                  </a:lnTo>
                  <a:lnTo>
                    <a:pt x="2370472" y="756467"/>
                  </a:lnTo>
                  <a:lnTo>
                    <a:pt x="2370230" y="760098"/>
                  </a:lnTo>
                  <a:lnTo>
                    <a:pt x="2371077" y="761852"/>
                  </a:lnTo>
                  <a:lnTo>
                    <a:pt x="2372287" y="761852"/>
                  </a:lnTo>
                  <a:lnTo>
                    <a:pt x="2373285" y="760037"/>
                  </a:lnTo>
                  <a:lnTo>
                    <a:pt x="2375100" y="763516"/>
                  </a:lnTo>
                  <a:lnTo>
                    <a:pt x="2376371" y="767116"/>
                  </a:lnTo>
                  <a:lnTo>
                    <a:pt x="2376280" y="769687"/>
                  </a:lnTo>
                  <a:lnTo>
                    <a:pt x="2374011" y="770171"/>
                  </a:lnTo>
                  <a:lnTo>
                    <a:pt x="2372045" y="767600"/>
                  </a:lnTo>
                  <a:lnTo>
                    <a:pt x="2370956" y="766632"/>
                  </a:lnTo>
                  <a:lnTo>
                    <a:pt x="2370502" y="767691"/>
                  </a:lnTo>
                  <a:lnTo>
                    <a:pt x="2369867" y="769869"/>
                  </a:lnTo>
                  <a:lnTo>
                    <a:pt x="2368627" y="770958"/>
                  </a:lnTo>
                  <a:lnTo>
                    <a:pt x="2368022" y="771896"/>
                  </a:lnTo>
                  <a:lnTo>
                    <a:pt x="2369171" y="773559"/>
                  </a:lnTo>
                  <a:lnTo>
                    <a:pt x="2369171" y="775435"/>
                  </a:lnTo>
                  <a:lnTo>
                    <a:pt x="2366176" y="774376"/>
                  </a:lnTo>
                  <a:lnTo>
                    <a:pt x="2362425" y="766087"/>
                  </a:lnTo>
                  <a:lnTo>
                    <a:pt x="2359430" y="765210"/>
                  </a:lnTo>
                  <a:lnTo>
                    <a:pt x="2356950" y="768235"/>
                  </a:lnTo>
                  <a:lnTo>
                    <a:pt x="2356284" y="772954"/>
                  </a:lnTo>
                  <a:lnTo>
                    <a:pt x="2357222" y="777613"/>
                  </a:lnTo>
                  <a:lnTo>
                    <a:pt x="2359461" y="780578"/>
                  </a:lnTo>
                  <a:lnTo>
                    <a:pt x="2355498" y="780759"/>
                  </a:lnTo>
                  <a:lnTo>
                    <a:pt x="2353652" y="781697"/>
                  </a:lnTo>
                  <a:lnTo>
                    <a:pt x="2351928" y="783845"/>
                  </a:lnTo>
                  <a:lnTo>
                    <a:pt x="2354045" y="786991"/>
                  </a:lnTo>
                  <a:close/>
                  <a:moveTo>
                    <a:pt x="2572189" y="730270"/>
                  </a:moveTo>
                  <a:lnTo>
                    <a:pt x="2574548" y="728727"/>
                  </a:lnTo>
                  <a:lnTo>
                    <a:pt x="2573429" y="726760"/>
                  </a:lnTo>
                  <a:lnTo>
                    <a:pt x="2571130" y="724552"/>
                  </a:lnTo>
                  <a:lnTo>
                    <a:pt x="2570132" y="722858"/>
                  </a:lnTo>
                  <a:lnTo>
                    <a:pt x="2569738" y="720801"/>
                  </a:lnTo>
                  <a:lnTo>
                    <a:pt x="2569496" y="718169"/>
                  </a:lnTo>
                  <a:lnTo>
                    <a:pt x="2569012" y="715900"/>
                  </a:lnTo>
                  <a:lnTo>
                    <a:pt x="2568044" y="714932"/>
                  </a:lnTo>
                  <a:lnTo>
                    <a:pt x="2566683" y="714388"/>
                  </a:lnTo>
                  <a:lnTo>
                    <a:pt x="2563658" y="711998"/>
                  </a:lnTo>
                  <a:lnTo>
                    <a:pt x="2562145" y="711453"/>
                  </a:lnTo>
                  <a:lnTo>
                    <a:pt x="2549863" y="714811"/>
                  </a:lnTo>
                  <a:lnTo>
                    <a:pt x="2546898" y="717019"/>
                  </a:lnTo>
                  <a:lnTo>
                    <a:pt x="2544569" y="721013"/>
                  </a:lnTo>
                  <a:lnTo>
                    <a:pt x="2541423" y="728697"/>
                  </a:lnTo>
                  <a:lnTo>
                    <a:pt x="2539426" y="737469"/>
                  </a:lnTo>
                  <a:lnTo>
                    <a:pt x="2542149" y="738831"/>
                  </a:lnTo>
                  <a:lnTo>
                    <a:pt x="2543541" y="739133"/>
                  </a:lnTo>
                  <a:lnTo>
                    <a:pt x="2544932" y="739012"/>
                  </a:lnTo>
                  <a:lnTo>
                    <a:pt x="2539214" y="743369"/>
                  </a:lnTo>
                  <a:lnTo>
                    <a:pt x="2537157" y="746605"/>
                  </a:lnTo>
                  <a:lnTo>
                    <a:pt x="2539457" y="749600"/>
                  </a:lnTo>
                  <a:lnTo>
                    <a:pt x="2540031" y="751204"/>
                  </a:lnTo>
                  <a:lnTo>
                    <a:pt x="2541816" y="749994"/>
                  </a:lnTo>
                  <a:lnTo>
                    <a:pt x="2545628" y="746031"/>
                  </a:lnTo>
                  <a:lnTo>
                    <a:pt x="2550831" y="743580"/>
                  </a:lnTo>
                  <a:lnTo>
                    <a:pt x="2567711" y="742582"/>
                  </a:lnTo>
                  <a:lnTo>
                    <a:pt x="2569285" y="741342"/>
                  </a:lnTo>
                  <a:lnTo>
                    <a:pt x="2568407" y="738559"/>
                  </a:lnTo>
                  <a:lnTo>
                    <a:pt x="2566501" y="735624"/>
                  </a:lnTo>
                  <a:lnTo>
                    <a:pt x="2565019" y="733991"/>
                  </a:lnTo>
                  <a:lnTo>
                    <a:pt x="2567076" y="731873"/>
                  </a:lnTo>
                  <a:lnTo>
                    <a:pt x="2572219" y="730209"/>
                  </a:lnTo>
                  <a:close/>
                  <a:moveTo>
                    <a:pt x="2405624" y="702045"/>
                  </a:moveTo>
                  <a:lnTo>
                    <a:pt x="2398152" y="701380"/>
                  </a:lnTo>
                  <a:lnTo>
                    <a:pt x="2393705" y="698748"/>
                  </a:lnTo>
                  <a:lnTo>
                    <a:pt x="2388744" y="703043"/>
                  </a:lnTo>
                  <a:lnTo>
                    <a:pt x="2387171" y="706008"/>
                  </a:lnTo>
                  <a:lnTo>
                    <a:pt x="2389410" y="709971"/>
                  </a:lnTo>
                  <a:lnTo>
                    <a:pt x="2392677" y="713268"/>
                  </a:lnTo>
                  <a:lnTo>
                    <a:pt x="2397275" y="717564"/>
                  </a:lnTo>
                  <a:lnTo>
                    <a:pt x="2398576" y="723161"/>
                  </a:lnTo>
                  <a:lnTo>
                    <a:pt x="2403144" y="722162"/>
                  </a:lnTo>
                  <a:lnTo>
                    <a:pt x="2416121" y="722162"/>
                  </a:lnTo>
                  <a:lnTo>
                    <a:pt x="2420054" y="719198"/>
                  </a:lnTo>
                  <a:lnTo>
                    <a:pt x="2420054" y="719198"/>
                  </a:lnTo>
                  <a:lnTo>
                    <a:pt x="2420054" y="719137"/>
                  </a:lnTo>
                  <a:lnTo>
                    <a:pt x="2420115" y="719137"/>
                  </a:lnTo>
                  <a:lnTo>
                    <a:pt x="2420175" y="719046"/>
                  </a:lnTo>
                  <a:lnTo>
                    <a:pt x="2420236" y="718986"/>
                  </a:lnTo>
                  <a:lnTo>
                    <a:pt x="2420296" y="718925"/>
                  </a:lnTo>
                  <a:lnTo>
                    <a:pt x="2420387" y="718835"/>
                  </a:lnTo>
                  <a:lnTo>
                    <a:pt x="2420478" y="718744"/>
                  </a:lnTo>
                  <a:lnTo>
                    <a:pt x="2420568" y="718653"/>
                  </a:lnTo>
                  <a:lnTo>
                    <a:pt x="2420659" y="718532"/>
                  </a:lnTo>
                  <a:lnTo>
                    <a:pt x="2420750" y="718411"/>
                  </a:lnTo>
                  <a:lnTo>
                    <a:pt x="2420871" y="718290"/>
                  </a:lnTo>
                  <a:lnTo>
                    <a:pt x="2420992" y="718169"/>
                  </a:lnTo>
                  <a:lnTo>
                    <a:pt x="2421113" y="718048"/>
                  </a:lnTo>
                  <a:lnTo>
                    <a:pt x="2421234" y="717897"/>
                  </a:lnTo>
                  <a:lnTo>
                    <a:pt x="2421355" y="717776"/>
                  </a:lnTo>
                  <a:lnTo>
                    <a:pt x="2421506" y="717625"/>
                  </a:lnTo>
                  <a:lnTo>
                    <a:pt x="2421627" y="717473"/>
                  </a:lnTo>
                  <a:lnTo>
                    <a:pt x="2421778" y="717322"/>
                  </a:lnTo>
                  <a:lnTo>
                    <a:pt x="2421930" y="717171"/>
                  </a:lnTo>
                  <a:lnTo>
                    <a:pt x="2422081" y="717019"/>
                  </a:lnTo>
                  <a:lnTo>
                    <a:pt x="2422232" y="716868"/>
                  </a:lnTo>
                  <a:lnTo>
                    <a:pt x="2422383" y="716717"/>
                  </a:lnTo>
                  <a:lnTo>
                    <a:pt x="2422535" y="716566"/>
                  </a:lnTo>
                  <a:lnTo>
                    <a:pt x="2422837" y="716233"/>
                  </a:lnTo>
                  <a:lnTo>
                    <a:pt x="2422989" y="716082"/>
                  </a:lnTo>
                  <a:lnTo>
                    <a:pt x="2423140" y="715930"/>
                  </a:lnTo>
                  <a:lnTo>
                    <a:pt x="2423291" y="715779"/>
                  </a:lnTo>
                  <a:lnTo>
                    <a:pt x="2423412" y="715628"/>
                  </a:lnTo>
                  <a:lnTo>
                    <a:pt x="2423563" y="715477"/>
                  </a:lnTo>
                  <a:lnTo>
                    <a:pt x="2423715" y="715325"/>
                  </a:lnTo>
                  <a:lnTo>
                    <a:pt x="2423866" y="715174"/>
                  </a:lnTo>
                  <a:lnTo>
                    <a:pt x="2424017" y="715053"/>
                  </a:lnTo>
                  <a:lnTo>
                    <a:pt x="2424138" y="714932"/>
                  </a:lnTo>
                  <a:lnTo>
                    <a:pt x="2424259" y="714811"/>
                  </a:lnTo>
                  <a:lnTo>
                    <a:pt x="2424380" y="714690"/>
                  </a:lnTo>
                  <a:lnTo>
                    <a:pt x="2424501" y="714569"/>
                  </a:lnTo>
                  <a:lnTo>
                    <a:pt x="2424622" y="714478"/>
                  </a:lnTo>
                  <a:lnTo>
                    <a:pt x="2424713" y="714388"/>
                  </a:lnTo>
                  <a:lnTo>
                    <a:pt x="2424804" y="714297"/>
                  </a:lnTo>
                  <a:lnTo>
                    <a:pt x="2424894" y="714206"/>
                  </a:lnTo>
                  <a:lnTo>
                    <a:pt x="2424985" y="714146"/>
                  </a:lnTo>
                  <a:lnTo>
                    <a:pt x="2425076" y="714085"/>
                  </a:lnTo>
                  <a:lnTo>
                    <a:pt x="2425136" y="714025"/>
                  </a:lnTo>
                  <a:lnTo>
                    <a:pt x="2425227" y="714025"/>
                  </a:lnTo>
                  <a:lnTo>
                    <a:pt x="2425227" y="713934"/>
                  </a:lnTo>
                  <a:lnTo>
                    <a:pt x="2425409" y="713934"/>
                  </a:lnTo>
                  <a:lnTo>
                    <a:pt x="2425409" y="713873"/>
                  </a:lnTo>
                  <a:lnTo>
                    <a:pt x="2425499" y="713873"/>
                  </a:lnTo>
                  <a:lnTo>
                    <a:pt x="2425499" y="713813"/>
                  </a:lnTo>
                  <a:lnTo>
                    <a:pt x="2425560" y="713813"/>
                  </a:lnTo>
                  <a:lnTo>
                    <a:pt x="2425560" y="713752"/>
                  </a:lnTo>
                  <a:lnTo>
                    <a:pt x="2425620" y="713752"/>
                  </a:lnTo>
                  <a:lnTo>
                    <a:pt x="2425620" y="713692"/>
                  </a:lnTo>
                  <a:lnTo>
                    <a:pt x="2425681" y="713631"/>
                  </a:lnTo>
                  <a:lnTo>
                    <a:pt x="2425711" y="713631"/>
                  </a:lnTo>
                  <a:lnTo>
                    <a:pt x="2425711" y="713541"/>
                  </a:lnTo>
                  <a:lnTo>
                    <a:pt x="2425802" y="713480"/>
                  </a:lnTo>
                  <a:lnTo>
                    <a:pt x="2425802" y="713420"/>
                  </a:lnTo>
                  <a:lnTo>
                    <a:pt x="2425893" y="713359"/>
                  </a:lnTo>
                  <a:lnTo>
                    <a:pt x="2425953" y="713299"/>
                  </a:lnTo>
                  <a:lnTo>
                    <a:pt x="2425953" y="713238"/>
                  </a:lnTo>
                  <a:lnTo>
                    <a:pt x="2426044" y="713178"/>
                  </a:lnTo>
                  <a:lnTo>
                    <a:pt x="2426044" y="713117"/>
                  </a:lnTo>
                  <a:lnTo>
                    <a:pt x="2426135" y="713057"/>
                  </a:lnTo>
                  <a:lnTo>
                    <a:pt x="2426135" y="712996"/>
                  </a:lnTo>
                  <a:lnTo>
                    <a:pt x="2426256" y="712875"/>
                  </a:lnTo>
                  <a:lnTo>
                    <a:pt x="2426316" y="712754"/>
                  </a:lnTo>
                  <a:lnTo>
                    <a:pt x="2426316" y="712694"/>
                  </a:lnTo>
                  <a:lnTo>
                    <a:pt x="2426407" y="712633"/>
                  </a:lnTo>
                  <a:lnTo>
                    <a:pt x="2426407" y="712573"/>
                  </a:lnTo>
                  <a:lnTo>
                    <a:pt x="2426468" y="712512"/>
                  </a:lnTo>
                  <a:lnTo>
                    <a:pt x="2426468" y="712452"/>
                  </a:lnTo>
                  <a:lnTo>
                    <a:pt x="2426528" y="712391"/>
                  </a:lnTo>
                  <a:lnTo>
                    <a:pt x="2426528" y="712331"/>
                  </a:lnTo>
                  <a:lnTo>
                    <a:pt x="2426588" y="712270"/>
                  </a:lnTo>
                  <a:lnTo>
                    <a:pt x="2426588" y="712210"/>
                  </a:lnTo>
                  <a:lnTo>
                    <a:pt x="2426649" y="712149"/>
                  </a:lnTo>
                  <a:lnTo>
                    <a:pt x="2426649" y="712149"/>
                  </a:lnTo>
                  <a:lnTo>
                    <a:pt x="2426649" y="712058"/>
                  </a:lnTo>
                  <a:lnTo>
                    <a:pt x="2426709" y="712058"/>
                  </a:lnTo>
                  <a:lnTo>
                    <a:pt x="2426709" y="711968"/>
                  </a:lnTo>
                  <a:lnTo>
                    <a:pt x="2426770" y="711968"/>
                  </a:lnTo>
                  <a:lnTo>
                    <a:pt x="2426770" y="711907"/>
                  </a:lnTo>
                  <a:lnTo>
                    <a:pt x="2426770" y="711907"/>
                  </a:lnTo>
                  <a:lnTo>
                    <a:pt x="2426770" y="711847"/>
                  </a:lnTo>
                  <a:lnTo>
                    <a:pt x="2426831" y="711847"/>
                  </a:lnTo>
                  <a:lnTo>
                    <a:pt x="2426831" y="711786"/>
                  </a:lnTo>
                  <a:lnTo>
                    <a:pt x="2426982" y="706855"/>
                  </a:lnTo>
                  <a:lnTo>
                    <a:pt x="2420145" y="705221"/>
                  </a:lnTo>
                  <a:lnTo>
                    <a:pt x="2413580" y="703255"/>
                  </a:lnTo>
                  <a:lnTo>
                    <a:pt x="2405594" y="701924"/>
                  </a:lnTo>
                  <a:close/>
                  <a:moveTo>
                    <a:pt x="2633569" y="640090"/>
                  </a:moveTo>
                  <a:lnTo>
                    <a:pt x="2630967" y="632527"/>
                  </a:lnTo>
                  <a:lnTo>
                    <a:pt x="2630483" y="632043"/>
                  </a:lnTo>
                  <a:lnTo>
                    <a:pt x="2629848" y="629200"/>
                  </a:lnTo>
                  <a:lnTo>
                    <a:pt x="2628366" y="629563"/>
                  </a:lnTo>
                  <a:lnTo>
                    <a:pt x="2625673" y="632921"/>
                  </a:lnTo>
                  <a:lnTo>
                    <a:pt x="2619290" y="645324"/>
                  </a:lnTo>
                  <a:lnTo>
                    <a:pt x="2615962" y="647774"/>
                  </a:lnTo>
                  <a:lnTo>
                    <a:pt x="2612574" y="651404"/>
                  </a:lnTo>
                  <a:lnTo>
                    <a:pt x="2611848" y="653098"/>
                  </a:lnTo>
                  <a:lnTo>
                    <a:pt x="2611667" y="655730"/>
                  </a:lnTo>
                  <a:lnTo>
                    <a:pt x="2611183" y="658059"/>
                  </a:lnTo>
                  <a:lnTo>
                    <a:pt x="2610517" y="659875"/>
                  </a:lnTo>
                  <a:lnTo>
                    <a:pt x="2609821" y="660994"/>
                  </a:lnTo>
                  <a:lnTo>
                    <a:pt x="2612272" y="663595"/>
                  </a:lnTo>
                  <a:lnTo>
                    <a:pt x="2638833" y="655276"/>
                  </a:lnTo>
                  <a:lnTo>
                    <a:pt x="2642916" y="652130"/>
                  </a:lnTo>
                  <a:lnTo>
                    <a:pt x="2641495" y="648772"/>
                  </a:lnTo>
                  <a:lnTo>
                    <a:pt x="2635626" y="641421"/>
                  </a:lnTo>
                  <a:lnTo>
                    <a:pt x="2633539" y="640030"/>
                  </a:lnTo>
                  <a:close/>
                  <a:moveTo>
                    <a:pt x="2645609" y="632285"/>
                  </a:moveTo>
                  <a:lnTo>
                    <a:pt x="2646214" y="640725"/>
                  </a:lnTo>
                  <a:lnTo>
                    <a:pt x="2647726" y="643569"/>
                  </a:lnTo>
                  <a:lnTo>
                    <a:pt x="2650782" y="646352"/>
                  </a:lnTo>
                  <a:lnTo>
                    <a:pt x="2654684" y="646201"/>
                  </a:lnTo>
                  <a:lnTo>
                    <a:pt x="2658466" y="643630"/>
                  </a:lnTo>
                  <a:lnTo>
                    <a:pt x="2663397" y="635552"/>
                  </a:lnTo>
                  <a:lnTo>
                    <a:pt x="2672593" y="627657"/>
                  </a:lnTo>
                  <a:lnTo>
                    <a:pt x="2669084" y="620880"/>
                  </a:lnTo>
                  <a:lnTo>
                    <a:pt x="2664940" y="616494"/>
                  </a:lnTo>
                  <a:lnTo>
                    <a:pt x="2660432" y="614165"/>
                  </a:lnTo>
                  <a:lnTo>
                    <a:pt x="2650903" y="613469"/>
                  </a:lnTo>
                  <a:lnTo>
                    <a:pt x="2648936" y="615496"/>
                  </a:lnTo>
                  <a:lnTo>
                    <a:pt x="2649027" y="620638"/>
                  </a:lnTo>
                  <a:lnTo>
                    <a:pt x="2650449" y="623482"/>
                  </a:lnTo>
                  <a:lnTo>
                    <a:pt x="2654926" y="626961"/>
                  </a:lnTo>
                  <a:lnTo>
                    <a:pt x="2656681" y="629593"/>
                  </a:lnTo>
                  <a:lnTo>
                    <a:pt x="2654019" y="630379"/>
                  </a:lnTo>
                  <a:lnTo>
                    <a:pt x="2651024" y="628837"/>
                  </a:lnTo>
                  <a:lnTo>
                    <a:pt x="2648089" y="625902"/>
                  </a:lnTo>
                  <a:lnTo>
                    <a:pt x="2645639" y="622575"/>
                  </a:lnTo>
                  <a:lnTo>
                    <a:pt x="2641495" y="614951"/>
                  </a:lnTo>
                  <a:lnTo>
                    <a:pt x="2638802" y="612471"/>
                  </a:lnTo>
                  <a:lnTo>
                    <a:pt x="2636685" y="615375"/>
                  </a:lnTo>
                  <a:lnTo>
                    <a:pt x="2637048" y="619307"/>
                  </a:lnTo>
                  <a:lnTo>
                    <a:pt x="2639317" y="622484"/>
                  </a:lnTo>
                  <a:lnTo>
                    <a:pt x="2644248" y="627687"/>
                  </a:lnTo>
                  <a:lnTo>
                    <a:pt x="2645639" y="632285"/>
                  </a:lnTo>
                  <a:close/>
                  <a:moveTo>
                    <a:pt x="2411251" y="622665"/>
                  </a:moveTo>
                  <a:lnTo>
                    <a:pt x="2412764" y="623210"/>
                  </a:lnTo>
                  <a:lnTo>
                    <a:pt x="2416152" y="625781"/>
                  </a:lnTo>
                  <a:lnTo>
                    <a:pt x="2417059" y="626053"/>
                  </a:lnTo>
                  <a:lnTo>
                    <a:pt x="2422807" y="625297"/>
                  </a:lnTo>
                  <a:lnTo>
                    <a:pt x="2425772" y="622877"/>
                  </a:lnTo>
                  <a:lnTo>
                    <a:pt x="2426679" y="618521"/>
                  </a:lnTo>
                  <a:lnTo>
                    <a:pt x="2425288" y="614346"/>
                  </a:lnTo>
                  <a:lnTo>
                    <a:pt x="2422837" y="612229"/>
                  </a:lnTo>
                  <a:lnTo>
                    <a:pt x="2416908" y="610988"/>
                  </a:lnTo>
                  <a:lnTo>
                    <a:pt x="2414246" y="611412"/>
                  </a:lnTo>
                  <a:lnTo>
                    <a:pt x="2412643" y="612985"/>
                  </a:lnTo>
                  <a:lnTo>
                    <a:pt x="2412098" y="614074"/>
                  </a:lnTo>
                  <a:lnTo>
                    <a:pt x="2412310" y="615435"/>
                  </a:lnTo>
                  <a:lnTo>
                    <a:pt x="2412431" y="617039"/>
                  </a:lnTo>
                  <a:lnTo>
                    <a:pt x="2410918" y="621032"/>
                  </a:lnTo>
                  <a:lnTo>
                    <a:pt x="2411281" y="622635"/>
                  </a:lnTo>
                  <a:close/>
                  <a:moveTo>
                    <a:pt x="2471240" y="702196"/>
                  </a:moveTo>
                  <a:lnTo>
                    <a:pt x="2472540" y="706280"/>
                  </a:lnTo>
                  <a:lnTo>
                    <a:pt x="2470725" y="705161"/>
                  </a:lnTo>
                  <a:lnTo>
                    <a:pt x="2467821" y="700442"/>
                  </a:lnTo>
                  <a:lnTo>
                    <a:pt x="2466732" y="699353"/>
                  </a:lnTo>
                  <a:lnTo>
                    <a:pt x="2458110" y="700926"/>
                  </a:lnTo>
                  <a:lnTo>
                    <a:pt x="2459563" y="704919"/>
                  </a:lnTo>
                  <a:lnTo>
                    <a:pt x="2458413" y="705917"/>
                  </a:lnTo>
                  <a:lnTo>
                    <a:pt x="2454027" y="704526"/>
                  </a:lnTo>
                  <a:lnTo>
                    <a:pt x="2451062" y="704526"/>
                  </a:lnTo>
                  <a:lnTo>
                    <a:pt x="2448914" y="706401"/>
                  </a:lnTo>
                  <a:lnTo>
                    <a:pt x="2447038" y="709910"/>
                  </a:lnTo>
                  <a:lnTo>
                    <a:pt x="2445011" y="714902"/>
                  </a:lnTo>
                  <a:lnTo>
                    <a:pt x="2454359" y="716808"/>
                  </a:lnTo>
                  <a:lnTo>
                    <a:pt x="2454722" y="717594"/>
                  </a:lnTo>
                  <a:lnTo>
                    <a:pt x="2454662" y="719379"/>
                  </a:lnTo>
                  <a:lnTo>
                    <a:pt x="2454662" y="721164"/>
                  </a:lnTo>
                  <a:lnTo>
                    <a:pt x="2455388" y="721950"/>
                  </a:lnTo>
                  <a:lnTo>
                    <a:pt x="2460954" y="723675"/>
                  </a:lnTo>
                  <a:lnTo>
                    <a:pt x="2455116" y="723342"/>
                  </a:lnTo>
                  <a:lnTo>
                    <a:pt x="2452030" y="724280"/>
                  </a:lnTo>
                  <a:lnTo>
                    <a:pt x="2451274" y="727123"/>
                  </a:lnTo>
                  <a:lnTo>
                    <a:pt x="2453210" y="729241"/>
                  </a:lnTo>
                  <a:lnTo>
                    <a:pt x="2460319" y="729695"/>
                  </a:lnTo>
                  <a:lnTo>
                    <a:pt x="2462951" y="730572"/>
                  </a:lnTo>
                  <a:lnTo>
                    <a:pt x="2454027" y="730572"/>
                  </a:lnTo>
                  <a:lnTo>
                    <a:pt x="2452423" y="731570"/>
                  </a:lnTo>
                  <a:lnTo>
                    <a:pt x="2449489" y="734989"/>
                  </a:lnTo>
                  <a:lnTo>
                    <a:pt x="2446433" y="737227"/>
                  </a:lnTo>
                  <a:lnTo>
                    <a:pt x="2439476" y="747755"/>
                  </a:lnTo>
                  <a:lnTo>
                    <a:pt x="2437539" y="751688"/>
                  </a:lnTo>
                  <a:lnTo>
                    <a:pt x="2433940" y="761277"/>
                  </a:lnTo>
                  <a:lnTo>
                    <a:pt x="2432699" y="763183"/>
                  </a:lnTo>
                  <a:lnTo>
                    <a:pt x="2430521" y="764484"/>
                  </a:lnTo>
                  <a:lnTo>
                    <a:pt x="2428010" y="767660"/>
                  </a:lnTo>
                  <a:lnTo>
                    <a:pt x="2426619" y="771623"/>
                  </a:lnTo>
                  <a:lnTo>
                    <a:pt x="2427829" y="775284"/>
                  </a:lnTo>
                  <a:lnTo>
                    <a:pt x="2427405" y="776585"/>
                  </a:lnTo>
                  <a:lnTo>
                    <a:pt x="2426891" y="777553"/>
                  </a:lnTo>
                  <a:lnTo>
                    <a:pt x="2426377" y="778218"/>
                  </a:lnTo>
                  <a:lnTo>
                    <a:pt x="2425772" y="778702"/>
                  </a:lnTo>
                  <a:lnTo>
                    <a:pt x="2427133" y="782756"/>
                  </a:lnTo>
                  <a:lnTo>
                    <a:pt x="2431217" y="781818"/>
                  </a:lnTo>
                  <a:lnTo>
                    <a:pt x="2435724" y="778279"/>
                  </a:lnTo>
                  <a:lnTo>
                    <a:pt x="2438538" y="774376"/>
                  </a:lnTo>
                  <a:lnTo>
                    <a:pt x="2440565" y="769082"/>
                  </a:lnTo>
                  <a:lnTo>
                    <a:pt x="2441684" y="767872"/>
                  </a:lnTo>
                  <a:lnTo>
                    <a:pt x="2448884" y="762245"/>
                  </a:lnTo>
                  <a:lnTo>
                    <a:pt x="2450548" y="761671"/>
                  </a:lnTo>
                  <a:lnTo>
                    <a:pt x="2449912" y="758887"/>
                  </a:lnTo>
                  <a:lnTo>
                    <a:pt x="2448702" y="757950"/>
                  </a:lnTo>
                  <a:lnTo>
                    <a:pt x="2445738" y="758222"/>
                  </a:lnTo>
                  <a:lnTo>
                    <a:pt x="2448400" y="754562"/>
                  </a:lnTo>
                  <a:lnTo>
                    <a:pt x="2455146" y="752746"/>
                  </a:lnTo>
                  <a:lnTo>
                    <a:pt x="2458927" y="747150"/>
                  </a:lnTo>
                  <a:lnTo>
                    <a:pt x="2463707" y="744518"/>
                  </a:lnTo>
                  <a:lnTo>
                    <a:pt x="2464372" y="742854"/>
                  </a:lnTo>
                  <a:lnTo>
                    <a:pt x="2464978" y="741705"/>
                  </a:lnTo>
                  <a:lnTo>
                    <a:pt x="2465734" y="740918"/>
                  </a:lnTo>
                  <a:lnTo>
                    <a:pt x="2467851" y="742370"/>
                  </a:lnTo>
                  <a:lnTo>
                    <a:pt x="2468517" y="742612"/>
                  </a:lnTo>
                  <a:lnTo>
                    <a:pt x="2471300" y="741372"/>
                  </a:lnTo>
                  <a:lnTo>
                    <a:pt x="2481646" y="729332"/>
                  </a:lnTo>
                  <a:lnTo>
                    <a:pt x="2482826" y="727063"/>
                  </a:lnTo>
                  <a:lnTo>
                    <a:pt x="2482705" y="723917"/>
                  </a:lnTo>
                  <a:lnTo>
                    <a:pt x="2481586" y="718381"/>
                  </a:lnTo>
                  <a:lnTo>
                    <a:pt x="2482796" y="718018"/>
                  </a:lnTo>
                  <a:lnTo>
                    <a:pt x="2483915" y="718532"/>
                  </a:lnTo>
                  <a:lnTo>
                    <a:pt x="2484732" y="720105"/>
                  </a:lnTo>
                  <a:lnTo>
                    <a:pt x="2485065" y="722858"/>
                  </a:lnTo>
                  <a:lnTo>
                    <a:pt x="2485548" y="724008"/>
                  </a:lnTo>
                  <a:lnTo>
                    <a:pt x="2488634" y="727184"/>
                  </a:lnTo>
                  <a:lnTo>
                    <a:pt x="2484490" y="730179"/>
                  </a:lnTo>
                  <a:lnTo>
                    <a:pt x="2478167" y="740374"/>
                  </a:lnTo>
                  <a:lnTo>
                    <a:pt x="2474718" y="744548"/>
                  </a:lnTo>
                  <a:lnTo>
                    <a:pt x="2467972" y="748088"/>
                  </a:lnTo>
                  <a:lnTo>
                    <a:pt x="2466157" y="750447"/>
                  </a:lnTo>
                  <a:lnTo>
                    <a:pt x="2463162" y="757375"/>
                  </a:lnTo>
                  <a:lnTo>
                    <a:pt x="2461589" y="759069"/>
                  </a:lnTo>
                  <a:lnTo>
                    <a:pt x="2459593" y="758282"/>
                  </a:lnTo>
                  <a:lnTo>
                    <a:pt x="2461166" y="763153"/>
                  </a:lnTo>
                  <a:lnTo>
                    <a:pt x="2464947" y="764242"/>
                  </a:lnTo>
                  <a:lnTo>
                    <a:pt x="2480194" y="761701"/>
                  </a:lnTo>
                  <a:lnTo>
                    <a:pt x="2481858" y="762608"/>
                  </a:lnTo>
                  <a:lnTo>
                    <a:pt x="2485004" y="766269"/>
                  </a:lnTo>
                  <a:lnTo>
                    <a:pt x="2487122" y="766662"/>
                  </a:lnTo>
                  <a:lnTo>
                    <a:pt x="2487122" y="768538"/>
                  </a:lnTo>
                  <a:lnTo>
                    <a:pt x="2486426" y="769173"/>
                  </a:lnTo>
                  <a:lnTo>
                    <a:pt x="2485730" y="770081"/>
                  </a:lnTo>
                  <a:lnTo>
                    <a:pt x="2487273" y="770020"/>
                  </a:lnTo>
                  <a:lnTo>
                    <a:pt x="2489935" y="771018"/>
                  </a:lnTo>
                  <a:lnTo>
                    <a:pt x="2491296" y="770081"/>
                  </a:lnTo>
                  <a:lnTo>
                    <a:pt x="2491508" y="766753"/>
                  </a:lnTo>
                  <a:lnTo>
                    <a:pt x="2496651" y="760340"/>
                  </a:lnTo>
                  <a:lnTo>
                    <a:pt x="2498163" y="756377"/>
                  </a:lnTo>
                  <a:lnTo>
                    <a:pt x="2496862" y="756558"/>
                  </a:lnTo>
                  <a:lnTo>
                    <a:pt x="2495622" y="756316"/>
                  </a:lnTo>
                  <a:lnTo>
                    <a:pt x="2494442" y="755741"/>
                  </a:lnTo>
                  <a:lnTo>
                    <a:pt x="2493353" y="754834"/>
                  </a:lnTo>
                  <a:lnTo>
                    <a:pt x="2494957" y="753261"/>
                  </a:lnTo>
                  <a:lnTo>
                    <a:pt x="2496681" y="752777"/>
                  </a:lnTo>
                  <a:lnTo>
                    <a:pt x="2500220" y="752958"/>
                  </a:lnTo>
                  <a:lnTo>
                    <a:pt x="2500009" y="751839"/>
                  </a:lnTo>
                  <a:lnTo>
                    <a:pt x="2499736" y="748965"/>
                  </a:lnTo>
                  <a:lnTo>
                    <a:pt x="2499555" y="747815"/>
                  </a:lnTo>
                  <a:lnTo>
                    <a:pt x="2500886" y="745728"/>
                  </a:lnTo>
                  <a:lnTo>
                    <a:pt x="2501612" y="742310"/>
                  </a:lnTo>
                  <a:lnTo>
                    <a:pt x="2502368" y="739678"/>
                  </a:lnTo>
                  <a:lnTo>
                    <a:pt x="2503730" y="740011"/>
                  </a:lnTo>
                  <a:lnTo>
                    <a:pt x="2504909" y="742673"/>
                  </a:lnTo>
                  <a:lnTo>
                    <a:pt x="2505696" y="745577"/>
                  </a:lnTo>
                  <a:lnTo>
                    <a:pt x="2506876" y="747634"/>
                  </a:lnTo>
                  <a:lnTo>
                    <a:pt x="2509235" y="747785"/>
                  </a:lnTo>
                  <a:lnTo>
                    <a:pt x="2508358" y="745244"/>
                  </a:lnTo>
                  <a:lnTo>
                    <a:pt x="2505635" y="741342"/>
                  </a:lnTo>
                  <a:lnTo>
                    <a:pt x="2505030" y="738286"/>
                  </a:lnTo>
                  <a:lnTo>
                    <a:pt x="2505696" y="736441"/>
                  </a:lnTo>
                  <a:lnTo>
                    <a:pt x="2507209" y="737530"/>
                  </a:lnTo>
                  <a:lnTo>
                    <a:pt x="2508842" y="739406"/>
                  </a:lnTo>
                  <a:lnTo>
                    <a:pt x="2509931" y="740011"/>
                  </a:lnTo>
                  <a:lnTo>
                    <a:pt x="2512563" y="737318"/>
                  </a:lnTo>
                  <a:lnTo>
                    <a:pt x="2513350" y="735775"/>
                  </a:lnTo>
                  <a:lnTo>
                    <a:pt x="2514076" y="732357"/>
                  </a:lnTo>
                  <a:lnTo>
                    <a:pt x="2514076" y="729090"/>
                  </a:lnTo>
                  <a:lnTo>
                    <a:pt x="2513592" y="726579"/>
                  </a:lnTo>
                  <a:lnTo>
                    <a:pt x="2513470" y="724340"/>
                  </a:lnTo>
                  <a:lnTo>
                    <a:pt x="2514711" y="722011"/>
                  </a:lnTo>
                  <a:lnTo>
                    <a:pt x="2514711" y="726307"/>
                  </a:lnTo>
                  <a:lnTo>
                    <a:pt x="2515165" y="729302"/>
                  </a:lnTo>
                  <a:lnTo>
                    <a:pt x="2515800" y="731873"/>
                  </a:lnTo>
                  <a:lnTo>
                    <a:pt x="2516072" y="734959"/>
                  </a:lnTo>
                  <a:lnTo>
                    <a:pt x="2515709" y="738831"/>
                  </a:lnTo>
                  <a:lnTo>
                    <a:pt x="2515013" y="742400"/>
                  </a:lnTo>
                  <a:lnTo>
                    <a:pt x="2514711" y="745940"/>
                  </a:lnTo>
                  <a:lnTo>
                    <a:pt x="2515437" y="749721"/>
                  </a:lnTo>
                  <a:lnTo>
                    <a:pt x="2515255" y="753866"/>
                  </a:lnTo>
                  <a:lnTo>
                    <a:pt x="2518038" y="753684"/>
                  </a:lnTo>
                  <a:lnTo>
                    <a:pt x="2521760" y="751052"/>
                  </a:lnTo>
                  <a:lnTo>
                    <a:pt x="2524331" y="747876"/>
                  </a:lnTo>
                  <a:lnTo>
                    <a:pt x="2527205" y="738710"/>
                  </a:lnTo>
                  <a:lnTo>
                    <a:pt x="2528929" y="734293"/>
                  </a:lnTo>
                  <a:lnTo>
                    <a:pt x="2533104" y="729786"/>
                  </a:lnTo>
                  <a:lnTo>
                    <a:pt x="2534737" y="723705"/>
                  </a:lnTo>
                  <a:lnTo>
                    <a:pt x="2536008" y="716989"/>
                  </a:lnTo>
                  <a:lnTo>
                    <a:pt x="2537127" y="712452"/>
                  </a:lnTo>
                  <a:lnTo>
                    <a:pt x="2538398" y="711181"/>
                  </a:lnTo>
                  <a:lnTo>
                    <a:pt x="2539608" y="712270"/>
                  </a:lnTo>
                  <a:lnTo>
                    <a:pt x="2540788" y="714055"/>
                  </a:lnTo>
                  <a:lnTo>
                    <a:pt x="2541998" y="715023"/>
                  </a:lnTo>
                  <a:lnTo>
                    <a:pt x="2543389" y="714720"/>
                  </a:lnTo>
                  <a:lnTo>
                    <a:pt x="2550075" y="708942"/>
                  </a:lnTo>
                  <a:lnTo>
                    <a:pt x="2562599" y="705887"/>
                  </a:lnTo>
                  <a:lnTo>
                    <a:pt x="2569920" y="706401"/>
                  </a:lnTo>
                  <a:lnTo>
                    <a:pt x="2573943" y="708519"/>
                  </a:lnTo>
                  <a:lnTo>
                    <a:pt x="2576182" y="708912"/>
                  </a:lnTo>
                  <a:lnTo>
                    <a:pt x="2577815" y="707279"/>
                  </a:lnTo>
                  <a:lnTo>
                    <a:pt x="2578662" y="703679"/>
                  </a:lnTo>
                  <a:lnTo>
                    <a:pt x="2578148" y="701803"/>
                  </a:lnTo>
                  <a:lnTo>
                    <a:pt x="2577634" y="700865"/>
                  </a:lnTo>
                  <a:lnTo>
                    <a:pt x="2577210" y="700109"/>
                  </a:lnTo>
                  <a:lnTo>
                    <a:pt x="2576726" y="696993"/>
                  </a:lnTo>
                  <a:lnTo>
                    <a:pt x="2577120" y="694180"/>
                  </a:lnTo>
                  <a:lnTo>
                    <a:pt x="2578118" y="692546"/>
                  </a:lnTo>
                  <a:lnTo>
                    <a:pt x="2579328" y="691397"/>
                  </a:lnTo>
                  <a:lnTo>
                    <a:pt x="2580477" y="689914"/>
                  </a:lnTo>
                  <a:lnTo>
                    <a:pt x="2582262" y="686254"/>
                  </a:lnTo>
                  <a:lnTo>
                    <a:pt x="2583926" y="681625"/>
                  </a:lnTo>
                  <a:lnTo>
                    <a:pt x="2584108" y="677420"/>
                  </a:lnTo>
                  <a:lnTo>
                    <a:pt x="2581476" y="675061"/>
                  </a:lnTo>
                  <a:lnTo>
                    <a:pt x="2584713" y="670432"/>
                  </a:lnTo>
                  <a:lnTo>
                    <a:pt x="2585711" y="668284"/>
                  </a:lnTo>
                  <a:lnTo>
                    <a:pt x="2580840" y="664624"/>
                  </a:lnTo>
                  <a:lnTo>
                    <a:pt x="2581355" y="659754"/>
                  </a:lnTo>
                  <a:lnTo>
                    <a:pt x="2580538" y="656819"/>
                  </a:lnTo>
                  <a:lnTo>
                    <a:pt x="2580538" y="654671"/>
                  </a:lnTo>
                  <a:lnTo>
                    <a:pt x="2583593" y="652281"/>
                  </a:lnTo>
                  <a:lnTo>
                    <a:pt x="2582655" y="649135"/>
                  </a:lnTo>
                  <a:lnTo>
                    <a:pt x="2581022" y="647502"/>
                  </a:lnTo>
                  <a:lnTo>
                    <a:pt x="2579147" y="646987"/>
                  </a:lnTo>
                  <a:lnTo>
                    <a:pt x="2577392" y="647169"/>
                  </a:lnTo>
                  <a:lnTo>
                    <a:pt x="2578481" y="643872"/>
                  </a:lnTo>
                  <a:lnTo>
                    <a:pt x="2581929" y="640846"/>
                  </a:lnTo>
                  <a:lnTo>
                    <a:pt x="2583563" y="638305"/>
                  </a:lnTo>
                  <a:lnTo>
                    <a:pt x="2580992" y="638033"/>
                  </a:lnTo>
                  <a:lnTo>
                    <a:pt x="2573459" y="640756"/>
                  </a:lnTo>
                  <a:lnTo>
                    <a:pt x="2571886" y="637489"/>
                  </a:lnTo>
                  <a:lnTo>
                    <a:pt x="2571947" y="633828"/>
                  </a:lnTo>
                  <a:lnTo>
                    <a:pt x="2571795" y="631983"/>
                  </a:lnTo>
                  <a:lnTo>
                    <a:pt x="2570918" y="631347"/>
                  </a:lnTo>
                  <a:lnTo>
                    <a:pt x="2566985" y="630712"/>
                  </a:lnTo>
                  <a:lnTo>
                    <a:pt x="2559301" y="626689"/>
                  </a:lnTo>
                  <a:lnTo>
                    <a:pt x="2553281" y="618188"/>
                  </a:lnTo>
                  <a:lnTo>
                    <a:pt x="2552495" y="619035"/>
                  </a:lnTo>
                  <a:lnTo>
                    <a:pt x="2552767" y="623089"/>
                  </a:lnTo>
                  <a:lnTo>
                    <a:pt x="2554068" y="627566"/>
                  </a:lnTo>
                  <a:lnTo>
                    <a:pt x="2557365" y="630591"/>
                  </a:lnTo>
                  <a:lnTo>
                    <a:pt x="2557244" y="632527"/>
                  </a:lnTo>
                  <a:lnTo>
                    <a:pt x="2556246" y="634342"/>
                  </a:lnTo>
                  <a:lnTo>
                    <a:pt x="2554643" y="634796"/>
                  </a:lnTo>
                  <a:lnTo>
                    <a:pt x="2553191" y="633677"/>
                  </a:lnTo>
                  <a:lnTo>
                    <a:pt x="2550287" y="630319"/>
                  </a:lnTo>
                  <a:lnTo>
                    <a:pt x="2548502" y="629684"/>
                  </a:lnTo>
                  <a:lnTo>
                    <a:pt x="2546959" y="630016"/>
                  </a:lnTo>
                  <a:lnTo>
                    <a:pt x="2538488" y="635401"/>
                  </a:lnTo>
                  <a:lnTo>
                    <a:pt x="2537460" y="636672"/>
                  </a:lnTo>
                  <a:lnTo>
                    <a:pt x="2536643" y="640846"/>
                  </a:lnTo>
                  <a:lnTo>
                    <a:pt x="2537218" y="644235"/>
                  </a:lnTo>
                  <a:lnTo>
                    <a:pt x="2538610" y="646836"/>
                  </a:lnTo>
                  <a:lnTo>
                    <a:pt x="2540152" y="648742"/>
                  </a:lnTo>
                  <a:lnTo>
                    <a:pt x="2545688" y="651888"/>
                  </a:lnTo>
                  <a:lnTo>
                    <a:pt x="2547927" y="654671"/>
                  </a:lnTo>
                  <a:lnTo>
                    <a:pt x="2549167" y="661085"/>
                  </a:lnTo>
                  <a:lnTo>
                    <a:pt x="2538519" y="659784"/>
                  </a:lnTo>
                  <a:lnTo>
                    <a:pt x="2535373" y="661085"/>
                  </a:lnTo>
                  <a:lnTo>
                    <a:pt x="2534556" y="662174"/>
                  </a:lnTo>
                  <a:lnTo>
                    <a:pt x="2532287" y="666318"/>
                  </a:lnTo>
                  <a:lnTo>
                    <a:pt x="2531077" y="667256"/>
                  </a:lnTo>
                  <a:lnTo>
                    <a:pt x="2531652" y="669283"/>
                  </a:lnTo>
                  <a:lnTo>
                    <a:pt x="2532831" y="671189"/>
                  </a:lnTo>
                  <a:lnTo>
                    <a:pt x="2533346" y="671703"/>
                  </a:lnTo>
                  <a:lnTo>
                    <a:pt x="2535887" y="677178"/>
                  </a:lnTo>
                  <a:lnTo>
                    <a:pt x="2536794" y="681323"/>
                  </a:lnTo>
                  <a:lnTo>
                    <a:pt x="2536068" y="685740"/>
                  </a:lnTo>
                  <a:lnTo>
                    <a:pt x="2533890" y="687887"/>
                  </a:lnTo>
                  <a:lnTo>
                    <a:pt x="2532287" y="684650"/>
                  </a:lnTo>
                  <a:lnTo>
                    <a:pt x="2530532" y="676725"/>
                  </a:lnTo>
                  <a:lnTo>
                    <a:pt x="2528263" y="675847"/>
                  </a:lnTo>
                  <a:lnTo>
                    <a:pt x="2525541" y="677390"/>
                  </a:lnTo>
                  <a:lnTo>
                    <a:pt x="2520912" y="682079"/>
                  </a:lnTo>
                  <a:lnTo>
                    <a:pt x="2513501" y="686859"/>
                  </a:lnTo>
                  <a:lnTo>
                    <a:pt x="2511292" y="689007"/>
                  </a:lnTo>
                  <a:lnTo>
                    <a:pt x="2509296" y="692788"/>
                  </a:lnTo>
                  <a:lnTo>
                    <a:pt x="2509145" y="696025"/>
                  </a:lnTo>
                  <a:lnTo>
                    <a:pt x="2509538" y="699655"/>
                  </a:lnTo>
                  <a:lnTo>
                    <a:pt x="2509266" y="704586"/>
                  </a:lnTo>
                  <a:lnTo>
                    <a:pt x="2507935" y="707853"/>
                  </a:lnTo>
                  <a:lnTo>
                    <a:pt x="2505726" y="710425"/>
                  </a:lnTo>
                  <a:lnTo>
                    <a:pt x="2501642" y="713238"/>
                  </a:lnTo>
                  <a:lnTo>
                    <a:pt x="2502852" y="709275"/>
                  </a:lnTo>
                  <a:lnTo>
                    <a:pt x="2504274" y="707218"/>
                  </a:lnTo>
                  <a:lnTo>
                    <a:pt x="2505393" y="705100"/>
                  </a:lnTo>
                  <a:lnTo>
                    <a:pt x="2505817" y="700956"/>
                  </a:lnTo>
                  <a:lnTo>
                    <a:pt x="2505333" y="697568"/>
                  </a:lnTo>
                  <a:lnTo>
                    <a:pt x="2504546" y="694724"/>
                  </a:lnTo>
                  <a:lnTo>
                    <a:pt x="2504214" y="691578"/>
                  </a:lnTo>
                  <a:lnTo>
                    <a:pt x="2505091" y="687282"/>
                  </a:lnTo>
                  <a:lnTo>
                    <a:pt x="2506997" y="684620"/>
                  </a:lnTo>
                  <a:lnTo>
                    <a:pt x="2512503" y="683259"/>
                  </a:lnTo>
                  <a:lnTo>
                    <a:pt x="2514802" y="682079"/>
                  </a:lnTo>
                  <a:lnTo>
                    <a:pt x="2515588" y="680839"/>
                  </a:lnTo>
                  <a:lnTo>
                    <a:pt x="2517252" y="677360"/>
                  </a:lnTo>
                  <a:lnTo>
                    <a:pt x="2518220" y="675847"/>
                  </a:lnTo>
                  <a:lnTo>
                    <a:pt x="2519279" y="674970"/>
                  </a:lnTo>
                  <a:lnTo>
                    <a:pt x="2520186" y="674698"/>
                  </a:lnTo>
                  <a:lnTo>
                    <a:pt x="2521064" y="674183"/>
                  </a:lnTo>
                  <a:lnTo>
                    <a:pt x="2522002" y="672520"/>
                  </a:lnTo>
                  <a:lnTo>
                    <a:pt x="2523151" y="668920"/>
                  </a:lnTo>
                  <a:lnTo>
                    <a:pt x="2524906" y="661932"/>
                  </a:lnTo>
                  <a:lnTo>
                    <a:pt x="2526146" y="658543"/>
                  </a:lnTo>
                  <a:lnTo>
                    <a:pt x="2526751" y="653976"/>
                  </a:lnTo>
                  <a:lnTo>
                    <a:pt x="2525480" y="649408"/>
                  </a:lnTo>
                  <a:lnTo>
                    <a:pt x="2523332" y="646776"/>
                  </a:lnTo>
                  <a:lnTo>
                    <a:pt x="2521336" y="647955"/>
                  </a:lnTo>
                  <a:lnTo>
                    <a:pt x="2517645" y="653945"/>
                  </a:lnTo>
                  <a:lnTo>
                    <a:pt x="2513047" y="658029"/>
                  </a:lnTo>
                  <a:lnTo>
                    <a:pt x="2508237" y="660359"/>
                  </a:lnTo>
                  <a:lnTo>
                    <a:pt x="2503790" y="661085"/>
                  </a:lnTo>
                  <a:lnTo>
                    <a:pt x="2510082" y="655821"/>
                  </a:lnTo>
                  <a:lnTo>
                    <a:pt x="2511716" y="653159"/>
                  </a:lnTo>
                  <a:lnTo>
                    <a:pt x="2512472" y="651525"/>
                  </a:lnTo>
                  <a:lnTo>
                    <a:pt x="2514015" y="648984"/>
                  </a:lnTo>
                  <a:lnTo>
                    <a:pt x="2514771" y="647108"/>
                  </a:lnTo>
                  <a:lnTo>
                    <a:pt x="2515165" y="645233"/>
                  </a:lnTo>
                  <a:lnTo>
                    <a:pt x="2515286" y="641905"/>
                  </a:lnTo>
                  <a:lnTo>
                    <a:pt x="2515528" y="640120"/>
                  </a:lnTo>
                  <a:lnTo>
                    <a:pt x="2519218" y="626840"/>
                  </a:lnTo>
                  <a:lnTo>
                    <a:pt x="2520156" y="622454"/>
                  </a:lnTo>
                  <a:lnTo>
                    <a:pt x="2519460" y="620064"/>
                  </a:lnTo>
                  <a:lnTo>
                    <a:pt x="2518220" y="617976"/>
                  </a:lnTo>
                  <a:lnTo>
                    <a:pt x="2517555" y="614497"/>
                  </a:lnTo>
                  <a:lnTo>
                    <a:pt x="2518038" y="609536"/>
                  </a:lnTo>
                  <a:lnTo>
                    <a:pt x="2518734" y="606178"/>
                  </a:lnTo>
                  <a:lnTo>
                    <a:pt x="2518553" y="604212"/>
                  </a:lnTo>
                  <a:lnTo>
                    <a:pt x="2518553" y="603667"/>
                  </a:lnTo>
                  <a:lnTo>
                    <a:pt x="2516193" y="601368"/>
                  </a:lnTo>
                  <a:lnTo>
                    <a:pt x="2513501" y="600884"/>
                  </a:lnTo>
                  <a:lnTo>
                    <a:pt x="2505545" y="604847"/>
                  </a:lnTo>
                  <a:lnTo>
                    <a:pt x="2495290" y="602790"/>
                  </a:lnTo>
                  <a:lnTo>
                    <a:pt x="2492083" y="604847"/>
                  </a:lnTo>
                  <a:lnTo>
                    <a:pt x="2490661" y="607419"/>
                  </a:lnTo>
                  <a:lnTo>
                    <a:pt x="2488543" y="613953"/>
                  </a:lnTo>
                  <a:lnTo>
                    <a:pt x="2487212" y="617160"/>
                  </a:lnTo>
                  <a:lnTo>
                    <a:pt x="2488180" y="617734"/>
                  </a:lnTo>
                  <a:lnTo>
                    <a:pt x="2488997" y="618823"/>
                  </a:lnTo>
                  <a:lnTo>
                    <a:pt x="2489632" y="620457"/>
                  </a:lnTo>
                  <a:lnTo>
                    <a:pt x="2490026" y="622605"/>
                  </a:lnTo>
                  <a:lnTo>
                    <a:pt x="2485125" y="623512"/>
                  </a:lnTo>
                  <a:lnTo>
                    <a:pt x="2482856" y="626084"/>
                  </a:lnTo>
                  <a:lnTo>
                    <a:pt x="2482402" y="631196"/>
                  </a:lnTo>
                  <a:lnTo>
                    <a:pt x="2483885" y="634554"/>
                  </a:lnTo>
                  <a:lnTo>
                    <a:pt x="2486577" y="636127"/>
                  </a:lnTo>
                  <a:lnTo>
                    <a:pt x="2489421" y="636974"/>
                  </a:lnTo>
                  <a:lnTo>
                    <a:pt x="2491387" y="638215"/>
                  </a:lnTo>
                  <a:lnTo>
                    <a:pt x="2488906" y="640060"/>
                  </a:lnTo>
                  <a:lnTo>
                    <a:pt x="2483159" y="637852"/>
                  </a:lnTo>
                  <a:lnTo>
                    <a:pt x="2480376" y="638215"/>
                  </a:lnTo>
                  <a:lnTo>
                    <a:pt x="2479498" y="639546"/>
                  </a:lnTo>
                  <a:lnTo>
                    <a:pt x="2478923" y="641361"/>
                  </a:lnTo>
                  <a:lnTo>
                    <a:pt x="2478258" y="642964"/>
                  </a:lnTo>
                  <a:lnTo>
                    <a:pt x="2477199" y="643630"/>
                  </a:lnTo>
                  <a:lnTo>
                    <a:pt x="2476080" y="643357"/>
                  </a:lnTo>
                  <a:lnTo>
                    <a:pt x="2473902" y="642087"/>
                  </a:lnTo>
                  <a:lnTo>
                    <a:pt x="2472722" y="641754"/>
                  </a:lnTo>
                  <a:lnTo>
                    <a:pt x="2473387" y="645626"/>
                  </a:lnTo>
                  <a:lnTo>
                    <a:pt x="2473024" y="652554"/>
                  </a:lnTo>
                  <a:lnTo>
                    <a:pt x="2473448" y="655851"/>
                  </a:lnTo>
                  <a:lnTo>
                    <a:pt x="2475082" y="658180"/>
                  </a:lnTo>
                  <a:lnTo>
                    <a:pt x="2477623" y="659149"/>
                  </a:lnTo>
                  <a:lnTo>
                    <a:pt x="2491538" y="659149"/>
                  </a:lnTo>
                  <a:lnTo>
                    <a:pt x="2494170" y="661054"/>
                  </a:lnTo>
                  <a:lnTo>
                    <a:pt x="2494473" y="661932"/>
                  </a:lnTo>
                  <a:lnTo>
                    <a:pt x="2495199" y="665229"/>
                  </a:lnTo>
                  <a:lnTo>
                    <a:pt x="2495501" y="666288"/>
                  </a:lnTo>
                  <a:lnTo>
                    <a:pt x="2496288" y="667347"/>
                  </a:lnTo>
                  <a:lnTo>
                    <a:pt x="2498980" y="669767"/>
                  </a:lnTo>
                  <a:lnTo>
                    <a:pt x="2493837" y="665229"/>
                  </a:lnTo>
                  <a:lnTo>
                    <a:pt x="2491780" y="664201"/>
                  </a:lnTo>
                  <a:lnTo>
                    <a:pt x="2489330" y="661841"/>
                  </a:lnTo>
                  <a:lnTo>
                    <a:pt x="2488029" y="661024"/>
                  </a:lnTo>
                  <a:lnTo>
                    <a:pt x="2486849" y="661387"/>
                  </a:lnTo>
                  <a:lnTo>
                    <a:pt x="2485700" y="662204"/>
                  </a:lnTo>
                  <a:lnTo>
                    <a:pt x="2484429" y="662627"/>
                  </a:lnTo>
                  <a:lnTo>
                    <a:pt x="2472389" y="662688"/>
                  </a:lnTo>
                  <a:lnTo>
                    <a:pt x="2471724" y="664110"/>
                  </a:lnTo>
                  <a:lnTo>
                    <a:pt x="2471300" y="668163"/>
                  </a:lnTo>
                  <a:lnTo>
                    <a:pt x="2471633" y="674637"/>
                  </a:lnTo>
                  <a:lnTo>
                    <a:pt x="2473176" y="678479"/>
                  </a:lnTo>
                  <a:lnTo>
                    <a:pt x="2475293" y="681323"/>
                  </a:lnTo>
                  <a:lnTo>
                    <a:pt x="2477260" y="684711"/>
                  </a:lnTo>
                  <a:lnTo>
                    <a:pt x="2478863" y="686314"/>
                  </a:lnTo>
                  <a:lnTo>
                    <a:pt x="2483764" y="686556"/>
                  </a:lnTo>
                  <a:lnTo>
                    <a:pt x="2485791" y="687222"/>
                  </a:lnTo>
                  <a:lnTo>
                    <a:pt x="2486970" y="688825"/>
                  </a:lnTo>
                  <a:lnTo>
                    <a:pt x="2488029" y="690761"/>
                  </a:lnTo>
                  <a:lnTo>
                    <a:pt x="2489148" y="692213"/>
                  </a:lnTo>
                  <a:lnTo>
                    <a:pt x="2490601" y="692395"/>
                  </a:lnTo>
                  <a:lnTo>
                    <a:pt x="2489209" y="693786"/>
                  </a:lnTo>
                  <a:lnTo>
                    <a:pt x="2487848" y="694180"/>
                  </a:lnTo>
                  <a:lnTo>
                    <a:pt x="2486426" y="693817"/>
                  </a:lnTo>
                  <a:lnTo>
                    <a:pt x="2485004" y="692849"/>
                  </a:lnTo>
                  <a:lnTo>
                    <a:pt x="2484248" y="691790"/>
                  </a:lnTo>
                  <a:lnTo>
                    <a:pt x="2483159" y="689400"/>
                  </a:lnTo>
                  <a:lnTo>
                    <a:pt x="2482372" y="688946"/>
                  </a:lnTo>
                  <a:lnTo>
                    <a:pt x="2471300" y="690519"/>
                  </a:lnTo>
                  <a:lnTo>
                    <a:pt x="2471300" y="692395"/>
                  </a:lnTo>
                  <a:lnTo>
                    <a:pt x="2471754" y="693181"/>
                  </a:lnTo>
                  <a:lnTo>
                    <a:pt x="2472661" y="696025"/>
                  </a:lnTo>
                  <a:lnTo>
                    <a:pt x="2471028" y="695904"/>
                  </a:lnTo>
                  <a:lnTo>
                    <a:pt x="2468154" y="694301"/>
                  </a:lnTo>
                  <a:lnTo>
                    <a:pt x="2466551" y="694180"/>
                  </a:lnTo>
                  <a:lnTo>
                    <a:pt x="2471361" y="702196"/>
                  </a:lnTo>
                  <a:close/>
                  <a:moveTo>
                    <a:pt x="2562206" y="610232"/>
                  </a:moveTo>
                  <a:lnTo>
                    <a:pt x="2567379" y="618400"/>
                  </a:lnTo>
                  <a:lnTo>
                    <a:pt x="2571372" y="621153"/>
                  </a:lnTo>
                  <a:lnTo>
                    <a:pt x="2575546" y="622575"/>
                  </a:lnTo>
                  <a:lnTo>
                    <a:pt x="2584682" y="622151"/>
                  </a:lnTo>
                  <a:lnTo>
                    <a:pt x="2586709" y="619580"/>
                  </a:lnTo>
                  <a:lnTo>
                    <a:pt x="2586316" y="613499"/>
                  </a:lnTo>
                  <a:lnTo>
                    <a:pt x="2588192" y="610897"/>
                  </a:lnTo>
                  <a:lnTo>
                    <a:pt x="2587949" y="606783"/>
                  </a:lnTo>
                  <a:lnTo>
                    <a:pt x="2586467" y="603002"/>
                  </a:lnTo>
                  <a:lnTo>
                    <a:pt x="2584622" y="601338"/>
                  </a:lnTo>
                  <a:lnTo>
                    <a:pt x="2580024" y="602941"/>
                  </a:lnTo>
                  <a:lnTo>
                    <a:pt x="2574609" y="602941"/>
                  </a:lnTo>
                  <a:lnTo>
                    <a:pt x="2569406" y="600279"/>
                  </a:lnTo>
                  <a:lnTo>
                    <a:pt x="2563809" y="595742"/>
                  </a:lnTo>
                  <a:lnTo>
                    <a:pt x="2558454" y="594410"/>
                  </a:lnTo>
                  <a:lnTo>
                    <a:pt x="2553977" y="601368"/>
                  </a:lnTo>
                  <a:lnTo>
                    <a:pt x="2556337" y="605543"/>
                  </a:lnTo>
                  <a:lnTo>
                    <a:pt x="2562236" y="610262"/>
                  </a:lnTo>
                  <a:close/>
                  <a:moveTo>
                    <a:pt x="2365420" y="679266"/>
                  </a:moveTo>
                  <a:lnTo>
                    <a:pt x="2366358" y="680143"/>
                  </a:lnTo>
                  <a:lnTo>
                    <a:pt x="2367417" y="679719"/>
                  </a:lnTo>
                  <a:lnTo>
                    <a:pt x="2368052" y="678086"/>
                  </a:lnTo>
                  <a:lnTo>
                    <a:pt x="2368717" y="677118"/>
                  </a:lnTo>
                  <a:lnTo>
                    <a:pt x="2369837" y="678600"/>
                  </a:lnTo>
                  <a:lnTo>
                    <a:pt x="2368566" y="681625"/>
                  </a:lnTo>
                  <a:lnTo>
                    <a:pt x="2367961" y="686314"/>
                  </a:lnTo>
                  <a:lnTo>
                    <a:pt x="2368385" y="690610"/>
                  </a:lnTo>
                  <a:lnTo>
                    <a:pt x="2370169" y="692486"/>
                  </a:lnTo>
                  <a:lnTo>
                    <a:pt x="2375887" y="693877"/>
                  </a:lnTo>
                  <a:lnTo>
                    <a:pt x="2378791" y="693272"/>
                  </a:lnTo>
                  <a:lnTo>
                    <a:pt x="2381241" y="689823"/>
                  </a:lnTo>
                  <a:lnTo>
                    <a:pt x="2382573" y="688644"/>
                  </a:lnTo>
                  <a:lnTo>
                    <a:pt x="2388472" y="689037"/>
                  </a:lnTo>
                  <a:lnTo>
                    <a:pt x="2389046" y="688250"/>
                  </a:lnTo>
                  <a:lnTo>
                    <a:pt x="2389379" y="684106"/>
                  </a:lnTo>
                  <a:lnTo>
                    <a:pt x="2389863" y="682109"/>
                  </a:lnTo>
                  <a:lnTo>
                    <a:pt x="2393009" y="676785"/>
                  </a:lnTo>
                  <a:lnTo>
                    <a:pt x="2394219" y="673488"/>
                  </a:lnTo>
                  <a:lnTo>
                    <a:pt x="2394734" y="668224"/>
                  </a:lnTo>
                  <a:lnTo>
                    <a:pt x="2396458" y="673336"/>
                  </a:lnTo>
                  <a:lnTo>
                    <a:pt x="2399060" y="677027"/>
                  </a:lnTo>
                  <a:lnTo>
                    <a:pt x="2401903" y="678449"/>
                  </a:lnTo>
                  <a:lnTo>
                    <a:pt x="2404354" y="676755"/>
                  </a:lnTo>
                  <a:lnTo>
                    <a:pt x="2405412" y="674456"/>
                  </a:lnTo>
                  <a:lnTo>
                    <a:pt x="2406562" y="669918"/>
                  </a:lnTo>
                  <a:lnTo>
                    <a:pt x="2407439" y="667286"/>
                  </a:lnTo>
                  <a:lnTo>
                    <a:pt x="2408468" y="666439"/>
                  </a:lnTo>
                  <a:lnTo>
                    <a:pt x="2409103" y="668345"/>
                  </a:lnTo>
                  <a:lnTo>
                    <a:pt x="2409012" y="671703"/>
                  </a:lnTo>
                  <a:lnTo>
                    <a:pt x="2407833" y="675031"/>
                  </a:lnTo>
                  <a:lnTo>
                    <a:pt x="2409738" y="676936"/>
                  </a:lnTo>
                  <a:lnTo>
                    <a:pt x="2413157" y="672762"/>
                  </a:lnTo>
                  <a:lnTo>
                    <a:pt x="2415002" y="674244"/>
                  </a:lnTo>
                  <a:lnTo>
                    <a:pt x="2417089" y="674940"/>
                  </a:lnTo>
                  <a:lnTo>
                    <a:pt x="2419540" y="671461"/>
                  </a:lnTo>
                  <a:lnTo>
                    <a:pt x="2421718" y="666469"/>
                  </a:lnTo>
                  <a:lnTo>
                    <a:pt x="2422928" y="662688"/>
                  </a:lnTo>
                  <a:lnTo>
                    <a:pt x="2423140" y="664685"/>
                  </a:lnTo>
                  <a:lnTo>
                    <a:pt x="2423321" y="665350"/>
                  </a:lnTo>
                  <a:lnTo>
                    <a:pt x="2423321" y="666076"/>
                  </a:lnTo>
                  <a:lnTo>
                    <a:pt x="2422898" y="668254"/>
                  </a:lnTo>
                  <a:lnTo>
                    <a:pt x="2425651" y="669555"/>
                  </a:lnTo>
                  <a:lnTo>
                    <a:pt x="2429009" y="667105"/>
                  </a:lnTo>
                  <a:lnTo>
                    <a:pt x="2432094" y="662597"/>
                  </a:lnTo>
                  <a:lnTo>
                    <a:pt x="2433940" y="657787"/>
                  </a:lnTo>
                  <a:lnTo>
                    <a:pt x="2428403" y="654097"/>
                  </a:lnTo>
                  <a:lnTo>
                    <a:pt x="2426407" y="654097"/>
                  </a:lnTo>
                  <a:lnTo>
                    <a:pt x="2429674" y="652009"/>
                  </a:lnTo>
                  <a:lnTo>
                    <a:pt x="2442289" y="655881"/>
                  </a:lnTo>
                  <a:lnTo>
                    <a:pt x="2441654" y="660086"/>
                  </a:lnTo>
                  <a:lnTo>
                    <a:pt x="2441835" y="663656"/>
                  </a:lnTo>
                  <a:lnTo>
                    <a:pt x="2442591" y="666802"/>
                  </a:lnTo>
                  <a:lnTo>
                    <a:pt x="2443680" y="669797"/>
                  </a:lnTo>
                  <a:lnTo>
                    <a:pt x="2441260" y="671431"/>
                  </a:lnTo>
                  <a:lnTo>
                    <a:pt x="2435997" y="671431"/>
                  </a:lnTo>
                  <a:lnTo>
                    <a:pt x="2433334" y="673427"/>
                  </a:lnTo>
                  <a:lnTo>
                    <a:pt x="2432790" y="674667"/>
                  </a:lnTo>
                  <a:lnTo>
                    <a:pt x="2432155" y="676422"/>
                  </a:lnTo>
                  <a:lnTo>
                    <a:pt x="2431429" y="677935"/>
                  </a:lnTo>
                  <a:lnTo>
                    <a:pt x="2430551" y="678600"/>
                  </a:lnTo>
                  <a:lnTo>
                    <a:pt x="2424350" y="678600"/>
                  </a:lnTo>
                  <a:lnTo>
                    <a:pt x="2421900" y="679235"/>
                  </a:lnTo>
                  <a:lnTo>
                    <a:pt x="2414669" y="683803"/>
                  </a:lnTo>
                  <a:lnTo>
                    <a:pt x="2410313" y="684227"/>
                  </a:lnTo>
                  <a:lnTo>
                    <a:pt x="2408528" y="685921"/>
                  </a:lnTo>
                  <a:lnTo>
                    <a:pt x="2407802" y="690549"/>
                  </a:lnTo>
                  <a:lnTo>
                    <a:pt x="2407560" y="691457"/>
                  </a:lnTo>
                  <a:lnTo>
                    <a:pt x="2407742" y="691790"/>
                  </a:lnTo>
                  <a:lnTo>
                    <a:pt x="2413308" y="694180"/>
                  </a:lnTo>
                  <a:lnTo>
                    <a:pt x="2412794" y="694996"/>
                  </a:lnTo>
                  <a:lnTo>
                    <a:pt x="2411856" y="696902"/>
                  </a:lnTo>
                  <a:lnTo>
                    <a:pt x="2411251" y="697659"/>
                  </a:lnTo>
                  <a:lnTo>
                    <a:pt x="2414306" y="699443"/>
                  </a:lnTo>
                  <a:lnTo>
                    <a:pt x="2433365" y="700956"/>
                  </a:lnTo>
                  <a:lnTo>
                    <a:pt x="2460863" y="682079"/>
                  </a:lnTo>
                  <a:lnTo>
                    <a:pt x="2464796" y="677753"/>
                  </a:lnTo>
                  <a:lnTo>
                    <a:pt x="2467065" y="671642"/>
                  </a:lnTo>
                  <a:lnTo>
                    <a:pt x="2466702" y="662174"/>
                  </a:lnTo>
                  <a:lnTo>
                    <a:pt x="2463102" y="658301"/>
                  </a:lnTo>
                  <a:lnTo>
                    <a:pt x="2458413" y="656668"/>
                  </a:lnTo>
                  <a:lnTo>
                    <a:pt x="2454722" y="654036"/>
                  </a:lnTo>
                  <a:lnTo>
                    <a:pt x="2455479" y="653340"/>
                  </a:lnTo>
                  <a:lnTo>
                    <a:pt x="2457505" y="650527"/>
                  </a:lnTo>
                  <a:lnTo>
                    <a:pt x="2455055" y="646624"/>
                  </a:lnTo>
                  <a:lnTo>
                    <a:pt x="2454722" y="645293"/>
                  </a:lnTo>
                  <a:lnTo>
                    <a:pt x="2455660" y="643630"/>
                  </a:lnTo>
                  <a:lnTo>
                    <a:pt x="2457203" y="643811"/>
                  </a:lnTo>
                  <a:lnTo>
                    <a:pt x="2460228" y="645293"/>
                  </a:lnTo>
                  <a:lnTo>
                    <a:pt x="2462346" y="643781"/>
                  </a:lnTo>
                  <a:lnTo>
                    <a:pt x="2463526" y="640090"/>
                  </a:lnTo>
                  <a:lnTo>
                    <a:pt x="2464463" y="635462"/>
                  </a:lnTo>
                  <a:lnTo>
                    <a:pt x="2465704" y="631136"/>
                  </a:lnTo>
                  <a:lnTo>
                    <a:pt x="2462073" y="632527"/>
                  </a:lnTo>
                  <a:lnTo>
                    <a:pt x="2461529" y="632013"/>
                  </a:lnTo>
                  <a:lnTo>
                    <a:pt x="2461257" y="630319"/>
                  </a:lnTo>
                  <a:lnTo>
                    <a:pt x="2460652" y="629502"/>
                  </a:lnTo>
                  <a:lnTo>
                    <a:pt x="2459865" y="629502"/>
                  </a:lnTo>
                  <a:lnTo>
                    <a:pt x="2459230" y="630349"/>
                  </a:lnTo>
                  <a:lnTo>
                    <a:pt x="2457475" y="633526"/>
                  </a:lnTo>
                  <a:lnTo>
                    <a:pt x="2451304" y="638154"/>
                  </a:lnTo>
                  <a:lnTo>
                    <a:pt x="2454541" y="630682"/>
                  </a:lnTo>
                  <a:lnTo>
                    <a:pt x="2455448" y="627657"/>
                  </a:lnTo>
                  <a:lnTo>
                    <a:pt x="2456810" y="617129"/>
                  </a:lnTo>
                  <a:lnTo>
                    <a:pt x="2454420" y="613832"/>
                  </a:lnTo>
                  <a:lnTo>
                    <a:pt x="2448672" y="623633"/>
                  </a:lnTo>
                  <a:lnTo>
                    <a:pt x="2445738" y="622575"/>
                  </a:lnTo>
                  <a:lnTo>
                    <a:pt x="2446766" y="619701"/>
                  </a:lnTo>
                  <a:lnTo>
                    <a:pt x="2448158" y="618067"/>
                  </a:lnTo>
                  <a:lnTo>
                    <a:pt x="2451304" y="615375"/>
                  </a:lnTo>
                  <a:lnTo>
                    <a:pt x="2449065" y="612652"/>
                  </a:lnTo>
                  <a:lnTo>
                    <a:pt x="2447825" y="611835"/>
                  </a:lnTo>
                  <a:lnTo>
                    <a:pt x="2446494" y="611835"/>
                  </a:lnTo>
                  <a:lnTo>
                    <a:pt x="2446494" y="610111"/>
                  </a:lnTo>
                  <a:lnTo>
                    <a:pt x="2446917" y="609869"/>
                  </a:lnTo>
                  <a:lnTo>
                    <a:pt x="2447885" y="608538"/>
                  </a:lnTo>
                  <a:lnTo>
                    <a:pt x="2446464" y="607933"/>
                  </a:lnTo>
                  <a:lnTo>
                    <a:pt x="2442319" y="602911"/>
                  </a:lnTo>
                  <a:lnTo>
                    <a:pt x="2444255" y="599916"/>
                  </a:lnTo>
                  <a:lnTo>
                    <a:pt x="2444013" y="596195"/>
                  </a:lnTo>
                  <a:lnTo>
                    <a:pt x="2442591" y="592505"/>
                  </a:lnTo>
                  <a:lnTo>
                    <a:pt x="2440928" y="589782"/>
                  </a:lnTo>
                  <a:lnTo>
                    <a:pt x="2439597" y="589207"/>
                  </a:lnTo>
                  <a:lnTo>
                    <a:pt x="2437570" y="589419"/>
                  </a:lnTo>
                  <a:lnTo>
                    <a:pt x="2435573" y="590266"/>
                  </a:lnTo>
                  <a:lnTo>
                    <a:pt x="2427859" y="598071"/>
                  </a:lnTo>
                  <a:lnTo>
                    <a:pt x="2428040" y="602639"/>
                  </a:lnTo>
                  <a:lnTo>
                    <a:pt x="2429039" y="607419"/>
                  </a:lnTo>
                  <a:lnTo>
                    <a:pt x="2429886" y="610141"/>
                  </a:lnTo>
                  <a:lnTo>
                    <a:pt x="2433667" y="615556"/>
                  </a:lnTo>
                  <a:lnTo>
                    <a:pt x="2434817" y="619186"/>
                  </a:lnTo>
                  <a:lnTo>
                    <a:pt x="2434000" y="624329"/>
                  </a:lnTo>
                  <a:lnTo>
                    <a:pt x="2436299" y="627536"/>
                  </a:lnTo>
                  <a:lnTo>
                    <a:pt x="2439173" y="630077"/>
                  </a:lnTo>
                  <a:lnTo>
                    <a:pt x="2441744" y="633677"/>
                  </a:lnTo>
                  <a:lnTo>
                    <a:pt x="2443076" y="640090"/>
                  </a:lnTo>
                  <a:lnTo>
                    <a:pt x="2439506" y="638033"/>
                  </a:lnTo>
                  <a:lnTo>
                    <a:pt x="2435694" y="633011"/>
                  </a:lnTo>
                  <a:lnTo>
                    <a:pt x="2432125" y="631075"/>
                  </a:lnTo>
                  <a:lnTo>
                    <a:pt x="2429220" y="638215"/>
                  </a:lnTo>
                  <a:lnTo>
                    <a:pt x="2429795" y="639485"/>
                  </a:lnTo>
                  <a:lnTo>
                    <a:pt x="2429886" y="640907"/>
                  </a:lnTo>
                  <a:lnTo>
                    <a:pt x="2429553" y="642540"/>
                  </a:lnTo>
                  <a:lnTo>
                    <a:pt x="2428888" y="644477"/>
                  </a:lnTo>
                  <a:lnTo>
                    <a:pt x="2427738" y="646171"/>
                  </a:lnTo>
                  <a:lnTo>
                    <a:pt x="2427103" y="644779"/>
                  </a:lnTo>
                  <a:lnTo>
                    <a:pt x="2426468" y="640090"/>
                  </a:lnTo>
                  <a:lnTo>
                    <a:pt x="2426286" y="638215"/>
                  </a:lnTo>
                  <a:lnTo>
                    <a:pt x="2426377" y="635825"/>
                  </a:lnTo>
                  <a:lnTo>
                    <a:pt x="2426195" y="633828"/>
                  </a:lnTo>
                  <a:lnTo>
                    <a:pt x="2424683" y="632285"/>
                  </a:lnTo>
                  <a:lnTo>
                    <a:pt x="2422323" y="627717"/>
                  </a:lnTo>
                  <a:lnTo>
                    <a:pt x="2421174" y="629290"/>
                  </a:lnTo>
                  <a:lnTo>
                    <a:pt x="2417483" y="632981"/>
                  </a:lnTo>
                  <a:lnTo>
                    <a:pt x="2422353" y="640151"/>
                  </a:lnTo>
                  <a:lnTo>
                    <a:pt x="2421748" y="642117"/>
                  </a:lnTo>
                  <a:lnTo>
                    <a:pt x="2421294" y="644265"/>
                  </a:lnTo>
                  <a:lnTo>
                    <a:pt x="2421234" y="646503"/>
                  </a:lnTo>
                  <a:lnTo>
                    <a:pt x="2421627" y="648712"/>
                  </a:lnTo>
                  <a:lnTo>
                    <a:pt x="2419963" y="649982"/>
                  </a:lnTo>
                  <a:lnTo>
                    <a:pt x="2417755" y="654792"/>
                  </a:lnTo>
                  <a:lnTo>
                    <a:pt x="2416454" y="655851"/>
                  </a:lnTo>
                  <a:lnTo>
                    <a:pt x="2415063" y="654853"/>
                  </a:lnTo>
                  <a:lnTo>
                    <a:pt x="2414276" y="652493"/>
                  </a:lnTo>
                  <a:lnTo>
                    <a:pt x="2414337" y="649619"/>
                  </a:lnTo>
                  <a:lnTo>
                    <a:pt x="2415426" y="647108"/>
                  </a:lnTo>
                  <a:lnTo>
                    <a:pt x="2411372" y="645566"/>
                  </a:lnTo>
                  <a:lnTo>
                    <a:pt x="2407137" y="647320"/>
                  </a:lnTo>
                  <a:lnTo>
                    <a:pt x="2398939" y="654097"/>
                  </a:lnTo>
                  <a:lnTo>
                    <a:pt x="2395550" y="655488"/>
                  </a:lnTo>
                  <a:lnTo>
                    <a:pt x="2394885" y="652977"/>
                  </a:lnTo>
                  <a:lnTo>
                    <a:pt x="2396125" y="641724"/>
                  </a:lnTo>
                  <a:lnTo>
                    <a:pt x="2394794" y="640120"/>
                  </a:lnTo>
                  <a:lnTo>
                    <a:pt x="2395460" y="638215"/>
                  </a:lnTo>
                  <a:lnTo>
                    <a:pt x="2393796" y="636641"/>
                  </a:lnTo>
                  <a:lnTo>
                    <a:pt x="2391708" y="636157"/>
                  </a:lnTo>
                  <a:lnTo>
                    <a:pt x="2389651" y="636944"/>
                  </a:lnTo>
                  <a:lnTo>
                    <a:pt x="2388169" y="639152"/>
                  </a:lnTo>
                  <a:lnTo>
                    <a:pt x="2387564" y="642722"/>
                  </a:lnTo>
                  <a:lnTo>
                    <a:pt x="2388472" y="644809"/>
                  </a:lnTo>
                  <a:lnTo>
                    <a:pt x="2391255" y="647078"/>
                  </a:lnTo>
                  <a:lnTo>
                    <a:pt x="2389198" y="648530"/>
                  </a:lnTo>
                  <a:lnTo>
                    <a:pt x="2387685" y="650164"/>
                  </a:lnTo>
                  <a:lnTo>
                    <a:pt x="2386596" y="652886"/>
                  </a:lnTo>
                  <a:lnTo>
                    <a:pt x="2385779" y="657696"/>
                  </a:lnTo>
                  <a:lnTo>
                    <a:pt x="2386717" y="658029"/>
                  </a:lnTo>
                  <a:lnTo>
                    <a:pt x="2387625" y="658725"/>
                  </a:lnTo>
                  <a:lnTo>
                    <a:pt x="2388472" y="659723"/>
                  </a:lnTo>
                  <a:lnTo>
                    <a:pt x="2389228" y="661024"/>
                  </a:lnTo>
                  <a:lnTo>
                    <a:pt x="2387352" y="661115"/>
                  </a:lnTo>
                  <a:lnTo>
                    <a:pt x="2385568" y="660117"/>
                  </a:lnTo>
                  <a:lnTo>
                    <a:pt x="2384055" y="658271"/>
                  </a:lnTo>
                  <a:lnTo>
                    <a:pt x="2382996" y="655791"/>
                  </a:lnTo>
                  <a:lnTo>
                    <a:pt x="2382331" y="652130"/>
                  </a:lnTo>
                  <a:lnTo>
                    <a:pt x="2382149" y="646019"/>
                  </a:lnTo>
                  <a:lnTo>
                    <a:pt x="2381635" y="643569"/>
                  </a:lnTo>
                  <a:lnTo>
                    <a:pt x="2379215" y="642752"/>
                  </a:lnTo>
                  <a:lnTo>
                    <a:pt x="2375645" y="645747"/>
                  </a:lnTo>
                  <a:lnTo>
                    <a:pt x="2372317" y="650678"/>
                  </a:lnTo>
                  <a:lnTo>
                    <a:pt x="2370593" y="655791"/>
                  </a:lnTo>
                  <a:lnTo>
                    <a:pt x="2378489" y="659270"/>
                  </a:lnTo>
                  <a:lnTo>
                    <a:pt x="2381030" y="659270"/>
                  </a:lnTo>
                  <a:lnTo>
                    <a:pt x="2381030" y="661024"/>
                  </a:lnTo>
                  <a:lnTo>
                    <a:pt x="2373195" y="663837"/>
                  </a:lnTo>
                  <a:lnTo>
                    <a:pt x="2369413" y="666409"/>
                  </a:lnTo>
                  <a:lnTo>
                    <a:pt x="2369292" y="669706"/>
                  </a:lnTo>
                  <a:lnTo>
                    <a:pt x="2366207" y="669706"/>
                  </a:lnTo>
                  <a:lnTo>
                    <a:pt x="2364875" y="670674"/>
                  </a:lnTo>
                  <a:lnTo>
                    <a:pt x="2363756" y="673336"/>
                  </a:lnTo>
                  <a:lnTo>
                    <a:pt x="2364966" y="677874"/>
                  </a:lnTo>
                  <a:lnTo>
                    <a:pt x="2365571" y="679266"/>
                  </a:lnTo>
                  <a:close/>
                  <a:moveTo>
                    <a:pt x="2685268" y="570905"/>
                  </a:moveTo>
                  <a:lnTo>
                    <a:pt x="2685813" y="569967"/>
                  </a:lnTo>
                  <a:lnTo>
                    <a:pt x="2684421" y="569332"/>
                  </a:lnTo>
                  <a:lnTo>
                    <a:pt x="2683302" y="569332"/>
                  </a:lnTo>
                  <a:lnTo>
                    <a:pt x="2673682" y="571177"/>
                  </a:lnTo>
                  <a:lnTo>
                    <a:pt x="2670475" y="572660"/>
                  </a:lnTo>
                  <a:lnTo>
                    <a:pt x="2667118" y="576713"/>
                  </a:lnTo>
                  <a:lnTo>
                    <a:pt x="2664909" y="580979"/>
                  </a:lnTo>
                  <a:lnTo>
                    <a:pt x="2663699" y="584185"/>
                  </a:lnTo>
                  <a:lnTo>
                    <a:pt x="2663336" y="586999"/>
                  </a:lnTo>
                  <a:lnTo>
                    <a:pt x="2663548" y="588965"/>
                  </a:lnTo>
                  <a:lnTo>
                    <a:pt x="2663397" y="590750"/>
                  </a:lnTo>
                  <a:lnTo>
                    <a:pt x="2662852" y="592323"/>
                  </a:lnTo>
                  <a:lnTo>
                    <a:pt x="2663639" y="594259"/>
                  </a:lnTo>
                  <a:lnTo>
                    <a:pt x="2666119" y="595923"/>
                  </a:lnTo>
                  <a:lnTo>
                    <a:pt x="2668600" y="595923"/>
                  </a:lnTo>
                  <a:lnTo>
                    <a:pt x="2670385" y="594108"/>
                  </a:lnTo>
                  <a:lnTo>
                    <a:pt x="2672714" y="588844"/>
                  </a:lnTo>
                  <a:lnTo>
                    <a:pt x="2674287" y="586152"/>
                  </a:lnTo>
                  <a:lnTo>
                    <a:pt x="2676344" y="584216"/>
                  </a:lnTo>
                  <a:lnTo>
                    <a:pt x="2678644" y="582945"/>
                  </a:lnTo>
                  <a:lnTo>
                    <a:pt x="2681033" y="580767"/>
                  </a:lnTo>
                  <a:lnTo>
                    <a:pt x="2682425" y="578770"/>
                  </a:lnTo>
                  <a:lnTo>
                    <a:pt x="2682969" y="577500"/>
                  </a:lnTo>
                  <a:lnTo>
                    <a:pt x="2683272" y="575776"/>
                  </a:lnTo>
                  <a:lnTo>
                    <a:pt x="2683121" y="573839"/>
                  </a:lnTo>
                  <a:lnTo>
                    <a:pt x="2683665" y="572115"/>
                  </a:lnTo>
                  <a:lnTo>
                    <a:pt x="2685208" y="570905"/>
                  </a:lnTo>
                  <a:close/>
                  <a:moveTo>
                    <a:pt x="2469152" y="615344"/>
                  </a:moveTo>
                  <a:lnTo>
                    <a:pt x="2470423" y="622938"/>
                  </a:lnTo>
                  <a:lnTo>
                    <a:pt x="2473690" y="623482"/>
                  </a:lnTo>
                  <a:lnTo>
                    <a:pt x="2477441" y="619943"/>
                  </a:lnTo>
                  <a:lnTo>
                    <a:pt x="2480194" y="615314"/>
                  </a:lnTo>
                  <a:lnTo>
                    <a:pt x="2483703" y="605634"/>
                  </a:lnTo>
                  <a:lnTo>
                    <a:pt x="2484338" y="602851"/>
                  </a:lnTo>
                  <a:lnTo>
                    <a:pt x="2484278" y="598827"/>
                  </a:lnTo>
                  <a:lnTo>
                    <a:pt x="2483370" y="595621"/>
                  </a:lnTo>
                  <a:lnTo>
                    <a:pt x="2481918" y="592989"/>
                  </a:lnTo>
                  <a:lnTo>
                    <a:pt x="2480194" y="590659"/>
                  </a:lnTo>
                  <a:lnTo>
                    <a:pt x="2482251" y="588874"/>
                  </a:lnTo>
                  <a:lnTo>
                    <a:pt x="2484036" y="589812"/>
                  </a:lnTo>
                  <a:lnTo>
                    <a:pt x="2487031" y="594199"/>
                  </a:lnTo>
                  <a:lnTo>
                    <a:pt x="2490631" y="596528"/>
                  </a:lnTo>
                  <a:lnTo>
                    <a:pt x="2503548" y="591597"/>
                  </a:lnTo>
                  <a:lnTo>
                    <a:pt x="2509145" y="586969"/>
                  </a:lnTo>
                  <a:lnTo>
                    <a:pt x="2512351" y="585517"/>
                  </a:lnTo>
                  <a:lnTo>
                    <a:pt x="2513319" y="584337"/>
                  </a:lnTo>
                  <a:lnTo>
                    <a:pt x="2514650" y="581675"/>
                  </a:lnTo>
                  <a:lnTo>
                    <a:pt x="2514892" y="580162"/>
                  </a:lnTo>
                  <a:lnTo>
                    <a:pt x="2514953" y="578438"/>
                  </a:lnTo>
                  <a:lnTo>
                    <a:pt x="2515286" y="576986"/>
                  </a:lnTo>
                  <a:lnTo>
                    <a:pt x="2516919" y="576048"/>
                  </a:lnTo>
                  <a:lnTo>
                    <a:pt x="2518613" y="574293"/>
                  </a:lnTo>
                  <a:lnTo>
                    <a:pt x="2519097" y="573658"/>
                  </a:lnTo>
                  <a:lnTo>
                    <a:pt x="2521094" y="568939"/>
                  </a:lnTo>
                  <a:lnTo>
                    <a:pt x="2522304" y="566730"/>
                  </a:lnTo>
                  <a:lnTo>
                    <a:pt x="2523302" y="565793"/>
                  </a:lnTo>
                  <a:lnTo>
                    <a:pt x="2524724" y="564915"/>
                  </a:lnTo>
                  <a:lnTo>
                    <a:pt x="2529111" y="558714"/>
                  </a:lnTo>
                  <a:lnTo>
                    <a:pt x="2533800" y="555658"/>
                  </a:lnTo>
                  <a:lnTo>
                    <a:pt x="2535342" y="553238"/>
                  </a:lnTo>
                  <a:lnTo>
                    <a:pt x="2536673" y="548670"/>
                  </a:lnTo>
                  <a:lnTo>
                    <a:pt x="2537642" y="538355"/>
                  </a:lnTo>
                  <a:lnTo>
                    <a:pt x="2539184" y="532879"/>
                  </a:lnTo>
                  <a:lnTo>
                    <a:pt x="2540939" y="528553"/>
                  </a:lnTo>
                  <a:lnTo>
                    <a:pt x="2542451" y="523199"/>
                  </a:lnTo>
                  <a:lnTo>
                    <a:pt x="2542784" y="517542"/>
                  </a:lnTo>
                  <a:lnTo>
                    <a:pt x="2540939" y="512248"/>
                  </a:lnTo>
                  <a:lnTo>
                    <a:pt x="2537944" y="511128"/>
                  </a:lnTo>
                  <a:lnTo>
                    <a:pt x="2525208" y="518479"/>
                  </a:lnTo>
                  <a:lnTo>
                    <a:pt x="2520882" y="524772"/>
                  </a:lnTo>
                  <a:lnTo>
                    <a:pt x="2519249" y="525861"/>
                  </a:lnTo>
                  <a:lnTo>
                    <a:pt x="2515800" y="527131"/>
                  </a:lnTo>
                  <a:lnTo>
                    <a:pt x="2514076" y="528341"/>
                  </a:lnTo>
                  <a:lnTo>
                    <a:pt x="2514257" y="529521"/>
                  </a:lnTo>
                  <a:lnTo>
                    <a:pt x="2514499" y="532486"/>
                  </a:lnTo>
                  <a:lnTo>
                    <a:pt x="2514711" y="533666"/>
                  </a:lnTo>
                  <a:lnTo>
                    <a:pt x="2511928" y="535965"/>
                  </a:lnTo>
                  <a:lnTo>
                    <a:pt x="2506694" y="551332"/>
                  </a:lnTo>
                  <a:lnTo>
                    <a:pt x="2503367" y="555023"/>
                  </a:lnTo>
                  <a:lnTo>
                    <a:pt x="2493505" y="557262"/>
                  </a:lnTo>
                  <a:lnTo>
                    <a:pt x="2488543" y="560589"/>
                  </a:lnTo>
                  <a:lnTo>
                    <a:pt x="2484429" y="565823"/>
                  </a:lnTo>
                  <a:lnTo>
                    <a:pt x="2481646" y="572206"/>
                  </a:lnTo>
                  <a:lnTo>
                    <a:pt x="2479196" y="579194"/>
                  </a:lnTo>
                  <a:lnTo>
                    <a:pt x="2473387" y="589752"/>
                  </a:lnTo>
                  <a:lnTo>
                    <a:pt x="2472843" y="592989"/>
                  </a:lnTo>
                  <a:lnTo>
                    <a:pt x="2470483" y="598918"/>
                  </a:lnTo>
                  <a:lnTo>
                    <a:pt x="2469878" y="602881"/>
                  </a:lnTo>
                  <a:lnTo>
                    <a:pt x="2470029" y="606844"/>
                  </a:lnTo>
                  <a:lnTo>
                    <a:pt x="2470272" y="609899"/>
                  </a:lnTo>
                  <a:lnTo>
                    <a:pt x="2470181" y="612531"/>
                  </a:lnTo>
                  <a:lnTo>
                    <a:pt x="2469273" y="615344"/>
                  </a:lnTo>
                  <a:close/>
                  <a:moveTo>
                    <a:pt x="2609125" y="576411"/>
                  </a:moveTo>
                  <a:lnTo>
                    <a:pt x="2610487" y="579043"/>
                  </a:lnTo>
                  <a:lnTo>
                    <a:pt x="2639317" y="571208"/>
                  </a:lnTo>
                  <a:lnTo>
                    <a:pt x="2642160" y="574505"/>
                  </a:lnTo>
                  <a:lnTo>
                    <a:pt x="2640587" y="575473"/>
                  </a:lnTo>
                  <a:lnTo>
                    <a:pt x="2638893" y="575987"/>
                  </a:lnTo>
                  <a:lnTo>
                    <a:pt x="2637471" y="577197"/>
                  </a:lnTo>
                  <a:lnTo>
                    <a:pt x="2636655" y="580162"/>
                  </a:lnTo>
                  <a:lnTo>
                    <a:pt x="2637048" y="580495"/>
                  </a:lnTo>
                  <a:lnTo>
                    <a:pt x="2638016" y="581765"/>
                  </a:lnTo>
                  <a:lnTo>
                    <a:pt x="2636140" y="582007"/>
                  </a:lnTo>
                  <a:lnTo>
                    <a:pt x="2634083" y="583036"/>
                  </a:lnTo>
                  <a:lnTo>
                    <a:pt x="2632601" y="585244"/>
                  </a:lnTo>
                  <a:lnTo>
                    <a:pt x="2632450" y="588844"/>
                  </a:lnTo>
                  <a:lnTo>
                    <a:pt x="2635565" y="591083"/>
                  </a:lnTo>
                  <a:lnTo>
                    <a:pt x="2641253" y="590205"/>
                  </a:lnTo>
                  <a:lnTo>
                    <a:pt x="2646849" y="586878"/>
                  </a:lnTo>
                  <a:lnTo>
                    <a:pt x="2649753" y="581796"/>
                  </a:lnTo>
                  <a:lnTo>
                    <a:pt x="2648301" y="580737"/>
                  </a:lnTo>
                  <a:lnTo>
                    <a:pt x="2645579" y="581433"/>
                  </a:lnTo>
                  <a:lnTo>
                    <a:pt x="2644187" y="580223"/>
                  </a:lnTo>
                  <a:lnTo>
                    <a:pt x="2647152" y="571631"/>
                  </a:lnTo>
                  <a:lnTo>
                    <a:pt x="2651811" y="565732"/>
                  </a:lnTo>
                  <a:lnTo>
                    <a:pt x="2666270" y="553329"/>
                  </a:lnTo>
                  <a:lnTo>
                    <a:pt x="2670445" y="546401"/>
                  </a:lnTo>
                  <a:lnTo>
                    <a:pt x="2673138" y="543225"/>
                  </a:lnTo>
                  <a:lnTo>
                    <a:pt x="2675679" y="541319"/>
                  </a:lnTo>
                  <a:lnTo>
                    <a:pt x="2678371" y="540623"/>
                  </a:lnTo>
                  <a:lnTo>
                    <a:pt x="2681487" y="541077"/>
                  </a:lnTo>
                  <a:lnTo>
                    <a:pt x="2678916" y="546613"/>
                  </a:lnTo>
                  <a:lnTo>
                    <a:pt x="2677887" y="549457"/>
                  </a:lnTo>
                  <a:lnTo>
                    <a:pt x="2677312" y="553329"/>
                  </a:lnTo>
                  <a:lnTo>
                    <a:pt x="2680398" y="552300"/>
                  </a:lnTo>
                  <a:lnTo>
                    <a:pt x="2689655" y="553329"/>
                  </a:lnTo>
                  <a:lnTo>
                    <a:pt x="2699335" y="548398"/>
                  </a:lnTo>
                  <a:lnTo>
                    <a:pt x="2710740" y="549275"/>
                  </a:lnTo>
                  <a:lnTo>
                    <a:pt x="2724595" y="546432"/>
                  </a:lnTo>
                  <a:lnTo>
                    <a:pt x="2727620" y="544617"/>
                  </a:lnTo>
                  <a:lnTo>
                    <a:pt x="2729678" y="541047"/>
                  </a:lnTo>
                  <a:lnTo>
                    <a:pt x="2727923" y="540533"/>
                  </a:lnTo>
                  <a:lnTo>
                    <a:pt x="2725654" y="540744"/>
                  </a:lnTo>
                  <a:lnTo>
                    <a:pt x="2723658" y="539988"/>
                  </a:lnTo>
                  <a:lnTo>
                    <a:pt x="2722811" y="536418"/>
                  </a:lnTo>
                  <a:lnTo>
                    <a:pt x="2721994" y="534210"/>
                  </a:lnTo>
                  <a:lnTo>
                    <a:pt x="2720118" y="532425"/>
                  </a:lnTo>
                  <a:lnTo>
                    <a:pt x="2716579" y="530187"/>
                  </a:lnTo>
                  <a:lnTo>
                    <a:pt x="2716579" y="528402"/>
                  </a:lnTo>
                  <a:lnTo>
                    <a:pt x="2721419" y="528977"/>
                  </a:lnTo>
                  <a:lnTo>
                    <a:pt x="2723809" y="528069"/>
                  </a:lnTo>
                  <a:lnTo>
                    <a:pt x="2725503" y="524832"/>
                  </a:lnTo>
                  <a:lnTo>
                    <a:pt x="2724656" y="523622"/>
                  </a:lnTo>
                  <a:lnTo>
                    <a:pt x="2722266" y="521020"/>
                  </a:lnTo>
                  <a:lnTo>
                    <a:pt x="2721359" y="519478"/>
                  </a:lnTo>
                  <a:lnTo>
                    <a:pt x="2720814" y="516755"/>
                  </a:lnTo>
                  <a:lnTo>
                    <a:pt x="2720814" y="514153"/>
                  </a:lnTo>
                  <a:lnTo>
                    <a:pt x="2720602" y="511975"/>
                  </a:lnTo>
                  <a:lnTo>
                    <a:pt x="2719271" y="510372"/>
                  </a:lnTo>
                  <a:lnTo>
                    <a:pt x="2720996" y="506712"/>
                  </a:lnTo>
                  <a:lnTo>
                    <a:pt x="2724232" y="504019"/>
                  </a:lnTo>
                  <a:lnTo>
                    <a:pt x="2730313" y="501418"/>
                  </a:lnTo>
                  <a:lnTo>
                    <a:pt x="2735849" y="502325"/>
                  </a:lnTo>
                  <a:lnTo>
                    <a:pt x="2737241" y="501418"/>
                  </a:lnTo>
                  <a:lnTo>
                    <a:pt x="2737876" y="499905"/>
                  </a:lnTo>
                  <a:lnTo>
                    <a:pt x="2738571" y="497455"/>
                  </a:lnTo>
                  <a:lnTo>
                    <a:pt x="2738662" y="495216"/>
                  </a:lnTo>
                  <a:lnTo>
                    <a:pt x="2737604" y="494218"/>
                  </a:lnTo>
                  <a:lnTo>
                    <a:pt x="2736908" y="492161"/>
                  </a:lnTo>
                  <a:lnTo>
                    <a:pt x="2736666" y="482329"/>
                  </a:lnTo>
                  <a:lnTo>
                    <a:pt x="2735879" y="478941"/>
                  </a:lnTo>
                  <a:lnTo>
                    <a:pt x="2733640" y="477610"/>
                  </a:lnTo>
                  <a:lnTo>
                    <a:pt x="2731221" y="478154"/>
                  </a:lnTo>
                  <a:lnTo>
                    <a:pt x="2729738" y="480211"/>
                  </a:lnTo>
                  <a:lnTo>
                    <a:pt x="2730313" y="483418"/>
                  </a:lnTo>
                  <a:lnTo>
                    <a:pt x="2728952" y="486262"/>
                  </a:lnTo>
                  <a:lnTo>
                    <a:pt x="2726925" y="485415"/>
                  </a:lnTo>
                  <a:lnTo>
                    <a:pt x="2722750" y="481421"/>
                  </a:lnTo>
                  <a:lnTo>
                    <a:pt x="2727136" y="475795"/>
                  </a:lnTo>
                  <a:lnTo>
                    <a:pt x="2728105" y="472316"/>
                  </a:lnTo>
                  <a:lnTo>
                    <a:pt x="2726925" y="467203"/>
                  </a:lnTo>
                  <a:lnTo>
                    <a:pt x="2730827" y="467536"/>
                  </a:lnTo>
                  <a:lnTo>
                    <a:pt x="2732612" y="466538"/>
                  </a:lnTo>
                  <a:lnTo>
                    <a:pt x="2733762" y="463603"/>
                  </a:lnTo>
                  <a:lnTo>
                    <a:pt x="2725927" y="457250"/>
                  </a:lnTo>
                  <a:lnTo>
                    <a:pt x="2723052" y="456403"/>
                  </a:lnTo>
                  <a:lnTo>
                    <a:pt x="2722115" y="457250"/>
                  </a:lnTo>
                  <a:lnTo>
                    <a:pt x="2720421" y="460971"/>
                  </a:lnTo>
                  <a:lnTo>
                    <a:pt x="2717758" y="462877"/>
                  </a:lnTo>
                  <a:lnTo>
                    <a:pt x="2716911" y="465328"/>
                  </a:lnTo>
                  <a:lnTo>
                    <a:pt x="2716155" y="469865"/>
                  </a:lnTo>
                  <a:lnTo>
                    <a:pt x="2714401" y="475159"/>
                  </a:lnTo>
                  <a:lnTo>
                    <a:pt x="2713130" y="477035"/>
                  </a:lnTo>
                  <a:lnTo>
                    <a:pt x="2711708" y="476248"/>
                  </a:lnTo>
                  <a:lnTo>
                    <a:pt x="2710891" y="473798"/>
                  </a:lnTo>
                  <a:lnTo>
                    <a:pt x="2711103" y="471620"/>
                  </a:lnTo>
                  <a:lnTo>
                    <a:pt x="2712404" y="467264"/>
                  </a:lnTo>
                  <a:lnTo>
                    <a:pt x="2712737" y="464662"/>
                  </a:lnTo>
                  <a:lnTo>
                    <a:pt x="2712888" y="463180"/>
                  </a:lnTo>
                  <a:lnTo>
                    <a:pt x="2713100" y="461909"/>
                  </a:lnTo>
                  <a:lnTo>
                    <a:pt x="2713765" y="460034"/>
                  </a:lnTo>
                  <a:lnTo>
                    <a:pt x="2714764" y="458249"/>
                  </a:lnTo>
                  <a:lnTo>
                    <a:pt x="2716942" y="455405"/>
                  </a:lnTo>
                  <a:lnTo>
                    <a:pt x="2717910" y="452803"/>
                  </a:lnTo>
                  <a:lnTo>
                    <a:pt x="2716004" y="443184"/>
                  </a:lnTo>
                  <a:lnTo>
                    <a:pt x="2714522" y="439584"/>
                  </a:lnTo>
                  <a:lnTo>
                    <a:pt x="2712344" y="438162"/>
                  </a:lnTo>
                  <a:lnTo>
                    <a:pt x="2710347" y="439493"/>
                  </a:lnTo>
                  <a:lnTo>
                    <a:pt x="2708532" y="442669"/>
                  </a:lnTo>
                  <a:lnTo>
                    <a:pt x="2705749" y="449899"/>
                  </a:lnTo>
                  <a:lnTo>
                    <a:pt x="2703843" y="451805"/>
                  </a:lnTo>
                  <a:lnTo>
                    <a:pt x="2702088" y="448871"/>
                  </a:lnTo>
                  <a:lnTo>
                    <a:pt x="2699245" y="439947"/>
                  </a:lnTo>
                  <a:lnTo>
                    <a:pt x="2698428" y="438192"/>
                  </a:lnTo>
                  <a:lnTo>
                    <a:pt x="2697278" y="436195"/>
                  </a:lnTo>
                  <a:lnTo>
                    <a:pt x="2695887" y="435137"/>
                  </a:lnTo>
                  <a:lnTo>
                    <a:pt x="2694404" y="436165"/>
                  </a:lnTo>
                  <a:lnTo>
                    <a:pt x="2693800" y="437587"/>
                  </a:lnTo>
                  <a:lnTo>
                    <a:pt x="2693860" y="438797"/>
                  </a:lnTo>
                  <a:lnTo>
                    <a:pt x="2694193" y="440098"/>
                  </a:lnTo>
                  <a:lnTo>
                    <a:pt x="2694404" y="441913"/>
                  </a:lnTo>
                  <a:lnTo>
                    <a:pt x="2694465" y="444182"/>
                  </a:lnTo>
                  <a:lnTo>
                    <a:pt x="2694979" y="449083"/>
                  </a:lnTo>
                  <a:lnTo>
                    <a:pt x="2695070" y="451775"/>
                  </a:lnTo>
                  <a:lnTo>
                    <a:pt x="2695493" y="454044"/>
                  </a:lnTo>
                  <a:lnTo>
                    <a:pt x="2697399" y="454649"/>
                  </a:lnTo>
                  <a:lnTo>
                    <a:pt x="2697853" y="457160"/>
                  </a:lnTo>
                  <a:lnTo>
                    <a:pt x="2696734" y="460034"/>
                  </a:lnTo>
                  <a:lnTo>
                    <a:pt x="2694223" y="460245"/>
                  </a:lnTo>
                  <a:lnTo>
                    <a:pt x="2691621" y="459096"/>
                  </a:lnTo>
                  <a:lnTo>
                    <a:pt x="2690199" y="457976"/>
                  </a:lnTo>
                  <a:lnTo>
                    <a:pt x="2683756" y="442669"/>
                  </a:lnTo>
                  <a:lnTo>
                    <a:pt x="2680005" y="436800"/>
                  </a:lnTo>
                  <a:lnTo>
                    <a:pt x="2675043" y="436135"/>
                  </a:lnTo>
                  <a:lnTo>
                    <a:pt x="2675649" y="437738"/>
                  </a:lnTo>
                  <a:lnTo>
                    <a:pt x="2675649" y="439553"/>
                  </a:lnTo>
                  <a:lnTo>
                    <a:pt x="2675195" y="441520"/>
                  </a:lnTo>
                  <a:lnTo>
                    <a:pt x="2674317" y="443516"/>
                  </a:lnTo>
                  <a:lnTo>
                    <a:pt x="2675165" y="446632"/>
                  </a:lnTo>
                  <a:lnTo>
                    <a:pt x="2675800" y="448447"/>
                  </a:lnTo>
                  <a:lnTo>
                    <a:pt x="2677827" y="451714"/>
                  </a:lnTo>
                  <a:lnTo>
                    <a:pt x="2684996" y="456313"/>
                  </a:lnTo>
                  <a:lnTo>
                    <a:pt x="2685541" y="457492"/>
                  </a:lnTo>
                  <a:lnTo>
                    <a:pt x="2686872" y="463210"/>
                  </a:lnTo>
                  <a:lnTo>
                    <a:pt x="2687477" y="465176"/>
                  </a:lnTo>
                  <a:lnTo>
                    <a:pt x="2688717" y="467173"/>
                  </a:lnTo>
                  <a:lnTo>
                    <a:pt x="2690078" y="468776"/>
                  </a:lnTo>
                  <a:lnTo>
                    <a:pt x="2692983" y="470743"/>
                  </a:lnTo>
                  <a:lnTo>
                    <a:pt x="2692983" y="472527"/>
                  </a:lnTo>
                  <a:lnTo>
                    <a:pt x="2688566" y="472043"/>
                  </a:lnTo>
                  <a:lnTo>
                    <a:pt x="2686720" y="470924"/>
                  </a:lnTo>
                  <a:lnTo>
                    <a:pt x="2681457" y="465055"/>
                  </a:lnTo>
                  <a:lnTo>
                    <a:pt x="2679551" y="463936"/>
                  </a:lnTo>
                  <a:lnTo>
                    <a:pt x="2677191" y="463512"/>
                  </a:lnTo>
                  <a:lnTo>
                    <a:pt x="2676163" y="462635"/>
                  </a:lnTo>
                  <a:lnTo>
                    <a:pt x="2674499" y="458793"/>
                  </a:lnTo>
                  <a:lnTo>
                    <a:pt x="2673380" y="457916"/>
                  </a:lnTo>
                  <a:lnTo>
                    <a:pt x="2670415" y="457281"/>
                  </a:lnTo>
                  <a:lnTo>
                    <a:pt x="2668782" y="456434"/>
                  </a:lnTo>
                  <a:lnTo>
                    <a:pt x="2665454" y="453469"/>
                  </a:lnTo>
                  <a:lnTo>
                    <a:pt x="2662580" y="452501"/>
                  </a:lnTo>
                  <a:lnTo>
                    <a:pt x="2659948" y="453166"/>
                  </a:lnTo>
                  <a:lnTo>
                    <a:pt x="2658557" y="456282"/>
                  </a:lnTo>
                  <a:lnTo>
                    <a:pt x="2660916" y="457734"/>
                  </a:lnTo>
                  <a:lnTo>
                    <a:pt x="2665091" y="464844"/>
                  </a:lnTo>
                  <a:lnTo>
                    <a:pt x="2667511" y="467112"/>
                  </a:lnTo>
                  <a:lnTo>
                    <a:pt x="2665575" y="468595"/>
                  </a:lnTo>
                  <a:lnTo>
                    <a:pt x="2658587" y="467112"/>
                  </a:lnTo>
                  <a:lnTo>
                    <a:pt x="2659071" y="468474"/>
                  </a:lnTo>
                  <a:lnTo>
                    <a:pt x="2659918" y="472497"/>
                  </a:lnTo>
                  <a:lnTo>
                    <a:pt x="2658466" y="472043"/>
                  </a:lnTo>
                  <a:lnTo>
                    <a:pt x="2656408" y="470349"/>
                  </a:lnTo>
                  <a:lnTo>
                    <a:pt x="2654593" y="468111"/>
                  </a:lnTo>
                  <a:lnTo>
                    <a:pt x="2652869" y="463452"/>
                  </a:lnTo>
                  <a:lnTo>
                    <a:pt x="2650782" y="462151"/>
                  </a:lnTo>
                  <a:lnTo>
                    <a:pt x="2646849" y="461667"/>
                  </a:lnTo>
                  <a:lnTo>
                    <a:pt x="2652537" y="474342"/>
                  </a:lnTo>
                  <a:lnTo>
                    <a:pt x="2660825" y="478366"/>
                  </a:lnTo>
                  <a:lnTo>
                    <a:pt x="2677978" y="481300"/>
                  </a:lnTo>
                  <a:lnTo>
                    <a:pt x="2673017" y="484991"/>
                  </a:lnTo>
                  <a:lnTo>
                    <a:pt x="2656469" y="485082"/>
                  </a:lnTo>
                  <a:lnTo>
                    <a:pt x="2657891" y="485778"/>
                  </a:lnTo>
                  <a:lnTo>
                    <a:pt x="2661339" y="490466"/>
                  </a:lnTo>
                  <a:lnTo>
                    <a:pt x="2665393" y="492191"/>
                  </a:lnTo>
                  <a:lnTo>
                    <a:pt x="2667269" y="493915"/>
                  </a:lnTo>
                  <a:lnTo>
                    <a:pt x="2668267" y="497666"/>
                  </a:lnTo>
                  <a:lnTo>
                    <a:pt x="2665151" y="497485"/>
                  </a:lnTo>
                  <a:lnTo>
                    <a:pt x="2655864" y="490466"/>
                  </a:lnTo>
                  <a:lnTo>
                    <a:pt x="2642372" y="488682"/>
                  </a:lnTo>
                  <a:lnTo>
                    <a:pt x="2640648" y="489347"/>
                  </a:lnTo>
                  <a:lnTo>
                    <a:pt x="2637622" y="492100"/>
                  </a:lnTo>
                  <a:lnTo>
                    <a:pt x="2635777" y="492433"/>
                  </a:lnTo>
                  <a:lnTo>
                    <a:pt x="2634325" y="491616"/>
                  </a:lnTo>
                  <a:lnTo>
                    <a:pt x="2631965" y="489196"/>
                  </a:lnTo>
                  <a:lnTo>
                    <a:pt x="2630211" y="488682"/>
                  </a:lnTo>
                  <a:lnTo>
                    <a:pt x="2629485" y="489256"/>
                  </a:lnTo>
                  <a:lnTo>
                    <a:pt x="2628456" y="491828"/>
                  </a:lnTo>
                  <a:lnTo>
                    <a:pt x="2627851" y="492433"/>
                  </a:lnTo>
                  <a:lnTo>
                    <a:pt x="2627125" y="492161"/>
                  </a:lnTo>
                  <a:lnTo>
                    <a:pt x="2625915" y="490830"/>
                  </a:lnTo>
                  <a:lnTo>
                    <a:pt x="2622981" y="489317"/>
                  </a:lnTo>
                  <a:lnTo>
                    <a:pt x="2621831" y="489226"/>
                  </a:lnTo>
                  <a:lnTo>
                    <a:pt x="2620621" y="490497"/>
                  </a:lnTo>
                  <a:lnTo>
                    <a:pt x="2621075" y="493068"/>
                  </a:lnTo>
                  <a:lnTo>
                    <a:pt x="2621377" y="494097"/>
                  </a:lnTo>
                  <a:lnTo>
                    <a:pt x="2618685" y="497061"/>
                  </a:lnTo>
                  <a:lnTo>
                    <a:pt x="2617294" y="497787"/>
                  </a:lnTo>
                  <a:lnTo>
                    <a:pt x="2615811" y="497666"/>
                  </a:lnTo>
                  <a:lnTo>
                    <a:pt x="2615811" y="499451"/>
                  </a:lnTo>
                  <a:lnTo>
                    <a:pt x="2625129" y="500207"/>
                  </a:lnTo>
                  <a:lnTo>
                    <a:pt x="2633599" y="498120"/>
                  </a:lnTo>
                  <a:lnTo>
                    <a:pt x="2636503" y="498816"/>
                  </a:lnTo>
                  <a:lnTo>
                    <a:pt x="2639135" y="501236"/>
                  </a:lnTo>
                  <a:lnTo>
                    <a:pt x="2635595" y="501357"/>
                  </a:lnTo>
                  <a:lnTo>
                    <a:pt x="2633902" y="501932"/>
                  </a:lnTo>
                  <a:lnTo>
                    <a:pt x="2632238" y="503172"/>
                  </a:lnTo>
                  <a:lnTo>
                    <a:pt x="2633871" y="506016"/>
                  </a:lnTo>
                  <a:lnTo>
                    <a:pt x="2635807" y="507014"/>
                  </a:lnTo>
                  <a:lnTo>
                    <a:pt x="2639861" y="506772"/>
                  </a:lnTo>
                  <a:lnTo>
                    <a:pt x="2638470" y="508406"/>
                  </a:lnTo>
                  <a:lnTo>
                    <a:pt x="2640496" y="511431"/>
                  </a:lnTo>
                  <a:lnTo>
                    <a:pt x="2641253" y="512127"/>
                  </a:lnTo>
                  <a:lnTo>
                    <a:pt x="2619472" y="510402"/>
                  </a:lnTo>
                  <a:lnTo>
                    <a:pt x="2617687" y="511945"/>
                  </a:lnTo>
                  <a:lnTo>
                    <a:pt x="2618534" y="515545"/>
                  </a:lnTo>
                  <a:lnTo>
                    <a:pt x="2620500" y="516725"/>
                  </a:lnTo>
                  <a:lnTo>
                    <a:pt x="2628759" y="515545"/>
                  </a:lnTo>
                  <a:lnTo>
                    <a:pt x="2627579" y="518207"/>
                  </a:lnTo>
                  <a:lnTo>
                    <a:pt x="2627004" y="518842"/>
                  </a:lnTo>
                  <a:lnTo>
                    <a:pt x="2626067" y="519266"/>
                  </a:lnTo>
                  <a:lnTo>
                    <a:pt x="2626067" y="521051"/>
                  </a:lnTo>
                  <a:lnTo>
                    <a:pt x="2632026" y="523289"/>
                  </a:lnTo>
                  <a:lnTo>
                    <a:pt x="2635081" y="523350"/>
                  </a:lnTo>
                  <a:lnTo>
                    <a:pt x="2636382" y="520173"/>
                  </a:lnTo>
                  <a:lnTo>
                    <a:pt x="2636927" y="517753"/>
                  </a:lnTo>
                  <a:lnTo>
                    <a:pt x="2638046" y="519901"/>
                  </a:lnTo>
                  <a:lnTo>
                    <a:pt x="2639014" y="523320"/>
                  </a:lnTo>
                  <a:lnTo>
                    <a:pt x="2639135" y="524651"/>
                  </a:lnTo>
                  <a:lnTo>
                    <a:pt x="2638954" y="525104"/>
                  </a:lnTo>
                  <a:lnTo>
                    <a:pt x="2638742" y="526375"/>
                  </a:lnTo>
                  <a:lnTo>
                    <a:pt x="2638954" y="527646"/>
                  </a:lnTo>
                  <a:lnTo>
                    <a:pt x="2639831" y="528251"/>
                  </a:lnTo>
                  <a:lnTo>
                    <a:pt x="2640436" y="528069"/>
                  </a:lnTo>
                  <a:lnTo>
                    <a:pt x="2642644" y="526466"/>
                  </a:lnTo>
                  <a:lnTo>
                    <a:pt x="2636715" y="533605"/>
                  </a:lnTo>
                  <a:lnTo>
                    <a:pt x="2622436" y="531639"/>
                  </a:lnTo>
                  <a:lnTo>
                    <a:pt x="2615781" y="535390"/>
                  </a:lnTo>
                  <a:lnTo>
                    <a:pt x="2616840" y="535390"/>
                  </a:lnTo>
                  <a:lnTo>
                    <a:pt x="2617868" y="535723"/>
                  </a:lnTo>
                  <a:lnTo>
                    <a:pt x="2619865" y="537175"/>
                  </a:lnTo>
                  <a:lnTo>
                    <a:pt x="2619381" y="538718"/>
                  </a:lnTo>
                  <a:lnTo>
                    <a:pt x="2619169" y="539686"/>
                  </a:lnTo>
                  <a:lnTo>
                    <a:pt x="2618806" y="540351"/>
                  </a:lnTo>
                  <a:lnTo>
                    <a:pt x="2617778" y="540896"/>
                  </a:lnTo>
                  <a:lnTo>
                    <a:pt x="2617778" y="542529"/>
                  </a:lnTo>
                  <a:lnTo>
                    <a:pt x="2625401" y="542529"/>
                  </a:lnTo>
                  <a:lnTo>
                    <a:pt x="2632964" y="546250"/>
                  </a:lnTo>
                  <a:lnTo>
                    <a:pt x="2636261" y="545978"/>
                  </a:lnTo>
                  <a:lnTo>
                    <a:pt x="2645337" y="540896"/>
                  </a:lnTo>
                  <a:lnTo>
                    <a:pt x="2642523" y="545343"/>
                  </a:lnTo>
                  <a:lnTo>
                    <a:pt x="2633629" y="551574"/>
                  </a:lnTo>
                  <a:lnTo>
                    <a:pt x="2633932" y="552482"/>
                  </a:lnTo>
                  <a:lnTo>
                    <a:pt x="2634113" y="553359"/>
                  </a:lnTo>
                  <a:lnTo>
                    <a:pt x="2634416" y="554176"/>
                  </a:lnTo>
                  <a:lnTo>
                    <a:pt x="2634991" y="554932"/>
                  </a:lnTo>
                  <a:lnTo>
                    <a:pt x="2633599" y="558653"/>
                  </a:lnTo>
                  <a:lnTo>
                    <a:pt x="2631300" y="558865"/>
                  </a:lnTo>
                  <a:lnTo>
                    <a:pt x="2626823" y="556899"/>
                  </a:lnTo>
                  <a:lnTo>
                    <a:pt x="2617142" y="560257"/>
                  </a:lnTo>
                  <a:lnTo>
                    <a:pt x="2617535" y="566065"/>
                  </a:lnTo>
                  <a:lnTo>
                    <a:pt x="2615115" y="566065"/>
                  </a:lnTo>
                  <a:lnTo>
                    <a:pt x="2609519" y="562193"/>
                  </a:lnTo>
                  <a:lnTo>
                    <a:pt x="2606494" y="565067"/>
                  </a:lnTo>
                  <a:lnTo>
                    <a:pt x="2605132" y="570240"/>
                  </a:lnTo>
                  <a:lnTo>
                    <a:pt x="2605798" y="574929"/>
                  </a:lnTo>
                  <a:lnTo>
                    <a:pt x="2608823" y="576350"/>
                  </a:lnTo>
                  <a:close/>
                  <a:moveTo>
                    <a:pt x="2733701" y="443456"/>
                  </a:moveTo>
                  <a:lnTo>
                    <a:pt x="2739479" y="443547"/>
                  </a:lnTo>
                  <a:lnTo>
                    <a:pt x="2741778" y="445331"/>
                  </a:lnTo>
                  <a:lnTo>
                    <a:pt x="2745832" y="451805"/>
                  </a:lnTo>
                  <a:lnTo>
                    <a:pt x="2748373" y="454377"/>
                  </a:lnTo>
                  <a:lnTo>
                    <a:pt x="2755210" y="454377"/>
                  </a:lnTo>
                  <a:lnTo>
                    <a:pt x="2777717" y="446995"/>
                  </a:lnTo>
                  <a:lnTo>
                    <a:pt x="2785219" y="447146"/>
                  </a:lnTo>
                  <a:lnTo>
                    <a:pt x="2787155" y="446330"/>
                  </a:lnTo>
                  <a:lnTo>
                    <a:pt x="2790604" y="442700"/>
                  </a:lnTo>
                  <a:lnTo>
                    <a:pt x="2791814" y="441883"/>
                  </a:lnTo>
                  <a:lnTo>
                    <a:pt x="2802493" y="445210"/>
                  </a:lnTo>
                  <a:lnTo>
                    <a:pt x="2806244" y="443516"/>
                  </a:lnTo>
                  <a:lnTo>
                    <a:pt x="2811629" y="438464"/>
                  </a:lnTo>
                  <a:lnTo>
                    <a:pt x="2812990" y="434864"/>
                  </a:lnTo>
                  <a:lnTo>
                    <a:pt x="2812113" y="429933"/>
                  </a:lnTo>
                  <a:lnTo>
                    <a:pt x="2810570" y="428209"/>
                  </a:lnTo>
                  <a:lnTo>
                    <a:pt x="2808664" y="427604"/>
                  </a:lnTo>
                  <a:lnTo>
                    <a:pt x="2807030" y="426606"/>
                  </a:lnTo>
                  <a:lnTo>
                    <a:pt x="2806244" y="423611"/>
                  </a:lnTo>
                  <a:lnTo>
                    <a:pt x="2806637" y="421372"/>
                  </a:lnTo>
                  <a:lnTo>
                    <a:pt x="2807605" y="418559"/>
                  </a:lnTo>
                  <a:lnTo>
                    <a:pt x="2808755" y="415927"/>
                  </a:lnTo>
                  <a:lnTo>
                    <a:pt x="2809693" y="414354"/>
                  </a:lnTo>
                  <a:lnTo>
                    <a:pt x="2813232" y="412267"/>
                  </a:lnTo>
                  <a:lnTo>
                    <a:pt x="2817134" y="411510"/>
                  </a:lnTo>
                  <a:lnTo>
                    <a:pt x="2820885" y="409695"/>
                  </a:lnTo>
                  <a:lnTo>
                    <a:pt x="2826452" y="400499"/>
                  </a:lnTo>
                  <a:lnTo>
                    <a:pt x="2832835" y="397746"/>
                  </a:lnTo>
                  <a:lnTo>
                    <a:pt x="2835255" y="392482"/>
                  </a:lnTo>
                  <a:lnTo>
                    <a:pt x="2835588" y="386160"/>
                  </a:lnTo>
                  <a:lnTo>
                    <a:pt x="2833924" y="382106"/>
                  </a:lnTo>
                  <a:lnTo>
                    <a:pt x="2831473" y="378899"/>
                  </a:lnTo>
                  <a:lnTo>
                    <a:pt x="2829386" y="375027"/>
                  </a:lnTo>
                  <a:lnTo>
                    <a:pt x="2828085" y="373635"/>
                  </a:lnTo>
                  <a:lnTo>
                    <a:pt x="2819252" y="369794"/>
                  </a:lnTo>
                  <a:lnTo>
                    <a:pt x="2815289" y="370792"/>
                  </a:lnTo>
                  <a:lnTo>
                    <a:pt x="2813141" y="370520"/>
                  </a:lnTo>
                  <a:lnTo>
                    <a:pt x="2813807" y="367434"/>
                  </a:lnTo>
                  <a:lnTo>
                    <a:pt x="2814261" y="366224"/>
                  </a:lnTo>
                  <a:lnTo>
                    <a:pt x="2815168" y="365044"/>
                  </a:lnTo>
                  <a:lnTo>
                    <a:pt x="2813504" y="361777"/>
                  </a:lnTo>
                  <a:lnTo>
                    <a:pt x="2811538" y="359599"/>
                  </a:lnTo>
                  <a:lnTo>
                    <a:pt x="2809451" y="359236"/>
                  </a:lnTo>
                  <a:lnTo>
                    <a:pt x="2807605" y="361353"/>
                  </a:lnTo>
                  <a:lnTo>
                    <a:pt x="2808967" y="363047"/>
                  </a:lnTo>
                  <a:lnTo>
                    <a:pt x="2805669" y="363985"/>
                  </a:lnTo>
                  <a:lnTo>
                    <a:pt x="2801041" y="360809"/>
                  </a:lnTo>
                  <a:lnTo>
                    <a:pt x="2797108" y="359629"/>
                  </a:lnTo>
                  <a:lnTo>
                    <a:pt x="2795898" y="366708"/>
                  </a:lnTo>
                  <a:lnTo>
                    <a:pt x="2796624" y="370066"/>
                  </a:lnTo>
                  <a:lnTo>
                    <a:pt x="2798106" y="373182"/>
                  </a:lnTo>
                  <a:lnTo>
                    <a:pt x="2806728" y="383891"/>
                  </a:lnTo>
                  <a:lnTo>
                    <a:pt x="2808271" y="387037"/>
                  </a:lnTo>
                  <a:lnTo>
                    <a:pt x="2804943" y="395598"/>
                  </a:lnTo>
                  <a:lnTo>
                    <a:pt x="2803370" y="404038"/>
                  </a:lnTo>
                  <a:lnTo>
                    <a:pt x="2802947" y="407850"/>
                  </a:lnTo>
                  <a:lnTo>
                    <a:pt x="2803491" y="410905"/>
                  </a:lnTo>
                  <a:lnTo>
                    <a:pt x="2805518" y="412720"/>
                  </a:lnTo>
                  <a:lnTo>
                    <a:pt x="2799982" y="412962"/>
                  </a:lnTo>
                  <a:lnTo>
                    <a:pt x="2795535" y="406005"/>
                  </a:lnTo>
                  <a:lnTo>
                    <a:pt x="2793326" y="394600"/>
                  </a:lnTo>
                  <a:lnTo>
                    <a:pt x="2794537" y="381531"/>
                  </a:lnTo>
                  <a:lnTo>
                    <a:pt x="2787700" y="381834"/>
                  </a:lnTo>
                  <a:lnTo>
                    <a:pt x="2784856" y="383679"/>
                  </a:lnTo>
                  <a:lnTo>
                    <a:pt x="2782466" y="387944"/>
                  </a:lnTo>
                  <a:lnTo>
                    <a:pt x="2781256" y="392845"/>
                  </a:lnTo>
                  <a:lnTo>
                    <a:pt x="2780530" y="394993"/>
                  </a:lnTo>
                  <a:lnTo>
                    <a:pt x="2779411" y="396143"/>
                  </a:lnTo>
                  <a:lnTo>
                    <a:pt x="2777475" y="395840"/>
                  </a:lnTo>
                  <a:lnTo>
                    <a:pt x="2777354" y="393722"/>
                  </a:lnTo>
                  <a:lnTo>
                    <a:pt x="2777777" y="391000"/>
                  </a:lnTo>
                  <a:lnTo>
                    <a:pt x="2777354" y="388822"/>
                  </a:lnTo>
                  <a:lnTo>
                    <a:pt x="2775781" y="388035"/>
                  </a:lnTo>
                  <a:lnTo>
                    <a:pt x="2772756" y="389033"/>
                  </a:lnTo>
                  <a:lnTo>
                    <a:pt x="2771092" y="387914"/>
                  </a:lnTo>
                  <a:lnTo>
                    <a:pt x="2769398" y="384828"/>
                  </a:lnTo>
                  <a:lnTo>
                    <a:pt x="2768581" y="383739"/>
                  </a:lnTo>
                  <a:lnTo>
                    <a:pt x="2767310" y="383346"/>
                  </a:lnTo>
                  <a:lnTo>
                    <a:pt x="2764739" y="384617"/>
                  </a:lnTo>
                  <a:lnTo>
                    <a:pt x="2762531" y="387823"/>
                  </a:lnTo>
                  <a:lnTo>
                    <a:pt x="2761744" y="391968"/>
                  </a:lnTo>
                  <a:lnTo>
                    <a:pt x="2763529" y="396143"/>
                  </a:lnTo>
                  <a:lnTo>
                    <a:pt x="2764225" y="401467"/>
                  </a:lnTo>
                  <a:lnTo>
                    <a:pt x="2767976" y="404129"/>
                  </a:lnTo>
                  <a:lnTo>
                    <a:pt x="2788577" y="406519"/>
                  </a:lnTo>
                  <a:lnTo>
                    <a:pt x="2792480" y="408909"/>
                  </a:lnTo>
                  <a:lnTo>
                    <a:pt x="2790271" y="411359"/>
                  </a:lnTo>
                  <a:lnTo>
                    <a:pt x="2776961" y="407094"/>
                  </a:lnTo>
                  <a:lnTo>
                    <a:pt x="2764346" y="408152"/>
                  </a:lnTo>
                  <a:lnTo>
                    <a:pt x="2760080" y="407094"/>
                  </a:lnTo>
                  <a:lnTo>
                    <a:pt x="2760716" y="407094"/>
                  </a:lnTo>
                  <a:lnTo>
                    <a:pt x="2750400" y="405672"/>
                  </a:lnTo>
                  <a:lnTo>
                    <a:pt x="2747586" y="407094"/>
                  </a:lnTo>
                  <a:lnTo>
                    <a:pt x="2758114" y="425698"/>
                  </a:lnTo>
                  <a:lnTo>
                    <a:pt x="2759475" y="426969"/>
                  </a:lnTo>
                  <a:lnTo>
                    <a:pt x="2761442" y="427271"/>
                  </a:lnTo>
                  <a:lnTo>
                    <a:pt x="2769095" y="425305"/>
                  </a:lnTo>
                  <a:lnTo>
                    <a:pt x="2768006" y="426908"/>
                  </a:lnTo>
                  <a:lnTo>
                    <a:pt x="2765526" y="428602"/>
                  </a:lnTo>
                  <a:lnTo>
                    <a:pt x="2764527" y="430024"/>
                  </a:lnTo>
                  <a:lnTo>
                    <a:pt x="2763408" y="431113"/>
                  </a:lnTo>
                  <a:lnTo>
                    <a:pt x="2761290" y="431234"/>
                  </a:lnTo>
                  <a:lnTo>
                    <a:pt x="2761472" y="432747"/>
                  </a:lnTo>
                  <a:lnTo>
                    <a:pt x="2760383" y="433564"/>
                  </a:lnTo>
                  <a:lnTo>
                    <a:pt x="2758780" y="437315"/>
                  </a:lnTo>
                  <a:lnTo>
                    <a:pt x="2758054" y="438192"/>
                  </a:lnTo>
                  <a:lnTo>
                    <a:pt x="2756843" y="437587"/>
                  </a:lnTo>
                  <a:lnTo>
                    <a:pt x="2756662" y="436195"/>
                  </a:lnTo>
                  <a:lnTo>
                    <a:pt x="2756965" y="434895"/>
                  </a:lnTo>
                  <a:lnTo>
                    <a:pt x="2757328" y="434562"/>
                  </a:lnTo>
                  <a:lnTo>
                    <a:pt x="2755936" y="431476"/>
                  </a:lnTo>
                  <a:lnTo>
                    <a:pt x="2755210" y="430327"/>
                  </a:lnTo>
                  <a:lnTo>
                    <a:pt x="2752669" y="428300"/>
                  </a:lnTo>
                  <a:lnTo>
                    <a:pt x="2742413" y="426273"/>
                  </a:lnTo>
                  <a:lnTo>
                    <a:pt x="2740084" y="427271"/>
                  </a:lnTo>
                  <a:lnTo>
                    <a:pt x="2737967" y="429449"/>
                  </a:lnTo>
                  <a:lnTo>
                    <a:pt x="2736968" y="430024"/>
                  </a:lnTo>
                  <a:lnTo>
                    <a:pt x="2735849" y="429570"/>
                  </a:lnTo>
                  <a:lnTo>
                    <a:pt x="2733883" y="427967"/>
                  </a:lnTo>
                  <a:lnTo>
                    <a:pt x="2732914" y="427483"/>
                  </a:lnTo>
                  <a:lnTo>
                    <a:pt x="2731795" y="427241"/>
                  </a:lnTo>
                  <a:lnTo>
                    <a:pt x="2732279" y="429873"/>
                  </a:lnTo>
                  <a:lnTo>
                    <a:pt x="2732582" y="430871"/>
                  </a:lnTo>
                  <a:lnTo>
                    <a:pt x="2731432" y="432263"/>
                  </a:lnTo>
                  <a:lnTo>
                    <a:pt x="2729375" y="435863"/>
                  </a:lnTo>
                  <a:lnTo>
                    <a:pt x="2728346" y="438132"/>
                  </a:lnTo>
                  <a:lnTo>
                    <a:pt x="2730918" y="442246"/>
                  </a:lnTo>
                  <a:lnTo>
                    <a:pt x="2733610" y="443486"/>
                  </a:lnTo>
                  <a:close/>
                  <a:moveTo>
                    <a:pt x="3000881" y="358843"/>
                  </a:moveTo>
                  <a:lnTo>
                    <a:pt x="3001910" y="357663"/>
                  </a:lnTo>
                  <a:lnTo>
                    <a:pt x="3002273" y="357390"/>
                  </a:lnTo>
                  <a:lnTo>
                    <a:pt x="3002878" y="356513"/>
                  </a:lnTo>
                  <a:lnTo>
                    <a:pt x="3002818" y="354728"/>
                  </a:lnTo>
                  <a:lnTo>
                    <a:pt x="3001910" y="353246"/>
                  </a:lnTo>
                  <a:lnTo>
                    <a:pt x="2990415" y="354607"/>
                  </a:lnTo>
                  <a:lnTo>
                    <a:pt x="2988206" y="355515"/>
                  </a:lnTo>
                  <a:lnTo>
                    <a:pt x="2986785" y="356906"/>
                  </a:lnTo>
                  <a:lnTo>
                    <a:pt x="2986300" y="358480"/>
                  </a:lnTo>
                  <a:lnTo>
                    <a:pt x="2985998" y="360718"/>
                  </a:lnTo>
                  <a:lnTo>
                    <a:pt x="2985393" y="362957"/>
                  </a:lnTo>
                  <a:lnTo>
                    <a:pt x="2983427" y="368130"/>
                  </a:lnTo>
                  <a:lnTo>
                    <a:pt x="2982761" y="372093"/>
                  </a:lnTo>
                  <a:lnTo>
                    <a:pt x="2983184" y="376993"/>
                  </a:lnTo>
                  <a:lnTo>
                    <a:pt x="2983759" y="379353"/>
                  </a:lnTo>
                  <a:lnTo>
                    <a:pt x="2985907" y="382529"/>
                  </a:lnTo>
                  <a:lnTo>
                    <a:pt x="2991171" y="384314"/>
                  </a:lnTo>
                  <a:lnTo>
                    <a:pt x="2996677" y="381743"/>
                  </a:lnTo>
                  <a:lnTo>
                    <a:pt x="3001305" y="378022"/>
                  </a:lnTo>
                  <a:lnTo>
                    <a:pt x="3002697" y="372698"/>
                  </a:lnTo>
                  <a:lnTo>
                    <a:pt x="3001063" y="366284"/>
                  </a:lnTo>
                  <a:lnTo>
                    <a:pt x="3000277" y="361747"/>
                  </a:lnTo>
                  <a:lnTo>
                    <a:pt x="3000458" y="360083"/>
                  </a:lnTo>
                  <a:lnTo>
                    <a:pt x="3000912" y="358782"/>
                  </a:lnTo>
                  <a:close/>
                  <a:moveTo>
                    <a:pt x="3922854" y="385192"/>
                  </a:moveTo>
                  <a:lnTo>
                    <a:pt x="3924821" y="387672"/>
                  </a:lnTo>
                  <a:lnTo>
                    <a:pt x="3926908" y="388852"/>
                  </a:lnTo>
                  <a:lnTo>
                    <a:pt x="3929298" y="387551"/>
                  </a:lnTo>
                  <a:lnTo>
                    <a:pt x="3934048" y="382650"/>
                  </a:lnTo>
                  <a:lnTo>
                    <a:pt x="3942185" y="380140"/>
                  </a:lnTo>
                  <a:lnTo>
                    <a:pt x="3945241" y="378143"/>
                  </a:lnTo>
                  <a:lnTo>
                    <a:pt x="3947237" y="375057"/>
                  </a:lnTo>
                  <a:lnTo>
                    <a:pt x="3946481" y="373484"/>
                  </a:lnTo>
                  <a:lnTo>
                    <a:pt x="3938555" y="374059"/>
                  </a:lnTo>
                  <a:lnTo>
                    <a:pt x="3938767" y="372879"/>
                  </a:lnTo>
                  <a:lnTo>
                    <a:pt x="3939099" y="369794"/>
                  </a:lnTo>
                  <a:lnTo>
                    <a:pt x="3939281" y="368553"/>
                  </a:lnTo>
                  <a:lnTo>
                    <a:pt x="3936982" y="365861"/>
                  </a:lnTo>
                  <a:lnTo>
                    <a:pt x="3936498" y="365044"/>
                  </a:lnTo>
                  <a:lnTo>
                    <a:pt x="3936074" y="362775"/>
                  </a:lnTo>
                  <a:lnTo>
                    <a:pt x="3936286" y="359054"/>
                  </a:lnTo>
                  <a:lnTo>
                    <a:pt x="3935863" y="357542"/>
                  </a:lnTo>
                  <a:lnTo>
                    <a:pt x="3933503" y="355303"/>
                  </a:lnTo>
                  <a:lnTo>
                    <a:pt x="3924065" y="352006"/>
                  </a:lnTo>
                  <a:lnTo>
                    <a:pt x="3920586" y="353428"/>
                  </a:lnTo>
                  <a:lnTo>
                    <a:pt x="3917893" y="358237"/>
                  </a:lnTo>
                  <a:lnTo>
                    <a:pt x="3917137" y="365014"/>
                  </a:lnTo>
                  <a:lnTo>
                    <a:pt x="3919315" y="372335"/>
                  </a:lnTo>
                  <a:lnTo>
                    <a:pt x="3916411" y="377114"/>
                  </a:lnTo>
                  <a:lnTo>
                    <a:pt x="3909816" y="385313"/>
                  </a:lnTo>
                  <a:lnTo>
                    <a:pt x="3907578" y="392482"/>
                  </a:lnTo>
                  <a:lnTo>
                    <a:pt x="3915867" y="394479"/>
                  </a:lnTo>
                  <a:lnTo>
                    <a:pt x="3919587" y="390939"/>
                  </a:lnTo>
                  <a:lnTo>
                    <a:pt x="3920918" y="388126"/>
                  </a:lnTo>
                  <a:lnTo>
                    <a:pt x="3919315" y="385192"/>
                  </a:lnTo>
                  <a:lnTo>
                    <a:pt x="3920949" y="383649"/>
                  </a:lnTo>
                  <a:lnTo>
                    <a:pt x="3922794" y="385222"/>
                  </a:lnTo>
                  <a:close/>
                  <a:moveTo>
                    <a:pt x="3099834" y="347710"/>
                  </a:moveTo>
                  <a:lnTo>
                    <a:pt x="3100832" y="348345"/>
                  </a:lnTo>
                  <a:lnTo>
                    <a:pt x="3102073" y="347286"/>
                  </a:lnTo>
                  <a:lnTo>
                    <a:pt x="3103253" y="346651"/>
                  </a:lnTo>
                  <a:lnTo>
                    <a:pt x="3104251" y="345502"/>
                  </a:lnTo>
                  <a:lnTo>
                    <a:pt x="3104916" y="342809"/>
                  </a:lnTo>
                  <a:lnTo>
                    <a:pt x="3103192" y="341508"/>
                  </a:lnTo>
                  <a:lnTo>
                    <a:pt x="3101467" y="341085"/>
                  </a:lnTo>
                  <a:lnTo>
                    <a:pt x="3099774" y="341539"/>
                  </a:lnTo>
                  <a:lnTo>
                    <a:pt x="3098049" y="342809"/>
                  </a:lnTo>
                  <a:lnTo>
                    <a:pt x="3098412" y="344957"/>
                  </a:lnTo>
                  <a:lnTo>
                    <a:pt x="3099048" y="346591"/>
                  </a:lnTo>
                  <a:lnTo>
                    <a:pt x="3099864" y="347710"/>
                  </a:lnTo>
                  <a:close/>
                  <a:moveTo>
                    <a:pt x="2910097" y="327684"/>
                  </a:moveTo>
                  <a:lnTo>
                    <a:pt x="2907465" y="327563"/>
                  </a:lnTo>
                  <a:lnTo>
                    <a:pt x="2904985" y="330194"/>
                  </a:lnTo>
                  <a:lnTo>
                    <a:pt x="2902625" y="334490"/>
                  </a:lnTo>
                  <a:lnTo>
                    <a:pt x="2899237" y="338695"/>
                  </a:lnTo>
                  <a:lnTo>
                    <a:pt x="2889405" y="346591"/>
                  </a:lnTo>
                  <a:lnTo>
                    <a:pt x="2884565" y="349011"/>
                  </a:lnTo>
                  <a:lnTo>
                    <a:pt x="2883173" y="350644"/>
                  </a:lnTo>
                  <a:lnTo>
                    <a:pt x="2880844" y="357542"/>
                  </a:lnTo>
                  <a:lnTo>
                    <a:pt x="2874098" y="367041"/>
                  </a:lnTo>
                  <a:lnTo>
                    <a:pt x="2873251" y="371851"/>
                  </a:lnTo>
                  <a:lnTo>
                    <a:pt x="2878212" y="372456"/>
                  </a:lnTo>
                  <a:lnTo>
                    <a:pt x="2897664" y="367918"/>
                  </a:lnTo>
                  <a:lnTo>
                    <a:pt x="2902050" y="365377"/>
                  </a:lnTo>
                  <a:lnTo>
                    <a:pt x="2905832" y="358086"/>
                  </a:lnTo>
                  <a:lnTo>
                    <a:pt x="2909280" y="349102"/>
                  </a:lnTo>
                  <a:lnTo>
                    <a:pt x="2913546" y="342507"/>
                  </a:lnTo>
                  <a:lnTo>
                    <a:pt x="2915724" y="336184"/>
                  </a:lnTo>
                  <a:lnTo>
                    <a:pt x="2913485" y="330315"/>
                  </a:lnTo>
                  <a:lnTo>
                    <a:pt x="2911368" y="328198"/>
                  </a:lnTo>
                  <a:lnTo>
                    <a:pt x="2910067" y="327714"/>
                  </a:lnTo>
                  <a:close/>
                  <a:moveTo>
                    <a:pt x="2924950" y="321603"/>
                  </a:moveTo>
                  <a:lnTo>
                    <a:pt x="2922107" y="322299"/>
                  </a:lnTo>
                  <a:lnTo>
                    <a:pt x="2920141" y="324326"/>
                  </a:lnTo>
                  <a:lnTo>
                    <a:pt x="2920957" y="325173"/>
                  </a:lnTo>
                  <a:lnTo>
                    <a:pt x="2921774" y="325747"/>
                  </a:lnTo>
                  <a:lnTo>
                    <a:pt x="2925162" y="326231"/>
                  </a:lnTo>
                  <a:lnTo>
                    <a:pt x="2929761" y="324326"/>
                  </a:lnTo>
                  <a:lnTo>
                    <a:pt x="2927764" y="322269"/>
                  </a:lnTo>
                  <a:lnTo>
                    <a:pt x="2924920" y="321603"/>
                  </a:lnTo>
                  <a:close/>
                  <a:moveTo>
                    <a:pt x="3016703" y="316944"/>
                  </a:moveTo>
                  <a:lnTo>
                    <a:pt x="3013133" y="317217"/>
                  </a:lnTo>
                  <a:lnTo>
                    <a:pt x="3010895" y="318699"/>
                  </a:lnTo>
                  <a:lnTo>
                    <a:pt x="3009050" y="322299"/>
                  </a:lnTo>
                  <a:lnTo>
                    <a:pt x="3006720" y="328954"/>
                  </a:lnTo>
                  <a:lnTo>
                    <a:pt x="3006841" y="332221"/>
                  </a:lnTo>
                  <a:lnTo>
                    <a:pt x="3008233" y="336426"/>
                  </a:lnTo>
                  <a:lnTo>
                    <a:pt x="3011197" y="342840"/>
                  </a:lnTo>
                  <a:lnTo>
                    <a:pt x="3014979" y="345683"/>
                  </a:lnTo>
                  <a:lnTo>
                    <a:pt x="3019940" y="345683"/>
                  </a:lnTo>
                  <a:lnTo>
                    <a:pt x="3024810" y="343203"/>
                  </a:lnTo>
                  <a:lnTo>
                    <a:pt x="3028320" y="338967"/>
                  </a:lnTo>
                  <a:lnTo>
                    <a:pt x="3028864" y="333855"/>
                  </a:lnTo>
                  <a:lnTo>
                    <a:pt x="3040814" y="326050"/>
                  </a:lnTo>
                  <a:lnTo>
                    <a:pt x="3026656" y="328047"/>
                  </a:lnTo>
                  <a:lnTo>
                    <a:pt x="3024296" y="326322"/>
                  </a:lnTo>
                  <a:lnTo>
                    <a:pt x="3019365" y="318699"/>
                  </a:lnTo>
                  <a:lnTo>
                    <a:pt x="3016703" y="316944"/>
                  </a:lnTo>
                  <a:close/>
                  <a:moveTo>
                    <a:pt x="3035520" y="318275"/>
                  </a:moveTo>
                  <a:lnTo>
                    <a:pt x="3034945" y="312255"/>
                  </a:lnTo>
                  <a:lnTo>
                    <a:pt x="3032888" y="311650"/>
                  </a:lnTo>
                  <a:lnTo>
                    <a:pt x="3030014" y="314917"/>
                  </a:lnTo>
                  <a:lnTo>
                    <a:pt x="3027442" y="319395"/>
                  </a:lnTo>
                  <a:lnTo>
                    <a:pt x="3026323" y="322329"/>
                  </a:lnTo>
                  <a:lnTo>
                    <a:pt x="3032827" y="321240"/>
                  </a:lnTo>
                  <a:lnTo>
                    <a:pt x="3035520" y="318245"/>
                  </a:lnTo>
                  <a:close/>
                  <a:moveTo>
                    <a:pt x="2817074" y="322329"/>
                  </a:moveTo>
                  <a:lnTo>
                    <a:pt x="2813958" y="324810"/>
                  </a:lnTo>
                  <a:lnTo>
                    <a:pt x="2812597" y="328984"/>
                  </a:lnTo>
                  <a:lnTo>
                    <a:pt x="2813958" y="333734"/>
                  </a:lnTo>
                  <a:lnTo>
                    <a:pt x="2817044" y="336184"/>
                  </a:lnTo>
                  <a:lnTo>
                    <a:pt x="2822912" y="337152"/>
                  </a:lnTo>
                  <a:lnTo>
                    <a:pt x="2820946" y="339179"/>
                  </a:lnTo>
                  <a:lnTo>
                    <a:pt x="2817860" y="343687"/>
                  </a:lnTo>
                  <a:lnTo>
                    <a:pt x="2816015" y="344534"/>
                  </a:lnTo>
                  <a:lnTo>
                    <a:pt x="2806365" y="341024"/>
                  </a:lnTo>
                  <a:lnTo>
                    <a:pt x="2802311" y="343021"/>
                  </a:lnTo>
                  <a:lnTo>
                    <a:pt x="2802765" y="347468"/>
                  </a:lnTo>
                  <a:lnTo>
                    <a:pt x="2805881" y="351885"/>
                  </a:lnTo>
                  <a:lnTo>
                    <a:pt x="2813807" y="355031"/>
                  </a:lnTo>
                  <a:lnTo>
                    <a:pt x="2833985" y="372425"/>
                  </a:lnTo>
                  <a:lnTo>
                    <a:pt x="2835225" y="374362"/>
                  </a:lnTo>
                  <a:lnTo>
                    <a:pt x="2838492" y="382499"/>
                  </a:lnTo>
                  <a:lnTo>
                    <a:pt x="2841850" y="386039"/>
                  </a:lnTo>
                  <a:lnTo>
                    <a:pt x="2863208" y="379383"/>
                  </a:lnTo>
                  <a:lnTo>
                    <a:pt x="2867322" y="376509"/>
                  </a:lnTo>
                  <a:lnTo>
                    <a:pt x="2870528" y="372425"/>
                  </a:lnTo>
                  <a:lnTo>
                    <a:pt x="2871194" y="370580"/>
                  </a:lnTo>
                  <a:lnTo>
                    <a:pt x="2871587" y="368553"/>
                  </a:lnTo>
                  <a:lnTo>
                    <a:pt x="2872132" y="366345"/>
                  </a:lnTo>
                  <a:lnTo>
                    <a:pt x="2873281" y="364106"/>
                  </a:lnTo>
                  <a:lnTo>
                    <a:pt x="2877214" y="359508"/>
                  </a:lnTo>
                  <a:lnTo>
                    <a:pt x="2878454" y="356664"/>
                  </a:lnTo>
                  <a:lnTo>
                    <a:pt x="2879119" y="355454"/>
                  </a:lnTo>
                  <a:lnTo>
                    <a:pt x="2880783" y="353821"/>
                  </a:lnTo>
                  <a:lnTo>
                    <a:pt x="2881600" y="352066"/>
                  </a:lnTo>
                  <a:lnTo>
                    <a:pt x="2881872" y="350614"/>
                  </a:lnTo>
                  <a:lnTo>
                    <a:pt x="2882084" y="347680"/>
                  </a:lnTo>
                  <a:lnTo>
                    <a:pt x="2882296" y="346530"/>
                  </a:lnTo>
                  <a:lnTo>
                    <a:pt x="2883234" y="343414"/>
                  </a:lnTo>
                  <a:lnTo>
                    <a:pt x="2883960" y="341962"/>
                  </a:lnTo>
                  <a:lnTo>
                    <a:pt x="2894760" y="337001"/>
                  </a:lnTo>
                  <a:lnTo>
                    <a:pt x="2898360" y="332736"/>
                  </a:lnTo>
                  <a:lnTo>
                    <a:pt x="2898541" y="327048"/>
                  </a:lnTo>
                  <a:lnTo>
                    <a:pt x="2896998" y="324205"/>
                  </a:lnTo>
                  <a:lnTo>
                    <a:pt x="2895304" y="323085"/>
                  </a:lnTo>
                  <a:lnTo>
                    <a:pt x="2893549" y="323267"/>
                  </a:lnTo>
                  <a:lnTo>
                    <a:pt x="2891916" y="324356"/>
                  </a:lnTo>
                  <a:lnTo>
                    <a:pt x="2890706" y="326534"/>
                  </a:lnTo>
                  <a:lnTo>
                    <a:pt x="2889435" y="329438"/>
                  </a:lnTo>
                  <a:lnTo>
                    <a:pt x="2888225" y="330709"/>
                  </a:lnTo>
                  <a:lnTo>
                    <a:pt x="2887106" y="328047"/>
                  </a:lnTo>
                  <a:lnTo>
                    <a:pt x="2887106" y="325021"/>
                  </a:lnTo>
                  <a:lnTo>
                    <a:pt x="2887802" y="322480"/>
                  </a:lnTo>
                  <a:lnTo>
                    <a:pt x="2888255" y="319697"/>
                  </a:lnTo>
                  <a:lnTo>
                    <a:pt x="2887499" y="315916"/>
                  </a:lnTo>
                  <a:lnTo>
                    <a:pt x="2885654" y="313405"/>
                  </a:lnTo>
                  <a:lnTo>
                    <a:pt x="2883536" y="313344"/>
                  </a:lnTo>
                  <a:lnTo>
                    <a:pt x="2876730" y="316249"/>
                  </a:lnTo>
                  <a:lnTo>
                    <a:pt x="2873735" y="319848"/>
                  </a:lnTo>
                  <a:lnTo>
                    <a:pt x="2871738" y="325203"/>
                  </a:lnTo>
                  <a:lnTo>
                    <a:pt x="2871920" y="331767"/>
                  </a:lnTo>
                  <a:lnTo>
                    <a:pt x="2869137" y="331102"/>
                  </a:lnTo>
                  <a:lnTo>
                    <a:pt x="2863812" y="324114"/>
                  </a:lnTo>
                  <a:lnTo>
                    <a:pt x="2859033" y="320453"/>
                  </a:lnTo>
                  <a:lnTo>
                    <a:pt x="2859214" y="316006"/>
                  </a:lnTo>
                  <a:lnTo>
                    <a:pt x="2860636" y="311045"/>
                  </a:lnTo>
                  <a:lnTo>
                    <a:pt x="2862300" y="307536"/>
                  </a:lnTo>
                  <a:lnTo>
                    <a:pt x="2859698" y="305630"/>
                  </a:lnTo>
                  <a:lnTo>
                    <a:pt x="2857429" y="307748"/>
                  </a:lnTo>
                  <a:lnTo>
                    <a:pt x="2855342" y="310652"/>
                  </a:lnTo>
                  <a:lnTo>
                    <a:pt x="2853224" y="311257"/>
                  </a:lnTo>
                  <a:lnTo>
                    <a:pt x="2852075" y="308928"/>
                  </a:lnTo>
                  <a:lnTo>
                    <a:pt x="2852347" y="306054"/>
                  </a:lnTo>
                  <a:lnTo>
                    <a:pt x="2852408" y="303513"/>
                  </a:lnTo>
                  <a:lnTo>
                    <a:pt x="2850532" y="302151"/>
                  </a:lnTo>
                  <a:lnTo>
                    <a:pt x="2841517" y="309170"/>
                  </a:lnTo>
                  <a:lnTo>
                    <a:pt x="2839853" y="309805"/>
                  </a:lnTo>
                  <a:lnTo>
                    <a:pt x="2838159" y="309321"/>
                  </a:lnTo>
                  <a:lnTo>
                    <a:pt x="2836041" y="307536"/>
                  </a:lnTo>
                  <a:lnTo>
                    <a:pt x="2836375" y="312255"/>
                  </a:lnTo>
                  <a:lnTo>
                    <a:pt x="2837887" y="315250"/>
                  </a:lnTo>
                  <a:lnTo>
                    <a:pt x="2839853" y="317670"/>
                  </a:lnTo>
                  <a:lnTo>
                    <a:pt x="2841608" y="320695"/>
                  </a:lnTo>
                  <a:lnTo>
                    <a:pt x="2837040" y="324507"/>
                  </a:lnTo>
                  <a:lnTo>
                    <a:pt x="2835376" y="324386"/>
                  </a:lnTo>
                  <a:lnTo>
                    <a:pt x="2835134" y="323479"/>
                  </a:lnTo>
                  <a:lnTo>
                    <a:pt x="2834711" y="321573"/>
                  </a:lnTo>
                  <a:lnTo>
                    <a:pt x="2833985" y="319697"/>
                  </a:lnTo>
                  <a:lnTo>
                    <a:pt x="2832623" y="318850"/>
                  </a:lnTo>
                  <a:lnTo>
                    <a:pt x="2831383" y="319395"/>
                  </a:lnTo>
                  <a:lnTo>
                    <a:pt x="2829417" y="321815"/>
                  </a:lnTo>
                  <a:lnTo>
                    <a:pt x="2828146" y="322390"/>
                  </a:lnTo>
                  <a:lnTo>
                    <a:pt x="2822943" y="320695"/>
                  </a:lnTo>
                  <a:lnTo>
                    <a:pt x="2817104" y="322359"/>
                  </a:lnTo>
                  <a:close/>
                  <a:moveTo>
                    <a:pt x="2796019" y="321421"/>
                  </a:moveTo>
                  <a:lnTo>
                    <a:pt x="2798348" y="321724"/>
                  </a:lnTo>
                  <a:lnTo>
                    <a:pt x="2798106" y="322874"/>
                  </a:lnTo>
                  <a:lnTo>
                    <a:pt x="2796382" y="325566"/>
                  </a:lnTo>
                  <a:lnTo>
                    <a:pt x="2796382" y="329136"/>
                  </a:lnTo>
                  <a:lnTo>
                    <a:pt x="2798137" y="332040"/>
                  </a:lnTo>
                  <a:lnTo>
                    <a:pt x="2799528" y="333008"/>
                  </a:lnTo>
                  <a:lnTo>
                    <a:pt x="2800133" y="332494"/>
                  </a:lnTo>
                  <a:lnTo>
                    <a:pt x="2800678" y="331798"/>
                  </a:lnTo>
                  <a:lnTo>
                    <a:pt x="2801222" y="331374"/>
                  </a:lnTo>
                  <a:lnTo>
                    <a:pt x="2802372" y="328863"/>
                  </a:lnTo>
                  <a:lnTo>
                    <a:pt x="2805881" y="323660"/>
                  </a:lnTo>
                  <a:lnTo>
                    <a:pt x="2813081" y="318457"/>
                  </a:lnTo>
                  <a:lnTo>
                    <a:pt x="2820522" y="316521"/>
                  </a:lnTo>
                  <a:lnTo>
                    <a:pt x="2823245" y="314403"/>
                  </a:lnTo>
                  <a:lnTo>
                    <a:pt x="2825453" y="311560"/>
                  </a:lnTo>
                  <a:lnTo>
                    <a:pt x="2827057" y="308928"/>
                  </a:lnTo>
                  <a:lnTo>
                    <a:pt x="2826391" y="306024"/>
                  </a:lnTo>
                  <a:lnTo>
                    <a:pt x="2821521" y="302484"/>
                  </a:lnTo>
                  <a:lnTo>
                    <a:pt x="2820190" y="300306"/>
                  </a:lnTo>
                  <a:lnTo>
                    <a:pt x="2818435" y="300094"/>
                  </a:lnTo>
                  <a:lnTo>
                    <a:pt x="2812264" y="309049"/>
                  </a:lnTo>
                  <a:lnTo>
                    <a:pt x="2811235" y="311439"/>
                  </a:lnTo>
                  <a:lnTo>
                    <a:pt x="2810056" y="312830"/>
                  </a:lnTo>
                  <a:lnTo>
                    <a:pt x="2809299" y="311106"/>
                  </a:lnTo>
                  <a:lnTo>
                    <a:pt x="2808936" y="306054"/>
                  </a:lnTo>
                  <a:lnTo>
                    <a:pt x="2807484" y="301214"/>
                  </a:lnTo>
                  <a:lnTo>
                    <a:pt x="2804701" y="298521"/>
                  </a:lnTo>
                  <a:lnTo>
                    <a:pt x="2801464" y="297402"/>
                  </a:lnTo>
                  <a:lnTo>
                    <a:pt x="2799558" y="298672"/>
                  </a:lnTo>
                  <a:lnTo>
                    <a:pt x="2799709" y="301153"/>
                  </a:lnTo>
                  <a:lnTo>
                    <a:pt x="2800345" y="303301"/>
                  </a:lnTo>
                  <a:lnTo>
                    <a:pt x="2800163" y="305449"/>
                  </a:lnTo>
                  <a:lnTo>
                    <a:pt x="2800587" y="306235"/>
                  </a:lnTo>
                  <a:lnTo>
                    <a:pt x="2799528" y="308141"/>
                  </a:lnTo>
                  <a:lnTo>
                    <a:pt x="2796866" y="311469"/>
                  </a:lnTo>
                  <a:lnTo>
                    <a:pt x="2795051" y="315795"/>
                  </a:lnTo>
                  <a:lnTo>
                    <a:pt x="2795323" y="319788"/>
                  </a:lnTo>
                  <a:lnTo>
                    <a:pt x="2795989" y="321421"/>
                  </a:lnTo>
                  <a:close/>
                  <a:moveTo>
                    <a:pt x="3009987" y="296585"/>
                  </a:moveTo>
                  <a:lnTo>
                    <a:pt x="3010562" y="303573"/>
                  </a:lnTo>
                  <a:lnTo>
                    <a:pt x="3011500" y="307052"/>
                  </a:lnTo>
                  <a:lnTo>
                    <a:pt x="3013255" y="309079"/>
                  </a:lnTo>
                  <a:lnTo>
                    <a:pt x="3016885" y="310198"/>
                  </a:lnTo>
                  <a:lnTo>
                    <a:pt x="3020152" y="307324"/>
                  </a:lnTo>
                  <a:lnTo>
                    <a:pt x="3022269" y="302998"/>
                  </a:lnTo>
                  <a:lnTo>
                    <a:pt x="3022269" y="299640"/>
                  </a:lnTo>
                  <a:lnTo>
                    <a:pt x="3016400" y="289567"/>
                  </a:lnTo>
                  <a:lnTo>
                    <a:pt x="3013859" y="287933"/>
                  </a:lnTo>
                  <a:lnTo>
                    <a:pt x="3011409" y="290686"/>
                  </a:lnTo>
                  <a:lnTo>
                    <a:pt x="3009957" y="296615"/>
                  </a:lnTo>
                  <a:close/>
                  <a:moveTo>
                    <a:pt x="2865658" y="298219"/>
                  </a:moveTo>
                  <a:lnTo>
                    <a:pt x="2871557" y="300639"/>
                  </a:lnTo>
                  <a:lnTo>
                    <a:pt x="2878938" y="303452"/>
                  </a:lnTo>
                  <a:lnTo>
                    <a:pt x="2883778" y="303513"/>
                  </a:lnTo>
                  <a:lnTo>
                    <a:pt x="2884928" y="303180"/>
                  </a:lnTo>
                  <a:lnTo>
                    <a:pt x="2886803" y="301425"/>
                  </a:lnTo>
                  <a:lnTo>
                    <a:pt x="2887227" y="298612"/>
                  </a:lnTo>
                  <a:lnTo>
                    <a:pt x="2885079" y="296101"/>
                  </a:lnTo>
                  <a:lnTo>
                    <a:pt x="2874491" y="286693"/>
                  </a:lnTo>
                  <a:lnTo>
                    <a:pt x="2870619" y="284878"/>
                  </a:lnTo>
                  <a:lnTo>
                    <a:pt x="2866444" y="287026"/>
                  </a:lnTo>
                  <a:lnTo>
                    <a:pt x="2863843" y="290868"/>
                  </a:lnTo>
                  <a:lnTo>
                    <a:pt x="2863268" y="294165"/>
                  </a:lnTo>
                  <a:lnTo>
                    <a:pt x="2864085" y="296767"/>
                  </a:lnTo>
                  <a:lnTo>
                    <a:pt x="2865658" y="298219"/>
                  </a:lnTo>
                  <a:close/>
                  <a:moveTo>
                    <a:pt x="2970418" y="305691"/>
                  </a:moveTo>
                  <a:lnTo>
                    <a:pt x="2971810" y="308595"/>
                  </a:lnTo>
                  <a:lnTo>
                    <a:pt x="2973625" y="310470"/>
                  </a:lnTo>
                  <a:lnTo>
                    <a:pt x="2975561" y="311378"/>
                  </a:lnTo>
                  <a:lnTo>
                    <a:pt x="2977346" y="311287"/>
                  </a:lnTo>
                  <a:lnTo>
                    <a:pt x="2981158" y="313133"/>
                  </a:lnTo>
                  <a:lnTo>
                    <a:pt x="2982580" y="312044"/>
                  </a:lnTo>
                  <a:lnTo>
                    <a:pt x="2982247" y="307566"/>
                  </a:lnTo>
                  <a:lnTo>
                    <a:pt x="2986996" y="307566"/>
                  </a:lnTo>
                  <a:lnTo>
                    <a:pt x="2986452" y="303513"/>
                  </a:lnTo>
                  <a:lnTo>
                    <a:pt x="2986966" y="300518"/>
                  </a:lnTo>
                  <a:lnTo>
                    <a:pt x="2988206" y="299187"/>
                  </a:lnTo>
                  <a:lnTo>
                    <a:pt x="2989749" y="300155"/>
                  </a:lnTo>
                  <a:lnTo>
                    <a:pt x="2990627" y="302575"/>
                  </a:lnTo>
                  <a:lnTo>
                    <a:pt x="2990778" y="305509"/>
                  </a:lnTo>
                  <a:lnTo>
                    <a:pt x="2990445" y="311287"/>
                  </a:lnTo>
                  <a:lnTo>
                    <a:pt x="2990052" y="313284"/>
                  </a:lnTo>
                  <a:lnTo>
                    <a:pt x="2989416" y="315129"/>
                  </a:lnTo>
                  <a:lnTo>
                    <a:pt x="2989356" y="316491"/>
                  </a:lnTo>
                  <a:lnTo>
                    <a:pt x="2990808" y="317035"/>
                  </a:lnTo>
                  <a:lnTo>
                    <a:pt x="2992018" y="316733"/>
                  </a:lnTo>
                  <a:lnTo>
                    <a:pt x="2994196" y="315341"/>
                  </a:lnTo>
                  <a:lnTo>
                    <a:pt x="2995315" y="315008"/>
                  </a:lnTo>
                  <a:lnTo>
                    <a:pt x="2996647" y="314161"/>
                  </a:lnTo>
                  <a:lnTo>
                    <a:pt x="2998129" y="310440"/>
                  </a:lnTo>
                  <a:lnTo>
                    <a:pt x="2999460" y="309593"/>
                  </a:lnTo>
                  <a:lnTo>
                    <a:pt x="3001093" y="310531"/>
                  </a:lnTo>
                  <a:lnTo>
                    <a:pt x="3003090" y="312376"/>
                  </a:lnTo>
                  <a:lnTo>
                    <a:pt x="3005359" y="313768"/>
                  </a:lnTo>
                  <a:lnTo>
                    <a:pt x="3007749" y="313344"/>
                  </a:lnTo>
                  <a:lnTo>
                    <a:pt x="3009352" y="311983"/>
                  </a:lnTo>
                  <a:lnTo>
                    <a:pt x="3010078" y="310561"/>
                  </a:lnTo>
                  <a:lnTo>
                    <a:pt x="3010169" y="308171"/>
                  </a:lnTo>
                  <a:lnTo>
                    <a:pt x="3009806" y="303876"/>
                  </a:lnTo>
                  <a:lnTo>
                    <a:pt x="3009594" y="303513"/>
                  </a:lnTo>
                  <a:lnTo>
                    <a:pt x="3008051" y="299217"/>
                  </a:lnTo>
                  <a:lnTo>
                    <a:pt x="3007749" y="297583"/>
                  </a:lnTo>
                  <a:lnTo>
                    <a:pt x="3007900" y="296343"/>
                  </a:lnTo>
                  <a:lnTo>
                    <a:pt x="3008202" y="295133"/>
                  </a:lnTo>
                  <a:lnTo>
                    <a:pt x="3008717" y="290263"/>
                  </a:lnTo>
                  <a:lnTo>
                    <a:pt x="3009594" y="287358"/>
                  </a:lnTo>
                  <a:lnTo>
                    <a:pt x="3011500" y="282427"/>
                  </a:lnTo>
                  <a:lnTo>
                    <a:pt x="3013103" y="276044"/>
                  </a:lnTo>
                  <a:lnTo>
                    <a:pt x="3013103" y="271870"/>
                  </a:lnTo>
                  <a:lnTo>
                    <a:pt x="3011560" y="268996"/>
                  </a:lnTo>
                  <a:lnTo>
                    <a:pt x="3008384" y="266485"/>
                  </a:lnTo>
                  <a:lnTo>
                    <a:pt x="3004028" y="264519"/>
                  </a:lnTo>
                  <a:lnTo>
                    <a:pt x="2989326" y="264670"/>
                  </a:lnTo>
                  <a:lnTo>
                    <a:pt x="2986663" y="265487"/>
                  </a:lnTo>
                  <a:lnTo>
                    <a:pt x="2985665" y="266485"/>
                  </a:lnTo>
                  <a:lnTo>
                    <a:pt x="2985302" y="267786"/>
                  </a:lnTo>
                  <a:lnTo>
                    <a:pt x="2985121" y="269661"/>
                  </a:lnTo>
                  <a:lnTo>
                    <a:pt x="2985060" y="271416"/>
                  </a:lnTo>
                  <a:lnTo>
                    <a:pt x="2984999" y="272233"/>
                  </a:lnTo>
                  <a:lnTo>
                    <a:pt x="2983064" y="273745"/>
                  </a:lnTo>
                  <a:lnTo>
                    <a:pt x="2976741" y="275802"/>
                  </a:lnTo>
                  <a:lnTo>
                    <a:pt x="2974260" y="278192"/>
                  </a:lnTo>
                  <a:lnTo>
                    <a:pt x="2972052" y="282337"/>
                  </a:lnTo>
                  <a:lnTo>
                    <a:pt x="2970418" y="288115"/>
                  </a:lnTo>
                  <a:lnTo>
                    <a:pt x="2969814" y="295436"/>
                  </a:lnTo>
                  <a:lnTo>
                    <a:pt x="2969662" y="299217"/>
                  </a:lnTo>
                  <a:lnTo>
                    <a:pt x="2969451" y="301093"/>
                  </a:lnTo>
                  <a:lnTo>
                    <a:pt x="2969602" y="302756"/>
                  </a:lnTo>
                  <a:lnTo>
                    <a:pt x="2970449" y="305751"/>
                  </a:lnTo>
                  <a:close/>
                  <a:moveTo>
                    <a:pt x="2832714" y="290656"/>
                  </a:moveTo>
                  <a:lnTo>
                    <a:pt x="2839914" y="297160"/>
                  </a:lnTo>
                  <a:lnTo>
                    <a:pt x="2843725" y="298824"/>
                  </a:lnTo>
                  <a:lnTo>
                    <a:pt x="2847114" y="297644"/>
                  </a:lnTo>
                  <a:lnTo>
                    <a:pt x="2852408" y="292259"/>
                  </a:lnTo>
                  <a:lnTo>
                    <a:pt x="2852680" y="290928"/>
                  </a:lnTo>
                  <a:lnTo>
                    <a:pt x="2852408" y="289688"/>
                  </a:lnTo>
                  <a:lnTo>
                    <a:pt x="2852257" y="288387"/>
                  </a:lnTo>
                  <a:lnTo>
                    <a:pt x="2852257" y="287116"/>
                  </a:lnTo>
                  <a:lnTo>
                    <a:pt x="2852680" y="285483"/>
                  </a:lnTo>
                  <a:lnTo>
                    <a:pt x="2854737" y="281580"/>
                  </a:lnTo>
                  <a:lnTo>
                    <a:pt x="2854918" y="278162"/>
                  </a:lnTo>
                  <a:lnTo>
                    <a:pt x="2854586" y="276226"/>
                  </a:lnTo>
                  <a:lnTo>
                    <a:pt x="2853950" y="274290"/>
                  </a:lnTo>
                  <a:lnTo>
                    <a:pt x="2852468" y="271234"/>
                  </a:lnTo>
                  <a:lnTo>
                    <a:pt x="2852680" y="268845"/>
                  </a:lnTo>
                  <a:lnTo>
                    <a:pt x="2852771" y="265154"/>
                  </a:lnTo>
                  <a:lnTo>
                    <a:pt x="2850865" y="260737"/>
                  </a:lnTo>
                  <a:lnTo>
                    <a:pt x="2850320" y="259709"/>
                  </a:lnTo>
                  <a:lnTo>
                    <a:pt x="2849473" y="258952"/>
                  </a:lnTo>
                  <a:lnTo>
                    <a:pt x="2848898" y="259678"/>
                  </a:lnTo>
                  <a:lnTo>
                    <a:pt x="2848233" y="259920"/>
                  </a:lnTo>
                  <a:lnTo>
                    <a:pt x="2847477" y="259255"/>
                  </a:lnTo>
                  <a:lnTo>
                    <a:pt x="2846569" y="259527"/>
                  </a:lnTo>
                  <a:lnTo>
                    <a:pt x="2845722" y="261312"/>
                  </a:lnTo>
                  <a:lnTo>
                    <a:pt x="2845329" y="262794"/>
                  </a:lnTo>
                  <a:lnTo>
                    <a:pt x="2845268" y="263793"/>
                  </a:lnTo>
                  <a:lnTo>
                    <a:pt x="2844966" y="264277"/>
                  </a:lnTo>
                  <a:lnTo>
                    <a:pt x="2844300" y="263762"/>
                  </a:lnTo>
                  <a:lnTo>
                    <a:pt x="2843241" y="263339"/>
                  </a:lnTo>
                  <a:lnTo>
                    <a:pt x="2840246" y="263278"/>
                  </a:lnTo>
                  <a:lnTo>
                    <a:pt x="2838855" y="264156"/>
                  </a:lnTo>
                  <a:lnTo>
                    <a:pt x="2838613" y="265335"/>
                  </a:lnTo>
                  <a:lnTo>
                    <a:pt x="2839339" y="266334"/>
                  </a:lnTo>
                  <a:lnTo>
                    <a:pt x="2840761" y="267846"/>
                  </a:lnTo>
                  <a:lnTo>
                    <a:pt x="2841124" y="268905"/>
                  </a:lnTo>
                  <a:lnTo>
                    <a:pt x="2840912" y="270085"/>
                  </a:lnTo>
                  <a:lnTo>
                    <a:pt x="2841608" y="272112"/>
                  </a:lnTo>
                  <a:lnTo>
                    <a:pt x="2843514" y="274048"/>
                  </a:lnTo>
                  <a:lnTo>
                    <a:pt x="2843453" y="275288"/>
                  </a:lnTo>
                  <a:lnTo>
                    <a:pt x="2841094" y="276347"/>
                  </a:lnTo>
                  <a:lnTo>
                    <a:pt x="2839490" y="278374"/>
                  </a:lnTo>
                  <a:lnTo>
                    <a:pt x="2839551" y="285997"/>
                  </a:lnTo>
                  <a:lnTo>
                    <a:pt x="2838401" y="286118"/>
                  </a:lnTo>
                  <a:lnTo>
                    <a:pt x="2837312" y="283607"/>
                  </a:lnTo>
                  <a:lnTo>
                    <a:pt x="2836102" y="282579"/>
                  </a:lnTo>
                  <a:lnTo>
                    <a:pt x="2834226" y="282942"/>
                  </a:lnTo>
                  <a:lnTo>
                    <a:pt x="2829810" y="285876"/>
                  </a:lnTo>
                  <a:lnTo>
                    <a:pt x="2829205" y="287570"/>
                  </a:lnTo>
                  <a:lnTo>
                    <a:pt x="2830596" y="289264"/>
                  </a:lnTo>
                  <a:lnTo>
                    <a:pt x="2832805" y="290656"/>
                  </a:lnTo>
                  <a:close/>
                  <a:moveTo>
                    <a:pt x="2893247" y="269238"/>
                  </a:moveTo>
                  <a:lnTo>
                    <a:pt x="2896363" y="273049"/>
                  </a:lnTo>
                  <a:lnTo>
                    <a:pt x="2897301" y="274925"/>
                  </a:lnTo>
                  <a:lnTo>
                    <a:pt x="2899176" y="277648"/>
                  </a:lnTo>
                  <a:lnTo>
                    <a:pt x="2900144" y="279675"/>
                  </a:lnTo>
                  <a:lnTo>
                    <a:pt x="2902595" y="288054"/>
                  </a:lnTo>
                  <a:lnTo>
                    <a:pt x="2903533" y="289930"/>
                  </a:lnTo>
                  <a:lnTo>
                    <a:pt x="2904289" y="290716"/>
                  </a:lnTo>
                  <a:lnTo>
                    <a:pt x="2904803" y="292017"/>
                  </a:lnTo>
                  <a:lnTo>
                    <a:pt x="2904985" y="295405"/>
                  </a:lnTo>
                  <a:lnTo>
                    <a:pt x="2904803" y="303573"/>
                  </a:lnTo>
                  <a:lnTo>
                    <a:pt x="2904985" y="305691"/>
                  </a:lnTo>
                  <a:lnTo>
                    <a:pt x="2907677" y="310652"/>
                  </a:lnTo>
                  <a:lnTo>
                    <a:pt x="2912033" y="312588"/>
                  </a:lnTo>
                  <a:lnTo>
                    <a:pt x="2928006" y="312588"/>
                  </a:lnTo>
                  <a:lnTo>
                    <a:pt x="2931878" y="310138"/>
                  </a:lnTo>
                  <a:lnTo>
                    <a:pt x="2933330" y="308474"/>
                  </a:lnTo>
                  <a:lnTo>
                    <a:pt x="2933875" y="306387"/>
                  </a:lnTo>
                  <a:lnTo>
                    <a:pt x="2932604" y="303845"/>
                  </a:lnTo>
                  <a:lnTo>
                    <a:pt x="2935660" y="301395"/>
                  </a:lnTo>
                  <a:lnTo>
                    <a:pt x="2945733" y="298309"/>
                  </a:lnTo>
                  <a:lnTo>
                    <a:pt x="2945733" y="296283"/>
                  </a:lnTo>
                  <a:lnTo>
                    <a:pt x="2941438" y="296283"/>
                  </a:lnTo>
                  <a:lnTo>
                    <a:pt x="2928429" y="289022"/>
                  </a:lnTo>
                  <a:lnTo>
                    <a:pt x="2925949" y="286965"/>
                  </a:lnTo>
                  <a:lnTo>
                    <a:pt x="2924013" y="284454"/>
                  </a:lnTo>
                  <a:lnTo>
                    <a:pt x="2923257" y="280915"/>
                  </a:lnTo>
                  <a:lnTo>
                    <a:pt x="2924315" y="275802"/>
                  </a:lnTo>
                  <a:lnTo>
                    <a:pt x="2919324" y="270781"/>
                  </a:lnTo>
                  <a:lnTo>
                    <a:pt x="2917448" y="270236"/>
                  </a:lnTo>
                  <a:lnTo>
                    <a:pt x="2916752" y="271718"/>
                  </a:lnTo>
                  <a:lnTo>
                    <a:pt x="2915451" y="278888"/>
                  </a:lnTo>
                  <a:lnTo>
                    <a:pt x="2914635" y="281399"/>
                  </a:lnTo>
                  <a:lnTo>
                    <a:pt x="2911670" y="282821"/>
                  </a:lnTo>
                  <a:lnTo>
                    <a:pt x="2910248" y="277980"/>
                  </a:lnTo>
                  <a:lnTo>
                    <a:pt x="2909129" y="271658"/>
                  </a:lnTo>
                  <a:lnTo>
                    <a:pt x="2907102" y="268512"/>
                  </a:lnTo>
                  <a:lnTo>
                    <a:pt x="2905348" y="267937"/>
                  </a:lnTo>
                  <a:lnTo>
                    <a:pt x="2903411" y="266364"/>
                  </a:lnTo>
                  <a:lnTo>
                    <a:pt x="2901596" y="263944"/>
                  </a:lnTo>
                  <a:lnTo>
                    <a:pt x="2900235" y="260858"/>
                  </a:lnTo>
                  <a:lnTo>
                    <a:pt x="2899842" y="258075"/>
                  </a:lnTo>
                  <a:lnTo>
                    <a:pt x="2899569" y="254384"/>
                  </a:lnTo>
                  <a:lnTo>
                    <a:pt x="2899025" y="251178"/>
                  </a:lnTo>
                  <a:lnTo>
                    <a:pt x="2897815" y="249786"/>
                  </a:lnTo>
                  <a:lnTo>
                    <a:pt x="2891553" y="252841"/>
                  </a:lnTo>
                  <a:lnTo>
                    <a:pt x="2888800" y="255836"/>
                  </a:lnTo>
                  <a:lnTo>
                    <a:pt x="2889133" y="258983"/>
                  </a:lnTo>
                  <a:lnTo>
                    <a:pt x="2889133" y="260858"/>
                  </a:lnTo>
                  <a:lnTo>
                    <a:pt x="2886259" y="259134"/>
                  </a:lnTo>
                  <a:lnTo>
                    <a:pt x="2884867" y="259073"/>
                  </a:lnTo>
                  <a:lnTo>
                    <a:pt x="2883627" y="260858"/>
                  </a:lnTo>
                  <a:lnTo>
                    <a:pt x="2885866" y="266031"/>
                  </a:lnTo>
                  <a:lnTo>
                    <a:pt x="2893277" y="269298"/>
                  </a:lnTo>
                  <a:close/>
                  <a:moveTo>
                    <a:pt x="3101558" y="257621"/>
                  </a:moveTo>
                  <a:lnTo>
                    <a:pt x="3102738" y="258105"/>
                  </a:lnTo>
                  <a:lnTo>
                    <a:pt x="3104372" y="256774"/>
                  </a:lnTo>
                  <a:lnTo>
                    <a:pt x="3106187" y="254142"/>
                  </a:lnTo>
                  <a:lnTo>
                    <a:pt x="3107760" y="250724"/>
                  </a:lnTo>
                  <a:lnTo>
                    <a:pt x="3110694" y="240680"/>
                  </a:lnTo>
                  <a:lnTo>
                    <a:pt x="3111239" y="234176"/>
                  </a:lnTo>
                  <a:lnTo>
                    <a:pt x="3110603" y="231151"/>
                  </a:lnTo>
                  <a:lnTo>
                    <a:pt x="3105098" y="225585"/>
                  </a:lnTo>
                  <a:lnTo>
                    <a:pt x="3104220" y="224345"/>
                  </a:lnTo>
                  <a:lnTo>
                    <a:pt x="3102496" y="222530"/>
                  </a:lnTo>
                  <a:lnTo>
                    <a:pt x="3101619" y="223316"/>
                  </a:lnTo>
                  <a:lnTo>
                    <a:pt x="3101619" y="226008"/>
                  </a:lnTo>
                  <a:lnTo>
                    <a:pt x="3101044" y="227551"/>
                  </a:lnTo>
                  <a:lnTo>
                    <a:pt x="3100560" y="227763"/>
                  </a:lnTo>
                  <a:lnTo>
                    <a:pt x="3100046" y="228066"/>
                  </a:lnTo>
                  <a:lnTo>
                    <a:pt x="3099683" y="229548"/>
                  </a:lnTo>
                  <a:lnTo>
                    <a:pt x="3100137" y="232089"/>
                  </a:lnTo>
                  <a:lnTo>
                    <a:pt x="3100137" y="237353"/>
                  </a:lnTo>
                  <a:lnTo>
                    <a:pt x="3099108" y="245067"/>
                  </a:lnTo>
                  <a:lnTo>
                    <a:pt x="3098896" y="251268"/>
                  </a:lnTo>
                  <a:lnTo>
                    <a:pt x="3100167" y="255201"/>
                  </a:lnTo>
                  <a:lnTo>
                    <a:pt x="3101528" y="257591"/>
                  </a:lnTo>
                  <a:close/>
                  <a:moveTo>
                    <a:pt x="3177066" y="234600"/>
                  </a:moveTo>
                  <a:lnTo>
                    <a:pt x="3175644" y="231696"/>
                  </a:lnTo>
                  <a:lnTo>
                    <a:pt x="3173799" y="230153"/>
                  </a:lnTo>
                  <a:lnTo>
                    <a:pt x="3171439" y="231242"/>
                  </a:lnTo>
                  <a:lnTo>
                    <a:pt x="3169533" y="234207"/>
                  </a:lnTo>
                  <a:lnTo>
                    <a:pt x="3169019" y="238351"/>
                  </a:lnTo>
                  <a:lnTo>
                    <a:pt x="3169775" y="240075"/>
                  </a:lnTo>
                  <a:lnTo>
                    <a:pt x="3176189" y="249484"/>
                  </a:lnTo>
                  <a:lnTo>
                    <a:pt x="3205018" y="258952"/>
                  </a:lnTo>
                  <a:lnTo>
                    <a:pt x="3232154" y="261070"/>
                  </a:lnTo>
                  <a:lnTo>
                    <a:pt x="3233636" y="259678"/>
                  </a:lnTo>
                  <a:lnTo>
                    <a:pt x="3233939" y="256744"/>
                  </a:lnTo>
                  <a:lnTo>
                    <a:pt x="3232850" y="252418"/>
                  </a:lnTo>
                  <a:lnTo>
                    <a:pt x="3230853" y="249060"/>
                  </a:lnTo>
                  <a:lnTo>
                    <a:pt x="3228584" y="247699"/>
                  </a:lnTo>
                  <a:lnTo>
                    <a:pt x="3226285" y="247033"/>
                  </a:lnTo>
                  <a:lnTo>
                    <a:pt x="3224228" y="245823"/>
                  </a:lnTo>
                  <a:lnTo>
                    <a:pt x="3224893" y="243615"/>
                  </a:lnTo>
                  <a:lnTo>
                    <a:pt x="3225710" y="241921"/>
                  </a:lnTo>
                  <a:lnTo>
                    <a:pt x="3226618" y="240771"/>
                  </a:lnTo>
                  <a:lnTo>
                    <a:pt x="3227616" y="240166"/>
                  </a:lnTo>
                  <a:lnTo>
                    <a:pt x="3214699" y="237807"/>
                  </a:lnTo>
                  <a:lnTo>
                    <a:pt x="3212460" y="235477"/>
                  </a:lnTo>
                  <a:lnTo>
                    <a:pt x="3211764" y="228701"/>
                  </a:lnTo>
                  <a:lnTo>
                    <a:pt x="3209919" y="223377"/>
                  </a:lnTo>
                  <a:lnTo>
                    <a:pt x="3207499" y="220956"/>
                  </a:lnTo>
                  <a:lnTo>
                    <a:pt x="3204897" y="223104"/>
                  </a:lnTo>
                  <a:lnTo>
                    <a:pt x="3205563" y="229215"/>
                  </a:lnTo>
                  <a:lnTo>
                    <a:pt x="3204837" y="234842"/>
                  </a:lnTo>
                  <a:lnTo>
                    <a:pt x="3203294" y="236929"/>
                  </a:lnTo>
                  <a:lnTo>
                    <a:pt x="3201479" y="232513"/>
                  </a:lnTo>
                  <a:lnTo>
                    <a:pt x="3201267" y="229790"/>
                  </a:lnTo>
                  <a:lnTo>
                    <a:pt x="3201267" y="223558"/>
                  </a:lnTo>
                  <a:lnTo>
                    <a:pt x="3200723" y="221198"/>
                  </a:lnTo>
                  <a:lnTo>
                    <a:pt x="3199271" y="219898"/>
                  </a:lnTo>
                  <a:lnTo>
                    <a:pt x="3197879" y="220805"/>
                  </a:lnTo>
                  <a:lnTo>
                    <a:pt x="3196881" y="223346"/>
                  </a:lnTo>
                  <a:lnTo>
                    <a:pt x="3196608" y="227007"/>
                  </a:lnTo>
                  <a:lnTo>
                    <a:pt x="3195913" y="227007"/>
                  </a:lnTo>
                  <a:lnTo>
                    <a:pt x="3195096" y="223588"/>
                  </a:lnTo>
                  <a:lnTo>
                    <a:pt x="3193674" y="223135"/>
                  </a:lnTo>
                  <a:lnTo>
                    <a:pt x="3192343" y="225040"/>
                  </a:lnTo>
                  <a:lnTo>
                    <a:pt x="3191799" y="228701"/>
                  </a:lnTo>
                  <a:lnTo>
                    <a:pt x="3189287" y="224496"/>
                  </a:lnTo>
                  <a:lnTo>
                    <a:pt x="3184719" y="229397"/>
                  </a:lnTo>
                  <a:lnTo>
                    <a:pt x="3180212" y="223800"/>
                  </a:lnTo>
                  <a:lnTo>
                    <a:pt x="3179062" y="224950"/>
                  </a:lnTo>
                  <a:lnTo>
                    <a:pt x="3178488" y="228277"/>
                  </a:lnTo>
                  <a:lnTo>
                    <a:pt x="3178669" y="232452"/>
                  </a:lnTo>
                  <a:lnTo>
                    <a:pt x="3179244" y="233934"/>
                  </a:lnTo>
                  <a:lnTo>
                    <a:pt x="3182178" y="240136"/>
                  </a:lnTo>
                  <a:lnTo>
                    <a:pt x="3178639" y="236778"/>
                  </a:lnTo>
                  <a:lnTo>
                    <a:pt x="3177006" y="234479"/>
                  </a:lnTo>
                  <a:close/>
                  <a:moveTo>
                    <a:pt x="3271420" y="159153"/>
                  </a:moveTo>
                  <a:lnTo>
                    <a:pt x="3272146" y="160454"/>
                  </a:lnTo>
                  <a:lnTo>
                    <a:pt x="3278106" y="162390"/>
                  </a:lnTo>
                  <a:lnTo>
                    <a:pt x="3277531" y="163751"/>
                  </a:lnTo>
                  <a:lnTo>
                    <a:pt x="3276533" y="166867"/>
                  </a:lnTo>
                  <a:lnTo>
                    <a:pt x="3275988" y="168258"/>
                  </a:lnTo>
                  <a:lnTo>
                    <a:pt x="3281312" y="172282"/>
                  </a:lnTo>
                  <a:lnTo>
                    <a:pt x="3283944" y="175307"/>
                  </a:lnTo>
                  <a:lnTo>
                    <a:pt x="3286365" y="179512"/>
                  </a:lnTo>
                  <a:lnTo>
                    <a:pt x="3282764" y="179512"/>
                  </a:lnTo>
                  <a:lnTo>
                    <a:pt x="3273598" y="174823"/>
                  </a:lnTo>
                  <a:lnTo>
                    <a:pt x="3271118" y="179512"/>
                  </a:lnTo>
                  <a:lnTo>
                    <a:pt x="3271723" y="180299"/>
                  </a:lnTo>
                  <a:lnTo>
                    <a:pt x="3273175" y="183293"/>
                  </a:lnTo>
                  <a:lnTo>
                    <a:pt x="3271027" y="182840"/>
                  </a:lnTo>
                  <a:lnTo>
                    <a:pt x="3267639" y="178967"/>
                  </a:lnTo>
                  <a:lnTo>
                    <a:pt x="3265612" y="177606"/>
                  </a:lnTo>
                  <a:lnTo>
                    <a:pt x="3263040" y="177969"/>
                  </a:lnTo>
                  <a:lnTo>
                    <a:pt x="3262103" y="179996"/>
                  </a:lnTo>
                  <a:lnTo>
                    <a:pt x="3262738" y="182235"/>
                  </a:lnTo>
                  <a:lnTo>
                    <a:pt x="3264916" y="183293"/>
                  </a:lnTo>
                  <a:lnTo>
                    <a:pt x="3263343" y="186772"/>
                  </a:lnTo>
                  <a:lnTo>
                    <a:pt x="3261377" y="196453"/>
                  </a:lnTo>
                  <a:lnTo>
                    <a:pt x="3260076" y="198449"/>
                  </a:lnTo>
                  <a:lnTo>
                    <a:pt x="3258291" y="197270"/>
                  </a:lnTo>
                  <a:lnTo>
                    <a:pt x="3258291" y="194244"/>
                  </a:lnTo>
                  <a:lnTo>
                    <a:pt x="3258957" y="190312"/>
                  </a:lnTo>
                  <a:lnTo>
                    <a:pt x="3259380" y="186258"/>
                  </a:lnTo>
                  <a:lnTo>
                    <a:pt x="3258412" y="181962"/>
                  </a:lnTo>
                  <a:lnTo>
                    <a:pt x="3256143" y="179331"/>
                  </a:lnTo>
                  <a:lnTo>
                    <a:pt x="3253602" y="177999"/>
                  </a:lnTo>
                  <a:lnTo>
                    <a:pt x="3251787" y="177636"/>
                  </a:lnTo>
                  <a:lnTo>
                    <a:pt x="3249670" y="178786"/>
                  </a:lnTo>
                  <a:lnTo>
                    <a:pt x="3250214" y="181297"/>
                  </a:lnTo>
                  <a:lnTo>
                    <a:pt x="3252211" y="183929"/>
                  </a:lnTo>
                  <a:lnTo>
                    <a:pt x="3254479" y="185381"/>
                  </a:lnTo>
                  <a:lnTo>
                    <a:pt x="3254479" y="187105"/>
                  </a:lnTo>
                  <a:lnTo>
                    <a:pt x="3252211" y="188194"/>
                  </a:lnTo>
                  <a:lnTo>
                    <a:pt x="3249458" y="191250"/>
                  </a:lnTo>
                  <a:lnTo>
                    <a:pt x="3247189" y="192460"/>
                  </a:lnTo>
                  <a:lnTo>
                    <a:pt x="3246221" y="188073"/>
                  </a:lnTo>
                  <a:lnTo>
                    <a:pt x="3244496" y="186288"/>
                  </a:lnTo>
                  <a:lnTo>
                    <a:pt x="3233848" y="192823"/>
                  </a:lnTo>
                  <a:lnTo>
                    <a:pt x="3233273" y="193912"/>
                  </a:lnTo>
                  <a:lnTo>
                    <a:pt x="3232335" y="197391"/>
                  </a:lnTo>
                  <a:lnTo>
                    <a:pt x="3231761" y="198510"/>
                  </a:lnTo>
                  <a:lnTo>
                    <a:pt x="3231065" y="198691"/>
                  </a:lnTo>
                  <a:lnTo>
                    <a:pt x="3229189" y="198359"/>
                  </a:lnTo>
                  <a:lnTo>
                    <a:pt x="3228312" y="198540"/>
                  </a:lnTo>
                  <a:lnTo>
                    <a:pt x="3228070" y="200476"/>
                  </a:lnTo>
                  <a:lnTo>
                    <a:pt x="3227767" y="201747"/>
                  </a:lnTo>
                  <a:lnTo>
                    <a:pt x="3227223" y="202322"/>
                  </a:lnTo>
                  <a:lnTo>
                    <a:pt x="3226285" y="202473"/>
                  </a:lnTo>
                  <a:lnTo>
                    <a:pt x="3225559" y="202836"/>
                  </a:lnTo>
                  <a:lnTo>
                    <a:pt x="3224137" y="204197"/>
                  </a:lnTo>
                  <a:lnTo>
                    <a:pt x="3221596" y="205619"/>
                  </a:lnTo>
                  <a:lnTo>
                    <a:pt x="3221414" y="206950"/>
                  </a:lnTo>
                  <a:lnTo>
                    <a:pt x="3222776" y="210036"/>
                  </a:lnTo>
                  <a:lnTo>
                    <a:pt x="3223865" y="211185"/>
                  </a:lnTo>
                  <a:lnTo>
                    <a:pt x="3228312" y="213817"/>
                  </a:lnTo>
                  <a:lnTo>
                    <a:pt x="3225922" y="217780"/>
                  </a:lnTo>
                  <a:lnTo>
                    <a:pt x="3219962" y="215844"/>
                  </a:lnTo>
                  <a:lnTo>
                    <a:pt x="3217270" y="217629"/>
                  </a:lnTo>
                  <a:lnTo>
                    <a:pt x="3219025" y="219111"/>
                  </a:lnTo>
                  <a:lnTo>
                    <a:pt x="3225831" y="229850"/>
                  </a:lnTo>
                  <a:lnTo>
                    <a:pt x="3226890" y="230970"/>
                  </a:lnTo>
                  <a:lnTo>
                    <a:pt x="3228403" y="231302"/>
                  </a:lnTo>
                  <a:lnTo>
                    <a:pt x="3229976" y="231091"/>
                  </a:lnTo>
                  <a:lnTo>
                    <a:pt x="3231519" y="231544"/>
                  </a:lnTo>
                  <a:lnTo>
                    <a:pt x="3232819" y="233662"/>
                  </a:lnTo>
                  <a:lnTo>
                    <a:pt x="3235905" y="235991"/>
                  </a:lnTo>
                  <a:lnTo>
                    <a:pt x="3239535" y="230728"/>
                  </a:lnTo>
                  <a:lnTo>
                    <a:pt x="3245525" y="215723"/>
                  </a:lnTo>
                  <a:lnTo>
                    <a:pt x="3245888" y="219535"/>
                  </a:lnTo>
                  <a:lnTo>
                    <a:pt x="3245616" y="223800"/>
                  </a:lnTo>
                  <a:lnTo>
                    <a:pt x="3244769" y="227793"/>
                  </a:lnTo>
                  <a:lnTo>
                    <a:pt x="3243468" y="230970"/>
                  </a:lnTo>
                  <a:lnTo>
                    <a:pt x="3240775" y="239501"/>
                  </a:lnTo>
                  <a:lnTo>
                    <a:pt x="3240231" y="246821"/>
                  </a:lnTo>
                  <a:lnTo>
                    <a:pt x="3242500" y="251873"/>
                  </a:lnTo>
                  <a:lnTo>
                    <a:pt x="3247582" y="253507"/>
                  </a:lnTo>
                  <a:lnTo>
                    <a:pt x="3253753" y="252025"/>
                  </a:lnTo>
                  <a:lnTo>
                    <a:pt x="3270361" y="242253"/>
                  </a:lnTo>
                  <a:lnTo>
                    <a:pt x="3268486" y="240106"/>
                  </a:lnTo>
                  <a:lnTo>
                    <a:pt x="3266066" y="238805"/>
                  </a:lnTo>
                  <a:lnTo>
                    <a:pt x="3263525" y="238291"/>
                  </a:lnTo>
                  <a:lnTo>
                    <a:pt x="3261377" y="238502"/>
                  </a:lnTo>
                  <a:lnTo>
                    <a:pt x="3264069" y="235719"/>
                  </a:lnTo>
                  <a:lnTo>
                    <a:pt x="3273054" y="232694"/>
                  </a:lnTo>
                  <a:lnTo>
                    <a:pt x="3291598" y="215541"/>
                  </a:lnTo>
                  <a:lnTo>
                    <a:pt x="3295773" y="209400"/>
                  </a:lnTo>
                  <a:lnTo>
                    <a:pt x="3298616" y="200476"/>
                  </a:lnTo>
                  <a:lnTo>
                    <a:pt x="3297709" y="199538"/>
                  </a:lnTo>
                  <a:lnTo>
                    <a:pt x="3295954" y="196725"/>
                  </a:lnTo>
                  <a:lnTo>
                    <a:pt x="3295167" y="194970"/>
                  </a:lnTo>
                  <a:lnTo>
                    <a:pt x="3295893" y="194214"/>
                  </a:lnTo>
                  <a:lnTo>
                    <a:pt x="3297285" y="192036"/>
                  </a:lnTo>
                  <a:lnTo>
                    <a:pt x="3297981" y="191189"/>
                  </a:lnTo>
                  <a:lnTo>
                    <a:pt x="3295773" y="189223"/>
                  </a:lnTo>
                  <a:lnTo>
                    <a:pt x="3293474" y="188739"/>
                  </a:lnTo>
                  <a:lnTo>
                    <a:pt x="3291507" y="187559"/>
                  </a:lnTo>
                  <a:lnTo>
                    <a:pt x="3290358" y="183445"/>
                  </a:lnTo>
                  <a:lnTo>
                    <a:pt x="3290358" y="180178"/>
                  </a:lnTo>
                  <a:lnTo>
                    <a:pt x="3290993" y="177062"/>
                  </a:lnTo>
                  <a:lnTo>
                    <a:pt x="3291779" y="173825"/>
                  </a:lnTo>
                  <a:lnTo>
                    <a:pt x="3292475" y="170134"/>
                  </a:lnTo>
                  <a:lnTo>
                    <a:pt x="3289147" y="164931"/>
                  </a:lnTo>
                  <a:lnTo>
                    <a:pt x="3288300" y="162511"/>
                  </a:lnTo>
                  <a:lnTo>
                    <a:pt x="3289692" y="160605"/>
                  </a:lnTo>
                  <a:lnTo>
                    <a:pt x="3287998" y="159032"/>
                  </a:lnTo>
                  <a:lnTo>
                    <a:pt x="3284186" y="161361"/>
                  </a:lnTo>
                  <a:lnTo>
                    <a:pt x="3282432" y="159667"/>
                  </a:lnTo>
                  <a:lnTo>
                    <a:pt x="3280737" y="157428"/>
                  </a:lnTo>
                  <a:lnTo>
                    <a:pt x="3278681" y="157338"/>
                  </a:lnTo>
                  <a:lnTo>
                    <a:pt x="3271299" y="159274"/>
                  </a:lnTo>
                  <a:close/>
                  <a:moveTo>
                    <a:pt x="3301520" y="145237"/>
                  </a:moveTo>
                  <a:lnTo>
                    <a:pt x="3300946" y="147718"/>
                  </a:lnTo>
                  <a:lnTo>
                    <a:pt x="3300129" y="149019"/>
                  </a:lnTo>
                  <a:lnTo>
                    <a:pt x="3298102" y="150773"/>
                  </a:lnTo>
                  <a:lnTo>
                    <a:pt x="3300461" y="154010"/>
                  </a:lnTo>
                  <a:lnTo>
                    <a:pt x="3300583" y="157186"/>
                  </a:lnTo>
                  <a:lnTo>
                    <a:pt x="3299070" y="160514"/>
                  </a:lnTo>
                  <a:lnTo>
                    <a:pt x="3296680" y="164265"/>
                  </a:lnTo>
                  <a:lnTo>
                    <a:pt x="3301187" y="164265"/>
                  </a:lnTo>
                  <a:lnTo>
                    <a:pt x="3301732" y="165294"/>
                  </a:lnTo>
                  <a:lnTo>
                    <a:pt x="3301913" y="167593"/>
                  </a:lnTo>
                  <a:lnTo>
                    <a:pt x="3302004" y="170225"/>
                  </a:lnTo>
                  <a:lnTo>
                    <a:pt x="3302216" y="172070"/>
                  </a:lnTo>
                  <a:lnTo>
                    <a:pt x="3303487" y="175791"/>
                  </a:lnTo>
                  <a:lnTo>
                    <a:pt x="3306300" y="181751"/>
                  </a:lnTo>
                  <a:lnTo>
                    <a:pt x="3307631" y="185351"/>
                  </a:lnTo>
                  <a:lnTo>
                    <a:pt x="3312986" y="188255"/>
                  </a:lnTo>
                  <a:lnTo>
                    <a:pt x="3319399" y="188527"/>
                  </a:lnTo>
                  <a:lnTo>
                    <a:pt x="3325540" y="185502"/>
                  </a:lnTo>
                  <a:lnTo>
                    <a:pt x="3333920" y="173129"/>
                  </a:lnTo>
                  <a:lnTo>
                    <a:pt x="3342904" y="167321"/>
                  </a:lnTo>
                  <a:lnTo>
                    <a:pt x="3345597" y="158578"/>
                  </a:lnTo>
                  <a:lnTo>
                    <a:pt x="3341059" y="154131"/>
                  </a:lnTo>
                  <a:lnTo>
                    <a:pt x="3339244" y="151348"/>
                  </a:lnTo>
                  <a:lnTo>
                    <a:pt x="3339425" y="147143"/>
                  </a:lnTo>
                  <a:lnTo>
                    <a:pt x="3338699" y="144693"/>
                  </a:lnTo>
                  <a:lnTo>
                    <a:pt x="3337943" y="142605"/>
                  </a:lnTo>
                  <a:lnTo>
                    <a:pt x="3337066" y="140851"/>
                  </a:lnTo>
                  <a:lnTo>
                    <a:pt x="3335977" y="139338"/>
                  </a:lnTo>
                  <a:lnTo>
                    <a:pt x="3330441" y="134286"/>
                  </a:lnTo>
                  <a:lnTo>
                    <a:pt x="3329019" y="133590"/>
                  </a:lnTo>
                  <a:lnTo>
                    <a:pt x="3319338" y="133590"/>
                  </a:lnTo>
                  <a:lnTo>
                    <a:pt x="3318068" y="134165"/>
                  </a:lnTo>
                  <a:lnTo>
                    <a:pt x="3316918" y="135103"/>
                  </a:lnTo>
                  <a:lnTo>
                    <a:pt x="3315739" y="135284"/>
                  </a:lnTo>
                  <a:lnTo>
                    <a:pt x="3314468" y="133590"/>
                  </a:lnTo>
                  <a:lnTo>
                    <a:pt x="3315436" y="133227"/>
                  </a:lnTo>
                  <a:lnTo>
                    <a:pt x="3316071" y="132622"/>
                  </a:lnTo>
                  <a:lnTo>
                    <a:pt x="3316586" y="131533"/>
                  </a:lnTo>
                  <a:lnTo>
                    <a:pt x="3317281" y="129748"/>
                  </a:lnTo>
                  <a:lnTo>
                    <a:pt x="3315980" y="129022"/>
                  </a:lnTo>
                  <a:lnTo>
                    <a:pt x="3315406" y="127722"/>
                  </a:lnTo>
                  <a:lnTo>
                    <a:pt x="3315617" y="125997"/>
                  </a:lnTo>
                  <a:lnTo>
                    <a:pt x="3316616" y="124001"/>
                  </a:lnTo>
                  <a:lnTo>
                    <a:pt x="3314135" y="121853"/>
                  </a:lnTo>
                  <a:lnTo>
                    <a:pt x="3303426" y="122579"/>
                  </a:lnTo>
                  <a:lnTo>
                    <a:pt x="3302276" y="124031"/>
                  </a:lnTo>
                  <a:lnTo>
                    <a:pt x="3300068" y="129748"/>
                  </a:lnTo>
                  <a:lnTo>
                    <a:pt x="3297557" y="133409"/>
                  </a:lnTo>
                  <a:lnTo>
                    <a:pt x="3296438" y="135557"/>
                  </a:lnTo>
                  <a:lnTo>
                    <a:pt x="3295954" y="138400"/>
                  </a:lnTo>
                  <a:lnTo>
                    <a:pt x="3296680" y="140306"/>
                  </a:lnTo>
                  <a:lnTo>
                    <a:pt x="3301460" y="145177"/>
                  </a:lnTo>
                  <a:close/>
                  <a:moveTo>
                    <a:pt x="3132324" y="154827"/>
                  </a:moveTo>
                  <a:lnTo>
                    <a:pt x="3138677" y="154766"/>
                  </a:lnTo>
                  <a:lnTo>
                    <a:pt x="3137195" y="157338"/>
                  </a:lnTo>
                  <a:lnTo>
                    <a:pt x="3133958" y="160847"/>
                  </a:lnTo>
                  <a:lnTo>
                    <a:pt x="3132536" y="164296"/>
                  </a:lnTo>
                  <a:lnTo>
                    <a:pt x="3135500" y="165959"/>
                  </a:lnTo>
                  <a:lnTo>
                    <a:pt x="3138314" y="166201"/>
                  </a:lnTo>
                  <a:lnTo>
                    <a:pt x="3139191" y="165627"/>
                  </a:lnTo>
                  <a:lnTo>
                    <a:pt x="3140643" y="162995"/>
                  </a:lnTo>
                  <a:lnTo>
                    <a:pt x="3141490" y="162390"/>
                  </a:lnTo>
                  <a:lnTo>
                    <a:pt x="3164966" y="160484"/>
                  </a:lnTo>
                  <a:lnTo>
                    <a:pt x="3162666" y="163751"/>
                  </a:lnTo>
                  <a:lnTo>
                    <a:pt x="3155285" y="170013"/>
                  </a:lnTo>
                  <a:lnTo>
                    <a:pt x="3157251" y="171798"/>
                  </a:lnTo>
                  <a:lnTo>
                    <a:pt x="3158038" y="172070"/>
                  </a:lnTo>
                  <a:lnTo>
                    <a:pt x="3156132" y="176215"/>
                  </a:lnTo>
                  <a:lnTo>
                    <a:pt x="3151836" y="179724"/>
                  </a:lnTo>
                  <a:lnTo>
                    <a:pt x="3150082" y="182356"/>
                  </a:lnTo>
                  <a:lnTo>
                    <a:pt x="3147601" y="188829"/>
                  </a:lnTo>
                  <a:lnTo>
                    <a:pt x="3146663" y="192066"/>
                  </a:lnTo>
                  <a:lnTo>
                    <a:pt x="3145574" y="196725"/>
                  </a:lnTo>
                  <a:lnTo>
                    <a:pt x="3146966" y="199659"/>
                  </a:lnTo>
                  <a:lnTo>
                    <a:pt x="3150173" y="199417"/>
                  </a:lnTo>
                  <a:lnTo>
                    <a:pt x="3153681" y="197330"/>
                  </a:lnTo>
                  <a:lnTo>
                    <a:pt x="3155860" y="194850"/>
                  </a:lnTo>
                  <a:lnTo>
                    <a:pt x="3158371" y="183929"/>
                  </a:lnTo>
                  <a:lnTo>
                    <a:pt x="3160125" y="180450"/>
                  </a:lnTo>
                  <a:lnTo>
                    <a:pt x="3162848" y="183324"/>
                  </a:lnTo>
                  <a:lnTo>
                    <a:pt x="3160821" y="187982"/>
                  </a:lnTo>
                  <a:lnTo>
                    <a:pt x="3162454" y="191068"/>
                  </a:lnTo>
                  <a:lnTo>
                    <a:pt x="3165812" y="192218"/>
                  </a:lnTo>
                  <a:lnTo>
                    <a:pt x="3168959" y="191068"/>
                  </a:lnTo>
                  <a:lnTo>
                    <a:pt x="3171469" y="188103"/>
                  </a:lnTo>
                  <a:lnTo>
                    <a:pt x="3172316" y="187922"/>
                  </a:lnTo>
                  <a:lnTo>
                    <a:pt x="3173829" y="188981"/>
                  </a:lnTo>
                  <a:lnTo>
                    <a:pt x="3174646" y="190282"/>
                  </a:lnTo>
                  <a:lnTo>
                    <a:pt x="3176552" y="192611"/>
                  </a:lnTo>
                  <a:lnTo>
                    <a:pt x="3178488" y="193367"/>
                  </a:lnTo>
                  <a:lnTo>
                    <a:pt x="3179395" y="189979"/>
                  </a:lnTo>
                  <a:lnTo>
                    <a:pt x="3180605" y="183082"/>
                  </a:lnTo>
                  <a:lnTo>
                    <a:pt x="3183358" y="184231"/>
                  </a:lnTo>
                  <a:lnTo>
                    <a:pt x="3188320" y="191038"/>
                  </a:lnTo>
                  <a:lnTo>
                    <a:pt x="3188924" y="190584"/>
                  </a:lnTo>
                  <a:lnTo>
                    <a:pt x="3189620" y="189434"/>
                  </a:lnTo>
                  <a:lnTo>
                    <a:pt x="3190195" y="187861"/>
                  </a:lnTo>
                  <a:lnTo>
                    <a:pt x="3190679" y="183989"/>
                  </a:lnTo>
                  <a:lnTo>
                    <a:pt x="3191254" y="183898"/>
                  </a:lnTo>
                  <a:lnTo>
                    <a:pt x="3192010" y="184776"/>
                  </a:lnTo>
                  <a:lnTo>
                    <a:pt x="3192706" y="185320"/>
                  </a:lnTo>
                  <a:lnTo>
                    <a:pt x="3193886" y="185230"/>
                  </a:lnTo>
                  <a:lnTo>
                    <a:pt x="3194914" y="184625"/>
                  </a:lnTo>
                  <a:lnTo>
                    <a:pt x="3195307" y="182870"/>
                  </a:lnTo>
                  <a:lnTo>
                    <a:pt x="3194430" y="179482"/>
                  </a:lnTo>
                  <a:lnTo>
                    <a:pt x="3195187" y="177576"/>
                  </a:lnTo>
                  <a:lnTo>
                    <a:pt x="3196124" y="174097"/>
                  </a:lnTo>
                  <a:lnTo>
                    <a:pt x="3200723" y="174248"/>
                  </a:lnTo>
                  <a:lnTo>
                    <a:pt x="3209677" y="177576"/>
                  </a:lnTo>
                  <a:lnTo>
                    <a:pt x="3208527" y="180873"/>
                  </a:lnTo>
                  <a:lnTo>
                    <a:pt x="3208346" y="183324"/>
                  </a:lnTo>
                  <a:lnTo>
                    <a:pt x="3209102" y="184806"/>
                  </a:lnTo>
                  <a:lnTo>
                    <a:pt x="3210706" y="185320"/>
                  </a:lnTo>
                  <a:lnTo>
                    <a:pt x="3211825" y="184110"/>
                  </a:lnTo>
                  <a:lnTo>
                    <a:pt x="3214033" y="178786"/>
                  </a:lnTo>
                  <a:lnTo>
                    <a:pt x="3215183" y="177576"/>
                  </a:lnTo>
                  <a:lnTo>
                    <a:pt x="3216242" y="178241"/>
                  </a:lnTo>
                  <a:lnTo>
                    <a:pt x="3218964" y="180994"/>
                  </a:lnTo>
                  <a:lnTo>
                    <a:pt x="3220719" y="181357"/>
                  </a:lnTo>
                  <a:lnTo>
                    <a:pt x="3222080" y="180843"/>
                  </a:lnTo>
                  <a:lnTo>
                    <a:pt x="3223290" y="179784"/>
                  </a:lnTo>
                  <a:lnTo>
                    <a:pt x="3224440" y="178120"/>
                  </a:lnTo>
                  <a:lnTo>
                    <a:pt x="3225529" y="175700"/>
                  </a:lnTo>
                  <a:lnTo>
                    <a:pt x="3219962" y="172070"/>
                  </a:lnTo>
                  <a:lnTo>
                    <a:pt x="3219962" y="170013"/>
                  </a:lnTo>
                  <a:lnTo>
                    <a:pt x="3222473" y="170195"/>
                  </a:lnTo>
                  <a:lnTo>
                    <a:pt x="3227193" y="173492"/>
                  </a:lnTo>
                  <a:lnTo>
                    <a:pt x="3229613" y="173794"/>
                  </a:lnTo>
                  <a:lnTo>
                    <a:pt x="3231700" y="171737"/>
                  </a:lnTo>
                  <a:lnTo>
                    <a:pt x="3232728" y="168289"/>
                  </a:lnTo>
                  <a:lnTo>
                    <a:pt x="3232396" y="165233"/>
                  </a:lnTo>
                  <a:lnTo>
                    <a:pt x="3230369" y="164296"/>
                  </a:lnTo>
                  <a:lnTo>
                    <a:pt x="3233757" y="163055"/>
                  </a:lnTo>
                  <a:lnTo>
                    <a:pt x="3237448" y="166564"/>
                  </a:lnTo>
                  <a:lnTo>
                    <a:pt x="3240836" y="167986"/>
                  </a:lnTo>
                  <a:lnTo>
                    <a:pt x="3243377" y="160484"/>
                  </a:lnTo>
                  <a:lnTo>
                    <a:pt x="3237871" y="156854"/>
                  </a:lnTo>
                  <a:lnTo>
                    <a:pt x="3239838" y="155825"/>
                  </a:lnTo>
                  <a:lnTo>
                    <a:pt x="3244013" y="157459"/>
                  </a:lnTo>
                  <a:lnTo>
                    <a:pt x="3246130" y="156854"/>
                  </a:lnTo>
                  <a:lnTo>
                    <a:pt x="3247189" y="155160"/>
                  </a:lnTo>
                  <a:lnTo>
                    <a:pt x="3249004" y="150501"/>
                  </a:lnTo>
                  <a:lnTo>
                    <a:pt x="3250274" y="149049"/>
                  </a:lnTo>
                  <a:lnTo>
                    <a:pt x="3247521" y="148565"/>
                  </a:lnTo>
                  <a:lnTo>
                    <a:pt x="3246281" y="147688"/>
                  </a:lnTo>
                  <a:lnTo>
                    <a:pt x="3245465" y="145237"/>
                  </a:lnTo>
                  <a:lnTo>
                    <a:pt x="3246130" y="144693"/>
                  </a:lnTo>
                  <a:lnTo>
                    <a:pt x="3246795" y="143725"/>
                  </a:lnTo>
                  <a:lnTo>
                    <a:pt x="3247340" y="142333"/>
                  </a:lnTo>
                  <a:lnTo>
                    <a:pt x="3247884" y="137856"/>
                  </a:lnTo>
                  <a:lnTo>
                    <a:pt x="3248701" y="137735"/>
                  </a:lnTo>
                  <a:lnTo>
                    <a:pt x="3250274" y="139308"/>
                  </a:lnTo>
                  <a:lnTo>
                    <a:pt x="3259259" y="141395"/>
                  </a:lnTo>
                  <a:lnTo>
                    <a:pt x="3258715" y="140609"/>
                  </a:lnTo>
                  <a:lnTo>
                    <a:pt x="3257202" y="137584"/>
                  </a:lnTo>
                  <a:lnTo>
                    <a:pt x="3260227" y="135647"/>
                  </a:lnTo>
                  <a:lnTo>
                    <a:pt x="3261830" y="133318"/>
                  </a:lnTo>
                  <a:lnTo>
                    <a:pt x="3262768" y="133379"/>
                  </a:lnTo>
                  <a:lnTo>
                    <a:pt x="3263555" y="133802"/>
                  </a:lnTo>
                  <a:lnTo>
                    <a:pt x="3264039" y="133621"/>
                  </a:lnTo>
                  <a:lnTo>
                    <a:pt x="3264553" y="130807"/>
                  </a:lnTo>
                  <a:lnTo>
                    <a:pt x="3264795" y="124485"/>
                  </a:lnTo>
                  <a:lnTo>
                    <a:pt x="3265430" y="122095"/>
                  </a:lnTo>
                  <a:lnTo>
                    <a:pt x="3267004" y="121339"/>
                  </a:lnTo>
                  <a:lnTo>
                    <a:pt x="3270634" y="124061"/>
                  </a:lnTo>
                  <a:lnTo>
                    <a:pt x="3272328" y="124001"/>
                  </a:lnTo>
                  <a:lnTo>
                    <a:pt x="3272812" y="122942"/>
                  </a:lnTo>
                  <a:lnTo>
                    <a:pt x="3273235" y="119584"/>
                  </a:lnTo>
                  <a:lnTo>
                    <a:pt x="3273719" y="118253"/>
                  </a:lnTo>
                  <a:lnTo>
                    <a:pt x="3274687" y="117527"/>
                  </a:lnTo>
                  <a:lnTo>
                    <a:pt x="3276835" y="117255"/>
                  </a:lnTo>
                  <a:lnTo>
                    <a:pt x="3277924" y="116317"/>
                  </a:lnTo>
                  <a:lnTo>
                    <a:pt x="3274234" y="115470"/>
                  </a:lnTo>
                  <a:lnTo>
                    <a:pt x="3272418" y="114381"/>
                  </a:lnTo>
                  <a:lnTo>
                    <a:pt x="3270936" y="112475"/>
                  </a:lnTo>
                  <a:lnTo>
                    <a:pt x="3273417" y="110387"/>
                  </a:lnTo>
                  <a:lnTo>
                    <a:pt x="3278257" y="110690"/>
                  </a:lnTo>
                  <a:lnTo>
                    <a:pt x="3280647" y="108451"/>
                  </a:lnTo>
                  <a:lnTo>
                    <a:pt x="3279013" y="107907"/>
                  </a:lnTo>
                  <a:lnTo>
                    <a:pt x="3277712" y="106757"/>
                  </a:lnTo>
                  <a:lnTo>
                    <a:pt x="3276835" y="104337"/>
                  </a:lnTo>
                  <a:lnTo>
                    <a:pt x="3276503" y="99981"/>
                  </a:lnTo>
                  <a:lnTo>
                    <a:pt x="3275686" y="99981"/>
                  </a:lnTo>
                  <a:lnTo>
                    <a:pt x="3271813" y="96109"/>
                  </a:lnTo>
                  <a:lnTo>
                    <a:pt x="3270634" y="94233"/>
                  </a:lnTo>
                  <a:lnTo>
                    <a:pt x="3269393" y="91511"/>
                  </a:lnTo>
                  <a:lnTo>
                    <a:pt x="3267971" y="90059"/>
                  </a:lnTo>
                  <a:lnTo>
                    <a:pt x="3266398" y="89514"/>
                  </a:lnTo>
                  <a:lnTo>
                    <a:pt x="3264765" y="89423"/>
                  </a:lnTo>
                  <a:lnTo>
                    <a:pt x="3263434" y="90754"/>
                  </a:lnTo>
                  <a:lnTo>
                    <a:pt x="3263646" y="93840"/>
                  </a:lnTo>
                  <a:lnTo>
                    <a:pt x="3264372" y="97379"/>
                  </a:lnTo>
                  <a:lnTo>
                    <a:pt x="3264432" y="100011"/>
                  </a:lnTo>
                  <a:lnTo>
                    <a:pt x="3264220" y="102915"/>
                  </a:lnTo>
                  <a:lnTo>
                    <a:pt x="3266187" y="108542"/>
                  </a:lnTo>
                  <a:lnTo>
                    <a:pt x="3266187" y="112475"/>
                  </a:lnTo>
                  <a:lnTo>
                    <a:pt x="3265037" y="113957"/>
                  </a:lnTo>
                  <a:lnTo>
                    <a:pt x="3260772" y="114895"/>
                  </a:lnTo>
                  <a:lnTo>
                    <a:pt x="3259259" y="114592"/>
                  </a:lnTo>
                  <a:lnTo>
                    <a:pt x="3256385" y="111779"/>
                  </a:lnTo>
                  <a:lnTo>
                    <a:pt x="3251061" y="103702"/>
                  </a:lnTo>
                  <a:lnTo>
                    <a:pt x="3248217" y="100979"/>
                  </a:lnTo>
                  <a:lnTo>
                    <a:pt x="3248217" y="103067"/>
                  </a:lnTo>
                  <a:lnTo>
                    <a:pt x="3250063" y="105154"/>
                  </a:lnTo>
                  <a:lnTo>
                    <a:pt x="3250819" y="107514"/>
                  </a:lnTo>
                  <a:lnTo>
                    <a:pt x="3250274" y="109540"/>
                  </a:lnTo>
                  <a:lnTo>
                    <a:pt x="3248217" y="110569"/>
                  </a:lnTo>
                  <a:lnTo>
                    <a:pt x="3245797" y="109359"/>
                  </a:lnTo>
                  <a:lnTo>
                    <a:pt x="3241260" y="104277"/>
                  </a:lnTo>
                  <a:lnTo>
                    <a:pt x="3238628" y="104609"/>
                  </a:lnTo>
                  <a:lnTo>
                    <a:pt x="3239354" y="106304"/>
                  </a:lnTo>
                  <a:lnTo>
                    <a:pt x="3240171" y="107514"/>
                  </a:lnTo>
                  <a:lnTo>
                    <a:pt x="3241048" y="108209"/>
                  </a:lnTo>
                  <a:lnTo>
                    <a:pt x="3242046" y="108421"/>
                  </a:lnTo>
                  <a:lnTo>
                    <a:pt x="3236813" y="108875"/>
                  </a:lnTo>
                  <a:lnTo>
                    <a:pt x="3234937" y="110660"/>
                  </a:lnTo>
                  <a:lnTo>
                    <a:pt x="3237236" y="115409"/>
                  </a:lnTo>
                  <a:lnTo>
                    <a:pt x="3239111" y="117134"/>
                  </a:lnTo>
                  <a:lnTo>
                    <a:pt x="3244859" y="119917"/>
                  </a:lnTo>
                  <a:lnTo>
                    <a:pt x="3245102" y="120764"/>
                  </a:lnTo>
                  <a:lnTo>
                    <a:pt x="3245222" y="122125"/>
                  </a:lnTo>
                  <a:lnTo>
                    <a:pt x="3245555" y="123365"/>
                  </a:lnTo>
                  <a:lnTo>
                    <a:pt x="3246523" y="123910"/>
                  </a:lnTo>
                  <a:lnTo>
                    <a:pt x="3248459" y="124091"/>
                  </a:lnTo>
                  <a:lnTo>
                    <a:pt x="3249367" y="124696"/>
                  </a:lnTo>
                  <a:lnTo>
                    <a:pt x="3250274" y="125997"/>
                  </a:lnTo>
                  <a:lnTo>
                    <a:pt x="3248550" y="127601"/>
                  </a:lnTo>
                  <a:lnTo>
                    <a:pt x="3242107" y="125997"/>
                  </a:lnTo>
                  <a:lnTo>
                    <a:pt x="3241260" y="127086"/>
                  </a:lnTo>
                  <a:lnTo>
                    <a:pt x="3241834" y="129537"/>
                  </a:lnTo>
                  <a:lnTo>
                    <a:pt x="3243014" y="132108"/>
                  </a:lnTo>
                  <a:lnTo>
                    <a:pt x="3244042" y="133439"/>
                  </a:lnTo>
                  <a:lnTo>
                    <a:pt x="3241562" y="133227"/>
                  </a:lnTo>
                  <a:lnTo>
                    <a:pt x="3236843" y="129779"/>
                  </a:lnTo>
                  <a:lnTo>
                    <a:pt x="3234423" y="129627"/>
                  </a:lnTo>
                  <a:lnTo>
                    <a:pt x="3235149" y="135708"/>
                  </a:lnTo>
                  <a:lnTo>
                    <a:pt x="3233878" y="138310"/>
                  </a:lnTo>
                  <a:lnTo>
                    <a:pt x="3231639" y="139489"/>
                  </a:lnTo>
                  <a:lnTo>
                    <a:pt x="3229552" y="141274"/>
                  </a:lnTo>
                  <a:lnTo>
                    <a:pt x="3230944" y="145116"/>
                  </a:lnTo>
                  <a:lnTo>
                    <a:pt x="3228766" y="146961"/>
                  </a:lnTo>
                  <a:lnTo>
                    <a:pt x="3226194" y="144390"/>
                  </a:lnTo>
                  <a:lnTo>
                    <a:pt x="3223623" y="140246"/>
                  </a:lnTo>
                  <a:lnTo>
                    <a:pt x="3221324" y="137432"/>
                  </a:lnTo>
                  <a:lnTo>
                    <a:pt x="3224016" y="134044"/>
                  </a:lnTo>
                  <a:lnTo>
                    <a:pt x="3224984" y="131412"/>
                  </a:lnTo>
                  <a:lnTo>
                    <a:pt x="3224228" y="129113"/>
                  </a:lnTo>
                  <a:lnTo>
                    <a:pt x="3222413" y="128296"/>
                  </a:lnTo>
                  <a:lnTo>
                    <a:pt x="3219055" y="129658"/>
                  </a:lnTo>
                  <a:lnTo>
                    <a:pt x="3217209" y="129597"/>
                  </a:lnTo>
                  <a:lnTo>
                    <a:pt x="3217209" y="127691"/>
                  </a:lnTo>
                  <a:lnTo>
                    <a:pt x="3218541" y="127691"/>
                  </a:lnTo>
                  <a:lnTo>
                    <a:pt x="3216937" y="124333"/>
                  </a:lnTo>
                  <a:lnTo>
                    <a:pt x="3212884" y="123638"/>
                  </a:lnTo>
                  <a:lnTo>
                    <a:pt x="3211008" y="121944"/>
                  </a:lnTo>
                  <a:lnTo>
                    <a:pt x="3211492" y="121036"/>
                  </a:lnTo>
                  <a:lnTo>
                    <a:pt x="3212400" y="118132"/>
                  </a:lnTo>
                  <a:lnTo>
                    <a:pt x="3207196" y="121550"/>
                  </a:lnTo>
                  <a:lnTo>
                    <a:pt x="3204080" y="122488"/>
                  </a:lnTo>
                  <a:lnTo>
                    <a:pt x="3203808" y="123880"/>
                  </a:lnTo>
                  <a:lnTo>
                    <a:pt x="3204232" y="125725"/>
                  </a:lnTo>
                  <a:lnTo>
                    <a:pt x="3204837" y="127722"/>
                  </a:lnTo>
                  <a:lnTo>
                    <a:pt x="3207136" y="132199"/>
                  </a:lnTo>
                  <a:lnTo>
                    <a:pt x="3209616" y="134891"/>
                  </a:lnTo>
                  <a:lnTo>
                    <a:pt x="3211099" y="137886"/>
                  </a:lnTo>
                  <a:lnTo>
                    <a:pt x="3210373" y="143180"/>
                  </a:lnTo>
                  <a:lnTo>
                    <a:pt x="3212641" y="146356"/>
                  </a:lnTo>
                  <a:lnTo>
                    <a:pt x="3214487" y="150622"/>
                  </a:lnTo>
                  <a:lnTo>
                    <a:pt x="3209223" y="149987"/>
                  </a:lnTo>
                  <a:lnTo>
                    <a:pt x="3206621" y="150773"/>
                  </a:lnTo>
                  <a:lnTo>
                    <a:pt x="3205472" y="153647"/>
                  </a:lnTo>
                  <a:lnTo>
                    <a:pt x="3205381" y="157065"/>
                  </a:lnTo>
                  <a:lnTo>
                    <a:pt x="3205018" y="160907"/>
                  </a:lnTo>
                  <a:lnTo>
                    <a:pt x="3204292" y="163025"/>
                  </a:lnTo>
                  <a:lnTo>
                    <a:pt x="3203113" y="161301"/>
                  </a:lnTo>
                  <a:lnTo>
                    <a:pt x="3202628" y="157822"/>
                  </a:lnTo>
                  <a:lnTo>
                    <a:pt x="3202507" y="153617"/>
                  </a:lnTo>
                  <a:lnTo>
                    <a:pt x="3202084" y="149684"/>
                  </a:lnTo>
                  <a:lnTo>
                    <a:pt x="3200692" y="147052"/>
                  </a:lnTo>
                  <a:lnTo>
                    <a:pt x="3198817" y="147899"/>
                  </a:lnTo>
                  <a:lnTo>
                    <a:pt x="3196941" y="151287"/>
                  </a:lnTo>
                  <a:lnTo>
                    <a:pt x="3194854" y="154010"/>
                  </a:lnTo>
                  <a:lnTo>
                    <a:pt x="3192403" y="152740"/>
                  </a:lnTo>
                  <a:lnTo>
                    <a:pt x="3191254" y="149382"/>
                  </a:lnTo>
                  <a:lnTo>
                    <a:pt x="3192252" y="147203"/>
                  </a:lnTo>
                  <a:lnTo>
                    <a:pt x="3195913" y="144178"/>
                  </a:lnTo>
                  <a:lnTo>
                    <a:pt x="3197456" y="141244"/>
                  </a:lnTo>
                  <a:lnTo>
                    <a:pt x="3196971" y="139580"/>
                  </a:lnTo>
                  <a:lnTo>
                    <a:pt x="3188501" y="132532"/>
                  </a:lnTo>
                  <a:lnTo>
                    <a:pt x="3185839" y="131261"/>
                  </a:lnTo>
                  <a:lnTo>
                    <a:pt x="3183479" y="131806"/>
                  </a:lnTo>
                  <a:lnTo>
                    <a:pt x="3181846" y="133893"/>
                  </a:lnTo>
                  <a:lnTo>
                    <a:pt x="3181180" y="136494"/>
                  </a:lnTo>
                  <a:lnTo>
                    <a:pt x="3181483" y="139126"/>
                  </a:lnTo>
                  <a:lnTo>
                    <a:pt x="3182844" y="141335"/>
                  </a:lnTo>
                  <a:lnTo>
                    <a:pt x="3180968" y="142938"/>
                  </a:lnTo>
                  <a:lnTo>
                    <a:pt x="3178699" y="142696"/>
                  </a:lnTo>
                  <a:lnTo>
                    <a:pt x="3176521" y="141032"/>
                  </a:lnTo>
                  <a:lnTo>
                    <a:pt x="3174888" y="138370"/>
                  </a:lnTo>
                  <a:lnTo>
                    <a:pt x="3173738" y="135315"/>
                  </a:lnTo>
                  <a:lnTo>
                    <a:pt x="3173073" y="133923"/>
                  </a:lnTo>
                  <a:lnTo>
                    <a:pt x="3172105" y="133500"/>
                  </a:lnTo>
                  <a:lnTo>
                    <a:pt x="3170048" y="133500"/>
                  </a:lnTo>
                  <a:lnTo>
                    <a:pt x="3168989" y="136646"/>
                  </a:lnTo>
                  <a:lnTo>
                    <a:pt x="3169987" y="143634"/>
                  </a:lnTo>
                  <a:lnTo>
                    <a:pt x="3171802" y="150864"/>
                  </a:lnTo>
                  <a:lnTo>
                    <a:pt x="3173133" y="154706"/>
                  </a:lnTo>
                  <a:lnTo>
                    <a:pt x="3173133" y="156793"/>
                  </a:lnTo>
                  <a:lnTo>
                    <a:pt x="3163604" y="146992"/>
                  </a:lnTo>
                  <a:lnTo>
                    <a:pt x="3158098" y="143150"/>
                  </a:lnTo>
                  <a:lnTo>
                    <a:pt x="3154468" y="143241"/>
                  </a:lnTo>
                  <a:lnTo>
                    <a:pt x="3155950" y="144995"/>
                  </a:lnTo>
                  <a:lnTo>
                    <a:pt x="3156616" y="147506"/>
                  </a:lnTo>
                  <a:lnTo>
                    <a:pt x="3156525" y="150289"/>
                  </a:lnTo>
                  <a:lnTo>
                    <a:pt x="3155799" y="152770"/>
                  </a:lnTo>
                  <a:lnTo>
                    <a:pt x="3153621" y="155190"/>
                  </a:lnTo>
                  <a:lnTo>
                    <a:pt x="3150989" y="155190"/>
                  </a:lnTo>
                  <a:lnTo>
                    <a:pt x="3135773" y="147385"/>
                  </a:lnTo>
                  <a:lnTo>
                    <a:pt x="3129964" y="146629"/>
                  </a:lnTo>
                  <a:lnTo>
                    <a:pt x="3126334" y="150713"/>
                  </a:lnTo>
                  <a:lnTo>
                    <a:pt x="3129027" y="153617"/>
                  </a:lnTo>
                  <a:lnTo>
                    <a:pt x="3132233" y="154736"/>
                  </a:lnTo>
                  <a:close/>
                  <a:moveTo>
                    <a:pt x="3326871" y="57962"/>
                  </a:moveTo>
                  <a:lnTo>
                    <a:pt x="3333405" y="56419"/>
                  </a:lnTo>
                  <a:lnTo>
                    <a:pt x="3336612" y="58355"/>
                  </a:lnTo>
                  <a:lnTo>
                    <a:pt x="3333557" y="61138"/>
                  </a:lnTo>
                  <a:lnTo>
                    <a:pt x="3326690" y="61834"/>
                  </a:lnTo>
                  <a:lnTo>
                    <a:pt x="3323574" y="64163"/>
                  </a:lnTo>
                  <a:lnTo>
                    <a:pt x="3331348" y="68005"/>
                  </a:lnTo>
                  <a:lnTo>
                    <a:pt x="3332588" y="71030"/>
                  </a:lnTo>
                  <a:lnTo>
                    <a:pt x="3333284" y="73511"/>
                  </a:lnTo>
                  <a:lnTo>
                    <a:pt x="3335039" y="75175"/>
                  </a:lnTo>
                  <a:lnTo>
                    <a:pt x="3337066" y="75961"/>
                  </a:lnTo>
                  <a:lnTo>
                    <a:pt x="3340726" y="75840"/>
                  </a:lnTo>
                  <a:lnTo>
                    <a:pt x="3341785" y="73995"/>
                  </a:lnTo>
                  <a:lnTo>
                    <a:pt x="3342511" y="71635"/>
                  </a:lnTo>
                  <a:lnTo>
                    <a:pt x="3343570" y="69972"/>
                  </a:lnTo>
                  <a:lnTo>
                    <a:pt x="3345415" y="70062"/>
                  </a:lnTo>
                  <a:lnTo>
                    <a:pt x="3347140" y="71424"/>
                  </a:lnTo>
                  <a:lnTo>
                    <a:pt x="3348803" y="72059"/>
                  </a:lnTo>
                  <a:lnTo>
                    <a:pt x="3350497" y="70002"/>
                  </a:lnTo>
                  <a:lnTo>
                    <a:pt x="3349741" y="68066"/>
                  </a:lnTo>
                  <a:lnTo>
                    <a:pt x="3351193" y="68429"/>
                  </a:lnTo>
                  <a:lnTo>
                    <a:pt x="3352827" y="68217"/>
                  </a:lnTo>
                  <a:lnTo>
                    <a:pt x="3353916" y="66977"/>
                  </a:lnTo>
                  <a:lnTo>
                    <a:pt x="3353916" y="64194"/>
                  </a:lnTo>
                  <a:lnTo>
                    <a:pt x="3357365" y="64194"/>
                  </a:lnTo>
                  <a:lnTo>
                    <a:pt x="3353855" y="61017"/>
                  </a:lnTo>
                  <a:lnTo>
                    <a:pt x="3340061" y="62257"/>
                  </a:lnTo>
                  <a:lnTo>
                    <a:pt x="3341513" y="60503"/>
                  </a:lnTo>
                  <a:lnTo>
                    <a:pt x="3341180" y="59172"/>
                  </a:lnTo>
                  <a:lnTo>
                    <a:pt x="3340998" y="58143"/>
                  </a:lnTo>
                  <a:lnTo>
                    <a:pt x="3340726" y="57266"/>
                  </a:lnTo>
                  <a:lnTo>
                    <a:pt x="3340061" y="56449"/>
                  </a:lnTo>
                  <a:lnTo>
                    <a:pt x="3343449" y="53394"/>
                  </a:lnTo>
                  <a:lnTo>
                    <a:pt x="3351617" y="54695"/>
                  </a:lnTo>
                  <a:lnTo>
                    <a:pt x="3355307" y="52577"/>
                  </a:lnTo>
                  <a:lnTo>
                    <a:pt x="3351586" y="50217"/>
                  </a:lnTo>
                  <a:lnTo>
                    <a:pt x="3343691" y="51034"/>
                  </a:lnTo>
                  <a:lnTo>
                    <a:pt x="3340061" y="48493"/>
                  </a:lnTo>
                  <a:lnTo>
                    <a:pt x="3340635" y="47525"/>
                  </a:lnTo>
                  <a:lnTo>
                    <a:pt x="3341513" y="44772"/>
                  </a:lnTo>
                  <a:lnTo>
                    <a:pt x="3328717" y="43502"/>
                  </a:lnTo>
                  <a:lnTo>
                    <a:pt x="3324965" y="46738"/>
                  </a:lnTo>
                  <a:lnTo>
                    <a:pt x="3325933" y="47283"/>
                  </a:lnTo>
                  <a:lnTo>
                    <a:pt x="3326659" y="48281"/>
                  </a:lnTo>
                  <a:lnTo>
                    <a:pt x="3327718" y="50429"/>
                  </a:lnTo>
                  <a:lnTo>
                    <a:pt x="3322182" y="50974"/>
                  </a:lnTo>
                  <a:lnTo>
                    <a:pt x="3321244" y="52698"/>
                  </a:lnTo>
                  <a:lnTo>
                    <a:pt x="3323604" y="56419"/>
                  </a:lnTo>
                  <a:lnTo>
                    <a:pt x="3326901" y="57962"/>
                  </a:lnTo>
                  <a:close/>
                  <a:moveTo>
                    <a:pt x="3400200" y="39387"/>
                  </a:moveTo>
                  <a:lnTo>
                    <a:pt x="3401895" y="40749"/>
                  </a:lnTo>
                  <a:lnTo>
                    <a:pt x="3403619" y="42655"/>
                  </a:lnTo>
                  <a:lnTo>
                    <a:pt x="3405343" y="44046"/>
                  </a:lnTo>
                  <a:lnTo>
                    <a:pt x="3408762" y="44379"/>
                  </a:lnTo>
                  <a:lnTo>
                    <a:pt x="3410183" y="44137"/>
                  </a:lnTo>
                  <a:lnTo>
                    <a:pt x="3412089" y="38208"/>
                  </a:lnTo>
                  <a:lnTo>
                    <a:pt x="3412089" y="36513"/>
                  </a:lnTo>
                  <a:lnTo>
                    <a:pt x="3410819" y="34759"/>
                  </a:lnTo>
                  <a:lnTo>
                    <a:pt x="3411938" y="32309"/>
                  </a:lnTo>
                  <a:lnTo>
                    <a:pt x="3415054" y="30614"/>
                  </a:lnTo>
                  <a:lnTo>
                    <a:pt x="3415780" y="29737"/>
                  </a:lnTo>
                  <a:lnTo>
                    <a:pt x="3414419" y="28860"/>
                  </a:lnTo>
                  <a:lnTo>
                    <a:pt x="3414873" y="27136"/>
                  </a:lnTo>
                  <a:lnTo>
                    <a:pt x="3416899" y="24594"/>
                  </a:lnTo>
                  <a:lnTo>
                    <a:pt x="3416899" y="23263"/>
                  </a:lnTo>
                  <a:lnTo>
                    <a:pt x="3414903" y="23475"/>
                  </a:lnTo>
                  <a:lnTo>
                    <a:pt x="3413904" y="23868"/>
                  </a:lnTo>
                  <a:lnTo>
                    <a:pt x="3412029" y="25139"/>
                  </a:lnTo>
                  <a:lnTo>
                    <a:pt x="3411121" y="24957"/>
                  </a:lnTo>
                  <a:lnTo>
                    <a:pt x="3410486" y="24322"/>
                  </a:lnTo>
                  <a:lnTo>
                    <a:pt x="3409972" y="23354"/>
                  </a:lnTo>
                  <a:lnTo>
                    <a:pt x="3409609" y="21811"/>
                  </a:lnTo>
                  <a:lnTo>
                    <a:pt x="3407673" y="20631"/>
                  </a:lnTo>
                  <a:lnTo>
                    <a:pt x="3404436" y="20994"/>
                  </a:lnTo>
                  <a:lnTo>
                    <a:pt x="3404103" y="23808"/>
                  </a:lnTo>
                  <a:lnTo>
                    <a:pt x="3406281" y="27831"/>
                  </a:lnTo>
                  <a:lnTo>
                    <a:pt x="3407067" y="30796"/>
                  </a:lnTo>
                  <a:lnTo>
                    <a:pt x="3406432" y="32157"/>
                  </a:lnTo>
                  <a:lnTo>
                    <a:pt x="3405222" y="32369"/>
                  </a:lnTo>
                  <a:lnTo>
                    <a:pt x="3403619" y="32036"/>
                  </a:lnTo>
                  <a:lnTo>
                    <a:pt x="3403347" y="31098"/>
                  </a:lnTo>
                  <a:lnTo>
                    <a:pt x="3403679" y="29314"/>
                  </a:lnTo>
                  <a:lnTo>
                    <a:pt x="3402469" y="27438"/>
                  </a:lnTo>
                  <a:lnTo>
                    <a:pt x="3400291" y="26591"/>
                  </a:lnTo>
                  <a:lnTo>
                    <a:pt x="3397750" y="28134"/>
                  </a:lnTo>
                  <a:lnTo>
                    <a:pt x="3394997" y="31946"/>
                  </a:lnTo>
                  <a:lnTo>
                    <a:pt x="3394513" y="35545"/>
                  </a:lnTo>
                  <a:lnTo>
                    <a:pt x="3396510" y="37784"/>
                  </a:lnTo>
                  <a:lnTo>
                    <a:pt x="3400200" y="39448"/>
                  </a:lnTo>
                  <a:close/>
                  <a:moveTo>
                    <a:pt x="4043800" y="247003"/>
                  </a:moveTo>
                  <a:lnTo>
                    <a:pt x="4042196" y="244734"/>
                  </a:lnTo>
                  <a:lnTo>
                    <a:pt x="4040533" y="243040"/>
                  </a:lnTo>
                  <a:lnTo>
                    <a:pt x="4039322" y="240257"/>
                  </a:lnTo>
                  <a:lnTo>
                    <a:pt x="4039080" y="236203"/>
                  </a:lnTo>
                  <a:lnTo>
                    <a:pt x="4040200" y="233753"/>
                  </a:lnTo>
                  <a:lnTo>
                    <a:pt x="4041924" y="231696"/>
                  </a:lnTo>
                  <a:lnTo>
                    <a:pt x="4043498" y="228792"/>
                  </a:lnTo>
                  <a:lnTo>
                    <a:pt x="4037689" y="217145"/>
                  </a:lnTo>
                  <a:lnTo>
                    <a:pt x="4035935" y="215632"/>
                  </a:lnTo>
                  <a:lnTo>
                    <a:pt x="4034483" y="213787"/>
                  </a:lnTo>
                  <a:lnTo>
                    <a:pt x="4031820" y="205831"/>
                  </a:lnTo>
                  <a:lnTo>
                    <a:pt x="4029733" y="204137"/>
                  </a:lnTo>
                  <a:lnTo>
                    <a:pt x="4020809" y="210883"/>
                  </a:lnTo>
                  <a:lnTo>
                    <a:pt x="4019447" y="212789"/>
                  </a:lnTo>
                  <a:lnTo>
                    <a:pt x="4018298" y="215572"/>
                  </a:lnTo>
                  <a:lnTo>
                    <a:pt x="4015696" y="213938"/>
                  </a:lnTo>
                  <a:lnTo>
                    <a:pt x="4011128" y="208100"/>
                  </a:lnTo>
                  <a:lnTo>
                    <a:pt x="4010191" y="200809"/>
                  </a:lnTo>
                  <a:lnTo>
                    <a:pt x="3993128" y="187105"/>
                  </a:lnTo>
                  <a:lnTo>
                    <a:pt x="3996819" y="183747"/>
                  </a:lnTo>
                  <a:lnTo>
                    <a:pt x="3995065" y="180299"/>
                  </a:lnTo>
                  <a:lnTo>
                    <a:pt x="3986987" y="175761"/>
                  </a:lnTo>
                  <a:lnTo>
                    <a:pt x="3982419" y="175005"/>
                  </a:lnTo>
                  <a:lnTo>
                    <a:pt x="3952925" y="185169"/>
                  </a:lnTo>
                  <a:lnTo>
                    <a:pt x="3936589" y="181418"/>
                  </a:lnTo>
                  <a:lnTo>
                    <a:pt x="3936589" y="179542"/>
                  </a:lnTo>
                  <a:lnTo>
                    <a:pt x="3940673" y="179694"/>
                  </a:lnTo>
                  <a:lnTo>
                    <a:pt x="3948992" y="183203"/>
                  </a:lnTo>
                  <a:lnTo>
                    <a:pt x="3953136" y="183324"/>
                  </a:lnTo>
                  <a:lnTo>
                    <a:pt x="3952592" y="180510"/>
                  </a:lnTo>
                  <a:lnTo>
                    <a:pt x="3951624" y="179270"/>
                  </a:lnTo>
                  <a:lnTo>
                    <a:pt x="3950384" y="179119"/>
                  </a:lnTo>
                  <a:lnTo>
                    <a:pt x="3949052" y="179542"/>
                  </a:lnTo>
                  <a:lnTo>
                    <a:pt x="3949052" y="177636"/>
                  </a:lnTo>
                  <a:lnTo>
                    <a:pt x="3951866" y="175821"/>
                  </a:lnTo>
                  <a:lnTo>
                    <a:pt x="3963150" y="172615"/>
                  </a:lnTo>
                  <a:lnTo>
                    <a:pt x="3969412" y="168410"/>
                  </a:lnTo>
                  <a:lnTo>
                    <a:pt x="3971469" y="165264"/>
                  </a:lnTo>
                  <a:lnTo>
                    <a:pt x="3970410" y="162480"/>
                  </a:lnTo>
                  <a:lnTo>
                    <a:pt x="3960760" y="154797"/>
                  </a:lnTo>
                  <a:lnTo>
                    <a:pt x="3949657" y="153345"/>
                  </a:lnTo>
                  <a:lnTo>
                    <a:pt x="3946239" y="150803"/>
                  </a:lnTo>
                  <a:lnTo>
                    <a:pt x="3952229" y="148565"/>
                  </a:lnTo>
                  <a:lnTo>
                    <a:pt x="3955193" y="146145"/>
                  </a:lnTo>
                  <a:lnTo>
                    <a:pt x="3957281" y="141456"/>
                  </a:lnTo>
                  <a:lnTo>
                    <a:pt x="3947025" y="133258"/>
                  </a:lnTo>
                  <a:lnTo>
                    <a:pt x="3943486" y="131896"/>
                  </a:lnTo>
                  <a:lnTo>
                    <a:pt x="3935863" y="132592"/>
                  </a:lnTo>
                  <a:lnTo>
                    <a:pt x="3932384" y="134952"/>
                  </a:lnTo>
                  <a:lnTo>
                    <a:pt x="3923460" y="146205"/>
                  </a:lnTo>
                  <a:lnTo>
                    <a:pt x="3922219" y="148565"/>
                  </a:lnTo>
                  <a:lnTo>
                    <a:pt x="3921342" y="151015"/>
                  </a:lnTo>
                  <a:lnTo>
                    <a:pt x="3920344" y="153193"/>
                  </a:lnTo>
                  <a:lnTo>
                    <a:pt x="3918680" y="154797"/>
                  </a:lnTo>
                  <a:lnTo>
                    <a:pt x="3904190" y="158608"/>
                  </a:lnTo>
                  <a:lnTo>
                    <a:pt x="3906549" y="153163"/>
                  </a:lnTo>
                  <a:lnTo>
                    <a:pt x="3912539" y="146205"/>
                  </a:lnTo>
                  <a:lnTo>
                    <a:pt x="3914505" y="139368"/>
                  </a:lnTo>
                  <a:lnTo>
                    <a:pt x="3914233" y="128841"/>
                  </a:lnTo>
                  <a:lnTo>
                    <a:pt x="3910905" y="124303"/>
                  </a:lnTo>
                  <a:lnTo>
                    <a:pt x="3906246" y="124031"/>
                  </a:lnTo>
                  <a:lnTo>
                    <a:pt x="3887945" y="134649"/>
                  </a:lnTo>
                  <a:lnTo>
                    <a:pt x="3875299" y="137039"/>
                  </a:lnTo>
                  <a:lnTo>
                    <a:pt x="3873061" y="139399"/>
                  </a:lnTo>
                  <a:lnTo>
                    <a:pt x="3868916" y="147506"/>
                  </a:lnTo>
                  <a:lnTo>
                    <a:pt x="3866647" y="149472"/>
                  </a:lnTo>
                  <a:lnTo>
                    <a:pt x="3864137" y="147234"/>
                  </a:lnTo>
                  <a:lnTo>
                    <a:pt x="3865498" y="143422"/>
                  </a:lnTo>
                  <a:lnTo>
                    <a:pt x="3864772" y="142757"/>
                  </a:lnTo>
                  <a:lnTo>
                    <a:pt x="3864500" y="142303"/>
                  </a:lnTo>
                  <a:lnTo>
                    <a:pt x="3864137" y="141516"/>
                  </a:lnTo>
                  <a:lnTo>
                    <a:pt x="3866284" y="139852"/>
                  </a:lnTo>
                  <a:lnTo>
                    <a:pt x="3868947" y="139126"/>
                  </a:lnTo>
                  <a:lnTo>
                    <a:pt x="3871276" y="137644"/>
                  </a:lnTo>
                  <a:lnTo>
                    <a:pt x="3872456" y="133711"/>
                  </a:lnTo>
                  <a:lnTo>
                    <a:pt x="3871094" y="134074"/>
                  </a:lnTo>
                  <a:lnTo>
                    <a:pt x="3869824" y="133953"/>
                  </a:lnTo>
                  <a:lnTo>
                    <a:pt x="3868825" y="132774"/>
                  </a:lnTo>
                  <a:lnTo>
                    <a:pt x="3868251" y="129869"/>
                  </a:lnTo>
                  <a:lnTo>
                    <a:pt x="3873303" y="129627"/>
                  </a:lnTo>
                  <a:lnTo>
                    <a:pt x="3875995" y="128417"/>
                  </a:lnTo>
                  <a:lnTo>
                    <a:pt x="3877871" y="126239"/>
                  </a:lnTo>
                  <a:lnTo>
                    <a:pt x="3868251" y="126542"/>
                  </a:lnTo>
                  <a:lnTo>
                    <a:pt x="3865528" y="124122"/>
                  </a:lnTo>
                  <a:lnTo>
                    <a:pt x="3874150" y="116861"/>
                  </a:lnTo>
                  <a:lnTo>
                    <a:pt x="3876570" y="112626"/>
                  </a:lnTo>
                  <a:lnTo>
                    <a:pt x="3874180" y="110266"/>
                  </a:lnTo>
                  <a:lnTo>
                    <a:pt x="3866194" y="108633"/>
                  </a:lnTo>
                  <a:lnTo>
                    <a:pt x="3864227" y="106848"/>
                  </a:lnTo>
                  <a:lnTo>
                    <a:pt x="3863290" y="105547"/>
                  </a:lnTo>
                  <a:lnTo>
                    <a:pt x="3862473" y="104004"/>
                  </a:lnTo>
                  <a:lnTo>
                    <a:pt x="3862201" y="102401"/>
                  </a:lnTo>
                  <a:lnTo>
                    <a:pt x="3862291" y="98408"/>
                  </a:lnTo>
                  <a:lnTo>
                    <a:pt x="3862110" y="97077"/>
                  </a:lnTo>
                  <a:lnTo>
                    <a:pt x="3858086" y="92660"/>
                  </a:lnTo>
                  <a:lnTo>
                    <a:pt x="3842083" y="91480"/>
                  </a:lnTo>
                  <a:lnTo>
                    <a:pt x="3842083" y="89574"/>
                  </a:lnTo>
                  <a:lnTo>
                    <a:pt x="3846107" y="88909"/>
                  </a:lnTo>
                  <a:lnTo>
                    <a:pt x="3846319" y="87699"/>
                  </a:lnTo>
                  <a:lnTo>
                    <a:pt x="3844140" y="85521"/>
                  </a:lnTo>
                  <a:lnTo>
                    <a:pt x="3841599" y="84583"/>
                  </a:lnTo>
                  <a:lnTo>
                    <a:pt x="3815159" y="87638"/>
                  </a:lnTo>
                  <a:lnTo>
                    <a:pt x="3811771" y="90210"/>
                  </a:lnTo>
                  <a:lnTo>
                    <a:pt x="3808202" y="94475"/>
                  </a:lnTo>
                  <a:lnTo>
                    <a:pt x="3804965" y="99860"/>
                  </a:lnTo>
                  <a:lnTo>
                    <a:pt x="3799913" y="111295"/>
                  </a:lnTo>
                  <a:lnTo>
                    <a:pt x="3791049" y="122216"/>
                  </a:lnTo>
                  <a:lnTo>
                    <a:pt x="3788145" y="130263"/>
                  </a:lnTo>
                  <a:lnTo>
                    <a:pt x="3789597" y="133832"/>
                  </a:lnTo>
                  <a:lnTo>
                    <a:pt x="3793136" y="135920"/>
                  </a:lnTo>
                  <a:lnTo>
                    <a:pt x="3796615" y="139429"/>
                  </a:lnTo>
                  <a:lnTo>
                    <a:pt x="3797614" y="142394"/>
                  </a:lnTo>
                  <a:lnTo>
                    <a:pt x="3796948" y="143634"/>
                  </a:lnTo>
                  <a:lnTo>
                    <a:pt x="3793136" y="143392"/>
                  </a:lnTo>
                  <a:lnTo>
                    <a:pt x="3788962" y="141849"/>
                  </a:lnTo>
                  <a:lnTo>
                    <a:pt x="3787237" y="142394"/>
                  </a:lnTo>
                  <a:lnTo>
                    <a:pt x="3785604" y="145298"/>
                  </a:lnTo>
                  <a:lnTo>
                    <a:pt x="3784878" y="148020"/>
                  </a:lnTo>
                  <a:lnTo>
                    <a:pt x="3784031" y="154222"/>
                  </a:lnTo>
                  <a:lnTo>
                    <a:pt x="3783456" y="156914"/>
                  </a:lnTo>
                  <a:lnTo>
                    <a:pt x="3775651" y="175640"/>
                  </a:lnTo>
                  <a:lnTo>
                    <a:pt x="3775228" y="178635"/>
                  </a:lnTo>
                  <a:lnTo>
                    <a:pt x="3776074" y="179542"/>
                  </a:lnTo>
                  <a:lnTo>
                    <a:pt x="3781368" y="187135"/>
                  </a:lnTo>
                  <a:lnTo>
                    <a:pt x="3783698" y="188678"/>
                  </a:lnTo>
                  <a:lnTo>
                    <a:pt x="3791079" y="189041"/>
                  </a:lnTo>
                  <a:lnTo>
                    <a:pt x="3791079" y="191098"/>
                  </a:lnTo>
                  <a:lnTo>
                    <a:pt x="3788115" y="192611"/>
                  </a:lnTo>
                  <a:lnTo>
                    <a:pt x="3786602" y="194275"/>
                  </a:lnTo>
                  <a:lnTo>
                    <a:pt x="3785573" y="196786"/>
                  </a:lnTo>
                  <a:lnTo>
                    <a:pt x="3785573" y="199175"/>
                  </a:lnTo>
                  <a:lnTo>
                    <a:pt x="3786209" y="201384"/>
                  </a:lnTo>
                  <a:lnTo>
                    <a:pt x="3786693" y="203653"/>
                  </a:lnTo>
                  <a:lnTo>
                    <a:pt x="3786269" y="206224"/>
                  </a:lnTo>
                  <a:lnTo>
                    <a:pt x="3784424" y="207192"/>
                  </a:lnTo>
                  <a:lnTo>
                    <a:pt x="3782427" y="204469"/>
                  </a:lnTo>
                  <a:lnTo>
                    <a:pt x="3781127" y="199811"/>
                  </a:lnTo>
                  <a:lnTo>
                    <a:pt x="3781368" y="194910"/>
                  </a:lnTo>
                  <a:lnTo>
                    <a:pt x="3778374" y="193125"/>
                  </a:lnTo>
                  <a:lnTo>
                    <a:pt x="3774502" y="193881"/>
                  </a:lnTo>
                  <a:lnTo>
                    <a:pt x="3770780" y="196513"/>
                  </a:lnTo>
                  <a:lnTo>
                    <a:pt x="3768330" y="200385"/>
                  </a:lnTo>
                  <a:lnTo>
                    <a:pt x="3767967" y="203138"/>
                  </a:lnTo>
                  <a:lnTo>
                    <a:pt x="3767907" y="206315"/>
                  </a:lnTo>
                  <a:lnTo>
                    <a:pt x="3767483" y="208916"/>
                  </a:lnTo>
                  <a:lnTo>
                    <a:pt x="3764519" y="210580"/>
                  </a:lnTo>
                  <a:lnTo>
                    <a:pt x="3761191" y="213878"/>
                  </a:lnTo>
                  <a:lnTo>
                    <a:pt x="3760041" y="215662"/>
                  </a:lnTo>
                  <a:lnTo>
                    <a:pt x="3758650" y="219928"/>
                  </a:lnTo>
                  <a:lnTo>
                    <a:pt x="3758287" y="224284"/>
                  </a:lnTo>
                  <a:lnTo>
                    <a:pt x="3758287" y="229064"/>
                  </a:lnTo>
                  <a:lnTo>
                    <a:pt x="3757894" y="234630"/>
                  </a:lnTo>
                  <a:lnTo>
                    <a:pt x="3757016" y="238926"/>
                  </a:lnTo>
                  <a:lnTo>
                    <a:pt x="3754898" y="246761"/>
                  </a:lnTo>
                  <a:lnTo>
                    <a:pt x="3754475" y="251510"/>
                  </a:lnTo>
                  <a:lnTo>
                    <a:pt x="3755201" y="258166"/>
                  </a:lnTo>
                  <a:lnTo>
                    <a:pt x="3755504" y="259951"/>
                  </a:lnTo>
                  <a:lnTo>
                    <a:pt x="3755746" y="262068"/>
                  </a:lnTo>
                  <a:lnTo>
                    <a:pt x="3755201" y="267423"/>
                  </a:lnTo>
                  <a:lnTo>
                    <a:pt x="3755201" y="270236"/>
                  </a:lnTo>
                  <a:lnTo>
                    <a:pt x="3756169" y="275258"/>
                  </a:lnTo>
                  <a:lnTo>
                    <a:pt x="3757319" y="278374"/>
                  </a:lnTo>
                  <a:lnTo>
                    <a:pt x="3757894" y="281641"/>
                  </a:lnTo>
                  <a:lnTo>
                    <a:pt x="3757258" y="287147"/>
                  </a:lnTo>
                  <a:lnTo>
                    <a:pt x="3753719" y="297583"/>
                  </a:lnTo>
                  <a:lnTo>
                    <a:pt x="3748092" y="306810"/>
                  </a:lnTo>
                  <a:lnTo>
                    <a:pt x="3741860" y="311802"/>
                  </a:lnTo>
                  <a:lnTo>
                    <a:pt x="3736597" y="309593"/>
                  </a:lnTo>
                  <a:lnTo>
                    <a:pt x="3739228" y="309593"/>
                  </a:lnTo>
                  <a:lnTo>
                    <a:pt x="3742344" y="307960"/>
                  </a:lnTo>
                  <a:lnTo>
                    <a:pt x="3745279" y="305055"/>
                  </a:lnTo>
                  <a:lnTo>
                    <a:pt x="3748848" y="297977"/>
                  </a:lnTo>
                  <a:lnTo>
                    <a:pt x="3750542" y="295375"/>
                  </a:lnTo>
                  <a:lnTo>
                    <a:pt x="3752055" y="292168"/>
                  </a:lnTo>
                  <a:lnTo>
                    <a:pt x="3753114" y="287147"/>
                  </a:lnTo>
                  <a:lnTo>
                    <a:pt x="3753114" y="279402"/>
                  </a:lnTo>
                  <a:lnTo>
                    <a:pt x="3751117" y="261614"/>
                  </a:lnTo>
                  <a:lnTo>
                    <a:pt x="3751057" y="251480"/>
                  </a:lnTo>
                  <a:lnTo>
                    <a:pt x="3752297" y="242919"/>
                  </a:lnTo>
                  <a:lnTo>
                    <a:pt x="3752690" y="238079"/>
                  </a:lnTo>
                  <a:lnTo>
                    <a:pt x="3752176" y="233541"/>
                  </a:lnTo>
                  <a:lnTo>
                    <a:pt x="3751208" y="228398"/>
                  </a:lnTo>
                  <a:lnTo>
                    <a:pt x="3751450" y="224345"/>
                  </a:lnTo>
                  <a:lnTo>
                    <a:pt x="3752630" y="220866"/>
                  </a:lnTo>
                  <a:lnTo>
                    <a:pt x="3756744" y="213757"/>
                  </a:lnTo>
                  <a:lnTo>
                    <a:pt x="3760102" y="206285"/>
                  </a:lnTo>
                  <a:lnTo>
                    <a:pt x="3761826" y="201263"/>
                  </a:lnTo>
                  <a:lnTo>
                    <a:pt x="3763671" y="197754"/>
                  </a:lnTo>
                  <a:lnTo>
                    <a:pt x="3765759" y="195636"/>
                  </a:lnTo>
                  <a:lnTo>
                    <a:pt x="3767665" y="192762"/>
                  </a:lnTo>
                  <a:lnTo>
                    <a:pt x="3768996" y="187014"/>
                  </a:lnTo>
                  <a:lnTo>
                    <a:pt x="3764791" y="186924"/>
                  </a:lnTo>
                  <a:lnTo>
                    <a:pt x="3760707" y="189132"/>
                  </a:lnTo>
                  <a:lnTo>
                    <a:pt x="3756804" y="193125"/>
                  </a:lnTo>
                  <a:lnTo>
                    <a:pt x="3753144" y="198389"/>
                  </a:lnTo>
                  <a:lnTo>
                    <a:pt x="3749060" y="206678"/>
                  </a:lnTo>
                  <a:lnTo>
                    <a:pt x="3748062" y="208039"/>
                  </a:lnTo>
                  <a:lnTo>
                    <a:pt x="3746095" y="206950"/>
                  </a:lnTo>
                  <a:lnTo>
                    <a:pt x="3745732" y="204560"/>
                  </a:lnTo>
                  <a:lnTo>
                    <a:pt x="3746368" y="202654"/>
                  </a:lnTo>
                  <a:lnTo>
                    <a:pt x="3748274" y="200416"/>
                  </a:lnTo>
                  <a:lnTo>
                    <a:pt x="3748395" y="200295"/>
                  </a:lnTo>
                  <a:lnTo>
                    <a:pt x="3746610" y="201928"/>
                  </a:lnTo>
                  <a:lnTo>
                    <a:pt x="3744069" y="205347"/>
                  </a:lnTo>
                  <a:lnTo>
                    <a:pt x="3740287" y="207827"/>
                  </a:lnTo>
                  <a:lnTo>
                    <a:pt x="3739349" y="207222"/>
                  </a:lnTo>
                  <a:lnTo>
                    <a:pt x="3740469" y="203138"/>
                  </a:lnTo>
                  <a:lnTo>
                    <a:pt x="3743312" y="198268"/>
                  </a:lnTo>
                  <a:lnTo>
                    <a:pt x="3753900" y="191008"/>
                  </a:lnTo>
                  <a:lnTo>
                    <a:pt x="3741165" y="193881"/>
                  </a:lnTo>
                  <a:lnTo>
                    <a:pt x="3729064" y="200295"/>
                  </a:lnTo>
                  <a:lnTo>
                    <a:pt x="3731061" y="196241"/>
                  </a:lnTo>
                  <a:lnTo>
                    <a:pt x="3733239" y="192732"/>
                  </a:lnTo>
                  <a:lnTo>
                    <a:pt x="3729729" y="194910"/>
                  </a:lnTo>
                  <a:lnTo>
                    <a:pt x="3728005" y="196695"/>
                  </a:lnTo>
                  <a:lnTo>
                    <a:pt x="3726644" y="199327"/>
                  </a:lnTo>
                  <a:lnTo>
                    <a:pt x="3724556" y="208735"/>
                  </a:lnTo>
                  <a:lnTo>
                    <a:pt x="3723498" y="211760"/>
                  </a:lnTo>
                  <a:lnTo>
                    <a:pt x="3722136" y="203380"/>
                  </a:lnTo>
                  <a:lnTo>
                    <a:pt x="3721380" y="200295"/>
                  </a:lnTo>
                  <a:lnTo>
                    <a:pt x="3720079" y="196634"/>
                  </a:lnTo>
                  <a:lnTo>
                    <a:pt x="3722530" y="192278"/>
                  </a:lnTo>
                  <a:lnTo>
                    <a:pt x="3726341" y="188648"/>
                  </a:lnTo>
                  <a:lnTo>
                    <a:pt x="3734660" y="184504"/>
                  </a:lnTo>
                  <a:lnTo>
                    <a:pt x="3738593" y="180420"/>
                  </a:lnTo>
                  <a:lnTo>
                    <a:pt x="3741074" y="176487"/>
                  </a:lnTo>
                  <a:lnTo>
                    <a:pt x="3751994" y="167563"/>
                  </a:lnTo>
                  <a:lnTo>
                    <a:pt x="3758710" y="159849"/>
                  </a:lnTo>
                  <a:lnTo>
                    <a:pt x="3764216" y="149079"/>
                  </a:lnTo>
                  <a:lnTo>
                    <a:pt x="3765547" y="135436"/>
                  </a:lnTo>
                  <a:lnTo>
                    <a:pt x="3763762" y="130989"/>
                  </a:lnTo>
                  <a:lnTo>
                    <a:pt x="3760767" y="131563"/>
                  </a:lnTo>
                  <a:lnTo>
                    <a:pt x="3750754" y="142333"/>
                  </a:lnTo>
                  <a:lnTo>
                    <a:pt x="3714634" y="160272"/>
                  </a:lnTo>
                  <a:lnTo>
                    <a:pt x="3700083" y="162299"/>
                  </a:lnTo>
                  <a:lnTo>
                    <a:pt x="3702745" y="159697"/>
                  </a:lnTo>
                  <a:lnTo>
                    <a:pt x="3707313" y="157882"/>
                  </a:lnTo>
                  <a:lnTo>
                    <a:pt x="3710429" y="155250"/>
                  </a:lnTo>
                  <a:lnTo>
                    <a:pt x="3714483" y="153798"/>
                  </a:lnTo>
                  <a:lnTo>
                    <a:pt x="3722893" y="147052"/>
                  </a:lnTo>
                  <a:lnTo>
                    <a:pt x="3722620" y="145903"/>
                  </a:lnTo>
                  <a:lnTo>
                    <a:pt x="3722197" y="145146"/>
                  </a:lnTo>
                  <a:lnTo>
                    <a:pt x="3728580" y="139762"/>
                  </a:lnTo>
                  <a:lnTo>
                    <a:pt x="3742586" y="135224"/>
                  </a:lnTo>
                  <a:lnTo>
                    <a:pt x="3748425" y="126027"/>
                  </a:lnTo>
                  <a:lnTo>
                    <a:pt x="3746095" y="123819"/>
                  </a:lnTo>
                  <a:lnTo>
                    <a:pt x="3743433" y="123305"/>
                  </a:lnTo>
                  <a:lnTo>
                    <a:pt x="3735961" y="124091"/>
                  </a:lnTo>
                  <a:lnTo>
                    <a:pt x="3735023" y="123275"/>
                  </a:lnTo>
                  <a:lnTo>
                    <a:pt x="3734630" y="120945"/>
                  </a:lnTo>
                  <a:lnTo>
                    <a:pt x="3733965" y="120128"/>
                  </a:lnTo>
                  <a:lnTo>
                    <a:pt x="3725222" y="116982"/>
                  </a:lnTo>
                  <a:lnTo>
                    <a:pt x="3720987" y="118434"/>
                  </a:lnTo>
                  <a:lnTo>
                    <a:pt x="3712546" y="123880"/>
                  </a:lnTo>
                  <a:lnTo>
                    <a:pt x="3713424" y="120612"/>
                  </a:lnTo>
                  <a:lnTo>
                    <a:pt x="3714846" y="119009"/>
                  </a:lnTo>
                  <a:lnTo>
                    <a:pt x="3716510" y="117920"/>
                  </a:lnTo>
                  <a:lnTo>
                    <a:pt x="3718022" y="116226"/>
                  </a:lnTo>
                  <a:lnTo>
                    <a:pt x="3716358" y="114592"/>
                  </a:lnTo>
                  <a:lnTo>
                    <a:pt x="3712789" y="113231"/>
                  </a:lnTo>
                  <a:lnTo>
                    <a:pt x="3711125" y="110478"/>
                  </a:lnTo>
                  <a:lnTo>
                    <a:pt x="3712395" y="110387"/>
                  </a:lnTo>
                  <a:lnTo>
                    <a:pt x="3714997" y="108996"/>
                  </a:lnTo>
                  <a:lnTo>
                    <a:pt x="3715995" y="109419"/>
                  </a:lnTo>
                  <a:lnTo>
                    <a:pt x="3717387" y="110508"/>
                  </a:lnTo>
                  <a:lnTo>
                    <a:pt x="3730304" y="108663"/>
                  </a:lnTo>
                  <a:lnTo>
                    <a:pt x="3731151" y="106636"/>
                  </a:lnTo>
                  <a:lnTo>
                    <a:pt x="3732573" y="105729"/>
                  </a:lnTo>
                  <a:lnTo>
                    <a:pt x="3733844" y="104337"/>
                  </a:lnTo>
                  <a:lnTo>
                    <a:pt x="3735144" y="103611"/>
                  </a:lnTo>
                  <a:lnTo>
                    <a:pt x="3736657" y="104549"/>
                  </a:lnTo>
                  <a:lnTo>
                    <a:pt x="3736234" y="109147"/>
                  </a:lnTo>
                  <a:lnTo>
                    <a:pt x="3737595" y="110055"/>
                  </a:lnTo>
                  <a:lnTo>
                    <a:pt x="3741467" y="108421"/>
                  </a:lnTo>
                  <a:lnTo>
                    <a:pt x="3743403" y="108875"/>
                  </a:lnTo>
                  <a:lnTo>
                    <a:pt x="3749090" y="112414"/>
                  </a:lnTo>
                  <a:lnTo>
                    <a:pt x="3753356" y="112868"/>
                  </a:lnTo>
                  <a:lnTo>
                    <a:pt x="3757803" y="112021"/>
                  </a:lnTo>
                  <a:lnTo>
                    <a:pt x="3762038" y="109450"/>
                  </a:lnTo>
                  <a:lnTo>
                    <a:pt x="3765577" y="104549"/>
                  </a:lnTo>
                  <a:lnTo>
                    <a:pt x="3761645" y="102583"/>
                  </a:lnTo>
                  <a:lnTo>
                    <a:pt x="3759739" y="101040"/>
                  </a:lnTo>
                  <a:lnTo>
                    <a:pt x="3757954" y="98952"/>
                  </a:lnTo>
                  <a:lnTo>
                    <a:pt x="3771809" y="100889"/>
                  </a:lnTo>
                  <a:lnTo>
                    <a:pt x="3771355" y="99285"/>
                  </a:lnTo>
                  <a:lnTo>
                    <a:pt x="3771113" y="98287"/>
                  </a:lnTo>
                  <a:lnTo>
                    <a:pt x="3770750" y="97591"/>
                  </a:lnTo>
                  <a:lnTo>
                    <a:pt x="3769813" y="96865"/>
                  </a:lnTo>
                  <a:lnTo>
                    <a:pt x="3769813" y="95111"/>
                  </a:lnTo>
                  <a:lnTo>
                    <a:pt x="3775228" y="94778"/>
                  </a:lnTo>
                  <a:lnTo>
                    <a:pt x="3777738" y="93053"/>
                  </a:lnTo>
                  <a:lnTo>
                    <a:pt x="3780007" y="89332"/>
                  </a:lnTo>
                  <a:lnTo>
                    <a:pt x="3777980" y="87699"/>
                  </a:lnTo>
                  <a:lnTo>
                    <a:pt x="3775772" y="87608"/>
                  </a:lnTo>
                  <a:lnTo>
                    <a:pt x="3773806" y="86912"/>
                  </a:lnTo>
                  <a:lnTo>
                    <a:pt x="3772384" y="83554"/>
                  </a:lnTo>
                  <a:lnTo>
                    <a:pt x="3779826" y="84402"/>
                  </a:lnTo>
                  <a:lnTo>
                    <a:pt x="3783849" y="82828"/>
                  </a:lnTo>
                  <a:lnTo>
                    <a:pt x="3785604" y="76687"/>
                  </a:lnTo>
                  <a:lnTo>
                    <a:pt x="3786118" y="74207"/>
                  </a:lnTo>
                  <a:lnTo>
                    <a:pt x="3788478" y="68731"/>
                  </a:lnTo>
                  <a:lnTo>
                    <a:pt x="3789234" y="63286"/>
                  </a:lnTo>
                  <a:lnTo>
                    <a:pt x="3790202" y="60866"/>
                  </a:lnTo>
                  <a:lnTo>
                    <a:pt x="3790444" y="59263"/>
                  </a:lnTo>
                  <a:lnTo>
                    <a:pt x="3790172" y="57175"/>
                  </a:lnTo>
                  <a:lnTo>
                    <a:pt x="3789476" y="56449"/>
                  </a:lnTo>
                  <a:lnTo>
                    <a:pt x="3788659" y="56116"/>
                  </a:lnTo>
                  <a:lnTo>
                    <a:pt x="3784666" y="51518"/>
                  </a:lnTo>
                  <a:lnTo>
                    <a:pt x="3769782" y="50278"/>
                  </a:lnTo>
                  <a:lnTo>
                    <a:pt x="3758650" y="57992"/>
                  </a:lnTo>
                  <a:lnTo>
                    <a:pt x="3755836" y="56268"/>
                  </a:lnTo>
                  <a:lnTo>
                    <a:pt x="3756986" y="55148"/>
                  </a:lnTo>
                  <a:lnTo>
                    <a:pt x="3757984" y="53485"/>
                  </a:lnTo>
                  <a:lnTo>
                    <a:pt x="3758801" y="51246"/>
                  </a:lnTo>
                  <a:lnTo>
                    <a:pt x="3759346" y="48312"/>
                  </a:lnTo>
                  <a:lnTo>
                    <a:pt x="3755322" y="51760"/>
                  </a:lnTo>
                  <a:lnTo>
                    <a:pt x="3753840" y="52365"/>
                  </a:lnTo>
                  <a:lnTo>
                    <a:pt x="3754505" y="50036"/>
                  </a:lnTo>
                  <a:lnTo>
                    <a:pt x="3755322" y="48281"/>
                  </a:lnTo>
                  <a:lnTo>
                    <a:pt x="3756230" y="47101"/>
                  </a:lnTo>
                  <a:lnTo>
                    <a:pt x="3757228" y="46557"/>
                  </a:lnTo>
                  <a:lnTo>
                    <a:pt x="3755201" y="46557"/>
                  </a:lnTo>
                  <a:lnTo>
                    <a:pt x="3756502" y="43562"/>
                  </a:lnTo>
                  <a:lnTo>
                    <a:pt x="3758620" y="42171"/>
                  </a:lnTo>
                  <a:lnTo>
                    <a:pt x="3760586" y="40265"/>
                  </a:lnTo>
                  <a:lnTo>
                    <a:pt x="3761463" y="35606"/>
                  </a:lnTo>
                  <a:lnTo>
                    <a:pt x="3760586" y="31976"/>
                  </a:lnTo>
                  <a:lnTo>
                    <a:pt x="3758589" y="29223"/>
                  </a:lnTo>
                  <a:lnTo>
                    <a:pt x="3756290" y="27529"/>
                  </a:lnTo>
                  <a:lnTo>
                    <a:pt x="3754445" y="26924"/>
                  </a:lnTo>
                  <a:lnTo>
                    <a:pt x="3752025" y="27892"/>
                  </a:lnTo>
                  <a:lnTo>
                    <a:pt x="3749816" y="30372"/>
                  </a:lnTo>
                  <a:lnTo>
                    <a:pt x="3743978" y="39629"/>
                  </a:lnTo>
                  <a:lnTo>
                    <a:pt x="3743373" y="39811"/>
                  </a:lnTo>
                  <a:lnTo>
                    <a:pt x="3742163" y="38601"/>
                  </a:lnTo>
                  <a:lnTo>
                    <a:pt x="3741649" y="37240"/>
                  </a:lnTo>
                  <a:lnTo>
                    <a:pt x="3741588" y="35545"/>
                  </a:lnTo>
                  <a:lnTo>
                    <a:pt x="3741649" y="33912"/>
                  </a:lnTo>
                  <a:lnTo>
                    <a:pt x="3741406" y="32762"/>
                  </a:lnTo>
                  <a:lnTo>
                    <a:pt x="3739531" y="31250"/>
                  </a:lnTo>
                  <a:lnTo>
                    <a:pt x="3737292" y="31250"/>
                  </a:lnTo>
                  <a:lnTo>
                    <a:pt x="3735114" y="32732"/>
                  </a:lnTo>
                  <a:lnTo>
                    <a:pt x="3733511" y="35606"/>
                  </a:lnTo>
                  <a:lnTo>
                    <a:pt x="3731544" y="38208"/>
                  </a:lnTo>
                  <a:lnTo>
                    <a:pt x="3722802" y="40718"/>
                  </a:lnTo>
                  <a:lnTo>
                    <a:pt x="3720684" y="39781"/>
                  </a:lnTo>
                  <a:lnTo>
                    <a:pt x="3716237" y="35515"/>
                  </a:lnTo>
                  <a:lnTo>
                    <a:pt x="3713847" y="34517"/>
                  </a:lnTo>
                  <a:lnTo>
                    <a:pt x="3707192" y="34456"/>
                  </a:lnTo>
                  <a:lnTo>
                    <a:pt x="3704802" y="32762"/>
                  </a:lnTo>
                  <a:lnTo>
                    <a:pt x="3707464" y="25714"/>
                  </a:lnTo>
                  <a:lnTo>
                    <a:pt x="3706557" y="21751"/>
                  </a:lnTo>
                  <a:lnTo>
                    <a:pt x="3699992" y="15216"/>
                  </a:lnTo>
                  <a:lnTo>
                    <a:pt x="3699206" y="24262"/>
                  </a:lnTo>
                  <a:lnTo>
                    <a:pt x="3695969" y="24988"/>
                  </a:lnTo>
                  <a:lnTo>
                    <a:pt x="3691794" y="23747"/>
                  </a:lnTo>
                  <a:lnTo>
                    <a:pt x="3688315" y="26924"/>
                  </a:lnTo>
                  <a:lnTo>
                    <a:pt x="3687377" y="30282"/>
                  </a:lnTo>
                  <a:lnTo>
                    <a:pt x="3687256" y="32551"/>
                  </a:lnTo>
                  <a:lnTo>
                    <a:pt x="3687529" y="35243"/>
                  </a:lnTo>
                  <a:lnTo>
                    <a:pt x="3687710" y="39690"/>
                  </a:lnTo>
                  <a:lnTo>
                    <a:pt x="3688224" y="43320"/>
                  </a:lnTo>
                  <a:lnTo>
                    <a:pt x="3689616" y="45044"/>
                  </a:lnTo>
                  <a:lnTo>
                    <a:pt x="3693216" y="46587"/>
                  </a:lnTo>
                  <a:lnTo>
                    <a:pt x="3691915" y="49643"/>
                  </a:lnTo>
                  <a:lnTo>
                    <a:pt x="3691401" y="53061"/>
                  </a:lnTo>
                  <a:lnTo>
                    <a:pt x="3691643" y="56691"/>
                  </a:lnTo>
                  <a:lnTo>
                    <a:pt x="3692550" y="60321"/>
                  </a:lnTo>
                  <a:lnTo>
                    <a:pt x="3690403" y="64163"/>
                  </a:lnTo>
                  <a:lnTo>
                    <a:pt x="3687892" y="64103"/>
                  </a:lnTo>
                  <a:lnTo>
                    <a:pt x="3685804" y="60382"/>
                  </a:lnTo>
                  <a:lnTo>
                    <a:pt x="3684957" y="53273"/>
                  </a:lnTo>
                  <a:lnTo>
                    <a:pt x="3682567" y="49582"/>
                  </a:lnTo>
                  <a:lnTo>
                    <a:pt x="3660091" y="43986"/>
                  </a:lnTo>
                  <a:lnTo>
                    <a:pt x="3656945" y="46073"/>
                  </a:lnTo>
                  <a:lnTo>
                    <a:pt x="3658034" y="52365"/>
                  </a:lnTo>
                  <a:lnTo>
                    <a:pt x="3659606" y="54543"/>
                  </a:lnTo>
                  <a:lnTo>
                    <a:pt x="3663751" y="57357"/>
                  </a:lnTo>
                  <a:lnTo>
                    <a:pt x="3665596" y="59232"/>
                  </a:lnTo>
                  <a:lnTo>
                    <a:pt x="3667986" y="62590"/>
                  </a:lnTo>
                  <a:lnTo>
                    <a:pt x="3669045" y="64889"/>
                  </a:lnTo>
                  <a:lnTo>
                    <a:pt x="3669771" y="67884"/>
                  </a:lnTo>
                  <a:lnTo>
                    <a:pt x="3651862" y="60866"/>
                  </a:lnTo>
                  <a:lnTo>
                    <a:pt x="3649593" y="61713"/>
                  </a:lnTo>
                  <a:lnTo>
                    <a:pt x="3648081" y="65646"/>
                  </a:lnTo>
                  <a:lnTo>
                    <a:pt x="3646961" y="73662"/>
                  </a:lnTo>
                  <a:lnTo>
                    <a:pt x="3650108" y="78200"/>
                  </a:lnTo>
                  <a:lnTo>
                    <a:pt x="3653829" y="81255"/>
                  </a:lnTo>
                  <a:lnTo>
                    <a:pt x="3668349" y="84341"/>
                  </a:lnTo>
                  <a:lnTo>
                    <a:pt x="3670406" y="83524"/>
                  </a:lnTo>
                  <a:lnTo>
                    <a:pt x="3671828" y="81739"/>
                  </a:lnTo>
                  <a:lnTo>
                    <a:pt x="3674279" y="77050"/>
                  </a:lnTo>
                  <a:lnTo>
                    <a:pt x="3675912" y="75780"/>
                  </a:lnTo>
                  <a:lnTo>
                    <a:pt x="3675307" y="78049"/>
                  </a:lnTo>
                  <a:lnTo>
                    <a:pt x="3673553" y="82163"/>
                  </a:lnTo>
                  <a:lnTo>
                    <a:pt x="3673190" y="84402"/>
                  </a:lnTo>
                  <a:lnTo>
                    <a:pt x="3673976" y="86489"/>
                  </a:lnTo>
                  <a:lnTo>
                    <a:pt x="3675821" y="86489"/>
                  </a:lnTo>
                  <a:lnTo>
                    <a:pt x="3679330" y="85279"/>
                  </a:lnTo>
                  <a:lnTo>
                    <a:pt x="3680208" y="85672"/>
                  </a:lnTo>
                  <a:lnTo>
                    <a:pt x="3680510" y="86035"/>
                  </a:lnTo>
                  <a:lnTo>
                    <a:pt x="3680692" y="86822"/>
                  </a:lnTo>
                  <a:lnTo>
                    <a:pt x="3681115" y="88364"/>
                  </a:lnTo>
                  <a:lnTo>
                    <a:pt x="3681932" y="89453"/>
                  </a:lnTo>
                  <a:lnTo>
                    <a:pt x="3683959" y="89090"/>
                  </a:lnTo>
                  <a:lnTo>
                    <a:pt x="3684927" y="89332"/>
                  </a:lnTo>
                  <a:lnTo>
                    <a:pt x="3685895" y="90633"/>
                  </a:lnTo>
                  <a:lnTo>
                    <a:pt x="3687166" y="93537"/>
                  </a:lnTo>
                  <a:lnTo>
                    <a:pt x="3688345" y="95111"/>
                  </a:lnTo>
                  <a:lnTo>
                    <a:pt x="3686984" y="96290"/>
                  </a:lnTo>
                  <a:lnTo>
                    <a:pt x="3685744" y="97924"/>
                  </a:lnTo>
                  <a:lnTo>
                    <a:pt x="3684473" y="99134"/>
                  </a:lnTo>
                  <a:lnTo>
                    <a:pt x="3682930" y="98983"/>
                  </a:lnTo>
                  <a:lnTo>
                    <a:pt x="3682930" y="100919"/>
                  </a:lnTo>
                  <a:lnTo>
                    <a:pt x="3697965" y="106667"/>
                  </a:lnTo>
                  <a:lnTo>
                    <a:pt x="3669711" y="100919"/>
                  </a:lnTo>
                  <a:lnTo>
                    <a:pt x="3667200" y="101433"/>
                  </a:lnTo>
                  <a:lnTo>
                    <a:pt x="3665899" y="102976"/>
                  </a:lnTo>
                  <a:lnTo>
                    <a:pt x="3663872" y="109480"/>
                  </a:lnTo>
                  <a:lnTo>
                    <a:pt x="3662843" y="115197"/>
                  </a:lnTo>
                  <a:lnTo>
                    <a:pt x="3664174" y="118223"/>
                  </a:lnTo>
                  <a:lnTo>
                    <a:pt x="3666685" y="119493"/>
                  </a:lnTo>
                  <a:lnTo>
                    <a:pt x="3669075" y="119917"/>
                  </a:lnTo>
                  <a:lnTo>
                    <a:pt x="3667774" y="123970"/>
                  </a:lnTo>
                  <a:lnTo>
                    <a:pt x="3666504" y="125180"/>
                  </a:lnTo>
                  <a:lnTo>
                    <a:pt x="3663509" y="123880"/>
                  </a:lnTo>
                  <a:lnTo>
                    <a:pt x="3648716" y="124696"/>
                  </a:lnTo>
                  <a:lnTo>
                    <a:pt x="3645751" y="128054"/>
                  </a:lnTo>
                  <a:lnTo>
                    <a:pt x="3642787" y="135375"/>
                  </a:lnTo>
                  <a:lnTo>
                    <a:pt x="3644632" y="137009"/>
                  </a:lnTo>
                  <a:lnTo>
                    <a:pt x="3648655" y="139126"/>
                  </a:lnTo>
                  <a:lnTo>
                    <a:pt x="3650440" y="141274"/>
                  </a:lnTo>
                  <a:lnTo>
                    <a:pt x="3645267" y="148474"/>
                  </a:lnTo>
                  <a:lnTo>
                    <a:pt x="3644723" y="152558"/>
                  </a:lnTo>
                  <a:lnTo>
                    <a:pt x="3647748" y="156733"/>
                  </a:lnTo>
                  <a:lnTo>
                    <a:pt x="3658336" y="163570"/>
                  </a:lnTo>
                  <a:lnTo>
                    <a:pt x="3661512" y="168137"/>
                  </a:lnTo>
                  <a:lnTo>
                    <a:pt x="3659032" y="168137"/>
                  </a:lnTo>
                  <a:lnTo>
                    <a:pt x="3651892" y="164175"/>
                  </a:lnTo>
                  <a:lnTo>
                    <a:pt x="3647718" y="164507"/>
                  </a:lnTo>
                  <a:lnTo>
                    <a:pt x="3646387" y="164175"/>
                  </a:lnTo>
                  <a:lnTo>
                    <a:pt x="3645479" y="163358"/>
                  </a:lnTo>
                  <a:lnTo>
                    <a:pt x="3643604" y="160998"/>
                  </a:lnTo>
                  <a:lnTo>
                    <a:pt x="3642847" y="160363"/>
                  </a:lnTo>
                  <a:lnTo>
                    <a:pt x="3640125" y="161210"/>
                  </a:lnTo>
                  <a:lnTo>
                    <a:pt x="3636858" y="164326"/>
                  </a:lnTo>
                  <a:lnTo>
                    <a:pt x="3633863" y="168803"/>
                  </a:lnTo>
                  <a:lnTo>
                    <a:pt x="3631957" y="173673"/>
                  </a:lnTo>
                  <a:lnTo>
                    <a:pt x="3632864" y="173885"/>
                  </a:lnTo>
                  <a:lnTo>
                    <a:pt x="3635405" y="175579"/>
                  </a:lnTo>
                  <a:lnTo>
                    <a:pt x="3634740" y="178211"/>
                  </a:lnTo>
                  <a:lnTo>
                    <a:pt x="3633772" y="179663"/>
                  </a:lnTo>
                  <a:lnTo>
                    <a:pt x="3631261" y="181236"/>
                  </a:lnTo>
                  <a:lnTo>
                    <a:pt x="3632259" y="184201"/>
                  </a:lnTo>
                  <a:lnTo>
                    <a:pt x="3637372" y="190887"/>
                  </a:lnTo>
                  <a:lnTo>
                    <a:pt x="3639157" y="195213"/>
                  </a:lnTo>
                  <a:lnTo>
                    <a:pt x="3640125" y="196574"/>
                  </a:lnTo>
                  <a:lnTo>
                    <a:pt x="3643785" y="198873"/>
                  </a:lnTo>
                  <a:lnTo>
                    <a:pt x="3644965" y="200174"/>
                  </a:lnTo>
                  <a:lnTo>
                    <a:pt x="3642424" y="198903"/>
                  </a:lnTo>
                  <a:lnTo>
                    <a:pt x="3639852" y="198419"/>
                  </a:lnTo>
                  <a:lnTo>
                    <a:pt x="3629506" y="202170"/>
                  </a:lnTo>
                  <a:lnTo>
                    <a:pt x="3627812" y="201081"/>
                  </a:lnTo>
                  <a:lnTo>
                    <a:pt x="3629174" y="196544"/>
                  </a:lnTo>
                  <a:lnTo>
                    <a:pt x="3615802" y="197360"/>
                  </a:lnTo>
                  <a:lnTo>
                    <a:pt x="3614986" y="200234"/>
                  </a:lnTo>
                  <a:lnTo>
                    <a:pt x="3614532" y="204348"/>
                  </a:lnTo>
                  <a:lnTo>
                    <a:pt x="3612626" y="208826"/>
                  </a:lnTo>
                  <a:lnTo>
                    <a:pt x="3609873" y="211911"/>
                  </a:lnTo>
                  <a:lnTo>
                    <a:pt x="3606878" y="213696"/>
                  </a:lnTo>
                  <a:lnTo>
                    <a:pt x="3603793" y="213878"/>
                  </a:lnTo>
                  <a:lnTo>
                    <a:pt x="3600737" y="212184"/>
                  </a:lnTo>
                  <a:lnTo>
                    <a:pt x="3600102" y="212637"/>
                  </a:lnTo>
                  <a:lnTo>
                    <a:pt x="3597954" y="215874"/>
                  </a:lnTo>
                  <a:lnTo>
                    <a:pt x="3597410" y="217357"/>
                  </a:lnTo>
                  <a:lnTo>
                    <a:pt x="3597591" y="219172"/>
                  </a:lnTo>
                  <a:lnTo>
                    <a:pt x="3599467" y="225040"/>
                  </a:lnTo>
                  <a:lnTo>
                    <a:pt x="3598015" y="225918"/>
                  </a:lnTo>
                  <a:lnTo>
                    <a:pt x="3595352" y="224768"/>
                  </a:lnTo>
                  <a:lnTo>
                    <a:pt x="3593961" y="225040"/>
                  </a:lnTo>
                  <a:lnTo>
                    <a:pt x="3592751" y="226553"/>
                  </a:lnTo>
                  <a:lnTo>
                    <a:pt x="3592267" y="228247"/>
                  </a:lnTo>
                  <a:lnTo>
                    <a:pt x="3591934" y="229971"/>
                  </a:lnTo>
                  <a:lnTo>
                    <a:pt x="3591178" y="231544"/>
                  </a:lnTo>
                  <a:lnTo>
                    <a:pt x="3589816" y="232392"/>
                  </a:lnTo>
                  <a:lnTo>
                    <a:pt x="3586005" y="230667"/>
                  </a:lnTo>
                  <a:lnTo>
                    <a:pt x="3584976" y="229699"/>
                  </a:lnTo>
                  <a:lnTo>
                    <a:pt x="3584976" y="227582"/>
                  </a:lnTo>
                  <a:lnTo>
                    <a:pt x="3585430" y="225585"/>
                  </a:lnTo>
                  <a:lnTo>
                    <a:pt x="3585702" y="225010"/>
                  </a:lnTo>
                  <a:lnTo>
                    <a:pt x="3585914" y="223104"/>
                  </a:lnTo>
                  <a:lnTo>
                    <a:pt x="3586791" y="219293"/>
                  </a:lnTo>
                  <a:lnTo>
                    <a:pt x="3587064" y="217326"/>
                  </a:lnTo>
                  <a:lnTo>
                    <a:pt x="3586912" y="215753"/>
                  </a:lnTo>
                  <a:lnTo>
                    <a:pt x="3585884" y="212910"/>
                  </a:lnTo>
                  <a:lnTo>
                    <a:pt x="3585672" y="210732"/>
                  </a:lnTo>
                  <a:lnTo>
                    <a:pt x="3586489" y="206073"/>
                  </a:lnTo>
                  <a:lnTo>
                    <a:pt x="3588486" y="202443"/>
                  </a:lnTo>
                  <a:lnTo>
                    <a:pt x="3592539" y="198268"/>
                  </a:lnTo>
                  <a:lnTo>
                    <a:pt x="3591692" y="194668"/>
                  </a:lnTo>
                  <a:lnTo>
                    <a:pt x="3590784" y="192702"/>
                  </a:lnTo>
                  <a:lnTo>
                    <a:pt x="3590240" y="190675"/>
                  </a:lnTo>
                  <a:lnTo>
                    <a:pt x="3590482" y="186924"/>
                  </a:lnTo>
                  <a:lnTo>
                    <a:pt x="3591783" y="183929"/>
                  </a:lnTo>
                  <a:lnTo>
                    <a:pt x="3593719" y="181872"/>
                  </a:lnTo>
                  <a:lnTo>
                    <a:pt x="3595050" y="179512"/>
                  </a:lnTo>
                  <a:lnTo>
                    <a:pt x="3594596" y="175579"/>
                  </a:lnTo>
                  <a:lnTo>
                    <a:pt x="3600163" y="152740"/>
                  </a:lnTo>
                  <a:lnTo>
                    <a:pt x="3596744" y="149563"/>
                  </a:lnTo>
                  <a:lnTo>
                    <a:pt x="3588123" y="146780"/>
                  </a:lnTo>
                  <a:lnTo>
                    <a:pt x="3584281" y="147022"/>
                  </a:lnTo>
                  <a:lnTo>
                    <a:pt x="3571787" y="153345"/>
                  </a:lnTo>
                  <a:lnTo>
                    <a:pt x="3568399" y="150682"/>
                  </a:lnTo>
                  <a:lnTo>
                    <a:pt x="3598468" y="134286"/>
                  </a:lnTo>
                  <a:lnTo>
                    <a:pt x="3603581" y="126027"/>
                  </a:lnTo>
                  <a:lnTo>
                    <a:pt x="3603006" y="120824"/>
                  </a:lnTo>
                  <a:lnTo>
                    <a:pt x="3603641" y="115651"/>
                  </a:lnTo>
                  <a:lnTo>
                    <a:pt x="3604942" y="110841"/>
                  </a:lnTo>
                  <a:lnTo>
                    <a:pt x="3606394" y="106636"/>
                  </a:lnTo>
                  <a:lnTo>
                    <a:pt x="3608058" y="103732"/>
                  </a:lnTo>
                  <a:lnTo>
                    <a:pt x="3608935" y="101433"/>
                  </a:lnTo>
                  <a:lnTo>
                    <a:pt x="3609087" y="98952"/>
                  </a:lnTo>
                  <a:lnTo>
                    <a:pt x="3608088" y="97168"/>
                  </a:lnTo>
                  <a:lnTo>
                    <a:pt x="3606576" y="98075"/>
                  </a:lnTo>
                  <a:lnTo>
                    <a:pt x="3604942" y="99890"/>
                  </a:lnTo>
                  <a:lnTo>
                    <a:pt x="3603551" y="100889"/>
                  </a:lnTo>
                  <a:lnTo>
                    <a:pt x="3602462" y="100556"/>
                  </a:lnTo>
                  <a:lnTo>
                    <a:pt x="3601615" y="99436"/>
                  </a:lnTo>
                  <a:lnTo>
                    <a:pt x="3601040" y="97349"/>
                  </a:lnTo>
                  <a:lnTo>
                    <a:pt x="3600828" y="94173"/>
                  </a:lnTo>
                  <a:lnTo>
                    <a:pt x="3601372" y="91269"/>
                  </a:lnTo>
                  <a:lnTo>
                    <a:pt x="3602613" y="90361"/>
                  </a:lnTo>
                  <a:lnTo>
                    <a:pt x="3604095" y="89938"/>
                  </a:lnTo>
                  <a:lnTo>
                    <a:pt x="3605305" y="88425"/>
                  </a:lnTo>
                  <a:lnTo>
                    <a:pt x="3606818" y="85309"/>
                  </a:lnTo>
                  <a:lnTo>
                    <a:pt x="3607483" y="83312"/>
                  </a:lnTo>
                  <a:lnTo>
                    <a:pt x="3607725" y="80499"/>
                  </a:lnTo>
                  <a:lnTo>
                    <a:pt x="3607362" y="77988"/>
                  </a:lnTo>
                  <a:lnTo>
                    <a:pt x="3606727" y="76778"/>
                  </a:lnTo>
                  <a:lnTo>
                    <a:pt x="3606364" y="75296"/>
                  </a:lnTo>
                  <a:lnTo>
                    <a:pt x="3606999" y="71968"/>
                  </a:lnTo>
                  <a:lnTo>
                    <a:pt x="3602189" y="67945"/>
                  </a:lnTo>
                  <a:lnTo>
                    <a:pt x="3603157" y="64950"/>
                  </a:lnTo>
                  <a:lnTo>
                    <a:pt x="3603551" y="64073"/>
                  </a:lnTo>
                  <a:lnTo>
                    <a:pt x="3595746" y="65948"/>
                  </a:lnTo>
                  <a:lnTo>
                    <a:pt x="3571666" y="88758"/>
                  </a:lnTo>
                  <a:lnTo>
                    <a:pt x="3565010" y="98680"/>
                  </a:lnTo>
                  <a:lnTo>
                    <a:pt x="3559686" y="108784"/>
                  </a:lnTo>
                  <a:lnTo>
                    <a:pt x="3553273" y="115439"/>
                  </a:lnTo>
                  <a:lnTo>
                    <a:pt x="3550429" y="119917"/>
                  </a:lnTo>
                  <a:lnTo>
                    <a:pt x="3549794" y="122065"/>
                  </a:lnTo>
                  <a:lnTo>
                    <a:pt x="3548614" y="127359"/>
                  </a:lnTo>
                  <a:lnTo>
                    <a:pt x="3547706" y="129688"/>
                  </a:lnTo>
                  <a:lnTo>
                    <a:pt x="3545982" y="131291"/>
                  </a:lnTo>
                  <a:lnTo>
                    <a:pt x="3542292" y="131563"/>
                  </a:lnTo>
                  <a:lnTo>
                    <a:pt x="3541112" y="132653"/>
                  </a:lnTo>
                  <a:lnTo>
                    <a:pt x="3539357" y="138189"/>
                  </a:lnTo>
                  <a:lnTo>
                    <a:pt x="3535213" y="156763"/>
                  </a:lnTo>
                  <a:lnTo>
                    <a:pt x="3533034" y="162238"/>
                  </a:lnTo>
                  <a:lnTo>
                    <a:pt x="3530009" y="167139"/>
                  </a:lnTo>
                  <a:lnTo>
                    <a:pt x="3526682" y="170618"/>
                  </a:lnTo>
                  <a:lnTo>
                    <a:pt x="3523566" y="171949"/>
                  </a:lnTo>
                  <a:lnTo>
                    <a:pt x="3520813" y="174006"/>
                  </a:lnTo>
                  <a:lnTo>
                    <a:pt x="3499425" y="208251"/>
                  </a:lnTo>
                  <a:lnTo>
                    <a:pt x="3477765" y="235386"/>
                  </a:lnTo>
                  <a:lnTo>
                    <a:pt x="3475950" y="240075"/>
                  </a:lnTo>
                  <a:lnTo>
                    <a:pt x="3485419" y="243857"/>
                  </a:lnTo>
                  <a:lnTo>
                    <a:pt x="3487748" y="247578"/>
                  </a:lnTo>
                  <a:lnTo>
                    <a:pt x="3485419" y="253053"/>
                  </a:lnTo>
                  <a:lnTo>
                    <a:pt x="3478733" y="260828"/>
                  </a:lnTo>
                  <a:lnTo>
                    <a:pt x="3477342" y="265335"/>
                  </a:lnTo>
                  <a:lnTo>
                    <a:pt x="3476616" y="268270"/>
                  </a:lnTo>
                  <a:lnTo>
                    <a:pt x="3474952" y="271628"/>
                  </a:lnTo>
                  <a:lnTo>
                    <a:pt x="3473107" y="274411"/>
                  </a:lnTo>
                  <a:lnTo>
                    <a:pt x="3471866" y="275560"/>
                  </a:lnTo>
                  <a:lnTo>
                    <a:pt x="3469749" y="275923"/>
                  </a:lnTo>
                  <a:lnTo>
                    <a:pt x="3467782" y="277103"/>
                  </a:lnTo>
                  <a:lnTo>
                    <a:pt x="3466028" y="279130"/>
                  </a:lnTo>
                  <a:lnTo>
                    <a:pt x="3464636" y="282185"/>
                  </a:lnTo>
                  <a:lnTo>
                    <a:pt x="3460945" y="295405"/>
                  </a:lnTo>
                  <a:lnTo>
                    <a:pt x="3458828" y="301214"/>
                  </a:lnTo>
                  <a:lnTo>
                    <a:pt x="3456377" y="303634"/>
                  </a:lnTo>
                  <a:lnTo>
                    <a:pt x="3454048" y="304239"/>
                  </a:lnTo>
                  <a:lnTo>
                    <a:pt x="3449450" y="306780"/>
                  </a:lnTo>
                  <a:lnTo>
                    <a:pt x="3447090" y="307355"/>
                  </a:lnTo>
                  <a:lnTo>
                    <a:pt x="3444852" y="306356"/>
                  </a:lnTo>
                  <a:lnTo>
                    <a:pt x="3443642" y="304027"/>
                  </a:lnTo>
                  <a:lnTo>
                    <a:pt x="3442764" y="301486"/>
                  </a:lnTo>
                  <a:lnTo>
                    <a:pt x="3441554" y="299943"/>
                  </a:lnTo>
                  <a:lnTo>
                    <a:pt x="3442492" y="297069"/>
                  </a:lnTo>
                  <a:lnTo>
                    <a:pt x="3443884" y="295799"/>
                  </a:lnTo>
                  <a:lnTo>
                    <a:pt x="3447060" y="294346"/>
                  </a:lnTo>
                  <a:lnTo>
                    <a:pt x="3445699" y="292804"/>
                  </a:lnTo>
                  <a:lnTo>
                    <a:pt x="3444186" y="293227"/>
                  </a:lnTo>
                  <a:lnTo>
                    <a:pt x="3442552" y="294195"/>
                  </a:lnTo>
                  <a:lnTo>
                    <a:pt x="3440798" y="294316"/>
                  </a:lnTo>
                  <a:lnTo>
                    <a:pt x="3442220" y="288599"/>
                  </a:lnTo>
                  <a:lnTo>
                    <a:pt x="3442916" y="286905"/>
                  </a:lnTo>
                  <a:lnTo>
                    <a:pt x="3436139" y="289930"/>
                  </a:lnTo>
                  <a:lnTo>
                    <a:pt x="3434597" y="292320"/>
                  </a:lnTo>
                  <a:lnTo>
                    <a:pt x="3433961" y="296494"/>
                  </a:lnTo>
                  <a:lnTo>
                    <a:pt x="3434566" y="299217"/>
                  </a:lnTo>
                  <a:lnTo>
                    <a:pt x="3435716" y="301335"/>
                  </a:lnTo>
                  <a:lnTo>
                    <a:pt x="3436714" y="303634"/>
                  </a:lnTo>
                  <a:lnTo>
                    <a:pt x="3437107" y="311257"/>
                  </a:lnTo>
                  <a:lnTo>
                    <a:pt x="3433810" y="311348"/>
                  </a:lnTo>
                  <a:lnTo>
                    <a:pt x="3429696" y="306901"/>
                  </a:lnTo>
                  <a:lnTo>
                    <a:pt x="3427699" y="300941"/>
                  </a:lnTo>
                  <a:lnTo>
                    <a:pt x="3427880" y="288357"/>
                  </a:lnTo>
                  <a:lnTo>
                    <a:pt x="3428062" y="285876"/>
                  </a:lnTo>
                  <a:lnTo>
                    <a:pt x="3429847" y="282518"/>
                  </a:lnTo>
                  <a:lnTo>
                    <a:pt x="3430422" y="280643"/>
                  </a:lnTo>
                  <a:lnTo>
                    <a:pt x="3429877" y="276680"/>
                  </a:lnTo>
                  <a:lnTo>
                    <a:pt x="3429998" y="274623"/>
                  </a:lnTo>
                  <a:lnTo>
                    <a:pt x="3430392" y="272626"/>
                  </a:lnTo>
                  <a:lnTo>
                    <a:pt x="3431118" y="270115"/>
                  </a:lnTo>
                  <a:lnTo>
                    <a:pt x="3431208" y="269298"/>
                  </a:lnTo>
                  <a:lnTo>
                    <a:pt x="3431208" y="267271"/>
                  </a:lnTo>
                  <a:lnTo>
                    <a:pt x="3431390" y="266273"/>
                  </a:lnTo>
                  <a:lnTo>
                    <a:pt x="3432418" y="266001"/>
                  </a:lnTo>
                  <a:lnTo>
                    <a:pt x="3432902" y="265305"/>
                  </a:lnTo>
                  <a:lnTo>
                    <a:pt x="3433719" y="263641"/>
                  </a:lnTo>
                  <a:lnTo>
                    <a:pt x="3434838" y="262129"/>
                  </a:lnTo>
                  <a:lnTo>
                    <a:pt x="3436049" y="261040"/>
                  </a:lnTo>
                  <a:lnTo>
                    <a:pt x="3439225" y="259406"/>
                  </a:lnTo>
                  <a:lnTo>
                    <a:pt x="3453624" y="244976"/>
                  </a:lnTo>
                  <a:lnTo>
                    <a:pt x="3454381" y="242314"/>
                  </a:lnTo>
                  <a:lnTo>
                    <a:pt x="3453897" y="238109"/>
                  </a:lnTo>
                  <a:lnTo>
                    <a:pt x="3452172" y="236082"/>
                  </a:lnTo>
                  <a:lnTo>
                    <a:pt x="3449873" y="237807"/>
                  </a:lnTo>
                  <a:lnTo>
                    <a:pt x="3447514" y="240620"/>
                  </a:lnTo>
                  <a:lnTo>
                    <a:pt x="3445668" y="241860"/>
                  </a:lnTo>
                  <a:lnTo>
                    <a:pt x="3443914" y="239924"/>
                  </a:lnTo>
                  <a:lnTo>
                    <a:pt x="3443974" y="236929"/>
                  </a:lnTo>
                  <a:lnTo>
                    <a:pt x="3445215" y="233965"/>
                  </a:lnTo>
                  <a:lnTo>
                    <a:pt x="3447030" y="232301"/>
                  </a:lnTo>
                  <a:lnTo>
                    <a:pt x="3444216" y="232301"/>
                  </a:lnTo>
                  <a:lnTo>
                    <a:pt x="3442855" y="231847"/>
                  </a:lnTo>
                  <a:lnTo>
                    <a:pt x="3441524" y="230576"/>
                  </a:lnTo>
                  <a:lnTo>
                    <a:pt x="3449117" y="221047"/>
                  </a:lnTo>
                  <a:lnTo>
                    <a:pt x="3453261" y="219262"/>
                  </a:lnTo>
                  <a:lnTo>
                    <a:pt x="3459161" y="223135"/>
                  </a:lnTo>
                  <a:lnTo>
                    <a:pt x="3459977" y="221320"/>
                  </a:lnTo>
                  <a:lnTo>
                    <a:pt x="3459917" y="217901"/>
                  </a:lnTo>
                  <a:lnTo>
                    <a:pt x="3458102" y="209824"/>
                  </a:lnTo>
                  <a:lnTo>
                    <a:pt x="3458677" y="206103"/>
                  </a:lnTo>
                  <a:lnTo>
                    <a:pt x="3460250" y="203895"/>
                  </a:lnTo>
                  <a:lnTo>
                    <a:pt x="3462246" y="203895"/>
                  </a:lnTo>
                  <a:lnTo>
                    <a:pt x="3457829" y="197693"/>
                  </a:lnTo>
                  <a:lnTo>
                    <a:pt x="3443158" y="199659"/>
                  </a:lnTo>
                  <a:lnTo>
                    <a:pt x="3439376" y="194577"/>
                  </a:lnTo>
                  <a:lnTo>
                    <a:pt x="3457769" y="195424"/>
                  </a:lnTo>
                  <a:lnTo>
                    <a:pt x="3462246" y="188739"/>
                  </a:lnTo>
                  <a:lnTo>
                    <a:pt x="3458102" y="183989"/>
                  </a:lnTo>
                  <a:lnTo>
                    <a:pt x="3440768" y="190796"/>
                  </a:lnTo>
                  <a:lnTo>
                    <a:pt x="3443551" y="185320"/>
                  </a:lnTo>
                  <a:lnTo>
                    <a:pt x="3457436" y="173734"/>
                  </a:lnTo>
                  <a:lnTo>
                    <a:pt x="3459009" y="171647"/>
                  </a:lnTo>
                  <a:lnTo>
                    <a:pt x="3462276" y="165959"/>
                  </a:lnTo>
                  <a:lnTo>
                    <a:pt x="3464273" y="164114"/>
                  </a:lnTo>
                  <a:lnTo>
                    <a:pt x="3468992" y="161936"/>
                  </a:lnTo>
                  <a:lnTo>
                    <a:pt x="3476464" y="152104"/>
                  </a:lnTo>
                  <a:lnTo>
                    <a:pt x="3478340" y="146659"/>
                  </a:lnTo>
                  <a:lnTo>
                    <a:pt x="3484965" y="144057"/>
                  </a:lnTo>
                  <a:lnTo>
                    <a:pt x="3489745" y="136252"/>
                  </a:lnTo>
                  <a:lnTo>
                    <a:pt x="3493496" y="134558"/>
                  </a:lnTo>
                  <a:lnTo>
                    <a:pt x="3495795" y="132562"/>
                  </a:lnTo>
                  <a:lnTo>
                    <a:pt x="3497913" y="129597"/>
                  </a:lnTo>
                  <a:lnTo>
                    <a:pt x="3499455" y="125906"/>
                  </a:lnTo>
                  <a:lnTo>
                    <a:pt x="3497852" y="122428"/>
                  </a:lnTo>
                  <a:lnTo>
                    <a:pt x="3497247" y="120582"/>
                  </a:lnTo>
                  <a:lnTo>
                    <a:pt x="3496702" y="118071"/>
                  </a:lnTo>
                  <a:lnTo>
                    <a:pt x="3506444" y="114834"/>
                  </a:lnTo>
                  <a:lnTo>
                    <a:pt x="3509166" y="112293"/>
                  </a:lnTo>
                  <a:lnTo>
                    <a:pt x="3513916" y="103581"/>
                  </a:lnTo>
                  <a:lnTo>
                    <a:pt x="3516396" y="100193"/>
                  </a:lnTo>
                  <a:lnTo>
                    <a:pt x="3520783" y="97954"/>
                  </a:lnTo>
                  <a:lnTo>
                    <a:pt x="3523505" y="93961"/>
                  </a:lnTo>
                  <a:lnTo>
                    <a:pt x="3526470" y="92176"/>
                  </a:lnTo>
                  <a:lnTo>
                    <a:pt x="3526530" y="89998"/>
                  </a:lnTo>
                  <a:lnTo>
                    <a:pt x="3525804" y="87396"/>
                  </a:lnTo>
                  <a:lnTo>
                    <a:pt x="3524958" y="85188"/>
                  </a:lnTo>
                  <a:lnTo>
                    <a:pt x="3522053" y="80953"/>
                  </a:lnTo>
                  <a:lnTo>
                    <a:pt x="3519179" y="81437"/>
                  </a:lnTo>
                  <a:lnTo>
                    <a:pt x="3516154" y="83796"/>
                  </a:lnTo>
                  <a:lnTo>
                    <a:pt x="3512887" y="85218"/>
                  </a:lnTo>
                  <a:lnTo>
                    <a:pt x="3512373" y="86156"/>
                  </a:lnTo>
                  <a:lnTo>
                    <a:pt x="3511647" y="88213"/>
                  </a:lnTo>
                  <a:lnTo>
                    <a:pt x="3510648" y="90270"/>
                  </a:lnTo>
                  <a:lnTo>
                    <a:pt x="3509408" y="91178"/>
                  </a:lnTo>
                  <a:lnTo>
                    <a:pt x="3508470" y="90361"/>
                  </a:lnTo>
                  <a:lnTo>
                    <a:pt x="3507442" y="88425"/>
                  </a:lnTo>
                  <a:lnTo>
                    <a:pt x="3506595" y="86156"/>
                  </a:lnTo>
                  <a:lnTo>
                    <a:pt x="3506262" y="84341"/>
                  </a:lnTo>
                  <a:lnTo>
                    <a:pt x="3504326" y="80983"/>
                  </a:lnTo>
                  <a:lnTo>
                    <a:pt x="3500000" y="81074"/>
                  </a:lnTo>
                  <a:lnTo>
                    <a:pt x="3495402" y="82980"/>
                  </a:lnTo>
                  <a:lnTo>
                    <a:pt x="3492588" y="85218"/>
                  </a:lnTo>
                  <a:lnTo>
                    <a:pt x="3489715" y="91904"/>
                  </a:lnTo>
                  <a:lnTo>
                    <a:pt x="3489019" y="93084"/>
                  </a:lnTo>
                  <a:lnTo>
                    <a:pt x="3487567" y="92630"/>
                  </a:lnTo>
                  <a:lnTo>
                    <a:pt x="3485751" y="88485"/>
                  </a:lnTo>
                  <a:lnTo>
                    <a:pt x="3484904" y="88274"/>
                  </a:lnTo>
                  <a:lnTo>
                    <a:pt x="3480216" y="95534"/>
                  </a:lnTo>
                  <a:lnTo>
                    <a:pt x="3477795" y="96260"/>
                  </a:lnTo>
                  <a:lnTo>
                    <a:pt x="3475920" y="91148"/>
                  </a:lnTo>
                  <a:lnTo>
                    <a:pt x="3478007" y="90301"/>
                  </a:lnTo>
                  <a:lnTo>
                    <a:pt x="3482969" y="85975"/>
                  </a:lnTo>
                  <a:lnTo>
                    <a:pt x="3484904" y="83433"/>
                  </a:lnTo>
                  <a:lnTo>
                    <a:pt x="3486357" y="80408"/>
                  </a:lnTo>
                  <a:lnTo>
                    <a:pt x="3487385" y="76566"/>
                  </a:lnTo>
                  <a:lnTo>
                    <a:pt x="3487264" y="73269"/>
                  </a:lnTo>
                  <a:lnTo>
                    <a:pt x="3475406" y="61471"/>
                  </a:lnTo>
                  <a:lnTo>
                    <a:pt x="3470051" y="58174"/>
                  </a:lnTo>
                  <a:lnTo>
                    <a:pt x="3467722" y="64829"/>
                  </a:lnTo>
                  <a:lnTo>
                    <a:pt x="3468296" y="68308"/>
                  </a:lnTo>
                  <a:lnTo>
                    <a:pt x="3469628" y="72513"/>
                  </a:lnTo>
                  <a:lnTo>
                    <a:pt x="3471080" y="76022"/>
                  </a:lnTo>
                  <a:lnTo>
                    <a:pt x="3472108" y="77474"/>
                  </a:lnTo>
                  <a:lnTo>
                    <a:pt x="3473227" y="79531"/>
                  </a:lnTo>
                  <a:lnTo>
                    <a:pt x="3472774" y="84129"/>
                  </a:lnTo>
                  <a:lnTo>
                    <a:pt x="3468508" y="102673"/>
                  </a:lnTo>
                  <a:lnTo>
                    <a:pt x="3467661" y="104428"/>
                  </a:lnTo>
                  <a:lnTo>
                    <a:pt x="3464636" y="103944"/>
                  </a:lnTo>
                  <a:lnTo>
                    <a:pt x="3462972" y="104156"/>
                  </a:lnTo>
                  <a:lnTo>
                    <a:pt x="3461823" y="105487"/>
                  </a:lnTo>
                  <a:lnTo>
                    <a:pt x="3460976" y="107816"/>
                  </a:lnTo>
                  <a:lnTo>
                    <a:pt x="3460129" y="109571"/>
                  </a:lnTo>
                  <a:lnTo>
                    <a:pt x="3459191" y="110539"/>
                  </a:lnTo>
                  <a:lnTo>
                    <a:pt x="3457981" y="110387"/>
                  </a:lnTo>
                  <a:lnTo>
                    <a:pt x="3460038" y="100798"/>
                  </a:lnTo>
                  <a:lnTo>
                    <a:pt x="3457618" y="90391"/>
                  </a:lnTo>
                  <a:lnTo>
                    <a:pt x="3456619" y="87336"/>
                  </a:lnTo>
                  <a:lnTo>
                    <a:pt x="3451386" y="78714"/>
                  </a:lnTo>
                  <a:lnTo>
                    <a:pt x="3450025" y="77504"/>
                  </a:lnTo>
                  <a:lnTo>
                    <a:pt x="3449722" y="76899"/>
                  </a:lnTo>
                  <a:lnTo>
                    <a:pt x="3449359" y="75568"/>
                  </a:lnTo>
                  <a:lnTo>
                    <a:pt x="3448754" y="74267"/>
                  </a:lnTo>
                  <a:lnTo>
                    <a:pt x="3447635" y="73632"/>
                  </a:lnTo>
                  <a:lnTo>
                    <a:pt x="3446818" y="74207"/>
                  </a:lnTo>
                  <a:lnTo>
                    <a:pt x="3444519" y="77111"/>
                  </a:lnTo>
                  <a:lnTo>
                    <a:pt x="3440949" y="84190"/>
                  </a:lnTo>
                  <a:lnTo>
                    <a:pt x="3440042" y="87396"/>
                  </a:lnTo>
                  <a:lnTo>
                    <a:pt x="3440042" y="93114"/>
                  </a:lnTo>
                  <a:lnTo>
                    <a:pt x="3438136" y="91662"/>
                  </a:lnTo>
                  <a:lnTo>
                    <a:pt x="3433749" y="90633"/>
                  </a:lnTo>
                  <a:lnTo>
                    <a:pt x="3432085" y="88334"/>
                  </a:lnTo>
                  <a:lnTo>
                    <a:pt x="3430361" y="86549"/>
                  </a:lnTo>
                  <a:lnTo>
                    <a:pt x="3426489" y="88969"/>
                  </a:lnTo>
                  <a:lnTo>
                    <a:pt x="3424795" y="87396"/>
                  </a:lnTo>
                  <a:lnTo>
                    <a:pt x="3428183" y="85823"/>
                  </a:lnTo>
                  <a:lnTo>
                    <a:pt x="3432116" y="82314"/>
                  </a:lnTo>
                  <a:lnTo>
                    <a:pt x="3435837" y="77474"/>
                  </a:lnTo>
                  <a:lnTo>
                    <a:pt x="3438590" y="71938"/>
                  </a:lnTo>
                  <a:lnTo>
                    <a:pt x="3439558" y="63528"/>
                  </a:lnTo>
                  <a:lnTo>
                    <a:pt x="3436593" y="59626"/>
                  </a:lnTo>
                  <a:lnTo>
                    <a:pt x="3432570" y="59414"/>
                  </a:lnTo>
                  <a:lnTo>
                    <a:pt x="3430331" y="62106"/>
                  </a:lnTo>
                  <a:lnTo>
                    <a:pt x="3432025" y="63377"/>
                  </a:lnTo>
                  <a:lnTo>
                    <a:pt x="3431027" y="66886"/>
                  </a:lnTo>
                  <a:lnTo>
                    <a:pt x="3430029" y="71393"/>
                  </a:lnTo>
                  <a:lnTo>
                    <a:pt x="3431722" y="75810"/>
                  </a:lnTo>
                  <a:lnTo>
                    <a:pt x="3415175" y="77565"/>
                  </a:lnTo>
                  <a:lnTo>
                    <a:pt x="3416869" y="75296"/>
                  </a:lnTo>
                  <a:lnTo>
                    <a:pt x="3418503" y="73662"/>
                  </a:lnTo>
                  <a:lnTo>
                    <a:pt x="3419138" y="71817"/>
                  </a:lnTo>
                  <a:lnTo>
                    <a:pt x="3417837" y="68883"/>
                  </a:lnTo>
                  <a:lnTo>
                    <a:pt x="3416627" y="67824"/>
                  </a:lnTo>
                  <a:lnTo>
                    <a:pt x="3413784" y="66462"/>
                  </a:lnTo>
                  <a:lnTo>
                    <a:pt x="3412755" y="64920"/>
                  </a:lnTo>
                  <a:lnTo>
                    <a:pt x="3411968" y="62530"/>
                  </a:lnTo>
                  <a:lnTo>
                    <a:pt x="3411363" y="61138"/>
                  </a:lnTo>
                  <a:lnTo>
                    <a:pt x="3410486" y="60503"/>
                  </a:lnTo>
                  <a:lnTo>
                    <a:pt x="3399595" y="57810"/>
                  </a:lnTo>
                  <a:lnTo>
                    <a:pt x="3396661" y="58385"/>
                  </a:lnTo>
                  <a:lnTo>
                    <a:pt x="3393817" y="59837"/>
                  </a:lnTo>
                  <a:lnTo>
                    <a:pt x="3391700" y="62076"/>
                  </a:lnTo>
                  <a:lnTo>
                    <a:pt x="3393303" y="63921"/>
                  </a:lnTo>
                  <a:lnTo>
                    <a:pt x="3396903" y="64224"/>
                  </a:lnTo>
                  <a:lnTo>
                    <a:pt x="3398567" y="65767"/>
                  </a:lnTo>
                  <a:lnTo>
                    <a:pt x="3396570" y="65646"/>
                  </a:lnTo>
                  <a:lnTo>
                    <a:pt x="3394271" y="66372"/>
                  </a:lnTo>
                  <a:lnTo>
                    <a:pt x="3392033" y="67793"/>
                  </a:lnTo>
                  <a:lnTo>
                    <a:pt x="3390339" y="69820"/>
                  </a:lnTo>
                  <a:lnTo>
                    <a:pt x="3391185" y="72876"/>
                  </a:lnTo>
                  <a:lnTo>
                    <a:pt x="3392426" y="74691"/>
                  </a:lnTo>
                  <a:lnTo>
                    <a:pt x="3395844" y="77534"/>
                  </a:lnTo>
                  <a:lnTo>
                    <a:pt x="3395088" y="78351"/>
                  </a:lnTo>
                  <a:lnTo>
                    <a:pt x="3393757" y="81376"/>
                  </a:lnTo>
                  <a:lnTo>
                    <a:pt x="3396722" y="81497"/>
                  </a:lnTo>
                  <a:lnTo>
                    <a:pt x="3405494" y="87336"/>
                  </a:lnTo>
                  <a:lnTo>
                    <a:pt x="3404042" y="91329"/>
                  </a:lnTo>
                  <a:lnTo>
                    <a:pt x="3401350" y="91087"/>
                  </a:lnTo>
                  <a:lnTo>
                    <a:pt x="3398325" y="89423"/>
                  </a:lnTo>
                  <a:lnTo>
                    <a:pt x="3395844" y="89242"/>
                  </a:lnTo>
                  <a:lnTo>
                    <a:pt x="3394301" y="91238"/>
                  </a:lnTo>
                  <a:lnTo>
                    <a:pt x="3394060" y="93477"/>
                  </a:lnTo>
                  <a:lnTo>
                    <a:pt x="3393999" y="96502"/>
                  </a:lnTo>
                  <a:lnTo>
                    <a:pt x="3393031" y="100828"/>
                  </a:lnTo>
                  <a:lnTo>
                    <a:pt x="3395875" y="103611"/>
                  </a:lnTo>
                  <a:lnTo>
                    <a:pt x="3397024" y="105578"/>
                  </a:lnTo>
                  <a:lnTo>
                    <a:pt x="3397931" y="108330"/>
                  </a:lnTo>
                  <a:lnTo>
                    <a:pt x="3396510" y="113685"/>
                  </a:lnTo>
                  <a:lnTo>
                    <a:pt x="3394543" y="113685"/>
                  </a:lnTo>
                  <a:lnTo>
                    <a:pt x="3390308" y="108330"/>
                  </a:lnTo>
                  <a:lnTo>
                    <a:pt x="3384893" y="104730"/>
                  </a:lnTo>
                  <a:lnTo>
                    <a:pt x="3379236" y="102915"/>
                  </a:lnTo>
                  <a:lnTo>
                    <a:pt x="3379418" y="98287"/>
                  </a:lnTo>
                  <a:lnTo>
                    <a:pt x="3377935" y="96411"/>
                  </a:lnTo>
                  <a:lnTo>
                    <a:pt x="3373670" y="95050"/>
                  </a:lnTo>
                  <a:lnTo>
                    <a:pt x="3374426" y="93114"/>
                  </a:lnTo>
                  <a:lnTo>
                    <a:pt x="3372369" y="89121"/>
                  </a:lnTo>
                  <a:lnTo>
                    <a:pt x="3369132" y="90270"/>
                  </a:lnTo>
                  <a:lnTo>
                    <a:pt x="3359633" y="97168"/>
                  </a:lnTo>
                  <a:lnTo>
                    <a:pt x="3359452" y="102159"/>
                  </a:lnTo>
                  <a:lnTo>
                    <a:pt x="3359512" y="107937"/>
                  </a:lnTo>
                  <a:lnTo>
                    <a:pt x="3357213" y="112354"/>
                  </a:lnTo>
                  <a:lnTo>
                    <a:pt x="3359301" y="116468"/>
                  </a:lnTo>
                  <a:lnTo>
                    <a:pt x="3361963" y="118102"/>
                  </a:lnTo>
                  <a:lnTo>
                    <a:pt x="3367499" y="118102"/>
                  </a:lnTo>
                  <a:lnTo>
                    <a:pt x="3379236" y="121944"/>
                  </a:lnTo>
                  <a:lnTo>
                    <a:pt x="3384439" y="121460"/>
                  </a:lnTo>
                  <a:lnTo>
                    <a:pt x="3386103" y="121944"/>
                  </a:lnTo>
                  <a:lnTo>
                    <a:pt x="3387283" y="123093"/>
                  </a:lnTo>
                  <a:lnTo>
                    <a:pt x="3389552" y="127691"/>
                  </a:lnTo>
                  <a:lnTo>
                    <a:pt x="3391700" y="129930"/>
                  </a:lnTo>
                  <a:lnTo>
                    <a:pt x="3398506" y="133439"/>
                  </a:lnTo>
                  <a:lnTo>
                    <a:pt x="3397599" y="134982"/>
                  </a:lnTo>
                  <a:lnTo>
                    <a:pt x="3397145" y="135345"/>
                  </a:lnTo>
                  <a:lnTo>
                    <a:pt x="3399111" y="139368"/>
                  </a:lnTo>
                  <a:lnTo>
                    <a:pt x="3405464" y="145782"/>
                  </a:lnTo>
                  <a:lnTo>
                    <a:pt x="3406856" y="151650"/>
                  </a:lnTo>
                  <a:lnTo>
                    <a:pt x="3405343" y="158124"/>
                  </a:lnTo>
                  <a:lnTo>
                    <a:pt x="3401773" y="160000"/>
                  </a:lnTo>
                  <a:lnTo>
                    <a:pt x="3397659" y="158971"/>
                  </a:lnTo>
                  <a:lnTo>
                    <a:pt x="3394453" y="156672"/>
                  </a:lnTo>
                  <a:lnTo>
                    <a:pt x="3382715" y="142182"/>
                  </a:lnTo>
                  <a:lnTo>
                    <a:pt x="3380628" y="140699"/>
                  </a:lnTo>
                  <a:lnTo>
                    <a:pt x="3373700" y="141214"/>
                  </a:lnTo>
                  <a:lnTo>
                    <a:pt x="3369828" y="138884"/>
                  </a:lnTo>
                  <a:lnTo>
                    <a:pt x="3368013" y="138552"/>
                  </a:lnTo>
                  <a:lnTo>
                    <a:pt x="3366167" y="140185"/>
                  </a:lnTo>
                  <a:lnTo>
                    <a:pt x="3362144" y="145449"/>
                  </a:lnTo>
                  <a:lnTo>
                    <a:pt x="3360964" y="147930"/>
                  </a:lnTo>
                  <a:lnTo>
                    <a:pt x="3360390" y="150834"/>
                  </a:lnTo>
                  <a:lnTo>
                    <a:pt x="3360329" y="157640"/>
                  </a:lnTo>
                  <a:lnTo>
                    <a:pt x="3359996" y="160302"/>
                  </a:lnTo>
                  <a:lnTo>
                    <a:pt x="3359180" y="162238"/>
                  </a:lnTo>
                  <a:lnTo>
                    <a:pt x="3358332" y="163025"/>
                  </a:lnTo>
                  <a:lnTo>
                    <a:pt x="3357455" y="163388"/>
                  </a:lnTo>
                  <a:lnTo>
                    <a:pt x="3356548" y="164114"/>
                  </a:lnTo>
                  <a:lnTo>
                    <a:pt x="3353764" y="168077"/>
                  </a:lnTo>
                  <a:lnTo>
                    <a:pt x="3343872" y="178181"/>
                  </a:lnTo>
                  <a:lnTo>
                    <a:pt x="3342904" y="180268"/>
                  </a:lnTo>
                  <a:lnTo>
                    <a:pt x="3344114" y="181206"/>
                  </a:lnTo>
                  <a:lnTo>
                    <a:pt x="3355852" y="185169"/>
                  </a:lnTo>
                  <a:lnTo>
                    <a:pt x="3358605" y="187952"/>
                  </a:lnTo>
                  <a:lnTo>
                    <a:pt x="3364292" y="196453"/>
                  </a:lnTo>
                  <a:lnTo>
                    <a:pt x="3367227" y="198238"/>
                  </a:lnTo>
                  <a:lnTo>
                    <a:pt x="3368316" y="199508"/>
                  </a:lnTo>
                  <a:lnTo>
                    <a:pt x="3368527" y="202049"/>
                  </a:lnTo>
                  <a:lnTo>
                    <a:pt x="3367801" y="203864"/>
                  </a:lnTo>
                  <a:lnTo>
                    <a:pt x="3366167" y="202957"/>
                  </a:lnTo>
                  <a:lnTo>
                    <a:pt x="3363869" y="199962"/>
                  </a:lnTo>
                  <a:lnTo>
                    <a:pt x="3362568" y="198722"/>
                  </a:lnTo>
                  <a:lnTo>
                    <a:pt x="3351345" y="193428"/>
                  </a:lnTo>
                  <a:lnTo>
                    <a:pt x="3324330" y="189132"/>
                  </a:lnTo>
                  <a:lnTo>
                    <a:pt x="3316525" y="192550"/>
                  </a:lnTo>
                  <a:lnTo>
                    <a:pt x="3314044" y="195334"/>
                  </a:lnTo>
                  <a:lnTo>
                    <a:pt x="3307541" y="205922"/>
                  </a:lnTo>
                  <a:lnTo>
                    <a:pt x="3296619" y="216298"/>
                  </a:lnTo>
                  <a:lnTo>
                    <a:pt x="3291416" y="223044"/>
                  </a:lnTo>
                  <a:lnTo>
                    <a:pt x="3288543" y="225736"/>
                  </a:lnTo>
                  <a:lnTo>
                    <a:pt x="3285850" y="226825"/>
                  </a:lnTo>
                  <a:lnTo>
                    <a:pt x="3283612" y="228882"/>
                  </a:lnTo>
                  <a:lnTo>
                    <a:pt x="3280496" y="238593"/>
                  </a:lnTo>
                  <a:lnTo>
                    <a:pt x="3278620" y="241860"/>
                  </a:lnTo>
                  <a:lnTo>
                    <a:pt x="3280526" y="242647"/>
                  </a:lnTo>
                  <a:lnTo>
                    <a:pt x="3284731" y="240317"/>
                  </a:lnTo>
                  <a:lnTo>
                    <a:pt x="3286909" y="239985"/>
                  </a:lnTo>
                  <a:lnTo>
                    <a:pt x="3284156" y="245279"/>
                  </a:lnTo>
                  <a:lnTo>
                    <a:pt x="3283490" y="247487"/>
                  </a:lnTo>
                  <a:lnTo>
                    <a:pt x="3293806" y="245611"/>
                  </a:lnTo>
                  <a:lnTo>
                    <a:pt x="3289420" y="249453"/>
                  </a:lnTo>
                  <a:lnTo>
                    <a:pt x="3272176" y="252751"/>
                  </a:lnTo>
                  <a:lnTo>
                    <a:pt x="3263464" y="258680"/>
                  </a:lnTo>
                  <a:lnTo>
                    <a:pt x="3261377" y="262280"/>
                  </a:lnTo>
                  <a:lnTo>
                    <a:pt x="3279316" y="258952"/>
                  </a:lnTo>
                  <a:lnTo>
                    <a:pt x="3282583" y="259678"/>
                  </a:lnTo>
                  <a:lnTo>
                    <a:pt x="3285487" y="262280"/>
                  </a:lnTo>
                  <a:lnTo>
                    <a:pt x="3282795" y="262280"/>
                  </a:lnTo>
                  <a:lnTo>
                    <a:pt x="3282643" y="264004"/>
                  </a:lnTo>
                  <a:lnTo>
                    <a:pt x="3281040" y="264549"/>
                  </a:lnTo>
                  <a:lnTo>
                    <a:pt x="3274022" y="264882"/>
                  </a:lnTo>
                  <a:lnTo>
                    <a:pt x="3270997" y="266213"/>
                  </a:lnTo>
                  <a:lnTo>
                    <a:pt x="3259713" y="267453"/>
                  </a:lnTo>
                  <a:lnTo>
                    <a:pt x="3256506" y="269964"/>
                  </a:lnTo>
                  <a:lnTo>
                    <a:pt x="3260227" y="274713"/>
                  </a:lnTo>
                  <a:lnTo>
                    <a:pt x="3265037" y="276196"/>
                  </a:lnTo>
                  <a:lnTo>
                    <a:pt x="3274445" y="275560"/>
                  </a:lnTo>
                  <a:lnTo>
                    <a:pt x="3272539" y="279554"/>
                  </a:lnTo>
                  <a:lnTo>
                    <a:pt x="3264946" y="281036"/>
                  </a:lnTo>
                  <a:lnTo>
                    <a:pt x="3262073" y="283184"/>
                  </a:lnTo>
                  <a:lnTo>
                    <a:pt x="3264553" y="285453"/>
                  </a:lnTo>
                  <a:lnTo>
                    <a:pt x="3270149" y="288084"/>
                  </a:lnTo>
                  <a:lnTo>
                    <a:pt x="3272449" y="290656"/>
                  </a:lnTo>
                  <a:lnTo>
                    <a:pt x="3270149" y="295284"/>
                  </a:lnTo>
                  <a:lnTo>
                    <a:pt x="3268002" y="297432"/>
                  </a:lnTo>
                  <a:lnTo>
                    <a:pt x="3259743" y="298430"/>
                  </a:lnTo>
                  <a:lnTo>
                    <a:pt x="3258109" y="299308"/>
                  </a:lnTo>
                  <a:lnTo>
                    <a:pt x="3256597" y="300972"/>
                  </a:lnTo>
                  <a:lnTo>
                    <a:pt x="3254933" y="302242"/>
                  </a:lnTo>
                  <a:lnTo>
                    <a:pt x="3251363" y="302242"/>
                  </a:lnTo>
                  <a:lnTo>
                    <a:pt x="3249699" y="303664"/>
                  </a:lnTo>
                  <a:lnTo>
                    <a:pt x="3259471" y="316127"/>
                  </a:lnTo>
                  <a:lnTo>
                    <a:pt x="3261891" y="317973"/>
                  </a:lnTo>
                  <a:lnTo>
                    <a:pt x="3281191" y="319485"/>
                  </a:lnTo>
                  <a:lnTo>
                    <a:pt x="3286304" y="322208"/>
                  </a:lnTo>
                  <a:lnTo>
                    <a:pt x="3284640" y="324689"/>
                  </a:lnTo>
                  <a:lnTo>
                    <a:pt x="3282583" y="325657"/>
                  </a:lnTo>
                  <a:lnTo>
                    <a:pt x="3280828" y="327048"/>
                  </a:lnTo>
                  <a:lnTo>
                    <a:pt x="3280102" y="330709"/>
                  </a:lnTo>
                  <a:lnTo>
                    <a:pt x="3279074" y="332615"/>
                  </a:lnTo>
                  <a:lnTo>
                    <a:pt x="3274385" y="334702"/>
                  </a:lnTo>
                  <a:lnTo>
                    <a:pt x="3265249" y="342719"/>
                  </a:lnTo>
                  <a:lnTo>
                    <a:pt x="3263222" y="342355"/>
                  </a:lnTo>
                  <a:lnTo>
                    <a:pt x="3263222" y="341206"/>
                  </a:lnTo>
                  <a:lnTo>
                    <a:pt x="3265945" y="336214"/>
                  </a:lnTo>
                  <a:lnTo>
                    <a:pt x="3266187" y="334823"/>
                  </a:lnTo>
                  <a:lnTo>
                    <a:pt x="3265763" y="333885"/>
                  </a:lnTo>
                  <a:lnTo>
                    <a:pt x="3264583" y="332524"/>
                  </a:lnTo>
                  <a:lnTo>
                    <a:pt x="3263888" y="330527"/>
                  </a:lnTo>
                  <a:lnTo>
                    <a:pt x="3263706" y="329741"/>
                  </a:lnTo>
                  <a:lnTo>
                    <a:pt x="3262193" y="329831"/>
                  </a:lnTo>
                  <a:lnTo>
                    <a:pt x="3260621" y="330588"/>
                  </a:lnTo>
                  <a:lnTo>
                    <a:pt x="3248096" y="342023"/>
                  </a:lnTo>
                  <a:lnTo>
                    <a:pt x="3244708" y="343838"/>
                  </a:lnTo>
                  <a:lnTo>
                    <a:pt x="3241592" y="340903"/>
                  </a:lnTo>
                  <a:lnTo>
                    <a:pt x="3243135" y="340359"/>
                  </a:lnTo>
                  <a:lnTo>
                    <a:pt x="3244496" y="339361"/>
                  </a:lnTo>
                  <a:lnTo>
                    <a:pt x="3245767" y="337788"/>
                  </a:lnTo>
                  <a:lnTo>
                    <a:pt x="3247068" y="335367"/>
                  </a:lnTo>
                  <a:lnTo>
                    <a:pt x="3244587" y="332070"/>
                  </a:lnTo>
                  <a:lnTo>
                    <a:pt x="3244133" y="329105"/>
                  </a:lnTo>
                  <a:lnTo>
                    <a:pt x="3244587" y="325324"/>
                  </a:lnTo>
                  <a:lnTo>
                    <a:pt x="3244980" y="319667"/>
                  </a:lnTo>
                  <a:lnTo>
                    <a:pt x="3243619" y="317156"/>
                  </a:lnTo>
                  <a:lnTo>
                    <a:pt x="3240594" y="318094"/>
                  </a:lnTo>
                  <a:lnTo>
                    <a:pt x="3237327" y="320060"/>
                  </a:lnTo>
                  <a:lnTo>
                    <a:pt x="3235300" y="320605"/>
                  </a:lnTo>
                  <a:lnTo>
                    <a:pt x="3234090" y="318517"/>
                  </a:lnTo>
                  <a:lnTo>
                    <a:pt x="3233001" y="315159"/>
                  </a:lnTo>
                  <a:lnTo>
                    <a:pt x="3232214" y="310985"/>
                  </a:lnTo>
                  <a:lnTo>
                    <a:pt x="3231912" y="306568"/>
                  </a:lnTo>
                  <a:lnTo>
                    <a:pt x="3232033" y="301456"/>
                  </a:lnTo>
                  <a:lnTo>
                    <a:pt x="3232396" y="297795"/>
                  </a:lnTo>
                  <a:lnTo>
                    <a:pt x="3233999" y="288901"/>
                  </a:lnTo>
                  <a:lnTo>
                    <a:pt x="3229976" y="289355"/>
                  </a:lnTo>
                  <a:lnTo>
                    <a:pt x="3218783" y="300094"/>
                  </a:lnTo>
                  <a:lnTo>
                    <a:pt x="3203354" y="303029"/>
                  </a:lnTo>
                  <a:lnTo>
                    <a:pt x="3196699" y="308353"/>
                  </a:lnTo>
                  <a:lnTo>
                    <a:pt x="3171288" y="312316"/>
                  </a:lnTo>
                  <a:lnTo>
                    <a:pt x="3167658" y="316400"/>
                  </a:lnTo>
                  <a:lnTo>
                    <a:pt x="3164905" y="317943"/>
                  </a:lnTo>
                  <a:lnTo>
                    <a:pt x="3162122" y="318306"/>
                  </a:lnTo>
                  <a:lnTo>
                    <a:pt x="3160186" y="316975"/>
                  </a:lnTo>
                  <a:lnTo>
                    <a:pt x="3171016" y="310501"/>
                  </a:lnTo>
                  <a:lnTo>
                    <a:pt x="3175251" y="304753"/>
                  </a:lnTo>
                  <a:lnTo>
                    <a:pt x="3179456" y="304208"/>
                  </a:lnTo>
                  <a:lnTo>
                    <a:pt x="3187140" y="305661"/>
                  </a:lnTo>
                  <a:lnTo>
                    <a:pt x="3205623" y="301214"/>
                  </a:lnTo>
                  <a:lnTo>
                    <a:pt x="3212460" y="297160"/>
                  </a:lnTo>
                  <a:lnTo>
                    <a:pt x="3215757" y="296222"/>
                  </a:lnTo>
                  <a:lnTo>
                    <a:pt x="3218117" y="294619"/>
                  </a:lnTo>
                  <a:lnTo>
                    <a:pt x="3229220" y="277406"/>
                  </a:lnTo>
                  <a:lnTo>
                    <a:pt x="3229855" y="274804"/>
                  </a:lnTo>
                  <a:lnTo>
                    <a:pt x="3228857" y="272444"/>
                  </a:lnTo>
                  <a:lnTo>
                    <a:pt x="3199512" y="268149"/>
                  </a:lnTo>
                  <a:lnTo>
                    <a:pt x="3192282" y="269419"/>
                  </a:lnTo>
                  <a:lnTo>
                    <a:pt x="3191314" y="268421"/>
                  </a:lnTo>
                  <a:lnTo>
                    <a:pt x="3191950" y="264488"/>
                  </a:lnTo>
                  <a:lnTo>
                    <a:pt x="3190649" y="262945"/>
                  </a:lnTo>
                  <a:lnTo>
                    <a:pt x="3189499" y="263339"/>
                  </a:lnTo>
                  <a:lnTo>
                    <a:pt x="3188440" y="264186"/>
                  </a:lnTo>
                  <a:lnTo>
                    <a:pt x="3187291" y="263974"/>
                  </a:lnTo>
                  <a:lnTo>
                    <a:pt x="3183177" y="259769"/>
                  </a:lnTo>
                  <a:lnTo>
                    <a:pt x="3178639" y="258075"/>
                  </a:lnTo>
                  <a:lnTo>
                    <a:pt x="3175220" y="257803"/>
                  </a:lnTo>
                  <a:lnTo>
                    <a:pt x="3171863" y="258529"/>
                  </a:lnTo>
                  <a:lnTo>
                    <a:pt x="3169140" y="260767"/>
                  </a:lnTo>
                  <a:lnTo>
                    <a:pt x="3169231" y="261796"/>
                  </a:lnTo>
                  <a:lnTo>
                    <a:pt x="3167809" y="270115"/>
                  </a:lnTo>
                  <a:lnTo>
                    <a:pt x="3164966" y="279886"/>
                  </a:lnTo>
                  <a:lnTo>
                    <a:pt x="3164330" y="283305"/>
                  </a:lnTo>
                  <a:lnTo>
                    <a:pt x="3182602" y="288992"/>
                  </a:lnTo>
                  <a:lnTo>
                    <a:pt x="3185506" y="290958"/>
                  </a:lnTo>
                  <a:lnTo>
                    <a:pt x="3187835" y="294467"/>
                  </a:lnTo>
                  <a:lnTo>
                    <a:pt x="3184356" y="295315"/>
                  </a:lnTo>
                  <a:lnTo>
                    <a:pt x="3172286" y="288901"/>
                  </a:lnTo>
                  <a:lnTo>
                    <a:pt x="3159187" y="292047"/>
                  </a:lnTo>
                  <a:lnTo>
                    <a:pt x="3155406" y="290747"/>
                  </a:lnTo>
                  <a:lnTo>
                    <a:pt x="3156616" y="287903"/>
                  </a:lnTo>
                  <a:lnTo>
                    <a:pt x="3159550" y="285816"/>
                  </a:lnTo>
                  <a:lnTo>
                    <a:pt x="3160942" y="283274"/>
                  </a:lnTo>
                  <a:lnTo>
                    <a:pt x="3159913" y="278464"/>
                  </a:lnTo>
                  <a:lnTo>
                    <a:pt x="3159520" y="273745"/>
                  </a:lnTo>
                  <a:lnTo>
                    <a:pt x="3158975" y="269510"/>
                  </a:lnTo>
                  <a:lnTo>
                    <a:pt x="3157493" y="266334"/>
                  </a:lnTo>
                  <a:lnTo>
                    <a:pt x="3159369" y="263672"/>
                  </a:lnTo>
                  <a:lnTo>
                    <a:pt x="3161789" y="259315"/>
                  </a:lnTo>
                  <a:lnTo>
                    <a:pt x="3163271" y="254505"/>
                  </a:lnTo>
                  <a:lnTo>
                    <a:pt x="3162334" y="250512"/>
                  </a:lnTo>
                  <a:lnTo>
                    <a:pt x="3158461" y="248364"/>
                  </a:lnTo>
                  <a:lnTo>
                    <a:pt x="3145725" y="251359"/>
                  </a:lnTo>
                  <a:lnTo>
                    <a:pt x="3146966" y="258196"/>
                  </a:lnTo>
                  <a:lnTo>
                    <a:pt x="3146966" y="261705"/>
                  </a:lnTo>
                  <a:lnTo>
                    <a:pt x="3145725" y="264458"/>
                  </a:lnTo>
                  <a:lnTo>
                    <a:pt x="3143336" y="265275"/>
                  </a:lnTo>
                  <a:lnTo>
                    <a:pt x="3142367" y="262038"/>
                  </a:lnTo>
                  <a:lnTo>
                    <a:pt x="3142277" y="248697"/>
                  </a:lnTo>
                  <a:lnTo>
                    <a:pt x="3142065" y="245914"/>
                  </a:lnTo>
                  <a:lnTo>
                    <a:pt x="3141097" y="244916"/>
                  </a:lnTo>
                  <a:lnTo>
                    <a:pt x="3138768" y="245793"/>
                  </a:lnTo>
                  <a:lnTo>
                    <a:pt x="3132415" y="250754"/>
                  </a:lnTo>
                  <a:lnTo>
                    <a:pt x="3129874" y="251389"/>
                  </a:lnTo>
                  <a:lnTo>
                    <a:pt x="3130630" y="248243"/>
                  </a:lnTo>
                  <a:lnTo>
                    <a:pt x="3133383" y="244583"/>
                  </a:lnTo>
                  <a:lnTo>
                    <a:pt x="3134684" y="242011"/>
                  </a:lnTo>
                  <a:lnTo>
                    <a:pt x="3132505" y="240287"/>
                  </a:lnTo>
                  <a:lnTo>
                    <a:pt x="3130176" y="240620"/>
                  </a:lnTo>
                  <a:lnTo>
                    <a:pt x="3113568" y="255655"/>
                  </a:lnTo>
                  <a:lnTo>
                    <a:pt x="3111935" y="258771"/>
                  </a:lnTo>
                  <a:lnTo>
                    <a:pt x="3112237" y="263430"/>
                  </a:lnTo>
                  <a:lnTo>
                    <a:pt x="3114082" y="267150"/>
                  </a:lnTo>
                  <a:lnTo>
                    <a:pt x="3118711" y="270055"/>
                  </a:lnTo>
                  <a:lnTo>
                    <a:pt x="3120859" y="272112"/>
                  </a:lnTo>
                  <a:lnTo>
                    <a:pt x="3120042" y="271809"/>
                  </a:lnTo>
                  <a:lnTo>
                    <a:pt x="3118983" y="271809"/>
                  </a:lnTo>
                  <a:lnTo>
                    <a:pt x="3118015" y="272384"/>
                  </a:lnTo>
                  <a:lnTo>
                    <a:pt x="3117440" y="273775"/>
                  </a:lnTo>
                  <a:lnTo>
                    <a:pt x="3117289" y="276044"/>
                  </a:lnTo>
                  <a:lnTo>
                    <a:pt x="3117561" y="276801"/>
                  </a:lnTo>
                  <a:lnTo>
                    <a:pt x="3117985" y="276982"/>
                  </a:lnTo>
                  <a:lnTo>
                    <a:pt x="3118197" y="277496"/>
                  </a:lnTo>
                  <a:lnTo>
                    <a:pt x="3118499" y="280431"/>
                  </a:lnTo>
                  <a:lnTo>
                    <a:pt x="3119074" y="282669"/>
                  </a:lnTo>
                  <a:lnTo>
                    <a:pt x="3119376" y="285150"/>
                  </a:lnTo>
                  <a:lnTo>
                    <a:pt x="3118832" y="288841"/>
                  </a:lnTo>
                  <a:lnTo>
                    <a:pt x="3114355" y="283093"/>
                  </a:lnTo>
                  <a:lnTo>
                    <a:pt x="3113326" y="281248"/>
                  </a:lnTo>
                  <a:lnTo>
                    <a:pt x="3112267" y="277557"/>
                  </a:lnTo>
                  <a:lnTo>
                    <a:pt x="3111814" y="274955"/>
                  </a:lnTo>
                  <a:lnTo>
                    <a:pt x="3111057" y="272686"/>
                  </a:lnTo>
                  <a:lnTo>
                    <a:pt x="3102254" y="260707"/>
                  </a:lnTo>
                  <a:lnTo>
                    <a:pt x="3099834" y="259164"/>
                  </a:lnTo>
                  <a:lnTo>
                    <a:pt x="3094873" y="257561"/>
                  </a:lnTo>
                  <a:lnTo>
                    <a:pt x="3092604" y="255231"/>
                  </a:lnTo>
                  <a:lnTo>
                    <a:pt x="3090153" y="250482"/>
                  </a:lnTo>
                  <a:lnTo>
                    <a:pt x="3089942" y="248939"/>
                  </a:lnTo>
                  <a:lnTo>
                    <a:pt x="3089942" y="244855"/>
                  </a:lnTo>
                  <a:lnTo>
                    <a:pt x="3089821" y="243645"/>
                  </a:lnTo>
                  <a:lnTo>
                    <a:pt x="3088369" y="241769"/>
                  </a:lnTo>
                  <a:lnTo>
                    <a:pt x="3086493" y="241195"/>
                  </a:lnTo>
                  <a:lnTo>
                    <a:pt x="3084557" y="242344"/>
                  </a:lnTo>
                  <a:lnTo>
                    <a:pt x="3082954" y="245702"/>
                  </a:lnTo>
                  <a:lnTo>
                    <a:pt x="3082349" y="248788"/>
                  </a:lnTo>
                  <a:lnTo>
                    <a:pt x="3082258" y="251904"/>
                  </a:lnTo>
                  <a:lnTo>
                    <a:pt x="3082318" y="255201"/>
                  </a:lnTo>
                  <a:lnTo>
                    <a:pt x="3082197" y="258801"/>
                  </a:lnTo>
                  <a:lnTo>
                    <a:pt x="3081774" y="260525"/>
                  </a:lnTo>
                  <a:lnTo>
                    <a:pt x="3080413" y="263399"/>
                  </a:lnTo>
                  <a:lnTo>
                    <a:pt x="3080110" y="265366"/>
                  </a:lnTo>
                  <a:lnTo>
                    <a:pt x="3080231" y="267604"/>
                  </a:lnTo>
                  <a:lnTo>
                    <a:pt x="3080382" y="268602"/>
                  </a:lnTo>
                  <a:lnTo>
                    <a:pt x="3080382" y="269661"/>
                  </a:lnTo>
                  <a:lnTo>
                    <a:pt x="3080110" y="272051"/>
                  </a:lnTo>
                  <a:lnTo>
                    <a:pt x="3075603" y="264035"/>
                  </a:lnTo>
                  <a:lnTo>
                    <a:pt x="3074605" y="260677"/>
                  </a:lnTo>
                  <a:lnTo>
                    <a:pt x="3075028" y="255352"/>
                  </a:lnTo>
                  <a:lnTo>
                    <a:pt x="3071791" y="255957"/>
                  </a:lnTo>
                  <a:lnTo>
                    <a:pt x="3064984" y="260677"/>
                  </a:lnTo>
                  <a:lnTo>
                    <a:pt x="3061717" y="261524"/>
                  </a:lnTo>
                  <a:lnTo>
                    <a:pt x="3058026" y="263823"/>
                  </a:lnTo>
                  <a:lnTo>
                    <a:pt x="3054548" y="267392"/>
                  </a:lnTo>
                  <a:lnTo>
                    <a:pt x="3054366" y="267725"/>
                  </a:lnTo>
                  <a:lnTo>
                    <a:pt x="3051886" y="272051"/>
                  </a:lnTo>
                  <a:lnTo>
                    <a:pt x="3052460" y="272596"/>
                  </a:lnTo>
                  <a:lnTo>
                    <a:pt x="3055697" y="274532"/>
                  </a:lnTo>
                  <a:lnTo>
                    <a:pt x="3057089" y="276528"/>
                  </a:lnTo>
                  <a:lnTo>
                    <a:pt x="3058148" y="279039"/>
                  </a:lnTo>
                  <a:lnTo>
                    <a:pt x="3059206" y="280854"/>
                  </a:lnTo>
                  <a:lnTo>
                    <a:pt x="3060507" y="282185"/>
                  </a:lnTo>
                  <a:lnTo>
                    <a:pt x="3062262" y="283244"/>
                  </a:lnTo>
                  <a:lnTo>
                    <a:pt x="3066860" y="284182"/>
                  </a:lnTo>
                  <a:lnTo>
                    <a:pt x="3080776" y="281217"/>
                  </a:lnTo>
                  <a:lnTo>
                    <a:pt x="3079142" y="283456"/>
                  </a:lnTo>
                  <a:lnTo>
                    <a:pt x="3076631" y="285574"/>
                  </a:lnTo>
                  <a:lnTo>
                    <a:pt x="3074756" y="288115"/>
                  </a:lnTo>
                  <a:lnTo>
                    <a:pt x="3074997" y="291503"/>
                  </a:lnTo>
                  <a:lnTo>
                    <a:pt x="3077993" y="299852"/>
                  </a:lnTo>
                  <a:lnTo>
                    <a:pt x="3079354" y="302000"/>
                  </a:lnTo>
                  <a:lnTo>
                    <a:pt x="3082470" y="303876"/>
                  </a:lnTo>
                  <a:lnTo>
                    <a:pt x="3092543" y="302000"/>
                  </a:lnTo>
                  <a:lnTo>
                    <a:pt x="3094328" y="303150"/>
                  </a:lnTo>
                  <a:lnTo>
                    <a:pt x="3100106" y="311076"/>
                  </a:lnTo>
                  <a:lnTo>
                    <a:pt x="3103222" y="312316"/>
                  </a:lnTo>
                  <a:lnTo>
                    <a:pt x="3111844" y="309412"/>
                  </a:lnTo>
                  <a:lnTo>
                    <a:pt x="3113054" y="308534"/>
                  </a:lnTo>
                  <a:lnTo>
                    <a:pt x="3114324" y="304602"/>
                  </a:lnTo>
                  <a:lnTo>
                    <a:pt x="3115293" y="303694"/>
                  </a:lnTo>
                  <a:lnTo>
                    <a:pt x="3127272" y="305842"/>
                  </a:lnTo>
                  <a:lnTo>
                    <a:pt x="3130055" y="304602"/>
                  </a:lnTo>
                  <a:lnTo>
                    <a:pt x="3132264" y="300972"/>
                  </a:lnTo>
                  <a:lnTo>
                    <a:pt x="3133474" y="300730"/>
                  </a:lnTo>
                  <a:lnTo>
                    <a:pt x="3141490" y="296071"/>
                  </a:lnTo>
                  <a:lnTo>
                    <a:pt x="3141006" y="300306"/>
                  </a:lnTo>
                  <a:lnTo>
                    <a:pt x="3139826" y="302575"/>
                  </a:lnTo>
                  <a:lnTo>
                    <a:pt x="3136680" y="305539"/>
                  </a:lnTo>
                  <a:lnTo>
                    <a:pt x="3133565" y="310380"/>
                  </a:lnTo>
                  <a:lnTo>
                    <a:pt x="3131991" y="312134"/>
                  </a:lnTo>
                  <a:lnTo>
                    <a:pt x="3129843" y="313133"/>
                  </a:lnTo>
                  <a:lnTo>
                    <a:pt x="3115262" y="313798"/>
                  </a:lnTo>
                  <a:lnTo>
                    <a:pt x="3111178" y="318669"/>
                  </a:lnTo>
                  <a:lnTo>
                    <a:pt x="3117985" y="325505"/>
                  </a:lnTo>
                  <a:lnTo>
                    <a:pt x="3126546" y="325415"/>
                  </a:lnTo>
                  <a:lnTo>
                    <a:pt x="3142912" y="320514"/>
                  </a:lnTo>
                  <a:lnTo>
                    <a:pt x="3142912" y="322208"/>
                  </a:lnTo>
                  <a:lnTo>
                    <a:pt x="3141309" y="322117"/>
                  </a:lnTo>
                  <a:lnTo>
                    <a:pt x="3138253" y="323842"/>
                  </a:lnTo>
                  <a:lnTo>
                    <a:pt x="3136650" y="324205"/>
                  </a:lnTo>
                  <a:lnTo>
                    <a:pt x="3137406" y="331525"/>
                  </a:lnTo>
                  <a:lnTo>
                    <a:pt x="3137648" y="340419"/>
                  </a:lnTo>
                  <a:lnTo>
                    <a:pt x="3136741" y="345350"/>
                  </a:lnTo>
                  <a:lnTo>
                    <a:pt x="3133958" y="340813"/>
                  </a:lnTo>
                  <a:lnTo>
                    <a:pt x="3134986" y="335791"/>
                  </a:lnTo>
                  <a:lnTo>
                    <a:pt x="3134986" y="334278"/>
                  </a:lnTo>
                  <a:lnTo>
                    <a:pt x="3133897" y="332645"/>
                  </a:lnTo>
                  <a:lnTo>
                    <a:pt x="3132475" y="332463"/>
                  </a:lnTo>
                  <a:lnTo>
                    <a:pt x="3129843" y="333280"/>
                  </a:lnTo>
                  <a:lnTo>
                    <a:pt x="3125457" y="332584"/>
                  </a:lnTo>
                  <a:lnTo>
                    <a:pt x="3124307" y="333280"/>
                  </a:lnTo>
                  <a:lnTo>
                    <a:pt x="3123581" y="335004"/>
                  </a:lnTo>
                  <a:lnTo>
                    <a:pt x="3123793" y="336335"/>
                  </a:lnTo>
                  <a:lnTo>
                    <a:pt x="3124247" y="337515"/>
                  </a:lnTo>
                  <a:lnTo>
                    <a:pt x="3124307" y="338786"/>
                  </a:lnTo>
                  <a:lnTo>
                    <a:pt x="3122795" y="343505"/>
                  </a:lnTo>
                  <a:lnTo>
                    <a:pt x="3122886" y="345502"/>
                  </a:lnTo>
                  <a:lnTo>
                    <a:pt x="3123975" y="349162"/>
                  </a:lnTo>
                  <a:lnTo>
                    <a:pt x="3124429" y="352853"/>
                  </a:lnTo>
                  <a:lnTo>
                    <a:pt x="3124307" y="357390"/>
                  </a:lnTo>
                  <a:lnTo>
                    <a:pt x="3124489" y="361232"/>
                  </a:lnTo>
                  <a:lnTo>
                    <a:pt x="3125790" y="362866"/>
                  </a:lnTo>
                  <a:lnTo>
                    <a:pt x="3130449" y="364288"/>
                  </a:lnTo>
                  <a:lnTo>
                    <a:pt x="3132748" y="366557"/>
                  </a:lnTo>
                  <a:lnTo>
                    <a:pt x="3133353" y="370338"/>
                  </a:lnTo>
                  <a:lnTo>
                    <a:pt x="3131538" y="373091"/>
                  </a:lnTo>
                  <a:lnTo>
                    <a:pt x="3125215" y="371094"/>
                  </a:lnTo>
                  <a:lnTo>
                    <a:pt x="3123037" y="372183"/>
                  </a:lnTo>
                  <a:lnTo>
                    <a:pt x="3132566" y="379202"/>
                  </a:lnTo>
                  <a:lnTo>
                    <a:pt x="3137195" y="384254"/>
                  </a:lnTo>
                  <a:lnTo>
                    <a:pt x="3137467" y="390516"/>
                  </a:lnTo>
                  <a:lnTo>
                    <a:pt x="3140794" y="393904"/>
                  </a:lnTo>
                  <a:lnTo>
                    <a:pt x="3141400" y="395991"/>
                  </a:lnTo>
                  <a:lnTo>
                    <a:pt x="3140189" y="398744"/>
                  </a:lnTo>
                  <a:lnTo>
                    <a:pt x="3137648" y="400408"/>
                  </a:lnTo>
                  <a:lnTo>
                    <a:pt x="3134532" y="400136"/>
                  </a:lnTo>
                  <a:lnTo>
                    <a:pt x="3131538" y="398532"/>
                  </a:lnTo>
                  <a:lnTo>
                    <a:pt x="3129208" y="395991"/>
                  </a:lnTo>
                  <a:lnTo>
                    <a:pt x="3133080" y="397655"/>
                  </a:lnTo>
                  <a:lnTo>
                    <a:pt x="3134956" y="397806"/>
                  </a:lnTo>
                  <a:lnTo>
                    <a:pt x="3136710" y="395991"/>
                  </a:lnTo>
                  <a:lnTo>
                    <a:pt x="3127242" y="388519"/>
                  </a:lnTo>
                  <a:lnTo>
                    <a:pt x="3125729" y="385978"/>
                  </a:lnTo>
                  <a:lnTo>
                    <a:pt x="3124580" y="380321"/>
                  </a:lnTo>
                  <a:lnTo>
                    <a:pt x="3121917" y="375753"/>
                  </a:lnTo>
                  <a:lnTo>
                    <a:pt x="3107125" y="360325"/>
                  </a:lnTo>
                  <a:lnTo>
                    <a:pt x="3099743" y="358389"/>
                  </a:lnTo>
                  <a:lnTo>
                    <a:pt x="3095871" y="356029"/>
                  </a:lnTo>
                  <a:lnTo>
                    <a:pt x="3092120" y="352520"/>
                  </a:lnTo>
                  <a:lnTo>
                    <a:pt x="3089095" y="348224"/>
                  </a:lnTo>
                  <a:lnTo>
                    <a:pt x="3091878" y="340843"/>
                  </a:lnTo>
                  <a:lnTo>
                    <a:pt x="3088187" y="338120"/>
                  </a:lnTo>
                  <a:lnTo>
                    <a:pt x="3086826" y="335488"/>
                  </a:lnTo>
                  <a:lnTo>
                    <a:pt x="3087008" y="331616"/>
                  </a:lnTo>
                  <a:lnTo>
                    <a:pt x="3070369" y="320907"/>
                  </a:lnTo>
                  <a:lnTo>
                    <a:pt x="3064349" y="320544"/>
                  </a:lnTo>
                  <a:lnTo>
                    <a:pt x="3060023" y="323055"/>
                  </a:lnTo>
                  <a:lnTo>
                    <a:pt x="3056333" y="327956"/>
                  </a:lnTo>
                  <a:lnTo>
                    <a:pt x="3053519" y="335609"/>
                  </a:lnTo>
                  <a:lnTo>
                    <a:pt x="3051916" y="346379"/>
                  </a:lnTo>
                  <a:lnTo>
                    <a:pt x="3054759" y="346379"/>
                  </a:lnTo>
                  <a:lnTo>
                    <a:pt x="3058087" y="347740"/>
                  </a:lnTo>
                  <a:lnTo>
                    <a:pt x="3061264" y="350281"/>
                  </a:lnTo>
                  <a:lnTo>
                    <a:pt x="3063683" y="353760"/>
                  </a:lnTo>
                  <a:lnTo>
                    <a:pt x="3051946" y="353760"/>
                  </a:lnTo>
                  <a:lnTo>
                    <a:pt x="3053429" y="367222"/>
                  </a:lnTo>
                  <a:lnTo>
                    <a:pt x="3053338" y="370459"/>
                  </a:lnTo>
                  <a:lnTo>
                    <a:pt x="3051674" y="374392"/>
                  </a:lnTo>
                  <a:lnTo>
                    <a:pt x="3048921" y="377417"/>
                  </a:lnTo>
                  <a:lnTo>
                    <a:pt x="3045986" y="379262"/>
                  </a:lnTo>
                  <a:lnTo>
                    <a:pt x="3043657" y="379625"/>
                  </a:lnTo>
                  <a:lnTo>
                    <a:pt x="3045079" y="375935"/>
                  </a:lnTo>
                  <a:lnTo>
                    <a:pt x="3049072" y="368009"/>
                  </a:lnTo>
                  <a:lnTo>
                    <a:pt x="3049889" y="363955"/>
                  </a:lnTo>
                  <a:lnTo>
                    <a:pt x="3048044" y="362321"/>
                  </a:lnTo>
                  <a:lnTo>
                    <a:pt x="3039452" y="364893"/>
                  </a:lnTo>
                  <a:lnTo>
                    <a:pt x="3036760" y="366617"/>
                  </a:lnTo>
                  <a:lnTo>
                    <a:pt x="3037788" y="371185"/>
                  </a:lnTo>
                  <a:lnTo>
                    <a:pt x="3035792" y="374059"/>
                  </a:lnTo>
                  <a:lnTo>
                    <a:pt x="3032706" y="375541"/>
                  </a:lnTo>
                  <a:lnTo>
                    <a:pt x="3030498" y="375965"/>
                  </a:lnTo>
                  <a:lnTo>
                    <a:pt x="3031345" y="378899"/>
                  </a:lnTo>
                  <a:lnTo>
                    <a:pt x="3034461" y="381229"/>
                  </a:lnTo>
                  <a:lnTo>
                    <a:pt x="3035973" y="383286"/>
                  </a:lnTo>
                  <a:lnTo>
                    <a:pt x="3032918" y="385827"/>
                  </a:lnTo>
                  <a:lnTo>
                    <a:pt x="3030316" y="384405"/>
                  </a:lnTo>
                  <a:lnTo>
                    <a:pt x="3024932" y="377629"/>
                  </a:lnTo>
                  <a:lnTo>
                    <a:pt x="3025416" y="375783"/>
                  </a:lnTo>
                  <a:lnTo>
                    <a:pt x="3025990" y="374634"/>
                  </a:lnTo>
                  <a:lnTo>
                    <a:pt x="3026716" y="374089"/>
                  </a:lnTo>
                  <a:lnTo>
                    <a:pt x="3027715" y="373968"/>
                  </a:lnTo>
                  <a:lnTo>
                    <a:pt x="3026293" y="370278"/>
                  </a:lnTo>
                  <a:lnTo>
                    <a:pt x="3024387" y="369521"/>
                  </a:lnTo>
                  <a:lnTo>
                    <a:pt x="3022209" y="369582"/>
                  </a:lnTo>
                  <a:lnTo>
                    <a:pt x="3020152" y="368462"/>
                  </a:lnTo>
                  <a:lnTo>
                    <a:pt x="3020152" y="366617"/>
                  </a:lnTo>
                  <a:lnTo>
                    <a:pt x="3022663" y="364711"/>
                  </a:lnTo>
                  <a:lnTo>
                    <a:pt x="3029046" y="354698"/>
                  </a:lnTo>
                  <a:lnTo>
                    <a:pt x="3040118" y="344413"/>
                  </a:lnTo>
                  <a:lnTo>
                    <a:pt x="3040118" y="342749"/>
                  </a:lnTo>
                  <a:lnTo>
                    <a:pt x="3036034" y="343747"/>
                  </a:lnTo>
                  <a:lnTo>
                    <a:pt x="3013648" y="360355"/>
                  </a:lnTo>
                  <a:lnTo>
                    <a:pt x="3009836" y="361293"/>
                  </a:lnTo>
                  <a:lnTo>
                    <a:pt x="3010683" y="364832"/>
                  </a:lnTo>
                  <a:lnTo>
                    <a:pt x="3012135" y="368160"/>
                  </a:lnTo>
                  <a:lnTo>
                    <a:pt x="3013224" y="371488"/>
                  </a:lnTo>
                  <a:lnTo>
                    <a:pt x="3012952" y="374967"/>
                  </a:lnTo>
                  <a:lnTo>
                    <a:pt x="3011077" y="379444"/>
                  </a:lnTo>
                  <a:lnTo>
                    <a:pt x="3009201" y="382197"/>
                  </a:lnTo>
                  <a:lnTo>
                    <a:pt x="2994892" y="390002"/>
                  </a:lnTo>
                  <a:lnTo>
                    <a:pt x="2981702" y="390849"/>
                  </a:lnTo>
                  <a:lnTo>
                    <a:pt x="2978738" y="392452"/>
                  </a:lnTo>
                  <a:lnTo>
                    <a:pt x="2978738" y="394448"/>
                  </a:lnTo>
                  <a:lnTo>
                    <a:pt x="2981854" y="396385"/>
                  </a:lnTo>
                  <a:lnTo>
                    <a:pt x="2984032" y="401285"/>
                  </a:lnTo>
                  <a:lnTo>
                    <a:pt x="2984697" y="407971"/>
                  </a:lnTo>
                  <a:lnTo>
                    <a:pt x="2983215" y="415322"/>
                  </a:lnTo>
                  <a:lnTo>
                    <a:pt x="2979313" y="423157"/>
                  </a:lnTo>
                  <a:lnTo>
                    <a:pt x="2978707" y="426212"/>
                  </a:lnTo>
                  <a:lnTo>
                    <a:pt x="2979705" y="428754"/>
                  </a:lnTo>
                  <a:lnTo>
                    <a:pt x="2984516" y="433261"/>
                  </a:lnTo>
                  <a:lnTo>
                    <a:pt x="2993198" y="437496"/>
                  </a:lnTo>
                  <a:lnTo>
                    <a:pt x="2995285" y="439916"/>
                  </a:lnTo>
                  <a:lnTo>
                    <a:pt x="2996404" y="442215"/>
                  </a:lnTo>
                  <a:lnTo>
                    <a:pt x="2999036" y="449869"/>
                  </a:lnTo>
                  <a:lnTo>
                    <a:pt x="3002424" y="455012"/>
                  </a:lnTo>
                  <a:lnTo>
                    <a:pt x="3011863" y="459761"/>
                  </a:lnTo>
                  <a:lnTo>
                    <a:pt x="3015977" y="463603"/>
                  </a:lnTo>
                  <a:lnTo>
                    <a:pt x="3014374" y="465116"/>
                  </a:lnTo>
                  <a:lnTo>
                    <a:pt x="3012952" y="464027"/>
                  </a:lnTo>
                  <a:lnTo>
                    <a:pt x="3011469" y="461818"/>
                  </a:lnTo>
                  <a:lnTo>
                    <a:pt x="3009776" y="460003"/>
                  </a:lnTo>
                  <a:lnTo>
                    <a:pt x="2995224" y="456948"/>
                  </a:lnTo>
                  <a:lnTo>
                    <a:pt x="2987571" y="450686"/>
                  </a:lnTo>
                  <a:lnTo>
                    <a:pt x="2982943" y="445452"/>
                  </a:lnTo>
                  <a:lnTo>
                    <a:pt x="2981611" y="443426"/>
                  </a:lnTo>
                  <a:lnTo>
                    <a:pt x="2980190" y="441973"/>
                  </a:lnTo>
                  <a:lnTo>
                    <a:pt x="2978677" y="441913"/>
                  </a:lnTo>
                  <a:lnTo>
                    <a:pt x="2977709" y="443093"/>
                  </a:lnTo>
                  <a:lnTo>
                    <a:pt x="2976560" y="445301"/>
                  </a:lnTo>
                  <a:lnTo>
                    <a:pt x="2975622" y="447782"/>
                  </a:lnTo>
                  <a:lnTo>
                    <a:pt x="2975228" y="449899"/>
                  </a:lnTo>
                  <a:lnTo>
                    <a:pt x="2974502" y="456524"/>
                  </a:lnTo>
                  <a:lnTo>
                    <a:pt x="2972657" y="460729"/>
                  </a:lnTo>
                  <a:lnTo>
                    <a:pt x="2967665" y="467233"/>
                  </a:lnTo>
                  <a:lnTo>
                    <a:pt x="2965760" y="470985"/>
                  </a:lnTo>
                  <a:lnTo>
                    <a:pt x="2957985" y="490951"/>
                  </a:lnTo>
                  <a:lnTo>
                    <a:pt x="2956957" y="492161"/>
                  </a:lnTo>
                  <a:lnTo>
                    <a:pt x="2952782" y="493038"/>
                  </a:lnTo>
                  <a:lnTo>
                    <a:pt x="2937202" y="505713"/>
                  </a:lnTo>
                  <a:lnTo>
                    <a:pt x="2934873" y="509434"/>
                  </a:lnTo>
                  <a:lnTo>
                    <a:pt x="2932907" y="513942"/>
                  </a:lnTo>
                  <a:lnTo>
                    <a:pt x="2930154" y="518903"/>
                  </a:lnTo>
                  <a:lnTo>
                    <a:pt x="2927280" y="522957"/>
                  </a:lnTo>
                  <a:lnTo>
                    <a:pt x="2924890" y="524802"/>
                  </a:lnTo>
                  <a:lnTo>
                    <a:pt x="2921744" y="523199"/>
                  </a:lnTo>
                  <a:lnTo>
                    <a:pt x="2923801" y="518207"/>
                  </a:lnTo>
                  <a:lnTo>
                    <a:pt x="2930396" y="508557"/>
                  </a:lnTo>
                  <a:lnTo>
                    <a:pt x="2929851" y="507801"/>
                  </a:lnTo>
                  <a:lnTo>
                    <a:pt x="2928853" y="505774"/>
                  </a:lnTo>
                  <a:lnTo>
                    <a:pt x="2928339" y="504987"/>
                  </a:lnTo>
                  <a:lnTo>
                    <a:pt x="2930154" y="502507"/>
                  </a:lnTo>
                  <a:lnTo>
                    <a:pt x="2935932" y="499633"/>
                  </a:lnTo>
                  <a:lnTo>
                    <a:pt x="2941801" y="493461"/>
                  </a:lnTo>
                  <a:lnTo>
                    <a:pt x="2947125" y="490618"/>
                  </a:lnTo>
                  <a:lnTo>
                    <a:pt x="2949394" y="485475"/>
                  </a:lnTo>
                  <a:lnTo>
                    <a:pt x="2950937" y="478457"/>
                  </a:lnTo>
                  <a:lnTo>
                    <a:pt x="2951814" y="470864"/>
                  </a:lnTo>
                  <a:lnTo>
                    <a:pt x="2954446" y="473193"/>
                  </a:lnTo>
                  <a:lnTo>
                    <a:pt x="2956957" y="471015"/>
                  </a:lnTo>
                  <a:lnTo>
                    <a:pt x="2958137" y="466507"/>
                  </a:lnTo>
                  <a:lnTo>
                    <a:pt x="2956684" y="461849"/>
                  </a:lnTo>
                  <a:lnTo>
                    <a:pt x="2957229" y="458007"/>
                  </a:lnTo>
                  <a:lnTo>
                    <a:pt x="2958046" y="454921"/>
                  </a:lnTo>
                  <a:lnTo>
                    <a:pt x="2959195" y="452561"/>
                  </a:lnTo>
                  <a:lnTo>
                    <a:pt x="2960738" y="450867"/>
                  </a:lnTo>
                  <a:lnTo>
                    <a:pt x="2957683" y="446572"/>
                  </a:lnTo>
                  <a:lnTo>
                    <a:pt x="2959407" y="443153"/>
                  </a:lnTo>
                  <a:lnTo>
                    <a:pt x="2963309" y="440854"/>
                  </a:lnTo>
                  <a:lnTo>
                    <a:pt x="2966909" y="440037"/>
                  </a:lnTo>
                  <a:lnTo>
                    <a:pt x="2967968" y="439009"/>
                  </a:lnTo>
                  <a:lnTo>
                    <a:pt x="2968573" y="436468"/>
                  </a:lnTo>
                  <a:lnTo>
                    <a:pt x="2968876" y="433201"/>
                  </a:lnTo>
                  <a:lnTo>
                    <a:pt x="2968966" y="430054"/>
                  </a:lnTo>
                  <a:lnTo>
                    <a:pt x="2968634" y="426908"/>
                  </a:lnTo>
                  <a:lnTo>
                    <a:pt x="2967847" y="424912"/>
                  </a:lnTo>
                  <a:lnTo>
                    <a:pt x="2963309" y="419285"/>
                  </a:lnTo>
                  <a:lnTo>
                    <a:pt x="2962583" y="417712"/>
                  </a:lnTo>
                  <a:lnTo>
                    <a:pt x="2962130" y="414414"/>
                  </a:lnTo>
                  <a:lnTo>
                    <a:pt x="2962432" y="413204"/>
                  </a:lnTo>
                  <a:lnTo>
                    <a:pt x="2963854" y="402677"/>
                  </a:lnTo>
                  <a:lnTo>
                    <a:pt x="2964550" y="400529"/>
                  </a:lnTo>
                  <a:lnTo>
                    <a:pt x="2965306" y="397474"/>
                  </a:lnTo>
                  <a:lnTo>
                    <a:pt x="2965911" y="394267"/>
                  </a:lnTo>
                  <a:lnTo>
                    <a:pt x="2966153" y="391665"/>
                  </a:lnTo>
                  <a:lnTo>
                    <a:pt x="2966637" y="388519"/>
                  </a:lnTo>
                  <a:lnTo>
                    <a:pt x="2967726" y="385827"/>
                  </a:lnTo>
                  <a:lnTo>
                    <a:pt x="2968906" y="383528"/>
                  </a:lnTo>
                  <a:lnTo>
                    <a:pt x="2969632" y="381592"/>
                  </a:lnTo>
                  <a:lnTo>
                    <a:pt x="2969874" y="379232"/>
                  </a:lnTo>
                  <a:lnTo>
                    <a:pt x="2969934" y="373635"/>
                  </a:lnTo>
                  <a:lnTo>
                    <a:pt x="2970237" y="370580"/>
                  </a:lnTo>
                  <a:lnTo>
                    <a:pt x="2971205" y="367343"/>
                  </a:lnTo>
                  <a:lnTo>
                    <a:pt x="2972294" y="364742"/>
                  </a:lnTo>
                  <a:lnTo>
                    <a:pt x="2972808" y="362049"/>
                  </a:lnTo>
                  <a:lnTo>
                    <a:pt x="2971992" y="358510"/>
                  </a:lnTo>
                  <a:lnTo>
                    <a:pt x="2961706" y="338725"/>
                  </a:lnTo>
                  <a:lnTo>
                    <a:pt x="2959437" y="336789"/>
                  </a:lnTo>
                  <a:lnTo>
                    <a:pt x="2957199" y="337636"/>
                  </a:lnTo>
                  <a:lnTo>
                    <a:pt x="2953750" y="343596"/>
                  </a:lnTo>
                  <a:lnTo>
                    <a:pt x="2950906" y="347347"/>
                  </a:lnTo>
                  <a:lnTo>
                    <a:pt x="2950331" y="349404"/>
                  </a:lnTo>
                  <a:lnTo>
                    <a:pt x="2951027" y="361444"/>
                  </a:lnTo>
                  <a:lnTo>
                    <a:pt x="2950876" y="366980"/>
                  </a:lnTo>
                  <a:lnTo>
                    <a:pt x="2950392" y="366980"/>
                  </a:lnTo>
                  <a:lnTo>
                    <a:pt x="2949454" y="364621"/>
                  </a:lnTo>
                  <a:lnTo>
                    <a:pt x="2947941" y="363138"/>
                  </a:lnTo>
                  <a:lnTo>
                    <a:pt x="2947185" y="361202"/>
                  </a:lnTo>
                  <a:lnTo>
                    <a:pt x="2946943" y="356937"/>
                  </a:lnTo>
                  <a:lnTo>
                    <a:pt x="2946883" y="350402"/>
                  </a:lnTo>
                  <a:lnTo>
                    <a:pt x="2947125" y="348648"/>
                  </a:lnTo>
                  <a:lnTo>
                    <a:pt x="2947125" y="347649"/>
                  </a:lnTo>
                  <a:lnTo>
                    <a:pt x="2946883" y="344564"/>
                  </a:lnTo>
                  <a:lnTo>
                    <a:pt x="2945552" y="346530"/>
                  </a:lnTo>
                  <a:lnTo>
                    <a:pt x="2944463" y="349949"/>
                  </a:lnTo>
                  <a:lnTo>
                    <a:pt x="2941558" y="361747"/>
                  </a:lnTo>
                  <a:lnTo>
                    <a:pt x="2937898" y="370610"/>
                  </a:lnTo>
                  <a:lnTo>
                    <a:pt x="2933421" y="385373"/>
                  </a:lnTo>
                  <a:lnTo>
                    <a:pt x="2930698" y="391212"/>
                  </a:lnTo>
                  <a:lnTo>
                    <a:pt x="2926796" y="392573"/>
                  </a:lnTo>
                  <a:lnTo>
                    <a:pt x="2928278" y="383679"/>
                  </a:lnTo>
                  <a:lnTo>
                    <a:pt x="2930244" y="377145"/>
                  </a:lnTo>
                  <a:lnTo>
                    <a:pt x="2930880" y="373454"/>
                  </a:lnTo>
                  <a:lnTo>
                    <a:pt x="2930577" y="371306"/>
                  </a:lnTo>
                  <a:lnTo>
                    <a:pt x="2928853" y="372456"/>
                  </a:lnTo>
                  <a:lnTo>
                    <a:pt x="2927734" y="374604"/>
                  </a:lnTo>
                  <a:lnTo>
                    <a:pt x="2924376" y="384344"/>
                  </a:lnTo>
                  <a:lnTo>
                    <a:pt x="2922682" y="387037"/>
                  </a:lnTo>
                  <a:lnTo>
                    <a:pt x="2918840" y="389517"/>
                  </a:lnTo>
                  <a:lnTo>
                    <a:pt x="2917115" y="392573"/>
                  </a:lnTo>
                  <a:lnTo>
                    <a:pt x="2917690" y="397685"/>
                  </a:lnTo>
                  <a:lnTo>
                    <a:pt x="2915905" y="400741"/>
                  </a:lnTo>
                  <a:lnTo>
                    <a:pt x="2913516" y="403131"/>
                  </a:lnTo>
                  <a:lnTo>
                    <a:pt x="2912306" y="406337"/>
                  </a:lnTo>
                  <a:lnTo>
                    <a:pt x="2912124" y="412539"/>
                  </a:lnTo>
                  <a:lnTo>
                    <a:pt x="2912306" y="414445"/>
                  </a:lnTo>
                  <a:lnTo>
                    <a:pt x="2912789" y="416593"/>
                  </a:lnTo>
                  <a:lnTo>
                    <a:pt x="2914121" y="420253"/>
                  </a:lnTo>
                  <a:lnTo>
                    <a:pt x="2914362" y="422734"/>
                  </a:lnTo>
                  <a:lnTo>
                    <a:pt x="2915633" y="428905"/>
                  </a:lnTo>
                  <a:lnTo>
                    <a:pt x="2918749" y="431174"/>
                  </a:lnTo>
                  <a:lnTo>
                    <a:pt x="2922409" y="431990"/>
                  </a:lnTo>
                  <a:lnTo>
                    <a:pt x="2925404" y="433715"/>
                  </a:lnTo>
                  <a:lnTo>
                    <a:pt x="2928883" y="436982"/>
                  </a:lnTo>
                  <a:lnTo>
                    <a:pt x="2933149" y="439251"/>
                  </a:lnTo>
                  <a:lnTo>
                    <a:pt x="2937505" y="440310"/>
                  </a:lnTo>
                  <a:lnTo>
                    <a:pt x="2941286" y="440037"/>
                  </a:lnTo>
                  <a:lnTo>
                    <a:pt x="2936023" y="441701"/>
                  </a:lnTo>
                  <a:lnTo>
                    <a:pt x="2929398" y="439069"/>
                  </a:lnTo>
                  <a:lnTo>
                    <a:pt x="2922772" y="434804"/>
                  </a:lnTo>
                  <a:lnTo>
                    <a:pt x="2910188" y="432414"/>
                  </a:lnTo>
                  <a:lnTo>
                    <a:pt x="2906195" y="433140"/>
                  </a:lnTo>
                  <a:lnTo>
                    <a:pt x="2904107" y="432838"/>
                  </a:lnTo>
                  <a:lnTo>
                    <a:pt x="2904440" y="433927"/>
                  </a:lnTo>
                  <a:lnTo>
                    <a:pt x="2904622" y="434774"/>
                  </a:lnTo>
                  <a:lnTo>
                    <a:pt x="2904894" y="435500"/>
                  </a:lnTo>
                  <a:lnTo>
                    <a:pt x="2905469" y="436316"/>
                  </a:lnTo>
                  <a:lnTo>
                    <a:pt x="2900598" y="454558"/>
                  </a:lnTo>
                  <a:lnTo>
                    <a:pt x="2902262" y="458430"/>
                  </a:lnTo>
                  <a:lnTo>
                    <a:pt x="2901355" y="464723"/>
                  </a:lnTo>
                  <a:lnTo>
                    <a:pt x="2899569" y="471650"/>
                  </a:lnTo>
                  <a:lnTo>
                    <a:pt x="2898602" y="477247"/>
                  </a:lnTo>
                  <a:lnTo>
                    <a:pt x="2882689" y="488924"/>
                  </a:lnTo>
                  <a:lnTo>
                    <a:pt x="2884867" y="483720"/>
                  </a:lnTo>
                  <a:lnTo>
                    <a:pt x="2887862" y="479152"/>
                  </a:lnTo>
                  <a:lnTo>
                    <a:pt x="2891130" y="475916"/>
                  </a:lnTo>
                  <a:lnTo>
                    <a:pt x="2894094" y="474706"/>
                  </a:lnTo>
                  <a:lnTo>
                    <a:pt x="2894760" y="473314"/>
                  </a:lnTo>
                  <a:lnTo>
                    <a:pt x="2894124" y="470107"/>
                  </a:lnTo>
                  <a:lnTo>
                    <a:pt x="2893005" y="466447"/>
                  </a:lnTo>
                  <a:lnTo>
                    <a:pt x="2892370" y="463724"/>
                  </a:lnTo>
                  <a:lnTo>
                    <a:pt x="2892370" y="460457"/>
                  </a:lnTo>
                  <a:lnTo>
                    <a:pt x="2892703" y="457220"/>
                  </a:lnTo>
                  <a:lnTo>
                    <a:pt x="2893308" y="454286"/>
                  </a:lnTo>
                  <a:lnTo>
                    <a:pt x="2894064" y="451896"/>
                  </a:lnTo>
                  <a:lnTo>
                    <a:pt x="2899751" y="437829"/>
                  </a:lnTo>
                  <a:lnTo>
                    <a:pt x="2901294" y="432807"/>
                  </a:lnTo>
                  <a:lnTo>
                    <a:pt x="2902504" y="424942"/>
                  </a:lnTo>
                  <a:lnTo>
                    <a:pt x="2901324" y="421554"/>
                  </a:lnTo>
                  <a:lnTo>
                    <a:pt x="2899086" y="419224"/>
                  </a:lnTo>
                  <a:lnTo>
                    <a:pt x="2897180" y="414475"/>
                  </a:lnTo>
                  <a:lnTo>
                    <a:pt x="2898723" y="412146"/>
                  </a:lnTo>
                  <a:lnTo>
                    <a:pt x="2900780" y="408122"/>
                  </a:lnTo>
                  <a:lnTo>
                    <a:pt x="2902655" y="403463"/>
                  </a:lnTo>
                  <a:lnTo>
                    <a:pt x="2903411" y="399016"/>
                  </a:lnTo>
                  <a:lnTo>
                    <a:pt x="2903170" y="395265"/>
                  </a:lnTo>
                  <a:lnTo>
                    <a:pt x="2902897" y="394418"/>
                  </a:lnTo>
                  <a:lnTo>
                    <a:pt x="2906709" y="387067"/>
                  </a:lnTo>
                  <a:lnTo>
                    <a:pt x="2907465" y="385101"/>
                  </a:lnTo>
                  <a:lnTo>
                    <a:pt x="2908191" y="381682"/>
                  </a:lnTo>
                  <a:lnTo>
                    <a:pt x="2903472" y="379353"/>
                  </a:lnTo>
                  <a:lnTo>
                    <a:pt x="2885503" y="382802"/>
                  </a:lnTo>
                  <a:lnTo>
                    <a:pt x="2877879" y="387823"/>
                  </a:lnTo>
                  <a:lnTo>
                    <a:pt x="2873977" y="388973"/>
                  </a:lnTo>
                  <a:lnTo>
                    <a:pt x="2859003" y="387400"/>
                  </a:lnTo>
                  <a:lnTo>
                    <a:pt x="2854313" y="388973"/>
                  </a:lnTo>
                  <a:lnTo>
                    <a:pt x="2852680" y="390728"/>
                  </a:lnTo>
                  <a:lnTo>
                    <a:pt x="2849504" y="395326"/>
                  </a:lnTo>
                  <a:lnTo>
                    <a:pt x="2847779" y="396264"/>
                  </a:lnTo>
                  <a:lnTo>
                    <a:pt x="2843272" y="396899"/>
                  </a:lnTo>
                  <a:lnTo>
                    <a:pt x="2841094" y="398018"/>
                  </a:lnTo>
                  <a:lnTo>
                    <a:pt x="2839127" y="399954"/>
                  </a:lnTo>
                  <a:lnTo>
                    <a:pt x="2837796" y="411359"/>
                  </a:lnTo>
                  <a:lnTo>
                    <a:pt x="2823638" y="432142"/>
                  </a:lnTo>
                  <a:lnTo>
                    <a:pt x="2825030" y="446511"/>
                  </a:lnTo>
                  <a:lnTo>
                    <a:pt x="2826543" y="449325"/>
                  </a:lnTo>
                  <a:lnTo>
                    <a:pt x="2828691" y="452198"/>
                  </a:lnTo>
                  <a:lnTo>
                    <a:pt x="2830869" y="453590"/>
                  </a:lnTo>
                  <a:lnTo>
                    <a:pt x="2832593" y="451956"/>
                  </a:lnTo>
                  <a:lnTo>
                    <a:pt x="2834589" y="448901"/>
                  </a:lnTo>
                  <a:lnTo>
                    <a:pt x="2839611" y="447903"/>
                  </a:lnTo>
                  <a:lnTo>
                    <a:pt x="2844088" y="445543"/>
                  </a:lnTo>
                  <a:lnTo>
                    <a:pt x="2852317" y="444726"/>
                  </a:lnTo>
                  <a:lnTo>
                    <a:pt x="2852710" y="448629"/>
                  </a:lnTo>
                  <a:lnTo>
                    <a:pt x="2853678" y="451109"/>
                  </a:lnTo>
                  <a:lnTo>
                    <a:pt x="2854767" y="453348"/>
                  </a:lnTo>
                  <a:lnTo>
                    <a:pt x="2855675" y="456524"/>
                  </a:lnTo>
                  <a:lnTo>
                    <a:pt x="2854404" y="456161"/>
                  </a:lnTo>
                  <a:lnTo>
                    <a:pt x="2852952" y="455193"/>
                  </a:lnTo>
                  <a:lnTo>
                    <a:pt x="2851591" y="453741"/>
                  </a:lnTo>
                  <a:lnTo>
                    <a:pt x="2848868" y="449294"/>
                  </a:lnTo>
                  <a:lnTo>
                    <a:pt x="2847053" y="449234"/>
                  </a:lnTo>
                  <a:lnTo>
                    <a:pt x="2836193" y="453862"/>
                  </a:lnTo>
                  <a:lnTo>
                    <a:pt x="2832442" y="457069"/>
                  </a:lnTo>
                  <a:lnTo>
                    <a:pt x="2829810" y="461032"/>
                  </a:lnTo>
                  <a:lnTo>
                    <a:pt x="2828509" y="467112"/>
                  </a:lnTo>
                  <a:lnTo>
                    <a:pt x="2829386" y="472074"/>
                  </a:lnTo>
                  <a:lnTo>
                    <a:pt x="2831444" y="475795"/>
                  </a:lnTo>
                  <a:lnTo>
                    <a:pt x="2833652" y="478154"/>
                  </a:lnTo>
                  <a:lnTo>
                    <a:pt x="2836314" y="479152"/>
                  </a:lnTo>
                  <a:lnTo>
                    <a:pt x="2837101" y="479969"/>
                  </a:lnTo>
                  <a:lnTo>
                    <a:pt x="2837524" y="481361"/>
                  </a:lnTo>
                  <a:lnTo>
                    <a:pt x="2837615" y="482843"/>
                  </a:lnTo>
                  <a:lnTo>
                    <a:pt x="2837615" y="484204"/>
                  </a:lnTo>
                  <a:lnTo>
                    <a:pt x="2837796" y="485324"/>
                  </a:lnTo>
                  <a:lnTo>
                    <a:pt x="2840277" y="491102"/>
                  </a:lnTo>
                  <a:lnTo>
                    <a:pt x="2841275" y="492675"/>
                  </a:lnTo>
                  <a:lnTo>
                    <a:pt x="2844996" y="495004"/>
                  </a:lnTo>
                  <a:lnTo>
                    <a:pt x="2859305" y="492735"/>
                  </a:lnTo>
                  <a:lnTo>
                    <a:pt x="2861967" y="493219"/>
                  </a:lnTo>
                  <a:lnTo>
                    <a:pt x="2864508" y="494520"/>
                  </a:lnTo>
                  <a:lnTo>
                    <a:pt x="2872495" y="504322"/>
                  </a:lnTo>
                  <a:lnTo>
                    <a:pt x="2874491" y="508738"/>
                  </a:lnTo>
                  <a:lnTo>
                    <a:pt x="2875005" y="510432"/>
                  </a:lnTo>
                  <a:lnTo>
                    <a:pt x="2875005" y="513639"/>
                  </a:lnTo>
                  <a:lnTo>
                    <a:pt x="2874491" y="515605"/>
                  </a:lnTo>
                  <a:lnTo>
                    <a:pt x="2873916" y="517239"/>
                  </a:lnTo>
                  <a:lnTo>
                    <a:pt x="2873644" y="519508"/>
                  </a:lnTo>
                  <a:lnTo>
                    <a:pt x="2874400" y="525619"/>
                  </a:lnTo>
                  <a:lnTo>
                    <a:pt x="2876155" y="528583"/>
                  </a:lnTo>
                  <a:lnTo>
                    <a:pt x="2878333" y="530610"/>
                  </a:lnTo>
                  <a:lnTo>
                    <a:pt x="2880511" y="533787"/>
                  </a:lnTo>
                  <a:lnTo>
                    <a:pt x="2877274" y="535965"/>
                  </a:lnTo>
                  <a:lnTo>
                    <a:pt x="2870831" y="530913"/>
                  </a:lnTo>
                  <a:lnTo>
                    <a:pt x="2867442" y="530277"/>
                  </a:lnTo>
                  <a:lnTo>
                    <a:pt x="2865990" y="531487"/>
                  </a:lnTo>
                  <a:lnTo>
                    <a:pt x="2863117" y="534906"/>
                  </a:lnTo>
                  <a:lnTo>
                    <a:pt x="2861211" y="535632"/>
                  </a:lnTo>
                  <a:lnTo>
                    <a:pt x="2859517" y="535148"/>
                  </a:lnTo>
                  <a:lnTo>
                    <a:pt x="2855735" y="532214"/>
                  </a:lnTo>
                  <a:lnTo>
                    <a:pt x="2854313" y="530277"/>
                  </a:lnTo>
                  <a:lnTo>
                    <a:pt x="2856643" y="527736"/>
                  </a:lnTo>
                  <a:lnTo>
                    <a:pt x="2856250" y="524136"/>
                  </a:lnTo>
                  <a:lnTo>
                    <a:pt x="2854495" y="522019"/>
                  </a:lnTo>
                  <a:lnTo>
                    <a:pt x="2852589" y="524015"/>
                  </a:lnTo>
                  <a:lnTo>
                    <a:pt x="2851803" y="525165"/>
                  </a:lnTo>
                  <a:lnTo>
                    <a:pt x="2849019" y="527978"/>
                  </a:lnTo>
                  <a:lnTo>
                    <a:pt x="2848142" y="528462"/>
                  </a:lnTo>
                  <a:lnTo>
                    <a:pt x="2847114" y="527434"/>
                  </a:lnTo>
                  <a:lnTo>
                    <a:pt x="2846236" y="525619"/>
                  </a:lnTo>
                  <a:lnTo>
                    <a:pt x="2846055" y="523894"/>
                  </a:lnTo>
                  <a:lnTo>
                    <a:pt x="2848293" y="522563"/>
                  </a:lnTo>
                  <a:lnTo>
                    <a:pt x="2850925" y="520113"/>
                  </a:lnTo>
                  <a:lnTo>
                    <a:pt x="2852317" y="519568"/>
                  </a:lnTo>
                  <a:lnTo>
                    <a:pt x="2857914" y="521686"/>
                  </a:lnTo>
                  <a:lnTo>
                    <a:pt x="2864508" y="517784"/>
                  </a:lnTo>
                  <a:lnTo>
                    <a:pt x="2866565" y="515273"/>
                  </a:lnTo>
                  <a:lnTo>
                    <a:pt x="2867382" y="509585"/>
                  </a:lnTo>
                  <a:lnTo>
                    <a:pt x="2864175" y="503717"/>
                  </a:lnTo>
                  <a:lnTo>
                    <a:pt x="2843907" y="501539"/>
                  </a:lnTo>
                  <a:lnTo>
                    <a:pt x="2841517" y="499905"/>
                  </a:lnTo>
                  <a:lnTo>
                    <a:pt x="2834983" y="492735"/>
                  </a:lnTo>
                  <a:lnTo>
                    <a:pt x="2830657" y="489861"/>
                  </a:lnTo>
                  <a:lnTo>
                    <a:pt x="2829538" y="486988"/>
                  </a:lnTo>
                  <a:lnTo>
                    <a:pt x="2830173" y="481603"/>
                  </a:lnTo>
                  <a:lnTo>
                    <a:pt x="2822731" y="476853"/>
                  </a:lnTo>
                  <a:lnTo>
                    <a:pt x="2820856" y="473737"/>
                  </a:lnTo>
                  <a:lnTo>
                    <a:pt x="2820462" y="471771"/>
                  </a:lnTo>
                  <a:lnTo>
                    <a:pt x="2820311" y="467475"/>
                  </a:lnTo>
                  <a:lnTo>
                    <a:pt x="2819827" y="465388"/>
                  </a:lnTo>
                  <a:lnTo>
                    <a:pt x="2818556" y="463301"/>
                  </a:lnTo>
                  <a:lnTo>
                    <a:pt x="2816892" y="462151"/>
                  </a:lnTo>
                  <a:lnTo>
                    <a:pt x="2815168" y="461758"/>
                  </a:lnTo>
                  <a:lnTo>
                    <a:pt x="2813595" y="461909"/>
                  </a:lnTo>
                  <a:lnTo>
                    <a:pt x="2814502" y="460457"/>
                  </a:lnTo>
                  <a:lnTo>
                    <a:pt x="2815168" y="458793"/>
                  </a:lnTo>
                  <a:lnTo>
                    <a:pt x="2815591" y="456827"/>
                  </a:lnTo>
                  <a:lnTo>
                    <a:pt x="2815713" y="454498"/>
                  </a:lnTo>
                  <a:lnTo>
                    <a:pt x="2815350" y="450262"/>
                  </a:lnTo>
                  <a:lnTo>
                    <a:pt x="2814442" y="448780"/>
                  </a:lnTo>
                  <a:lnTo>
                    <a:pt x="2792086" y="451775"/>
                  </a:lnTo>
                  <a:lnTo>
                    <a:pt x="2785461" y="455587"/>
                  </a:lnTo>
                  <a:lnTo>
                    <a:pt x="2778685" y="456797"/>
                  </a:lnTo>
                  <a:lnTo>
                    <a:pt x="2776355" y="458249"/>
                  </a:lnTo>
                  <a:lnTo>
                    <a:pt x="2775781" y="461516"/>
                  </a:lnTo>
                  <a:lnTo>
                    <a:pt x="2777838" y="467264"/>
                  </a:lnTo>
                  <a:lnTo>
                    <a:pt x="2776779" y="467990"/>
                  </a:lnTo>
                  <a:lnTo>
                    <a:pt x="2775569" y="469502"/>
                  </a:lnTo>
                  <a:lnTo>
                    <a:pt x="2774631" y="471711"/>
                  </a:lnTo>
                  <a:lnTo>
                    <a:pt x="2774389" y="474645"/>
                  </a:lnTo>
                  <a:lnTo>
                    <a:pt x="2775599" y="477035"/>
                  </a:lnTo>
                  <a:lnTo>
                    <a:pt x="2777959" y="477942"/>
                  </a:lnTo>
                  <a:lnTo>
                    <a:pt x="2781952" y="478033"/>
                  </a:lnTo>
                  <a:lnTo>
                    <a:pt x="2785280" y="479183"/>
                  </a:lnTo>
                  <a:lnTo>
                    <a:pt x="2786792" y="480665"/>
                  </a:lnTo>
                  <a:lnTo>
                    <a:pt x="2788184" y="483448"/>
                  </a:lnTo>
                  <a:lnTo>
                    <a:pt x="2788668" y="485717"/>
                  </a:lnTo>
                  <a:lnTo>
                    <a:pt x="2789061" y="488772"/>
                  </a:lnTo>
                  <a:lnTo>
                    <a:pt x="2789636" y="491435"/>
                  </a:lnTo>
                  <a:lnTo>
                    <a:pt x="2790544" y="492584"/>
                  </a:lnTo>
                  <a:lnTo>
                    <a:pt x="2792117" y="493401"/>
                  </a:lnTo>
                  <a:lnTo>
                    <a:pt x="2795475" y="496971"/>
                  </a:lnTo>
                  <a:lnTo>
                    <a:pt x="2822549" y="506228"/>
                  </a:lnTo>
                  <a:lnTo>
                    <a:pt x="2824637" y="507740"/>
                  </a:lnTo>
                  <a:lnTo>
                    <a:pt x="2828025" y="513306"/>
                  </a:lnTo>
                  <a:lnTo>
                    <a:pt x="2829084" y="514093"/>
                  </a:lnTo>
                  <a:lnTo>
                    <a:pt x="2829870" y="514426"/>
                  </a:lnTo>
                  <a:lnTo>
                    <a:pt x="2830536" y="515363"/>
                  </a:lnTo>
                  <a:lnTo>
                    <a:pt x="2830808" y="516755"/>
                  </a:lnTo>
                  <a:lnTo>
                    <a:pt x="2830475" y="518570"/>
                  </a:lnTo>
                  <a:lnTo>
                    <a:pt x="2829719" y="518963"/>
                  </a:lnTo>
                  <a:lnTo>
                    <a:pt x="2822096" y="516271"/>
                  </a:lnTo>
                  <a:lnTo>
                    <a:pt x="2815440" y="510130"/>
                  </a:lnTo>
                  <a:lnTo>
                    <a:pt x="2811447" y="508557"/>
                  </a:lnTo>
                  <a:lnTo>
                    <a:pt x="2802523" y="508829"/>
                  </a:lnTo>
                  <a:lnTo>
                    <a:pt x="2797955" y="510493"/>
                  </a:lnTo>
                  <a:lnTo>
                    <a:pt x="2796352" y="514093"/>
                  </a:lnTo>
                  <a:lnTo>
                    <a:pt x="2797078" y="516120"/>
                  </a:lnTo>
                  <a:lnTo>
                    <a:pt x="2798257" y="517148"/>
                  </a:lnTo>
                  <a:lnTo>
                    <a:pt x="2799317" y="518419"/>
                  </a:lnTo>
                  <a:lnTo>
                    <a:pt x="2799770" y="521262"/>
                  </a:lnTo>
                  <a:lnTo>
                    <a:pt x="2799286" y="525014"/>
                  </a:lnTo>
                  <a:lnTo>
                    <a:pt x="2798137" y="524741"/>
                  </a:lnTo>
                  <a:lnTo>
                    <a:pt x="2796866" y="522503"/>
                  </a:lnTo>
                  <a:lnTo>
                    <a:pt x="2795989" y="520355"/>
                  </a:lnTo>
                  <a:lnTo>
                    <a:pt x="2794113" y="518268"/>
                  </a:lnTo>
                  <a:lnTo>
                    <a:pt x="2791451" y="516997"/>
                  </a:lnTo>
                  <a:lnTo>
                    <a:pt x="2789121" y="515152"/>
                  </a:lnTo>
                  <a:lnTo>
                    <a:pt x="2788093" y="511370"/>
                  </a:lnTo>
                  <a:lnTo>
                    <a:pt x="2787791" y="506500"/>
                  </a:lnTo>
                  <a:lnTo>
                    <a:pt x="2786883" y="501327"/>
                  </a:lnTo>
                  <a:lnTo>
                    <a:pt x="2785370" y="498241"/>
                  </a:lnTo>
                  <a:lnTo>
                    <a:pt x="2783283" y="499633"/>
                  </a:lnTo>
                  <a:lnTo>
                    <a:pt x="2782708" y="502628"/>
                  </a:lnTo>
                  <a:lnTo>
                    <a:pt x="2782497" y="507589"/>
                  </a:lnTo>
                  <a:lnTo>
                    <a:pt x="2782557" y="516694"/>
                  </a:lnTo>
                  <a:lnTo>
                    <a:pt x="2782194" y="520960"/>
                  </a:lnTo>
                  <a:lnTo>
                    <a:pt x="2781377" y="525104"/>
                  </a:lnTo>
                  <a:lnTo>
                    <a:pt x="2779108" y="532093"/>
                  </a:lnTo>
                  <a:lnTo>
                    <a:pt x="2778594" y="529612"/>
                  </a:lnTo>
                  <a:lnTo>
                    <a:pt x="2778715" y="527706"/>
                  </a:lnTo>
                  <a:lnTo>
                    <a:pt x="2779290" y="525951"/>
                  </a:lnTo>
                  <a:lnTo>
                    <a:pt x="2780137" y="523925"/>
                  </a:lnTo>
                  <a:lnTo>
                    <a:pt x="2780500" y="521414"/>
                  </a:lnTo>
                  <a:lnTo>
                    <a:pt x="2779834" y="519629"/>
                  </a:lnTo>
                  <a:lnTo>
                    <a:pt x="2778443" y="517663"/>
                  </a:lnTo>
                  <a:lnTo>
                    <a:pt x="2778655" y="513337"/>
                  </a:lnTo>
                  <a:lnTo>
                    <a:pt x="2779593" y="505259"/>
                  </a:lnTo>
                  <a:lnTo>
                    <a:pt x="2779834" y="500510"/>
                  </a:lnTo>
                  <a:lnTo>
                    <a:pt x="2779199" y="496789"/>
                  </a:lnTo>
                  <a:lnTo>
                    <a:pt x="2777596" y="493643"/>
                  </a:lnTo>
                  <a:lnTo>
                    <a:pt x="2775599" y="491465"/>
                  </a:lnTo>
                  <a:lnTo>
                    <a:pt x="2773603" y="490618"/>
                  </a:lnTo>
                  <a:lnTo>
                    <a:pt x="2765616" y="490951"/>
                  </a:lnTo>
                  <a:lnTo>
                    <a:pt x="2765284" y="491162"/>
                  </a:lnTo>
                  <a:lnTo>
                    <a:pt x="2765647" y="490709"/>
                  </a:lnTo>
                  <a:lnTo>
                    <a:pt x="2766463" y="486927"/>
                  </a:lnTo>
                  <a:lnTo>
                    <a:pt x="2767189" y="485082"/>
                  </a:lnTo>
                  <a:lnTo>
                    <a:pt x="2767582" y="483115"/>
                  </a:lnTo>
                  <a:lnTo>
                    <a:pt x="2767068" y="480695"/>
                  </a:lnTo>
                  <a:lnTo>
                    <a:pt x="2762954" y="471106"/>
                  </a:lnTo>
                  <a:lnTo>
                    <a:pt x="2761048" y="468111"/>
                  </a:lnTo>
                  <a:lnTo>
                    <a:pt x="2758870" y="466054"/>
                  </a:lnTo>
                  <a:lnTo>
                    <a:pt x="2756359" y="465297"/>
                  </a:lnTo>
                  <a:lnTo>
                    <a:pt x="2755089" y="465721"/>
                  </a:lnTo>
                  <a:lnTo>
                    <a:pt x="2754302" y="466749"/>
                  </a:lnTo>
                  <a:lnTo>
                    <a:pt x="2753667" y="467959"/>
                  </a:lnTo>
                  <a:lnTo>
                    <a:pt x="2752880" y="468897"/>
                  </a:lnTo>
                  <a:lnTo>
                    <a:pt x="2748040" y="470652"/>
                  </a:lnTo>
                  <a:lnTo>
                    <a:pt x="2745227" y="473102"/>
                  </a:lnTo>
                  <a:lnTo>
                    <a:pt x="2744501" y="473253"/>
                  </a:lnTo>
                  <a:lnTo>
                    <a:pt x="2744168" y="473798"/>
                  </a:lnTo>
                  <a:lnTo>
                    <a:pt x="2743896" y="476279"/>
                  </a:lnTo>
                  <a:lnTo>
                    <a:pt x="2744228" y="477912"/>
                  </a:lnTo>
                  <a:lnTo>
                    <a:pt x="2745136" y="478729"/>
                  </a:lnTo>
                  <a:lnTo>
                    <a:pt x="2745771" y="480090"/>
                  </a:lnTo>
                  <a:lnTo>
                    <a:pt x="2745257" y="483478"/>
                  </a:lnTo>
                  <a:lnTo>
                    <a:pt x="2745711" y="484144"/>
                  </a:lnTo>
                  <a:lnTo>
                    <a:pt x="2746195" y="485747"/>
                  </a:lnTo>
                  <a:lnTo>
                    <a:pt x="2746709" y="486897"/>
                  </a:lnTo>
                  <a:lnTo>
                    <a:pt x="2745197" y="490588"/>
                  </a:lnTo>
                  <a:lnTo>
                    <a:pt x="2743049" y="493673"/>
                  </a:lnTo>
                  <a:lnTo>
                    <a:pt x="2741687" y="497001"/>
                  </a:lnTo>
                  <a:lnTo>
                    <a:pt x="2742504" y="501418"/>
                  </a:lnTo>
                  <a:lnTo>
                    <a:pt x="2739872" y="506409"/>
                  </a:lnTo>
                  <a:lnTo>
                    <a:pt x="2733126" y="510614"/>
                  </a:lnTo>
                  <a:lnTo>
                    <a:pt x="2730131" y="514093"/>
                  </a:lnTo>
                  <a:lnTo>
                    <a:pt x="2728861" y="518903"/>
                  </a:lnTo>
                  <a:lnTo>
                    <a:pt x="2728952" y="528190"/>
                  </a:lnTo>
                  <a:lnTo>
                    <a:pt x="2727379" y="532093"/>
                  </a:lnTo>
                  <a:lnTo>
                    <a:pt x="2730161" y="533666"/>
                  </a:lnTo>
                  <a:lnTo>
                    <a:pt x="2736272" y="531608"/>
                  </a:lnTo>
                  <a:lnTo>
                    <a:pt x="2739116" y="533726"/>
                  </a:lnTo>
                  <a:lnTo>
                    <a:pt x="2737604" y="537447"/>
                  </a:lnTo>
                  <a:lnTo>
                    <a:pt x="2736515" y="539474"/>
                  </a:lnTo>
                  <a:lnTo>
                    <a:pt x="2735879" y="541985"/>
                  </a:lnTo>
                  <a:lnTo>
                    <a:pt x="2735667" y="547158"/>
                  </a:lnTo>
                  <a:lnTo>
                    <a:pt x="2736696" y="549336"/>
                  </a:lnTo>
                  <a:lnTo>
                    <a:pt x="2743835" y="553299"/>
                  </a:lnTo>
                  <a:lnTo>
                    <a:pt x="2730918" y="552845"/>
                  </a:lnTo>
                  <a:lnTo>
                    <a:pt x="2724353" y="554721"/>
                  </a:lnTo>
                  <a:lnTo>
                    <a:pt x="2715308" y="561799"/>
                  </a:lnTo>
                  <a:lnTo>
                    <a:pt x="2694163" y="562949"/>
                  </a:lnTo>
                  <a:lnTo>
                    <a:pt x="2691410" y="565883"/>
                  </a:lnTo>
                  <a:lnTo>
                    <a:pt x="2692620" y="567124"/>
                  </a:lnTo>
                  <a:lnTo>
                    <a:pt x="2695040" y="568364"/>
                  </a:lnTo>
                  <a:lnTo>
                    <a:pt x="2696189" y="569453"/>
                  </a:lnTo>
                  <a:lnTo>
                    <a:pt x="2693920" y="573023"/>
                  </a:lnTo>
                  <a:lnTo>
                    <a:pt x="2688506" y="577560"/>
                  </a:lnTo>
                  <a:lnTo>
                    <a:pt x="2684089" y="585033"/>
                  </a:lnTo>
                  <a:lnTo>
                    <a:pt x="2676949" y="594350"/>
                  </a:lnTo>
                  <a:lnTo>
                    <a:pt x="2676949" y="596135"/>
                  </a:lnTo>
                  <a:lnTo>
                    <a:pt x="2680065" y="595711"/>
                  </a:lnTo>
                  <a:lnTo>
                    <a:pt x="2681215" y="596649"/>
                  </a:lnTo>
                  <a:lnTo>
                    <a:pt x="2681759" y="599674"/>
                  </a:lnTo>
                  <a:lnTo>
                    <a:pt x="2681517" y="603365"/>
                  </a:lnTo>
                  <a:lnTo>
                    <a:pt x="2680549" y="604877"/>
                  </a:lnTo>
                  <a:lnTo>
                    <a:pt x="2677645" y="604938"/>
                  </a:lnTo>
                  <a:lnTo>
                    <a:pt x="2676102" y="606723"/>
                  </a:lnTo>
                  <a:lnTo>
                    <a:pt x="2671746" y="615586"/>
                  </a:lnTo>
                  <a:lnTo>
                    <a:pt x="2670718" y="619156"/>
                  </a:lnTo>
                  <a:lnTo>
                    <a:pt x="2673894" y="619065"/>
                  </a:lnTo>
                  <a:lnTo>
                    <a:pt x="2680307" y="614709"/>
                  </a:lnTo>
                  <a:lnTo>
                    <a:pt x="2700394" y="610202"/>
                  </a:lnTo>
                  <a:lnTo>
                    <a:pt x="2699457" y="614165"/>
                  </a:lnTo>
                  <a:lnTo>
                    <a:pt x="2699033" y="615465"/>
                  </a:lnTo>
                  <a:lnTo>
                    <a:pt x="2710982" y="620608"/>
                  </a:lnTo>
                  <a:lnTo>
                    <a:pt x="2713523" y="625993"/>
                  </a:lnTo>
                  <a:lnTo>
                    <a:pt x="2710740" y="627143"/>
                  </a:lnTo>
                  <a:lnTo>
                    <a:pt x="2707957" y="627203"/>
                  </a:lnTo>
                  <a:lnTo>
                    <a:pt x="2705204" y="626265"/>
                  </a:lnTo>
                  <a:lnTo>
                    <a:pt x="2702451" y="624420"/>
                  </a:lnTo>
                  <a:lnTo>
                    <a:pt x="2700122" y="621364"/>
                  </a:lnTo>
                  <a:lnTo>
                    <a:pt x="2699033" y="620729"/>
                  </a:lnTo>
                  <a:lnTo>
                    <a:pt x="2697702" y="621122"/>
                  </a:lnTo>
                  <a:lnTo>
                    <a:pt x="2694737" y="623754"/>
                  </a:lnTo>
                  <a:lnTo>
                    <a:pt x="2691258" y="624934"/>
                  </a:lnTo>
                  <a:lnTo>
                    <a:pt x="2689171" y="626326"/>
                  </a:lnTo>
                  <a:lnTo>
                    <a:pt x="2682788" y="632558"/>
                  </a:lnTo>
                  <a:lnTo>
                    <a:pt x="2674922" y="636641"/>
                  </a:lnTo>
                  <a:lnTo>
                    <a:pt x="2692801" y="645384"/>
                  </a:lnTo>
                  <a:lnTo>
                    <a:pt x="2702270" y="646866"/>
                  </a:lnTo>
                  <a:lnTo>
                    <a:pt x="2706656" y="650224"/>
                  </a:lnTo>
                  <a:lnTo>
                    <a:pt x="2706656" y="657787"/>
                  </a:lnTo>
                  <a:lnTo>
                    <a:pt x="2700515" y="650164"/>
                  </a:lnTo>
                  <a:lnTo>
                    <a:pt x="2684724" y="647532"/>
                  </a:lnTo>
                  <a:lnTo>
                    <a:pt x="2674287" y="640725"/>
                  </a:lnTo>
                  <a:lnTo>
                    <a:pt x="2670929" y="642540"/>
                  </a:lnTo>
                  <a:lnTo>
                    <a:pt x="2667693" y="645566"/>
                  </a:lnTo>
                  <a:lnTo>
                    <a:pt x="2661430" y="647955"/>
                  </a:lnTo>
                  <a:lnTo>
                    <a:pt x="2654352" y="652765"/>
                  </a:lnTo>
                  <a:lnTo>
                    <a:pt x="2651477" y="655881"/>
                  </a:lnTo>
                  <a:lnTo>
                    <a:pt x="2657105" y="660873"/>
                  </a:lnTo>
                  <a:lnTo>
                    <a:pt x="2660462" y="662143"/>
                  </a:lnTo>
                  <a:lnTo>
                    <a:pt x="2662882" y="660268"/>
                  </a:lnTo>
                  <a:lnTo>
                    <a:pt x="2665514" y="657364"/>
                  </a:lnTo>
                  <a:lnTo>
                    <a:pt x="2668479" y="658846"/>
                  </a:lnTo>
                  <a:lnTo>
                    <a:pt x="2671141" y="662567"/>
                  </a:lnTo>
                  <a:lnTo>
                    <a:pt x="2672896" y="666348"/>
                  </a:lnTo>
                  <a:lnTo>
                    <a:pt x="2677645" y="672641"/>
                  </a:lnTo>
                  <a:lnTo>
                    <a:pt x="2690321" y="674940"/>
                  </a:lnTo>
                  <a:lnTo>
                    <a:pt x="2696219" y="680264"/>
                  </a:lnTo>
                  <a:lnTo>
                    <a:pt x="2693829" y="681051"/>
                  </a:lnTo>
                  <a:lnTo>
                    <a:pt x="2685874" y="676785"/>
                  </a:lnTo>
                  <a:lnTo>
                    <a:pt x="2677161" y="678933"/>
                  </a:lnTo>
                  <a:lnTo>
                    <a:pt x="2674166" y="678691"/>
                  </a:lnTo>
                  <a:lnTo>
                    <a:pt x="2672200" y="677844"/>
                  </a:lnTo>
                  <a:lnTo>
                    <a:pt x="2670264" y="676392"/>
                  </a:lnTo>
                  <a:lnTo>
                    <a:pt x="2668479" y="674153"/>
                  </a:lnTo>
                  <a:lnTo>
                    <a:pt x="2665121" y="667377"/>
                  </a:lnTo>
                  <a:lnTo>
                    <a:pt x="2663185" y="667044"/>
                  </a:lnTo>
                  <a:lnTo>
                    <a:pt x="2661158" y="667952"/>
                  </a:lnTo>
                  <a:lnTo>
                    <a:pt x="2659040" y="668284"/>
                  </a:lnTo>
                  <a:lnTo>
                    <a:pt x="2655108" y="665108"/>
                  </a:lnTo>
                  <a:lnTo>
                    <a:pt x="2653020" y="664140"/>
                  </a:lnTo>
                  <a:lnTo>
                    <a:pt x="2648513" y="667347"/>
                  </a:lnTo>
                  <a:lnTo>
                    <a:pt x="2639407" y="670493"/>
                  </a:lnTo>
                  <a:lnTo>
                    <a:pt x="2638772" y="671037"/>
                  </a:lnTo>
                  <a:lnTo>
                    <a:pt x="2637985" y="672641"/>
                  </a:lnTo>
                  <a:lnTo>
                    <a:pt x="2637653" y="674304"/>
                  </a:lnTo>
                  <a:lnTo>
                    <a:pt x="2637653" y="676331"/>
                  </a:lnTo>
                  <a:lnTo>
                    <a:pt x="2637955" y="678025"/>
                  </a:lnTo>
                  <a:lnTo>
                    <a:pt x="2638651" y="678751"/>
                  </a:lnTo>
                  <a:lnTo>
                    <a:pt x="2639740" y="679296"/>
                  </a:lnTo>
                  <a:lnTo>
                    <a:pt x="2641192" y="681656"/>
                  </a:lnTo>
                  <a:lnTo>
                    <a:pt x="2642432" y="682200"/>
                  </a:lnTo>
                  <a:lnTo>
                    <a:pt x="2644943" y="682503"/>
                  </a:lnTo>
                  <a:lnTo>
                    <a:pt x="2645942" y="683561"/>
                  </a:lnTo>
                  <a:lnTo>
                    <a:pt x="2646607" y="685800"/>
                  </a:lnTo>
                  <a:lnTo>
                    <a:pt x="2644701" y="687010"/>
                  </a:lnTo>
                  <a:lnTo>
                    <a:pt x="2642795" y="687434"/>
                  </a:lnTo>
                  <a:lnTo>
                    <a:pt x="2640889" y="687071"/>
                  </a:lnTo>
                  <a:lnTo>
                    <a:pt x="2636896" y="684650"/>
                  </a:lnTo>
                  <a:lnTo>
                    <a:pt x="2636231" y="683924"/>
                  </a:lnTo>
                  <a:lnTo>
                    <a:pt x="2636049" y="682745"/>
                  </a:lnTo>
                  <a:lnTo>
                    <a:pt x="2636110" y="680990"/>
                  </a:lnTo>
                  <a:lnTo>
                    <a:pt x="2635959" y="679417"/>
                  </a:lnTo>
                  <a:lnTo>
                    <a:pt x="2632359" y="676422"/>
                  </a:lnTo>
                  <a:lnTo>
                    <a:pt x="2629818" y="671824"/>
                  </a:lnTo>
                  <a:lnTo>
                    <a:pt x="2627095" y="668224"/>
                  </a:lnTo>
                  <a:lnTo>
                    <a:pt x="2623858" y="669101"/>
                  </a:lnTo>
                  <a:lnTo>
                    <a:pt x="2620288" y="671975"/>
                  </a:lnTo>
                  <a:lnTo>
                    <a:pt x="2608672" y="675091"/>
                  </a:lnTo>
                  <a:lnTo>
                    <a:pt x="2597328" y="682835"/>
                  </a:lnTo>
                  <a:lnTo>
                    <a:pt x="2590521" y="685074"/>
                  </a:lnTo>
                  <a:lnTo>
                    <a:pt x="2587254" y="688160"/>
                  </a:lnTo>
                  <a:lnTo>
                    <a:pt x="2584713" y="692576"/>
                  </a:lnTo>
                  <a:lnTo>
                    <a:pt x="2583805" y="697810"/>
                  </a:lnTo>
                  <a:lnTo>
                    <a:pt x="2584168" y="701289"/>
                  </a:lnTo>
                  <a:lnTo>
                    <a:pt x="2584864" y="703467"/>
                  </a:lnTo>
                  <a:lnTo>
                    <a:pt x="2585862" y="705010"/>
                  </a:lnTo>
                  <a:lnTo>
                    <a:pt x="2587254" y="706462"/>
                  </a:lnTo>
                  <a:lnTo>
                    <a:pt x="2589039" y="707642"/>
                  </a:lnTo>
                  <a:lnTo>
                    <a:pt x="2590400" y="708126"/>
                  </a:lnTo>
                  <a:lnTo>
                    <a:pt x="2590763" y="709275"/>
                  </a:lnTo>
                  <a:lnTo>
                    <a:pt x="2589674" y="712512"/>
                  </a:lnTo>
                  <a:lnTo>
                    <a:pt x="2587980" y="713692"/>
                  </a:lnTo>
                  <a:lnTo>
                    <a:pt x="2585620" y="712270"/>
                  </a:lnTo>
                  <a:lnTo>
                    <a:pt x="2581718" y="709910"/>
                  </a:lnTo>
                  <a:lnTo>
                    <a:pt x="2575970" y="713662"/>
                  </a:lnTo>
                  <a:lnTo>
                    <a:pt x="2574820" y="715083"/>
                  </a:lnTo>
                  <a:lnTo>
                    <a:pt x="2573943" y="718472"/>
                  </a:lnTo>
                  <a:lnTo>
                    <a:pt x="2574216" y="720135"/>
                  </a:lnTo>
                  <a:lnTo>
                    <a:pt x="2575153" y="721497"/>
                  </a:lnTo>
                  <a:lnTo>
                    <a:pt x="2576182" y="723856"/>
                  </a:lnTo>
                  <a:lnTo>
                    <a:pt x="2577271" y="727729"/>
                  </a:lnTo>
                  <a:lnTo>
                    <a:pt x="2577513" y="729725"/>
                  </a:lnTo>
                  <a:lnTo>
                    <a:pt x="2577513" y="733325"/>
                  </a:lnTo>
                  <a:lnTo>
                    <a:pt x="2578602" y="735775"/>
                  </a:lnTo>
                  <a:lnTo>
                    <a:pt x="2580992" y="736532"/>
                  </a:lnTo>
                  <a:lnTo>
                    <a:pt x="2594484" y="736532"/>
                  </a:lnTo>
                  <a:lnTo>
                    <a:pt x="2601563" y="732992"/>
                  </a:lnTo>
                  <a:lnTo>
                    <a:pt x="2612574" y="733900"/>
                  </a:lnTo>
                  <a:lnTo>
                    <a:pt x="2616598" y="729816"/>
                  </a:lnTo>
                  <a:lnTo>
                    <a:pt x="2617808" y="727517"/>
                  </a:lnTo>
                  <a:lnTo>
                    <a:pt x="2625522" y="718895"/>
                  </a:lnTo>
                  <a:lnTo>
                    <a:pt x="2626581" y="718532"/>
                  </a:lnTo>
                  <a:lnTo>
                    <a:pt x="2627700" y="719107"/>
                  </a:lnTo>
                  <a:lnTo>
                    <a:pt x="2629727" y="721587"/>
                  </a:lnTo>
                  <a:lnTo>
                    <a:pt x="2630725" y="722132"/>
                  </a:lnTo>
                  <a:lnTo>
                    <a:pt x="2632540" y="722556"/>
                  </a:lnTo>
                  <a:lnTo>
                    <a:pt x="2635021" y="723766"/>
                  </a:lnTo>
                  <a:lnTo>
                    <a:pt x="2637078" y="725853"/>
                  </a:lnTo>
                  <a:lnTo>
                    <a:pt x="2637592" y="728908"/>
                  </a:lnTo>
                  <a:lnTo>
                    <a:pt x="2635989" y="731540"/>
                  </a:lnTo>
                  <a:lnTo>
                    <a:pt x="2630150" y="733023"/>
                  </a:lnTo>
                  <a:lnTo>
                    <a:pt x="2627972" y="734233"/>
                  </a:lnTo>
                  <a:lnTo>
                    <a:pt x="2632510" y="737621"/>
                  </a:lnTo>
                  <a:lnTo>
                    <a:pt x="2653989" y="732327"/>
                  </a:lnTo>
                  <a:lnTo>
                    <a:pt x="2660795" y="723251"/>
                  </a:lnTo>
                  <a:lnTo>
                    <a:pt x="2664516" y="720287"/>
                  </a:lnTo>
                  <a:lnTo>
                    <a:pt x="2671958" y="719379"/>
                  </a:lnTo>
                  <a:lnTo>
                    <a:pt x="2676254" y="715870"/>
                  </a:lnTo>
                  <a:lnTo>
                    <a:pt x="2680640" y="713662"/>
                  </a:lnTo>
                  <a:lnTo>
                    <a:pt x="2682849" y="713389"/>
                  </a:lnTo>
                  <a:lnTo>
                    <a:pt x="2682606" y="716324"/>
                  </a:lnTo>
                  <a:lnTo>
                    <a:pt x="2674922" y="734233"/>
                  </a:lnTo>
                  <a:lnTo>
                    <a:pt x="2689473" y="733416"/>
                  </a:lnTo>
                  <a:lnTo>
                    <a:pt x="2709954" y="746908"/>
                  </a:lnTo>
                  <a:lnTo>
                    <a:pt x="2715611" y="747997"/>
                  </a:lnTo>
                  <a:lnTo>
                    <a:pt x="2710075" y="750084"/>
                  </a:lnTo>
                  <a:lnTo>
                    <a:pt x="2699275" y="743278"/>
                  </a:lnTo>
                  <a:lnTo>
                    <a:pt x="2682213" y="739103"/>
                  </a:lnTo>
                  <a:lnTo>
                    <a:pt x="2667662" y="740434"/>
                  </a:lnTo>
                  <a:lnTo>
                    <a:pt x="2664577" y="742824"/>
                  </a:lnTo>
                  <a:lnTo>
                    <a:pt x="2682788" y="752051"/>
                  </a:lnTo>
                  <a:lnTo>
                    <a:pt x="2685964" y="756558"/>
                  </a:lnTo>
                  <a:lnTo>
                    <a:pt x="2677796" y="754985"/>
                  </a:lnTo>
                  <a:lnTo>
                    <a:pt x="2660916" y="744095"/>
                  </a:lnTo>
                  <a:lnTo>
                    <a:pt x="2652869" y="744700"/>
                  </a:lnTo>
                  <a:lnTo>
                    <a:pt x="2653353" y="747059"/>
                  </a:lnTo>
                  <a:lnTo>
                    <a:pt x="2653626" y="747967"/>
                  </a:lnTo>
                  <a:lnTo>
                    <a:pt x="2651689" y="751264"/>
                  </a:lnTo>
                  <a:lnTo>
                    <a:pt x="2649723" y="751748"/>
                  </a:lnTo>
                  <a:lnTo>
                    <a:pt x="2648664" y="752958"/>
                  </a:lnTo>
                  <a:lnTo>
                    <a:pt x="2649451" y="758373"/>
                  </a:lnTo>
                  <a:lnTo>
                    <a:pt x="2650358" y="761338"/>
                  </a:lnTo>
                  <a:lnTo>
                    <a:pt x="2651689" y="764091"/>
                  </a:lnTo>
                  <a:lnTo>
                    <a:pt x="2653232" y="766602"/>
                  </a:lnTo>
                  <a:lnTo>
                    <a:pt x="2654956" y="768659"/>
                  </a:lnTo>
                  <a:lnTo>
                    <a:pt x="2663366" y="775072"/>
                  </a:lnTo>
                  <a:lnTo>
                    <a:pt x="2667178" y="779549"/>
                  </a:lnTo>
                  <a:lnTo>
                    <a:pt x="2670203" y="787263"/>
                  </a:lnTo>
                  <a:lnTo>
                    <a:pt x="2665575" y="788020"/>
                  </a:lnTo>
                  <a:lnTo>
                    <a:pt x="2663366" y="789865"/>
                  </a:lnTo>
                  <a:lnTo>
                    <a:pt x="2663608" y="793465"/>
                  </a:lnTo>
                  <a:lnTo>
                    <a:pt x="2664486" y="796732"/>
                  </a:lnTo>
                  <a:lnTo>
                    <a:pt x="2664577" y="800332"/>
                  </a:lnTo>
                  <a:lnTo>
                    <a:pt x="2663669" y="803236"/>
                  </a:lnTo>
                  <a:lnTo>
                    <a:pt x="2661551" y="804446"/>
                  </a:lnTo>
                  <a:lnTo>
                    <a:pt x="2660009" y="803690"/>
                  </a:lnTo>
                  <a:lnTo>
                    <a:pt x="2660130" y="801572"/>
                  </a:lnTo>
                  <a:lnTo>
                    <a:pt x="2660856" y="798335"/>
                  </a:lnTo>
                  <a:lnTo>
                    <a:pt x="2661188" y="794221"/>
                  </a:lnTo>
                  <a:lnTo>
                    <a:pt x="2660825" y="792890"/>
                  </a:lnTo>
                  <a:lnTo>
                    <a:pt x="2660130" y="791831"/>
                  </a:lnTo>
                  <a:lnTo>
                    <a:pt x="2659434" y="790470"/>
                  </a:lnTo>
                  <a:lnTo>
                    <a:pt x="2659131" y="788171"/>
                  </a:lnTo>
                  <a:lnTo>
                    <a:pt x="2659373" y="787082"/>
                  </a:lnTo>
                  <a:lnTo>
                    <a:pt x="2661188" y="782302"/>
                  </a:lnTo>
                  <a:lnTo>
                    <a:pt x="2650449" y="775193"/>
                  </a:lnTo>
                  <a:lnTo>
                    <a:pt x="2647726" y="771139"/>
                  </a:lnTo>
                  <a:lnTo>
                    <a:pt x="2647363" y="769294"/>
                  </a:lnTo>
                  <a:lnTo>
                    <a:pt x="2646365" y="761822"/>
                  </a:lnTo>
                  <a:lnTo>
                    <a:pt x="2645609" y="760824"/>
                  </a:lnTo>
                  <a:lnTo>
                    <a:pt x="2642553" y="754047"/>
                  </a:lnTo>
                  <a:lnTo>
                    <a:pt x="2640769" y="753019"/>
                  </a:lnTo>
                  <a:lnTo>
                    <a:pt x="2632691" y="755590"/>
                  </a:lnTo>
                  <a:lnTo>
                    <a:pt x="2630937" y="756709"/>
                  </a:lnTo>
                  <a:lnTo>
                    <a:pt x="2627428" y="760158"/>
                  </a:lnTo>
                  <a:lnTo>
                    <a:pt x="2612604" y="765452"/>
                  </a:lnTo>
                  <a:lnTo>
                    <a:pt x="2610245" y="765301"/>
                  </a:lnTo>
                  <a:lnTo>
                    <a:pt x="2611455" y="763183"/>
                  </a:lnTo>
                  <a:lnTo>
                    <a:pt x="2614994" y="758706"/>
                  </a:lnTo>
                  <a:lnTo>
                    <a:pt x="2615751" y="757496"/>
                  </a:lnTo>
                  <a:lnTo>
                    <a:pt x="2614843" y="753109"/>
                  </a:lnTo>
                  <a:lnTo>
                    <a:pt x="2612756" y="751627"/>
                  </a:lnTo>
                  <a:lnTo>
                    <a:pt x="2608127" y="751415"/>
                  </a:lnTo>
                  <a:lnTo>
                    <a:pt x="2599960" y="745849"/>
                  </a:lnTo>
                  <a:lnTo>
                    <a:pt x="2597207" y="744851"/>
                  </a:lnTo>
                  <a:lnTo>
                    <a:pt x="2569859" y="748905"/>
                  </a:lnTo>
                  <a:lnTo>
                    <a:pt x="2563143" y="753533"/>
                  </a:lnTo>
                  <a:lnTo>
                    <a:pt x="2553856" y="755711"/>
                  </a:lnTo>
                  <a:lnTo>
                    <a:pt x="2549439" y="758434"/>
                  </a:lnTo>
                  <a:lnTo>
                    <a:pt x="2550952" y="760007"/>
                  </a:lnTo>
                  <a:lnTo>
                    <a:pt x="2554038" y="759523"/>
                  </a:lnTo>
                  <a:lnTo>
                    <a:pt x="2555611" y="760128"/>
                  </a:lnTo>
                  <a:lnTo>
                    <a:pt x="2551557" y="763395"/>
                  </a:lnTo>
                  <a:lnTo>
                    <a:pt x="2553887" y="765210"/>
                  </a:lnTo>
                  <a:lnTo>
                    <a:pt x="2559271" y="763940"/>
                  </a:lnTo>
                  <a:lnTo>
                    <a:pt x="2561540" y="766057"/>
                  </a:lnTo>
                  <a:lnTo>
                    <a:pt x="2563295" y="768356"/>
                  </a:lnTo>
                  <a:lnTo>
                    <a:pt x="2568740" y="771623"/>
                  </a:lnTo>
                  <a:lnTo>
                    <a:pt x="2579903" y="774104"/>
                  </a:lnTo>
                  <a:lnTo>
                    <a:pt x="2584380" y="777250"/>
                  </a:lnTo>
                  <a:lnTo>
                    <a:pt x="2588040" y="782363"/>
                  </a:lnTo>
                  <a:lnTo>
                    <a:pt x="2586921" y="786447"/>
                  </a:lnTo>
                  <a:lnTo>
                    <a:pt x="2588887" y="791529"/>
                  </a:lnTo>
                  <a:lnTo>
                    <a:pt x="2592064" y="795855"/>
                  </a:lnTo>
                  <a:lnTo>
                    <a:pt x="2600867" y="802087"/>
                  </a:lnTo>
                  <a:lnTo>
                    <a:pt x="2601896" y="803720"/>
                  </a:lnTo>
                  <a:lnTo>
                    <a:pt x="2602682" y="806745"/>
                  </a:lnTo>
                  <a:lnTo>
                    <a:pt x="2608097" y="813159"/>
                  </a:lnTo>
                  <a:lnTo>
                    <a:pt x="2604951" y="813068"/>
                  </a:lnTo>
                  <a:lnTo>
                    <a:pt x="2601684" y="811525"/>
                  </a:lnTo>
                  <a:lnTo>
                    <a:pt x="2583896" y="797730"/>
                  </a:lnTo>
                  <a:lnTo>
                    <a:pt x="2583593" y="788141"/>
                  </a:lnTo>
                  <a:lnTo>
                    <a:pt x="2578420" y="782484"/>
                  </a:lnTo>
                  <a:lnTo>
                    <a:pt x="2567409" y="777129"/>
                  </a:lnTo>
                  <a:lnTo>
                    <a:pt x="2566350" y="775314"/>
                  </a:lnTo>
                  <a:lnTo>
                    <a:pt x="2561389" y="776373"/>
                  </a:lnTo>
                  <a:lnTo>
                    <a:pt x="2559150" y="775556"/>
                  </a:lnTo>
                  <a:lnTo>
                    <a:pt x="2558545" y="774497"/>
                  </a:lnTo>
                  <a:lnTo>
                    <a:pt x="2557728" y="771442"/>
                  </a:lnTo>
                  <a:lnTo>
                    <a:pt x="2557033" y="770292"/>
                  </a:lnTo>
                  <a:lnTo>
                    <a:pt x="2555611" y="769475"/>
                  </a:lnTo>
                  <a:lnTo>
                    <a:pt x="2554522" y="769627"/>
                  </a:lnTo>
                  <a:lnTo>
                    <a:pt x="2553463" y="770111"/>
                  </a:lnTo>
                  <a:lnTo>
                    <a:pt x="2552162" y="770292"/>
                  </a:lnTo>
                  <a:lnTo>
                    <a:pt x="2550135" y="769597"/>
                  </a:lnTo>
                  <a:lnTo>
                    <a:pt x="2546596" y="767358"/>
                  </a:lnTo>
                  <a:lnTo>
                    <a:pt x="2544599" y="766874"/>
                  </a:lnTo>
                  <a:lnTo>
                    <a:pt x="2542330" y="768084"/>
                  </a:lnTo>
                  <a:lnTo>
                    <a:pt x="2539487" y="773862"/>
                  </a:lnTo>
                  <a:lnTo>
                    <a:pt x="2537672" y="775586"/>
                  </a:lnTo>
                  <a:lnTo>
                    <a:pt x="2539336" y="777916"/>
                  </a:lnTo>
                  <a:lnTo>
                    <a:pt x="2546505" y="781758"/>
                  </a:lnTo>
                  <a:lnTo>
                    <a:pt x="2561540" y="783966"/>
                  </a:lnTo>
                  <a:lnTo>
                    <a:pt x="2562417" y="784783"/>
                  </a:lnTo>
                  <a:lnTo>
                    <a:pt x="2563083" y="786598"/>
                  </a:lnTo>
                  <a:lnTo>
                    <a:pt x="2563143" y="788383"/>
                  </a:lnTo>
                  <a:lnTo>
                    <a:pt x="2562266" y="789230"/>
                  </a:lnTo>
                  <a:lnTo>
                    <a:pt x="2548804" y="789774"/>
                  </a:lnTo>
                  <a:lnTo>
                    <a:pt x="2545749" y="791045"/>
                  </a:lnTo>
                  <a:lnTo>
                    <a:pt x="2543601" y="793525"/>
                  </a:lnTo>
                  <a:lnTo>
                    <a:pt x="2544599" y="795401"/>
                  </a:lnTo>
                  <a:lnTo>
                    <a:pt x="2568105" y="794312"/>
                  </a:lnTo>
                  <a:lnTo>
                    <a:pt x="2569345" y="793525"/>
                  </a:lnTo>
                  <a:lnTo>
                    <a:pt x="2571704" y="790016"/>
                  </a:lnTo>
                  <a:lnTo>
                    <a:pt x="2572884" y="789230"/>
                  </a:lnTo>
                  <a:lnTo>
                    <a:pt x="2573610" y="790288"/>
                  </a:lnTo>
                  <a:lnTo>
                    <a:pt x="2573610" y="794947"/>
                  </a:lnTo>
                  <a:lnTo>
                    <a:pt x="2574246" y="796036"/>
                  </a:lnTo>
                  <a:lnTo>
                    <a:pt x="2575214" y="796551"/>
                  </a:lnTo>
                  <a:lnTo>
                    <a:pt x="2580901" y="801784"/>
                  </a:lnTo>
                  <a:lnTo>
                    <a:pt x="2584894" y="802903"/>
                  </a:lnTo>
                  <a:lnTo>
                    <a:pt x="2586649" y="804537"/>
                  </a:lnTo>
                  <a:lnTo>
                    <a:pt x="2582111" y="805021"/>
                  </a:lnTo>
                  <a:lnTo>
                    <a:pt x="2568770" y="799576"/>
                  </a:lnTo>
                  <a:lnTo>
                    <a:pt x="2568770" y="801119"/>
                  </a:lnTo>
                  <a:lnTo>
                    <a:pt x="2572340" y="802934"/>
                  </a:lnTo>
                  <a:lnTo>
                    <a:pt x="2573973" y="804870"/>
                  </a:lnTo>
                  <a:lnTo>
                    <a:pt x="2574881" y="808076"/>
                  </a:lnTo>
                  <a:lnTo>
                    <a:pt x="2572945" y="807865"/>
                  </a:lnTo>
                  <a:lnTo>
                    <a:pt x="2571009" y="806927"/>
                  </a:lnTo>
                  <a:lnTo>
                    <a:pt x="2569163" y="806594"/>
                  </a:lnTo>
                  <a:lnTo>
                    <a:pt x="2567409" y="808076"/>
                  </a:lnTo>
                  <a:lnTo>
                    <a:pt x="2568044" y="809075"/>
                  </a:lnTo>
                  <a:lnTo>
                    <a:pt x="2568770" y="809770"/>
                  </a:lnTo>
                  <a:lnTo>
                    <a:pt x="2567711" y="811979"/>
                  </a:lnTo>
                  <a:lnTo>
                    <a:pt x="2563476" y="810224"/>
                  </a:lnTo>
                  <a:lnTo>
                    <a:pt x="2559453" y="814762"/>
                  </a:lnTo>
                  <a:lnTo>
                    <a:pt x="2556791" y="814762"/>
                  </a:lnTo>
                  <a:lnTo>
                    <a:pt x="2551557" y="813159"/>
                  </a:lnTo>
                  <a:lnTo>
                    <a:pt x="2552797" y="815790"/>
                  </a:lnTo>
                  <a:lnTo>
                    <a:pt x="2554401" y="817031"/>
                  </a:lnTo>
                  <a:lnTo>
                    <a:pt x="2557728" y="818241"/>
                  </a:lnTo>
                  <a:lnTo>
                    <a:pt x="2556851" y="822052"/>
                  </a:lnTo>
                  <a:lnTo>
                    <a:pt x="2556367" y="823323"/>
                  </a:lnTo>
                  <a:lnTo>
                    <a:pt x="2562145" y="825592"/>
                  </a:lnTo>
                  <a:lnTo>
                    <a:pt x="2572067" y="817303"/>
                  </a:lnTo>
                  <a:lnTo>
                    <a:pt x="2577664" y="816547"/>
                  </a:lnTo>
                  <a:lnTo>
                    <a:pt x="2579721" y="818211"/>
                  </a:lnTo>
                  <a:lnTo>
                    <a:pt x="2583109" y="822990"/>
                  </a:lnTo>
                  <a:lnTo>
                    <a:pt x="2585318" y="824866"/>
                  </a:lnTo>
                  <a:lnTo>
                    <a:pt x="2596602" y="828345"/>
                  </a:lnTo>
                  <a:lnTo>
                    <a:pt x="2595392" y="828980"/>
                  </a:lnTo>
                  <a:lnTo>
                    <a:pt x="2594212" y="830220"/>
                  </a:lnTo>
                  <a:lnTo>
                    <a:pt x="2595785" y="831551"/>
                  </a:lnTo>
                  <a:lnTo>
                    <a:pt x="2596359" y="831763"/>
                  </a:lnTo>
                  <a:lnTo>
                    <a:pt x="2594000" y="833366"/>
                  </a:lnTo>
                  <a:lnTo>
                    <a:pt x="2582655" y="829525"/>
                  </a:lnTo>
                  <a:lnTo>
                    <a:pt x="2576303" y="823323"/>
                  </a:lnTo>
                  <a:lnTo>
                    <a:pt x="2573943" y="822567"/>
                  </a:lnTo>
                  <a:lnTo>
                    <a:pt x="2572763" y="824473"/>
                  </a:lnTo>
                  <a:lnTo>
                    <a:pt x="2571826" y="827074"/>
                  </a:lnTo>
                  <a:lnTo>
                    <a:pt x="2570192" y="828375"/>
                  </a:lnTo>
                  <a:lnTo>
                    <a:pt x="2568316" y="829131"/>
                  </a:lnTo>
                  <a:lnTo>
                    <a:pt x="2566441" y="831249"/>
                  </a:lnTo>
                  <a:lnTo>
                    <a:pt x="2564898" y="834456"/>
                  </a:lnTo>
                  <a:lnTo>
                    <a:pt x="2563991" y="838540"/>
                  </a:lnTo>
                  <a:lnTo>
                    <a:pt x="2577664" y="841928"/>
                  </a:lnTo>
                  <a:lnTo>
                    <a:pt x="2575032" y="846405"/>
                  </a:lnTo>
                  <a:lnTo>
                    <a:pt x="2573883" y="848946"/>
                  </a:lnTo>
                  <a:lnTo>
                    <a:pt x="2573883" y="851245"/>
                  </a:lnTo>
                  <a:lnTo>
                    <a:pt x="2575668" y="853423"/>
                  </a:lnTo>
                  <a:lnTo>
                    <a:pt x="2579994" y="853938"/>
                  </a:lnTo>
                  <a:lnTo>
                    <a:pt x="2581839" y="855511"/>
                  </a:lnTo>
                  <a:lnTo>
                    <a:pt x="2578935" y="856509"/>
                  </a:lnTo>
                  <a:lnTo>
                    <a:pt x="2575758" y="856448"/>
                  </a:lnTo>
                  <a:lnTo>
                    <a:pt x="2572703" y="855057"/>
                  </a:lnTo>
                  <a:lnTo>
                    <a:pt x="2570162" y="851971"/>
                  </a:lnTo>
                  <a:lnTo>
                    <a:pt x="2567227" y="845649"/>
                  </a:lnTo>
                  <a:lnTo>
                    <a:pt x="2565533" y="843652"/>
                  </a:lnTo>
                  <a:lnTo>
                    <a:pt x="2563234" y="843531"/>
                  </a:lnTo>
                  <a:lnTo>
                    <a:pt x="2560814" y="845255"/>
                  </a:lnTo>
                  <a:lnTo>
                    <a:pt x="2560935" y="847222"/>
                  </a:lnTo>
                  <a:lnTo>
                    <a:pt x="2564626" y="851941"/>
                  </a:lnTo>
                  <a:lnTo>
                    <a:pt x="2567106" y="855964"/>
                  </a:lnTo>
                  <a:lnTo>
                    <a:pt x="2568074" y="856993"/>
                  </a:lnTo>
                  <a:lnTo>
                    <a:pt x="2572733" y="859050"/>
                  </a:lnTo>
                  <a:lnTo>
                    <a:pt x="2574216" y="860532"/>
                  </a:lnTo>
                  <a:lnTo>
                    <a:pt x="2573671" y="861228"/>
                  </a:lnTo>
                  <a:lnTo>
                    <a:pt x="2572673" y="863164"/>
                  </a:lnTo>
                  <a:lnTo>
                    <a:pt x="2572158" y="863890"/>
                  </a:lnTo>
                  <a:lnTo>
                    <a:pt x="2573368" y="866976"/>
                  </a:lnTo>
                  <a:lnTo>
                    <a:pt x="2573822" y="868640"/>
                  </a:lnTo>
                  <a:lnTo>
                    <a:pt x="2574216" y="870606"/>
                  </a:lnTo>
                  <a:lnTo>
                    <a:pt x="2572824" y="870757"/>
                  </a:lnTo>
                  <a:lnTo>
                    <a:pt x="2568800" y="868942"/>
                  </a:lnTo>
                  <a:lnTo>
                    <a:pt x="2568135" y="865705"/>
                  </a:lnTo>
                  <a:lnTo>
                    <a:pt x="2557577" y="847433"/>
                  </a:lnTo>
                  <a:lnTo>
                    <a:pt x="2554885" y="844439"/>
                  </a:lnTo>
                  <a:lnTo>
                    <a:pt x="2551920" y="843501"/>
                  </a:lnTo>
                  <a:lnTo>
                    <a:pt x="2548109" y="845195"/>
                  </a:lnTo>
                  <a:lnTo>
                    <a:pt x="2551769" y="847222"/>
                  </a:lnTo>
                  <a:lnTo>
                    <a:pt x="2553493" y="849067"/>
                  </a:lnTo>
                  <a:lnTo>
                    <a:pt x="2555006" y="851941"/>
                  </a:lnTo>
                  <a:lnTo>
                    <a:pt x="2554582" y="854512"/>
                  </a:lnTo>
                  <a:lnTo>
                    <a:pt x="2555036" y="860442"/>
                  </a:lnTo>
                  <a:lnTo>
                    <a:pt x="2555036" y="863890"/>
                  </a:lnTo>
                  <a:lnTo>
                    <a:pt x="2554250" y="866280"/>
                  </a:lnTo>
                  <a:lnTo>
                    <a:pt x="2553221" y="868307"/>
                  </a:lnTo>
                  <a:lnTo>
                    <a:pt x="2552918" y="870424"/>
                  </a:lnTo>
                  <a:lnTo>
                    <a:pt x="2554340" y="873147"/>
                  </a:lnTo>
                  <a:lnTo>
                    <a:pt x="2558606" y="876929"/>
                  </a:lnTo>
                  <a:lnTo>
                    <a:pt x="2572945" y="882525"/>
                  </a:lnTo>
                  <a:lnTo>
                    <a:pt x="2571947" y="887335"/>
                  </a:lnTo>
                  <a:lnTo>
                    <a:pt x="2573641" y="890723"/>
                  </a:lnTo>
                  <a:lnTo>
                    <a:pt x="2576545" y="892901"/>
                  </a:lnTo>
                  <a:lnTo>
                    <a:pt x="2579116" y="894081"/>
                  </a:lnTo>
                  <a:lnTo>
                    <a:pt x="2576061" y="895563"/>
                  </a:lnTo>
                  <a:lnTo>
                    <a:pt x="2571281" y="893174"/>
                  </a:lnTo>
                  <a:lnTo>
                    <a:pt x="2558485" y="880014"/>
                  </a:lnTo>
                  <a:lnTo>
                    <a:pt x="2557396" y="878169"/>
                  </a:lnTo>
                  <a:lnTo>
                    <a:pt x="2555641" y="876112"/>
                  </a:lnTo>
                  <a:lnTo>
                    <a:pt x="2551103" y="874539"/>
                  </a:lnTo>
                  <a:lnTo>
                    <a:pt x="2549409" y="872300"/>
                  </a:lnTo>
                  <a:lnTo>
                    <a:pt x="2548744" y="867641"/>
                  </a:lnTo>
                  <a:lnTo>
                    <a:pt x="2548804" y="861984"/>
                  </a:lnTo>
                  <a:lnTo>
                    <a:pt x="2548472" y="856025"/>
                  </a:lnTo>
                  <a:lnTo>
                    <a:pt x="2546687" y="850428"/>
                  </a:lnTo>
                  <a:lnTo>
                    <a:pt x="2543178" y="845951"/>
                  </a:lnTo>
                  <a:lnTo>
                    <a:pt x="2531500" y="838509"/>
                  </a:lnTo>
                  <a:lnTo>
                    <a:pt x="2532650" y="835726"/>
                  </a:lnTo>
                  <a:lnTo>
                    <a:pt x="2534253" y="833941"/>
                  </a:lnTo>
                  <a:lnTo>
                    <a:pt x="2535705" y="831703"/>
                  </a:lnTo>
                  <a:lnTo>
                    <a:pt x="2536310" y="827528"/>
                  </a:lnTo>
                  <a:lnTo>
                    <a:pt x="2534768" y="821478"/>
                  </a:lnTo>
                  <a:lnTo>
                    <a:pt x="2534283" y="818029"/>
                  </a:lnTo>
                  <a:lnTo>
                    <a:pt x="2536371" y="814762"/>
                  </a:lnTo>
                  <a:lnTo>
                    <a:pt x="2537339" y="810738"/>
                  </a:lnTo>
                  <a:lnTo>
                    <a:pt x="2537762" y="806170"/>
                  </a:lnTo>
                  <a:lnTo>
                    <a:pt x="2537067" y="802934"/>
                  </a:lnTo>
                  <a:lnTo>
                    <a:pt x="2535524" y="803236"/>
                  </a:lnTo>
                  <a:lnTo>
                    <a:pt x="2533527" y="805263"/>
                  </a:lnTo>
                  <a:lnTo>
                    <a:pt x="2531561" y="805686"/>
                  </a:lnTo>
                  <a:lnTo>
                    <a:pt x="2530079" y="801088"/>
                  </a:lnTo>
                  <a:lnTo>
                    <a:pt x="2531137" y="800846"/>
                  </a:lnTo>
                  <a:lnTo>
                    <a:pt x="2532075" y="799848"/>
                  </a:lnTo>
                  <a:lnTo>
                    <a:pt x="2532922" y="798154"/>
                  </a:lnTo>
                  <a:lnTo>
                    <a:pt x="2533618" y="796006"/>
                  </a:lnTo>
                  <a:lnTo>
                    <a:pt x="2532287" y="793374"/>
                  </a:lnTo>
                  <a:lnTo>
                    <a:pt x="2531833" y="789320"/>
                  </a:lnTo>
                  <a:lnTo>
                    <a:pt x="2531077" y="785569"/>
                  </a:lnTo>
                  <a:lnTo>
                    <a:pt x="2528748" y="783936"/>
                  </a:lnTo>
                  <a:lnTo>
                    <a:pt x="2525238" y="783815"/>
                  </a:lnTo>
                  <a:lnTo>
                    <a:pt x="2523665" y="784541"/>
                  </a:lnTo>
                  <a:lnTo>
                    <a:pt x="2522213" y="786598"/>
                  </a:lnTo>
                  <a:lnTo>
                    <a:pt x="2521760" y="788564"/>
                  </a:lnTo>
                  <a:lnTo>
                    <a:pt x="2521971" y="790742"/>
                  </a:lnTo>
                  <a:lnTo>
                    <a:pt x="2522365" y="792981"/>
                  </a:lnTo>
                  <a:lnTo>
                    <a:pt x="2522606" y="795159"/>
                  </a:lnTo>
                  <a:lnTo>
                    <a:pt x="2521487" y="799818"/>
                  </a:lnTo>
                  <a:lnTo>
                    <a:pt x="2518916" y="799545"/>
                  </a:lnTo>
                  <a:lnTo>
                    <a:pt x="2516102" y="798184"/>
                  </a:lnTo>
                  <a:lnTo>
                    <a:pt x="2514318" y="799545"/>
                  </a:lnTo>
                  <a:lnTo>
                    <a:pt x="2514469" y="803841"/>
                  </a:lnTo>
                  <a:lnTo>
                    <a:pt x="2516193" y="807683"/>
                  </a:lnTo>
                  <a:lnTo>
                    <a:pt x="2519823" y="813128"/>
                  </a:lnTo>
                  <a:lnTo>
                    <a:pt x="2517948" y="813068"/>
                  </a:lnTo>
                  <a:lnTo>
                    <a:pt x="2516435" y="814822"/>
                  </a:lnTo>
                  <a:lnTo>
                    <a:pt x="2513682" y="819905"/>
                  </a:lnTo>
                  <a:lnTo>
                    <a:pt x="2511655" y="822052"/>
                  </a:lnTo>
                  <a:lnTo>
                    <a:pt x="2509598" y="823051"/>
                  </a:lnTo>
                  <a:lnTo>
                    <a:pt x="2505000" y="823293"/>
                  </a:lnTo>
                  <a:lnTo>
                    <a:pt x="2503790" y="823716"/>
                  </a:lnTo>
                  <a:lnTo>
                    <a:pt x="2503518" y="824745"/>
                  </a:lnTo>
                  <a:lnTo>
                    <a:pt x="2503518" y="825864"/>
                  </a:lnTo>
                  <a:lnTo>
                    <a:pt x="2503276" y="826681"/>
                  </a:lnTo>
                  <a:lnTo>
                    <a:pt x="2500584" y="827982"/>
                  </a:lnTo>
                  <a:lnTo>
                    <a:pt x="2494019" y="827982"/>
                  </a:lnTo>
                  <a:lnTo>
                    <a:pt x="2492809" y="829373"/>
                  </a:lnTo>
                  <a:lnTo>
                    <a:pt x="2493656" y="833427"/>
                  </a:lnTo>
                  <a:lnTo>
                    <a:pt x="2492355" y="833578"/>
                  </a:lnTo>
                  <a:lnTo>
                    <a:pt x="2491115" y="833366"/>
                  </a:lnTo>
                  <a:lnTo>
                    <a:pt x="2489905" y="832762"/>
                  </a:lnTo>
                  <a:lnTo>
                    <a:pt x="2488816" y="831733"/>
                  </a:lnTo>
                  <a:lnTo>
                    <a:pt x="2489542" y="829283"/>
                  </a:lnTo>
                  <a:lnTo>
                    <a:pt x="2489905" y="826983"/>
                  </a:lnTo>
                  <a:lnTo>
                    <a:pt x="2489753" y="824957"/>
                  </a:lnTo>
                  <a:lnTo>
                    <a:pt x="2488785" y="823293"/>
                  </a:lnTo>
                  <a:lnTo>
                    <a:pt x="2491508" y="821962"/>
                  </a:lnTo>
                  <a:lnTo>
                    <a:pt x="2498133" y="824926"/>
                  </a:lnTo>
                  <a:lnTo>
                    <a:pt x="2500553" y="823263"/>
                  </a:lnTo>
                  <a:lnTo>
                    <a:pt x="2500886" y="820419"/>
                  </a:lnTo>
                  <a:lnTo>
                    <a:pt x="2499978" y="817848"/>
                  </a:lnTo>
                  <a:lnTo>
                    <a:pt x="2498496" y="815821"/>
                  </a:lnTo>
                  <a:lnTo>
                    <a:pt x="2497135" y="814641"/>
                  </a:lnTo>
                  <a:lnTo>
                    <a:pt x="2498950" y="813280"/>
                  </a:lnTo>
                  <a:lnTo>
                    <a:pt x="2500553" y="811253"/>
                  </a:lnTo>
                  <a:lnTo>
                    <a:pt x="2498768" y="809801"/>
                  </a:lnTo>
                  <a:lnTo>
                    <a:pt x="2494836" y="808984"/>
                  </a:lnTo>
                  <a:lnTo>
                    <a:pt x="2492930" y="808016"/>
                  </a:lnTo>
                  <a:lnTo>
                    <a:pt x="2493111" y="807139"/>
                  </a:lnTo>
                  <a:lnTo>
                    <a:pt x="2493202" y="806322"/>
                  </a:lnTo>
                  <a:lnTo>
                    <a:pt x="2493384" y="805475"/>
                  </a:lnTo>
                  <a:lnTo>
                    <a:pt x="2493686" y="804476"/>
                  </a:lnTo>
                  <a:lnTo>
                    <a:pt x="2491478" y="803992"/>
                  </a:lnTo>
                  <a:lnTo>
                    <a:pt x="2490722" y="804839"/>
                  </a:lnTo>
                  <a:lnTo>
                    <a:pt x="2490903" y="810496"/>
                  </a:lnTo>
                  <a:lnTo>
                    <a:pt x="2490086" y="812523"/>
                  </a:lnTo>
                  <a:lnTo>
                    <a:pt x="2486396" y="817243"/>
                  </a:lnTo>
                  <a:lnTo>
                    <a:pt x="2485367" y="818180"/>
                  </a:lnTo>
                  <a:lnTo>
                    <a:pt x="2480890" y="818180"/>
                  </a:lnTo>
                  <a:lnTo>
                    <a:pt x="2480527" y="818997"/>
                  </a:lnTo>
                  <a:lnTo>
                    <a:pt x="2480376" y="822537"/>
                  </a:lnTo>
                  <a:lnTo>
                    <a:pt x="2479891" y="823293"/>
                  </a:lnTo>
                  <a:lnTo>
                    <a:pt x="2478318" y="822204"/>
                  </a:lnTo>
                  <a:lnTo>
                    <a:pt x="2477411" y="819844"/>
                  </a:lnTo>
                  <a:lnTo>
                    <a:pt x="2477199" y="816668"/>
                  </a:lnTo>
                  <a:lnTo>
                    <a:pt x="2477774" y="813128"/>
                  </a:lnTo>
                  <a:lnTo>
                    <a:pt x="2473327" y="815125"/>
                  </a:lnTo>
                  <a:lnTo>
                    <a:pt x="2467307" y="819995"/>
                  </a:lnTo>
                  <a:lnTo>
                    <a:pt x="2462346" y="826076"/>
                  </a:lnTo>
                  <a:lnTo>
                    <a:pt x="2461136" y="831733"/>
                  </a:lnTo>
                  <a:lnTo>
                    <a:pt x="2459502" y="832671"/>
                  </a:lnTo>
                  <a:lnTo>
                    <a:pt x="2457838" y="833185"/>
                  </a:lnTo>
                  <a:lnTo>
                    <a:pt x="2456295" y="834214"/>
                  </a:lnTo>
                  <a:lnTo>
                    <a:pt x="2455025" y="836815"/>
                  </a:lnTo>
                  <a:lnTo>
                    <a:pt x="2458595" y="843289"/>
                  </a:lnTo>
                  <a:lnTo>
                    <a:pt x="2462588" y="846889"/>
                  </a:lnTo>
                  <a:lnTo>
                    <a:pt x="2466762" y="847131"/>
                  </a:lnTo>
                  <a:lnTo>
                    <a:pt x="2470816" y="843561"/>
                  </a:lnTo>
                  <a:lnTo>
                    <a:pt x="2469273" y="843138"/>
                  </a:lnTo>
                  <a:lnTo>
                    <a:pt x="2467609" y="843531"/>
                  </a:lnTo>
                  <a:lnTo>
                    <a:pt x="2466187" y="843107"/>
                  </a:lnTo>
                  <a:lnTo>
                    <a:pt x="2465310" y="840203"/>
                  </a:lnTo>
                  <a:lnTo>
                    <a:pt x="2479075" y="830220"/>
                  </a:lnTo>
                  <a:lnTo>
                    <a:pt x="2480376" y="828526"/>
                  </a:lnTo>
                  <a:lnTo>
                    <a:pt x="2481555" y="827407"/>
                  </a:lnTo>
                  <a:lnTo>
                    <a:pt x="2482917" y="827679"/>
                  </a:lnTo>
                  <a:lnTo>
                    <a:pt x="2484641" y="830190"/>
                  </a:lnTo>
                  <a:lnTo>
                    <a:pt x="2485791" y="833155"/>
                  </a:lnTo>
                  <a:lnTo>
                    <a:pt x="2486365" y="835212"/>
                  </a:lnTo>
                  <a:lnTo>
                    <a:pt x="2487303" y="836422"/>
                  </a:lnTo>
                  <a:lnTo>
                    <a:pt x="2506120" y="837420"/>
                  </a:lnTo>
                  <a:lnTo>
                    <a:pt x="2508812" y="834395"/>
                  </a:lnTo>
                  <a:lnTo>
                    <a:pt x="2509689" y="832883"/>
                  </a:lnTo>
                  <a:lnTo>
                    <a:pt x="2513743" y="829131"/>
                  </a:lnTo>
                  <a:lnTo>
                    <a:pt x="2514983" y="828375"/>
                  </a:lnTo>
                  <a:lnTo>
                    <a:pt x="2517071" y="829373"/>
                  </a:lnTo>
                  <a:lnTo>
                    <a:pt x="2516042" y="831582"/>
                  </a:lnTo>
                  <a:lnTo>
                    <a:pt x="2512261" y="835303"/>
                  </a:lnTo>
                  <a:lnTo>
                    <a:pt x="2512261" y="836845"/>
                  </a:lnTo>
                  <a:lnTo>
                    <a:pt x="2517373" y="840082"/>
                  </a:lnTo>
                  <a:lnTo>
                    <a:pt x="2533679" y="841897"/>
                  </a:lnTo>
                  <a:lnTo>
                    <a:pt x="2533679" y="843561"/>
                  </a:lnTo>
                  <a:lnTo>
                    <a:pt x="2527386" y="842865"/>
                  </a:lnTo>
                  <a:lnTo>
                    <a:pt x="2524180" y="843773"/>
                  </a:lnTo>
                  <a:lnTo>
                    <a:pt x="2522606" y="847101"/>
                  </a:lnTo>
                  <a:lnTo>
                    <a:pt x="2523938" y="847101"/>
                  </a:lnTo>
                  <a:lnTo>
                    <a:pt x="2522576" y="852334"/>
                  </a:lnTo>
                  <a:lnTo>
                    <a:pt x="2521790" y="854391"/>
                  </a:lnTo>
                  <a:lnTo>
                    <a:pt x="2520489" y="856297"/>
                  </a:lnTo>
                  <a:lnTo>
                    <a:pt x="2515800" y="860956"/>
                  </a:lnTo>
                  <a:lnTo>
                    <a:pt x="2514318" y="863920"/>
                  </a:lnTo>
                  <a:lnTo>
                    <a:pt x="2513682" y="869820"/>
                  </a:lnTo>
                  <a:lnTo>
                    <a:pt x="2513259" y="870636"/>
                  </a:lnTo>
                  <a:lnTo>
                    <a:pt x="2512291" y="870969"/>
                  </a:lnTo>
                  <a:lnTo>
                    <a:pt x="2511323" y="870304"/>
                  </a:lnTo>
                  <a:lnTo>
                    <a:pt x="2510869" y="868095"/>
                  </a:lnTo>
                  <a:lnTo>
                    <a:pt x="2510445" y="863830"/>
                  </a:lnTo>
                  <a:lnTo>
                    <a:pt x="2509296" y="861289"/>
                  </a:lnTo>
                  <a:lnTo>
                    <a:pt x="2506089" y="857900"/>
                  </a:lnTo>
                  <a:lnTo>
                    <a:pt x="2502429" y="857719"/>
                  </a:lnTo>
                  <a:lnTo>
                    <a:pt x="2487485" y="863013"/>
                  </a:lnTo>
                  <a:lnTo>
                    <a:pt x="2486910" y="866431"/>
                  </a:lnTo>
                  <a:lnTo>
                    <a:pt x="2485518" y="868035"/>
                  </a:lnTo>
                  <a:lnTo>
                    <a:pt x="2483703" y="869003"/>
                  </a:lnTo>
                  <a:lnTo>
                    <a:pt x="2481949" y="870636"/>
                  </a:lnTo>
                  <a:lnTo>
                    <a:pt x="2480557" y="873026"/>
                  </a:lnTo>
                  <a:lnTo>
                    <a:pt x="2479498" y="875930"/>
                  </a:lnTo>
                  <a:lnTo>
                    <a:pt x="2479498" y="878683"/>
                  </a:lnTo>
                  <a:lnTo>
                    <a:pt x="2481253" y="880710"/>
                  </a:lnTo>
                  <a:lnTo>
                    <a:pt x="2480315" y="882223"/>
                  </a:lnTo>
                  <a:lnTo>
                    <a:pt x="2479408" y="882374"/>
                  </a:lnTo>
                  <a:lnTo>
                    <a:pt x="2478560" y="881255"/>
                  </a:lnTo>
                  <a:lnTo>
                    <a:pt x="2477834" y="879016"/>
                  </a:lnTo>
                  <a:lnTo>
                    <a:pt x="2477381" y="876566"/>
                  </a:lnTo>
                  <a:lnTo>
                    <a:pt x="2477532" y="875416"/>
                  </a:lnTo>
                  <a:lnTo>
                    <a:pt x="2478076" y="874629"/>
                  </a:lnTo>
                  <a:lnTo>
                    <a:pt x="2478833" y="873177"/>
                  </a:lnTo>
                  <a:lnTo>
                    <a:pt x="2481434" y="866371"/>
                  </a:lnTo>
                  <a:lnTo>
                    <a:pt x="2480648" y="865645"/>
                  </a:lnTo>
                  <a:lnTo>
                    <a:pt x="2475384" y="866189"/>
                  </a:lnTo>
                  <a:lnTo>
                    <a:pt x="2462981" y="872572"/>
                  </a:lnTo>
                  <a:lnTo>
                    <a:pt x="2460803" y="872572"/>
                  </a:lnTo>
                  <a:lnTo>
                    <a:pt x="2460682" y="870636"/>
                  </a:lnTo>
                  <a:lnTo>
                    <a:pt x="2457173" y="872905"/>
                  </a:lnTo>
                  <a:lnTo>
                    <a:pt x="2446796" y="887426"/>
                  </a:lnTo>
                  <a:lnTo>
                    <a:pt x="2446222" y="883463"/>
                  </a:lnTo>
                  <a:lnTo>
                    <a:pt x="2447008" y="880408"/>
                  </a:lnTo>
                  <a:lnTo>
                    <a:pt x="2448551" y="878350"/>
                  </a:lnTo>
                  <a:lnTo>
                    <a:pt x="2450245" y="877382"/>
                  </a:lnTo>
                  <a:lnTo>
                    <a:pt x="2446101" y="873994"/>
                  </a:lnTo>
                  <a:lnTo>
                    <a:pt x="2435331" y="873692"/>
                  </a:lnTo>
                  <a:lnTo>
                    <a:pt x="2430430" y="871907"/>
                  </a:lnTo>
                  <a:lnTo>
                    <a:pt x="2426649" y="871665"/>
                  </a:lnTo>
                  <a:lnTo>
                    <a:pt x="2421264" y="873813"/>
                  </a:lnTo>
                  <a:lnTo>
                    <a:pt x="2416636" y="877201"/>
                  </a:lnTo>
                  <a:lnTo>
                    <a:pt x="2415063" y="880740"/>
                  </a:lnTo>
                  <a:lnTo>
                    <a:pt x="2413429" y="882374"/>
                  </a:lnTo>
                  <a:lnTo>
                    <a:pt x="2412612" y="882676"/>
                  </a:lnTo>
                  <a:lnTo>
                    <a:pt x="2411644" y="882555"/>
                  </a:lnTo>
                  <a:lnTo>
                    <a:pt x="2411644" y="884068"/>
                  </a:lnTo>
                  <a:lnTo>
                    <a:pt x="2434393" y="879984"/>
                  </a:lnTo>
                  <a:lnTo>
                    <a:pt x="2437116" y="882525"/>
                  </a:lnTo>
                  <a:lnTo>
                    <a:pt x="2433123" y="885550"/>
                  </a:lnTo>
                  <a:lnTo>
                    <a:pt x="2422656" y="885913"/>
                  </a:lnTo>
                  <a:lnTo>
                    <a:pt x="2413974" y="889422"/>
                  </a:lnTo>
                  <a:lnTo>
                    <a:pt x="2407318" y="888848"/>
                  </a:lnTo>
                  <a:lnTo>
                    <a:pt x="2405533" y="889453"/>
                  </a:lnTo>
                  <a:lnTo>
                    <a:pt x="2403900" y="891117"/>
                  </a:lnTo>
                  <a:lnTo>
                    <a:pt x="2401994" y="894081"/>
                  </a:lnTo>
                  <a:lnTo>
                    <a:pt x="2402720" y="895896"/>
                  </a:lnTo>
                  <a:lnTo>
                    <a:pt x="2403537" y="897530"/>
                  </a:lnTo>
                  <a:lnTo>
                    <a:pt x="2404475" y="898710"/>
                  </a:lnTo>
                  <a:lnTo>
                    <a:pt x="2405443" y="899194"/>
                  </a:lnTo>
                  <a:lnTo>
                    <a:pt x="2406834" y="896471"/>
                  </a:lnTo>
                  <a:lnTo>
                    <a:pt x="2408559" y="895624"/>
                  </a:lnTo>
                  <a:lnTo>
                    <a:pt x="2409738" y="896985"/>
                  </a:lnTo>
                  <a:lnTo>
                    <a:pt x="2409527" y="900857"/>
                  </a:lnTo>
                  <a:lnTo>
                    <a:pt x="2410586" y="901705"/>
                  </a:lnTo>
                  <a:lnTo>
                    <a:pt x="2410918" y="902521"/>
                  </a:lnTo>
                  <a:lnTo>
                    <a:pt x="2410586" y="903368"/>
                  </a:lnTo>
                  <a:lnTo>
                    <a:pt x="2409527" y="904215"/>
                  </a:lnTo>
                  <a:lnTo>
                    <a:pt x="2414337" y="901553"/>
                  </a:lnTo>
                  <a:lnTo>
                    <a:pt x="2430219" y="899194"/>
                  </a:lnTo>
                  <a:lnTo>
                    <a:pt x="2428252" y="901221"/>
                  </a:lnTo>
                  <a:lnTo>
                    <a:pt x="2426104" y="902521"/>
                  </a:lnTo>
                  <a:lnTo>
                    <a:pt x="2428283" y="908027"/>
                  </a:lnTo>
                  <a:lnTo>
                    <a:pt x="2431792" y="908451"/>
                  </a:lnTo>
                  <a:lnTo>
                    <a:pt x="2435573" y="907573"/>
                  </a:lnTo>
                  <a:lnTo>
                    <a:pt x="2438538" y="909177"/>
                  </a:lnTo>
                  <a:lnTo>
                    <a:pt x="2414216" y="911809"/>
                  </a:lnTo>
                  <a:lnTo>
                    <a:pt x="2412310" y="913291"/>
                  </a:lnTo>
                  <a:lnTo>
                    <a:pt x="2410404" y="913442"/>
                  </a:lnTo>
                  <a:lnTo>
                    <a:pt x="2408075" y="912353"/>
                  </a:lnTo>
                  <a:lnTo>
                    <a:pt x="2405957" y="912353"/>
                  </a:lnTo>
                  <a:lnTo>
                    <a:pt x="2404717" y="915862"/>
                  </a:lnTo>
                  <a:lnTo>
                    <a:pt x="2414397" y="917526"/>
                  </a:lnTo>
                  <a:lnTo>
                    <a:pt x="2414397" y="919341"/>
                  </a:lnTo>
                  <a:lnTo>
                    <a:pt x="2399271" y="929294"/>
                  </a:lnTo>
                  <a:lnTo>
                    <a:pt x="2401873" y="932047"/>
                  </a:lnTo>
                  <a:lnTo>
                    <a:pt x="2407500" y="931956"/>
                  </a:lnTo>
                  <a:lnTo>
                    <a:pt x="2410283" y="933378"/>
                  </a:lnTo>
                  <a:lnTo>
                    <a:pt x="2418541" y="931200"/>
                  </a:lnTo>
                  <a:lnTo>
                    <a:pt x="2420266" y="930050"/>
                  </a:lnTo>
                  <a:lnTo>
                    <a:pt x="2421990" y="928235"/>
                  </a:lnTo>
                  <a:lnTo>
                    <a:pt x="2430884" y="924847"/>
                  </a:lnTo>
                  <a:lnTo>
                    <a:pt x="2443136" y="916346"/>
                  </a:lnTo>
                  <a:lnTo>
                    <a:pt x="2445102" y="915832"/>
                  </a:lnTo>
                  <a:lnTo>
                    <a:pt x="2446282" y="914531"/>
                  </a:lnTo>
                  <a:lnTo>
                    <a:pt x="2449307" y="908814"/>
                  </a:lnTo>
                  <a:lnTo>
                    <a:pt x="2453179" y="906635"/>
                  </a:lnTo>
                  <a:lnTo>
                    <a:pt x="2457868" y="900827"/>
                  </a:lnTo>
                  <a:lnTo>
                    <a:pt x="2465431" y="894021"/>
                  </a:lnTo>
                  <a:lnTo>
                    <a:pt x="2464917" y="891328"/>
                  </a:lnTo>
                  <a:lnTo>
                    <a:pt x="2463011" y="884340"/>
                  </a:lnTo>
                  <a:lnTo>
                    <a:pt x="2462678" y="882465"/>
                  </a:lnTo>
                  <a:lnTo>
                    <a:pt x="2463949" y="879016"/>
                  </a:lnTo>
                  <a:lnTo>
                    <a:pt x="2465371" y="881436"/>
                  </a:lnTo>
                  <a:lnTo>
                    <a:pt x="2467488" y="888999"/>
                  </a:lnTo>
                  <a:lnTo>
                    <a:pt x="2468124" y="884733"/>
                  </a:lnTo>
                  <a:lnTo>
                    <a:pt x="2469122" y="881043"/>
                  </a:lnTo>
                  <a:lnTo>
                    <a:pt x="2470302" y="880075"/>
                  </a:lnTo>
                  <a:lnTo>
                    <a:pt x="2471633" y="883947"/>
                  </a:lnTo>
                  <a:lnTo>
                    <a:pt x="2471633" y="887063"/>
                  </a:lnTo>
                  <a:lnTo>
                    <a:pt x="2469152" y="891722"/>
                  </a:lnTo>
                  <a:lnTo>
                    <a:pt x="2468124" y="895805"/>
                  </a:lnTo>
                  <a:lnTo>
                    <a:pt x="2486607" y="901341"/>
                  </a:lnTo>
                  <a:lnTo>
                    <a:pt x="2488211" y="900736"/>
                  </a:lnTo>
                  <a:lnTo>
                    <a:pt x="2493111" y="896471"/>
                  </a:lnTo>
                  <a:lnTo>
                    <a:pt x="2494654" y="895745"/>
                  </a:lnTo>
                  <a:lnTo>
                    <a:pt x="2496409" y="895805"/>
                  </a:lnTo>
                  <a:lnTo>
                    <a:pt x="2494775" y="897863"/>
                  </a:lnTo>
                  <a:lnTo>
                    <a:pt x="2492869" y="899224"/>
                  </a:lnTo>
                  <a:lnTo>
                    <a:pt x="2491175" y="900978"/>
                  </a:lnTo>
                  <a:lnTo>
                    <a:pt x="2490147" y="904155"/>
                  </a:lnTo>
                  <a:lnTo>
                    <a:pt x="2494049" y="904306"/>
                  </a:lnTo>
                  <a:lnTo>
                    <a:pt x="2506059" y="912504"/>
                  </a:lnTo>
                  <a:lnTo>
                    <a:pt x="2505726" y="914047"/>
                  </a:lnTo>
                  <a:lnTo>
                    <a:pt x="2505726" y="915892"/>
                  </a:lnTo>
                  <a:lnTo>
                    <a:pt x="2505363" y="917496"/>
                  </a:lnTo>
                  <a:lnTo>
                    <a:pt x="2506573" y="919281"/>
                  </a:lnTo>
                  <a:lnTo>
                    <a:pt x="2507874" y="920430"/>
                  </a:lnTo>
                  <a:lnTo>
                    <a:pt x="2509326" y="920944"/>
                  </a:lnTo>
                  <a:lnTo>
                    <a:pt x="2510869" y="920823"/>
                  </a:lnTo>
                  <a:lnTo>
                    <a:pt x="2509417" y="924786"/>
                  </a:lnTo>
                  <a:lnTo>
                    <a:pt x="2507178" y="924484"/>
                  </a:lnTo>
                  <a:lnTo>
                    <a:pt x="2492960" y="910810"/>
                  </a:lnTo>
                  <a:lnTo>
                    <a:pt x="2486759" y="907452"/>
                  </a:lnTo>
                  <a:lnTo>
                    <a:pt x="2467398" y="909146"/>
                  </a:lnTo>
                  <a:lnTo>
                    <a:pt x="2467398" y="910810"/>
                  </a:lnTo>
                  <a:lnTo>
                    <a:pt x="2472692" y="917466"/>
                  </a:lnTo>
                  <a:lnTo>
                    <a:pt x="2475656" y="919644"/>
                  </a:lnTo>
                  <a:lnTo>
                    <a:pt x="2481828" y="916649"/>
                  </a:lnTo>
                  <a:lnTo>
                    <a:pt x="2485760" y="918343"/>
                  </a:lnTo>
                  <a:lnTo>
                    <a:pt x="2492930" y="924181"/>
                  </a:lnTo>
                  <a:lnTo>
                    <a:pt x="2478439" y="920854"/>
                  </a:lnTo>
                  <a:lnTo>
                    <a:pt x="2479196" y="921912"/>
                  </a:lnTo>
                  <a:lnTo>
                    <a:pt x="2481192" y="925845"/>
                  </a:lnTo>
                  <a:lnTo>
                    <a:pt x="2468154" y="922094"/>
                  </a:lnTo>
                  <a:lnTo>
                    <a:pt x="2463767" y="916891"/>
                  </a:lnTo>
                  <a:lnTo>
                    <a:pt x="2459926" y="914410"/>
                  </a:lnTo>
                  <a:lnTo>
                    <a:pt x="2458443" y="914017"/>
                  </a:lnTo>
                  <a:lnTo>
                    <a:pt x="2456991" y="914440"/>
                  </a:lnTo>
                  <a:lnTo>
                    <a:pt x="2456023" y="915711"/>
                  </a:lnTo>
                  <a:lnTo>
                    <a:pt x="2454359" y="920793"/>
                  </a:lnTo>
                  <a:lnTo>
                    <a:pt x="2455811" y="922154"/>
                  </a:lnTo>
                  <a:lnTo>
                    <a:pt x="2457384" y="922608"/>
                  </a:lnTo>
                  <a:lnTo>
                    <a:pt x="2460591" y="922457"/>
                  </a:lnTo>
                  <a:lnTo>
                    <a:pt x="2446464" y="932833"/>
                  </a:lnTo>
                  <a:lnTo>
                    <a:pt x="2444648" y="939216"/>
                  </a:lnTo>
                  <a:lnTo>
                    <a:pt x="2446222" y="941576"/>
                  </a:lnTo>
                  <a:lnTo>
                    <a:pt x="2449096" y="940789"/>
                  </a:lnTo>
                  <a:lnTo>
                    <a:pt x="2454329" y="937552"/>
                  </a:lnTo>
                  <a:lnTo>
                    <a:pt x="2457021" y="938581"/>
                  </a:lnTo>
                  <a:lnTo>
                    <a:pt x="2459926" y="940941"/>
                  </a:lnTo>
                  <a:lnTo>
                    <a:pt x="2462769" y="942423"/>
                  </a:lnTo>
                  <a:lnTo>
                    <a:pt x="2465280" y="940759"/>
                  </a:lnTo>
                  <a:lnTo>
                    <a:pt x="2464917" y="940003"/>
                  </a:lnTo>
                  <a:lnTo>
                    <a:pt x="2463919" y="937583"/>
                  </a:lnTo>
                  <a:lnTo>
                    <a:pt x="2465704" y="935828"/>
                  </a:lnTo>
                  <a:lnTo>
                    <a:pt x="2467549" y="936100"/>
                  </a:lnTo>
                  <a:lnTo>
                    <a:pt x="2469273" y="937915"/>
                  </a:lnTo>
                  <a:lnTo>
                    <a:pt x="2470786" y="940759"/>
                  </a:lnTo>
                  <a:lnTo>
                    <a:pt x="2469334" y="942272"/>
                  </a:lnTo>
                  <a:lnTo>
                    <a:pt x="2468789" y="942574"/>
                  </a:lnTo>
                  <a:lnTo>
                    <a:pt x="2473539" y="949199"/>
                  </a:lnTo>
                  <a:lnTo>
                    <a:pt x="2472752" y="951256"/>
                  </a:lnTo>
                  <a:lnTo>
                    <a:pt x="2471603" y="953011"/>
                  </a:lnTo>
                  <a:lnTo>
                    <a:pt x="2470574" y="953465"/>
                  </a:lnTo>
                  <a:lnTo>
                    <a:pt x="2469515" y="948776"/>
                  </a:lnTo>
                  <a:lnTo>
                    <a:pt x="2468033" y="947747"/>
                  </a:lnTo>
                  <a:lnTo>
                    <a:pt x="2464584" y="947566"/>
                  </a:lnTo>
                  <a:lnTo>
                    <a:pt x="2457657" y="945146"/>
                  </a:lnTo>
                  <a:lnTo>
                    <a:pt x="2454420" y="945297"/>
                  </a:lnTo>
                  <a:lnTo>
                    <a:pt x="2450911" y="947566"/>
                  </a:lnTo>
                  <a:lnTo>
                    <a:pt x="2452423" y="948927"/>
                  </a:lnTo>
                  <a:lnTo>
                    <a:pt x="2452998" y="949260"/>
                  </a:lnTo>
                  <a:lnTo>
                    <a:pt x="2450185" y="951831"/>
                  </a:lnTo>
                  <a:lnTo>
                    <a:pt x="2449670" y="953767"/>
                  </a:lnTo>
                  <a:lnTo>
                    <a:pt x="2449549" y="958426"/>
                  </a:lnTo>
                  <a:lnTo>
                    <a:pt x="2450790" y="960907"/>
                  </a:lnTo>
                  <a:lnTo>
                    <a:pt x="2453603" y="962086"/>
                  </a:lnTo>
                  <a:lnTo>
                    <a:pt x="2476897" y="965444"/>
                  </a:lnTo>
                  <a:lnTo>
                    <a:pt x="2482644" y="964113"/>
                  </a:lnTo>
                  <a:lnTo>
                    <a:pt x="2493928" y="955401"/>
                  </a:lnTo>
                  <a:lnTo>
                    <a:pt x="2514045" y="950258"/>
                  </a:lnTo>
                  <a:lnTo>
                    <a:pt x="2517040" y="954221"/>
                  </a:lnTo>
                  <a:lnTo>
                    <a:pt x="2505787" y="955734"/>
                  </a:lnTo>
                  <a:lnTo>
                    <a:pt x="2486849" y="965596"/>
                  </a:lnTo>
                  <a:lnTo>
                    <a:pt x="2482886" y="969589"/>
                  </a:lnTo>
                  <a:lnTo>
                    <a:pt x="2479891" y="975851"/>
                  </a:lnTo>
                  <a:lnTo>
                    <a:pt x="2481102" y="977061"/>
                  </a:lnTo>
                  <a:lnTo>
                    <a:pt x="2482463" y="977484"/>
                  </a:lnTo>
                  <a:lnTo>
                    <a:pt x="2485337" y="977333"/>
                  </a:lnTo>
                  <a:lnTo>
                    <a:pt x="2483703" y="979753"/>
                  </a:lnTo>
                  <a:lnTo>
                    <a:pt x="2480043" y="982748"/>
                  </a:lnTo>
                  <a:lnTo>
                    <a:pt x="2478470" y="985743"/>
                  </a:lnTo>
                  <a:lnTo>
                    <a:pt x="2483098" y="989827"/>
                  </a:lnTo>
                  <a:lnTo>
                    <a:pt x="2485609" y="993215"/>
                  </a:lnTo>
                  <a:lnTo>
                    <a:pt x="2486728" y="996361"/>
                  </a:lnTo>
                  <a:lnTo>
                    <a:pt x="2487000" y="997723"/>
                  </a:lnTo>
                  <a:lnTo>
                    <a:pt x="2488846" y="1002351"/>
                  </a:lnTo>
                  <a:lnTo>
                    <a:pt x="2489148" y="1005104"/>
                  </a:lnTo>
                  <a:lnTo>
                    <a:pt x="2488997" y="1006677"/>
                  </a:lnTo>
                  <a:lnTo>
                    <a:pt x="2489269" y="1008069"/>
                  </a:lnTo>
                  <a:lnTo>
                    <a:pt x="2490933" y="1010337"/>
                  </a:lnTo>
                  <a:lnTo>
                    <a:pt x="2496379" y="1013090"/>
                  </a:lnTo>
                  <a:lnTo>
                    <a:pt x="2497165" y="1015389"/>
                  </a:lnTo>
                  <a:lnTo>
                    <a:pt x="2492990" y="1021954"/>
                  </a:lnTo>
                  <a:lnTo>
                    <a:pt x="2489753" y="1022680"/>
                  </a:lnTo>
                  <a:lnTo>
                    <a:pt x="2487485" y="1020835"/>
                  </a:lnTo>
                  <a:lnTo>
                    <a:pt x="2487636" y="1018294"/>
                  </a:lnTo>
                  <a:lnTo>
                    <a:pt x="2491659" y="1017023"/>
                  </a:lnTo>
                  <a:lnTo>
                    <a:pt x="2491659" y="1015389"/>
                  </a:lnTo>
                  <a:lnTo>
                    <a:pt x="2488059" y="1012485"/>
                  </a:lnTo>
                  <a:lnTo>
                    <a:pt x="2484732" y="1008674"/>
                  </a:lnTo>
                  <a:lnTo>
                    <a:pt x="2482251" y="1004045"/>
                  </a:lnTo>
                  <a:lnTo>
                    <a:pt x="2481979" y="1003773"/>
                  </a:lnTo>
                  <a:lnTo>
                    <a:pt x="2481676" y="1002079"/>
                  </a:lnTo>
                  <a:lnTo>
                    <a:pt x="2481525" y="998449"/>
                  </a:lnTo>
                  <a:lnTo>
                    <a:pt x="2481313" y="997027"/>
                  </a:lnTo>
                  <a:lnTo>
                    <a:pt x="2476322" y="984472"/>
                  </a:lnTo>
                  <a:lnTo>
                    <a:pt x="2475021" y="979330"/>
                  </a:lnTo>
                  <a:lnTo>
                    <a:pt x="2474386" y="977273"/>
                  </a:lnTo>
                  <a:lnTo>
                    <a:pt x="2469969" y="972039"/>
                  </a:lnTo>
                  <a:lnTo>
                    <a:pt x="2464161" y="970890"/>
                  </a:lnTo>
                  <a:lnTo>
                    <a:pt x="2451062" y="972947"/>
                  </a:lnTo>
                  <a:lnTo>
                    <a:pt x="2450064" y="973703"/>
                  </a:lnTo>
                  <a:lnTo>
                    <a:pt x="2449640" y="974853"/>
                  </a:lnTo>
                  <a:lnTo>
                    <a:pt x="2449519" y="976698"/>
                  </a:lnTo>
                  <a:lnTo>
                    <a:pt x="2449216" y="978604"/>
                  </a:lnTo>
                  <a:lnTo>
                    <a:pt x="2448672" y="980086"/>
                  </a:lnTo>
                  <a:lnTo>
                    <a:pt x="2447916" y="980691"/>
                  </a:lnTo>
                  <a:lnTo>
                    <a:pt x="2445889" y="981689"/>
                  </a:lnTo>
                  <a:lnTo>
                    <a:pt x="2442501" y="986136"/>
                  </a:lnTo>
                  <a:lnTo>
                    <a:pt x="2440686" y="987104"/>
                  </a:lnTo>
                  <a:lnTo>
                    <a:pt x="2441260" y="983172"/>
                  </a:lnTo>
                  <a:lnTo>
                    <a:pt x="2442289" y="980812"/>
                  </a:lnTo>
                  <a:lnTo>
                    <a:pt x="2443348" y="978755"/>
                  </a:lnTo>
                  <a:lnTo>
                    <a:pt x="2444165" y="975760"/>
                  </a:lnTo>
                  <a:lnTo>
                    <a:pt x="2442622" y="974247"/>
                  </a:lnTo>
                  <a:lnTo>
                    <a:pt x="2442047" y="973945"/>
                  </a:lnTo>
                  <a:lnTo>
                    <a:pt x="2442047" y="972463"/>
                  </a:lnTo>
                  <a:lnTo>
                    <a:pt x="2445193" y="972281"/>
                  </a:lnTo>
                  <a:lnTo>
                    <a:pt x="2446706" y="971767"/>
                  </a:lnTo>
                  <a:lnTo>
                    <a:pt x="2448188" y="970648"/>
                  </a:lnTo>
                  <a:lnTo>
                    <a:pt x="2448188" y="969165"/>
                  </a:lnTo>
                  <a:lnTo>
                    <a:pt x="2446948" y="968772"/>
                  </a:lnTo>
                  <a:lnTo>
                    <a:pt x="2446040" y="967532"/>
                  </a:lnTo>
                  <a:lnTo>
                    <a:pt x="2445707" y="965838"/>
                  </a:lnTo>
                  <a:lnTo>
                    <a:pt x="2446191" y="964083"/>
                  </a:lnTo>
                  <a:lnTo>
                    <a:pt x="2444467" y="962782"/>
                  </a:lnTo>
                  <a:lnTo>
                    <a:pt x="2442773" y="964113"/>
                  </a:lnTo>
                  <a:lnTo>
                    <a:pt x="2441049" y="966261"/>
                  </a:lnTo>
                  <a:lnTo>
                    <a:pt x="2439264" y="967380"/>
                  </a:lnTo>
                  <a:lnTo>
                    <a:pt x="2437237" y="967743"/>
                  </a:lnTo>
                  <a:lnTo>
                    <a:pt x="2434787" y="968832"/>
                  </a:lnTo>
                  <a:lnTo>
                    <a:pt x="2432427" y="970678"/>
                  </a:lnTo>
                  <a:lnTo>
                    <a:pt x="2430612" y="973249"/>
                  </a:lnTo>
                  <a:lnTo>
                    <a:pt x="2428464" y="975488"/>
                  </a:lnTo>
                  <a:lnTo>
                    <a:pt x="2425469" y="976153"/>
                  </a:lnTo>
                  <a:lnTo>
                    <a:pt x="2412068" y="975155"/>
                  </a:lnTo>
                  <a:lnTo>
                    <a:pt x="2409587" y="973975"/>
                  </a:lnTo>
                  <a:lnTo>
                    <a:pt x="2415214" y="971222"/>
                  </a:lnTo>
                  <a:lnTo>
                    <a:pt x="2427829" y="971071"/>
                  </a:lnTo>
                  <a:lnTo>
                    <a:pt x="2432336" y="964083"/>
                  </a:lnTo>
                  <a:lnTo>
                    <a:pt x="2430461" y="963448"/>
                  </a:lnTo>
                  <a:lnTo>
                    <a:pt x="2427405" y="958063"/>
                  </a:lnTo>
                  <a:lnTo>
                    <a:pt x="2425469" y="955976"/>
                  </a:lnTo>
                  <a:lnTo>
                    <a:pt x="2427647" y="952527"/>
                  </a:lnTo>
                  <a:lnTo>
                    <a:pt x="2429825" y="953465"/>
                  </a:lnTo>
                  <a:lnTo>
                    <a:pt x="2431973" y="956006"/>
                  </a:lnTo>
                  <a:lnTo>
                    <a:pt x="2434877" y="957972"/>
                  </a:lnTo>
                  <a:lnTo>
                    <a:pt x="2436602" y="960271"/>
                  </a:lnTo>
                  <a:lnTo>
                    <a:pt x="2437570" y="960786"/>
                  </a:lnTo>
                  <a:lnTo>
                    <a:pt x="2440232" y="960574"/>
                  </a:lnTo>
                  <a:lnTo>
                    <a:pt x="2441533" y="960120"/>
                  </a:lnTo>
                  <a:lnTo>
                    <a:pt x="2442803" y="959303"/>
                  </a:lnTo>
                  <a:lnTo>
                    <a:pt x="2441291" y="955703"/>
                  </a:lnTo>
                  <a:lnTo>
                    <a:pt x="2438417" y="952466"/>
                  </a:lnTo>
                  <a:lnTo>
                    <a:pt x="2435210" y="950107"/>
                  </a:lnTo>
                  <a:lnTo>
                    <a:pt x="2432729" y="949199"/>
                  </a:lnTo>
                  <a:lnTo>
                    <a:pt x="2425862" y="950833"/>
                  </a:lnTo>
                  <a:lnTo>
                    <a:pt x="2406108" y="961844"/>
                  </a:lnTo>
                  <a:lnTo>
                    <a:pt x="2403265" y="964476"/>
                  </a:lnTo>
                  <a:lnTo>
                    <a:pt x="2400663" y="967713"/>
                  </a:lnTo>
                  <a:lnTo>
                    <a:pt x="2399332" y="970678"/>
                  </a:lnTo>
                  <a:lnTo>
                    <a:pt x="2400784" y="970890"/>
                  </a:lnTo>
                  <a:lnTo>
                    <a:pt x="2402176" y="971525"/>
                  </a:lnTo>
                  <a:lnTo>
                    <a:pt x="2403507" y="972614"/>
                  </a:lnTo>
                  <a:lnTo>
                    <a:pt x="2404717" y="974005"/>
                  </a:lnTo>
                  <a:lnTo>
                    <a:pt x="2403416" y="975821"/>
                  </a:lnTo>
                  <a:lnTo>
                    <a:pt x="2405049" y="977031"/>
                  </a:lnTo>
                  <a:lnTo>
                    <a:pt x="2408922" y="976184"/>
                  </a:lnTo>
                  <a:lnTo>
                    <a:pt x="2410949" y="977303"/>
                  </a:lnTo>
                  <a:lnTo>
                    <a:pt x="2409436" y="980025"/>
                  </a:lnTo>
                  <a:lnTo>
                    <a:pt x="2408891" y="980782"/>
                  </a:lnTo>
                  <a:lnTo>
                    <a:pt x="2420629" y="982264"/>
                  </a:lnTo>
                  <a:lnTo>
                    <a:pt x="2431701" y="980782"/>
                  </a:lnTo>
                  <a:lnTo>
                    <a:pt x="2425046" y="986378"/>
                  </a:lnTo>
                  <a:lnTo>
                    <a:pt x="2421204" y="988284"/>
                  </a:lnTo>
                  <a:lnTo>
                    <a:pt x="2417876" y="989010"/>
                  </a:lnTo>
                  <a:lnTo>
                    <a:pt x="2415002" y="990976"/>
                  </a:lnTo>
                  <a:lnTo>
                    <a:pt x="2412098" y="994788"/>
                  </a:lnTo>
                  <a:lnTo>
                    <a:pt x="2409164" y="997360"/>
                  </a:lnTo>
                  <a:lnTo>
                    <a:pt x="2406199" y="995605"/>
                  </a:lnTo>
                  <a:lnTo>
                    <a:pt x="2407470" y="992610"/>
                  </a:lnTo>
                  <a:lnTo>
                    <a:pt x="2408105" y="991461"/>
                  </a:lnTo>
                  <a:lnTo>
                    <a:pt x="2408922" y="990674"/>
                  </a:lnTo>
                  <a:lnTo>
                    <a:pt x="2406653" y="986862"/>
                  </a:lnTo>
                  <a:lnTo>
                    <a:pt x="2403839" y="986499"/>
                  </a:lnTo>
                  <a:lnTo>
                    <a:pt x="2400875" y="987286"/>
                  </a:lnTo>
                  <a:lnTo>
                    <a:pt x="2391830" y="985773"/>
                  </a:lnTo>
                  <a:lnTo>
                    <a:pt x="2388865" y="987135"/>
                  </a:lnTo>
                  <a:lnTo>
                    <a:pt x="2388260" y="990644"/>
                  </a:lnTo>
                  <a:lnTo>
                    <a:pt x="2386233" y="992096"/>
                  </a:lnTo>
                  <a:lnTo>
                    <a:pt x="2385205" y="992429"/>
                  </a:lnTo>
                  <a:lnTo>
                    <a:pt x="2384116" y="992429"/>
                  </a:lnTo>
                  <a:lnTo>
                    <a:pt x="2384116" y="993941"/>
                  </a:lnTo>
                  <a:lnTo>
                    <a:pt x="2387050" y="993608"/>
                  </a:lnTo>
                  <a:lnTo>
                    <a:pt x="2387685" y="995030"/>
                  </a:lnTo>
                  <a:lnTo>
                    <a:pt x="2386687" y="997571"/>
                  </a:lnTo>
                  <a:lnTo>
                    <a:pt x="2375645" y="1010670"/>
                  </a:lnTo>
                  <a:lnTo>
                    <a:pt x="2371591" y="1017083"/>
                  </a:lnTo>
                  <a:lnTo>
                    <a:pt x="2368143" y="1019897"/>
                  </a:lnTo>
                  <a:lnTo>
                    <a:pt x="2367023" y="1021440"/>
                  </a:lnTo>
                  <a:lnTo>
                    <a:pt x="2367477" y="1023497"/>
                  </a:lnTo>
                  <a:lnTo>
                    <a:pt x="2365481" y="1025826"/>
                  </a:lnTo>
                  <a:lnTo>
                    <a:pt x="2359098" y="1030182"/>
                  </a:lnTo>
                  <a:lnTo>
                    <a:pt x="2361215" y="1031755"/>
                  </a:lnTo>
                  <a:lnTo>
                    <a:pt x="2363303" y="1031060"/>
                  </a:lnTo>
                  <a:lnTo>
                    <a:pt x="2365359" y="1029547"/>
                  </a:lnTo>
                  <a:lnTo>
                    <a:pt x="2367386" y="1028730"/>
                  </a:lnTo>
                  <a:lnTo>
                    <a:pt x="2383964" y="1027732"/>
                  </a:lnTo>
                  <a:lnTo>
                    <a:pt x="2388804" y="1025282"/>
                  </a:lnTo>
                  <a:lnTo>
                    <a:pt x="2392707" y="1022256"/>
                  </a:lnTo>
                  <a:lnTo>
                    <a:pt x="2394643" y="1021409"/>
                  </a:lnTo>
                  <a:lnTo>
                    <a:pt x="2396428" y="1022014"/>
                  </a:lnTo>
                  <a:lnTo>
                    <a:pt x="2395702" y="1023497"/>
                  </a:lnTo>
                  <a:lnTo>
                    <a:pt x="2395944" y="1028549"/>
                  </a:lnTo>
                  <a:lnTo>
                    <a:pt x="2393766" y="1032088"/>
                  </a:lnTo>
                  <a:lnTo>
                    <a:pt x="2388139" y="1036717"/>
                  </a:lnTo>
                  <a:lnTo>
                    <a:pt x="2393856" y="1036142"/>
                  </a:lnTo>
                  <a:lnTo>
                    <a:pt x="2407681" y="1029456"/>
                  </a:lnTo>
                  <a:lnTo>
                    <a:pt x="2410132" y="1026915"/>
                  </a:lnTo>
                  <a:lnTo>
                    <a:pt x="2408649" y="1025493"/>
                  </a:lnTo>
                  <a:lnTo>
                    <a:pt x="2405473" y="1024888"/>
                  </a:lnTo>
                  <a:lnTo>
                    <a:pt x="2403991" y="1023497"/>
                  </a:lnTo>
                  <a:lnTo>
                    <a:pt x="2417573" y="1022256"/>
                  </a:lnTo>
                  <a:lnTo>
                    <a:pt x="2424683" y="1023497"/>
                  </a:lnTo>
                  <a:lnTo>
                    <a:pt x="2425651" y="1023255"/>
                  </a:lnTo>
                  <a:lnTo>
                    <a:pt x="2426528" y="1022529"/>
                  </a:lnTo>
                  <a:lnTo>
                    <a:pt x="2427163" y="1021288"/>
                  </a:lnTo>
                  <a:lnTo>
                    <a:pt x="2427435" y="1019473"/>
                  </a:lnTo>
                  <a:lnTo>
                    <a:pt x="2428071" y="1018173"/>
                  </a:lnTo>
                  <a:lnTo>
                    <a:pt x="2429493" y="1017537"/>
                  </a:lnTo>
                  <a:lnTo>
                    <a:pt x="2432245" y="1017053"/>
                  </a:lnTo>
                  <a:lnTo>
                    <a:pt x="2440595" y="1013484"/>
                  </a:lnTo>
                  <a:lnTo>
                    <a:pt x="2443317" y="1013605"/>
                  </a:lnTo>
                  <a:lnTo>
                    <a:pt x="2441563" y="1021440"/>
                  </a:lnTo>
                  <a:lnTo>
                    <a:pt x="2440565" y="1023406"/>
                  </a:lnTo>
                  <a:lnTo>
                    <a:pt x="2438689" y="1024646"/>
                  </a:lnTo>
                  <a:lnTo>
                    <a:pt x="2436571" y="1024828"/>
                  </a:lnTo>
                  <a:lnTo>
                    <a:pt x="2434545" y="1025584"/>
                  </a:lnTo>
                  <a:lnTo>
                    <a:pt x="2433002" y="1028609"/>
                  </a:lnTo>
                  <a:lnTo>
                    <a:pt x="2448127" y="1031725"/>
                  </a:lnTo>
                  <a:lnTo>
                    <a:pt x="2450971" y="1031150"/>
                  </a:lnTo>
                  <a:lnTo>
                    <a:pt x="2452423" y="1030394"/>
                  </a:lnTo>
                  <a:lnTo>
                    <a:pt x="2453694" y="1029335"/>
                  </a:lnTo>
                  <a:lnTo>
                    <a:pt x="2455206" y="1028791"/>
                  </a:lnTo>
                  <a:lnTo>
                    <a:pt x="2461196" y="1030092"/>
                  </a:lnTo>
                  <a:lnTo>
                    <a:pt x="2459835" y="1033752"/>
                  </a:lnTo>
                  <a:lnTo>
                    <a:pt x="2457687" y="1034811"/>
                  </a:lnTo>
                  <a:lnTo>
                    <a:pt x="2455206" y="1035113"/>
                  </a:lnTo>
                  <a:lnTo>
                    <a:pt x="2452998" y="1036626"/>
                  </a:lnTo>
                  <a:lnTo>
                    <a:pt x="2455630" y="1038713"/>
                  </a:lnTo>
                  <a:lnTo>
                    <a:pt x="2458080" y="1037927"/>
                  </a:lnTo>
                  <a:lnTo>
                    <a:pt x="2462618" y="1033359"/>
                  </a:lnTo>
                  <a:lnTo>
                    <a:pt x="2465310" y="1031755"/>
                  </a:lnTo>
                  <a:lnTo>
                    <a:pt x="2467791" y="1031513"/>
                  </a:lnTo>
                  <a:lnTo>
                    <a:pt x="2482130" y="1035386"/>
                  </a:lnTo>
                  <a:lnTo>
                    <a:pt x="2487727" y="1039379"/>
                  </a:lnTo>
                  <a:lnTo>
                    <a:pt x="2497800" y="1036626"/>
                  </a:lnTo>
                  <a:lnTo>
                    <a:pt x="2496439" y="1038411"/>
                  </a:lnTo>
                  <a:lnTo>
                    <a:pt x="2497740" y="1040649"/>
                  </a:lnTo>
                  <a:lnTo>
                    <a:pt x="2499222" y="1041648"/>
                  </a:lnTo>
                  <a:lnTo>
                    <a:pt x="2500493" y="1043009"/>
                  </a:lnTo>
                  <a:lnTo>
                    <a:pt x="2501219" y="1046427"/>
                  </a:lnTo>
                  <a:lnTo>
                    <a:pt x="2498799" y="1046427"/>
                  </a:lnTo>
                  <a:lnTo>
                    <a:pt x="2472510" y="1036807"/>
                  </a:lnTo>
                  <a:lnTo>
                    <a:pt x="2468033" y="1036928"/>
                  </a:lnTo>
                  <a:lnTo>
                    <a:pt x="2464645" y="1039923"/>
                  </a:lnTo>
                  <a:lnTo>
                    <a:pt x="2467065" y="1042948"/>
                  </a:lnTo>
                  <a:lnTo>
                    <a:pt x="2472571" y="1046790"/>
                  </a:lnTo>
                  <a:lnTo>
                    <a:pt x="2474325" y="1051298"/>
                  </a:lnTo>
                  <a:lnTo>
                    <a:pt x="2475051" y="1051298"/>
                  </a:lnTo>
                  <a:lnTo>
                    <a:pt x="2474053" y="1053688"/>
                  </a:lnTo>
                  <a:lnTo>
                    <a:pt x="2470877" y="1059405"/>
                  </a:lnTo>
                  <a:lnTo>
                    <a:pt x="2471240" y="1061946"/>
                  </a:lnTo>
                  <a:lnTo>
                    <a:pt x="2470877" y="1064427"/>
                  </a:lnTo>
                  <a:lnTo>
                    <a:pt x="2472510" y="1066212"/>
                  </a:lnTo>
                  <a:lnTo>
                    <a:pt x="2476171" y="1068481"/>
                  </a:lnTo>
                  <a:lnTo>
                    <a:pt x="2477199" y="1070931"/>
                  </a:lnTo>
                  <a:lnTo>
                    <a:pt x="2473932" y="1070719"/>
                  </a:lnTo>
                  <a:lnTo>
                    <a:pt x="2470574" y="1069630"/>
                  </a:lnTo>
                  <a:lnTo>
                    <a:pt x="2467398" y="1067573"/>
                  </a:lnTo>
                  <a:lnTo>
                    <a:pt x="2464645" y="1064427"/>
                  </a:lnTo>
                  <a:lnTo>
                    <a:pt x="2466187" y="1058588"/>
                  </a:lnTo>
                  <a:lnTo>
                    <a:pt x="2466460" y="1053839"/>
                  </a:lnTo>
                  <a:lnTo>
                    <a:pt x="2465310" y="1050330"/>
                  </a:lnTo>
                  <a:lnTo>
                    <a:pt x="2462648" y="1048152"/>
                  </a:lnTo>
                  <a:lnTo>
                    <a:pt x="2456991" y="1047395"/>
                  </a:lnTo>
                  <a:lnTo>
                    <a:pt x="2455085" y="1046367"/>
                  </a:lnTo>
                  <a:lnTo>
                    <a:pt x="2450820" y="1042888"/>
                  </a:lnTo>
                  <a:lnTo>
                    <a:pt x="2448733" y="1041829"/>
                  </a:lnTo>
                  <a:lnTo>
                    <a:pt x="2441926" y="1041648"/>
                  </a:lnTo>
                  <a:lnTo>
                    <a:pt x="2439808" y="1041012"/>
                  </a:lnTo>
                  <a:lnTo>
                    <a:pt x="2436239" y="1036807"/>
                  </a:lnTo>
                  <a:lnTo>
                    <a:pt x="2434182" y="1036807"/>
                  </a:lnTo>
                  <a:lnTo>
                    <a:pt x="2428676" y="1039016"/>
                  </a:lnTo>
                  <a:lnTo>
                    <a:pt x="2427254" y="1040619"/>
                  </a:lnTo>
                  <a:lnTo>
                    <a:pt x="2421113" y="1050088"/>
                  </a:lnTo>
                  <a:lnTo>
                    <a:pt x="2419842" y="1051237"/>
                  </a:lnTo>
                  <a:lnTo>
                    <a:pt x="2421597" y="1053839"/>
                  </a:lnTo>
                  <a:lnTo>
                    <a:pt x="2425348" y="1057106"/>
                  </a:lnTo>
                  <a:lnTo>
                    <a:pt x="2427133" y="1060252"/>
                  </a:lnTo>
                  <a:lnTo>
                    <a:pt x="2427557" y="1063277"/>
                  </a:lnTo>
                  <a:lnTo>
                    <a:pt x="2426135" y="1064034"/>
                  </a:lnTo>
                  <a:lnTo>
                    <a:pt x="2424017" y="1062884"/>
                  </a:lnTo>
                  <a:lnTo>
                    <a:pt x="2420810" y="1058165"/>
                  </a:lnTo>
                  <a:lnTo>
                    <a:pt x="2416575" y="1053900"/>
                  </a:lnTo>
                  <a:lnTo>
                    <a:pt x="2415728" y="1051237"/>
                  </a:lnTo>
                  <a:lnTo>
                    <a:pt x="2416726" y="1048152"/>
                  </a:lnTo>
                  <a:lnTo>
                    <a:pt x="2418632" y="1046669"/>
                  </a:lnTo>
                  <a:lnTo>
                    <a:pt x="2419933" y="1044612"/>
                  </a:lnTo>
                  <a:lnTo>
                    <a:pt x="2419147" y="1039802"/>
                  </a:lnTo>
                  <a:lnTo>
                    <a:pt x="2420447" y="1038865"/>
                  </a:lnTo>
                  <a:lnTo>
                    <a:pt x="2424622" y="1038320"/>
                  </a:lnTo>
                  <a:lnTo>
                    <a:pt x="2424622" y="1036535"/>
                  </a:lnTo>
                  <a:lnTo>
                    <a:pt x="2414942" y="1038471"/>
                  </a:lnTo>
                  <a:lnTo>
                    <a:pt x="2404717" y="1036535"/>
                  </a:lnTo>
                  <a:lnTo>
                    <a:pt x="2403295" y="1037049"/>
                  </a:lnTo>
                  <a:lnTo>
                    <a:pt x="2400784" y="1039288"/>
                  </a:lnTo>
                  <a:lnTo>
                    <a:pt x="2397063" y="1040922"/>
                  </a:lnTo>
                  <a:lnTo>
                    <a:pt x="2394340" y="1042858"/>
                  </a:lnTo>
                  <a:lnTo>
                    <a:pt x="2391618" y="1043463"/>
                  </a:lnTo>
                  <a:lnTo>
                    <a:pt x="2389167" y="1040619"/>
                  </a:lnTo>
                  <a:lnTo>
                    <a:pt x="2386808" y="1038925"/>
                  </a:lnTo>
                  <a:lnTo>
                    <a:pt x="2383420" y="1039954"/>
                  </a:lnTo>
                  <a:lnTo>
                    <a:pt x="2380031" y="1042313"/>
                  </a:lnTo>
                  <a:lnTo>
                    <a:pt x="2377763" y="1044703"/>
                  </a:lnTo>
                  <a:lnTo>
                    <a:pt x="2391588" y="1045520"/>
                  </a:lnTo>
                  <a:lnTo>
                    <a:pt x="2398818" y="1049211"/>
                  </a:lnTo>
                  <a:lnTo>
                    <a:pt x="2400179" y="1050481"/>
                  </a:lnTo>
                  <a:lnTo>
                    <a:pt x="2401238" y="1052962"/>
                  </a:lnTo>
                  <a:lnTo>
                    <a:pt x="2401601" y="1055412"/>
                  </a:lnTo>
                  <a:lnTo>
                    <a:pt x="2401540" y="1058074"/>
                  </a:lnTo>
                  <a:lnTo>
                    <a:pt x="2400844" y="1059405"/>
                  </a:lnTo>
                  <a:lnTo>
                    <a:pt x="2399846" y="1057832"/>
                  </a:lnTo>
                  <a:lnTo>
                    <a:pt x="2397396" y="1051661"/>
                  </a:lnTo>
                  <a:lnTo>
                    <a:pt x="2394129" y="1049574"/>
                  </a:lnTo>
                  <a:lnTo>
                    <a:pt x="2372227" y="1051177"/>
                  </a:lnTo>
                  <a:lnTo>
                    <a:pt x="2372559" y="1052084"/>
                  </a:lnTo>
                  <a:lnTo>
                    <a:pt x="2372771" y="1052871"/>
                  </a:lnTo>
                  <a:lnTo>
                    <a:pt x="2373043" y="1053627"/>
                  </a:lnTo>
                  <a:lnTo>
                    <a:pt x="2373588" y="1054414"/>
                  </a:lnTo>
                  <a:lnTo>
                    <a:pt x="2372196" y="1057136"/>
                  </a:lnTo>
                  <a:lnTo>
                    <a:pt x="2370321" y="1060131"/>
                  </a:lnTo>
                  <a:lnTo>
                    <a:pt x="2368536" y="1061493"/>
                  </a:lnTo>
                  <a:lnTo>
                    <a:pt x="2367386" y="1059284"/>
                  </a:lnTo>
                  <a:lnTo>
                    <a:pt x="2367840" y="1056743"/>
                  </a:lnTo>
                  <a:lnTo>
                    <a:pt x="2369080" y="1052992"/>
                  </a:lnTo>
                  <a:lnTo>
                    <a:pt x="2370502" y="1049604"/>
                  </a:lnTo>
                  <a:lnTo>
                    <a:pt x="2371501" y="1048031"/>
                  </a:lnTo>
                  <a:lnTo>
                    <a:pt x="2362546" y="1049513"/>
                  </a:lnTo>
                  <a:lnTo>
                    <a:pt x="2360761" y="1050572"/>
                  </a:lnTo>
                  <a:lnTo>
                    <a:pt x="2359037" y="1052508"/>
                  </a:lnTo>
                  <a:lnTo>
                    <a:pt x="2358402" y="1055049"/>
                  </a:lnTo>
                  <a:lnTo>
                    <a:pt x="2359824" y="1057802"/>
                  </a:lnTo>
                  <a:lnTo>
                    <a:pt x="2358129" y="1060434"/>
                  </a:lnTo>
                  <a:lnTo>
                    <a:pt x="2356587" y="1063519"/>
                  </a:lnTo>
                  <a:lnTo>
                    <a:pt x="2354953" y="1066151"/>
                  </a:lnTo>
                  <a:lnTo>
                    <a:pt x="2352926" y="1067543"/>
                  </a:lnTo>
                  <a:lnTo>
                    <a:pt x="2355195" y="1069479"/>
                  </a:lnTo>
                  <a:lnTo>
                    <a:pt x="2363907" y="1069025"/>
                  </a:lnTo>
                  <a:lnTo>
                    <a:pt x="2376008" y="1072413"/>
                  </a:lnTo>
                  <a:lnTo>
                    <a:pt x="2381514" y="1072262"/>
                  </a:lnTo>
                  <a:lnTo>
                    <a:pt x="2384509" y="1073623"/>
                  </a:lnTo>
                  <a:lnTo>
                    <a:pt x="2385961" y="1077284"/>
                  </a:lnTo>
                  <a:lnTo>
                    <a:pt x="2385144" y="1081126"/>
                  </a:lnTo>
                  <a:lnTo>
                    <a:pt x="2383178" y="1083183"/>
                  </a:lnTo>
                  <a:lnTo>
                    <a:pt x="2381574" y="1083092"/>
                  </a:lnTo>
                  <a:lnTo>
                    <a:pt x="2381877" y="1080551"/>
                  </a:lnTo>
                  <a:lnTo>
                    <a:pt x="2380757" y="1076739"/>
                  </a:lnTo>
                  <a:lnTo>
                    <a:pt x="2379275" y="1075983"/>
                  </a:lnTo>
                  <a:lnTo>
                    <a:pt x="2375645" y="1077284"/>
                  </a:lnTo>
                  <a:lnTo>
                    <a:pt x="2373709" y="1076528"/>
                  </a:lnTo>
                  <a:lnTo>
                    <a:pt x="2370018" y="1073170"/>
                  </a:lnTo>
                  <a:lnTo>
                    <a:pt x="2368112" y="1072413"/>
                  </a:lnTo>
                  <a:lnTo>
                    <a:pt x="2353410" y="1073230"/>
                  </a:lnTo>
                  <a:lnTo>
                    <a:pt x="2350809" y="1075650"/>
                  </a:lnTo>
                  <a:lnTo>
                    <a:pt x="2353259" y="1077223"/>
                  </a:lnTo>
                  <a:lnTo>
                    <a:pt x="2353078" y="1081761"/>
                  </a:lnTo>
                  <a:lnTo>
                    <a:pt x="2351323" y="1086541"/>
                  </a:lnTo>
                  <a:lnTo>
                    <a:pt x="2349114" y="1088749"/>
                  </a:lnTo>
                  <a:lnTo>
                    <a:pt x="2348751" y="1089233"/>
                  </a:lnTo>
                  <a:lnTo>
                    <a:pt x="2348812" y="1091351"/>
                  </a:lnTo>
                  <a:lnTo>
                    <a:pt x="2348419" y="1091835"/>
                  </a:lnTo>
                  <a:lnTo>
                    <a:pt x="2347209" y="1092168"/>
                  </a:lnTo>
                  <a:lnTo>
                    <a:pt x="2346210" y="1092773"/>
                  </a:lnTo>
                  <a:lnTo>
                    <a:pt x="2345182" y="1093015"/>
                  </a:lnTo>
                  <a:lnTo>
                    <a:pt x="2343820" y="1092289"/>
                  </a:lnTo>
                  <a:lnTo>
                    <a:pt x="2342550" y="1092410"/>
                  </a:lnTo>
                  <a:lnTo>
                    <a:pt x="2341219" y="1094164"/>
                  </a:lnTo>
                  <a:lnTo>
                    <a:pt x="2336984" y="1089657"/>
                  </a:lnTo>
                  <a:lnTo>
                    <a:pt x="2335985" y="1086722"/>
                  </a:lnTo>
                  <a:lnTo>
                    <a:pt x="2334564" y="1080249"/>
                  </a:lnTo>
                  <a:lnTo>
                    <a:pt x="2334564" y="1078736"/>
                  </a:lnTo>
                  <a:lnTo>
                    <a:pt x="2333898" y="1077405"/>
                  </a:lnTo>
                  <a:lnTo>
                    <a:pt x="2333172" y="1074803"/>
                  </a:lnTo>
                  <a:lnTo>
                    <a:pt x="2332022" y="1073049"/>
                  </a:lnTo>
                  <a:lnTo>
                    <a:pt x="2330056" y="1074198"/>
                  </a:lnTo>
                  <a:lnTo>
                    <a:pt x="2329300" y="1075953"/>
                  </a:lnTo>
                  <a:lnTo>
                    <a:pt x="2328301" y="1080370"/>
                  </a:lnTo>
                  <a:lnTo>
                    <a:pt x="2327424" y="1082154"/>
                  </a:lnTo>
                  <a:lnTo>
                    <a:pt x="2329088" y="1085300"/>
                  </a:lnTo>
                  <a:lnTo>
                    <a:pt x="2330268" y="1088658"/>
                  </a:lnTo>
                  <a:lnTo>
                    <a:pt x="2330389" y="1091986"/>
                  </a:lnTo>
                  <a:lnTo>
                    <a:pt x="2328755" y="1095072"/>
                  </a:lnTo>
                  <a:lnTo>
                    <a:pt x="2328029" y="1095405"/>
                  </a:lnTo>
                  <a:lnTo>
                    <a:pt x="2325246" y="1095072"/>
                  </a:lnTo>
                  <a:lnTo>
                    <a:pt x="2324520" y="1095525"/>
                  </a:lnTo>
                  <a:lnTo>
                    <a:pt x="2324278" y="1096554"/>
                  </a:lnTo>
                  <a:lnTo>
                    <a:pt x="2324187" y="1097704"/>
                  </a:lnTo>
                  <a:lnTo>
                    <a:pt x="2323945" y="1098460"/>
                  </a:lnTo>
                  <a:lnTo>
                    <a:pt x="2319075" y="1103300"/>
                  </a:lnTo>
                  <a:lnTo>
                    <a:pt x="2321102" y="1104510"/>
                  </a:lnTo>
                  <a:lnTo>
                    <a:pt x="2321797" y="1104752"/>
                  </a:lnTo>
                  <a:lnTo>
                    <a:pt x="2319347" y="1105871"/>
                  </a:lnTo>
                  <a:lnTo>
                    <a:pt x="2317623" y="1104298"/>
                  </a:lnTo>
                  <a:lnTo>
                    <a:pt x="2314870" y="1098460"/>
                  </a:lnTo>
                  <a:lnTo>
                    <a:pt x="2317139" y="1096463"/>
                  </a:lnTo>
                  <a:lnTo>
                    <a:pt x="2319529" y="1095525"/>
                  </a:lnTo>
                  <a:lnTo>
                    <a:pt x="2321677" y="1093650"/>
                  </a:lnTo>
                  <a:lnTo>
                    <a:pt x="2323189" y="1088779"/>
                  </a:lnTo>
                  <a:lnTo>
                    <a:pt x="2319740" y="1088779"/>
                  </a:lnTo>
                  <a:lnTo>
                    <a:pt x="2317199" y="1088931"/>
                  </a:lnTo>
                  <a:lnTo>
                    <a:pt x="2316050" y="1089354"/>
                  </a:lnTo>
                  <a:lnTo>
                    <a:pt x="2314870" y="1090231"/>
                  </a:lnTo>
                  <a:lnTo>
                    <a:pt x="2314083" y="1091381"/>
                  </a:lnTo>
                  <a:lnTo>
                    <a:pt x="2312752" y="1094225"/>
                  </a:lnTo>
                  <a:lnTo>
                    <a:pt x="2312117" y="1095102"/>
                  </a:lnTo>
                  <a:lnTo>
                    <a:pt x="2309727" y="1095979"/>
                  </a:lnTo>
                  <a:lnTo>
                    <a:pt x="2301801" y="1095102"/>
                  </a:lnTo>
                  <a:lnTo>
                    <a:pt x="2302618" y="1097855"/>
                  </a:lnTo>
                  <a:lnTo>
                    <a:pt x="2303072" y="1099095"/>
                  </a:lnTo>
                  <a:lnTo>
                    <a:pt x="2303798" y="1100214"/>
                  </a:lnTo>
                  <a:lnTo>
                    <a:pt x="2300198" y="1102362"/>
                  </a:lnTo>
                  <a:lnTo>
                    <a:pt x="2284619" y="1102060"/>
                  </a:lnTo>
                  <a:lnTo>
                    <a:pt x="2282138" y="1103451"/>
                  </a:lnTo>
                  <a:lnTo>
                    <a:pt x="2279990" y="1105932"/>
                  </a:lnTo>
                  <a:lnTo>
                    <a:pt x="2277691" y="1109744"/>
                  </a:lnTo>
                  <a:lnTo>
                    <a:pt x="2280383" y="1111196"/>
                  </a:lnTo>
                  <a:lnTo>
                    <a:pt x="2286252" y="1109471"/>
                  </a:lnTo>
                  <a:lnTo>
                    <a:pt x="2288763" y="1111196"/>
                  </a:lnTo>
                  <a:lnTo>
                    <a:pt x="2289338" y="1113071"/>
                  </a:lnTo>
                  <a:lnTo>
                    <a:pt x="2289489" y="1117064"/>
                  </a:lnTo>
                  <a:lnTo>
                    <a:pt x="2290124" y="1118638"/>
                  </a:lnTo>
                  <a:lnTo>
                    <a:pt x="2291455" y="1119636"/>
                  </a:lnTo>
                  <a:lnTo>
                    <a:pt x="2294299" y="1120211"/>
                  </a:lnTo>
                  <a:lnTo>
                    <a:pt x="2295630" y="1120997"/>
                  </a:lnTo>
                  <a:lnTo>
                    <a:pt x="2295146" y="1121360"/>
                  </a:lnTo>
                  <a:lnTo>
                    <a:pt x="2294238" y="1122358"/>
                  </a:lnTo>
                  <a:lnTo>
                    <a:pt x="2293603" y="1122601"/>
                  </a:lnTo>
                  <a:lnTo>
                    <a:pt x="2294662" y="1126382"/>
                  </a:lnTo>
                  <a:lnTo>
                    <a:pt x="2296144" y="1127047"/>
                  </a:lnTo>
                  <a:lnTo>
                    <a:pt x="2299805" y="1125807"/>
                  </a:lnTo>
                  <a:lnTo>
                    <a:pt x="2301741" y="1127047"/>
                  </a:lnTo>
                  <a:lnTo>
                    <a:pt x="2304463" y="1131434"/>
                  </a:lnTo>
                  <a:lnTo>
                    <a:pt x="2306067" y="1132402"/>
                  </a:lnTo>
                  <a:lnTo>
                    <a:pt x="2320829" y="1134610"/>
                  </a:lnTo>
                  <a:lnTo>
                    <a:pt x="2325367" y="1137061"/>
                  </a:lnTo>
                  <a:lnTo>
                    <a:pt x="2302769" y="1136365"/>
                  </a:lnTo>
                  <a:lnTo>
                    <a:pt x="2294632" y="1132977"/>
                  </a:lnTo>
                  <a:lnTo>
                    <a:pt x="2287069" y="1132311"/>
                  </a:lnTo>
                  <a:lnTo>
                    <a:pt x="2279990" y="1133854"/>
                  </a:lnTo>
                  <a:lnTo>
                    <a:pt x="2276481" y="1138755"/>
                  </a:lnTo>
                  <a:lnTo>
                    <a:pt x="2280111" y="1141296"/>
                  </a:lnTo>
                  <a:lnTo>
                    <a:pt x="2280928" y="1141084"/>
                  </a:lnTo>
                  <a:lnTo>
                    <a:pt x="2282168" y="1139965"/>
                  </a:lnTo>
                  <a:lnTo>
                    <a:pt x="2298020" y="1141750"/>
                  </a:lnTo>
                  <a:lnTo>
                    <a:pt x="2301257" y="1143565"/>
                  </a:lnTo>
                  <a:lnTo>
                    <a:pt x="2297748" y="1146197"/>
                  </a:lnTo>
                  <a:lnTo>
                    <a:pt x="2284770" y="1143565"/>
                  </a:lnTo>
                  <a:lnTo>
                    <a:pt x="2281714" y="1145501"/>
                  </a:lnTo>
                  <a:lnTo>
                    <a:pt x="2280141" y="1148859"/>
                  </a:lnTo>
                  <a:lnTo>
                    <a:pt x="2280534" y="1152338"/>
                  </a:lnTo>
                  <a:lnTo>
                    <a:pt x="2283378" y="1154758"/>
                  </a:lnTo>
                  <a:lnTo>
                    <a:pt x="2286918" y="1154758"/>
                  </a:lnTo>
                  <a:lnTo>
                    <a:pt x="2293573" y="1150825"/>
                  </a:lnTo>
                  <a:lnTo>
                    <a:pt x="2297112" y="1149827"/>
                  </a:lnTo>
                  <a:lnTo>
                    <a:pt x="2315021" y="1149827"/>
                  </a:lnTo>
                  <a:lnTo>
                    <a:pt x="2311119" y="1154032"/>
                  </a:lnTo>
                  <a:lnTo>
                    <a:pt x="2305885" y="1155333"/>
                  </a:lnTo>
                  <a:lnTo>
                    <a:pt x="2295751" y="1154758"/>
                  </a:lnTo>
                  <a:lnTo>
                    <a:pt x="2295751" y="1156331"/>
                  </a:lnTo>
                  <a:lnTo>
                    <a:pt x="2297808" y="1157934"/>
                  </a:lnTo>
                  <a:lnTo>
                    <a:pt x="2295237" y="1160052"/>
                  </a:lnTo>
                  <a:lnTo>
                    <a:pt x="2278599" y="1159537"/>
                  </a:lnTo>
                  <a:lnTo>
                    <a:pt x="2277479" y="1158781"/>
                  </a:lnTo>
                  <a:lnTo>
                    <a:pt x="2275846" y="1155484"/>
                  </a:lnTo>
                  <a:lnTo>
                    <a:pt x="2275120" y="1154728"/>
                  </a:lnTo>
                  <a:lnTo>
                    <a:pt x="2251281" y="1152368"/>
                  </a:lnTo>
                  <a:lnTo>
                    <a:pt x="2248196" y="1154728"/>
                  </a:lnTo>
                  <a:lnTo>
                    <a:pt x="2252370" y="1157601"/>
                  </a:lnTo>
                  <a:lnTo>
                    <a:pt x="2273849" y="1163773"/>
                  </a:lnTo>
                  <a:lnTo>
                    <a:pt x="2278114" y="1167100"/>
                  </a:lnTo>
                  <a:lnTo>
                    <a:pt x="2280625" y="1172425"/>
                  </a:lnTo>
                  <a:lnTo>
                    <a:pt x="2277993" y="1171880"/>
                  </a:lnTo>
                  <a:lnTo>
                    <a:pt x="2271005" y="1167645"/>
                  </a:lnTo>
                  <a:lnTo>
                    <a:pt x="2268313" y="1167554"/>
                  </a:lnTo>
                  <a:lnTo>
                    <a:pt x="2263291" y="1170156"/>
                  </a:lnTo>
                  <a:lnTo>
                    <a:pt x="2260629" y="1170700"/>
                  </a:lnTo>
                  <a:lnTo>
                    <a:pt x="2258602" y="1169732"/>
                  </a:lnTo>
                  <a:lnTo>
                    <a:pt x="2256424" y="1168099"/>
                  </a:lnTo>
                  <a:lnTo>
                    <a:pt x="2254095" y="1167221"/>
                  </a:lnTo>
                  <a:lnTo>
                    <a:pt x="2251705" y="1168492"/>
                  </a:lnTo>
                  <a:lnTo>
                    <a:pt x="2249406" y="1168794"/>
                  </a:lnTo>
                  <a:lnTo>
                    <a:pt x="2247046" y="1166798"/>
                  </a:lnTo>
                  <a:lnTo>
                    <a:pt x="2244747" y="1165860"/>
                  </a:lnTo>
                  <a:lnTo>
                    <a:pt x="2242690" y="1169278"/>
                  </a:lnTo>
                  <a:lnTo>
                    <a:pt x="2250737" y="1173665"/>
                  </a:lnTo>
                  <a:lnTo>
                    <a:pt x="2263080" y="1173665"/>
                  </a:lnTo>
                  <a:lnTo>
                    <a:pt x="2266105" y="1175510"/>
                  </a:lnTo>
                  <a:lnTo>
                    <a:pt x="2263896" y="1176932"/>
                  </a:lnTo>
                  <a:lnTo>
                    <a:pt x="2258905" y="1175268"/>
                  </a:lnTo>
                  <a:lnTo>
                    <a:pt x="2254488" y="1177567"/>
                  </a:lnTo>
                  <a:lnTo>
                    <a:pt x="2250646" y="1178172"/>
                  </a:lnTo>
                  <a:lnTo>
                    <a:pt x="2248922" y="1180290"/>
                  </a:lnTo>
                  <a:lnTo>
                    <a:pt x="2249587" y="1181198"/>
                  </a:lnTo>
                  <a:lnTo>
                    <a:pt x="2250223" y="1181893"/>
                  </a:lnTo>
                  <a:lnTo>
                    <a:pt x="2247439" y="1185372"/>
                  </a:lnTo>
                  <a:lnTo>
                    <a:pt x="2246592" y="1187550"/>
                  </a:lnTo>
                  <a:lnTo>
                    <a:pt x="2246078" y="1191574"/>
                  </a:lnTo>
                  <a:lnTo>
                    <a:pt x="2249527" y="1193419"/>
                  </a:lnTo>
                  <a:lnTo>
                    <a:pt x="2252673" y="1193540"/>
                  </a:lnTo>
                  <a:lnTo>
                    <a:pt x="2259207" y="1191574"/>
                  </a:lnTo>
                  <a:lnTo>
                    <a:pt x="2265348" y="1191362"/>
                  </a:lnTo>
                  <a:lnTo>
                    <a:pt x="2268071" y="1190091"/>
                  </a:lnTo>
                  <a:lnTo>
                    <a:pt x="2273002" y="1182045"/>
                  </a:lnTo>
                  <a:lnTo>
                    <a:pt x="2276057" y="1179927"/>
                  </a:lnTo>
                  <a:lnTo>
                    <a:pt x="2294632" y="1177749"/>
                  </a:lnTo>
                  <a:lnTo>
                    <a:pt x="2298534" y="1180320"/>
                  </a:lnTo>
                  <a:lnTo>
                    <a:pt x="2285980" y="1179745"/>
                  </a:lnTo>
                  <a:lnTo>
                    <a:pt x="2276481" y="1185100"/>
                  </a:lnTo>
                  <a:lnTo>
                    <a:pt x="2271610" y="1189880"/>
                  </a:lnTo>
                  <a:lnTo>
                    <a:pt x="2273758" y="1191937"/>
                  </a:lnTo>
                  <a:lnTo>
                    <a:pt x="2288188" y="1195718"/>
                  </a:lnTo>
                  <a:lnTo>
                    <a:pt x="2290759" y="1197624"/>
                  </a:lnTo>
                  <a:lnTo>
                    <a:pt x="2292998" y="1201164"/>
                  </a:lnTo>
                  <a:lnTo>
                    <a:pt x="2287765" y="1200316"/>
                  </a:lnTo>
                  <a:lnTo>
                    <a:pt x="2282682" y="1198138"/>
                  </a:lnTo>
                  <a:lnTo>
                    <a:pt x="2277540" y="1194387"/>
                  </a:lnTo>
                  <a:lnTo>
                    <a:pt x="2274696" y="1193117"/>
                  </a:lnTo>
                  <a:lnTo>
                    <a:pt x="2272306" y="1193964"/>
                  </a:lnTo>
                  <a:lnTo>
                    <a:pt x="2269856" y="1195476"/>
                  </a:lnTo>
                  <a:lnTo>
                    <a:pt x="2261264" y="1194841"/>
                  </a:lnTo>
                  <a:lnTo>
                    <a:pt x="2258693" y="1195718"/>
                  </a:lnTo>
                  <a:lnTo>
                    <a:pt x="2254125" y="1199167"/>
                  </a:lnTo>
                  <a:lnTo>
                    <a:pt x="2251584" y="1199621"/>
                  </a:lnTo>
                  <a:lnTo>
                    <a:pt x="2251584" y="1201194"/>
                  </a:lnTo>
                  <a:lnTo>
                    <a:pt x="2254427" y="1202555"/>
                  </a:lnTo>
                  <a:lnTo>
                    <a:pt x="2254095" y="1205126"/>
                  </a:lnTo>
                  <a:lnTo>
                    <a:pt x="2252703" y="1208515"/>
                  </a:lnTo>
                  <a:lnTo>
                    <a:pt x="2252340" y="1212417"/>
                  </a:lnTo>
                  <a:lnTo>
                    <a:pt x="2254458" y="1214020"/>
                  </a:lnTo>
                  <a:lnTo>
                    <a:pt x="2265469" y="1212417"/>
                  </a:lnTo>
                  <a:lnTo>
                    <a:pt x="2261930" y="1215079"/>
                  </a:lnTo>
                  <a:lnTo>
                    <a:pt x="2248165" y="1215442"/>
                  </a:lnTo>
                  <a:lnTo>
                    <a:pt x="2248165" y="1213990"/>
                  </a:lnTo>
                  <a:lnTo>
                    <a:pt x="2248770" y="1212145"/>
                  </a:lnTo>
                  <a:lnTo>
                    <a:pt x="2248468" y="1209725"/>
                  </a:lnTo>
                  <a:lnTo>
                    <a:pt x="2247863" y="1206851"/>
                  </a:lnTo>
                  <a:lnTo>
                    <a:pt x="2247530" y="1203584"/>
                  </a:lnTo>
                  <a:lnTo>
                    <a:pt x="2246502" y="1201436"/>
                  </a:lnTo>
                  <a:lnTo>
                    <a:pt x="2244172" y="1199711"/>
                  </a:lnTo>
                  <a:lnTo>
                    <a:pt x="2238878" y="1197594"/>
                  </a:lnTo>
                  <a:lnTo>
                    <a:pt x="2236882" y="1195325"/>
                  </a:lnTo>
                  <a:lnTo>
                    <a:pt x="2235793" y="1194811"/>
                  </a:lnTo>
                  <a:lnTo>
                    <a:pt x="2222633" y="1199590"/>
                  </a:lnTo>
                  <a:lnTo>
                    <a:pt x="2224993" y="1202011"/>
                  </a:lnTo>
                  <a:lnTo>
                    <a:pt x="2227171" y="1203523"/>
                  </a:lnTo>
                  <a:lnTo>
                    <a:pt x="2229530" y="1204279"/>
                  </a:lnTo>
                  <a:lnTo>
                    <a:pt x="2232314" y="1204491"/>
                  </a:lnTo>
                  <a:lnTo>
                    <a:pt x="2233675" y="1205217"/>
                  </a:lnTo>
                  <a:lnTo>
                    <a:pt x="2234310" y="1206972"/>
                  </a:lnTo>
                  <a:lnTo>
                    <a:pt x="2234794" y="1208999"/>
                  </a:lnTo>
                  <a:lnTo>
                    <a:pt x="2235793" y="1210662"/>
                  </a:lnTo>
                  <a:lnTo>
                    <a:pt x="2237245" y="1211358"/>
                  </a:lnTo>
                  <a:lnTo>
                    <a:pt x="2240421" y="1211600"/>
                  </a:lnTo>
                  <a:lnTo>
                    <a:pt x="2241934" y="1212387"/>
                  </a:lnTo>
                  <a:lnTo>
                    <a:pt x="2241934" y="1213960"/>
                  </a:lnTo>
                  <a:lnTo>
                    <a:pt x="2238697" y="1213778"/>
                  </a:lnTo>
                  <a:lnTo>
                    <a:pt x="2237154" y="1214172"/>
                  </a:lnTo>
                  <a:lnTo>
                    <a:pt x="2235762" y="1215382"/>
                  </a:lnTo>
                  <a:lnTo>
                    <a:pt x="2240512" y="1217772"/>
                  </a:lnTo>
                  <a:lnTo>
                    <a:pt x="2241238" y="1219375"/>
                  </a:lnTo>
                  <a:lnTo>
                    <a:pt x="2241359" y="1221129"/>
                  </a:lnTo>
                  <a:lnTo>
                    <a:pt x="2241661" y="1222733"/>
                  </a:lnTo>
                  <a:lnTo>
                    <a:pt x="2242085" y="1224034"/>
                  </a:lnTo>
                  <a:lnTo>
                    <a:pt x="2242569" y="1224971"/>
                  </a:lnTo>
                  <a:lnTo>
                    <a:pt x="2239574" y="1231022"/>
                  </a:lnTo>
                  <a:lnTo>
                    <a:pt x="2225386" y="1237707"/>
                  </a:lnTo>
                  <a:lnTo>
                    <a:pt x="2226959" y="1243001"/>
                  </a:lnTo>
                  <a:lnTo>
                    <a:pt x="2229137" y="1246268"/>
                  </a:lnTo>
                  <a:lnTo>
                    <a:pt x="2231860" y="1247569"/>
                  </a:lnTo>
                  <a:lnTo>
                    <a:pt x="2235006" y="1247025"/>
                  </a:lnTo>
                  <a:lnTo>
                    <a:pt x="2238848" y="1244272"/>
                  </a:lnTo>
                  <a:lnTo>
                    <a:pt x="2240512" y="1243909"/>
                  </a:lnTo>
                  <a:lnTo>
                    <a:pt x="2241661" y="1244756"/>
                  </a:lnTo>
                  <a:lnTo>
                    <a:pt x="2241268" y="1246692"/>
                  </a:lnTo>
                  <a:lnTo>
                    <a:pt x="2240179" y="1248810"/>
                  </a:lnTo>
                  <a:lnTo>
                    <a:pt x="2239151" y="1250171"/>
                  </a:lnTo>
                  <a:lnTo>
                    <a:pt x="2241026" y="1250050"/>
                  </a:lnTo>
                  <a:lnTo>
                    <a:pt x="2246744" y="1251895"/>
                  </a:lnTo>
                  <a:lnTo>
                    <a:pt x="2248196" y="1251502"/>
                  </a:lnTo>
                  <a:lnTo>
                    <a:pt x="2257332" y="1245875"/>
                  </a:lnTo>
                  <a:lnTo>
                    <a:pt x="2258784" y="1245452"/>
                  </a:lnTo>
                  <a:lnTo>
                    <a:pt x="2259389" y="1244484"/>
                  </a:lnTo>
                  <a:lnTo>
                    <a:pt x="2258693" y="1242336"/>
                  </a:lnTo>
                  <a:lnTo>
                    <a:pt x="2257090" y="1239280"/>
                  </a:lnTo>
                  <a:lnTo>
                    <a:pt x="2256303" y="1234924"/>
                  </a:lnTo>
                  <a:lnTo>
                    <a:pt x="2256696" y="1233684"/>
                  </a:lnTo>
                  <a:lnTo>
                    <a:pt x="2257967" y="1234864"/>
                  </a:lnTo>
                  <a:lnTo>
                    <a:pt x="2259842" y="1237707"/>
                  </a:lnTo>
                  <a:lnTo>
                    <a:pt x="2260871" y="1239825"/>
                  </a:lnTo>
                  <a:lnTo>
                    <a:pt x="2261446" y="1241247"/>
                  </a:lnTo>
                  <a:lnTo>
                    <a:pt x="2262111" y="1242033"/>
                  </a:lnTo>
                  <a:lnTo>
                    <a:pt x="2263654" y="1242275"/>
                  </a:lnTo>
                  <a:lnTo>
                    <a:pt x="2267254" y="1241035"/>
                  </a:lnTo>
                  <a:lnTo>
                    <a:pt x="2269009" y="1240884"/>
                  </a:lnTo>
                  <a:lnTo>
                    <a:pt x="2270915" y="1242275"/>
                  </a:lnTo>
                  <a:lnTo>
                    <a:pt x="2268041" y="1243364"/>
                  </a:lnTo>
                  <a:lnTo>
                    <a:pt x="2266831" y="1244544"/>
                  </a:lnTo>
                  <a:lnTo>
                    <a:pt x="2266044" y="1246964"/>
                  </a:lnTo>
                  <a:lnTo>
                    <a:pt x="2276330" y="1246541"/>
                  </a:lnTo>
                  <a:lnTo>
                    <a:pt x="2279234" y="1248688"/>
                  </a:lnTo>
                  <a:lnTo>
                    <a:pt x="2275180" y="1250836"/>
                  </a:lnTo>
                  <a:lnTo>
                    <a:pt x="2257786" y="1250776"/>
                  </a:lnTo>
                  <a:lnTo>
                    <a:pt x="2241843" y="1260245"/>
                  </a:lnTo>
                  <a:lnTo>
                    <a:pt x="2238969" y="1263028"/>
                  </a:lnTo>
                  <a:lnTo>
                    <a:pt x="2236761" y="1266779"/>
                  </a:lnTo>
                  <a:lnTo>
                    <a:pt x="2234431" y="1269108"/>
                  </a:lnTo>
                  <a:lnTo>
                    <a:pt x="2230983" y="1271347"/>
                  </a:lnTo>
                  <a:lnTo>
                    <a:pt x="2228623" y="1274251"/>
                  </a:lnTo>
                  <a:lnTo>
                    <a:pt x="2229500" y="1278516"/>
                  </a:lnTo>
                  <a:lnTo>
                    <a:pt x="2232435" y="1279787"/>
                  </a:lnTo>
                  <a:lnTo>
                    <a:pt x="2246048" y="1272769"/>
                  </a:lnTo>
                  <a:lnTo>
                    <a:pt x="2254367" y="1264419"/>
                  </a:lnTo>
                  <a:lnTo>
                    <a:pt x="2258390" y="1263330"/>
                  </a:lnTo>
                  <a:lnTo>
                    <a:pt x="2267073" y="1263935"/>
                  </a:lnTo>
                  <a:lnTo>
                    <a:pt x="2272488" y="1261122"/>
                  </a:lnTo>
                  <a:lnTo>
                    <a:pt x="2276057" y="1260305"/>
                  </a:lnTo>
                  <a:lnTo>
                    <a:pt x="2282138" y="1254073"/>
                  </a:lnTo>
                  <a:lnTo>
                    <a:pt x="2283348" y="1253317"/>
                  </a:lnTo>
                  <a:lnTo>
                    <a:pt x="2284619" y="1253408"/>
                  </a:lnTo>
                  <a:lnTo>
                    <a:pt x="2285889" y="1254134"/>
                  </a:lnTo>
                  <a:lnTo>
                    <a:pt x="2287099" y="1255253"/>
                  </a:lnTo>
                  <a:lnTo>
                    <a:pt x="2288128" y="1256584"/>
                  </a:lnTo>
                  <a:lnTo>
                    <a:pt x="2283318" y="1259579"/>
                  </a:lnTo>
                  <a:lnTo>
                    <a:pt x="2284951" y="1263784"/>
                  </a:lnTo>
                  <a:lnTo>
                    <a:pt x="2287795" y="1264449"/>
                  </a:lnTo>
                  <a:lnTo>
                    <a:pt x="2295781" y="1261666"/>
                  </a:lnTo>
                  <a:lnTo>
                    <a:pt x="2298262" y="1259125"/>
                  </a:lnTo>
                  <a:lnTo>
                    <a:pt x="2299956" y="1256040"/>
                  </a:lnTo>
                  <a:lnTo>
                    <a:pt x="2299835" y="1253287"/>
                  </a:lnTo>
                  <a:lnTo>
                    <a:pt x="2301287" y="1251804"/>
                  </a:lnTo>
                  <a:lnTo>
                    <a:pt x="2302346" y="1252349"/>
                  </a:lnTo>
                  <a:lnTo>
                    <a:pt x="2303949" y="1254830"/>
                  </a:lnTo>
                  <a:lnTo>
                    <a:pt x="2306278" y="1255949"/>
                  </a:lnTo>
                  <a:lnTo>
                    <a:pt x="2316746" y="1258097"/>
                  </a:lnTo>
                  <a:lnTo>
                    <a:pt x="2317532" y="1257280"/>
                  </a:lnTo>
                  <a:lnTo>
                    <a:pt x="2319861" y="1251835"/>
                  </a:lnTo>
                  <a:lnTo>
                    <a:pt x="2322433" y="1249747"/>
                  </a:lnTo>
                  <a:lnTo>
                    <a:pt x="2330903" y="1246964"/>
                  </a:lnTo>
                  <a:lnTo>
                    <a:pt x="2336106" y="1242336"/>
                  </a:lnTo>
                  <a:lnTo>
                    <a:pt x="2339162" y="1240914"/>
                  </a:lnTo>
                  <a:lnTo>
                    <a:pt x="2340493" y="1243062"/>
                  </a:lnTo>
                  <a:lnTo>
                    <a:pt x="2339555" y="1247085"/>
                  </a:lnTo>
                  <a:lnTo>
                    <a:pt x="2337347" y="1250322"/>
                  </a:lnTo>
                  <a:lnTo>
                    <a:pt x="2334715" y="1252470"/>
                  </a:lnTo>
                  <a:lnTo>
                    <a:pt x="2331176" y="1253771"/>
                  </a:lnTo>
                  <a:lnTo>
                    <a:pt x="2329602" y="1256009"/>
                  </a:lnTo>
                  <a:lnTo>
                    <a:pt x="2326971" y="1257522"/>
                  </a:lnTo>
                  <a:lnTo>
                    <a:pt x="2326214" y="1259791"/>
                  </a:lnTo>
                  <a:lnTo>
                    <a:pt x="2325609" y="1262392"/>
                  </a:lnTo>
                  <a:lnTo>
                    <a:pt x="2324581" y="1264389"/>
                  </a:lnTo>
                  <a:lnTo>
                    <a:pt x="2323249" y="1265115"/>
                  </a:lnTo>
                  <a:lnTo>
                    <a:pt x="2309546" y="1268745"/>
                  </a:lnTo>
                  <a:lnTo>
                    <a:pt x="2304706" y="1273616"/>
                  </a:lnTo>
                  <a:lnTo>
                    <a:pt x="2301862" y="1273918"/>
                  </a:lnTo>
                  <a:lnTo>
                    <a:pt x="2303132" y="1271438"/>
                  </a:lnTo>
                  <a:lnTo>
                    <a:pt x="2305764" y="1268352"/>
                  </a:lnTo>
                  <a:lnTo>
                    <a:pt x="2306672" y="1265962"/>
                  </a:lnTo>
                  <a:lnTo>
                    <a:pt x="2301590" y="1264086"/>
                  </a:lnTo>
                  <a:lnTo>
                    <a:pt x="2295418" y="1264933"/>
                  </a:lnTo>
                  <a:lnTo>
                    <a:pt x="2289852" y="1269078"/>
                  </a:lnTo>
                  <a:lnTo>
                    <a:pt x="2286675" y="1277064"/>
                  </a:lnTo>
                  <a:lnTo>
                    <a:pt x="2296296" y="1280059"/>
                  </a:lnTo>
                  <a:lnTo>
                    <a:pt x="2303495" y="1279273"/>
                  </a:lnTo>
                  <a:lnTo>
                    <a:pt x="2308094" y="1280271"/>
                  </a:lnTo>
                  <a:lnTo>
                    <a:pt x="2309031" y="1281027"/>
                  </a:lnTo>
                  <a:lnTo>
                    <a:pt x="2309334" y="1283326"/>
                  </a:lnTo>
                  <a:lnTo>
                    <a:pt x="2308880" y="1285565"/>
                  </a:lnTo>
                  <a:lnTo>
                    <a:pt x="2308003" y="1285958"/>
                  </a:lnTo>
                  <a:lnTo>
                    <a:pt x="2304796" y="1284083"/>
                  </a:lnTo>
                  <a:lnTo>
                    <a:pt x="2302920" y="1282268"/>
                  </a:lnTo>
                  <a:lnTo>
                    <a:pt x="2301831" y="1281632"/>
                  </a:lnTo>
                  <a:lnTo>
                    <a:pt x="2300440" y="1281572"/>
                  </a:lnTo>
                  <a:lnTo>
                    <a:pt x="2296961" y="1283357"/>
                  </a:lnTo>
                  <a:lnTo>
                    <a:pt x="2289670" y="1283629"/>
                  </a:lnTo>
                  <a:lnTo>
                    <a:pt x="2287401" y="1284778"/>
                  </a:lnTo>
                  <a:lnTo>
                    <a:pt x="2285768" y="1286836"/>
                  </a:lnTo>
                  <a:lnTo>
                    <a:pt x="2283015" y="1292341"/>
                  </a:lnTo>
                  <a:lnTo>
                    <a:pt x="2281835" y="1294156"/>
                  </a:lnTo>
                  <a:lnTo>
                    <a:pt x="2280414" y="1294913"/>
                  </a:lnTo>
                  <a:lnTo>
                    <a:pt x="2279234" y="1294338"/>
                  </a:lnTo>
                  <a:lnTo>
                    <a:pt x="2278659" y="1292099"/>
                  </a:lnTo>
                  <a:lnTo>
                    <a:pt x="2279082" y="1287925"/>
                  </a:lnTo>
                  <a:lnTo>
                    <a:pt x="2280111" y="1284869"/>
                  </a:lnTo>
                  <a:lnTo>
                    <a:pt x="2282834" y="1280211"/>
                  </a:lnTo>
                  <a:lnTo>
                    <a:pt x="2283923" y="1277155"/>
                  </a:lnTo>
                  <a:lnTo>
                    <a:pt x="2274908" y="1277155"/>
                  </a:lnTo>
                  <a:lnTo>
                    <a:pt x="2274908" y="1275431"/>
                  </a:lnTo>
                  <a:lnTo>
                    <a:pt x="2277963" y="1274886"/>
                  </a:lnTo>
                  <a:lnTo>
                    <a:pt x="2281412" y="1272738"/>
                  </a:lnTo>
                  <a:lnTo>
                    <a:pt x="2283348" y="1269562"/>
                  </a:lnTo>
                  <a:lnTo>
                    <a:pt x="2281866" y="1266053"/>
                  </a:lnTo>
                  <a:lnTo>
                    <a:pt x="2278387" y="1264692"/>
                  </a:lnTo>
                  <a:lnTo>
                    <a:pt x="2256122" y="1269774"/>
                  </a:lnTo>
                  <a:lnTo>
                    <a:pt x="2248014" y="1277125"/>
                  </a:lnTo>
                  <a:lnTo>
                    <a:pt x="2242781" y="1279515"/>
                  </a:lnTo>
                  <a:lnTo>
                    <a:pt x="2241087" y="1280876"/>
                  </a:lnTo>
                  <a:lnTo>
                    <a:pt x="2235762" y="1282661"/>
                  </a:lnTo>
                  <a:lnTo>
                    <a:pt x="2234946" y="1284052"/>
                  </a:lnTo>
                  <a:lnTo>
                    <a:pt x="2234341" y="1286170"/>
                  </a:lnTo>
                  <a:lnTo>
                    <a:pt x="2232919" y="1286170"/>
                  </a:lnTo>
                  <a:lnTo>
                    <a:pt x="2230105" y="1284748"/>
                  </a:lnTo>
                  <a:lnTo>
                    <a:pt x="2212136" y="1288862"/>
                  </a:lnTo>
                  <a:lnTo>
                    <a:pt x="2205813" y="1293128"/>
                  </a:lnTo>
                  <a:lnTo>
                    <a:pt x="2202516" y="1294126"/>
                  </a:lnTo>
                  <a:lnTo>
                    <a:pt x="2200338" y="1295548"/>
                  </a:lnTo>
                  <a:lnTo>
                    <a:pt x="2193834" y="1302506"/>
                  </a:lnTo>
                  <a:lnTo>
                    <a:pt x="2192140" y="1305168"/>
                  </a:lnTo>
                  <a:lnTo>
                    <a:pt x="2195074" y="1305047"/>
                  </a:lnTo>
                  <a:lnTo>
                    <a:pt x="2196436" y="1305470"/>
                  </a:lnTo>
                  <a:lnTo>
                    <a:pt x="2197706" y="1306711"/>
                  </a:lnTo>
                  <a:lnTo>
                    <a:pt x="2197101" y="1307437"/>
                  </a:lnTo>
                  <a:lnTo>
                    <a:pt x="2196859" y="1308072"/>
                  </a:lnTo>
                  <a:lnTo>
                    <a:pt x="2196677" y="1308798"/>
                  </a:lnTo>
                  <a:lnTo>
                    <a:pt x="2196345" y="1309827"/>
                  </a:lnTo>
                  <a:lnTo>
                    <a:pt x="2218005" y="1305501"/>
                  </a:lnTo>
                  <a:lnTo>
                    <a:pt x="2225537" y="1300660"/>
                  </a:lnTo>
                  <a:lnTo>
                    <a:pt x="2229379" y="1300479"/>
                  </a:lnTo>
                  <a:lnTo>
                    <a:pt x="2227685" y="1304170"/>
                  </a:lnTo>
                  <a:lnTo>
                    <a:pt x="2222361" y="1307467"/>
                  </a:lnTo>
                  <a:lnTo>
                    <a:pt x="2220455" y="1311400"/>
                  </a:lnTo>
                  <a:lnTo>
                    <a:pt x="2222119" y="1314304"/>
                  </a:lnTo>
                  <a:lnTo>
                    <a:pt x="2221635" y="1317178"/>
                  </a:lnTo>
                  <a:lnTo>
                    <a:pt x="2219880" y="1319537"/>
                  </a:lnTo>
                  <a:lnTo>
                    <a:pt x="2217733" y="1320868"/>
                  </a:lnTo>
                  <a:lnTo>
                    <a:pt x="2219548" y="1325436"/>
                  </a:lnTo>
                  <a:lnTo>
                    <a:pt x="2223147" y="1328613"/>
                  </a:lnTo>
                  <a:lnTo>
                    <a:pt x="2230196" y="1331577"/>
                  </a:lnTo>
                  <a:lnTo>
                    <a:pt x="2236640" y="1331577"/>
                  </a:lnTo>
                  <a:lnTo>
                    <a:pt x="2237668" y="1332424"/>
                  </a:lnTo>
                  <a:lnTo>
                    <a:pt x="2237971" y="1334633"/>
                  </a:lnTo>
                  <a:lnTo>
                    <a:pt x="2238727" y="1336690"/>
                  </a:lnTo>
                  <a:lnTo>
                    <a:pt x="2240330" y="1339443"/>
                  </a:lnTo>
                  <a:lnTo>
                    <a:pt x="2240481" y="1343890"/>
                  </a:lnTo>
                  <a:lnTo>
                    <a:pt x="2242085" y="1348609"/>
                  </a:lnTo>
                  <a:lnTo>
                    <a:pt x="2242993" y="1352209"/>
                  </a:lnTo>
                  <a:lnTo>
                    <a:pt x="2241087" y="1353358"/>
                  </a:lnTo>
                  <a:lnTo>
                    <a:pt x="2237668" y="1347187"/>
                  </a:lnTo>
                  <a:lnTo>
                    <a:pt x="2237668" y="1344858"/>
                  </a:lnTo>
                  <a:lnTo>
                    <a:pt x="2237426" y="1343950"/>
                  </a:lnTo>
                  <a:lnTo>
                    <a:pt x="2236851" y="1343950"/>
                  </a:lnTo>
                  <a:lnTo>
                    <a:pt x="2236186" y="1344132"/>
                  </a:lnTo>
                  <a:lnTo>
                    <a:pt x="2235641" y="1344071"/>
                  </a:lnTo>
                  <a:lnTo>
                    <a:pt x="2234764" y="1343587"/>
                  </a:lnTo>
                  <a:lnTo>
                    <a:pt x="2233100" y="1343194"/>
                  </a:lnTo>
                  <a:lnTo>
                    <a:pt x="2232162" y="1342528"/>
                  </a:lnTo>
                  <a:lnTo>
                    <a:pt x="2231285" y="1341016"/>
                  </a:lnTo>
                  <a:lnTo>
                    <a:pt x="2230196" y="1337688"/>
                  </a:lnTo>
                  <a:lnTo>
                    <a:pt x="2229349" y="1336297"/>
                  </a:lnTo>
                  <a:lnTo>
                    <a:pt x="2227594" y="1335389"/>
                  </a:lnTo>
                  <a:lnTo>
                    <a:pt x="2223813" y="1336387"/>
                  </a:lnTo>
                  <a:lnTo>
                    <a:pt x="2221847" y="1336297"/>
                  </a:lnTo>
                  <a:lnTo>
                    <a:pt x="2220425" y="1335147"/>
                  </a:lnTo>
                  <a:lnTo>
                    <a:pt x="2218216" y="1331608"/>
                  </a:lnTo>
                  <a:lnTo>
                    <a:pt x="2216976" y="1330065"/>
                  </a:lnTo>
                  <a:lnTo>
                    <a:pt x="2210049" y="1326949"/>
                  </a:lnTo>
                  <a:lnTo>
                    <a:pt x="2206902" y="1326495"/>
                  </a:lnTo>
                  <a:lnTo>
                    <a:pt x="2204059" y="1327342"/>
                  </a:lnTo>
                  <a:lnTo>
                    <a:pt x="2193320" y="1336055"/>
                  </a:lnTo>
                  <a:lnTo>
                    <a:pt x="2191111" y="1339412"/>
                  </a:lnTo>
                  <a:lnTo>
                    <a:pt x="2189296" y="1344011"/>
                  </a:lnTo>
                  <a:lnTo>
                    <a:pt x="2189084" y="1345342"/>
                  </a:lnTo>
                  <a:lnTo>
                    <a:pt x="2188933" y="1348609"/>
                  </a:lnTo>
                  <a:lnTo>
                    <a:pt x="2188661" y="1350152"/>
                  </a:lnTo>
                  <a:lnTo>
                    <a:pt x="2188177" y="1351180"/>
                  </a:lnTo>
                  <a:lnTo>
                    <a:pt x="2186997" y="1352179"/>
                  </a:lnTo>
                  <a:lnTo>
                    <a:pt x="2186604" y="1353237"/>
                  </a:lnTo>
                  <a:lnTo>
                    <a:pt x="2186211" y="1356868"/>
                  </a:lnTo>
                  <a:lnTo>
                    <a:pt x="2186604" y="1358380"/>
                  </a:lnTo>
                  <a:lnTo>
                    <a:pt x="2187663" y="1358501"/>
                  </a:lnTo>
                  <a:lnTo>
                    <a:pt x="2191686" y="1356958"/>
                  </a:lnTo>
                  <a:lnTo>
                    <a:pt x="2194439" y="1356656"/>
                  </a:lnTo>
                  <a:lnTo>
                    <a:pt x="2196224" y="1358562"/>
                  </a:lnTo>
                  <a:lnTo>
                    <a:pt x="2195558" y="1364188"/>
                  </a:lnTo>
                  <a:lnTo>
                    <a:pt x="2196859" y="1367153"/>
                  </a:lnTo>
                  <a:lnTo>
                    <a:pt x="2194953" y="1366820"/>
                  </a:lnTo>
                  <a:lnTo>
                    <a:pt x="2193592" y="1365187"/>
                  </a:lnTo>
                  <a:lnTo>
                    <a:pt x="2192382" y="1363372"/>
                  </a:lnTo>
                  <a:lnTo>
                    <a:pt x="2191111" y="1362494"/>
                  </a:lnTo>
                  <a:lnTo>
                    <a:pt x="2189599" y="1362948"/>
                  </a:lnTo>
                  <a:lnTo>
                    <a:pt x="2188479" y="1364067"/>
                  </a:lnTo>
                  <a:lnTo>
                    <a:pt x="2186604" y="1367123"/>
                  </a:lnTo>
                  <a:lnTo>
                    <a:pt x="2181703" y="1372205"/>
                  </a:lnTo>
                  <a:lnTo>
                    <a:pt x="2180765" y="1375109"/>
                  </a:lnTo>
                  <a:lnTo>
                    <a:pt x="2182429" y="1379556"/>
                  </a:lnTo>
                  <a:lnTo>
                    <a:pt x="2183639" y="1380948"/>
                  </a:lnTo>
                  <a:lnTo>
                    <a:pt x="2187360" y="1383670"/>
                  </a:lnTo>
                  <a:lnTo>
                    <a:pt x="2190053" y="1384971"/>
                  </a:lnTo>
                  <a:lnTo>
                    <a:pt x="2190627" y="1386938"/>
                  </a:lnTo>
                  <a:lnTo>
                    <a:pt x="2190869" y="1389418"/>
                  </a:lnTo>
                  <a:lnTo>
                    <a:pt x="2191383" y="1391838"/>
                  </a:lnTo>
                  <a:lnTo>
                    <a:pt x="2192472" y="1394500"/>
                  </a:lnTo>
                  <a:lnTo>
                    <a:pt x="2193410" y="1395862"/>
                  </a:lnTo>
                  <a:lnTo>
                    <a:pt x="2194711" y="1396376"/>
                  </a:lnTo>
                  <a:lnTo>
                    <a:pt x="2198765" y="1396588"/>
                  </a:lnTo>
                  <a:lnTo>
                    <a:pt x="2200882" y="1397223"/>
                  </a:lnTo>
                  <a:lnTo>
                    <a:pt x="2202758" y="1398615"/>
                  </a:lnTo>
                  <a:lnTo>
                    <a:pt x="2203786" y="1401004"/>
                  </a:lnTo>
                  <a:lnTo>
                    <a:pt x="2202577" y="1402003"/>
                  </a:lnTo>
                  <a:lnTo>
                    <a:pt x="2200852" y="1402850"/>
                  </a:lnTo>
                  <a:lnTo>
                    <a:pt x="2199158" y="1402971"/>
                  </a:lnTo>
                  <a:lnTo>
                    <a:pt x="2196314" y="1399734"/>
                  </a:lnTo>
                  <a:lnTo>
                    <a:pt x="2194348" y="1399734"/>
                  </a:lnTo>
                  <a:lnTo>
                    <a:pt x="2190718" y="1401004"/>
                  </a:lnTo>
                  <a:lnTo>
                    <a:pt x="2186513" y="1397828"/>
                  </a:lnTo>
                  <a:lnTo>
                    <a:pt x="2185848" y="1398070"/>
                  </a:lnTo>
                  <a:lnTo>
                    <a:pt x="2185848" y="1395408"/>
                  </a:lnTo>
                  <a:lnTo>
                    <a:pt x="2186574" y="1393139"/>
                  </a:lnTo>
                  <a:lnTo>
                    <a:pt x="2187663" y="1391385"/>
                  </a:lnTo>
                  <a:lnTo>
                    <a:pt x="2188661" y="1390235"/>
                  </a:lnTo>
                  <a:lnTo>
                    <a:pt x="2184426" y="1390235"/>
                  </a:lnTo>
                  <a:lnTo>
                    <a:pt x="2183790" y="1389479"/>
                  </a:lnTo>
                  <a:lnTo>
                    <a:pt x="2183730" y="1387270"/>
                  </a:lnTo>
                  <a:lnTo>
                    <a:pt x="2183548" y="1385637"/>
                  </a:lnTo>
                  <a:lnTo>
                    <a:pt x="2183125" y="1384185"/>
                  </a:lnTo>
                  <a:lnTo>
                    <a:pt x="2182399" y="1382581"/>
                  </a:lnTo>
                  <a:lnTo>
                    <a:pt x="2180432" y="1380524"/>
                  </a:lnTo>
                  <a:lnTo>
                    <a:pt x="2177468" y="1379405"/>
                  </a:lnTo>
                  <a:lnTo>
                    <a:pt x="2174473" y="1379647"/>
                  </a:lnTo>
                  <a:lnTo>
                    <a:pt x="2172476" y="1381734"/>
                  </a:lnTo>
                  <a:lnTo>
                    <a:pt x="2171599" y="1383368"/>
                  </a:lnTo>
                  <a:lnTo>
                    <a:pt x="2169723" y="1384790"/>
                  </a:lnTo>
                  <a:lnTo>
                    <a:pt x="2168755" y="1385788"/>
                  </a:lnTo>
                  <a:lnTo>
                    <a:pt x="2167969" y="1387028"/>
                  </a:lnTo>
                  <a:lnTo>
                    <a:pt x="2166305" y="1390991"/>
                  </a:lnTo>
                  <a:lnTo>
                    <a:pt x="2164732" y="1393593"/>
                  </a:lnTo>
                  <a:lnTo>
                    <a:pt x="2161283" y="1397798"/>
                  </a:lnTo>
                  <a:lnTo>
                    <a:pt x="2159771" y="1400974"/>
                  </a:lnTo>
                  <a:lnTo>
                    <a:pt x="2160648" y="1403001"/>
                  </a:lnTo>
                  <a:lnTo>
                    <a:pt x="2160799" y="1405633"/>
                  </a:lnTo>
                  <a:lnTo>
                    <a:pt x="2160588" y="1407841"/>
                  </a:lnTo>
                  <a:lnTo>
                    <a:pt x="2160376" y="1408628"/>
                  </a:lnTo>
                  <a:lnTo>
                    <a:pt x="2161707" y="1411199"/>
                  </a:lnTo>
                  <a:lnTo>
                    <a:pt x="2163038" y="1411260"/>
                  </a:lnTo>
                  <a:lnTo>
                    <a:pt x="2164611" y="1410413"/>
                  </a:lnTo>
                  <a:lnTo>
                    <a:pt x="2166608" y="1410322"/>
                  </a:lnTo>
                  <a:lnTo>
                    <a:pt x="2165337" y="1415374"/>
                  </a:lnTo>
                  <a:lnTo>
                    <a:pt x="2164550" y="1420335"/>
                  </a:lnTo>
                  <a:lnTo>
                    <a:pt x="2165337" y="1424117"/>
                  </a:lnTo>
                  <a:lnTo>
                    <a:pt x="2168755" y="1425569"/>
                  </a:lnTo>
                  <a:lnTo>
                    <a:pt x="2171599" y="1423693"/>
                  </a:lnTo>
                  <a:lnTo>
                    <a:pt x="2175986" y="1415465"/>
                  </a:lnTo>
                  <a:lnTo>
                    <a:pt x="2178376" y="1413347"/>
                  </a:lnTo>
                  <a:lnTo>
                    <a:pt x="2177559" y="1418127"/>
                  </a:lnTo>
                  <a:lnTo>
                    <a:pt x="2175804" y="1420970"/>
                  </a:lnTo>
                  <a:lnTo>
                    <a:pt x="2173626" y="1423451"/>
                  </a:lnTo>
                  <a:lnTo>
                    <a:pt x="2171478" y="1427111"/>
                  </a:lnTo>
                  <a:lnTo>
                    <a:pt x="2176379" y="1429229"/>
                  </a:lnTo>
                  <a:lnTo>
                    <a:pt x="2178739" y="1424177"/>
                  </a:lnTo>
                  <a:lnTo>
                    <a:pt x="2180221" y="1416765"/>
                  </a:lnTo>
                  <a:lnTo>
                    <a:pt x="2182490" y="1411834"/>
                  </a:lnTo>
                  <a:lnTo>
                    <a:pt x="2182308" y="1416342"/>
                  </a:lnTo>
                  <a:lnTo>
                    <a:pt x="2183004" y="1420910"/>
                  </a:lnTo>
                  <a:lnTo>
                    <a:pt x="2184486" y="1424389"/>
                  </a:lnTo>
                  <a:lnTo>
                    <a:pt x="2186634" y="1425629"/>
                  </a:lnTo>
                  <a:lnTo>
                    <a:pt x="2184396" y="1427111"/>
                  </a:lnTo>
                  <a:lnTo>
                    <a:pt x="2182369" y="1427716"/>
                  </a:lnTo>
                  <a:lnTo>
                    <a:pt x="2181491" y="1428957"/>
                  </a:lnTo>
                  <a:lnTo>
                    <a:pt x="2182822" y="1432436"/>
                  </a:lnTo>
                  <a:lnTo>
                    <a:pt x="2184698" y="1434553"/>
                  </a:lnTo>
                  <a:lnTo>
                    <a:pt x="2188449" y="1434674"/>
                  </a:lnTo>
                  <a:lnTo>
                    <a:pt x="2190779" y="1436308"/>
                  </a:lnTo>
                  <a:lnTo>
                    <a:pt x="2189478" y="1436883"/>
                  </a:lnTo>
                  <a:lnTo>
                    <a:pt x="2187148" y="1438758"/>
                  </a:lnTo>
                  <a:lnTo>
                    <a:pt x="2185908" y="1439333"/>
                  </a:lnTo>
                  <a:lnTo>
                    <a:pt x="2185908" y="1440997"/>
                  </a:lnTo>
                  <a:lnTo>
                    <a:pt x="2199249" y="1439182"/>
                  </a:lnTo>
                  <a:lnTo>
                    <a:pt x="2203212" y="1440997"/>
                  </a:lnTo>
                  <a:lnTo>
                    <a:pt x="2190083" y="1443084"/>
                  </a:lnTo>
                  <a:lnTo>
                    <a:pt x="2188026" y="1447077"/>
                  </a:lnTo>
                  <a:lnTo>
                    <a:pt x="2189175" y="1450617"/>
                  </a:lnTo>
                  <a:lnTo>
                    <a:pt x="2196345" y="1460751"/>
                  </a:lnTo>
                  <a:lnTo>
                    <a:pt x="2193198" y="1458724"/>
                  </a:lnTo>
                  <a:lnTo>
                    <a:pt x="2188026" y="1449558"/>
                  </a:lnTo>
                  <a:lnTo>
                    <a:pt x="2185303" y="1447077"/>
                  </a:lnTo>
                  <a:lnTo>
                    <a:pt x="2184244" y="1447622"/>
                  </a:lnTo>
                  <a:lnTo>
                    <a:pt x="2183397" y="1450284"/>
                  </a:lnTo>
                  <a:lnTo>
                    <a:pt x="2182490" y="1450133"/>
                  </a:lnTo>
                  <a:lnTo>
                    <a:pt x="2181975" y="1449074"/>
                  </a:lnTo>
                  <a:lnTo>
                    <a:pt x="2181975" y="1447773"/>
                  </a:lnTo>
                  <a:lnTo>
                    <a:pt x="2182066" y="1446472"/>
                  </a:lnTo>
                  <a:lnTo>
                    <a:pt x="2181794" y="1445474"/>
                  </a:lnTo>
                  <a:lnTo>
                    <a:pt x="2179918" y="1443871"/>
                  </a:lnTo>
                  <a:lnTo>
                    <a:pt x="2177861" y="1443508"/>
                  </a:lnTo>
                  <a:lnTo>
                    <a:pt x="2172900" y="1443992"/>
                  </a:lnTo>
                  <a:lnTo>
                    <a:pt x="2173898" y="1447168"/>
                  </a:lnTo>
                  <a:lnTo>
                    <a:pt x="2176530" y="1450587"/>
                  </a:lnTo>
                  <a:lnTo>
                    <a:pt x="2177770" y="1453097"/>
                  </a:lnTo>
                  <a:lnTo>
                    <a:pt x="2178466" y="1456123"/>
                  </a:lnTo>
                  <a:lnTo>
                    <a:pt x="2178890" y="1460449"/>
                  </a:lnTo>
                  <a:lnTo>
                    <a:pt x="2179797" y="1462324"/>
                  </a:lnTo>
                  <a:lnTo>
                    <a:pt x="2183427" y="1463564"/>
                  </a:lnTo>
                  <a:lnTo>
                    <a:pt x="2187541" y="1463746"/>
                  </a:lnTo>
                  <a:lnTo>
                    <a:pt x="2191414" y="1464381"/>
                  </a:lnTo>
                  <a:lnTo>
                    <a:pt x="2194318" y="1469887"/>
                  </a:lnTo>
                  <a:lnTo>
                    <a:pt x="2192594" y="1471490"/>
                  </a:lnTo>
                  <a:lnTo>
                    <a:pt x="2190779" y="1470795"/>
                  </a:lnTo>
                  <a:lnTo>
                    <a:pt x="2189084" y="1468677"/>
                  </a:lnTo>
                  <a:lnTo>
                    <a:pt x="2187693" y="1466015"/>
                  </a:lnTo>
                  <a:lnTo>
                    <a:pt x="2185182" y="1464351"/>
                  </a:lnTo>
                  <a:lnTo>
                    <a:pt x="2176712" y="1463806"/>
                  </a:lnTo>
                  <a:lnTo>
                    <a:pt x="2176349" y="1463322"/>
                  </a:lnTo>
                  <a:lnTo>
                    <a:pt x="2176076" y="1462264"/>
                  </a:lnTo>
                  <a:lnTo>
                    <a:pt x="2175683" y="1461205"/>
                  </a:lnTo>
                  <a:lnTo>
                    <a:pt x="2174957" y="1460751"/>
                  </a:lnTo>
                  <a:lnTo>
                    <a:pt x="2174231" y="1461114"/>
                  </a:lnTo>
                  <a:lnTo>
                    <a:pt x="2168271" y="1466559"/>
                  </a:lnTo>
                  <a:lnTo>
                    <a:pt x="2166819" y="1468647"/>
                  </a:lnTo>
                  <a:lnTo>
                    <a:pt x="2166002" y="1471460"/>
                  </a:lnTo>
                  <a:lnTo>
                    <a:pt x="2170994" y="1468284"/>
                  </a:lnTo>
                  <a:lnTo>
                    <a:pt x="2172870" y="1468284"/>
                  </a:lnTo>
                  <a:lnTo>
                    <a:pt x="2170117" y="1473426"/>
                  </a:lnTo>
                  <a:lnTo>
                    <a:pt x="2166577" y="1474485"/>
                  </a:lnTo>
                  <a:lnTo>
                    <a:pt x="2162735" y="1474364"/>
                  </a:lnTo>
                  <a:lnTo>
                    <a:pt x="2159105" y="1475877"/>
                  </a:lnTo>
                  <a:lnTo>
                    <a:pt x="2157926" y="1477510"/>
                  </a:lnTo>
                  <a:lnTo>
                    <a:pt x="2156050" y="1481685"/>
                  </a:lnTo>
                  <a:lnTo>
                    <a:pt x="2154900" y="1483561"/>
                  </a:lnTo>
                  <a:lnTo>
                    <a:pt x="2150544" y="1488582"/>
                  </a:lnTo>
                  <a:lnTo>
                    <a:pt x="2149334" y="1491124"/>
                  </a:lnTo>
                  <a:lnTo>
                    <a:pt x="2152450" y="1491426"/>
                  </a:lnTo>
                  <a:lnTo>
                    <a:pt x="2154810" y="1488673"/>
                  </a:lnTo>
                  <a:lnTo>
                    <a:pt x="2156927" y="1485255"/>
                  </a:lnTo>
                  <a:lnTo>
                    <a:pt x="2159408" y="1483591"/>
                  </a:lnTo>
                  <a:lnTo>
                    <a:pt x="2168514" y="1482351"/>
                  </a:lnTo>
                  <a:lnTo>
                    <a:pt x="2171448" y="1483591"/>
                  </a:lnTo>
                  <a:lnTo>
                    <a:pt x="2171206" y="1484408"/>
                  </a:lnTo>
                  <a:lnTo>
                    <a:pt x="2170752" y="1486616"/>
                  </a:lnTo>
                  <a:lnTo>
                    <a:pt x="2172416" y="1486344"/>
                  </a:lnTo>
                  <a:lnTo>
                    <a:pt x="2175229" y="1484135"/>
                  </a:lnTo>
                  <a:lnTo>
                    <a:pt x="2176621" y="1483591"/>
                  </a:lnTo>
                  <a:lnTo>
                    <a:pt x="2183821" y="1485103"/>
                  </a:lnTo>
                  <a:lnTo>
                    <a:pt x="2193138" y="1484740"/>
                  </a:lnTo>
                  <a:lnTo>
                    <a:pt x="2196284" y="1486616"/>
                  </a:lnTo>
                  <a:lnTo>
                    <a:pt x="2192745" y="1487705"/>
                  </a:lnTo>
                  <a:lnTo>
                    <a:pt x="2176953" y="1487372"/>
                  </a:lnTo>
                  <a:lnTo>
                    <a:pt x="2175744" y="1489581"/>
                  </a:lnTo>
                  <a:lnTo>
                    <a:pt x="2172930" y="1489671"/>
                  </a:lnTo>
                  <a:lnTo>
                    <a:pt x="2167999" y="1488129"/>
                  </a:lnTo>
                  <a:lnTo>
                    <a:pt x="2165730" y="1488219"/>
                  </a:lnTo>
                  <a:lnTo>
                    <a:pt x="2163885" y="1489157"/>
                  </a:lnTo>
                  <a:lnTo>
                    <a:pt x="2160376" y="1492636"/>
                  </a:lnTo>
                  <a:lnTo>
                    <a:pt x="2160376" y="1494149"/>
                  </a:lnTo>
                  <a:lnTo>
                    <a:pt x="2162675" y="1493816"/>
                  </a:lnTo>
                  <a:lnTo>
                    <a:pt x="2166608" y="1491880"/>
                  </a:lnTo>
                  <a:lnTo>
                    <a:pt x="2168755" y="1492636"/>
                  </a:lnTo>
                  <a:lnTo>
                    <a:pt x="2168755" y="1495510"/>
                  </a:lnTo>
                  <a:lnTo>
                    <a:pt x="2170087" y="1497144"/>
                  </a:lnTo>
                  <a:lnTo>
                    <a:pt x="2171085" y="1497930"/>
                  </a:lnTo>
                  <a:lnTo>
                    <a:pt x="2173747" y="1498565"/>
                  </a:lnTo>
                  <a:lnTo>
                    <a:pt x="2174927" y="1498565"/>
                  </a:lnTo>
                  <a:lnTo>
                    <a:pt x="2172053" y="1502407"/>
                  </a:lnTo>
                  <a:lnTo>
                    <a:pt x="2163098" y="1503587"/>
                  </a:lnTo>
                  <a:lnTo>
                    <a:pt x="2161797" y="1509214"/>
                  </a:lnTo>
                  <a:lnTo>
                    <a:pt x="2163946" y="1511241"/>
                  </a:lnTo>
                  <a:lnTo>
                    <a:pt x="2167848" y="1511967"/>
                  </a:lnTo>
                  <a:lnTo>
                    <a:pt x="2175290" y="1510696"/>
                  </a:lnTo>
                  <a:lnTo>
                    <a:pt x="2176500" y="1510000"/>
                  </a:lnTo>
                  <a:lnTo>
                    <a:pt x="2179132" y="1506884"/>
                  </a:lnTo>
                  <a:lnTo>
                    <a:pt x="2180402" y="1506189"/>
                  </a:lnTo>
                  <a:lnTo>
                    <a:pt x="2181915" y="1505886"/>
                  </a:lnTo>
                  <a:lnTo>
                    <a:pt x="2191928" y="1499443"/>
                  </a:lnTo>
                  <a:lnTo>
                    <a:pt x="2207750" y="1482078"/>
                  </a:lnTo>
                  <a:lnTo>
                    <a:pt x="2209777" y="1478781"/>
                  </a:lnTo>
                  <a:lnTo>
                    <a:pt x="2210896" y="1477389"/>
                  </a:lnTo>
                  <a:lnTo>
                    <a:pt x="2214889" y="1473789"/>
                  </a:lnTo>
                  <a:lnTo>
                    <a:pt x="2218459" y="1469100"/>
                  </a:lnTo>
                  <a:lnTo>
                    <a:pt x="2219275" y="1470280"/>
                  </a:lnTo>
                  <a:lnTo>
                    <a:pt x="2218368" y="1473699"/>
                  </a:lnTo>
                  <a:lnTo>
                    <a:pt x="2209020" y="1486707"/>
                  </a:lnTo>
                  <a:lnTo>
                    <a:pt x="2206993" y="1488098"/>
                  </a:lnTo>
                  <a:lnTo>
                    <a:pt x="2205935" y="1489248"/>
                  </a:lnTo>
                  <a:lnTo>
                    <a:pt x="2205299" y="1491789"/>
                  </a:lnTo>
                  <a:lnTo>
                    <a:pt x="2204815" y="1494330"/>
                  </a:lnTo>
                  <a:lnTo>
                    <a:pt x="2204240" y="1495480"/>
                  </a:lnTo>
                  <a:lnTo>
                    <a:pt x="2202637" y="1495964"/>
                  </a:lnTo>
                  <a:lnTo>
                    <a:pt x="2196708" y="1501893"/>
                  </a:lnTo>
                  <a:lnTo>
                    <a:pt x="2192866" y="1507520"/>
                  </a:lnTo>
                  <a:lnTo>
                    <a:pt x="2190960" y="1508548"/>
                  </a:lnTo>
                  <a:lnTo>
                    <a:pt x="2188842" y="1508760"/>
                  </a:lnTo>
                  <a:lnTo>
                    <a:pt x="2186846" y="1509577"/>
                  </a:lnTo>
                  <a:lnTo>
                    <a:pt x="2185333" y="1512300"/>
                  </a:lnTo>
                  <a:lnTo>
                    <a:pt x="2186332" y="1512118"/>
                  </a:lnTo>
                  <a:lnTo>
                    <a:pt x="2187178" y="1512420"/>
                  </a:lnTo>
                  <a:lnTo>
                    <a:pt x="2188782" y="1513631"/>
                  </a:lnTo>
                  <a:lnTo>
                    <a:pt x="2185787" y="1514810"/>
                  </a:lnTo>
                  <a:lnTo>
                    <a:pt x="2175834" y="1515839"/>
                  </a:lnTo>
                  <a:lnTo>
                    <a:pt x="2173686" y="1517533"/>
                  </a:lnTo>
                  <a:lnTo>
                    <a:pt x="2172234" y="1522857"/>
                  </a:lnTo>
                  <a:lnTo>
                    <a:pt x="2168877" y="1523886"/>
                  </a:lnTo>
                  <a:lnTo>
                    <a:pt x="2161919" y="1522645"/>
                  </a:lnTo>
                  <a:lnTo>
                    <a:pt x="2158924" y="1524370"/>
                  </a:lnTo>
                  <a:lnTo>
                    <a:pt x="2153055" y="1529271"/>
                  </a:lnTo>
                  <a:lnTo>
                    <a:pt x="2144222" y="1531388"/>
                  </a:lnTo>
                  <a:lnTo>
                    <a:pt x="2143344" y="1532447"/>
                  </a:lnTo>
                  <a:lnTo>
                    <a:pt x="2143586" y="1534867"/>
                  </a:lnTo>
                  <a:lnTo>
                    <a:pt x="2144222" y="1536743"/>
                  </a:lnTo>
                  <a:lnTo>
                    <a:pt x="2145099" y="1538164"/>
                  </a:lnTo>
                  <a:lnTo>
                    <a:pt x="2146037" y="1539254"/>
                  </a:lnTo>
                  <a:lnTo>
                    <a:pt x="2145643" y="1541129"/>
                  </a:lnTo>
                  <a:lnTo>
                    <a:pt x="2145069" y="1542611"/>
                  </a:lnTo>
                  <a:lnTo>
                    <a:pt x="2145069" y="1542611"/>
                  </a:lnTo>
                  <a:lnTo>
                    <a:pt x="2144312" y="1543579"/>
                  </a:lnTo>
                  <a:lnTo>
                    <a:pt x="2143344" y="1543761"/>
                  </a:lnTo>
                  <a:lnTo>
                    <a:pt x="2142225" y="1542944"/>
                  </a:lnTo>
                  <a:lnTo>
                    <a:pt x="2142164" y="1541674"/>
                  </a:lnTo>
                  <a:lnTo>
                    <a:pt x="2142497" y="1540312"/>
                  </a:lnTo>
                  <a:lnTo>
                    <a:pt x="2142497" y="1539980"/>
                  </a:lnTo>
                  <a:lnTo>
                    <a:pt x="2142588" y="1539223"/>
                  </a:lnTo>
                  <a:lnTo>
                    <a:pt x="2141469" y="1536198"/>
                  </a:lnTo>
                  <a:lnTo>
                    <a:pt x="2140198" y="1533778"/>
                  </a:lnTo>
                  <a:lnTo>
                    <a:pt x="2138565" y="1532205"/>
                  </a:lnTo>
                  <a:lnTo>
                    <a:pt x="2136417" y="1531630"/>
                  </a:lnTo>
                  <a:lnTo>
                    <a:pt x="2135207" y="1532235"/>
                  </a:lnTo>
                  <a:lnTo>
                    <a:pt x="2133845" y="1533354"/>
                  </a:lnTo>
                  <a:lnTo>
                    <a:pt x="2132423" y="1533778"/>
                  </a:lnTo>
                  <a:lnTo>
                    <a:pt x="2131183" y="1532447"/>
                  </a:lnTo>
                  <a:lnTo>
                    <a:pt x="2131123" y="1531328"/>
                  </a:lnTo>
                  <a:lnTo>
                    <a:pt x="2130850" y="1529271"/>
                  </a:lnTo>
                  <a:lnTo>
                    <a:pt x="2130245" y="1528060"/>
                  </a:lnTo>
                  <a:lnTo>
                    <a:pt x="2129126" y="1529513"/>
                  </a:lnTo>
                  <a:lnTo>
                    <a:pt x="2128672" y="1531146"/>
                  </a:lnTo>
                  <a:lnTo>
                    <a:pt x="2127916" y="1534474"/>
                  </a:lnTo>
                  <a:lnTo>
                    <a:pt x="2127371" y="1535593"/>
                  </a:lnTo>
                  <a:lnTo>
                    <a:pt x="2126313" y="1535956"/>
                  </a:lnTo>
                  <a:lnTo>
                    <a:pt x="2125768" y="1534565"/>
                  </a:lnTo>
                  <a:lnTo>
                    <a:pt x="2125677" y="1532356"/>
                  </a:lnTo>
                  <a:lnTo>
                    <a:pt x="2125980" y="1530299"/>
                  </a:lnTo>
                  <a:lnTo>
                    <a:pt x="2122561" y="1527365"/>
                  </a:lnTo>
                  <a:lnTo>
                    <a:pt x="2118992" y="1528756"/>
                  </a:lnTo>
                  <a:lnTo>
                    <a:pt x="2115422" y="1531660"/>
                  </a:lnTo>
                  <a:lnTo>
                    <a:pt x="2111913" y="1533233"/>
                  </a:lnTo>
                  <a:lnTo>
                    <a:pt x="2106044" y="1538467"/>
                  </a:lnTo>
                  <a:lnTo>
                    <a:pt x="2104743" y="1540736"/>
                  </a:lnTo>
                  <a:lnTo>
                    <a:pt x="2105046" y="1542702"/>
                  </a:lnTo>
                  <a:lnTo>
                    <a:pt x="2106377" y="1544275"/>
                  </a:lnTo>
                  <a:lnTo>
                    <a:pt x="2108131" y="1545334"/>
                  </a:lnTo>
                  <a:lnTo>
                    <a:pt x="2106649" y="1546514"/>
                  </a:lnTo>
                  <a:lnTo>
                    <a:pt x="2102233" y="1547482"/>
                  </a:lnTo>
                  <a:lnTo>
                    <a:pt x="2101265" y="1548753"/>
                  </a:lnTo>
                  <a:lnTo>
                    <a:pt x="2095607" y="1551747"/>
                  </a:lnTo>
                  <a:lnTo>
                    <a:pt x="2090828" y="1552655"/>
                  </a:lnTo>
                  <a:lnTo>
                    <a:pt x="2089527" y="1551929"/>
                  </a:lnTo>
                  <a:lnTo>
                    <a:pt x="2088498" y="1550537"/>
                  </a:lnTo>
                  <a:lnTo>
                    <a:pt x="2087409" y="1549872"/>
                  </a:lnTo>
                  <a:lnTo>
                    <a:pt x="2086078" y="1551173"/>
                  </a:lnTo>
                  <a:lnTo>
                    <a:pt x="2086714" y="1551929"/>
                  </a:lnTo>
                  <a:lnTo>
                    <a:pt x="2087561" y="1553562"/>
                  </a:lnTo>
                  <a:lnTo>
                    <a:pt x="2088075" y="1554288"/>
                  </a:lnTo>
                  <a:lnTo>
                    <a:pt x="2086592" y="1554561"/>
                  </a:lnTo>
                  <a:lnTo>
                    <a:pt x="2082448" y="1552715"/>
                  </a:lnTo>
                  <a:lnTo>
                    <a:pt x="2080452" y="1552655"/>
                  </a:lnTo>
                  <a:lnTo>
                    <a:pt x="2073948" y="1555317"/>
                  </a:lnTo>
                  <a:lnTo>
                    <a:pt x="2072133" y="1557102"/>
                  </a:lnTo>
                  <a:lnTo>
                    <a:pt x="2076640" y="1562426"/>
                  </a:lnTo>
                  <a:lnTo>
                    <a:pt x="2077850" y="1563182"/>
                  </a:lnTo>
                  <a:lnTo>
                    <a:pt x="2079393" y="1562487"/>
                  </a:lnTo>
                  <a:lnTo>
                    <a:pt x="2082267" y="1559310"/>
                  </a:lnTo>
                  <a:lnTo>
                    <a:pt x="2083961" y="1558735"/>
                  </a:lnTo>
                  <a:lnTo>
                    <a:pt x="2083961" y="1560218"/>
                  </a:lnTo>
                  <a:lnTo>
                    <a:pt x="2081934" y="1562729"/>
                  </a:lnTo>
                  <a:lnTo>
                    <a:pt x="2079907" y="1564453"/>
                  </a:lnTo>
                  <a:lnTo>
                    <a:pt x="2077820" y="1565149"/>
                  </a:lnTo>
                  <a:lnTo>
                    <a:pt x="2075702" y="1564574"/>
                  </a:lnTo>
                  <a:lnTo>
                    <a:pt x="2069470" y="1559371"/>
                  </a:lnTo>
                  <a:lnTo>
                    <a:pt x="2066748" y="1558735"/>
                  </a:lnTo>
                  <a:lnTo>
                    <a:pt x="2064539" y="1559371"/>
                  </a:lnTo>
                  <a:lnTo>
                    <a:pt x="2051047" y="1570806"/>
                  </a:lnTo>
                  <a:lnTo>
                    <a:pt x="2048839" y="1573468"/>
                  </a:lnTo>
                  <a:lnTo>
                    <a:pt x="2084687" y="1566177"/>
                  </a:lnTo>
                  <a:lnTo>
                    <a:pt x="2091826" y="1561549"/>
                  </a:lnTo>
                  <a:lnTo>
                    <a:pt x="2094307" y="1561549"/>
                  </a:lnTo>
                  <a:lnTo>
                    <a:pt x="2091070" y="1565693"/>
                  </a:lnTo>
                  <a:lnTo>
                    <a:pt x="2076882" y="1572379"/>
                  </a:lnTo>
                  <a:lnTo>
                    <a:pt x="2052560" y="1576281"/>
                  </a:lnTo>
                  <a:lnTo>
                    <a:pt x="2049625" y="1577764"/>
                  </a:lnTo>
                  <a:lnTo>
                    <a:pt x="2047508" y="1581031"/>
                  </a:lnTo>
                  <a:lnTo>
                    <a:pt x="2049867" y="1582362"/>
                  </a:lnTo>
                  <a:lnTo>
                    <a:pt x="2054647" y="1581182"/>
                  </a:lnTo>
                  <a:lnTo>
                    <a:pt x="2059064" y="1584873"/>
                  </a:lnTo>
                  <a:lnTo>
                    <a:pt x="2067443" y="1582513"/>
                  </a:lnTo>
                  <a:lnTo>
                    <a:pt x="2066596" y="1584177"/>
                  </a:lnTo>
                  <a:lnTo>
                    <a:pt x="2060485" y="1592224"/>
                  </a:lnTo>
                  <a:lnTo>
                    <a:pt x="2059578" y="1593041"/>
                  </a:lnTo>
                  <a:lnTo>
                    <a:pt x="2058247" y="1593525"/>
                  </a:lnTo>
                  <a:lnTo>
                    <a:pt x="2055434" y="1595551"/>
                  </a:lnTo>
                  <a:lnTo>
                    <a:pt x="2049504" y="1597881"/>
                  </a:lnTo>
                  <a:lnTo>
                    <a:pt x="2048264" y="1599000"/>
                  </a:lnTo>
                  <a:lnTo>
                    <a:pt x="2050533" y="1600271"/>
                  </a:lnTo>
                  <a:lnTo>
                    <a:pt x="2062361" y="1596368"/>
                  </a:lnTo>
                  <a:lnTo>
                    <a:pt x="2064842" y="1594795"/>
                  </a:lnTo>
                  <a:lnTo>
                    <a:pt x="2067202" y="1592526"/>
                  </a:lnTo>
                  <a:lnTo>
                    <a:pt x="2069289" y="1589350"/>
                  </a:lnTo>
                  <a:lnTo>
                    <a:pt x="2071043" y="1585811"/>
                  </a:lnTo>
                  <a:lnTo>
                    <a:pt x="2072405" y="1583784"/>
                  </a:lnTo>
                  <a:lnTo>
                    <a:pt x="2074068" y="1582846"/>
                  </a:lnTo>
                  <a:lnTo>
                    <a:pt x="2076821" y="1582634"/>
                  </a:lnTo>
                  <a:lnTo>
                    <a:pt x="2079362" y="1581817"/>
                  </a:lnTo>
                  <a:lnTo>
                    <a:pt x="2086865" y="1576705"/>
                  </a:lnTo>
                  <a:lnTo>
                    <a:pt x="2086865" y="1575192"/>
                  </a:lnTo>
                  <a:lnTo>
                    <a:pt x="2085473" y="1572621"/>
                  </a:lnTo>
                  <a:lnTo>
                    <a:pt x="2086351" y="1570957"/>
                  </a:lnTo>
                  <a:lnTo>
                    <a:pt x="2098603" y="1566268"/>
                  </a:lnTo>
                  <a:lnTo>
                    <a:pt x="2115997" y="1553532"/>
                  </a:lnTo>
                  <a:lnTo>
                    <a:pt x="2123076" y="1552715"/>
                  </a:lnTo>
                  <a:lnTo>
                    <a:pt x="2124679" y="1552050"/>
                  </a:lnTo>
                  <a:lnTo>
                    <a:pt x="2128249" y="1549055"/>
                  </a:lnTo>
                  <a:lnTo>
                    <a:pt x="2130276" y="1548389"/>
                  </a:lnTo>
                  <a:lnTo>
                    <a:pt x="2139381" y="1549176"/>
                  </a:lnTo>
                  <a:lnTo>
                    <a:pt x="2143647" y="1551354"/>
                  </a:lnTo>
                  <a:lnTo>
                    <a:pt x="2147519" y="1555741"/>
                  </a:lnTo>
                  <a:lnTo>
                    <a:pt x="2131304" y="1551263"/>
                  </a:lnTo>
                  <a:lnTo>
                    <a:pt x="2130004" y="1551838"/>
                  </a:lnTo>
                  <a:lnTo>
                    <a:pt x="2126827" y="1554924"/>
                  </a:lnTo>
                  <a:lnTo>
                    <a:pt x="2125768" y="1556497"/>
                  </a:lnTo>
                  <a:lnTo>
                    <a:pt x="2124074" y="1557767"/>
                  </a:lnTo>
                  <a:lnTo>
                    <a:pt x="2116511" y="1558887"/>
                  </a:lnTo>
                  <a:lnTo>
                    <a:pt x="2106195" y="1565451"/>
                  </a:lnTo>
                  <a:lnTo>
                    <a:pt x="2101385" y="1566722"/>
                  </a:lnTo>
                  <a:lnTo>
                    <a:pt x="2099268" y="1567811"/>
                  </a:lnTo>
                  <a:lnTo>
                    <a:pt x="2097302" y="1569444"/>
                  </a:lnTo>
                  <a:lnTo>
                    <a:pt x="2095517" y="1573438"/>
                  </a:lnTo>
                  <a:lnTo>
                    <a:pt x="2089587" y="1576735"/>
                  </a:lnTo>
                  <a:lnTo>
                    <a:pt x="2093036" y="1578066"/>
                  </a:lnTo>
                  <a:lnTo>
                    <a:pt x="2096576" y="1577159"/>
                  </a:lnTo>
                  <a:lnTo>
                    <a:pt x="2103443" y="1573619"/>
                  </a:lnTo>
                  <a:lnTo>
                    <a:pt x="2102686" y="1575253"/>
                  </a:lnTo>
                  <a:lnTo>
                    <a:pt x="2103261" y="1576614"/>
                  </a:lnTo>
                  <a:lnTo>
                    <a:pt x="2103382" y="1577280"/>
                  </a:lnTo>
                  <a:lnTo>
                    <a:pt x="2103382" y="1578338"/>
                  </a:lnTo>
                  <a:lnTo>
                    <a:pt x="2092340" y="1579155"/>
                  </a:lnTo>
                  <a:lnTo>
                    <a:pt x="2088922" y="1581182"/>
                  </a:lnTo>
                  <a:lnTo>
                    <a:pt x="2091705" y="1581636"/>
                  </a:lnTo>
                  <a:lnTo>
                    <a:pt x="2096303" y="1583663"/>
                  </a:lnTo>
                  <a:lnTo>
                    <a:pt x="2099207" y="1584116"/>
                  </a:lnTo>
                  <a:lnTo>
                    <a:pt x="2098512" y="1585599"/>
                  </a:lnTo>
                  <a:lnTo>
                    <a:pt x="2108888" y="1585599"/>
                  </a:lnTo>
                  <a:lnTo>
                    <a:pt x="2108888" y="1587232"/>
                  </a:lnTo>
                  <a:lnTo>
                    <a:pt x="2107042" y="1587474"/>
                  </a:lnTo>
                  <a:lnTo>
                    <a:pt x="2103715" y="1589683"/>
                  </a:lnTo>
                  <a:lnTo>
                    <a:pt x="2079877" y="1593192"/>
                  </a:lnTo>
                  <a:lnTo>
                    <a:pt x="2081329" y="1594099"/>
                  </a:lnTo>
                  <a:lnTo>
                    <a:pt x="2082993" y="1594372"/>
                  </a:lnTo>
                  <a:lnTo>
                    <a:pt x="2084112" y="1595128"/>
                  </a:lnTo>
                  <a:lnTo>
                    <a:pt x="2084051" y="1597457"/>
                  </a:lnTo>
                  <a:lnTo>
                    <a:pt x="2085594" y="1598788"/>
                  </a:lnTo>
                  <a:lnTo>
                    <a:pt x="2086169" y="1599061"/>
                  </a:lnTo>
                  <a:lnTo>
                    <a:pt x="2083416" y="1599877"/>
                  </a:lnTo>
                  <a:lnTo>
                    <a:pt x="2080572" y="1598607"/>
                  </a:lnTo>
                  <a:lnTo>
                    <a:pt x="2077699" y="1598123"/>
                  </a:lnTo>
                  <a:lnTo>
                    <a:pt x="2072496" y="1603538"/>
                  </a:lnTo>
                  <a:lnTo>
                    <a:pt x="2066566" y="1604778"/>
                  </a:lnTo>
                  <a:lnTo>
                    <a:pt x="2064055" y="1606291"/>
                  </a:lnTo>
                  <a:lnTo>
                    <a:pt x="2064781" y="1606533"/>
                  </a:lnTo>
                  <a:lnTo>
                    <a:pt x="2065719" y="1607107"/>
                  </a:lnTo>
                  <a:lnTo>
                    <a:pt x="2066536" y="1607864"/>
                  </a:lnTo>
                  <a:lnTo>
                    <a:pt x="2066868" y="1608620"/>
                  </a:lnTo>
                  <a:lnTo>
                    <a:pt x="2066476" y="1610738"/>
                  </a:lnTo>
                  <a:lnTo>
                    <a:pt x="2065598" y="1610738"/>
                  </a:lnTo>
                  <a:lnTo>
                    <a:pt x="2064660" y="1610254"/>
                  </a:lnTo>
                  <a:lnTo>
                    <a:pt x="2064055" y="1610828"/>
                  </a:lnTo>
                  <a:lnTo>
                    <a:pt x="2064055" y="1613581"/>
                  </a:lnTo>
                  <a:lnTo>
                    <a:pt x="2064660" y="1615669"/>
                  </a:lnTo>
                  <a:lnTo>
                    <a:pt x="2065719" y="1617211"/>
                  </a:lnTo>
                  <a:lnTo>
                    <a:pt x="2066868" y="1618210"/>
                  </a:lnTo>
                  <a:lnTo>
                    <a:pt x="2066868" y="1619813"/>
                  </a:lnTo>
                  <a:lnTo>
                    <a:pt x="2066536" y="1621447"/>
                  </a:lnTo>
                  <a:lnTo>
                    <a:pt x="2067413" y="1622475"/>
                  </a:lnTo>
                  <a:lnTo>
                    <a:pt x="2068805" y="1623443"/>
                  </a:lnTo>
                  <a:lnTo>
                    <a:pt x="2069924" y="1624895"/>
                  </a:lnTo>
                  <a:lnTo>
                    <a:pt x="2070862" y="1626862"/>
                  </a:lnTo>
                  <a:lnTo>
                    <a:pt x="2073040" y="1630310"/>
                  </a:lnTo>
                  <a:lnTo>
                    <a:pt x="2073978" y="1632246"/>
                  </a:lnTo>
                  <a:lnTo>
                    <a:pt x="2076186" y="1635120"/>
                  </a:lnTo>
                  <a:lnTo>
                    <a:pt x="2079302" y="1636149"/>
                  </a:lnTo>
                  <a:lnTo>
                    <a:pt x="2082267" y="1634667"/>
                  </a:lnTo>
                  <a:lnTo>
                    <a:pt x="2084051" y="1629947"/>
                  </a:lnTo>
                  <a:lnTo>
                    <a:pt x="2082902" y="1630129"/>
                  </a:lnTo>
                  <a:lnTo>
                    <a:pt x="2081813" y="1630038"/>
                  </a:lnTo>
                  <a:lnTo>
                    <a:pt x="2080815" y="1629584"/>
                  </a:lnTo>
                  <a:lnTo>
                    <a:pt x="2079846" y="1628616"/>
                  </a:lnTo>
                  <a:lnTo>
                    <a:pt x="2081329" y="1626559"/>
                  </a:lnTo>
                  <a:lnTo>
                    <a:pt x="2083447" y="1624321"/>
                  </a:lnTo>
                  <a:lnTo>
                    <a:pt x="2085685" y="1623110"/>
                  </a:lnTo>
                  <a:lnTo>
                    <a:pt x="2087470" y="1624048"/>
                  </a:lnTo>
                  <a:lnTo>
                    <a:pt x="2087954" y="1626468"/>
                  </a:lnTo>
                  <a:lnTo>
                    <a:pt x="2087379" y="1628707"/>
                  </a:lnTo>
                  <a:lnTo>
                    <a:pt x="2087016" y="1630855"/>
                  </a:lnTo>
                  <a:lnTo>
                    <a:pt x="2088166" y="1633003"/>
                  </a:lnTo>
                  <a:lnTo>
                    <a:pt x="2090556" y="1630462"/>
                  </a:lnTo>
                  <a:lnTo>
                    <a:pt x="2102656" y="1629917"/>
                  </a:lnTo>
                  <a:lnTo>
                    <a:pt x="2099722" y="1632337"/>
                  </a:lnTo>
                  <a:lnTo>
                    <a:pt x="2090253" y="1635816"/>
                  </a:lnTo>
                  <a:lnTo>
                    <a:pt x="2081571" y="1642744"/>
                  </a:lnTo>
                  <a:lnTo>
                    <a:pt x="2079272" y="1641806"/>
                  </a:lnTo>
                  <a:lnTo>
                    <a:pt x="2079998" y="1641171"/>
                  </a:lnTo>
                  <a:lnTo>
                    <a:pt x="2081934" y="1638720"/>
                  </a:lnTo>
                  <a:lnTo>
                    <a:pt x="2075127" y="1640324"/>
                  </a:lnTo>
                  <a:lnTo>
                    <a:pt x="2075581" y="1642260"/>
                  </a:lnTo>
                  <a:lnTo>
                    <a:pt x="2076337" y="1643591"/>
                  </a:lnTo>
                  <a:lnTo>
                    <a:pt x="2077336" y="1644408"/>
                  </a:lnTo>
                  <a:lnTo>
                    <a:pt x="2078516" y="1644710"/>
                  </a:lnTo>
                  <a:lnTo>
                    <a:pt x="2078516" y="1646192"/>
                  </a:lnTo>
                  <a:lnTo>
                    <a:pt x="2076670" y="1646828"/>
                  </a:lnTo>
                  <a:lnTo>
                    <a:pt x="2072042" y="1647039"/>
                  </a:lnTo>
                  <a:lnTo>
                    <a:pt x="2070590" y="1648340"/>
                  </a:lnTo>
                  <a:lnTo>
                    <a:pt x="2069682" y="1651547"/>
                  </a:lnTo>
                  <a:lnTo>
                    <a:pt x="2069289" y="1655691"/>
                  </a:lnTo>
                  <a:lnTo>
                    <a:pt x="2068291" y="1658081"/>
                  </a:lnTo>
                  <a:lnTo>
                    <a:pt x="2090283" y="1655026"/>
                  </a:lnTo>
                  <a:lnTo>
                    <a:pt x="2085897" y="1657295"/>
                  </a:lnTo>
                  <a:lnTo>
                    <a:pt x="2076610" y="1658807"/>
                  </a:lnTo>
                  <a:lnTo>
                    <a:pt x="2072284" y="1661016"/>
                  </a:lnTo>
                  <a:lnTo>
                    <a:pt x="2069924" y="1663647"/>
                  </a:lnTo>
                  <a:lnTo>
                    <a:pt x="2068865" y="1663950"/>
                  </a:lnTo>
                  <a:lnTo>
                    <a:pt x="2067988" y="1663436"/>
                  </a:lnTo>
                  <a:lnTo>
                    <a:pt x="2066203" y="1661348"/>
                  </a:lnTo>
                  <a:lnTo>
                    <a:pt x="2065507" y="1661016"/>
                  </a:lnTo>
                  <a:lnTo>
                    <a:pt x="2064237" y="1662407"/>
                  </a:lnTo>
                  <a:lnTo>
                    <a:pt x="2061454" y="1667883"/>
                  </a:lnTo>
                  <a:lnTo>
                    <a:pt x="2060697" y="1669788"/>
                  </a:lnTo>
                  <a:lnTo>
                    <a:pt x="2061484" y="1669910"/>
                  </a:lnTo>
                  <a:lnTo>
                    <a:pt x="2063450" y="1671119"/>
                  </a:lnTo>
                  <a:lnTo>
                    <a:pt x="2062271" y="1672814"/>
                  </a:lnTo>
                  <a:lnTo>
                    <a:pt x="2054465" y="1678561"/>
                  </a:lnTo>
                  <a:lnTo>
                    <a:pt x="2051168" y="1685156"/>
                  </a:lnTo>
                  <a:lnTo>
                    <a:pt x="2049141" y="1688121"/>
                  </a:lnTo>
                  <a:lnTo>
                    <a:pt x="2046872" y="1688786"/>
                  </a:lnTo>
                  <a:lnTo>
                    <a:pt x="2051289" y="1679348"/>
                  </a:lnTo>
                  <a:lnTo>
                    <a:pt x="2056492" y="1672481"/>
                  </a:lnTo>
                  <a:lnTo>
                    <a:pt x="2057642" y="1669607"/>
                  </a:lnTo>
                  <a:lnTo>
                    <a:pt x="2058640" y="1665402"/>
                  </a:lnTo>
                  <a:lnTo>
                    <a:pt x="2056220" y="1663163"/>
                  </a:lnTo>
                  <a:lnTo>
                    <a:pt x="2053830" y="1661651"/>
                  </a:lnTo>
                  <a:lnTo>
                    <a:pt x="2051380" y="1660925"/>
                  </a:lnTo>
                  <a:lnTo>
                    <a:pt x="2048930" y="1661016"/>
                  </a:lnTo>
                  <a:lnTo>
                    <a:pt x="2042849" y="1663284"/>
                  </a:lnTo>
                  <a:lnTo>
                    <a:pt x="2040610" y="1662347"/>
                  </a:lnTo>
                  <a:lnTo>
                    <a:pt x="2041972" y="1658172"/>
                  </a:lnTo>
                  <a:lnTo>
                    <a:pt x="2042153" y="1655328"/>
                  </a:lnTo>
                  <a:lnTo>
                    <a:pt x="2041064" y="1653090"/>
                  </a:lnTo>
                  <a:lnTo>
                    <a:pt x="2034409" y="1646223"/>
                  </a:lnTo>
                  <a:lnTo>
                    <a:pt x="2032685" y="1646162"/>
                  </a:lnTo>
                  <a:lnTo>
                    <a:pt x="2031868" y="1645708"/>
                  </a:lnTo>
                  <a:lnTo>
                    <a:pt x="2030597" y="1642592"/>
                  </a:lnTo>
                  <a:lnTo>
                    <a:pt x="2030234" y="1640596"/>
                  </a:lnTo>
                  <a:lnTo>
                    <a:pt x="2030597" y="1636572"/>
                  </a:lnTo>
                  <a:lnTo>
                    <a:pt x="2030295" y="1634485"/>
                  </a:lnTo>
                  <a:lnTo>
                    <a:pt x="2029447" y="1633608"/>
                  </a:lnTo>
                  <a:lnTo>
                    <a:pt x="2023760" y="1630855"/>
                  </a:lnTo>
                  <a:lnTo>
                    <a:pt x="2021340" y="1628707"/>
                  </a:lnTo>
                  <a:lnTo>
                    <a:pt x="2019888" y="1628616"/>
                  </a:lnTo>
                  <a:lnTo>
                    <a:pt x="2019888" y="1628979"/>
                  </a:lnTo>
                  <a:lnTo>
                    <a:pt x="2019797" y="1629857"/>
                  </a:lnTo>
                  <a:lnTo>
                    <a:pt x="2019586" y="1630825"/>
                  </a:lnTo>
                  <a:lnTo>
                    <a:pt x="2019283" y="1631399"/>
                  </a:lnTo>
                  <a:lnTo>
                    <a:pt x="2017710" y="1632791"/>
                  </a:lnTo>
                  <a:lnTo>
                    <a:pt x="2016893" y="1633124"/>
                  </a:lnTo>
                  <a:lnTo>
                    <a:pt x="2015834" y="1633003"/>
                  </a:lnTo>
                  <a:lnTo>
                    <a:pt x="2015834" y="1634485"/>
                  </a:lnTo>
                  <a:lnTo>
                    <a:pt x="2016863" y="1635211"/>
                  </a:lnTo>
                  <a:lnTo>
                    <a:pt x="2018224" y="1636572"/>
                  </a:lnTo>
                  <a:lnTo>
                    <a:pt x="2019404" y="1638145"/>
                  </a:lnTo>
                  <a:lnTo>
                    <a:pt x="2019919" y="1639567"/>
                  </a:lnTo>
                  <a:lnTo>
                    <a:pt x="2019616" y="1642350"/>
                  </a:lnTo>
                  <a:lnTo>
                    <a:pt x="2019132" y="1644619"/>
                  </a:lnTo>
                  <a:lnTo>
                    <a:pt x="2019253" y="1646374"/>
                  </a:lnTo>
                  <a:lnTo>
                    <a:pt x="2020675" y="1647554"/>
                  </a:lnTo>
                  <a:lnTo>
                    <a:pt x="2020675" y="1649157"/>
                  </a:lnTo>
                  <a:lnTo>
                    <a:pt x="2018133" y="1647977"/>
                  </a:lnTo>
                  <a:lnTo>
                    <a:pt x="2017044" y="1647886"/>
                  </a:lnTo>
                  <a:lnTo>
                    <a:pt x="2016530" y="1649157"/>
                  </a:lnTo>
                  <a:lnTo>
                    <a:pt x="2016893" y="1650337"/>
                  </a:lnTo>
                  <a:lnTo>
                    <a:pt x="2019949" y="1653574"/>
                  </a:lnTo>
                  <a:lnTo>
                    <a:pt x="2018799" y="1654209"/>
                  </a:lnTo>
                  <a:lnTo>
                    <a:pt x="2017861" y="1653483"/>
                  </a:lnTo>
                  <a:lnTo>
                    <a:pt x="2016954" y="1652454"/>
                  </a:lnTo>
                  <a:lnTo>
                    <a:pt x="2015834" y="1652243"/>
                  </a:lnTo>
                  <a:lnTo>
                    <a:pt x="2015048" y="1653271"/>
                  </a:lnTo>
                  <a:lnTo>
                    <a:pt x="2014231" y="1654965"/>
                  </a:lnTo>
                  <a:lnTo>
                    <a:pt x="2013414" y="1656206"/>
                  </a:lnTo>
                  <a:lnTo>
                    <a:pt x="2012749" y="1655812"/>
                  </a:lnTo>
                  <a:lnTo>
                    <a:pt x="2011115" y="1652485"/>
                  </a:lnTo>
                  <a:lnTo>
                    <a:pt x="2008998" y="1649732"/>
                  </a:lnTo>
                  <a:lnTo>
                    <a:pt x="2006608" y="1648340"/>
                  </a:lnTo>
                  <a:lnTo>
                    <a:pt x="2004157" y="1649187"/>
                  </a:lnTo>
                  <a:lnTo>
                    <a:pt x="2005609" y="1651184"/>
                  </a:lnTo>
                  <a:lnTo>
                    <a:pt x="2006910" y="1652545"/>
                  </a:lnTo>
                  <a:lnTo>
                    <a:pt x="2007848" y="1654481"/>
                  </a:lnTo>
                  <a:lnTo>
                    <a:pt x="2008271" y="1658142"/>
                  </a:lnTo>
                  <a:lnTo>
                    <a:pt x="2006880" y="1657839"/>
                  </a:lnTo>
                  <a:lnTo>
                    <a:pt x="2004732" y="1655843"/>
                  </a:lnTo>
                  <a:lnTo>
                    <a:pt x="2003431" y="1655056"/>
                  </a:lnTo>
                  <a:lnTo>
                    <a:pt x="2000346" y="1655056"/>
                  </a:lnTo>
                  <a:lnTo>
                    <a:pt x="1999862" y="1655540"/>
                  </a:lnTo>
                  <a:lnTo>
                    <a:pt x="1999559" y="1656599"/>
                  </a:lnTo>
                  <a:lnTo>
                    <a:pt x="1999408" y="1657627"/>
                  </a:lnTo>
                  <a:lnTo>
                    <a:pt x="1999408" y="1658111"/>
                  </a:lnTo>
                  <a:lnTo>
                    <a:pt x="1998107" y="1657930"/>
                  </a:lnTo>
                  <a:lnTo>
                    <a:pt x="1995596" y="1656690"/>
                  </a:lnTo>
                  <a:lnTo>
                    <a:pt x="1994477" y="1656629"/>
                  </a:lnTo>
                  <a:lnTo>
                    <a:pt x="1993267" y="1657658"/>
                  </a:lnTo>
                  <a:lnTo>
                    <a:pt x="1991089" y="1660592"/>
                  </a:lnTo>
                  <a:lnTo>
                    <a:pt x="1989697" y="1661046"/>
                  </a:lnTo>
                  <a:lnTo>
                    <a:pt x="1989697" y="1662377"/>
                  </a:lnTo>
                  <a:lnTo>
                    <a:pt x="1992057" y="1663859"/>
                  </a:lnTo>
                  <a:lnTo>
                    <a:pt x="1999378" y="1662377"/>
                  </a:lnTo>
                  <a:lnTo>
                    <a:pt x="2001586" y="1663254"/>
                  </a:lnTo>
                  <a:lnTo>
                    <a:pt x="2003825" y="1665311"/>
                  </a:lnTo>
                  <a:lnTo>
                    <a:pt x="2004672" y="1667792"/>
                  </a:lnTo>
                  <a:lnTo>
                    <a:pt x="2002796" y="1669819"/>
                  </a:lnTo>
                  <a:lnTo>
                    <a:pt x="2004067" y="1672057"/>
                  </a:lnTo>
                  <a:lnTo>
                    <a:pt x="2009663" y="1676988"/>
                  </a:lnTo>
                  <a:lnTo>
                    <a:pt x="2007667" y="1678834"/>
                  </a:lnTo>
                  <a:lnTo>
                    <a:pt x="2005670" y="1678592"/>
                  </a:lnTo>
                  <a:lnTo>
                    <a:pt x="1999499" y="1673721"/>
                  </a:lnTo>
                  <a:lnTo>
                    <a:pt x="1998621" y="1672723"/>
                  </a:lnTo>
                  <a:lnTo>
                    <a:pt x="1998077" y="1671482"/>
                  </a:lnTo>
                  <a:lnTo>
                    <a:pt x="1997774" y="1670030"/>
                  </a:lnTo>
                  <a:lnTo>
                    <a:pt x="1997320" y="1668820"/>
                  </a:lnTo>
                  <a:lnTo>
                    <a:pt x="1996231" y="1668306"/>
                  </a:lnTo>
                  <a:lnTo>
                    <a:pt x="1990696" y="1668306"/>
                  </a:lnTo>
                  <a:lnTo>
                    <a:pt x="1989939" y="1667641"/>
                  </a:lnTo>
                  <a:lnTo>
                    <a:pt x="1988669" y="1664616"/>
                  </a:lnTo>
                  <a:lnTo>
                    <a:pt x="1987943" y="1663950"/>
                  </a:lnTo>
                  <a:lnTo>
                    <a:pt x="1987156" y="1663466"/>
                  </a:lnTo>
                  <a:lnTo>
                    <a:pt x="1985553" y="1661469"/>
                  </a:lnTo>
                  <a:lnTo>
                    <a:pt x="1984494" y="1661016"/>
                  </a:lnTo>
                  <a:lnTo>
                    <a:pt x="1983950" y="1661742"/>
                  </a:lnTo>
                  <a:lnTo>
                    <a:pt x="1983344" y="1663345"/>
                  </a:lnTo>
                  <a:lnTo>
                    <a:pt x="1982558" y="1664857"/>
                  </a:lnTo>
                  <a:lnTo>
                    <a:pt x="1982800" y="1665190"/>
                  </a:lnTo>
                  <a:lnTo>
                    <a:pt x="1983224" y="1665765"/>
                  </a:lnTo>
                  <a:lnTo>
                    <a:pt x="1983435" y="1666884"/>
                  </a:lnTo>
                  <a:lnTo>
                    <a:pt x="1984222" y="1666551"/>
                  </a:lnTo>
                  <a:lnTo>
                    <a:pt x="1985341" y="1667762"/>
                  </a:lnTo>
                  <a:lnTo>
                    <a:pt x="1986339" y="1670000"/>
                  </a:lnTo>
                  <a:lnTo>
                    <a:pt x="1986854" y="1672723"/>
                  </a:lnTo>
                  <a:lnTo>
                    <a:pt x="1983919" y="1671785"/>
                  </a:lnTo>
                  <a:lnTo>
                    <a:pt x="1978383" y="1666612"/>
                  </a:lnTo>
                  <a:lnTo>
                    <a:pt x="1975116" y="1665432"/>
                  </a:lnTo>
                  <a:lnTo>
                    <a:pt x="1973694" y="1665977"/>
                  </a:lnTo>
                  <a:lnTo>
                    <a:pt x="1972273" y="1667126"/>
                  </a:lnTo>
                  <a:lnTo>
                    <a:pt x="1971062" y="1668851"/>
                  </a:lnTo>
                  <a:lnTo>
                    <a:pt x="1970367" y="1671119"/>
                  </a:lnTo>
                  <a:lnTo>
                    <a:pt x="1979321" y="1671119"/>
                  </a:lnTo>
                  <a:lnTo>
                    <a:pt x="1980047" y="1671604"/>
                  </a:lnTo>
                  <a:lnTo>
                    <a:pt x="1980440" y="1672632"/>
                  </a:lnTo>
                  <a:lnTo>
                    <a:pt x="1980712" y="1673691"/>
                  </a:lnTo>
                  <a:lnTo>
                    <a:pt x="1981045" y="1674175"/>
                  </a:lnTo>
                  <a:lnTo>
                    <a:pt x="1982164" y="1674266"/>
                  </a:lnTo>
                  <a:lnTo>
                    <a:pt x="1983163" y="1674750"/>
                  </a:lnTo>
                  <a:lnTo>
                    <a:pt x="1983859" y="1675809"/>
                  </a:lnTo>
                  <a:lnTo>
                    <a:pt x="1984131" y="1677745"/>
                  </a:lnTo>
                  <a:lnTo>
                    <a:pt x="1984736" y="1679560"/>
                  </a:lnTo>
                  <a:lnTo>
                    <a:pt x="1986128" y="1680104"/>
                  </a:lnTo>
                  <a:lnTo>
                    <a:pt x="1988941" y="1679862"/>
                  </a:lnTo>
                  <a:lnTo>
                    <a:pt x="1988941" y="1681466"/>
                  </a:lnTo>
                  <a:lnTo>
                    <a:pt x="1985492" y="1683644"/>
                  </a:lnTo>
                  <a:lnTo>
                    <a:pt x="1983859" y="1683795"/>
                  </a:lnTo>
                  <a:lnTo>
                    <a:pt x="1980743" y="1679923"/>
                  </a:lnTo>
                  <a:lnTo>
                    <a:pt x="1978746" y="1678864"/>
                  </a:lnTo>
                  <a:lnTo>
                    <a:pt x="1974420" y="1678561"/>
                  </a:lnTo>
                  <a:lnTo>
                    <a:pt x="1974420" y="1679892"/>
                  </a:lnTo>
                  <a:lnTo>
                    <a:pt x="1977899" y="1682192"/>
                  </a:lnTo>
                  <a:lnTo>
                    <a:pt x="1979321" y="1684279"/>
                  </a:lnTo>
                  <a:lnTo>
                    <a:pt x="1979926" y="1687304"/>
                  </a:lnTo>
                  <a:lnTo>
                    <a:pt x="1975691" y="1682887"/>
                  </a:lnTo>
                  <a:lnTo>
                    <a:pt x="1973331" y="1681526"/>
                  </a:lnTo>
                  <a:lnTo>
                    <a:pt x="1971002" y="1681526"/>
                  </a:lnTo>
                  <a:lnTo>
                    <a:pt x="1971698" y="1682948"/>
                  </a:lnTo>
                  <a:lnTo>
                    <a:pt x="1971032" y="1682827"/>
                  </a:lnTo>
                  <a:lnTo>
                    <a:pt x="1968945" y="1682948"/>
                  </a:lnTo>
                  <a:lnTo>
                    <a:pt x="1969126" y="1686971"/>
                  </a:lnTo>
                  <a:lnTo>
                    <a:pt x="1968884" y="1690843"/>
                  </a:lnTo>
                  <a:lnTo>
                    <a:pt x="1969701" y="1693354"/>
                  </a:lnTo>
                  <a:lnTo>
                    <a:pt x="1973089" y="1693264"/>
                  </a:lnTo>
                  <a:lnTo>
                    <a:pt x="1973089" y="1694595"/>
                  </a:lnTo>
                  <a:lnTo>
                    <a:pt x="1971576" y="1694474"/>
                  </a:lnTo>
                  <a:lnTo>
                    <a:pt x="1970185" y="1694837"/>
                  </a:lnTo>
                  <a:lnTo>
                    <a:pt x="1968854" y="1695623"/>
                  </a:lnTo>
                  <a:lnTo>
                    <a:pt x="1967523" y="1696773"/>
                  </a:lnTo>
                  <a:lnTo>
                    <a:pt x="1964619" y="1695865"/>
                  </a:lnTo>
                  <a:lnTo>
                    <a:pt x="1962985" y="1696198"/>
                  </a:lnTo>
                  <a:lnTo>
                    <a:pt x="1963046" y="1698346"/>
                  </a:lnTo>
                  <a:lnTo>
                    <a:pt x="1963590" y="1701189"/>
                  </a:lnTo>
                  <a:lnTo>
                    <a:pt x="1958992" y="1698921"/>
                  </a:lnTo>
                  <a:lnTo>
                    <a:pt x="1956481" y="1699102"/>
                  </a:lnTo>
                  <a:lnTo>
                    <a:pt x="1956874" y="1701250"/>
                  </a:lnTo>
                  <a:lnTo>
                    <a:pt x="1957147" y="1702037"/>
                  </a:lnTo>
                  <a:lnTo>
                    <a:pt x="1952125" y="1703731"/>
                  </a:lnTo>
                  <a:lnTo>
                    <a:pt x="1949614" y="1705213"/>
                  </a:lnTo>
                  <a:lnTo>
                    <a:pt x="1948253" y="1707724"/>
                  </a:lnTo>
                  <a:lnTo>
                    <a:pt x="1956118" y="1710174"/>
                  </a:lnTo>
                  <a:lnTo>
                    <a:pt x="1960353" y="1713381"/>
                  </a:lnTo>
                  <a:lnTo>
                    <a:pt x="1961261" y="1718009"/>
                  </a:lnTo>
                  <a:lnTo>
                    <a:pt x="1960293" y="1718070"/>
                  </a:lnTo>
                  <a:lnTo>
                    <a:pt x="1955755" y="1713653"/>
                  </a:lnTo>
                  <a:lnTo>
                    <a:pt x="1953456" y="1712776"/>
                  </a:lnTo>
                  <a:lnTo>
                    <a:pt x="1949191" y="1713714"/>
                  </a:lnTo>
                  <a:lnTo>
                    <a:pt x="1946831" y="1713653"/>
                  </a:lnTo>
                  <a:lnTo>
                    <a:pt x="1947043" y="1714591"/>
                  </a:lnTo>
                  <a:lnTo>
                    <a:pt x="1947133" y="1714651"/>
                  </a:lnTo>
                  <a:lnTo>
                    <a:pt x="1947436" y="1715105"/>
                  </a:lnTo>
                  <a:lnTo>
                    <a:pt x="1945893" y="1716466"/>
                  </a:lnTo>
                  <a:lnTo>
                    <a:pt x="1944229" y="1716164"/>
                  </a:lnTo>
                  <a:lnTo>
                    <a:pt x="1942445" y="1715347"/>
                  </a:lnTo>
                  <a:lnTo>
                    <a:pt x="1940629" y="1715105"/>
                  </a:lnTo>
                  <a:lnTo>
                    <a:pt x="1940902" y="1715740"/>
                  </a:lnTo>
                  <a:lnTo>
                    <a:pt x="1941113" y="1716466"/>
                  </a:lnTo>
                  <a:lnTo>
                    <a:pt x="1941416" y="1717223"/>
                  </a:lnTo>
                  <a:lnTo>
                    <a:pt x="1941991" y="1718009"/>
                  </a:lnTo>
                  <a:lnTo>
                    <a:pt x="1941325" y="1720218"/>
                  </a:lnTo>
                  <a:lnTo>
                    <a:pt x="1941446" y="1721972"/>
                  </a:lnTo>
                  <a:lnTo>
                    <a:pt x="1942202" y="1723213"/>
                  </a:lnTo>
                  <a:lnTo>
                    <a:pt x="1943382" y="1723818"/>
                  </a:lnTo>
                  <a:lnTo>
                    <a:pt x="1939268" y="1723818"/>
                  </a:lnTo>
                  <a:lnTo>
                    <a:pt x="1939268" y="1725270"/>
                  </a:lnTo>
                  <a:lnTo>
                    <a:pt x="1939752" y="1726026"/>
                  </a:lnTo>
                  <a:lnTo>
                    <a:pt x="1940629" y="1728295"/>
                  </a:lnTo>
                  <a:lnTo>
                    <a:pt x="1938905" y="1727478"/>
                  </a:lnTo>
                  <a:lnTo>
                    <a:pt x="1936999" y="1727962"/>
                  </a:lnTo>
                  <a:lnTo>
                    <a:pt x="1935366" y="1729656"/>
                  </a:lnTo>
                  <a:lnTo>
                    <a:pt x="1934398" y="1732469"/>
                  </a:lnTo>
                  <a:lnTo>
                    <a:pt x="1942838" y="1732409"/>
                  </a:lnTo>
                  <a:lnTo>
                    <a:pt x="1945470" y="1731017"/>
                  </a:lnTo>
                  <a:lnTo>
                    <a:pt x="1944592" y="1734012"/>
                  </a:lnTo>
                  <a:lnTo>
                    <a:pt x="1942898" y="1735767"/>
                  </a:lnTo>
                  <a:lnTo>
                    <a:pt x="1934428" y="1738247"/>
                  </a:lnTo>
                  <a:lnTo>
                    <a:pt x="1933460" y="1737794"/>
                  </a:lnTo>
                  <a:lnTo>
                    <a:pt x="1932038" y="1735797"/>
                  </a:lnTo>
                  <a:lnTo>
                    <a:pt x="1927168" y="1732802"/>
                  </a:lnTo>
                  <a:lnTo>
                    <a:pt x="1924929" y="1732106"/>
                  </a:lnTo>
                  <a:lnTo>
                    <a:pt x="1923326" y="1734073"/>
                  </a:lnTo>
                  <a:lnTo>
                    <a:pt x="1923114" y="1737068"/>
                  </a:lnTo>
                  <a:lnTo>
                    <a:pt x="1923870" y="1739911"/>
                  </a:lnTo>
                  <a:lnTo>
                    <a:pt x="1925050" y="1742331"/>
                  </a:lnTo>
                  <a:lnTo>
                    <a:pt x="1926139" y="1744026"/>
                  </a:lnTo>
                  <a:lnTo>
                    <a:pt x="1925020" y="1746809"/>
                  </a:lnTo>
                  <a:lnTo>
                    <a:pt x="1925020" y="1747867"/>
                  </a:lnTo>
                  <a:lnTo>
                    <a:pt x="1925413" y="1749803"/>
                  </a:lnTo>
                  <a:lnTo>
                    <a:pt x="1923386" y="1749561"/>
                  </a:lnTo>
                  <a:lnTo>
                    <a:pt x="1922690" y="1751800"/>
                  </a:lnTo>
                  <a:lnTo>
                    <a:pt x="1922509" y="1755219"/>
                  </a:lnTo>
                  <a:lnTo>
                    <a:pt x="1921995" y="1758607"/>
                  </a:lnTo>
                  <a:lnTo>
                    <a:pt x="1920815" y="1760634"/>
                  </a:lnTo>
                  <a:lnTo>
                    <a:pt x="1918032" y="1763205"/>
                  </a:lnTo>
                  <a:lnTo>
                    <a:pt x="1917184" y="1765776"/>
                  </a:lnTo>
                  <a:lnTo>
                    <a:pt x="1919877" y="1765716"/>
                  </a:lnTo>
                  <a:lnTo>
                    <a:pt x="1922902" y="1764687"/>
                  </a:lnTo>
                  <a:lnTo>
                    <a:pt x="1929497" y="1759998"/>
                  </a:lnTo>
                  <a:lnTo>
                    <a:pt x="1930072" y="1760845"/>
                  </a:lnTo>
                  <a:lnTo>
                    <a:pt x="1930586" y="1762207"/>
                  </a:lnTo>
                  <a:lnTo>
                    <a:pt x="1931675" y="1762902"/>
                  </a:lnTo>
                  <a:lnTo>
                    <a:pt x="1932855" y="1762267"/>
                  </a:lnTo>
                  <a:lnTo>
                    <a:pt x="1933883" y="1760997"/>
                  </a:lnTo>
                  <a:lnTo>
                    <a:pt x="1934972" y="1759968"/>
                  </a:lnTo>
                  <a:lnTo>
                    <a:pt x="1936485" y="1760028"/>
                  </a:lnTo>
                  <a:lnTo>
                    <a:pt x="1932371" y="1764294"/>
                  </a:lnTo>
                  <a:lnTo>
                    <a:pt x="1920845" y="1769497"/>
                  </a:lnTo>
                  <a:lnTo>
                    <a:pt x="1917880" y="1774428"/>
                  </a:lnTo>
                  <a:lnTo>
                    <a:pt x="1919756" y="1774337"/>
                  </a:lnTo>
                  <a:lnTo>
                    <a:pt x="1922963" y="1772129"/>
                  </a:lnTo>
                  <a:lnTo>
                    <a:pt x="1926714" y="1771101"/>
                  </a:lnTo>
                  <a:lnTo>
                    <a:pt x="1930011" y="1769134"/>
                  </a:lnTo>
                  <a:lnTo>
                    <a:pt x="1933188" y="1768075"/>
                  </a:lnTo>
                  <a:lnTo>
                    <a:pt x="1936243" y="1765262"/>
                  </a:lnTo>
                  <a:lnTo>
                    <a:pt x="1937816" y="1764536"/>
                  </a:lnTo>
                  <a:lnTo>
                    <a:pt x="1939540" y="1764929"/>
                  </a:lnTo>
                  <a:lnTo>
                    <a:pt x="1940902" y="1766291"/>
                  </a:lnTo>
                  <a:lnTo>
                    <a:pt x="1943382" y="1770284"/>
                  </a:lnTo>
                  <a:lnTo>
                    <a:pt x="1941023" y="1771161"/>
                  </a:lnTo>
                  <a:lnTo>
                    <a:pt x="1935214" y="1769679"/>
                  </a:lnTo>
                  <a:lnTo>
                    <a:pt x="1930404" y="1774610"/>
                  </a:lnTo>
                  <a:lnTo>
                    <a:pt x="1920573" y="1777453"/>
                  </a:lnTo>
                  <a:lnTo>
                    <a:pt x="1917184" y="1781204"/>
                  </a:lnTo>
                  <a:lnTo>
                    <a:pt x="1916065" y="1781749"/>
                  </a:lnTo>
                  <a:lnTo>
                    <a:pt x="1914159" y="1781658"/>
                  </a:lnTo>
                  <a:lnTo>
                    <a:pt x="1914250" y="1781174"/>
                  </a:lnTo>
                  <a:lnTo>
                    <a:pt x="1914946" y="1780115"/>
                  </a:lnTo>
                  <a:lnTo>
                    <a:pt x="1914734" y="1778149"/>
                  </a:lnTo>
                  <a:lnTo>
                    <a:pt x="1912707" y="1777786"/>
                  </a:lnTo>
                  <a:lnTo>
                    <a:pt x="1902664" y="1781749"/>
                  </a:lnTo>
                  <a:lnTo>
                    <a:pt x="1904570" y="1783625"/>
                  </a:lnTo>
                  <a:lnTo>
                    <a:pt x="1906536" y="1784502"/>
                  </a:lnTo>
                  <a:lnTo>
                    <a:pt x="1910923" y="1784774"/>
                  </a:lnTo>
                  <a:lnTo>
                    <a:pt x="1910923" y="1786075"/>
                  </a:lnTo>
                  <a:lnTo>
                    <a:pt x="1906596" y="1786408"/>
                  </a:lnTo>
                  <a:lnTo>
                    <a:pt x="1889656" y="1795392"/>
                  </a:lnTo>
                  <a:lnTo>
                    <a:pt x="1877888" y="1804680"/>
                  </a:lnTo>
                  <a:lnTo>
                    <a:pt x="1881458" y="1807886"/>
                  </a:lnTo>
                  <a:lnTo>
                    <a:pt x="1901272" y="1804680"/>
                  </a:lnTo>
                  <a:lnTo>
                    <a:pt x="1901272" y="1806101"/>
                  </a:lnTo>
                  <a:lnTo>
                    <a:pt x="1895373" y="1807069"/>
                  </a:lnTo>
                  <a:lnTo>
                    <a:pt x="1878584" y="1814783"/>
                  </a:lnTo>
                  <a:lnTo>
                    <a:pt x="1878584" y="1816084"/>
                  </a:lnTo>
                  <a:lnTo>
                    <a:pt x="1880096" y="1818807"/>
                  </a:lnTo>
                  <a:lnTo>
                    <a:pt x="1878433" y="1823738"/>
                  </a:lnTo>
                  <a:lnTo>
                    <a:pt x="1877706" y="1827398"/>
                  </a:lnTo>
                  <a:lnTo>
                    <a:pt x="1882002" y="1826188"/>
                  </a:lnTo>
                  <a:lnTo>
                    <a:pt x="1885451" y="1823345"/>
                  </a:lnTo>
                  <a:lnTo>
                    <a:pt x="1885935" y="1823163"/>
                  </a:lnTo>
                  <a:lnTo>
                    <a:pt x="1887084" y="1823496"/>
                  </a:lnTo>
                  <a:lnTo>
                    <a:pt x="1887599" y="1823345"/>
                  </a:lnTo>
                  <a:lnTo>
                    <a:pt x="1887659" y="1822891"/>
                  </a:lnTo>
                  <a:lnTo>
                    <a:pt x="1887750" y="1821953"/>
                  </a:lnTo>
                  <a:lnTo>
                    <a:pt x="1887931" y="1820985"/>
                  </a:lnTo>
                  <a:lnTo>
                    <a:pt x="1888264" y="1820380"/>
                  </a:lnTo>
                  <a:lnTo>
                    <a:pt x="1896311" y="1819805"/>
                  </a:lnTo>
                  <a:lnTo>
                    <a:pt x="1901424" y="1815389"/>
                  </a:lnTo>
                  <a:lnTo>
                    <a:pt x="1909289" y="1813634"/>
                  </a:lnTo>
                  <a:lnTo>
                    <a:pt x="1914220" y="1808280"/>
                  </a:lnTo>
                  <a:lnTo>
                    <a:pt x="1919181" y="1806404"/>
                  </a:lnTo>
                  <a:lnTo>
                    <a:pt x="1920996" y="1806132"/>
                  </a:lnTo>
                  <a:lnTo>
                    <a:pt x="1922811" y="1805194"/>
                  </a:lnTo>
                  <a:lnTo>
                    <a:pt x="1924838" y="1803500"/>
                  </a:lnTo>
                  <a:lnTo>
                    <a:pt x="1926593" y="1802804"/>
                  </a:lnTo>
                  <a:lnTo>
                    <a:pt x="1927591" y="1804710"/>
                  </a:lnTo>
                  <a:lnTo>
                    <a:pt x="1926442" y="1805345"/>
                  </a:lnTo>
                  <a:lnTo>
                    <a:pt x="1925413" y="1806495"/>
                  </a:lnTo>
                  <a:lnTo>
                    <a:pt x="1924596" y="1808249"/>
                  </a:lnTo>
                  <a:lnTo>
                    <a:pt x="1924173" y="1810579"/>
                  </a:lnTo>
                  <a:lnTo>
                    <a:pt x="1926683" y="1810276"/>
                  </a:lnTo>
                  <a:lnTo>
                    <a:pt x="1931282" y="1806555"/>
                  </a:lnTo>
                  <a:lnTo>
                    <a:pt x="1933823" y="1806192"/>
                  </a:lnTo>
                  <a:lnTo>
                    <a:pt x="1930767" y="1809883"/>
                  </a:lnTo>
                  <a:lnTo>
                    <a:pt x="1927289" y="1813089"/>
                  </a:lnTo>
                  <a:lnTo>
                    <a:pt x="1923628" y="1815328"/>
                  </a:lnTo>
                  <a:lnTo>
                    <a:pt x="1916005" y="1817083"/>
                  </a:lnTo>
                  <a:lnTo>
                    <a:pt x="1907897" y="1821106"/>
                  </a:lnTo>
                  <a:lnTo>
                    <a:pt x="1903420" y="1822014"/>
                  </a:lnTo>
                  <a:lnTo>
                    <a:pt x="1903874" y="1824162"/>
                  </a:lnTo>
                  <a:lnTo>
                    <a:pt x="1904116" y="1824978"/>
                  </a:lnTo>
                  <a:lnTo>
                    <a:pt x="1903541" y="1825583"/>
                  </a:lnTo>
                  <a:lnTo>
                    <a:pt x="1903269" y="1826188"/>
                  </a:lnTo>
                  <a:lnTo>
                    <a:pt x="1903087" y="1826854"/>
                  </a:lnTo>
                  <a:lnTo>
                    <a:pt x="1902754" y="1827701"/>
                  </a:lnTo>
                  <a:lnTo>
                    <a:pt x="1905266" y="1828881"/>
                  </a:lnTo>
                  <a:lnTo>
                    <a:pt x="1906203" y="1830000"/>
                  </a:lnTo>
                  <a:lnTo>
                    <a:pt x="1906899" y="1831966"/>
                  </a:lnTo>
                  <a:lnTo>
                    <a:pt x="1904993" y="1833207"/>
                  </a:lnTo>
                  <a:lnTo>
                    <a:pt x="1904630" y="1835506"/>
                  </a:lnTo>
                  <a:lnTo>
                    <a:pt x="1905387" y="1838228"/>
                  </a:lnTo>
                  <a:lnTo>
                    <a:pt x="1906899" y="1840649"/>
                  </a:lnTo>
                  <a:lnTo>
                    <a:pt x="1908563" y="1841707"/>
                  </a:lnTo>
                  <a:lnTo>
                    <a:pt x="1912163" y="1842191"/>
                  </a:lnTo>
                  <a:lnTo>
                    <a:pt x="1913827" y="1843371"/>
                  </a:lnTo>
                  <a:lnTo>
                    <a:pt x="1913464" y="1844006"/>
                  </a:lnTo>
                  <a:lnTo>
                    <a:pt x="1912405" y="1846336"/>
                  </a:lnTo>
                  <a:lnTo>
                    <a:pt x="1914008" y="1850601"/>
                  </a:lnTo>
                  <a:lnTo>
                    <a:pt x="1914462" y="1855200"/>
                  </a:lnTo>
                  <a:lnTo>
                    <a:pt x="1915460" y="1858860"/>
                  </a:lnTo>
                  <a:lnTo>
                    <a:pt x="1919242" y="1860554"/>
                  </a:lnTo>
                  <a:lnTo>
                    <a:pt x="1919937" y="1861129"/>
                  </a:lnTo>
                  <a:lnTo>
                    <a:pt x="1920603" y="1861855"/>
                  </a:lnTo>
                  <a:lnTo>
                    <a:pt x="1921057" y="1862611"/>
                  </a:lnTo>
                  <a:lnTo>
                    <a:pt x="1921692" y="1863277"/>
                  </a:lnTo>
                  <a:lnTo>
                    <a:pt x="1922237" y="1862944"/>
                  </a:lnTo>
                  <a:lnTo>
                    <a:pt x="1922841" y="1862278"/>
                  </a:lnTo>
                  <a:lnTo>
                    <a:pt x="1923537" y="1861915"/>
                  </a:lnTo>
                  <a:lnTo>
                    <a:pt x="1927833" y="1861583"/>
                  </a:lnTo>
                  <a:lnTo>
                    <a:pt x="1931796" y="1860372"/>
                  </a:lnTo>
                  <a:lnTo>
                    <a:pt x="1940448" y="1854262"/>
                  </a:lnTo>
                  <a:lnTo>
                    <a:pt x="1943201" y="1853415"/>
                  </a:lnTo>
                  <a:lnTo>
                    <a:pt x="1944350" y="1852719"/>
                  </a:lnTo>
                  <a:lnTo>
                    <a:pt x="1946710" y="1849724"/>
                  </a:lnTo>
                  <a:lnTo>
                    <a:pt x="1948041" y="1849028"/>
                  </a:lnTo>
                  <a:lnTo>
                    <a:pt x="1955967" y="1849028"/>
                  </a:lnTo>
                  <a:lnTo>
                    <a:pt x="1957480" y="1848635"/>
                  </a:lnTo>
                  <a:lnTo>
                    <a:pt x="1960625" y="1846759"/>
                  </a:lnTo>
                  <a:lnTo>
                    <a:pt x="1964135" y="1846124"/>
                  </a:lnTo>
                  <a:lnTo>
                    <a:pt x="1965556" y="1845489"/>
                  </a:lnTo>
                  <a:lnTo>
                    <a:pt x="1977022" y="1837170"/>
                  </a:lnTo>
                  <a:lnTo>
                    <a:pt x="1980743" y="1835959"/>
                  </a:lnTo>
                  <a:lnTo>
                    <a:pt x="1984343" y="1833721"/>
                  </a:lnTo>
                  <a:lnTo>
                    <a:pt x="1985280" y="1832813"/>
                  </a:lnTo>
                  <a:lnTo>
                    <a:pt x="1987489" y="1826703"/>
                  </a:lnTo>
                  <a:lnTo>
                    <a:pt x="1988396" y="1825039"/>
                  </a:lnTo>
                  <a:lnTo>
                    <a:pt x="1991300" y="1823133"/>
                  </a:lnTo>
                  <a:lnTo>
                    <a:pt x="1998258" y="1822377"/>
                  </a:lnTo>
                  <a:lnTo>
                    <a:pt x="2005337" y="1816175"/>
                  </a:lnTo>
                  <a:lnTo>
                    <a:pt x="2015290" y="1813906"/>
                  </a:lnTo>
                  <a:lnTo>
                    <a:pt x="2019011" y="1809913"/>
                  </a:lnTo>
                  <a:lnTo>
                    <a:pt x="2019767" y="1808703"/>
                  </a:lnTo>
                  <a:lnTo>
                    <a:pt x="2021491" y="1807191"/>
                  </a:lnTo>
                  <a:lnTo>
                    <a:pt x="2022127" y="1806283"/>
                  </a:lnTo>
                  <a:lnTo>
                    <a:pt x="2022581" y="1804559"/>
                  </a:lnTo>
                  <a:lnTo>
                    <a:pt x="2023064" y="1800656"/>
                  </a:lnTo>
                  <a:lnTo>
                    <a:pt x="2023488" y="1799113"/>
                  </a:lnTo>
                  <a:lnTo>
                    <a:pt x="2025091" y="1796723"/>
                  </a:lnTo>
                  <a:lnTo>
                    <a:pt x="2027330" y="1794576"/>
                  </a:lnTo>
                  <a:lnTo>
                    <a:pt x="2029720" y="1792881"/>
                  </a:lnTo>
                  <a:lnTo>
                    <a:pt x="2031777" y="1791974"/>
                  </a:lnTo>
                  <a:lnTo>
                    <a:pt x="2029962" y="1786650"/>
                  </a:lnTo>
                  <a:lnTo>
                    <a:pt x="2027391" y="1784411"/>
                  </a:lnTo>
                  <a:lnTo>
                    <a:pt x="2024426" y="1783262"/>
                  </a:lnTo>
                  <a:lnTo>
                    <a:pt x="2017801" y="1778905"/>
                  </a:lnTo>
                  <a:lnTo>
                    <a:pt x="2014322" y="1779631"/>
                  </a:lnTo>
                  <a:lnTo>
                    <a:pt x="2001223" y="1788979"/>
                  </a:lnTo>
                  <a:lnTo>
                    <a:pt x="1994235" y="1790552"/>
                  </a:lnTo>
                  <a:lnTo>
                    <a:pt x="1993086" y="1791097"/>
                  </a:lnTo>
                  <a:lnTo>
                    <a:pt x="1987307" y="1796088"/>
                  </a:lnTo>
                  <a:lnTo>
                    <a:pt x="1985432" y="1797086"/>
                  </a:lnTo>
                  <a:lnTo>
                    <a:pt x="1983465" y="1797661"/>
                  </a:lnTo>
                  <a:lnTo>
                    <a:pt x="1981438" y="1797571"/>
                  </a:lnTo>
                  <a:lnTo>
                    <a:pt x="1983617" y="1795241"/>
                  </a:lnTo>
                  <a:lnTo>
                    <a:pt x="1988729" y="1792518"/>
                  </a:lnTo>
                  <a:lnTo>
                    <a:pt x="1993025" y="1786831"/>
                  </a:lnTo>
                  <a:lnTo>
                    <a:pt x="1996171" y="1784835"/>
                  </a:lnTo>
                  <a:lnTo>
                    <a:pt x="2008060" y="1781174"/>
                  </a:lnTo>
                  <a:lnTo>
                    <a:pt x="2011418" y="1779087"/>
                  </a:lnTo>
                  <a:lnTo>
                    <a:pt x="2013505" y="1776909"/>
                  </a:lnTo>
                  <a:lnTo>
                    <a:pt x="2015381" y="1773914"/>
                  </a:lnTo>
                  <a:lnTo>
                    <a:pt x="2017922" y="1770828"/>
                  </a:lnTo>
                  <a:lnTo>
                    <a:pt x="2020584" y="1768378"/>
                  </a:lnTo>
                  <a:lnTo>
                    <a:pt x="2041972" y="1755914"/>
                  </a:lnTo>
                  <a:lnTo>
                    <a:pt x="2044240" y="1753010"/>
                  </a:lnTo>
                  <a:lnTo>
                    <a:pt x="2044846" y="1751619"/>
                  </a:lnTo>
                  <a:lnTo>
                    <a:pt x="2047054" y="1742210"/>
                  </a:lnTo>
                  <a:lnTo>
                    <a:pt x="2054556" y="1734769"/>
                  </a:lnTo>
                  <a:lnTo>
                    <a:pt x="2057400" y="1733226"/>
                  </a:lnTo>
                  <a:lnTo>
                    <a:pt x="2060788" y="1732651"/>
                  </a:lnTo>
                  <a:lnTo>
                    <a:pt x="2059064" y="1735253"/>
                  </a:lnTo>
                  <a:lnTo>
                    <a:pt x="2052529" y="1741333"/>
                  </a:lnTo>
                  <a:lnTo>
                    <a:pt x="2049746" y="1743027"/>
                  </a:lnTo>
                  <a:lnTo>
                    <a:pt x="2048536" y="1744509"/>
                  </a:lnTo>
                  <a:lnTo>
                    <a:pt x="2048688" y="1746506"/>
                  </a:lnTo>
                  <a:lnTo>
                    <a:pt x="2049928" y="1749410"/>
                  </a:lnTo>
                  <a:lnTo>
                    <a:pt x="2050714" y="1749773"/>
                  </a:lnTo>
                  <a:lnTo>
                    <a:pt x="2061211" y="1751649"/>
                  </a:lnTo>
                  <a:lnTo>
                    <a:pt x="2067232" y="1751346"/>
                  </a:lnTo>
                  <a:lnTo>
                    <a:pt x="2068805" y="1751982"/>
                  </a:lnTo>
                  <a:lnTo>
                    <a:pt x="2070075" y="1753736"/>
                  </a:lnTo>
                  <a:lnTo>
                    <a:pt x="2074462" y="1753010"/>
                  </a:lnTo>
                  <a:lnTo>
                    <a:pt x="2073342" y="1756005"/>
                  </a:lnTo>
                  <a:lnTo>
                    <a:pt x="2070953" y="1758849"/>
                  </a:lnTo>
                  <a:lnTo>
                    <a:pt x="2068321" y="1760966"/>
                  </a:lnTo>
                  <a:lnTo>
                    <a:pt x="2054556" y="1764687"/>
                  </a:lnTo>
                  <a:lnTo>
                    <a:pt x="2046842" y="1768922"/>
                  </a:lnTo>
                  <a:lnTo>
                    <a:pt x="2045541" y="1771070"/>
                  </a:lnTo>
                  <a:lnTo>
                    <a:pt x="2044513" y="1774307"/>
                  </a:lnTo>
                  <a:lnTo>
                    <a:pt x="2042123" y="1776516"/>
                  </a:lnTo>
                  <a:lnTo>
                    <a:pt x="2035649" y="1779692"/>
                  </a:lnTo>
                  <a:lnTo>
                    <a:pt x="2034590" y="1779813"/>
                  </a:lnTo>
                  <a:lnTo>
                    <a:pt x="2034046" y="1780630"/>
                  </a:lnTo>
                  <a:lnTo>
                    <a:pt x="2033864" y="1783322"/>
                  </a:lnTo>
                  <a:lnTo>
                    <a:pt x="2033864" y="1785409"/>
                  </a:lnTo>
                  <a:lnTo>
                    <a:pt x="2034076" y="1787255"/>
                  </a:lnTo>
                  <a:lnTo>
                    <a:pt x="2034590" y="1788556"/>
                  </a:lnTo>
                  <a:lnTo>
                    <a:pt x="2035589" y="1789040"/>
                  </a:lnTo>
                  <a:lnTo>
                    <a:pt x="2049686" y="1785349"/>
                  </a:lnTo>
                  <a:lnTo>
                    <a:pt x="2052227" y="1785349"/>
                  </a:lnTo>
                  <a:lnTo>
                    <a:pt x="2054738" y="1786226"/>
                  </a:lnTo>
                  <a:lnTo>
                    <a:pt x="2057309" y="1788313"/>
                  </a:lnTo>
                  <a:lnTo>
                    <a:pt x="2060062" y="1789342"/>
                  </a:lnTo>
                  <a:lnTo>
                    <a:pt x="2066142" y="1788919"/>
                  </a:lnTo>
                  <a:lnTo>
                    <a:pt x="2068411" y="1791913"/>
                  </a:lnTo>
                  <a:lnTo>
                    <a:pt x="2068048" y="1792579"/>
                  </a:lnTo>
                  <a:lnTo>
                    <a:pt x="2067383" y="1794122"/>
                  </a:lnTo>
                  <a:lnTo>
                    <a:pt x="2067020" y="1794757"/>
                  </a:lnTo>
                  <a:lnTo>
                    <a:pt x="2068260" y="1794818"/>
                  </a:lnTo>
                  <a:lnTo>
                    <a:pt x="2069591" y="1795423"/>
                  </a:lnTo>
                  <a:lnTo>
                    <a:pt x="2070620" y="1796784"/>
                  </a:lnTo>
                  <a:lnTo>
                    <a:pt x="2071043" y="1799053"/>
                  </a:lnTo>
                  <a:lnTo>
                    <a:pt x="2070408" y="1801503"/>
                  </a:lnTo>
                  <a:lnTo>
                    <a:pt x="2068926" y="1802320"/>
                  </a:lnTo>
                  <a:lnTo>
                    <a:pt x="2058277" y="1802713"/>
                  </a:lnTo>
                  <a:lnTo>
                    <a:pt x="2051077" y="1804770"/>
                  </a:lnTo>
                  <a:lnTo>
                    <a:pt x="2048718" y="1806706"/>
                  </a:lnTo>
                  <a:lnTo>
                    <a:pt x="2045057" y="1813271"/>
                  </a:lnTo>
                  <a:lnTo>
                    <a:pt x="2042849" y="1816175"/>
                  </a:lnTo>
                  <a:lnTo>
                    <a:pt x="2040096" y="1817990"/>
                  </a:lnTo>
                  <a:lnTo>
                    <a:pt x="2036375" y="1819382"/>
                  </a:lnTo>
                  <a:lnTo>
                    <a:pt x="2032685" y="1819382"/>
                  </a:lnTo>
                  <a:lnTo>
                    <a:pt x="2030053" y="1816962"/>
                  </a:lnTo>
                  <a:lnTo>
                    <a:pt x="2027693" y="1816296"/>
                  </a:lnTo>
                  <a:lnTo>
                    <a:pt x="2014806" y="1823526"/>
                  </a:lnTo>
                  <a:lnTo>
                    <a:pt x="2010661" y="1830393"/>
                  </a:lnTo>
                  <a:lnTo>
                    <a:pt x="2008665" y="1831936"/>
                  </a:lnTo>
                  <a:lnTo>
                    <a:pt x="2002947" y="1833872"/>
                  </a:lnTo>
                  <a:lnTo>
                    <a:pt x="1999710" y="1835899"/>
                  </a:lnTo>
                  <a:lnTo>
                    <a:pt x="1997593" y="1838349"/>
                  </a:lnTo>
                  <a:lnTo>
                    <a:pt x="1997048" y="1839287"/>
                  </a:lnTo>
                  <a:lnTo>
                    <a:pt x="1996080" y="1840407"/>
                  </a:lnTo>
                  <a:lnTo>
                    <a:pt x="1995536" y="1841314"/>
                  </a:lnTo>
                  <a:lnTo>
                    <a:pt x="1995142" y="1842524"/>
                  </a:lnTo>
                  <a:lnTo>
                    <a:pt x="1994931" y="1843674"/>
                  </a:lnTo>
                  <a:lnTo>
                    <a:pt x="1994598" y="1844521"/>
                  </a:lnTo>
                  <a:lnTo>
                    <a:pt x="1993812" y="1844884"/>
                  </a:lnTo>
                  <a:lnTo>
                    <a:pt x="1992662" y="1845821"/>
                  </a:lnTo>
                  <a:lnTo>
                    <a:pt x="1992057" y="1847879"/>
                  </a:lnTo>
                  <a:lnTo>
                    <a:pt x="1991331" y="1849845"/>
                  </a:lnTo>
                  <a:lnTo>
                    <a:pt x="1989697" y="1850571"/>
                  </a:lnTo>
                  <a:lnTo>
                    <a:pt x="1989697" y="1851872"/>
                  </a:lnTo>
                  <a:lnTo>
                    <a:pt x="1991240" y="1851811"/>
                  </a:lnTo>
                  <a:lnTo>
                    <a:pt x="1992813" y="1851146"/>
                  </a:lnTo>
                  <a:lnTo>
                    <a:pt x="1994295" y="1849996"/>
                  </a:lnTo>
                  <a:lnTo>
                    <a:pt x="1995536" y="1848453"/>
                  </a:lnTo>
                  <a:lnTo>
                    <a:pt x="1997109" y="1847032"/>
                  </a:lnTo>
                  <a:lnTo>
                    <a:pt x="2000951" y="1846547"/>
                  </a:lnTo>
                  <a:lnTo>
                    <a:pt x="2002736" y="1845610"/>
                  </a:lnTo>
                  <a:lnTo>
                    <a:pt x="2005912" y="1843099"/>
                  </a:lnTo>
                  <a:lnTo>
                    <a:pt x="2009300" y="1841586"/>
                  </a:lnTo>
                  <a:lnTo>
                    <a:pt x="2016470" y="1840679"/>
                  </a:lnTo>
                  <a:lnTo>
                    <a:pt x="2015441" y="1843583"/>
                  </a:lnTo>
                  <a:lnTo>
                    <a:pt x="2013899" y="1844430"/>
                  </a:lnTo>
                  <a:lnTo>
                    <a:pt x="2012083" y="1844642"/>
                  </a:lnTo>
                  <a:lnTo>
                    <a:pt x="2010298" y="1845610"/>
                  </a:lnTo>
                  <a:lnTo>
                    <a:pt x="2009845" y="1847546"/>
                  </a:lnTo>
                  <a:lnTo>
                    <a:pt x="2011872" y="1848574"/>
                  </a:lnTo>
                  <a:lnTo>
                    <a:pt x="2016440" y="1849028"/>
                  </a:lnTo>
                  <a:lnTo>
                    <a:pt x="2016440" y="1850571"/>
                  </a:lnTo>
                  <a:lnTo>
                    <a:pt x="2007213" y="1851478"/>
                  </a:lnTo>
                  <a:lnTo>
                    <a:pt x="2002161" y="1853838"/>
                  </a:lnTo>
                  <a:lnTo>
                    <a:pt x="1999952" y="1858315"/>
                  </a:lnTo>
                  <a:lnTo>
                    <a:pt x="2001858" y="1864517"/>
                  </a:lnTo>
                  <a:lnTo>
                    <a:pt x="2006396" y="1866937"/>
                  </a:lnTo>
                  <a:lnTo>
                    <a:pt x="2015834" y="1868873"/>
                  </a:lnTo>
                  <a:lnTo>
                    <a:pt x="2014988" y="1870991"/>
                  </a:lnTo>
                  <a:lnTo>
                    <a:pt x="2013475" y="1872382"/>
                  </a:lnTo>
                  <a:lnTo>
                    <a:pt x="2011750" y="1873108"/>
                  </a:lnTo>
                  <a:lnTo>
                    <a:pt x="2011750" y="1873108"/>
                  </a:lnTo>
                  <a:lnTo>
                    <a:pt x="2008241" y="1873502"/>
                  </a:lnTo>
                  <a:lnTo>
                    <a:pt x="2007092" y="1874197"/>
                  </a:lnTo>
                  <a:lnTo>
                    <a:pt x="2005126" y="1878191"/>
                  </a:lnTo>
                  <a:lnTo>
                    <a:pt x="2003885" y="1878977"/>
                  </a:lnTo>
                  <a:lnTo>
                    <a:pt x="2002433" y="1877797"/>
                  </a:lnTo>
                  <a:lnTo>
                    <a:pt x="1999922" y="1874560"/>
                  </a:lnTo>
                  <a:lnTo>
                    <a:pt x="1993600" y="1872776"/>
                  </a:lnTo>
                  <a:lnTo>
                    <a:pt x="1993025" y="1871747"/>
                  </a:lnTo>
                  <a:lnTo>
                    <a:pt x="1981590" y="1876224"/>
                  </a:lnTo>
                  <a:lnTo>
                    <a:pt x="1978474" y="1875377"/>
                  </a:lnTo>
                  <a:lnTo>
                    <a:pt x="1975449" y="1872836"/>
                  </a:lnTo>
                  <a:lnTo>
                    <a:pt x="1972030" y="1871263"/>
                  </a:lnTo>
                  <a:lnTo>
                    <a:pt x="1968551" y="1870809"/>
                  </a:lnTo>
                  <a:lnTo>
                    <a:pt x="1965375" y="1871717"/>
                  </a:lnTo>
                  <a:lnTo>
                    <a:pt x="1962471" y="1873623"/>
                  </a:lnTo>
                  <a:lnTo>
                    <a:pt x="1961079" y="1873895"/>
                  </a:lnTo>
                  <a:lnTo>
                    <a:pt x="1959234" y="1873229"/>
                  </a:lnTo>
                  <a:lnTo>
                    <a:pt x="1955453" y="1869327"/>
                  </a:lnTo>
                  <a:lnTo>
                    <a:pt x="1953759" y="1868752"/>
                  </a:lnTo>
                  <a:lnTo>
                    <a:pt x="1939238" y="1871687"/>
                  </a:lnTo>
                  <a:lnTo>
                    <a:pt x="1933006" y="1874500"/>
                  </a:lnTo>
                  <a:lnTo>
                    <a:pt x="1931977" y="1875770"/>
                  </a:lnTo>
                  <a:lnTo>
                    <a:pt x="1929618" y="1879401"/>
                  </a:lnTo>
                  <a:lnTo>
                    <a:pt x="1928559" y="1880157"/>
                  </a:lnTo>
                  <a:lnTo>
                    <a:pt x="1927682" y="1881185"/>
                  </a:lnTo>
                  <a:lnTo>
                    <a:pt x="1927803" y="1883605"/>
                  </a:lnTo>
                  <a:lnTo>
                    <a:pt x="1928498" y="1886268"/>
                  </a:lnTo>
                  <a:lnTo>
                    <a:pt x="1929224" y="1888113"/>
                  </a:lnTo>
                  <a:lnTo>
                    <a:pt x="1930465" y="1889626"/>
                  </a:lnTo>
                  <a:lnTo>
                    <a:pt x="1932008" y="1890503"/>
                  </a:lnTo>
                  <a:lnTo>
                    <a:pt x="1948192" y="1894042"/>
                  </a:lnTo>
                  <a:lnTo>
                    <a:pt x="1950310" y="1896553"/>
                  </a:lnTo>
                  <a:lnTo>
                    <a:pt x="1950522" y="1897158"/>
                  </a:lnTo>
                  <a:lnTo>
                    <a:pt x="1950975" y="1897582"/>
                  </a:lnTo>
                  <a:lnTo>
                    <a:pt x="1951429" y="1898217"/>
                  </a:lnTo>
                  <a:lnTo>
                    <a:pt x="1951671" y="1899367"/>
                  </a:lnTo>
                  <a:lnTo>
                    <a:pt x="1951550" y="1900607"/>
                  </a:lnTo>
                  <a:lnTo>
                    <a:pt x="1951278" y="1901182"/>
                  </a:lnTo>
                  <a:lnTo>
                    <a:pt x="1951036" y="1901514"/>
                  </a:lnTo>
                  <a:lnTo>
                    <a:pt x="1950915" y="1902120"/>
                  </a:lnTo>
                  <a:lnTo>
                    <a:pt x="1950915" y="1906899"/>
                  </a:lnTo>
                  <a:lnTo>
                    <a:pt x="1950552" y="1908684"/>
                  </a:lnTo>
                  <a:lnTo>
                    <a:pt x="1949584" y="1909864"/>
                  </a:lnTo>
                  <a:lnTo>
                    <a:pt x="1949100" y="1900153"/>
                  </a:lnTo>
                  <a:lnTo>
                    <a:pt x="1947890" y="1897703"/>
                  </a:lnTo>
                  <a:lnTo>
                    <a:pt x="1944774" y="1897189"/>
                  </a:lnTo>
                  <a:lnTo>
                    <a:pt x="1937514" y="1898520"/>
                  </a:lnTo>
                  <a:lnTo>
                    <a:pt x="1933520" y="1897975"/>
                  </a:lnTo>
                  <a:lnTo>
                    <a:pt x="1928257" y="1892318"/>
                  </a:lnTo>
                  <a:lnTo>
                    <a:pt x="1924868" y="1890352"/>
                  </a:lnTo>
                  <a:lnTo>
                    <a:pt x="1921420" y="1890019"/>
                  </a:lnTo>
                  <a:lnTo>
                    <a:pt x="1916610" y="1894496"/>
                  </a:lnTo>
                  <a:lnTo>
                    <a:pt x="1912889" y="1896674"/>
                  </a:lnTo>
                  <a:lnTo>
                    <a:pt x="1909107" y="1897854"/>
                  </a:lnTo>
                  <a:lnTo>
                    <a:pt x="1906748" y="1897158"/>
                  </a:lnTo>
                  <a:lnTo>
                    <a:pt x="1916338" y="1887175"/>
                  </a:lnTo>
                  <a:lnTo>
                    <a:pt x="1917638" y="1883605"/>
                  </a:lnTo>
                  <a:lnTo>
                    <a:pt x="1919574" y="1876739"/>
                  </a:lnTo>
                  <a:lnTo>
                    <a:pt x="1918243" y="1872231"/>
                  </a:lnTo>
                  <a:lnTo>
                    <a:pt x="1913342" y="1866483"/>
                  </a:lnTo>
                  <a:lnTo>
                    <a:pt x="1904025" y="1858951"/>
                  </a:lnTo>
                  <a:lnTo>
                    <a:pt x="1904812" y="1855169"/>
                  </a:lnTo>
                  <a:lnTo>
                    <a:pt x="1904509" y="1851721"/>
                  </a:lnTo>
                  <a:lnTo>
                    <a:pt x="1903420" y="1848695"/>
                  </a:lnTo>
                  <a:lnTo>
                    <a:pt x="1901968" y="1846184"/>
                  </a:lnTo>
                  <a:lnTo>
                    <a:pt x="1897340" y="1840467"/>
                  </a:lnTo>
                  <a:lnTo>
                    <a:pt x="1895373" y="1836686"/>
                  </a:lnTo>
                  <a:lnTo>
                    <a:pt x="1895767" y="1833358"/>
                  </a:lnTo>
                  <a:lnTo>
                    <a:pt x="1893256" y="1831724"/>
                  </a:lnTo>
                  <a:lnTo>
                    <a:pt x="1890079" y="1833116"/>
                  </a:lnTo>
                  <a:lnTo>
                    <a:pt x="1884059" y="1837472"/>
                  </a:lnTo>
                  <a:lnTo>
                    <a:pt x="1877827" y="1838803"/>
                  </a:lnTo>
                  <a:lnTo>
                    <a:pt x="1874893" y="1840164"/>
                  </a:lnTo>
                  <a:lnTo>
                    <a:pt x="1872261" y="1843129"/>
                  </a:lnTo>
                  <a:lnTo>
                    <a:pt x="1875649" y="1843492"/>
                  </a:lnTo>
                  <a:lnTo>
                    <a:pt x="1877827" y="1844975"/>
                  </a:lnTo>
                  <a:lnTo>
                    <a:pt x="1879310" y="1848030"/>
                  </a:lnTo>
                  <a:lnTo>
                    <a:pt x="1880580" y="1853203"/>
                  </a:lnTo>
                  <a:lnTo>
                    <a:pt x="1879219" y="1852205"/>
                  </a:lnTo>
                  <a:lnTo>
                    <a:pt x="1876859" y="1847758"/>
                  </a:lnTo>
                  <a:lnTo>
                    <a:pt x="1875075" y="1846124"/>
                  </a:lnTo>
                  <a:lnTo>
                    <a:pt x="1872745" y="1845761"/>
                  </a:lnTo>
                  <a:lnTo>
                    <a:pt x="1870870" y="1846820"/>
                  </a:lnTo>
                  <a:lnTo>
                    <a:pt x="1869175" y="1848907"/>
                  </a:lnTo>
                  <a:lnTo>
                    <a:pt x="1864789" y="1856531"/>
                  </a:lnTo>
                  <a:lnTo>
                    <a:pt x="1863458" y="1857862"/>
                  </a:lnTo>
                  <a:lnTo>
                    <a:pt x="1861945" y="1857287"/>
                  </a:lnTo>
                  <a:lnTo>
                    <a:pt x="1860947" y="1855351"/>
                  </a:lnTo>
                  <a:lnTo>
                    <a:pt x="1860584" y="1852900"/>
                  </a:lnTo>
                  <a:lnTo>
                    <a:pt x="1860917" y="1850511"/>
                  </a:lnTo>
                  <a:lnTo>
                    <a:pt x="1861976" y="1848786"/>
                  </a:lnTo>
                  <a:lnTo>
                    <a:pt x="1859949" y="1848544"/>
                  </a:lnTo>
                  <a:lnTo>
                    <a:pt x="1857408" y="1850147"/>
                  </a:lnTo>
                  <a:lnTo>
                    <a:pt x="1855018" y="1852719"/>
                  </a:lnTo>
                  <a:lnTo>
                    <a:pt x="1853324" y="1855290"/>
                  </a:lnTo>
                  <a:lnTo>
                    <a:pt x="1851418" y="1855532"/>
                  </a:lnTo>
                  <a:lnTo>
                    <a:pt x="1848635" y="1854352"/>
                  </a:lnTo>
                  <a:lnTo>
                    <a:pt x="1846759" y="1854534"/>
                  </a:lnTo>
                  <a:lnTo>
                    <a:pt x="1847485" y="1858830"/>
                  </a:lnTo>
                  <a:lnTo>
                    <a:pt x="1842282" y="1858830"/>
                  </a:lnTo>
                  <a:lnTo>
                    <a:pt x="1839196" y="1860191"/>
                  </a:lnTo>
                  <a:lnTo>
                    <a:pt x="1837865" y="1864608"/>
                  </a:lnTo>
                  <a:lnTo>
                    <a:pt x="1839741" y="1868540"/>
                  </a:lnTo>
                  <a:lnTo>
                    <a:pt x="1844067" y="1870083"/>
                  </a:lnTo>
                  <a:lnTo>
                    <a:pt x="1852325" y="1870144"/>
                  </a:lnTo>
                  <a:lnTo>
                    <a:pt x="1850873" y="1868964"/>
                  </a:lnTo>
                  <a:lnTo>
                    <a:pt x="1849905" y="1867179"/>
                  </a:lnTo>
                  <a:lnTo>
                    <a:pt x="1849300" y="1864759"/>
                  </a:lnTo>
                  <a:lnTo>
                    <a:pt x="1848877" y="1861673"/>
                  </a:lnTo>
                  <a:lnTo>
                    <a:pt x="1849905" y="1862611"/>
                  </a:lnTo>
                  <a:lnTo>
                    <a:pt x="1851115" y="1865334"/>
                  </a:lnTo>
                  <a:lnTo>
                    <a:pt x="1851660" y="1865908"/>
                  </a:lnTo>
                  <a:lnTo>
                    <a:pt x="1853203" y="1866271"/>
                  </a:lnTo>
                  <a:lnTo>
                    <a:pt x="1856470" y="1868601"/>
                  </a:lnTo>
                  <a:lnTo>
                    <a:pt x="1859616" y="1868661"/>
                  </a:lnTo>
                  <a:lnTo>
                    <a:pt x="1868903" y="1865908"/>
                  </a:lnTo>
                  <a:lnTo>
                    <a:pt x="1870476" y="1864668"/>
                  </a:lnTo>
                  <a:lnTo>
                    <a:pt x="1871323" y="1864366"/>
                  </a:lnTo>
                  <a:lnTo>
                    <a:pt x="1871686" y="1865273"/>
                  </a:lnTo>
                  <a:lnTo>
                    <a:pt x="1871626" y="1866634"/>
                  </a:lnTo>
                  <a:lnTo>
                    <a:pt x="1871444" y="1867240"/>
                  </a:lnTo>
                  <a:lnTo>
                    <a:pt x="1841344" y="1875256"/>
                  </a:lnTo>
                  <a:lnTo>
                    <a:pt x="1839953" y="1878009"/>
                  </a:lnTo>
                  <a:lnTo>
                    <a:pt x="1839801" y="1881972"/>
                  </a:lnTo>
                  <a:lnTo>
                    <a:pt x="1842222" y="1885753"/>
                  </a:lnTo>
                  <a:lnTo>
                    <a:pt x="1843492" y="1887205"/>
                  </a:lnTo>
                  <a:lnTo>
                    <a:pt x="1844884" y="1888143"/>
                  </a:lnTo>
                  <a:lnTo>
                    <a:pt x="1846094" y="1887962"/>
                  </a:lnTo>
                  <a:lnTo>
                    <a:pt x="1849149" y="1886238"/>
                  </a:lnTo>
                  <a:lnTo>
                    <a:pt x="1862581" y="1885118"/>
                  </a:lnTo>
                  <a:lnTo>
                    <a:pt x="1868238" y="1882184"/>
                  </a:lnTo>
                  <a:lnTo>
                    <a:pt x="1870960" y="1881579"/>
                  </a:lnTo>
                  <a:lnTo>
                    <a:pt x="1866695" y="1886419"/>
                  </a:lnTo>
                  <a:lnTo>
                    <a:pt x="1849603" y="1890019"/>
                  </a:lnTo>
                  <a:lnTo>
                    <a:pt x="1842252" y="1895071"/>
                  </a:lnTo>
                  <a:lnTo>
                    <a:pt x="1837351" y="1896644"/>
                  </a:lnTo>
                  <a:lnTo>
                    <a:pt x="1835566" y="1898761"/>
                  </a:lnTo>
                  <a:lnTo>
                    <a:pt x="1832360" y="1904237"/>
                  </a:lnTo>
                  <a:lnTo>
                    <a:pt x="1831876" y="1898883"/>
                  </a:lnTo>
                  <a:lnTo>
                    <a:pt x="1833297" y="1894103"/>
                  </a:lnTo>
                  <a:lnTo>
                    <a:pt x="1835657" y="1890170"/>
                  </a:lnTo>
                  <a:lnTo>
                    <a:pt x="1837926" y="1887357"/>
                  </a:lnTo>
                  <a:lnTo>
                    <a:pt x="1836595" y="1885602"/>
                  </a:lnTo>
                  <a:lnTo>
                    <a:pt x="1835899" y="1883333"/>
                  </a:lnTo>
                  <a:lnTo>
                    <a:pt x="1835354" y="1880883"/>
                  </a:lnTo>
                  <a:lnTo>
                    <a:pt x="1834507" y="1878644"/>
                  </a:lnTo>
                  <a:lnTo>
                    <a:pt x="1828306" y="1871565"/>
                  </a:lnTo>
                  <a:lnTo>
                    <a:pt x="1824827" y="1868631"/>
                  </a:lnTo>
                  <a:lnTo>
                    <a:pt x="1823617" y="1868480"/>
                  </a:lnTo>
                  <a:lnTo>
                    <a:pt x="1823072" y="1868722"/>
                  </a:lnTo>
                  <a:lnTo>
                    <a:pt x="1820440" y="1872776"/>
                  </a:lnTo>
                  <a:lnTo>
                    <a:pt x="1819684" y="1875498"/>
                  </a:lnTo>
                  <a:lnTo>
                    <a:pt x="1820289" y="1877374"/>
                  </a:lnTo>
                  <a:lnTo>
                    <a:pt x="1822679" y="1877374"/>
                  </a:lnTo>
                  <a:lnTo>
                    <a:pt x="1822679" y="1878675"/>
                  </a:lnTo>
                  <a:lnTo>
                    <a:pt x="1819684" y="1878584"/>
                  </a:lnTo>
                  <a:lnTo>
                    <a:pt x="1815509" y="1877465"/>
                  </a:lnTo>
                  <a:lnTo>
                    <a:pt x="1812000" y="1878009"/>
                  </a:lnTo>
                  <a:lnTo>
                    <a:pt x="1810972" y="1882910"/>
                  </a:lnTo>
                  <a:lnTo>
                    <a:pt x="1808733" y="1880701"/>
                  </a:lnTo>
                  <a:lnTo>
                    <a:pt x="1807099" y="1878221"/>
                  </a:lnTo>
                  <a:lnTo>
                    <a:pt x="1805164" y="1876345"/>
                  </a:lnTo>
                  <a:lnTo>
                    <a:pt x="1801987" y="1875982"/>
                  </a:lnTo>
                  <a:lnTo>
                    <a:pt x="1801442" y="1876254"/>
                  </a:lnTo>
                  <a:lnTo>
                    <a:pt x="1799385" y="1877374"/>
                  </a:lnTo>
                  <a:lnTo>
                    <a:pt x="1796874" y="1879522"/>
                  </a:lnTo>
                  <a:lnTo>
                    <a:pt x="1794606" y="1880762"/>
                  </a:lnTo>
                  <a:lnTo>
                    <a:pt x="1789977" y="1878070"/>
                  </a:lnTo>
                  <a:lnTo>
                    <a:pt x="1787406" y="1880580"/>
                  </a:lnTo>
                  <a:lnTo>
                    <a:pt x="1786619" y="1884120"/>
                  </a:lnTo>
                  <a:lnTo>
                    <a:pt x="1790189" y="1886631"/>
                  </a:lnTo>
                  <a:lnTo>
                    <a:pt x="1790945" y="1888264"/>
                  </a:lnTo>
                  <a:lnTo>
                    <a:pt x="1791611" y="1890110"/>
                  </a:lnTo>
                  <a:lnTo>
                    <a:pt x="1792276" y="1891410"/>
                  </a:lnTo>
                  <a:lnTo>
                    <a:pt x="1793849" y="1892560"/>
                  </a:lnTo>
                  <a:lnTo>
                    <a:pt x="1795574" y="1892984"/>
                  </a:lnTo>
                  <a:lnTo>
                    <a:pt x="1799204" y="1892984"/>
                  </a:lnTo>
                  <a:lnTo>
                    <a:pt x="1796511" y="1895978"/>
                  </a:lnTo>
                  <a:lnTo>
                    <a:pt x="1792942" y="1898187"/>
                  </a:lnTo>
                  <a:lnTo>
                    <a:pt x="1774095" y="1901908"/>
                  </a:lnTo>
                  <a:lnTo>
                    <a:pt x="1770253" y="1904358"/>
                  </a:lnTo>
                  <a:lnTo>
                    <a:pt x="1772825" y="1905477"/>
                  </a:lnTo>
                  <a:lnTo>
                    <a:pt x="1775335" y="1907444"/>
                  </a:lnTo>
                  <a:lnTo>
                    <a:pt x="1779994" y="1912768"/>
                  </a:lnTo>
                  <a:lnTo>
                    <a:pt x="1781991" y="1916368"/>
                  </a:lnTo>
                  <a:lnTo>
                    <a:pt x="1783019" y="1918667"/>
                  </a:lnTo>
                  <a:lnTo>
                    <a:pt x="1783927" y="1922872"/>
                  </a:lnTo>
                  <a:lnTo>
                    <a:pt x="1785077" y="1923356"/>
                  </a:lnTo>
                  <a:lnTo>
                    <a:pt x="1787557" y="1922448"/>
                  </a:lnTo>
                  <a:lnTo>
                    <a:pt x="1809731" y="1921511"/>
                  </a:lnTo>
                  <a:lnTo>
                    <a:pt x="1817204" y="1921178"/>
                  </a:lnTo>
                  <a:lnTo>
                    <a:pt x="1807826" y="1922963"/>
                  </a:lnTo>
                  <a:lnTo>
                    <a:pt x="1783564" y="1927561"/>
                  </a:lnTo>
                  <a:lnTo>
                    <a:pt x="1780539" y="1928892"/>
                  </a:lnTo>
                  <a:lnTo>
                    <a:pt x="1779238" y="1931615"/>
                  </a:lnTo>
                  <a:lnTo>
                    <a:pt x="1780266" y="1935093"/>
                  </a:lnTo>
                  <a:lnTo>
                    <a:pt x="1785167" y="1938391"/>
                  </a:lnTo>
                  <a:lnTo>
                    <a:pt x="1786831" y="1942172"/>
                  </a:lnTo>
                  <a:lnTo>
                    <a:pt x="1777030" y="1937514"/>
                  </a:lnTo>
                  <a:lnTo>
                    <a:pt x="1746082" y="1933762"/>
                  </a:lnTo>
                  <a:lnTo>
                    <a:pt x="1746082" y="1935305"/>
                  </a:lnTo>
                  <a:lnTo>
                    <a:pt x="1750802" y="1937362"/>
                  </a:lnTo>
                  <a:lnTo>
                    <a:pt x="1752950" y="1938996"/>
                  </a:lnTo>
                  <a:lnTo>
                    <a:pt x="1754462" y="1942172"/>
                  </a:lnTo>
                  <a:lnTo>
                    <a:pt x="1753887" y="1943715"/>
                  </a:lnTo>
                  <a:lnTo>
                    <a:pt x="1754341" y="1944623"/>
                  </a:lnTo>
                  <a:lnTo>
                    <a:pt x="1755007" y="1945379"/>
                  </a:lnTo>
                  <a:lnTo>
                    <a:pt x="1755128" y="1946468"/>
                  </a:lnTo>
                  <a:lnTo>
                    <a:pt x="1754371" y="1947708"/>
                  </a:lnTo>
                  <a:lnTo>
                    <a:pt x="1753222" y="1948495"/>
                  </a:lnTo>
                  <a:lnTo>
                    <a:pt x="1750953" y="1949130"/>
                  </a:lnTo>
                  <a:lnTo>
                    <a:pt x="1751165" y="1948192"/>
                  </a:lnTo>
                  <a:lnTo>
                    <a:pt x="1751467" y="1945893"/>
                  </a:lnTo>
                  <a:lnTo>
                    <a:pt x="1751649" y="1944955"/>
                  </a:lnTo>
                  <a:lnTo>
                    <a:pt x="1748805" y="1942626"/>
                  </a:lnTo>
                  <a:lnTo>
                    <a:pt x="1746657" y="1939329"/>
                  </a:lnTo>
                  <a:lnTo>
                    <a:pt x="1744419" y="1937090"/>
                  </a:lnTo>
                  <a:lnTo>
                    <a:pt x="1741273" y="1937998"/>
                  </a:lnTo>
                  <a:lnTo>
                    <a:pt x="1738973" y="1941023"/>
                  </a:lnTo>
                  <a:lnTo>
                    <a:pt x="1740244" y="1943140"/>
                  </a:lnTo>
                  <a:lnTo>
                    <a:pt x="1742725" y="1945651"/>
                  </a:lnTo>
                  <a:lnTo>
                    <a:pt x="1744086" y="1949917"/>
                  </a:lnTo>
                  <a:lnTo>
                    <a:pt x="1744388" y="1950582"/>
                  </a:lnTo>
                  <a:lnTo>
                    <a:pt x="1744963" y="1951097"/>
                  </a:lnTo>
                  <a:lnTo>
                    <a:pt x="1745356" y="1951701"/>
                  </a:lnTo>
                  <a:lnTo>
                    <a:pt x="1744903" y="1953607"/>
                  </a:lnTo>
                  <a:lnTo>
                    <a:pt x="1744721" y="1955120"/>
                  </a:lnTo>
                  <a:lnTo>
                    <a:pt x="1744661" y="1956723"/>
                  </a:lnTo>
                  <a:lnTo>
                    <a:pt x="1744782" y="1957782"/>
                  </a:lnTo>
                  <a:lnTo>
                    <a:pt x="1746324" y="1959385"/>
                  </a:lnTo>
                  <a:lnTo>
                    <a:pt x="1748714" y="1960172"/>
                  </a:lnTo>
                  <a:lnTo>
                    <a:pt x="1753040" y="1960444"/>
                  </a:lnTo>
                  <a:lnTo>
                    <a:pt x="1766139" y="1958175"/>
                  </a:lnTo>
                  <a:lnTo>
                    <a:pt x="1769648" y="1960444"/>
                  </a:lnTo>
                  <a:lnTo>
                    <a:pt x="1766139" y="1962562"/>
                  </a:lnTo>
                  <a:lnTo>
                    <a:pt x="1758062" y="1962864"/>
                  </a:lnTo>
                  <a:lnTo>
                    <a:pt x="1754462" y="1964589"/>
                  </a:lnTo>
                  <a:lnTo>
                    <a:pt x="1757033" y="1965950"/>
                  </a:lnTo>
                  <a:lnTo>
                    <a:pt x="1757850" y="1966646"/>
                  </a:lnTo>
                  <a:lnTo>
                    <a:pt x="1758395" y="1967463"/>
                  </a:lnTo>
                  <a:lnTo>
                    <a:pt x="1759484" y="1969520"/>
                  </a:lnTo>
                  <a:lnTo>
                    <a:pt x="1759938" y="1970064"/>
                  </a:lnTo>
                  <a:lnTo>
                    <a:pt x="1761904" y="1970125"/>
                  </a:lnTo>
                  <a:lnTo>
                    <a:pt x="1771403" y="1965799"/>
                  </a:lnTo>
                  <a:lnTo>
                    <a:pt x="1777998" y="1959960"/>
                  </a:lnTo>
                  <a:lnTo>
                    <a:pt x="1781265" y="1960444"/>
                  </a:lnTo>
                  <a:lnTo>
                    <a:pt x="1775941" y="1964498"/>
                  </a:lnTo>
                  <a:lnTo>
                    <a:pt x="1774761" y="1966767"/>
                  </a:lnTo>
                  <a:lnTo>
                    <a:pt x="1777120" y="1968763"/>
                  </a:lnTo>
                  <a:lnTo>
                    <a:pt x="1780146" y="1968642"/>
                  </a:lnTo>
                  <a:lnTo>
                    <a:pt x="1786650" y="1966857"/>
                  </a:lnTo>
                  <a:lnTo>
                    <a:pt x="1789554" y="1968763"/>
                  </a:lnTo>
                  <a:lnTo>
                    <a:pt x="1787073" y="1971183"/>
                  </a:lnTo>
                  <a:lnTo>
                    <a:pt x="1764082" y="1972938"/>
                  </a:lnTo>
                  <a:lnTo>
                    <a:pt x="1764838" y="1975207"/>
                  </a:lnTo>
                  <a:lnTo>
                    <a:pt x="1770526" y="1983405"/>
                  </a:lnTo>
                  <a:lnTo>
                    <a:pt x="1772462" y="1985220"/>
                  </a:lnTo>
                  <a:lnTo>
                    <a:pt x="1774670" y="1986460"/>
                  </a:lnTo>
                  <a:lnTo>
                    <a:pt x="1782263" y="1987882"/>
                  </a:lnTo>
                  <a:lnTo>
                    <a:pt x="1784623" y="1989365"/>
                  </a:lnTo>
                  <a:lnTo>
                    <a:pt x="1792972" y="2000648"/>
                  </a:lnTo>
                  <a:lnTo>
                    <a:pt x="1791248" y="1999408"/>
                  </a:lnTo>
                  <a:lnTo>
                    <a:pt x="1787739" y="1997895"/>
                  </a:lnTo>
                  <a:lnTo>
                    <a:pt x="1786105" y="1996746"/>
                  </a:lnTo>
                  <a:lnTo>
                    <a:pt x="1785046" y="1995445"/>
                  </a:lnTo>
                  <a:lnTo>
                    <a:pt x="1783201" y="1992450"/>
                  </a:lnTo>
                  <a:lnTo>
                    <a:pt x="1781991" y="1991089"/>
                  </a:lnTo>
                  <a:lnTo>
                    <a:pt x="1779994" y="1989879"/>
                  </a:lnTo>
                  <a:lnTo>
                    <a:pt x="1767591" y="1985795"/>
                  </a:lnTo>
                  <a:lnTo>
                    <a:pt x="1765383" y="1985553"/>
                  </a:lnTo>
                  <a:lnTo>
                    <a:pt x="1767954" y="1988245"/>
                  </a:lnTo>
                  <a:lnTo>
                    <a:pt x="1774972" y="1990726"/>
                  </a:lnTo>
                  <a:lnTo>
                    <a:pt x="1776425" y="1994568"/>
                  </a:lnTo>
                  <a:lnTo>
                    <a:pt x="1774852" y="1996201"/>
                  </a:lnTo>
                  <a:lnTo>
                    <a:pt x="1771342" y="1994447"/>
                  </a:lnTo>
                  <a:lnTo>
                    <a:pt x="1762781" y="1987550"/>
                  </a:lnTo>
                  <a:lnTo>
                    <a:pt x="1761420" y="1986944"/>
                  </a:lnTo>
                  <a:lnTo>
                    <a:pt x="1759877" y="1986944"/>
                  </a:lnTo>
                  <a:lnTo>
                    <a:pt x="1756912" y="1988457"/>
                  </a:lnTo>
                  <a:lnTo>
                    <a:pt x="1755370" y="1988790"/>
                  </a:lnTo>
                  <a:lnTo>
                    <a:pt x="1755370" y="1987519"/>
                  </a:lnTo>
                  <a:lnTo>
                    <a:pt x="1756096" y="1982407"/>
                  </a:lnTo>
                  <a:lnTo>
                    <a:pt x="1754341" y="1978746"/>
                  </a:lnTo>
                  <a:lnTo>
                    <a:pt x="1753403" y="1975812"/>
                  </a:lnTo>
                  <a:lnTo>
                    <a:pt x="1756459" y="1972938"/>
                  </a:lnTo>
                  <a:lnTo>
                    <a:pt x="1756096" y="1971274"/>
                  </a:lnTo>
                  <a:lnTo>
                    <a:pt x="1755491" y="1969973"/>
                  </a:lnTo>
                  <a:lnTo>
                    <a:pt x="1754674" y="1969096"/>
                  </a:lnTo>
                  <a:lnTo>
                    <a:pt x="1753736" y="1968763"/>
                  </a:lnTo>
                  <a:lnTo>
                    <a:pt x="1752012" y="1968673"/>
                  </a:lnTo>
                  <a:lnTo>
                    <a:pt x="1751044" y="1968219"/>
                  </a:lnTo>
                  <a:lnTo>
                    <a:pt x="1749228" y="1965224"/>
                  </a:lnTo>
                  <a:lnTo>
                    <a:pt x="1747111" y="1962925"/>
                  </a:lnTo>
                  <a:lnTo>
                    <a:pt x="1739941" y="1960414"/>
                  </a:lnTo>
                  <a:lnTo>
                    <a:pt x="1738429" y="1959143"/>
                  </a:lnTo>
                  <a:lnTo>
                    <a:pt x="1736553" y="1956995"/>
                  </a:lnTo>
                  <a:lnTo>
                    <a:pt x="1735222" y="1954303"/>
                  </a:lnTo>
                  <a:lnTo>
                    <a:pt x="1735767" y="1948162"/>
                  </a:lnTo>
                  <a:lnTo>
                    <a:pt x="1734466" y="1945349"/>
                  </a:lnTo>
                  <a:lnTo>
                    <a:pt x="1732560" y="1943231"/>
                  </a:lnTo>
                  <a:lnTo>
                    <a:pt x="1730987" y="1942172"/>
                  </a:lnTo>
                  <a:lnTo>
                    <a:pt x="1728718" y="1941900"/>
                  </a:lnTo>
                  <a:lnTo>
                    <a:pt x="1726298" y="1942596"/>
                  </a:lnTo>
                  <a:lnTo>
                    <a:pt x="1723969" y="1943957"/>
                  </a:lnTo>
                  <a:lnTo>
                    <a:pt x="1722002" y="1945742"/>
                  </a:lnTo>
                  <a:lnTo>
                    <a:pt x="1720369" y="1947981"/>
                  </a:lnTo>
                  <a:lnTo>
                    <a:pt x="1717101" y="1954878"/>
                  </a:lnTo>
                  <a:lnTo>
                    <a:pt x="1715317" y="1956875"/>
                  </a:lnTo>
                  <a:lnTo>
                    <a:pt x="1711505" y="1959960"/>
                  </a:lnTo>
                  <a:lnTo>
                    <a:pt x="1709872" y="1962471"/>
                  </a:lnTo>
                  <a:lnTo>
                    <a:pt x="1710658" y="1963772"/>
                  </a:lnTo>
                  <a:lnTo>
                    <a:pt x="1713592" y="1964195"/>
                  </a:lnTo>
                  <a:lnTo>
                    <a:pt x="1717011" y="1963923"/>
                  </a:lnTo>
                  <a:lnTo>
                    <a:pt x="1719219" y="1963227"/>
                  </a:lnTo>
                  <a:lnTo>
                    <a:pt x="1718735" y="1961715"/>
                  </a:lnTo>
                  <a:lnTo>
                    <a:pt x="1718281" y="1960777"/>
                  </a:lnTo>
                  <a:lnTo>
                    <a:pt x="1717616" y="1960354"/>
                  </a:lnTo>
                  <a:lnTo>
                    <a:pt x="1716466" y="1960444"/>
                  </a:lnTo>
                  <a:lnTo>
                    <a:pt x="1717313" y="1959446"/>
                  </a:lnTo>
                  <a:lnTo>
                    <a:pt x="1718342" y="1958841"/>
                  </a:lnTo>
                  <a:lnTo>
                    <a:pt x="1719461" y="1958659"/>
                  </a:lnTo>
                  <a:lnTo>
                    <a:pt x="1720550" y="1959053"/>
                  </a:lnTo>
                  <a:lnTo>
                    <a:pt x="1721034" y="1959900"/>
                  </a:lnTo>
                  <a:lnTo>
                    <a:pt x="1721972" y="1962652"/>
                  </a:lnTo>
                  <a:lnTo>
                    <a:pt x="1722335" y="1963227"/>
                  </a:lnTo>
                  <a:lnTo>
                    <a:pt x="1731017" y="1971244"/>
                  </a:lnTo>
                  <a:lnTo>
                    <a:pt x="1735252" y="1972787"/>
                  </a:lnTo>
                  <a:lnTo>
                    <a:pt x="1737098" y="1974451"/>
                  </a:lnTo>
                  <a:lnTo>
                    <a:pt x="1737733" y="1975691"/>
                  </a:lnTo>
                  <a:lnTo>
                    <a:pt x="1738338" y="1977869"/>
                  </a:lnTo>
                  <a:lnTo>
                    <a:pt x="1738852" y="1979200"/>
                  </a:lnTo>
                  <a:lnTo>
                    <a:pt x="1739881" y="1980713"/>
                  </a:lnTo>
                  <a:lnTo>
                    <a:pt x="1741000" y="1981408"/>
                  </a:lnTo>
                  <a:lnTo>
                    <a:pt x="1742210" y="1981862"/>
                  </a:lnTo>
                  <a:lnTo>
                    <a:pt x="1743390" y="1982679"/>
                  </a:lnTo>
                  <a:lnTo>
                    <a:pt x="1741636" y="1983224"/>
                  </a:lnTo>
                  <a:lnTo>
                    <a:pt x="1740335" y="1984494"/>
                  </a:lnTo>
                  <a:lnTo>
                    <a:pt x="1739518" y="1986612"/>
                  </a:lnTo>
                  <a:lnTo>
                    <a:pt x="1739215" y="1989637"/>
                  </a:lnTo>
                  <a:lnTo>
                    <a:pt x="1739609" y="1993388"/>
                  </a:lnTo>
                  <a:lnTo>
                    <a:pt x="1740819" y="1995536"/>
                  </a:lnTo>
                  <a:lnTo>
                    <a:pt x="1747081" y="2001919"/>
                  </a:lnTo>
                  <a:lnTo>
                    <a:pt x="1755612" y="2005035"/>
                  </a:lnTo>
                  <a:lnTo>
                    <a:pt x="1760210" y="2009784"/>
                  </a:lnTo>
                  <a:lnTo>
                    <a:pt x="1768106" y="2014020"/>
                  </a:lnTo>
                  <a:lnTo>
                    <a:pt x="1777030" y="2021219"/>
                  </a:lnTo>
                  <a:lnTo>
                    <a:pt x="1779117" y="2024668"/>
                  </a:lnTo>
                  <a:lnTo>
                    <a:pt x="1779359" y="2028964"/>
                  </a:lnTo>
                  <a:lnTo>
                    <a:pt x="1777151" y="2034016"/>
                  </a:lnTo>
                  <a:lnTo>
                    <a:pt x="1776394" y="2027723"/>
                  </a:lnTo>
                  <a:lnTo>
                    <a:pt x="1773914" y="2023882"/>
                  </a:lnTo>
                  <a:lnTo>
                    <a:pt x="1770647" y="2022006"/>
                  </a:lnTo>
                  <a:lnTo>
                    <a:pt x="1767470" y="2021492"/>
                  </a:lnTo>
                  <a:lnTo>
                    <a:pt x="1764052" y="2020191"/>
                  </a:lnTo>
                  <a:lnTo>
                    <a:pt x="1754371" y="2009845"/>
                  </a:lnTo>
                  <a:lnTo>
                    <a:pt x="1750287" y="2007818"/>
                  </a:lnTo>
                  <a:lnTo>
                    <a:pt x="1741363" y="2005610"/>
                  </a:lnTo>
                  <a:lnTo>
                    <a:pt x="1737794" y="2002191"/>
                  </a:lnTo>
                  <a:lnTo>
                    <a:pt x="1736281" y="1997986"/>
                  </a:lnTo>
                  <a:lnTo>
                    <a:pt x="1734768" y="1991482"/>
                  </a:lnTo>
                  <a:lnTo>
                    <a:pt x="1733740" y="1985129"/>
                  </a:lnTo>
                  <a:lnTo>
                    <a:pt x="1733679" y="1981318"/>
                  </a:lnTo>
                  <a:lnTo>
                    <a:pt x="1732439" y="1980440"/>
                  </a:lnTo>
                  <a:lnTo>
                    <a:pt x="1731925" y="1979019"/>
                  </a:lnTo>
                  <a:lnTo>
                    <a:pt x="1731622" y="1977385"/>
                  </a:lnTo>
                  <a:lnTo>
                    <a:pt x="1730987" y="1975751"/>
                  </a:lnTo>
                  <a:lnTo>
                    <a:pt x="1729868" y="1974602"/>
                  </a:lnTo>
                  <a:lnTo>
                    <a:pt x="1719643" y="1969308"/>
                  </a:lnTo>
                  <a:lnTo>
                    <a:pt x="1716164" y="1969308"/>
                  </a:lnTo>
                  <a:lnTo>
                    <a:pt x="1712170" y="1973634"/>
                  </a:lnTo>
                  <a:lnTo>
                    <a:pt x="1710325" y="1974269"/>
                  </a:lnTo>
                  <a:lnTo>
                    <a:pt x="1706816" y="1974511"/>
                  </a:lnTo>
                  <a:lnTo>
                    <a:pt x="1705364" y="1974904"/>
                  </a:lnTo>
                  <a:lnTo>
                    <a:pt x="1691509" y="1982497"/>
                  </a:lnTo>
                  <a:lnTo>
                    <a:pt x="1688877" y="1981318"/>
                  </a:lnTo>
                  <a:lnTo>
                    <a:pt x="1696924" y="1976387"/>
                  </a:lnTo>
                  <a:lnTo>
                    <a:pt x="1698860" y="1973725"/>
                  </a:lnTo>
                  <a:lnTo>
                    <a:pt x="1699707" y="1971728"/>
                  </a:lnTo>
                  <a:lnTo>
                    <a:pt x="1700130" y="1970185"/>
                  </a:lnTo>
                  <a:lnTo>
                    <a:pt x="1699647" y="1969187"/>
                  </a:lnTo>
                  <a:lnTo>
                    <a:pt x="1691025" y="1968461"/>
                  </a:lnTo>
                  <a:lnTo>
                    <a:pt x="1688847" y="1968824"/>
                  </a:lnTo>
                  <a:lnTo>
                    <a:pt x="1683583" y="1972666"/>
                  </a:lnTo>
                  <a:lnTo>
                    <a:pt x="1677926" y="1978595"/>
                  </a:lnTo>
                  <a:lnTo>
                    <a:pt x="1672027" y="1982770"/>
                  </a:lnTo>
                  <a:lnTo>
                    <a:pt x="1666037" y="1981348"/>
                  </a:lnTo>
                  <a:lnTo>
                    <a:pt x="1664494" y="1975842"/>
                  </a:lnTo>
                  <a:lnTo>
                    <a:pt x="1663980" y="1974541"/>
                  </a:lnTo>
                  <a:lnTo>
                    <a:pt x="1658807" y="1970125"/>
                  </a:lnTo>
                  <a:lnTo>
                    <a:pt x="1656145" y="1969036"/>
                  </a:lnTo>
                  <a:lnTo>
                    <a:pt x="1651547" y="1963772"/>
                  </a:lnTo>
                  <a:lnTo>
                    <a:pt x="1648885" y="1961775"/>
                  </a:lnTo>
                  <a:lnTo>
                    <a:pt x="1645527" y="1961654"/>
                  </a:lnTo>
                  <a:lnTo>
                    <a:pt x="1638932" y="1965042"/>
                  </a:lnTo>
                  <a:lnTo>
                    <a:pt x="1632518" y="1966555"/>
                  </a:lnTo>
                  <a:lnTo>
                    <a:pt x="1629282" y="1968158"/>
                  </a:lnTo>
                  <a:lnTo>
                    <a:pt x="1621658" y="1974572"/>
                  </a:lnTo>
                  <a:lnTo>
                    <a:pt x="1612613" y="1979019"/>
                  </a:lnTo>
                  <a:lnTo>
                    <a:pt x="1610707" y="1980592"/>
                  </a:lnTo>
                  <a:lnTo>
                    <a:pt x="1609588" y="1982739"/>
                  </a:lnTo>
                  <a:lnTo>
                    <a:pt x="1614519" y="1982528"/>
                  </a:lnTo>
                  <a:lnTo>
                    <a:pt x="1616425" y="1983859"/>
                  </a:lnTo>
                  <a:lnTo>
                    <a:pt x="1617211" y="1987640"/>
                  </a:lnTo>
                  <a:lnTo>
                    <a:pt x="1622082" y="1995475"/>
                  </a:lnTo>
                  <a:lnTo>
                    <a:pt x="1623352" y="1996837"/>
                  </a:lnTo>
                  <a:lnTo>
                    <a:pt x="1635090" y="1995324"/>
                  </a:lnTo>
                  <a:lnTo>
                    <a:pt x="1637268" y="1996504"/>
                  </a:lnTo>
                  <a:lnTo>
                    <a:pt x="1641019" y="2000800"/>
                  </a:lnTo>
                  <a:lnTo>
                    <a:pt x="1643409" y="2002252"/>
                  </a:lnTo>
                  <a:lnTo>
                    <a:pt x="1627678" y="1999922"/>
                  </a:lnTo>
                  <a:lnTo>
                    <a:pt x="1622656" y="2002252"/>
                  </a:lnTo>
                  <a:lnTo>
                    <a:pt x="1619329" y="2005852"/>
                  </a:lnTo>
                  <a:lnTo>
                    <a:pt x="1617847" y="2008453"/>
                  </a:lnTo>
                  <a:lnTo>
                    <a:pt x="1617242" y="2011236"/>
                  </a:lnTo>
                  <a:lnTo>
                    <a:pt x="1617665" y="2012325"/>
                  </a:lnTo>
                  <a:lnTo>
                    <a:pt x="1619541" y="2013505"/>
                  </a:lnTo>
                  <a:lnTo>
                    <a:pt x="1619964" y="2014685"/>
                  </a:lnTo>
                  <a:lnTo>
                    <a:pt x="1619631" y="2016863"/>
                  </a:lnTo>
                  <a:lnTo>
                    <a:pt x="1618815" y="2018255"/>
                  </a:lnTo>
                  <a:lnTo>
                    <a:pt x="1617725" y="2018890"/>
                  </a:lnTo>
                  <a:lnTo>
                    <a:pt x="1616546" y="2018799"/>
                  </a:lnTo>
                  <a:lnTo>
                    <a:pt x="1618694" y="2020282"/>
                  </a:lnTo>
                  <a:lnTo>
                    <a:pt x="1653120" y="2016561"/>
                  </a:lnTo>
                  <a:lnTo>
                    <a:pt x="1657052" y="2014292"/>
                  </a:lnTo>
                  <a:lnTo>
                    <a:pt x="1661439" y="2014050"/>
                  </a:lnTo>
                  <a:lnTo>
                    <a:pt x="1663435" y="2013445"/>
                  </a:lnTo>
                  <a:lnTo>
                    <a:pt x="1667005" y="2011055"/>
                  </a:lnTo>
                  <a:lnTo>
                    <a:pt x="1683008" y="2006063"/>
                  </a:lnTo>
                  <a:lnTo>
                    <a:pt x="1687788" y="2006699"/>
                  </a:lnTo>
                  <a:lnTo>
                    <a:pt x="1690238" y="2006426"/>
                  </a:lnTo>
                  <a:lnTo>
                    <a:pt x="1669123" y="2011932"/>
                  </a:lnTo>
                  <a:lnTo>
                    <a:pt x="1662226" y="2017710"/>
                  </a:lnTo>
                  <a:lnTo>
                    <a:pt x="1658565" y="2018860"/>
                  </a:lnTo>
                  <a:lnTo>
                    <a:pt x="1661348" y="2021250"/>
                  </a:lnTo>
                  <a:lnTo>
                    <a:pt x="1662286" y="2023095"/>
                  </a:lnTo>
                  <a:lnTo>
                    <a:pt x="1661197" y="2024547"/>
                  </a:lnTo>
                  <a:lnTo>
                    <a:pt x="1657899" y="2025848"/>
                  </a:lnTo>
                  <a:lnTo>
                    <a:pt x="1660441" y="2027996"/>
                  </a:lnTo>
                  <a:lnTo>
                    <a:pt x="1670938" y="2028147"/>
                  </a:lnTo>
                  <a:lnTo>
                    <a:pt x="1674507" y="2027118"/>
                  </a:lnTo>
                  <a:lnTo>
                    <a:pt x="1686699" y="2019707"/>
                  </a:lnTo>
                  <a:lnTo>
                    <a:pt x="1708692" y="2015472"/>
                  </a:lnTo>
                  <a:lnTo>
                    <a:pt x="1713139" y="2012719"/>
                  </a:lnTo>
                  <a:lnTo>
                    <a:pt x="1722426" y="2011357"/>
                  </a:lnTo>
                  <a:lnTo>
                    <a:pt x="1727206" y="2009512"/>
                  </a:lnTo>
                  <a:lnTo>
                    <a:pt x="1729656" y="2009331"/>
                  </a:lnTo>
                  <a:lnTo>
                    <a:pt x="1729232" y="2010934"/>
                  </a:lnTo>
                  <a:lnTo>
                    <a:pt x="1728597" y="2012174"/>
                  </a:lnTo>
                  <a:lnTo>
                    <a:pt x="1727811" y="2013051"/>
                  </a:lnTo>
                  <a:lnTo>
                    <a:pt x="1726873" y="2013505"/>
                  </a:lnTo>
                  <a:lnTo>
                    <a:pt x="1728900" y="2017619"/>
                  </a:lnTo>
                  <a:lnTo>
                    <a:pt x="1735373" y="2021824"/>
                  </a:lnTo>
                  <a:lnTo>
                    <a:pt x="1737188" y="2027149"/>
                  </a:lnTo>
                  <a:lnTo>
                    <a:pt x="1735101" y="2026786"/>
                  </a:lnTo>
                  <a:lnTo>
                    <a:pt x="1726540" y="2019919"/>
                  </a:lnTo>
                  <a:lnTo>
                    <a:pt x="1724241" y="2018769"/>
                  </a:lnTo>
                  <a:lnTo>
                    <a:pt x="1721912" y="2018376"/>
                  </a:lnTo>
                  <a:lnTo>
                    <a:pt x="1717132" y="2019314"/>
                  </a:lnTo>
                  <a:lnTo>
                    <a:pt x="1705848" y="2019071"/>
                  </a:lnTo>
                  <a:lnTo>
                    <a:pt x="1683795" y="2025515"/>
                  </a:lnTo>
                  <a:lnTo>
                    <a:pt x="1679197" y="2029115"/>
                  </a:lnTo>
                  <a:lnTo>
                    <a:pt x="1674356" y="2030688"/>
                  </a:lnTo>
                  <a:lnTo>
                    <a:pt x="1673086" y="2032775"/>
                  </a:lnTo>
                  <a:lnTo>
                    <a:pt x="1673025" y="2035710"/>
                  </a:lnTo>
                  <a:lnTo>
                    <a:pt x="1675324" y="2042970"/>
                  </a:lnTo>
                  <a:lnTo>
                    <a:pt x="1675264" y="2046631"/>
                  </a:lnTo>
                  <a:lnTo>
                    <a:pt x="1674023" y="2048748"/>
                  </a:lnTo>
                  <a:lnTo>
                    <a:pt x="1671694" y="2048022"/>
                  </a:lnTo>
                  <a:lnTo>
                    <a:pt x="1672027" y="2041669"/>
                  </a:lnTo>
                  <a:lnTo>
                    <a:pt x="1669728" y="2037706"/>
                  </a:lnTo>
                  <a:lnTo>
                    <a:pt x="1666430" y="2036678"/>
                  </a:lnTo>
                  <a:lnTo>
                    <a:pt x="1663798" y="2039037"/>
                  </a:lnTo>
                  <a:lnTo>
                    <a:pt x="1663254" y="2042698"/>
                  </a:lnTo>
                  <a:lnTo>
                    <a:pt x="1664252" y="2046056"/>
                  </a:lnTo>
                  <a:lnTo>
                    <a:pt x="1666158" y="2048839"/>
                  </a:lnTo>
                  <a:lnTo>
                    <a:pt x="1668276" y="2050745"/>
                  </a:lnTo>
                  <a:lnTo>
                    <a:pt x="1672541" y="2052409"/>
                  </a:lnTo>
                  <a:lnTo>
                    <a:pt x="1696712" y="2048476"/>
                  </a:lnTo>
                  <a:lnTo>
                    <a:pt x="1700010" y="2050745"/>
                  </a:lnTo>
                  <a:lnTo>
                    <a:pt x="1680921" y="2054859"/>
                  </a:lnTo>
                  <a:lnTo>
                    <a:pt x="1679348" y="2055706"/>
                  </a:lnTo>
                  <a:lnTo>
                    <a:pt x="1678834" y="2057733"/>
                  </a:lnTo>
                  <a:lnTo>
                    <a:pt x="1678712" y="2060213"/>
                  </a:lnTo>
                  <a:lnTo>
                    <a:pt x="1678228" y="2062422"/>
                  </a:lnTo>
                  <a:lnTo>
                    <a:pt x="1676292" y="2065023"/>
                  </a:lnTo>
                  <a:lnTo>
                    <a:pt x="1675385" y="2063571"/>
                  </a:lnTo>
                  <a:lnTo>
                    <a:pt x="1674810" y="2060304"/>
                  </a:lnTo>
                  <a:lnTo>
                    <a:pt x="1673781" y="2057521"/>
                  </a:lnTo>
                  <a:lnTo>
                    <a:pt x="1670908" y="2055887"/>
                  </a:lnTo>
                  <a:lnTo>
                    <a:pt x="1665039" y="2056099"/>
                  </a:lnTo>
                  <a:lnTo>
                    <a:pt x="1658444" y="2047115"/>
                  </a:lnTo>
                  <a:lnTo>
                    <a:pt x="1653453" y="2044694"/>
                  </a:lnTo>
                  <a:lnTo>
                    <a:pt x="1642743" y="2042547"/>
                  </a:lnTo>
                  <a:lnTo>
                    <a:pt x="1639053" y="2040127"/>
                  </a:lnTo>
                  <a:lnTo>
                    <a:pt x="1637571" y="2039794"/>
                  </a:lnTo>
                  <a:lnTo>
                    <a:pt x="1635120" y="2045844"/>
                  </a:lnTo>
                  <a:lnTo>
                    <a:pt x="1635453" y="2046842"/>
                  </a:lnTo>
                  <a:lnTo>
                    <a:pt x="1636845" y="2049323"/>
                  </a:lnTo>
                  <a:lnTo>
                    <a:pt x="1637208" y="2050775"/>
                  </a:lnTo>
                  <a:lnTo>
                    <a:pt x="1636905" y="2052348"/>
                  </a:lnTo>
                  <a:lnTo>
                    <a:pt x="1635544" y="2057098"/>
                  </a:lnTo>
                  <a:lnTo>
                    <a:pt x="1635120" y="2059003"/>
                  </a:lnTo>
                  <a:lnTo>
                    <a:pt x="1634515" y="2059003"/>
                  </a:lnTo>
                  <a:lnTo>
                    <a:pt x="1634334" y="2055010"/>
                  </a:lnTo>
                  <a:lnTo>
                    <a:pt x="1632760" y="2049020"/>
                  </a:lnTo>
                  <a:lnTo>
                    <a:pt x="1632397" y="2045874"/>
                  </a:lnTo>
                  <a:lnTo>
                    <a:pt x="1631460" y="2043273"/>
                  </a:lnTo>
                  <a:lnTo>
                    <a:pt x="1626983" y="2043787"/>
                  </a:lnTo>
                  <a:lnTo>
                    <a:pt x="1625561" y="2041095"/>
                  </a:lnTo>
                  <a:lnTo>
                    <a:pt x="1627134" y="2040641"/>
                  </a:lnTo>
                  <a:lnTo>
                    <a:pt x="1628828" y="2039612"/>
                  </a:lnTo>
                  <a:lnTo>
                    <a:pt x="1630250" y="2037918"/>
                  </a:lnTo>
                  <a:lnTo>
                    <a:pt x="1631036" y="2035498"/>
                  </a:lnTo>
                  <a:lnTo>
                    <a:pt x="1614852" y="2034590"/>
                  </a:lnTo>
                  <a:lnTo>
                    <a:pt x="1610405" y="2036980"/>
                  </a:lnTo>
                  <a:lnTo>
                    <a:pt x="1611252" y="2038765"/>
                  </a:lnTo>
                  <a:lnTo>
                    <a:pt x="1612220" y="2040066"/>
                  </a:lnTo>
                  <a:lnTo>
                    <a:pt x="1613309" y="2040853"/>
                  </a:lnTo>
                  <a:lnTo>
                    <a:pt x="1614549" y="2041095"/>
                  </a:lnTo>
                  <a:lnTo>
                    <a:pt x="1613218" y="2044331"/>
                  </a:lnTo>
                  <a:lnTo>
                    <a:pt x="1612492" y="2045209"/>
                  </a:lnTo>
                  <a:lnTo>
                    <a:pt x="1613097" y="2046328"/>
                  </a:lnTo>
                  <a:lnTo>
                    <a:pt x="1613763" y="2048234"/>
                  </a:lnTo>
                  <a:lnTo>
                    <a:pt x="1614065" y="2050019"/>
                  </a:lnTo>
                  <a:lnTo>
                    <a:pt x="1613490" y="2050805"/>
                  </a:lnTo>
                  <a:lnTo>
                    <a:pt x="1611705" y="2050624"/>
                  </a:lnTo>
                  <a:lnTo>
                    <a:pt x="1611494" y="2050079"/>
                  </a:lnTo>
                  <a:lnTo>
                    <a:pt x="1611857" y="2049232"/>
                  </a:lnTo>
                  <a:lnTo>
                    <a:pt x="1611736" y="2048083"/>
                  </a:lnTo>
                  <a:lnTo>
                    <a:pt x="1609860" y="2045421"/>
                  </a:lnTo>
                  <a:lnTo>
                    <a:pt x="1599333" y="2035589"/>
                  </a:lnTo>
                  <a:lnTo>
                    <a:pt x="1597215" y="2034711"/>
                  </a:lnTo>
                  <a:lnTo>
                    <a:pt x="1594583" y="2035437"/>
                  </a:lnTo>
                  <a:lnTo>
                    <a:pt x="1590257" y="2038886"/>
                  </a:lnTo>
                  <a:lnTo>
                    <a:pt x="1586234" y="2043787"/>
                  </a:lnTo>
                  <a:lnTo>
                    <a:pt x="1585689" y="2041760"/>
                  </a:lnTo>
                  <a:lnTo>
                    <a:pt x="1584782" y="2041064"/>
                  </a:lnTo>
                  <a:lnTo>
                    <a:pt x="1583723" y="2041730"/>
                  </a:lnTo>
                  <a:lnTo>
                    <a:pt x="1582816" y="2043757"/>
                  </a:lnTo>
                  <a:lnTo>
                    <a:pt x="1583753" y="2045421"/>
                  </a:lnTo>
                  <a:lnTo>
                    <a:pt x="1583753" y="2047901"/>
                  </a:lnTo>
                  <a:lnTo>
                    <a:pt x="1582816" y="2053498"/>
                  </a:lnTo>
                  <a:lnTo>
                    <a:pt x="1582120" y="2053498"/>
                  </a:lnTo>
                  <a:lnTo>
                    <a:pt x="1581636" y="2049293"/>
                  </a:lnTo>
                  <a:lnTo>
                    <a:pt x="1579851" y="2045784"/>
                  </a:lnTo>
                  <a:lnTo>
                    <a:pt x="1577461" y="2043394"/>
                  </a:lnTo>
                  <a:lnTo>
                    <a:pt x="1575222" y="2042486"/>
                  </a:lnTo>
                  <a:lnTo>
                    <a:pt x="1553320" y="2043908"/>
                  </a:lnTo>
                  <a:lnTo>
                    <a:pt x="1550446" y="2045118"/>
                  </a:lnTo>
                  <a:lnTo>
                    <a:pt x="1547936" y="2047054"/>
                  </a:lnTo>
                  <a:lnTo>
                    <a:pt x="1546816" y="2048657"/>
                  </a:lnTo>
                  <a:lnTo>
                    <a:pt x="1546241" y="2050715"/>
                  </a:lnTo>
                  <a:lnTo>
                    <a:pt x="1546725" y="2052136"/>
                  </a:lnTo>
                  <a:lnTo>
                    <a:pt x="1547754" y="2053165"/>
                  </a:lnTo>
                  <a:lnTo>
                    <a:pt x="1548359" y="2054677"/>
                  </a:lnTo>
                  <a:lnTo>
                    <a:pt x="1547603" y="2057461"/>
                  </a:lnTo>
                  <a:lnTo>
                    <a:pt x="1547875" y="2058187"/>
                  </a:lnTo>
                  <a:lnTo>
                    <a:pt x="1548056" y="2058247"/>
                  </a:lnTo>
                  <a:lnTo>
                    <a:pt x="1548056" y="2058610"/>
                  </a:lnTo>
                  <a:lnTo>
                    <a:pt x="1547573" y="2060153"/>
                  </a:lnTo>
                  <a:lnTo>
                    <a:pt x="1574738" y="2058277"/>
                  </a:lnTo>
                  <a:lnTo>
                    <a:pt x="1577945" y="2060153"/>
                  </a:lnTo>
                  <a:lnTo>
                    <a:pt x="1575767" y="2060002"/>
                  </a:lnTo>
                  <a:lnTo>
                    <a:pt x="1568990" y="2061666"/>
                  </a:lnTo>
                  <a:lnTo>
                    <a:pt x="1568990" y="2063027"/>
                  </a:lnTo>
                  <a:lnTo>
                    <a:pt x="1578157" y="2063602"/>
                  </a:lnTo>
                  <a:lnTo>
                    <a:pt x="1582846" y="2061635"/>
                  </a:lnTo>
                  <a:lnTo>
                    <a:pt x="1586657" y="2064993"/>
                  </a:lnTo>
                  <a:lnTo>
                    <a:pt x="1588956" y="2065749"/>
                  </a:lnTo>
                  <a:lnTo>
                    <a:pt x="1588956" y="2067111"/>
                  </a:lnTo>
                  <a:lnTo>
                    <a:pt x="1578550" y="2067201"/>
                  </a:lnTo>
                  <a:lnTo>
                    <a:pt x="1574678" y="2065447"/>
                  </a:lnTo>
                  <a:lnTo>
                    <a:pt x="1566722" y="2065205"/>
                  </a:lnTo>
                  <a:lnTo>
                    <a:pt x="1564422" y="2066445"/>
                  </a:lnTo>
                  <a:lnTo>
                    <a:pt x="1562849" y="2067776"/>
                  </a:lnTo>
                  <a:lnTo>
                    <a:pt x="1555166" y="2071255"/>
                  </a:lnTo>
                  <a:lnTo>
                    <a:pt x="1546211" y="2072102"/>
                  </a:lnTo>
                  <a:lnTo>
                    <a:pt x="1543489" y="2073857"/>
                  </a:lnTo>
                  <a:lnTo>
                    <a:pt x="1545515" y="2075460"/>
                  </a:lnTo>
                  <a:lnTo>
                    <a:pt x="1547633" y="2075067"/>
                  </a:lnTo>
                  <a:lnTo>
                    <a:pt x="1549720" y="2074069"/>
                  </a:lnTo>
                  <a:lnTo>
                    <a:pt x="1551747" y="2073827"/>
                  </a:lnTo>
                  <a:lnTo>
                    <a:pt x="1553199" y="2074764"/>
                  </a:lnTo>
                  <a:lnTo>
                    <a:pt x="1555619" y="2077971"/>
                  </a:lnTo>
                  <a:lnTo>
                    <a:pt x="1557253" y="2079393"/>
                  </a:lnTo>
                  <a:lnTo>
                    <a:pt x="1561125" y="2080633"/>
                  </a:lnTo>
                  <a:lnTo>
                    <a:pt x="1569777" y="2079484"/>
                  </a:lnTo>
                  <a:lnTo>
                    <a:pt x="1590560" y="2070136"/>
                  </a:lnTo>
                  <a:lnTo>
                    <a:pt x="1600694" y="2069954"/>
                  </a:lnTo>
                  <a:lnTo>
                    <a:pt x="1599000" y="2071558"/>
                  </a:lnTo>
                  <a:lnTo>
                    <a:pt x="1597245" y="2072677"/>
                  </a:lnTo>
                  <a:lnTo>
                    <a:pt x="1599272" y="2073675"/>
                  </a:lnTo>
                  <a:lnTo>
                    <a:pt x="1603507" y="2073343"/>
                  </a:lnTo>
                  <a:lnTo>
                    <a:pt x="1605625" y="2073796"/>
                  </a:lnTo>
                  <a:lnTo>
                    <a:pt x="1606805" y="2074734"/>
                  </a:lnTo>
                  <a:lnTo>
                    <a:pt x="1619299" y="2090283"/>
                  </a:lnTo>
                  <a:lnTo>
                    <a:pt x="1617877" y="2091251"/>
                  </a:lnTo>
                  <a:lnTo>
                    <a:pt x="1616364" y="2091645"/>
                  </a:lnTo>
                  <a:lnTo>
                    <a:pt x="1613127" y="2091645"/>
                  </a:lnTo>
                  <a:lnTo>
                    <a:pt x="1617453" y="2100508"/>
                  </a:lnTo>
                  <a:lnTo>
                    <a:pt x="1623927" y="2104804"/>
                  </a:lnTo>
                  <a:lnTo>
                    <a:pt x="1637994" y="2108222"/>
                  </a:lnTo>
                  <a:lnTo>
                    <a:pt x="1651305" y="2105984"/>
                  </a:lnTo>
                  <a:lnTo>
                    <a:pt x="1654209" y="2107496"/>
                  </a:lnTo>
                  <a:lnTo>
                    <a:pt x="1655177" y="2108525"/>
                  </a:lnTo>
                  <a:lnTo>
                    <a:pt x="1659382" y="2110945"/>
                  </a:lnTo>
                  <a:lnTo>
                    <a:pt x="1663556" y="2117631"/>
                  </a:lnTo>
                  <a:lnTo>
                    <a:pt x="1663556" y="2119113"/>
                  </a:lnTo>
                  <a:lnTo>
                    <a:pt x="1661620" y="2118538"/>
                  </a:lnTo>
                  <a:lnTo>
                    <a:pt x="1659351" y="2116602"/>
                  </a:lnTo>
                  <a:lnTo>
                    <a:pt x="1657204" y="2114061"/>
                  </a:lnTo>
                  <a:lnTo>
                    <a:pt x="1655600" y="2111580"/>
                  </a:lnTo>
                  <a:lnTo>
                    <a:pt x="1653059" y="2109281"/>
                  </a:lnTo>
                  <a:lnTo>
                    <a:pt x="1650095" y="2109433"/>
                  </a:lnTo>
                  <a:lnTo>
                    <a:pt x="1647281" y="2111369"/>
                  </a:lnTo>
                  <a:lnTo>
                    <a:pt x="1645224" y="2114303"/>
                  </a:lnTo>
                  <a:lnTo>
                    <a:pt x="1642834" y="2115362"/>
                  </a:lnTo>
                  <a:lnTo>
                    <a:pt x="1633124" y="2109493"/>
                  </a:lnTo>
                  <a:lnTo>
                    <a:pt x="1626952" y="2110370"/>
                  </a:lnTo>
                  <a:lnTo>
                    <a:pt x="1625561" y="2110975"/>
                  </a:lnTo>
                  <a:lnTo>
                    <a:pt x="1624593" y="2112367"/>
                  </a:lnTo>
                  <a:lnTo>
                    <a:pt x="1624381" y="2113516"/>
                  </a:lnTo>
                  <a:lnTo>
                    <a:pt x="1625561" y="2124861"/>
                  </a:lnTo>
                  <a:lnTo>
                    <a:pt x="1625470" y="2128672"/>
                  </a:lnTo>
                  <a:lnTo>
                    <a:pt x="1624472" y="2131970"/>
                  </a:lnTo>
                  <a:lnTo>
                    <a:pt x="1620388" y="2136840"/>
                  </a:lnTo>
                  <a:lnTo>
                    <a:pt x="1619057" y="2139472"/>
                  </a:lnTo>
                  <a:lnTo>
                    <a:pt x="1619662" y="2142739"/>
                  </a:lnTo>
                  <a:lnTo>
                    <a:pt x="1624744" y="2145190"/>
                  </a:lnTo>
                  <a:lnTo>
                    <a:pt x="1636784" y="2139170"/>
                  </a:lnTo>
                  <a:lnTo>
                    <a:pt x="1640626" y="2144827"/>
                  </a:lnTo>
                  <a:lnTo>
                    <a:pt x="1637086" y="2142316"/>
                  </a:lnTo>
                  <a:lnTo>
                    <a:pt x="1635816" y="2141983"/>
                  </a:lnTo>
                  <a:lnTo>
                    <a:pt x="1634303" y="2142437"/>
                  </a:lnTo>
                  <a:lnTo>
                    <a:pt x="1631792" y="2144373"/>
                  </a:lnTo>
                  <a:lnTo>
                    <a:pt x="1623867" y="2147096"/>
                  </a:lnTo>
                  <a:lnTo>
                    <a:pt x="1620509" y="2147398"/>
                  </a:lnTo>
                  <a:lnTo>
                    <a:pt x="1617272" y="2144827"/>
                  </a:lnTo>
                  <a:lnTo>
                    <a:pt x="1615547" y="2140955"/>
                  </a:lnTo>
                  <a:lnTo>
                    <a:pt x="1615941" y="2137869"/>
                  </a:lnTo>
                  <a:lnTo>
                    <a:pt x="1621326" y="2128945"/>
                  </a:lnTo>
                  <a:lnTo>
                    <a:pt x="1622233" y="2126615"/>
                  </a:lnTo>
                  <a:lnTo>
                    <a:pt x="1622475" y="2123711"/>
                  </a:lnTo>
                  <a:lnTo>
                    <a:pt x="1621658" y="2114878"/>
                  </a:lnTo>
                  <a:lnTo>
                    <a:pt x="1621356" y="2113244"/>
                  </a:lnTo>
                  <a:lnTo>
                    <a:pt x="1620660" y="2110975"/>
                  </a:lnTo>
                  <a:lnTo>
                    <a:pt x="1619631" y="2108858"/>
                  </a:lnTo>
                  <a:lnTo>
                    <a:pt x="1610314" y="2097423"/>
                  </a:lnTo>
                  <a:lnTo>
                    <a:pt x="1609043" y="2094549"/>
                  </a:lnTo>
                  <a:lnTo>
                    <a:pt x="1608983" y="2089557"/>
                  </a:lnTo>
                  <a:lnTo>
                    <a:pt x="1609769" y="2085201"/>
                  </a:lnTo>
                  <a:lnTo>
                    <a:pt x="1609588" y="2082116"/>
                  </a:lnTo>
                  <a:lnTo>
                    <a:pt x="1596429" y="2078879"/>
                  </a:lnTo>
                  <a:lnTo>
                    <a:pt x="1593918" y="2076216"/>
                  </a:lnTo>
                  <a:lnTo>
                    <a:pt x="1592435" y="2075369"/>
                  </a:lnTo>
                  <a:lnTo>
                    <a:pt x="1590439" y="2075732"/>
                  </a:lnTo>
                  <a:lnTo>
                    <a:pt x="1586415" y="2078727"/>
                  </a:lnTo>
                  <a:lnTo>
                    <a:pt x="1577824" y="2082176"/>
                  </a:lnTo>
                  <a:lnTo>
                    <a:pt x="1575888" y="2083568"/>
                  </a:lnTo>
                  <a:lnTo>
                    <a:pt x="1575888" y="2084929"/>
                  </a:lnTo>
                  <a:lnTo>
                    <a:pt x="1577370" y="2086048"/>
                  </a:lnTo>
                  <a:lnTo>
                    <a:pt x="1577733" y="2088377"/>
                  </a:lnTo>
                  <a:lnTo>
                    <a:pt x="1577673" y="2091403"/>
                  </a:lnTo>
                  <a:lnTo>
                    <a:pt x="1577945" y="2094609"/>
                  </a:lnTo>
                  <a:lnTo>
                    <a:pt x="1574859" y="2089043"/>
                  </a:lnTo>
                  <a:lnTo>
                    <a:pt x="1573831" y="2087682"/>
                  </a:lnTo>
                  <a:lnTo>
                    <a:pt x="1571471" y="2085897"/>
                  </a:lnTo>
                  <a:lnTo>
                    <a:pt x="1569414" y="2085655"/>
                  </a:lnTo>
                  <a:lnTo>
                    <a:pt x="1564846" y="2086472"/>
                  </a:lnTo>
                  <a:lnTo>
                    <a:pt x="1561397" y="2088317"/>
                  </a:lnTo>
                  <a:lnTo>
                    <a:pt x="1560369" y="2092794"/>
                  </a:lnTo>
                  <a:lnTo>
                    <a:pt x="1561155" y="2098391"/>
                  </a:lnTo>
                  <a:lnTo>
                    <a:pt x="1563152" y="2103473"/>
                  </a:lnTo>
                  <a:lnTo>
                    <a:pt x="1570927" y="2115029"/>
                  </a:lnTo>
                  <a:lnTo>
                    <a:pt x="1579578" y="2133422"/>
                  </a:lnTo>
                  <a:lnTo>
                    <a:pt x="1580698" y="2138292"/>
                  </a:lnTo>
                  <a:lnTo>
                    <a:pt x="1574496" y="2143586"/>
                  </a:lnTo>
                  <a:lnTo>
                    <a:pt x="1577159" y="2137808"/>
                  </a:lnTo>
                  <a:lnTo>
                    <a:pt x="1577552" y="2135086"/>
                  </a:lnTo>
                  <a:lnTo>
                    <a:pt x="1576523" y="2131425"/>
                  </a:lnTo>
                  <a:lnTo>
                    <a:pt x="1569656" y="2119234"/>
                  </a:lnTo>
                  <a:lnTo>
                    <a:pt x="1567417" y="2116058"/>
                  </a:lnTo>
                  <a:lnTo>
                    <a:pt x="1562729" y="2112367"/>
                  </a:lnTo>
                  <a:lnTo>
                    <a:pt x="1560732" y="2109584"/>
                  </a:lnTo>
                  <a:lnTo>
                    <a:pt x="1558675" y="2102777"/>
                  </a:lnTo>
                  <a:lnTo>
                    <a:pt x="1555680" y="2096606"/>
                  </a:lnTo>
                  <a:lnTo>
                    <a:pt x="1555256" y="2095214"/>
                  </a:lnTo>
                  <a:lnTo>
                    <a:pt x="1552443" y="2091312"/>
                  </a:lnTo>
                  <a:lnTo>
                    <a:pt x="1546060" y="2093520"/>
                  </a:lnTo>
                  <a:lnTo>
                    <a:pt x="1534595" y="2100055"/>
                  </a:lnTo>
                  <a:lnTo>
                    <a:pt x="1529573" y="2101234"/>
                  </a:lnTo>
                  <a:lnTo>
                    <a:pt x="1523976" y="2104562"/>
                  </a:lnTo>
                  <a:lnTo>
                    <a:pt x="1519015" y="2109735"/>
                  </a:lnTo>
                  <a:lnTo>
                    <a:pt x="1515929" y="2116511"/>
                  </a:lnTo>
                  <a:lnTo>
                    <a:pt x="1517684" y="2116844"/>
                  </a:lnTo>
                  <a:lnTo>
                    <a:pt x="1518682" y="2118780"/>
                  </a:lnTo>
                  <a:lnTo>
                    <a:pt x="1519439" y="2120928"/>
                  </a:lnTo>
                  <a:lnTo>
                    <a:pt x="1520377" y="2121926"/>
                  </a:lnTo>
                  <a:lnTo>
                    <a:pt x="1524188" y="2122652"/>
                  </a:lnTo>
                  <a:lnTo>
                    <a:pt x="1526215" y="2123500"/>
                  </a:lnTo>
                  <a:lnTo>
                    <a:pt x="1527667" y="2124619"/>
                  </a:lnTo>
                  <a:lnTo>
                    <a:pt x="1522918" y="2124165"/>
                  </a:lnTo>
                  <a:lnTo>
                    <a:pt x="1520830" y="2123348"/>
                  </a:lnTo>
                  <a:lnTo>
                    <a:pt x="1516898" y="2120535"/>
                  </a:lnTo>
                  <a:lnTo>
                    <a:pt x="1515113" y="2119718"/>
                  </a:lnTo>
                  <a:lnTo>
                    <a:pt x="1513721" y="2120505"/>
                  </a:lnTo>
                  <a:lnTo>
                    <a:pt x="1513177" y="2123953"/>
                  </a:lnTo>
                  <a:lnTo>
                    <a:pt x="1513994" y="2125799"/>
                  </a:lnTo>
                  <a:lnTo>
                    <a:pt x="1519408" y="2128703"/>
                  </a:lnTo>
                  <a:lnTo>
                    <a:pt x="1523885" y="2135721"/>
                  </a:lnTo>
                  <a:lnTo>
                    <a:pt x="1525217" y="2136810"/>
                  </a:lnTo>
                  <a:lnTo>
                    <a:pt x="1526064" y="2137869"/>
                  </a:lnTo>
                  <a:lnTo>
                    <a:pt x="1528847" y="2142497"/>
                  </a:lnTo>
                  <a:lnTo>
                    <a:pt x="1530087" y="2143556"/>
                  </a:lnTo>
                  <a:lnTo>
                    <a:pt x="1558070" y="2151633"/>
                  </a:lnTo>
                  <a:lnTo>
                    <a:pt x="1558070" y="2152964"/>
                  </a:lnTo>
                  <a:lnTo>
                    <a:pt x="1542127" y="2149032"/>
                  </a:lnTo>
                  <a:lnTo>
                    <a:pt x="1533778" y="2148759"/>
                  </a:lnTo>
                  <a:lnTo>
                    <a:pt x="1530087" y="2149758"/>
                  </a:lnTo>
                  <a:lnTo>
                    <a:pt x="1526275" y="2151603"/>
                  </a:lnTo>
                  <a:lnTo>
                    <a:pt x="1526729" y="2148064"/>
                  </a:lnTo>
                  <a:lnTo>
                    <a:pt x="1525610" y="2145462"/>
                  </a:lnTo>
                  <a:lnTo>
                    <a:pt x="1518228" y="2137597"/>
                  </a:lnTo>
                  <a:lnTo>
                    <a:pt x="1516595" y="2137415"/>
                  </a:lnTo>
                  <a:lnTo>
                    <a:pt x="1514780" y="2147822"/>
                  </a:lnTo>
                  <a:lnTo>
                    <a:pt x="1512027" y="2152995"/>
                  </a:lnTo>
                  <a:lnTo>
                    <a:pt x="1505584" y="2161193"/>
                  </a:lnTo>
                  <a:lnTo>
                    <a:pt x="1506310" y="2154991"/>
                  </a:lnTo>
                  <a:lnTo>
                    <a:pt x="1511785" y="2146642"/>
                  </a:lnTo>
                  <a:lnTo>
                    <a:pt x="1513146" y="2141469"/>
                  </a:lnTo>
                  <a:lnTo>
                    <a:pt x="1513570" y="2135509"/>
                  </a:lnTo>
                  <a:lnTo>
                    <a:pt x="1513631" y="2132787"/>
                  </a:lnTo>
                  <a:lnTo>
                    <a:pt x="1513146" y="2129943"/>
                  </a:lnTo>
                  <a:lnTo>
                    <a:pt x="1511634" y="2127402"/>
                  </a:lnTo>
                  <a:lnTo>
                    <a:pt x="1509274" y="2125557"/>
                  </a:lnTo>
                  <a:lnTo>
                    <a:pt x="1506794" y="2124740"/>
                  </a:lnTo>
                  <a:lnTo>
                    <a:pt x="1504888" y="2125345"/>
                  </a:lnTo>
                  <a:lnTo>
                    <a:pt x="1499624" y="2129459"/>
                  </a:lnTo>
                  <a:lnTo>
                    <a:pt x="1498021" y="2129943"/>
                  </a:lnTo>
                  <a:lnTo>
                    <a:pt x="1492424" y="2129398"/>
                  </a:lnTo>
                  <a:lnTo>
                    <a:pt x="1489399" y="2129731"/>
                  </a:lnTo>
                  <a:lnTo>
                    <a:pt x="1487644" y="2131395"/>
                  </a:lnTo>
                  <a:lnTo>
                    <a:pt x="1487765" y="2136750"/>
                  </a:lnTo>
                  <a:lnTo>
                    <a:pt x="1490549" y="2140924"/>
                  </a:lnTo>
                  <a:lnTo>
                    <a:pt x="1493967" y="2144373"/>
                  </a:lnTo>
                  <a:lnTo>
                    <a:pt x="1495933" y="2147610"/>
                  </a:lnTo>
                  <a:lnTo>
                    <a:pt x="1490246" y="2142800"/>
                  </a:lnTo>
                  <a:lnTo>
                    <a:pt x="1487039" y="2141136"/>
                  </a:lnTo>
                  <a:lnTo>
                    <a:pt x="1486223" y="2138837"/>
                  </a:lnTo>
                  <a:lnTo>
                    <a:pt x="1485708" y="2136175"/>
                  </a:lnTo>
                  <a:lnTo>
                    <a:pt x="1484861" y="2133966"/>
                  </a:lnTo>
                  <a:lnTo>
                    <a:pt x="1483076" y="2132514"/>
                  </a:lnTo>
                  <a:lnTo>
                    <a:pt x="1473214" y="2130699"/>
                  </a:lnTo>
                  <a:lnTo>
                    <a:pt x="1468677" y="2127825"/>
                  </a:lnTo>
                  <a:lnTo>
                    <a:pt x="1466196" y="2127341"/>
                  </a:lnTo>
                  <a:lnTo>
                    <a:pt x="1463867" y="2128309"/>
                  </a:lnTo>
                  <a:lnTo>
                    <a:pt x="1462808" y="2130336"/>
                  </a:lnTo>
                  <a:lnTo>
                    <a:pt x="1462143" y="2133089"/>
                  </a:lnTo>
                  <a:lnTo>
                    <a:pt x="1459904" y="2138867"/>
                  </a:lnTo>
                  <a:lnTo>
                    <a:pt x="1459813" y="2140773"/>
                  </a:lnTo>
                  <a:lnTo>
                    <a:pt x="1460751" y="2142225"/>
                  </a:lnTo>
                  <a:lnTo>
                    <a:pt x="1462747" y="2143556"/>
                  </a:lnTo>
                  <a:lnTo>
                    <a:pt x="1477299" y="2147398"/>
                  </a:lnTo>
                  <a:lnTo>
                    <a:pt x="1480021" y="2151633"/>
                  </a:lnTo>
                  <a:lnTo>
                    <a:pt x="1478871" y="2151180"/>
                  </a:lnTo>
                  <a:lnTo>
                    <a:pt x="1476905" y="2149395"/>
                  </a:lnTo>
                  <a:lnTo>
                    <a:pt x="1475876" y="2149062"/>
                  </a:lnTo>
                  <a:lnTo>
                    <a:pt x="1474455" y="2149516"/>
                  </a:lnTo>
                  <a:lnTo>
                    <a:pt x="1473910" y="2150333"/>
                  </a:lnTo>
                  <a:lnTo>
                    <a:pt x="1473638" y="2151512"/>
                  </a:lnTo>
                  <a:lnTo>
                    <a:pt x="1470371" y="2159680"/>
                  </a:lnTo>
                  <a:lnTo>
                    <a:pt x="1468889" y="2162373"/>
                  </a:lnTo>
                  <a:lnTo>
                    <a:pt x="1467557" y="2163310"/>
                  </a:lnTo>
                  <a:lnTo>
                    <a:pt x="1466922" y="2163764"/>
                  </a:lnTo>
                  <a:lnTo>
                    <a:pt x="1465894" y="2152934"/>
                  </a:lnTo>
                  <a:lnTo>
                    <a:pt x="1459813" y="2147670"/>
                  </a:lnTo>
                  <a:lnTo>
                    <a:pt x="1452462" y="2144071"/>
                  </a:lnTo>
                  <a:lnTo>
                    <a:pt x="1447622" y="2138262"/>
                  </a:lnTo>
                  <a:lnTo>
                    <a:pt x="1447622" y="2137234"/>
                  </a:lnTo>
                  <a:lnTo>
                    <a:pt x="1448136" y="2134602"/>
                  </a:lnTo>
                  <a:lnTo>
                    <a:pt x="1448287" y="2133331"/>
                  </a:lnTo>
                  <a:lnTo>
                    <a:pt x="1448045" y="2131607"/>
                  </a:lnTo>
                  <a:lnTo>
                    <a:pt x="1447470" y="2131425"/>
                  </a:lnTo>
                  <a:lnTo>
                    <a:pt x="1446684" y="2131516"/>
                  </a:lnTo>
                  <a:lnTo>
                    <a:pt x="1445898" y="2130639"/>
                  </a:lnTo>
                  <a:lnTo>
                    <a:pt x="1444687" y="2128884"/>
                  </a:lnTo>
                  <a:lnTo>
                    <a:pt x="1441571" y="2126676"/>
                  </a:lnTo>
                  <a:lnTo>
                    <a:pt x="1438698" y="2123015"/>
                  </a:lnTo>
                  <a:lnTo>
                    <a:pt x="1437488" y="2122652"/>
                  </a:lnTo>
                  <a:lnTo>
                    <a:pt x="1435158" y="2124589"/>
                  </a:lnTo>
                  <a:lnTo>
                    <a:pt x="1435098" y="2125073"/>
                  </a:lnTo>
                  <a:lnTo>
                    <a:pt x="1435188" y="2126888"/>
                  </a:lnTo>
                  <a:lnTo>
                    <a:pt x="1435188" y="2127341"/>
                  </a:lnTo>
                  <a:lnTo>
                    <a:pt x="1434644" y="2127462"/>
                  </a:lnTo>
                  <a:lnTo>
                    <a:pt x="1433585" y="2127220"/>
                  </a:lnTo>
                  <a:lnTo>
                    <a:pt x="1433101" y="2127341"/>
                  </a:lnTo>
                  <a:lnTo>
                    <a:pt x="1430106" y="2126827"/>
                  </a:lnTo>
                  <a:lnTo>
                    <a:pt x="1428987" y="2127341"/>
                  </a:lnTo>
                  <a:lnTo>
                    <a:pt x="1428896" y="2128582"/>
                  </a:lnTo>
                  <a:lnTo>
                    <a:pt x="1428715" y="2128794"/>
                  </a:lnTo>
                  <a:lnTo>
                    <a:pt x="1428291" y="2128672"/>
                  </a:lnTo>
                  <a:lnTo>
                    <a:pt x="1428654" y="2129308"/>
                  </a:lnTo>
                  <a:lnTo>
                    <a:pt x="1429290" y="2130790"/>
                  </a:lnTo>
                  <a:lnTo>
                    <a:pt x="1429653" y="2131395"/>
                  </a:lnTo>
                  <a:lnTo>
                    <a:pt x="1429108" y="2131698"/>
                  </a:lnTo>
                  <a:lnTo>
                    <a:pt x="1428110" y="2132514"/>
                  </a:lnTo>
                  <a:lnTo>
                    <a:pt x="1427535" y="2132756"/>
                  </a:lnTo>
                  <a:lnTo>
                    <a:pt x="1428503" y="2134995"/>
                  </a:lnTo>
                  <a:lnTo>
                    <a:pt x="1431619" y="2137506"/>
                  </a:lnTo>
                  <a:lnTo>
                    <a:pt x="1433101" y="2139533"/>
                  </a:lnTo>
                  <a:lnTo>
                    <a:pt x="1431468" y="2140561"/>
                  </a:lnTo>
                  <a:lnTo>
                    <a:pt x="1430651" y="2140864"/>
                  </a:lnTo>
                  <a:lnTo>
                    <a:pt x="1429653" y="2140864"/>
                  </a:lnTo>
                  <a:lnTo>
                    <a:pt x="1431407" y="2143617"/>
                  </a:lnTo>
                  <a:lnTo>
                    <a:pt x="1441420" y="2144978"/>
                  </a:lnTo>
                  <a:lnTo>
                    <a:pt x="1450405" y="2151724"/>
                  </a:lnTo>
                  <a:lnTo>
                    <a:pt x="1451948" y="2153902"/>
                  </a:lnTo>
                  <a:lnTo>
                    <a:pt x="1453400" y="2156504"/>
                  </a:lnTo>
                  <a:lnTo>
                    <a:pt x="1454731" y="2157895"/>
                  </a:lnTo>
                  <a:lnTo>
                    <a:pt x="1457847" y="2157895"/>
                  </a:lnTo>
                  <a:lnTo>
                    <a:pt x="1459268" y="2158470"/>
                  </a:lnTo>
                  <a:lnTo>
                    <a:pt x="1460691" y="2161223"/>
                  </a:lnTo>
                  <a:lnTo>
                    <a:pt x="1458331" y="2162010"/>
                  </a:lnTo>
                  <a:lnTo>
                    <a:pt x="1454549" y="2161374"/>
                  </a:lnTo>
                  <a:lnTo>
                    <a:pt x="1451645" y="2159922"/>
                  </a:lnTo>
                  <a:lnTo>
                    <a:pt x="1450768" y="2164581"/>
                  </a:lnTo>
                  <a:lnTo>
                    <a:pt x="1449497" y="2166578"/>
                  </a:lnTo>
                  <a:lnTo>
                    <a:pt x="1445595" y="2169330"/>
                  </a:lnTo>
                  <a:lnTo>
                    <a:pt x="1444687" y="2170843"/>
                  </a:lnTo>
                  <a:lnTo>
                    <a:pt x="1444597" y="2172053"/>
                  </a:lnTo>
                  <a:lnTo>
                    <a:pt x="1444415" y="2172900"/>
                  </a:lnTo>
                  <a:lnTo>
                    <a:pt x="1443386" y="2173354"/>
                  </a:lnTo>
                  <a:lnTo>
                    <a:pt x="1442903" y="2173051"/>
                  </a:lnTo>
                  <a:lnTo>
                    <a:pt x="1441541" y="2171327"/>
                  </a:lnTo>
                  <a:lnTo>
                    <a:pt x="1440694" y="2170813"/>
                  </a:lnTo>
                  <a:lnTo>
                    <a:pt x="1440029" y="2171176"/>
                  </a:lnTo>
                  <a:lnTo>
                    <a:pt x="1439515" y="2172174"/>
                  </a:lnTo>
                  <a:lnTo>
                    <a:pt x="1438879" y="2173142"/>
                  </a:lnTo>
                  <a:lnTo>
                    <a:pt x="1437881" y="2173384"/>
                  </a:lnTo>
                  <a:lnTo>
                    <a:pt x="1437003" y="2172356"/>
                  </a:lnTo>
                  <a:lnTo>
                    <a:pt x="1436640" y="2170813"/>
                  </a:lnTo>
                  <a:lnTo>
                    <a:pt x="1436036" y="2169905"/>
                  </a:lnTo>
                  <a:lnTo>
                    <a:pt x="1434523" y="2170843"/>
                  </a:lnTo>
                  <a:lnTo>
                    <a:pt x="1434523" y="2171509"/>
                  </a:lnTo>
                  <a:lnTo>
                    <a:pt x="1433071" y="2176228"/>
                  </a:lnTo>
                  <a:lnTo>
                    <a:pt x="1431861" y="2178981"/>
                  </a:lnTo>
                  <a:lnTo>
                    <a:pt x="1430348" y="2181612"/>
                  </a:lnTo>
                  <a:lnTo>
                    <a:pt x="1434039" y="2184638"/>
                  </a:lnTo>
                  <a:lnTo>
                    <a:pt x="1436096" y="2185666"/>
                  </a:lnTo>
                  <a:lnTo>
                    <a:pt x="1437578" y="2184910"/>
                  </a:lnTo>
                  <a:lnTo>
                    <a:pt x="1439907" y="2182460"/>
                  </a:lnTo>
                  <a:lnTo>
                    <a:pt x="1442721" y="2182066"/>
                  </a:lnTo>
                  <a:lnTo>
                    <a:pt x="1448287" y="2182944"/>
                  </a:lnTo>
                  <a:lnTo>
                    <a:pt x="1450798" y="2182248"/>
                  </a:lnTo>
                  <a:lnTo>
                    <a:pt x="1455548" y="2179495"/>
                  </a:lnTo>
                  <a:lnTo>
                    <a:pt x="1463413" y="2177438"/>
                  </a:lnTo>
                  <a:lnTo>
                    <a:pt x="1464442" y="2178013"/>
                  </a:lnTo>
                  <a:lnTo>
                    <a:pt x="1465077" y="2179132"/>
                  </a:lnTo>
                  <a:lnTo>
                    <a:pt x="1465742" y="2179918"/>
                  </a:lnTo>
                  <a:lnTo>
                    <a:pt x="1472428" y="2177377"/>
                  </a:lnTo>
                  <a:lnTo>
                    <a:pt x="1485375" y="2180009"/>
                  </a:lnTo>
                  <a:lnTo>
                    <a:pt x="1517200" y="2181612"/>
                  </a:lnTo>
                  <a:lnTo>
                    <a:pt x="1517200" y="2182974"/>
                  </a:lnTo>
                  <a:lnTo>
                    <a:pt x="1514357" y="2184305"/>
                  </a:lnTo>
                  <a:lnTo>
                    <a:pt x="1493816" y="2185515"/>
                  </a:lnTo>
                  <a:lnTo>
                    <a:pt x="1493816" y="2186997"/>
                  </a:lnTo>
                  <a:lnTo>
                    <a:pt x="1500562" y="2193290"/>
                  </a:lnTo>
                  <a:lnTo>
                    <a:pt x="1501379" y="2193592"/>
                  </a:lnTo>
                  <a:lnTo>
                    <a:pt x="1501953" y="2193138"/>
                  </a:lnTo>
                  <a:lnTo>
                    <a:pt x="1503194" y="2191323"/>
                  </a:lnTo>
                  <a:lnTo>
                    <a:pt x="1503799" y="2190900"/>
                  </a:lnTo>
                  <a:lnTo>
                    <a:pt x="1505251" y="2190476"/>
                  </a:lnTo>
                  <a:lnTo>
                    <a:pt x="1508155" y="2188631"/>
                  </a:lnTo>
                  <a:lnTo>
                    <a:pt x="1509607" y="2188207"/>
                  </a:lnTo>
                  <a:lnTo>
                    <a:pt x="1511694" y="2188540"/>
                  </a:lnTo>
                  <a:lnTo>
                    <a:pt x="1517170" y="2190900"/>
                  </a:lnTo>
                  <a:lnTo>
                    <a:pt x="1522887" y="2190597"/>
                  </a:lnTo>
                  <a:lnTo>
                    <a:pt x="1524763" y="2190900"/>
                  </a:lnTo>
                  <a:lnTo>
                    <a:pt x="1529270" y="2194500"/>
                  </a:lnTo>
                  <a:lnTo>
                    <a:pt x="1530632" y="2195044"/>
                  </a:lnTo>
                  <a:lnTo>
                    <a:pt x="1547028" y="2193501"/>
                  </a:lnTo>
                  <a:lnTo>
                    <a:pt x="1568930" y="2199552"/>
                  </a:lnTo>
                  <a:lnTo>
                    <a:pt x="1572318" y="2197585"/>
                  </a:lnTo>
                  <a:lnTo>
                    <a:pt x="1573921" y="2194590"/>
                  </a:lnTo>
                  <a:lnTo>
                    <a:pt x="1575162" y="2191535"/>
                  </a:lnTo>
                  <a:lnTo>
                    <a:pt x="1576886" y="2189175"/>
                  </a:lnTo>
                  <a:lnTo>
                    <a:pt x="1587111" y="2186997"/>
                  </a:lnTo>
                  <a:lnTo>
                    <a:pt x="1587625" y="2186755"/>
                  </a:lnTo>
                  <a:lnTo>
                    <a:pt x="1588563" y="2185757"/>
                  </a:lnTo>
                  <a:lnTo>
                    <a:pt x="1589199" y="2185515"/>
                  </a:lnTo>
                  <a:lnTo>
                    <a:pt x="1589773" y="2185878"/>
                  </a:lnTo>
                  <a:lnTo>
                    <a:pt x="1590408" y="2187602"/>
                  </a:lnTo>
                  <a:lnTo>
                    <a:pt x="1590892" y="2188177"/>
                  </a:lnTo>
                  <a:lnTo>
                    <a:pt x="1595672" y="2189327"/>
                  </a:lnTo>
                  <a:lnTo>
                    <a:pt x="1597094" y="2190174"/>
                  </a:lnTo>
                  <a:lnTo>
                    <a:pt x="1598516" y="2190688"/>
                  </a:lnTo>
                  <a:lnTo>
                    <a:pt x="1601632" y="2189569"/>
                  </a:lnTo>
                  <a:lnTo>
                    <a:pt x="1603296" y="2189508"/>
                  </a:lnTo>
                  <a:lnTo>
                    <a:pt x="1603296" y="2190839"/>
                  </a:lnTo>
                  <a:lnTo>
                    <a:pt x="1602418" y="2191656"/>
                  </a:lnTo>
                  <a:lnTo>
                    <a:pt x="1601632" y="2192775"/>
                  </a:lnTo>
                  <a:lnTo>
                    <a:pt x="1600180" y="2195679"/>
                  </a:lnTo>
                  <a:lnTo>
                    <a:pt x="1599212" y="2196405"/>
                  </a:lnTo>
                  <a:lnTo>
                    <a:pt x="1598092" y="2195528"/>
                  </a:lnTo>
                  <a:lnTo>
                    <a:pt x="1597003" y="2194197"/>
                  </a:lnTo>
                  <a:lnTo>
                    <a:pt x="1596066" y="2193532"/>
                  </a:lnTo>
                  <a:lnTo>
                    <a:pt x="1593524" y="2192896"/>
                  </a:lnTo>
                  <a:lnTo>
                    <a:pt x="1588140" y="2190143"/>
                  </a:lnTo>
                  <a:lnTo>
                    <a:pt x="1585417" y="2189508"/>
                  </a:lnTo>
                  <a:lnTo>
                    <a:pt x="1582755" y="2189750"/>
                  </a:lnTo>
                  <a:lnTo>
                    <a:pt x="1580335" y="2190597"/>
                  </a:lnTo>
                  <a:lnTo>
                    <a:pt x="1578157" y="2192261"/>
                  </a:lnTo>
                  <a:lnTo>
                    <a:pt x="1576372" y="2194984"/>
                  </a:lnTo>
                  <a:lnTo>
                    <a:pt x="1574647" y="2199673"/>
                  </a:lnTo>
                  <a:lnTo>
                    <a:pt x="1573468" y="2201699"/>
                  </a:lnTo>
                  <a:lnTo>
                    <a:pt x="1571592" y="2203031"/>
                  </a:lnTo>
                  <a:lnTo>
                    <a:pt x="1568688" y="2203575"/>
                  </a:lnTo>
                  <a:lnTo>
                    <a:pt x="1559643" y="2203031"/>
                  </a:lnTo>
                  <a:lnTo>
                    <a:pt x="1557162" y="2202184"/>
                  </a:lnTo>
                  <a:lnTo>
                    <a:pt x="1552534" y="2198432"/>
                  </a:lnTo>
                  <a:lnTo>
                    <a:pt x="1550265" y="2197585"/>
                  </a:lnTo>
                  <a:lnTo>
                    <a:pt x="1526820" y="2197585"/>
                  </a:lnTo>
                  <a:lnTo>
                    <a:pt x="1526820" y="2199037"/>
                  </a:lnTo>
                  <a:lnTo>
                    <a:pt x="1528544" y="2199612"/>
                  </a:lnTo>
                  <a:lnTo>
                    <a:pt x="1530329" y="2201004"/>
                  </a:lnTo>
                  <a:lnTo>
                    <a:pt x="1532023" y="2202940"/>
                  </a:lnTo>
                  <a:lnTo>
                    <a:pt x="1533354" y="2205118"/>
                  </a:lnTo>
                  <a:lnTo>
                    <a:pt x="1534836" y="2206630"/>
                  </a:lnTo>
                  <a:lnTo>
                    <a:pt x="1536591" y="2207296"/>
                  </a:lnTo>
                  <a:lnTo>
                    <a:pt x="1538195" y="2208325"/>
                  </a:lnTo>
                  <a:lnTo>
                    <a:pt x="1539223" y="2211047"/>
                  </a:lnTo>
                  <a:lnTo>
                    <a:pt x="1533415" y="2210382"/>
                  </a:lnTo>
                  <a:lnTo>
                    <a:pt x="1530934" y="2208627"/>
                  </a:lnTo>
                  <a:lnTo>
                    <a:pt x="1526941" y="2202879"/>
                  </a:lnTo>
                  <a:lnTo>
                    <a:pt x="1522040" y="2198402"/>
                  </a:lnTo>
                  <a:lnTo>
                    <a:pt x="1520195" y="2197585"/>
                  </a:lnTo>
                  <a:lnTo>
                    <a:pt x="1518289" y="2198432"/>
                  </a:lnTo>
                  <a:lnTo>
                    <a:pt x="1517412" y="2200610"/>
                  </a:lnTo>
                  <a:lnTo>
                    <a:pt x="1516444" y="2207084"/>
                  </a:lnTo>
                  <a:lnTo>
                    <a:pt x="1515203" y="2210654"/>
                  </a:lnTo>
                  <a:lnTo>
                    <a:pt x="1513963" y="2212469"/>
                  </a:lnTo>
                  <a:lnTo>
                    <a:pt x="1512602" y="2213982"/>
                  </a:lnTo>
                  <a:lnTo>
                    <a:pt x="1510878" y="2216553"/>
                  </a:lnTo>
                  <a:lnTo>
                    <a:pt x="1510968" y="2214193"/>
                  </a:lnTo>
                  <a:lnTo>
                    <a:pt x="1513660" y="2207992"/>
                  </a:lnTo>
                  <a:lnTo>
                    <a:pt x="1514689" y="2201579"/>
                  </a:lnTo>
                  <a:lnTo>
                    <a:pt x="1515294" y="2199310"/>
                  </a:lnTo>
                  <a:lnTo>
                    <a:pt x="1515597" y="2197253"/>
                  </a:lnTo>
                  <a:lnTo>
                    <a:pt x="1515052" y="2195740"/>
                  </a:lnTo>
                  <a:lnTo>
                    <a:pt x="1513207" y="2194711"/>
                  </a:lnTo>
                  <a:lnTo>
                    <a:pt x="1494390" y="2197616"/>
                  </a:lnTo>
                  <a:lnTo>
                    <a:pt x="1485497" y="2201579"/>
                  </a:lnTo>
                  <a:lnTo>
                    <a:pt x="1482713" y="2201639"/>
                  </a:lnTo>
                  <a:lnTo>
                    <a:pt x="1484861" y="2197676"/>
                  </a:lnTo>
                  <a:lnTo>
                    <a:pt x="1488340" y="2196738"/>
                  </a:lnTo>
                  <a:lnTo>
                    <a:pt x="1492091" y="2196587"/>
                  </a:lnTo>
                  <a:lnTo>
                    <a:pt x="1495147" y="2195044"/>
                  </a:lnTo>
                  <a:lnTo>
                    <a:pt x="1492455" y="2192473"/>
                  </a:lnTo>
                  <a:lnTo>
                    <a:pt x="1489974" y="2188903"/>
                  </a:lnTo>
                  <a:lnTo>
                    <a:pt x="1488401" y="2187512"/>
                  </a:lnTo>
                  <a:lnTo>
                    <a:pt x="1484438" y="2187149"/>
                  </a:lnTo>
                  <a:lnTo>
                    <a:pt x="1480777" y="2185122"/>
                  </a:lnTo>
                  <a:lnTo>
                    <a:pt x="1478811" y="2184971"/>
                  </a:lnTo>
                  <a:lnTo>
                    <a:pt x="1474757" y="2185545"/>
                  </a:lnTo>
                  <a:lnTo>
                    <a:pt x="1472942" y="2185152"/>
                  </a:lnTo>
                  <a:lnTo>
                    <a:pt x="1469463" y="2183397"/>
                  </a:lnTo>
                  <a:lnTo>
                    <a:pt x="1460116" y="2182762"/>
                  </a:lnTo>
                  <a:lnTo>
                    <a:pt x="1456879" y="2183881"/>
                  </a:lnTo>
                  <a:lnTo>
                    <a:pt x="1450284" y="2191172"/>
                  </a:lnTo>
                  <a:lnTo>
                    <a:pt x="1449618" y="2192382"/>
                  </a:lnTo>
                  <a:lnTo>
                    <a:pt x="1449739" y="2194469"/>
                  </a:lnTo>
                  <a:lnTo>
                    <a:pt x="1450919" y="2194984"/>
                  </a:lnTo>
                  <a:lnTo>
                    <a:pt x="1452644" y="2195195"/>
                  </a:lnTo>
                  <a:lnTo>
                    <a:pt x="1454368" y="2196405"/>
                  </a:lnTo>
                  <a:lnTo>
                    <a:pt x="1450163" y="2196557"/>
                  </a:lnTo>
                  <a:lnTo>
                    <a:pt x="1446200" y="2197646"/>
                  </a:lnTo>
                  <a:lnTo>
                    <a:pt x="1446835" y="2198553"/>
                  </a:lnTo>
                  <a:lnTo>
                    <a:pt x="1447107" y="2198856"/>
                  </a:lnTo>
                  <a:lnTo>
                    <a:pt x="1447561" y="2199098"/>
                  </a:lnTo>
                  <a:lnTo>
                    <a:pt x="1444990" y="2201185"/>
                  </a:lnTo>
                  <a:lnTo>
                    <a:pt x="1433646" y="2205662"/>
                  </a:lnTo>
                  <a:lnTo>
                    <a:pt x="1430862" y="2207417"/>
                  </a:lnTo>
                  <a:lnTo>
                    <a:pt x="1428352" y="2209686"/>
                  </a:lnTo>
                  <a:lnTo>
                    <a:pt x="1426900" y="2212439"/>
                  </a:lnTo>
                  <a:lnTo>
                    <a:pt x="1439544" y="2210624"/>
                  </a:lnTo>
                  <a:lnTo>
                    <a:pt x="1435340" y="2212530"/>
                  </a:lnTo>
                  <a:lnTo>
                    <a:pt x="1433101" y="2213921"/>
                  </a:lnTo>
                  <a:lnTo>
                    <a:pt x="1434069" y="2215555"/>
                  </a:lnTo>
                  <a:lnTo>
                    <a:pt x="1437306" y="2219124"/>
                  </a:lnTo>
                  <a:lnTo>
                    <a:pt x="1435158" y="2220667"/>
                  </a:lnTo>
                  <a:lnTo>
                    <a:pt x="1434281" y="2220788"/>
                  </a:lnTo>
                  <a:lnTo>
                    <a:pt x="1433131" y="2220546"/>
                  </a:lnTo>
                  <a:lnTo>
                    <a:pt x="1432708" y="2220123"/>
                  </a:lnTo>
                  <a:lnTo>
                    <a:pt x="1430983" y="2217763"/>
                  </a:lnTo>
                  <a:lnTo>
                    <a:pt x="1430379" y="2217521"/>
                  </a:lnTo>
                  <a:lnTo>
                    <a:pt x="1428956" y="2217884"/>
                  </a:lnTo>
                  <a:lnTo>
                    <a:pt x="1428291" y="2217763"/>
                  </a:lnTo>
                  <a:lnTo>
                    <a:pt x="1428140" y="2217309"/>
                  </a:lnTo>
                  <a:lnTo>
                    <a:pt x="1428140" y="2216523"/>
                  </a:lnTo>
                  <a:lnTo>
                    <a:pt x="1428019" y="2215706"/>
                  </a:lnTo>
                  <a:lnTo>
                    <a:pt x="1427535" y="2215101"/>
                  </a:lnTo>
                  <a:lnTo>
                    <a:pt x="1425841" y="2214254"/>
                  </a:lnTo>
                  <a:lnTo>
                    <a:pt x="1424086" y="2213891"/>
                  </a:lnTo>
                  <a:lnTo>
                    <a:pt x="1420758" y="2214102"/>
                  </a:lnTo>
                  <a:lnTo>
                    <a:pt x="1419216" y="2214919"/>
                  </a:lnTo>
                  <a:lnTo>
                    <a:pt x="1417854" y="2216553"/>
                  </a:lnTo>
                  <a:lnTo>
                    <a:pt x="1418459" y="2217128"/>
                  </a:lnTo>
                  <a:lnTo>
                    <a:pt x="1418731" y="2217672"/>
                  </a:lnTo>
                  <a:lnTo>
                    <a:pt x="1418913" y="2218307"/>
                  </a:lnTo>
                  <a:lnTo>
                    <a:pt x="1419246" y="2219094"/>
                  </a:lnTo>
                  <a:lnTo>
                    <a:pt x="1417642" y="2219245"/>
                  </a:lnTo>
                  <a:lnTo>
                    <a:pt x="1416614" y="2220758"/>
                  </a:lnTo>
                  <a:lnTo>
                    <a:pt x="1416372" y="2222785"/>
                  </a:lnTo>
                  <a:lnTo>
                    <a:pt x="1417159" y="2224539"/>
                  </a:lnTo>
                  <a:lnTo>
                    <a:pt x="1416100" y="2225235"/>
                  </a:lnTo>
                  <a:lnTo>
                    <a:pt x="1414920" y="2226536"/>
                  </a:lnTo>
                  <a:lnTo>
                    <a:pt x="1414285" y="2228321"/>
                  </a:lnTo>
                  <a:lnTo>
                    <a:pt x="1414738" y="2230499"/>
                  </a:lnTo>
                  <a:lnTo>
                    <a:pt x="1416584" y="2235460"/>
                  </a:lnTo>
                  <a:lnTo>
                    <a:pt x="1417189" y="2236549"/>
                  </a:lnTo>
                  <a:lnTo>
                    <a:pt x="1419639" y="2237668"/>
                  </a:lnTo>
                  <a:lnTo>
                    <a:pt x="1443447" y="2238001"/>
                  </a:lnTo>
                  <a:lnTo>
                    <a:pt x="1444718" y="2237608"/>
                  </a:lnTo>
                  <a:lnTo>
                    <a:pt x="1448923" y="2235339"/>
                  </a:lnTo>
                  <a:lnTo>
                    <a:pt x="1454670" y="2235188"/>
                  </a:lnTo>
                  <a:lnTo>
                    <a:pt x="1452613" y="2238001"/>
                  </a:lnTo>
                  <a:lnTo>
                    <a:pt x="1447561" y="2240542"/>
                  </a:lnTo>
                  <a:lnTo>
                    <a:pt x="1455669" y="2242327"/>
                  </a:lnTo>
                  <a:lnTo>
                    <a:pt x="1463383" y="2245746"/>
                  </a:lnTo>
                  <a:lnTo>
                    <a:pt x="1460932" y="2247409"/>
                  </a:lnTo>
                  <a:lnTo>
                    <a:pt x="1451645" y="2247046"/>
                  </a:lnTo>
                  <a:lnTo>
                    <a:pt x="1451645" y="2245746"/>
                  </a:lnTo>
                  <a:lnTo>
                    <a:pt x="1452432" y="2245564"/>
                  </a:lnTo>
                  <a:lnTo>
                    <a:pt x="1454398" y="2244536"/>
                  </a:lnTo>
                  <a:lnTo>
                    <a:pt x="1435158" y="2244536"/>
                  </a:lnTo>
                  <a:lnTo>
                    <a:pt x="1437729" y="2246411"/>
                  </a:lnTo>
                  <a:lnTo>
                    <a:pt x="1453763" y="2251100"/>
                  </a:lnTo>
                  <a:lnTo>
                    <a:pt x="1456455" y="2251160"/>
                  </a:lnTo>
                  <a:lnTo>
                    <a:pt x="1456455" y="2252492"/>
                  </a:lnTo>
                  <a:lnTo>
                    <a:pt x="1445201" y="2252492"/>
                  </a:lnTo>
                  <a:lnTo>
                    <a:pt x="1441934" y="2253762"/>
                  </a:lnTo>
                  <a:lnTo>
                    <a:pt x="1440694" y="2253913"/>
                  </a:lnTo>
                  <a:lnTo>
                    <a:pt x="1436156" y="2252431"/>
                  </a:lnTo>
                  <a:lnTo>
                    <a:pt x="1434523" y="2252492"/>
                  </a:lnTo>
                  <a:lnTo>
                    <a:pt x="1434523" y="2253913"/>
                  </a:lnTo>
                  <a:lnTo>
                    <a:pt x="1434584" y="2253913"/>
                  </a:lnTo>
                  <a:lnTo>
                    <a:pt x="1435158" y="2255245"/>
                  </a:lnTo>
                  <a:lnTo>
                    <a:pt x="1434402" y="2258330"/>
                  </a:lnTo>
                  <a:lnTo>
                    <a:pt x="1438365" y="2261113"/>
                  </a:lnTo>
                  <a:lnTo>
                    <a:pt x="1445898" y="2263927"/>
                  </a:lnTo>
                  <a:lnTo>
                    <a:pt x="1449618" y="2266952"/>
                  </a:lnTo>
                  <a:lnTo>
                    <a:pt x="1460448" y="2265560"/>
                  </a:lnTo>
                  <a:lnTo>
                    <a:pt x="1464835" y="2267073"/>
                  </a:lnTo>
                  <a:lnTo>
                    <a:pt x="1464502" y="2270703"/>
                  </a:lnTo>
                  <a:lnTo>
                    <a:pt x="1466801" y="2272185"/>
                  </a:lnTo>
                  <a:lnTo>
                    <a:pt x="1469917" y="2271943"/>
                  </a:lnTo>
                  <a:lnTo>
                    <a:pt x="1473094" y="2269886"/>
                  </a:lnTo>
                  <a:lnTo>
                    <a:pt x="1478236" y="2269886"/>
                  </a:lnTo>
                  <a:lnTo>
                    <a:pt x="1479114" y="2269342"/>
                  </a:lnTo>
                  <a:lnTo>
                    <a:pt x="1481987" y="2265863"/>
                  </a:lnTo>
                  <a:lnTo>
                    <a:pt x="1484589" y="2264108"/>
                  </a:lnTo>
                  <a:lnTo>
                    <a:pt x="1487342" y="2263352"/>
                  </a:lnTo>
                  <a:lnTo>
                    <a:pt x="1493120" y="2263231"/>
                  </a:lnTo>
                  <a:lnTo>
                    <a:pt x="1495570" y="2264381"/>
                  </a:lnTo>
                  <a:lnTo>
                    <a:pt x="1499110" y="2269675"/>
                  </a:lnTo>
                  <a:lnTo>
                    <a:pt x="1501379" y="2271157"/>
                  </a:lnTo>
                  <a:lnTo>
                    <a:pt x="1501379" y="2272488"/>
                  </a:lnTo>
                  <a:lnTo>
                    <a:pt x="1499170" y="2272609"/>
                  </a:lnTo>
                  <a:lnTo>
                    <a:pt x="1497960" y="2271732"/>
                  </a:lnTo>
                  <a:lnTo>
                    <a:pt x="1496206" y="2267738"/>
                  </a:lnTo>
                  <a:lnTo>
                    <a:pt x="1494511" y="2266014"/>
                  </a:lnTo>
                  <a:lnTo>
                    <a:pt x="1492152" y="2265530"/>
                  </a:lnTo>
                  <a:lnTo>
                    <a:pt x="1487584" y="2265863"/>
                  </a:lnTo>
                  <a:lnTo>
                    <a:pt x="1485950" y="2266528"/>
                  </a:lnTo>
                  <a:lnTo>
                    <a:pt x="1484710" y="2268101"/>
                  </a:lnTo>
                  <a:lnTo>
                    <a:pt x="1483712" y="2269856"/>
                  </a:lnTo>
                  <a:lnTo>
                    <a:pt x="1482774" y="2271157"/>
                  </a:lnTo>
                  <a:lnTo>
                    <a:pt x="1480747" y="2272216"/>
                  </a:lnTo>
                  <a:lnTo>
                    <a:pt x="1476451" y="2272760"/>
                  </a:lnTo>
                  <a:lnTo>
                    <a:pt x="1474455" y="2273819"/>
                  </a:lnTo>
                  <a:lnTo>
                    <a:pt x="1475150" y="2275241"/>
                  </a:lnTo>
                  <a:lnTo>
                    <a:pt x="1472640" y="2276572"/>
                  </a:lnTo>
                  <a:lnTo>
                    <a:pt x="1469130" y="2276269"/>
                  </a:lnTo>
                  <a:lnTo>
                    <a:pt x="1454398" y="2269856"/>
                  </a:lnTo>
                  <a:lnTo>
                    <a:pt x="1451706" y="2272851"/>
                  </a:lnTo>
                  <a:lnTo>
                    <a:pt x="1447228" y="2271701"/>
                  </a:lnTo>
                  <a:lnTo>
                    <a:pt x="1442388" y="2269281"/>
                  </a:lnTo>
                  <a:lnTo>
                    <a:pt x="1438607" y="2268404"/>
                  </a:lnTo>
                  <a:lnTo>
                    <a:pt x="1439363" y="2269856"/>
                  </a:lnTo>
                  <a:lnTo>
                    <a:pt x="1436882" y="2272579"/>
                  </a:lnTo>
                  <a:lnTo>
                    <a:pt x="1426174" y="2273849"/>
                  </a:lnTo>
                  <a:lnTo>
                    <a:pt x="1415192" y="2279234"/>
                  </a:lnTo>
                  <a:lnTo>
                    <a:pt x="1415192" y="2280414"/>
                  </a:lnTo>
                  <a:lnTo>
                    <a:pt x="1419337" y="2280232"/>
                  </a:lnTo>
                  <a:lnTo>
                    <a:pt x="1423360" y="2279204"/>
                  </a:lnTo>
                  <a:lnTo>
                    <a:pt x="1427626" y="2279083"/>
                  </a:lnTo>
                  <a:lnTo>
                    <a:pt x="1429743" y="2278478"/>
                  </a:lnTo>
                  <a:lnTo>
                    <a:pt x="1431679" y="2276451"/>
                  </a:lnTo>
                  <a:lnTo>
                    <a:pt x="1431982" y="2277207"/>
                  </a:lnTo>
                  <a:lnTo>
                    <a:pt x="1432163" y="2277752"/>
                  </a:lnTo>
                  <a:lnTo>
                    <a:pt x="1432254" y="2278326"/>
                  </a:lnTo>
                  <a:lnTo>
                    <a:pt x="1432345" y="2279234"/>
                  </a:lnTo>
                  <a:lnTo>
                    <a:pt x="1429017" y="2279778"/>
                  </a:lnTo>
                  <a:lnTo>
                    <a:pt x="1428291" y="2280414"/>
                  </a:lnTo>
                  <a:lnTo>
                    <a:pt x="1428200" y="2281472"/>
                  </a:lnTo>
                  <a:lnTo>
                    <a:pt x="1428442" y="2284679"/>
                  </a:lnTo>
                  <a:lnTo>
                    <a:pt x="1428321" y="2285677"/>
                  </a:lnTo>
                  <a:lnTo>
                    <a:pt x="1426748" y="2287311"/>
                  </a:lnTo>
                  <a:lnTo>
                    <a:pt x="1426264" y="2286131"/>
                  </a:lnTo>
                  <a:lnTo>
                    <a:pt x="1425931" y="2283772"/>
                  </a:lnTo>
                  <a:lnTo>
                    <a:pt x="1424873" y="2281866"/>
                  </a:lnTo>
                  <a:lnTo>
                    <a:pt x="1423269" y="2282108"/>
                  </a:lnTo>
                  <a:lnTo>
                    <a:pt x="1421575" y="2284044"/>
                  </a:lnTo>
                  <a:lnTo>
                    <a:pt x="1420305" y="2286857"/>
                  </a:lnTo>
                  <a:lnTo>
                    <a:pt x="1419972" y="2289761"/>
                  </a:lnTo>
                  <a:lnTo>
                    <a:pt x="1421061" y="2292514"/>
                  </a:lnTo>
                  <a:lnTo>
                    <a:pt x="1423027" y="2294057"/>
                  </a:lnTo>
                  <a:lnTo>
                    <a:pt x="1424116" y="2296205"/>
                  </a:lnTo>
                  <a:lnTo>
                    <a:pt x="1426325" y="2297143"/>
                  </a:lnTo>
                  <a:lnTo>
                    <a:pt x="1429834" y="2296114"/>
                  </a:lnTo>
                  <a:lnTo>
                    <a:pt x="1433313" y="2293997"/>
                  </a:lnTo>
                  <a:lnTo>
                    <a:pt x="1435551" y="2291728"/>
                  </a:lnTo>
                  <a:lnTo>
                    <a:pt x="1436973" y="2290851"/>
                  </a:lnTo>
                  <a:lnTo>
                    <a:pt x="1476239" y="2286555"/>
                  </a:lnTo>
                  <a:lnTo>
                    <a:pt x="1480777" y="2287009"/>
                  </a:lnTo>
                  <a:lnTo>
                    <a:pt x="1484135" y="2289731"/>
                  </a:lnTo>
                  <a:lnTo>
                    <a:pt x="1464774" y="2288642"/>
                  </a:lnTo>
                  <a:lnTo>
                    <a:pt x="1446230" y="2292363"/>
                  </a:lnTo>
                  <a:lnTo>
                    <a:pt x="1447773" y="2294178"/>
                  </a:lnTo>
                  <a:lnTo>
                    <a:pt x="1451161" y="2296145"/>
                  </a:lnTo>
                  <a:lnTo>
                    <a:pt x="1452704" y="2298262"/>
                  </a:lnTo>
                  <a:lnTo>
                    <a:pt x="1453370" y="2300531"/>
                  </a:lnTo>
                  <a:lnTo>
                    <a:pt x="1454035" y="2304070"/>
                  </a:lnTo>
                  <a:lnTo>
                    <a:pt x="1454368" y="2307640"/>
                  </a:lnTo>
                  <a:lnTo>
                    <a:pt x="1454065" y="2310090"/>
                  </a:lnTo>
                  <a:lnTo>
                    <a:pt x="1452674" y="2310816"/>
                  </a:lnTo>
                  <a:lnTo>
                    <a:pt x="1451615" y="2308003"/>
                  </a:lnTo>
                  <a:lnTo>
                    <a:pt x="1450375" y="2301439"/>
                  </a:lnTo>
                  <a:lnTo>
                    <a:pt x="1449528" y="2299291"/>
                  </a:lnTo>
                  <a:lnTo>
                    <a:pt x="1448499" y="2297536"/>
                  </a:lnTo>
                  <a:lnTo>
                    <a:pt x="1447198" y="2296114"/>
                  </a:lnTo>
                  <a:lnTo>
                    <a:pt x="1445565" y="2294995"/>
                  </a:lnTo>
                  <a:lnTo>
                    <a:pt x="1443447" y="2294027"/>
                  </a:lnTo>
                  <a:lnTo>
                    <a:pt x="1440694" y="2293392"/>
                  </a:lnTo>
                  <a:lnTo>
                    <a:pt x="1438304" y="2294027"/>
                  </a:lnTo>
                  <a:lnTo>
                    <a:pt x="1436459" y="2299472"/>
                  </a:lnTo>
                  <a:lnTo>
                    <a:pt x="1434432" y="2300410"/>
                  </a:lnTo>
                  <a:lnTo>
                    <a:pt x="1429985" y="2300228"/>
                  </a:lnTo>
                  <a:lnTo>
                    <a:pt x="1429471" y="2300622"/>
                  </a:lnTo>
                  <a:lnTo>
                    <a:pt x="1427837" y="2302437"/>
                  </a:lnTo>
                  <a:lnTo>
                    <a:pt x="1426839" y="2302860"/>
                  </a:lnTo>
                  <a:lnTo>
                    <a:pt x="1424389" y="2303163"/>
                  </a:lnTo>
                  <a:lnTo>
                    <a:pt x="1422029" y="2304040"/>
                  </a:lnTo>
                  <a:lnTo>
                    <a:pt x="1418399" y="2306339"/>
                  </a:lnTo>
                  <a:lnTo>
                    <a:pt x="1416796" y="2308185"/>
                  </a:lnTo>
                  <a:lnTo>
                    <a:pt x="1415827" y="2310695"/>
                  </a:lnTo>
                  <a:lnTo>
                    <a:pt x="1417703" y="2309879"/>
                  </a:lnTo>
                  <a:lnTo>
                    <a:pt x="1418671" y="2309879"/>
                  </a:lnTo>
                  <a:lnTo>
                    <a:pt x="1419337" y="2310756"/>
                  </a:lnTo>
                  <a:lnTo>
                    <a:pt x="1420305" y="2312692"/>
                  </a:lnTo>
                  <a:lnTo>
                    <a:pt x="1421696" y="2313781"/>
                  </a:lnTo>
                  <a:lnTo>
                    <a:pt x="1423511" y="2313539"/>
                  </a:lnTo>
                  <a:lnTo>
                    <a:pt x="1426869" y="2312027"/>
                  </a:lnTo>
                  <a:lnTo>
                    <a:pt x="1425659" y="2314325"/>
                  </a:lnTo>
                  <a:lnTo>
                    <a:pt x="1423572" y="2314961"/>
                  </a:lnTo>
                  <a:lnTo>
                    <a:pt x="1421212" y="2315173"/>
                  </a:lnTo>
                  <a:lnTo>
                    <a:pt x="1419246" y="2316110"/>
                  </a:lnTo>
                  <a:lnTo>
                    <a:pt x="1422483" y="2317684"/>
                  </a:lnTo>
                  <a:lnTo>
                    <a:pt x="1434432" y="2316110"/>
                  </a:lnTo>
                  <a:lnTo>
                    <a:pt x="1437276" y="2316836"/>
                  </a:lnTo>
                  <a:lnTo>
                    <a:pt x="1440241" y="2318742"/>
                  </a:lnTo>
                  <a:lnTo>
                    <a:pt x="1445565" y="2323976"/>
                  </a:lnTo>
                  <a:lnTo>
                    <a:pt x="1441995" y="2323976"/>
                  </a:lnTo>
                  <a:lnTo>
                    <a:pt x="1442207" y="2324853"/>
                  </a:lnTo>
                  <a:lnTo>
                    <a:pt x="1442570" y="2327031"/>
                  </a:lnTo>
                  <a:lnTo>
                    <a:pt x="1442812" y="2327878"/>
                  </a:lnTo>
                  <a:lnTo>
                    <a:pt x="1432284" y="2323522"/>
                  </a:lnTo>
                  <a:lnTo>
                    <a:pt x="1426355" y="2323159"/>
                  </a:lnTo>
                  <a:lnTo>
                    <a:pt x="1424812" y="2327909"/>
                  </a:lnTo>
                  <a:lnTo>
                    <a:pt x="1426325" y="2328937"/>
                  </a:lnTo>
                  <a:lnTo>
                    <a:pt x="1432950" y="2331387"/>
                  </a:lnTo>
                  <a:lnTo>
                    <a:pt x="1434795" y="2331176"/>
                  </a:lnTo>
                  <a:lnTo>
                    <a:pt x="1436671" y="2329240"/>
                  </a:lnTo>
                  <a:lnTo>
                    <a:pt x="1438788" y="2329663"/>
                  </a:lnTo>
                  <a:lnTo>
                    <a:pt x="1441057" y="2330994"/>
                  </a:lnTo>
                  <a:lnTo>
                    <a:pt x="1443386" y="2331811"/>
                  </a:lnTo>
                  <a:lnTo>
                    <a:pt x="1441511" y="2332537"/>
                  </a:lnTo>
                  <a:lnTo>
                    <a:pt x="1439363" y="2332204"/>
                  </a:lnTo>
                  <a:lnTo>
                    <a:pt x="1437518" y="2332325"/>
                  </a:lnTo>
                  <a:lnTo>
                    <a:pt x="1436519" y="2334412"/>
                  </a:lnTo>
                  <a:lnTo>
                    <a:pt x="1437457" y="2334987"/>
                  </a:lnTo>
                  <a:lnTo>
                    <a:pt x="1437972" y="2335744"/>
                  </a:lnTo>
                  <a:lnTo>
                    <a:pt x="1438940" y="2337770"/>
                  </a:lnTo>
                  <a:lnTo>
                    <a:pt x="1439907" y="2338980"/>
                  </a:lnTo>
                  <a:lnTo>
                    <a:pt x="1440482" y="2339041"/>
                  </a:lnTo>
                  <a:lnTo>
                    <a:pt x="1441027" y="2338587"/>
                  </a:lnTo>
                  <a:lnTo>
                    <a:pt x="1446563" y="2338103"/>
                  </a:lnTo>
                  <a:lnTo>
                    <a:pt x="1448680" y="2336893"/>
                  </a:lnTo>
                  <a:lnTo>
                    <a:pt x="1450375" y="2334412"/>
                  </a:lnTo>
                  <a:lnTo>
                    <a:pt x="1454065" y="2340584"/>
                  </a:lnTo>
                  <a:lnTo>
                    <a:pt x="1458301" y="2343700"/>
                  </a:lnTo>
                  <a:lnTo>
                    <a:pt x="1463020" y="2343851"/>
                  </a:lnTo>
                  <a:lnTo>
                    <a:pt x="1468223" y="2341068"/>
                  </a:lnTo>
                  <a:lnTo>
                    <a:pt x="1474394" y="2333989"/>
                  </a:lnTo>
                  <a:lnTo>
                    <a:pt x="1476451" y="2332991"/>
                  </a:lnTo>
                  <a:lnTo>
                    <a:pt x="1488401" y="2331871"/>
                  </a:lnTo>
                  <a:lnTo>
                    <a:pt x="1490337" y="2331145"/>
                  </a:lnTo>
                  <a:lnTo>
                    <a:pt x="1491032" y="2329361"/>
                  </a:lnTo>
                  <a:lnTo>
                    <a:pt x="1492666" y="2329149"/>
                  </a:lnTo>
                  <a:lnTo>
                    <a:pt x="1494511" y="2329481"/>
                  </a:lnTo>
                  <a:lnTo>
                    <a:pt x="1495843" y="2329300"/>
                  </a:lnTo>
                  <a:lnTo>
                    <a:pt x="1496750" y="2327757"/>
                  </a:lnTo>
                  <a:lnTo>
                    <a:pt x="1497204" y="2324278"/>
                  </a:lnTo>
                  <a:lnTo>
                    <a:pt x="1497930" y="2322493"/>
                  </a:lnTo>
                  <a:lnTo>
                    <a:pt x="1499201" y="2321435"/>
                  </a:lnTo>
                  <a:lnTo>
                    <a:pt x="1499079" y="2324006"/>
                  </a:lnTo>
                  <a:lnTo>
                    <a:pt x="1499261" y="2327485"/>
                  </a:lnTo>
                  <a:lnTo>
                    <a:pt x="1501379" y="2329270"/>
                  </a:lnTo>
                  <a:lnTo>
                    <a:pt x="1508427" y="2328755"/>
                  </a:lnTo>
                  <a:lnTo>
                    <a:pt x="1515113" y="2326517"/>
                  </a:lnTo>
                  <a:lnTo>
                    <a:pt x="1524793" y="2319952"/>
                  </a:lnTo>
                  <a:lnTo>
                    <a:pt x="1523855" y="2323038"/>
                  </a:lnTo>
                  <a:lnTo>
                    <a:pt x="1521707" y="2324974"/>
                  </a:lnTo>
                  <a:lnTo>
                    <a:pt x="1517170" y="2327818"/>
                  </a:lnTo>
                  <a:lnTo>
                    <a:pt x="1522464" y="2330450"/>
                  </a:lnTo>
                  <a:lnTo>
                    <a:pt x="1528453" y="2330722"/>
                  </a:lnTo>
                  <a:lnTo>
                    <a:pt x="1534141" y="2328544"/>
                  </a:lnTo>
                  <a:lnTo>
                    <a:pt x="1538588" y="2323885"/>
                  </a:lnTo>
                  <a:lnTo>
                    <a:pt x="1541583" y="2330601"/>
                  </a:lnTo>
                  <a:lnTo>
                    <a:pt x="1549509" y="2335048"/>
                  </a:lnTo>
                  <a:lnTo>
                    <a:pt x="1558524" y="2337226"/>
                  </a:lnTo>
                  <a:lnTo>
                    <a:pt x="1564755" y="2337105"/>
                  </a:lnTo>
                  <a:lnTo>
                    <a:pt x="1569838" y="2334049"/>
                  </a:lnTo>
                  <a:lnTo>
                    <a:pt x="1571017" y="2332960"/>
                  </a:lnTo>
                  <a:lnTo>
                    <a:pt x="1572016" y="2330964"/>
                  </a:lnTo>
                  <a:lnTo>
                    <a:pt x="1572137" y="2329149"/>
                  </a:lnTo>
                  <a:lnTo>
                    <a:pt x="1571834" y="2327152"/>
                  </a:lnTo>
                  <a:lnTo>
                    <a:pt x="1571622" y="2324520"/>
                  </a:lnTo>
                  <a:lnTo>
                    <a:pt x="1571168" y="2322282"/>
                  </a:lnTo>
                  <a:lnTo>
                    <a:pt x="1570140" y="2321193"/>
                  </a:lnTo>
                  <a:lnTo>
                    <a:pt x="1568900" y="2320497"/>
                  </a:lnTo>
                  <a:lnTo>
                    <a:pt x="1567841" y="2319347"/>
                  </a:lnTo>
                  <a:lnTo>
                    <a:pt x="1568446" y="2318652"/>
                  </a:lnTo>
                  <a:lnTo>
                    <a:pt x="1575132" y="2320013"/>
                  </a:lnTo>
                  <a:lnTo>
                    <a:pt x="1574012" y="2318440"/>
                  </a:lnTo>
                  <a:lnTo>
                    <a:pt x="1573740" y="2316988"/>
                  </a:lnTo>
                  <a:lnTo>
                    <a:pt x="1573831" y="2315687"/>
                  </a:lnTo>
                  <a:lnTo>
                    <a:pt x="1573770" y="2314658"/>
                  </a:lnTo>
                  <a:lnTo>
                    <a:pt x="1572742" y="2311694"/>
                  </a:lnTo>
                  <a:lnTo>
                    <a:pt x="1571350" y="2308790"/>
                  </a:lnTo>
                  <a:lnTo>
                    <a:pt x="1571501" y="2307700"/>
                  </a:lnTo>
                  <a:lnTo>
                    <a:pt x="1572318" y="2306097"/>
                  </a:lnTo>
                  <a:lnTo>
                    <a:pt x="1573347" y="2304645"/>
                  </a:lnTo>
                  <a:lnTo>
                    <a:pt x="1574133" y="2304010"/>
                  </a:lnTo>
                  <a:lnTo>
                    <a:pt x="1575162" y="2304675"/>
                  </a:lnTo>
                  <a:lnTo>
                    <a:pt x="1576735" y="2307549"/>
                  </a:lnTo>
                  <a:lnTo>
                    <a:pt x="1577915" y="2308185"/>
                  </a:lnTo>
                  <a:lnTo>
                    <a:pt x="1581817" y="2305643"/>
                  </a:lnTo>
                  <a:lnTo>
                    <a:pt x="1585205" y="2299714"/>
                  </a:lnTo>
                  <a:lnTo>
                    <a:pt x="1591286" y="2282380"/>
                  </a:lnTo>
                  <a:lnTo>
                    <a:pt x="1591740" y="2281715"/>
                  </a:lnTo>
                  <a:lnTo>
                    <a:pt x="1593010" y="2282198"/>
                  </a:lnTo>
                  <a:lnTo>
                    <a:pt x="1593101" y="2284044"/>
                  </a:lnTo>
                  <a:lnTo>
                    <a:pt x="1592587" y="2286040"/>
                  </a:lnTo>
                  <a:lnTo>
                    <a:pt x="1592072" y="2286978"/>
                  </a:lnTo>
                  <a:lnTo>
                    <a:pt x="1591770" y="2287735"/>
                  </a:lnTo>
                  <a:lnTo>
                    <a:pt x="1591165" y="2291486"/>
                  </a:lnTo>
                  <a:lnTo>
                    <a:pt x="1591044" y="2292908"/>
                  </a:lnTo>
                  <a:lnTo>
                    <a:pt x="1590590" y="2293724"/>
                  </a:lnTo>
                  <a:lnTo>
                    <a:pt x="1588351" y="2296326"/>
                  </a:lnTo>
                  <a:lnTo>
                    <a:pt x="1587565" y="2297506"/>
                  </a:lnTo>
                  <a:lnTo>
                    <a:pt x="1583814" y="2307428"/>
                  </a:lnTo>
                  <a:lnTo>
                    <a:pt x="1582180" y="2309697"/>
                  </a:lnTo>
                  <a:lnTo>
                    <a:pt x="1578489" y="2312904"/>
                  </a:lnTo>
                  <a:lnTo>
                    <a:pt x="1577279" y="2316020"/>
                  </a:lnTo>
                  <a:lnTo>
                    <a:pt x="1588049" y="2321677"/>
                  </a:lnTo>
                  <a:lnTo>
                    <a:pt x="1602660" y="2324278"/>
                  </a:lnTo>
                  <a:lnTo>
                    <a:pt x="1611131" y="2327818"/>
                  </a:lnTo>
                  <a:lnTo>
                    <a:pt x="1613944" y="2328060"/>
                  </a:lnTo>
                  <a:lnTo>
                    <a:pt x="1616788" y="2327061"/>
                  </a:lnTo>
                  <a:lnTo>
                    <a:pt x="1622142" y="2323915"/>
                  </a:lnTo>
                  <a:lnTo>
                    <a:pt x="1619752" y="2327152"/>
                  </a:lnTo>
                  <a:lnTo>
                    <a:pt x="1615910" y="2329935"/>
                  </a:lnTo>
                  <a:lnTo>
                    <a:pt x="1613460" y="2333021"/>
                  </a:lnTo>
                  <a:lnTo>
                    <a:pt x="1615275" y="2337135"/>
                  </a:lnTo>
                  <a:lnTo>
                    <a:pt x="1617060" y="2337710"/>
                  </a:lnTo>
                  <a:lnTo>
                    <a:pt x="1619117" y="2336923"/>
                  </a:lnTo>
                  <a:lnTo>
                    <a:pt x="1622778" y="2334382"/>
                  </a:lnTo>
                  <a:lnTo>
                    <a:pt x="1635604" y="2331206"/>
                  </a:lnTo>
                  <a:lnTo>
                    <a:pt x="1636633" y="2330480"/>
                  </a:lnTo>
                  <a:lnTo>
                    <a:pt x="1637238" y="2329512"/>
                  </a:lnTo>
                  <a:lnTo>
                    <a:pt x="1637571" y="2328332"/>
                  </a:lnTo>
                  <a:lnTo>
                    <a:pt x="1637752" y="2327243"/>
                  </a:lnTo>
                  <a:lnTo>
                    <a:pt x="1638024" y="2326577"/>
                  </a:lnTo>
                  <a:lnTo>
                    <a:pt x="1639416" y="2325458"/>
                  </a:lnTo>
                  <a:lnTo>
                    <a:pt x="1643288" y="2323976"/>
                  </a:lnTo>
                  <a:lnTo>
                    <a:pt x="1644891" y="2323976"/>
                  </a:lnTo>
                  <a:lnTo>
                    <a:pt x="1645466" y="2324399"/>
                  </a:lnTo>
                  <a:lnTo>
                    <a:pt x="1646948" y="2326033"/>
                  </a:lnTo>
                  <a:lnTo>
                    <a:pt x="1647674" y="2326608"/>
                  </a:lnTo>
                  <a:lnTo>
                    <a:pt x="1650004" y="2327818"/>
                  </a:lnTo>
                  <a:lnTo>
                    <a:pt x="1651184" y="2328090"/>
                  </a:lnTo>
                  <a:lnTo>
                    <a:pt x="1652484" y="2327939"/>
                  </a:lnTo>
                  <a:lnTo>
                    <a:pt x="1653906" y="2327152"/>
                  </a:lnTo>
                  <a:lnTo>
                    <a:pt x="1657960" y="2322615"/>
                  </a:lnTo>
                  <a:lnTo>
                    <a:pt x="1655994" y="2321465"/>
                  </a:lnTo>
                  <a:lnTo>
                    <a:pt x="1654239" y="2319892"/>
                  </a:lnTo>
                  <a:lnTo>
                    <a:pt x="1652968" y="2317562"/>
                  </a:lnTo>
                  <a:lnTo>
                    <a:pt x="1651789" y="2309304"/>
                  </a:lnTo>
                  <a:lnTo>
                    <a:pt x="1650064" y="2306763"/>
                  </a:lnTo>
                  <a:lnTo>
                    <a:pt x="1647916" y="2304948"/>
                  </a:lnTo>
                  <a:lnTo>
                    <a:pt x="1645920" y="2302255"/>
                  </a:lnTo>
                  <a:lnTo>
                    <a:pt x="1646464" y="2300198"/>
                  </a:lnTo>
                  <a:lnTo>
                    <a:pt x="1652515" y="2292484"/>
                  </a:lnTo>
                  <a:lnTo>
                    <a:pt x="1652878" y="2289459"/>
                  </a:lnTo>
                  <a:lnTo>
                    <a:pt x="1651879" y="2287462"/>
                  </a:lnTo>
                  <a:lnTo>
                    <a:pt x="1650125" y="2285677"/>
                  </a:lnTo>
                  <a:lnTo>
                    <a:pt x="1648310" y="2283257"/>
                  </a:lnTo>
                  <a:lnTo>
                    <a:pt x="1650488" y="2283530"/>
                  </a:lnTo>
                  <a:lnTo>
                    <a:pt x="1654360" y="2285163"/>
                  </a:lnTo>
                  <a:lnTo>
                    <a:pt x="1656629" y="2284558"/>
                  </a:lnTo>
                  <a:lnTo>
                    <a:pt x="1670968" y="2270764"/>
                  </a:lnTo>
                  <a:lnTo>
                    <a:pt x="1679348" y="2265923"/>
                  </a:lnTo>
                  <a:lnTo>
                    <a:pt x="1677865" y="2268979"/>
                  </a:lnTo>
                  <a:lnTo>
                    <a:pt x="1675687" y="2271520"/>
                  </a:lnTo>
                  <a:lnTo>
                    <a:pt x="1673177" y="2273244"/>
                  </a:lnTo>
                  <a:lnTo>
                    <a:pt x="1670787" y="2273879"/>
                  </a:lnTo>
                  <a:lnTo>
                    <a:pt x="1668850" y="2274999"/>
                  </a:lnTo>
                  <a:lnTo>
                    <a:pt x="1667247" y="2277661"/>
                  </a:lnTo>
                  <a:lnTo>
                    <a:pt x="1665765" y="2280777"/>
                  </a:lnTo>
                  <a:lnTo>
                    <a:pt x="1664192" y="2283197"/>
                  </a:lnTo>
                  <a:lnTo>
                    <a:pt x="1660108" y="2286585"/>
                  </a:lnTo>
                  <a:lnTo>
                    <a:pt x="1659049" y="2288763"/>
                  </a:lnTo>
                  <a:lnTo>
                    <a:pt x="1658686" y="2293089"/>
                  </a:lnTo>
                  <a:lnTo>
                    <a:pt x="1657627" y="2296659"/>
                  </a:lnTo>
                  <a:lnTo>
                    <a:pt x="1653392" y="2300107"/>
                  </a:lnTo>
                  <a:lnTo>
                    <a:pt x="1653210" y="2304161"/>
                  </a:lnTo>
                  <a:lnTo>
                    <a:pt x="1653846" y="2305250"/>
                  </a:lnTo>
                  <a:lnTo>
                    <a:pt x="1654784" y="2305764"/>
                  </a:lnTo>
                  <a:lnTo>
                    <a:pt x="1655600" y="2306642"/>
                  </a:lnTo>
                  <a:lnTo>
                    <a:pt x="1655963" y="2308911"/>
                  </a:lnTo>
                  <a:lnTo>
                    <a:pt x="1656084" y="2310847"/>
                  </a:lnTo>
                  <a:lnTo>
                    <a:pt x="1656538" y="2314598"/>
                  </a:lnTo>
                  <a:lnTo>
                    <a:pt x="1656659" y="2316776"/>
                  </a:lnTo>
                  <a:lnTo>
                    <a:pt x="1657930" y="2319831"/>
                  </a:lnTo>
                  <a:lnTo>
                    <a:pt x="1660894" y="2321253"/>
                  </a:lnTo>
                  <a:lnTo>
                    <a:pt x="1667005" y="2321435"/>
                  </a:lnTo>
                  <a:lnTo>
                    <a:pt x="1682222" y="2318561"/>
                  </a:lnTo>
                  <a:lnTo>
                    <a:pt x="1685580" y="2316201"/>
                  </a:lnTo>
                  <a:lnTo>
                    <a:pt x="1688272" y="2315203"/>
                  </a:lnTo>
                  <a:lnTo>
                    <a:pt x="1691751" y="2314779"/>
                  </a:lnTo>
                  <a:lnTo>
                    <a:pt x="1687758" y="2319619"/>
                  </a:lnTo>
                  <a:lnTo>
                    <a:pt x="1682827" y="2321253"/>
                  </a:lnTo>
                  <a:lnTo>
                    <a:pt x="1667550" y="2322312"/>
                  </a:lnTo>
                  <a:lnTo>
                    <a:pt x="1664797" y="2323643"/>
                  </a:lnTo>
                  <a:lnTo>
                    <a:pt x="1663587" y="2325972"/>
                  </a:lnTo>
                  <a:lnTo>
                    <a:pt x="1662619" y="2327182"/>
                  </a:lnTo>
                  <a:lnTo>
                    <a:pt x="1658021" y="2330117"/>
                  </a:lnTo>
                  <a:lnTo>
                    <a:pt x="1656659" y="2331932"/>
                  </a:lnTo>
                  <a:lnTo>
                    <a:pt x="1657688" y="2332839"/>
                  </a:lnTo>
                  <a:lnTo>
                    <a:pt x="1661288" y="2336984"/>
                  </a:lnTo>
                  <a:lnTo>
                    <a:pt x="1662437" y="2337801"/>
                  </a:lnTo>
                  <a:lnTo>
                    <a:pt x="1663798" y="2338285"/>
                  </a:lnTo>
                  <a:lnTo>
                    <a:pt x="1665614" y="2338436"/>
                  </a:lnTo>
                  <a:lnTo>
                    <a:pt x="1665614" y="2339858"/>
                  </a:lnTo>
                  <a:lnTo>
                    <a:pt x="1658928" y="2339192"/>
                  </a:lnTo>
                  <a:lnTo>
                    <a:pt x="1655842" y="2337801"/>
                  </a:lnTo>
                  <a:lnTo>
                    <a:pt x="1653543" y="2335199"/>
                  </a:lnTo>
                  <a:lnTo>
                    <a:pt x="1652424" y="2334322"/>
                  </a:lnTo>
                  <a:lnTo>
                    <a:pt x="1644195" y="2332386"/>
                  </a:lnTo>
                  <a:lnTo>
                    <a:pt x="1642834" y="2332688"/>
                  </a:lnTo>
                  <a:lnTo>
                    <a:pt x="1641443" y="2334564"/>
                  </a:lnTo>
                  <a:lnTo>
                    <a:pt x="1638538" y="2338224"/>
                  </a:lnTo>
                  <a:lnTo>
                    <a:pt x="1627830" y="2338799"/>
                  </a:lnTo>
                  <a:lnTo>
                    <a:pt x="1623564" y="2339918"/>
                  </a:lnTo>
                  <a:lnTo>
                    <a:pt x="1621870" y="2341491"/>
                  </a:lnTo>
                  <a:lnTo>
                    <a:pt x="1621779" y="2342611"/>
                  </a:lnTo>
                  <a:lnTo>
                    <a:pt x="1622415" y="2344154"/>
                  </a:lnTo>
                  <a:lnTo>
                    <a:pt x="1623231" y="2349387"/>
                  </a:lnTo>
                  <a:lnTo>
                    <a:pt x="1624169" y="2351051"/>
                  </a:lnTo>
                  <a:lnTo>
                    <a:pt x="1625288" y="2352503"/>
                  </a:lnTo>
                  <a:lnTo>
                    <a:pt x="1626287" y="2354167"/>
                  </a:lnTo>
                  <a:lnTo>
                    <a:pt x="1630129" y="2364059"/>
                  </a:lnTo>
                  <a:lnTo>
                    <a:pt x="1631278" y="2366146"/>
                  </a:lnTo>
                  <a:lnTo>
                    <a:pt x="1632004" y="2366963"/>
                  </a:lnTo>
                  <a:lnTo>
                    <a:pt x="1637238" y="2368113"/>
                  </a:lnTo>
                  <a:lnTo>
                    <a:pt x="1638115" y="2368597"/>
                  </a:lnTo>
                  <a:lnTo>
                    <a:pt x="1639144" y="2373709"/>
                  </a:lnTo>
                  <a:lnTo>
                    <a:pt x="1637722" y="2378761"/>
                  </a:lnTo>
                  <a:lnTo>
                    <a:pt x="1635120" y="2382966"/>
                  </a:lnTo>
                  <a:lnTo>
                    <a:pt x="1632549" y="2385568"/>
                  </a:lnTo>
                  <a:lnTo>
                    <a:pt x="1635120" y="2375948"/>
                  </a:lnTo>
                  <a:lnTo>
                    <a:pt x="1634969" y="2373195"/>
                  </a:lnTo>
                  <a:lnTo>
                    <a:pt x="1633396" y="2370805"/>
                  </a:lnTo>
                  <a:lnTo>
                    <a:pt x="1627043" y="2365995"/>
                  </a:lnTo>
                  <a:lnTo>
                    <a:pt x="1622959" y="2364724"/>
                  </a:lnTo>
                  <a:lnTo>
                    <a:pt x="1618331" y="2365783"/>
                  </a:lnTo>
                  <a:lnTo>
                    <a:pt x="1609134" y="2371168"/>
                  </a:lnTo>
                  <a:lnTo>
                    <a:pt x="1615729" y="2364331"/>
                  </a:lnTo>
                  <a:lnTo>
                    <a:pt x="1618905" y="2362698"/>
                  </a:lnTo>
                  <a:lnTo>
                    <a:pt x="1620600" y="2361094"/>
                  </a:lnTo>
                  <a:lnTo>
                    <a:pt x="1622142" y="2359158"/>
                  </a:lnTo>
                  <a:lnTo>
                    <a:pt x="1622808" y="2357525"/>
                  </a:lnTo>
                  <a:lnTo>
                    <a:pt x="1622505" y="2355528"/>
                  </a:lnTo>
                  <a:lnTo>
                    <a:pt x="1621779" y="2353683"/>
                  </a:lnTo>
                  <a:lnTo>
                    <a:pt x="1620115" y="2350325"/>
                  </a:lnTo>
                  <a:lnTo>
                    <a:pt x="1618300" y="2343881"/>
                  </a:lnTo>
                  <a:lnTo>
                    <a:pt x="1617362" y="2342399"/>
                  </a:lnTo>
                  <a:lnTo>
                    <a:pt x="1615669" y="2341764"/>
                  </a:lnTo>
                  <a:lnTo>
                    <a:pt x="1609800" y="2342399"/>
                  </a:lnTo>
                  <a:lnTo>
                    <a:pt x="1608529" y="2341975"/>
                  </a:lnTo>
                  <a:lnTo>
                    <a:pt x="1607894" y="2340765"/>
                  </a:lnTo>
                  <a:lnTo>
                    <a:pt x="1607682" y="2338920"/>
                  </a:lnTo>
                  <a:lnTo>
                    <a:pt x="1607682" y="2336560"/>
                  </a:lnTo>
                  <a:lnTo>
                    <a:pt x="1607319" y="2334715"/>
                  </a:lnTo>
                  <a:lnTo>
                    <a:pt x="1606502" y="2333444"/>
                  </a:lnTo>
                  <a:lnTo>
                    <a:pt x="1605383" y="2332567"/>
                  </a:lnTo>
                  <a:lnTo>
                    <a:pt x="1600361" y="2330450"/>
                  </a:lnTo>
                  <a:lnTo>
                    <a:pt x="1586446" y="2329088"/>
                  </a:lnTo>
                  <a:lnTo>
                    <a:pt x="1585205" y="2328241"/>
                  </a:lnTo>
                  <a:lnTo>
                    <a:pt x="1582846" y="2325942"/>
                  </a:lnTo>
                  <a:lnTo>
                    <a:pt x="1581605" y="2325670"/>
                  </a:lnTo>
                  <a:lnTo>
                    <a:pt x="1580940" y="2327303"/>
                  </a:lnTo>
                  <a:lnTo>
                    <a:pt x="1580123" y="2331902"/>
                  </a:lnTo>
                  <a:lnTo>
                    <a:pt x="1578187" y="2336470"/>
                  </a:lnTo>
                  <a:lnTo>
                    <a:pt x="1576099" y="2339313"/>
                  </a:lnTo>
                  <a:lnTo>
                    <a:pt x="1573710" y="2340765"/>
                  </a:lnTo>
                  <a:lnTo>
                    <a:pt x="1567992" y="2341885"/>
                  </a:lnTo>
                  <a:lnTo>
                    <a:pt x="1565239" y="2343669"/>
                  </a:lnTo>
                  <a:lnTo>
                    <a:pt x="1562789" y="2346180"/>
                  </a:lnTo>
                  <a:lnTo>
                    <a:pt x="1559794" y="2350416"/>
                  </a:lnTo>
                  <a:lnTo>
                    <a:pt x="1558887" y="2352079"/>
                  </a:lnTo>
                  <a:lnTo>
                    <a:pt x="1558433" y="2354136"/>
                  </a:lnTo>
                  <a:lnTo>
                    <a:pt x="1558735" y="2356859"/>
                  </a:lnTo>
                  <a:lnTo>
                    <a:pt x="1557041" y="2357131"/>
                  </a:lnTo>
                  <a:lnTo>
                    <a:pt x="1555317" y="2356859"/>
                  </a:lnTo>
                  <a:lnTo>
                    <a:pt x="1556285" y="2353410"/>
                  </a:lnTo>
                  <a:lnTo>
                    <a:pt x="1557737" y="2350748"/>
                  </a:lnTo>
                  <a:lnTo>
                    <a:pt x="1558493" y="2348479"/>
                  </a:lnTo>
                  <a:lnTo>
                    <a:pt x="1557374" y="2346332"/>
                  </a:lnTo>
                  <a:lnTo>
                    <a:pt x="1556164" y="2345848"/>
                  </a:lnTo>
                  <a:lnTo>
                    <a:pt x="1554379" y="2345757"/>
                  </a:lnTo>
                  <a:lnTo>
                    <a:pt x="1552624" y="2346120"/>
                  </a:lnTo>
                  <a:lnTo>
                    <a:pt x="1551505" y="2346997"/>
                  </a:lnTo>
                  <a:lnTo>
                    <a:pt x="1550144" y="2349054"/>
                  </a:lnTo>
                  <a:lnTo>
                    <a:pt x="1548873" y="2350022"/>
                  </a:lnTo>
                  <a:lnTo>
                    <a:pt x="1545636" y="2350294"/>
                  </a:lnTo>
                  <a:lnTo>
                    <a:pt x="1548026" y="2347965"/>
                  </a:lnTo>
                  <a:lnTo>
                    <a:pt x="1548480" y="2344456"/>
                  </a:lnTo>
                  <a:lnTo>
                    <a:pt x="1547210" y="2341249"/>
                  </a:lnTo>
                  <a:lnTo>
                    <a:pt x="1544335" y="2339858"/>
                  </a:lnTo>
                  <a:lnTo>
                    <a:pt x="1540857" y="2339253"/>
                  </a:lnTo>
                  <a:lnTo>
                    <a:pt x="1534504" y="2336500"/>
                  </a:lnTo>
                  <a:lnTo>
                    <a:pt x="1531146" y="2335804"/>
                  </a:lnTo>
                  <a:lnTo>
                    <a:pt x="1524309" y="2337226"/>
                  </a:lnTo>
                  <a:lnTo>
                    <a:pt x="1522343" y="2337165"/>
                  </a:lnTo>
                  <a:lnTo>
                    <a:pt x="1518894" y="2336046"/>
                  </a:lnTo>
                  <a:lnTo>
                    <a:pt x="1510454" y="2335864"/>
                  </a:lnTo>
                  <a:lnTo>
                    <a:pt x="1507520" y="2336621"/>
                  </a:lnTo>
                  <a:lnTo>
                    <a:pt x="1504313" y="2338406"/>
                  </a:lnTo>
                  <a:lnTo>
                    <a:pt x="1504676" y="2339011"/>
                  </a:lnTo>
                  <a:lnTo>
                    <a:pt x="1505674" y="2341128"/>
                  </a:lnTo>
                  <a:lnTo>
                    <a:pt x="1504283" y="2341522"/>
                  </a:lnTo>
                  <a:lnTo>
                    <a:pt x="1502891" y="2342580"/>
                  </a:lnTo>
                  <a:lnTo>
                    <a:pt x="1501590" y="2344032"/>
                  </a:lnTo>
                  <a:lnTo>
                    <a:pt x="1500531" y="2345636"/>
                  </a:lnTo>
                  <a:lnTo>
                    <a:pt x="1499201" y="2346846"/>
                  </a:lnTo>
                  <a:lnTo>
                    <a:pt x="1499201" y="2344395"/>
                  </a:lnTo>
                  <a:lnTo>
                    <a:pt x="1500199" y="2339101"/>
                  </a:lnTo>
                  <a:lnTo>
                    <a:pt x="1498505" y="2337256"/>
                  </a:lnTo>
                  <a:lnTo>
                    <a:pt x="1494693" y="2338133"/>
                  </a:lnTo>
                  <a:lnTo>
                    <a:pt x="1490700" y="2340251"/>
                  </a:lnTo>
                  <a:lnTo>
                    <a:pt x="1488431" y="2342308"/>
                  </a:lnTo>
                  <a:lnTo>
                    <a:pt x="1486646" y="2341158"/>
                  </a:lnTo>
                  <a:lnTo>
                    <a:pt x="1484861" y="2341280"/>
                  </a:lnTo>
                  <a:lnTo>
                    <a:pt x="1481170" y="2342308"/>
                  </a:lnTo>
                  <a:lnTo>
                    <a:pt x="1480717" y="2342853"/>
                  </a:lnTo>
                  <a:lnTo>
                    <a:pt x="1482018" y="2344123"/>
                  </a:lnTo>
                  <a:lnTo>
                    <a:pt x="1484952" y="2346211"/>
                  </a:lnTo>
                  <a:lnTo>
                    <a:pt x="1484952" y="2347632"/>
                  </a:lnTo>
                  <a:lnTo>
                    <a:pt x="1481745" y="2347118"/>
                  </a:lnTo>
                  <a:lnTo>
                    <a:pt x="1477601" y="2345454"/>
                  </a:lnTo>
                  <a:lnTo>
                    <a:pt x="1473608" y="2344698"/>
                  </a:lnTo>
                  <a:lnTo>
                    <a:pt x="1469705" y="2347844"/>
                  </a:lnTo>
                  <a:lnTo>
                    <a:pt x="1468193" y="2348449"/>
                  </a:lnTo>
                  <a:lnTo>
                    <a:pt x="1466831" y="2349568"/>
                  </a:lnTo>
                  <a:lnTo>
                    <a:pt x="1466226" y="2352140"/>
                  </a:lnTo>
                  <a:lnTo>
                    <a:pt x="1466559" y="2354257"/>
                  </a:lnTo>
                  <a:lnTo>
                    <a:pt x="1467164" y="2356073"/>
                  </a:lnTo>
                  <a:lnTo>
                    <a:pt x="1467497" y="2357706"/>
                  </a:lnTo>
                  <a:lnTo>
                    <a:pt x="1466952" y="2359249"/>
                  </a:lnTo>
                  <a:lnTo>
                    <a:pt x="1465621" y="2360005"/>
                  </a:lnTo>
                  <a:lnTo>
                    <a:pt x="1465047" y="2358251"/>
                  </a:lnTo>
                  <a:lnTo>
                    <a:pt x="1464714" y="2355710"/>
                  </a:lnTo>
                  <a:lnTo>
                    <a:pt x="1464139" y="2354046"/>
                  </a:lnTo>
                  <a:lnTo>
                    <a:pt x="1462869" y="2353562"/>
                  </a:lnTo>
                  <a:lnTo>
                    <a:pt x="1458331" y="2354046"/>
                  </a:lnTo>
                  <a:lnTo>
                    <a:pt x="1451948" y="2352987"/>
                  </a:lnTo>
                  <a:lnTo>
                    <a:pt x="1448832" y="2351777"/>
                  </a:lnTo>
                  <a:lnTo>
                    <a:pt x="1440845" y="2346755"/>
                  </a:lnTo>
                  <a:lnTo>
                    <a:pt x="1434099" y="2344486"/>
                  </a:lnTo>
                  <a:lnTo>
                    <a:pt x="1427414" y="2345091"/>
                  </a:lnTo>
                  <a:lnTo>
                    <a:pt x="1422120" y="2350234"/>
                  </a:lnTo>
                  <a:lnTo>
                    <a:pt x="1421303" y="2352684"/>
                  </a:lnTo>
                  <a:lnTo>
                    <a:pt x="1420880" y="2356042"/>
                  </a:lnTo>
                  <a:lnTo>
                    <a:pt x="1420970" y="2359582"/>
                  </a:lnTo>
                  <a:lnTo>
                    <a:pt x="1421757" y="2362577"/>
                  </a:lnTo>
                  <a:lnTo>
                    <a:pt x="1422846" y="2363272"/>
                  </a:lnTo>
                  <a:lnTo>
                    <a:pt x="1428291" y="2364573"/>
                  </a:lnTo>
                  <a:lnTo>
                    <a:pt x="1429834" y="2364119"/>
                  </a:lnTo>
                  <a:lnTo>
                    <a:pt x="1432617" y="2362214"/>
                  </a:lnTo>
                  <a:lnTo>
                    <a:pt x="1433797" y="2361851"/>
                  </a:lnTo>
                  <a:lnTo>
                    <a:pt x="1433646" y="2361639"/>
                  </a:lnTo>
                  <a:lnTo>
                    <a:pt x="1433918" y="2361245"/>
                  </a:lnTo>
                  <a:lnTo>
                    <a:pt x="1434553" y="2360671"/>
                  </a:lnTo>
                  <a:lnTo>
                    <a:pt x="1434825" y="2364422"/>
                  </a:lnTo>
                  <a:lnTo>
                    <a:pt x="1433676" y="2365693"/>
                  </a:lnTo>
                  <a:lnTo>
                    <a:pt x="1431952" y="2366388"/>
                  </a:lnTo>
                  <a:lnTo>
                    <a:pt x="1430409" y="2368476"/>
                  </a:lnTo>
                  <a:lnTo>
                    <a:pt x="1430167" y="2370744"/>
                  </a:lnTo>
                  <a:lnTo>
                    <a:pt x="1431044" y="2379548"/>
                  </a:lnTo>
                  <a:lnTo>
                    <a:pt x="1430620" y="2382361"/>
                  </a:lnTo>
                  <a:lnTo>
                    <a:pt x="1429683" y="2382361"/>
                  </a:lnTo>
                  <a:lnTo>
                    <a:pt x="1428775" y="2380274"/>
                  </a:lnTo>
                  <a:lnTo>
                    <a:pt x="1428352" y="2376976"/>
                  </a:lnTo>
                  <a:lnTo>
                    <a:pt x="1428805" y="2370381"/>
                  </a:lnTo>
                  <a:lnTo>
                    <a:pt x="1428261" y="2368718"/>
                  </a:lnTo>
                  <a:lnTo>
                    <a:pt x="1426234" y="2367175"/>
                  </a:lnTo>
                  <a:lnTo>
                    <a:pt x="1424237" y="2366298"/>
                  </a:lnTo>
                  <a:lnTo>
                    <a:pt x="1421696" y="2365783"/>
                  </a:lnTo>
                  <a:lnTo>
                    <a:pt x="1419548" y="2366267"/>
                  </a:lnTo>
                  <a:lnTo>
                    <a:pt x="1418671" y="2368476"/>
                  </a:lnTo>
                  <a:lnTo>
                    <a:pt x="1419125" y="2369837"/>
                  </a:lnTo>
                  <a:lnTo>
                    <a:pt x="1421000" y="2372196"/>
                  </a:lnTo>
                  <a:lnTo>
                    <a:pt x="1421424" y="2373074"/>
                  </a:lnTo>
                  <a:lnTo>
                    <a:pt x="1421424" y="2375101"/>
                  </a:lnTo>
                  <a:lnTo>
                    <a:pt x="1421545" y="2376281"/>
                  </a:lnTo>
                  <a:lnTo>
                    <a:pt x="1421847" y="2377158"/>
                  </a:lnTo>
                  <a:lnTo>
                    <a:pt x="1422453" y="2378307"/>
                  </a:lnTo>
                  <a:lnTo>
                    <a:pt x="1423360" y="2380818"/>
                  </a:lnTo>
                  <a:lnTo>
                    <a:pt x="1424510" y="2386475"/>
                  </a:lnTo>
                  <a:lnTo>
                    <a:pt x="1425236" y="2388714"/>
                  </a:lnTo>
                  <a:lnTo>
                    <a:pt x="1427202" y="2390589"/>
                  </a:lnTo>
                  <a:lnTo>
                    <a:pt x="1431921" y="2389984"/>
                  </a:lnTo>
                  <a:lnTo>
                    <a:pt x="1433857" y="2390529"/>
                  </a:lnTo>
                  <a:lnTo>
                    <a:pt x="1432405" y="2391951"/>
                  </a:lnTo>
                  <a:lnTo>
                    <a:pt x="1433676" y="2394855"/>
                  </a:lnTo>
                  <a:lnTo>
                    <a:pt x="1435521" y="2394310"/>
                  </a:lnTo>
                  <a:lnTo>
                    <a:pt x="1437034" y="2391285"/>
                  </a:lnTo>
                  <a:lnTo>
                    <a:pt x="1437366" y="2386778"/>
                  </a:lnTo>
                  <a:lnTo>
                    <a:pt x="1439393" y="2391890"/>
                  </a:lnTo>
                  <a:lnTo>
                    <a:pt x="1444627" y="2393887"/>
                  </a:lnTo>
                  <a:lnTo>
                    <a:pt x="1450012" y="2392828"/>
                  </a:lnTo>
                  <a:lnTo>
                    <a:pt x="1452462" y="2388714"/>
                  </a:lnTo>
                  <a:lnTo>
                    <a:pt x="1453370" y="2384206"/>
                  </a:lnTo>
                  <a:lnTo>
                    <a:pt x="1455548" y="2382361"/>
                  </a:lnTo>
                  <a:lnTo>
                    <a:pt x="1460691" y="2381575"/>
                  </a:lnTo>
                  <a:lnTo>
                    <a:pt x="1467951" y="2376734"/>
                  </a:lnTo>
                  <a:lnTo>
                    <a:pt x="1470371" y="2376250"/>
                  </a:lnTo>
                  <a:lnTo>
                    <a:pt x="1467860" y="2378882"/>
                  </a:lnTo>
                  <a:lnTo>
                    <a:pt x="1468737" y="2381060"/>
                  </a:lnTo>
                  <a:lnTo>
                    <a:pt x="1471490" y="2382482"/>
                  </a:lnTo>
                  <a:lnTo>
                    <a:pt x="1474515" y="2382754"/>
                  </a:lnTo>
                  <a:lnTo>
                    <a:pt x="1471883" y="2384569"/>
                  </a:lnTo>
                  <a:lnTo>
                    <a:pt x="1470492" y="2385205"/>
                  </a:lnTo>
                  <a:lnTo>
                    <a:pt x="1468949" y="2385477"/>
                  </a:lnTo>
                  <a:lnTo>
                    <a:pt x="1467255" y="2385084"/>
                  </a:lnTo>
                  <a:lnTo>
                    <a:pt x="1465561" y="2384327"/>
                  </a:lnTo>
                  <a:lnTo>
                    <a:pt x="1463836" y="2383995"/>
                  </a:lnTo>
                  <a:lnTo>
                    <a:pt x="1456364" y="2387141"/>
                  </a:lnTo>
                  <a:lnTo>
                    <a:pt x="1454519" y="2389621"/>
                  </a:lnTo>
                  <a:lnTo>
                    <a:pt x="1455880" y="2394673"/>
                  </a:lnTo>
                  <a:lnTo>
                    <a:pt x="1453642" y="2396004"/>
                  </a:lnTo>
                  <a:lnTo>
                    <a:pt x="1449104" y="2397245"/>
                  </a:lnTo>
                  <a:lnTo>
                    <a:pt x="1446956" y="2398546"/>
                  </a:lnTo>
                  <a:lnTo>
                    <a:pt x="1444566" y="2400996"/>
                  </a:lnTo>
                  <a:lnTo>
                    <a:pt x="1444234" y="2401661"/>
                  </a:lnTo>
                  <a:lnTo>
                    <a:pt x="1444536" y="2403991"/>
                  </a:lnTo>
                  <a:lnTo>
                    <a:pt x="1445323" y="2404566"/>
                  </a:lnTo>
                  <a:lnTo>
                    <a:pt x="1446321" y="2404656"/>
                  </a:lnTo>
                  <a:lnTo>
                    <a:pt x="1449104" y="2407046"/>
                  </a:lnTo>
                  <a:lnTo>
                    <a:pt x="1451675" y="2407621"/>
                  </a:lnTo>
                  <a:lnTo>
                    <a:pt x="1456213" y="2407621"/>
                  </a:lnTo>
                  <a:lnTo>
                    <a:pt x="1456969" y="2408196"/>
                  </a:lnTo>
                  <a:lnTo>
                    <a:pt x="1457272" y="2409617"/>
                  </a:lnTo>
                  <a:lnTo>
                    <a:pt x="1457484" y="2411281"/>
                  </a:lnTo>
                  <a:lnTo>
                    <a:pt x="1457968" y="2412643"/>
                  </a:lnTo>
                  <a:lnTo>
                    <a:pt x="1458875" y="2413641"/>
                  </a:lnTo>
                  <a:lnTo>
                    <a:pt x="1462082" y="2415335"/>
                  </a:lnTo>
                  <a:lnTo>
                    <a:pt x="1461780" y="2418209"/>
                  </a:lnTo>
                  <a:lnTo>
                    <a:pt x="1462717" y="2419752"/>
                  </a:lnTo>
                  <a:lnTo>
                    <a:pt x="1463867" y="2421022"/>
                  </a:lnTo>
                  <a:lnTo>
                    <a:pt x="1464169" y="2423079"/>
                  </a:lnTo>
                  <a:lnTo>
                    <a:pt x="1463413" y="2423079"/>
                  </a:lnTo>
                  <a:lnTo>
                    <a:pt x="1460146" y="2419722"/>
                  </a:lnTo>
                  <a:lnTo>
                    <a:pt x="1458664" y="2419086"/>
                  </a:lnTo>
                  <a:lnTo>
                    <a:pt x="1457816" y="2420901"/>
                  </a:lnTo>
                  <a:lnTo>
                    <a:pt x="1459783" y="2423684"/>
                  </a:lnTo>
                  <a:lnTo>
                    <a:pt x="1462566" y="2426800"/>
                  </a:lnTo>
                  <a:lnTo>
                    <a:pt x="1464139" y="2429523"/>
                  </a:lnTo>
                  <a:lnTo>
                    <a:pt x="1461961" y="2428706"/>
                  </a:lnTo>
                  <a:lnTo>
                    <a:pt x="1458028" y="2424683"/>
                  </a:lnTo>
                  <a:lnTo>
                    <a:pt x="1455880" y="2423079"/>
                  </a:lnTo>
                  <a:lnTo>
                    <a:pt x="1456001" y="2424925"/>
                  </a:lnTo>
                  <a:lnTo>
                    <a:pt x="1456395" y="2426347"/>
                  </a:lnTo>
                  <a:lnTo>
                    <a:pt x="1457060" y="2427436"/>
                  </a:lnTo>
                  <a:lnTo>
                    <a:pt x="1457968" y="2428192"/>
                  </a:lnTo>
                  <a:lnTo>
                    <a:pt x="1455517" y="2427284"/>
                  </a:lnTo>
                  <a:lnTo>
                    <a:pt x="1453309" y="2424441"/>
                  </a:lnTo>
                  <a:lnTo>
                    <a:pt x="1451706" y="2420568"/>
                  </a:lnTo>
                  <a:lnTo>
                    <a:pt x="1451070" y="2416485"/>
                  </a:lnTo>
                  <a:lnTo>
                    <a:pt x="1451070" y="2413792"/>
                  </a:lnTo>
                  <a:lnTo>
                    <a:pt x="1448680" y="2411917"/>
                  </a:lnTo>
                  <a:lnTo>
                    <a:pt x="1438274" y="2408165"/>
                  </a:lnTo>
                  <a:lnTo>
                    <a:pt x="1435491" y="2406471"/>
                  </a:lnTo>
                  <a:lnTo>
                    <a:pt x="1431468" y="2402085"/>
                  </a:lnTo>
                  <a:lnTo>
                    <a:pt x="1426174" y="2401087"/>
                  </a:lnTo>
                  <a:lnTo>
                    <a:pt x="1421545" y="2396761"/>
                  </a:lnTo>
                  <a:lnTo>
                    <a:pt x="1418641" y="2395430"/>
                  </a:lnTo>
                  <a:lnTo>
                    <a:pt x="1415646" y="2395430"/>
                  </a:lnTo>
                  <a:lnTo>
                    <a:pt x="1413135" y="2397063"/>
                  </a:lnTo>
                  <a:lnTo>
                    <a:pt x="1416251" y="2398213"/>
                  </a:lnTo>
                  <a:lnTo>
                    <a:pt x="1419004" y="2400875"/>
                  </a:lnTo>
                  <a:lnTo>
                    <a:pt x="1423814" y="2408105"/>
                  </a:lnTo>
                  <a:lnTo>
                    <a:pt x="1426658" y="2410162"/>
                  </a:lnTo>
                  <a:lnTo>
                    <a:pt x="1430046" y="2410465"/>
                  </a:lnTo>
                  <a:lnTo>
                    <a:pt x="1433161" y="2411372"/>
                  </a:lnTo>
                  <a:lnTo>
                    <a:pt x="1435249" y="2415244"/>
                  </a:lnTo>
                  <a:lnTo>
                    <a:pt x="1430711" y="2413822"/>
                  </a:lnTo>
                  <a:lnTo>
                    <a:pt x="1429047" y="2413822"/>
                  </a:lnTo>
                  <a:lnTo>
                    <a:pt x="1436792" y="2421658"/>
                  </a:lnTo>
                  <a:lnTo>
                    <a:pt x="1443477" y="2430854"/>
                  </a:lnTo>
                  <a:lnTo>
                    <a:pt x="1442933" y="2432034"/>
                  </a:lnTo>
                  <a:lnTo>
                    <a:pt x="1436308" y="2425651"/>
                  </a:lnTo>
                  <a:lnTo>
                    <a:pt x="1432920" y="2423533"/>
                  </a:lnTo>
                  <a:lnTo>
                    <a:pt x="1429078" y="2423019"/>
                  </a:lnTo>
                  <a:lnTo>
                    <a:pt x="1430348" y="2425621"/>
                  </a:lnTo>
                  <a:lnTo>
                    <a:pt x="1436640" y="2432034"/>
                  </a:lnTo>
                  <a:lnTo>
                    <a:pt x="1439544" y="2436027"/>
                  </a:lnTo>
                  <a:lnTo>
                    <a:pt x="1442933" y="2439748"/>
                  </a:lnTo>
                  <a:lnTo>
                    <a:pt x="1445716" y="2441775"/>
                  </a:lnTo>
                  <a:lnTo>
                    <a:pt x="1448166" y="2442561"/>
                  </a:lnTo>
                  <a:lnTo>
                    <a:pt x="1450707" y="2442259"/>
                  </a:lnTo>
                  <a:lnTo>
                    <a:pt x="1457968" y="2438568"/>
                  </a:lnTo>
                  <a:lnTo>
                    <a:pt x="1465077" y="2432125"/>
                  </a:lnTo>
                  <a:lnTo>
                    <a:pt x="1471248" y="2429795"/>
                  </a:lnTo>
                  <a:lnTo>
                    <a:pt x="1473457" y="2429493"/>
                  </a:lnTo>
                  <a:lnTo>
                    <a:pt x="1474394" y="2427436"/>
                  </a:lnTo>
                  <a:lnTo>
                    <a:pt x="1473124" y="2418511"/>
                  </a:lnTo>
                  <a:lnTo>
                    <a:pt x="1474152" y="2416485"/>
                  </a:lnTo>
                  <a:lnTo>
                    <a:pt x="1478629" y="2416848"/>
                  </a:lnTo>
                  <a:lnTo>
                    <a:pt x="1480021" y="2416485"/>
                  </a:lnTo>
                  <a:lnTo>
                    <a:pt x="1480959" y="2415638"/>
                  </a:lnTo>
                  <a:lnTo>
                    <a:pt x="1482865" y="2413127"/>
                  </a:lnTo>
                  <a:lnTo>
                    <a:pt x="1483863" y="2412613"/>
                  </a:lnTo>
                  <a:lnTo>
                    <a:pt x="1485678" y="2410918"/>
                  </a:lnTo>
                  <a:lnTo>
                    <a:pt x="1487039" y="2407560"/>
                  </a:lnTo>
                  <a:lnTo>
                    <a:pt x="1488491" y="2405110"/>
                  </a:lnTo>
                  <a:lnTo>
                    <a:pt x="1490458" y="2406139"/>
                  </a:lnTo>
                  <a:lnTo>
                    <a:pt x="1489459" y="2407802"/>
                  </a:lnTo>
                  <a:lnTo>
                    <a:pt x="1488068" y="2410918"/>
                  </a:lnTo>
                  <a:lnTo>
                    <a:pt x="1487100" y="2413944"/>
                  </a:lnTo>
                  <a:lnTo>
                    <a:pt x="1487312" y="2415305"/>
                  </a:lnTo>
                  <a:lnTo>
                    <a:pt x="1491819" y="2415577"/>
                  </a:lnTo>
                  <a:lnTo>
                    <a:pt x="1493816" y="2414851"/>
                  </a:lnTo>
                  <a:lnTo>
                    <a:pt x="1495994" y="2412643"/>
                  </a:lnTo>
                  <a:lnTo>
                    <a:pt x="1494874" y="2415093"/>
                  </a:lnTo>
                  <a:lnTo>
                    <a:pt x="1493604" y="2418693"/>
                  </a:lnTo>
                  <a:lnTo>
                    <a:pt x="1493332" y="2422172"/>
                  </a:lnTo>
                  <a:lnTo>
                    <a:pt x="1495328" y="2424229"/>
                  </a:lnTo>
                  <a:lnTo>
                    <a:pt x="1493181" y="2427496"/>
                  </a:lnTo>
                  <a:lnTo>
                    <a:pt x="1492091" y="2434333"/>
                  </a:lnTo>
                  <a:lnTo>
                    <a:pt x="1491758" y="2441926"/>
                  </a:lnTo>
                  <a:lnTo>
                    <a:pt x="1491880" y="2447492"/>
                  </a:lnTo>
                  <a:lnTo>
                    <a:pt x="1492455" y="2453906"/>
                  </a:lnTo>
                  <a:lnTo>
                    <a:pt x="1492455" y="2456659"/>
                  </a:lnTo>
                  <a:lnTo>
                    <a:pt x="1491880" y="2459139"/>
                  </a:lnTo>
                  <a:lnTo>
                    <a:pt x="1490095" y="2460803"/>
                  </a:lnTo>
                  <a:lnTo>
                    <a:pt x="1487675" y="2461892"/>
                  </a:lnTo>
                  <a:lnTo>
                    <a:pt x="1485981" y="2463495"/>
                  </a:lnTo>
                  <a:lnTo>
                    <a:pt x="1486374" y="2466672"/>
                  </a:lnTo>
                  <a:lnTo>
                    <a:pt x="1482774" y="2469243"/>
                  </a:lnTo>
                  <a:lnTo>
                    <a:pt x="1478297" y="2469667"/>
                  </a:lnTo>
                  <a:lnTo>
                    <a:pt x="1473729" y="2468608"/>
                  </a:lnTo>
                  <a:lnTo>
                    <a:pt x="1468526" y="2465916"/>
                  </a:lnTo>
                  <a:lnTo>
                    <a:pt x="1465773" y="2463798"/>
                  </a:lnTo>
                  <a:lnTo>
                    <a:pt x="1460600" y="2457203"/>
                  </a:lnTo>
                  <a:lnTo>
                    <a:pt x="1459450" y="2456477"/>
                  </a:lnTo>
                  <a:lnTo>
                    <a:pt x="1457363" y="2454662"/>
                  </a:lnTo>
                  <a:lnTo>
                    <a:pt x="1454459" y="2451062"/>
                  </a:lnTo>
                  <a:lnTo>
                    <a:pt x="1451403" y="2448430"/>
                  </a:lnTo>
                  <a:lnTo>
                    <a:pt x="1448832" y="2449549"/>
                  </a:lnTo>
                  <a:lnTo>
                    <a:pt x="1444597" y="2455781"/>
                  </a:lnTo>
                  <a:lnTo>
                    <a:pt x="1444475" y="2458685"/>
                  </a:lnTo>
                  <a:lnTo>
                    <a:pt x="1447107" y="2463011"/>
                  </a:lnTo>
                  <a:lnTo>
                    <a:pt x="1446684" y="2463737"/>
                  </a:lnTo>
                  <a:lnTo>
                    <a:pt x="1445807" y="2466702"/>
                  </a:lnTo>
                  <a:lnTo>
                    <a:pt x="1449134" y="2472268"/>
                  </a:lnTo>
                  <a:lnTo>
                    <a:pt x="1450617" y="2473206"/>
                  </a:lnTo>
                  <a:lnTo>
                    <a:pt x="1447380" y="2474870"/>
                  </a:lnTo>
                  <a:lnTo>
                    <a:pt x="1438546" y="2474598"/>
                  </a:lnTo>
                  <a:lnTo>
                    <a:pt x="1435400" y="2478409"/>
                  </a:lnTo>
                  <a:lnTo>
                    <a:pt x="1434856" y="2481525"/>
                  </a:lnTo>
                  <a:lnTo>
                    <a:pt x="1435491" y="2482947"/>
                  </a:lnTo>
                  <a:lnTo>
                    <a:pt x="1436610" y="2483310"/>
                  </a:lnTo>
                  <a:lnTo>
                    <a:pt x="1440664" y="2483945"/>
                  </a:lnTo>
                  <a:lnTo>
                    <a:pt x="1441965" y="2484944"/>
                  </a:lnTo>
                  <a:lnTo>
                    <a:pt x="1443629" y="2487182"/>
                  </a:lnTo>
                  <a:lnTo>
                    <a:pt x="1440543" y="2486849"/>
                  </a:lnTo>
                  <a:lnTo>
                    <a:pt x="1438909" y="2486970"/>
                  </a:lnTo>
                  <a:lnTo>
                    <a:pt x="1437851" y="2487878"/>
                  </a:lnTo>
                  <a:lnTo>
                    <a:pt x="1437336" y="2489602"/>
                  </a:lnTo>
                  <a:lnTo>
                    <a:pt x="1436943" y="2492023"/>
                  </a:lnTo>
                  <a:lnTo>
                    <a:pt x="1437003" y="2494140"/>
                  </a:lnTo>
                  <a:lnTo>
                    <a:pt x="1437851" y="2495048"/>
                  </a:lnTo>
                  <a:lnTo>
                    <a:pt x="1448499" y="2497619"/>
                  </a:lnTo>
                  <a:lnTo>
                    <a:pt x="1451887" y="2497468"/>
                  </a:lnTo>
                  <a:lnTo>
                    <a:pt x="1450556" y="2500553"/>
                  </a:lnTo>
                  <a:lnTo>
                    <a:pt x="1443084" y="2507662"/>
                  </a:lnTo>
                  <a:lnTo>
                    <a:pt x="1445898" y="2508328"/>
                  </a:lnTo>
                  <a:lnTo>
                    <a:pt x="1452946" y="2505666"/>
                  </a:lnTo>
                  <a:lnTo>
                    <a:pt x="1456062" y="2506483"/>
                  </a:lnTo>
                  <a:lnTo>
                    <a:pt x="1456062" y="2507632"/>
                  </a:lnTo>
                  <a:lnTo>
                    <a:pt x="1453339" y="2508691"/>
                  </a:lnTo>
                  <a:lnTo>
                    <a:pt x="1452129" y="2509750"/>
                  </a:lnTo>
                  <a:lnTo>
                    <a:pt x="1451222" y="2511414"/>
                  </a:lnTo>
                  <a:lnTo>
                    <a:pt x="1452855" y="2513017"/>
                  </a:lnTo>
                  <a:lnTo>
                    <a:pt x="1458119" y="2515225"/>
                  </a:lnTo>
                  <a:lnTo>
                    <a:pt x="1458119" y="2516587"/>
                  </a:lnTo>
                  <a:lnTo>
                    <a:pt x="1457453" y="2516829"/>
                  </a:lnTo>
                  <a:lnTo>
                    <a:pt x="1456032" y="2517857"/>
                  </a:lnTo>
                  <a:lnTo>
                    <a:pt x="1459541" y="2519914"/>
                  </a:lnTo>
                  <a:lnTo>
                    <a:pt x="1461870" y="2522395"/>
                  </a:lnTo>
                  <a:lnTo>
                    <a:pt x="1462626" y="2521034"/>
                  </a:lnTo>
                  <a:lnTo>
                    <a:pt x="1463080" y="2518553"/>
                  </a:lnTo>
                  <a:lnTo>
                    <a:pt x="1463595" y="2516587"/>
                  </a:lnTo>
                  <a:lnTo>
                    <a:pt x="1464744" y="2514832"/>
                  </a:lnTo>
                  <a:lnTo>
                    <a:pt x="1468404" y="2512019"/>
                  </a:lnTo>
                  <a:lnTo>
                    <a:pt x="1472579" y="2507148"/>
                  </a:lnTo>
                  <a:lnTo>
                    <a:pt x="1473608" y="2506422"/>
                  </a:lnTo>
                  <a:lnTo>
                    <a:pt x="1473940" y="2504093"/>
                  </a:lnTo>
                  <a:lnTo>
                    <a:pt x="1477782" y="2494382"/>
                  </a:lnTo>
                  <a:lnTo>
                    <a:pt x="1478751" y="2492960"/>
                  </a:lnTo>
                  <a:lnTo>
                    <a:pt x="1479386" y="2489088"/>
                  </a:lnTo>
                  <a:lnTo>
                    <a:pt x="1480868" y="2484762"/>
                  </a:lnTo>
                  <a:lnTo>
                    <a:pt x="1482713" y="2480860"/>
                  </a:lnTo>
                  <a:lnTo>
                    <a:pt x="1484317" y="2478288"/>
                  </a:lnTo>
                  <a:lnTo>
                    <a:pt x="1484438" y="2479347"/>
                  </a:lnTo>
                  <a:lnTo>
                    <a:pt x="1484861" y="2481041"/>
                  </a:lnTo>
                  <a:lnTo>
                    <a:pt x="1485012" y="2482100"/>
                  </a:lnTo>
                  <a:lnTo>
                    <a:pt x="1485981" y="2480255"/>
                  </a:lnTo>
                  <a:lnTo>
                    <a:pt x="1487070" y="2478591"/>
                  </a:lnTo>
                  <a:lnTo>
                    <a:pt x="1488340" y="2477381"/>
                  </a:lnTo>
                  <a:lnTo>
                    <a:pt x="1489853" y="2476897"/>
                  </a:lnTo>
                  <a:lnTo>
                    <a:pt x="1490609" y="2475959"/>
                  </a:lnTo>
                  <a:lnTo>
                    <a:pt x="1492847" y="2474325"/>
                  </a:lnTo>
                  <a:lnTo>
                    <a:pt x="1494723" y="2473811"/>
                  </a:lnTo>
                  <a:lnTo>
                    <a:pt x="1494300" y="2476261"/>
                  </a:lnTo>
                  <a:lnTo>
                    <a:pt x="1492938" y="2477865"/>
                  </a:lnTo>
                  <a:lnTo>
                    <a:pt x="1489399" y="2479408"/>
                  </a:lnTo>
                  <a:lnTo>
                    <a:pt x="1487735" y="2480739"/>
                  </a:lnTo>
                  <a:lnTo>
                    <a:pt x="1487039" y="2482070"/>
                  </a:lnTo>
                  <a:lnTo>
                    <a:pt x="1486313" y="2484127"/>
                  </a:lnTo>
                  <a:lnTo>
                    <a:pt x="1485738" y="2486063"/>
                  </a:lnTo>
                  <a:lnTo>
                    <a:pt x="1485587" y="2487092"/>
                  </a:lnTo>
                  <a:lnTo>
                    <a:pt x="1484710" y="2488453"/>
                  </a:lnTo>
                  <a:lnTo>
                    <a:pt x="1482078" y="2493898"/>
                  </a:lnTo>
                  <a:lnTo>
                    <a:pt x="1481533" y="2495562"/>
                  </a:lnTo>
                  <a:lnTo>
                    <a:pt x="1480929" y="2496711"/>
                  </a:lnTo>
                  <a:lnTo>
                    <a:pt x="1479628" y="2497619"/>
                  </a:lnTo>
                  <a:lnTo>
                    <a:pt x="1478418" y="2499253"/>
                  </a:lnTo>
                  <a:lnTo>
                    <a:pt x="1478085" y="2502520"/>
                  </a:lnTo>
                  <a:lnTo>
                    <a:pt x="1479688" y="2500916"/>
                  </a:lnTo>
                  <a:lnTo>
                    <a:pt x="1481019" y="2498315"/>
                  </a:lnTo>
                  <a:lnTo>
                    <a:pt x="1482441" y="2496227"/>
                  </a:lnTo>
                  <a:lnTo>
                    <a:pt x="1484286" y="2496167"/>
                  </a:lnTo>
                  <a:lnTo>
                    <a:pt x="1484801" y="2497740"/>
                  </a:lnTo>
                  <a:lnTo>
                    <a:pt x="1483712" y="2499888"/>
                  </a:lnTo>
                  <a:lnTo>
                    <a:pt x="1480807" y="2503700"/>
                  </a:lnTo>
                  <a:lnTo>
                    <a:pt x="1483439" y="2502792"/>
                  </a:lnTo>
                  <a:lnTo>
                    <a:pt x="1491880" y="2502550"/>
                  </a:lnTo>
                  <a:lnTo>
                    <a:pt x="1491880" y="2503700"/>
                  </a:lnTo>
                  <a:lnTo>
                    <a:pt x="1488038" y="2504668"/>
                  </a:lnTo>
                  <a:lnTo>
                    <a:pt x="1480989" y="2508570"/>
                  </a:lnTo>
                  <a:lnTo>
                    <a:pt x="1477359" y="2508903"/>
                  </a:lnTo>
                  <a:lnTo>
                    <a:pt x="1477359" y="2510294"/>
                  </a:lnTo>
                  <a:lnTo>
                    <a:pt x="1478781" y="2511928"/>
                  </a:lnTo>
                  <a:lnTo>
                    <a:pt x="1478388" y="2514015"/>
                  </a:lnTo>
                  <a:lnTo>
                    <a:pt x="1476965" y="2515830"/>
                  </a:lnTo>
                  <a:lnTo>
                    <a:pt x="1475332" y="2516617"/>
                  </a:lnTo>
                  <a:lnTo>
                    <a:pt x="1476391" y="2518886"/>
                  </a:lnTo>
                  <a:lnTo>
                    <a:pt x="1478266" y="2520610"/>
                  </a:lnTo>
                  <a:lnTo>
                    <a:pt x="1480293" y="2521124"/>
                  </a:lnTo>
                  <a:lnTo>
                    <a:pt x="1482713" y="2519007"/>
                  </a:lnTo>
                  <a:lnTo>
                    <a:pt x="1484771" y="2519430"/>
                  </a:lnTo>
                  <a:lnTo>
                    <a:pt x="1485648" y="2519067"/>
                  </a:lnTo>
                  <a:lnTo>
                    <a:pt x="1486101" y="2517857"/>
                  </a:lnTo>
                  <a:lnTo>
                    <a:pt x="1486192" y="2515014"/>
                  </a:lnTo>
                  <a:lnTo>
                    <a:pt x="1486374" y="2514106"/>
                  </a:lnTo>
                  <a:lnTo>
                    <a:pt x="1489157" y="2511444"/>
                  </a:lnTo>
                  <a:lnTo>
                    <a:pt x="1492938" y="2509236"/>
                  </a:lnTo>
                  <a:lnTo>
                    <a:pt x="1496901" y="2507814"/>
                  </a:lnTo>
                  <a:lnTo>
                    <a:pt x="1500199" y="2507632"/>
                  </a:lnTo>
                  <a:lnTo>
                    <a:pt x="1500199" y="2508903"/>
                  </a:lnTo>
                  <a:lnTo>
                    <a:pt x="1493574" y="2512170"/>
                  </a:lnTo>
                  <a:lnTo>
                    <a:pt x="1491910" y="2514076"/>
                  </a:lnTo>
                  <a:lnTo>
                    <a:pt x="1491638" y="2517071"/>
                  </a:lnTo>
                  <a:lnTo>
                    <a:pt x="1494027" y="2522244"/>
                  </a:lnTo>
                  <a:lnTo>
                    <a:pt x="1493664" y="2524876"/>
                  </a:lnTo>
                  <a:lnTo>
                    <a:pt x="1491910" y="2526449"/>
                  </a:lnTo>
                  <a:lnTo>
                    <a:pt x="1491093" y="2527538"/>
                  </a:lnTo>
                  <a:lnTo>
                    <a:pt x="1492091" y="2528627"/>
                  </a:lnTo>
                  <a:lnTo>
                    <a:pt x="1492545" y="2529928"/>
                  </a:lnTo>
                  <a:lnTo>
                    <a:pt x="1493211" y="2531228"/>
                  </a:lnTo>
                  <a:lnTo>
                    <a:pt x="1494360" y="2531803"/>
                  </a:lnTo>
                  <a:lnTo>
                    <a:pt x="1495359" y="2531410"/>
                  </a:lnTo>
                  <a:lnTo>
                    <a:pt x="1495843" y="2530533"/>
                  </a:lnTo>
                  <a:lnTo>
                    <a:pt x="1496175" y="2529655"/>
                  </a:lnTo>
                  <a:lnTo>
                    <a:pt x="1496780" y="2529262"/>
                  </a:lnTo>
                  <a:lnTo>
                    <a:pt x="1500894" y="2529262"/>
                  </a:lnTo>
                  <a:lnTo>
                    <a:pt x="1500199" y="2532559"/>
                  </a:lnTo>
                  <a:lnTo>
                    <a:pt x="1498716" y="2534616"/>
                  </a:lnTo>
                  <a:lnTo>
                    <a:pt x="1496780" y="2535554"/>
                  </a:lnTo>
                  <a:lnTo>
                    <a:pt x="1494663" y="2535554"/>
                  </a:lnTo>
                  <a:lnTo>
                    <a:pt x="1491032" y="2534405"/>
                  </a:lnTo>
                  <a:lnTo>
                    <a:pt x="1489943" y="2535464"/>
                  </a:lnTo>
                  <a:lnTo>
                    <a:pt x="1489217" y="2539366"/>
                  </a:lnTo>
                  <a:lnTo>
                    <a:pt x="1489913" y="2540032"/>
                  </a:lnTo>
                  <a:lnTo>
                    <a:pt x="1490579" y="2541060"/>
                  </a:lnTo>
                  <a:lnTo>
                    <a:pt x="1491063" y="2542361"/>
                  </a:lnTo>
                  <a:lnTo>
                    <a:pt x="1491244" y="2543843"/>
                  </a:lnTo>
                  <a:lnTo>
                    <a:pt x="1491698" y="2545084"/>
                  </a:lnTo>
                  <a:lnTo>
                    <a:pt x="1495056" y="2547746"/>
                  </a:lnTo>
                  <a:lnTo>
                    <a:pt x="1496750" y="2548441"/>
                  </a:lnTo>
                  <a:lnTo>
                    <a:pt x="1498323" y="2542361"/>
                  </a:lnTo>
                  <a:lnTo>
                    <a:pt x="1500229" y="2543147"/>
                  </a:lnTo>
                  <a:lnTo>
                    <a:pt x="1499836" y="2544509"/>
                  </a:lnTo>
                  <a:lnTo>
                    <a:pt x="1499564" y="2545779"/>
                  </a:lnTo>
                  <a:lnTo>
                    <a:pt x="1503647" y="2545265"/>
                  </a:lnTo>
                  <a:lnTo>
                    <a:pt x="1506824" y="2542300"/>
                  </a:lnTo>
                  <a:lnTo>
                    <a:pt x="1508578" y="2537279"/>
                  </a:lnTo>
                  <a:lnTo>
                    <a:pt x="1508518" y="2530502"/>
                  </a:lnTo>
                  <a:lnTo>
                    <a:pt x="1506521" y="2521306"/>
                  </a:lnTo>
                  <a:lnTo>
                    <a:pt x="1506400" y="2518976"/>
                  </a:lnTo>
                  <a:lnTo>
                    <a:pt x="1507308" y="2516466"/>
                  </a:lnTo>
                  <a:lnTo>
                    <a:pt x="1508639" y="2516466"/>
                  </a:lnTo>
                  <a:lnTo>
                    <a:pt x="1510272" y="2517071"/>
                  </a:lnTo>
                  <a:lnTo>
                    <a:pt x="1511967" y="2516526"/>
                  </a:lnTo>
                  <a:lnTo>
                    <a:pt x="1512753" y="2515377"/>
                  </a:lnTo>
                  <a:lnTo>
                    <a:pt x="1514689" y="2511323"/>
                  </a:lnTo>
                  <a:lnTo>
                    <a:pt x="1518198" y="2506362"/>
                  </a:lnTo>
                  <a:lnTo>
                    <a:pt x="1519136" y="2503367"/>
                  </a:lnTo>
                  <a:lnTo>
                    <a:pt x="1519862" y="2500160"/>
                  </a:lnTo>
                  <a:lnTo>
                    <a:pt x="1520951" y="2497468"/>
                  </a:lnTo>
                  <a:lnTo>
                    <a:pt x="1522978" y="2496046"/>
                  </a:lnTo>
                  <a:lnTo>
                    <a:pt x="1525035" y="2496590"/>
                  </a:lnTo>
                  <a:lnTo>
                    <a:pt x="1529724" y="2500130"/>
                  </a:lnTo>
                  <a:lnTo>
                    <a:pt x="1531902" y="2501158"/>
                  </a:lnTo>
                  <a:lnTo>
                    <a:pt x="1533869" y="2500886"/>
                  </a:lnTo>
                  <a:lnTo>
                    <a:pt x="1535381" y="2499464"/>
                  </a:lnTo>
                  <a:lnTo>
                    <a:pt x="1536561" y="2496984"/>
                  </a:lnTo>
                  <a:lnTo>
                    <a:pt x="1537468" y="2493535"/>
                  </a:lnTo>
                  <a:lnTo>
                    <a:pt x="1536773" y="2492627"/>
                  </a:lnTo>
                  <a:lnTo>
                    <a:pt x="1536259" y="2491659"/>
                  </a:lnTo>
                  <a:lnTo>
                    <a:pt x="1535442" y="2489693"/>
                  </a:lnTo>
                  <a:lnTo>
                    <a:pt x="1536531" y="2487001"/>
                  </a:lnTo>
                  <a:lnTo>
                    <a:pt x="1539404" y="2483492"/>
                  </a:lnTo>
                  <a:lnTo>
                    <a:pt x="1540312" y="2480648"/>
                  </a:lnTo>
                  <a:lnTo>
                    <a:pt x="1534836" y="2479377"/>
                  </a:lnTo>
                  <a:lnTo>
                    <a:pt x="1533294" y="2478228"/>
                  </a:lnTo>
                  <a:lnTo>
                    <a:pt x="1534716" y="2477260"/>
                  </a:lnTo>
                  <a:lnTo>
                    <a:pt x="1537952" y="2477199"/>
                  </a:lnTo>
                  <a:lnTo>
                    <a:pt x="1540645" y="2475354"/>
                  </a:lnTo>
                  <a:lnTo>
                    <a:pt x="1544003" y="2477139"/>
                  </a:lnTo>
                  <a:lnTo>
                    <a:pt x="1545395" y="2476201"/>
                  </a:lnTo>
                  <a:lnTo>
                    <a:pt x="1545546" y="2474537"/>
                  </a:lnTo>
                  <a:lnTo>
                    <a:pt x="1544668" y="2473176"/>
                  </a:lnTo>
                  <a:lnTo>
                    <a:pt x="1542611" y="2471149"/>
                  </a:lnTo>
                  <a:lnTo>
                    <a:pt x="1540645" y="2466157"/>
                  </a:lnTo>
                  <a:lnTo>
                    <a:pt x="1539919" y="2464705"/>
                  </a:lnTo>
                  <a:lnTo>
                    <a:pt x="1539344" y="2463042"/>
                  </a:lnTo>
                  <a:lnTo>
                    <a:pt x="1538981" y="2460712"/>
                  </a:lnTo>
                  <a:lnTo>
                    <a:pt x="1539163" y="2458958"/>
                  </a:lnTo>
                  <a:lnTo>
                    <a:pt x="1540282" y="2458958"/>
                  </a:lnTo>
                  <a:lnTo>
                    <a:pt x="1540947" y="2460228"/>
                  </a:lnTo>
                  <a:lnTo>
                    <a:pt x="1542248" y="2466520"/>
                  </a:lnTo>
                  <a:lnTo>
                    <a:pt x="1543942" y="2469999"/>
                  </a:lnTo>
                  <a:lnTo>
                    <a:pt x="1546060" y="2472662"/>
                  </a:lnTo>
                  <a:lnTo>
                    <a:pt x="1548510" y="2474235"/>
                  </a:lnTo>
                  <a:lnTo>
                    <a:pt x="1551172" y="2474446"/>
                  </a:lnTo>
                  <a:lnTo>
                    <a:pt x="1553441" y="2472964"/>
                  </a:lnTo>
                  <a:lnTo>
                    <a:pt x="1558584" y="2467700"/>
                  </a:lnTo>
                  <a:lnTo>
                    <a:pt x="1561246" y="2466551"/>
                  </a:lnTo>
                  <a:lnTo>
                    <a:pt x="1564302" y="2465976"/>
                  </a:lnTo>
                  <a:lnTo>
                    <a:pt x="1569868" y="2463435"/>
                  </a:lnTo>
                  <a:lnTo>
                    <a:pt x="1572954" y="2462860"/>
                  </a:lnTo>
                  <a:lnTo>
                    <a:pt x="1577824" y="2460561"/>
                  </a:lnTo>
                  <a:lnTo>
                    <a:pt x="1586446" y="2451153"/>
                  </a:lnTo>
                  <a:lnTo>
                    <a:pt x="1591225" y="2450034"/>
                  </a:lnTo>
                  <a:lnTo>
                    <a:pt x="1589077" y="2453482"/>
                  </a:lnTo>
                  <a:lnTo>
                    <a:pt x="1581908" y="2460107"/>
                  </a:lnTo>
                  <a:lnTo>
                    <a:pt x="1580879" y="2464131"/>
                  </a:lnTo>
                  <a:lnTo>
                    <a:pt x="1582241" y="2466006"/>
                  </a:lnTo>
                  <a:lnTo>
                    <a:pt x="1584691" y="2466520"/>
                  </a:lnTo>
                  <a:lnTo>
                    <a:pt x="1587323" y="2466157"/>
                  </a:lnTo>
                  <a:lnTo>
                    <a:pt x="1589199" y="2465431"/>
                  </a:lnTo>
                  <a:lnTo>
                    <a:pt x="1595400" y="2459018"/>
                  </a:lnTo>
                  <a:lnTo>
                    <a:pt x="1599030" y="2456356"/>
                  </a:lnTo>
                  <a:lnTo>
                    <a:pt x="1605807" y="2454329"/>
                  </a:lnTo>
                  <a:lnTo>
                    <a:pt x="1607440" y="2452998"/>
                  </a:lnTo>
                  <a:lnTo>
                    <a:pt x="1610616" y="2447371"/>
                  </a:lnTo>
                  <a:lnTo>
                    <a:pt x="1613218" y="2443650"/>
                  </a:lnTo>
                  <a:lnTo>
                    <a:pt x="1616909" y="2439506"/>
                  </a:lnTo>
                  <a:lnTo>
                    <a:pt x="1620720" y="2436753"/>
                  </a:lnTo>
                  <a:lnTo>
                    <a:pt x="1623655" y="2437086"/>
                  </a:lnTo>
                  <a:lnTo>
                    <a:pt x="1618149" y="2446192"/>
                  </a:lnTo>
                  <a:lnTo>
                    <a:pt x="1617211" y="2446615"/>
                  </a:lnTo>
                  <a:lnTo>
                    <a:pt x="1616092" y="2446736"/>
                  </a:lnTo>
                  <a:lnTo>
                    <a:pt x="1615124" y="2447371"/>
                  </a:lnTo>
                  <a:lnTo>
                    <a:pt x="1614731" y="2449398"/>
                  </a:lnTo>
                  <a:lnTo>
                    <a:pt x="1614398" y="2450245"/>
                  </a:lnTo>
                  <a:lnTo>
                    <a:pt x="1613611" y="2450850"/>
                  </a:lnTo>
                  <a:lnTo>
                    <a:pt x="1612674" y="2451213"/>
                  </a:lnTo>
                  <a:lnTo>
                    <a:pt x="1611917" y="2451304"/>
                  </a:lnTo>
                  <a:lnTo>
                    <a:pt x="1611917" y="2452484"/>
                  </a:lnTo>
                  <a:lnTo>
                    <a:pt x="1632579" y="2452484"/>
                  </a:lnTo>
                  <a:lnTo>
                    <a:pt x="1629826" y="2457445"/>
                  </a:lnTo>
                  <a:lnTo>
                    <a:pt x="1625168" y="2457748"/>
                  </a:lnTo>
                  <a:lnTo>
                    <a:pt x="1616062" y="2455055"/>
                  </a:lnTo>
                  <a:lnTo>
                    <a:pt x="1602025" y="2458716"/>
                  </a:lnTo>
                  <a:lnTo>
                    <a:pt x="1600089" y="2459835"/>
                  </a:lnTo>
                  <a:lnTo>
                    <a:pt x="1598123" y="2461590"/>
                  </a:lnTo>
                  <a:lnTo>
                    <a:pt x="1596549" y="2463677"/>
                  </a:lnTo>
                  <a:lnTo>
                    <a:pt x="1593252" y="2470544"/>
                  </a:lnTo>
                  <a:lnTo>
                    <a:pt x="1591830" y="2472480"/>
                  </a:lnTo>
                  <a:lnTo>
                    <a:pt x="1588805" y="2474144"/>
                  </a:lnTo>
                  <a:lnTo>
                    <a:pt x="1587050" y="2475656"/>
                  </a:lnTo>
                  <a:lnTo>
                    <a:pt x="1584661" y="2480315"/>
                  </a:lnTo>
                  <a:lnTo>
                    <a:pt x="1581242" y="2492023"/>
                  </a:lnTo>
                  <a:lnTo>
                    <a:pt x="1578731" y="2496197"/>
                  </a:lnTo>
                  <a:lnTo>
                    <a:pt x="1579700" y="2500674"/>
                  </a:lnTo>
                  <a:lnTo>
                    <a:pt x="1579760" y="2502580"/>
                  </a:lnTo>
                  <a:lnTo>
                    <a:pt x="1579427" y="2505091"/>
                  </a:lnTo>
                  <a:lnTo>
                    <a:pt x="1576402" y="2512896"/>
                  </a:lnTo>
                  <a:lnTo>
                    <a:pt x="1574496" y="2516405"/>
                  </a:lnTo>
                  <a:lnTo>
                    <a:pt x="1573982" y="2521729"/>
                  </a:lnTo>
                  <a:lnTo>
                    <a:pt x="1573982" y="2531833"/>
                  </a:lnTo>
                  <a:lnTo>
                    <a:pt x="1573256" y="2531833"/>
                  </a:lnTo>
                  <a:lnTo>
                    <a:pt x="1572560" y="2526388"/>
                  </a:lnTo>
                  <a:lnTo>
                    <a:pt x="1572560" y="2521699"/>
                  </a:lnTo>
                  <a:lnTo>
                    <a:pt x="1572832" y="2518432"/>
                  </a:lnTo>
                  <a:lnTo>
                    <a:pt x="1573740" y="2512291"/>
                  </a:lnTo>
                  <a:lnTo>
                    <a:pt x="1574617" y="2498073"/>
                  </a:lnTo>
                  <a:lnTo>
                    <a:pt x="1575283" y="2496197"/>
                  </a:lnTo>
                  <a:lnTo>
                    <a:pt x="1578368" y="2492174"/>
                  </a:lnTo>
                  <a:lnTo>
                    <a:pt x="1579457" y="2489784"/>
                  </a:lnTo>
                  <a:lnTo>
                    <a:pt x="1578792" y="2485276"/>
                  </a:lnTo>
                  <a:lnTo>
                    <a:pt x="1580819" y="2479135"/>
                  </a:lnTo>
                  <a:lnTo>
                    <a:pt x="1585689" y="2469243"/>
                  </a:lnTo>
                  <a:lnTo>
                    <a:pt x="1579034" y="2466339"/>
                  </a:lnTo>
                  <a:lnTo>
                    <a:pt x="1575373" y="2465946"/>
                  </a:lnTo>
                  <a:lnTo>
                    <a:pt x="1571834" y="2466581"/>
                  </a:lnTo>
                  <a:lnTo>
                    <a:pt x="1569414" y="2468578"/>
                  </a:lnTo>
                  <a:lnTo>
                    <a:pt x="1565693" y="2474446"/>
                  </a:lnTo>
                  <a:lnTo>
                    <a:pt x="1563273" y="2475656"/>
                  </a:lnTo>
                  <a:lnTo>
                    <a:pt x="1559854" y="2476655"/>
                  </a:lnTo>
                  <a:lnTo>
                    <a:pt x="1556678" y="2478319"/>
                  </a:lnTo>
                  <a:lnTo>
                    <a:pt x="1556103" y="2479135"/>
                  </a:lnTo>
                  <a:lnTo>
                    <a:pt x="1555589" y="2480043"/>
                  </a:lnTo>
                  <a:lnTo>
                    <a:pt x="1555317" y="2480708"/>
                  </a:lnTo>
                  <a:lnTo>
                    <a:pt x="1555377" y="2480769"/>
                  </a:lnTo>
                  <a:lnTo>
                    <a:pt x="1555045" y="2481707"/>
                  </a:lnTo>
                  <a:lnTo>
                    <a:pt x="1555045" y="2482524"/>
                  </a:lnTo>
                  <a:lnTo>
                    <a:pt x="1554833" y="2483098"/>
                  </a:lnTo>
                  <a:lnTo>
                    <a:pt x="1553653" y="2483340"/>
                  </a:lnTo>
                  <a:lnTo>
                    <a:pt x="1552413" y="2484006"/>
                  </a:lnTo>
                  <a:lnTo>
                    <a:pt x="1550235" y="2487303"/>
                  </a:lnTo>
                  <a:lnTo>
                    <a:pt x="1549176" y="2488574"/>
                  </a:lnTo>
                  <a:lnTo>
                    <a:pt x="1547270" y="2489572"/>
                  </a:lnTo>
                  <a:lnTo>
                    <a:pt x="1541553" y="2491115"/>
                  </a:lnTo>
                  <a:lnTo>
                    <a:pt x="1542732" y="2493626"/>
                  </a:lnTo>
                  <a:lnTo>
                    <a:pt x="1542309" y="2495411"/>
                  </a:lnTo>
                  <a:lnTo>
                    <a:pt x="1539495" y="2498738"/>
                  </a:lnTo>
                  <a:lnTo>
                    <a:pt x="1538013" y="2501854"/>
                  </a:lnTo>
                  <a:lnTo>
                    <a:pt x="1536924" y="2504728"/>
                  </a:lnTo>
                  <a:lnTo>
                    <a:pt x="1535563" y="2506815"/>
                  </a:lnTo>
                  <a:lnTo>
                    <a:pt x="1528786" y="2509992"/>
                  </a:lnTo>
                  <a:lnTo>
                    <a:pt x="1529724" y="2515528"/>
                  </a:lnTo>
                  <a:lnTo>
                    <a:pt x="1532084" y="2521941"/>
                  </a:lnTo>
                  <a:lnTo>
                    <a:pt x="1531842" y="2526902"/>
                  </a:lnTo>
                  <a:lnTo>
                    <a:pt x="1534322" y="2526660"/>
                  </a:lnTo>
                  <a:lnTo>
                    <a:pt x="1538043" y="2525481"/>
                  </a:lnTo>
                  <a:lnTo>
                    <a:pt x="1541431" y="2523544"/>
                  </a:lnTo>
                  <a:lnTo>
                    <a:pt x="1542914" y="2521064"/>
                  </a:lnTo>
                  <a:lnTo>
                    <a:pt x="1543458" y="2519672"/>
                  </a:lnTo>
                  <a:lnTo>
                    <a:pt x="1544729" y="2518069"/>
                  </a:lnTo>
                  <a:lnTo>
                    <a:pt x="1546121" y="2516829"/>
                  </a:lnTo>
                  <a:lnTo>
                    <a:pt x="1547058" y="2516587"/>
                  </a:lnTo>
                  <a:lnTo>
                    <a:pt x="1547663" y="2518583"/>
                  </a:lnTo>
                  <a:lnTo>
                    <a:pt x="1547542" y="2521215"/>
                  </a:lnTo>
                  <a:lnTo>
                    <a:pt x="1548026" y="2523091"/>
                  </a:lnTo>
                  <a:lnTo>
                    <a:pt x="1550507" y="2522818"/>
                  </a:lnTo>
                  <a:lnTo>
                    <a:pt x="1550507" y="2524210"/>
                  </a:lnTo>
                  <a:lnTo>
                    <a:pt x="1531085" y="2529746"/>
                  </a:lnTo>
                  <a:lnTo>
                    <a:pt x="1522222" y="2536129"/>
                  </a:lnTo>
                  <a:lnTo>
                    <a:pt x="1515960" y="2547231"/>
                  </a:lnTo>
                  <a:lnTo>
                    <a:pt x="1518985" y="2549591"/>
                  </a:lnTo>
                  <a:lnTo>
                    <a:pt x="1519439" y="2550287"/>
                  </a:lnTo>
                  <a:lnTo>
                    <a:pt x="1519288" y="2551436"/>
                  </a:lnTo>
                  <a:lnTo>
                    <a:pt x="1518894" y="2552949"/>
                  </a:lnTo>
                  <a:lnTo>
                    <a:pt x="1518319" y="2554250"/>
                  </a:lnTo>
                  <a:lnTo>
                    <a:pt x="1517684" y="2554794"/>
                  </a:lnTo>
                  <a:lnTo>
                    <a:pt x="1507066" y="2555823"/>
                  </a:lnTo>
                  <a:lnTo>
                    <a:pt x="1502952" y="2557033"/>
                  </a:lnTo>
                  <a:lnTo>
                    <a:pt x="1498263" y="2559574"/>
                  </a:lnTo>
                  <a:lnTo>
                    <a:pt x="1495056" y="2563416"/>
                  </a:lnTo>
                  <a:lnTo>
                    <a:pt x="1495328" y="2568528"/>
                  </a:lnTo>
                  <a:lnTo>
                    <a:pt x="1490669" y="2572189"/>
                  </a:lnTo>
                  <a:lnTo>
                    <a:pt x="1488038" y="2573369"/>
                  </a:lnTo>
                  <a:lnTo>
                    <a:pt x="1485587" y="2573671"/>
                  </a:lnTo>
                  <a:lnTo>
                    <a:pt x="1486979" y="2576273"/>
                  </a:lnTo>
                  <a:lnTo>
                    <a:pt x="1489157" y="2576000"/>
                  </a:lnTo>
                  <a:lnTo>
                    <a:pt x="1491456" y="2574216"/>
                  </a:lnTo>
                  <a:lnTo>
                    <a:pt x="1493211" y="2572400"/>
                  </a:lnTo>
                  <a:lnTo>
                    <a:pt x="1491758" y="2576605"/>
                  </a:lnTo>
                  <a:lnTo>
                    <a:pt x="1492515" y="2577785"/>
                  </a:lnTo>
                  <a:lnTo>
                    <a:pt x="1494572" y="2578330"/>
                  </a:lnTo>
                  <a:lnTo>
                    <a:pt x="1496992" y="2580568"/>
                  </a:lnTo>
                  <a:lnTo>
                    <a:pt x="1500078" y="2585590"/>
                  </a:lnTo>
                  <a:lnTo>
                    <a:pt x="1501953" y="2587617"/>
                  </a:lnTo>
                  <a:lnTo>
                    <a:pt x="1504252" y="2588736"/>
                  </a:lnTo>
                  <a:lnTo>
                    <a:pt x="1506370" y="2588373"/>
                  </a:lnTo>
                  <a:lnTo>
                    <a:pt x="1509607" y="2587073"/>
                  </a:lnTo>
                  <a:lnTo>
                    <a:pt x="1512571" y="2585197"/>
                  </a:lnTo>
                  <a:lnTo>
                    <a:pt x="1513872" y="2583140"/>
                  </a:lnTo>
                  <a:lnTo>
                    <a:pt x="1513994" y="2579479"/>
                  </a:lnTo>
                  <a:lnTo>
                    <a:pt x="1514568" y="2576000"/>
                  </a:lnTo>
                  <a:lnTo>
                    <a:pt x="1515839" y="2573429"/>
                  </a:lnTo>
                  <a:lnTo>
                    <a:pt x="1518077" y="2572431"/>
                  </a:lnTo>
                  <a:lnTo>
                    <a:pt x="1517079" y="2574367"/>
                  </a:lnTo>
                  <a:lnTo>
                    <a:pt x="1516928" y="2576091"/>
                  </a:lnTo>
                  <a:lnTo>
                    <a:pt x="1517321" y="2580629"/>
                  </a:lnTo>
                  <a:lnTo>
                    <a:pt x="1516746" y="2582505"/>
                  </a:lnTo>
                  <a:lnTo>
                    <a:pt x="1515566" y="2583412"/>
                  </a:lnTo>
                  <a:lnTo>
                    <a:pt x="1514598" y="2584652"/>
                  </a:lnTo>
                  <a:lnTo>
                    <a:pt x="1514598" y="2587526"/>
                  </a:lnTo>
                  <a:lnTo>
                    <a:pt x="1515687" y="2589916"/>
                  </a:lnTo>
                  <a:lnTo>
                    <a:pt x="1517563" y="2591035"/>
                  </a:lnTo>
                  <a:lnTo>
                    <a:pt x="1521435" y="2591277"/>
                  </a:lnTo>
                  <a:lnTo>
                    <a:pt x="1523250" y="2591005"/>
                  </a:lnTo>
                  <a:lnTo>
                    <a:pt x="1524914" y="2590158"/>
                  </a:lnTo>
                  <a:lnTo>
                    <a:pt x="1533445" y="2582807"/>
                  </a:lnTo>
                  <a:lnTo>
                    <a:pt x="1545758" y="2575668"/>
                  </a:lnTo>
                  <a:lnTo>
                    <a:pt x="1552534" y="2573732"/>
                  </a:lnTo>
                  <a:lnTo>
                    <a:pt x="1550537" y="2576273"/>
                  </a:lnTo>
                  <a:lnTo>
                    <a:pt x="1542823" y="2578632"/>
                  </a:lnTo>
                  <a:lnTo>
                    <a:pt x="1542399" y="2579177"/>
                  </a:lnTo>
                  <a:lnTo>
                    <a:pt x="1541129" y="2581930"/>
                  </a:lnTo>
                  <a:lnTo>
                    <a:pt x="1540464" y="2582565"/>
                  </a:lnTo>
                  <a:lnTo>
                    <a:pt x="1539011" y="2582625"/>
                  </a:lnTo>
                  <a:lnTo>
                    <a:pt x="1538346" y="2583170"/>
                  </a:lnTo>
                  <a:lnTo>
                    <a:pt x="1537468" y="2584229"/>
                  </a:lnTo>
                  <a:lnTo>
                    <a:pt x="1524975" y="2593728"/>
                  </a:lnTo>
                  <a:lnTo>
                    <a:pt x="1519711" y="2595452"/>
                  </a:lnTo>
                  <a:lnTo>
                    <a:pt x="1514508" y="2593758"/>
                  </a:lnTo>
                  <a:lnTo>
                    <a:pt x="1513842" y="2592911"/>
                  </a:lnTo>
                  <a:lnTo>
                    <a:pt x="1513146" y="2591671"/>
                  </a:lnTo>
                  <a:lnTo>
                    <a:pt x="1512330" y="2590582"/>
                  </a:lnTo>
                  <a:lnTo>
                    <a:pt x="1511362" y="2590098"/>
                  </a:lnTo>
                  <a:lnTo>
                    <a:pt x="1510454" y="2590642"/>
                  </a:lnTo>
                  <a:lnTo>
                    <a:pt x="1510363" y="2591973"/>
                  </a:lnTo>
                  <a:lnTo>
                    <a:pt x="1510363" y="2593576"/>
                  </a:lnTo>
                  <a:lnTo>
                    <a:pt x="1509667" y="2594968"/>
                  </a:lnTo>
                  <a:lnTo>
                    <a:pt x="1508518" y="2595482"/>
                  </a:lnTo>
                  <a:lnTo>
                    <a:pt x="1502437" y="2596632"/>
                  </a:lnTo>
                  <a:lnTo>
                    <a:pt x="1501772" y="2597630"/>
                  </a:lnTo>
                  <a:lnTo>
                    <a:pt x="1501379" y="2598901"/>
                  </a:lnTo>
                  <a:lnTo>
                    <a:pt x="1500774" y="2600111"/>
                  </a:lnTo>
                  <a:lnTo>
                    <a:pt x="1496569" y="2604104"/>
                  </a:lnTo>
                  <a:lnTo>
                    <a:pt x="1495600" y="2606433"/>
                  </a:lnTo>
                  <a:lnTo>
                    <a:pt x="1497355" y="2608854"/>
                  </a:lnTo>
                  <a:lnTo>
                    <a:pt x="1499896" y="2609247"/>
                  </a:lnTo>
                  <a:lnTo>
                    <a:pt x="1509032" y="2606222"/>
                  </a:lnTo>
                  <a:lnTo>
                    <a:pt x="1509032" y="2610094"/>
                  </a:lnTo>
                  <a:lnTo>
                    <a:pt x="1503072" y="2609489"/>
                  </a:lnTo>
                  <a:lnTo>
                    <a:pt x="1499927" y="2609912"/>
                  </a:lnTo>
                  <a:lnTo>
                    <a:pt x="1497688" y="2611909"/>
                  </a:lnTo>
                  <a:lnTo>
                    <a:pt x="1497415" y="2613210"/>
                  </a:lnTo>
                  <a:lnTo>
                    <a:pt x="1497537" y="2616507"/>
                  </a:lnTo>
                  <a:lnTo>
                    <a:pt x="1497355" y="2617596"/>
                  </a:lnTo>
                  <a:lnTo>
                    <a:pt x="1496448" y="2618443"/>
                  </a:lnTo>
                  <a:lnTo>
                    <a:pt x="1495298" y="2618806"/>
                  </a:lnTo>
                  <a:lnTo>
                    <a:pt x="1492545" y="2618806"/>
                  </a:lnTo>
                  <a:lnTo>
                    <a:pt x="1493695" y="2615237"/>
                  </a:lnTo>
                  <a:lnTo>
                    <a:pt x="1494088" y="2611546"/>
                  </a:lnTo>
                  <a:lnTo>
                    <a:pt x="1493181" y="2608642"/>
                  </a:lnTo>
                  <a:lnTo>
                    <a:pt x="1490428" y="2607492"/>
                  </a:lnTo>
                  <a:lnTo>
                    <a:pt x="1483530" y="2607492"/>
                  </a:lnTo>
                  <a:lnTo>
                    <a:pt x="1481745" y="2607099"/>
                  </a:lnTo>
                  <a:lnTo>
                    <a:pt x="1478932" y="2605828"/>
                  </a:lnTo>
                  <a:lnTo>
                    <a:pt x="1477268" y="2606252"/>
                  </a:lnTo>
                  <a:lnTo>
                    <a:pt x="1475876" y="2608581"/>
                  </a:lnTo>
                  <a:lnTo>
                    <a:pt x="1474243" y="2612877"/>
                  </a:lnTo>
                  <a:lnTo>
                    <a:pt x="1473184" y="2617021"/>
                  </a:lnTo>
                  <a:lnTo>
                    <a:pt x="1473487" y="2618897"/>
                  </a:lnTo>
                  <a:lnTo>
                    <a:pt x="1474848" y="2620621"/>
                  </a:lnTo>
                  <a:lnTo>
                    <a:pt x="1474576" y="2624554"/>
                  </a:lnTo>
                  <a:lnTo>
                    <a:pt x="1473698" y="2628003"/>
                  </a:lnTo>
                  <a:lnTo>
                    <a:pt x="1473517" y="2628759"/>
                  </a:lnTo>
                  <a:lnTo>
                    <a:pt x="1472458" y="2631391"/>
                  </a:lnTo>
                  <a:lnTo>
                    <a:pt x="1471369" y="2632510"/>
                  </a:lnTo>
                  <a:lnTo>
                    <a:pt x="1464895" y="2635233"/>
                  </a:lnTo>
                  <a:lnTo>
                    <a:pt x="1464199" y="2635808"/>
                  </a:lnTo>
                  <a:lnTo>
                    <a:pt x="1463020" y="2637381"/>
                  </a:lnTo>
                  <a:lnTo>
                    <a:pt x="1462445" y="2637713"/>
                  </a:lnTo>
                  <a:lnTo>
                    <a:pt x="1461568" y="2636776"/>
                  </a:lnTo>
                  <a:lnTo>
                    <a:pt x="1461568" y="2634628"/>
                  </a:lnTo>
                  <a:lnTo>
                    <a:pt x="1461931" y="2632268"/>
                  </a:lnTo>
                  <a:lnTo>
                    <a:pt x="1462445" y="2630756"/>
                  </a:lnTo>
                  <a:lnTo>
                    <a:pt x="1463141" y="2630120"/>
                  </a:lnTo>
                  <a:lnTo>
                    <a:pt x="1464048" y="2629969"/>
                  </a:lnTo>
                  <a:lnTo>
                    <a:pt x="1465863" y="2630120"/>
                  </a:lnTo>
                  <a:lnTo>
                    <a:pt x="1466105" y="2629788"/>
                  </a:lnTo>
                  <a:lnTo>
                    <a:pt x="1466589" y="2628214"/>
                  </a:lnTo>
                  <a:lnTo>
                    <a:pt x="1466983" y="2627609"/>
                  </a:lnTo>
                  <a:lnTo>
                    <a:pt x="1469373" y="2625825"/>
                  </a:lnTo>
                  <a:lnTo>
                    <a:pt x="1469615" y="2624857"/>
                  </a:lnTo>
                  <a:lnTo>
                    <a:pt x="1469736" y="2622618"/>
                  </a:lnTo>
                  <a:lnTo>
                    <a:pt x="1469554" y="2620561"/>
                  </a:lnTo>
                  <a:lnTo>
                    <a:pt x="1469100" y="2618474"/>
                  </a:lnTo>
                  <a:lnTo>
                    <a:pt x="1468889" y="2616416"/>
                  </a:lnTo>
                  <a:lnTo>
                    <a:pt x="1469373" y="2614480"/>
                  </a:lnTo>
                  <a:lnTo>
                    <a:pt x="1470643" y="2611062"/>
                  </a:lnTo>
                  <a:lnTo>
                    <a:pt x="1471308" y="2607190"/>
                  </a:lnTo>
                  <a:lnTo>
                    <a:pt x="1471399" y="2603378"/>
                  </a:lnTo>
                  <a:lnTo>
                    <a:pt x="1471067" y="2600171"/>
                  </a:lnTo>
                  <a:lnTo>
                    <a:pt x="1470734" y="2599385"/>
                  </a:lnTo>
                  <a:lnTo>
                    <a:pt x="1470159" y="2598659"/>
                  </a:lnTo>
                  <a:lnTo>
                    <a:pt x="1469010" y="2597661"/>
                  </a:lnTo>
                  <a:lnTo>
                    <a:pt x="1469252" y="2596935"/>
                  </a:lnTo>
                  <a:lnTo>
                    <a:pt x="1469736" y="2595029"/>
                  </a:lnTo>
                  <a:lnTo>
                    <a:pt x="1464532" y="2600504"/>
                  </a:lnTo>
                  <a:lnTo>
                    <a:pt x="1461961" y="2603983"/>
                  </a:lnTo>
                  <a:lnTo>
                    <a:pt x="1460751" y="2607523"/>
                  </a:lnTo>
                  <a:lnTo>
                    <a:pt x="1460963" y="2609156"/>
                  </a:lnTo>
                  <a:lnTo>
                    <a:pt x="1462596" y="2611243"/>
                  </a:lnTo>
                  <a:lnTo>
                    <a:pt x="1463534" y="2613754"/>
                  </a:lnTo>
                  <a:lnTo>
                    <a:pt x="1463655" y="2615721"/>
                  </a:lnTo>
                  <a:lnTo>
                    <a:pt x="1462415" y="2618231"/>
                  </a:lnTo>
                  <a:lnTo>
                    <a:pt x="1462173" y="2621257"/>
                  </a:lnTo>
                  <a:lnTo>
                    <a:pt x="1460993" y="2619260"/>
                  </a:lnTo>
                  <a:lnTo>
                    <a:pt x="1460176" y="2613331"/>
                  </a:lnTo>
                  <a:lnTo>
                    <a:pt x="1459420" y="2611243"/>
                  </a:lnTo>
                  <a:lnTo>
                    <a:pt x="1457575" y="2610638"/>
                  </a:lnTo>
                  <a:lnTo>
                    <a:pt x="1455245" y="2611546"/>
                  </a:lnTo>
                  <a:lnTo>
                    <a:pt x="1452946" y="2613270"/>
                  </a:lnTo>
                  <a:lnTo>
                    <a:pt x="1451222" y="2615116"/>
                  </a:lnTo>
                  <a:lnTo>
                    <a:pt x="1449860" y="2620107"/>
                  </a:lnTo>
                  <a:lnTo>
                    <a:pt x="1444566" y="2627640"/>
                  </a:lnTo>
                  <a:lnTo>
                    <a:pt x="1443023" y="2629092"/>
                  </a:lnTo>
                  <a:lnTo>
                    <a:pt x="1440936" y="2630090"/>
                  </a:lnTo>
                  <a:lnTo>
                    <a:pt x="1440936" y="2631330"/>
                  </a:lnTo>
                  <a:lnTo>
                    <a:pt x="1445050" y="2632692"/>
                  </a:lnTo>
                  <a:lnTo>
                    <a:pt x="1445050" y="2633841"/>
                  </a:lnTo>
                  <a:lnTo>
                    <a:pt x="1442116" y="2633690"/>
                  </a:lnTo>
                  <a:lnTo>
                    <a:pt x="1440755" y="2634053"/>
                  </a:lnTo>
                  <a:lnTo>
                    <a:pt x="1439575" y="2635202"/>
                  </a:lnTo>
                  <a:lnTo>
                    <a:pt x="1439000" y="2636503"/>
                  </a:lnTo>
                  <a:lnTo>
                    <a:pt x="1439000" y="2637320"/>
                  </a:lnTo>
                  <a:lnTo>
                    <a:pt x="1439363" y="2638016"/>
                  </a:lnTo>
                  <a:lnTo>
                    <a:pt x="1439575" y="2638924"/>
                  </a:lnTo>
                  <a:lnTo>
                    <a:pt x="1439968" y="2645246"/>
                  </a:lnTo>
                  <a:lnTo>
                    <a:pt x="1440392" y="2648664"/>
                  </a:lnTo>
                  <a:lnTo>
                    <a:pt x="1440967" y="2651327"/>
                  </a:lnTo>
                  <a:lnTo>
                    <a:pt x="1443931" y="2652295"/>
                  </a:lnTo>
                  <a:lnTo>
                    <a:pt x="1450586" y="2666725"/>
                  </a:lnTo>
                  <a:lnTo>
                    <a:pt x="1454035" y="2665061"/>
                  </a:lnTo>
                  <a:lnTo>
                    <a:pt x="1453944" y="2664304"/>
                  </a:lnTo>
                  <a:lnTo>
                    <a:pt x="1454186" y="2654594"/>
                  </a:lnTo>
                  <a:lnTo>
                    <a:pt x="1454549" y="2653958"/>
                  </a:lnTo>
                  <a:lnTo>
                    <a:pt x="1455760" y="2653807"/>
                  </a:lnTo>
                  <a:lnTo>
                    <a:pt x="1456304" y="2654684"/>
                  </a:lnTo>
                  <a:lnTo>
                    <a:pt x="1456697" y="2656711"/>
                  </a:lnTo>
                  <a:lnTo>
                    <a:pt x="1456758" y="2659010"/>
                  </a:lnTo>
                  <a:lnTo>
                    <a:pt x="1455941" y="2662792"/>
                  </a:lnTo>
                  <a:lnTo>
                    <a:pt x="1456334" y="2664819"/>
                  </a:lnTo>
                  <a:lnTo>
                    <a:pt x="1457514" y="2667541"/>
                  </a:lnTo>
                  <a:lnTo>
                    <a:pt x="1457907" y="2671504"/>
                  </a:lnTo>
                  <a:lnTo>
                    <a:pt x="1458240" y="2673531"/>
                  </a:lnTo>
                  <a:lnTo>
                    <a:pt x="1458905" y="2674953"/>
                  </a:lnTo>
                  <a:lnTo>
                    <a:pt x="1460085" y="2675800"/>
                  </a:lnTo>
                  <a:lnTo>
                    <a:pt x="1460932" y="2675407"/>
                  </a:lnTo>
                  <a:lnTo>
                    <a:pt x="1461447" y="2674045"/>
                  </a:lnTo>
                  <a:lnTo>
                    <a:pt x="1461628" y="2671867"/>
                  </a:lnTo>
                  <a:lnTo>
                    <a:pt x="1461265" y="2664123"/>
                  </a:lnTo>
                  <a:lnTo>
                    <a:pt x="1461417" y="2660493"/>
                  </a:lnTo>
                  <a:lnTo>
                    <a:pt x="1462324" y="2657498"/>
                  </a:lnTo>
                  <a:lnTo>
                    <a:pt x="1464321" y="2655743"/>
                  </a:lnTo>
                  <a:lnTo>
                    <a:pt x="1465198" y="2658073"/>
                  </a:lnTo>
                  <a:lnTo>
                    <a:pt x="1465077" y="2662157"/>
                  </a:lnTo>
                  <a:lnTo>
                    <a:pt x="1464048" y="2665605"/>
                  </a:lnTo>
                  <a:lnTo>
                    <a:pt x="1463383" y="2669296"/>
                  </a:lnTo>
                  <a:lnTo>
                    <a:pt x="1464593" y="2673440"/>
                  </a:lnTo>
                  <a:lnTo>
                    <a:pt x="1466620" y="2676919"/>
                  </a:lnTo>
                  <a:lnTo>
                    <a:pt x="1468556" y="2678704"/>
                  </a:lnTo>
                  <a:lnTo>
                    <a:pt x="1471581" y="2678886"/>
                  </a:lnTo>
                  <a:lnTo>
                    <a:pt x="1474001" y="2677434"/>
                  </a:lnTo>
                  <a:lnTo>
                    <a:pt x="1476028" y="2674923"/>
                  </a:lnTo>
                  <a:lnTo>
                    <a:pt x="1477903" y="2671897"/>
                  </a:lnTo>
                  <a:lnTo>
                    <a:pt x="1478751" y="2668872"/>
                  </a:lnTo>
                  <a:lnTo>
                    <a:pt x="1478902" y="2661098"/>
                  </a:lnTo>
                  <a:lnTo>
                    <a:pt x="1479658" y="2657558"/>
                  </a:lnTo>
                  <a:lnTo>
                    <a:pt x="1478932" y="2656227"/>
                  </a:lnTo>
                  <a:lnTo>
                    <a:pt x="1478115" y="2655380"/>
                  </a:lnTo>
                  <a:lnTo>
                    <a:pt x="1477177" y="2655047"/>
                  </a:lnTo>
                  <a:lnTo>
                    <a:pt x="1479779" y="2653747"/>
                  </a:lnTo>
                  <a:lnTo>
                    <a:pt x="1481867" y="2658496"/>
                  </a:lnTo>
                  <a:lnTo>
                    <a:pt x="1483500" y="2664970"/>
                  </a:lnTo>
                  <a:lnTo>
                    <a:pt x="1485799" y="2668691"/>
                  </a:lnTo>
                  <a:lnTo>
                    <a:pt x="1485799" y="2670052"/>
                  </a:lnTo>
                  <a:lnTo>
                    <a:pt x="1484468" y="2670385"/>
                  </a:lnTo>
                  <a:lnTo>
                    <a:pt x="1483016" y="2671807"/>
                  </a:lnTo>
                  <a:lnTo>
                    <a:pt x="1482108" y="2673864"/>
                  </a:lnTo>
                  <a:lnTo>
                    <a:pt x="1482350" y="2676133"/>
                  </a:lnTo>
                  <a:lnTo>
                    <a:pt x="1483591" y="2676284"/>
                  </a:lnTo>
                  <a:lnTo>
                    <a:pt x="1487856" y="2674015"/>
                  </a:lnTo>
                  <a:lnTo>
                    <a:pt x="1489006" y="2673077"/>
                  </a:lnTo>
                  <a:lnTo>
                    <a:pt x="1489459" y="2672503"/>
                  </a:lnTo>
                  <a:lnTo>
                    <a:pt x="1490760" y="2671262"/>
                  </a:lnTo>
                  <a:lnTo>
                    <a:pt x="1491093" y="2670143"/>
                  </a:lnTo>
                  <a:lnTo>
                    <a:pt x="1491002" y="2668903"/>
                  </a:lnTo>
                  <a:lnTo>
                    <a:pt x="1491002" y="2667935"/>
                  </a:lnTo>
                  <a:lnTo>
                    <a:pt x="1491728" y="2667541"/>
                  </a:lnTo>
                  <a:lnTo>
                    <a:pt x="1495116" y="2668540"/>
                  </a:lnTo>
                  <a:lnTo>
                    <a:pt x="1496538" y="2668267"/>
                  </a:lnTo>
                  <a:lnTo>
                    <a:pt x="1497627" y="2666180"/>
                  </a:lnTo>
                  <a:lnTo>
                    <a:pt x="1499654" y="2666997"/>
                  </a:lnTo>
                  <a:lnTo>
                    <a:pt x="1505977" y="2666331"/>
                  </a:lnTo>
                  <a:lnTo>
                    <a:pt x="1507308" y="2665635"/>
                  </a:lnTo>
                  <a:lnTo>
                    <a:pt x="1507157" y="2661309"/>
                  </a:lnTo>
                  <a:lnTo>
                    <a:pt x="1506582" y="2659404"/>
                  </a:lnTo>
                  <a:lnTo>
                    <a:pt x="1501560" y="2653021"/>
                  </a:lnTo>
                  <a:lnTo>
                    <a:pt x="1499715" y="2651357"/>
                  </a:lnTo>
                  <a:lnTo>
                    <a:pt x="1497597" y="2650782"/>
                  </a:lnTo>
                  <a:lnTo>
                    <a:pt x="1494844" y="2651266"/>
                  </a:lnTo>
                  <a:lnTo>
                    <a:pt x="1487675" y="2655471"/>
                  </a:lnTo>
                  <a:lnTo>
                    <a:pt x="1485829" y="2655108"/>
                  </a:lnTo>
                  <a:lnTo>
                    <a:pt x="1490881" y="2651296"/>
                  </a:lnTo>
                  <a:lnTo>
                    <a:pt x="1492606" y="2648150"/>
                  </a:lnTo>
                  <a:lnTo>
                    <a:pt x="1492061" y="2643794"/>
                  </a:lnTo>
                  <a:lnTo>
                    <a:pt x="1493513" y="2647333"/>
                  </a:lnTo>
                  <a:lnTo>
                    <a:pt x="1496085" y="2648301"/>
                  </a:lnTo>
                  <a:lnTo>
                    <a:pt x="1498898" y="2647364"/>
                  </a:lnTo>
                  <a:lnTo>
                    <a:pt x="1501046" y="2645155"/>
                  </a:lnTo>
                  <a:lnTo>
                    <a:pt x="1502074" y="2642039"/>
                  </a:lnTo>
                  <a:lnTo>
                    <a:pt x="1501620" y="2639407"/>
                  </a:lnTo>
                  <a:lnTo>
                    <a:pt x="1498958" y="2633750"/>
                  </a:lnTo>
                  <a:lnTo>
                    <a:pt x="1500138" y="2633236"/>
                  </a:lnTo>
                  <a:lnTo>
                    <a:pt x="1501983" y="2631270"/>
                  </a:lnTo>
                  <a:lnTo>
                    <a:pt x="1503072" y="2631270"/>
                  </a:lnTo>
                  <a:lnTo>
                    <a:pt x="1503557" y="2632208"/>
                  </a:lnTo>
                  <a:lnTo>
                    <a:pt x="1504706" y="2635596"/>
                  </a:lnTo>
                  <a:lnTo>
                    <a:pt x="1505493" y="2636352"/>
                  </a:lnTo>
                  <a:lnTo>
                    <a:pt x="1506188" y="2636866"/>
                  </a:lnTo>
                  <a:lnTo>
                    <a:pt x="1507610" y="2639498"/>
                  </a:lnTo>
                  <a:lnTo>
                    <a:pt x="1508548" y="2640648"/>
                  </a:lnTo>
                  <a:lnTo>
                    <a:pt x="1510030" y="2641676"/>
                  </a:lnTo>
                  <a:lnTo>
                    <a:pt x="1511482" y="2642251"/>
                  </a:lnTo>
                  <a:lnTo>
                    <a:pt x="1523825" y="2643128"/>
                  </a:lnTo>
                  <a:lnTo>
                    <a:pt x="1528756" y="2640466"/>
                  </a:lnTo>
                  <a:lnTo>
                    <a:pt x="1531842" y="2639740"/>
                  </a:lnTo>
                  <a:lnTo>
                    <a:pt x="1534776" y="2640255"/>
                  </a:lnTo>
                  <a:lnTo>
                    <a:pt x="1536742" y="2642554"/>
                  </a:lnTo>
                  <a:lnTo>
                    <a:pt x="1513691" y="2648241"/>
                  </a:lnTo>
                  <a:lnTo>
                    <a:pt x="1509909" y="2648090"/>
                  </a:lnTo>
                  <a:lnTo>
                    <a:pt x="1509789" y="2650328"/>
                  </a:lnTo>
                  <a:lnTo>
                    <a:pt x="1509577" y="2652083"/>
                  </a:lnTo>
                  <a:lnTo>
                    <a:pt x="1509577" y="2653898"/>
                  </a:lnTo>
                  <a:lnTo>
                    <a:pt x="1509940" y="2656258"/>
                  </a:lnTo>
                  <a:lnTo>
                    <a:pt x="1510575" y="2657558"/>
                  </a:lnTo>
                  <a:lnTo>
                    <a:pt x="1511482" y="2658647"/>
                  </a:lnTo>
                  <a:lnTo>
                    <a:pt x="1512330" y="2659918"/>
                  </a:lnTo>
                  <a:lnTo>
                    <a:pt x="1512693" y="2661824"/>
                  </a:lnTo>
                  <a:lnTo>
                    <a:pt x="1513751" y="2664698"/>
                  </a:lnTo>
                  <a:lnTo>
                    <a:pt x="1516202" y="2663881"/>
                  </a:lnTo>
                  <a:lnTo>
                    <a:pt x="1520921" y="2660100"/>
                  </a:lnTo>
                  <a:lnTo>
                    <a:pt x="1520558" y="2658587"/>
                  </a:lnTo>
                  <a:lnTo>
                    <a:pt x="1519953" y="2657437"/>
                  </a:lnTo>
                  <a:lnTo>
                    <a:pt x="1519166" y="2656651"/>
                  </a:lnTo>
                  <a:lnTo>
                    <a:pt x="1518228" y="2656258"/>
                  </a:lnTo>
                  <a:lnTo>
                    <a:pt x="1518228" y="2655138"/>
                  </a:lnTo>
                  <a:lnTo>
                    <a:pt x="1518773" y="2654896"/>
                  </a:lnTo>
                  <a:lnTo>
                    <a:pt x="1519681" y="2654110"/>
                  </a:lnTo>
                  <a:lnTo>
                    <a:pt x="1520225" y="2653777"/>
                  </a:lnTo>
                  <a:lnTo>
                    <a:pt x="1519620" y="2651296"/>
                  </a:lnTo>
                  <a:lnTo>
                    <a:pt x="1521193" y="2651508"/>
                  </a:lnTo>
                  <a:lnTo>
                    <a:pt x="1522313" y="2655289"/>
                  </a:lnTo>
                  <a:lnTo>
                    <a:pt x="1524067" y="2656258"/>
                  </a:lnTo>
                  <a:lnTo>
                    <a:pt x="1525519" y="2655773"/>
                  </a:lnTo>
                  <a:lnTo>
                    <a:pt x="1529210" y="2653172"/>
                  </a:lnTo>
                  <a:lnTo>
                    <a:pt x="1531328" y="2650752"/>
                  </a:lnTo>
                  <a:lnTo>
                    <a:pt x="1535472" y="2647606"/>
                  </a:lnTo>
                  <a:lnTo>
                    <a:pt x="1536742" y="2645912"/>
                  </a:lnTo>
                  <a:lnTo>
                    <a:pt x="1537741" y="2644278"/>
                  </a:lnTo>
                  <a:lnTo>
                    <a:pt x="1541310" y="2636534"/>
                  </a:lnTo>
                  <a:lnTo>
                    <a:pt x="1543398" y="2633267"/>
                  </a:lnTo>
                  <a:lnTo>
                    <a:pt x="1545243" y="2629485"/>
                  </a:lnTo>
                  <a:lnTo>
                    <a:pt x="1546090" y="2627277"/>
                  </a:lnTo>
                  <a:lnTo>
                    <a:pt x="1546453" y="2625825"/>
                  </a:lnTo>
                  <a:lnTo>
                    <a:pt x="1546937" y="2621136"/>
                  </a:lnTo>
                  <a:lnTo>
                    <a:pt x="1548208" y="2615630"/>
                  </a:lnTo>
                  <a:lnTo>
                    <a:pt x="1550204" y="2611304"/>
                  </a:lnTo>
                  <a:lnTo>
                    <a:pt x="1552715" y="2610154"/>
                  </a:lnTo>
                  <a:lnTo>
                    <a:pt x="1551263" y="2612091"/>
                  </a:lnTo>
                  <a:lnTo>
                    <a:pt x="1550416" y="2614995"/>
                  </a:lnTo>
                  <a:lnTo>
                    <a:pt x="1550053" y="2618443"/>
                  </a:lnTo>
                  <a:lnTo>
                    <a:pt x="1549962" y="2621952"/>
                  </a:lnTo>
                  <a:lnTo>
                    <a:pt x="1549388" y="2625431"/>
                  </a:lnTo>
                  <a:lnTo>
                    <a:pt x="1548026" y="2628396"/>
                  </a:lnTo>
                  <a:lnTo>
                    <a:pt x="1546453" y="2631119"/>
                  </a:lnTo>
                  <a:lnTo>
                    <a:pt x="1545152" y="2633871"/>
                  </a:lnTo>
                  <a:lnTo>
                    <a:pt x="1548752" y="2633448"/>
                  </a:lnTo>
                  <a:lnTo>
                    <a:pt x="1555196" y="2628819"/>
                  </a:lnTo>
                  <a:lnTo>
                    <a:pt x="1572228" y="2625583"/>
                  </a:lnTo>
                  <a:lnTo>
                    <a:pt x="1576160" y="2627640"/>
                  </a:lnTo>
                  <a:lnTo>
                    <a:pt x="1564422" y="2629273"/>
                  </a:lnTo>
                  <a:lnTo>
                    <a:pt x="1545818" y="2636655"/>
                  </a:lnTo>
                  <a:lnTo>
                    <a:pt x="1543791" y="2638984"/>
                  </a:lnTo>
                  <a:lnTo>
                    <a:pt x="1543307" y="2640678"/>
                  </a:lnTo>
                  <a:lnTo>
                    <a:pt x="1543126" y="2644399"/>
                  </a:lnTo>
                  <a:lnTo>
                    <a:pt x="1542672" y="2645851"/>
                  </a:lnTo>
                  <a:lnTo>
                    <a:pt x="1541310" y="2648483"/>
                  </a:lnTo>
                  <a:lnTo>
                    <a:pt x="1540796" y="2649814"/>
                  </a:lnTo>
                  <a:lnTo>
                    <a:pt x="1540342" y="2651387"/>
                  </a:lnTo>
                  <a:lnTo>
                    <a:pt x="1540010" y="2650721"/>
                  </a:lnTo>
                  <a:lnTo>
                    <a:pt x="1539223" y="2649512"/>
                  </a:lnTo>
                  <a:lnTo>
                    <a:pt x="1538890" y="2648816"/>
                  </a:lnTo>
                  <a:lnTo>
                    <a:pt x="1536833" y="2651810"/>
                  </a:lnTo>
                  <a:lnTo>
                    <a:pt x="1534353" y="2653656"/>
                  </a:lnTo>
                  <a:lnTo>
                    <a:pt x="1529270" y="2656378"/>
                  </a:lnTo>
                  <a:lnTo>
                    <a:pt x="1526729" y="2658466"/>
                  </a:lnTo>
                  <a:lnTo>
                    <a:pt x="1525519" y="2659767"/>
                  </a:lnTo>
                  <a:lnTo>
                    <a:pt x="1524400" y="2661340"/>
                  </a:lnTo>
                  <a:lnTo>
                    <a:pt x="1523583" y="2663094"/>
                  </a:lnTo>
                  <a:lnTo>
                    <a:pt x="1522887" y="2664940"/>
                  </a:lnTo>
                  <a:lnTo>
                    <a:pt x="1522101" y="2666543"/>
                  </a:lnTo>
                  <a:lnTo>
                    <a:pt x="1520891" y="2667602"/>
                  </a:lnTo>
                  <a:lnTo>
                    <a:pt x="1520891" y="2668721"/>
                  </a:lnTo>
                  <a:lnTo>
                    <a:pt x="1522887" y="2669719"/>
                  </a:lnTo>
                  <a:lnTo>
                    <a:pt x="1525096" y="2669931"/>
                  </a:lnTo>
                  <a:lnTo>
                    <a:pt x="1526760" y="2668630"/>
                  </a:lnTo>
                  <a:lnTo>
                    <a:pt x="1527123" y="2665121"/>
                  </a:lnTo>
                  <a:lnTo>
                    <a:pt x="1527667" y="2667360"/>
                  </a:lnTo>
                  <a:lnTo>
                    <a:pt x="1528302" y="2669114"/>
                  </a:lnTo>
                  <a:lnTo>
                    <a:pt x="1529210" y="2670415"/>
                  </a:lnTo>
                  <a:lnTo>
                    <a:pt x="1530632" y="2671292"/>
                  </a:lnTo>
                  <a:lnTo>
                    <a:pt x="1531509" y="2671474"/>
                  </a:lnTo>
                  <a:lnTo>
                    <a:pt x="1532598" y="2671534"/>
                  </a:lnTo>
                  <a:lnTo>
                    <a:pt x="1533657" y="2671292"/>
                  </a:lnTo>
                  <a:lnTo>
                    <a:pt x="1534383" y="2670688"/>
                  </a:lnTo>
                  <a:lnTo>
                    <a:pt x="1535774" y="2668056"/>
                  </a:lnTo>
                  <a:lnTo>
                    <a:pt x="1536077" y="2667602"/>
                  </a:lnTo>
                  <a:lnTo>
                    <a:pt x="1537226" y="2668267"/>
                  </a:lnTo>
                  <a:lnTo>
                    <a:pt x="1537832" y="2669931"/>
                  </a:lnTo>
                  <a:lnTo>
                    <a:pt x="1538588" y="2671051"/>
                  </a:lnTo>
                  <a:lnTo>
                    <a:pt x="1540252" y="2670082"/>
                  </a:lnTo>
                  <a:lnTo>
                    <a:pt x="1541159" y="2668600"/>
                  </a:lnTo>
                  <a:lnTo>
                    <a:pt x="1541462" y="2666876"/>
                  </a:lnTo>
                  <a:lnTo>
                    <a:pt x="1541310" y="2665545"/>
                  </a:lnTo>
                  <a:lnTo>
                    <a:pt x="1542611" y="2667662"/>
                  </a:lnTo>
                  <a:lnTo>
                    <a:pt x="1544063" y="2669417"/>
                  </a:lnTo>
                  <a:lnTo>
                    <a:pt x="1545031" y="2671292"/>
                  </a:lnTo>
                  <a:lnTo>
                    <a:pt x="1545031" y="2672533"/>
                  </a:lnTo>
                  <a:lnTo>
                    <a:pt x="1529815" y="2673652"/>
                  </a:lnTo>
                  <a:lnTo>
                    <a:pt x="1532568" y="2679460"/>
                  </a:lnTo>
                  <a:lnTo>
                    <a:pt x="1536773" y="2680701"/>
                  </a:lnTo>
                  <a:lnTo>
                    <a:pt x="1541613" y="2679037"/>
                  </a:lnTo>
                  <a:lnTo>
                    <a:pt x="1552836" y="2670718"/>
                  </a:lnTo>
                  <a:lnTo>
                    <a:pt x="1555377" y="2670052"/>
                  </a:lnTo>
                  <a:lnTo>
                    <a:pt x="1567720" y="2670052"/>
                  </a:lnTo>
                  <a:lnTo>
                    <a:pt x="1567720" y="2671292"/>
                  </a:lnTo>
                  <a:lnTo>
                    <a:pt x="1558433" y="2671020"/>
                  </a:lnTo>
                  <a:lnTo>
                    <a:pt x="1553865" y="2672170"/>
                  </a:lnTo>
                  <a:lnTo>
                    <a:pt x="1546635" y="2679007"/>
                  </a:lnTo>
                  <a:lnTo>
                    <a:pt x="1538497" y="2681880"/>
                  </a:lnTo>
                  <a:lnTo>
                    <a:pt x="1533838" y="2686872"/>
                  </a:lnTo>
                  <a:lnTo>
                    <a:pt x="1529179" y="2689958"/>
                  </a:lnTo>
                  <a:lnTo>
                    <a:pt x="1527727" y="2691682"/>
                  </a:lnTo>
                  <a:lnTo>
                    <a:pt x="1524309" y="2697369"/>
                  </a:lnTo>
                  <a:lnTo>
                    <a:pt x="1522131" y="2702119"/>
                  </a:lnTo>
                  <a:lnTo>
                    <a:pt x="1525217" y="2702482"/>
                  </a:lnTo>
                  <a:lnTo>
                    <a:pt x="1530239" y="2701483"/>
                  </a:lnTo>
                  <a:lnTo>
                    <a:pt x="1533959" y="2702300"/>
                  </a:lnTo>
                  <a:lnTo>
                    <a:pt x="1532144" y="2703359"/>
                  </a:lnTo>
                  <a:lnTo>
                    <a:pt x="1526336" y="2704750"/>
                  </a:lnTo>
                  <a:lnTo>
                    <a:pt x="1523432" y="2706293"/>
                  </a:lnTo>
                  <a:lnTo>
                    <a:pt x="1513479" y="2708562"/>
                  </a:lnTo>
                  <a:lnTo>
                    <a:pt x="1510212" y="2710287"/>
                  </a:lnTo>
                  <a:lnTo>
                    <a:pt x="1508397" y="2713342"/>
                  </a:lnTo>
                  <a:lnTo>
                    <a:pt x="1508669" y="2717063"/>
                  </a:lnTo>
                  <a:lnTo>
                    <a:pt x="1510303" y="2720814"/>
                  </a:lnTo>
                  <a:lnTo>
                    <a:pt x="1512511" y="2723930"/>
                  </a:lnTo>
                  <a:lnTo>
                    <a:pt x="1514538" y="2725715"/>
                  </a:lnTo>
                  <a:lnTo>
                    <a:pt x="1516535" y="2726017"/>
                  </a:lnTo>
                  <a:lnTo>
                    <a:pt x="1520407" y="2724444"/>
                  </a:lnTo>
                  <a:lnTo>
                    <a:pt x="1522070" y="2724354"/>
                  </a:lnTo>
                  <a:lnTo>
                    <a:pt x="1523159" y="2725352"/>
                  </a:lnTo>
                  <a:lnTo>
                    <a:pt x="1524914" y="2728437"/>
                  </a:lnTo>
                  <a:lnTo>
                    <a:pt x="1526275" y="2729254"/>
                  </a:lnTo>
                  <a:lnTo>
                    <a:pt x="1524370" y="2730222"/>
                  </a:lnTo>
                  <a:lnTo>
                    <a:pt x="1521798" y="2730555"/>
                  </a:lnTo>
                  <a:lnTo>
                    <a:pt x="1519560" y="2731795"/>
                  </a:lnTo>
                  <a:lnTo>
                    <a:pt x="1518652" y="2735486"/>
                  </a:lnTo>
                  <a:lnTo>
                    <a:pt x="1519408" y="2737604"/>
                  </a:lnTo>
                  <a:lnTo>
                    <a:pt x="1524582" y="2745953"/>
                  </a:lnTo>
                  <a:lnTo>
                    <a:pt x="1533929" y="2731886"/>
                  </a:lnTo>
                  <a:lnTo>
                    <a:pt x="1537317" y="2729285"/>
                  </a:lnTo>
                  <a:lnTo>
                    <a:pt x="1551233" y="2726259"/>
                  </a:lnTo>
                  <a:lnTo>
                    <a:pt x="1556587" y="2723053"/>
                  </a:lnTo>
                  <a:lnTo>
                    <a:pt x="1584177" y="2718243"/>
                  </a:lnTo>
                  <a:lnTo>
                    <a:pt x="1584177" y="2719483"/>
                  </a:lnTo>
                  <a:lnTo>
                    <a:pt x="1540766" y="2731856"/>
                  </a:lnTo>
                  <a:lnTo>
                    <a:pt x="1533899" y="2735758"/>
                  </a:lnTo>
                  <a:lnTo>
                    <a:pt x="1531781" y="2737846"/>
                  </a:lnTo>
                  <a:lnTo>
                    <a:pt x="1529028" y="2741808"/>
                  </a:lnTo>
                  <a:lnTo>
                    <a:pt x="1527607" y="2744441"/>
                  </a:lnTo>
                  <a:lnTo>
                    <a:pt x="1527001" y="2746528"/>
                  </a:lnTo>
                  <a:lnTo>
                    <a:pt x="1527727" y="2749492"/>
                  </a:lnTo>
                  <a:lnTo>
                    <a:pt x="1529452" y="2752124"/>
                  </a:lnTo>
                  <a:lnTo>
                    <a:pt x="1531509" y="2754091"/>
                  </a:lnTo>
                  <a:lnTo>
                    <a:pt x="1533173" y="2755180"/>
                  </a:lnTo>
                  <a:lnTo>
                    <a:pt x="1541946" y="2755996"/>
                  </a:lnTo>
                  <a:lnTo>
                    <a:pt x="1544215" y="2757600"/>
                  </a:lnTo>
                  <a:lnTo>
                    <a:pt x="1534776" y="2757690"/>
                  </a:lnTo>
                  <a:lnTo>
                    <a:pt x="1530511" y="2756329"/>
                  </a:lnTo>
                  <a:lnTo>
                    <a:pt x="1518198" y="2746225"/>
                  </a:lnTo>
                  <a:lnTo>
                    <a:pt x="1516928" y="2744471"/>
                  </a:lnTo>
                  <a:lnTo>
                    <a:pt x="1514598" y="2740417"/>
                  </a:lnTo>
                  <a:lnTo>
                    <a:pt x="1513146" y="2738844"/>
                  </a:lnTo>
                  <a:lnTo>
                    <a:pt x="1509395" y="2736303"/>
                  </a:lnTo>
                  <a:lnTo>
                    <a:pt x="1507731" y="2735547"/>
                  </a:lnTo>
                  <a:lnTo>
                    <a:pt x="1506491" y="2735274"/>
                  </a:lnTo>
                  <a:lnTo>
                    <a:pt x="1503315" y="2735547"/>
                  </a:lnTo>
                  <a:lnTo>
                    <a:pt x="1502861" y="2736212"/>
                  </a:lnTo>
                  <a:lnTo>
                    <a:pt x="1503072" y="2739358"/>
                  </a:lnTo>
                  <a:lnTo>
                    <a:pt x="1502921" y="2740447"/>
                  </a:lnTo>
                  <a:lnTo>
                    <a:pt x="1501167" y="2741234"/>
                  </a:lnTo>
                  <a:lnTo>
                    <a:pt x="1496478" y="2740871"/>
                  </a:lnTo>
                  <a:lnTo>
                    <a:pt x="1494602" y="2741808"/>
                  </a:lnTo>
                  <a:lnTo>
                    <a:pt x="1492606" y="2752820"/>
                  </a:lnTo>
                  <a:lnTo>
                    <a:pt x="1491335" y="2749190"/>
                  </a:lnTo>
                  <a:lnTo>
                    <a:pt x="1491123" y="2743533"/>
                  </a:lnTo>
                  <a:lnTo>
                    <a:pt x="1491668" y="2737604"/>
                  </a:lnTo>
                  <a:lnTo>
                    <a:pt x="1492606" y="2733157"/>
                  </a:lnTo>
                  <a:lnTo>
                    <a:pt x="1475998" y="2722115"/>
                  </a:lnTo>
                  <a:lnTo>
                    <a:pt x="1475181" y="2727318"/>
                  </a:lnTo>
                  <a:lnTo>
                    <a:pt x="1474485" y="2729285"/>
                  </a:lnTo>
                  <a:lnTo>
                    <a:pt x="1473245" y="2730585"/>
                  </a:lnTo>
                  <a:lnTo>
                    <a:pt x="1475030" y="2731826"/>
                  </a:lnTo>
                  <a:lnTo>
                    <a:pt x="1478841" y="2731009"/>
                  </a:lnTo>
                  <a:lnTo>
                    <a:pt x="1480112" y="2733157"/>
                  </a:lnTo>
                  <a:lnTo>
                    <a:pt x="1479053" y="2732219"/>
                  </a:lnTo>
                  <a:lnTo>
                    <a:pt x="1478025" y="2732219"/>
                  </a:lnTo>
                  <a:lnTo>
                    <a:pt x="1476996" y="2732975"/>
                  </a:lnTo>
                  <a:lnTo>
                    <a:pt x="1475998" y="2734246"/>
                  </a:lnTo>
                  <a:lnTo>
                    <a:pt x="1480324" y="2737997"/>
                  </a:lnTo>
                  <a:lnTo>
                    <a:pt x="1482623" y="2740568"/>
                  </a:lnTo>
                  <a:lnTo>
                    <a:pt x="1483591" y="2742353"/>
                  </a:lnTo>
                  <a:lnTo>
                    <a:pt x="1482713" y="2745620"/>
                  </a:lnTo>
                  <a:lnTo>
                    <a:pt x="1480717" y="2744138"/>
                  </a:lnTo>
                  <a:lnTo>
                    <a:pt x="1477722" y="2739237"/>
                  </a:lnTo>
                  <a:lnTo>
                    <a:pt x="1476633" y="2738451"/>
                  </a:lnTo>
                  <a:lnTo>
                    <a:pt x="1475574" y="2737120"/>
                  </a:lnTo>
                  <a:lnTo>
                    <a:pt x="1474636" y="2736878"/>
                  </a:lnTo>
                  <a:lnTo>
                    <a:pt x="1474485" y="2738693"/>
                  </a:lnTo>
                  <a:lnTo>
                    <a:pt x="1475241" y="2740689"/>
                  </a:lnTo>
                  <a:lnTo>
                    <a:pt x="1475846" y="2743170"/>
                  </a:lnTo>
                  <a:lnTo>
                    <a:pt x="1475967" y="2744077"/>
                  </a:lnTo>
                  <a:lnTo>
                    <a:pt x="1477147" y="2745953"/>
                  </a:lnTo>
                  <a:lnTo>
                    <a:pt x="1477994" y="2746891"/>
                  </a:lnTo>
                  <a:lnTo>
                    <a:pt x="1478176" y="2747980"/>
                  </a:lnTo>
                  <a:lnTo>
                    <a:pt x="1477329" y="2750218"/>
                  </a:lnTo>
                  <a:lnTo>
                    <a:pt x="1476270" y="2750914"/>
                  </a:lnTo>
                  <a:lnTo>
                    <a:pt x="1474818" y="2751398"/>
                  </a:lnTo>
                  <a:lnTo>
                    <a:pt x="1473940" y="2752518"/>
                  </a:lnTo>
                  <a:lnTo>
                    <a:pt x="1474576" y="2755210"/>
                  </a:lnTo>
                  <a:lnTo>
                    <a:pt x="1474848" y="2758749"/>
                  </a:lnTo>
                  <a:lnTo>
                    <a:pt x="1474848" y="2762047"/>
                  </a:lnTo>
                  <a:lnTo>
                    <a:pt x="1474424" y="2765011"/>
                  </a:lnTo>
                  <a:lnTo>
                    <a:pt x="1473547" y="2767643"/>
                  </a:lnTo>
                  <a:lnTo>
                    <a:pt x="1470371" y="2770880"/>
                  </a:lnTo>
                  <a:lnTo>
                    <a:pt x="1468646" y="2772877"/>
                  </a:lnTo>
                  <a:lnTo>
                    <a:pt x="1471551" y="2777324"/>
                  </a:lnTo>
                  <a:lnTo>
                    <a:pt x="1472700" y="2780107"/>
                  </a:lnTo>
                  <a:lnTo>
                    <a:pt x="1473517" y="2783646"/>
                  </a:lnTo>
                  <a:lnTo>
                    <a:pt x="1475695" y="2788517"/>
                  </a:lnTo>
                  <a:lnTo>
                    <a:pt x="1478085" y="2795384"/>
                  </a:lnTo>
                  <a:lnTo>
                    <a:pt x="1482411" y="2801616"/>
                  </a:lnTo>
                  <a:lnTo>
                    <a:pt x="1486192" y="2807031"/>
                  </a:lnTo>
                  <a:lnTo>
                    <a:pt x="1485587" y="2809541"/>
                  </a:lnTo>
                  <a:lnTo>
                    <a:pt x="1491426" y="2814472"/>
                  </a:lnTo>
                  <a:lnTo>
                    <a:pt x="1495237" y="2813353"/>
                  </a:lnTo>
                  <a:lnTo>
                    <a:pt x="1498898" y="2814442"/>
                  </a:lnTo>
                  <a:lnTo>
                    <a:pt x="1500743" y="2820039"/>
                  </a:lnTo>
                  <a:lnTo>
                    <a:pt x="1504827" y="2821430"/>
                  </a:lnTo>
                  <a:lnTo>
                    <a:pt x="1513994" y="2821037"/>
                  </a:lnTo>
                  <a:lnTo>
                    <a:pt x="1516625" y="2822126"/>
                  </a:lnTo>
                  <a:lnTo>
                    <a:pt x="1517593" y="2823760"/>
                  </a:lnTo>
                  <a:lnTo>
                    <a:pt x="1517865" y="2825423"/>
                  </a:lnTo>
                  <a:lnTo>
                    <a:pt x="1517865" y="2827239"/>
                  </a:lnTo>
                  <a:lnTo>
                    <a:pt x="1518047" y="2829326"/>
                  </a:lnTo>
                  <a:lnTo>
                    <a:pt x="1518501" y="2831534"/>
                  </a:lnTo>
                  <a:lnTo>
                    <a:pt x="1518954" y="2833228"/>
                  </a:lnTo>
                  <a:lnTo>
                    <a:pt x="1519560" y="2834650"/>
                  </a:lnTo>
                  <a:lnTo>
                    <a:pt x="1521344" y="2837524"/>
                  </a:lnTo>
                  <a:lnTo>
                    <a:pt x="1522222" y="2838432"/>
                  </a:lnTo>
                  <a:lnTo>
                    <a:pt x="1523341" y="2838916"/>
                  </a:lnTo>
                  <a:lnTo>
                    <a:pt x="1526306" y="2839400"/>
                  </a:lnTo>
                  <a:lnTo>
                    <a:pt x="1527425" y="2840247"/>
                  </a:lnTo>
                  <a:lnTo>
                    <a:pt x="1529754" y="2842818"/>
                  </a:lnTo>
                  <a:lnTo>
                    <a:pt x="1535321" y="2846418"/>
                  </a:lnTo>
                  <a:lnTo>
                    <a:pt x="1541673" y="2847144"/>
                  </a:lnTo>
                  <a:lnTo>
                    <a:pt x="1543246" y="2848142"/>
                  </a:lnTo>
                  <a:lnTo>
                    <a:pt x="1544487" y="2849322"/>
                  </a:lnTo>
                  <a:lnTo>
                    <a:pt x="1546211" y="2850260"/>
                  </a:lnTo>
                  <a:lnTo>
                    <a:pt x="1547996" y="2850895"/>
                  </a:lnTo>
                  <a:lnTo>
                    <a:pt x="1549478" y="2851137"/>
                  </a:lnTo>
                  <a:lnTo>
                    <a:pt x="1550598" y="2851893"/>
                  </a:lnTo>
                  <a:lnTo>
                    <a:pt x="1556194" y="2855917"/>
                  </a:lnTo>
                  <a:lnTo>
                    <a:pt x="1561549" y="2858307"/>
                  </a:lnTo>
                  <a:lnTo>
                    <a:pt x="1571471" y="2859940"/>
                  </a:lnTo>
                  <a:lnTo>
                    <a:pt x="1577824" y="2863419"/>
                  </a:lnTo>
                  <a:lnTo>
                    <a:pt x="1584237" y="2863147"/>
                  </a:lnTo>
                  <a:lnTo>
                    <a:pt x="1583572" y="2859638"/>
                  </a:lnTo>
                  <a:lnTo>
                    <a:pt x="1583572" y="2850048"/>
                  </a:lnTo>
                  <a:lnTo>
                    <a:pt x="1585689" y="2850532"/>
                  </a:lnTo>
                  <a:lnTo>
                    <a:pt x="1588019" y="2849231"/>
                  </a:lnTo>
                  <a:lnTo>
                    <a:pt x="1590348" y="2848596"/>
                  </a:lnTo>
                  <a:lnTo>
                    <a:pt x="1592496" y="2851137"/>
                  </a:lnTo>
                  <a:lnTo>
                    <a:pt x="1591135" y="2854858"/>
                  </a:lnTo>
                  <a:lnTo>
                    <a:pt x="1589259" y="2853043"/>
                  </a:lnTo>
                  <a:lnTo>
                    <a:pt x="1587232" y="2852922"/>
                  </a:lnTo>
                  <a:lnTo>
                    <a:pt x="1585598" y="2854525"/>
                  </a:lnTo>
                  <a:lnTo>
                    <a:pt x="1584933" y="2857853"/>
                  </a:lnTo>
                  <a:lnTo>
                    <a:pt x="1585508" y="2859759"/>
                  </a:lnTo>
                  <a:lnTo>
                    <a:pt x="1588473" y="2865476"/>
                  </a:lnTo>
                  <a:lnTo>
                    <a:pt x="1589743" y="2866959"/>
                  </a:lnTo>
                  <a:lnTo>
                    <a:pt x="1591467" y="2866686"/>
                  </a:lnTo>
                  <a:lnTo>
                    <a:pt x="1597336" y="2861453"/>
                  </a:lnTo>
                  <a:lnTo>
                    <a:pt x="1601995" y="2858640"/>
                  </a:lnTo>
                  <a:lnTo>
                    <a:pt x="1604566" y="2857883"/>
                  </a:lnTo>
                  <a:lnTo>
                    <a:pt x="1606321" y="2858458"/>
                  </a:lnTo>
                  <a:lnTo>
                    <a:pt x="1598244" y="2862875"/>
                  </a:lnTo>
                  <a:lnTo>
                    <a:pt x="1594160" y="2867201"/>
                  </a:lnTo>
                  <a:lnTo>
                    <a:pt x="1589108" y="2869772"/>
                  </a:lnTo>
                  <a:lnTo>
                    <a:pt x="1586990" y="2872858"/>
                  </a:lnTo>
                  <a:lnTo>
                    <a:pt x="1587625" y="2873069"/>
                  </a:lnTo>
                  <a:lnTo>
                    <a:pt x="1589077" y="2874128"/>
                  </a:lnTo>
                  <a:lnTo>
                    <a:pt x="1586899" y="2874854"/>
                  </a:lnTo>
                  <a:lnTo>
                    <a:pt x="1581273" y="2875096"/>
                  </a:lnTo>
                  <a:lnTo>
                    <a:pt x="1580153" y="2877063"/>
                  </a:lnTo>
                  <a:lnTo>
                    <a:pt x="1579669" y="2880390"/>
                  </a:lnTo>
                  <a:lnTo>
                    <a:pt x="1578399" y="2882931"/>
                  </a:lnTo>
                  <a:lnTo>
                    <a:pt x="1576614" y="2884505"/>
                  </a:lnTo>
                  <a:lnTo>
                    <a:pt x="1574617" y="2884898"/>
                  </a:lnTo>
                  <a:lnTo>
                    <a:pt x="1575767" y="2887167"/>
                  </a:lnTo>
                  <a:lnTo>
                    <a:pt x="1581182" y="2892733"/>
                  </a:lnTo>
                  <a:lnTo>
                    <a:pt x="1583451" y="2894064"/>
                  </a:lnTo>
                  <a:lnTo>
                    <a:pt x="1593918" y="2894457"/>
                  </a:lnTo>
                  <a:lnTo>
                    <a:pt x="1595037" y="2894760"/>
                  </a:lnTo>
                  <a:lnTo>
                    <a:pt x="1597094" y="2895849"/>
                  </a:lnTo>
                  <a:lnTo>
                    <a:pt x="1598092" y="2895758"/>
                  </a:lnTo>
                  <a:lnTo>
                    <a:pt x="1599968" y="2894578"/>
                  </a:lnTo>
                  <a:lnTo>
                    <a:pt x="1600028" y="2893792"/>
                  </a:lnTo>
                  <a:lnTo>
                    <a:pt x="1599121" y="2893066"/>
                  </a:lnTo>
                  <a:lnTo>
                    <a:pt x="1597034" y="2890857"/>
                  </a:lnTo>
                  <a:lnTo>
                    <a:pt x="1594976" y="2889526"/>
                  </a:lnTo>
                  <a:lnTo>
                    <a:pt x="1593887" y="2888498"/>
                  </a:lnTo>
                  <a:lnTo>
                    <a:pt x="1593161" y="2887136"/>
                  </a:lnTo>
                  <a:lnTo>
                    <a:pt x="1592677" y="2885805"/>
                  </a:lnTo>
                  <a:lnTo>
                    <a:pt x="1591951" y="2884928"/>
                  </a:lnTo>
                  <a:lnTo>
                    <a:pt x="1590439" y="2884928"/>
                  </a:lnTo>
                  <a:lnTo>
                    <a:pt x="1591558" y="2882115"/>
                  </a:lnTo>
                  <a:lnTo>
                    <a:pt x="1593887" y="2872827"/>
                  </a:lnTo>
                  <a:lnTo>
                    <a:pt x="1593978" y="2875853"/>
                  </a:lnTo>
                  <a:lnTo>
                    <a:pt x="1594371" y="2878424"/>
                  </a:lnTo>
                  <a:lnTo>
                    <a:pt x="1594371" y="2880572"/>
                  </a:lnTo>
                  <a:lnTo>
                    <a:pt x="1593192" y="2882387"/>
                  </a:lnTo>
                  <a:lnTo>
                    <a:pt x="1594795" y="2885019"/>
                  </a:lnTo>
                  <a:lnTo>
                    <a:pt x="1597397" y="2885624"/>
                  </a:lnTo>
                  <a:lnTo>
                    <a:pt x="1602479" y="2884898"/>
                  </a:lnTo>
                  <a:lnTo>
                    <a:pt x="1602963" y="2883537"/>
                  </a:lnTo>
                  <a:lnTo>
                    <a:pt x="1599424" y="2874098"/>
                  </a:lnTo>
                  <a:lnTo>
                    <a:pt x="1601813" y="2874582"/>
                  </a:lnTo>
                  <a:lnTo>
                    <a:pt x="1606593" y="2880148"/>
                  </a:lnTo>
                  <a:lnTo>
                    <a:pt x="1609104" y="2882387"/>
                  </a:lnTo>
                  <a:lnTo>
                    <a:pt x="1612159" y="2883052"/>
                  </a:lnTo>
                  <a:lnTo>
                    <a:pt x="1617665" y="2881479"/>
                  </a:lnTo>
                  <a:lnTo>
                    <a:pt x="1620720" y="2881298"/>
                  </a:lnTo>
                  <a:lnTo>
                    <a:pt x="1619268" y="2883809"/>
                  </a:lnTo>
                  <a:lnTo>
                    <a:pt x="1616758" y="2884837"/>
                  </a:lnTo>
                  <a:lnTo>
                    <a:pt x="1608801" y="2885140"/>
                  </a:lnTo>
                  <a:lnTo>
                    <a:pt x="1606533" y="2885836"/>
                  </a:lnTo>
                  <a:lnTo>
                    <a:pt x="1602116" y="2888468"/>
                  </a:lnTo>
                  <a:lnTo>
                    <a:pt x="1603144" y="2890010"/>
                  </a:lnTo>
                  <a:lnTo>
                    <a:pt x="1604929" y="2891220"/>
                  </a:lnTo>
                  <a:lnTo>
                    <a:pt x="1606865" y="2891977"/>
                  </a:lnTo>
                  <a:lnTo>
                    <a:pt x="1608378" y="2892067"/>
                  </a:lnTo>
                  <a:lnTo>
                    <a:pt x="1609649" y="2891341"/>
                  </a:lnTo>
                  <a:lnTo>
                    <a:pt x="1611342" y="2889224"/>
                  </a:lnTo>
                  <a:lnTo>
                    <a:pt x="1612553" y="2888498"/>
                  </a:lnTo>
                  <a:lnTo>
                    <a:pt x="1613037" y="2890888"/>
                  </a:lnTo>
                  <a:lnTo>
                    <a:pt x="1612976" y="2892884"/>
                  </a:lnTo>
                  <a:lnTo>
                    <a:pt x="1612492" y="2894790"/>
                  </a:lnTo>
                  <a:lnTo>
                    <a:pt x="1611796" y="2896847"/>
                  </a:lnTo>
                  <a:lnTo>
                    <a:pt x="1614126" y="2894578"/>
                  </a:lnTo>
                  <a:lnTo>
                    <a:pt x="1619813" y="2887560"/>
                  </a:lnTo>
                  <a:lnTo>
                    <a:pt x="1621416" y="2888498"/>
                  </a:lnTo>
                  <a:lnTo>
                    <a:pt x="1619752" y="2890434"/>
                  </a:lnTo>
                  <a:lnTo>
                    <a:pt x="1617030" y="2895849"/>
                  </a:lnTo>
                  <a:lnTo>
                    <a:pt x="1615306" y="2898057"/>
                  </a:lnTo>
                  <a:lnTo>
                    <a:pt x="1617665" y="2898118"/>
                  </a:lnTo>
                  <a:lnTo>
                    <a:pt x="1625349" y="2895123"/>
                  </a:lnTo>
                  <a:lnTo>
                    <a:pt x="1627013" y="2893943"/>
                  </a:lnTo>
                  <a:lnTo>
                    <a:pt x="1628344" y="2892370"/>
                  </a:lnTo>
                  <a:lnTo>
                    <a:pt x="1634666" y="2888982"/>
                  </a:lnTo>
                  <a:lnTo>
                    <a:pt x="1636663" y="2888558"/>
                  </a:lnTo>
                  <a:lnTo>
                    <a:pt x="1636663" y="2889738"/>
                  </a:lnTo>
                  <a:lnTo>
                    <a:pt x="1635937" y="2890948"/>
                  </a:lnTo>
                  <a:lnTo>
                    <a:pt x="1634364" y="2894941"/>
                  </a:lnTo>
                  <a:lnTo>
                    <a:pt x="1633517" y="2895788"/>
                  </a:lnTo>
                  <a:lnTo>
                    <a:pt x="1632518" y="2895183"/>
                  </a:lnTo>
                  <a:lnTo>
                    <a:pt x="1631641" y="2894064"/>
                  </a:lnTo>
                  <a:lnTo>
                    <a:pt x="1630673" y="2893671"/>
                  </a:lnTo>
                  <a:lnTo>
                    <a:pt x="1629403" y="2895123"/>
                  </a:lnTo>
                  <a:lnTo>
                    <a:pt x="1627255" y="2896787"/>
                  </a:lnTo>
                  <a:lnTo>
                    <a:pt x="1624078" y="2898420"/>
                  </a:lnTo>
                  <a:lnTo>
                    <a:pt x="1621749" y="2900629"/>
                  </a:lnTo>
                  <a:lnTo>
                    <a:pt x="1622172" y="2904017"/>
                  </a:lnTo>
                  <a:lnTo>
                    <a:pt x="1621537" y="2906497"/>
                  </a:lnTo>
                  <a:lnTo>
                    <a:pt x="1622475" y="2907193"/>
                  </a:lnTo>
                  <a:lnTo>
                    <a:pt x="1624139" y="2906891"/>
                  </a:lnTo>
                  <a:lnTo>
                    <a:pt x="1627890" y="2905439"/>
                  </a:lnTo>
                  <a:lnTo>
                    <a:pt x="1628707" y="2905318"/>
                  </a:lnTo>
                  <a:lnTo>
                    <a:pt x="1629463" y="2904864"/>
                  </a:lnTo>
                  <a:lnTo>
                    <a:pt x="1629614" y="2903805"/>
                  </a:lnTo>
                  <a:lnTo>
                    <a:pt x="1629554" y="2902565"/>
                  </a:lnTo>
                  <a:lnTo>
                    <a:pt x="1629735" y="2901657"/>
                  </a:lnTo>
                  <a:lnTo>
                    <a:pt x="1629735" y="2900326"/>
                  </a:lnTo>
                  <a:lnTo>
                    <a:pt x="1630159" y="2899600"/>
                  </a:lnTo>
                  <a:lnTo>
                    <a:pt x="1637480" y="2897271"/>
                  </a:lnTo>
                  <a:lnTo>
                    <a:pt x="1638569" y="2897997"/>
                  </a:lnTo>
                  <a:lnTo>
                    <a:pt x="1639446" y="2900598"/>
                  </a:lnTo>
                  <a:lnTo>
                    <a:pt x="1640989" y="2898723"/>
                  </a:lnTo>
                  <a:lnTo>
                    <a:pt x="1646979" y="2895819"/>
                  </a:lnTo>
                  <a:lnTo>
                    <a:pt x="1647342" y="2898420"/>
                  </a:lnTo>
                  <a:lnTo>
                    <a:pt x="1648763" y="2899751"/>
                  </a:lnTo>
                  <a:lnTo>
                    <a:pt x="1661136" y="2902958"/>
                  </a:lnTo>
                  <a:lnTo>
                    <a:pt x="1680074" y="2902958"/>
                  </a:lnTo>
                  <a:lnTo>
                    <a:pt x="1679711" y="2901445"/>
                  </a:lnTo>
                  <a:lnTo>
                    <a:pt x="1679711" y="2900417"/>
                  </a:lnTo>
                  <a:lnTo>
                    <a:pt x="1680074" y="2898087"/>
                  </a:lnTo>
                  <a:lnTo>
                    <a:pt x="1681617" y="2901445"/>
                  </a:lnTo>
                  <a:lnTo>
                    <a:pt x="1683704" y="2902171"/>
                  </a:lnTo>
                  <a:lnTo>
                    <a:pt x="1685156" y="2900568"/>
                  </a:lnTo>
                  <a:lnTo>
                    <a:pt x="1684914" y="2896877"/>
                  </a:lnTo>
                  <a:lnTo>
                    <a:pt x="1685700" y="2897664"/>
                  </a:lnTo>
                  <a:lnTo>
                    <a:pt x="1686517" y="2897997"/>
                  </a:lnTo>
                  <a:lnTo>
                    <a:pt x="1688333" y="2898057"/>
                  </a:lnTo>
                  <a:lnTo>
                    <a:pt x="1687606" y="2894699"/>
                  </a:lnTo>
                  <a:lnTo>
                    <a:pt x="1688635" y="2894245"/>
                  </a:lnTo>
                  <a:lnTo>
                    <a:pt x="1691872" y="2895788"/>
                  </a:lnTo>
                  <a:lnTo>
                    <a:pt x="1693808" y="2895425"/>
                  </a:lnTo>
                  <a:lnTo>
                    <a:pt x="1697831" y="2893792"/>
                  </a:lnTo>
                  <a:lnTo>
                    <a:pt x="1713986" y="2891735"/>
                  </a:lnTo>
                  <a:lnTo>
                    <a:pt x="1718070" y="2889738"/>
                  </a:lnTo>
                  <a:lnTo>
                    <a:pt x="1715831" y="2886894"/>
                  </a:lnTo>
                  <a:lnTo>
                    <a:pt x="1717797" y="2884232"/>
                  </a:lnTo>
                  <a:lnTo>
                    <a:pt x="1723212" y="2880784"/>
                  </a:lnTo>
                  <a:lnTo>
                    <a:pt x="1724695" y="2877395"/>
                  </a:lnTo>
                  <a:lnTo>
                    <a:pt x="1725239" y="2874007"/>
                  </a:lnTo>
                  <a:lnTo>
                    <a:pt x="1724695" y="2870559"/>
                  </a:lnTo>
                  <a:lnTo>
                    <a:pt x="1722880" y="2867019"/>
                  </a:lnTo>
                  <a:lnTo>
                    <a:pt x="1725451" y="2866717"/>
                  </a:lnTo>
                  <a:lnTo>
                    <a:pt x="1727084" y="2870377"/>
                  </a:lnTo>
                  <a:lnTo>
                    <a:pt x="1728537" y="2875036"/>
                  </a:lnTo>
                  <a:lnTo>
                    <a:pt x="1730533" y="2877728"/>
                  </a:lnTo>
                  <a:lnTo>
                    <a:pt x="1729293" y="2879211"/>
                  </a:lnTo>
                  <a:lnTo>
                    <a:pt x="1727871" y="2880148"/>
                  </a:lnTo>
                  <a:lnTo>
                    <a:pt x="1724967" y="2881389"/>
                  </a:lnTo>
                  <a:lnTo>
                    <a:pt x="1726056" y="2883294"/>
                  </a:lnTo>
                  <a:lnTo>
                    <a:pt x="1727206" y="2885624"/>
                  </a:lnTo>
                  <a:lnTo>
                    <a:pt x="1727750" y="2886259"/>
                  </a:lnTo>
                  <a:lnTo>
                    <a:pt x="1729081" y="2886773"/>
                  </a:lnTo>
                  <a:lnTo>
                    <a:pt x="1732378" y="2887106"/>
                  </a:lnTo>
                  <a:lnTo>
                    <a:pt x="1733528" y="2887953"/>
                  </a:lnTo>
                  <a:lnTo>
                    <a:pt x="1734859" y="2888195"/>
                  </a:lnTo>
                  <a:lnTo>
                    <a:pt x="1736251" y="2885926"/>
                  </a:lnTo>
                  <a:lnTo>
                    <a:pt x="1738399" y="2880753"/>
                  </a:lnTo>
                  <a:lnTo>
                    <a:pt x="1739881" y="2880451"/>
                  </a:lnTo>
                  <a:lnTo>
                    <a:pt x="1741242" y="2882780"/>
                  </a:lnTo>
                  <a:lnTo>
                    <a:pt x="1742815" y="2884505"/>
                  </a:lnTo>
                  <a:lnTo>
                    <a:pt x="1744963" y="2882448"/>
                  </a:lnTo>
                  <a:lnTo>
                    <a:pt x="1744903" y="2881510"/>
                  </a:lnTo>
                  <a:lnTo>
                    <a:pt x="1744903" y="2879483"/>
                  </a:lnTo>
                  <a:lnTo>
                    <a:pt x="1745114" y="2878575"/>
                  </a:lnTo>
                  <a:lnTo>
                    <a:pt x="1745387" y="2877486"/>
                  </a:lnTo>
                  <a:lnTo>
                    <a:pt x="1747565" y="2876064"/>
                  </a:lnTo>
                  <a:lnTo>
                    <a:pt x="1748442" y="2874794"/>
                  </a:lnTo>
                  <a:lnTo>
                    <a:pt x="1749864" y="2871708"/>
                  </a:lnTo>
                  <a:lnTo>
                    <a:pt x="1749168" y="2871254"/>
                  </a:lnTo>
                  <a:lnTo>
                    <a:pt x="1747807" y="2870619"/>
                  </a:lnTo>
                  <a:lnTo>
                    <a:pt x="1747020" y="2870498"/>
                  </a:lnTo>
                  <a:lnTo>
                    <a:pt x="1748593" y="2869742"/>
                  </a:lnTo>
                  <a:lnTo>
                    <a:pt x="1752224" y="2868804"/>
                  </a:lnTo>
                  <a:lnTo>
                    <a:pt x="1753585" y="2867564"/>
                  </a:lnTo>
                  <a:lnTo>
                    <a:pt x="1754432" y="2866535"/>
                  </a:lnTo>
                  <a:lnTo>
                    <a:pt x="1757215" y="2863813"/>
                  </a:lnTo>
                  <a:lnTo>
                    <a:pt x="1758062" y="2863238"/>
                  </a:lnTo>
                  <a:lnTo>
                    <a:pt x="1761632" y="2863722"/>
                  </a:lnTo>
                  <a:lnTo>
                    <a:pt x="1763386" y="2863298"/>
                  </a:lnTo>
                  <a:lnTo>
                    <a:pt x="1763235" y="2861513"/>
                  </a:lnTo>
                  <a:lnTo>
                    <a:pt x="1762812" y="2859487"/>
                  </a:lnTo>
                  <a:lnTo>
                    <a:pt x="1763689" y="2858398"/>
                  </a:lnTo>
                  <a:lnTo>
                    <a:pt x="1765110" y="2858700"/>
                  </a:lnTo>
                  <a:lnTo>
                    <a:pt x="1766290" y="2860878"/>
                  </a:lnTo>
                  <a:lnTo>
                    <a:pt x="1768347" y="2859759"/>
                  </a:lnTo>
                  <a:lnTo>
                    <a:pt x="1770707" y="2860606"/>
                  </a:lnTo>
                  <a:lnTo>
                    <a:pt x="1772915" y="2860969"/>
                  </a:lnTo>
                  <a:lnTo>
                    <a:pt x="1774609" y="2858488"/>
                  </a:lnTo>
                  <a:lnTo>
                    <a:pt x="1773430" y="2856431"/>
                  </a:lnTo>
                  <a:lnTo>
                    <a:pt x="1774156" y="2854616"/>
                  </a:lnTo>
                  <a:lnTo>
                    <a:pt x="1777362" y="2851167"/>
                  </a:lnTo>
                  <a:lnTo>
                    <a:pt x="1780781" y="2845087"/>
                  </a:lnTo>
                  <a:lnTo>
                    <a:pt x="1781628" y="2846146"/>
                  </a:lnTo>
                  <a:lnTo>
                    <a:pt x="1781688" y="2847447"/>
                  </a:lnTo>
                  <a:lnTo>
                    <a:pt x="1782354" y="2847931"/>
                  </a:lnTo>
                  <a:lnTo>
                    <a:pt x="1783594" y="2847688"/>
                  </a:lnTo>
                  <a:lnTo>
                    <a:pt x="1784804" y="2846660"/>
                  </a:lnTo>
                  <a:lnTo>
                    <a:pt x="1785621" y="2845087"/>
                  </a:lnTo>
                  <a:lnTo>
                    <a:pt x="1786286" y="2843453"/>
                  </a:lnTo>
                  <a:lnTo>
                    <a:pt x="1787043" y="2842213"/>
                  </a:lnTo>
                  <a:lnTo>
                    <a:pt x="1788162" y="2841790"/>
                  </a:lnTo>
                  <a:lnTo>
                    <a:pt x="1789765" y="2841517"/>
                  </a:lnTo>
                  <a:lnTo>
                    <a:pt x="1791187" y="2841003"/>
                  </a:lnTo>
                  <a:lnTo>
                    <a:pt x="1793668" y="2839581"/>
                  </a:lnTo>
                  <a:lnTo>
                    <a:pt x="1794394" y="2837312"/>
                  </a:lnTo>
                  <a:lnTo>
                    <a:pt x="1796239" y="2835165"/>
                  </a:lnTo>
                  <a:lnTo>
                    <a:pt x="1796996" y="2833107"/>
                  </a:lnTo>
                  <a:lnTo>
                    <a:pt x="1798387" y="2830990"/>
                  </a:lnTo>
                  <a:lnTo>
                    <a:pt x="1800747" y="2829840"/>
                  </a:lnTo>
                  <a:lnTo>
                    <a:pt x="1802441" y="2828721"/>
                  </a:lnTo>
                  <a:lnTo>
                    <a:pt x="1805375" y="2826512"/>
                  </a:lnTo>
                  <a:lnTo>
                    <a:pt x="1807765" y="2823941"/>
                  </a:lnTo>
                  <a:lnTo>
                    <a:pt x="1813997" y="2818012"/>
                  </a:lnTo>
                  <a:lnTo>
                    <a:pt x="1815872" y="2815773"/>
                  </a:lnTo>
                  <a:lnTo>
                    <a:pt x="1817476" y="2813565"/>
                  </a:lnTo>
                  <a:lnTo>
                    <a:pt x="1818111" y="2809814"/>
                  </a:lnTo>
                  <a:lnTo>
                    <a:pt x="1817718" y="2805881"/>
                  </a:lnTo>
                  <a:lnTo>
                    <a:pt x="1817990" y="2804036"/>
                  </a:lnTo>
                  <a:lnTo>
                    <a:pt x="1817143" y="2802795"/>
                  </a:lnTo>
                  <a:lnTo>
                    <a:pt x="1814935" y="2801041"/>
                  </a:lnTo>
                  <a:lnTo>
                    <a:pt x="1814390" y="2799226"/>
                  </a:lnTo>
                  <a:lnTo>
                    <a:pt x="1815600" y="2799226"/>
                  </a:lnTo>
                  <a:lnTo>
                    <a:pt x="1818020" y="2800406"/>
                  </a:lnTo>
                  <a:lnTo>
                    <a:pt x="1818595" y="2800920"/>
                  </a:lnTo>
                  <a:lnTo>
                    <a:pt x="1819472" y="2802463"/>
                  </a:lnTo>
                  <a:lnTo>
                    <a:pt x="1820198" y="2802795"/>
                  </a:lnTo>
                  <a:lnTo>
                    <a:pt x="1820864" y="2802493"/>
                  </a:lnTo>
                  <a:lnTo>
                    <a:pt x="1821257" y="2801767"/>
                  </a:lnTo>
                  <a:lnTo>
                    <a:pt x="1821651" y="2800920"/>
                  </a:lnTo>
                  <a:lnTo>
                    <a:pt x="1822195" y="2800375"/>
                  </a:lnTo>
                  <a:lnTo>
                    <a:pt x="1826521" y="2801374"/>
                  </a:lnTo>
                  <a:lnTo>
                    <a:pt x="1832087" y="2797895"/>
                  </a:lnTo>
                  <a:lnTo>
                    <a:pt x="1838410" y="2792782"/>
                  </a:lnTo>
                  <a:lnTo>
                    <a:pt x="1842222" y="2788940"/>
                  </a:lnTo>
                  <a:lnTo>
                    <a:pt x="1843250" y="2787609"/>
                  </a:lnTo>
                  <a:lnTo>
                    <a:pt x="1841465" y="2785129"/>
                  </a:lnTo>
                  <a:lnTo>
                    <a:pt x="1838773" y="2784735"/>
                  </a:lnTo>
                  <a:lnTo>
                    <a:pt x="1832057" y="2785673"/>
                  </a:lnTo>
                  <a:lnTo>
                    <a:pt x="1829062" y="2785734"/>
                  </a:lnTo>
                  <a:lnTo>
                    <a:pt x="1832662" y="2784433"/>
                  </a:lnTo>
                  <a:lnTo>
                    <a:pt x="1841889" y="2784191"/>
                  </a:lnTo>
                  <a:lnTo>
                    <a:pt x="1844853" y="2782194"/>
                  </a:lnTo>
                  <a:lnTo>
                    <a:pt x="1844702" y="2778836"/>
                  </a:lnTo>
                  <a:lnTo>
                    <a:pt x="1833237" y="2775993"/>
                  </a:lnTo>
                  <a:lnTo>
                    <a:pt x="1834598" y="2777142"/>
                  </a:lnTo>
                  <a:lnTo>
                    <a:pt x="1840104" y="2779744"/>
                  </a:lnTo>
                  <a:lnTo>
                    <a:pt x="1837533" y="2780924"/>
                  </a:lnTo>
                  <a:lnTo>
                    <a:pt x="1829425" y="2778413"/>
                  </a:lnTo>
                  <a:lnTo>
                    <a:pt x="1828971" y="2777838"/>
                  </a:lnTo>
                  <a:lnTo>
                    <a:pt x="1829365" y="2776568"/>
                  </a:lnTo>
                  <a:lnTo>
                    <a:pt x="1830242" y="2775297"/>
                  </a:lnTo>
                  <a:lnTo>
                    <a:pt x="1831149" y="2774722"/>
                  </a:lnTo>
                  <a:lnTo>
                    <a:pt x="1848181" y="2776628"/>
                  </a:lnTo>
                  <a:lnTo>
                    <a:pt x="1853929" y="2775720"/>
                  </a:lnTo>
                  <a:lnTo>
                    <a:pt x="1857347" y="2773512"/>
                  </a:lnTo>
                  <a:lnTo>
                    <a:pt x="1858436" y="2770941"/>
                  </a:lnTo>
                  <a:lnTo>
                    <a:pt x="1860402" y="2768702"/>
                  </a:lnTo>
                  <a:lnTo>
                    <a:pt x="1862550" y="2767038"/>
                  </a:lnTo>
                  <a:lnTo>
                    <a:pt x="1864184" y="2766161"/>
                  </a:lnTo>
                  <a:lnTo>
                    <a:pt x="1864184" y="2764830"/>
                  </a:lnTo>
                  <a:lnTo>
                    <a:pt x="1862157" y="2765768"/>
                  </a:lnTo>
                  <a:lnTo>
                    <a:pt x="1860009" y="2766161"/>
                  </a:lnTo>
                  <a:lnTo>
                    <a:pt x="1862127" y="2764164"/>
                  </a:lnTo>
                  <a:lnTo>
                    <a:pt x="1866967" y="2761139"/>
                  </a:lnTo>
                  <a:lnTo>
                    <a:pt x="1868389" y="2758840"/>
                  </a:lnTo>
                  <a:lnTo>
                    <a:pt x="1865939" y="2757600"/>
                  </a:lnTo>
                  <a:lnTo>
                    <a:pt x="1863640" y="2756904"/>
                  </a:lnTo>
                  <a:lnTo>
                    <a:pt x="1861280" y="2756904"/>
                  </a:lnTo>
                  <a:lnTo>
                    <a:pt x="1858709" y="2757630"/>
                  </a:lnTo>
                  <a:lnTo>
                    <a:pt x="1855593" y="2759657"/>
                  </a:lnTo>
                  <a:lnTo>
                    <a:pt x="1854534" y="2760080"/>
                  </a:lnTo>
                  <a:lnTo>
                    <a:pt x="1853566" y="2759929"/>
                  </a:lnTo>
                  <a:lnTo>
                    <a:pt x="1851509" y="2758870"/>
                  </a:lnTo>
                  <a:lnTo>
                    <a:pt x="1850329" y="2758870"/>
                  </a:lnTo>
                  <a:lnTo>
                    <a:pt x="1852689" y="2752578"/>
                  </a:lnTo>
                  <a:lnTo>
                    <a:pt x="1853142" y="2750218"/>
                  </a:lnTo>
                  <a:lnTo>
                    <a:pt x="1855139" y="2753002"/>
                  </a:lnTo>
                  <a:lnTo>
                    <a:pt x="1857256" y="2753607"/>
                  </a:lnTo>
                  <a:lnTo>
                    <a:pt x="1861764" y="2752790"/>
                  </a:lnTo>
                  <a:lnTo>
                    <a:pt x="1862460" y="2752427"/>
                  </a:lnTo>
                  <a:lnTo>
                    <a:pt x="1863246" y="2751519"/>
                  </a:lnTo>
                  <a:lnTo>
                    <a:pt x="1863730" y="2750309"/>
                  </a:lnTo>
                  <a:lnTo>
                    <a:pt x="1863579" y="2748978"/>
                  </a:lnTo>
                  <a:lnTo>
                    <a:pt x="1862792" y="2748706"/>
                  </a:lnTo>
                  <a:lnTo>
                    <a:pt x="1861522" y="2749099"/>
                  </a:lnTo>
                  <a:lnTo>
                    <a:pt x="1859374" y="2750188"/>
                  </a:lnTo>
                  <a:lnTo>
                    <a:pt x="1860735" y="2747708"/>
                  </a:lnTo>
                  <a:lnTo>
                    <a:pt x="1863307" y="2747163"/>
                  </a:lnTo>
                  <a:lnTo>
                    <a:pt x="1866181" y="2748131"/>
                  </a:lnTo>
                  <a:lnTo>
                    <a:pt x="1868419" y="2750218"/>
                  </a:lnTo>
                  <a:lnTo>
                    <a:pt x="1868964" y="2747345"/>
                  </a:lnTo>
                  <a:lnTo>
                    <a:pt x="1870537" y="2746770"/>
                  </a:lnTo>
                  <a:lnTo>
                    <a:pt x="1874560" y="2747768"/>
                  </a:lnTo>
                  <a:lnTo>
                    <a:pt x="1875831" y="2746891"/>
                  </a:lnTo>
                  <a:lnTo>
                    <a:pt x="1874288" y="2744955"/>
                  </a:lnTo>
                  <a:lnTo>
                    <a:pt x="1870416" y="2741748"/>
                  </a:lnTo>
                  <a:lnTo>
                    <a:pt x="1881064" y="2743049"/>
                  </a:lnTo>
                  <a:lnTo>
                    <a:pt x="1884271" y="2741748"/>
                  </a:lnTo>
                  <a:lnTo>
                    <a:pt x="1883303" y="2740689"/>
                  </a:lnTo>
                  <a:lnTo>
                    <a:pt x="1882879" y="2740387"/>
                  </a:lnTo>
                  <a:lnTo>
                    <a:pt x="1882879" y="2739177"/>
                  </a:lnTo>
                  <a:lnTo>
                    <a:pt x="1889837" y="2736333"/>
                  </a:lnTo>
                  <a:lnTo>
                    <a:pt x="1892499" y="2736696"/>
                  </a:lnTo>
                  <a:lnTo>
                    <a:pt x="1892015" y="2734972"/>
                  </a:lnTo>
                  <a:lnTo>
                    <a:pt x="1891259" y="2733853"/>
                  </a:lnTo>
                  <a:lnTo>
                    <a:pt x="1890261" y="2733217"/>
                  </a:lnTo>
                  <a:lnTo>
                    <a:pt x="1889081" y="2733036"/>
                  </a:lnTo>
                  <a:lnTo>
                    <a:pt x="1889081" y="2731795"/>
                  </a:lnTo>
                  <a:lnTo>
                    <a:pt x="1891985" y="2731886"/>
                  </a:lnTo>
                  <a:lnTo>
                    <a:pt x="1893074" y="2731190"/>
                  </a:lnTo>
                  <a:lnTo>
                    <a:pt x="1893861" y="2729224"/>
                  </a:lnTo>
                  <a:lnTo>
                    <a:pt x="1894375" y="2730101"/>
                  </a:lnTo>
                  <a:lnTo>
                    <a:pt x="1895010" y="2730948"/>
                  </a:lnTo>
                  <a:lnTo>
                    <a:pt x="1895313" y="2731795"/>
                  </a:lnTo>
                  <a:lnTo>
                    <a:pt x="1895918" y="2731795"/>
                  </a:lnTo>
                  <a:lnTo>
                    <a:pt x="1896220" y="2726169"/>
                  </a:lnTo>
                  <a:lnTo>
                    <a:pt x="1892953" y="2723597"/>
                  </a:lnTo>
                  <a:lnTo>
                    <a:pt x="1888899" y="2722206"/>
                  </a:lnTo>
                  <a:lnTo>
                    <a:pt x="1886933" y="2720028"/>
                  </a:lnTo>
                  <a:lnTo>
                    <a:pt x="1885602" y="2715399"/>
                  </a:lnTo>
                  <a:lnTo>
                    <a:pt x="1879340" y="2710529"/>
                  </a:lnTo>
                  <a:lnTo>
                    <a:pt x="1877313" y="2707261"/>
                  </a:lnTo>
                  <a:lnTo>
                    <a:pt x="1883545" y="2708139"/>
                  </a:lnTo>
                  <a:lnTo>
                    <a:pt x="1886540" y="2705295"/>
                  </a:lnTo>
                  <a:lnTo>
                    <a:pt x="1887478" y="2706051"/>
                  </a:lnTo>
                  <a:lnTo>
                    <a:pt x="1887538" y="2707806"/>
                  </a:lnTo>
                  <a:lnTo>
                    <a:pt x="1886328" y="2709500"/>
                  </a:lnTo>
                  <a:lnTo>
                    <a:pt x="1887629" y="2710529"/>
                  </a:lnTo>
                  <a:lnTo>
                    <a:pt x="1887992" y="2712071"/>
                  </a:lnTo>
                  <a:lnTo>
                    <a:pt x="1888052" y="2713917"/>
                  </a:lnTo>
                  <a:lnTo>
                    <a:pt x="1888415" y="2715792"/>
                  </a:lnTo>
                  <a:lnTo>
                    <a:pt x="1889625" y="2718848"/>
                  </a:lnTo>
                  <a:lnTo>
                    <a:pt x="1890412" y="2719725"/>
                  </a:lnTo>
                  <a:lnTo>
                    <a:pt x="1891864" y="2720693"/>
                  </a:lnTo>
                  <a:lnTo>
                    <a:pt x="1892197" y="2717698"/>
                  </a:lnTo>
                  <a:lnTo>
                    <a:pt x="1892106" y="2714552"/>
                  </a:lnTo>
                  <a:lnTo>
                    <a:pt x="1892409" y="2712616"/>
                  </a:lnTo>
                  <a:lnTo>
                    <a:pt x="1893921" y="2713281"/>
                  </a:lnTo>
                  <a:lnTo>
                    <a:pt x="1893982" y="2713766"/>
                  </a:lnTo>
                  <a:lnTo>
                    <a:pt x="1893921" y="2716337"/>
                  </a:lnTo>
                  <a:lnTo>
                    <a:pt x="1894193" y="2717365"/>
                  </a:lnTo>
                  <a:lnTo>
                    <a:pt x="1894799" y="2717728"/>
                  </a:lnTo>
                  <a:lnTo>
                    <a:pt x="1895494" y="2717880"/>
                  </a:lnTo>
                  <a:lnTo>
                    <a:pt x="1896008" y="2718212"/>
                  </a:lnTo>
                  <a:lnTo>
                    <a:pt x="1898519" y="2722115"/>
                  </a:lnTo>
                  <a:lnTo>
                    <a:pt x="1899457" y="2723113"/>
                  </a:lnTo>
                  <a:lnTo>
                    <a:pt x="1900244" y="2719513"/>
                  </a:lnTo>
                  <a:lnTo>
                    <a:pt x="1901817" y="2719725"/>
                  </a:lnTo>
                  <a:lnTo>
                    <a:pt x="1905629" y="2724323"/>
                  </a:lnTo>
                  <a:lnTo>
                    <a:pt x="1907353" y="2727227"/>
                  </a:lnTo>
                  <a:lnTo>
                    <a:pt x="1908200" y="2730827"/>
                  </a:lnTo>
                  <a:lnTo>
                    <a:pt x="1907565" y="2733973"/>
                  </a:lnTo>
                  <a:lnTo>
                    <a:pt x="1904872" y="2735486"/>
                  </a:lnTo>
                  <a:lnTo>
                    <a:pt x="1908291" y="2736878"/>
                  </a:lnTo>
                  <a:lnTo>
                    <a:pt x="1919484" y="2736696"/>
                  </a:lnTo>
                  <a:lnTo>
                    <a:pt x="1922115" y="2735940"/>
                  </a:lnTo>
                  <a:lnTo>
                    <a:pt x="1925262" y="2733731"/>
                  </a:lnTo>
                  <a:lnTo>
                    <a:pt x="1927137" y="2730071"/>
                  </a:lnTo>
                  <a:lnTo>
                    <a:pt x="1925473" y="2722871"/>
                  </a:lnTo>
                  <a:lnTo>
                    <a:pt x="1927168" y="2723325"/>
                  </a:lnTo>
                  <a:lnTo>
                    <a:pt x="1929194" y="2724807"/>
                  </a:lnTo>
                  <a:lnTo>
                    <a:pt x="1929769" y="2725654"/>
                  </a:lnTo>
                  <a:lnTo>
                    <a:pt x="1931493" y="2725080"/>
                  </a:lnTo>
                  <a:lnTo>
                    <a:pt x="1934246" y="2722538"/>
                  </a:lnTo>
                  <a:lnTo>
                    <a:pt x="1935668" y="2721964"/>
                  </a:lnTo>
                  <a:lnTo>
                    <a:pt x="1938784" y="2719634"/>
                  </a:lnTo>
                  <a:lnTo>
                    <a:pt x="1940236" y="2719513"/>
                  </a:lnTo>
                  <a:lnTo>
                    <a:pt x="1940872" y="2722538"/>
                  </a:lnTo>
                  <a:lnTo>
                    <a:pt x="1940085" y="2723960"/>
                  </a:lnTo>
                  <a:lnTo>
                    <a:pt x="1936424" y="2726290"/>
                  </a:lnTo>
                  <a:lnTo>
                    <a:pt x="1935305" y="2727984"/>
                  </a:lnTo>
                  <a:lnTo>
                    <a:pt x="1937937" y="2728891"/>
                  </a:lnTo>
                  <a:lnTo>
                    <a:pt x="1941386" y="2727923"/>
                  </a:lnTo>
                  <a:lnTo>
                    <a:pt x="1944592" y="2725926"/>
                  </a:lnTo>
                  <a:lnTo>
                    <a:pt x="1946680" y="2723688"/>
                  </a:lnTo>
                  <a:lnTo>
                    <a:pt x="1947133" y="2721631"/>
                  </a:lnTo>
                  <a:lnTo>
                    <a:pt x="1946498" y="2719846"/>
                  </a:lnTo>
                  <a:lnTo>
                    <a:pt x="1945560" y="2718273"/>
                  </a:lnTo>
                  <a:lnTo>
                    <a:pt x="1945016" y="2716881"/>
                  </a:lnTo>
                  <a:lnTo>
                    <a:pt x="1945167" y="2714794"/>
                  </a:lnTo>
                  <a:lnTo>
                    <a:pt x="1946166" y="2710680"/>
                  </a:lnTo>
                  <a:lnTo>
                    <a:pt x="1946317" y="2708260"/>
                  </a:lnTo>
                  <a:lnTo>
                    <a:pt x="1946982" y="2708260"/>
                  </a:lnTo>
                  <a:lnTo>
                    <a:pt x="1949917" y="2719846"/>
                  </a:lnTo>
                  <a:lnTo>
                    <a:pt x="1950159" y="2721903"/>
                  </a:lnTo>
                  <a:lnTo>
                    <a:pt x="1950885" y="2720239"/>
                  </a:lnTo>
                  <a:lnTo>
                    <a:pt x="1950733" y="2711799"/>
                  </a:lnTo>
                  <a:lnTo>
                    <a:pt x="1951157" y="2708260"/>
                  </a:lnTo>
                  <a:lnTo>
                    <a:pt x="1952155" y="2710892"/>
                  </a:lnTo>
                  <a:lnTo>
                    <a:pt x="1952609" y="2713644"/>
                  </a:lnTo>
                  <a:lnTo>
                    <a:pt x="1953214" y="2716186"/>
                  </a:lnTo>
                  <a:lnTo>
                    <a:pt x="1954636" y="2718061"/>
                  </a:lnTo>
                  <a:lnTo>
                    <a:pt x="1953547" y="2713554"/>
                  </a:lnTo>
                  <a:lnTo>
                    <a:pt x="1952639" y="2708109"/>
                  </a:lnTo>
                  <a:lnTo>
                    <a:pt x="1952912" y="2704569"/>
                  </a:lnTo>
                  <a:lnTo>
                    <a:pt x="1955331" y="2705749"/>
                  </a:lnTo>
                  <a:lnTo>
                    <a:pt x="1955120" y="2703631"/>
                  </a:lnTo>
                  <a:lnTo>
                    <a:pt x="1955271" y="2700092"/>
                  </a:lnTo>
                  <a:lnTo>
                    <a:pt x="1955664" y="2696431"/>
                  </a:lnTo>
                  <a:lnTo>
                    <a:pt x="1956814" y="2692347"/>
                  </a:lnTo>
                  <a:lnTo>
                    <a:pt x="1956995" y="2691016"/>
                  </a:lnTo>
                  <a:lnTo>
                    <a:pt x="1957449" y="2690079"/>
                  </a:lnTo>
                  <a:lnTo>
                    <a:pt x="1960202" y="2689232"/>
                  </a:lnTo>
                  <a:lnTo>
                    <a:pt x="1960474" y="2688052"/>
                  </a:lnTo>
                  <a:lnTo>
                    <a:pt x="1960081" y="2685904"/>
                  </a:lnTo>
                  <a:lnTo>
                    <a:pt x="1960081" y="2684573"/>
                  </a:lnTo>
                  <a:lnTo>
                    <a:pt x="1959899" y="2680973"/>
                  </a:lnTo>
                  <a:lnTo>
                    <a:pt x="1960081" y="2679854"/>
                  </a:lnTo>
                  <a:lnTo>
                    <a:pt x="1961170" y="2679400"/>
                  </a:lnTo>
                  <a:lnTo>
                    <a:pt x="1965647" y="2680973"/>
                  </a:lnTo>
                  <a:lnTo>
                    <a:pt x="1969157" y="2683877"/>
                  </a:lnTo>
                  <a:lnTo>
                    <a:pt x="1971002" y="2684089"/>
                  </a:lnTo>
                  <a:lnTo>
                    <a:pt x="1971819" y="2680398"/>
                  </a:lnTo>
                  <a:lnTo>
                    <a:pt x="1972756" y="2677524"/>
                  </a:lnTo>
                  <a:lnTo>
                    <a:pt x="1974541" y="2675830"/>
                  </a:lnTo>
                  <a:lnTo>
                    <a:pt x="1975479" y="2674106"/>
                  </a:lnTo>
                  <a:lnTo>
                    <a:pt x="1973936" y="2671051"/>
                  </a:lnTo>
                  <a:lnTo>
                    <a:pt x="1970215" y="2668146"/>
                  </a:lnTo>
                  <a:lnTo>
                    <a:pt x="1968491" y="2665757"/>
                  </a:lnTo>
                  <a:lnTo>
                    <a:pt x="1968733" y="2662883"/>
                  </a:lnTo>
                  <a:lnTo>
                    <a:pt x="1971274" y="2657589"/>
                  </a:lnTo>
                  <a:lnTo>
                    <a:pt x="1972091" y="2654291"/>
                  </a:lnTo>
                  <a:lnTo>
                    <a:pt x="1971819" y="2651115"/>
                  </a:lnTo>
                  <a:lnTo>
                    <a:pt x="1969943" y="2649088"/>
                  </a:lnTo>
                  <a:lnTo>
                    <a:pt x="1960928" y="2646456"/>
                  </a:lnTo>
                  <a:lnTo>
                    <a:pt x="1957086" y="2639226"/>
                  </a:lnTo>
                  <a:lnTo>
                    <a:pt x="1954968" y="2637471"/>
                  </a:lnTo>
                  <a:lnTo>
                    <a:pt x="1953033" y="2636413"/>
                  </a:lnTo>
                  <a:lnTo>
                    <a:pt x="1950703" y="2633781"/>
                  </a:lnTo>
                  <a:lnTo>
                    <a:pt x="1948676" y="2630483"/>
                  </a:lnTo>
                  <a:lnTo>
                    <a:pt x="1947618" y="2627428"/>
                  </a:lnTo>
                  <a:lnTo>
                    <a:pt x="1950824" y="2627609"/>
                  </a:lnTo>
                  <a:lnTo>
                    <a:pt x="1957207" y="2632419"/>
                  </a:lnTo>
                  <a:lnTo>
                    <a:pt x="1960384" y="2633660"/>
                  </a:lnTo>
                  <a:lnTo>
                    <a:pt x="1962078" y="2631905"/>
                  </a:lnTo>
                  <a:lnTo>
                    <a:pt x="1962985" y="2627730"/>
                  </a:lnTo>
                  <a:lnTo>
                    <a:pt x="1963409" y="2622588"/>
                  </a:lnTo>
                  <a:lnTo>
                    <a:pt x="1963500" y="2618050"/>
                  </a:lnTo>
                  <a:lnTo>
                    <a:pt x="1963106" y="2613119"/>
                  </a:lnTo>
                  <a:lnTo>
                    <a:pt x="1961926" y="2609428"/>
                  </a:lnTo>
                  <a:lnTo>
                    <a:pt x="1959990" y="2606796"/>
                  </a:lnTo>
                  <a:lnTo>
                    <a:pt x="1953668" y="2603318"/>
                  </a:lnTo>
                  <a:lnTo>
                    <a:pt x="1952367" y="2602592"/>
                  </a:lnTo>
                  <a:lnTo>
                    <a:pt x="1950824" y="2602319"/>
                  </a:lnTo>
                  <a:lnTo>
                    <a:pt x="1949644" y="2601593"/>
                  </a:lnTo>
                  <a:lnTo>
                    <a:pt x="1947739" y="2598326"/>
                  </a:lnTo>
                  <a:lnTo>
                    <a:pt x="1946377" y="2597418"/>
                  </a:lnTo>
                  <a:lnTo>
                    <a:pt x="1947829" y="2594696"/>
                  </a:lnTo>
                  <a:lnTo>
                    <a:pt x="1950643" y="2594514"/>
                  </a:lnTo>
                  <a:lnTo>
                    <a:pt x="1953638" y="2595936"/>
                  </a:lnTo>
                  <a:lnTo>
                    <a:pt x="1957237" y="2599687"/>
                  </a:lnTo>
                  <a:lnTo>
                    <a:pt x="1958750" y="2599899"/>
                  </a:lnTo>
                  <a:lnTo>
                    <a:pt x="1959264" y="2599899"/>
                  </a:lnTo>
                  <a:lnTo>
                    <a:pt x="1959385" y="2599839"/>
                  </a:lnTo>
                  <a:lnTo>
                    <a:pt x="1960081" y="2599778"/>
                  </a:lnTo>
                  <a:lnTo>
                    <a:pt x="1961140" y="2600565"/>
                  </a:lnTo>
                  <a:lnTo>
                    <a:pt x="1961503" y="2601018"/>
                  </a:lnTo>
                  <a:lnTo>
                    <a:pt x="1963832" y="2603983"/>
                  </a:lnTo>
                  <a:lnTo>
                    <a:pt x="1964377" y="2604921"/>
                  </a:lnTo>
                  <a:lnTo>
                    <a:pt x="1964952" y="2607038"/>
                  </a:lnTo>
                  <a:lnTo>
                    <a:pt x="1965224" y="2608672"/>
                  </a:lnTo>
                  <a:lnTo>
                    <a:pt x="1965647" y="2612393"/>
                  </a:lnTo>
                  <a:lnTo>
                    <a:pt x="1966827" y="2618715"/>
                  </a:lnTo>
                  <a:lnTo>
                    <a:pt x="1967009" y="2620470"/>
                  </a:lnTo>
                  <a:lnTo>
                    <a:pt x="1966313" y="2628456"/>
                  </a:lnTo>
                  <a:lnTo>
                    <a:pt x="1966434" y="2632147"/>
                  </a:lnTo>
                  <a:lnTo>
                    <a:pt x="1967765" y="2634961"/>
                  </a:lnTo>
                  <a:lnTo>
                    <a:pt x="1972484" y="2635687"/>
                  </a:lnTo>
                  <a:lnTo>
                    <a:pt x="1978413" y="2631845"/>
                  </a:lnTo>
                  <a:lnTo>
                    <a:pt x="1983496" y="2625492"/>
                  </a:lnTo>
                  <a:lnTo>
                    <a:pt x="1985643" y="2618655"/>
                  </a:lnTo>
                  <a:lnTo>
                    <a:pt x="1985220" y="2615811"/>
                  </a:lnTo>
                  <a:lnTo>
                    <a:pt x="1984070" y="2612030"/>
                  </a:lnTo>
                  <a:lnTo>
                    <a:pt x="1982437" y="2608732"/>
                  </a:lnTo>
                  <a:lnTo>
                    <a:pt x="1980471" y="2607311"/>
                  </a:lnTo>
                  <a:lnTo>
                    <a:pt x="1978111" y="2606343"/>
                  </a:lnTo>
                  <a:lnTo>
                    <a:pt x="1975993" y="2603771"/>
                  </a:lnTo>
                  <a:lnTo>
                    <a:pt x="1974329" y="2600171"/>
                  </a:lnTo>
                  <a:lnTo>
                    <a:pt x="1973210" y="2596027"/>
                  </a:lnTo>
                  <a:lnTo>
                    <a:pt x="1972636" y="2591156"/>
                  </a:lnTo>
                  <a:lnTo>
                    <a:pt x="1972514" y="2585499"/>
                  </a:lnTo>
                  <a:lnTo>
                    <a:pt x="1972726" y="2582837"/>
                  </a:lnTo>
                  <a:lnTo>
                    <a:pt x="1972938" y="2580417"/>
                  </a:lnTo>
                  <a:lnTo>
                    <a:pt x="1973966" y="2577211"/>
                  </a:lnTo>
                  <a:lnTo>
                    <a:pt x="1971456" y="2575789"/>
                  </a:lnTo>
                  <a:lnTo>
                    <a:pt x="1971637" y="2574185"/>
                  </a:lnTo>
                  <a:lnTo>
                    <a:pt x="1974935" y="2570222"/>
                  </a:lnTo>
                  <a:lnTo>
                    <a:pt x="1977082" y="2568226"/>
                  </a:lnTo>
                  <a:lnTo>
                    <a:pt x="1979472" y="2567893"/>
                  </a:lnTo>
                  <a:lnTo>
                    <a:pt x="1983587" y="2568256"/>
                  </a:lnTo>
                  <a:lnTo>
                    <a:pt x="1984464" y="2567651"/>
                  </a:lnTo>
                  <a:lnTo>
                    <a:pt x="1985734" y="2565927"/>
                  </a:lnTo>
                  <a:lnTo>
                    <a:pt x="1986339" y="2565624"/>
                  </a:lnTo>
                  <a:lnTo>
                    <a:pt x="1990847" y="2566986"/>
                  </a:lnTo>
                  <a:lnTo>
                    <a:pt x="1991663" y="2565957"/>
                  </a:lnTo>
                  <a:lnTo>
                    <a:pt x="1992329" y="2564021"/>
                  </a:lnTo>
                  <a:lnTo>
                    <a:pt x="1993116" y="2562781"/>
                  </a:lnTo>
                  <a:lnTo>
                    <a:pt x="1995385" y="2564838"/>
                  </a:lnTo>
                  <a:lnTo>
                    <a:pt x="1998289" y="2565866"/>
                  </a:lnTo>
                  <a:lnTo>
                    <a:pt x="1999559" y="2567016"/>
                  </a:lnTo>
                  <a:lnTo>
                    <a:pt x="1998803" y="2568286"/>
                  </a:lnTo>
                  <a:lnTo>
                    <a:pt x="2000134" y="2574155"/>
                  </a:lnTo>
                  <a:lnTo>
                    <a:pt x="1999015" y="2580750"/>
                  </a:lnTo>
                  <a:lnTo>
                    <a:pt x="1997079" y="2587738"/>
                  </a:lnTo>
                  <a:lnTo>
                    <a:pt x="1996020" y="2594756"/>
                  </a:lnTo>
                  <a:lnTo>
                    <a:pt x="1994053" y="2587587"/>
                  </a:lnTo>
                  <a:lnTo>
                    <a:pt x="1992269" y="2578360"/>
                  </a:lnTo>
                  <a:lnTo>
                    <a:pt x="1989758" y="2572975"/>
                  </a:lnTo>
                  <a:lnTo>
                    <a:pt x="1985643" y="2577211"/>
                  </a:lnTo>
                  <a:lnTo>
                    <a:pt x="1984373" y="2580841"/>
                  </a:lnTo>
                  <a:lnTo>
                    <a:pt x="1981892" y="2589553"/>
                  </a:lnTo>
                  <a:lnTo>
                    <a:pt x="1980501" y="2592881"/>
                  </a:lnTo>
                  <a:lnTo>
                    <a:pt x="1980198" y="2596935"/>
                  </a:lnTo>
                  <a:lnTo>
                    <a:pt x="1981741" y="2601805"/>
                  </a:lnTo>
                  <a:lnTo>
                    <a:pt x="1983980" y="2604558"/>
                  </a:lnTo>
                  <a:lnTo>
                    <a:pt x="1985704" y="2602259"/>
                  </a:lnTo>
                  <a:lnTo>
                    <a:pt x="1986006" y="2608491"/>
                  </a:lnTo>
                  <a:lnTo>
                    <a:pt x="1986854" y="2613210"/>
                  </a:lnTo>
                  <a:lnTo>
                    <a:pt x="1988155" y="2617142"/>
                  </a:lnTo>
                  <a:lnTo>
                    <a:pt x="1989909" y="2621015"/>
                  </a:lnTo>
                  <a:lnTo>
                    <a:pt x="1988941" y="2625038"/>
                  </a:lnTo>
                  <a:lnTo>
                    <a:pt x="1988820" y="2629243"/>
                  </a:lnTo>
                  <a:lnTo>
                    <a:pt x="1989364" y="2633448"/>
                  </a:lnTo>
                  <a:lnTo>
                    <a:pt x="1990574" y="2637411"/>
                  </a:lnTo>
                  <a:lnTo>
                    <a:pt x="1991633" y="2639135"/>
                  </a:lnTo>
                  <a:lnTo>
                    <a:pt x="1992632" y="2640224"/>
                  </a:lnTo>
                  <a:lnTo>
                    <a:pt x="1993327" y="2641797"/>
                  </a:lnTo>
                  <a:lnTo>
                    <a:pt x="1993327" y="2645004"/>
                  </a:lnTo>
                  <a:lnTo>
                    <a:pt x="1992813" y="2647333"/>
                  </a:lnTo>
                  <a:lnTo>
                    <a:pt x="1991815" y="2649058"/>
                  </a:lnTo>
                  <a:lnTo>
                    <a:pt x="1990544" y="2649602"/>
                  </a:lnTo>
                  <a:lnTo>
                    <a:pt x="1989183" y="2648513"/>
                  </a:lnTo>
                  <a:lnTo>
                    <a:pt x="1990393" y="2643159"/>
                  </a:lnTo>
                  <a:lnTo>
                    <a:pt x="1990574" y="2640345"/>
                  </a:lnTo>
                  <a:lnTo>
                    <a:pt x="1989909" y="2638681"/>
                  </a:lnTo>
                  <a:lnTo>
                    <a:pt x="1988729" y="2639528"/>
                  </a:lnTo>
                  <a:lnTo>
                    <a:pt x="1987005" y="2642130"/>
                  </a:lnTo>
                  <a:lnTo>
                    <a:pt x="1984343" y="2647364"/>
                  </a:lnTo>
                  <a:lnTo>
                    <a:pt x="1983375" y="2650903"/>
                  </a:lnTo>
                  <a:lnTo>
                    <a:pt x="1983828" y="2652174"/>
                  </a:lnTo>
                  <a:lnTo>
                    <a:pt x="1987792" y="2653595"/>
                  </a:lnTo>
                  <a:lnTo>
                    <a:pt x="1989576" y="2655017"/>
                  </a:lnTo>
                  <a:lnTo>
                    <a:pt x="1990242" y="2656469"/>
                  </a:lnTo>
                  <a:lnTo>
                    <a:pt x="1989879" y="2658375"/>
                  </a:lnTo>
                  <a:lnTo>
                    <a:pt x="1988518" y="2661067"/>
                  </a:lnTo>
                  <a:lnTo>
                    <a:pt x="1990242" y="2663911"/>
                  </a:lnTo>
                  <a:lnTo>
                    <a:pt x="1990786" y="2668056"/>
                  </a:lnTo>
                  <a:lnTo>
                    <a:pt x="1991663" y="2671807"/>
                  </a:lnTo>
                  <a:lnTo>
                    <a:pt x="1994356" y="2673440"/>
                  </a:lnTo>
                  <a:lnTo>
                    <a:pt x="1995203" y="2672684"/>
                  </a:lnTo>
                  <a:lnTo>
                    <a:pt x="1996776" y="2669266"/>
                  </a:lnTo>
                  <a:lnTo>
                    <a:pt x="1997805" y="2668479"/>
                  </a:lnTo>
                  <a:lnTo>
                    <a:pt x="1998773" y="2669114"/>
                  </a:lnTo>
                  <a:lnTo>
                    <a:pt x="1999650" y="2670536"/>
                  </a:lnTo>
                  <a:lnTo>
                    <a:pt x="2000739" y="2671867"/>
                  </a:lnTo>
                  <a:lnTo>
                    <a:pt x="2002312" y="2672291"/>
                  </a:lnTo>
                  <a:lnTo>
                    <a:pt x="2000527" y="2675800"/>
                  </a:lnTo>
                  <a:lnTo>
                    <a:pt x="1998712" y="2680428"/>
                  </a:lnTo>
                  <a:lnTo>
                    <a:pt x="1997653" y="2685329"/>
                  </a:lnTo>
                  <a:lnTo>
                    <a:pt x="1998168" y="2689685"/>
                  </a:lnTo>
                  <a:lnTo>
                    <a:pt x="1999287" y="2688385"/>
                  </a:lnTo>
                  <a:lnTo>
                    <a:pt x="2000558" y="2684603"/>
                  </a:lnTo>
                  <a:lnTo>
                    <a:pt x="2001677" y="2683302"/>
                  </a:lnTo>
                  <a:lnTo>
                    <a:pt x="2001011" y="2686993"/>
                  </a:lnTo>
                  <a:lnTo>
                    <a:pt x="2002826" y="2691591"/>
                  </a:lnTo>
                  <a:lnTo>
                    <a:pt x="2002312" y="2694647"/>
                  </a:lnTo>
                  <a:lnTo>
                    <a:pt x="2004611" y="2694768"/>
                  </a:lnTo>
                  <a:lnTo>
                    <a:pt x="2006699" y="2699245"/>
                  </a:lnTo>
                  <a:lnTo>
                    <a:pt x="2008544" y="2699699"/>
                  </a:lnTo>
                  <a:lnTo>
                    <a:pt x="2009209" y="2698791"/>
                  </a:lnTo>
                  <a:lnTo>
                    <a:pt x="2009270" y="2697490"/>
                  </a:lnTo>
                  <a:lnTo>
                    <a:pt x="2009451" y="2696310"/>
                  </a:lnTo>
                  <a:lnTo>
                    <a:pt x="2010571" y="2695796"/>
                  </a:lnTo>
                  <a:lnTo>
                    <a:pt x="2011690" y="2695554"/>
                  </a:lnTo>
                  <a:lnTo>
                    <a:pt x="2012719" y="2694979"/>
                  </a:lnTo>
                  <a:lnTo>
                    <a:pt x="2014655" y="2693316"/>
                  </a:lnTo>
                  <a:lnTo>
                    <a:pt x="2014201" y="2696189"/>
                  </a:lnTo>
                  <a:lnTo>
                    <a:pt x="2014503" y="2699245"/>
                  </a:lnTo>
                  <a:lnTo>
                    <a:pt x="2015229" y="2701786"/>
                  </a:lnTo>
                  <a:lnTo>
                    <a:pt x="2016077" y="2703147"/>
                  </a:lnTo>
                  <a:lnTo>
                    <a:pt x="2017861" y="2703480"/>
                  </a:lnTo>
                  <a:lnTo>
                    <a:pt x="2018859" y="2701846"/>
                  </a:lnTo>
                  <a:lnTo>
                    <a:pt x="2018920" y="2699033"/>
                  </a:lnTo>
                  <a:lnTo>
                    <a:pt x="2018043" y="2695736"/>
                  </a:lnTo>
                  <a:lnTo>
                    <a:pt x="2019283" y="2695736"/>
                  </a:lnTo>
                  <a:lnTo>
                    <a:pt x="2023427" y="2697097"/>
                  </a:lnTo>
                  <a:lnTo>
                    <a:pt x="2024305" y="2697702"/>
                  </a:lnTo>
                  <a:lnTo>
                    <a:pt x="2025243" y="2700092"/>
                  </a:lnTo>
                  <a:lnTo>
                    <a:pt x="2027149" y="2701423"/>
                  </a:lnTo>
                  <a:lnTo>
                    <a:pt x="2028480" y="2702875"/>
                  </a:lnTo>
                  <a:lnTo>
                    <a:pt x="2027723" y="2705719"/>
                  </a:lnTo>
                  <a:lnTo>
                    <a:pt x="2033622" y="2705719"/>
                  </a:lnTo>
                  <a:lnTo>
                    <a:pt x="2034439" y="2704599"/>
                  </a:lnTo>
                  <a:lnTo>
                    <a:pt x="2034258" y="2702028"/>
                  </a:lnTo>
                  <a:lnTo>
                    <a:pt x="2033289" y="2697097"/>
                  </a:lnTo>
                  <a:lnTo>
                    <a:pt x="2035226" y="2701635"/>
                  </a:lnTo>
                  <a:lnTo>
                    <a:pt x="2036405" y="2703147"/>
                  </a:lnTo>
                  <a:lnTo>
                    <a:pt x="2038069" y="2703147"/>
                  </a:lnTo>
                  <a:lnTo>
                    <a:pt x="2039249" y="2701756"/>
                  </a:lnTo>
                  <a:lnTo>
                    <a:pt x="2039824" y="2699487"/>
                  </a:lnTo>
                  <a:lnTo>
                    <a:pt x="2039521" y="2697218"/>
                  </a:lnTo>
                  <a:lnTo>
                    <a:pt x="2038039" y="2695796"/>
                  </a:lnTo>
                  <a:lnTo>
                    <a:pt x="2041185" y="2694162"/>
                  </a:lnTo>
                  <a:lnTo>
                    <a:pt x="2042153" y="2693316"/>
                  </a:lnTo>
                  <a:lnTo>
                    <a:pt x="2042607" y="2694919"/>
                  </a:lnTo>
                  <a:lnTo>
                    <a:pt x="2042607" y="2695615"/>
                  </a:lnTo>
                  <a:lnTo>
                    <a:pt x="2042304" y="2696250"/>
                  </a:lnTo>
                  <a:lnTo>
                    <a:pt x="2042153" y="2697762"/>
                  </a:lnTo>
                  <a:lnTo>
                    <a:pt x="2042365" y="2699093"/>
                  </a:lnTo>
                  <a:lnTo>
                    <a:pt x="2042819" y="2699971"/>
                  </a:lnTo>
                  <a:lnTo>
                    <a:pt x="2043545" y="2700848"/>
                  </a:lnTo>
                  <a:lnTo>
                    <a:pt x="2043908" y="2700425"/>
                  </a:lnTo>
                  <a:lnTo>
                    <a:pt x="2044725" y="2701332"/>
                  </a:lnTo>
                  <a:lnTo>
                    <a:pt x="2045239" y="2702572"/>
                  </a:lnTo>
                  <a:lnTo>
                    <a:pt x="2044664" y="2703208"/>
                  </a:lnTo>
                  <a:lnTo>
                    <a:pt x="2042849" y="2703087"/>
                  </a:lnTo>
                  <a:lnTo>
                    <a:pt x="2042002" y="2703450"/>
                  </a:lnTo>
                  <a:lnTo>
                    <a:pt x="2041548" y="2704569"/>
                  </a:lnTo>
                  <a:lnTo>
                    <a:pt x="2042788" y="2707957"/>
                  </a:lnTo>
                  <a:lnTo>
                    <a:pt x="2046237" y="2708986"/>
                  </a:lnTo>
                  <a:lnTo>
                    <a:pt x="2056039" y="2708109"/>
                  </a:lnTo>
                  <a:lnTo>
                    <a:pt x="2059124" y="2708774"/>
                  </a:lnTo>
                  <a:lnTo>
                    <a:pt x="2061726" y="2710710"/>
                  </a:lnTo>
                  <a:lnTo>
                    <a:pt x="2063632" y="2714310"/>
                  </a:lnTo>
                  <a:lnTo>
                    <a:pt x="2064086" y="2716246"/>
                  </a:lnTo>
                  <a:lnTo>
                    <a:pt x="2064660" y="2720269"/>
                  </a:lnTo>
                  <a:lnTo>
                    <a:pt x="2065053" y="2721903"/>
                  </a:lnTo>
                  <a:lnTo>
                    <a:pt x="2068472" y="2729133"/>
                  </a:lnTo>
                  <a:lnTo>
                    <a:pt x="2068472" y="2730283"/>
                  </a:lnTo>
                  <a:lnTo>
                    <a:pt x="2068472" y="2730283"/>
                  </a:lnTo>
                  <a:lnTo>
                    <a:pt x="2068532" y="2730404"/>
                  </a:lnTo>
                  <a:lnTo>
                    <a:pt x="2070045" y="2735910"/>
                  </a:lnTo>
                  <a:lnTo>
                    <a:pt x="2069924" y="2747466"/>
                  </a:lnTo>
                  <a:lnTo>
                    <a:pt x="2073010" y="2749099"/>
                  </a:lnTo>
                  <a:lnTo>
                    <a:pt x="2079514" y="2749492"/>
                  </a:lnTo>
                  <a:lnTo>
                    <a:pt x="2086018" y="2747980"/>
                  </a:lnTo>
                  <a:lnTo>
                    <a:pt x="2091312" y="2743170"/>
                  </a:lnTo>
                  <a:lnTo>
                    <a:pt x="2094276" y="2733580"/>
                  </a:lnTo>
                  <a:lnTo>
                    <a:pt x="2094942" y="2728982"/>
                  </a:lnTo>
                  <a:lnTo>
                    <a:pt x="2095819" y="2724959"/>
                  </a:lnTo>
                  <a:lnTo>
                    <a:pt x="2098360" y="2717063"/>
                  </a:lnTo>
                  <a:lnTo>
                    <a:pt x="2099480" y="2712283"/>
                  </a:lnTo>
                  <a:lnTo>
                    <a:pt x="2099782" y="2703661"/>
                  </a:lnTo>
                  <a:lnTo>
                    <a:pt x="2102505" y="2692408"/>
                  </a:lnTo>
                  <a:lnTo>
                    <a:pt x="2103412" y="2689595"/>
                  </a:lnTo>
                  <a:lnTo>
                    <a:pt x="2105197" y="2686660"/>
                  </a:lnTo>
                  <a:lnTo>
                    <a:pt x="2106075" y="2684089"/>
                  </a:lnTo>
                  <a:lnTo>
                    <a:pt x="2106135" y="2683907"/>
                  </a:lnTo>
                  <a:lnTo>
                    <a:pt x="2106135" y="2680065"/>
                  </a:lnTo>
                  <a:lnTo>
                    <a:pt x="2105651" y="2675951"/>
                  </a:lnTo>
                  <a:lnTo>
                    <a:pt x="2103352" y="2663790"/>
                  </a:lnTo>
                  <a:lnTo>
                    <a:pt x="2092643" y="2627700"/>
                  </a:lnTo>
                  <a:lnTo>
                    <a:pt x="2091977" y="2623768"/>
                  </a:lnTo>
                  <a:lnTo>
                    <a:pt x="2092371" y="2618927"/>
                  </a:lnTo>
                  <a:lnTo>
                    <a:pt x="2094276" y="2616144"/>
                  </a:lnTo>
                  <a:lnTo>
                    <a:pt x="2107829" y="2609307"/>
                  </a:lnTo>
                  <a:lnTo>
                    <a:pt x="2110249" y="2606827"/>
                  </a:lnTo>
                  <a:lnTo>
                    <a:pt x="2114182" y="2600897"/>
                  </a:lnTo>
                  <a:lnTo>
                    <a:pt x="2114726" y="2599385"/>
                  </a:lnTo>
                  <a:lnTo>
                    <a:pt x="2114726" y="2596087"/>
                  </a:lnTo>
                  <a:lnTo>
                    <a:pt x="2115362" y="2589130"/>
                  </a:lnTo>
                  <a:lnTo>
                    <a:pt x="2115211" y="2586347"/>
                  </a:lnTo>
                  <a:lnTo>
                    <a:pt x="2113970" y="2583352"/>
                  </a:lnTo>
                  <a:lnTo>
                    <a:pt x="2113365" y="2582625"/>
                  </a:lnTo>
                  <a:lnTo>
                    <a:pt x="2110461" y="2579147"/>
                  </a:lnTo>
                  <a:lnTo>
                    <a:pt x="2109281" y="2576545"/>
                  </a:lnTo>
                  <a:lnTo>
                    <a:pt x="2109947" y="2570283"/>
                  </a:lnTo>
                  <a:lnTo>
                    <a:pt x="2112458" y="2567984"/>
                  </a:lnTo>
                  <a:lnTo>
                    <a:pt x="2114031" y="2566532"/>
                  </a:lnTo>
                  <a:lnTo>
                    <a:pt x="2119264" y="2564807"/>
                  </a:lnTo>
                  <a:lnTo>
                    <a:pt x="2135418" y="2566290"/>
                  </a:lnTo>
                  <a:lnTo>
                    <a:pt x="2139532" y="2565473"/>
                  </a:lnTo>
                  <a:lnTo>
                    <a:pt x="2154295" y="2554340"/>
                  </a:lnTo>
                  <a:lnTo>
                    <a:pt x="2169996" y="2537248"/>
                  </a:lnTo>
                  <a:lnTo>
                    <a:pt x="2173656" y="2531652"/>
                  </a:lnTo>
                  <a:lnTo>
                    <a:pt x="2176439" y="2524845"/>
                  </a:lnTo>
                  <a:lnTo>
                    <a:pt x="2177801" y="2516738"/>
                  </a:lnTo>
                  <a:lnTo>
                    <a:pt x="2177498" y="2510052"/>
                  </a:lnTo>
                  <a:lnTo>
                    <a:pt x="2174897" y="2498043"/>
                  </a:lnTo>
                  <a:lnTo>
                    <a:pt x="2174049" y="2491720"/>
                  </a:lnTo>
                  <a:lnTo>
                    <a:pt x="2174503" y="2488665"/>
                  </a:lnTo>
                  <a:lnTo>
                    <a:pt x="2175804" y="2486184"/>
                  </a:lnTo>
                  <a:lnTo>
                    <a:pt x="2181249" y="2479771"/>
                  </a:lnTo>
                  <a:lnTo>
                    <a:pt x="2183185" y="2476776"/>
                  </a:lnTo>
                  <a:lnTo>
                    <a:pt x="2184759" y="2473206"/>
                  </a:lnTo>
                  <a:lnTo>
                    <a:pt x="2185938" y="2468699"/>
                  </a:lnTo>
                  <a:lnTo>
                    <a:pt x="2186695" y="2461922"/>
                  </a:lnTo>
                  <a:lnTo>
                    <a:pt x="2186301" y="2456084"/>
                  </a:lnTo>
                  <a:lnTo>
                    <a:pt x="2184849" y="2450729"/>
                  </a:lnTo>
                  <a:lnTo>
                    <a:pt x="2173596" y="2423927"/>
                  </a:lnTo>
                  <a:lnTo>
                    <a:pt x="2162977" y="2405655"/>
                  </a:lnTo>
                  <a:lnTo>
                    <a:pt x="2160285" y="2398213"/>
                  </a:lnTo>
                  <a:lnTo>
                    <a:pt x="2158772" y="2391467"/>
                  </a:lnTo>
                  <a:lnTo>
                    <a:pt x="2156594" y="2377612"/>
                  </a:lnTo>
                  <a:lnTo>
                    <a:pt x="2154749" y="2371228"/>
                  </a:lnTo>
                  <a:lnTo>
                    <a:pt x="2150846" y="2362486"/>
                  </a:lnTo>
                  <a:lnTo>
                    <a:pt x="2150574" y="2358583"/>
                  </a:lnTo>
                  <a:lnTo>
                    <a:pt x="2153358" y="2356012"/>
                  </a:lnTo>
                  <a:lnTo>
                    <a:pt x="2176560" y="2349538"/>
                  </a:lnTo>
                  <a:lnTo>
                    <a:pt x="2182399" y="2349266"/>
                  </a:lnTo>
                  <a:lnTo>
                    <a:pt x="2193743" y="2351232"/>
                  </a:lnTo>
                  <a:lnTo>
                    <a:pt x="2195891" y="2350113"/>
                  </a:lnTo>
                  <a:lnTo>
                    <a:pt x="2196587" y="2348056"/>
                  </a:lnTo>
                  <a:lnTo>
                    <a:pt x="2196859" y="2347269"/>
                  </a:lnTo>
                  <a:lnTo>
                    <a:pt x="2198826" y="2334261"/>
                  </a:lnTo>
                  <a:lnTo>
                    <a:pt x="2199461" y="2331690"/>
                  </a:lnTo>
                  <a:lnTo>
                    <a:pt x="2200217" y="2329966"/>
                  </a:lnTo>
                  <a:lnTo>
                    <a:pt x="2207568" y="2319710"/>
                  </a:lnTo>
                  <a:lnTo>
                    <a:pt x="2209595" y="2315475"/>
                  </a:lnTo>
                  <a:lnTo>
                    <a:pt x="2211107" y="2310030"/>
                  </a:lnTo>
                  <a:lnTo>
                    <a:pt x="2214465" y="2291879"/>
                  </a:lnTo>
                  <a:lnTo>
                    <a:pt x="2214344" y="2289580"/>
                  </a:lnTo>
                  <a:lnTo>
                    <a:pt x="2213346" y="2287735"/>
                  </a:lnTo>
                  <a:lnTo>
                    <a:pt x="2186846" y="2253671"/>
                  </a:lnTo>
                  <a:lnTo>
                    <a:pt x="2183790" y="2250949"/>
                  </a:lnTo>
                  <a:lnTo>
                    <a:pt x="2180523" y="2249830"/>
                  </a:lnTo>
                  <a:lnTo>
                    <a:pt x="2173626" y="2249406"/>
                  </a:lnTo>
                  <a:lnTo>
                    <a:pt x="2169844" y="2248559"/>
                  </a:lnTo>
                  <a:lnTo>
                    <a:pt x="2167001" y="2246865"/>
                  </a:lnTo>
                  <a:lnTo>
                    <a:pt x="2159075" y="2237003"/>
                  </a:lnTo>
                  <a:lnTo>
                    <a:pt x="2154386" y="2233463"/>
                  </a:lnTo>
                  <a:lnTo>
                    <a:pt x="2142739" y="2221696"/>
                  </a:lnTo>
                  <a:lnTo>
                    <a:pt x="2141348" y="2219094"/>
                  </a:lnTo>
                  <a:lnTo>
                    <a:pt x="2149183" y="2169179"/>
                  </a:lnTo>
                  <a:lnTo>
                    <a:pt x="2157018" y="2118841"/>
                  </a:lnTo>
                  <a:lnTo>
                    <a:pt x="2156776" y="2111338"/>
                  </a:lnTo>
                  <a:lnTo>
                    <a:pt x="2156685" y="2108495"/>
                  </a:lnTo>
                  <a:lnTo>
                    <a:pt x="2153872" y="2098693"/>
                  </a:lnTo>
                  <a:lnTo>
                    <a:pt x="2153176" y="2096939"/>
                  </a:lnTo>
                  <a:lnTo>
                    <a:pt x="2134238" y="2048506"/>
                  </a:lnTo>
                  <a:lnTo>
                    <a:pt x="2134118" y="2044483"/>
                  </a:lnTo>
                  <a:lnTo>
                    <a:pt x="2135418" y="2038916"/>
                  </a:lnTo>
                  <a:lnTo>
                    <a:pt x="2139018" y="2029115"/>
                  </a:lnTo>
                  <a:lnTo>
                    <a:pt x="2140561" y="2023518"/>
                  </a:lnTo>
                  <a:lnTo>
                    <a:pt x="2140773" y="2018829"/>
                  </a:lnTo>
                  <a:lnTo>
                    <a:pt x="2134813" y="1987882"/>
                  </a:lnTo>
                  <a:lnTo>
                    <a:pt x="2134450" y="1983647"/>
                  </a:lnTo>
                  <a:lnTo>
                    <a:pt x="2135570" y="1980410"/>
                  </a:lnTo>
                  <a:lnTo>
                    <a:pt x="2147489" y="1964528"/>
                  </a:lnTo>
                  <a:lnTo>
                    <a:pt x="2131093" y="1922963"/>
                  </a:lnTo>
                  <a:lnTo>
                    <a:pt x="2124316" y="1905689"/>
                  </a:lnTo>
                  <a:lnTo>
                    <a:pt x="2145704" y="1871505"/>
                  </a:lnTo>
                  <a:lnTo>
                    <a:pt x="2147216" y="1867451"/>
                  </a:lnTo>
                  <a:lnTo>
                    <a:pt x="2147216" y="1862823"/>
                  </a:lnTo>
                  <a:lnTo>
                    <a:pt x="2142225" y="1841738"/>
                  </a:lnTo>
                  <a:lnTo>
                    <a:pt x="2154598" y="1829486"/>
                  </a:lnTo>
                  <a:lnTo>
                    <a:pt x="2173656" y="1797601"/>
                  </a:lnTo>
                  <a:lnTo>
                    <a:pt x="2193713" y="1766744"/>
                  </a:lnTo>
                  <a:lnTo>
                    <a:pt x="2201094" y="1759363"/>
                  </a:lnTo>
                  <a:lnTo>
                    <a:pt x="2223964" y="1745115"/>
                  </a:lnTo>
                  <a:lnTo>
                    <a:pt x="2249285" y="1738338"/>
                  </a:lnTo>
                  <a:lnTo>
                    <a:pt x="2284770" y="1746930"/>
                  </a:lnTo>
                  <a:lnTo>
                    <a:pt x="2320255" y="1755521"/>
                  </a:lnTo>
                  <a:lnTo>
                    <a:pt x="2322766" y="1755521"/>
                  </a:lnTo>
                  <a:lnTo>
                    <a:pt x="2324581" y="1753403"/>
                  </a:lnTo>
                  <a:lnTo>
                    <a:pt x="2341249" y="1721760"/>
                  </a:lnTo>
                  <a:lnTo>
                    <a:pt x="2342520" y="1717888"/>
                  </a:lnTo>
                  <a:lnTo>
                    <a:pt x="2342610" y="1714016"/>
                  </a:lnTo>
                  <a:lnTo>
                    <a:pt x="2338012" y="1663678"/>
                  </a:lnTo>
                  <a:lnTo>
                    <a:pt x="2336137" y="1658505"/>
                  </a:lnTo>
                  <a:lnTo>
                    <a:pt x="2332506" y="1656085"/>
                  </a:lnTo>
                  <a:lnTo>
                    <a:pt x="2324611" y="1654421"/>
                  </a:lnTo>
                  <a:lnTo>
                    <a:pt x="2320376" y="1652938"/>
                  </a:lnTo>
                  <a:lnTo>
                    <a:pt x="2290457" y="1633003"/>
                  </a:lnTo>
                  <a:lnTo>
                    <a:pt x="2317109" y="1588957"/>
                  </a:lnTo>
                  <a:lnTo>
                    <a:pt x="2343760" y="1544548"/>
                  </a:lnTo>
                  <a:lnTo>
                    <a:pt x="2343760" y="1544548"/>
                  </a:lnTo>
                  <a:lnTo>
                    <a:pt x="2357646" y="1524219"/>
                  </a:lnTo>
                  <a:lnTo>
                    <a:pt x="2359793" y="1517684"/>
                  </a:lnTo>
                  <a:lnTo>
                    <a:pt x="2359884" y="1517442"/>
                  </a:lnTo>
                  <a:lnTo>
                    <a:pt x="2360459" y="1515718"/>
                  </a:lnTo>
                  <a:lnTo>
                    <a:pt x="2363242" y="1495268"/>
                  </a:lnTo>
                  <a:lnTo>
                    <a:pt x="2364664" y="1489853"/>
                  </a:lnTo>
                  <a:lnTo>
                    <a:pt x="2366721" y="1486495"/>
                  </a:lnTo>
                  <a:lnTo>
                    <a:pt x="2374919" y="1479144"/>
                  </a:lnTo>
                  <a:lnTo>
                    <a:pt x="2378156" y="1472640"/>
                  </a:lnTo>
                  <a:lnTo>
                    <a:pt x="2378549" y="1462324"/>
                  </a:lnTo>
                  <a:lnTo>
                    <a:pt x="2377853" y="1450647"/>
                  </a:lnTo>
                  <a:lnTo>
                    <a:pt x="2377732" y="1440059"/>
                  </a:lnTo>
                  <a:lnTo>
                    <a:pt x="2382815" y="1387180"/>
                  </a:lnTo>
                  <a:lnTo>
                    <a:pt x="2383783" y="1383640"/>
                  </a:lnTo>
                  <a:lnTo>
                    <a:pt x="2390499" y="1369119"/>
                  </a:lnTo>
                  <a:lnTo>
                    <a:pt x="2391678" y="1364340"/>
                  </a:lnTo>
                  <a:lnTo>
                    <a:pt x="2391225" y="1355174"/>
                  </a:lnTo>
                  <a:lnTo>
                    <a:pt x="2380788" y="1290950"/>
                  </a:lnTo>
                  <a:lnTo>
                    <a:pt x="2406592" y="1287773"/>
                  </a:lnTo>
                  <a:lnTo>
                    <a:pt x="2432397" y="1284597"/>
                  </a:lnTo>
                  <a:lnTo>
                    <a:pt x="2475505" y="1256705"/>
                  </a:lnTo>
                  <a:lnTo>
                    <a:pt x="2476534" y="1253680"/>
                  </a:lnTo>
                  <a:lnTo>
                    <a:pt x="2476352" y="1248961"/>
                  </a:lnTo>
                  <a:lnTo>
                    <a:pt x="2475566" y="1241519"/>
                  </a:lnTo>
                  <a:lnTo>
                    <a:pt x="2474960" y="1238252"/>
                  </a:lnTo>
                  <a:lnTo>
                    <a:pt x="2470302" y="1213143"/>
                  </a:lnTo>
                  <a:lnTo>
                    <a:pt x="2469939" y="1206730"/>
                  </a:lnTo>
                  <a:lnTo>
                    <a:pt x="2494412" y="1181591"/>
                  </a:lnTo>
                  <a:lnTo>
                    <a:pt x="2531591" y="1114070"/>
                  </a:lnTo>
                  <a:lnTo>
                    <a:pt x="2540334" y="1103028"/>
                  </a:lnTo>
                  <a:lnTo>
                    <a:pt x="2558938" y="1085180"/>
                  </a:lnTo>
                  <a:lnTo>
                    <a:pt x="2564868" y="1081761"/>
                  </a:lnTo>
                  <a:lnTo>
                    <a:pt x="2567893" y="1079008"/>
                  </a:lnTo>
                  <a:lnTo>
                    <a:pt x="2569496" y="1075045"/>
                  </a:lnTo>
                  <a:lnTo>
                    <a:pt x="2572340" y="1044128"/>
                  </a:lnTo>
                  <a:lnTo>
                    <a:pt x="2571735" y="1039893"/>
                  </a:lnTo>
                  <a:lnTo>
                    <a:pt x="2540455" y="986530"/>
                  </a:lnTo>
                  <a:lnTo>
                    <a:pt x="2545840" y="968742"/>
                  </a:lnTo>
                  <a:lnTo>
                    <a:pt x="2547746" y="965868"/>
                  </a:lnTo>
                  <a:lnTo>
                    <a:pt x="2564595" y="962631"/>
                  </a:lnTo>
                  <a:lnTo>
                    <a:pt x="2570797" y="959636"/>
                  </a:lnTo>
                  <a:lnTo>
                    <a:pt x="2576272" y="953858"/>
                  </a:lnTo>
                  <a:lnTo>
                    <a:pt x="2586770" y="937341"/>
                  </a:lnTo>
                  <a:lnTo>
                    <a:pt x="2588918" y="932137"/>
                  </a:lnTo>
                  <a:lnTo>
                    <a:pt x="2604316" y="875930"/>
                  </a:lnTo>
                  <a:lnTo>
                    <a:pt x="2606433" y="871060"/>
                  </a:lnTo>
                  <a:lnTo>
                    <a:pt x="2608944" y="867702"/>
                  </a:lnTo>
                  <a:lnTo>
                    <a:pt x="2650419" y="835756"/>
                  </a:lnTo>
                  <a:lnTo>
                    <a:pt x="2658466" y="821447"/>
                  </a:lnTo>
                  <a:lnTo>
                    <a:pt x="2660644" y="819602"/>
                  </a:lnTo>
                  <a:lnTo>
                    <a:pt x="2689504" y="836422"/>
                  </a:lnTo>
                  <a:lnTo>
                    <a:pt x="2718364" y="853181"/>
                  </a:lnTo>
                  <a:lnTo>
                    <a:pt x="2720935" y="852395"/>
                  </a:lnTo>
                  <a:lnTo>
                    <a:pt x="2723930" y="847887"/>
                  </a:lnTo>
                  <a:lnTo>
                    <a:pt x="2727076" y="841686"/>
                  </a:lnTo>
                  <a:lnTo>
                    <a:pt x="2745650" y="806413"/>
                  </a:lnTo>
                  <a:lnTo>
                    <a:pt x="2747859" y="796399"/>
                  </a:lnTo>
                  <a:lnTo>
                    <a:pt x="2742535" y="747120"/>
                  </a:lnTo>
                  <a:lnTo>
                    <a:pt x="2742655" y="739436"/>
                  </a:lnTo>
                  <a:lnTo>
                    <a:pt x="2744622" y="716172"/>
                  </a:lnTo>
                  <a:lnTo>
                    <a:pt x="2745166" y="713238"/>
                  </a:lnTo>
                  <a:lnTo>
                    <a:pt x="2746195" y="711786"/>
                  </a:lnTo>
                  <a:lnTo>
                    <a:pt x="2747949" y="711151"/>
                  </a:lnTo>
                  <a:lnTo>
                    <a:pt x="2772786" y="702166"/>
                  </a:lnTo>
                  <a:lnTo>
                    <a:pt x="2777384" y="705191"/>
                  </a:lnTo>
                  <a:lnTo>
                    <a:pt x="2793780" y="720529"/>
                  </a:lnTo>
                  <a:lnTo>
                    <a:pt x="2799377" y="721950"/>
                  </a:lnTo>
                  <a:lnTo>
                    <a:pt x="2833379" y="719409"/>
                  </a:lnTo>
                  <a:lnTo>
                    <a:pt x="2878030" y="739980"/>
                  </a:lnTo>
                  <a:lnTo>
                    <a:pt x="2923226" y="758524"/>
                  </a:lnTo>
                  <a:lnTo>
                    <a:pt x="2927280" y="758252"/>
                  </a:lnTo>
                  <a:lnTo>
                    <a:pt x="2931213" y="755076"/>
                  </a:lnTo>
                  <a:lnTo>
                    <a:pt x="2954930" y="726518"/>
                  </a:lnTo>
                  <a:lnTo>
                    <a:pt x="2926373" y="710394"/>
                  </a:lnTo>
                  <a:lnTo>
                    <a:pt x="2945431" y="693756"/>
                  </a:lnTo>
                  <a:lnTo>
                    <a:pt x="2953962" y="680476"/>
                  </a:lnTo>
                  <a:lnTo>
                    <a:pt x="2964247" y="653371"/>
                  </a:lnTo>
                  <a:lnTo>
                    <a:pt x="2965609" y="648197"/>
                  </a:lnTo>
                  <a:lnTo>
                    <a:pt x="2966032" y="643357"/>
                  </a:lnTo>
                  <a:lnTo>
                    <a:pt x="2965246" y="620669"/>
                  </a:lnTo>
                  <a:lnTo>
                    <a:pt x="2964459" y="616312"/>
                  </a:lnTo>
                  <a:lnTo>
                    <a:pt x="2940409" y="587422"/>
                  </a:lnTo>
                  <a:lnTo>
                    <a:pt x="2966637" y="585577"/>
                  </a:lnTo>
                  <a:lnTo>
                    <a:pt x="2992835" y="583732"/>
                  </a:lnTo>
                  <a:lnTo>
                    <a:pt x="3002243" y="567547"/>
                  </a:lnTo>
                  <a:lnTo>
                    <a:pt x="3005026" y="566095"/>
                  </a:lnTo>
                  <a:lnTo>
                    <a:pt x="3034037" y="582491"/>
                  </a:lnTo>
                  <a:lnTo>
                    <a:pt x="3037939" y="583611"/>
                  </a:lnTo>
                  <a:lnTo>
                    <a:pt x="3040692" y="581765"/>
                  </a:lnTo>
                  <a:lnTo>
                    <a:pt x="3046471" y="570421"/>
                  </a:lnTo>
                  <a:lnTo>
                    <a:pt x="3034128" y="546099"/>
                  </a:lnTo>
                  <a:lnTo>
                    <a:pt x="3037093" y="537296"/>
                  </a:lnTo>
                  <a:lnTo>
                    <a:pt x="3038756" y="533333"/>
                  </a:lnTo>
                  <a:lnTo>
                    <a:pt x="3040632" y="530882"/>
                  </a:lnTo>
                  <a:lnTo>
                    <a:pt x="3062292" y="517300"/>
                  </a:lnTo>
                  <a:lnTo>
                    <a:pt x="3095024" y="522533"/>
                  </a:lnTo>
                  <a:lnTo>
                    <a:pt x="3097444" y="524681"/>
                  </a:lnTo>
                  <a:lnTo>
                    <a:pt x="3125941" y="576078"/>
                  </a:lnTo>
                  <a:lnTo>
                    <a:pt x="3133685" y="589963"/>
                  </a:lnTo>
                  <a:lnTo>
                    <a:pt x="3147541" y="604393"/>
                  </a:lnTo>
                  <a:lnTo>
                    <a:pt x="3148932" y="607600"/>
                  </a:lnTo>
                  <a:lnTo>
                    <a:pt x="3150354" y="614044"/>
                  </a:lnTo>
                  <a:lnTo>
                    <a:pt x="3151534" y="616675"/>
                  </a:lnTo>
                  <a:lnTo>
                    <a:pt x="3159278" y="629774"/>
                  </a:lnTo>
                  <a:lnTo>
                    <a:pt x="3167295" y="636097"/>
                  </a:lnTo>
                  <a:lnTo>
                    <a:pt x="3168747" y="638699"/>
                  </a:lnTo>
                  <a:lnTo>
                    <a:pt x="3171288" y="661901"/>
                  </a:lnTo>
                  <a:lnTo>
                    <a:pt x="3172528" y="666711"/>
                  </a:lnTo>
                  <a:lnTo>
                    <a:pt x="3174494" y="667437"/>
                  </a:lnTo>
                  <a:lnTo>
                    <a:pt x="3185990" y="663353"/>
                  </a:lnTo>
                  <a:lnTo>
                    <a:pt x="3188713" y="663172"/>
                  </a:lnTo>
                  <a:lnTo>
                    <a:pt x="3191345" y="663716"/>
                  </a:lnTo>
                  <a:lnTo>
                    <a:pt x="3217028" y="676180"/>
                  </a:lnTo>
                  <a:lnTo>
                    <a:pt x="3233908" y="673397"/>
                  </a:lnTo>
                  <a:lnTo>
                    <a:pt x="3239142" y="674879"/>
                  </a:lnTo>
                  <a:lnTo>
                    <a:pt x="3241804" y="677602"/>
                  </a:lnTo>
                  <a:lnTo>
                    <a:pt x="3249609" y="689914"/>
                  </a:lnTo>
                  <a:lnTo>
                    <a:pt x="3251848" y="690822"/>
                  </a:lnTo>
                  <a:lnTo>
                    <a:pt x="3280435" y="673639"/>
                  </a:lnTo>
                  <a:lnTo>
                    <a:pt x="3296529" y="671249"/>
                  </a:lnTo>
                  <a:lnTo>
                    <a:pt x="3305907" y="666046"/>
                  </a:lnTo>
                  <a:lnTo>
                    <a:pt x="3309234" y="655700"/>
                  </a:lnTo>
                  <a:lnTo>
                    <a:pt x="3311171" y="644507"/>
                  </a:lnTo>
                  <a:lnTo>
                    <a:pt x="3317765" y="640181"/>
                  </a:lnTo>
                  <a:lnTo>
                    <a:pt x="3325449" y="640302"/>
                  </a:lnTo>
                  <a:lnTo>
                    <a:pt x="3345778" y="650557"/>
                  </a:lnTo>
                  <a:lnTo>
                    <a:pt x="3349045" y="656002"/>
                  </a:lnTo>
                  <a:lnTo>
                    <a:pt x="3351375" y="658634"/>
                  </a:lnTo>
                  <a:lnTo>
                    <a:pt x="3366016" y="667800"/>
                  </a:lnTo>
                  <a:lnTo>
                    <a:pt x="3380991" y="672731"/>
                  </a:lnTo>
                  <a:lnTo>
                    <a:pt x="3399323" y="678600"/>
                  </a:lnTo>
                  <a:lnTo>
                    <a:pt x="3408459" y="685770"/>
                  </a:lnTo>
                  <a:lnTo>
                    <a:pt x="3416052" y="696872"/>
                  </a:lnTo>
                  <a:lnTo>
                    <a:pt x="3419198" y="704647"/>
                  </a:lnTo>
                  <a:lnTo>
                    <a:pt x="3421044" y="706825"/>
                  </a:lnTo>
                  <a:lnTo>
                    <a:pt x="3423645" y="706280"/>
                  </a:lnTo>
                  <a:lnTo>
                    <a:pt x="3425854" y="702892"/>
                  </a:lnTo>
                  <a:lnTo>
                    <a:pt x="3426973" y="698354"/>
                  </a:lnTo>
                  <a:lnTo>
                    <a:pt x="3428334" y="694089"/>
                  </a:lnTo>
                  <a:lnTo>
                    <a:pt x="3431299" y="691548"/>
                  </a:lnTo>
                  <a:lnTo>
                    <a:pt x="3433870" y="691669"/>
                  </a:lnTo>
                  <a:lnTo>
                    <a:pt x="3440314" y="687403"/>
                  </a:lnTo>
                  <a:lnTo>
                    <a:pt x="3443036" y="686829"/>
                  </a:lnTo>
                  <a:lnTo>
                    <a:pt x="3445033" y="685830"/>
                  </a:lnTo>
                  <a:lnTo>
                    <a:pt x="3446546" y="683289"/>
                  </a:lnTo>
                  <a:lnTo>
                    <a:pt x="3447726" y="678116"/>
                  </a:lnTo>
                  <a:lnTo>
                    <a:pt x="3446515" y="675938"/>
                  </a:lnTo>
                  <a:lnTo>
                    <a:pt x="3446576" y="674395"/>
                  </a:lnTo>
                  <a:lnTo>
                    <a:pt x="3447181" y="672973"/>
                  </a:lnTo>
                  <a:lnTo>
                    <a:pt x="3447604" y="671037"/>
                  </a:lnTo>
                  <a:lnTo>
                    <a:pt x="3447786" y="659149"/>
                  </a:lnTo>
                  <a:lnTo>
                    <a:pt x="3448270" y="653522"/>
                  </a:lnTo>
                  <a:lnTo>
                    <a:pt x="3449601" y="648409"/>
                  </a:lnTo>
                  <a:lnTo>
                    <a:pt x="3453504" y="641240"/>
                  </a:lnTo>
                  <a:lnTo>
                    <a:pt x="3472199" y="625358"/>
                  </a:lnTo>
                  <a:lnTo>
                    <a:pt x="3476918" y="622968"/>
                  </a:lnTo>
                  <a:lnTo>
                    <a:pt x="3481668" y="621970"/>
                  </a:lnTo>
                  <a:lnTo>
                    <a:pt x="3493889" y="625993"/>
                  </a:lnTo>
                  <a:lnTo>
                    <a:pt x="3496430" y="625479"/>
                  </a:lnTo>
                  <a:lnTo>
                    <a:pt x="3498851" y="623089"/>
                  </a:lnTo>
                  <a:lnTo>
                    <a:pt x="3500303" y="619519"/>
                  </a:lnTo>
                  <a:lnTo>
                    <a:pt x="3501543" y="615617"/>
                  </a:lnTo>
                  <a:lnTo>
                    <a:pt x="3503207" y="612259"/>
                  </a:lnTo>
                  <a:lnTo>
                    <a:pt x="3506383" y="607933"/>
                  </a:lnTo>
                  <a:lnTo>
                    <a:pt x="3507502" y="605331"/>
                  </a:lnTo>
                  <a:lnTo>
                    <a:pt x="3508047" y="601883"/>
                  </a:lnTo>
                  <a:lnTo>
                    <a:pt x="3509166" y="598676"/>
                  </a:lnTo>
                  <a:lnTo>
                    <a:pt x="3513401" y="594804"/>
                  </a:lnTo>
                  <a:lnTo>
                    <a:pt x="3514279" y="591506"/>
                  </a:lnTo>
                  <a:lnTo>
                    <a:pt x="3513916" y="589691"/>
                  </a:lnTo>
                  <a:lnTo>
                    <a:pt x="3513099" y="588390"/>
                  </a:lnTo>
                  <a:lnTo>
                    <a:pt x="3511193" y="586515"/>
                  </a:lnTo>
                  <a:lnTo>
                    <a:pt x="3510376" y="585154"/>
                  </a:lnTo>
                  <a:lnTo>
                    <a:pt x="3510255" y="584004"/>
                  </a:lnTo>
                  <a:lnTo>
                    <a:pt x="3510376" y="582945"/>
                  </a:lnTo>
                  <a:lnTo>
                    <a:pt x="3510316" y="581856"/>
                  </a:lnTo>
                  <a:lnTo>
                    <a:pt x="3508803" y="577742"/>
                  </a:lnTo>
                  <a:lnTo>
                    <a:pt x="3508713" y="576108"/>
                  </a:lnTo>
                  <a:lnTo>
                    <a:pt x="3509499" y="573628"/>
                  </a:lnTo>
                  <a:lnTo>
                    <a:pt x="3509711" y="571843"/>
                  </a:lnTo>
                  <a:lnTo>
                    <a:pt x="3509862" y="563251"/>
                  </a:lnTo>
                  <a:lnTo>
                    <a:pt x="3510074" y="562193"/>
                  </a:lnTo>
                  <a:lnTo>
                    <a:pt x="3510467" y="561285"/>
                  </a:lnTo>
                  <a:lnTo>
                    <a:pt x="3510830" y="560075"/>
                  </a:lnTo>
                  <a:lnTo>
                    <a:pt x="3510951" y="558078"/>
                  </a:lnTo>
                  <a:lnTo>
                    <a:pt x="3510679" y="556263"/>
                  </a:lnTo>
                  <a:lnTo>
                    <a:pt x="3509348" y="551726"/>
                  </a:lnTo>
                  <a:lnTo>
                    <a:pt x="3508803" y="550274"/>
                  </a:lnTo>
                  <a:lnTo>
                    <a:pt x="3507230" y="543467"/>
                  </a:lnTo>
                  <a:lnTo>
                    <a:pt x="3507533" y="536449"/>
                  </a:lnTo>
                  <a:lnTo>
                    <a:pt x="3511284" y="515394"/>
                  </a:lnTo>
                  <a:lnTo>
                    <a:pt x="3512494" y="511733"/>
                  </a:lnTo>
                  <a:lnTo>
                    <a:pt x="3521630" y="496517"/>
                  </a:lnTo>
                  <a:lnTo>
                    <a:pt x="3521176" y="494339"/>
                  </a:lnTo>
                  <a:lnTo>
                    <a:pt x="3518030" y="484144"/>
                  </a:lnTo>
                  <a:lnTo>
                    <a:pt x="3520480" y="478033"/>
                  </a:lnTo>
                  <a:lnTo>
                    <a:pt x="3521660" y="476430"/>
                  </a:lnTo>
                  <a:lnTo>
                    <a:pt x="3522598" y="474282"/>
                  </a:lnTo>
                  <a:lnTo>
                    <a:pt x="3522507" y="467959"/>
                  </a:lnTo>
                  <a:lnTo>
                    <a:pt x="3523142" y="464844"/>
                  </a:lnTo>
                  <a:lnTo>
                    <a:pt x="3524564" y="461939"/>
                  </a:lnTo>
                  <a:lnTo>
                    <a:pt x="3524080" y="460003"/>
                  </a:lnTo>
                  <a:lnTo>
                    <a:pt x="3522991" y="458491"/>
                  </a:lnTo>
                  <a:lnTo>
                    <a:pt x="3522598" y="456887"/>
                  </a:lnTo>
                  <a:lnTo>
                    <a:pt x="3523959" y="453923"/>
                  </a:lnTo>
                  <a:lnTo>
                    <a:pt x="3530009" y="449536"/>
                  </a:lnTo>
                  <a:lnTo>
                    <a:pt x="3532611" y="445089"/>
                  </a:lnTo>
                  <a:lnTo>
                    <a:pt x="3534396" y="439311"/>
                  </a:lnTo>
                  <a:lnTo>
                    <a:pt x="3534517" y="433019"/>
                  </a:lnTo>
                  <a:lnTo>
                    <a:pt x="3532097" y="426999"/>
                  </a:lnTo>
                  <a:lnTo>
                    <a:pt x="3530403" y="424549"/>
                  </a:lnTo>
                  <a:lnTo>
                    <a:pt x="3530130" y="421917"/>
                  </a:lnTo>
                  <a:lnTo>
                    <a:pt x="3530856" y="419073"/>
                  </a:lnTo>
                  <a:lnTo>
                    <a:pt x="3532127" y="415957"/>
                  </a:lnTo>
                  <a:lnTo>
                    <a:pt x="3534517" y="412085"/>
                  </a:lnTo>
                  <a:lnTo>
                    <a:pt x="3537239" y="410119"/>
                  </a:lnTo>
                  <a:lnTo>
                    <a:pt x="3552274" y="406216"/>
                  </a:lnTo>
                  <a:lnTo>
                    <a:pt x="3553969" y="405097"/>
                  </a:lnTo>
                  <a:lnTo>
                    <a:pt x="3555239" y="403100"/>
                  </a:lnTo>
                  <a:lnTo>
                    <a:pt x="3556449" y="400680"/>
                  </a:lnTo>
                  <a:lnTo>
                    <a:pt x="3560987" y="393632"/>
                  </a:lnTo>
                  <a:lnTo>
                    <a:pt x="3565888" y="383830"/>
                  </a:lnTo>
                  <a:lnTo>
                    <a:pt x="3576143" y="372909"/>
                  </a:lnTo>
                  <a:lnTo>
                    <a:pt x="3579077" y="367434"/>
                  </a:lnTo>
                  <a:lnTo>
                    <a:pt x="3577867" y="362533"/>
                  </a:lnTo>
                  <a:lnTo>
                    <a:pt x="3578896" y="360506"/>
                  </a:lnTo>
                  <a:lnTo>
                    <a:pt x="3582435" y="355757"/>
                  </a:lnTo>
                  <a:lnTo>
                    <a:pt x="3584401" y="350675"/>
                  </a:lnTo>
                  <a:lnTo>
                    <a:pt x="3587759" y="348799"/>
                  </a:lnTo>
                  <a:lnTo>
                    <a:pt x="3605184" y="346167"/>
                  </a:lnTo>
                  <a:lnTo>
                    <a:pt x="3611719" y="347952"/>
                  </a:lnTo>
                  <a:lnTo>
                    <a:pt x="3621036" y="345350"/>
                  </a:lnTo>
                  <a:lnTo>
                    <a:pt x="3624152" y="346349"/>
                  </a:lnTo>
                  <a:lnTo>
                    <a:pt x="3629748" y="350160"/>
                  </a:lnTo>
                  <a:lnTo>
                    <a:pt x="3632743" y="349313"/>
                  </a:lnTo>
                  <a:lnTo>
                    <a:pt x="3635405" y="349525"/>
                  </a:lnTo>
                  <a:lnTo>
                    <a:pt x="3642817" y="354789"/>
                  </a:lnTo>
                  <a:lnTo>
                    <a:pt x="3644723" y="355122"/>
                  </a:lnTo>
                  <a:lnTo>
                    <a:pt x="3666020" y="347649"/>
                  </a:lnTo>
                  <a:lnTo>
                    <a:pt x="3670104" y="342476"/>
                  </a:lnTo>
                  <a:lnTo>
                    <a:pt x="3669378" y="341932"/>
                  </a:lnTo>
                  <a:lnTo>
                    <a:pt x="3667926" y="340117"/>
                  </a:lnTo>
                  <a:lnTo>
                    <a:pt x="3667200" y="339512"/>
                  </a:lnTo>
                  <a:lnTo>
                    <a:pt x="3668319" y="337092"/>
                  </a:lnTo>
                  <a:lnTo>
                    <a:pt x="3669801" y="336366"/>
                  </a:lnTo>
                  <a:lnTo>
                    <a:pt x="3671405" y="336245"/>
                  </a:lnTo>
                  <a:lnTo>
                    <a:pt x="3673008" y="335579"/>
                  </a:lnTo>
                  <a:lnTo>
                    <a:pt x="3679482" y="327744"/>
                  </a:lnTo>
                  <a:lnTo>
                    <a:pt x="3691370" y="322238"/>
                  </a:lnTo>
                  <a:lnTo>
                    <a:pt x="3692127" y="317549"/>
                  </a:lnTo>
                  <a:lnTo>
                    <a:pt x="3696301" y="311802"/>
                  </a:lnTo>
                  <a:lnTo>
                    <a:pt x="3701595" y="310107"/>
                  </a:lnTo>
                  <a:lnTo>
                    <a:pt x="3714392" y="312649"/>
                  </a:lnTo>
                  <a:lnTo>
                    <a:pt x="3721894" y="308202"/>
                  </a:lnTo>
                  <a:lnTo>
                    <a:pt x="3724950" y="309472"/>
                  </a:lnTo>
                  <a:lnTo>
                    <a:pt x="3727945" y="314191"/>
                  </a:lnTo>
                  <a:lnTo>
                    <a:pt x="3733359" y="326020"/>
                  </a:lnTo>
                  <a:lnTo>
                    <a:pt x="3752116" y="357148"/>
                  </a:lnTo>
                  <a:lnTo>
                    <a:pt x="3754324" y="359387"/>
                  </a:lnTo>
                  <a:lnTo>
                    <a:pt x="3773655" y="367404"/>
                  </a:lnTo>
                  <a:lnTo>
                    <a:pt x="3773503" y="376479"/>
                  </a:lnTo>
                  <a:lnTo>
                    <a:pt x="3776014" y="381864"/>
                  </a:lnTo>
                  <a:lnTo>
                    <a:pt x="3779856" y="384768"/>
                  </a:lnTo>
                  <a:lnTo>
                    <a:pt x="3783698" y="386311"/>
                  </a:lnTo>
                  <a:lnTo>
                    <a:pt x="3816400" y="401225"/>
                  </a:lnTo>
                  <a:lnTo>
                    <a:pt x="3849132" y="416108"/>
                  </a:lnTo>
                  <a:lnTo>
                    <a:pt x="3850735" y="418861"/>
                  </a:lnTo>
                  <a:lnTo>
                    <a:pt x="3856362" y="439584"/>
                  </a:lnTo>
                  <a:lnTo>
                    <a:pt x="3870580" y="471741"/>
                  </a:lnTo>
                  <a:lnTo>
                    <a:pt x="3858963" y="494792"/>
                  </a:lnTo>
                  <a:lnTo>
                    <a:pt x="3822299" y="536721"/>
                  </a:lnTo>
                  <a:lnTo>
                    <a:pt x="3821028" y="540139"/>
                  </a:lnTo>
                  <a:lnTo>
                    <a:pt x="3820212" y="545948"/>
                  </a:lnTo>
                  <a:lnTo>
                    <a:pt x="3818487" y="565278"/>
                  </a:lnTo>
                  <a:lnTo>
                    <a:pt x="3818548" y="569453"/>
                  </a:lnTo>
                  <a:lnTo>
                    <a:pt x="3819758" y="572176"/>
                  </a:lnTo>
                  <a:lnTo>
                    <a:pt x="3831283" y="585910"/>
                  </a:lnTo>
                  <a:lnTo>
                    <a:pt x="3833250" y="584095"/>
                  </a:lnTo>
                  <a:lnTo>
                    <a:pt x="3836698" y="583399"/>
                  </a:lnTo>
                  <a:lnTo>
                    <a:pt x="3842386" y="583974"/>
                  </a:lnTo>
                  <a:lnTo>
                    <a:pt x="3847982" y="580828"/>
                  </a:lnTo>
                  <a:lnTo>
                    <a:pt x="3853276" y="574989"/>
                  </a:lnTo>
                  <a:lnTo>
                    <a:pt x="3858117" y="567456"/>
                  </a:lnTo>
                  <a:lnTo>
                    <a:pt x="3860083" y="563130"/>
                  </a:lnTo>
                  <a:lnTo>
                    <a:pt x="3861142" y="559047"/>
                  </a:lnTo>
                  <a:lnTo>
                    <a:pt x="3862927" y="549699"/>
                  </a:lnTo>
                  <a:lnTo>
                    <a:pt x="3863683" y="547279"/>
                  </a:lnTo>
                  <a:lnTo>
                    <a:pt x="3865498" y="543165"/>
                  </a:lnTo>
                  <a:lnTo>
                    <a:pt x="3866284" y="540775"/>
                  </a:lnTo>
                  <a:lnTo>
                    <a:pt x="3866587" y="538445"/>
                  </a:lnTo>
                  <a:lnTo>
                    <a:pt x="3866587" y="536267"/>
                  </a:lnTo>
                  <a:lnTo>
                    <a:pt x="3866799" y="534119"/>
                  </a:lnTo>
                  <a:lnTo>
                    <a:pt x="3867646" y="531881"/>
                  </a:lnTo>
                  <a:lnTo>
                    <a:pt x="3868735" y="524651"/>
                  </a:lnTo>
                  <a:lnTo>
                    <a:pt x="3869521" y="520809"/>
                  </a:lnTo>
                  <a:lnTo>
                    <a:pt x="3873787" y="514456"/>
                  </a:lnTo>
                  <a:lnTo>
                    <a:pt x="3879595" y="511794"/>
                  </a:lnTo>
                  <a:lnTo>
                    <a:pt x="3896657" y="510916"/>
                  </a:lnTo>
                  <a:lnTo>
                    <a:pt x="3902465" y="508345"/>
                  </a:lnTo>
                  <a:lnTo>
                    <a:pt x="3909151" y="501387"/>
                  </a:lnTo>
                  <a:lnTo>
                    <a:pt x="3911450" y="499905"/>
                  </a:lnTo>
                  <a:lnTo>
                    <a:pt x="3926485" y="499633"/>
                  </a:lnTo>
                  <a:lnTo>
                    <a:pt x="3931234" y="497697"/>
                  </a:lnTo>
                  <a:lnTo>
                    <a:pt x="3933140" y="495609"/>
                  </a:lnTo>
                  <a:lnTo>
                    <a:pt x="3936619" y="490073"/>
                  </a:lnTo>
                  <a:lnTo>
                    <a:pt x="3948841" y="477610"/>
                  </a:lnTo>
                  <a:lnTo>
                    <a:pt x="3950232" y="474706"/>
                  </a:lnTo>
                  <a:lnTo>
                    <a:pt x="3950595" y="471680"/>
                  </a:lnTo>
                  <a:lnTo>
                    <a:pt x="3950595" y="468413"/>
                  </a:lnTo>
                  <a:lnTo>
                    <a:pt x="3951019" y="464662"/>
                  </a:lnTo>
                  <a:lnTo>
                    <a:pt x="3951987" y="460699"/>
                  </a:lnTo>
                  <a:lnTo>
                    <a:pt x="3952894" y="459187"/>
                  </a:lnTo>
                  <a:lnTo>
                    <a:pt x="3955738" y="457250"/>
                  </a:lnTo>
                  <a:lnTo>
                    <a:pt x="3957583" y="454861"/>
                  </a:lnTo>
                  <a:lnTo>
                    <a:pt x="3959005" y="451533"/>
                  </a:lnTo>
                  <a:lnTo>
                    <a:pt x="3959701" y="446904"/>
                  </a:lnTo>
                  <a:lnTo>
                    <a:pt x="3959398" y="440612"/>
                  </a:lnTo>
                  <a:lnTo>
                    <a:pt x="3958551" y="435802"/>
                  </a:lnTo>
                  <a:lnTo>
                    <a:pt x="3957402" y="433564"/>
                  </a:lnTo>
                  <a:lnTo>
                    <a:pt x="3951351" y="430962"/>
                  </a:lnTo>
                  <a:lnTo>
                    <a:pt x="3949173" y="428844"/>
                  </a:lnTo>
                  <a:lnTo>
                    <a:pt x="3948417" y="426696"/>
                  </a:lnTo>
                  <a:lnTo>
                    <a:pt x="3950656" y="425275"/>
                  </a:lnTo>
                  <a:lnTo>
                    <a:pt x="3955163" y="424881"/>
                  </a:lnTo>
                  <a:lnTo>
                    <a:pt x="3959640" y="425940"/>
                  </a:lnTo>
                  <a:lnTo>
                    <a:pt x="3966054" y="430478"/>
                  </a:lnTo>
                  <a:lnTo>
                    <a:pt x="3984809" y="450656"/>
                  </a:lnTo>
                  <a:lnTo>
                    <a:pt x="3987925" y="452713"/>
                  </a:lnTo>
                  <a:lnTo>
                    <a:pt x="4012429" y="456645"/>
                  </a:lnTo>
                  <a:lnTo>
                    <a:pt x="4022261" y="455072"/>
                  </a:lnTo>
                  <a:lnTo>
                    <a:pt x="4026799" y="450625"/>
                  </a:lnTo>
                  <a:lnTo>
                    <a:pt x="4029703" y="441550"/>
                  </a:lnTo>
                  <a:lnTo>
                    <a:pt x="4030096" y="437194"/>
                  </a:lnTo>
                  <a:lnTo>
                    <a:pt x="4029763" y="416653"/>
                  </a:lnTo>
                  <a:lnTo>
                    <a:pt x="4027101" y="412176"/>
                  </a:lnTo>
                  <a:lnTo>
                    <a:pt x="4025377" y="408606"/>
                  </a:lnTo>
                  <a:lnTo>
                    <a:pt x="4025074" y="406428"/>
                  </a:lnTo>
                  <a:lnTo>
                    <a:pt x="4025195" y="403887"/>
                  </a:lnTo>
                  <a:lnTo>
                    <a:pt x="4024651" y="399198"/>
                  </a:lnTo>
                  <a:lnTo>
                    <a:pt x="4023713" y="396143"/>
                  </a:lnTo>
                  <a:lnTo>
                    <a:pt x="4021293" y="391514"/>
                  </a:lnTo>
                  <a:lnTo>
                    <a:pt x="4020990" y="380896"/>
                  </a:lnTo>
                  <a:lnTo>
                    <a:pt x="4015817" y="384950"/>
                  </a:lnTo>
                  <a:lnTo>
                    <a:pt x="4015061" y="384950"/>
                  </a:lnTo>
                  <a:lnTo>
                    <a:pt x="4011794" y="388580"/>
                  </a:lnTo>
                  <a:lnTo>
                    <a:pt x="4010070" y="389911"/>
                  </a:lnTo>
                  <a:lnTo>
                    <a:pt x="4008496" y="390425"/>
                  </a:lnTo>
                  <a:lnTo>
                    <a:pt x="4007105" y="389306"/>
                  </a:lnTo>
                  <a:lnTo>
                    <a:pt x="4006832" y="386886"/>
                  </a:lnTo>
                  <a:lnTo>
                    <a:pt x="4007468" y="384375"/>
                  </a:lnTo>
                  <a:lnTo>
                    <a:pt x="4008889" y="383104"/>
                  </a:lnTo>
                  <a:lnTo>
                    <a:pt x="4006681" y="380170"/>
                  </a:lnTo>
                  <a:lnTo>
                    <a:pt x="3984961" y="377598"/>
                  </a:lnTo>
                  <a:lnTo>
                    <a:pt x="3981724" y="379716"/>
                  </a:lnTo>
                  <a:lnTo>
                    <a:pt x="3982662" y="384950"/>
                  </a:lnTo>
                  <a:lnTo>
                    <a:pt x="3981845" y="387370"/>
                  </a:lnTo>
                  <a:lnTo>
                    <a:pt x="3982178" y="389608"/>
                  </a:lnTo>
                  <a:lnTo>
                    <a:pt x="3982934" y="392059"/>
                  </a:lnTo>
                  <a:lnTo>
                    <a:pt x="3983357" y="395084"/>
                  </a:lnTo>
                  <a:lnTo>
                    <a:pt x="3983357" y="396657"/>
                  </a:lnTo>
                  <a:lnTo>
                    <a:pt x="3983176" y="398079"/>
                  </a:lnTo>
                  <a:lnTo>
                    <a:pt x="3982874" y="399107"/>
                  </a:lnTo>
                  <a:lnTo>
                    <a:pt x="3981391" y="400287"/>
                  </a:lnTo>
                  <a:lnTo>
                    <a:pt x="3981391" y="402042"/>
                  </a:lnTo>
                  <a:lnTo>
                    <a:pt x="3981905" y="405188"/>
                  </a:lnTo>
                  <a:lnTo>
                    <a:pt x="3981512" y="412146"/>
                  </a:lnTo>
                  <a:lnTo>
                    <a:pt x="3980998" y="414959"/>
                  </a:lnTo>
                  <a:lnTo>
                    <a:pt x="3979576" y="416108"/>
                  </a:lnTo>
                  <a:lnTo>
                    <a:pt x="3972618" y="417863"/>
                  </a:lnTo>
                  <a:lnTo>
                    <a:pt x="3970319" y="416108"/>
                  </a:lnTo>
                  <a:lnTo>
                    <a:pt x="3975462" y="414445"/>
                  </a:lnTo>
                  <a:lnTo>
                    <a:pt x="3977640" y="408576"/>
                  </a:lnTo>
                  <a:lnTo>
                    <a:pt x="3978003" y="399410"/>
                  </a:lnTo>
                  <a:lnTo>
                    <a:pt x="3977882" y="387672"/>
                  </a:lnTo>
                  <a:lnTo>
                    <a:pt x="3977761" y="387279"/>
                  </a:lnTo>
                  <a:lnTo>
                    <a:pt x="3977125" y="381259"/>
                  </a:lnTo>
                  <a:lnTo>
                    <a:pt x="3977035" y="378899"/>
                  </a:lnTo>
                  <a:lnTo>
                    <a:pt x="3977035" y="376419"/>
                  </a:lnTo>
                  <a:lnTo>
                    <a:pt x="3976914" y="374059"/>
                  </a:lnTo>
                  <a:lnTo>
                    <a:pt x="3976520" y="372093"/>
                  </a:lnTo>
                  <a:lnTo>
                    <a:pt x="3973828" y="369673"/>
                  </a:lnTo>
                  <a:lnTo>
                    <a:pt x="3966568" y="372183"/>
                  </a:lnTo>
                  <a:lnTo>
                    <a:pt x="3963482" y="370247"/>
                  </a:lnTo>
                  <a:lnTo>
                    <a:pt x="3968444" y="366526"/>
                  </a:lnTo>
                  <a:lnTo>
                    <a:pt x="3969018" y="364409"/>
                  </a:lnTo>
                  <a:lnTo>
                    <a:pt x="3966901" y="360083"/>
                  </a:lnTo>
                  <a:lnTo>
                    <a:pt x="3965540" y="359206"/>
                  </a:lnTo>
                  <a:lnTo>
                    <a:pt x="3960669" y="361081"/>
                  </a:lnTo>
                  <a:lnTo>
                    <a:pt x="3953045" y="361081"/>
                  </a:lnTo>
                  <a:lnTo>
                    <a:pt x="3953257" y="363985"/>
                  </a:lnTo>
                  <a:lnTo>
                    <a:pt x="3953318" y="369915"/>
                  </a:lnTo>
                  <a:lnTo>
                    <a:pt x="3953106" y="375995"/>
                  </a:lnTo>
                  <a:lnTo>
                    <a:pt x="3952410" y="379413"/>
                  </a:lnTo>
                  <a:lnTo>
                    <a:pt x="3953983" y="382045"/>
                  </a:lnTo>
                  <a:lnTo>
                    <a:pt x="3956010" y="384133"/>
                  </a:lnTo>
                  <a:lnTo>
                    <a:pt x="3957462" y="386613"/>
                  </a:lnTo>
                  <a:lnTo>
                    <a:pt x="3957220" y="390395"/>
                  </a:lnTo>
                  <a:lnTo>
                    <a:pt x="3955435" y="392452"/>
                  </a:lnTo>
                  <a:lnTo>
                    <a:pt x="3949657" y="393117"/>
                  </a:lnTo>
                  <a:lnTo>
                    <a:pt x="3947509" y="394176"/>
                  </a:lnTo>
                  <a:lnTo>
                    <a:pt x="3948689" y="397413"/>
                  </a:lnTo>
                  <a:lnTo>
                    <a:pt x="3952682" y="405944"/>
                  </a:lnTo>
                  <a:lnTo>
                    <a:pt x="3954558" y="408606"/>
                  </a:lnTo>
                  <a:lnTo>
                    <a:pt x="3955314" y="410270"/>
                  </a:lnTo>
                  <a:lnTo>
                    <a:pt x="3955133" y="412388"/>
                  </a:lnTo>
                  <a:lnTo>
                    <a:pt x="3954014" y="412751"/>
                  </a:lnTo>
                  <a:lnTo>
                    <a:pt x="3947903" y="407457"/>
                  </a:lnTo>
                  <a:lnTo>
                    <a:pt x="3946602" y="404794"/>
                  </a:lnTo>
                  <a:lnTo>
                    <a:pt x="3944515" y="398805"/>
                  </a:lnTo>
                  <a:lnTo>
                    <a:pt x="3943547" y="398472"/>
                  </a:lnTo>
                  <a:lnTo>
                    <a:pt x="3939251" y="403131"/>
                  </a:lnTo>
                  <a:lnTo>
                    <a:pt x="3934138" y="405339"/>
                  </a:lnTo>
                  <a:lnTo>
                    <a:pt x="3931567" y="407729"/>
                  </a:lnTo>
                  <a:lnTo>
                    <a:pt x="3930266" y="412388"/>
                  </a:lnTo>
                  <a:lnTo>
                    <a:pt x="3929994" y="407578"/>
                  </a:lnTo>
                  <a:lnTo>
                    <a:pt x="3931839" y="405036"/>
                  </a:lnTo>
                  <a:lnTo>
                    <a:pt x="3936468" y="402284"/>
                  </a:lnTo>
                  <a:lnTo>
                    <a:pt x="3938283" y="399107"/>
                  </a:lnTo>
                  <a:lnTo>
                    <a:pt x="3940733" y="392724"/>
                  </a:lnTo>
                  <a:lnTo>
                    <a:pt x="3942669" y="390365"/>
                  </a:lnTo>
                  <a:lnTo>
                    <a:pt x="3939432" y="388852"/>
                  </a:lnTo>
                  <a:lnTo>
                    <a:pt x="3935651" y="390970"/>
                  </a:lnTo>
                  <a:lnTo>
                    <a:pt x="3927150" y="399137"/>
                  </a:lnTo>
                  <a:lnTo>
                    <a:pt x="3926455" y="399440"/>
                  </a:lnTo>
                  <a:lnTo>
                    <a:pt x="3918347" y="397383"/>
                  </a:lnTo>
                  <a:lnTo>
                    <a:pt x="3907759" y="398139"/>
                  </a:lnTo>
                  <a:lnTo>
                    <a:pt x="3904190" y="399652"/>
                  </a:lnTo>
                  <a:lnTo>
                    <a:pt x="3892845" y="410482"/>
                  </a:lnTo>
                  <a:lnTo>
                    <a:pt x="3889881" y="415776"/>
                  </a:lnTo>
                  <a:lnTo>
                    <a:pt x="3888247" y="417530"/>
                  </a:lnTo>
                  <a:lnTo>
                    <a:pt x="3884798" y="419497"/>
                  </a:lnTo>
                  <a:lnTo>
                    <a:pt x="3886674" y="415231"/>
                  </a:lnTo>
                  <a:lnTo>
                    <a:pt x="3889457" y="410391"/>
                  </a:lnTo>
                  <a:lnTo>
                    <a:pt x="3890425" y="406912"/>
                  </a:lnTo>
                  <a:lnTo>
                    <a:pt x="3886856" y="406791"/>
                  </a:lnTo>
                  <a:lnTo>
                    <a:pt x="3888882" y="405672"/>
                  </a:lnTo>
                  <a:lnTo>
                    <a:pt x="3893148" y="404734"/>
                  </a:lnTo>
                  <a:lnTo>
                    <a:pt x="3895084" y="403131"/>
                  </a:lnTo>
                  <a:lnTo>
                    <a:pt x="3896415" y="400317"/>
                  </a:lnTo>
                  <a:lnTo>
                    <a:pt x="3897383" y="397141"/>
                  </a:lnTo>
                  <a:lnTo>
                    <a:pt x="3898623" y="394690"/>
                  </a:lnTo>
                  <a:lnTo>
                    <a:pt x="3900680" y="394176"/>
                  </a:lnTo>
                  <a:lnTo>
                    <a:pt x="3900680" y="392180"/>
                  </a:lnTo>
                  <a:lnTo>
                    <a:pt x="3901104" y="389911"/>
                  </a:lnTo>
                  <a:lnTo>
                    <a:pt x="3906156" y="384193"/>
                  </a:lnTo>
                  <a:lnTo>
                    <a:pt x="3909937" y="381622"/>
                  </a:lnTo>
                  <a:lnTo>
                    <a:pt x="3911783" y="374664"/>
                  </a:lnTo>
                  <a:lnTo>
                    <a:pt x="3913779" y="372062"/>
                  </a:lnTo>
                  <a:lnTo>
                    <a:pt x="3910330" y="364742"/>
                  </a:lnTo>
                  <a:lnTo>
                    <a:pt x="3910845" y="361626"/>
                  </a:lnTo>
                  <a:lnTo>
                    <a:pt x="3910028" y="359387"/>
                  </a:lnTo>
                  <a:lnTo>
                    <a:pt x="3909393" y="357058"/>
                  </a:lnTo>
                  <a:lnTo>
                    <a:pt x="3910361" y="353549"/>
                  </a:lnTo>
                  <a:lnTo>
                    <a:pt x="3907668" y="351885"/>
                  </a:lnTo>
                  <a:lnTo>
                    <a:pt x="3902919" y="355182"/>
                  </a:lnTo>
                  <a:lnTo>
                    <a:pt x="3899168" y="353639"/>
                  </a:lnTo>
                  <a:lnTo>
                    <a:pt x="3896596" y="355182"/>
                  </a:lnTo>
                  <a:lnTo>
                    <a:pt x="3895205" y="354426"/>
                  </a:lnTo>
                  <a:lnTo>
                    <a:pt x="3893904" y="353004"/>
                  </a:lnTo>
                  <a:lnTo>
                    <a:pt x="3892513" y="352036"/>
                  </a:lnTo>
                  <a:lnTo>
                    <a:pt x="3891090" y="351582"/>
                  </a:lnTo>
                  <a:lnTo>
                    <a:pt x="3889638" y="351703"/>
                  </a:lnTo>
                  <a:lnTo>
                    <a:pt x="3887642" y="353034"/>
                  </a:lnTo>
                  <a:lnTo>
                    <a:pt x="3883225" y="358812"/>
                  </a:lnTo>
                  <a:lnTo>
                    <a:pt x="3879625" y="365649"/>
                  </a:lnTo>
                  <a:lnTo>
                    <a:pt x="3877357" y="367101"/>
                  </a:lnTo>
                  <a:lnTo>
                    <a:pt x="3872365" y="366345"/>
                  </a:lnTo>
                  <a:lnTo>
                    <a:pt x="3875027" y="364590"/>
                  </a:lnTo>
                  <a:lnTo>
                    <a:pt x="3875814" y="363683"/>
                  </a:lnTo>
                  <a:lnTo>
                    <a:pt x="3876842" y="361989"/>
                  </a:lnTo>
                  <a:lnTo>
                    <a:pt x="3877235" y="360990"/>
                  </a:lnTo>
                  <a:lnTo>
                    <a:pt x="3877508" y="359932"/>
                  </a:lnTo>
                  <a:lnTo>
                    <a:pt x="3878173" y="358116"/>
                  </a:lnTo>
                  <a:lnTo>
                    <a:pt x="3880049" y="355303"/>
                  </a:lnTo>
                  <a:lnTo>
                    <a:pt x="3884707" y="352641"/>
                  </a:lnTo>
                  <a:lnTo>
                    <a:pt x="3889034" y="348708"/>
                  </a:lnTo>
                  <a:lnTo>
                    <a:pt x="3893662" y="345895"/>
                  </a:lnTo>
                  <a:lnTo>
                    <a:pt x="3902526" y="337757"/>
                  </a:lnTo>
                  <a:lnTo>
                    <a:pt x="3904764" y="336789"/>
                  </a:lnTo>
                  <a:lnTo>
                    <a:pt x="3874936" y="327230"/>
                  </a:lnTo>
                  <a:lnTo>
                    <a:pt x="3870308" y="324023"/>
                  </a:lnTo>
                  <a:lnTo>
                    <a:pt x="3851673" y="326050"/>
                  </a:lnTo>
                  <a:lnTo>
                    <a:pt x="3848860" y="324023"/>
                  </a:lnTo>
                  <a:lnTo>
                    <a:pt x="3854244" y="319637"/>
                  </a:lnTo>
                  <a:lnTo>
                    <a:pt x="3855121" y="318487"/>
                  </a:lnTo>
                  <a:lnTo>
                    <a:pt x="3854184" y="316793"/>
                  </a:lnTo>
                  <a:lnTo>
                    <a:pt x="3852036" y="316309"/>
                  </a:lnTo>
                  <a:lnTo>
                    <a:pt x="3848255" y="316612"/>
                  </a:lnTo>
                  <a:lnTo>
                    <a:pt x="3848769" y="315643"/>
                  </a:lnTo>
                  <a:lnTo>
                    <a:pt x="3849646" y="312921"/>
                  </a:lnTo>
                  <a:lnTo>
                    <a:pt x="3835095" y="313405"/>
                  </a:lnTo>
                  <a:lnTo>
                    <a:pt x="3828137" y="308504"/>
                  </a:lnTo>
                  <a:lnTo>
                    <a:pt x="3808867" y="305328"/>
                  </a:lnTo>
                  <a:lnTo>
                    <a:pt x="3811529" y="303150"/>
                  </a:lnTo>
                  <a:lnTo>
                    <a:pt x="3820665" y="303452"/>
                  </a:lnTo>
                  <a:lnTo>
                    <a:pt x="3820665" y="301788"/>
                  </a:lnTo>
                  <a:lnTo>
                    <a:pt x="3819062" y="301546"/>
                  </a:lnTo>
                  <a:lnTo>
                    <a:pt x="3814252" y="298370"/>
                  </a:lnTo>
                  <a:lnTo>
                    <a:pt x="3813012" y="298309"/>
                  </a:lnTo>
                  <a:lnTo>
                    <a:pt x="3808837" y="301788"/>
                  </a:lnTo>
                  <a:lnTo>
                    <a:pt x="3802000" y="301395"/>
                  </a:lnTo>
                  <a:lnTo>
                    <a:pt x="3798430" y="299459"/>
                  </a:lnTo>
                  <a:lnTo>
                    <a:pt x="3796524" y="295859"/>
                  </a:lnTo>
                  <a:lnTo>
                    <a:pt x="3799852" y="294891"/>
                  </a:lnTo>
                  <a:lnTo>
                    <a:pt x="3804541" y="292108"/>
                  </a:lnTo>
                  <a:lnTo>
                    <a:pt x="3808807" y="287963"/>
                  </a:lnTo>
                  <a:lnTo>
                    <a:pt x="3810924" y="283002"/>
                  </a:lnTo>
                  <a:lnTo>
                    <a:pt x="3795133" y="284696"/>
                  </a:lnTo>
                  <a:lnTo>
                    <a:pt x="3797130" y="280431"/>
                  </a:lnTo>
                  <a:lnTo>
                    <a:pt x="3800851" y="278948"/>
                  </a:lnTo>
                  <a:lnTo>
                    <a:pt x="3829680" y="287389"/>
                  </a:lnTo>
                  <a:lnTo>
                    <a:pt x="3858510" y="295829"/>
                  </a:lnTo>
                  <a:lnTo>
                    <a:pt x="3857874" y="295829"/>
                  </a:lnTo>
                  <a:lnTo>
                    <a:pt x="3905097" y="302484"/>
                  </a:lnTo>
                  <a:lnTo>
                    <a:pt x="3952319" y="309139"/>
                  </a:lnTo>
                  <a:lnTo>
                    <a:pt x="3949718" y="308625"/>
                  </a:lnTo>
                  <a:lnTo>
                    <a:pt x="3948205" y="307294"/>
                  </a:lnTo>
                  <a:lnTo>
                    <a:pt x="3948357" y="305449"/>
                  </a:lnTo>
                  <a:lnTo>
                    <a:pt x="3950898" y="303392"/>
                  </a:lnTo>
                  <a:lnTo>
                    <a:pt x="3968232" y="296615"/>
                  </a:lnTo>
                  <a:lnTo>
                    <a:pt x="3972074" y="293257"/>
                  </a:lnTo>
                  <a:lnTo>
                    <a:pt x="3975008" y="286663"/>
                  </a:lnTo>
                  <a:lnTo>
                    <a:pt x="3972316" y="284636"/>
                  </a:lnTo>
                  <a:lnTo>
                    <a:pt x="3972316" y="281369"/>
                  </a:lnTo>
                  <a:lnTo>
                    <a:pt x="3974070" y="277920"/>
                  </a:lnTo>
                  <a:lnTo>
                    <a:pt x="3976460" y="275288"/>
                  </a:lnTo>
                  <a:lnTo>
                    <a:pt x="3985535" y="273201"/>
                  </a:lnTo>
                  <a:lnTo>
                    <a:pt x="3988107" y="269692"/>
                  </a:lnTo>
                  <a:lnTo>
                    <a:pt x="3988168" y="263339"/>
                  </a:lnTo>
                  <a:lnTo>
                    <a:pt x="3991555" y="260707"/>
                  </a:lnTo>
                  <a:lnTo>
                    <a:pt x="4030277" y="256593"/>
                  </a:lnTo>
                  <a:lnTo>
                    <a:pt x="4041108" y="250815"/>
                  </a:lnTo>
                  <a:lnTo>
                    <a:pt x="4044707" y="250996"/>
                  </a:lnTo>
                  <a:lnTo>
                    <a:pt x="4043648" y="246549"/>
                  </a:lnTo>
                  <a:close/>
                  <a:moveTo>
                    <a:pt x="3462821" y="45740"/>
                  </a:moveTo>
                  <a:lnTo>
                    <a:pt x="3464122" y="48372"/>
                  </a:lnTo>
                  <a:lnTo>
                    <a:pt x="3465997" y="49401"/>
                  </a:lnTo>
                  <a:lnTo>
                    <a:pt x="3478945" y="42987"/>
                  </a:lnTo>
                  <a:lnTo>
                    <a:pt x="3480669" y="43623"/>
                  </a:lnTo>
                  <a:lnTo>
                    <a:pt x="3482575" y="45286"/>
                  </a:lnTo>
                  <a:lnTo>
                    <a:pt x="3489654" y="46617"/>
                  </a:lnTo>
                  <a:lnTo>
                    <a:pt x="3487385" y="50580"/>
                  </a:lnTo>
                  <a:lnTo>
                    <a:pt x="3475103" y="56328"/>
                  </a:lnTo>
                  <a:lnTo>
                    <a:pt x="3479187" y="59263"/>
                  </a:lnTo>
                  <a:lnTo>
                    <a:pt x="3482757" y="63104"/>
                  </a:lnTo>
                  <a:lnTo>
                    <a:pt x="3485419" y="68459"/>
                  </a:lnTo>
                  <a:lnTo>
                    <a:pt x="3486931" y="70849"/>
                  </a:lnTo>
                  <a:lnTo>
                    <a:pt x="3488928" y="71968"/>
                  </a:lnTo>
                  <a:lnTo>
                    <a:pt x="3493647" y="70788"/>
                  </a:lnTo>
                  <a:lnTo>
                    <a:pt x="3500484" y="67007"/>
                  </a:lnTo>
                  <a:lnTo>
                    <a:pt x="3509045" y="67914"/>
                  </a:lnTo>
                  <a:lnTo>
                    <a:pt x="3509045" y="65797"/>
                  </a:lnTo>
                  <a:lnTo>
                    <a:pt x="3508138" y="65646"/>
                  </a:lnTo>
                  <a:lnTo>
                    <a:pt x="3505536" y="64042"/>
                  </a:lnTo>
                  <a:lnTo>
                    <a:pt x="3506807" y="58476"/>
                  </a:lnTo>
                  <a:lnTo>
                    <a:pt x="3508985" y="58174"/>
                  </a:lnTo>
                  <a:lnTo>
                    <a:pt x="3513795" y="62136"/>
                  </a:lnTo>
                  <a:lnTo>
                    <a:pt x="3523838" y="62499"/>
                  </a:lnTo>
                  <a:lnTo>
                    <a:pt x="3526198" y="61259"/>
                  </a:lnTo>
                  <a:lnTo>
                    <a:pt x="3528678" y="58658"/>
                  </a:lnTo>
                  <a:lnTo>
                    <a:pt x="3530735" y="57871"/>
                  </a:lnTo>
                  <a:lnTo>
                    <a:pt x="3541203" y="58597"/>
                  </a:lnTo>
                  <a:lnTo>
                    <a:pt x="3542745" y="57296"/>
                  </a:lnTo>
                  <a:lnTo>
                    <a:pt x="3544530" y="53908"/>
                  </a:lnTo>
                  <a:lnTo>
                    <a:pt x="3545317" y="52849"/>
                  </a:lnTo>
                  <a:lnTo>
                    <a:pt x="3552002" y="50762"/>
                  </a:lnTo>
                  <a:lnTo>
                    <a:pt x="3554664" y="47767"/>
                  </a:lnTo>
                  <a:lnTo>
                    <a:pt x="3555814" y="42564"/>
                  </a:lnTo>
                  <a:lnTo>
                    <a:pt x="3554846" y="37421"/>
                  </a:lnTo>
                  <a:lnTo>
                    <a:pt x="3552517" y="37361"/>
                  </a:lnTo>
                  <a:lnTo>
                    <a:pt x="3547555" y="40809"/>
                  </a:lnTo>
                  <a:lnTo>
                    <a:pt x="3545528" y="42049"/>
                  </a:lnTo>
                  <a:lnTo>
                    <a:pt x="3541384" y="48070"/>
                  </a:lnTo>
                  <a:lnTo>
                    <a:pt x="3539297" y="50369"/>
                  </a:lnTo>
                  <a:lnTo>
                    <a:pt x="3536513" y="51518"/>
                  </a:lnTo>
                  <a:lnTo>
                    <a:pt x="3532974" y="51881"/>
                  </a:lnTo>
                  <a:lnTo>
                    <a:pt x="3529465" y="51004"/>
                  </a:lnTo>
                  <a:lnTo>
                    <a:pt x="3526833" y="48433"/>
                  </a:lnTo>
                  <a:lnTo>
                    <a:pt x="3527771" y="48493"/>
                  </a:lnTo>
                  <a:lnTo>
                    <a:pt x="3530252" y="46648"/>
                  </a:lnTo>
                  <a:lnTo>
                    <a:pt x="3530252" y="40809"/>
                  </a:lnTo>
                  <a:lnTo>
                    <a:pt x="3528285" y="40870"/>
                  </a:lnTo>
                  <a:lnTo>
                    <a:pt x="3526319" y="40265"/>
                  </a:lnTo>
                  <a:lnTo>
                    <a:pt x="3524443" y="38903"/>
                  </a:lnTo>
                  <a:lnTo>
                    <a:pt x="3522779" y="36786"/>
                  </a:lnTo>
                  <a:lnTo>
                    <a:pt x="3527105" y="35818"/>
                  </a:lnTo>
                  <a:lnTo>
                    <a:pt x="3532944" y="32490"/>
                  </a:lnTo>
                  <a:lnTo>
                    <a:pt x="3537239" y="26742"/>
                  </a:lnTo>
                  <a:lnTo>
                    <a:pt x="3536846" y="18363"/>
                  </a:lnTo>
                  <a:lnTo>
                    <a:pt x="3534487" y="15882"/>
                  </a:lnTo>
                  <a:lnTo>
                    <a:pt x="3529858" y="20934"/>
                  </a:lnTo>
                  <a:lnTo>
                    <a:pt x="3527499" y="20299"/>
                  </a:lnTo>
                  <a:lnTo>
                    <a:pt x="3525925" y="21146"/>
                  </a:lnTo>
                  <a:lnTo>
                    <a:pt x="3523505" y="23475"/>
                  </a:lnTo>
                  <a:lnTo>
                    <a:pt x="3521720" y="23959"/>
                  </a:lnTo>
                  <a:lnTo>
                    <a:pt x="3522083" y="19210"/>
                  </a:lnTo>
                  <a:lnTo>
                    <a:pt x="3519664" y="19210"/>
                  </a:lnTo>
                  <a:lnTo>
                    <a:pt x="3514279" y="24231"/>
                  </a:lnTo>
                  <a:lnTo>
                    <a:pt x="3512070" y="22205"/>
                  </a:lnTo>
                  <a:lnTo>
                    <a:pt x="3512070" y="19542"/>
                  </a:lnTo>
                  <a:lnTo>
                    <a:pt x="3513885" y="11133"/>
                  </a:lnTo>
                  <a:lnTo>
                    <a:pt x="3514460" y="7442"/>
                  </a:lnTo>
                  <a:lnTo>
                    <a:pt x="3502057" y="10225"/>
                  </a:lnTo>
                  <a:lnTo>
                    <a:pt x="3501331" y="5687"/>
                  </a:lnTo>
                  <a:lnTo>
                    <a:pt x="3500333" y="4356"/>
                  </a:lnTo>
                  <a:lnTo>
                    <a:pt x="3498941" y="4507"/>
                  </a:lnTo>
                  <a:lnTo>
                    <a:pt x="3497429" y="5929"/>
                  </a:lnTo>
                  <a:lnTo>
                    <a:pt x="3496158" y="8410"/>
                  </a:lnTo>
                  <a:lnTo>
                    <a:pt x="3494283" y="10134"/>
                  </a:lnTo>
                  <a:lnTo>
                    <a:pt x="3490078" y="8077"/>
                  </a:lnTo>
                  <a:lnTo>
                    <a:pt x="3488867" y="11344"/>
                  </a:lnTo>
                  <a:lnTo>
                    <a:pt x="3501966" y="24957"/>
                  </a:lnTo>
                  <a:lnTo>
                    <a:pt x="3503721" y="27620"/>
                  </a:lnTo>
                  <a:lnTo>
                    <a:pt x="3504961" y="31401"/>
                  </a:lnTo>
                  <a:lnTo>
                    <a:pt x="3505475" y="36755"/>
                  </a:lnTo>
                  <a:lnTo>
                    <a:pt x="3504477" y="33882"/>
                  </a:lnTo>
                  <a:lnTo>
                    <a:pt x="3497035" y="28648"/>
                  </a:lnTo>
                  <a:lnTo>
                    <a:pt x="3492740" y="29283"/>
                  </a:lnTo>
                  <a:lnTo>
                    <a:pt x="3490925" y="28043"/>
                  </a:lnTo>
                  <a:lnTo>
                    <a:pt x="3489533" y="25895"/>
                  </a:lnTo>
                  <a:lnTo>
                    <a:pt x="3488898" y="25169"/>
                  </a:lnTo>
                  <a:lnTo>
                    <a:pt x="3486114" y="25048"/>
                  </a:lnTo>
                  <a:lnTo>
                    <a:pt x="3482394" y="22537"/>
                  </a:lnTo>
                  <a:lnTo>
                    <a:pt x="3480639" y="22295"/>
                  </a:lnTo>
                  <a:lnTo>
                    <a:pt x="3479157" y="25048"/>
                  </a:lnTo>
                  <a:lnTo>
                    <a:pt x="3479853" y="26016"/>
                  </a:lnTo>
                  <a:lnTo>
                    <a:pt x="3480730" y="28134"/>
                  </a:lnTo>
                  <a:lnTo>
                    <a:pt x="3481274" y="29102"/>
                  </a:lnTo>
                  <a:lnTo>
                    <a:pt x="3479308" y="31008"/>
                  </a:lnTo>
                  <a:lnTo>
                    <a:pt x="3477342" y="30009"/>
                  </a:lnTo>
                  <a:lnTo>
                    <a:pt x="3475345" y="28073"/>
                  </a:lnTo>
                  <a:lnTo>
                    <a:pt x="3473318" y="26984"/>
                  </a:lnTo>
                  <a:lnTo>
                    <a:pt x="3468902" y="27741"/>
                  </a:lnTo>
                  <a:lnTo>
                    <a:pt x="3466572" y="28920"/>
                  </a:lnTo>
                  <a:lnTo>
                    <a:pt x="3464727" y="30887"/>
                  </a:lnTo>
                  <a:lnTo>
                    <a:pt x="3468176" y="32823"/>
                  </a:lnTo>
                  <a:lnTo>
                    <a:pt x="3462670" y="38661"/>
                  </a:lnTo>
                  <a:lnTo>
                    <a:pt x="3462791" y="41263"/>
                  </a:lnTo>
                  <a:lnTo>
                    <a:pt x="3462579" y="43502"/>
                  </a:lnTo>
                  <a:lnTo>
                    <a:pt x="3462760" y="45740"/>
                  </a:lnTo>
                  <a:close/>
                  <a:moveTo>
                    <a:pt x="114108" y="61"/>
                  </a:moveTo>
                  <a:lnTo>
                    <a:pt x="112082" y="0"/>
                  </a:lnTo>
                  <a:lnTo>
                    <a:pt x="107846" y="1573"/>
                  </a:lnTo>
                  <a:lnTo>
                    <a:pt x="100042" y="696"/>
                  </a:lnTo>
                  <a:lnTo>
                    <a:pt x="97591" y="1573"/>
                  </a:lnTo>
                  <a:lnTo>
                    <a:pt x="96926" y="2420"/>
                  </a:lnTo>
                  <a:lnTo>
                    <a:pt x="94778" y="6534"/>
                  </a:lnTo>
                  <a:lnTo>
                    <a:pt x="93568" y="7472"/>
                  </a:lnTo>
                  <a:lnTo>
                    <a:pt x="79652" y="9378"/>
                  </a:lnTo>
                  <a:lnTo>
                    <a:pt x="74691" y="15186"/>
                  </a:lnTo>
                  <a:lnTo>
                    <a:pt x="72422" y="19058"/>
                  </a:lnTo>
                  <a:lnTo>
                    <a:pt x="67884" y="30856"/>
                  </a:lnTo>
                  <a:lnTo>
                    <a:pt x="67037" y="32551"/>
                  </a:lnTo>
                  <a:lnTo>
                    <a:pt x="65373" y="35031"/>
                  </a:lnTo>
                  <a:lnTo>
                    <a:pt x="64526" y="36695"/>
                  </a:lnTo>
                  <a:lnTo>
                    <a:pt x="61410" y="45619"/>
                  </a:lnTo>
                  <a:lnTo>
                    <a:pt x="60473" y="47404"/>
                  </a:lnTo>
                  <a:lnTo>
                    <a:pt x="59444" y="48191"/>
                  </a:lnTo>
                  <a:lnTo>
                    <a:pt x="57236" y="48372"/>
                  </a:lnTo>
                  <a:lnTo>
                    <a:pt x="56358" y="48886"/>
                  </a:lnTo>
                  <a:lnTo>
                    <a:pt x="55905" y="50066"/>
                  </a:lnTo>
                  <a:lnTo>
                    <a:pt x="55511" y="51427"/>
                  </a:lnTo>
                  <a:lnTo>
                    <a:pt x="54846" y="52456"/>
                  </a:lnTo>
                  <a:lnTo>
                    <a:pt x="42775" y="55511"/>
                  </a:lnTo>
                  <a:lnTo>
                    <a:pt x="38934" y="58264"/>
                  </a:lnTo>
                  <a:lnTo>
                    <a:pt x="38752" y="58809"/>
                  </a:lnTo>
                  <a:lnTo>
                    <a:pt x="38540" y="59898"/>
                  </a:lnTo>
                  <a:lnTo>
                    <a:pt x="38147" y="61078"/>
                  </a:lnTo>
                  <a:lnTo>
                    <a:pt x="37542" y="62136"/>
                  </a:lnTo>
                  <a:lnTo>
                    <a:pt x="32944" y="66946"/>
                  </a:lnTo>
                  <a:lnTo>
                    <a:pt x="28648" y="69306"/>
                  </a:lnTo>
                  <a:lnTo>
                    <a:pt x="20268" y="70577"/>
                  </a:lnTo>
                  <a:lnTo>
                    <a:pt x="18242" y="71968"/>
                  </a:lnTo>
                  <a:lnTo>
                    <a:pt x="17395" y="73390"/>
                  </a:lnTo>
                  <a:lnTo>
                    <a:pt x="16517" y="75266"/>
                  </a:lnTo>
                  <a:lnTo>
                    <a:pt x="15398" y="76899"/>
                  </a:lnTo>
                  <a:lnTo>
                    <a:pt x="12282" y="78381"/>
                  </a:lnTo>
                  <a:lnTo>
                    <a:pt x="8622" y="83554"/>
                  </a:lnTo>
                  <a:lnTo>
                    <a:pt x="7139" y="84795"/>
                  </a:lnTo>
                  <a:lnTo>
                    <a:pt x="5959" y="85279"/>
                  </a:lnTo>
                  <a:lnTo>
                    <a:pt x="3116" y="85279"/>
                  </a:lnTo>
                  <a:lnTo>
                    <a:pt x="0" y="86943"/>
                  </a:lnTo>
                  <a:lnTo>
                    <a:pt x="756" y="90845"/>
                  </a:lnTo>
                  <a:lnTo>
                    <a:pt x="5143" y="98983"/>
                  </a:lnTo>
                  <a:lnTo>
                    <a:pt x="4719" y="100102"/>
                  </a:lnTo>
                  <a:lnTo>
                    <a:pt x="4205" y="102764"/>
                  </a:lnTo>
                  <a:lnTo>
                    <a:pt x="3751" y="104549"/>
                  </a:lnTo>
                  <a:lnTo>
                    <a:pt x="6292" y="106062"/>
                  </a:lnTo>
                  <a:lnTo>
                    <a:pt x="9741" y="106152"/>
                  </a:lnTo>
                  <a:lnTo>
                    <a:pt x="13129" y="105003"/>
                  </a:lnTo>
                  <a:lnTo>
                    <a:pt x="15489" y="102976"/>
                  </a:lnTo>
                  <a:lnTo>
                    <a:pt x="16366" y="101191"/>
                  </a:lnTo>
                  <a:lnTo>
                    <a:pt x="18060" y="96835"/>
                  </a:lnTo>
                  <a:lnTo>
                    <a:pt x="18937" y="95111"/>
                  </a:lnTo>
                  <a:lnTo>
                    <a:pt x="20631" y="93356"/>
                  </a:lnTo>
                  <a:lnTo>
                    <a:pt x="24171" y="91783"/>
                  </a:lnTo>
                  <a:lnTo>
                    <a:pt x="25835" y="90301"/>
                  </a:lnTo>
                  <a:lnTo>
                    <a:pt x="42231" y="69034"/>
                  </a:lnTo>
                  <a:lnTo>
                    <a:pt x="46194" y="67128"/>
                  </a:lnTo>
                  <a:lnTo>
                    <a:pt x="50066" y="63377"/>
                  </a:lnTo>
                  <a:lnTo>
                    <a:pt x="62348" y="58204"/>
                  </a:lnTo>
                  <a:lnTo>
                    <a:pt x="64919" y="58416"/>
                  </a:lnTo>
                  <a:lnTo>
                    <a:pt x="69669" y="61350"/>
                  </a:lnTo>
                  <a:lnTo>
                    <a:pt x="72029" y="62076"/>
                  </a:lnTo>
                  <a:lnTo>
                    <a:pt x="111809" y="42201"/>
                  </a:lnTo>
                  <a:lnTo>
                    <a:pt x="114108" y="38601"/>
                  </a:lnTo>
                  <a:lnTo>
                    <a:pt x="113594" y="33488"/>
                  </a:lnTo>
                  <a:lnTo>
                    <a:pt x="112112" y="27045"/>
                  </a:lnTo>
                  <a:lnTo>
                    <a:pt x="111507" y="21479"/>
                  </a:lnTo>
                  <a:lnTo>
                    <a:pt x="113745" y="19119"/>
                  </a:lnTo>
                  <a:lnTo>
                    <a:pt x="116650" y="17213"/>
                  </a:lnTo>
                  <a:lnTo>
                    <a:pt x="118525" y="12554"/>
                  </a:lnTo>
                  <a:lnTo>
                    <a:pt x="118616" y="6776"/>
                  </a:lnTo>
                  <a:lnTo>
                    <a:pt x="116196" y="1513"/>
                  </a:lnTo>
                  <a:lnTo>
                    <a:pt x="114078" y="0"/>
                  </a:lnTo>
                  <a:close/>
                </a:path>
              </a:pathLst>
            </a:custGeom>
            <a:solidFill>
              <a:srgbClr val="96A3AC"/>
            </a:solidFill>
            <a:ln w="3175" cap="rnd">
              <a:solidFill>
                <a:schemeClr val="bg1"/>
              </a:solidFill>
              <a:prstDash val="solid"/>
              <a:round/>
            </a:ln>
          </p:spPr>
          <p:txBody>
            <a:bodyPr rtlCol="0" anchor="ctr"/>
            <a:lstStyle/>
            <a:p>
              <a:endParaRPr lang="en-ID"/>
            </a:p>
          </p:txBody>
        </p:sp>
        <p:sp>
          <p:nvSpPr>
            <p:cNvPr id="15" name="Freeform: Shape 14">
              <a:extLst>
                <a:ext uri="{FF2B5EF4-FFF2-40B4-BE49-F238E27FC236}">
                  <a16:creationId xmlns:a16="http://schemas.microsoft.com/office/drawing/2014/main" id="{D3CA606E-14AE-F513-D19C-E87F00C1BB83}"/>
                </a:ext>
              </a:extLst>
            </p:cNvPr>
            <p:cNvSpPr/>
            <p:nvPr/>
          </p:nvSpPr>
          <p:spPr>
            <a:xfrm>
              <a:off x="8622636" y="4292244"/>
              <a:ext cx="352899" cy="207676"/>
            </a:xfrm>
            <a:custGeom>
              <a:avLst/>
              <a:gdLst>
                <a:gd name="connsiteX0" fmla="*/ 453257 w 454013"/>
                <a:gd name="connsiteY0" fmla="*/ 160060 h 267180"/>
                <a:gd name="connsiteX1" fmla="*/ 451140 w 454013"/>
                <a:gd name="connsiteY1" fmla="*/ 158427 h 267180"/>
                <a:gd name="connsiteX2" fmla="*/ 446874 w 454013"/>
                <a:gd name="connsiteY2" fmla="*/ 158004 h 267180"/>
                <a:gd name="connsiteX3" fmla="*/ 445059 w 454013"/>
                <a:gd name="connsiteY3" fmla="*/ 156067 h 267180"/>
                <a:gd name="connsiteX4" fmla="*/ 444212 w 454013"/>
                <a:gd name="connsiteY4" fmla="*/ 153496 h 267180"/>
                <a:gd name="connsiteX5" fmla="*/ 444696 w 454013"/>
                <a:gd name="connsiteY5" fmla="*/ 152195 h 267180"/>
                <a:gd name="connsiteX6" fmla="*/ 445785 w 454013"/>
                <a:gd name="connsiteY6" fmla="*/ 151257 h 267180"/>
                <a:gd name="connsiteX7" fmla="*/ 446753 w 454013"/>
                <a:gd name="connsiteY7" fmla="*/ 149654 h 267180"/>
                <a:gd name="connsiteX8" fmla="*/ 446965 w 454013"/>
                <a:gd name="connsiteY8" fmla="*/ 147748 h 267180"/>
                <a:gd name="connsiteX9" fmla="*/ 446874 w 454013"/>
                <a:gd name="connsiteY9" fmla="*/ 146205 h 267180"/>
                <a:gd name="connsiteX10" fmla="*/ 447298 w 454013"/>
                <a:gd name="connsiteY10" fmla="*/ 144995 h 267180"/>
                <a:gd name="connsiteX11" fmla="*/ 448992 w 454013"/>
                <a:gd name="connsiteY11" fmla="*/ 143997 h 267180"/>
                <a:gd name="connsiteX12" fmla="*/ 450202 w 454013"/>
                <a:gd name="connsiteY12" fmla="*/ 142273 h 267180"/>
                <a:gd name="connsiteX13" fmla="*/ 449960 w 454013"/>
                <a:gd name="connsiteY13" fmla="*/ 140427 h 267180"/>
                <a:gd name="connsiteX14" fmla="*/ 449234 w 454013"/>
                <a:gd name="connsiteY14" fmla="*/ 138461 h 267180"/>
                <a:gd name="connsiteX15" fmla="*/ 449052 w 454013"/>
                <a:gd name="connsiteY15" fmla="*/ 136465 h 267180"/>
                <a:gd name="connsiteX16" fmla="*/ 451230 w 454013"/>
                <a:gd name="connsiteY16" fmla="*/ 134014 h 267180"/>
                <a:gd name="connsiteX17" fmla="*/ 451835 w 454013"/>
                <a:gd name="connsiteY17" fmla="*/ 133167 h 267180"/>
                <a:gd name="connsiteX18" fmla="*/ 452199 w 454013"/>
                <a:gd name="connsiteY18" fmla="*/ 131957 h 267180"/>
                <a:gd name="connsiteX19" fmla="*/ 452743 w 454013"/>
                <a:gd name="connsiteY19" fmla="*/ 127601 h 267180"/>
                <a:gd name="connsiteX20" fmla="*/ 452501 w 454013"/>
                <a:gd name="connsiteY20" fmla="*/ 124727 h 267180"/>
                <a:gd name="connsiteX21" fmla="*/ 453741 w 454013"/>
                <a:gd name="connsiteY21" fmla="*/ 120129 h 267180"/>
                <a:gd name="connsiteX22" fmla="*/ 453197 w 454013"/>
                <a:gd name="connsiteY22" fmla="*/ 117860 h 267180"/>
                <a:gd name="connsiteX23" fmla="*/ 452319 w 454013"/>
                <a:gd name="connsiteY23" fmla="*/ 116861 h 267180"/>
                <a:gd name="connsiteX24" fmla="*/ 448871 w 454013"/>
                <a:gd name="connsiteY24" fmla="*/ 114351 h 267180"/>
                <a:gd name="connsiteX25" fmla="*/ 446784 w 454013"/>
                <a:gd name="connsiteY25" fmla="*/ 111265 h 267180"/>
                <a:gd name="connsiteX26" fmla="*/ 445725 w 454013"/>
                <a:gd name="connsiteY26" fmla="*/ 110236 h 267180"/>
                <a:gd name="connsiteX27" fmla="*/ 445725 w 454013"/>
                <a:gd name="connsiteY27" fmla="*/ 110206 h 267180"/>
                <a:gd name="connsiteX28" fmla="*/ 445725 w 454013"/>
                <a:gd name="connsiteY28" fmla="*/ 110206 h 267180"/>
                <a:gd name="connsiteX29" fmla="*/ 445210 w 454013"/>
                <a:gd name="connsiteY29" fmla="*/ 109873 h 267180"/>
                <a:gd name="connsiteX30" fmla="*/ 444636 w 454013"/>
                <a:gd name="connsiteY30" fmla="*/ 109783 h 267180"/>
                <a:gd name="connsiteX31" fmla="*/ 444091 w 454013"/>
                <a:gd name="connsiteY31" fmla="*/ 109873 h 267180"/>
                <a:gd name="connsiteX32" fmla="*/ 441157 w 454013"/>
                <a:gd name="connsiteY32" fmla="*/ 111416 h 267180"/>
                <a:gd name="connsiteX33" fmla="*/ 438646 w 454013"/>
                <a:gd name="connsiteY33" fmla="*/ 114109 h 267180"/>
                <a:gd name="connsiteX34" fmla="*/ 436861 w 454013"/>
                <a:gd name="connsiteY34" fmla="*/ 117194 h 267180"/>
                <a:gd name="connsiteX35" fmla="*/ 436800 w 454013"/>
                <a:gd name="connsiteY35" fmla="*/ 119735 h 267180"/>
                <a:gd name="connsiteX36" fmla="*/ 434320 w 454013"/>
                <a:gd name="connsiteY36" fmla="*/ 119826 h 267180"/>
                <a:gd name="connsiteX37" fmla="*/ 432354 w 454013"/>
                <a:gd name="connsiteY37" fmla="*/ 119372 h 267180"/>
                <a:gd name="connsiteX38" fmla="*/ 430720 w 454013"/>
                <a:gd name="connsiteY38" fmla="*/ 119645 h 267180"/>
                <a:gd name="connsiteX39" fmla="*/ 429207 w 454013"/>
                <a:gd name="connsiteY39" fmla="*/ 122004 h 267180"/>
                <a:gd name="connsiteX40" fmla="*/ 428724 w 454013"/>
                <a:gd name="connsiteY40" fmla="*/ 123728 h 267180"/>
                <a:gd name="connsiteX41" fmla="*/ 428633 w 454013"/>
                <a:gd name="connsiteY41" fmla="*/ 124878 h 267180"/>
                <a:gd name="connsiteX42" fmla="*/ 428361 w 454013"/>
                <a:gd name="connsiteY42" fmla="*/ 125906 h 267180"/>
                <a:gd name="connsiteX43" fmla="*/ 427332 w 454013"/>
                <a:gd name="connsiteY43" fmla="*/ 127268 h 267180"/>
                <a:gd name="connsiteX44" fmla="*/ 422945 w 454013"/>
                <a:gd name="connsiteY44" fmla="*/ 129325 h 267180"/>
                <a:gd name="connsiteX45" fmla="*/ 420344 w 454013"/>
                <a:gd name="connsiteY45" fmla="*/ 130021 h 267180"/>
                <a:gd name="connsiteX46" fmla="*/ 419648 w 454013"/>
                <a:gd name="connsiteY46" fmla="*/ 129991 h 267180"/>
                <a:gd name="connsiteX47" fmla="*/ 418256 w 454013"/>
                <a:gd name="connsiteY47" fmla="*/ 129930 h 267180"/>
                <a:gd name="connsiteX48" fmla="*/ 413900 w 454013"/>
                <a:gd name="connsiteY48" fmla="*/ 128659 h 267180"/>
                <a:gd name="connsiteX49" fmla="*/ 411662 w 454013"/>
                <a:gd name="connsiteY49" fmla="*/ 127449 h 267180"/>
                <a:gd name="connsiteX50" fmla="*/ 407759 w 454013"/>
                <a:gd name="connsiteY50" fmla="*/ 124031 h 267180"/>
                <a:gd name="connsiteX51" fmla="*/ 396990 w 454013"/>
                <a:gd name="connsiteY51" fmla="*/ 120855 h 267180"/>
                <a:gd name="connsiteX52" fmla="*/ 394509 w 454013"/>
                <a:gd name="connsiteY52" fmla="*/ 119100 h 267180"/>
                <a:gd name="connsiteX53" fmla="*/ 393208 w 454013"/>
                <a:gd name="connsiteY53" fmla="*/ 117436 h 267180"/>
                <a:gd name="connsiteX54" fmla="*/ 393057 w 454013"/>
                <a:gd name="connsiteY54" fmla="*/ 116166 h 267180"/>
                <a:gd name="connsiteX55" fmla="*/ 393359 w 454013"/>
                <a:gd name="connsiteY55" fmla="*/ 114683 h 267180"/>
                <a:gd name="connsiteX56" fmla="*/ 393632 w 454013"/>
                <a:gd name="connsiteY56" fmla="*/ 111537 h 267180"/>
                <a:gd name="connsiteX57" fmla="*/ 394025 w 454013"/>
                <a:gd name="connsiteY57" fmla="*/ 110236 h 267180"/>
                <a:gd name="connsiteX58" fmla="*/ 394025 w 454013"/>
                <a:gd name="connsiteY58" fmla="*/ 109450 h 267180"/>
                <a:gd name="connsiteX59" fmla="*/ 393662 w 454013"/>
                <a:gd name="connsiteY59" fmla="*/ 108996 h 267180"/>
                <a:gd name="connsiteX60" fmla="*/ 393027 w 454013"/>
                <a:gd name="connsiteY60" fmla="*/ 109057 h 267180"/>
                <a:gd name="connsiteX61" fmla="*/ 392603 w 454013"/>
                <a:gd name="connsiteY61" fmla="*/ 108724 h 267180"/>
                <a:gd name="connsiteX62" fmla="*/ 392785 w 454013"/>
                <a:gd name="connsiteY62" fmla="*/ 107181 h 267180"/>
                <a:gd name="connsiteX63" fmla="*/ 373757 w 454013"/>
                <a:gd name="connsiteY63" fmla="*/ 101645 h 267180"/>
                <a:gd name="connsiteX64" fmla="*/ 372062 w 454013"/>
                <a:gd name="connsiteY64" fmla="*/ 101433 h 267180"/>
                <a:gd name="connsiteX65" fmla="*/ 366799 w 454013"/>
                <a:gd name="connsiteY65" fmla="*/ 102038 h 267180"/>
                <a:gd name="connsiteX66" fmla="*/ 364923 w 454013"/>
                <a:gd name="connsiteY66" fmla="*/ 101554 h 267180"/>
                <a:gd name="connsiteX67" fmla="*/ 362836 w 454013"/>
                <a:gd name="connsiteY67" fmla="*/ 102189 h 267180"/>
                <a:gd name="connsiteX68" fmla="*/ 356695 w 454013"/>
                <a:gd name="connsiteY68" fmla="*/ 101252 h 267180"/>
                <a:gd name="connsiteX69" fmla="*/ 354426 w 454013"/>
                <a:gd name="connsiteY69" fmla="*/ 100616 h 267180"/>
                <a:gd name="connsiteX70" fmla="*/ 354335 w 454013"/>
                <a:gd name="connsiteY70" fmla="*/ 99346 h 267180"/>
                <a:gd name="connsiteX71" fmla="*/ 355485 w 454013"/>
                <a:gd name="connsiteY71" fmla="*/ 97894 h 267180"/>
                <a:gd name="connsiteX72" fmla="*/ 357027 w 454013"/>
                <a:gd name="connsiteY72" fmla="*/ 96442 h 267180"/>
                <a:gd name="connsiteX73" fmla="*/ 357996 w 454013"/>
                <a:gd name="connsiteY73" fmla="*/ 94627 h 267180"/>
                <a:gd name="connsiteX74" fmla="*/ 357935 w 454013"/>
                <a:gd name="connsiteY74" fmla="*/ 91753 h 267180"/>
                <a:gd name="connsiteX75" fmla="*/ 357088 w 454013"/>
                <a:gd name="connsiteY75" fmla="*/ 89575 h 267180"/>
                <a:gd name="connsiteX76" fmla="*/ 355999 w 454013"/>
                <a:gd name="connsiteY76" fmla="*/ 87608 h 267180"/>
                <a:gd name="connsiteX77" fmla="*/ 355243 w 454013"/>
                <a:gd name="connsiteY77" fmla="*/ 85370 h 267180"/>
                <a:gd name="connsiteX78" fmla="*/ 355485 w 454013"/>
                <a:gd name="connsiteY78" fmla="*/ 80802 h 267180"/>
                <a:gd name="connsiteX79" fmla="*/ 357209 w 454013"/>
                <a:gd name="connsiteY79" fmla="*/ 76204 h 267180"/>
                <a:gd name="connsiteX80" fmla="*/ 358873 w 454013"/>
                <a:gd name="connsiteY80" fmla="*/ 73602 h 267180"/>
                <a:gd name="connsiteX81" fmla="*/ 362110 w 454013"/>
                <a:gd name="connsiteY81" fmla="*/ 68580 h 267180"/>
                <a:gd name="connsiteX82" fmla="*/ 365528 w 454013"/>
                <a:gd name="connsiteY82" fmla="*/ 64768 h 267180"/>
                <a:gd name="connsiteX83" fmla="*/ 365922 w 454013"/>
                <a:gd name="connsiteY83" fmla="*/ 63831 h 267180"/>
                <a:gd name="connsiteX84" fmla="*/ 366436 w 454013"/>
                <a:gd name="connsiteY84" fmla="*/ 61411 h 267180"/>
                <a:gd name="connsiteX85" fmla="*/ 366920 w 454013"/>
                <a:gd name="connsiteY85" fmla="*/ 60200 h 267180"/>
                <a:gd name="connsiteX86" fmla="*/ 370822 w 454013"/>
                <a:gd name="connsiteY86" fmla="*/ 55663 h 267180"/>
                <a:gd name="connsiteX87" fmla="*/ 371790 w 454013"/>
                <a:gd name="connsiteY87" fmla="*/ 53576 h 267180"/>
                <a:gd name="connsiteX88" fmla="*/ 371881 w 454013"/>
                <a:gd name="connsiteY88" fmla="*/ 47797 h 267180"/>
                <a:gd name="connsiteX89" fmla="*/ 369007 w 454013"/>
                <a:gd name="connsiteY89" fmla="*/ 45468 h 267180"/>
                <a:gd name="connsiteX90" fmla="*/ 365256 w 454013"/>
                <a:gd name="connsiteY90" fmla="*/ 43895 h 267180"/>
                <a:gd name="connsiteX91" fmla="*/ 362291 w 454013"/>
                <a:gd name="connsiteY91" fmla="*/ 39781 h 267180"/>
                <a:gd name="connsiteX92" fmla="*/ 362080 w 454013"/>
                <a:gd name="connsiteY92" fmla="*/ 38964 h 267180"/>
                <a:gd name="connsiteX93" fmla="*/ 361535 w 454013"/>
                <a:gd name="connsiteY93" fmla="*/ 36544 h 267180"/>
                <a:gd name="connsiteX94" fmla="*/ 333915 w 454013"/>
                <a:gd name="connsiteY94" fmla="*/ 20723 h 267180"/>
                <a:gd name="connsiteX95" fmla="*/ 330013 w 454013"/>
                <a:gd name="connsiteY95" fmla="*/ 19906 h 267180"/>
                <a:gd name="connsiteX96" fmla="*/ 326262 w 454013"/>
                <a:gd name="connsiteY96" fmla="*/ 19906 h 267180"/>
                <a:gd name="connsiteX97" fmla="*/ 324900 w 454013"/>
                <a:gd name="connsiteY97" fmla="*/ 17939 h 267180"/>
                <a:gd name="connsiteX98" fmla="*/ 319334 w 454013"/>
                <a:gd name="connsiteY98" fmla="*/ 17939 h 267180"/>
                <a:gd name="connsiteX99" fmla="*/ 308111 w 454013"/>
                <a:gd name="connsiteY99" fmla="*/ 16759 h 267180"/>
                <a:gd name="connsiteX100" fmla="*/ 306205 w 454013"/>
                <a:gd name="connsiteY100" fmla="*/ 17455 h 267180"/>
                <a:gd name="connsiteX101" fmla="*/ 304602 w 454013"/>
                <a:gd name="connsiteY101" fmla="*/ 19059 h 267180"/>
                <a:gd name="connsiteX102" fmla="*/ 300942 w 454013"/>
                <a:gd name="connsiteY102" fmla="*/ 20148 h 267180"/>
                <a:gd name="connsiteX103" fmla="*/ 297009 w 454013"/>
                <a:gd name="connsiteY103" fmla="*/ 20480 h 267180"/>
                <a:gd name="connsiteX104" fmla="*/ 294528 w 454013"/>
                <a:gd name="connsiteY104" fmla="*/ 19906 h 267180"/>
                <a:gd name="connsiteX105" fmla="*/ 291594 w 454013"/>
                <a:gd name="connsiteY105" fmla="*/ 17879 h 267180"/>
                <a:gd name="connsiteX106" fmla="*/ 291533 w 454013"/>
                <a:gd name="connsiteY106" fmla="*/ 17818 h 267180"/>
                <a:gd name="connsiteX107" fmla="*/ 290111 w 454013"/>
                <a:gd name="connsiteY107" fmla="*/ 16518 h 267180"/>
                <a:gd name="connsiteX108" fmla="*/ 290111 w 454013"/>
                <a:gd name="connsiteY108" fmla="*/ 15549 h 267180"/>
                <a:gd name="connsiteX109" fmla="*/ 291957 w 454013"/>
                <a:gd name="connsiteY109" fmla="*/ 15156 h 267180"/>
                <a:gd name="connsiteX110" fmla="*/ 289355 w 454013"/>
                <a:gd name="connsiteY110" fmla="*/ 12887 h 267180"/>
                <a:gd name="connsiteX111" fmla="*/ 286058 w 454013"/>
                <a:gd name="connsiteY111" fmla="*/ 11133 h 267180"/>
                <a:gd name="connsiteX112" fmla="*/ 283365 w 454013"/>
                <a:gd name="connsiteY112" fmla="*/ 11012 h 267180"/>
                <a:gd name="connsiteX113" fmla="*/ 282458 w 454013"/>
                <a:gd name="connsiteY113" fmla="*/ 13704 h 267180"/>
                <a:gd name="connsiteX114" fmla="*/ 283274 w 454013"/>
                <a:gd name="connsiteY114" fmla="*/ 14551 h 267180"/>
                <a:gd name="connsiteX115" fmla="*/ 277980 w 454013"/>
                <a:gd name="connsiteY115" fmla="*/ 14642 h 267180"/>
                <a:gd name="connsiteX116" fmla="*/ 277769 w 454013"/>
                <a:gd name="connsiteY116" fmla="*/ 13734 h 267180"/>
                <a:gd name="connsiteX117" fmla="*/ 277527 w 454013"/>
                <a:gd name="connsiteY117" fmla="*/ 12706 h 267180"/>
                <a:gd name="connsiteX118" fmla="*/ 276710 w 454013"/>
                <a:gd name="connsiteY118" fmla="*/ 11768 h 267180"/>
                <a:gd name="connsiteX119" fmla="*/ 276287 w 454013"/>
                <a:gd name="connsiteY119" fmla="*/ 10679 h 267180"/>
                <a:gd name="connsiteX120" fmla="*/ 276619 w 454013"/>
                <a:gd name="connsiteY120" fmla="*/ 9772 h 267180"/>
                <a:gd name="connsiteX121" fmla="*/ 277980 w 454013"/>
                <a:gd name="connsiteY121" fmla="*/ 7896 h 267180"/>
                <a:gd name="connsiteX122" fmla="*/ 278223 w 454013"/>
                <a:gd name="connsiteY122" fmla="*/ 7382 h 267180"/>
                <a:gd name="connsiteX123" fmla="*/ 277557 w 454013"/>
                <a:gd name="connsiteY123" fmla="*/ 6020 h 267180"/>
                <a:gd name="connsiteX124" fmla="*/ 276589 w 454013"/>
                <a:gd name="connsiteY124" fmla="*/ 5808 h 267180"/>
                <a:gd name="connsiteX125" fmla="*/ 275470 w 454013"/>
                <a:gd name="connsiteY125" fmla="*/ 6020 h 267180"/>
                <a:gd name="connsiteX126" fmla="*/ 274411 w 454013"/>
                <a:gd name="connsiteY126" fmla="*/ 5808 h 267180"/>
                <a:gd name="connsiteX127" fmla="*/ 273685 w 454013"/>
                <a:gd name="connsiteY127" fmla="*/ 4719 h 267180"/>
                <a:gd name="connsiteX128" fmla="*/ 272898 w 454013"/>
                <a:gd name="connsiteY128" fmla="*/ 3146 h 267180"/>
                <a:gd name="connsiteX129" fmla="*/ 271930 w 454013"/>
                <a:gd name="connsiteY129" fmla="*/ 1785 h 267180"/>
                <a:gd name="connsiteX130" fmla="*/ 270630 w 454013"/>
                <a:gd name="connsiteY130" fmla="*/ 1392 h 267180"/>
                <a:gd name="connsiteX131" fmla="*/ 269692 w 454013"/>
                <a:gd name="connsiteY131" fmla="*/ 2269 h 267180"/>
                <a:gd name="connsiteX132" fmla="*/ 269178 w 454013"/>
                <a:gd name="connsiteY132" fmla="*/ 5264 h 267180"/>
                <a:gd name="connsiteX133" fmla="*/ 267937 w 454013"/>
                <a:gd name="connsiteY133" fmla="*/ 6020 h 267180"/>
                <a:gd name="connsiteX134" fmla="*/ 266939 w 454013"/>
                <a:gd name="connsiteY134" fmla="*/ 5355 h 267180"/>
                <a:gd name="connsiteX135" fmla="*/ 266606 w 454013"/>
                <a:gd name="connsiteY135" fmla="*/ 3661 h 267180"/>
                <a:gd name="connsiteX136" fmla="*/ 266485 w 454013"/>
                <a:gd name="connsiteY136" fmla="*/ 1906 h 267180"/>
                <a:gd name="connsiteX137" fmla="*/ 266334 w 454013"/>
                <a:gd name="connsiteY137" fmla="*/ 877 h 267180"/>
                <a:gd name="connsiteX138" fmla="*/ 264488 w 454013"/>
                <a:gd name="connsiteY138" fmla="*/ 121 h 267180"/>
                <a:gd name="connsiteX139" fmla="*/ 261978 w 454013"/>
                <a:gd name="connsiteY139" fmla="*/ 0 h 267180"/>
                <a:gd name="connsiteX140" fmla="*/ 260374 w 454013"/>
                <a:gd name="connsiteY140" fmla="*/ 847 h 267180"/>
                <a:gd name="connsiteX141" fmla="*/ 261312 w 454013"/>
                <a:gd name="connsiteY141" fmla="*/ 2995 h 267180"/>
                <a:gd name="connsiteX142" fmla="*/ 259799 w 454013"/>
                <a:gd name="connsiteY142" fmla="*/ 3721 h 267180"/>
                <a:gd name="connsiteX143" fmla="*/ 254385 w 454013"/>
                <a:gd name="connsiteY143" fmla="*/ 4689 h 267180"/>
                <a:gd name="connsiteX144" fmla="*/ 253265 w 454013"/>
                <a:gd name="connsiteY144" fmla="*/ 4659 h 267180"/>
                <a:gd name="connsiteX145" fmla="*/ 252448 w 454013"/>
                <a:gd name="connsiteY145" fmla="*/ 5113 h 267180"/>
                <a:gd name="connsiteX146" fmla="*/ 251087 w 454013"/>
                <a:gd name="connsiteY146" fmla="*/ 6958 h 267180"/>
                <a:gd name="connsiteX147" fmla="*/ 250633 w 454013"/>
                <a:gd name="connsiteY147" fmla="*/ 7956 h 267180"/>
                <a:gd name="connsiteX148" fmla="*/ 249877 w 454013"/>
                <a:gd name="connsiteY148" fmla="*/ 10709 h 267180"/>
                <a:gd name="connsiteX149" fmla="*/ 248818 w 454013"/>
                <a:gd name="connsiteY149" fmla="*/ 11617 h 267180"/>
                <a:gd name="connsiteX150" fmla="*/ 246247 w 454013"/>
                <a:gd name="connsiteY150" fmla="*/ 12917 h 267180"/>
                <a:gd name="connsiteX151" fmla="*/ 245249 w 454013"/>
                <a:gd name="connsiteY151" fmla="*/ 13946 h 267180"/>
                <a:gd name="connsiteX152" fmla="*/ 245158 w 454013"/>
                <a:gd name="connsiteY152" fmla="*/ 14975 h 267180"/>
                <a:gd name="connsiteX153" fmla="*/ 245581 w 454013"/>
                <a:gd name="connsiteY153" fmla="*/ 15973 h 267180"/>
                <a:gd name="connsiteX154" fmla="*/ 245823 w 454013"/>
                <a:gd name="connsiteY154" fmla="*/ 17153 h 267180"/>
                <a:gd name="connsiteX155" fmla="*/ 245188 w 454013"/>
                <a:gd name="connsiteY155" fmla="*/ 18605 h 267180"/>
                <a:gd name="connsiteX156" fmla="*/ 246761 w 454013"/>
                <a:gd name="connsiteY156" fmla="*/ 19149 h 267180"/>
                <a:gd name="connsiteX157" fmla="*/ 247275 w 454013"/>
                <a:gd name="connsiteY157" fmla="*/ 19240 h 267180"/>
                <a:gd name="connsiteX158" fmla="*/ 249847 w 454013"/>
                <a:gd name="connsiteY158" fmla="*/ 21025 h 267180"/>
                <a:gd name="connsiteX159" fmla="*/ 251934 w 454013"/>
                <a:gd name="connsiteY159" fmla="*/ 22114 h 267180"/>
                <a:gd name="connsiteX160" fmla="*/ 253719 w 454013"/>
                <a:gd name="connsiteY160" fmla="*/ 22053 h 267180"/>
                <a:gd name="connsiteX161" fmla="*/ 255201 w 454013"/>
                <a:gd name="connsiteY161" fmla="*/ 21358 h 267180"/>
                <a:gd name="connsiteX162" fmla="*/ 256593 w 454013"/>
                <a:gd name="connsiteY162" fmla="*/ 20420 h 267180"/>
                <a:gd name="connsiteX163" fmla="*/ 258105 w 454013"/>
                <a:gd name="connsiteY163" fmla="*/ 19724 h 267180"/>
                <a:gd name="connsiteX164" fmla="*/ 262976 w 454013"/>
                <a:gd name="connsiteY164" fmla="*/ 18968 h 267180"/>
                <a:gd name="connsiteX165" fmla="*/ 264398 w 454013"/>
                <a:gd name="connsiteY165" fmla="*/ 19180 h 267180"/>
                <a:gd name="connsiteX166" fmla="*/ 265547 w 454013"/>
                <a:gd name="connsiteY166" fmla="*/ 19603 h 267180"/>
                <a:gd name="connsiteX167" fmla="*/ 266001 w 454013"/>
                <a:gd name="connsiteY167" fmla="*/ 19815 h 267180"/>
                <a:gd name="connsiteX168" fmla="*/ 266909 w 454013"/>
                <a:gd name="connsiteY168" fmla="*/ 19875 h 267180"/>
                <a:gd name="connsiteX169" fmla="*/ 266334 w 454013"/>
                <a:gd name="connsiteY169" fmla="*/ 23142 h 267180"/>
                <a:gd name="connsiteX170" fmla="*/ 265699 w 454013"/>
                <a:gd name="connsiteY170" fmla="*/ 22810 h 267180"/>
                <a:gd name="connsiteX171" fmla="*/ 265638 w 454013"/>
                <a:gd name="connsiteY171" fmla="*/ 21993 h 267180"/>
                <a:gd name="connsiteX172" fmla="*/ 265547 w 454013"/>
                <a:gd name="connsiteY172" fmla="*/ 21751 h 267180"/>
                <a:gd name="connsiteX173" fmla="*/ 265093 w 454013"/>
                <a:gd name="connsiteY173" fmla="*/ 21781 h 267180"/>
                <a:gd name="connsiteX174" fmla="*/ 264579 w 454013"/>
                <a:gd name="connsiteY174" fmla="*/ 21963 h 267180"/>
                <a:gd name="connsiteX175" fmla="*/ 264216 w 454013"/>
                <a:gd name="connsiteY175" fmla="*/ 22235 h 267180"/>
                <a:gd name="connsiteX176" fmla="*/ 263974 w 454013"/>
                <a:gd name="connsiteY176" fmla="*/ 22991 h 267180"/>
                <a:gd name="connsiteX177" fmla="*/ 264156 w 454013"/>
                <a:gd name="connsiteY177" fmla="*/ 23627 h 267180"/>
                <a:gd name="connsiteX178" fmla="*/ 264367 w 454013"/>
                <a:gd name="connsiteY178" fmla="*/ 24171 h 267180"/>
                <a:gd name="connsiteX179" fmla="*/ 264428 w 454013"/>
                <a:gd name="connsiteY179" fmla="*/ 24625 h 267180"/>
                <a:gd name="connsiteX180" fmla="*/ 264307 w 454013"/>
                <a:gd name="connsiteY180" fmla="*/ 25563 h 267180"/>
                <a:gd name="connsiteX181" fmla="*/ 264337 w 454013"/>
                <a:gd name="connsiteY181" fmla="*/ 26531 h 267180"/>
                <a:gd name="connsiteX182" fmla="*/ 264247 w 454013"/>
                <a:gd name="connsiteY182" fmla="*/ 27559 h 267180"/>
                <a:gd name="connsiteX183" fmla="*/ 263793 w 454013"/>
                <a:gd name="connsiteY183" fmla="*/ 28285 h 267180"/>
                <a:gd name="connsiteX184" fmla="*/ 263581 w 454013"/>
                <a:gd name="connsiteY184" fmla="*/ 28618 h 267180"/>
                <a:gd name="connsiteX185" fmla="*/ 262220 w 454013"/>
                <a:gd name="connsiteY185" fmla="*/ 29042 h 267180"/>
                <a:gd name="connsiteX186" fmla="*/ 261312 w 454013"/>
                <a:gd name="connsiteY186" fmla="*/ 28013 h 267180"/>
                <a:gd name="connsiteX187" fmla="*/ 261100 w 454013"/>
                <a:gd name="connsiteY187" fmla="*/ 27771 h 267180"/>
                <a:gd name="connsiteX188" fmla="*/ 259920 w 454013"/>
                <a:gd name="connsiteY188" fmla="*/ 25926 h 267180"/>
                <a:gd name="connsiteX189" fmla="*/ 258378 w 454013"/>
                <a:gd name="connsiteY189" fmla="*/ 24594 h 267180"/>
                <a:gd name="connsiteX190" fmla="*/ 255352 w 454013"/>
                <a:gd name="connsiteY190" fmla="*/ 24867 h 267180"/>
                <a:gd name="connsiteX191" fmla="*/ 252267 w 454013"/>
                <a:gd name="connsiteY191" fmla="*/ 26743 h 267180"/>
                <a:gd name="connsiteX192" fmla="*/ 251087 w 454013"/>
                <a:gd name="connsiteY192" fmla="*/ 29102 h 267180"/>
                <a:gd name="connsiteX193" fmla="*/ 250966 w 454013"/>
                <a:gd name="connsiteY193" fmla="*/ 29737 h 267180"/>
                <a:gd name="connsiteX194" fmla="*/ 248183 w 454013"/>
                <a:gd name="connsiteY194" fmla="*/ 30161 h 267180"/>
                <a:gd name="connsiteX195" fmla="*/ 247880 w 454013"/>
                <a:gd name="connsiteY195" fmla="*/ 30222 h 267180"/>
                <a:gd name="connsiteX196" fmla="*/ 241437 w 454013"/>
                <a:gd name="connsiteY196" fmla="*/ 30191 h 267180"/>
                <a:gd name="connsiteX197" fmla="*/ 237625 w 454013"/>
                <a:gd name="connsiteY197" fmla="*/ 29253 h 267180"/>
                <a:gd name="connsiteX198" fmla="*/ 236627 w 454013"/>
                <a:gd name="connsiteY198" fmla="*/ 28648 h 267180"/>
                <a:gd name="connsiteX199" fmla="*/ 235931 w 454013"/>
                <a:gd name="connsiteY199" fmla="*/ 27347 h 267180"/>
                <a:gd name="connsiteX200" fmla="*/ 235387 w 454013"/>
                <a:gd name="connsiteY200" fmla="*/ 26017 h 267180"/>
                <a:gd name="connsiteX201" fmla="*/ 234842 w 454013"/>
                <a:gd name="connsiteY201" fmla="*/ 25411 h 267180"/>
                <a:gd name="connsiteX202" fmla="*/ 233692 w 454013"/>
                <a:gd name="connsiteY202" fmla="*/ 25320 h 267180"/>
                <a:gd name="connsiteX203" fmla="*/ 231060 w 454013"/>
                <a:gd name="connsiteY203" fmla="*/ 24564 h 267180"/>
                <a:gd name="connsiteX204" fmla="*/ 229245 w 454013"/>
                <a:gd name="connsiteY204" fmla="*/ 24564 h 267180"/>
                <a:gd name="connsiteX205" fmla="*/ 223830 w 454013"/>
                <a:gd name="connsiteY205" fmla="*/ 25411 h 267180"/>
                <a:gd name="connsiteX206" fmla="*/ 223286 w 454013"/>
                <a:gd name="connsiteY206" fmla="*/ 25744 h 267180"/>
                <a:gd name="connsiteX207" fmla="*/ 222802 w 454013"/>
                <a:gd name="connsiteY207" fmla="*/ 26410 h 267180"/>
                <a:gd name="connsiteX208" fmla="*/ 222106 w 454013"/>
                <a:gd name="connsiteY208" fmla="*/ 27075 h 267180"/>
                <a:gd name="connsiteX209" fmla="*/ 220261 w 454013"/>
                <a:gd name="connsiteY209" fmla="*/ 27589 h 267180"/>
                <a:gd name="connsiteX210" fmla="*/ 218083 w 454013"/>
                <a:gd name="connsiteY210" fmla="*/ 28648 h 267180"/>
                <a:gd name="connsiteX211" fmla="*/ 217266 w 454013"/>
                <a:gd name="connsiteY211" fmla="*/ 29253 h 267180"/>
                <a:gd name="connsiteX212" fmla="*/ 216419 w 454013"/>
                <a:gd name="connsiteY212" fmla="*/ 30161 h 267180"/>
                <a:gd name="connsiteX213" fmla="*/ 215995 w 454013"/>
                <a:gd name="connsiteY213" fmla="*/ 30857 h 267180"/>
                <a:gd name="connsiteX214" fmla="*/ 215572 w 454013"/>
                <a:gd name="connsiteY214" fmla="*/ 31431 h 267180"/>
                <a:gd name="connsiteX215" fmla="*/ 214574 w 454013"/>
                <a:gd name="connsiteY215" fmla="*/ 32067 h 267180"/>
                <a:gd name="connsiteX216" fmla="*/ 210066 w 454013"/>
                <a:gd name="connsiteY216" fmla="*/ 32974 h 267180"/>
                <a:gd name="connsiteX217" fmla="*/ 196967 w 454013"/>
                <a:gd name="connsiteY217" fmla="*/ 32974 h 267180"/>
                <a:gd name="connsiteX218" fmla="*/ 196695 w 454013"/>
                <a:gd name="connsiteY218" fmla="*/ 32400 h 267180"/>
                <a:gd name="connsiteX219" fmla="*/ 196483 w 454013"/>
                <a:gd name="connsiteY219" fmla="*/ 31129 h 267180"/>
                <a:gd name="connsiteX220" fmla="*/ 196181 w 454013"/>
                <a:gd name="connsiteY220" fmla="*/ 29828 h 267180"/>
                <a:gd name="connsiteX221" fmla="*/ 195576 w 454013"/>
                <a:gd name="connsiteY221" fmla="*/ 29253 h 267180"/>
                <a:gd name="connsiteX222" fmla="*/ 189071 w 454013"/>
                <a:gd name="connsiteY222" fmla="*/ 28890 h 267180"/>
                <a:gd name="connsiteX223" fmla="*/ 187650 w 454013"/>
                <a:gd name="connsiteY223" fmla="*/ 28225 h 267180"/>
                <a:gd name="connsiteX224" fmla="*/ 185835 w 454013"/>
                <a:gd name="connsiteY224" fmla="*/ 30857 h 267180"/>
                <a:gd name="connsiteX225" fmla="*/ 184231 w 454013"/>
                <a:gd name="connsiteY225" fmla="*/ 32641 h 267180"/>
                <a:gd name="connsiteX226" fmla="*/ 182325 w 454013"/>
                <a:gd name="connsiteY226" fmla="*/ 33610 h 267180"/>
                <a:gd name="connsiteX227" fmla="*/ 178363 w 454013"/>
                <a:gd name="connsiteY227" fmla="*/ 34366 h 267180"/>
                <a:gd name="connsiteX228" fmla="*/ 173946 w 454013"/>
                <a:gd name="connsiteY228" fmla="*/ 35213 h 267180"/>
                <a:gd name="connsiteX229" fmla="*/ 171737 w 454013"/>
                <a:gd name="connsiteY229" fmla="*/ 34941 h 267180"/>
                <a:gd name="connsiteX230" fmla="*/ 170285 w 454013"/>
                <a:gd name="connsiteY230" fmla="*/ 34245 h 267180"/>
                <a:gd name="connsiteX231" fmla="*/ 166534 w 454013"/>
                <a:gd name="connsiteY231" fmla="*/ 32400 h 267180"/>
                <a:gd name="connsiteX232" fmla="*/ 166806 w 454013"/>
                <a:gd name="connsiteY232" fmla="*/ 32430 h 267180"/>
                <a:gd name="connsiteX233" fmla="*/ 169166 w 454013"/>
                <a:gd name="connsiteY233" fmla="*/ 32430 h 267180"/>
                <a:gd name="connsiteX234" fmla="*/ 170225 w 454013"/>
                <a:gd name="connsiteY234" fmla="*/ 31492 h 267180"/>
                <a:gd name="connsiteX235" fmla="*/ 171556 w 454013"/>
                <a:gd name="connsiteY235" fmla="*/ 28073 h 267180"/>
                <a:gd name="connsiteX236" fmla="*/ 169287 w 454013"/>
                <a:gd name="connsiteY236" fmla="*/ 28285 h 267180"/>
                <a:gd name="connsiteX237" fmla="*/ 164144 w 454013"/>
                <a:gd name="connsiteY237" fmla="*/ 29707 h 267180"/>
                <a:gd name="connsiteX238" fmla="*/ 164084 w 454013"/>
                <a:gd name="connsiteY238" fmla="*/ 29707 h 267180"/>
                <a:gd name="connsiteX239" fmla="*/ 160545 w 454013"/>
                <a:gd name="connsiteY239" fmla="*/ 30948 h 267180"/>
                <a:gd name="connsiteX240" fmla="*/ 158155 w 454013"/>
                <a:gd name="connsiteY240" fmla="*/ 32157 h 267180"/>
                <a:gd name="connsiteX241" fmla="*/ 157580 w 454013"/>
                <a:gd name="connsiteY241" fmla="*/ 32581 h 267180"/>
                <a:gd name="connsiteX242" fmla="*/ 153768 w 454013"/>
                <a:gd name="connsiteY242" fmla="*/ 35485 h 267180"/>
                <a:gd name="connsiteX243" fmla="*/ 153980 w 454013"/>
                <a:gd name="connsiteY243" fmla="*/ 35576 h 267180"/>
                <a:gd name="connsiteX244" fmla="*/ 155674 w 454013"/>
                <a:gd name="connsiteY244" fmla="*/ 36756 h 267180"/>
                <a:gd name="connsiteX245" fmla="*/ 156007 w 454013"/>
                <a:gd name="connsiteY245" fmla="*/ 36756 h 267180"/>
                <a:gd name="connsiteX246" fmla="*/ 156037 w 454013"/>
                <a:gd name="connsiteY246" fmla="*/ 38117 h 267180"/>
                <a:gd name="connsiteX247" fmla="*/ 155614 w 454013"/>
                <a:gd name="connsiteY247" fmla="*/ 38904 h 267180"/>
                <a:gd name="connsiteX248" fmla="*/ 154797 w 454013"/>
                <a:gd name="connsiteY248" fmla="*/ 39146 h 267180"/>
                <a:gd name="connsiteX249" fmla="*/ 153768 w 454013"/>
                <a:gd name="connsiteY249" fmla="*/ 38964 h 267180"/>
                <a:gd name="connsiteX250" fmla="*/ 153163 w 454013"/>
                <a:gd name="connsiteY250" fmla="*/ 39236 h 267180"/>
                <a:gd name="connsiteX251" fmla="*/ 153042 w 454013"/>
                <a:gd name="connsiteY251" fmla="*/ 39660 h 267180"/>
                <a:gd name="connsiteX252" fmla="*/ 153254 w 454013"/>
                <a:gd name="connsiteY252" fmla="*/ 40204 h 267180"/>
                <a:gd name="connsiteX253" fmla="*/ 153980 w 454013"/>
                <a:gd name="connsiteY253" fmla="*/ 41142 h 267180"/>
                <a:gd name="connsiteX254" fmla="*/ 154071 w 454013"/>
                <a:gd name="connsiteY254" fmla="*/ 41445 h 267180"/>
                <a:gd name="connsiteX255" fmla="*/ 154071 w 454013"/>
                <a:gd name="connsiteY255" fmla="*/ 41505 h 267180"/>
                <a:gd name="connsiteX256" fmla="*/ 154071 w 454013"/>
                <a:gd name="connsiteY256" fmla="*/ 41838 h 267180"/>
                <a:gd name="connsiteX257" fmla="*/ 153919 w 454013"/>
                <a:gd name="connsiteY257" fmla="*/ 42231 h 267180"/>
                <a:gd name="connsiteX258" fmla="*/ 153768 w 454013"/>
                <a:gd name="connsiteY258" fmla="*/ 42443 h 267180"/>
                <a:gd name="connsiteX259" fmla="*/ 152225 w 454013"/>
                <a:gd name="connsiteY259" fmla="*/ 43744 h 267180"/>
                <a:gd name="connsiteX260" fmla="*/ 150924 w 454013"/>
                <a:gd name="connsiteY260" fmla="*/ 43562 h 267180"/>
                <a:gd name="connsiteX261" fmla="*/ 150047 w 454013"/>
                <a:gd name="connsiteY261" fmla="*/ 43048 h 267180"/>
                <a:gd name="connsiteX262" fmla="*/ 149594 w 454013"/>
                <a:gd name="connsiteY262" fmla="*/ 42806 h 267180"/>
                <a:gd name="connsiteX263" fmla="*/ 148051 w 454013"/>
                <a:gd name="connsiteY263" fmla="*/ 42292 h 267180"/>
                <a:gd name="connsiteX264" fmla="*/ 146871 w 454013"/>
                <a:gd name="connsiteY264" fmla="*/ 42625 h 267180"/>
                <a:gd name="connsiteX265" fmla="*/ 146871 w 454013"/>
                <a:gd name="connsiteY265" fmla="*/ 43441 h 267180"/>
                <a:gd name="connsiteX266" fmla="*/ 147385 w 454013"/>
                <a:gd name="connsiteY266" fmla="*/ 44288 h 267180"/>
                <a:gd name="connsiteX267" fmla="*/ 147718 w 454013"/>
                <a:gd name="connsiteY267" fmla="*/ 44621 h 267180"/>
                <a:gd name="connsiteX268" fmla="*/ 148202 w 454013"/>
                <a:gd name="connsiteY268" fmla="*/ 45256 h 267180"/>
                <a:gd name="connsiteX269" fmla="*/ 148383 w 454013"/>
                <a:gd name="connsiteY269" fmla="*/ 46043 h 267180"/>
                <a:gd name="connsiteX270" fmla="*/ 148051 w 454013"/>
                <a:gd name="connsiteY270" fmla="*/ 47313 h 267180"/>
                <a:gd name="connsiteX271" fmla="*/ 147506 w 454013"/>
                <a:gd name="connsiteY271" fmla="*/ 47979 h 267180"/>
                <a:gd name="connsiteX272" fmla="*/ 146054 w 454013"/>
                <a:gd name="connsiteY272" fmla="*/ 49703 h 267180"/>
                <a:gd name="connsiteX273" fmla="*/ 144239 w 454013"/>
                <a:gd name="connsiteY273" fmla="*/ 50369 h 267180"/>
                <a:gd name="connsiteX274" fmla="*/ 143271 w 454013"/>
                <a:gd name="connsiteY274" fmla="*/ 50732 h 267180"/>
                <a:gd name="connsiteX275" fmla="*/ 139096 w 454013"/>
                <a:gd name="connsiteY275" fmla="*/ 50581 h 267180"/>
                <a:gd name="connsiteX276" fmla="*/ 136283 w 454013"/>
                <a:gd name="connsiteY276" fmla="*/ 50460 h 267180"/>
                <a:gd name="connsiteX277" fmla="*/ 133621 w 454013"/>
                <a:gd name="connsiteY277" fmla="*/ 50974 h 267180"/>
                <a:gd name="connsiteX278" fmla="*/ 129809 w 454013"/>
                <a:gd name="connsiteY278" fmla="*/ 52517 h 267180"/>
                <a:gd name="connsiteX279" fmla="*/ 129144 w 454013"/>
                <a:gd name="connsiteY279" fmla="*/ 52638 h 267180"/>
                <a:gd name="connsiteX280" fmla="*/ 128357 w 454013"/>
                <a:gd name="connsiteY280" fmla="*/ 52335 h 267180"/>
                <a:gd name="connsiteX281" fmla="*/ 127964 w 454013"/>
                <a:gd name="connsiteY281" fmla="*/ 51821 h 267180"/>
                <a:gd name="connsiteX282" fmla="*/ 127661 w 454013"/>
                <a:gd name="connsiteY282" fmla="*/ 51337 h 267180"/>
                <a:gd name="connsiteX283" fmla="*/ 127238 w 454013"/>
                <a:gd name="connsiteY283" fmla="*/ 51034 h 267180"/>
                <a:gd name="connsiteX284" fmla="*/ 124303 w 454013"/>
                <a:gd name="connsiteY284" fmla="*/ 50187 h 267180"/>
                <a:gd name="connsiteX285" fmla="*/ 122125 w 454013"/>
                <a:gd name="connsiteY285" fmla="*/ 48977 h 267180"/>
                <a:gd name="connsiteX286" fmla="*/ 121550 w 454013"/>
                <a:gd name="connsiteY286" fmla="*/ 46739 h 267180"/>
                <a:gd name="connsiteX287" fmla="*/ 123365 w 454013"/>
                <a:gd name="connsiteY287" fmla="*/ 42866 h 267180"/>
                <a:gd name="connsiteX288" fmla="*/ 120643 w 454013"/>
                <a:gd name="connsiteY288" fmla="*/ 43108 h 267180"/>
                <a:gd name="connsiteX289" fmla="*/ 119493 w 454013"/>
                <a:gd name="connsiteY289" fmla="*/ 42957 h 267180"/>
                <a:gd name="connsiteX290" fmla="*/ 119282 w 454013"/>
                <a:gd name="connsiteY290" fmla="*/ 42927 h 267180"/>
                <a:gd name="connsiteX291" fmla="*/ 117981 w 454013"/>
                <a:gd name="connsiteY291" fmla="*/ 42231 h 267180"/>
                <a:gd name="connsiteX292" fmla="*/ 115621 w 454013"/>
                <a:gd name="connsiteY292" fmla="*/ 41777 h 267180"/>
                <a:gd name="connsiteX293" fmla="*/ 110599 w 454013"/>
                <a:gd name="connsiteY293" fmla="*/ 42564 h 267180"/>
                <a:gd name="connsiteX294" fmla="*/ 107998 w 454013"/>
                <a:gd name="connsiteY294" fmla="*/ 42231 h 267180"/>
                <a:gd name="connsiteX295" fmla="*/ 107060 w 454013"/>
                <a:gd name="connsiteY295" fmla="*/ 41596 h 267180"/>
                <a:gd name="connsiteX296" fmla="*/ 106153 w 454013"/>
                <a:gd name="connsiteY296" fmla="*/ 41384 h 267180"/>
                <a:gd name="connsiteX297" fmla="*/ 105245 w 454013"/>
                <a:gd name="connsiteY297" fmla="*/ 41596 h 267180"/>
                <a:gd name="connsiteX298" fmla="*/ 104367 w 454013"/>
                <a:gd name="connsiteY298" fmla="*/ 42231 h 267180"/>
                <a:gd name="connsiteX299" fmla="*/ 102492 w 454013"/>
                <a:gd name="connsiteY299" fmla="*/ 42745 h 267180"/>
                <a:gd name="connsiteX300" fmla="*/ 102734 w 454013"/>
                <a:gd name="connsiteY300" fmla="*/ 44288 h 267180"/>
                <a:gd name="connsiteX301" fmla="*/ 103793 w 454013"/>
                <a:gd name="connsiteY301" fmla="*/ 46164 h 267180"/>
                <a:gd name="connsiteX302" fmla="*/ 104277 w 454013"/>
                <a:gd name="connsiteY302" fmla="*/ 47797 h 267180"/>
                <a:gd name="connsiteX303" fmla="*/ 103521 w 454013"/>
                <a:gd name="connsiteY303" fmla="*/ 48947 h 267180"/>
                <a:gd name="connsiteX304" fmla="*/ 102008 w 454013"/>
                <a:gd name="connsiteY304" fmla="*/ 50127 h 267180"/>
                <a:gd name="connsiteX305" fmla="*/ 100374 w 454013"/>
                <a:gd name="connsiteY305" fmla="*/ 50974 h 267180"/>
                <a:gd name="connsiteX306" fmla="*/ 97743 w 454013"/>
                <a:gd name="connsiteY306" fmla="*/ 51518 h 267180"/>
                <a:gd name="connsiteX307" fmla="*/ 97591 w 454013"/>
                <a:gd name="connsiteY307" fmla="*/ 54090 h 267180"/>
                <a:gd name="connsiteX308" fmla="*/ 94990 w 454013"/>
                <a:gd name="connsiteY308" fmla="*/ 55512 h 267180"/>
                <a:gd name="connsiteX309" fmla="*/ 93507 w 454013"/>
                <a:gd name="connsiteY309" fmla="*/ 57296 h 267180"/>
                <a:gd name="connsiteX310" fmla="*/ 92267 w 454013"/>
                <a:gd name="connsiteY310" fmla="*/ 59414 h 267180"/>
                <a:gd name="connsiteX311" fmla="*/ 91753 w 454013"/>
                <a:gd name="connsiteY311" fmla="*/ 61169 h 267180"/>
                <a:gd name="connsiteX312" fmla="*/ 103732 w 454013"/>
                <a:gd name="connsiteY312" fmla="*/ 60080 h 267180"/>
                <a:gd name="connsiteX313" fmla="*/ 105578 w 454013"/>
                <a:gd name="connsiteY313" fmla="*/ 59263 h 267180"/>
                <a:gd name="connsiteX314" fmla="*/ 107060 w 454013"/>
                <a:gd name="connsiteY314" fmla="*/ 60382 h 267180"/>
                <a:gd name="connsiteX315" fmla="*/ 108572 w 454013"/>
                <a:gd name="connsiteY315" fmla="*/ 61652 h 267180"/>
                <a:gd name="connsiteX316" fmla="*/ 109631 w 454013"/>
                <a:gd name="connsiteY316" fmla="*/ 63014 h 267180"/>
                <a:gd name="connsiteX317" fmla="*/ 108845 w 454013"/>
                <a:gd name="connsiteY317" fmla="*/ 64527 h 267180"/>
                <a:gd name="connsiteX318" fmla="*/ 107907 w 454013"/>
                <a:gd name="connsiteY318" fmla="*/ 65071 h 267180"/>
                <a:gd name="connsiteX319" fmla="*/ 106879 w 454013"/>
                <a:gd name="connsiteY319" fmla="*/ 65343 h 267180"/>
                <a:gd name="connsiteX320" fmla="*/ 105820 w 454013"/>
                <a:gd name="connsiteY320" fmla="*/ 65918 h 267180"/>
                <a:gd name="connsiteX321" fmla="*/ 104367 w 454013"/>
                <a:gd name="connsiteY321" fmla="*/ 67733 h 267180"/>
                <a:gd name="connsiteX322" fmla="*/ 103823 w 454013"/>
                <a:gd name="connsiteY322" fmla="*/ 67945 h 267180"/>
                <a:gd name="connsiteX323" fmla="*/ 102915 w 454013"/>
                <a:gd name="connsiteY323" fmla="*/ 68036 h 267180"/>
                <a:gd name="connsiteX324" fmla="*/ 101010 w 454013"/>
                <a:gd name="connsiteY324" fmla="*/ 69851 h 267180"/>
                <a:gd name="connsiteX325" fmla="*/ 100374 w 454013"/>
                <a:gd name="connsiteY325" fmla="*/ 72634 h 267180"/>
                <a:gd name="connsiteX326" fmla="*/ 100768 w 454013"/>
                <a:gd name="connsiteY326" fmla="*/ 75992 h 267180"/>
                <a:gd name="connsiteX327" fmla="*/ 93931 w 454013"/>
                <a:gd name="connsiteY327" fmla="*/ 80620 h 267180"/>
                <a:gd name="connsiteX328" fmla="*/ 91027 w 454013"/>
                <a:gd name="connsiteY328" fmla="*/ 83373 h 267180"/>
                <a:gd name="connsiteX329" fmla="*/ 89091 w 454013"/>
                <a:gd name="connsiteY329" fmla="*/ 86277 h 267180"/>
                <a:gd name="connsiteX330" fmla="*/ 88879 w 454013"/>
                <a:gd name="connsiteY330" fmla="*/ 86489 h 267180"/>
                <a:gd name="connsiteX331" fmla="*/ 82496 w 454013"/>
                <a:gd name="connsiteY331" fmla="*/ 91904 h 267180"/>
                <a:gd name="connsiteX332" fmla="*/ 79501 w 454013"/>
                <a:gd name="connsiteY332" fmla="*/ 92872 h 267180"/>
                <a:gd name="connsiteX333" fmla="*/ 79622 w 454013"/>
                <a:gd name="connsiteY333" fmla="*/ 95171 h 267180"/>
                <a:gd name="connsiteX334" fmla="*/ 78170 w 454013"/>
                <a:gd name="connsiteY334" fmla="*/ 95897 h 267180"/>
                <a:gd name="connsiteX335" fmla="*/ 77807 w 454013"/>
                <a:gd name="connsiteY335" fmla="*/ 96109 h 267180"/>
                <a:gd name="connsiteX336" fmla="*/ 77414 w 454013"/>
                <a:gd name="connsiteY336" fmla="*/ 96986 h 267180"/>
                <a:gd name="connsiteX337" fmla="*/ 74903 w 454013"/>
                <a:gd name="connsiteY337" fmla="*/ 97803 h 267180"/>
                <a:gd name="connsiteX338" fmla="*/ 73935 w 454013"/>
                <a:gd name="connsiteY338" fmla="*/ 98680 h 267180"/>
                <a:gd name="connsiteX339" fmla="*/ 72603 w 454013"/>
                <a:gd name="connsiteY339" fmla="*/ 100828 h 267180"/>
                <a:gd name="connsiteX340" fmla="*/ 73814 w 454013"/>
                <a:gd name="connsiteY340" fmla="*/ 103339 h 267180"/>
                <a:gd name="connsiteX341" fmla="*/ 71514 w 454013"/>
                <a:gd name="connsiteY341" fmla="*/ 106394 h 267180"/>
                <a:gd name="connsiteX342" fmla="*/ 64799 w 454013"/>
                <a:gd name="connsiteY342" fmla="*/ 111084 h 267180"/>
                <a:gd name="connsiteX343" fmla="*/ 53969 w 454013"/>
                <a:gd name="connsiteY343" fmla="*/ 114229 h 267180"/>
                <a:gd name="connsiteX344" fmla="*/ 49098 w 454013"/>
                <a:gd name="connsiteY344" fmla="*/ 116831 h 267180"/>
                <a:gd name="connsiteX345" fmla="*/ 47586 w 454013"/>
                <a:gd name="connsiteY345" fmla="*/ 121581 h 267180"/>
                <a:gd name="connsiteX346" fmla="*/ 48009 w 454013"/>
                <a:gd name="connsiteY346" fmla="*/ 122791 h 267180"/>
                <a:gd name="connsiteX347" fmla="*/ 49340 w 454013"/>
                <a:gd name="connsiteY347" fmla="*/ 125150 h 267180"/>
                <a:gd name="connsiteX348" fmla="*/ 49673 w 454013"/>
                <a:gd name="connsiteY348" fmla="*/ 126633 h 267180"/>
                <a:gd name="connsiteX349" fmla="*/ 49522 w 454013"/>
                <a:gd name="connsiteY349" fmla="*/ 128508 h 267180"/>
                <a:gd name="connsiteX350" fmla="*/ 49128 w 454013"/>
                <a:gd name="connsiteY350" fmla="*/ 129355 h 267180"/>
                <a:gd name="connsiteX351" fmla="*/ 48947 w 454013"/>
                <a:gd name="connsiteY351" fmla="*/ 129809 h 267180"/>
                <a:gd name="connsiteX352" fmla="*/ 48251 w 454013"/>
                <a:gd name="connsiteY352" fmla="*/ 130959 h 267180"/>
                <a:gd name="connsiteX353" fmla="*/ 46648 w 454013"/>
                <a:gd name="connsiteY353" fmla="*/ 135345 h 267180"/>
                <a:gd name="connsiteX354" fmla="*/ 46527 w 454013"/>
                <a:gd name="connsiteY354" fmla="*/ 136011 h 267180"/>
                <a:gd name="connsiteX355" fmla="*/ 46799 w 454013"/>
                <a:gd name="connsiteY355" fmla="*/ 136767 h 267180"/>
                <a:gd name="connsiteX356" fmla="*/ 47344 w 454013"/>
                <a:gd name="connsiteY356" fmla="*/ 137432 h 267180"/>
                <a:gd name="connsiteX357" fmla="*/ 48070 w 454013"/>
                <a:gd name="connsiteY357" fmla="*/ 138189 h 267180"/>
                <a:gd name="connsiteX358" fmla="*/ 48130 w 454013"/>
                <a:gd name="connsiteY358" fmla="*/ 140458 h 267180"/>
                <a:gd name="connsiteX359" fmla="*/ 47737 w 454013"/>
                <a:gd name="connsiteY359" fmla="*/ 141577 h 267180"/>
                <a:gd name="connsiteX360" fmla="*/ 46587 w 454013"/>
                <a:gd name="connsiteY360" fmla="*/ 142878 h 267180"/>
                <a:gd name="connsiteX361" fmla="*/ 45559 w 454013"/>
                <a:gd name="connsiteY361" fmla="*/ 143604 h 267180"/>
                <a:gd name="connsiteX362" fmla="*/ 42201 w 454013"/>
                <a:gd name="connsiteY362" fmla="*/ 145267 h 267180"/>
                <a:gd name="connsiteX363" fmla="*/ 39539 w 454013"/>
                <a:gd name="connsiteY363" fmla="*/ 148020 h 267180"/>
                <a:gd name="connsiteX364" fmla="*/ 38540 w 454013"/>
                <a:gd name="connsiteY364" fmla="*/ 148777 h 267180"/>
                <a:gd name="connsiteX365" fmla="*/ 31340 w 454013"/>
                <a:gd name="connsiteY365" fmla="*/ 152407 h 267180"/>
                <a:gd name="connsiteX366" fmla="*/ 17818 w 454013"/>
                <a:gd name="connsiteY366" fmla="*/ 163812 h 267180"/>
                <a:gd name="connsiteX367" fmla="*/ 16457 w 454013"/>
                <a:gd name="connsiteY367" fmla="*/ 165445 h 267180"/>
                <a:gd name="connsiteX368" fmla="*/ 16790 w 454013"/>
                <a:gd name="connsiteY368" fmla="*/ 167200 h 267180"/>
                <a:gd name="connsiteX369" fmla="*/ 19210 w 454013"/>
                <a:gd name="connsiteY369" fmla="*/ 169711 h 267180"/>
                <a:gd name="connsiteX370" fmla="*/ 15640 w 454013"/>
                <a:gd name="connsiteY370" fmla="*/ 173855 h 267180"/>
                <a:gd name="connsiteX371" fmla="*/ 12161 w 454013"/>
                <a:gd name="connsiteY371" fmla="*/ 179391 h 267180"/>
                <a:gd name="connsiteX372" fmla="*/ 11012 w 454013"/>
                <a:gd name="connsiteY372" fmla="*/ 180510 h 267180"/>
                <a:gd name="connsiteX373" fmla="*/ 10618 w 454013"/>
                <a:gd name="connsiteY373" fmla="*/ 181327 h 267180"/>
                <a:gd name="connsiteX374" fmla="*/ 10618 w 454013"/>
                <a:gd name="connsiteY374" fmla="*/ 182023 h 267180"/>
                <a:gd name="connsiteX375" fmla="*/ 10830 w 454013"/>
                <a:gd name="connsiteY375" fmla="*/ 182658 h 267180"/>
                <a:gd name="connsiteX376" fmla="*/ 11072 w 454013"/>
                <a:gd name="connsiteY376" fmla="*/ 183203 h 267180"/>
                <a:gd name="connsiteX377" fmla="*/ 11133 w 454013"/>
                <a:gd name="connsiteY377" fmla="*/ 183626 h 267180"/>
                <a:gd name="connsiteX378" fmla="*/ 11133 w 454013"/>
                <a:gd name="connsiteY378" fmla="*/ 184625 h 267180"/>
                <a:gd name="connsiteX379" fmla="*/ 11344 w 454013"/>
                <a:gd name="connsiteY379" fmla="*/ 185532 h 267180"/>
                <a:gd name="connsiteX380" fmla="*/ 11163 w 454013"/>
                <a:gd name="connsiteY380" fmla="*/ 186440 h 267180"/>
                <a:gd name="connsiteX381" fmla="*/ 10013 w 454013"/>
                <a:gd name="connsiteY381" fmla="*/ 187438 h 267180"/>
                <a:gd name="connsiteX382" fmla="*/ 10498 w 454013"/>
                <a:gd name="connsiteY382" fmla="*/ 187710 h 267180"/>
                <a:gd name="connsiteX383" fmla="*/ 15429 w 454013"/>
                <a:gd name="connsiteY383" fmla="*/ 190524 h 267180"/>
                <a:gd name="connsiteX384" fmla="*/ 16911 w 454013"/>
                <a:gd name="connsiteY384" fmla="*/ 191976 h 267180"/>
                <a:gd name="connsiteX385" fmla="*/ 18121 w 454013"/>
                <a:gd name="connsiteY385" fmla="*/ 194002 h 267180"/>
                <a:gd name="connsiteX386" fmla="*/ 18272 w 454013"/>
                <a:gd name="connsiteY386" fmla="*/ 195485 h 267180"/>
                <a:gd name="connsiteX387" fmla="*/ 16487 w 454013"/>
                <a:gd name="connsiteY387" fmla="*/ 199176 h 267180"/>
                <a:gd name="connsiteX388" fmla="*/ 15005 w 454013"/>
                <a:gd name="connsiteY388" fmla="*/ 202171 h 267180"/>
                <a:gd name="connsiteX389" fmla="*/ 14672 w 454013"/>
                <a:gd name="connsiteY389" fmla="*/ 203229 h 267180"/>
                <a:gd name="connsiteX390" fmla="*/ 13976 w 454013"/>
                <a:gd name="connsiteY390" fmla="*/ 207011 h 267180"/>
                <a:gd name="connsiteX391" fmla="*/ 13916 w 454013"/>
                <a:gd name="connsiteY391" fmla="*/ 208463 h 267180"/>
                <a:gd name="connsiteX392" fmla="*/ 14006 w 454013"/>
                <a:gd name="connsiteY392" fmla="*/ 209673 h 267180"/>
                <a:gd name="connsiteX393" fmla="*/ 13583 w 454013"/>
                <a:gd name="connsiteY393" fmla="*/ 210581 h 267180"/>
                <a:gd name="connsiteX394" fmla="*/ 11344 w 454013"/>
                <a:gd name="connsiteY394" fmla="*/ 211216 h 267180"/>
                <a:gd name="connsiteX395" fmla="*/ 10770 w 454013"/>
                <a:gd name="connsiteY395" fmla="*/ 211276 h 267180"/>
                <a:gd name="connsiteX396" fmla="*/ 10164 w 454013"/>
                <a:gd name="connsiteY396" fmla="*/ 211216 h 267180"/>
                <a:gd name="connsiteX397" fmla="*/ 9378 w 454013"/>
                <a:gd name="connsiteY397" fmla="*/ 210974 h 267180"/>
                <a:gd name="connsiteX398" fmla="*/ 9197 w 454013"/>
                <a:gd name="connsiteY398" fmla="*/ 210974 h 267180"/>
                <a:gd name="connsiteX399" fmla="*/ 9015 w 454013"/>
                <a:gd name="connsiteY399" fmla="*/ 210974 h 267180"/>
                <a:gd name="connsiteX400" fmla="*/ 8864 w 454013"/>
                <a:gd name="connsiteY400" fmla="*/ 211004 h 267180"/>
                <a:gd name="connsiteX401" fmla="*/ 2844 w 454013"/>
                <a:gd name="connsiteY401" fmla="*/ 213757 h 267180"/>
                <a:gd name="connsiteX402" fmla="*/ 363 w 454013"/>
                <a:gd name="connsiteY402" fmla="*/ 215148 h 267180"/>
                <a:gd name="connsiteX403" fmla="*/ 0 w 454013"/>
                <a:gd name="connsiteY403" fmla="*/ 216782 h 267180"/>
                <a:gd name="connsiteX404" fmla="*/ 1059 w 454013"/>
                <a:gd name="connsiteY404" fmla="*/ 218597 h 267180"/>
                <a:gd name="connsiteX405" fmla="*/ 2844 w 454013"/>
                <a:gd name="connsiteY405" fmla="*/ 220654 h 267180"/>
                <a:gd name="connsiteX406" fmla="*/ 2511 w 454013"/>
                <a:gd name="connsiteY406" fmla="*/ 221804 h 267180"/>
                <a:gd name="connsiteX407" fmla="*/ 1755 w 454013"/>
                <a:gd name="connsiteY407" fmla="*/ 223135 h 267180"/>
                <a:gd name="connsiteX408" fmla="*/ 393 w 454013"/>
                <a:gd name="connsiteY408" fmla="*/ 226039 h 267180"/>
                <a:gd name="connsiteX409" fmla="*/ 2844 w 454013"/>
                <a:gd name="connsiteY409" fmla="*/ 224708 h 267180"/>
                <a:gd name="connsiteX410" fmla="*/ 7382 w 454013"/>
                <a:gd name="connsiteY410" fmla="*/ 223710 h 267180"/>
                <a:gd name="connsiteX411" fmla="*/ 11980 w 454013"/>
                <a:gd name="connsiteY411" fmla="*/ 223528 h 267180"/>
                <a:gd name="connsiteX412" fmla="*/ 15398 w 454013"/>
                <a:gd name="connsiteY412" fmla="*/ 224950 h 267180"/>
                <a:gd name="connsiteX413" fmla="*/ 18665 w 454013"/>
                <a:gd name="connsiteY413" fmla="*/ 223407 h 267180"/>
                <a:gd name="connsiteX414" fmla="*/ 23808 w 454013"/>
                <a:gd name="connsiteY414" fmla="*/ 217871 h 267180"/>
                <a:gd name="connsiteX415" fmla="*/ 30251 w 454013"/>
                <a:gd name="connsiteY415" fmla="*/ 213938 h 267180"/>
                <a:gd name="connsiteX416" fmla="*/ 32853 w 454013"/>
                <a:gd name="connsiteY416" fmla="*/ 211427 h 267180"/>
                <a:gd name="connsiteX417" fmla="*/ 32309 w 454013"/>
                <a:gd name="connsiteY417" fmla="*/ 208342 h 267180"/>
                <a:gd name="connsiteX418" fmla="*/ 31613 w 454013"/>
                <a:gd name="connsiteY418" fmla="*/ 208069 h 267180"/>
                <a:gd name="connsiteX419" fmla="*/ 29919 w 454013"/>
                <a:gd name="connsiteY419" fmla="*/ 208765 h 267180"/>
                <a:gd name="connsiteX420" fmla="*/ 28890 w 454013"/>
                <a:gd name="connsiteY420" fmla="*/ 208251 h 267180"/>
                <a:gd name="connsiteX421" fmla="*/ 28467 w 454013"/>
                <a:gd name="connsiteY421" fmla="*/ 207706 h 267180"/>
                <a:gd name="connsiteX422" fmla="*/ 27499 w 454013"/>
                <a:gd name="connsiteY422" fmla="*/ 205498 h 267180"/>
                <a:gd name="connsiteX423" fmla="*/ 27438 w 454013"/>
                <a:gd name="connsiteY423" fmla="*/ 204953 h 267180"/>
                <a:gd name="connsiteX424" fmla="*/ 26531 w 454013"/>
                <a:gd name="connsiteY424" fmla="*/ 202685 h 267180"/>
                <a:gd name="connsiteX425" fmla="*/ 26107 w 454013"/>
                <a:gd name="connsiteY425" fmla="*/ 201354 h 267180"/>
                <a:gd name="connsiteX426" fmla="*/ 26621 w 454013"/>
                <a:gd name="connsiteY426" fmla="*/ 199508 h 267180"/>
                <a:gd name="connsiteX427" fmla="*/ 28739 w 454013"/>
                <a:gd name="connsiteY427" fmla="*/ 196877 h 267180"/>
                <a:gd name="connsiteX428" fmla="*/ 31613 w 454013"/>
                <a:gd name="connsiteY428" fmla="*/ 193398 h 267180"/>
                <a:gd name="connsiteX429" fmla="*/ 34910 w 454013"/>
                <a:gd name="connsiteY429" fmla="*/ 190796 h 267180"/>
                <a:gd name="connsiteX430" fmla="*/ 37996 w 454013"/>
                <a:gd name="connsiteY430" fmla="*/ 189858 h 267180"/>
                <a:gd name="connsiteX431" fmla="*/ 41293 w 454013"/>
                <a:gd name="connsiteY431" fmla="*/ 189707 h 267180"/>
                <a:gd name="connsiteX432" fmla="*/ 44561 w 454013"/>
                <a:gd name="connsiteY432" fmla="*/ 188951 h 267180"/>
                <a:gd name="connsiteX433" fmla="*/ 53152 w 454013"/>
                <a:gd name="connsiteY433" fmla="*/ 183536 h 267180"/>
                <a:gd name="connsiteX434" fmla="*/ 59596 w 454013"/>
                <a:gd name="connsiteY434" fmla="*/ 182356 h 267180"/>
                <a:gd name="connsiteX435" fmla="*/ 66311 w 454013"/>
                <a:gd name="connsiteY435" fmla="*/ 182537 h 267180"/>
                <a:gd name="connsiteX436" fmla="*/ 81286 w 454013"/>
                <a:gd name="connsiteY436" fmla="*/ 186137 h 267180"/>
                <a:gd name="connsiteX437" fmla="*/ 82798 w 454013"/>
                <a:gd name="connsiteY437" fmla="*/ 186833 h 267180"/>
                <a:gd name="connsiteX438" fmla="*/ 82798 w 454013"/>
                <a:gd name="connsiteY438" fmla="*/ 186833 h 267180"/>
                <a:gd name="connsiteX439" fmla="*/ 83736 w 454013"/>
                <a:gd name="connsiteY439" fmla="*/ 188164 h 267180"/>
                <a:gd name="connsiteX440" fmla="*/ 83857 w 454013"/>
                <a:gd name="connsiteY440" fmla="*/ 189374 h 267180"/>
                <a:gd name="connsiteX441" fmla="*/ 83978 w 454013"/>
                <a:gd name="connsiteY441" fmla="*/ 190675 h 267180"/>
                <a:gd name="connsiteX442" fmla="*/ 83252 w 454013"/>
                <a:gd name="connsiteY442" fmla="*/ 192913 h 267180"/>
                <a:gd name="connsiteX443" fmla="*/ 80590 w 454013"/>
                <a:gd name="connsiteY443" fmla="*/ 195788 h 267180"/>
                <a:gd name="connsiteX444" fmla="*/ 80046 w 454013"/>
                <a:gd name="connsiteY444" fmla="*/ 197330 h 267180"/>
                <a:gd name="connsiteX445" fmla="*/ 81982 w 454013"/>
                <a:gd name="connsiteY445" fmla="*/ 200386 h 267180"/>
                <a:gd name="connsiteX446" fmla="*/ 85551 w 454013"/>
                <a:gd name="connsiteY446" fmla="*/ 203864 h 267180"/>
                <a:gd name="connsiteX447" fmla="*/ 87820 w 454013"/>
                <a:gd name="connsiteY447" fmla="*/ 207495 h 267180"/>
                <a:gd name="connsiteX448" fmla="*/ 84280 w 454013"/>
                <a:gd name="connsiteY448" fmla="*/ 213878 h 267180"/>
                <a:gd name="connsiteX449" fmla="*/ 82526 w 454013"/>
                <a:gd name="connsiteY449" fmla="*/ 218657 h 267180"/>
                <a:gd name="connsiteX450" fmla="*/ 81588 w 454013"/>
                <a:gd name="connsiteY450" fmla="*/ 223225 h 267180"/>
                <a:gd name="connsiteX451" fmla="*/ 82465 w 454013"/>
                <a:gd name="connsiteY451" fmla="*/ 225464 h 267180"/>
                <a:gd name="connsiteX452" fmla="*/ 90482 w 454013"/>
                <a:gd name="connsiteY452" fmla="*/ 227067 h 267180"/>
                <a:gd name="connsiteX453" fmla="*/ 92025 w 454013"/>
                <a:gd name="connsiteY453" fmla="*/ 228459 h 267180"/>
                <a:gd name="connsiteX454" fmla="*/ 91904 w 454013"/>
                <a:gd name="connsiteY454" fmla="*/ 229457 h 267180"/>
                <a:gd name="connsiteX455" fmla="*/ 91208 w 454013"/>
                <a:gd name="connsiteY455" fmla="*/ 230486 h 267180"/>
                <a:gd name="connsiteX456" fmla="*/ 90391 w 454013"/>
                <a:gd name="connsiteY456" fmla="*/ 231394 h 267180"/>
                <a:gd name="connsiteX457" fmla="*/ 89938 w 454013"/>
                <a:gd name="connsiteY457" fmla="*/ 232089 h 267180"/>
                <a:gd name="connsiteX458" fmla="*/ 90210 w 454013"/>
                <a:gd name="connsiteY458" fmla="*/ 231938 h 267180"/>
                <a:gd name="connsiteX459" fmla="*/ 90391 w 454013"/>
                <a:gd name="connsiteY459" fmla="*/ 233269 h 267180"/>
                <a:gd name="connsiteX460" fmla="*/ 90422 w 454013"/>
                <a:gd name="connsiteY460" fmla="*/ 234661 h 267180"/>
                <a:gd name="connsiteX461" fmla="*/ 90271 w 454013"/>
                <a:gd name="connsiteY461" fmla="*/ 234812 h 267180"/>
                <a:gd name="connsiteX462" fmla="*/ 90331 w 454013"/>
                <a:gd name="connsiteY462" fmla="*/ 235840 h 267180"/>
                <a:gd name="connsiteX463" fmla="*/ 90119 w 454013"/>
                <a:gd name="connsiteY463" fmla="*/ 236385 h 267180"/>
                <a:gd name="connsiteX464" fmla="*/ 90180 w 454013"/>
                <a:gd name="connsiteY464" fmla="*/ 236778 h 267180"/>
                <a:gd name="connsiteX465" fmla="*/ 91057 w 454013"/>
                <a:gd name="connsiteY465" fmla="*/ 237414 h 267180"/>
                <a:gd name="connsiteX466" fmla="*/ 92025 w 454013"/>
                <a:gd name="connsiteY466" fmla="*/ 237534 h 267180"/>
                <a:gd name="connsiteX467" fmla="*/ 92781 w 454013"/>
                <a:gd name="connsiteY467" fmla="*/ 236990 h 267180"/>
                <a:gd name="connsiteX468" fmla="*/ 93507 w 454013"/>
                <a:gd name="connsiteY468" fmla="*/ 236324 h 267180"/>
                <a:gd name="connsiteX469" fmla="*/ 94354 w 454013"/>
                <a:gd name="connsiteY469" fmla="*/ 236022 h 267180"/>
                <a:gd name="connsiteX470" fmla="*/ 96623 w 454013"/>
                <a:gd name="connsiteY470" fmla="*/ 236929 h 267180"/>
                <a:gd name="connsiteX471" fmla="*/ 103430 w 454013"/>
                <a:gd name="connsiteY471" fmla="*/ 244008 h 267180"/>
                <a:gd name="connsiteX472" fmla="*/ 103944 w 454013"/>
                <a:gd name="connsiteY472" fmla="*/ 244311 h 267180"/>
                <a:gd name="connsiteX473" fmla="*/ 104307 w 454013"/>
                <a:gd name="connsiteY473" fmla="*/ 245733 h 267180"/>
                <a:gd name="connsiteX474" fmla="*/ 105456 w 454013"/>
                <a:gd name="connsiteY474" fmla="*/ 248485 h 267180"/>
                <a:gd name="connsiteX475" fmla="*/ 106153 w 454013"/>
                <a:gd name="connsiteY475" fmla="*/ 250906 h 267180"/>
                <a:gd name="connsiteX476" fmla="*/ 106697 w 454013"/>
                <a:gd name="connsiteY476" fmla="*/ 252236 h 267180"/>
                <a:gd name="connsiteX477" fmla="*/ 107393 w 454013"/>
                <a:gd name="connsiteY477" fmla="*/ 253326 h 267180"/>
                <a:gd name="connsiteX478" fmla="*/ 111900 w 454013"/>
                <a:gd name="connsiteY478" fmla="*/ 257954 h 267180"/>
                <a:gd name="connsiteX479" fmla="*/ 114260 w 454013"/>
                <a:gd name="connsiteY479" fmla="*/ 259255 h 267180"/>
                <a:gd name="connsiteX480" fmla="*/ 117345 w 454013"/>
                <a:gd name="connsiteY480" fmla="*/ 259860 h 267180"/>
                <a:gd name="connsiteX481" fmla="*/ 120643 w 454013"/>
                <a:gd name="connsiteY481" fmla="*/ 259799 h 267180"/>
                <a:gd name="connsiteX482" fmla="*/ 123668 w 454013"/>
                <a:gd name="connsiteY482" fmla="*/ 259255 h 267180"/>
                <a:gd name="connsiteX483" fmla="*/ 129870 w 454013"/>
                <a:gd name="connsiteY483" fmla="*/ 256926 h 267180"/>
                <a:gd name="connsiteX484" fmla="*/ 132713 w 454013"/>
                <a:gd name="connsiteY484" fmla="*/ 255322 h 267180"/>
                <a:gd name="connsiteX485" fmla="*/ 134014 w 454013"/>
                <a:gd name="connsiteY485" fmla="*/ 254899 h 267180"/>
                <a:gd name="connsiteX486" fmla="*/ 141577 w 454013"/>
                <a:gd name="connsiteY486" fmla="*/ 255625 h 267180"/>
                <a:gd name="connsiteX487" fmla="*/ 144814 w 454013"/>
                <a:gd name="connsiteY487" fmla="*/ 254566 h 267180"/>
                <a:gd name="connsiteX488" fmla="*/ 150743 w 454013"/>
                <a:gd name="connsiteY488" fmla="*/ 250573 h 267180"/>
                <a:gd name="connsiteX489" fmla="*/ 153768 w 454013"/>
                <a:gd name="connsiteY489" fmla="*/ 249393 h 267180"/>
                <a:gd name="connsiteX490" fmla="*/ 155855 w 454013"/>
                <a:gd name="connsiteY490" fmla="*/ 249151 h 267180"/>
                <a:gd name="connsiteX491" fmla="*/ 156975 w 454013"/>
                <a:gd name="connsiteY491" fmla="*/ 247820 h 267180"/>
                <a:gd name="connsiteX492" fmla="*/ 157943 w 454013"/>
                <a:gd name="connsiteY492" fmla="*/ 246307 h 267180"/>
                <a:gd name="connsiteX493" fmla="*/ 159607 w 454013"/>
                <a:gd name="connsiteY493" fmla="*/ 245490 h 267180"/>
                <a:gd name="connsiteX494" fmla="*/ 169892 w 454013"/>
                <a:gd name="connsiteY494" fmla="*/ 247850 h 267180"/>
                <a:gd name="connsiteX495" fmla="*/ 171465 w 454013"/>
                <a:gd name="connsiteY495" fmla="*/ 248697 h 267180"/>
                <a:gd name="connsiteX496" fmla="*/ 172978 w 454013"/>
                <a:gd name="connsiteY496" fmla="*/ 249998 h 267180"/>
                <a:gd name="connsiteX497" fmla="*/ 174853 w 454013"/>
                <a:gd name="connsiteY497" fmla="*/ 252539 h 267180"/>
                <a:gd name="connsiteX498" fmla="*/ 175005 w 454013"/>
                <a:gd name="connsiteY498" fmla="*/ 252872 h 267180"/>
                <a:gd name="connsiteX499" fmla="*/ 176245 w 454013"/>
                <a:gd name="connsiteY499" fmla="*/ 253265 h 267180"/>
                <a:gd name="connsiteX500" fmla="*/ 177092 w 454013"/>
                <a:gd name="connsiteY500" fmla="*/ 253053 h 267180"/>
                <a:gd name="connsiteX501" fmla="*/ 177848 w 454013"/>
                <a:gd name="connsiteY501" fmla="*/ 252751 h 267180"/>
                <a:gd name="connsiteX502" fmla="*/ 178846 w 454013"/>
                <a:gd name="connsiteY502" fmla="*/ 252630 h 267180"/>
                <a:gd name="connsiteX503" fmla="*/ 183687 w 454013"/>
                <a:gd name="connsiteY503" fmla="*/ 254263 h 267180"/>
                <a:gd name="connsiteX504" fmla="*/ 186440 w 454013"/>
                <a:gd name="connsiteY504" fmla="*/ 254203 h 267180"/>
                <a:gd name="connsiteX505" fmla="*/ 188255 w 454013"/>
                <a:gd name="connsiteY505" fmla="*/ 254717 h 267180"/>
                <a:gd name="connsiteX506" fmla="*/ 188830 w 454013"/>
                <a:gd name="connsiteY506" fmla="*/ 254748 h 267180"/>
                <a:gd name="connsiteX507" fmla="*/ 190070 w 454013"/>
                <a:gd name="connsiteY507" fmla="*/ 254112 h 267180"/>
                <a:gd name="connsiteX508" fmla="*/ 190312 w 454013"/>
                <a:gd name="connsiteY508" fmla="*/ 253689 h 267180"/>
                <a:gd name="connsiteX509" fmla="*/ 190221 w 454013"/>
                <a:gd name="connsiteY509" fmla="*/ 252962 h 267180"/>
                <a:gd name="connsiteX510" fmla="*/ 190554 w 454013"/>
                <a:gd name="connsiteY510" fmla="*/ 251632 h 267180"/>
                <a:gd name="connsiteX511" fmla="*/ 190675 w 454013"/>
                <a:gd name="connsiteY511" fmla="*/ 251390 h 267180"/>
                <a:gd name="connsiteX512" fmla="*/ 192883 w 454013"/>
                <a:gd name="connsiteY512" fmla="*/ 247517 h 267180"/>
                <a:gd name="connsiteX513" fmla="*/ 195576 w 454013"/>
                <a:gd name="connsiteY513" fmla="*/ 245793 h 267180"/>
                <a:gd name="connsiteX514" fmla="*/ 202685 w 454013"/>
                <a:gd name="connsiteY514" fmla="*/ 244311 h 267180"/>
                <a:gd name="connsiteX515" fmla="*/ 203653 w 454013"/>
                <a:gd name="connsiteY515" fmla="*/ 244038 h 267180"/>
                <a:gd name="connsiteX516" fmla="*/ 204379 w 454013"/>
                <a:gd name="connsiteY516" fmla="*/ 243494 h 267180"/>
                <a:gd name="connsiteX517" fmla="*/ 205650 w 454013"/>
                <a:gd name="connsiteY517" fmla="*/ 241982 h 267180"/>
                <a:gd name="connsiteX518" fmla="*/ 205710 w 454013"/>
                <a:gd name="connsiteY518" fmla="*/ 241679 h 267180"/>
                <a:gd name="connsiteX519" fmla="*/ 206678 w 454013"/>
                <a:gd name="connsiteY519" fmla="*/ 239713 h 267180"/>
                <a:gd name="connsiteX520" fmla="*/ 206890 w 454013"/>
                <a:gd name="connsiteY520" fmla="*/ 239440 h 267180"/>
                <a:gd name="connsiteX521" fmla="*/ 207404 w 454013"/>
                <a:gd name="connsiteY521" fmla="*/ 235659 h 267180"/>
                <a:gd name="connsiteX522" fmla="*/ 207404 w 454013"/>
                <a:gd name="connsiteY522" fmla="*/ 234176 h 267180"/>
                <a:gd name="connsiteX523" fmla="*/ 207646 w 454013"/>
                <a:gd name="connsiteY523" fmla="*/ 232634 h 267180"/>
                <a:gd name="connsiteX524" fmla="*/ 208342 w 454013"/>
                <a:gd name="connsiteY524" fmla="*/ 231272 h 267180"/>
                <a:gd name="connsiteX525" fmla="*/ 209370 w 454013"/>
                <a:gd name="connsiteY525" fmla="*/ 230546 h 267180"/>
                <a:gd name="connsiteX526" fmla="*/ 211458 w 454013"/>
                <a:gd name="connsiteY526" fmla="*/ 230334 h 267180"/>
                <a:gd name="connsiteX527" fmla="*/ 212547 w 454013"/>
                <a:gd name="connsiteY527" fmla="*/ 230002 h 267180"/>
                <a:gd name="connsiteX528" fmla="*/ 216933 w 454013"/>
                <a:gd name="connsiteY528" fmla="*/ 226492 h 267180"/>
                <a:gd name="connsiteX529" fmla="*/ 219111 w 454013"/>
                <a:gd name="connsiteY529" fmla="*/ 222197 h 267180"/>
                <a:gd name="connsiteX530" fmla="*/ 218839 w 454013"/>
                <a:gd name="connsiteY530" fmla="*/ 217296 h 267180"/>
                <a:gd name="connsiteX531" fmla="*/ 215874 w 454013"/>
                <a:gd name="connsiteY531" fmla="*/ 212002 h 267180"/>
                <a:gd name="connsiteX532" fmla="*/ 213515 w 454013"/>
                <a:gd name="connsiteY532" fmla="*/ 210127 h 267180"/>
                <a:gd name="connsiteX533" fmla="*/ 213152 w 454013"/>
                <a:gd name="connsiteY533" fmla="*/ 209612 h 267180"/>
                <a:gd name="connsiteX534" fmla="*/ 213575 w 454013"/>
                <a:gd name="connsiteY534" fmla="*/ 208463 h 267180"/>
                <a:gd name="connsiteX535" fmla="*/ 214604 w 454013"/>
                <a:gd name="connsiteY535" fmla="*/ 207192 h 267180"/>
                <a:gd name="connsiteX536" fmla="*/ 216570 w 454013"/>
                <a:gd name="connsiteY536" fmla="*/ 205347 h 267180"/>
                <a:gd name="connsiteX537" fmla="*/ 218748 w 454013"/>
                <a:gd name="connsiteY537" fmla="*/ 204439 h 267180"/>
                <a:gd name="connsiteX538" fmla="*/ 223104 w 454013"/>
                <a:gd name="connsiteY538" fmla="*/ 203532 h 267180"/>
                <a:gd name="connsiteX539" fmla="*/ 225192 w 454013"/>
                <a:gd name="connsiteY539" fmla="*/ 202201 h 267180"/>
                <a:gd name="connsiteX540" fmla="*/ 230123 w 454013"/>
                <a:gd name="connsiteY540" fmla="*/ 196181 h 267180"/>
                <a:gd name="connsiteX541" fmla="*/ 232997 w 454013"/>
                <a:gd name="connsiteY541" fmla="*/ 194850 h 267180"/>
                <a:gd name="connsiteX542" fmla="*/ 234146 w 454013"/>
                <a:gd name="connsiteY542" fmla="*/ 194033 h 267180"/>
                <a:gd name="connsiteX543" fmla="*/ 235145 w 454013"/>
                <a:gd name="connsiteY543" fmla="*/ 192944 h 267180"/>
                <a:gd name="connsiteX544" fmla="*/ 235750 w 454013"/>
                <a:gd name="connsiteY544" fmla="*/ 191703 h 267180"/>
                <a:gd name="connsiteX545" fmla="*/ 235689 w 454013"/>
                <a:gd name="connsiteY545" fmla="*/ 190372 h 267180"/>
                <a:gd name="connsiteX546" fmla="*/ 235024 w 454013"/>
                <a:gd name="connsiteY546" fmla="*/ 189888 h 267180"/>
                <a:gd name="connsiteX547" fmla="*/ 234630 w 454013"/>
                <a:gd name="connsiteY547" fmla="*/ 189314 h 267180"/>
                <a:gd name="connsiteX548" fmla="*/ 235477 w 454013"/>
                <a:gd name="connsiteY548" fmla="*/ 187619 h 267180"/>
                <a:gd name="connsiteX549" fmla="*/ 237625 w 454013"/>
                <a:gd name="connsiteY549" fmla="*/ 185532 h 267180"/>
                <a:gd name="connsiteX550" fmla="*/ 240378 w 454013"/>
                <a:gd name="connsiteY550" fmla="*/ 184171 h 267180"/>
                <a:gd name="connsiteX551" fmla="*/ 244643 w 454013"/>
                <a:gd name="connsiteY551" fmla="*/ 183324 h 267180"/>
                <a:gd name="connsiteX552" fmla="*/ 245975 w 454013"/>
                <a:gd name="connsiteY552" fmla="*/ 183051 h 267180"/>
                <a:gd name="connsiteX553" fmla="*/ 248879 w 454013"/>
                <a:gd name="connsiteY553" fmla="*/ 183505 h 267180"/>
                <a:gd name="connsiteX554" fmla="*/ 250240 w 454013"/>
                <a:gd name="connsiteY554" fmla="*/ 185351 h 267180"/>
                <a:gd name="connsiteX555" fmla="*/ 250663 w 454013"/>
                <a:gd name="connsiteY555" fmla="*/ 188376 h 267180"/>
                <a:gd name="connsiteX556" fmla="*/ 250724 w 454013"/>
                <a:gd name="connsiteY556" fmla="*/ 192430 h 267180"/>
                <a:gd name="connsiteX557" fmla="*/ 250361 w 454013"/>
                <a:gd name="connsiteY557" fmla="*/ 196271 h 267180"/>
                <a:gd name="connsiteX558" fmla="*/ 248728 w 454013"/>
                <a:gd name="connsiteY558" fmla="*/ 203199 h 267180"/>
                <a:gd name="connsiteX559" fmla="*/ 248394 w 454013"/>
                <a:gd name="connsiteY559" fmla="*/ 206648 h 267180"/>
                <a:gd name="connsiteX560" fmla="*/ 248788 w 454013"/>
                <a:gd name="connsiteY560" fmla="*/ 209915 h 267180"/>
                <a:gd name="connsiteX561" fmla="*/ 249907 w 454013"/>
                <a:gd name="connsiteY561" fmla="*/ 212063 h 267180"/>
                <a:gd name="connsiteX562" fmla="*/ 251753 w 454013"/>
                <a:gd name="connsiteY562" fmla="*/ 213454 h 267180"/>
                <a:gd name="connsiteX563" fmla="*/ 254385 w 454013"/>
                <a:gd name="connsiteY563" fmla="*/ 214422 h 267180"/>
                <a:gd name="connsiteX564" fmla="*/ 257167 w 454013"/>
                <a:gd name="connsiteY564" fmla="*/ 215723 h 267180"/>
                <a:gd name="connsiteX565" fmla="*/ 260011 w 454013"/>
                <a:gd name="connsiteY565" fmla="*/ 218416 h 267180"/>
                <a:gd name="connsiteX566" fmla="*/ 266364 w 454013"/>
                <a:gd name="connsiteY566" fmla="*/ 227067 h 267180"/>
                <a:gd name="connsiteX567" fmla="*/ 267332 w 454013"/>
                <a:gd name="connsiteY567" fmla="*/ 227521 h 267180"/>
                <a:gd name="connsiteX568" fmla="*/ 269298 w 454013"/>
                <a:gd name="connsiteY568" fmla="*/ 228126 h 267180"/>
                <a:gd name="connsiteX569" fmla="*/ 273987 w 454013"/>
                <a:gd name="connsiteY569" fmla="*/ 230667 h 267180"/>
                <a:gd name="connsiteX570" fmla="*/ 275742 w 454013"/>
                <a:gd name="connsiteY570" fmla="*/ 230728 h 267180"/>
                <a:gd name="connsiteX571" fmla="*/ 276468 w 454013"/>
                <a:gd name="connsiteY571" fmla="*/ 230365 h 267180"/>
                <a:gd name="connsiteX572" fmla="*/ 278011 w 454013"/>
                <a:gd name="connsiteY572" fmla="*/ 229094 h 267180"/>
                <a:gd name="connsiteX573" fmla="*/ 278646 w 454013"/>
                <a:gd name="connsiteY573" fmla="*/ 228822 h 267180"/>
                <a:gd name="connsiteX574" fmla="*/ 279160 w 454013"/>
                <a:gd name="connsiteY574" fmla="*/ 229004 h 267180"/>
                <a:gd name="connsiteX575" fmla="*/ 279493 w 454013"/>
                <a:gd name="connsiteY575" fmla="*/ 229094 h 267180"/>
                <a:gd name="connsiteX576" fmla="*/ 280219 w 454013"/>
                <a:gd name="connsiteY576" fmla="*/ 230334 h 267180"/>
                <a:gd name="connsiteX577" fmla="*/ 280975 w 454013"/>
                <a:gd name="connsiteY577" fmla="*/ 230819 h 267180"/>
                <a:gd name="connsiteX578" fmla="*/ 282609 w 454013"/>
                <a:gd name="connsiteY578" fmla="*/ 231030 h 267180"/>
                <a:gd name="connsiteX579" fmla="*/ 285695 w 454013"/>
                <a:gd name="connsiteY579" fmla="*/ 230970 h 267180"/>
                <a:gd name="connsiteX580" fmla="*/ 287207 w 454013"/>
                <a:gd name="connsiteY580" fmla="*/ 231454 h 267180"/>
                <a:gd name="connsiteX581" fmla="*/ 289779 w 454013"/>
                <a:gd name="connsiteY581" fmla="*/ 234570 h 267180"/>
                <a:gd name="connsiteX582" fmla="*/ 288296 w 454013"/>
                <a:gd name="connsiteY582" fmla="*/ 237686 h 267180"/>
                <a:gd name="connsiteX583" fmla="*/ 285392 w 454013"/>
                <a:gd name="connsiteY583" fmla="*/ 240892 h 267180"/>
                <a:gd name="connsiteX584" fmla="*/ 283637 w 454013"/>
                <a:gd name="connsiteY584" fmla="*/ 244643 h 267180"/>
                <a:gd name="connsiteX585" fmla="*/ 283244 w 454013"/>
                <a:gd name="connsiteY585" fmla="*/ 245279 h 267180"/>
                <a:gd name="connsiteX586" fmla="*/ 283063 w 454013"/>
                <a:gd name="connsiteY586" fmla="*/ 245642 h 267180"/>
                <a:gd name="connsiteX587" fmla="*/ 284817 w 454013"/>
                <a:gd name="connsiteY587" fmla="*/ 245733 h 267180"/>
                <a:gd name="connsiteX588" fmla="*/ 286360 w 454013"/>
                <a:gd name="connsiteY588" fmla="*/ 246247 h 267180"/>
                <a:gd name="connsiteX589" fmla="*/ 292108 w 454013"/>
                <a:gd name="connsiteY589" fmla="*/ 249091 h 267180"/>
                <a:gd name="connsiteX590" fmla="*/ 292804 w 454013"/>
                <a:gd name="connsiteY590" fmla="*/ 249574 h 267180"/>
                <a:gd name="connsiteX591" fmla="*/ 293439 w 454013"/>
                <a:gd name="connsiteY591" fmla="*/ 250421 h 267180"/>
                <a:gd name="connsiteX592" fmla="*/ 294437 w 454013"/>
                <a:gd name="connsiteY592" fmla="*/ 252539 h 267180"/>
                <a:gd name="connsiteX593" fmla="*/ 296192 w 454013"/>
                <a:gd name="connsiteY593" fmla="*/ 255413 h 267180"/>
                <a:gd name="connsiteX594" fmla="*/ 297039 w 454013"/>
                <a:gd name="connsiteY594" fmla="*/ 257137 h 267180"/>
                <a:gd name="connsiteX595" fmla="*/ 297583 w 454013"/>
                <a:gd name="connsiteY595" fmla="*/ 258862 h 267180"/>
                <a:gd name="connsiteX596" fmla="*/ 297765 w 454013"/>
                <a:gd name="connsiteY596" fmla="*/ 261161 h 267180"/>
                <a:gd name="connsiteX597" fmla="*/ 297341 w 454013"/>
                <a:gd name="connsiteY597" fmla="*/ 262794 h 267180"/>
                <a:gd name="connsiteX598" fmla="*/ 296737 w 454013"/>
                <a:gd name="connsiteY598" fmla="*/ 264398 h 267180"/>
                <a:gd name="connsiteX599" fmla="*/ 296374 w 454013"/>
                <a:gd name="connsiteY599" fmla="*/ 266425 h 267180"/>
                <a:gd name="connsiteX600" fmla="*/ 300367 w 454013"/>
                <a:gd name="connsiteY600" fmla="*/ 265305 h 267180"/>
                <a:gd name="connsiteX601" fmla="*/ 303664 w 454013"/>
                <a:gd name="connsiteY601" fmla="*/ 266666 h 267180"/>
                <a:gd name="connsiteX602" fmla="*/ 306689 w 454013"/>
                <a:gd name="connsiteY602" fmla="*/ 267181 h 267180"/>
                <a:gd name="connsiteX603" fmla="*/ 309896 w 454013"/>
                <a:gd name="connsiteY603" fmla="*/ 263550 h 267180"/>
                <a:gd name="connsiteX604" fmla="*/ 312407 w 454013"/>
                <a:gd name="connsiteY604" fmla="*/ 259073 h 267180"/>
                <a:gd name="connsiteX605" fmla="*/ 312770 w 454013"/>
                <a:gd name="connsiteY605" fmla="*/ 256804 h 267180"/>
                <a:gd name="connsiteX606" fmla="*/ 311650 w 454013"/>
                <a:gd name="connsiteY606" fmla="*/ 254596 h 267180"/>
                <a:gd name="connsiteX607" fmla="*/ 310682 w 454013"/>
                <a:gd name="connsiteY607" fmla="*/ 254052 h 267180"/>
                <a:gd name="connsiteX608" fmla="*/ 308504 w 454013"/>
                <a:gd name="connsiteY608" fmla="*/ 253628 h 267180"/>
                <a:gd name="connsiteX609" fmla="*/ 307506 w 454013"/>
                <a:gd name="connsiteY609" fmla="*/ 253144 h 267180"/>
                <a:gd name="connsiteX610" fmla="*/ 306599 w 454013"/>
                <a:gd name="connsiteY610" fmla="*/ 251873 h 267180"/>
                <a:gd name="connsiteX611" fmla="*/ 305782 w 454013"/>
                <a:gd name="connsiteY611" fmla="*/ 249454 h 267180"/>
                <a:gd name="connsiteX612" fmla="*/ 304693 w 454013"/>
                <a:gd name="connsiteY612" fmla="*/ 248455 h 267180"/>
                <a:gd name="connsiteX613" fmla="*/ 304481 w 454013"/>
                <a:gd name="connsiteY613" fmla="*/ 248122 h 267180"/>
                <a:gd name="connsiteX614" fmla="*/ 304390 w 454013"/>
                <a:gd name="connsiteY614" fmla="*/ 247790 h 267180"/>
                <a:gd name="connsiteX615" fmla="*/ 304481 w 454013"/>
                <a:gd name="connsiteY615" fmla="*/ 247427 h 267180"/>
                <a:gd name="connsiteX616" fmla="*/ 304693 w 454013"/>
                <a:gd name="connsiteY616" fmla="*/ 247124 h 267180"/>
                <a:gd name="connsiteX617" fmla="*/ 307990 w 454013"/>
                <a:gd name="connsiteY617" fmla="*/ 244311 h 267180"/>
                <a:gd name="connsiteX618" fmla="*/ 306205 w 454013"/>
                <a:gd name="connsiteY618" fmla="*/ 239682 h 267180"/>
                <a:gd name="connsiteX619" fmla="*/ 306659 w 454013"/>
                <a:gd name="connsiteY619" fmla="*/ 238170 h 267180"/>
                <a:gd name="connsiteX620" fmla="*/ 309230 w 454013"/>
                <a:gd name="connsiteY620" fmla="*/ 236324 h 267180"/>
                <a:gd name="connsiteX621" fmla="*/ 311439 w 454013"/>
                <a:gd name="connsiteY621" fmla="*/ 235689 h 267180"/>
                <a:gd name="connsiteX622" fmla="*/ 312376 w 454013"/>
                <a:gd name="connsiteY622" fmla="*/ 235175 h 267180"/>
                <a:gd name="connsiteX623" fmla="*/ 313193 w 454013"/>
                <a:gd name="connsiteY623" fmla="*/ 233935 h 267180"/>
                <a:gd name="connsiteX624" fmla="*/ 313526 w 454013"/>
                <a:gd name="connsiteY624" fmla="*/ 232301 h 267180"/>
                <a:gd name="connsiteX625" fmla="*/ 313284 w 454013"/>
                <a:gd name="connsiteY625" fmla="*/ 229306 h 267180"/>
                <a:gd name="connsiteX626" fmla="*/ 313677 w 454013"/>
                <a:gd name="connsiteY626" fmla="*/ 227582 h 267180"/>
                <a:gd name="connsiteX627" fmla="*/ 315553 w 454013"/>
                <a:gd name="connsiteY627" fmla="*/ 225010 h 267180"/>
                <a:gd name="connsiteX628" fmla="*/ 322874 w 454013"/>
                <a:gd name="connsiteY628" fmla="*/ 220472 h 267180"/>
                <a:gd name="connsiteX629" fmla="*/ 322904 w 454013"/>
                <a:gd name="connsiteY629" fmla="*/ 220382 h 267180"/>
                <a:gd name="connsiteX630" fmla="*/ 323660 w 454013"/>
                <a:gd name="connsiteY630" fmla="*/ 219081 h 267180"/>
                <a:gd name="connsiteX631" fmla="*/ 324114 w 454013"/>
                <a:gd name="connsiteY631" fmla="*/ 217538 h 267180"/>
                <a:gd name="connsiteX632" fmla="*/ 324689 w 454013"/>
                <a:gd name="connsiteY632" fmla="*/ 216238 h 267180"/>
                <a:gd name="connsiteX633" fmla="*/ 325778 w 454013"/>
                <a:gd name="connsiteY633" fmla="*/ 215481 h 267180"/>
                <a:gd name="connsiteX634" fmla="*/ 326988 w 454013"/>
                <a:gd name="connsiteY634" fmla="*/ 214967 h 267180"/>
                <a:gd name="connsiteX635" fmla="*/ 328138 w 454013"/>
                <a:gd name="connsiteY635" fmla="*/ 213938 h 267180"/>
                <a:gd name="connsiteX636" fmla="*/ 329075 w 454013"/>
                <a:gd name="connsiteY636" fmla="*/ 212607 h 267180"/>
                <a:gd name="connsiteX637" fmla="*/ 330557 w 454013"/>
                <a:gd name="connsiteY637" fmla="*/ 207828 h 267180"/>
                <a:gd name="connsiteX638" fmla="*/ 333492 w 454013"/>
                <a:gd name="connsiteY638" fmla="*/ 202171 h 267180"/>
                <a:gd name="connsiteX639" fmla="*/ 334127 w 454013"/>
                <a:gd name="connsiteY639" fmla="*/ 199206 h 267180"/>
                <a:gd name="connsiteX640" fmla="*/ 333976 w 454013"/>
                <a:gd name="connsiteY640" fmla="*/ 197481 h 267180"/>
                <a:gd name="connsiteX641" fmla="*/ 332645 w 454013"/>
                <a:gd name="connsiteY641" fmla="*/ 192762 h 267180"/>
                <a:gd name="connsiteX642" fmla="*/ 332645 w 454013"/>
                <a:gd name="connsiteY642" fmla="*/ 190826 h 267180"/>
                <a:gd name="connsiteX643" fmla="*/ 332887 w 454013"/>
                <a:gd name="connsiteY643" fmla="*/ 189162 h 267180"/>
                <a:gd name="connsiteX644" fmla="*/ 332675 w 454013"/>
                <a:gd name="connsiteY644" fmla="*/ 187801 h 267180"/>
                <a:gd name="connsiteX645" fmla="*/ 331344 w 454013"/>
                <a:gd name="connsiteY645" fmla="*/ 186954 h 267180"/>
                <a:gd name="connsiteX646" fmla="*/ 330376 w 454013"/>
                <a:gd name="connsiteY646" fmla="*/ 185139 h 267180"/>
                <a:gd name="connsiteX647" fmla="*/ 331163 w 454013"/>
                <a:gd name="connsiteY647" fmla="*/ 181872 h 267180"/>
                <a:gd name="connsiteX648" fmla="*/ 332917 w 454013"/>
                <a:gd name="connsiteY648" fmla="*/ 178635 h 267180"/>
                <a:gd name="connsiteX649" fmla="*/ 334853 w 454013"/>
                <a:gd name="connsiteY649" fmla="*/ 177001 h 267180"/>
                <a:gd name="connsiteX650" fmla="*/ 339754 w 454013"/>
                <a:gd name="connsiteY650" fmla="*/ 176457 h 267180"/>
                <a:gd name="connsiteX651" fmla="*/ 341751 w 454013"/>
                <a:gd name="connsiteY651" fmla="*/ 176941 h 267180"/>
                <a:gd name="connsiteX652" fmla="*/ 341811 w 454013"/>
                <a:gd name="connsiteY652" fmla="*/ 178605 h 267180"/>
                <a:gd name="connsiteX653" fmla="*/ 344383 w 454013"/>
                <a:gd name="connsiteY653" fmla="*/ 180843 h 267180"/>
                <a:gd name="connsiteX654" fmla="*/ 345139 w 454013"/>
                <a:gd name="connsiteY654" fmla="*/ 181146 h 267180"/>
                <a:gd name="connsiteX655" fmla="*/ 346228 w 454013"/>
                <a:gd name="connsiteY655" fmla="*/ 180752 h 267180"/>
                <a:gd name="connsiteX656" fmla="*/ 346712 w 454013"/>
                <a:gd name="connsiteY656" fmla="*/ 179936 h 267180"/>
                <a:gd name="connsiteX657" fmla="*/ 347075 w 454013"/>
                <a:gd name="connsiteY657" fmla="*/ 178998 h 267180"/>
                <a:gd name="connsiteX658" fmla="*/ 347771 w 454013"/>
                <a:gd name="connsiteY658" fmla="*/ 178151 h 267180"/>
                <a:gd name="connsiteX659" fmla="*/ 349374 w 454013"/>
                <a:gd name="connsiteY659" fmla="*/ 177031 h 267180"/>
                <a:gd name="connsiteX660" fmla="*/ 350160 w 454013"/>
                <a:gd name="connsiteY660" fmla="*/ 176880 h 267180"/>
                <a:gd name="connsiteX661" fmla="*/ 350493 w 454013"/>
                <a:gd name="connsiteY661" fmla="*/ 177697 h 267180"/>
                <a:gd name="connsiteX662" fmla="*/ 351098 w 454013"/>
                <a:gd name="connsiteY662" fmla="*/ 190554 h 267180"/>
                <a:gd name="connsiteX663" fmla="*/ 350947 w 454013"/>
                <a:gd name="connsiteY663" fmla="*/ 192611 h 267180"/>
                <a:gd name="connsiteX664" fmla="*/ 351159 w 454013"/>
                <a:gd name="connsiteY664" fmla="*/ 193367 h 267180"/>
                <a:gd name="connsiteX665" fmla="*/ 351885 w 454013"/>
                <a:gd name="connsiteY665" fmla="*/ 194002 h 267180"/>
                <a:gd name="connsiteX666" fmla="*/ 354093 w 454013"/>
                <a:gd name="connsiteY666" fmla="*/ 195152 h 267180"/>
                <a:gd name="connsiteX667" fmla="*/ 355001 w 454013"/>
                <a:gd name="connsiteY667" fmla="*/ 195818 h 267180"/>
                <a:gd name="connsiteX668" fmla="*/ 356997 w 454013"/>
                <a:gd name="connsiteY668" fmla="*/ 200628 h 267180"/>
                <a:gd name="connsiteX669" fmla="*/ 358298 w 454013"/>
                <a:gd name="connsiteY669" fmla="*/ 202261 h 267180"/>
                <a:gd name="connsiteX670" fmla="*/ 360416 w 454013"/>
                <a:gd name="connsiteY670" fmla="*/ 203592 h 267180"/>
                <a:gd name="connsiteX671" fmla="*/ 362745 w 454013"/>
                <a:gd name="connsiteY671" fmla="*/ 204379 h 267180"/>
                <a:gd name="connsiteX672" fmla="*/ 374301 w 454013"/>
                <a:gd name="connsiteY672" fmla="*/ 204530 h 267180"/>
                <a:gd name="connsiteX673" fmla="*/ 376177 w 454013"/>
                <a:gd name="connsiteY673" fmla="*/ 203804 h 267180"/>
                <a:gd name="connsiteX674" fmla="*/ 377719 w 454013"/>
                <a:gd name="connsiteY674" fmla="*/ 201838 h 267180"/>
                <a:gd name="connsiteX675" fmla="*/ 377780 w 454013"/>
                <a:gd name="connsiteY675" fmla="*/ 200779 h 267180"/>
                <a:gd name="connsiteX676" fmla="*/ 377599 w 454013"/>
                <a:gd name="connsiteY676" fmla="*/ 199266 h 267180"/>
                <a:gd name="connsiteX677" fmla="*/ 377810 w 454013"/>
                <a:gd name="connsiteY677" fmla="*/ 197754 h 267180"/>
                <a:gd name="connsiteX678" fmla="*/ 378899 w 454013"/>
                <a:gd name="connsiteY678" fmla="*/ 196604 h 267180"/>
                <a:gd name="connsiteX679" fmla="*/ 379988 w 454013"/>
                <a:gd name="connsiteY679" fmla="*/ 196634 h 267180"/>
                <a:gd name="connsiteX680" fmla="*/ 382439 w 454013"/>
                <a:gd name="connsiteY680" fmla="*/ 197996 h 267180"/>
                <a:gd name="connsiteX681" fmla="*/ 383709 w 454013"/>
                <a:gd name="connsiteY681" fmla="*/ 198238 h 267180"/>
                <a:gd name="connsiteX682" fmla="*/ 385827 w 454013"/>
                <a:gd name="connsiteY682" fmla="*/ 197633 h 267180"/>
                <a:gd name="connsiteX683" fmla="*/ 392512 w 454013"/>
                <a:gd name="connsiteY683" fmla="*/ 194456 h 267180"/>
                <a:gd name="connsiteX684" fmla="*/ 396899 w 454013"/>
                <a:gd name="connsiteY684" fmla="*/ 193791 h 267180"/>
                <a:gd name="connsiteX685" fmla="*/ 398865 w 454013"/>
                <a:gd name="connsiteY685" fmla="*/ 193912 h 267180"/>
                <a:gd name="connsiteX686" fmla="*/ 400922 w 454013"/>
                <a:gd name="connsiteY686" fmla="*/ 194396 h 267180"/>
                <a:gd name="connsiteX687" fmla="*/ 403433 w 454013"/>
                <a:gd name="connsiteY687" fmla="*/ 195908 h 267180"/>
                <a:gd name="connsiteX688" fmla="*/ 404099 w 454013"/>
                <a:gd name="connsiteY688" fmla="*/ 198087 h 267180"/>
                <a:gd name="connsiteX689" fmla="*/ 404159 w 454013"/>
                <a:gd name="connsiteY689" fmla="*/ 200749 h 267180"/>
                <a:gd name="connsiteX690" fmla="*/ 404795 w 454013"/>
                <a:gd name="connsiteY690" fmla="*/ 203683 h 267180"/>
                <a:gd name="connsiteX691" fmla="*/ 406277 w 454013"/>
                <a:gd name="connsiteY691" fmla="*/ 205498 h 267180"/>
                <a:gd name="connsiteX692" fmla="*/ 410240 w 454013"/>
                <a:gd name="connsiteY692" fmla="*/ 208735 h 267180"/>
                <a:gd name="connsiteX693" fmla="*/ 411268 w 454013"/>
                <a:gd name="connsiteY693" fmla="*/ 211004 h 267180"/>
                <a:gd name="connsiteX694" fmla="*/ 411359 w 454013"/>
                <a:gd name="connsiteY694" fmla="*/ 214029 h 267180"/>
                <a:gd name="connsiteX695" fmla="*/ 414687 w 454013"/>
                <a:gd name="connsiteY695" fmla="*/ 214089 h 267180"/>
                <a:gd name="connsiteX696" fmla="*/ 418922 w 454013"/>
                <a:gd name="connsiteY696" fmla="*/ 212607 h 267180"/>
                <a:gd name="connsiteX697" fmla="*/ 421735 w 454013"/>
                <a:gd name="connsiteY697" fmla="*/ 210974 h 267180"/>
                <a:gd name="connsiteX698" fmla="*/ 423067 w 454013"/>
                <a:gd name="connsiteY698" fmla="*/ 208432 h 267180"/>
                <a:gd name="connsiteX699" fmla="*/ 421766 w 454013"/>
                <a:gd name="connsiteY699" fmla="*/ 206073 h 267180"/>
                <a:gd name="connsiteX700" fmla="*/ 417621 w 454013"/>
                <a:gd name="connsiteY700" fmla="*/ 202171 h 267180"/>
                <a:gd name="connsiteX701" fmla="*/ 416713 w 454013"/>
                <a:gd name="connsiteY701" fmla="*/ 200658 h 267180"/>
                <a:gd name="connsiteX702" fmla="*/ 416290 w 454013"/>
                <a:gd name="connsiteY702" fmla="*/ 199539 h 267180"/>
                <a:gd name="connsiteX703" fmla="*/ 416350 w 454013"/>
                <a:gd name="connsiteY703" fmla="*/ 198329 h 267180"/>
                <a:gd name="connsiteX704" fmla="*/ 416865 w 454013"/>
                <a:gd name="connsiteY704" fmla="*/ 196514 h 267180"/>
                <a:gd name="connsiteX705" fmla="*/ 417621 w 454013"/>
                <a:gd name="connsiteY705" fmla="*/ 195213 h 267180"/>
                <a:gd name="connsiteX706" fmla="*/ 419739 w 454013"/>
                <a:gd name="connsiteY706" fmla="*/ 193488 h 267180"/>
                <a:gd name="connsiteX707" fmla="*/ 420465 w 454013"/>
                <a:gd name="connsiteY707" fmla="*/ 192581 h 267180"/>
                <a:gd name="connsiteX708" fmla="*/ 421221 w 454013"/>
                <a:gd name="connsiteY708" fmla="*/ 189646 h 267180"/>
                <a:gd name="connsiteX709" fmla="*/ 420495 w 454013"/>
                <a:gd name="connsiteY709" fmla="*/ 188164 h 267180"/>
                <a:gd name="connsiteX710" fmla="*/ 418740 w 454013"/>
                <a:gd name="connsiteY710" fmla="*/ 187529 h 267180"/>
                <a:gd name="connsiteX711" fmla="*/ 414263 w 454013"/>
                <a:gd name="connsiteY711" fmla="*/ 186712 h 267180"/>
                <a:gd name="connsiteX712" fmla="*/ 411299 w 454013"/>
                <a:gd name="connsiteY712" fmla="*/ 185653 h 267180"/>
                <a:gd name="connsiteX713" fmla="*/ 409726 w 454013"/>
                <a:gd name="connsiteY713" fmla="*/ 183838 h 267180"/>
                <a:gd name="connsiteX714" fmla="*/ 411480 w 454013"/>
                <a:gd name="connsiteY714" fmla="*/ 181085 h 267180"/>
                <a:gd name="connsiteX715" fmla="*/ 410603 w 454013"/>
                <a:gd name="connsiteY715" fmla="*/ 180541 h 267180"/>
                <a:gd name="connsiteX716" fmla="*/ 410119 w 454013"/>
                <a:gd name="connsiteY716" fmla="*/ 179754 h 267180"/>
                <a:gd name="connsiteX717" fmla="*/ 409907 w 454013"/>
                <a:gd name="connsiteY717" fmla="*/ 178786 h 267180"/>
                <a:gd name="connsiteX718" fmla="*/ 409756 w 454013"/>
                <a:gd name="connsiteY718" fmla="*/ 177546 h 267180"/>
                <a:gd name="connsiteX719" fmla="*/ 410210 w 454013"/>
                <a:gd name="connsiteY719" fmla="*/ 176124 h 267180"/>
                <a:gd name="connsiteX720" fmla="*/ 410240 w 454013"/>
                <a:gd name="connsiteY720" fmla="*/ 173160 h 267180"/>
                <a:gd name="connsiteX721" fmla="*/ 410361 w 454013"/>
                <a:gd name="connsiteY721" fmla="*/ 172222 h 267180"/>
                <a:gd name="connsiteX722" fmla="*/ 411208 w 454013"/>
                <a:gd name="connsiteY722" fmla="*/ 171042 h 267180"/>
                <a:gd name="connsiteX723" fmla="*/ 413386 w 454013"/>
                <a:gd name="connsiteY723" fmla="*/ 169015 h 267180"/>
                <a:gd name="connsiteX724" fmla="*/ 414233 w 454013"/>
                <a:gd name="connsiteY724" fmla="*/ 168017 h 267180"/>
                <a:gd name="connsiteX725" fmla="*/ 415473 w 454013"/>
                <a:gd name="connsiteY725" fmla="*/ 163630 h 267180"/>
                <a:gd name="connsiteX726" fmla="*/ 415897 w 454013"/>
                <a:gd name="connsiteY726" fmla="*/ 162632 h 267180"/>
                <a:gd name="connsiteX727" fmla="*/ 416865 w 454013"/>
                <a:gd name="connsiteY727" fmla="*/ 162148 h 267180"/>
                <a:gd name="connsiteX728" fmla="*/ 426394 w 454013"/>
                <a:gd name="connsiteY728" fmla="*/ 159637 h 267180"/>
                <a:gd name="connsiteX729" fmla="*/ 428996 w 454013"/>
                <a:gd name="connsiteY729" fmla="*/ 159607 h 267180"/>
                <a:gd name="connsiteX730" fmla="*/ 430599 w 454013"/>
                <a:gd name="connsiteY730" fmla="*/ 160817 h 267180"/>
                <a:gd name="connsiteX731" fmla="*/ 430780 w 454013"/>
                <a:gd name="connsiteY731" fmla="*/ 162329 h 267180"/>
                <a:gd name="connsiteX732" fmla="*/ 430236 w 454013"/>
                <a:gd name="connsiteY732" fmla="*/ 165082 h 267180"/>
                <a:gd name="connsiteX733" fmla="*/ 430690 w 454013"/>
                <a:gd name="connsiteY733" fmla="*/ 166534 h 267180"/>
                <a:gd name="connsiteX734" fmla="*/ 434834 w 454013"/>
                <a:gd name="connsiteY734" fmla="*/ 167835 h 267180"/>
                <a:gd name="connsiteX735" fmla="*/ 435621 w 454013"/>
                <a:gd name="connsiteY735" fmla="*/ 168501 h 267180"/>
                <a:gd name="connsiteX736" fmla="*/ 436165 w 454013"/>
                <a:gd name="connsiteY736" fmla="*/ 169166 h 267180"/>
                <a:gd name="connsiteX737" fmla="*/ 436800 w 454013"/>
                <a:gd name="connsiteY737" fmla="*/ 169771 h 267180"/>
                <a:gd name="connsiteX738" fmla="*/ 437920 w 454013"/>
                <a:gd name="connsiteY738" fmla="*/ 170255 h 267180"/>
                <a:gd name="connsiteX739" fmla="*/ 439221 w 454013"/>
                <a:gd name="connsiteY739" fmla="*/ 170467 h 267180"/>
                <a:gd name="connsiteX740" fmla="*/ 442730 w 454013"/>
                <a:gd name="connsiteY740" fmla="*/ 170164 h 267180"/>
                <a:gd name="connsiteX741" fmla="*/ 449930 w 454013"/>
                <a:gd name="connsiteY741" fmla="*/ 171889 h 267180"/>
                <a:gd name="connsiteX742" fmla="*/ 451745 w 454013"/>
                <a:gd name="connsiteY742" fmla="*/ 171586 h 267180"/>
                <a:gd name="connsiteX743" fmla="*/ 452531 w 454013"/>
                <a:gd name="connsiteY743" fmla="*/ 170376 h 267180"/>
                <a:gd name="connsiteX744" fmla="*/ 453167 w 454013"/>
                <a:gd name="connsiteY744" fmla="*/ 169438 h 267180"/>
                <a:gd name="connsiteX745" fmla="*/ 453953 w 454013"/>
                <a:gd name="connsiteY745" fmla="*/ 166111 h 267180"/>
                <a:gd name="connsiteX746" fmla="*/ 454014 w 454013"/>
                <a:gd name="connsiteY746" fmla="*/ 162662 h 267180"/>
                <a:gd name="connsiteX747" fmla="*/ 453257 w 454013"/>
                <a:gd name="connsiteY747" fmla="*/ 160060 h 26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Lst>
              <a:rect l="l" t="t" r="r" b="b"/>
              <a:pathLst>
                <a:path w="454013" h="267180">
                  <a:moveTo>
                    <a:pt x="453257" y="160060"/>
                  </a:moveTo>
                  <a:lnTo>
                    <a:pt x="451140" y="158427"/>
                  </a:lnTo>
                  <a:lnTo>
                    <a:pt x="446874" y="158004"/>
                  </a:lnTo>
                  <a:lnTo>
                    <a:pt x="445059" y="156067"/>
                  </a:lnTo>
                  <a:lnTo>
                    <a:pt x="444212" y="153496"/>
                  </a:lnTo>
                  <a:lnTo>
                    <a:pt x="444696" y="152195"/>
                  </a:lnTo>
                  <a:lnTo>
                    <a:pt x="445785" y="151257"/>
                  </a:lnTo>
                  <a:lnTo>
                    <a:pt x="446753" y="149654"/>
                  </a:lnTo>
                  <a:lnTo>
                    <a:pt x="446965" y="147748"/>
                  </a:lnTo>
                  <a:lnTo>
                    <a:pt x="446874" y="146205"/>
                  </a:lnTo>
                  <a:lnTo>
                    <a:pt x="447298" y="144995"/>
                  </a:lnTo>
                  <a:lnTo>
                    <a:pt x="448992" y="143997"/>
                  </a:lnTo>
                  <a:lnTo>
                    <a:pt x="450202" y="142273"/>
                  </a:lnTo>
                  <a:lnTo>
                    <a:pt x="449960" y="140427"/>
                  </a:lnTo>
                  <a:lnTo>
                    <a:pt x="449234" y="138461"/>
                  </a:lnTo>
                  <a:lnTo>
                    <a:pt x="449052" y="136465"/>
                  </a:lnTo>
                  <a:lnTo>
                    <a:pt x="451230" y="134014"/>
                  </a:lnTo>
                  <a:lnTo>
                    <a:pt x="451835" y="133167"/>
                  </a:lnTo>
                  <a:lnTo>
                    <a:pt x="452199" y="131957"/>
                  </a:lnTo>
                  <a:lnTo>
                    <a:pt x="452743" y="127601"/>
                  </a:lnTo>
                  <a:lnTo>
                    <a:pt x="452501" y="124727"/>
                  </a:lnTo>
                  <a:lnTo>
                    <a:pt x="453741" y="120129"/>
                  </a:lnTo>
                  <a:lnTo>
                    <a:pt x="453197" y="117860"/>
                  </a:lnTo>
                  <a:lnTo>
                    <a:pt x="452319" y="116861"/>
                  </a:lnTo>
                  <a:lnTo>
                    <a:pt x="448871" y="114351"/>
                  </a:lnTo>
                  <a:lnTo>
                    <a:pt x="446784" y="111265"/>
                  </a:lnTo>
                  <a:lnTo>
                    <a:pt x="445725" y="110236"/>
                  </a:lnTo>
                  <a:lnTo>
                    <a:pt x="445725" y="110206"/>
                  </a:lnTo>
                  <a:lnTo>
                    <a:pt x="445725" y="110206"/>
                  </a:lnTo>
                  <a:lnTo>
                    <a:pt x="445210" y="109873"/>
                  </a:lnTo>
                  <a:lnTo>
                    <a:pt x="444636" y="109783"/>
                  </a:lnTo>
                  <a:lnTo>
                    <a:pt x="444091" y="109873"/>
                  </a:lnTo>
                  <a:lnTo>
                    <a:pt x="441157" y="111416"/>
                  </a:lnTo>
                  <a:lnTo>
                    <a:pt x="438646" y="114109"/>
                  </a:lnTo>
                  <a:lnTo>
                    <a:pt x="436861" y="117194"/>
                  </a:lnTo>
                  <a:lnTo>
                    <a:pt x="436800" y="119735"/>
                  </a:lnTo>
                  <a:lnTo>
                    <a:pt x="434320" y="119826"/>
                  </a:lnTo>
                  <a:lnTo>
                    <a:pt x="432354" y="119372"/>
                  </a:lnTo>
                  <a:lnTo>
                    <a:pt x="430720" y="119645"/>
                  </a:lnTo>
                  <a:lnTo>
                    <a:pt x="429207" y="122004"/>
                  </a:lnTo>
                  <a:lnTo>
                    <a:pt x="428724" y="123728"/>
                  </a:lnTo>
                  <a:lnTo>
                    <a:pt x="428633" y="124878"/>
                  </a:lnTo>
                  <a:lnTo>
                    <a:pt x="428361" y="125906"/>
                  </a:lnTo>
                  <a:lnTo>
                    <a:pt x="427332" y="127268"/>
                  </a:lnTo>
                  <a:lnTo>
                    <a:pt x="422945" y="129325"/>
                  </a:lnTo>
                  <a:lnTo>
                    <a:pt x="420344" y="130021"/>
                  </a:lnTo>
                  <a:lnTo>
                    <a:pt x="419648" y="129991"/>
                  </a:lnTo>
                  <a:lnTo>
                    <a:pt x="418256" y="129930"/>
                  </a:lnTo>
                  <a:lnTo>
                    <a:pt x="413900" y="128659"/>
                  </a:lnTo>
                  <a:lnTo>
                    <a:pt x="411662" y="127449"/>
                  </a:lnTo>
                  <a:lnTo>
                    <a:pt x="407759" y="124031"/>
                  </a:lnTo>
                  <a:lnTo>
                    <a:pt x="396990" y="120855"/>
                  </a:lnTo>
                  <a:lnTo>
                    <a:pt x="394509" y="119100"/>
                  </a:lnTo>
                  <a:lnTo>
                    <a:pt x="393208" y="117436"/>
                  </a:lnTo>
                  <a:lnTo>
                    <a:pt x="393057" y="116166"/>
                  </a:lnTo>
                  <a:lnTo>
                    <a:pt x="393359" y="114683"/>
                  </a:lnTo>
                  <a:lnTo>
                    <a:pt x="393632" y="111537"/>
                  </a:lnTo>
                  <a:lnTo>
                    <a:pt x="394025" y="110236"/>
                  </a:lnTo>
                  <a:lnTo>
                    <a:pt x="394025" y="109450"/>
                  </a:lnTo>
                  <a:lnTo>
                    <a:pt x="393662" y="108996"/>
                  </a:lnTo>
                  <a:lnTo>
                    <a:pt x="393027" y="109057"/>
                  </a:lnTo>
                  <a:lnTo>
                    <a:pt x="392603" y="108724"/>
                  </a:lnTo>
                  <a:lnTo>
                    <a:pt x="392785" y="107181"/>
                  </a:lnTo>
                  <a:lnTo>
                    <a:pt x="373757" y="101645"/>
                  </a:lnTo>
                  <a:lnTo>
                    <a:pt x="372062" y="101433"/>
                  </a:lnTo>
                  <a:lnTo>
                    <a:pt x="366799" y="102038"/>
                  </a:lnTo>
                  <a:lnTo>
                    <a:pt x="364923" y="101554"/>
                  </a:lnTo>
                  <a:lnTo>
                    <a:pt x="362836" y="102189"/>
                  </a:lnTo>
                  <a:lnTo>
                    <a:pt x="356695" y="101252"/>
                  </a:lnTo>
                  <a:lnTo>
                    <a:pt x="354426" y="100616"/>
                  </a:lnTo>
                  <a:lnTo>
                    <a:pt x="354335" y="99346"/>
                  </a:lnTo>
                  <a:lnTo>
                    <a:pt x="355485" y="97894"/>
                  </a:lnTo>
                  <a:lnTo>
                    <a:pt x="357027" y="96442"/>
                  </a:lnTo>
                  <a:lnTo>
                    <a:pt x="357996" y="94627"/>
                  </a:lnTo>
                  <a:lnTo>
                    <a:pt x="357935" y="91753"/>
                  </a:lnTo>
                  <a:lnTo>
                    <a:pt x="357088" y="89575"/>
                  </a:lnTo>
                  <a:lnTo>
                    <a:pt x="355999" y="87608"/>
                  </a:lnTo>
                  <a:lnTo>
                    <a:pt x="355243" y="85370"/>
                  </a:lnTo>
                  <a:lnTo>
                    <a:pt x="355485" y="80802"/>
                  </a:lnTo>
                  <a:lnTo>
                    <a:pt x="357209" y="76204"/>
                  </a:lnTo>
                  <a:lnTo>
                    <a:pt x="358873" y="73602"/>
                  </a:lnTo>
                  <a:lnTo>
                    <a:pt x="362110" y="68580"/>
                  </a:lnTo>
                  <a:lnTo>
                    <a:pt x="365528" y="64768"/>
                  </a:lnTo>
                  <a:lnTo>
                    <a:pt x="365922" y="63831"/>
                  </a:lnTo>
                  <a:lnTo>
                    <a:pt x="366436" y="61411"/>
                  </a:lnTo>
                  <a:lnTo>
                    <a:pt x="366920" y="60200"/>
                  </a:lnTo>
                  <a:lnTo>
                    <a:pt x="370822" y="55663"/>
                  </a:lnTo>
                  <a:lnTo>
                    <a:pt x="371790" y="53576"/>
                  </a:lnTo>
                  <a:lnTo>
                    <a:pt x="371881" y="47797"/>
                  </a:lnTo>
                  <a:lnTo>
                    <a:pt x="369007" y="45468"/>
                  </a:lnTo>
                  <a:lnTo>
                    <a:pt x="365256" y="43895"/>
                  </a:lnTo>
                  <a:lnTo>
                    <a:pt x="362291" y="39781"/>
                  </a:lnTo>
                  <a:lnTo>
                    <a:pt x="362080" y="38964"/>
                  </a:lnTo>
                  <a:lnTo>
                    <a:pt x="361535" y="36544"/>
                  </a:lnTo>
                  <a:lnTo>
                    <a:pt x="333915" y="20723"/>
                  </a:lnTo>
                  <a:lnTo>
                    <a:pt x="330013" y="19906"/>
                  </a:lnTo>
                  <a:lnTo>
                    <a:pt x="326262" y="19906"/>
                  </a:lnTo>
                  <a:lnTo>
                    <a:pt x="324900" y="17939"/>
                  </a:lnTo>
                  <a:lnTo>
                    <a:pt x="319334" y="17939"/>
                  </a:lnTo>
                  <a:lnTo>
                    <a:pt x="308111" y="16759"/>
                  </a:lnTo>
                  <a:lnTo>
                    <a:pt x="306205" y="17455"/>
                  </a:lnTo>
                  <a:lnTo>
                    <a:pt x="304602" y="19059"/>
                  </a:lnTo>
                  <a:lnTo>
                    <a:pt x="300942" y="20148"/>
                  </a:lnTo>
                  <a:lnTo>
                    <a:pt x="297009" y="20480"/>
                  </a:lnTo>
                  <a:lnTo>
                    <a:pt x="294528" y="19906"/>
                  </a:lnTo>
                  <a:lnTo>
                    <a:pt x="291594" y="17879"/>
                  </a:lnTo>
                  <a:lnTo>
                    <a:pt x="291533" y="17818"/>
                  </a:lnTo>
                  <a:lnTo>
                    <a:pt x="290111" y="16518"/>
                  </a:lnTo>
                  <a:lnTo>
                    <a:pt x="290111" y="15549"/>
                  </a:lnTo>
                  <a:lnTo>
                    <a:pt x="291957" y="15156"/>
                  </a:lnTo>
                  <a:lnTo>
                    <a:pt x="289355" y="12887"/>
                  </a:lnTo>
                  <a:lnTo>
                    <a:pt x="286058" y="11133"/>
                  </a:lnTo>
                  <a:lnTo>
                    <a:pt x="283365" y="11012"/>
                  </a:lnTo>
                  <a:lnTo>
                    <a:pt x="282458" y="13704"/>
                  </a:lnTo>
                  <a:lnTo>
                    <a:pt x="283274" y="14551"/>
                  </a:lnTo>
                  <a:lnTo>
                    <a:pt x="277980" y="14642"/>
                  </a:lnTo>
                  <a:lnTo>
                    <a:pt x="277769" y="13734"/>
                  </a:lnTo>
                  <a:lnTo>
                    <a:pt x="277527" y="12706"/>
                  </a:lnTo>
                  <a:lnTo>
                    <a:pt x="276710" y="11768"/>
                  </a:lnTo>
                  <a:lnTo>
                    <a:pt x="276287" y="10679"/>
                  </a:lnTo>
                  <a:lnTo>
                    <a:pt x="276619" y="9772"/>
                  </a:lnTo>
                  <a:lnTo>
                    <a:pt x="277980" y="7896"/>
                  </a:lnTo>
                  <a:lnTo>
                    <a:pt x="278223" y="7382"/>
                  </a:lnTo>
                  <a:lnTo>
                    <a:pt x="277557" y="6020"/>
                  </a:lnTo>
                  <a:lnTo>
                    <a:pt x="276589" y="5808"/>
                  </a:lnTo>
                  <a:lnTo>
                    <a:pt x="275470" y="6020"/>
                  </a:lnTo>
                  <a:lnTo>
                    <a:pt x="274411" y="5808"/>
                  </a:lnTo>
                  <a:lnTo>
                    <a:pt x="273685" y="4719"/>
                  </a:lnTo>
                  <a:lnTo>
                    <a:pt x="272898" y="3146"/>
                  </a:lnTo>
                  <a:lnTo>
                    <a:pt x="271930" y="1785"/>
                  </a:lnTo>
                  <a:lnTo>
                    <a:pt x="270630" y="1392"/>
                  </a:lnTo>
                  <a:lnTo>
                    <a:pt x="269692" y="2269"/>
                  </a:lnTo>
                  <a:lnTo>
                    <a:pt x="269178" y="5264"/>
                  </a:lnTo>
                  <a:lnTo>
                    <a:pt x="267937" y="6020"/>
                  </a:lnTo>
                  <a:lnTo>
                    <a:pt x="266939" y="5355"/>
                  </a:lnTo>
                  <a:lnTo>
                    <a:pt x="266606" y="3661"/>
                  </a:lnTo>
                  <a:lnTo>
                    <a:pt x="266485" y="1906"/>
                  </a:lnTo>
                  <a:lnTo>
                    <a:pt x="266334" y="877"/>
                  </a:lnTo>
                  <a:lnTo>
                    <a:pt x="264488" y="121"/>
                  </a:lnTo>
                  <a:lnTo>
                    <a:pt x="261978" y="0"/>
                  </a:lnTo>
                  <a:lnTo>
                    <a:pt x="260374" y="847"/>
                  </a:lnTo>
                  <a:lnTo>
                    <a:pt x="261312" y="2995"/>
                  </a:lnTo>
                  <a:lnTo>
                    <a:pt x="259799" y="3721"/>
                  </a:lnTo>
                  <a:lnTo>
                    <a:pt x="254385" y="4689"/>
                  </a:lnTo>
                  <a:lnTo>
                    <a:pt x="253265" y="4659"/>
                  </a:lnTo>
                  <a:lnTo>
                    <a:pt x="252448" y="5113"/>
                  </a:lnTo>
                  <a:lnTo>
                    <a:pt x="251087" y="6958"/>
                  </a:lnTo>
                  <a:lnTo>
                    <a:pt x="250633" y="7956"/>
                  </a:lnTo>
                  <a:lnTo>
                    <a:pt x="249877" y="10709"/>
                  </a:lnTo>
                  <a:lnTo>
                    <a:pt x="248818" y="11617"/>
                  </a:lnTo>
                  <a:lnTo>
                    <a:pt x="246247" y="12917"/>
                  </a:lnTo>
                  <a:lnTo>
                    <a:pt x="245249" y="13946"/>
                  </a:lnTo>
                  <a:lnTo>
                    <a:pt x="245158" y="14975"/>
                  </a:lnTo>
                  <a:lnTo>
                    <a:pt x="245581" y="15973"/>
                  </a:lnTo>
                  <a:lnTo>
                    <a:pt x="245823" y="17153"/>
                  </a:lnTo>
                  <a:lnTo>
                    <a:pt x="245188" y="18605"/>
                  </a:lnTo>
                  <a:lnTo>
                    <a:pt x="246761" y="19149"/>
                  </a:lnTo>
                  <a:lnTo>
                    <a:pt x="247275" y="19240"/>
                  </a:lnTo>
                  <a:lnTo>
                    <a:pt x="249847" y="21025"/>
                  </a:lnTo>
                  <a:lnTo>
                    <a:pt x="251934" y="22114"/>
                  </a:lnTo>
                  <a:lnTo>
                    <a:pt x="253719" y="22053"/>
                  </a:lnTo>
                  <a:lnTo>
                    <a:pt x="255201" y="21358"/>
                  </a:lnTo>
                  <a:lnTo>
                    <a:pt x="256593" y="20420"/>
                  </a:lnTo>
                  <a:lnTo>
                    <a:pt x="258105" y="19724"/>
                  </a:lnTo>
                  <a:lnTo>
                    <a:pt x="262976" y="18968"/>
                  </a:lnTo>
                  <a:lnTo>
                    <a:pt x="264398" y="19180"/>
                  </a:lnTo>
                  <a:lnTo>
                    <a:pt x="265547" y="19603"/>
                  </a:lnTo>
                  <a:lnTo>
                    <a:pt x="266001" y="19815"/>
                  </a:lnTo>
                  <a:lnTo>
                    <a:pt x="266909" y="19875"/>
                  </a:lnTo>
                  <a:lnTo>
                    <a:pt x="266334" y="23142"/>
                  </a:lnTo>
                  <a:lnTo>
                    <a:pt x="265699" y="22810"/>
                  </a:lnTo>
                  <a:lnTo>
                    <a:pt x="265638" y="21993"/>
                  </a:lnTo>
                  <a:lnTo>
                    <a:pt x="265547" y="21751"/>
                  </a:lnTo>
                  <a:lnTo>
                    <a:pt x="265093" y="21781"/>
                  </a:lnTo>
                  <a:lnTo>
                    <a:pt x="264579" y="21963"/>
                  </a:lnTo>
                  <a:lnTo>
                    <a:pt x="264216" y="22235"/>
                  </a:lnTo>
                  <a:lnTo>
                    <a:pt x="263974" y="22991"/>
                  </a:lnTo>
                  <a:lnTo>
                    <a:pt x="264156" y="23627"/>
                  </a:lnTo>
                  <a:lnTo>
                    <a:pt x="264367" y="24171"/>
                  </a:lnTo>
                  <a:lnTo>
                    <a:pt x="264428" y="24625"/>
                  </a:lnTo>
                  <a:lnTo>
                    <a:pt x="264307" y="25563"/>
                  </a:lnTo>
                  <a:lnTo>
                    <a:pt x="264337" y="26531"/>
                  </a:lnTo>
                  <a:lnTo>
                    <a:pt x="264247" y="27559"/>
                  </a:lnTo>
                  <a:lnTo>
                    <a:pt x="263793" y="28285"/>
                  </a:lnTo>
                  <a:lnTo>
                    <a:pt x="263581" y="28618"/>
                  </a:lnTo>
                  <a:lnTo>
                    <a:pt x="262220" y="29042"/>
                  </a:lnTo>
                  <a:lnTo>
                    <a:pt x="261312" y="28013"/>
                  </a:lnTo>
                  <a:lnTo>
                    <a:pt x="261100" y="27771"/>
                  </a:lnTo>
                  <a:lnTo>
                    <a:pt x="259920" y="25926"/>
                  </a:lnTo>
                  <a:lnTo>
                    <a:pt x="258378" y="24594"/>
                  </a:lnTo>
                  <a:lnTo>
                    <a:pt x="255352" y="24867"/>
                  </a:lnTo>
                  <a:lnTo>
                    <a:pt x="252267" y="26743"/>
                  </a:lnTo>
                  <a:lnTo>
                    <a:pt x="251087" y="29102"/>
                  </a:lnTo>
                  <a:lnTo>
                    <a:pt x="250966" y="29737"/>
                  </a:lnTo>
                  <a:lnTo>
                    <a:pt x="248183" y="30161"/>
                  </a:lnTo>
                  <a:lnTo>
                    <a:pt x="247880" y="30222"/>
                  </a:lnTo>
                  <a:lnTo>
                    <a:pt x="241437" y="30191"/>
                  </a:lnTo>
                  <a:lnTo>
                    <a:pt x="237625" y="29253"/>
                  </a:lnTo>
                  <a:lnTo>
                    <a:pt x="236627" y="28648"/>
                  </a:lnTo>
                  <a:lnTo>
                    <a:pt x="235931" y="27347"/>
                  </a:lnTo>
                  <a:lnTo>
                    <a:pt x="235387" y="26017"/>
                  </a:lnTo>
                  <a:lnTo>
                    <a:pt x="234842" y="25411"/>
                  </a:lnTo>
                  <a:lnTo>
                    <a:pt x="233692" y="25320"/>
                  </a:lnTo>
                  <a:lnTo>
                    <a:pt x="231060" y="24564"/>
                  </a:lnTo>
                  <a:lnTo>
                    <a:pt x="229245" y="24564"/>
                  </a:lnTo>
                  <a:lnTo>
                    <a:pt x="223830" y="25411"/>
                  </a:lnTo>
                  <a:lnTo>
                    <a:pt x="223286" y="25744"/>
                  </a:lnTo>
                  <a:lnTo>
                    <a:pt x="222802" y="26410"/>
                  </a:lnTo>
                  <a:lnTo>
                    <a:pt x="222106" y="27075"/>
                  </a:lnTo>
                  <a:lnTo>
                    <a:pt x="220261" y="27589"/>
                  </a:lnTo>
                  <a:lnTo>
                    <a:pt x="218083" y="28648"/>
                  </a:lnTo>
                  <a:lnTo>
                    <a:pt x="217266" y="29253"/>
                  </a:lnTo>
                  <a:lnTo>
                    <a:pt x="216419" y="30161"/>
                  </a:lnTo>
                  <a:lnTo>
                    <a:pt x="215995" y="30857"/>
                  </a:lnTo>
                  <a:lnTo>
                    <a:pt x="215572" y="31431"/>
                  </a:lnTo>
                  <a:lnTo>
                    <a:pt x="214574" y="32067"/>
                  </a:lnTo>
                  <a:lnTo>
                    <a:pt x="210066" y="32974"/>
                  </a:lnTo>
                  <a:lnTo>
                    <a:pt x="196967" y="32974"/>
                  </a:lnTo>
                  <a:lnTo>
                    <a:pt x="196695" y="32400"/>
                  </a:lnTo>
                  <a:lnTo>
                    <a:pt x="196483" y="31129"/>
                  </a:lnTo>
                  <a:lnTo>
                    <a:pt x="196181" y="29828"/>
                  </a:lnTo>
                  <a:lnTo>
                    <a:pt x="195576" y="29253"/>
                  </a:lnTo>
                  <a:lnTo>
                    <a:pt x="189071" y="28890"/>
                  </a:lnTo>
                  <a:lnTo>
                    <a:pt x="187650" y="28225"/>
                  </a:lnTo>
                  <a:lnTo>
                    <a:pt x="185835" y="30857"/>
                  </a:lnTo>
                  <a:lnTo>
                    <a:pt x="184231" y="32641"/>
                  </a:lnTo>
                  <a:lnTo>
                    <a:pt x="182325" y="33610"/>
                  </a:lnTo>
                  <a:lnTo>
                    <a:pt x="178363" y="34366"/>
                  </a:lnTo>
                  <a:lnTo>
                    <a:pt x="173946" y="35213"/>
                  </a:lnTo>
                  <a:lnTo>
                    <a:pt x="171737" y="34941"/>
                  </a:lnTo>
                  <a:lnTo>
                    <a:pt x="170285" y="34245"/>
                  </a:lnTo>
                  <a:lnTo>
                    <a:pt x="166534" y="32400"/>
                  </a:lnTo>
                  <a:lnTo>
                    <a:pt x="166806" y="32430"/>
                  </a:lnTo>
                  <a:lnTo>
                    <a:pt x="169166" y="32430"/>
                  </a:lnTo>
                  <a:lnTo>
                    <a:pt x="170225" y="31492"/>
                  </a:lnTo>
                  <a:lnTo>
                    <a:pt x="171556" y="28073"/>
                  </a:lnTo>
                  <a:lnTo>
                    <a:pt x="169287" y="28285"/>
                  </a:lnTo>
                  <a:lnTo>
                    <a:pt x="164144" y="29707"/>
                  </a:lnTo>
                  <a:lnTo>
                    <a:pt x="164084" y="29707"/>
                  </a:lnTo>
                  <a:lnTo>
                    <a:pt x="160545" y="30948"/>
                  </a:lnTo>
                  <a:lnTo>
                    <a:pt x="158155" y="32157"/>
                  </a:lnTo>
                  <a:lnTo>
                    <a:pt x="157580" y="32581"/>
                  </a:lnTo>
                  <a:lnTo>
                    <a:pt x="153768" y="35485"/>
                  </a:lnTo>
                  <a:lnTo>
                    <a:pt x="153980" y="35576"/>
                  </a:lnTo>
                  <a:lnTo>
                    <a:pt x="155674" y="36756"/>
                  </a:lnTo>
                  <a:lnTo>
                    <a:pt x="156007" y="36756"/>
                  </a:lnTo>
                  <a:lnTo>
                    <a:pt x="156037" y="38117"/>
                  </a:lnTo>
                  <a:lnTo>
                    <a:pt x="155614" y="38904"/>
                  </a:lnTo>
                  <a:lnTo>
                    <a:pt x="154797" y="39146"/>
                  </a:lnTo>
                  <a:lnTo>
                    <a:pt x="153768" y="38964"/>
                  </a:lnTo>
                  <a:lnTo>
                    <a:pt x="153163" y="39236"/>
                  </a:lnTo>
                  <a:lnTo>
                    <a:pt x="153042" y="39660"/>
                  </a:lnTo>
                  <a:lnTo>
                    <a:pt x="153254" y="40204"/>
                  </a:lnTo>
                  <a:lnTo>
                    <a:pt x="153980" y="41142"/>
                  </a:lnTo>
                  <a:lnTo>
                    <a:pt x="154071" y="41445"/>
                  </a:lnTo>
                  <a:lnTo>
                    <a:pt x="154071" y="41505"/>
                  </a:lnTo>
                  <a:lnTo>
                    <a:pt x="154071" y="41838"/>
                  </a:lnTo>
                  <a:lnTo>
                    <a:pt x="153919" y="42231"/>
                  </a:lnTo>
                  <a:lnTo>
                    <a:pt x="153768" y="42443"/>
                  </a:lnTo>
                  <a:lnTo>
                    <a:pt x="152225" y="43744"/>
                  </a:lnTo>
                  <a:lnTo>
                    <a:pt x="150924" y="43562"/>
                  </a:lnTo>
                  <a:lnTo>
                    <a:pt x="150047" y="43048"/>
                  </a:lnTo>
                  <a:lnTo>
                    <a:pt x="149594" y="42806"/>
                  </a:lnTo>
                  <a:lnTo>
                    <a:pt x="148051" y="42292"/>
                  </a:lnTo>
                  <a:lnTo>
                    <a:pt x="146871" y="42625"/>
                  </a:lnTo>
                  <a:lnTo>
                    <a:pt x="146871" y="43441"/>
                  </a:lnTo>
                  <a:lnTo>
                    <a:pt x="147385" y="44288"/>
                  </a:lnTo>
                  <a:lnTo>
                    <a:pt x="147718" y="44621"/>
                  </a:lnTo>
                  <a:lnTo>
                    <a:pt x="148202" y="45256"/>
                  </a:lnTo>
                  <a:lnTo>
                    <a:pt x="148383" y="46043"/>
                  </a:lnTo>
                  <a:lnTo>
                    <a:pt x="148051" y="47313"/>
                  </a:lnTo>
                  <a:lnTo>
                    <a:pt x="147506" y="47979"/>
                  </a:lnTo>
                  <a:lnTo>
                    <a:pt x="146054" y="49703"/>
                  </a:lnTo>
                  <a:lnTo>
                    <a:pt x="144239" y="50369"/>
                  </a:lnTo>
                  <a:lnTo>
                    <a:pt x="143271" y="50732"/>
                  </a:lnTo>
                  <a:lnTo>
                    <a:pt x="139096" y="50581"/>
                  </a:lnTo>
                  <a:lnTo>
                    <a:pt x="136283" y="50460"/>
                  </a:lnTo>
                  <a:lnTo>
                    <a:pt x="133621" y="50974"/>
                  </a:lnTo>
                  <a:lnTo>
                    <a:pt x="129809" y="52517"/>
                  </a:lnTo>
                  <a:lnTo>
                    <a:pt x="129144" y="52638"/>
                  </a:lnTo>
                  <a:lnTo>
                    <a:pt x="128357" y="52335"/>
                  </a:lnTo>
                  <a:lnTo>
                    <a:pt x="127964" y="51821"/>
                  </a:lnTo>
                  <a:lnTo>
                    <a:pt x="127661" y="51337"/>
                  </a:lnTo>
                  <a:lnTo>
                    <a:pt x="127238" y="51034"/>
                  </a:lnTo>
                  <a:lnTo>
                    <a:pt x="124303" y="50187"/>
                  </a:lnTo>
                  <a:lnTo>
                    <a:pt x="122125" y="48977"/>
                  </a:lnTo>
                  <a:lnTo>
                    <a:pt x="121550" y="46739"/>
                  </a:lnTo>
                  <a:lnTo>
                    <a:pt x="123365" y="42866"/>
                  </a:lnTo>
                  <a:lnTo>
                    <a:pt x="120643" y="43108"/>
                  </a:lnTo>
                  <a:lnTo>
                    <a:pt x="119493" y="42957"/>
                  </a:lnTo>
                  <a:lnTo>
                    <a:pt x="119282" y="42927"/>
                  </a:lnTo>
                  <a:lnTo>
                    <a:pt x="117981" y="42231"/>
                  </a:lnTo>
                  <a:lnTo>
                    <a:pt x="115621" y="41777"/>
                  </a:lnTo>
                  <a:lnTo>
                    <a:pt x="110599" y="42564"/>
                  </a:lnTo>
                  <a:lnTo>
                    <a:pt x="107998" y="42231"/>
                  </a:lnTo>
                  <a:lnTo>
                    <a:pt x="107060" y="41596"/>
                  </a:lnTo>
                  <a:lnTo>
                    <a:pt x="106153" y="41384"/>
                  </a:lnTo>
                  <a:lnTo>
                    <a:pt x="105245" y="41596"/>
                  </a:lnTo>
                  <a:lnTo>
                    <a:pt x="104367" y="42231"/>
                  </a:lnTo>
                  <a:lnTo>
                    <a:pt x="102492" y="42745"/>
                  </a:lnTo>
                  <a:lnTo>
                    <a:pt x="102734" y="44288"/>
                  </a:lnTo>
                  <a:lnTo>
                    <a:pt x="103793" y="46164"/>
                  </a:lnTo>
                  <a:lnTo>
                    <a:pt x="104277" y="47797"/>
                  </a:lnTo>
                  <a:lnTo>
                    <a:pt x="103521" y="48947"/>
                  </a:lnTo>
                  <a:lnTo>
                    <a:pt x="102008" y="50127"/>
                  </a:lnTo>
                  <a:lnTo>
                    <a:pt x="100374" y="50974"/>
                  </a:lnTo>
                  <a:lnTo>
                    <a:pt x="97743" y="51518"/>
                  </a:lnTo>
                  <a:lnTo>
                    <a:pt x="97591" y="54090"/>
                  </a:lnTo>
                  <a:lnTo>
                    <a:pt x="94990" y="55512"/>
                  </a:lnTo>
                  <a:lnTo>
                    <a:pt x="93507" y="57296"/>
                  </a:lnTo>
                  <a:lnTo>
                    <a:pt x="92267" y="59414"/>
                  </a:lnTo>
                  <a:lnTo>
                    <a:pt x="91753" y="61169"/>
                  </a:lnTo>
                  <a:lnTo>
                    <a:pt x="103732" y="60080"/>
                  </a:lnTo>
                  <a:lnTo>
                    <a:pt x="105578" y="59263"/>
                  </a:lnTo>
                  <a:lnTo>
                    <a:pt x="107060" y="60382"/>
                  </a:lnTo>
                  <a:lnTo>
                    <a:pt x="108572" y="61652"/>
                  </a:lnTo>
                  <a:lnTo>
                    <a:pt x="109631" y="63014"/>
                  </a:lnTo>
                  <a:lnTo>
                    <a:pt x="108845" y="64527"/>
                  </a:lnTo>
                  <a:lnTo>
                    <a:pt x="107907" y="65071"/>
                  </a:lnTo>
                  <a:lnTo>
                    <a:pt x="106879" y="65343"/>
                  </a:lnTo>
                  <a:lnTo>
                    <a:pt x="105820" y="65918"/>
                  </a:lnTo>
                  <a:lnTo>
                    <a:pt x="104367" y="67733"/>
                  </a:lnTo>
                  <a:lnTo>
                    <a:pt x="103823" y="67945"/>
                  </a:lnTo>
                  <a:lnTo>
                    <a:pt x="102915" y="68036"/>
                  </a:lnTo>
                  <a:lnTo>
                    <a:pt x="101010" y="69851"/>
                  </a:lnTo>
                  <a:lnTo>
                    <a:pt x="100374" y="72634"/>
                  </a:lnTo>
                  <a:lnTo>
                    <a:pt x="100768" y="75992"/>
                  </a:lnTo>
                  <a:lnTo>
                    <a:pt x="93931" y="80620"/>
                  </a:lnTo>
                  <a:lnTo>
                    <a:pt x="91027" y="83373"/>
                  </a:lnTo>
                  <a:lnTo>
                    <a:pt x="89091" y="86277"/>
                  </a:lnTo>
                  <a:lnTo>
                    <a:pt x="88879" y="86489"/>
                  </a:lnTo>
                  <a:lnTo>
                    <a:pt x="82496" y="91904"/>
                  </a:lnTo>
                  <a:lnTo>
                    <a:pt x="79501" y="92872"/>
                  </a:lnTo>
                  <a:lnTo>
                    <a:pt x="79622" y="95171"/>
                  </a:lnTo>
                  <a:lnTo>
                    <a:pt x="78170" y="95897"/>
                  </a:lnTo>
                  <a:lnTo>
                    <a:pt x="77807" y="96109"/>
                  </a:lnTo>
                  <a:lnTo>
                    <a:pt x="77414" y="96986"/>
                  </a:lnTo>
                  <a:lnTo>
                    <a:pt x="74903" y="97803"/>
                  </a:lnTo>
                  <a:lnTo>
                    <a:pt x="73935" y="98680"/>
                  </a:lnTo>
                  <a:lnTo>
                    <a:pt x="72603" y="100828"/>
                  </a:lnTo>
                  <a:lnTo>
                    <a:pt x="73814" y="103339"/>
                  </a:lnTo>
                  <a:lnTo>
                    <a:pt x="71514" y="106394"/>
                  </a:lnTo>
                  <a:lnTo>
                    <a:pt x="64799" y="111084"/>
                  </a:lnTo>
                  <a:lnTo>
                    <a:pt x="53969" y="114229"/>
                  </a:lnTo>
                  <a:lnTo>
                    <a:pt x="49098" y="116831"/>
                  </a:lnTo>
                  <a:lnTo>
                    <a:pt x="47586" y="121581"/>
                  </a:lnTo>
                  <a:lnTo>
                    <a:pt x="48009" y="122791"/>
                  </a:lnTo>
                  <a:lnTo>
                    <a:pt x="49340" y="125150"/>
                  </a:lnTo>
                  <a:lnTo>
                    <a:pt x="49673" y="126633"/>
                  </a:lnTo>
                  <a:lnTo>
                    <a:pt x="49522" y="128508"/>
                  </a:lnTo>
                  <a:lnTo>
                    <a:pt x="49128" y="129355"/>
                  </a:lnTo>
                  <a:lnTo>
                    <a:pt x="48947" y="129809"/>
                  </a:lnTo>
                  <a:lnTo>
                    <a:pt x="48251" y="130959"/>
                  </a:lnTo>
                  <a:lnTo>
                    <a:pt x="46648" y="135345"/>
                  </a:lnTo>
                  <a:lnTo>
                    <a:pt x="46527" y="136011"/>
                  </a:lnTo>
                  <a:lnTo>
                    <a:pt x="46799" y="136767"/>
                  </a:lnTo>
                  <a:lnTo>
                    <a:pt x="47344" y="137432"/>
                  </a:lnTo>
                  <a:lnTo>
                    <a:pt x="48070" y="138189"/>
                  </a:lnTo>
                  <a:lnTo>
                    <a:pt x="48130" y="140458"/>
                  </a:lnTo>
                  <a:lnTo>
                    <a:pt x="47737" y="141577"/>
                  </a:lnTo>
                  <a:lnTo>
                    <a:pt x="46587" y="142878"/>
                  </a:lnTo>
                  <a:lnTo>
                    <a:pt x="45559" y="143604"/>
                  </a:lnTo>
                  <a:lnTo>
                    <a:pt x="42201" y="145267"/>
                  </a:lnTo>
                  <a:lnTo>
                    <a:pt x="39539" y="148020"/>
                  </a:lnTo>
                  <a:lnTo>
                    <a:pt x="38540" y="148777"/>
                  </a:lnTo>
                  <a:lnTo>
                    <a:pt x="31340" y="152407"/>
                  </a:lnTo>
                  <a:lnTo>
                    <a:pt x="17818" y="163812"/>
                  </a:lnTo>
                  <a:lnTo>
                    <a:pt x="16457" y="165445"/>
                  </a:lnTo>
                  <a:lnTo>
                    <a:pt x="16790" y="167200"/>
                  </a:lnTo>
                  <a:lnTo>
                    <a:pt x="19210" y="169711"/>
                  </a:lnTo>
                  <a:lnTo>
                    <a:pt x="15640" y="173855"/>
                  </a:lnTo>
                  <a:lnTo>
                    <a:pt x="12161" y="179391"/>
                  </a:lnTo>
                  <a:lnTo>
                    <a:pt x="11012" y="180510"/>
                  </a:lnTo>
                  <a:lnTo>
                    <a:pt x="10618" y="181327"/>
                  </a:lnTo>
                  <a:lnTo>
                    <a:pt x="10618" y="182023"/>
                  </a:lnTo>
                  <a:lnTo>
                    <a:pt x="10830" y="182658"/>
                  </a:lnTo>
                  <a:lnTo>
                    <a:pt x="11072" y="183203"/>
                  </a:lnTo>
                  <a:lnTo>
                    <a:pt x="11133" y="183626"/>
                  </a:lnTo>
                  <a:lnTo>
                    <a:pt x="11133" y="184625"/>
                  </a:lnTo>
                  <a:lnTo>
                    <a:pt x="11344" y="185532"/>
                  </a:lnTo>
                  <a:lnTo>
                    <a:pt x="11163" y="186440"/>
                  </a:lnTo>
                  <a:lnTo>
                    <a:pt x="10013" y="187438"/>
                  </a:lnTo>
                  <a:lnTo>
                    <a:pt x="10498" y="187710"/>
                  </a:lnTo>
                  <a:lnTo>
                    <a:pt x="15429" y="190524"/>
                  </a:lnTo>
                  <a:lnTo>
                    <a:pt x="16911" y="191976"/>
                  </a:lnTo>
                  <a:lnTo>
                    <a:pt x="18121" y="194002"/>
                  </a:lnTo>
                  <a:lnTo>
                    <a:pt x="18272" y="195485"/>
                  </a:lnTo>
                  <a:lnTo>
                    <a:pt x="16487" y="199176"/>
                  </a:lnTo>
                  <a:lnTo>
                    <a:pt x="15005" y="202171"/>
                  </a:lnTo>
                  <a:lnTo>
                    <a:pt x="14672" y="203229"/>
                  </a:lnTo>
                  <a:lnTo>
                    <a:pt x="13976" y="207011"/>
                  </a:lnTo>
                  <a:lnTo>
                    <a:pt x="13916" y="208463"/>
                  </a:lnTo>
                  <a:lnTo>
                    <a:pt x="14006" y="209673"/>
                  </a:lnTo>
                  <a:lnTo>
                    <a:pt x="13583" y="210581"/>
                  </a:lnTo>
                  <a:lnTo>
                    <a:pt x="11344" y="211216"/>
                  </a:lnTo>
                  <a:lnTo>
                    <a:pt x="10770" y="211276"/>
                  </a:lnTo>
                  <a:lnTo>
                    <a:pt x="10164" y="211216"/>
                  </a:lnTo>
                  <a:lnTo>
                    <a:pt x="9378" y="210974"/>
                  </a:lnTo>
                  <a:lnTo>
                    <a:pt x="9197" y="210974"/>
                  </a:lnTo>
                  <a:lnTo>
                    <a:pt x="9015" y="210974"/>
                  </a:lnTo>
                  <a:lnTo>
                    <a:pt x="8864" y="211004"/>
                  </a:lnTo>
                  <a:lnTo>
                    <a:pt x="2844" y="213757"/>
                  </a:lnTo>
                  <a:lnTo>
                    <a:pt x="363" y="215148"/>
                  </a:lnTo>
                  <a:lnTo>
                    <a:pt x="0" y="216782"/>
                  </a:lnTo>
                  <a:lnTo>
                    <a:pt x="1059" y="218597"/>
                  </a:lnTo>
                  <a:lnTo>
                    <a:pt x="2844" y="220654"/>
                  </a:lnTo>
                  <a:lnTo>
                    <a:pt x="2511" y="221804"/>
                  </a:lnTo>
                  <a:lnTo>
                    <a:pt x="1755" y="223135"/>
                  </a:lnTo>
                  <a:lnTo>
                    <a:pt x="393" y="226039"/>
                  </a:lnTo>
                  <a:lnTo>
                    <a:pt x="2844" y="224708"/>
                  </a:lnTo>
                  <a:lnTo>
                    <a:pt x="7382" y="223710"/>
                  </a:lnTo>
                  <a:lnTo>
                    <a:pt x="11980" y="223528"/>
                  </a:lnTo>
                  <a:lnTo>
                    <a:pt x="15398" y="224950"/>
                  </a:lnTo>
                  <a:lnTo>
                    <a:pt x="18665" y="223407"/>
                  </a:lnTo>
                  <a:lnTo>
                    <a:pt x="23808" y="217871"/>
                  </a:lnTo>
                  <a:lnTo>
                    <a:pt x="30251" y="213938"/>
                  </a:lnTo>
                  <a:lnTo>
                    <a:pt x="32853" y="211427"/>
                  </a:lnTo>
                  <a:lnTo>
                    <a:pt x="32309" y="208342"/>
                  </a:lnTo>
                  <a:lnTo>
                    <a:pt x="31613" y="208069"/>
                  </a:lnTo>
                  <a:lnTo>
                    <a:pt x="29919" y="208765"/>
                  </a:lnTo>
                  <a:lnTo>
                    <a:pt x="28890" y="208251"/>
                  </a:lnTo>
                  <a:lnTo>
                    <a:pt x="28467" y="207706"/>
                  </a:lnTo>
                  <a:lnTo>
                    <a:pt x="27499" y="205498"/>
                  </a:lnTo>
                  <a:lnTo>
                    <a:pt x="27438" y="204953"/>
                  </a:lnTo>
                  <a:lnTo>
                    <a:pt x="26531" y="202685"/>
                  </a:lnTo>
                  <a:lnTo>
                    <a:pt x="26107" y="201354"/>
                  </a:lnTo>
                  <a:lnTo>
                    <a:pt x="26621" y="199508"/>
                  </a:lnTo>
                  <a:lnTo>
                    <a:pt x="28739" y="196877"/>
                  </a:lnTo>
                  <a:lnTo>
                    <a:pt x="31613" y="193398"/>
                  </a:lnTo>
                  <a:lnTo>
                    <a:pt x="34910" y="190796"/>
                  </a:lnTo>
                  <a:lnTo>
                    <a:pt x="37996" y="189858"/>
                  </a:lnTo>
                  <a:lnTo>
                    <a:pt x="41293" y="189707"/>
                  </a:lnTo>
                  <a:lnTo>
                    <a:pt x="44561" y="188951"/>
                  </a:lnTo>
                  <a:lnTo>
                    <a:pt x="53152" y="183536"/>
                  </a:lnTo>
                  <a:lnTo>
                    <a:pt x="59596" y="182356"/>
                  </a:lnTo>
                  <a:lnTo>
                    <a:pt x="66311" y="182537"/>
                  </a:lnTo>
                  <a:lnTo>
                    <a:pt x="81286" y="186137"/>
                  </a:lnTo>
                  <a:lnTo>
                    <a:pt x="82798" y="186833"/>
                  </a:lnTo>
                  <a:lnTo>
                    <a:pt x="82798" y="186833"/>
                  </a:lnTo>
                  <a:lnTo>
                    <a:pt x="83736" y="188164"/>
                  </a:lnTo>
                  <a:lnTo>
                    <a:pt x="83857" y="189374"/>
                  </a:lnTo>
                  <a:lnTo>
                    <a:pt x="83978" y="190675"/>
                  </a:lnTo>
                  <a:lnTo>
                    <a:pt x="83252" y="192913"/>
                  </a:lnTo>
                  <a:lnTo>
                    <a:pt x="80590" y="195788"/>
                  </a:lnTo>
                  <a:lnTo>
                    <a:pt x="80046" y="197330"/>
                  </a:lnTo>
                  <a:lnTo>
                    <a:pt x="81982" y="200386"/>
                  </a:lnTo>
                  <a:lnTo>
                    <a:pt x="85551" y="203864"/>
                  </a:lnTo>
                  <a:lnTo>
                    <a:pt x="87820" y="207495"/>
                  </a:lnTo>
                  <a:lnTo>
                    <a:pt x="84280" y="213878"/>
                  </a:lnTo>
                  <a:lnTo>
                    <a:pt x="82526" y="218657"/>
                  </a:lnTo>
                  <a:lnTo>
                    <a:pt x="81588" y="223225"/>
                  </a:lnTo>
                  <a:lnTo>
                    <a:pt x="82465" y="225464"/>
                  </a:lnTo>
                  <a:lnTo>
                    <a:pt x="90482" y="227067"/>
                  </a:lnTo>
                  <a:lnTo>
                    <a:pt x="92025" y="228459"/>
                  </a:lnTo>
                  <a:lnTo>
                    <a:pt x="91904" y="229457"/>
                  </a:lnTo>
                  <a:lnTo>
                    <a:pt x="91208" y="230486"/>
                  </a:lnTo>
                  <a:lnTo>
                    <a:pt x="90391" y="231394"/>
                  </a:lnTo>
                  <a:lnTo>
                    <a:pt x="89938" y="232089"/>
                  </a:lnTo>
                  <a:lnTo>
                    <a:pt x="90210" y="231938"/>
                  </a:lnTo>
                  <a:lnTo>
                    <a:pt x="90391" y="233269"/>
                  </a:lnTo>
                  <a:lnTo>
                    <a:pt x="90422" y="234661"/>
                  </a:lnTo>
                  <a:lnTo>
                    <a:pt x="90271" y="234812"/>
                  </a:lnTo>
                  <a:lnTo>
                    <a:pt x="90331" y="235840"/>
                  </a:lnTo>
                  <a:lnTo>
                    <a:pt x="90119" y="236385"/>
                  </a:lnTo>
                  <a:lnTo>
                    <a:pt x="90180" y="236778"/>
                  </a:lnTo>
                  <a:lnTo>
                    <a:pt x="91057" y="237414"/>
                  </a:lnTo>
                  <a:lnTo>
                    <a:pt x="92025" y="237534"/>
                  </a:lnTo>
                  <a:lnTo>
                    <a:pt x="92781" y="236990"/>
                  </a:lnTo>
                  <a:lnTo>
                    <a:pt x="93507" y="236324"/>
                  </a:lnTo>
                  <a:lnTo>
                    <a:pt x="94354" y="236022"/>
                  </a:lnTo>
                  <a:lnTo>
                    <a:pt x="96623" y="236929"/>
                  </a:lnTo>
                  <a:lnTo>
                    <a:pt x="103430" y="244008"/>
                  </a:lnTo>
                  <a:lnTo>
                    <a:pt x="103944" y="244311"/>
                  </a:lnTo>
                  <a:lnTo>
                    <a:pt x="104307" y="245733"/>
                  </a:lnTo>
                  <a:lnTo>
                    <a:pt x="105456" y="248485"/>
                  </a:lnTo>
                  <a:lnTo>
                    <a:pt x="106153" y="250906"/>
                  </a:lnTo>
                  <a:lnTo>
                    <a:pt x="106697" y="252236"/>
                  </a:lnTo>
                  <a:lnTo>
                    <a:pt x="107393" y="253326"/>
                  </a:lnTo>
                  <a:lnTo>
                    <a:pt x="111900" y="257954"/>
                  </a:lnTo>
                  <a:lnTo>
                    <a:pt x="114260" y="259255"/>
                  </a:lnTo>
                  <a:lnTo>
                    <a:pt x="117345" y="259860"/>
                  </a:lnTo>
                  <a:lnTo>
                    <a:pt x="120643" y="259799"/>
                  </a:lnTo>
                  <a:lnTo>
                    <a:pt x="123668" y="259255"/>
                  </a:lnTo>
                  <a:lnTo>
                    <a:pt x="129870" y="256926"/>
                  </a:lnTo>
                  <a:lnTo>
                    <a:pt x="132713" y="255322"/>
                  </a:lnTo>
                  <a:lnTo>
                    <a:pt x="134014" y="254899"/>
                  </a:lnTo>
                  <a:lnTo>
                    <a:pt x="141577" y="255625"/>
                  </a:lnTo>
                  <a:lnTo>
                    <a:pt x="144814" y="254566"/>
                  </a:lnTo>
                  <a:lnTo>
                    <a:pt x="150743" y="250573"/>
                  </a:lnTo>
                  <a:lnTo>
                    <a:pt x="153768" y="249393"/>
                  </a:lnTo>
                  <a:lnTo>
                    <a:pt x="155855" y="249151"/>
                  </a:lnTo>
                  <a:lnTo>
                    <a:pt x="156975" y="247820"/>
                  </a:lnTo>
                  <a:lnTo>
                    <a:pt x="157943" y="246307"/>
                  </a:lnTo>
                  <a:lnTo>
                    <a:pt x="159607" y="245490"/>
                  </a:lnTo>
                  <a:lnTo>
                    <a:pt x="169892" y="247850"/>
                  </a:lnTo>
                  <a:lnTo>
                    <a:pt x="171465" y="248697"/>
                  </a:lnTo>
                  <a:lnTo>
                    <a:pt x="172978" y="249998"/>
                  </a:lnTo>
                  <a:lnTo>
                    <a:pt x="174853" y="252539"/>
                  </a:lnTo>
                  <a:lnTo>
                    <a:pt x="175005" y="252872"/>
                  </a:lnTo>
                  <a:lnTo>
                    <a:pt x="176245" y="253265"/>
                  </a:lnTo>
                  <a:lnTo>
                    <a:pt x="177092" y="253053"/>
                  </a:lnTo>
                  <a:lnTo>
                    <a:pt x="177848" y="252751"/>
                  </a:lnTo>
                  <a:lnTo>
                    <a:pt x="178846" y="252630"/>
                  </a:lnTo>
                  <a:lnTo>
                    <a:pt x="183687" y="254263"/>
                  </a:lnTo>
                  <a:lnTo>
                    <a:pt x="186440" y="254203"/>
                  </a:lnTo>
                  <a:lnTo>
                    <a:pt x="188255" y="254717"/>
                  </a:lnTo>
                  <a:lnTo>
                    <a:pt x="188830" y="254748"/>
                  </a:lnTo>
                  <a:lnTo>
                    <a:pt x="190070" y="254112"/>
                  </a:lnTo>
                  <a:lnTo>
                    <a:pt x="190312" y="253689"/>
                  </a:lnTo>
                  <a:lnTo>
                    <a:pt x="190221" y="252962"/>
                  </a:lnTo>
                  <a:lnTo>
                    <a:pt x="190554" y="251632"/>
                  </a:lnTo>
                  <a:lnTo>
                    <a:pt x="190675" y="251390"/>
                  </a:lnTo>
                  <a:lnTo>
                    <a:pt x="192883" y="247517"/>
                  </a:lnTo>
                  <a:lnTo>
                    <a:pt x="195576" y="245793"/>
                  </a:lnTo>
                  <a:lnTo>
                    <a:pt x="202685" y="244311"/>
                  </a:lnTo>
                  <a:lnTo>
                    <a:pt x="203653" y="244038"/>
                  </a:lnTo>
                  <a:lnTo>
                    <a:pt x="204379" y="243494"/>
                  </a:lnTo>
                  <a:lnTo>
                    <a:pt x="205650" y="241982"/>
                  </a:lnTo>
                  <a:lnTo>
                    <a:pt x="205710" y="241679"/>
                  </a:lnTo>
                  <a:lnTo>
                    <a:pt x="206678" y="239713"/>
                  </a:lnTo>
                  <a:lnTo>
                    <a:pt x="206890" y="239440"/>
                  </a:lnTo>
                  <a:lnTo>
                    <a:pt x="207404" y="235659"/>
                  </a:lnTo>
                  <a:lnTo>
                    <a:pt x="207404" y="234176"/>
                  </a:lnTo>
                  <a:lnTo>
                    <a:pt x="207646" y="232634"/>
                  </a:lnTo>
                  <a:lnTo>
                    <a:pt x="208342" y="231272"/>
                  </a:lnTo>
                  <a:lnTo>
                    <a:pt x="209370" y="230546"/>
                  </a:lnTo>
                  <a:lnTo>
                    <a:pt x="211458" y="230334"/>
                  </a:lnTo>
                  <a:lnTo>
                    <a:pt x="212547" y="230002"/>
                  </a:lnTo>
                  <a:lnTo>
                    <a:pt x="216933" y="226492"/>
                  </a:lnTo>
                  <a:lnTo>
                    <a:pt x="219111" y="222197"/>
                  </a:lnTo>
                  <a:lnTo>
                    <a:pt x="218839" y="217296"/>
                  </a:lnTo>
                  <a:lnTo>
                    <a:pt x="215874" y="212002"/>
                  </a:lnTo>
                  <a:lnTo>
                    <a:pt x="213515" y="210127"/>
                  </a:lnTo>
                  <a:lnTo>
                    <a:pt x="213152" y="209612"/>
                  </a:lnTo>
                  <a:lnTo>
                    <a:pt x="213575" y="208463"/>
                  </a:lnTo>
                  <a:lnTo>
                    <a:pt x="214604" y="207192"/>
                  </a:lnTo>
                  <a:lnTo>
                    <a:pt x="216570" y="205347"/>
                  </a:lnTo>
                  <a:lnTo>
                    <a:pt x="218748" y="204439"/>
                  </a:lnTo>
                  <a:lnTo>
                    <a:pt x="223104" y="203532"/>
                  </a:lnTo>
                  <a:lnTo>
                    <a:pt x="225192" y="202201"/>
                  </a:lnTo>
                  <a:lnTo>
                    <a:pt x="230123" y="196181"/>
                  </a:lnTo>
                  <a:lnTo>
                    <a:pt x="232997" y="194850"/>
                  </a:lnTo>
                  <a:lnTo>
                    <a:pt x="234146" y="194033"/>
                  </a:lnTo>
                  <a:lnTo>
                    <a:pt x="235145" y="192944"/>
                  </a:lnTo>
                  <a:lnTo>
                    <a:pt x="235750" y="191703"/>
                  </a:lnTo>
                  <a:lnTo>
                    <a:pt x="235689" y="190372"/>
                  </a:lnTo>
                  <a:lnTo>
                    <a:pt x="235024" y="189888"/>
                  </a:lnTo>
                  <a:lnTo>
                    <a:pt x="234630" y="189314"/>
                  </a:lnTo>
                  <a:lnTo>
                    <a:pt x="235477" y="187619"/>
                  </a:lnTo>
                  <a:lnTo>
                    <a:pt x="237625" y="185532"/>
                  </a:lnTo>
                  <a:lnTo>
                    <a:pt x="240378" y="184171"/>
                  </a:lnTo>
                  <a:lnTo>
                    <a:pt x="244643" y="183324"/>
                  </a:lnTo>
                  <a:lnTo>
                    <a:pt x="245975" y="183051"/>
                  </a:lnTo>
                  <a:lnTo>
                    <a:pt x="248879" y="183505"/>
                  </a:lnTo>
                  <a:lnTo>
                    <a:pt x="250240" y="185351"/>
                  </a:lnTo>
                  <a:lnTo>
                    <a:pt x="250663" y="188376"/>
                  </a:lnTo>
                  <a:lnTo>
                    <a:pt x="250724" y="192430"/>
                  </a:lnTo>
                  <a:lnTo>
                    <a:pt x="250361" y="196271"/>
                  </a:lnTo>
                  <a:lnTo>
                    <a:pt x="248728" y="203199"/>
                  </a:lnTo>
                  <a:lnTo>
                    <a:pt x="248394" y="206648"/>
                  </a:lnTo>
                  <a:lnTo>
                    <a:pt x="248788" y="209915"/>
                  </a:lnTo>
                  <a:lnTo>
                    <a:pt x="249907" y="212063"/>
                  </a:lnTo>
                  <a:lnTo>
                    <a:pt x="251753" y="213454"/>
                  </a:lnTo>
                  <a:lnTo>
                    <a:pt x="254385" y="214422"/>
                  </a:lnTo>
                  <a:lnTo>
                    <a:pt x="257167" y="215723"/>
                  </a:lnTo>
                  <a:lnTo>
                    <a:pt x="260011" y="218416"/>
                  </a:lnTo>
                  <a:lnTo>
                    <a:pt x="266364" y="227067"/>
                  </a:lnTo>
                  <a:lnTo>
                    <a:pt x="267332" y="227521"/>
                  </a:lnTo>
                  <a:lnTo>
                    <a:pt x="269298" y="228126"/>
                  </a:lnTo>
                  <a:lnTo>
                    <a:pt x="273987" y="230667"/>
                  </a:lnTo>
                  <a:lnTo>
                    <a:pt x="275742" y="230728"/>
                  </a:lnTo>
                  <a:lnTo>
                    <a:pt x="276468" y="230365"/>
                  </a:lnTo>
                  <a:lnTo>
                    <a:pt x="278011" y="229094"/>
                  </a:lnTo>
                  <a:lnTo>
                    <a:pt x="278646" y="228822"/>
                  </a:lnTo>
                  <a:lnTo>
                    <a:pt x="279160" y="229004"/>
                  </a:lnTo>
                  <a:lnTo>
                    <a:pt x="279493" y="229094"/>
                  </a:lnTo>
                  <a:lnTo>
                    <a:pt x="280219" y="230334"/>
                  </a:lnTo>
                  <a:lnTo>
                    <a:pt x="280975" y="230819"/>
                  </a:lnTo>
                  <a:lnTo>
                    <a:pt x="282609" y="231030"/>
                  </a:lnTo>
                  <a:lnTo>
                    <a:pt x="285695" y="230970"/>
                  </a:lnTo>
                  <a:lnTo>
                    <a:pt x="287207" y="231454"/>
                  </a:lnTo>
                  <a:lnTo>
                    <a:pt x="289779" y="234570"/>
                  </a:lnTo>
                  <a:lnTo>
                    <a:pt x="288296" y="237686"/>
                  </a:lnTo>
                  <a:lnTo>
                    <a:pt x="285392" y="240892"/>
                  </a:lnTo>
                  <a:lnTo>
                    <a:pt x="283637" y="244643"/>
                  </a:lnTo>
                  <a:lnTo>
                    <a:pt x="283244" y="245279"/>
                  </a:lnTo>
                  <a:lnTo>
                    <a:pt x="283063" y="245642"/>
                  </a:lnTo>
                  <a:lnTo>
                    <a:pt x="284817" y="245733"/>
                  </a:lnTo>
                  <a:lnTo>
                    <a:pt x="286360" y="246247"/>
                  </a:lnTo>
                  <a:lnTo>
                    <a:pt x="292108" y="249091"/>
                  </a:lnTo>
                  <a:lnTo>
                    <a:pt x="292804" y="249574"/>
                  </a:lnTo>
                  <a:lnTo>
                    <a:pt x="293439" y="250421"/>
                  </a:lnTo>
                  <a:lnTo>
                    <a:pt x="294437" y="252539"/>
                  </a:lnTo>
                  <a:lnTo>
                    <a:pt x="296192" y="255413"/>
                  </a:lnTo>
                  <a:lnTo>
                    <a:pt x="297039" y="257137"/>
                  </a:lnTo>
                  <a:lnTo>
                    <a:pt x="297583" y="258862"/>
                  </a:lnTo>
                  <a:lnTo>
                    <a:pt x="297765" y="261161"/>
                  </a:lnTo>
                  <a:lnTo>
                    <a:pt x="297341" y="262794"/>
                  </a:lnTo>
                  <a:lnTo>
                    <a:pt x="296737" y="264398"/>
                  </a:lnTo>
                  <a:lnTo>
                    <a:pt x="296374" y="266425"/>
                  </a:lnTo>
                  <a:lnTo>
                    <a:pt x="300367" y="265305"/>
                  </a:lnTo>
                  <a:lnTo>
                    <a:pt x="303664" y="266666"/>
                  </a:lnTo>
                  <a:lnTo>
                    <a:pt x="306689" y="267181"/>
                  </a:lnTo>
                  <a:lnTo>
                    <a:pt x="309896" y="263550"/>
                  </a:lnTo>
                  <a:lnTo>
                    <a:pt x="312407" y="259073"/>
                  </a:lnTo>
                  <a:lnTo>
                    <a:pt x="312770" y="256804"/>
                  </a:lnTo>
                  <a:lnTo>
                    <a:pt x="311650" y="254596"/>
                  </a:lnTo>
                  <a:lnTo>
                    <a:pt x="310682" y="254052"/>
                  </a:lnTo>
                  <a:lnTo>
                    <a:pt x="308504" y="253628"/>
                  </a:lnTo>
                  <a:lnTo>
                    <a:pt x="307506" y="253144"/>
                  </a:lnTo>
                  <a:lnTo>
                    <a:pt x="306599" y="251873"/>
                  </a:lnTo>
                  <a:lnTo>
                    <a:pt x="305782" y="249454"/>
                  </a:lnTo>
                  <a:lnTo>
                    <a:pt x="304693" y="248455"/>
                  </a:lnTo>
                  <a:lnTo>
                    <a:pt x="304481" y="248122"/>
                  </a:lnTo>
                  <a:lnTo>
                    <a:pt x="304390" y="247790"/>
                  </a:lnTo>
                  <a:lnTo>
                    <a:pt x="304481" y="247427"/>
                  </a:lnTo>
                  <a:lnTo>
                    <a:pt x="304693" y="247124"/>
                  </a:lnTo>
                  <a:lnTo>
                    <a:pt x="307990" y="244311"/>
                  </a:lnTo>
                  <a:lnTo>
                    <a:pt x="306205" y="239682"/>
                  </a:lnTo>
                  <a:lnTo>
                    <a:pt x="306659" y="238170"/>
                  </a:lnTo>
                  <a:lnTo>
                    <a:pt x="309230" y="236324"/>
                  </a:lnTo>
                  <a:lnTo>
                    <a:pt x="311439" y="235689"/>
                  </a:lnTo>
                  <a:lnTo>
                    <a:pt x="312376" y="235175"/>
                  </a:lnTo>
                  <a:lnTo>
                    <a:pt x="313193" y="233935"/>
                  </a:lnTo>
                  <a:lnTo>
                    <a:pt x="313526" y="232301"/>
                  </a:lnTo>
                  <a:lnTo>
                    <a:pt x="313284" y="229306"/>
                  </a:lnTo>
                  <a:lnTo>
                    <a:pt x="313677" y="227582"/>
                  </a:lnTo>
                  <a:lnTo>
                    <a:pt x="315553" y="225010"/>
                  </a:lnTo>
                  <a:lnTo>
                    <a:pt x="322874" y="220472"/>
                  </a:lnTo>
                  <a:lnTo>
                    <a:pt x="322904" y="220382"/>
                  </a:lnTo>
                  <a:lnTo>
                    <a:pt x="323660" y="219081"/>
                  </a:lnTo>
                  <a:lnTo>
                    <a:pt x="324114" y="217538"/>
                  </a:lnTo>
                  <a:lnTo>
                    <a:pt x="324689" y="216238"/>
                  </a:lnTo>
                  <a:lnTo>
                    <a:pt x="325778" y="215481"/>
                  </a:lnTo>
                  <a:lnTo>
                    <a:pt x="326988" y="214967"/>
                  </a:lnTo>
                  <a:lnTo>
                    <a:pt x="328138" y="213938"/>
                  </a:lnTo>
                  <a:lnTo>
                    <a:pt x="329075" y="212607"/>
                  </a:lnTo>
                  <a:lnTo>
                    <a:pt x="330557" y="207828"/>
                  </a:lnTo>
                  <a:lnTo>
                    <a:pt x="333492" y="202171"/>
                  </a:lnTo>
                  <a:lnTo>
                    <a:pt x="334127" y="199206"/>
                  </a:lnTo>
                  <a:lnTo>
                    <a:pt x="333976" y="197481"/>
                  </a:lnTo>
                  <a:lnTo>
                    <a:pt x="332645" y="192762"/>
                  </a:lnTo>
                  <a:lnTo>
                    <a:pt x="332645" y="190826"/>
                  </a:lnTo>
                  <a:lnTo>
                    <a:pt x="332887" y="189162"/>
                  </a:lnTo>
                  <a:lnTo>
                    <a:pt x="332675" y="187801"/>
                  </a:lnTo>
                  <a:lnTo>
                    <a:pt x="331344" y="186954"/>
                  </a:lnTo>
                  <a:lnTo>
                    <a:pt x="330376" y="185139"/>
                  </a:lnTo>
                  <a:lnTo>
                    <a:pt x="331163" y="181872"/>
                  </a:lnTo>
                  <a:lnTo>
                    <a:pt x="332917" y="178635"/>
                  </a:lnTo>
                  <a:lnTo>
                    <a:pt x="334853" y="177001"/>
                  </a:lnTo>
                  <a:lnTo>
                    <a:pt x="339754" y="176457"/>
                  </a:lnTo>
                  <a:lnTo>
                    <a:pt x="341751" y="176941"/>
                  </a:lnTo>
                  <a:lnTo>
                    <a:pt x="341811" y="178605"/>
                  </a:lnTo>
                  <a:lnTo>
                    <a:pt x="344383" y="180843"/>
                  </a:lnTo>
                  <a:lnTo>
                    <a:pt x="345139" y="181146"/>
                  </a:lnTo>
                  <a:lnTo>
                    <a:pt x="346228" y="180752"/>
                  </a:lnTo>
                  <a:lnTo>
                    <a:pt x="346712" y="179936"/>
                  </a:lnTo>
                  <a:lnTo>
                    <a:pt x="347075" y="178998"/>
                  </a:lnTo>
                  <a:lnTo>
                    <a:pt x="347771" y="178151"/>
                  </a:lnTo>
                  <a:lnTo>
                    <a:pt x="349374" y="177031"/>
                  </a:lnTo>
                  <a:lnTo>
                    <a:pt x="350160" y="176880"/>
                  </a:lnTo>
                  <a:lnTo>
                    <a:pt x="350493" y="177697"/>
                  </a:lnTo>
                  <a:lnTo>
                    <a:pt x="351098" y="190554"/>
                  </a:lnTo>
                  <a:lnTo>
                    <a:pt x="350947" y="192611"/>
                  </a:lnTo>
                  <a:lnTo>
                    <a:pt x="351159" y="193367"/>
                  </a:lnTo>
                  <a:lnTo>
                    <a:pt x="351885" y="194002"/>
                  </a:lnTo>
                  <a:lnTo>
                    <a:pt x="354093" y="195152"/>
                  </a:lnTo>
                  <a:lnTo>
                    <a:pt x="355001" y="195818"/>
                  </a:lnTo>
                  <a:lnTo>
                    <a:pt x="356997" y="200628"/>
                  </a:lnTo>
                  <a:lnTo>
                    <a:pt x="358298" y="202261"/>
                  </a:lnTo>
                  <a:lnTo>
                    <a:pt x="360416" y="203592"/>
                  </a:lnTo>
                  <a:lnTo>
                    <a:pt x="362745" y="204379"/>
                  </a:lnTo>
                  <a:lnTo>
                    <a:pt x="374301" y="204530"/>
                  </a:lnTo>
                  <a:lnTo>
                    <a:pt x="376177" y="203804"/>
                  </a:lnTo>
                  <a:lnTo>
                    <a:pt x="377719" y="201838"/>
                  </a:lnTo>
                  <a:lnTo>
                    <a:pt x="377780" y="200779"/>
                  </a:lnTo>
                  <a:lnTo>
                    <a:pt x="377599" y="199266"/>
                  </a:lnTo>
                  <a:lnTo>
                    <a:pt x="377810" y="197754"/>
                  </a:lnTo>
                  <a:lnTo>
                    <a:pt x="378899" y="196604"/>
                  </a:lnTo>
                  <a:lnTo>
                    <a:pt x="379988" y="196634"/>
                  </a:lnTo>
                  <a:lnTo>
                    <a:pt x="382439" y="197996"/>
                  </a:lnTo>
                  <a:lnTo>
                    <a:pt x="383709" y="198238"/>
                  </a:lnTo>
                  <a:lnTo>
                    <a:pt x="385827" y="197633"/>
                  </a:lnTo>
                  <a:lnTo>
                    <a:pt x="392512" y="194456"/>
                  </a:lnTo>
                  <a:lnTo>
                    <a:pt x="396899" y="193791"/>
                  </a:lnTo>
                  <a:lnTo>
                    <a:pt x="398865" y="193912"/>
                  </a:lnTo>
                  <a:lnTo>
                    <a:pt x="400922" y="194396"/>
                  </a:lnTo>
                  <a:lnTo>
                    <a:pt x="403433" y="195908"/>
                  </a:lnTo>
                  <a:lnTo>
                    <a:pt x="404099" y="198087"/>
                  </a:lnTo>
                  <a:lnTo>
                    <a:pt x="404159" y="200749"/>
                  </a:lnTo>
                  <a:lnTo>
                    <a:pt x="404795" y="203683"/>
                  </a:lnTo>
                  <a:lnTo>
                    <a:pt x="406277" y="205498"/>
                  </a:lnTo>
                  <a:lnTo>
                    <a:pt x="410240" y="208735"/>
                  </a:lnTo>
                  <a:lnTo>
                    <a:pt x="411268" y="211004"/>
                  </a:lnTo>
                  <a:lnTo>
                    <a:pt x="411359" y="214029"/>
                  </a:lnTo>
                  <a:lnTo>
                    <a:pt x="414687" y="214089"/>
                  </a:lnTo>
                  <a:lnTo>
                    <a:pt x="418922" y="212607"/>
                  </a:lnTo>
                  <a:lnTo>
                    <a:pt x="421735" y="210974"/>
                  </a:lnTo>
                  <a:lnTo>
                    <a:pt x="423067" y="208432"/>
                  </a:lnTo>
                  <a:lnTo>
                    <a:pt x="421766" y="206073"/>
                  </a:lnTo>
                  <a:lnTo>
                    <a:pt x="417621" y="202171"/>
                  </a:lnTo>
                  <a:lnTo>
                    <a:pt x="416713" y="200658"/>
                  </a:lnTo>
                  <a:lnTo>
                    <a:pt x="416290" y="199539"/>
                  </a:lnTo>
                  <a:lnTo>
                    <a:pt x="416350" y="198329"/>
                  </a:lnTo>
                  <a:lnTo>
                    <a:pt x="416865" y="196514"/>
                  </a:lnTo>
                  <a:lnTo>
                    <a:pt x="417621" y="195213"/>
                  </a:lnTo>
                  <a:lnTo>
                    <a:pt x="419739" y="193488"/>
                  </a:lnTo>
                  <a:lnTo>
                    <a:pt x="420465" y="192581"/>
                  </a:lnTo>
                  <a:lnTo>
                    <a:pt x="421221" y="189646"/>
                  </a:lnTo>
                  <a:lnTo>
                    <a:pt x="420495" y="188164"/>
                  </a:lnTo>
                  <a:lnTo>
                    <a:pt x="418740" y="187529"/>
                  </a:lnTo>
                  <a:lnTo>
                    <a:pt x="414263" y="186712"/>
                  </a:lnTo>
                  <a:lnTo>
                    <a:pt x="411299" y="185653"/>
                  </a:lnTo>
                  <a:lnTo>
                    <a:pt x="409726" y="183838"/>
                  </a:lnTo>
                  <a:lnTo>
                    <a:pt x="411480" y="181085"/>
                  </a:lnTo>
                  <a:lnTo>
                    <a:pt x="410603" y="180541"/>
                  </a:lnTo>
                  <a:lnTo>
                    <a:pt x="410119" y="179754"/>
                  </a:lnTo>
                  <a:lnTo>
                    <a:pt x="409907" y="178786"/>
                  </a:lnTo>
                  <a:lnTo>
                    <a:pt x="409756" y="177546"/>
                  </a:lnTo>
                  <a:lnTo>
                    <a:pt x="410210" y="176124"/>
                  </a:lnTo>
                  <a:lnTo>
                    <a:pt x="410240" y="173160"/>
                  </a:lnTo>
                  <a:lnTo>
                    <a:pt x="410361" y="172222"/>
                  </a:lnTo>
                  <a:lnTo>
                    <a:pt x="411208" y="171042"/>
                  </a:lnTo>
                  <a:lnTo>
                    <a:pt x="413386" y="169015"/>
                  </a:lnTo>
                  <a:lnTo>
                    <a:pt x="414233" y="168017"/>
                  </a:lnTo>
                  <a:lnTo>
                    <a:pt x="415473" y="163630"/>
                  </a:lnTo>
                  <a:lnTo>
                    <a:pt x="415897" y="162632"/>
                  </a:lnTo>
                  <a:lnTo>
                    <a:pt x="416865" y="162148"/>
                  </a:lnTo>
                  <a:lnTo>
                    <a:pt x="426394" y="159637"/>
                  </a:lnTo>
                  <a:lnTo>
                    <a:pt x="428996" y="159607"/>
                  </a:lnTo>
                  <a:lnTo>
                    <a:pt x="430599" y="160817"/>
                  </a:lnTo>
                  <a:lnTo>
                    <a:pt x="430780" y="162329"/>
                  </a:lnTo>
                  <a:lnTo>
                    <a:pt x="430236" y="165082"/>
                  </a:lnTo>
                  <a:lnTo>
                    <a:pt x="430690" y="166534"/>
                  </a:lnTo>
                  <a:lnTo>
                    <a:pt x="434834" y="167835"/>
                  </a:lnTo>
                  <a:lnTo>
                    <a:pt x="435621" y="168501"/>
                  </a:lnTo>
                  <a:lnTo>
                    <a:pt x="436165" y="169166"/>
                  </a:lnTo>
                  <a:lnTo>
                    <a:pt x="436800" y="169771"/>
                  </a:lnTo>
                  <a:lnTo>
                    <a:pt x="437920" y="170255"/>
                  </a:lnTo>
                  <a:lnTo>
                    <a:pt x="439221" y="170467"/>
                  </a:lnTo>
                  <a:lnTo>
                    <a:pt x="442730" y="170164"/>
                  </a:lnTo>
                  <a:lnTo>
                    <a:pt x="449930" y="171889"/>
                  </a:lnTo>
                  <a:lnTo>
                    <a:pt x="451745" y="171586"/>
                  </a:lnTo>
                  <a:lnTo>
                    <a:pt x="452531" y="170376"/>
                  </a:lnTo>
                  <a:lnTo>
                    <a:pt x="453167" y="169438"/>
                  </a:lnTo>
                  <a:lnTo>
                    <a:pt x="453953" y="166111"/>
                  </a:lnTo>
                  <a:lnTo>
                    <a:pt x="454014" y="162662"/>
                  </a:lnTo>
                  <a:lnTo>
                    <a:pt x="453257" y="160060"/>
                  </a:lnTo>
                  <a:close/>
                </a:path>
              </a:pathLst>
            </a:custGeom>
            <a:solidFill>
              <a:srgbClr val="96A3AC"/>
            </a:solidFill>
            <a:ln w="3175" cap="rnd">
              <a:solidFill>
                <a:schemeClr val="bg1"/>
              </a:solidFill>
              <a:prstDash val="solid"/>
              <a:round/>
            </a:ln>
          </p:spPr>
          <p:txBody>
            <a:bodyPr rtlCol="0" anchor="ctr"/>
            <a:lstStyle/>
            <a:p>
              <a:endParaRPr lang="en-ID"/>
            </a:p>
          </p:txBody>
        </p:sp>
        <p:sp>
          <p:nvSpPr>
            <p:cNvPr id="16" name="Freeform: Shape 15">
              <a:extLst>
                <a:ext uri="{FF2B5EF4-FFF2-40B4-BE49-F238E27FC236}">
                  <a16:creationId xmlns:a16="http://schemas.microsoft.com/office/drawing/2014/main" id="{D1B8D2AF-B6B3-E7DE-A470-FD203FF78ED3}"/>
                </a:ext>
              </a:extLst>
            </p:cNvPr>
            <p:cNvSpPr/>
            <p:nvPr/>
          </p:nvSpPr>
          <p:spPr>
            <a:xfrm>
              <a:off x="9025691" y="1265816"/>
              <a:ext cx="1021051" cy="2152175"/>
            </a:xfrm>
            <a:custGeom>
              <a:avLst/>
              <a:gdLst>
                <a:gd name="connsiteX0" fmla="*/ 462666 w 1313607"/>
                <a:gd name="connsiteY0" fmla="*/ 2642342 h 2768823"/>
                <a:gd name="connsiteX1" fmla="*/ 461486 w 1313607"/>
                <a:gd name="connsiteY1" fmla="*/ 2642130 h 2768823"/>
                <a:gd name="connsiteX2" fmla="*/ 460457 w 1313607"/>
                <a:gd name="connsiteY2" fmla="*/ 2642130 h 2768823"/>
                <a:gd name="connsiteX3" fmla="*/ 459640 w 1313607"/>
                <a:gd name="connsiteY3" fmla="*/ 2641737 h 2768823"/>
                <a:gd name="connsiteX4" fmla="*/ 459005 w 1313607"/>
                <a:gd name="connsiteY4" fmla="*/ 2641102 h 2768823"/>
                <a:gd name="connsiteX5" fmla="*/ 457583 w 1313607"/>
                <a:gd name="connsiteY5" fmla="*/ 2641858 h 2768823"/>
                <a:gd name="connsiteX6" fmla="*/ 456313 w 1313607"/>
                <a:gd name="connsiteY6" fmla="*/ 2644308 h 2768823"/>
                <a:gd name="connsiteX7" fmla="*/ 457190 w 1313607"/>
                <a:gd name="connsiteY7" fmla="*/ 2646728 h 2768823"/>
                <a:gd name="connsiteX8" fmla="*/ 460427 w 1313607"/>
                <a:gd name="connsiteY8" fmla="*/ 2649148 h 2768823"/>
                <a:gd name="connsiteX9" fmla="*/ 460881 w 1313607"/>
                <a:gd name="connsiteY9" fmla="*/ 2649269 h 2768823"/>
                <a:gd name="connsiteX10" fmla="*/ 461788 w 1313607"/>
                <a:gd name="connsiteY10" fmla="*/ 2649330 h 2768823"/>
                <a:gd name="connsiteX11" fmla="*/ 462333 w 1313607"/>
                <a:gd name="connsiteY11" fmla="*/ 2648937 h 2768823"/>
                <a:gd name="connsiteX12" fmla="*/ 462484 w 1313607"/>
                <a:gd name="connsiteY12" fmla="*/ 2648271 h 2768823"/>
                <a:gd name="connsiteX13" fmla="*/ 462484 w 1313607"/>
                <a:gd name="connsiteY13" fmla="*/ 2646819 h 2768823"/>
                <a:gd name="connsiteX14" fmla="*/ 461970 w 1313607"/>
                <a:gd name="connsiteY14" fmla="*/ 2644974 h 2768823"/>
                <a:gd name="connsiteX15" fmla="*/ 462212 w 1313607"/>
                <a:gd name="connsiteY15" fmla="*/ 2644127 h 2768823"/>
                <a:gd name="connsiteX16" fmla="*/ 463573 w 1313607"/>
                <a:gd name="connsiteY16" fmla="*/ 2643885 h 2768823"/>
                <a:gd name="connsiteX17" fmla="*/ 464723 w 1313607"/>
                <a:gd name="connsiteY17" fmla="*/ 2642886 h 2768823"/>
                <a:gd name="connsiteX18" fmla="*/ 464844 w 1313607"/>
                <a:gd name="connsiteY18" fmla="*/ 2642009 h 2768823"/>
                <a:gd name="connsiteX19" fmla="*/ 463936 w 1313607"/>
                <a:gd name="connsiteY19" fmla="*/ 2642311 h 2768823"/>
                <a:gd name="connsiteX20" fmla="*/ 462696 w 1313607"/>
                <a:gd name="connsiteY20" fmla="*/ 2642311 h 2768823"/>
                <a:gd name="connsiteX21" fmla="*/ 604998 w 1313607"/>
                <a:gd name="connsiteY21" fmla="*/ 2437842 h 2768823"/>
                <a:gd name="connsiteX22" fmla="*/ 604605 w 1313607"/>
                <a:gd name="connsiteY22" fmla="*/ 2437025 h 2768823"/>
                <a:gd name="connsiteX23" fmla="*/ 604091 w 1313607"/>
                <a:gd name="connsiteY23" fmla="*/ 2436269 h 2768823"/>
                <a:gd name="connsiteX24" fmla="*/ 603879 w 1313607"/>
                <a:gd name="connsiteY24" fmla="*/ 2435694 h 2768823"/>
                <a:gd name="connsiteX25" fmla="*/ 603637 w 1313607"/>
                <a:gd name="connsiteY25" fmla="*/ 2435271 h 2768823"/>
                <a:gd name="connsiteX26" fmla="*/ 603456 w 1313607"/>
                <a:gd name="connsiteY26" fmla="*/ 2434817 h 2768823"/>
                <a:gd name="connsiteX27" fmla="*/ 603456 w 1313607"/>
                <a:gd name="connsiteY27" fmla="*/ 2434061 h 2768823"/>
                <a:gd name="connsiteX28" fmla="*/ 602730 w 1313607"/>
                <a:gd name="connsiteY28" fmla="*/ 2434061 h 2768823"/>
                <a:gd name="connsiteX29" fmla="*/ 602125 w 1313607"/>
                <a:gd name="connsiteY29" fmla="*/ 2435483 h 2768823"/>
                <a:gd name="connsiteX30" fmla="*/ 601217 w 1313607"/>
                <a:gd name="connsiteY30" fmla="*/ 2435997 h 2768823"/>
                <a:gd name="connsiteX31" fmla="*/ 600370 w 1313607"/>
                <a:gd name="connsiteY31" fmla="*/ 2435694 h 2768823"/>
                <a:gd name="connsiteX32" fmla="*/ 599553 w 1313607"/>
                <a:gd name="connsiteY32" fmla="*/ 2433214 h 2768823"/>
                <a:gd name="connsiteX33" fmla="*/ 598494 w 1313607"/>
                <a:gd name="connsiteY33" fmla="*/ 2433123 h 2768823"/>
                <a:gd name="connsiteX34" fmla="*/ 596588 w 1313607"/>
                <a:gd name="connsiteY34" fmla="*/ 2434061 h 2768823"/>
                <a:gd name="connsiteX35" fmla="*/ 594925 w 1313607"/>
                <a:gd name="connsiteY35" fmla="*/ 2435483 h 2768823"/>
                <a:gd name="connsiteX36" fmla="*/ 591839 w 1313607"/>
                <a:gd name="connsiteY36" fmla="*/ 2440111 h 2768823"/>
                <a:gd name="connsiteX37" fmla="*/ 589631 w 1313607"/>
                <a:gd name="connsiteY37" fmla="*/ 2442350 h 2768823"/>
                <a:gd name="connsiteX38" fmla="*/ 589177 w 1313607"/>
                <a:gd name="connsiteY38" fmla="*/ 2445284 h 2768823"/>
                <a:gd name="connsiteX39" fmla="*/ 588905 w 1313607"/>
                <a:gd name="connsiteY39" fmla="*/ 2454965 h 2768823"/>
                <a:gd name="connsiteX40" fmla="*/ 588360 w 1313607"/>
                <a:gd name="connsiteY40" fmla="*/ 2456417 h 2768823"/>
                <a:gd name="connsiteX41" fmla="*/ 586999 w 1313607"/>
                <a:gd name="connsiteY41" fmla="*/ 2457990 h 2768823"/>
                <a:gd name="connsiteX42" fmla="*/ 584881 w 1313607"/>
                <a:gd name="connsiteY42" fmla="*/ 2458958 h 2768823"/>
                <a:gd name="connsiteX43" fmla="*/ 583944 w 1313607"/>
                <a:gd name="connsiteY43" fmla="*/ 2459805 h 2768823"/>
                <a:gd name="connsiteX44" fmla="*/ 583550 w 1313607"/>
                <a:gd name="connsiteY44" fmla="*/ 2461529 h 2768823"/>
                <a:gd name="connsiteX45" fmla="*/ 581766 w 1313607"/>
                <a:gd name="connsiteY45" fmla="*/ 2474114 h 2768823"/>
                <a:gd name="connsiteX46" fmla="*/ 577470 w 1313607"/>
                <a:gd name="connsiteY46" fmla="*/ 2484187 h 2768823"/>
                <a:gd name="connsiteX47" fmla="*/ 572236 w 1313607"/>
                <a:gd name="connsiteY47" fmla="*/ 2493565 h 2768823"/>
                <a:gd name="connsiteX48" fmla="*/ 567668 w 1313607"/>
                <a:gd name="connsiteY48" fmla="*/ 2504063 h 2768823"/>
                <a:gd name="connsiteX49" fmla="*/ 565944 w 1313607"/>
                <a:gd name="connsiteY49" fmla="*/ 2510476 h 2768823"/>
                <a:gd name="connsiteX50" fmla="*/ 564492 w 1313607"/>
                <a:gd name="connsiteY50" fmla="*/ 2512533 h 2768823"/>
                <a:gd name="connsiteX51" fmla="*/ 561769 w 1313607"/>
                <a:gd name="connsiteY51" fmla="*/ 2513320 h 2768823"/>
                <a:gd name="connsiteX52" fmla="*/ 558684 w 1313607"/>
                <a:gd name="connsiteY52" fmla="*/ 2513440 h 2768823"/>
                <a:gd name="connsiteX53" fmla="*/ 556566 w 1313607"/>
                <a:gd name="connsiteY53" fmla="*/ 2514136 h 2768823"/>
                <a:gd name="connsiteX54" fmla="*/ 554842 w 1313607"/>
                <a:gd name="connsiteY54" fmla="*/ 2515861 h 2768823"/>
                <a:gd name="connsiteX55" fmla="*/ 537931 w 1313607"/>
                <a:gd name="connsiteY55" fmla="*/ 2555429 h 2768823"/>
                <a:gd name="connsiteX56" fmla="*/ 537235 w 1313607"/>
                <a:gd name="connsiteY56" fmla="*/ 2558939 h 2768823"/>
                <a:gd name="connsiteX57" fmla="*/ 536872 w 1313607"/>
                <a:gd name="connsiteY57" fmla="*/ 2560270 h 2768823"/>
                <a:gd name="connsiteX58" fmla="*/ 534543 w 1313607"/>
                <a:gd name="connsiteY58" fmla="*/ 2564142 h 2768823"/>
                <a:gd name="connsiteX59" fmla="*/ 532819 w 1313607"/>
                <a:gd name="connsiteY59" fmla="*/ 2569375 h 2768823"/>
                <a:gd name="connsiteX60" fmla="*/ 532516 w 1313607"/>
                <a:gd name="connsiteY60" fmla="*/ 2571009 h 2768823"/>
                <a:gd name="connsiteX61" fmla="*/ 531760 w 1313607"/>
                <a:gd name="connsiteY61" fmla="*/ 2585409 h 2768823"/>
                <a:gd name="connsiteX62" fmla="*/ 532334 w 1313607"/>
                <a:gd name="connsiteY62" fmla="*/ 2588585 h 2768823"/>
                <a:gd name="connsiteX63" fmla="*/ 533423 w 1313607"/>
                <a:gd name="connsiteY63" fmla="*/ 2591761 h 2768823"/>
                <a:gd name="connsiteX64" fmla="*/ 534029 w 1313607"/>
                <a:gd name="connsiteY64" fmla="*/ 2594726 h 2768823"/>
                <a:gd name="connsiteX65" fmla="*/ 533182 w 1313607"/>
                <a:gd name="connsiteY65" fmla="*/ 2597358 h 2768823"/>
                <a:gd name="connsiteX66" fmla="*/ 533454 w 1313607"/>
                <a:gd name="connsiteY66" fmla="*/ 2604437 h 2768823"/>
                <a:gd name="connsiteX67" fmla="*/ 533333 w 1313607"/>
                <a:gd name="connsiteY67" fmla="*/ 2608551 h 2768823"/>
                <a:gd name="connsiteX68" fmla="*/ 532486 w 1313607"/>
                <a:gd name="connsiteY68" fmla="*/ 2612181 h 2768823"/>
                <a:gd name="connsiteX69" fmla="*/ 533847 w 1313607"/>
                <a:gd name="connsiteY69" fmla="*/ 2616719 h 2768823"/>
                <a:gd name="connsiteX70" fmla="*/ 533847 w 1313607"/>
                <a:gd name="connsiteY70" fmla="*/ 2618353 h 2768823"/>
                <a:gd name="connsiteX71" fmla="*/ 533635 w 1313607"/>
                <a:gd name="connsiteY71" fmla="*/ 2622164 h 2768823"/>
                <a:gd name="connsiteX72" fmla="*/ 533847 w 1313607"/>
                <a:gd name="connsiteY72" fmla="*/ 2623647 h 2768823"/>
                <a:gd name="connsiteX73" fmla="*/ 535420 w 1313607"/>
                <a:gd name="connsiteY73" fmla="*/ 2625522 h 2768823"/>
                <a:gd name="connsiteX74" fmla="*/ 537598 w 1313607"/>
                <a:gd name="connsiteY74" fmla="*/ 2625401 h 2768823"/>
                <a:gd name="connsiteX75" fmla="*/ 539867 w 1313607"/>
                <a:gd name="connsiteY75" fmla="*/ 2623979 h 2768823"/>
                <a:gd name="connsiteX76" fmla="*/ 541682 w 1313607"/>
                <a:gd name="connsiteY76" fmla="*/ 2621922 h 2768823"/>
                <a:gd name="connsiteX77" fmla="*/ 546734 w 1313607"/>
                <a:gd name="connsiteY77" fmla="*/ 2610850 h 2768823"/>
                <a:gd name="connsiteX78" fmla="*/ 547521 w 1313607"/>
                <a:gd name="connsiteY78" fmla="*/ 2608188 h 2768823"/>
                <a:gd name="connsiteX79" fmla="*/ 547853 w 1313607"/>
                <a:gd name="connsiteY79" fmla="*/ 2606524 h 2768823"/>
                <a:gd name="connsiteX80" fmla="*/ 549275 w 1313607"/>
                <a:gd name="connsiteY80" fmla="*/ 2604195 h 2768823"/>
                <a:gd name="connsiteX81" fmla="*/ 549608 w 1313607"/>
                <a:gd name="connsiteY81" fmla="*/ 2602501 h 2768823"/>
                <a:gd name="connsiteX82" fmla="*/ 549487 w 1313607"/>
                <a:gd name="connsiteY82" fmla="*/ 2598689 h 2768823"/>
                <a:gd name="connsiteX83" fmla="*/ 549608 w 1313607"/>
                <a:gd name="connsiteY83" fmla="*/ 2597358 h 2768823"/>
                <a:gd name="connsiteX84" fmla="*/ 550243 w 1313607"/>
                <a:gd name="connsiteY84" fmla="*/ 2594242 h 2768823"/>
                <a:gd name="connsiteX85" fmla="*/ 551272 w 1313607"/>
                <a:gd name="connsiteY85" fmla="*/ 2590763 h 2768823"/>
                <a:gd name="connsiteX86" fmla="*/ 552603 w 1313607"/>
                <a:gd name="connsiteY86" fmla="*/ 2587284 h 2768823"/>
                <a:gd name="connsiteX87" fmla="*/ 554085 w 1313607"/>
                <a:gd name="connsiteY87" fmla="*/ 2584199 h 2768823"/>
                <a:gd name="connsiteX88" fmla="*/ 554660 w 1313607"/>
                <a:gd name="connsiteY88" fmla="*/ 2582595 h 2768823"/>
                <a:gd name="connsiteX89" fmla="*/ 554993 w 1313607"/>
                <a:gd name="connsiteY89" fmla="*/ 2580720 h 2768823"/>
                <a:gd name="connsiteX90" fmla="*/ 555205 w 1313607"/>
                <a:gd name="connsiteY90" fmla="*/ 2577846 h 2768823"/>
                <a:gd name="connsiteX91" fmla="*/ 555416 w 1313607"/>
                <a:gd name="connsiteY91" fmla="*/ 2577029 h 2768823"/>
                <a:gd name="connsiteX92" fmla="*/ 556294 w 1313607"/>
                <a:gd name="connsiteY92" fmla="*/ 2575244 h 2768823"/>
                <a:gd name="connsiteX93" fmla="*/ 556566 w 1313607"/>
                <a:gd name="connsiteY93" fmla="*/ 2574427 h 2768823"/>
                <a:gd name="connsiteX94" fmla="*/ 556566 w 1313607"/>
                <a:gd name="connsiteY94" fmla="*/ 2573580 h 2768823"/>
                <a:gd name="connsiteX95" fmla="*/ 555870 w 1313607"/>
                <a:gd name="connsiteY95" fmla="*/ 2573066 h 2768823"/>
                <a:gd name="connsiteX96" fmla="*/ 555870 w 1313607"/>
                <a:gd name="connsiteY96" fmla="*/ 2572128 h 2768823"/>
                <a:gd name="connsiteX97" fmla="*/ 556415 w 1313607"/>
                <a:gd name="connsiteY97" fmla="*/ 2568468 h 2768823"/>
                <a:gd name="connsiteX98" fmla="*/ 557050 w 1313607"/>
                <a:gd name="connsiteY98" fmla="*/ 2567016 h 2768823"/>
                <a:gd name="connsiteX99" fmla="*/ 558321 w 1313607"/>
                <a:gd name="connsiteY99" fmla="*/ 2566411 h 2768823"/>
                <a:gd name="connsiteX100" fmla="*/ 559167 w 1313607"/>
                <a:gd name="connsiteY100" fmla="*/ 2565836 h 2768823"/>
                <a:gd name="connsiteX101" fmla="*/ 560196 w 1313607"/>
                <a:gd name="connsiteY101" fmla="*/ 2564475 h 2768823"/>
                <a:gd name="connsiteX102" fmla="*/ 561043 w 1313607"/>
                <a:gd name="connsiteY102" fmla="*/ 2562781 h 2768823"/>
                <a:gd name="connsiteX103" fmla="*/ 561406 w 1313607"/>
                <a:gd name="connsiteY103" fmla="*/ 2561298 h 2768823"/>
                <a:gd name="connsiteX104" fmla="*/ 561739 w 1313607"/>
                <a:gd name="connsiteY104" fmla="*/ 2557426 h 2768823"/>
                <a:gd name="connsiteX105" fmla="*/ 562616 w 1313607"/>
                <a:gd name="connsiteY105" fmla="*/ 2554099 h 2768823"/>
                <a:gd name="connsiteX106" fmla="*/ 568455 w 1313607"/>
                <a:gd name="connsiteY106" fmla="*/ 2536885 h 2768823"/>
                <a:gd name="connsiteX107" fmla="*/ 568939 w 1313607"/>
                <a:gd name="connsiteY107" fmla="*/ 2533497 h 2768823"/>
                <a:gd name="connsiteX108" fmla="*/ 568999 w 1313607"/>
                <a:gd name="connsiteY108" fmla="*/ 2531773 h 2768823"/>
                <a:gd name="connsiteX109" fmla="*/ 569241 w 1313607"/>
                <a:gd name="connsiteY109" fmla="*/ 2530109 h 2768823"/>
                <a:gd name="connsiteX110" fmla="*/ 569695 w 1313607"/>
                <a:gd name="connsiteY110" fmla="*/ 2528536 h 2768823"/>
                <a:gd name="connsiteX111" fmla="*/ 570330 w 1313607"/>
                <a:gd name="connsiteY111" fmla="*/ 2527084 h 2768823"/>
                <a:gd name="connsiteX112" fmla="*/ 570966 w 1313607"/>
                <a:gd name="connsiteY112" fmla="*/ 2526206 h 2768823"/>
                <a:gd name="connsiteX113" fmla="*/ 575624 w 1313607"/>
                <a:gd name="connsiteY113" fmla="*/ 2523665 h 2768823"/>
                <a:gd name="connsiteX114" fmla="*/ 575897 w 1313607"/>
                <a:gd name="connsiteY114" fmla="*/ 2523665 h 2768823"/>
                <a:gd name="connsiteX115" fmla="*/ 577046 w 1313607"/>
                <a:gd name="connsiteY115" fmla="*/ 2520549 h 2768823"/>
                <a:gd name="connsiteX116" fmla="*/ 578680 w 1313607"/>
                <a:gd name="connsiteY116" fmla="*/ 2511625 h 2768823"/>
                <a:gd name="connsiteX117" fmla="*/ 579648 w 1313607"/>
                <a:gd name="connsiteY117" fmla="*/ 2509780 h 2768823"/>
                <a:gd name="connsiteX118" fmla="*/ 581191 w 1313607"/>
                <a:gd name="connsiteY118" fmla="*/ 2508328 h 2768823"/>
                <a:gd name="connsiteX119" fmla="*/ 581342 w 1313607"/>
                <a:gd name="connsiteY119" fmla="*/ 2505061 h 2768823"/>
                <a:gd name="connsiteX120" fmla="*/ 580737 w 1313607"/>
                <a:gd name="connsiteY120" fmla="*/ 2501552 h 2768823"/>
                <a:gd name="connsiteX121" fmla="*/ 580011 w 1313607"/>
                <a:gd name="connsiteY121" fmla="*/ 2499374 h 2768823"/>
                <a:gd name="connsiteX122" fmla="*/ 582824 w 1313607"/>
                <a:gd name="connsiteY122" fmla="*/ 2494745 h 2768823"/>
                <a:gd name="connsiteX123" fmla="*/ 584337 w 1313607"/>
                <a:gd name="connsiteY123" fmla="*/ 2492869 h 2768823"/>
                <a:gd name="connsiteX124" fmla="*/ 586333 w 1313607"/>
                <a:gd name="connsiteY124" fmla="*/ 2491145 h 2768823"/>
                <a:gd name="connsiteX125" fmla="*/ 585214 w 1313607"/>
                <a:gd name="connsiteY125" fmla="*/ 2490782 h 2768823"/>
                <a:gd name="connsiteX126" fmla="*/ 584216 w 1313607"/>
                <a:gd name="connsiteY126" fmla="*/ 2490147 h 2768823"/>
                <a:gd name="connsiteX127" fmla="*/ 583399 w 1313607"/>
                <a:gd name="connsiteY127" fmla="*/ 2489149 h 2768823"/>
                <a:gd name="connsiteX128" fmla="*/ 582764 w 1313607"/>
                <a:gd name="connsiteY128" fmla="*/ 2487697 h 2768823"/>
                <a:gd name="connsiteX129" fmla="*/ 585002 w 1313607"/>
                <a:gd name="connsiteY129" fmla="*/ 2486275 h 2768823"/>
                <a:gd name="connsiteX130" fmla="*/ 587241 w 1313607"/>
                <a:gd name="connsiteY130" fmla="*/ 2485337 h 2768823"/>
                <a:gd name="connsiteX131" fmla="*/ 588995 w 1313607"/>
                <a:gd name="connsiteY131" fmla="*/ 2483401 h 2768823"/>
                <a:gd name="connsiteX132" fmla="*/ 589691 w 1313607"/>
                <a:gd name="connsiteY132" fmla="*/ 2478924 h 2768823"/>
                <a:gd name="connsiteX133" fmla="*/ 590296 w 1313607"/>
                <a:gd name="connsiteY133" fmla="*/ 2476443 h 2768823"/>
                <a:gd name="connsiteX134" fmla="*/ 594501 w 1313607"/>
                <a:gd name="connsiteY134" fmla="*/ 2469001 h 2768823"/>
                <a:gd name="connsiteX135" fmla="*/ 594895 w 1313607"/>
                <a:gd name="connsiteY135" fmla="*/ 2467428 h 2768823"/>
                <a:gd name="connsiteX136" fmla="*/ 595288 w 1313607"/>
                <a:gd name="connsiteY136" fmla="*/ 2464857 h 2768823"/>
                <a:gd name="connsiteX137" fmla="*/ 595802 w 1313607"/>
                <a:gd name="connsiteY137" fmla="*/ 2463284 h 2768823"/>
                <a:gd name="connsiteX138" fmla="*/ 596195 w 1313607"/>
                <a:gd name="connsiteY138" fmla="*/ 2462981 h 2768823"/>
                <a:gd name="connsiteX139" fmla="*/ 597587 w 1313607"/>
                <a:gd name="connsiteY139" fmla="*/ 2462376 h 2768823"/>
                <a:gd name="connsiteX140" fmla="*/ 597980 w 1313607"/>
                <a:gd name="connsiteY140" fmla="*/ 2462104 h 2768823"/>
                <a:gd name="connsiteX141" fmla="*/ 598101 w 1313607"/>
                <a:gd name="connsiteY141" fmla="*/ 2461408 h 2768823"/>
                <a:gd name="connsiteX142" fmla="*/ 598101 w 1313607"/>
                <a:gd name="connsiteY142" fmla="*/ 2459896 h 2768823"/>
                <a:gd name="connsiteX143" fmla="*/ 599644 w 1313607"/>
                <a:gd name="connsiteY143" fmla="*/ 2455539 h 2768823"/>
                <a:gd name="connsiteX144" fmla="*/ 599463 w 1313607"/>
                <a:gd name="connsiteY144" fmla="*/ 2452938 h 2768823"/>
                <a:gd name="connsiteX145" fmla="*/ 597194 w 1313607"/>
                <a:gd name="connsiteY145" fmla="*/ 2447976 h 2768823"/>
                <a:gd name="connsiteX146" fmla="*/ 600582 w 1313607"/>
                <a:gd name="connsiteY146" fmla="*/ 2442108 h 2768823"/>
                <a:gd name="connsiteX147" fmla="*/ 602730 w 1313607"/>
                <a:gd name="connsiteY147" fmla="*/ 2440020 h 2768823"/>
                <a:gd name="connsiteX148" fmla="*/ 605483 w 1313607"/>
                <a:gd name="connsiteY148" fmla="*/ 2439687 h 2768823"/>
                <a:gd name="connsiteX149" fmla="*/ 605301 w 1313607"/>
                <a:gd name="connsiteY149" fmla="*/ 2438659 h 2768823"/>
                <a:gd name="connsiteX150" fmla="*/ 604998 w 1313607"/>
                <a:gd name="connsiteY150" fmla="*/ 2437751 h 2768823"/>
                <a:gd name="connsiteX151" fmla="*/ 799273 w 1313607"/>
                <a:gd name="connsiteY151" fmla="*/ 2346120 h 2768823"/>
                <a:gd name="connsiteX152" fmla="*/ 798245 w 1313607"/>
                <a:gd name="connsiteY152" fmla="*/ 2345122 h 2768823"/>
                <a:gd name="connsiteX153" fmla="*/ 796671 w 1313607"/>
                <a:gd name="connsiteY153" fmla="*/ 2344426 h 2768823"/>
                <a:gd name="connsiteX154" fmla="*/ 795582 w 1313607"/>
                <a:gd name="connsiteY154" fmla="*/ 2342792 h 2768823"/>
                <a:gd name="connsiteX155" fmla="*/ 794856 w 1313607"/>
                <a:gd name="connsiteY155" fmla="*/ 2340826 h 2768823"/>
                <a:gd name="connsiteX156" fmla="*/ 794372 w 1313607"/>
                <a:gd name="connsiteY156" fmla="*/ 2339192 h 2768823"/>
                <a:gd name="connsiteX157" fmla="*/ 795129 w 1313607"/>
                <a:gd name="connsiteY157" fmla="*/ 2338134 h 2768823"/>
                <a:gd name="connsiteX158" fmla="*/ 793737 w 1313607"/>
                <a:gd name="connsiteY158" fmla="*/ 2337468 h 2768823"/>
                <a:gd name="connsiteX159" fmla="*/ 791771 w 1313607"/>
                <a:gd name="connsiteY159" fmla="*/ 2337559 h 2768823"/>
                <a:gd name="connsiteX160" fmla="*/ 789774 w 1313607"/>
                <a:gd name="connsiteY160" fmla="*/ 2338224 h 2768823"/>
                <a:gd name="connsiteX161" fmla="*/ 788232 w 1313607"/>
                <a:gd name="connsiteY161" fmla="*/ 2339223 h 2768823"/>
                <a:gd name="connsiteX162" fmla="*/ 788232 w 1313607"/>
                <a:gd name="connsiteY162" fmla="*/ 2341522 h 2768823"/>
                <a:gd name="connsiteX163" fmla="*/ 785811 w 1313607"/>
                <a:gd name="connsiteY163" fmla="*/ 2341643 h 2768823"/>
                <a:gd name="connsiteX164" fmla="*/ 783875 w 1313607"/>
                <a:gd name="connsiteY164" fmla="*/ 2339979 h 2768823"/>
                <a:gd name="connsiteX165" fmla="*/ 785418 w 1313607"/>
                <a:gd name="connsiteY165" fmla="*/ 2336954 h 2768823"/>
                <a:gd name="connsiteX166" fmla="*/ 785418 w 1313607"/>
                <a:gd name="connsiteY166" fmla="*/ 2335865 h 2768823"/>
                <a:gd name="connsiteX167" fmla="*/ 779186 w 1313607"/>
                <a:gd name="connsiteY167" fmla="*/ 2336954 h 2768823"/>
                <a:gd name="connsiteX168" fmla="*/ 777764 w 1313607"/>
                <a:gd name="connsiteY168" fmla="*/ 2337468 h 2768823"/>
                <a:gd name="connsiteX169" fmla="*/ 777946 w 1313607"/>
                <a:gd name="connsiteY169" fmla="*/ 2338678 h 2768823"/>
                <a:gd name="connsiteX170" fmla="*/ 778733 w 1313607"/>
                <a:gd name="connsiteY170" fmla="*/ 2340069 h 2768823"/>
                <a:gd name="connsiteX171" fmla="*/ 779216 w 1313607"/>
                <a:gd name="connsiteY171" fmla="*/ 2341128 h 2768823"/>
                <a:gd name="connsiteX172" fmla="*/ 778430 w 1313607"/>
                <a:gd name="connsiteY172" fmla="*/ 2344184 h 2768823"/>
                <a:gd name="connsiteX173" fmla="*/ 776766 w 1313607"/>
                <a:gd name="connsiteY173" fmla="*/ 2345908 h 2768823"/>
                <a:gd name="connsiteX174" fmla="*/ 775102 w 1313607"/>
                <a:gd name="connsiteY174" fmla="*/ 2348086 h 2768823"/>
                <a:gd name="connsiteX175" fmla="*/ 774376 w 1313607"/>
                <a:gd name="connsiteY175" fmla="*/ 2352503 h 2768823"/>
                <a:gd name="connsiteX176" fmla="*/ 772440 w 1313607"/>
                <a:gd name="connsiteY176" fmla="*/ 2350113 h 2768823"/>
                <a:gd name="connsiteX177" fmla="*/ 771835 w 1313607"/>
                <a:gd name="connsiteY177" fmla="*/ 2348752 h 2768823"/>
                <a:gd name="connsiteX178" fmla="*/ 771624 w 1313607"/>
                <a:gd name="connsiteY178" fmla="*/ 2347058 h 2768823"/>
                <a:gd name="connsiteX179" fmla="*/ 771412 w 1313607"/>
                <a:gd name="connsiteY179" fmla="*/ 2346513 h 2768823"/>
                <a:gd name="connsiteX180" fmla="*/ 770927 w 1313607"/>
                <a:gd name="connsiteY180" fmla="*/ 2346150 h 2768823"/>
                <a:gd name="connsiteX181" fmla="*/ 770474 w 1313607"/>
                <a:gd name="connsiteY181" fmla="*/ 2345636 h 2768823"/>
                <a:gd name="connsiteX182" fmla="*/ 770232 w 1313607"/>
                <a:gd name="connsiteY182" fmla="*/ 2344607 h 2768823"/>
                <a:gd name="connsiteX183" fmla="*/ 770413 w 1313607"/>
                <a:gd name="connsiteY183" fmla="*/ 2343881 h 2768823"/>
                <a:gd name="connsiteX184" fmla="*/ 770746 w 1313607"/>
                <a:gd name="connsiteY184" fmla="*/ 2343246 h 2768823"/>
                <a:gd name="connsiteX185" fmla="*/ 770988 w 1313607"/>
                <a:gd name="connsiteY185" fmla="*/ 2342580 h 2768823"/>
                <a:gd name="connsiteX186" fmla="*/ 770927 w 1313607"/>
                <a:gd name="connsiteY186" fmla="*/ 2341703 h 2768823"/>
                <a:gd name="connsiteX187" fmla="*/ 769718 w 1313607"/>
                <a:gd name="connsiteY187" fmla="*/ 2338527 h 2768823"/>
                <a:gd name="connsiteX188" fmla="*/ 768235 w 1313607"/>
                <a:gd name="connsiteY188" fmla="*/ 2336470 h 2768823"/>
                <a:gd name="connsiteX189" fmla="*/ 766359 w 1313607"/>
                <a:gd name="connsiteY189" fmla="*/ 2335592 h 2768823"/>
                <a:gd name="connsiteX190" fmla="*/ 764000 w 1313607"/>
                <a:gd name="connsiteY190" fmla="*/ 2335865 h 2768823"/>
                <a:gd name="connsiteX191" fmla="*/ 761731 w 1313607"/>
                <a:gd name="connsiteY191" fmla="*/ 2337165 h 2768823"/>
                <a:gd name="connsiteX192" fmla="*/ 759735 w 1313607"/>
                <a:gd name="connsiteY192" fmla="*/ 2339253 h 2768823"/>
                <a:gd name="connsiteX193" fmla="*/ 758010 w 1313607"/>
                <a:gd name="connsiteY193" fmla="*/ 2341975 h 2768823"/>
                <a:gd name="connsiteX194" fmla="*/ 756528 w 1313607"/>
                <a:gd name="connsiteY194" fmla="*/ 2345152 h 2768823"/>
                <a:gd name="connsiteX195" fmla="*/ 755953 w 1313607"/>
                <a:gd name="connsiteY195" fmla="*/ 2346846 h 2768823"/>
                <a:gd name="connsiteX196" fmla="*/ 755408 w 1313607"/>
                <a:gd name="connsiteY196" fmla="*/ 2349387 h 2768823"/>
                <a:gd name="connsiteX197" fmla="*/ 754773 w 1313607"/>
                <a:gd name="connsiteY197" fmla="*/ 2350657 h 2768823"/>
                <a:gd name="connsiteX198" fmla="*/ 753382 w 1313607"/>
                <a:gd name="connsiteY198" fmla="*/ 2351535 h 2768823"/>
                <a:gd name="connsiteX199" fmla="*/ 751839 w 1313607"/>
                <a:gd name="connsiteY199" fmla="*/ 2351172 h 2768823"/>
                <a:gd name="connsiteX200" fmla="*/ 750296 w 1313607"/>
                <a:gd name="connsiteY200" fmla="*/ 2350416 h 2768823"/>
                <a:gd name="connsiteX201" fmla="*/ 748874 w 1313607"/>
                <a:gd name="connsiteY201" fmla="*/ 2350143 h 2768823"/>
                <a:gd name="connsiteX202" fmla="*/ 743762 w 1313607"/>
                <a:gd name="connsiteY202" fmla="*/ 2352382 h 2768823"/>
                <a:gd name="connsiteX203" fmla="*/ 740132 w 1313607"/>
                <a:gd name="connsiteY203" fmla="*/ 2356436 h 2768823"/>
                <a:gd name="connsiteX204" fmla="*/ 726246 w 1313607"/>
                <a:gd name="connsiteY204" fmla="*/ 2379033 h 2768823"/>
                <a:gd name="connsiteX205" fmla="*/ 709789 w 1313607"/>
                <a:gd name="connsiteY205" fmla="*/ 2395369 h 2768823"/>
                <a:gd name="connsiteX206" fmla="*/ 706432 w 1313607"/>
                <a:gd name="connsiteY206" fmla="*/ 2400512 h 2768823"/>
                <a:gd name="connsiteX207" fmla="*/ 704798 w 1313607"/>
                <a:gd name="connsiteY207" fmla="*/ 2406895 h 2768823"/>
                <a:gd name="connsiteX208" fmla="*/ 704949 w 1313607"/>
                <a:gd name="connsiteY208" fmla="*/ 2410858 h 2768823"/>
                <a:gd name="connsiteX209" fmla="*/ 705706 w 1313607"/>
                <a:gd name="connsiteY209" fmla="*/ 2414791 h 2768823"/>
                <a:gd name="connsiteX210" fmla="*/ 706795 w 1313607"/>
                <a:gd name="connsiteY210" fmla="*/ 2418179 h 2768823"/>
                <a:gd name="connsiteX211" fmla="*/ 707884 w 1313607"/>
                <a:gd name="connsiteY211" fmla="*/ 2420478 h 2768823"/>
                <a:gd name="connsiteX212" fmla="*/ 708186 w 1313607"/>
                <a:gd name="connsiteY212" fmla="*/ 2421476 h 2768823"/>
                <a:gd name="connsiteX213" fmla="*/ 708096 w 1313607"/>
                <a:gd name="connsiteY213" fmla="*/ 2423684 h 2768823"/>
                <a:gd name="connsiteX214" fmla="*/ 708277 w 1313607"/>
                <a:gd name="connsiteY214" fmla="*/ 2424592 h 2768823"/>
                <a:gd name="connsiteX215" fmla="*/ 709245 w 1313607"/>
                <a:gd name="connsiteY215" fmla="*/ 2426195 h 2768823"/>
                <a:gd name="connsiteX216" fmla="*/ 709578 w 1313607"/>
                <a:gd name="connsiteY216" fmla="*/ 2426921 h 2768823"/>
                <a:gd name="connsiteX217" fmla="*/ 710394 w 1313607"/>
                <a:gd name="connsiteY217" fmla="*/ 2427799 h 2768823"/>
                <a:gd name="connsiteX218" fmla="*/ 711332 w 1313607"/>
                <a:gd name="connsiteY218" fmla="*/ 2428434 h 2768823"/>
                <a:gd name="connsiteX219" fmla="*/ 711604 w 1313607"/>
                <a:gd name="connsiteY219" fmla="*/ 2429463 h 2768823"/>
                <a:gd name="connsiteX220" fmla="*/ 710304 w 1313607"/>
                <a:gd name="connsiteY220" fmla="*/ 2431610 h 2768823"/>
                <a:gd name="connsiteX221" fmla="*/ 710818 w 1313607"/>
                <a:gd name="connsiteY221" fmla="*/ 2434182 h 2768823"/>
                <a:gd name="connsiteX222" fmla="*/ 710304 w 1313607"/>
                <a:gd name="connsiteY222" fmla="*/ 2437691 h 2768823"/>
                <a:gd name="connsiteX223" fmla="*/ 709003 w 1313607"/>
                <a:gd name="connsiteY223" fmla="*/ 2440807 h 2768823"/>
                <a:gd name="connsiteX224" fmla="*/ 705221 w 1313607"/>
                <a:gd name="connsiteY224" fmla="*/ 2443620 h 2768823"/>
                <a:gd name="connsiteX225" fmla="*/ 703769 w 1313607"/>
                <a:gd name="connsiteY225" fmla="*/ 2446857 h 2768823"/>
                <a:gd name="connsiteX226" fmla="*/ 703588 w 1313607"/>
                <a:gd name="connsiteY226" fmla="*/ 2450124 h 2768823"/>
                <a:gd name="connsiteX227" fmla="*/ 709668 w 1313607"/>
                <a:gd name="connsiteY227" fmla="*/ 2455116 h 2768823"/>
                <a:gd name="connsiteX228" fmla="*/ 712240 w 1313607"/>
                <a:gd name="connsiteY228" fmla="*/ 2469606 h 2768823"/>
                <a:gd name="connsiteX229" fmla="*/ 716535 w 1313607"/>
                <a:gd name="connsiteY229" fmla="*/ 2471512 h 2768823"/>
                <a:gd name="connsiteX230" fmla="*/ 716112 w 1313607"/>
                <a:gd name="connsiteY230" fmla="*/ 2472359 h 2768823"/>
                <a:gd name="connsiteX231" fmla="*/ 715568 w 1313607"/>
                <a:gd name="connsiteY231" fmla="*/ 2473993 h 2768823"/>
                <a:gd name="connsiteX232" fmla="*/ 715174 w 1313607"/>
                <a:gd name="connsiteY232" fmla="*/ 2474870 h 2768823"/>
                <a:gd name="connsiteX233" fmla="*/ 716475 w 1313607"/>
                <a:gd name="connsiteY233" fmla="*/ 2475959 h 2768823"/>
                <a:gd name="connsiteX234" fmla="*/ 716263 w 1313607"/>
                <a:gd name="connsiteY234" fmla="*/ 2478107 h 2768823"/>
                <a:gd name="connsiteX235" fmla="*/ 715144 w 1313607"/>
                <a:gd name="connsiteY235" fmla="*/ 2480376 h 2768823"/>
                <a:gd name="connsiteX236" fmla="*/ 713813 w 1313607"/>
                <a:gd name="connsiteY236" fmla="*/ 2481858 h 2768823"/>
                <a:gd name="connsiteX237" fmla="*/ 713813 w 1313607"/>
                <a:gd name="connsiteY237" fmla="*/ 2483129 h 2768823"/>
                <a:gd name="connsiteX238" fmla="*/ 716051 w 1313607"/>
                <a:gd name="connsiteY238" fmla="*/ 2484006 h 2768823"/>
                <a:gd name="connsiteX239" fmla="*/ 718199 w 1313607"/>
                <a:gd name="connsiteY239" fmla="*/ 2482342 h 2768823"/>
                <a:gd name="connsiteX240" fmla="*/ 720377 w 1313607"/>
                <a:gd name="connsiteY240" fmla="*/ 2479922 h 2768823"/>
                <a:gd name="connsiteX241" fmla="*/ 722767 w 1313607"/>
                <a:gd name="connsiteY241" fmla="*/ 2478500 h 2768823"/>
                <a:gd name="connsiteX242" fmla="*/ 721951 w 1313607"/>
                <a:gd name="connsiteY242" fmla="*/ 2480497 h 2768823"/>
                <a:gd name="connsiteX243" fmla="*/ 721103 w 1313607"/>
                <a:gd name="connsiteY243" fmla="*/ 2485065 h 2768823"/>
                <a:gd name="connsiteX244" fmla="*/ 720287 w 1313607"/>
                <a:gd name="connsiteY244" fmla="*/ 2487212 h 2768823"/>
                <a:gd name="connsiteX245" fmla="*/ 718804 w 1313607"/>
                <a:gd name="connsiteY245" fmla="*/ 2488513 h 2768823"/>
                <a:gd name="connsiteX246" fmla="*/ 715083 w 1313607"/>
                <a:gd name="connsiteY246" fmla="*/ 2489784 h 2768823"/>
                <a:gd name="connsiteX247" fmla="*/ 713753 w 1313607"/>
                <a:gd name="connsiteY247" fmla="*/ 2491266 h 2768823"/>
                <a:gd name="connsiteX248" fmla="*/ 714146 w 1313607"/>
                <a:gd name="connsiteY248" fmla="*/ 2493475 h 2768823"/>
                <a:gd name="connsiteX249" fmla="*/ 714297 w 1313607"/>
                <a:gd name="connsiteY249" fmla="*/ 2495138 h 2768823"/>
                <a:gd name="connsiteX250" fmla="*/ 714055 w 1313607"/>
                <a:gd name="connsiteY250" fmla="*/ 2496560 h 2768823"/>
                <a:gd name="connsiteX251" fmla="*/ 707490 w 1313607"/>
                <a:gd name="connsiteY251" fmla="*/ 2507451 h 2768823"/>
                <a:gd name="connsiteX252" fmla="*/ 710606 w 1313607"/>
                <a:gd name="connsiteY252" fmla="*/ 2509145 h 2768823"/>
                <a:gd name="connsiteX253" fmla="*/ 714055 w 1313607"/>
                <a:gd name="connsiteY253" fmla="*/ 2508600 h 2768823"/>
                <a:gd name="connsiteX254" fmla="*/ 723584 w 1313607"/>
                <a:gd name="connsiteY254" fmla="*/ 2504123 h 2768823"/>
                <a:gd name="connsiteX255" fmla="*/ 724885 w 1313607"/>
                <a:gd name="connsiteY255" fmla="*/ 2503034 h 2768823"/>
                <a:gd name="connsiteX256" fmla="*/ 725883 w 1313607"/>
                <a:gd name="connsiteY256" fmla="*/ 2499464 h 2768823"/>
                <a:gd name="connsiteX257" fmla="*/ 726972 w 1313607"/>
                <a:gd name="connsiteY257" fmla="*/ 2498103 h 2768823"/>
                <a:gd name="connsiteX258" fmla="*/ 729604 w 1313607"/>
                <a:gd name="connsiteY258" fmla="*/ 2495955 h 2768823"/>
                <a:gd name="connsiteX259" fmla="*/ 728212 w 1313607"/>
                <a:gd name="connsiteY259" fmla="*/ 2494685 h 2768823"/>
                <a:gd name="connsiteX260" fmla="*/ 728212 w 1313607"/>
                <a:gd name="connsiteY260" fmla="*/ 2493535 h 2768823"/>
                <a:gd name="connsiteX261" fmla="*/ 733779 w 1313607"/>
                <a:gd name="connsiteY261" fmla="*/ 2493535 h 2768823"/>
                <a:gd name="connsiteX262" fmla="*/ 730179 w 1313607"/>
                <a:gd name="connsiteY262" fmla="*/ 2492264 h 2768823"/>
                <a:gd name="connsiteX263" fmla="*/ 728606 w 1313607"/>
                <a:gd name="connsiteY263" fmla="*/ 2491054 h 2768823"/>
                <a:gd name="connsiteX264" fmla="*/ 727547 w 1313607"/>
                <a:gd name="connsiteY264" fmla="*/ 2488876 h 2768823"/>
                <a:gd name="connsiteX265" fmla="*/ 728212 w 1313607"/>
                <a:gd name="connsiteY265" fmla="*/ 2480134 h 2768823"/>
                <a:gd name="connsiteX266" fmla="*/ 729725 w 1313607"/>
                <a:gd name="connsiteY266" fmla="*/ 2477865 h 2768823"/>
                <a:gd name="connsiteX267" fmla="*/ 736895 w 1313607"/>
                <a:gd name="connsiteY267" fmla="*/ 2474325 h 2768823"/>
                <a:gd name="connsiteX268" fmla="*/ 739254 w 1313607"/>
                <a:gd name="connsiteY268" fmla="*/ 2472541 h 2768823"/>
                <a:gd name="connsiteX269" fmla="*/ 732327 w 1313607"/>
                <a:gd name="connsiteY269" fmla="*/ 2472541 h 2768823"/>
                <a:gd name="connsiteX270" fmla="*/ 734414 w 1313607"/>
                <a:gd name="connsiteY270" fmla="*/ 2469878 h 2768823"/>
                <a:gd name="connsiteX271" fmla="*/ 736895 w 1313607"/>
                <a:gd name="connsiteY271" fmla="*/ 2467942 h 2768823"/>
                <a:gd name="connsiteX272" fmla="*/ 749388 w 1313607"/>
                <a:gd name="connsiteY272" fmla="*/ 2461438 h 2768823"/>
                <a:gd name="connsiteX273" fmla="*/ 751657 w 1313607"/>
                <a:gd name="connsiteY273" fmla="*/ 2460894 h 2768823"/>
                <a:gd name="connsiteX274" fmla="*/ 751657 w 1313607"/>
                <a:gd name="connsiteY274" fmla="*/ 2459835 h 2768823"/>
                <a:gd name="connsiteX275" fmla="*/ 750296 w 1313607"/>
                <a:gd name="connsiteY275" fmla="*/ 2459835 h 2768823"/>
                <a:gd name="connsiteX276" fmla="*/ 750296 w 1313607"/>
                <a:gd name="connsiteY276" fmla="*/ 2458564 h 2768823"/>
                <a:gd name="connsiteX277" fmla="*/ 753019 w 1313607"/>
                <a:gd name="connsiteY277" fmla="*/ 2456991 h 2768823"/>
                <a:gd name="connsiteX278" fmla="*/ 761973 w 1313607"/>
                <a:gd name="connsiteY278" fmla="*/ 2455085 h 2768823"/>
                <a:gd name="connsiteX279" fmla="*/ 761792 w 1313607"/>
                <a:gd name="connsiteY279" fmla="*/ 2454511 h 2768823"/>
                <a:gd name="connsiteX280" fmla="*/ 765331 w 1313607"/>
                <a:gd name="connsiteY280" fmla="*/ 2452877 h 2768823"/>
                <a:gd name="connsiteX281" fmla="*/ 765029 w 1313607"/>
                <a:gd name="connsiteY281" fmla="*/ 2447523 h 2768823"/>
                <a:gd name="connsiteX282" fmla="*/ 764181 w 1313607"/>
                <a:gd name="connsiteY282" fmla="*/ 2446948 h 2768823"/>
                <a:gd name="connsiteX283" fmla="*/ 762034 w 1313607"/>
                <a:gd name="connsiteY283" fmla="*/ 2447341 h 2768823"/>
                <a:gd name="connsiteX284" fmla="*/ 761247 w 1313607"/>
                <a:gd name="connsiteY284" fmla="*/ 2446948 h 2768823"/>
                <a:gd name="connsiteX285" fmla="*/ 760551 w 1313607"/>
                <a:gd name="connsiteY285" fmla="*/ 2443681 h 2768823"/>
                <a:gd name="connsiteX286" fmla="*/ 761943 w 1313607"/>
                <a:gd name="connsiteY286" fmla="*/ 2441321 h 2768823"/>
                <a:gd name="connsiteX287" fmla="*/ 765724 w 1313607"/>
                <a:gd name="connsiteY287" fmla="*/ 2438175 h 2768823"/>
                <a:gd name="connsiteX288" fmla="*/ 768114 w 1313607"/>
                <a:gd name="connsiteY288" fmla="*/ 2434908 h 2768823"/>
                <a:gd name="connsiteX289" fmla="*/ 770988 w 1313607"/>
                <a:gd name="connsiteY289" fmla="*/ 2432064 h 2768823"/>
                <a:gd name="connsiteX290" fmla="*/ 774134 w 1313607"/>
                <a:gd name="connsiteY290" fmla="*/ 2430067 h 2768823"/>
                <a:gd name="connsiteX291" fmla="*/ 777462 w 1313607"/>
                <a:gd name="connsiteY291" fmla="*/ 2429281 h 2768823"/>
                <a:gd name="connsiteX292" fmla="*/ 778158 w 1313607"/>
                <a:gd name="connsiteY292" fmla="*/ 2428918 h 2768823"/>
                <a:gd name="connsiteX293" fmla="*/ 779368 w 1313607"/>
                <a:gd name="connsiteY293" fmla="*/ 2427315 h 2768823"/>
                <a:gd name="connsiteX294" fmla="*/ 779852 w 1313607"/>
                <a:gd name="connsiteY294" fmla="*/ 2426952 h 2768823"/>
                <a:gd name="connsiteX295" fmla="*/ 780457 w 1313607"/>
                <a:gd name="connsiteY295" fmla="*/ 2427133 h 2768823"/>
                <a:gd name="connsiteX296" fmla="*/ 781606 w 1313607"/>
                <a:gd name="connsiteY296" fmla="*/ 2427950 h 2768823"/>
                <a:gd name="connsiteX297" fmla="*/ 781969 w 1313607"/>
                <a:gd name="connsiteY297" fmla="*/ 2428132 h 2768823"/>
                <a:gd name="connsiteX298" fmla="*/ 785085 w 1313607"/>
                <a:gd name="connsiteY298" fmla="*/ 2428132 h 2768823"/>
                <a:gd name="connsiteX299" fmla="*/ 786749 w 1313607"/>
                <a:gd name="connsiteY299" fmla="*/ 2427254 h 2768823"/>
                <a:gd name="connsiteX300" fmla="*/ 787112 w 1313607"/>
                <a:gd name="connsiteY300" fmla="*/ 2425227 h 2768823"/>
                <a:gd name="connsiteX301" fmla="*/ 786719 w 1313607"/>
                <a:gd name="connsiteY301" fmla="*/ 2422868 h 2768823"/>
                <a:gd name="connsiteX302" fmla="*/ 786114 w 1313607"/>
                <a:gd name="connsiteY302" fmla="*/ 2421113 h 2768823"/>
                <a:gd name="connsiteX303" fmla="*/ 785479 w 1313607"/>
                <a:gd name="connsiteY303" fmla="*/ 2419842 h 2768823"/>
                <a:gd name="connsiteX304" fmla="*/ 784994 w 1313607"/>
                <a:gd name="connsiteY304" fmla="*/ 2419298 h 2768823"/>
                <a:gd name="connsiteX305" fmla="*/ 783391 w 1313607"/>
                <a:gd name="connsiteY305" fmla="*/ 2418179 h 2768823"/>
                <a:gd name="connsiteX306" fmla="*/ 782060 w 1313607"/>
                <a:gd name="connsiteY306" fmla="*/ 2417574 h 2768823"/>
                <a:gd name="connsiteX307" fmla="*/ 781576 w 1313607"/>
                <a:gd name="connsiteY307" fmla="*/ 2418270 h 2768823"/>
                <a:gd name="connsiteX308" fmla="*/ 781364 w 1313607"/>
                <a:gd name="connsiteY308" fmla="*/ 2419389 h 2768823"/>
                <a:gd name="connsiteX309" fmla="*/ 780971 w 1313607"/>
                <a:gd name="connsiteY309" fmla="*/ 2419964 h 2768823"/>
                <a:gd name="connsiteX310" fmla="*/ 776918 w 1313607"/>
                <a:gd name="connsiteY310" fmla="*/ 2419147 h 2768823"/>
                <a:gd name="connsiteX311" fmla="*/ 772985 w 1313607"/>
                <a:gd name="connsiteY311" fmla="*/ 2417604 h 2768823"/>
                <a:gd name="connsiteX312" fmla="*/ 773832 w 1313607"/>
                <a:gd name="connsiteY312" fmla="*/ 2414972 h 2768823"/>
                <a:gd name="connsiteX313" fmla="*/ 774346 w 1313607"/>
                <a:gd name="connsiteY313" fmla="*/ 2414095 h 2768823"/>
                <a:gd name="connsiteX314" fmla="*/ 772591 w 1313607"/>
                <a:gd name="connsiteY314" fmla="*/ 2414307 h 2768823"/>
                <a:gd name="connsiteX315" fmla="*/ 771290 w 1313607"/>
                <a:gd name="connsiteY315" fmla="*/ 2413611 h 2768823"/>
                <a:gd name="connsiteX316" fmla="*/ 770867 w 1313607"/>
                <a:gd name="connsiteY316" fmla="*/ 2411947 h 2768823"/>
                <a:gd name="connsiteX317" fmla="*/ 771593 w 1313607"/>
                <a:gd name="connsiteY317" fmla="*/ 2409254 h 2768823"/>
                <a:gd name="connsiteX318" fmla="*/ 770111 w 1313607"/>
                <a:gd name="connsiteY318" fmla="*/ 2407500 h 2768823"/>
                <a:gd name="connsiteX319" fmla="*/ 770746 w 1313607"/>
                <a:gd name="connsiteY319" fmla="*/ 2405231 h 2768823"/>
                <a:gd name="connsiteX320" fmla="*/ 772168 w 1313607"/>
                <a:gd name="connsiteY320" fmla="*/ 2402781 h 2768823"/>
                <a:gd name="connsiteX321" fmla="*/ 772954 w 1313607"/>
                <a:gd name="connsiteY321" fmla="*/ 2400482 h 2768823"/>
                <a:gd name="connsiteX322" fmla="*/ 773076 w 1313607"/>
                <a:gd name="connsiteY322" fmla="*/ 2397759 h 2768823"/>
                <a:gd name="connsiteX323" fmla="*/ 773469 w 1313607"/>
                <a:gd name="connsiteY323" fmla="*/ 2395369 h 2768823"/>
                <a:gd name="connsiteX324" fmla="*/ 774104 w 1313607"/>
                <a:gd name="connsiteY324" fmla="*/ 2393009 h 2768823"/>
                <a:gd name="connsiteX325" fmla="*/ 775042 w 1313607"/>
                <a:gd name="connsiteY325" fmla="*/ 2390317 h 2768823"/>
                <a:gd name="connsiteX326" fmla="*/ 770867 w 1313607"/>
                <a:gd name="connsiteY326" fmla="*/ 2389077 h 2768823"/>
                <a:gd name="connsiteX327" fmla="*/ 770201 w 1313607"/>
                <a:gd name="connsiteY327" fmla="*/ 2388623 h 2768823"/>
                <a:gd name="connsiteX328" fmla="*/ 770444 w 1313607"/>
                <a:gd name="connsiteY328" fmla="*/ 2386959 h 2768823"/>
                <a:gd name="connsiteX329" fmla="*/ 770897 w 1313607"/>
                <a:gd name="connsiteY329" fmla="*/ 2385598 h 2768823"/>
                <a:gd name="connsiteX330" fmla="*/ 771381 w 1313607"/>
                <a:gd name="connsiteY330" fmla="*/ 2384569 h 2768823"/>
                <a:gd name="connsiteX331" fmla="*/ 771896 w 1313607"/>
                <a:gd name="connsiteY331" fmla="*/ 2382815 h 2768823"/>
                <a:gd name="connsiteX332" fmla="*/ 773650 w 1313607"/>
                <a:gd name="connsiteY332" fmla="*/ 2378580 h 2768823"/>
                <a:gd name="connsiteX333" fmla="*/ 775042 w 1313607"/>
                <a:gd name="connsiteY333" fmla="*/ 2372681 h 2768823"/>
                <a:gd name="connsiteX334" fmla="*/ 774951 w 1313607"/>
                <a:gd name="connsiteY334" fmla="*/ 2371047 h 2768823"/>
                <a:gd name="connsiteX335" fmla="*/ 774618 w 1313607"/>
                <a:gd name="connsiteY335" fmla="*/ 2369535 h 2768823"/>
                <a:gd name="connsiteX336" fmla="*/ 774739 w 1313607"/>
                <a:gd name="connsiteY336" fmla="*/ 2368385 h 2768823"/>
                <a:gd name="connsiteX337" fmla="*/ 776101 w 1313607"/>
                <a:gd name="connsiteY337" fmla="*/ 2367931 h 2768823"/>
                <a:gd name="connsiteX338" fmla="*/ 777220 w 1313607"/>
                <a:gd name="connsiteY338" fmla="*/ 2368294 h 2768823"/>
                <a:gd name="connsiteX339" fmla="*/ 779307 w 1313607"/>
                <a:gd name="connsiteY339" fmla="*/ 2369898 h 2768823"/>
                <a:gd name="connsiteX340" fmla="*/ 780578 w 1313607"/>
                <a:gd name="connsiteY340" fmla="*/ 2370261 h 2768823"/>
                <a:gd name="connsiteX341" fmla="*/ 784208 w 1313607"/>
                <a:gd name="connsiteY341" fmla="*/ 2370139 h 2768823"/>
                <a:gd name="connsiteX342" fmla="*/ 788232 w 1313607"/>
                <a:gd name="connsiteY342" fmla="*/ 2369171 h 2768823"/>
                <a:gd name="connsiteX343" fmla="*/ 787324 w 1313607"/>
                <a:gd name="connsiteY343" fmla="*/ 2367235 h 2768823"/>
                <a:gd name="connsiteX344" fmla="*/ 787324 w 1313607"/>
                <a:gd name="connsiteY344" fmla="*/ 2365239 h 2768823"/>
                <a:gd name="connsiteX345" fmla="*/ 787929 w 1313607"/>
                <a:gd name="connsiteY345" fmla="*/ 2363454 h 2768823"/>
                <a:gd name="connsiteX346" fmla="*/ 788867 w 1313607"/>
                <a:gd name="connsiteY346" fmla="*/ 2362093 h 2768823"/>
                <a:gd name="connsiteX347" fmla="*/ 788988 w 1313607"/>
                <a:gd name="connsiteY347" fmla="*/ 2359975 h 2768823"/>
                <a:gd name="connsiteX348" fmla="*/ 789895 w 1313607"/>
                <a:gd name="connsiteY348" fmla="*/ 2359642 h 2768823"/>
                <a:gd name="connsiteX349" fmla="*/ 791136 w 1313607"/>
                <a:gd name="connsiteY349" fmla="*/ 2360519 h 2768823"/>
                <a:gd name="connsiteX350" fmla="*/ 792285 w 1313607"/>
                <a:gd name="connsiteY350" fmla="*/ 2362093 h 2768823"/>
                <a:gd name="connsiteX351" fmla="*/ 792800 w 1313607"/>
                <a:gd name="connsiteY351" fmla="*/ 2355679 h 2768823"/>
                <a:gd name="connsiteX352" fmla="*/ 795643 w 1313607"/>
                <a:gd name="connsiteY352" fmla="*/ 2353168 h 2768823"/>
                <a:gd name="connsiteX353" fmla="*/ 802691 w 1313607"/>
                <a:gd name="connsiteY353" fmla="*/ 2352533 h 2768823"/>
                <a:gd name="connsiteX354" fmla="*/ 802056 w 1313607"/>
                <a:gd name="connsiteY354" fmla="*/ 2350960 h 2768823"/>
                <a:gd name="connsiteX355" fmla="*/ 799183 w 1313607"/>
                <a:gd name="connsiteY355" fmla="*/ 2346180 h 2768823"/>
                <a:gd name="connsiteX356" fmla="*/ 824987 w 1313607"/>
                <a:gd name="connsiteY356" fmla="*/ 2326245 h 2768823"/>
                <a:gd name="connsiteX357" fmla="*/ 821689 w 1313607"/>
                <a:gd name="connsiteY357" fmla="*/ 2326245 h 2768823"/>
                <a:gd name="connsiteX358" fmla="*/ 818362 w 1313607"/>
                <a:gd name="connsiteY358" fmla="*/ 2327243 h 2768823"/>
                <a:gd name="connsiteX359" fmla="*/ 817031 w 1313607"/>
                <a:gd name="connsiteY359" fmla="*/ 2326698 h 2768823"/>
                <a:gd name="connsiteX360" fmla="*/ 816577 w 1313607"/>
                <a:gd name="connsiteY360" fmla="*/ 2323824 h 2768823"/>
                <a:gd name="connsiteX361" fmla="*/ 814913 w 1313607"/>
                <a:gd name="connsiteY361" fmla="*/ 2325004 h 2768823"/>
                <a:gd name="connsiteX362" fmla="*/ 813098 w 1313607"/>
                <a:gd name="connsiteY362" fmla="*/ 2324853 h 2768823"/>
                <a:gd name="connsiteX363" fmla="*/ 811525 w 1313607"/>
                <a:gd name="connsiteY363" fmla="*/ 2324309 h 2768823"/>
                <a:gd name="connsiteX364" fmla="*/ 810648 w 1313607"/>
                <a:gd name="connsiteY364" fmla="*/ 2324309 h 2768823"/>
                <a:gd name="connsiteX365" fmla="*/ 809165 w 1313607"/>
                <a:gd name="connsiteY365" fmla="*/ 2325761 h 2768823"/>
                <a:gd name="connsiteX366" fmla="*/ 805747 w 1313607"/>
                <a:gd name="connsiteY366" fmla="*/ 2325640 h 2768823"/>
                <a:gd name="connsiteX367" fmla="*/ 804114 w 1313607"/>
                <a:gd name="connsiteY367" fmla="*/ 2326184 h 2768823"/>
                <a:gd name="connsiteX368" fmla="*/ 802934 w 1313607"/>
                <a:gd name="connsiteY368" fmla="*/ 2327606 h 2768823"/>
                <a:gd name="connsiteX369" fmla="*/ 802268 w 1313607"/>
                <a:gd name="connsiteY369" fmla="*/ 2329240 h 2768823"/>
                <a:gd name="connsiteX370" fmla="*/ 801784 w 1313607"/>
                <a:gd name="connsiteY370" fmla="*/ 2330994 h 2768823"/>
                <a:gd name="connsiteX371" fmla="*/ 801058 w 1313607"/>
                <a:gd name="connsiteY371" fmla="*/ 2332688 h 2768823"/>
                <a:gd name="connsiteX372" fmla="*/ 798940 w 1313607"/>
                <a:gd name="connsiteY372" fmla="*/ 2335320 h 2768823"/>
                <a:gd name="connsiteX373" fmla="*/ 798245 w 1313607"/>
                <a:gd name="connsiteY373" fmla="*/ 2336591 h 2768823"/>
                <a:gd name="connsiteX374" fmla="*/ 797972 w 1313607"/>
                <a:gd name="connsiteY374" fmla="*/ 2338648 h 2768823"/>
                <a:gd name="connsiteX375" fmla="*/ 801482 w 1313607"/>
                <a:gd name="connsiteY375" fmla="*/ 2345122 h 2768823"/>
                <a:gd name="connsiteX376" fmla="*/ 802752 w 1313607"/>
                <a:gd name="connsiteY376" fmla="*/ 2346604 h 2768823"/>
                <a:gd name="connsiteX377" fmla="*/ 804144 w 1313607"/>
                <a:gd name="connsiteY377" fmla="*/ 2347753 h 2768823"/>
                <a:gd name="connsiteX378" fmla="*/ 805656 w 1313607"/>
                <a:gd name="connsiteY378" fmla="*/ 2348510 h 2768823"/>
                <a:gd name="connsiteX379" fmla="*/ 807290 w 1313607"/>
                <a:gd name="connsiteY379" fmla="*/ 2348782 h 2768823"/>
                <a:gd name="connsiteX380" fmla="*/ 807441 w 1313607"/>
                <a:gd name="connsiteY380" fmla="*/ 2347844 h 2768823"/>
                <a:gd name="connsiteX381" fmla="*/ 810375 w 1313607"/>
                <a:gd name="connsiteY381" fmla="*/ 2342943 h 2768823"/>
                <a:gd name="connsiteX382" fmla="*/ 810648 w 1313607"/>
                <a:gd name="connsiteY382" fmla="*/ 2341401 h 2768823"/>
                <a:gd name="connsiteX383" fmla="*/ 810436 w 1313607"/>
                <a:gd name="connsiteY383" fmla="*/ 2340221 h 2768823"/>
                <a:gd name="connsiteX384" fmla="*/ 809680 w 1313607"/>
                <a:gd name="connsiteY384" fmla="*/ 2339162 h 2768823"/>
                <a:gd name="connsiteX385" fmla="*/ 808348 w 1313607"/>
                <a:gd name="connsiteY385" fmla="*/ 2338073 h 2768823"/>
                <a:gd name="connsiteX386" fmla="*/ 810557 w 1313607"/>
                <a:gd name="connsiteY386" fmla="*/ 2334987 h 2768823"/>
                <a:gd name="connsiteX387" fmla="*/ 814913 w 1313607"/>
                <a:gd name="connsiteY387" fmla="*/ 2333384 h 2768823"/>
                <a:gd name="connsiteX388" fmla="*/ 816970 w 1313607"/>
                <a:gd name="connsiteY388" fmla="*/ 2331448 h 2768823"/>
                <a:gd name="connsiteX389" fmla="*/ 819209 w 1313607"/>
                <a:gd name="connsiteY389" fmla="*/ 2330359 h 2768823"/>
                <a:gd name="connsiteX390" fmla="*/ 824049 w 1313607"/>
                <a:gd name="connsiteY390" fmla="*/ 2331871 h 2768823"/>
                <a:gd name="connsiteX391" fmla="*/ 825501 w 1313607"/>
                <a:gd name="connsiteY391" fmla="*/ 2329603 h 2768823"/>
                <a:gd name="connsiteX392" fmla="*/ 826318 w 1313607"/>
                <a:gd name="connsiteY392" fmla="*/ 2329724 h 2768823"/>
                <a:gd name="connsiteX393" fmla="*/ 827044 w 1313607"/>
                <a:gd name="connsiteY393" fmla="*/ 2329603 h 2768823"/>
                <a:gd name="connsiteX394" fmla="*/ 827709 w 1313607"/>
                <a:gd name="connsiteY394" fmla="*/ 2329179 h 2768823"/>
                <a:gd name="connsiteX395" fmla="*/ 828345 w 1313607"/>
                <a:gd name="connsiteY395" fmla="*/ 2328392 h 2768823"/>
                <a:gd name="connsiteX396" fmla="*/ 826590 w 1313607"/>
                <a:gd name="connsiteY396" fmla="*/ 2326789 h 2768823"/>
                <a:gd name="connsiteX397" fmla="*/ 825047 w 1313607"/>
                <a:gd name="connsiteY397" fmla="*/ 2326154 h 2768823"/>
                <a:gd name="connsiteX398" fmla="*/ 56389 w 1313607"/>
                <a:gd name="connsiteY398" fmla="*/ 2323794 h 2768823"/>
                <a:gd name="connsiteX399" fmla="*/ 57569 w 1313607"/>
                <a:gd name="connsiteY399" fmla="*/ 2321011 h 2768823"/>
                <a:gd name="connsiteX400" fmla="*/ 59142 w 1313607"/>
                <a:gd name="connsiteY400" fmla="*/ 2319468 h 2768823"/>
                <a:gd name="connsiteX401" fmla="*/ 60775 w 1313607"/>
                <a:gd name="connsiteY401" fmla="*/ 2320104 h 2768823"/>
                <a:gd name="connsiteX402" fmla="*/ 60291 w 1313607"/>
                <a:gd name="connsiteY402" fmla="*/ 2322191 h 2768823"/>
                <a:gd name="connsiteX403" fmla="*/ 60654 w 1313607"/>
                <a:gd name="connsiteY403" fmla="*/ 2323341 h 2768823"/>
                <a:gd name="connsiteX404" fmla="*/ 61592 w 1313607"/>
                <a:gd name="connsiteY404" fmla="*/ 2323461 h 2768823"/>
                <a:gd name="connsiteX405" fmla="*/ 62863 w 1313607"/>
                <a:gd name="connsiteY405" fmla="*/ 2322493 h 2768823"/>
                <a:gd name="connsiteX406" fmla="*/ 63226 w 1313607"/>
                <a:gd name="connsiteY406" fmla="*/ 2321495 h 2768823"/>
                <a:gd name="connsiteX407" fmla="*/ 64224 w 1313607"/>
                <a:gd name="connsiteY407" fmla="*/ 2316625 h 2768823"/>
                <a:gd name="connsiteX408" fmla="*/ 63710 w 1313607"/>
                <a:gd name="connsiteY408" fmla="*/ 2315868 h 2768823"/>
                <a:gd name="connsiteX409" fmla="*/ 63498 w 1313607"/>
                <a:gd name="connsiteY409" fmla="*/ 2314840 h 2768823"/>
                <a:gd name="connsiteX410" fmla="*/ 63498 w 1313607"/>
                <a:gd name="connsiteY410" fmla="*/ 2311875 h 2768823"/>
                <a:gd name="connsiteX411" fmla="*/ 61289 w 1313607"/>
                <a:gd name="connsiteY411" fmla="*/ 2310816 h 2768823"/>
                <a:gd name="connsiteX412" fmla="*/ 59505 w 1313607"/>
                <a:gd name="connsiteY412" fmla="*/ 2311754 h 2768823"/>
                <a:gd name="connsiteX413" fmla="*/ 57750 w 1313607"/>
                <a:gd name="connsiteY413" fmla="*/ 2313327 h 2768823"/>
                <a:gd name="connsiteX414" fmla="*/ 55542 w 1313607"/>
                <a:gd name="connsiteY414" fmla="*/ 2314144 h 2768823"/>
                <a:gd name="connsiteX415" fmla="*/ 46255 w 1313607"/>
                <a:gd name="connsiteY415" fmla="*/ 2314144 h 2768823"/>
                <a:gd name="connsiteX416" fmla="*/ 41959 w 1313607"/>
                <a:gd name="connsiteY416" fmla="*/ 2313236 h 2768823"/>
                <a:gd name="connsiteX417" fmla="*/ 40053 w 1313607"/>
                <a:gd name="connsiteY417" fmla="*/ 2314053 h 2768823"/>
                <a:gd name="connsiteX418" fmla="*/ 39236 w 1313607"/>
                <a:gd name="connsiteY418" fmla="*/ 2317199 h 2768823"/>
                <a:gd name="connsiteX419" fmla="*/ 40023 w 1313607"/>
                <a:gd name="connsiteY419" fmla="*/ 2319831 h 2768823"/>
                <a:gd name="connsiteX420" fmla="*/ 41898 w 1313607"/>
                <a:gd name="connsiteY420" fmla="*/ 2320376 h 2768823"/>
                <a:gd name="connsiteX421" fmla="*/ 44197 w 1313607"/>
                <a:gd name="connsiteY421" fmla="*/ 2320376 h 2768823"/>
                <a:gd name="connsiteX422" fmla="*/ 46255 w 1313607"/>
                <a:gd name="connsiteY422" fmla="*/ 2321435 h 2768823"/>
                <a:gd name="connsiteX423" fmla="*/ 44984 w 1313607"/>
                <a:gd name="connsiteY423" fmla="*/ 2321707 h 2768823"/>
                <a:gd name="connsiteX424" fmla="*/ 42201 w 1313607"/>
                <a:gd name="connsiteY424" fmla="*/ 2321193 h 2768823"/>
                <a:gd name="connsiteX425" fmla="*/ 41051 w 1313607"/>
                <a:gd name="connsiteY425" fmla="*/ 2321979 h 2768823"/>
                <a:gd name="connsiteX426" fmla="*/ 40718 w 1313607"/>
                <a:gd name="connsiteY426" fmla="*/ 2323401 h 2768823"/>
                <a:gd name="connsiteX427" fmla="*/ 41142 w 1313607"/>
                <a:gd name="connsiteY427" fmla="*/ 2324944 h 2768823"/>
                <a:gd name="connsiteX428" fmla="*/ 41777 w 1313607"/>
                <a:gd name="connsiteY428" fmla="*/ 2326456 h 2768823"/>
                <a:gd name="connsiteX429" fmla="*/ 42110 w 1313607"/>
                <a:gd name="connsiteY429" fmla="*/ 2327939 h 2768823"/>
                <a:gd name="connsiteX430" fmla="*/ 42291 w 1313607"/>
                <a:gd name="connsiteY430" fmla="*/ 2330087 h 2768823"/>
                <a:gd name="connsiteX431" fmla="*/ 42897 w 1313607"/>
                <a:gd name="connsiteY431" fmla="*/ 2330722 h 2768823"/>
                <a:gd name="connsiteX432" fmla="*/ 45559 w 1313607"/>
                <a:gd name="connsiteY432" fmla="*/ 2330964 h 2768823"/>
                <a:gd name="connsiteX433" fmla="*/ 46164 w 1313607"/>
                <a:gd name="connsiteY433" fmla="*/ 2331569 h 2768823"/>
                <a:gd name="connsiteX434" fmla="*/ 46799 w 1313607"/>
                <a:gd name="connsiteY434" fmla="*/ 2332537 h 2768823"/>
                <a:gd name="connsiteX435" fmla="*/ 47676 w 1313607"/>
                <a:gd name="connsiteY435" fmla="*/ 2333323 h 2768823"/>
                <a:gd name="connsiteX436" fmla="*/ 49037 w 1313607"/>
                <a:gd name="connsiteY436" fmla="*/ 2333323 h 2768823"/>
                <a:gd name="connsiteX437" fmla="*/ 49945 w 1313607"/>
                <a:gd name="connsiteY437" fmla="*/ 2332507 h 2768823"/>
                <a:gd name="connsiteX438" fmla="*/ 50671 w 1313607"/>
                <a:gd name="connsiteY438" fmla="*/ 2331145 h 2768823"/>
                <a:gd name="connsiteX439" fmla="*/ 51458 w 1313607"/>
                <a:gd name="connsiteY439" fmla="*/ 2330147 h 2768823"/>
                <a:gd name="connsiteX440" fmla="*/ 53515 w 1313607"/>
                <a:gd name="connsiteY440" fmla="*/ 2330661 h 2768823"/>
                <a:gd name="connsiteX441" fmla="*/ 54665 w 1313607"/>
                <a:gd name="connsiteY441" fmla="*/ 2329966 h 2768823"/>
                <a:gd name="connsiteX442" fmla="*/ 55542 w 1313607"/>
                <a:gd name="connsiteY442" fmla="*/ 2328604 h 2768823"/>
                <a:gd name="connsiteX443" fmla="*/ 56389 w 1313607"/>
                <a:gd name="connsiteY443" fmla="*/ 2323885 h 2768823"/>
                <a:gd name="connsiteX444" fmla="*/ 41142 w 1313607"/>
                <a:gd name="connsiteY444" fmla="*/ 2307096 h 2768823"/>
                <a:gd name="connsiteX445" fmla="*/ 41505 w 1313607"/>
                <a:gd name="connsiteY445" fmla="*/ 2306490 h 2768823"/>
                <a:gd name="connsiteX446" fmla="*/ 41898 w 1313607"/>
                <a:gd name="connsiteY446" fmla="*/ 2305250 h 2768823"/>
                <a:gd name="connsiteX447" fmla="*/ 42927 w 1313607"/>
                <a:gd name="connsiteY447" fmla="*/ 2303465 h 2768823"/>
                <a:gd name="connsiteX448" fmla="*/ 45196 w 1313607"/>
                <a:gd name="connsiteY448" fmla="*/ 2301559 h 2768823"/>
                <a:gd name="connsiteX449" fmla="*/ 48070 w 1313607"/>
                <a:gd name="connsiteY449" fmla="*/ 2300652 h 2768823"/>
                <a:gd name="connsiteX450" fmla="*/ 50792 w 1313607"/>
                <a:gd name="connsiteY450" fmla="*/ 2301438 h 2768823"/>
                <a:gd name="connsiteX451" fmla="*/ 52456 w 1313607"/>
                <a:gd name="connsiteY451" fmla="*/ 2304675 h 2768823"/>
                <a:gd name="connsiteX452" fmla="*/ 55028 w 1313607"/>
                <a:gd name="connsiteY452" fmla="*/ 2303284 h 2768823"/>
                <a:gd name="connsiteX453" fmla="*/ 60412 w 1313607"/>
                <a:gd name="connsiteY453" fmla="*/ 2304978 h 2768823"/>
                <a:gd name="connsiteX454" fmla="*/ 65282 w 1313607"/>
                <a:gd name="connsiteY454" fmla="*/ 2301469 h 2768823"/>
                <a:gd name="connsiteX455" fmla="*/ 67914 w 1313607"/>
                <a:gd name="connsiteY455" fmla="*/ 2301106 h 2768823"/>
                <a:gd name="connsiteX456" fmla="*/ 70123 w 1313607"/>
                <a:gd name="connsiteY456" fmla="*/ 2300168 h 2768823"/>
                <a:gd name="connsiteX457" fmla="*/ 71030 w 1313607"/>
                <a:gd name="connsiteY457" fmla="*/ 2296901 h 2768823"/>
                <a:gd name="connsiteX458" fmla="*/ 71182 w 1313607"/>
                <a:gd name="connsiteY458" fmla="*/ 2289035 h 2768823"/>
                <a:gd name="connsiteX459" fmla="*/ 71030 w 1313607"/>
                <a:gd name="connsiteY459" fmla="*/ 2285163 h 2768823"/>
                <a:gd name="connsiteX460" fmla="*/ 70335 w 1313607"/>
                <a:gd name="connsiteY460" fmla="*/ 2281835 h 2768823"/>
                <a:gd name="connsiteX461" fmla="*/ 68550 w 1313607"/>
                <a:gd name="connsiteY461" fmla="*/ 2279022 h 2768823"/>
                <a:gd name="connsiteX462" fmla="*/ 66462 w 1313607"/>
                <a:gd name="connsiteY462" fmla="*/ 2277752 h 2768823"/>
                <a:gd name="connsiteX463" fmla="*/ 64587 w 1313607"/>
                <a:gd name="connsiteY463" fmla="*/ 2276118 h 2768823"/>
                <a:gd name="connsiteX464" fmla="*/ 63467 w 1313607"/>
                <a:gd name="connsiteY464" fmla="*/ 2272216 h 2768823"/>
                <a:gd name="connsiteX465" fmla="*/ 59928 w 1313607"/>
                <a:gd name="connsiteY465" fmla="*/ 2271127 h 2768823"/>
                <a:gd name="connsiteX466" fmla="*/ 58204 w 1313607"/>
                <a:gd name="connsiteY466" fmla="*/ 2271127 h 2768823"/>
                <a:gd name="connsiteX467" fmla="*/ 56570 w 1313607"/>
                <a:gd name="connsiteY467" fmla="*/ 2272216 h 2768823"/>
                <a:gd name="connsiteX468" fmla="*/ 56843 w 1313607"/>
                <a:gd name="connsiteY468" fmla="*/ 2272911 h 2768823"/>
                <a:gd name="connsiteX469" fmla="*/ 57326 w 1313607"/>
                <a:gd name="connsiteY469" fmla="*/ 2274636 h 2768823"/>
                <a:gd name="connsiteX470" fmla="*/ 56237 w 1313607"/>
                <a:gd name="connsiteY470" fmla="*/ 2275543 h 2768823"/>
                <a:gd name="connsiteX471" fmla="*/ 55542 w 1313607"/>
                <a:gd name="connsiteY471" fmla="*/ 2276995 h 2768823"/>
                <a:gd name="connsiteX472" fmla="*/ 55391 w 1313607"/>
                <a:gd name="connsiteY472" fmla="*/ 2278750 h 2768823"/>
                <a:gd name="connsiteX473" fmla="*/ 55844 w 1313607"/>
                <a:gd name="connsiteY473" fmla="*/ 2280656 h 2768823"/>
                <a:gd name="connsiteX474" fmla="*/ 54331 w 1313607"/>
                <a:gd name="connsiteY474" fmla="*/ 2281231 h 2768823"/>
                <a:gd name="connsiteX475" fmla="*/ 51367 w 1313607"/>
                <a:gd name="connsiteY475" fmla="*/ 2280595 h 2768823"/>
                <a:gd name="connsiteX476" fmla="*/ 49673 w 1313607"/>
                <a:gd name="connsiteY476" fmla="*/ 2280656 h 2768823"/>
                <a:gd name="connsiteX477" fmla="*/ 48311 w 1313607"/>
                <a:gd name="connsiteY477" fmla="*/ 2281412 h 2768823"/>
                <a:gd name="connsiteX478" fmla="*/ 45740 w 1313607"/>
                <a:gd name="connsiteY478" fmla="*/ 2283772 h 2768823"/>
                <a:gd name="connsiteX479" fmla="*/ 42231 w 1313607"/>
                <a:gd name="connsiteY479" fmla="*/ 2284951 h 2768823"/>
                <a:gd name="connsiteX480" fmla="*/ 32278 w 1313607"/>
                <a:gd name="connsiteY480" fmla="*/ 2294027 h 2768823"/>
                <a:gd name="connsiteX481" fmla="*/ 30251 w 1313607"/>
                <a:gd name="connsiteY481" fmla="*/ 2296719 h 2768823"/>
                <a:gd name="connsiteX482" fmla="*/ 30010 w 1313607"/>
                <a:gd name="connsiteY482" fmla="*/ 2299260 h 2768823"/>
                <a:gd name="connsiteX483" fmla="*/ 30947 w 1313607"/>
                <a:gd name="connsiteY483" fmla="*/ 2300773 h 2768823"/>
                <a:gd name="connsiteX484" fmla="*/ 34093 w 1313607"/>
                <a:gd name="connsiteY484" fmla="*/ 2304101 h 2768823"/>
                <a:gd name="connsiteX485" fmla="*/ 34456 w 1313607"/>
                <a:gd name="connsiteY485" fmla="*/ 2305220 h 2768823"/>
                <a:gd name="connsiteX486" fmla="*/ 35122 w 1313607"/>
                <a:gd name="connsiteY486" fmla="*/ 2309576 h 2768823"/>
                <a:gd name="connsiteX487" fmla="*/ 35757 w 1313607"/>
                <a:gd name="connsiteY487" fmla="*/ 2309576 h 2768823"/>
                <a:gd name="connsiteX488" fmla="*/ 35757 w 1313607"/>
                <a:gd name="connsiteY488" fmla="*/ 2303496 h 2768823"/>
                <a:gd name="connsiteX489" fmla="*/ 38934 w 1313607"/>
                <a:gd name="connsiteY489" fmla="*/ 2306460 h 2768823"/>
                <a:gd name="connsiteX490" fmla="*/ 39992 w 1313607"/>
                <a:gd name="connsiteY490" fmla="*/ 2307065 h 2768823"/>
                <a:gd name="connsiteX491" fmla="*/ 41021 w 1313607"/>
                <a:gd name="connsiteY491" fmla="*/ 2307126 h 2768823"/>
                <a:gd name="connsiteX492" fmla="*/ 577349 w 1313607"/>
                <a:gd name="connsiteY492" fmla="*/ 2267738 h 2768823"/>
                <a:gd name="connsiteX493" fmla="*/ 576108 w 1313607"/>
                <a:gd name="connsiteY493" fmla="*/ 2268827 h 2768823"/>
                <a:gd name="connsiteX494" fmla="*/ 576502 w 1313607"/>
                <a:gd name="connsiteY494" fmla="*/ 2271247 h 2768823"/>
                <a:gd name="connsiteX495" fmla="*/ 577621 w 1313607"/>
                <a:gd name="connsiteY495" fmla="*/ 2273879 h 2768823"/>
                <a:gd name="connsiteX496" fmla="*/ 578468 w 1313607"/>
                <a:gd name="connsiteY496" fmla="*/ 2274515 h 2768823"/>
                <a:gd name="connsiteX497" fmla="*/ 579708 w 1313607"/>
                <a:gd name="connsiteY497" fmla="*/ 2274394 h 2768823"/>
                <a:gd name="connsiteX498" fmla="*/ 580797 w 1313607"/>
                <a:gd name="connsiteY498" fmla="*/ 2273002 h 2768823"/>
                <a:gd name="connsiteX499" fmla="*/ 580949 w 1313607"/>
                <a:gd name="connsiteY499" fmla="*/ 2270764 h 2768823"/>
                <a:gd name="connsiteX500" fmla="*/ 580616 w 1313607"/>
                <a:gd name="connsiteY500" fmla="*/ 2269644 h 2768823"/>
                <a:gd name="connsiteX501" fmla="*/ 579557 w 1313607"/>
                <a:gd name="connsiteY501" fmla="*/ 2268797 h 2768823"/>
                <a:gd name="connsiteX502" fmla="*/ 577349 w 1313607"/>
                <a:gd name="connsiteY502" fmla="*/ 2267769 h 2768823"/>
                <a:gd name="connsiteX503" fmla="*/ 819390 w 1313607"/>
                <a:gd name="connsiteY503" fmla="*/ 2262021 h 2768823"/>
                <a:gd name="connsiteX504" fmla="*/ 823504 w 1313607"/>
                <a:gd name="connsiteY504" fmla="*/ 2260720 h 2768823"/>
                <a:gd name="connsiteX505" fmla="*/ 827558 w 1313607"/>
                <a:gd name="connsiteY505" fmla="*/ 2257665 h 2768823"/>
                <a:gd name="connsiteX506" fmla="*/ 824956 w 1313607"/>
                <a:gd name="connsiteY506" fmla="*/ 2255668 h 2768823"/>
                <a:gd name="connsiteX507" fmla="*/ 819239 w 1313607"/>
                <a:gd name="connsiteY507" fmla="*/ 2254428 h 2768823"/>
                <a:gd name="connsiteX508" fmla="*/ 816577 w 1313607"/>
                <a:gd name="connsiteY508" fmla="*/ 2252855 h 2768823"/>
                <a:gd name="connsiteX509" fmla="*/ 813098 w 1313607"/>
                <a:gd name="connsiteY509" fmla="*/ 2252855 h 2768823"/>
                <a:gd name="connsiteX510" fmla="*/ 815760 w 1313607"/>
                <a:gd name="connsiteY510" fmla="*/ 2259964 h 2768823"/>
                <a:gd name="connsiteX511" fmla="*/ 819390 w 1313607"/>
                <a:gd name="connsiteY511" fmla="*/ 2262051 h 2768823"/>
                <a:gd name="connsiteX512" fmla="*/ 573234 w 1313607"/>
                <a:gd name="connsiteY512" fmla="*/ 2260236 h 2768823"/>
                <a:gd name="connsiteX513" fmla="*/ 573779 w 1313607"/>
                <a:gd name="connsiteY513" fmla="*/ 2261022 h 2768823"/>
                <a:gd name="connsiteX514" fmla="*/ 574354 w 1313607"/>
                <a:gd name="connsiteY514" fmla="*/ 2262656 h 2768823"/>
                <a:gd name="connsiteX515" fmla="*/ 575594 w 1313607"/>
                <a:gd name="connsiteY515" fmla="*/ 2264713 h 2768823"/>
                <a:gd name="connsiteX516" fmla="*/ 577470 w 1313607"/>
                <a:gd name="connsiteY516" fmla="*/ 2266075 h 2768823"/>
                <a:gd name="connsiteX517" fmla="*/ 579406 w 1313607"/>
                <a:gd name="connsiteY517" fmla="*/ 2266619 h 2768823"/>
                <a:gd name="connsiteX518" fmla="*/ 581069 w 1313607"/>
                <a:gd name="connsiteY518" fmla="*/ 2266559 h 2768823"/>
                <a:gd name="connsiteX519" fmla="*/ 582401 w 1313607"/>
                <a:gd name="connsiteY519" fmla="*/ 2265923 h 2768823"/>
                <a:gd name="connsiteX520" fmla="*/ 583399 w 1313607"/>
                <a:gd name="connsiteY520" fmla="*/ 2264925 h 2768823"/>
                <a:gd name="connsiteX521" fmla="*/ 583762 w 1313607"/>
                <a:gd name="connsiteY521" fmla="*/ 2264380 h 2768823"/>
                <a:gd name="connsiteX522" fmla="*/ 584246 w 1313607"/>
                <a:gd name="connsiteY522" fmla="*/ 2263443 h 2768823"/>
                <a:gd name="connsiteX523" fmla="*/ 584458 w 1313607"/>
                <a:gd name="connsiteY523" fmla="*/ 2263443 h 2768823"/>
                <a:gd name="connsiteX524" fmla="*/ 584821 w 1313607"/>
                <a:gd name="connsiteY524" fmla="*/ 2263170 h 2768823"/>
                <a:gd name="connsiteX525" fmla="*/ 583974 w 1313607"/>
                <a:gd name="connsiteY525" fmla="*/ 2262838 h 2768823"/>
                <a:gd name="connsiteX526" fmla="*/ 582068 w 1313607"/>
                <a:gd name="connsiteY526" fmla="*/ 2263654 h 2768823"/>
                <a:gd name="connsiteX527" fmla="*/ 579920 w 1313607"/>
                <a:gd name="connsiteY527" fmla="*/ 2263745 h 2768823"/>
                <a:gd name="connsiteX528" fmla="*/ 577470 w 1313607"/>
                <a:gd name="connsiteY528" fmla="*/ 2261597 h 2768823"/>
                <a:gd name="connsiteX529" fmla="*/ 575927 w 1313607"/>
                <a:gd name="connsiteY529" fmla="*/ 2259722 h 2768823"/>
                <a:gd name="connsiteX530" fmla="*/ 575624 w 1313607"/>
                <a:gd name="connsiteY530" fmla="*/ 2258360 h 2768823"/>
                <a:gd name="connsiteX531" fmla="*/ 576260 w 1313607"/>
                <a:gd name="connsiteY531" fmla="*/ 2257423 h 2768823"/>
                <a:gd name="connsiteX532" fmla="*/ 577409 w 1313607"/>
                <a:gd name="connsiteY532" fmla="*/ 2257423 h 2768823"/>
                <a:gd name="connsiteX533" fmla="*/ 577561 w 1313607"/>
                <a:gd name="connsiteY533" fmla="*/ 2256848 h 2768823"/>
                <a:gd name="connsiteX534" fmla="*/ 575715 w 1313607"/>
                <a:gd name="connsiteY534" fmla="*/ 2255184 h 2768823"/>
                <a:gd name="connsiteX535" fmla="*/ 576865 w 1313607"/>
                <a:gd name="connsiteY535" fmla="*/ 2255396 h 2768823"/>
                <a:gd name="connsiteX536" fmla="*/ 577984 w 1313607"/>
                <a:gd name="connsiteY536" fmla="*/ 2254851 h 2768823"/>
                <a:gd name="connsiteX537" fmla="*/ 579043 w 1313607"/>
                <a:gd name="connsiteY537" fmla="*/ 2253339 h 2768823"/>
                <a:gd name="connsiteX538" fmla="*/ 579315 w 1313607"/>
                <a:gd name="connsiteY538" fmla="*/ 2252340 h 2768823"/>
                <a:gd name="connsiteX539" fmla="*/ 578861 w 1313607"/>
                <a:gd name="connsiteY539" fmla="*/ 2251887 h 2768823"/>
                <a:gd name="connsiteX540" fmla="*/ 578256 w 1313607"/>
                <a:gd name="connsiteY540" fmla="*/ 2251584 h 2768823"/>
                <a:gd name="connsiteX541" fmla="*/ 576955 w 1313607"/>
                <a:gd name="connsiteY541" fmla="*/ 2252098 h 2768823"/>
                <a:gd name="connsiteX542" fmla="*/ 576532 w 1313607"/>
                <a:gd name="connsiteY542" fmla="*/ 2251856 h 2768823"/>
                <a:gd name="connsiteX543" fmla="*/ 575836 w 1313607"/>
                <a:gd name="connsiteY543" fmla="*/ 2252038 h 2768823"/>
                <a:gd name="connsiteX544" fmla="*/ 574535 w 1313607"/>
                <a:gd name="connsiteY544" fmla="*/ 2252734 h 2768823"/>
                <a:gd name="connsiteX545" fmla="*/ 573658 w 1313607"/>
                <a:gd name="connsiteY545" fmla="*/ 2252976 h 2768823"/>
                <a:gd name="connsiteX546" fmla="*/ 571873 w 1313607"/>
                <a:gd name="connsiteY546" fmla="*/ 2253883 h 2768823"/>
                <a:gd name="connsiteX547" fmla="*/ 571389 w 1313607"/>
                <a:gd name="connsiteY547" fmla="*/ 2255456 h 2768823"/>
                <a:gd name="connsiteX548" fmla="*/ 572539 w 1313607"/>
                <a:gd name="connsiteY548" fmla="*/ 2256999 h 2768823"/>
                <a:gd name="connsiteX549" fmla="*/ 573053 w 1313607"/>
                <a:gd name="connsiteY549" fmla="*/ 2258149 h 2768823"/>
                <a:gd name="connsiteX550" fmla="*/ 572932 w 1313607"/>
                <a:gd name="connsiteY550" fmla="*/ 2259298 h 2768823"/>
                <a:gd name="connsiteX551" fmla="*/ 573325 w 1313607"/>
                <a:gd name="connsiteY551" fmla="*/ 2260236 h 2768823"/>
                <a:gd name="connsiteX552" fmla="*/ 724341 w 1313607"/>
                <a:gd name="connsiteY552" fmla="*/ 2151391 h 2768823"/>
                <a:gd name="connsiteX553" fmla="*/ 723705 w 1313607"/>
                <a:gd name="connsiteY553" fmla="*/ 2151875 h 2768823"/>
                <a:gd name="connsiteX554" fmla="*/ 722798 w 1313607"/>
                <a:gd name="connsiteY554" fmla="*/ 2152148 h 2768823"/>
                <a:gd name="connsiteX555" fmla="*/ 721406 w 1313607"/>
                <a:gd name="connsiteY555" fmla="*/ 2152148 h 2768823"/>
                <a:gd name="connsiteX556" fmla="*/ 719924 w 1313607"/>
                <a:gd name="connsiteY556" fmla="*/ 2152450 h 2768823"/>
                <a:gd name="connsiteX557" fmla="*/ 716354 w 1313607"/>
                <a:gd name="connsiteY557" fmla="*/ 2155112 h 2768823"/>
                <a:gd name="connsiteX558" fmla="*/ 714811 w 1313607"/>
                <a:gd name="connsiteY558" fmla="*/ 2156836 h 2768823"/>
                <a:gd name="connsiteX559" fmla="*/ 713238 w 1313607"/>
                <a:gd name="connsiteY559" fmla="*/ 2159499 h 2768823"/>
                <a:gd name="connsiteX560" fmla="*/ 713056 w 1313607"/>
                <a:gd name="connsiteY560" fmla="*/ 2161072 h 2768823"/>
                <a:gd name="connsiteX561" fmla="*/ 713541 w 1313607"/>
                <a:gd name="connsiteY561" fmla="*/ 2161647 h 2768823"/>
                <a:gd name="connsiteX562" fmla="*/ 714327 w 1313607"/>
                <a:gd name="connsiteY562" fmla="*/ 2162130 h 2768823"/>
                <a:gd name="connsiteX563" fmla="*/ 715356 w 1313607"/>
                <a:gd name="connsiteY563" fmla="*/ 2162130 h 2768823"/>
                <a:gd name="connsiteX564" fmla="*/ 717534 w 1313607"/>
                <a:gd name="connsiteY564" fmla="*/ 2160588 h 2768823"/>
                <a:gd name="connsiteX565" fmla="*/ 721013 w 1313607"/>
                <a:gd name="connsiteY565" fmla="*/ 2159680 h 2768823"/>
                <a:gd name="connsiteX566" fmla="*/ 722616 w 1313607"/>
                <a:gd name="connsiteY566" fmla="*/ 2158863 h 2768823"/>
                <a:gd name="connsiteX567" fmla="*/ 725430 w 1313607"/>
                <a:gd name="connsiteY567" fmla="*/ 2158289 h 2768823"/>
                <a:gd name="connsiteX568" fmla="*/ 725278 w 1313607"/>
                <a:gd name="connsiteY568" fmla="*/ 2157563 h 2768823"/>
                <a:gd name="connsiteX569" fmla="*/ 723735 w 1313607"/>
                <a:gd name="connsiteY569" fmla="*/ 2156988 h 2768823"/>
                <a:gd name="connsiteX570" fmla="*/ 722767 w 1313607"/>
                <a:gd name="connsiteY570" fmla="*/ 2155717 h 2768823"/>
                <a:gd name="connsiteX571" fmla="*/ 723130 w 1313607"/>
                <a:gd name="connsiteY571" fmla="*/ 2154840 h 2768823"/>
                <a:gd name="connsiteX572" fmla="*/ 723947 w 1313607"/>
                <a:gd name="connsiteY572" fmla="*/ 2154961 h 2768823"/>
                <a:gd name="connsiteX573" fmla="*/ 724734 w 1313607"/>
                <a:gd name="connsiteY573" fmla="*/ 2154568 h 2768823"/>
                <a:gd name="connsiteX574" fmla="*/ 725520 w 1313607"/>
                <a:gd name="connsiteY574" fmla="*/ 2153902 h 2768823"/>
                <a:gd name="connsiteX575" fmla="*/ 727698 w 1313607"/>
                <a:gd name="connsiteY575" fmla="*/ 2152722 h 2768823"/>
                <a:gd name="connsiteX576" fmla="*/ 729211 w 1313607"/>
                <a:gd name="connsiteY576" fmla="*/ 2151028 h 2768823"/>
                <a:gd name="connsiteX577" fmla="*/ 729544 w 1313607"/>
                <a:gd name="connsiteY577" fmla="*/ 2149304 h 2768823"/>
                <a:gd name="connsiteX578" fmla="*/ 728908 w 1313607"/>
                <a:gd name="connsiteY578" fmla="*/ 2148820 h 2768823"/>
                <a:gd name="connsiteX579" fmla="*/ 725974 w 1313607"/>
                <a:gd name="connsiteY579" fmla="*/ 2150696 h 2768823"/>
                <a:gd name="connsiteX580" fmla="*/ 724370 w 1313607"/>
                <a:gd name="connsiteY580" fmla="*/ 2151361 h 2768823"/>
                <a:gd name="connsiteX581" fmla="*/ 706764 w 1313607"/>
                <a:gd name="connsiteY581" fmla="*/ 2151512 h 2768823"/>
                <a:gd name="connsiteX582" fmla="*/ 708125 w 1313607"/>
                <a:gd name="connsiteY582" fmla="*/ 2150726 h 2768823"/>
                <a:gd name="connsiteX583" fmla="*/ 708700 w 1313607"/>
                <a:gd name="connsiteY583" fmla="*/ 2149334 h 2768823"/>
                <a:gd name="connsiteX584" fmla="*/ 708549 w 1313607"/>
                <a:gd name="connsiteY584" fmla="*/ 2147731 h 2768823"/>
                <a:gd name="connsiteX585" fmla="*/ 708549 w 1313607"/>
                <a:gd name="connsiteY585" fmla="*/ 2146188 h 2768823"/>
                <a:gd name="connsiteX586" fmla="*/ 708277 w 1313607"/>
                <a:gd name="connsiteY586" fmla="*/ 2144403 h 2768823"/>
                <a:gd name="connsiteX587" fmla="*/ 708519 w 1313607"/>
                <a:gd name="connsiteY587" fmla="*/ 2144252 h 2768823"/>
                <a:gd name="connsiteX588" fmla="*/ 709668 w 1313607"/>
                <a:gd name="connsiteY588" fmla="*/ 2145613 h 2768823"/>
                <a:gd name="connsiteX589" fmla="*/ 710485 w 1313607"/>
                <a:gd name="connsiteY589" fmla="*/ 2145674 h 2768823"/>
                <a:gd name="connsiteX590" fmla="*/ 711181 w 1313607"/>
                <a:gd name="connsiteY590" fmla="*/ 2144918 h 2768823"/>
                <a:gd name="connsiteX591" fmla="*/ 711998 w 1313607"/>
                <a:gd name="connsiteY591" fmla="*/ 2145311 h 2768823"/>
                <a:gd name="connsiteX592" fmla="*/ 712754 w 1313607"/>
                <a:gd name="connsiteY592" fmla="*/ 2146279 h 2768823"/>
                <a:gd name="connsiteX593" fmla="*/ 713208 w 1313607"/>
                <a:gd name="connsiteY593" fmla="*/ 2145553 h 2768823"/>
                <a:gd name="connsiteX594" fmla="*/ 713571 w 1313607"/>
                <a:gd name="connsiteY594" fmla="*/ 2143465 h 2768823"/>
                <a:gd name="connsiteX595" fmla="*/ 712936 w 1313607"/>
                <a:gd name="connsiteY595" fmla="*/ 2143042 h 2768823"/>
                <a:gd name="connsiteX596" fmla="*/ 712270 w 1313607"/>
                <a:gd name="connsiteY596" fmla="*/ 2143133 h 2768823"/>
                <a:gd name="connsiteX597" fmla="*/ 711816 w 1313607"/>
                <a:gd name="connsiteY597" fmla="*/ 2143556 h 2768823"/>
                <a:gd name="connsiteX598" fmla="*/ 711604 w 1313607"/>
                <a:gd name="connsiteY598" fmla="*/ 2143163 h 2768823"/>
                <a:gd name="connsiteX599" fmla="*/ 715325 w 1313607"/>
                <a:gd name="connsiteY599" fmla="*/ 2141620 h 2768823"/>
                <a:gd name="connsiteX600" fmla="*/ 715416 w 1313607"/>
                <a:gd name="connsiteY600" fmla="*/ 2140834 h 2768823"/>
                <a:gd name="connsiteX601" fmla="*/ 710939 w 1313607"/>
                <a:gd name="connsiteY601" fmla="*/ 2140319 h 2768823"/>
                <a:gd name="connsiteX602" fmla="*/ 708670 w 1313607"/>
                <a:gd name="connsiteY602" fmla="*/ 2140622 h 2768823"/>
                <a:gd name="connsiteX603" fmla="*/ 706250 w 1313607"/>
                <a:gd name="connsiteY603" fmla="*/ 2141499 h 2768823"/>
                <a:gd name="connsiteX604" fmla="*/ 704042 w 1313607"/>
                <a:gd name="connsiteY604" fmla="*/ 2141136 h 2768823"/>
                <a:gd name="connsiteX605" fmla="*/ 702953 w 1313607"/>
                <a:gd name="connsiteY605" fmla="*/ 2142013 h 2768823"/>
                <a:gd name="connsiteX606" fmla="*/ 701954 w 1313607"/>
                <a:gd name="connsiteY606" fmla="*/ 2143556 h 2768823"/>
                <a:gd name="connsiteX607" fmla="*/ 701652 w 1313607"/>
                <a:gd name="connsiteY607" fmla="*/ 2144736 h 2768823"/>
                <a:gd name="connsiteX608" fmla="*/ 701833 w 1313607"/>
                <a:gd name="connsiteY608" fmla="*/ 2145795 h 2768823"/>
                <a:gd name="connsiteX609" fmla="*/ 701259 w 1313607"/>
                <a:gd name="connsiteY609" fmla="*/ 2146430 h 2768823"/>
                <a:gd name="connsiteX610" fmla="*/ 700169 w 1313607"/>
                <a:gd name="connsiteY610" fmla="*/ 2146793 h 2768823"/>
                <a:gd name="connsiteX611" fmla="*/ 699504 w 1313607"/>
                <a:gd name="connsiteY611" fmla="*/ 2147852 h 2768823"/>
                <a:gd name="connsiteX612" fmla="*/ 698899 w 1313607"/>
                <a:gd name="connsiteY612" fmla="*/ 2150423 h 2768823"/>
                <a:gd name="connsiteX613" fmla="*/ 698687 w 1313607"/>
                <a:gd name="connsiteY613" fmla="*/ 2151059 h 2768823"/>
                <a:gd name="connsiteX614" fmla="*/ 698687 w 1313607"/>
                <a:gd name="connsiteY614" fmla="*/ 2152178 h 2768823"/>
                <a:gd name="connsiteX615" fmla="*/ 699292 w 1313607"/>
                <a:gd name="connsiteY615" fmla="*/ 2152450 h 2768823"/>
                <a:gd name="connsiteX616" fmla="*/ 700805 w 1313607"/>
                <a:gd name="connsiteY616" fmla="*/ 2151361 h 2768823"/>
                <a:gd name="connsiteX617" fmla="*/ 702317 w 1313607"/>
                <a:gd name="connsiteY617" fmla="*/ 2149607 h 2768823"/>
                <a:gd name="connsiteX618" fmla="*/ 703104 w 1313607"/>
                <a:gd name="connsiteY618" fmla="*/ 2149092 h 2768823"/>
                <a:gd name="connsiteX619" fmla="*/ 703528 w 1313607"/>
                <a:gd name="connsiteY619" fmla="*/ 2148941 h 2768823"/>
                <a:gd name="connsiteX620" fmla="*/ 705403 w 1313607"/>
                <a:gd name="connsiteY620" fmla="*/ 2150998 h 2768823"/>
                <a:gd name="connsiteX621" fmla="*/ 706764 w 1313607"/>
                <a:gd name="connsiteY621" fmla="*/ 2151482 h 2768823"/>
                <a:gd name="connsiteX622" fmla="*/ 664110 w 1313607"/>
                <a:gd name="connsiteY622" fmla="*/ 2146370 h 2768823"/>
                <a:gd name="connsiteX623" fmla="*/ 664019 w 1313607"/>
                <a:gd name="connsiteY623" fmla="*/ 2143677 h 2768823"/>
                <a:gd name="connsiteX624" fmla="*/ 663475 w 1313607"/>
                <a:gd name="connsiteY624" fmla="*/ 2140713 h 2768823"/>
                <a:gd name="connsiteX625" fmla="*/ 662779 w 1313607"/>
                <a:gd name="connsiteY625" fmla="*/ 2138171 h 2768823"/>
                <a:gd name="connsiteX626" fmla="*/ 662053 w 1313607"/>
                <a:gd name="connsiteY626" fmla="*/ 2136114 h 2768823"/>
                <a:gd name="connsiteX627" fmla="*/ 661145 w 1313607"/>
                <a:gd name="connsiteY627" fmla="*/ 2134995 h 2768823"/>
                <a:gd name="connsiteX628" fmla="*/ 660691 w 1313607"/>
                <a:gd name="connsiteY628" fmla="*/ 2134814 h 2768823"/>
                <a:gd name="connsiteX629" fmla="*/ 660268 w 1313607"/>
                <a:gd name="connsiteY629" fmla="*/ 2134571 h 2768823"/>
                <a:gd name="connsiteX630" fmla="*/ 659935 w 1313607"/>
                <a:gd name="connsiteY630" fmla="*/ 2133513 h 2768823"/>
                <a:gd name="connsiteX631" fmla="*/ 659663 w 1313607"/>
                <a:gd name="connsiteY631" fmla="*/ 2132212 h 2768823"/>
                <a:gd name="connsiteX632" fmla="*/ 658574 w 1313607"/>
                <a:gd name="connsiteY632" fmla="*/ 2132303 h 2768823"/>
                <a:gd name="connsiteX633" fmla="*/ 657727 w 1313607"/>
                <a:gd name="connsiteY633" fmla="*/ 2134148 h 2768823"/>
                <a:gd name="connsiteX634" fmla="*/ 658029 w 1313607"/>
                <a:gd name="connsiteY634" fmla="*/ 2139079 h 2768823"/>
                <a:gd name="connsiteX635" fmla="*/ 657969 w 1313607"/>
                <a:gd name="connsiteY635" fmla="*/ 2140954 h 2768823"/>
                <a:gd name="connsiteX636" fmla="*/ 658150 w 1313607"/>
                <a:gd name="connsiteY636" fmla="*/ 2142013 h 2768823"/>
                <a:gd name="connsiteX637" fmla="*/ 657938 w 1313607"/>
                <a:gd name="connsiteY637" fmla="*/ 2143465 h 2768823"/>
                <a:gd name="connsiteX638" fmla="*/ 656971 w 1313607"/>
                <a:gd name="connsiteY638" fmla="*/ 2145583 h 2768823"/>
                <a:gd name="connsiteX639" fmla="*/ 656002 w 1313607"/>
                <a:gd name="connsiteY639" fmla="*/ 2148517 h 2768823"/>
                <a:gd name="connsiteX640" fmla="*/ 655730 w 1313607"/>
                <a:gd name="connsiteY640" fmla="*/ 2151664 h 2768823"/>
                <a:gd name="connsiteX641" fmla="*/ 655882 w 1313607"/>
                <a:gd name="connsiteY641" fmla="*/ 2152934 h 2768823"/>
                <a:gd name="connsiteX642" fmla="*/ 656698 w 1313607"/>
                <a:gd name="connsiteY642" fmla="*/ 2153025 h 2768823"/>
                <a:gd name="connsiteX643" fmla="*/ 657364 w 1313607"/>
                <a:gd name="connsiteY643" fmla="*/ 2154568 h 2768823"/>
                <a:gd name="connsiteX644" fmla="*/ 657212 w 1313607"/>
                <a:gd name="connsiteY644" fmla="*/ 2157563 h 2768823"/>
                <a:gd name="connsiteX645" fmla="*/ 658120 w 1313607"/>
                <a:gd name="connsiteY645" fmla="*/ 2159710 h 2768823"/>
                <a:gd name="connsiteX646" fmla="*/ 658997 w 1313607"/>
                <a:gd name="connsiteY646" fmla="*/ 2159922 h 2768823"/>
                <a:gd name="connsiteX647" fmla="*/ 659058 w 1313607"/>
                <a:gd name="connsiteY647" fmla="*/ 2159045 h 2768823"/>
                <a:gd name="connsiteX648" fmla="*/ 661780 w 1313607"/>
                <a:gd name="connsiteY648" fmla="*/ 2162947 h 2768823"/>
                <a:gd name="connsiteX649" fmla="*/ 662416 w 1313607"/>
                <a:gd name="connsiteY649" fmla="*/ 2162766 h 2768823"/>
                <a:gd name="connsiteX650" fmla="*/ 661569 w 1313607"/>
                <a:gd name="connsiteY650" fmla="*/ 2160527 h 2768823"/>
                <a:gd name="connsiteX651" fmla="*/ 661357 w 1313607"/>
                <a:gd name="connsiteY651" fmla="*/ 2159166 h 2768823"/>
                <a:gd name="connsiteX652" fmla="*/ 662053 w 1313607"/>
                <a:gd name="connsiteY652" fmla="*/ 2158621 h 2768823"/>
                <a:gd name="connsiteX653" fmla="*/ 662748 w 1313607"/>
                <a:gd name="connsiteY653" fmla="*/ 2157926 h 2768823"/>
                <a:gd name="connsiteX654" fmla="*/ 663021 w 1313607"/>
                <a:gd name="connsiteY654" fmla="*/ 2156685 h 2768823"/>
                <a:gd name="connsiteX655" fmla="*/ 663323 w 1313607"/>
                <a:gd name="connsiteY655" fmla="*/ 2154931 h 2768823"/>
                <a:gd name="connsiteX656" fmla="*/ 663747 w 1313607"/>
                <a:gd name="connsiteY656" fmla="*/ 2153146 h 2768823"/>
                <a:gd name="connsiteX657" fmla="*/ 663747 w 1313607"/>
                <a:gd name="connsiteY657" fmla="*/ 2151331 h 2768823"/>
                <a:gd name="connsiteX658" fmla="*/ 663354 w 1313607"/>
                <a:gd name="connsiteY658" fmla="*/ 2149274 h 2768823"/>
                <a:gd name="connsiteX659" fmla="*/ 663595 w 1313607"/>
                <a:gd name="connsiteY659" fmla="*/ 2147822 h 2768823"/>
                <a:gd name="connsiteX660" fmla="*/ 664080 w 1313607"/>
                <a:gd name="connsiteY660" fmla="*/ 2146279 h 2768823"/>
                <a:gd name="connsiteX661" fmla="*/ 728364 w 1313607"/>
                <a:gd name="connsiteY661" fmla="*/ 2138534 h 2768823"/>
                <a:gd name="connsiteX662" fmla="*/ 727910 w 1313607"/>
                <a:gd name="connsiteY662" fmla="*/ 2139200 h 2768823"/>
                <a:gd name="connsiteX663" fmla="*/ 728212 w 1313607"/>
                <a:gd name="connsiteY663" fmla="*/ 2140591 h 2768823"/>
                <a:gd name="connsiteX664" fmla="*/ 729332 w 1313607"/>
                <a:gd name="connsiteY664" fmla="*/ 2142376 h 2768823"/>
                <a:gd name="connsiteX665" fmla="*/ 730451 w 1313607"/>
                <a:gd name="connsiteY665" fmla="*/ 2143587 h 2768823"/>
                <a:gd name="connsiteX666" fmla="*/ 731480 w 1313607"/>
                <a:gd name="connsiteY666" fmla="*/ 2143980 h 2768823"/>
                <a:gd name="connsiteX667" fmla="*/ 732417 w 1313607"/>
                <a:gd name="connsiteY667" fmla="*/ 2143919 h 2768823"/>
                <a:gd name="connsiteX668" fmla="*/ 732902 w 1313607"/>
                <a:gd name="connsiteY668" fmla="*/ 2143284 h 2768823"/>
                <a:gd name="connsiteX669" fmla="*/ 733416 w 1313607"/>
                <a:gd name="connsiteY669" fmla="*/ 2143284 h 2768823"/>
                <a:gd name="connsiteX670" fmla="*/ 734354 w 1313607"/>
                <a:gd name="connsiteY670" fmla="*/ 2143647 h 2768823"/>
                <a:gd name="connsiteX671" fmla="*/ 735201 w 1313607"/>
                <a:gd name="connsiteY671" fmla="*/ 2143102 h 2768823"/>
                <a:gd name="connsiteX672" fmla="*/ 735836 w 1313607"/>
                <a:gd name="connsiteY672" fmla="*/ 2142134 h 2768823"/>
                <a:gd name="connsiteX673" fmla="*/ 736290 w 1313607"/>
                <a:gd name="connsiteY673" fmla="*/ 2141318 h 2768823"/>
                <a:gd name="connsiteX674" fmla="*/ 736562 w 1313607"/>
                <a:gd name="connsiteY674" fmla="*/ 2140591 h 2768823"/>
                <a:gd name="connsiteX675" fmla="*/ 736774 w 1313607"/>
                <a:gd name="connsiteY675" fmla="*/ 2139502 h 2768823"/>
                <a:gd name="connsiteX676" fmla="*/ 736774 w 1313607"/>
                <a:gd name="connsiteY676" fmla="*/ 2138353 h 2768823"/>
                <a:gd name="connsiteX677" fmla="*/ 737107 w 1313607"/>
                <a:gd name="connsiteY677" fmla="*/ 2137476 h 2768823"/>
                <a:gd name="connsiteX678" fmla="*/ 737409 w 1313607"/>
                <a:gd name="connsiteY678" fmla="*/ 2136296 h 2768823"/>
                <a:gd name="connsiteX679" fmla="*/ 739436 w 1313607"/>
                <a:gd name="connsiteY679" fmla="*/ 2134965 h 2768823"/>
                <a:gd name="connsiteX680" fmla="*/ 742219 w 1313607"/>
                <a:gd name="connsiteY680" fmla="*/ 2130366 h 2768823"/>
                <a:gd name="connsiteX681" fmla="*/ 742582 w 1313607"/>
                <a:gd name="connsiteY681" fmla="*/ 2129943 h 2768823"/>
                <a:gd name="connsiteX682" fmla="*/ 742854 w 1313607"/>
                <a:gd name="connsiteY682" fmla="*/ 2129157 h 2768823"/>
                <a:gd name="connsiteX683" fmla="*/ 742703 w 1313607"/>
                <a:gd name="connsiteY683" fmla="*/ 2128158 h 2768823"/>
                <a:gd name="connsiteX684" fmla="*/ 742401 w 1313607"/>
                <a:gd name="connsiteY684" fmla="*/ 2127705 h 2768823"/>
                <a:gd name="connsiteX685" fmla="*/ 742401 w 1313607"/>
                <a:gd name="connsiteY685" fmla="*/ 2126252 h 2768823"/>
                <a:gd name="connsiteX686" fmla="*/ 741795 w 1313607"/>
                <a:gd name="connsiteY686" fmla="*/ 2124256 h 2768823"/>
                <a:gd name="connsiteX687" fmla="*/ 740464 w 1313607"/>
                <a:gd name="connsiteY687" fmla="*/ 2124135 h 2768823"/>
                <a:gd name="connsiteX688" fmla="*/ 738922 w 1313607"/>
                <a:gd name="connsiteY688" fmla="*/ 2125072 h 2768823"/>
                <a:gd name="connsiteX689" fmla="*/ 737197 w 1313607"/>
                <a:gd name="connsiteY689" fmla="*/ 2126494 h 2768823"/>
                <a:gd name="connsiteX690" fmla="*/ 735352 w 1313607"/>
                <a:gd name="connsiteY690" fmla="*/ 2128521 h 2768823"/>
                <a:gd name="connsiteX691" fmla="*/ 731268 w 1313607"/>
                <a:gd name="connsiteY691" fmla="*/ 2131153 h 2768823"/>
                <a:gd name="connsiteX692" fmla="*/ 730965 w 1313607"/>
                <a:gd name="connsiteY692" fmla="*/ 2132000 h 2768823"/>
                <a:gd name="connsiteX693" fmla="*/ 731691 w 1313607"/>
                <a:gd name="connsiteY693" fmla="*/ 2132545 h 2768823"/>
                <a:gd name="connsiteX694" fmla="*/ 731450 w 1313607"/>
                <a:gd name="connsiteY694" fmla="*/ 2133755 h 2768823"/>
                <a:gd name="connsiteX695" fmla="*/ 730421 w 1313607"/>
                <a:gd name="connsiteY695" fmla="*/ 2134814 h 2768823"/>
                <a:gd name="connsiteX696" fmla="*/ 729513 w 1313607"/>
                <a:gd name="connsiteY696" fmla="*/ 2135177 h 2768823"/>
                <a:gd name="connsiteX697" fmla="*/ 728908 w 1313607"/>
                <a:gd name="connsiteY697" fmla="*/ 2134995 h 2768823"/>
                <a:gd name="connsiteX698" fmla="*/ 728787 w 1313607"/>
                <a:gd name="connsiteY698" fmla="*/ 2135691 h 2768823"/>
                <a:gd name="connsiteX699" fmla="*/ 729604 w 1313607"/>
                <a:gd name="connsiteY699" fmla="*/ 2137052 h 2768823"/>
                <a:gd name="connsiteX700" fmla="*/ 729967 w 1313607"/>
                <a:gd name="connsiteY700" fmla="*/ 2138171 h 2768823"/>
                <a:gd name="connsiteX701" fmla="*/ 729120 w 1313607"/>
                <a:gd name="connsiteY701" fmla="*/ 2138625 h 2768823"/>
                <a:gd name="connsiteX702" fmla="*/ 728364 w 1313607"/>
                <a:gd name="connsiteY702" fmla="*/ 2138565 h 2768823"/>
                <a:gd name="connsiteX703" fmla="*/ 764424 w 1313607"/>
                <a:gd name="connsiteY703" fmla="*/ 2107103 h 2768823"/>
                <a:gd name="connsiteX704" fmla="*/ 763092 w 1313607"/>
                <a:gd name="connsiteY704" fmla="*/ 2107587 h 2768823"/>
                <a:gd name="connsiteX705" fmla="*/ 761731 w 1313607"/>
                <a:gd name="connsiteY705" fmla="*/ 2109312 h 2768823"/>
                <a:gd name="connsiteX706" fmla="*/ 760551 w 1313607"/>
                <a:gd name="connsiteY706" fmla="*/ 2111369 h 2768823"/>
                <a:gd name="connsiteX707" fmla="*/ 759946 w 1313607"/>
                <a:gd name="connsiteY707" fmla="*/ 2113365 h 2768823"/>
                <a:gd name="connsiteX708" fmla="*/ 760824 w 1313607"/>
                <a:gd name="connsiteY708" fmla="*/ 2113849 h 2768823"/>
                <a:gd name="connsiteX709" fmla="*/ 767812 w 1313607"/>
                <a:gd name="connsiteY709" fmla="*/ 2109614 h 2768823"/>
                <a:gd name="connsiteX710" fmla="*/ 769022 w 1313607"/>
                <a:gd name="connsiteY710" fmla="*/ 2108283 h 2768823"/>
                <a:gd name="connsiteX711" fmla="*/ 768386 w 1313607"/>
                <a:gd name="connsiteY711" fmla="*/ 2108011 h 2768823"/>
                <a:gd name="connsiteX712" fmla="*/ 765573 w 1313607"/>
                <a:gd name="connsiteY712" fmla="*/ 2107618 h 2768823"/>
                <a:gd name="connsiteX713" fmla="*/ 764424 w 1313607"/>
                <a:gd name="connsiteY713" fmla="*/ 2107133 h 2768823"/>
                <a:gd name="connsiteX714" fmla="*/ 766481 w 1313607"/>
                <a:gd name="connsiteY714" fmla="*/ 2096061 h 2768823"/>
                <a:gd name="connsiteX715" fmla="*/ 766299 w 1313607"/>
                <a:gd name="connsiteY715" fmla="*/ 2097907 h 2768823"/>
                <a:gd name="connsiteX716" fmla="*/ 767176 w 1313607"/>
                <a:gd name="connsiteY716" fmla="*/ 2098602 h 2768823"/>
                <a:gd name="connsiteX717" fmla="*/ 767751 w 1313607"/>
                <a:gd name="connsiteY717" fmla="*/ 2098512 h 2768823"/>
                <a:gd name="connsiteX718" fmla="*/ 768326 w 1313607"/>
                <a:gd name="connsiteY718" fmla="*/ 2098512 h 2768823"/>
                <a:gd name="connsiteX719" fmla="*/ 769415 w 1313607"/>
                <a:gd name="connsiteY719" fmla="*/ 2099026 h 2768823"/>
                <a:gd name="connsiteX720" fmla="*/ 770444 w 1313607"/>
                <a:gd name="connsiteY720" fmla="*/ 2099843 h 2768823"/>
                <a:gd name="connsiteX721" fmla="*/ 771109 w 1313607"/>
                <a:gd name="connsiteY721" fmla="*/ 2099964 h 2768823"/>
                <a:gd name="connsiteX722" fmla="*/ 771563 w 1313607"/>
                <a:gd name="connsiteY722" fmla="*/ 2099722 h 2768823"/>
                <a:gd name="connsiteX723" fmla="*/ 771835 w 1313607"/>
                <a:gd name="connsiteY723" fmla="*/ 2099389 h 2768823"/>
                <a:gd name="connsiteX724" fmla="*/ 771835 w 1313607"/>
                <a:gd name="connsiteY724" fmla="*/ 2098875 h 2768823"/>
                <a:gd name="connsiteX725" fmla="*/ 771926 w 1313607"/>
                <a:gd name="connsiteY725" fmla="*/ 2098330 h 2768823"/>
                <a:gd name="connsiteX726" fmla="*/ 773196 w 1313607"/>
                <a:gd name="connsiteY726" fmla="*/ 2095971 h 2768823"/>
                <a:gd name="connsiteX727" fmla="*/ 773953 w 1313607"/>
                <a:gd name="connsiteY727" fmla="*/ 2095063 h 2768823"/>
                <a:gd name="connsiteX728" fmla="*/ 774860 w 1313607"/>
                <a:gd name="connsiteY728" fmla="*/ 2094186 h 2768823"/>
                <a:gd name="connsiteX729" fmla="*/ 775163 w 1313607"/>
                <a:gd name="connsiteY729" fmla="*/ 2093097 h 2768823"/>
                <a:gd name="connsiteX730" fmla="*/ 774406 w 1313607"/>
                <a:gd name="connsiteY730" fmla="*/ 2092250 h 2768823"/>
                <a:gd name="connsiteX731" fmla="*/ 773771 w 1313607"/>
                <a:gd name="connsiteY731" fmla="*/ 2092068 h 2768823"/>
                <a:gd name="connsiteX732" fmla="*/ 773076 w 1313607"/>
                <a:gd name="connsiteY732" fmla="*/ 2091766 h 2768823"/>
                <a:gd name="connsiteX733" fmla="*/ 771624 w 1313607"/>
                <a:gd name="connsiteY733" fmla="*/ 2091554 h 2768823"/>
                <a:gd name="connsiteX734" fmla="*/ 769808 w 1313607"/>
                <a:gd name="connsiteY734" fmla="*/ 2092129 h 2768823"/>
                <a:gd name="connsiteX735" fmla="*/ 767872 w 1313607"/>
                <a:gd name="connsiteY735" fmla="*/ 2093823 h 2768823"/>
                <a:gd name="connsiteX736" fmla="*/ 766481 w 1313607"/>
                <a:gd name="connsiteY736" fmla="*/ 2096092 h 2768823"/>
                <a:gd name="connsiteX737" fmla="*/ 749994 w 1313607"/>
                <a:gd name="connsiteY737" fmla="*/ 2098814 h 2768823"/>
                <a:gd name="connsiteX738" fmla="*/ 755197 w 1313607"/>
                <a:gd name="connsiteY738" fmla="*/ 2098633 h 2768823"/>
                <a:gd name="connsiteX739" fmla="*/ 746243 w 1313607"/>
                <a:gd name="connsiteY739" fmla="*/ 2093157 h 2768823"/>
                <a:gd name="connsiteX740" fmla="*/ 740041 w 1313607"/>
                <a:gd name="connsiteY740" fmla="*/ 2091403 h 2768823"/>
                <a:gd name="connsiteX741" fmla="*/ 728273 w 1313607"/>
                <a:gd name="connsiteY741" fmla="*/ 2091221 h 2768823"/>
                <a:gd name="connsiteX742" fmla="*/ 733506 w 1313607"/>
                <a:gd name="connsiteY742" fmla="*/ 2093611 h 2768823"/>
                <a:gd name="connsiteX743" fmla="*/ 735140 w 1313607"/>
                <a:gd name="connsiteY743" fmla="*/ 2094942 h 2768823"/>
                <a:gd name="connsiteX744" fmla="*/ 735655 w 1313607"/>
                <a:gd name="connsiteY744" fmla="*/ 2095850 h 2768823"/>
                <a:gd name="connsiteX745" fmla="*/ 736562 w 1313607"/>
                <a:gd name="connsiteY745" fmla="*/ 2098179 h 2768823"/>
                <a:gd name="connsiteX746" fmla="*/ 736895 w 1313607"/>
                <a:gd name="connsiteY746" fmla="*/ 2098663 h 2768823"/>
                <a:gd name="connsiteX747" fmla="*/ 740706 w 1313607"/>
                <a:gd name="connsiteY747" fmla="*/ 2099782 h 2768823"/>
                <a:gd name="connsiteX748" fmla="*/ 745940 w 1313607"/>
                <a:gd name="connsiteY748" fmla="*/ 2104018 h 2768823"/>
                <a:gd name="connsiteX749" fmla="*/ 749086 w 1313607"/>
                <a:gd name="connsiteY749" fmla="*/ 2104532 h 2768823"/>
                <a:gd name="connsiteX750" fmla="*/ 751748 w 1313607"/>
                <a:gd name="connsiteY750" fmla="*/ 2101144 h 2768823"/>
                <a:gd name="connsiteX751" fmla="*/ 747150 w 1313607"/>
                <a:gd name="connsiteY751" fmla="*/ 2101628 h 2768823"/>
                <a:gd name="connsiteX752" fmla="*/ 745607 w 1313607"/>
                <a:gd name="connsiteY752" fmla="*/ 2100327 h 2768823"/>
                <a:gd name="connsiteX753" fmla="*/ 745486 w 1313607"/>
                <a:gd name="connsiteY753" fmla="*/ 2096303 h 2768823"/>
                <a:gd name="connsiteX754" fmla="*/ 747785 w 1313607"/>
                <a:gd name="connsiteY754" fmla="*/ 2098361 h 2768823"/>
                <a:gd name="connsiteX755" fmla="*/ 749963 w 1313607"/>
                <a:gd name="connsiteY755" fmla="*/ 2098814 h 2768823"/>
                <a:gd name="connsiteX756" fmla="*/ 759281 w 1313607"/>
                <a:gd name="connsiteY756" fmla="*/ 2081147 h 2768823"/>
                <a:gd name="connsiteX757" fmla="*/ 760339 w 1313607"/>
                <a:gd name="connsiteY757" fmla="*/ 2082599 h 2768823"/>
                <a:gd name="connsiteX758" fmla="*/ 761580 w 1313607"/>
                <a:gd name="connsiteY758" fmla="*/ 2083810 h 2768823"/>
                <a:gd name="connsiteX759" fmla="*/ 762185 w 1313607"/>
                <a:gd name="connsiteY759" fmla="*/ 2085443 h 2768823"/>
                <a:gd name="connsiteX760" fmla="*/ 762336 w 1313607"/>
                <a:gd name="connsiteY760" fmla="*/ 2087047 h 2768823"/>
                <a:gd name="connsiteX761" fmla="*/ 762548 w 1313607"/>
                <a:gd name="connsiteY761" fmla="*/ 2088136 h 2768823"/>
                <a:gd name="connsiteX762" fmla="*/ 762276 w 1313607"/>
                <a:gd name="connsiteY762" fmla="*/ 2088680 h 2768823"/>
                <a:gd name="connsiteX763" fmla="*/ 761640 w 1313607"/>
                <a:gd name="connsiteY763" fmla="*/ 2089104 h 2768823"/>
                <a:gd name="connsiteX764" fmla="*/ 761277 w 1313607"/>
                <a:gd name="connsiteY764" fmla="*/ 2090374 h 2768823"/>
                <a:gd name="connsiteX765" fmla="*/ 761731 w 1313607"/>
                <a:gd name="connsiteY765" fmla="*/ 2091161 h 2768823"/>
                <a:gd name="connsiteX766" fmla="*/ 762276 w 1313607"/>
                <a:gd name="connsiteY766" fmla="*/ 2091040 h 2768823"/>
                <a:gd name="connsiteX767" fmla="*/ 766662 w 1313607"/>
                <a:gd name="connsiteY767" fmla="*/ 2088922 h 2768823"/>
                <a:gd name="connsiteX768" fmla="*/ 768175 w 1313607"/>
                <a:gd name="connsiteY768" fmla="*/ 2087470 h 2768823"/>
                <a:gd name="connsiteX769" fmla="*/ 768749 w 1313607"/>
                <a:gd name="connsiteY769" fmla="*/ 2085322 h 2768823"/>
                <a:gd name="connsiteX770" fmla="*/ 768447 w 1313607"/>
                <a:gd name="connsiteY770" fmla="*/ 2082962 h 2768823"/>
                <a:gd name="connsiteX771" fmla="*/ 768205 w 1313607"/>
                <a:gd name="connsiteY771" fmla="*/ 2081904 h 2768823"/>
                <a:gd name="connsiteX772" fmla="*/ 767842 w 1313607"/>
                <a:gd name="connsiteY772" fmla="*/ 2081753 h 2768823"/>
                <a:gd name="connsiteX773" fmla="*/ 767146 w 1313607"/>
                <a:gd name="connsiteY773" fmla="*/ 2081329 h 2768823"/>
                <a:gd name="connsiteX774" fmla="*/ 765513 w 1313607"/>
                <a:gd name="connsiteY774" fmla="*/ 2078969 h 2768823"/>
                <a:gd name="connsiteX775" fmla="*/ 764605 w 1313607"/>
                <a:gd name="connsiteY775" fmla="*/ 2078183 h 2768823"/>
                <a:gd name="connsiteX776" fmla="*/ 763788 w 1313607"/>
                <a:gd name="connsiteY776" fmla="*/ 2077759 h 2768823"/>
                <a:gd name="connsiteX777" fmla="*/ 763092 w 1313607"/>
                <a:gd name="connsiteY777" fmla="*/ 2077759 h 2768823"/>
                <a:gd name="connsiteX778" fmla="*/ 762790 w 1313607"/>
                <a:gd name="connsiteY778" fmla="*/ 2078183 h 2768823"/>
                <a:gd name="connsiteX779" fmla="*/ 758706 w 1313607"/>
                <a:gd name="connsiteY779" fmla="*/ 2078092 h 2768823"/>
                <a:gd name="connsiteX780" fmla="*/ 757768 w 1313607"/>
                <a:gd name="connsiteY780" fmla="*/ 2078788 h 2768823"/>
                <a:gd name="connsiteX781" fmla="*/ 758827 w 1313607"/>
                <a:gd name="connsiteY781" fmla="*/ 2080331 h 2768823"/>
                <a:gd name="connsiteX782" fmla="*/ 759311 w 1313607"/>
                <a:gd name="connsiteY782" fmla="*/ 2081178 h 2768823"/>
                <a:gd name="connsiteX783" fmla="*/ 716959 w 1313607"/>
                <a:gd name="connsiteY783" fmla="*/ 2079393 h 2768823"/>
                <a:gd name="connsiteX784" fmla="*/ 718623 w 1313607"/>
                <a:gd name="connsiteY784" fmla="*/ 2079000 h 2768823"/>
                <a:gd name="connsiteX785" fmla="*/ 717443 w 1313607"/>
                <a:gd name="connsiteY785" fmla="*/ 2077880 h 2768823"/>
                <a:gd name="connsiteX786" fmla="*/ 705887 w 1313607"/>
                <a:gd name="connsiteY786" fmla="*/ 2074916 h 2768823"/>
                <a:gd name="connsiteX787" fmla="*/ 704284 w 1313607"/>
                <a:gd name="connsiteY787" fmla="*/ 2075672 h 2768823"/>
                <a:gd name="connsiteX788" fmla="*/ 704163 w 1313607"/>
                <a:gd name="connsiteY788" fmla="*/ 2077003 h 2768823"/>
                <a:gd name="connsiteX789" fmla="*/ 704889 w 1313607"/>
                <a:gd name="connsiteY789" fmla="*/ 2078031 h 2768823"/>
                <a:gd name="connsiteX790" fmla="*/ 705343 w 1313607"/>
                <a:gd name="connsiteY790" fmla="*/ 2079423 h 2768823"/>
                <a:gd name="connsiteX791" fmla="*/ 705917 w 1313607"/>
                <a:gd name="connsiteY791" fmla="*/ 2080784 h 2768823"/>
                <a:gd name="connsiteX792" fmla="*/ 707642 w 1313607"/>
                <a:gd name="connsiteY792" fmla="*/ 2082267 h 2768823"/>
                <a:gd name="connsiteX793" fmla="*/ 710213 w 1313607"/>
                <a:gd name="connsiteY793" fmla="*/ 2083719 h 2768823"/>
                <a:gd name="connsiteX794" fmla="*/ 712663 w 1313607"/>
                <a:gd name="connsiteY794" fmla="*/ 2084142 h 2768823"/>
                <a:gd name="connsiteX795" fmla="*/ 714872 w 1313607"/>
                <a:gd name="connsiteY795" fmla="*/ 2083568 h 2768823"/>
                <a:gd name="connsiteX796" fmla="*/ 715900 w 1313607"/>
                <a:gd name="connsiteY796" fmla="*/ 2081692 h 2768823"/>
                <a:gd name="connsiteX797" fmla="*/ 714630 w 1313607"/>
                <a:gd name="connsiteY797" fmla="*/ 2079786 h 2768823"/>
                <a:gd name="connsiteX798" fmla="*/ 714055 w 1313607"/>
                <a:gd name="connsiteY798" fmla="*/ 2079151 h 2768823"/>
                <a:gd name="connsiteX799" fmla="*/ 716051 w 1313607"/>
                <a:gd name="connsiteY799" fmla="*/ 2079151 h 2768823"/>
                <a:gd name="connsiteX800" fmla="*/ 716959 w 1313607"/>
                <a:gd name="connsiteY800" fmla="*/ 2079393 h 2768823"/>
                <a:gd name="connsiteX801" fmla="*/ 778733 w 1313607"/>
                <a:gd name="connsiteY801" fmla="*/ 2073706 h 2768823"/>
                <a:gd name="connsiteX802" fmla="*/ 778853 w 1313607"/>
                <a:gd name="connsiteY802" fmla="*/ 2074885 h 2768823"/>
                <a:gd name="connsiteX803" fmla="*/ 779670 w 1313607"/>
                <a:gd name="connsiteY803" fmla="*/ 2075521 h 2768823"/>
                <a:gd name="connsiteX804" fmla="*/ 780638 w 1313607"/>
                <a:gd name="connsiteY804" fmla="*/ 2074825 h 2768823"/>
                <a:gd name="connsiteX805" fmla="*/ 781062 w 1313607"/>
                <a:gd name="connsiteY805" fmla="*/ 2074159 h 2768823"/>
                <a:gd name="connsiteX806" fmla="*/ 780608 w 1313607"/>
                <a:gd name="connsiteY806" fmla="*/ 2073010 h 2768823"/>
                <a:gd name="connsiteX807" fmla="*/ 779519 w 1313607"/>
                <a:gd name="connsiteY807" fmla="*/ 2072526 h 2768823"/>
                <a:gd name="connsiteX808" fmla="*/ 778763 w 1313607"/>
                <a:gd name="connsiteY808" fmla="*/ 2073736 h 2768823"/>
                <a:gd name="connsiteX809" fmla="*/ 784480 w 1313607"/>
                <a:gd name="connsiteY809" fmla="*/ 2074583 h 2768823"/>
                <a:gd name="connsiteX810" fmla="*/ 784964 w 1313607"/>
                <a:gd name="connsiteY810" fmla="*/ 2075067 h 2768823"/>
                <a:gd name="connsiteX811" fmla="*/ 786235 w 1313607"/>
                <a:gd name="connsiteY811" fmla="*/ 2076700 h 2768823"/>
                <a:gd name="connsiteX812" fmla="*/ 787898 w 1313607"/>
                <a:gd name="connsiteY812" fmla="*/ 2077820 h 2768823"/>
                <a:gd name="connsiteX813" fmla="*/ 788988 w 1313607"/>
                <a:gd name="connsiteY813" fmla="*/ 2076822 h 2768823"/>
                <a:gd name="connsiteX814" fmla="*/ 788806 w 1313607"/>
                <a:gd name="connsiteY814" fmla="*/ 2075006 h 2768823"/>
                <a:gd name="connsiteX815" fmla="*/ 788413 w 1313607"/>
                <a:gd name="connsiteY815" fmla="*/ 2074129 h 2768823"/>
                <a:gd name="connsiteX816" fmla="*/ 787747 w 1313607"/>
                <a:gd name="connsiteY816" fmla="*/ 2073191 h 2768823"/>
                <a:gd name="connsiteX817" fmla="*/ 786295 w 1313607"/>
                <a:gd name="connsiteY817" fmla="*/ 2071921 h 2768823"/>
                <a:gd name="connsiteX818" fmla="*/ 784964 w 1313607"/>
                <a:gd name="connsiteY818" fmla="*/ 2071860 h 2768823"/>
                <a:gd name="connsiteX819" fmla="*/ 784087 w 1313607"/>
                <a:gd name="connsiteY819" fmla="*/ 2072889 h 2768823"/>
                <a:gd name="connsiteX820" fmla="*/ 784147 w 1313607"/>
                <a:gd name="connsiteY820" fmla="*/ 2074159 h 2768823"/>
                <a:gd name="connsiteX821" fmla="*/ 784541 w 1313607"/>
                <a:gd name="connsiteY821" fmla="*/ 2074643 h 2768823"/>
                <a:gd name="connsiteX822" fmla="*/ 783482 w 1313607"/>
                <a:gd name="connsiteY822" fmla="*/ 2071648 h 2768823"/>
                <a:gd name="connsiteX823" fmla="*/ 784994 w 1313607"/>
                <a:gd name="connsiteY823" fmla="*/ 2069682 h 2768823"/>
                <a:gd name="connsiteX824" fmla="*/ 786689 w 1313607"/>
                <a:gd name="connsiteY824" fmla="*/ 2066748 h 2768823"/>
                <a:gd name="connsiteX825" fmla="*/ 786537 w 1313607"/>
                <a:gd name="connsiteY825" fmla="*/ 2065417 h 2768823"/>
                <a:gd name="connsiteX826" fmla="*/ 785751 w 1313607"/>
                <a:gd name="connsiteY826" fmla="*/ 2064539 h 2768823"/>
                <a:gd name="connsiteX827" fmla="*/ 785297 w 1313607"/>
                <a:gd name="connsiteY827" fmla="*/ 2064358 h 2768823"/>
                <a:gd name="connsiteX828" fmla="*/ 783966 w 1313607"/>
                <a:gd name="connsiteY828" fmla="*/ 2064630 h 2768823"/>
                <a:gd name="connsiteX829" fmla="*/ 781455 w 1313607"/>
                <a:gd name="connsiteY829" fmla="*/ 2065719 h 2768823"/>
                <a:gd name="connsiteX830" fmla="*/ 780154 w 1313607"/>
                <a:gd name="connsiteY830" fmla="*/ 2068502 h 2768823"/>
                <a:gd name="connsiteX831" fmla="*/ 781334 w 1313607"/>
                <a:gd name="connsiteY831" fmla="*/ 2071376 h 2768823"/>
                <a:gd name="connsiteX832" fmla="*/ 783512 w 1313607"/>
                <a:gd name="connsiteY832" fmla="*/ 2071648 h 2768823"/>
                <a:gd name="connsiteX833" fmla="*/ 756256 w 1313607"/>
                <a:gd name="connsiteY833" fmla="*/ 2056916 h 2768823"/>
                <a:gd name="connsiteX834" fmla="*/ 757224 w 1313607"/>
                <a:gd name="connsiteY834" fmla="*/ 2056674 h 2768823"/>
                <a:gd name="connsiteX835" fmla="*/ 757708 w 1313607"/>
                <a:gd name="connsiteY835" fmla="*/ 2054920 h 2768823"/>
                <a:gd name="connsiteX836" fmla="*/ 758585 w 1313607"/>
                <a:gd name="connsiteY836" fmla="*/ 2053951 h 2768823"/>
                <a:gd name="connsiteX837" fmla="*/ 759613 w 1313607"/>
                <a:gd name="connsiteY837" fmla="*/ 2053528 h 2768823"/>
                <a:gd name="connsiteX838" fmla="*/ 762125 w 1313607"/>
                <a:gd name="connsiteY838" fmla="*/ 2050866 h 2768823"/>
                <a:gd name="connsiteX839" fmla="*/ 767782 w 1313607"/>
                <a:gd name="connsiteY839" fmla="*/ 2048355 h 2768823"/>
                <a:gd name="connsiteX840" fmla="*/ 767933 w 1313607"/>
                <a:gd name="connsiteY840" fmla="*/ 2047387 h 2768823"/>
                <a:gd name="connsiteX841" fmla="*/ 763304 w 1313607"/>
                <a:gd name="connsiteY841" fmla="*/ 2048657 h 2768823"/>
                <a:gd name="connsiteX842" fmla="*/ 762881 w 1313607"/>
                <a:gd name="connsiteY842" fmla="*/ 2048657 h 2768823"/>
                <a:gd name="connsiteX843" fmla="*/ 762427 w 1313607"/>
                <a:gd name="connsiteY843" fmla="*/ 2048385 h 2768823"/>
                <a:gd name="connsiteX844" fmla="*/ 762427 w 1313607"/>
                <a:gd name="connsiteY844" fmla="*/ 2047538 h 2768823"/>
                <a:gd name="connsiteX845" fmla="*/ 761428 w 1313607"/>
                <a:gd name="connsiteY845" fmla="*/ 2046449 h 2768823"/>
                <a:gd name="connsiteX846" fmla="*/ 759402 w 1313607"/>
                <a:gd name="connsiteY846" fmla="*/ 2045632 h 2768823"/>
                <a:gd name="connsiteX847" fmla="*/ 757194 w 1313607"/>
                <a:gd name="connsiteY847" fmla="*/ 2045632 h 2768823"/>
                <a:gd name="connsiteX848" fmla="*/ 754894 w 1313607"/>
                <a:gd name="connsiteY848" fmla="*/ 2046449 h 2768823"/>
                <a:gd name="connsiteX849" fmla="*/ 753170 w 1313607"/>
                <a:gd name="connsiteY849" fmla="*/ 2047689 h 2768823"/>
                <a:gd name="connsiteX850" fmla="*/ 751960 w 1313607"/>
                <a:gd name="connsiteY850" fmla="*/ 2049262 h 2768823"/>
                <a:gd name="connsiteX851" fmla="*/ 749903 w 1313607"/>
                <a:gd name="connsiteY851" fmla="*/ 2051501 h 2768823"/>
                <a:gd name="connsiteX852" fmla="*/ 749025 w 1313607"/>
                <a:gd name="connsiteY852" fmla="*/ 2052923 h 2768823"/>
                <a:gd name="connsiteX853" fmla="*/ 748451 w 1313607"/>
                <a:gd name="connsiteY853" fmla="*/ 2054314 h 2768823"/>
                <a:gd name="connsiteX854" fmla="*/ 748723 w 1313607"/>
                <a:gd name="connsiteY854" fmla="*/ 2054950 h 2768823"/>
                <a:gd name="connsiteX855" fmla="*/ 749449 w 1313607"/>
                <a:gd name="connsiteY855" fmla="*/ 2054859 h 2768823"/>
                <a:gd name="connsiteX856" fmla="*/ 749933 w 1313607"/>
                <a:gd name="connsiteY856" fmla="*/ 2055101 h 2768823"/>
                <a:gd name="connsiteX857" fmla="*/ 750266 w 1313607"/>
                <a:gd name="connsiteY857" fmla="*/ 2055555 h 2768823"/>
                <a:gd name="connsiteX858" fmla="*/ 750871 w 1313607"/>
                <a:gd name="connsiteY858" fmla="*/ 2055615 h 2768823"/>
                <a:gd name="connsiteX859" fmla="*/ 751567 w 1313607"/>
                <a:gd name="connsiteY859" fmla="*/ 2055434 h 2768823"/>
                <a:gd name="connsiteX860" fmla="*/ 751688 w 1313607"/>
                <a:gd name="connsiteY860" fmla="*/ 2055676 h 2768823"/>
                <a:gd name="connsiteX861" fmla="*/ 751083 w 1313607"/>
                <a:gd name="connsiteY861" fmla="*/ 2055978 h 2768823"/>
                <a:gd name="connsiteX862" fmla="*/ 750417 w 1313607"/>
                <a:gd name="connsiteY862" fmla="*/ 2056039 h 2768823"/>
                <a:gd name="connsiteX863" fmla="*/ 749873 w 1313607"/>
                <a:gd name="connsiteY863" fmla="*/ 2056311 h 2768823"/>
                <a:gd name="connsiteX864" fmla="*/ 749510 w 1313607"/>
                <a:gd name="connsiteY864" fmla="*/ 2057037 h 2768823"/>
                <a:gd name="connsiteX865" fmla="*/ 749721 w 1313607"/>
                <a:gd name="connsiteY865" fmla="*/ 2057884 h 2768823"/>
                <a:gd name="connsiteX866" fmla="*/ 749661 w 1313607"/>
                <a:gd name="connsiteY866" fmla="*/ 2058035 h 2768823"/>
                <a:gd name="connsiteX867" fmla="*/ 748784 w 1313607"/>
                <a:gd name="connsiteY867" fmla="*/ 2056039 h 2768823"/>
                <a:gd name="connsiteX868" fmla="*/ 747695 w 1313607"/>
                <a:gd name="connsiteY868" fmla="*/ 2055555 h 2768823"/>
                <a:gd name="connsiteX869" fmla="*/ 746394 w 1313607"/>
                <a:gd name="connsiteY869" fmla="*/ 2055646 h 2768823"/>
                <a:gd name="connsiteX870" fmla="*/ 745335 w 1313607"/>
                <a:gd name="connsiteY870" fmla="*/ 2056402 h 2768823"/>
                <a:gd name="connsiteX871" fmla="*/ 744942 w 1313607"/>
                <a:gd name="connsiteY871" fmla="*/ 2057824 h 2768823"/>
                <a:gd name="connsiteX872" fmla="*/ 745365 w 1313607"/>
                <a:gd name="connsiteY872" fmla="*/ 2058671 h 2768823"/>
                <a:gd name="connsiteX873" fmla="*/ 745698 w 1313607"/>
                <a:gd name="connsiteY873" fmla="*/ 2059457 h 2768823"/>
                <a:gd name="connsiteX874" fmla="*/ 745819 w 1313607"/>
                <a:gd name="connsiteY874" fmla="*/ 2061272 h 2768823"/>
                <a:gd name="connsiteX875" fmla="*/ 746606 w 1313607"/>
                <a:gd name="connsiteY875" fmla="*/ 2062997 h 2768823"/>
                <a:gd name="connsiteX876" fmla="*/ 747543 w 1313607"/>
                <a:gd name="connsiteY876" fmla="*/ 2064479 h 2768823"/>
                <a:gd name="connsiteX877" fmla="*/ 748118 w 1313607"/>
                <a:gd name="connsiteY877" fmla="*/ 2066143 h 2768823"/>
                <a:gd name="connsiteX878" fmla="*/ 748481 w 1313607"/>
                <a:gd name="connsiteY878" fmla="*/ 2067716 h 2768823"/>
                <a:gd name="connsiteX879" fmla="*/ 748995 w 1313607"/>
                <a:gd name="connsiteY879" fmla="*/ 2068805 h 2768823"/>
                <a:gd name="connsiteX880" fmla="*/ 749570 w 1313607"/>
                <a:gd name="connsiteY880" fmla="*/ 2068865 h 2768823"/>
                <a:gd name="connsiteX881" fmla="*/ 750145 w 1313607"/>
                <a:gd name="connsiteY881" fmla="*/ 2067776 h 2768823"/>
                <a:gd name="connsiteX882" fmla="*/ 751234 w 1313607"/>
                <a:gd name="connsiteY882" fmla="*/ 2067141 h 2768823"/>
                <a:gd name="connsiteX883" fmla="*/ 752020 w 1313607"/>
                <a:gd name="connsiteY883" fmla="*/ 2067353 h 2768823"/>
                <a:gd name="connsiteX884" fmla="*/ 751778 w 1313607"/>
                <a:gd name="connsiteY884" fmla="*/ 2061303 h 2768823"/>
                <a:gd name="connsiteX885" fmla="*/ 752172 w 1313607"/>
                <a:gd name="connsiteY885" fmla="*/ 2062845 h 2768823"/>
                <a:gd name="connsiteX886" fmla="*/ 753049 w 1313607"/>
                <a:gd name="connsiteY886" fmla="*/ 2063390 h 2768823"/>
                <a:gd name="connsiteX887" fmla="*/ 754108 w 1313607"/>
                <a:gd name="connsiteY887" fmla="*/ 2062724 h 2768823"/>
                <a:gd name="connsiteX888" fmla="*/ 754471 w 1313607"/>
                <a:gd name="connsiteY888" fmla="*/ 2060788 h 2768823"/>
                <a:gd name="connsiteX889" fmla="*/ 753382 w 1313607"/>
                <a:gd name="connsiteY889" fmla="*/ 2057128 h 2768823"/>
                <a:gd name="connsiteX890" fmla="*/ 753926 w 1313607"/>
                <a:gd name="connsiteY890" fmla="*/ 2057249 h 2768823"/>
                <a:gd name="connsiteX891" fmla="*/ 754350 w 1313607"/>
                <a:gd name="connsiteY891" fmla="*/ 2056916 h 2768823"/>
                <a:gd name="connsiteX892" fmla="*/ 754259 w 1313607"/>
                <a:gd name="connsiteY892" fmla="*/ 2056009 h 2768823"/>
                <a:gd name="connsiteX893" fmla="*/ 754773 w 1313607"/>
                <a:gd name="connsiteY893" fmla="*/ 2055887 h 2768823"/>
                <a:gd name="connsiteX894" fmla="*/ 756286 w 1313607"/>
                <a:gd name="connsiteY894" fmla="*/ 2056855 h 2768823"/>
                <a:gd name="connsiteX895" fmla="*/ 790924 w 1313607"/>
                <a:gd name="connsiteY895" fmla="*/ 2032987 h 2768823"/>
                <a:gd name="connsiteX896" fmla="*/ 791650 w 1313607"/>
                <a:gd name="connsiteY896" fmla="*/ 2032291 h 2768823"/>
                <a:gd name="connsiteX897" fmla="*/ 792194 w 1313607"/>
                <a:gd name="connsiteY897" fmla="*/ 2032080 h 2768823"/>
                <a:gd name="connsiteX898" fmla="*/ 792588 w 1313607"/>
                <a:gd name="connsiteY898" fmla="*/ 2032080 h 2768823"/>
                <a:gd name="connsiteX899" fmla="*/ 792769 w 1313607"/>
                <a:gd name="connsiteY899" fmla="*/ 2031323 h 2768823"/>
                <a:gd name="connsiteX900" fmla="*/ 792315 w 1313607"/>
                <a:gd name="connsiteY900" fmla="*/ 2030537 h 2768823"/>
                <a:gd name="connsiteX901" fmla="*/ 791892 w 1313607"/>
                <a:gd name="connsiteY901" fmla="*/ 2030355 h 2768823"/>
                <a:gd name="connsiteX902" fmla="*/ 790591 w 1313607"/>
                <a:gd name="connsiteY902" fmla="*/ 2027844 h 2768823"/>
                <a:gd name="connsiteX903" fmla="*/ 789351 w 1313607"/>
                <a:gd name="connsiteY903" fmla="*/ 2026876 h 2768823"/>
                <a:gd name="connsiteX904" fmla="*/ 787869 w 1313607"/>
                <a:gd name="connsiteY904" fmla="*/ 2027602 h 2768823"/>
                <a:gd name="connsiteX905" fmla="*/ 780880 w 1313607"/>
                <a:gd name="connsiteY905" fmla="*/ 2035559 h 2768823"/>
                <a:gd name="connsiteX906" fmla="*/ 779882 w 1313607"/>
                <a:gd name="connsiteY906" fmla="*/ 2037374 h 2768823"/>
                <a:gd name="connsiteX907" fmla="*/ 780366 w 1313607"/>
                <a:gd name="connsiteY907" fmla="*/ 2039521 h 2768823"/>
                <a:gd name="connsiteX908" fmla="*/ 782604 w 1313607"/>
                <a:gd name="connsiteY908" fmla="*/ 2040520 h 2768823"/>
                <a:gd name="connsiteX909" fmla="*/ 783633 w 1313607"/>
                <a:gd name="connsiteY909" fmla="*/ 2040036 h 2768823"/>
                <a:gd name="connsiteX910" fmla="*/ 784601 w 1313607"/>
                <a:gd name="connsiteY910" fmla="*/ 2039673 h 2768823"/>
                <a:gd name="connsiteX911" fmla="*/ 785357 w 1313607"/>
                <a:gd name="connsiteY911" fmla="*/ 2038039 h 2768823"/>
                <a:gd name="connsiteX912" fmla="*/ 786840 w 1313607"/>
                <a:gd name="connsiteY912" fmla="*/ 2032503 h 2768823"/>
                <a:gd name="connsiteX913" fmla="*/ 787778 w 1313607"/>
                <a:gd name="connsiteY913" fmla="*/ 2033138 h 2768823"/>
                <a:gd name="connsiteX914" fmla="*/ 789623 w 1313607"/>
                <a:gd name="connsiteY914" fmla="*/ 2033350 h 2768823"/>
                <a:gd name="connsiteX915" fmla="*/ 790924 w 1313607"/>
                <a:gd name="connsiteY915" fmla="*/ 2033078 h 2768823"/>
                <a:gd name="connsiteX916" fmla="*/ 776524 w 1313607"/>
                <a:gd name="connsiteY916" fmla="*/ 2034833 h 2768823"/>
                <a:gd name="connsiteX917" fmla="*/ 775556 w 1313607"/>
                <a:gd name="connsiteY917" fmla="*/ 2036194 h 2768823"/>
                <a:gd name="connsiteX918" fmla="*/ 773620 w 1313607"/>
                <a:gd name="connsiteY918" fmla="*/ 2038493 h 2768823"/>
                <a:gd name="connsiteX919" fmla="*/ 771442 w 1313607"/>
                <a:gd name="connsiteY919" fmla="*/ 2040066 h 2768823"/>
                <a:gd name="connsiteX920" fmla="*/ 769657 w 1313607"/>
                <a:gd name="connsiteY920" fmla="*/ 2041004 h 2768823"/>
                <a:gd name="connsiteX921" fmla="*/ 769657 w 1313607"/>
                <a:gd name="connsiteY921" fmla="*/ 2041548 h 2768823"/>
                <a:gd name="connsiteX922" fmla="*/ 771049 w 1313607"/>
                <a:gd name="connsiteY922" fmla="*/ 2041669 h 2768823"/>
                <a:gd name="connsiteX923" fmla="*/ 772380 w 1313607"/>
                <a:gd name="connsiteY923" fmla="*/ 2041246 h 2768823"/>
                <a:gd name="connsiteX924" fmla="*/ 774921 w 1313607"/>
                <a:gd name="connsiteY924" fmla="*/ 2039884 h 2768823"/>
                <a:gd name="connsiteX925" fmla="*/ 775677 w 1313607"/>
                <a:gd name="connsiteY925" fmla="*/ 2039612 h 2768823"/>
                <a:gd name="connsiteX926" fmla="*/ 776433 w 1313607"/>
                <a:gd name="connsiteY926" fmla="*/ 2039491 h 2768823"/>
                <a:gd name="connsiteX927" fmla="*/ 776827 w 1313607"/>
                <a:gd name="connsiteY927" fmla="*/ 2039128 h 2768823"/>
                <a:gd name="connsiteX928" fmla="*/ 776827 w 1313607"/>
                <a:gd name="connsiteY928" fmla="*/ 2038584 h 2768823"/>
                <a:gd name="connsiteX929" fmla="*/ 777129 w 1313607"/>
                <a:gd name="connsiteY929" fmla="*/ 2038069 h 2768823"/>
                <a:gd name="connsiteX930" fmla="*/ 779489 w 1313607"/>
                <a:gd name="connsiteY930" fmla="*/ 2036345 h 2768823"/>
                <a:gd name="connsiteX931" fmla="*/ 779852 w 1313607"/>
                <a:gd name="connsiteY931" fmla="*/ 2035952 h 2768823"/>
                <a:gd name="connsiteX932" fmla="*/ 784631 w 1313607"/>
                <a:gd name="connsiteY932" fmla="*/ 2030416 h 2768823"/>
                <a:gd name="connsiteX933" fmla="*/ 786537 w 1313607"/>
                <a:gd name="connsiteY933" fmla="*/ 2027754 h 2768823"/>
                <a:gd name="connsiteX934" fmla="*/ 786537 w 1313607"/>
                <a:gd name="connsiteY934" fmla="*/ 2026150 h 2768823"/>
                <a:gd name="connsiteX935" fmla="*/ 780548 w 1313607"/>
                <a:gd name="connsiteY935" fmla="*/ 2030628 h 2768823"/>
                <a:gd name="connsiteX936" fmla="*/ 776554 w 1313607"/>
                <a:gd name="connsiteY936" fmla="*/ 2034863 h 2768823"/>
                <a:gd name="connsiteX937" fmla="*/ 793767 w 1313607"/>
                <a:gd name="connsiteY937" fmla="*/ 1995022 h 2768823"/>
                <a:gd name="connsiteX938" fmla="*/ 793677 w 1313607"/>
                <a:gd name="connsiteY938" fmla="*/ 1992601 h 2768823"/>
                <a:gd name="connsiteX939" fmla="*/ 792920 w 1313607"/>
                <a:gd name="connsiteY939" fmla="*/ 1990575 h 2768823"/>
                <a:gd name="connsiteX940" fmla="*/ 791952 w 1313607"/>
                <a:gd name="connsiteY940" fmla="*/ 1989213 h 2768823"/>
                <a:gd name="connsiteX941" fmla="*/ 790954 w 1313607"/>
                <a:gd name="connsiteY941" fmla="*/ 1988487 h 2768823"/>
                <a:gd name="connsiteX942" fmla="*/ 790016 w 1313607"/>
                <a:gd name="connsiteY942" fmla="*/ 1988124 h 2768823"/>
                <a:gd name="connsiteX943" fmla="*/ 789260 w 1313607"/>
                <a:gd name="connsiteY943" fmla="*/ 1988578 h 2768823"/>
                <a:gd name="connsiteX944" fmla="*/ 788262 w 1313607"/>
                <a:gd name="connsiteY944" fmla="*/ 1990998 h 2768823"/>
                <a:gd name="connsiteX945" fmla="*/ 783815 w 1313607"/>
                <a:gd name="connsiteY945" fmla="*/ 1998047 h 2768823"/>
                <a:gd name="connsiteX946" fmla="*/ 782604 w 1313607"/>
                <a:gd name="connsiteY946" fmla="*/ 2000951 h 2768823"/>
                <a:gd name="connsiteX947" fmla="*/ 783149 w 1313607"/>
                <a:gd name="connsiteY947" fmla="*/ 2002494 h 2768823"/>
                <a:gd name="connsiteX948" fmla="*/ 785781 w 1313607"/>
                <a:gd name="connsiteY948" fmla="*/ 2002100 h 2768823"/>
                <a:gd name="connsiteX949" fmla="*/ 786689 w 1313607"/>
                <a:gd name="connsiteY949" fmla="*/ 2002252 h 2768823"/>
                <a:gd name="connsiteX950" fmla="*/ 787294 w 1313607"/>
                <a:gd name="connsiteY950" fmla="*/ 2001647 h 2768823"/>
                <a:gd name="connsiteX951" fmla="*/ 787626 w 1313607"/>
                <a:gd name="connsiteY951" fmla="*/ 2001163 h 2768823"/>
                <a:gd name="connsiteX952" fmla="*/ 788383 w 1313607"/>
                <a:gd name="connsiteY952" fmla="*/ 2001647 h 2768823"/>
                <a:gd name="connsiteX953" fmla="*/ 789714 w 1313607"/>
                <a:gd name="connsiteY953" fmla="*/ 2002221 h 2768823"/>
                <a:gd name="connsiteX954" fmla="*/ 791287 w 1313607"/>
                <a:gd name="connsiteY954" fmla="*/ 2002312 h 2768823"/>
                <a:gd name="connsiteX955" fmla="*/ 792860 w 1313607"/>
                <a:gd name="connsiteY955" fmla="*/ 2001768 h 2768823"/>
                <a:gd name="connsiteX956" fmla="*/ 793858 w 1313607"/>
                <a:gd name="connsiteY956" fmla="*/ 2000830 h 2768823"/>
                <a:gd name="connsiteX957" fmla="*/ 794282 w 1313607"/>
                <a:gd name="connsiteY957" fmla="*/ 1999832 h 2768823"/>
                <a:gd name="connsiteX958" fmla="*/ 794282 w 1313607"/>
                <a:gd name="connsiteY958" fmla="*/ 1998773 h 2768823"/>
                <a:gd name="connsiteX959" fmla="*/ 793949 w 1313607"/>
                <a:gd name="connsiteY959" fmla="*/ 1998168 h 2768823"/>
                <a:gd name="connsiteX960" fmla="*/ 793707 w 1313607"/>
                <a:gd name="connsiteY960" fmla="*/ 1998047 h 2768823"/>
                <a:gd name="connsiteX961" fmla="*/ 793556 w 1313607"/>
                <a:gd name="connsiteY961" fmla="*/ 1998258 h 2768823"/>
                <a:gd name="connsiteX962" fmla="*/ 793283 w 1313607"/>
                <a:gd name="connsiteY962" fmla="*/ 1998440 h 2768823"/>
                <a:gd name="connsiteX963" fmla="*/ 793283 w 1313607"/>
                <a:gd name="connsiteY963" fmla="*/ 1997321 h 2768823"/>
                <a:gd name="connsiteX964" fmla="*/ 793707 w 1313607"/>
                <a:gd name="connsiteY964" fmla="*/ 1994961 h 2768823"/>
                <a:gd name="connsiteX965" fmla="*/ 766359 w 1313607"/>
                <a:gd name="connsiteY965" fmla="*/ 1926532 h 2768823"/>
                <a:gd name="connsiteX966" fmla="*/ 765785 w 1313607"/>
                <a:gd name="connsiteY966" fmla="*/ 1926986 h 2768823"/>
                <a:gd name="connsiteX967" fmla="*/ 765422 w 1313607"/>
                <a:gd name="connsiteY967" fmla="*/ 1928196 h 2768823"/>
                <a:gd name="connsiteX968" fmla="*/ 765270 w 1313607"/>
                <a:gd name="connsiteY968" fmla="*/ 1929164 h 2768823"/>
                <a:gd name="connsiteX969" fmla="*/ 765392 w 1313607"/>
                <a:gd name="connsiteY969" fmla="*/ 1930858 h 2768823"/>
                <a:gd name="connsiteX970" fmla="*/ 766027 w 1313607"/>
                <a:gd name="connsiteY970" fmla="*/ 1933127 h 2768823"/>
                <a:gd name="connsiteX971" fmla="*/ 766420 w 1313607"/>
                <a:gd name="connsiteY971" fmla="*/ 1934186 h 2768823"/>
                <a:gd name="connsiteX972" fmla="*/ 767630 w 1313607"/>
                <a:gd name="connsiteY972" fmla="*/ 1934670 h 2768823"/>
                <a:gd name="connsiteX973" fmla="*/ 770111 w 1313607"/>
                <a:gd name="connsiteY973" fmla="*/ 1935215 h 2768823"/>
                <a:gd name="connsiteX974" fmla="*/ 772228 w 1313607"/>
                <a:gd name="connsiteY974" fmla="*/ 1934579 h 2768823"/>
                <a:gd name="connsiteX975" fmla="*/ 774739 w 1313607"/>
                <a:gd name="connsiteY975" fmla="*/ 1933278 h 2768823"/>
                <a:gd name="connsiteX976" fmla="*/ 774649 w 1313607"/>
                <a:gd name="connsiteY976" fmla="*/ 1931887 h 2768823"/>
                <a:gd name="connsiteX977" fmla="*/ 774074 w 1313607"/>
                <a:gd name="connsiteY977" fmla="*/ 1930314 h 2768823"/>
                <a:gd name="connsiteX978" fmla="*/ 773590 w 1313607"/>
                <a:gd name="connsiteY978" fmla="*/ 1929981 h 2768823"/>
                <a:gd name="connsiteX979" fmla="*/ 773076 w 1313607"/>
                <a:gd name="connsiteY979" fmla="*/ 1930344 h 2768823"/>
                <a:gd name="connsiteX980" fmla="*/ 772470 w 1313607"/>
                <a:gd name="connsiteY980" fmla="*/ 1930556 h 2768823"/>
                <a:gd name="connsiteX981" fmla="*/ 772410 w 1313607"/>
                <a:gd name="connsiteY981" fmla="*/ 1930405 h 2768823"/>
                <a:gd name="connsiteX982" fmla="*/ 772833 w 1313607"/>
                <a:gd name="connsiteY982" fmla="*/ 1930011 h 2768823"/>
                <a:gd name="connsiteX983" fmla="*/ 772833 w 1313607"/>
                <a:gd name="connsiteY983" fmla="*/ 1928892 h 2768823"/>
                <a:gd name="connsiteX984" fmla="*/ 772259 w 1313607"/>
                <a:gd name="connsiteY984" fmla="*/ 1927803 h 2768823"/>
                <a:gd name="connsiteX985" fmla="*/ 771260 w 1313607"/>
                <a:gd name="connsiteY985" fmla="*/ 1927410 h 2768823"/>
                <a:gd name="connsiteX986" fmla="*/ 770564 w 1313607"/>
                <a:gd name="connsiteY986" fmla="*/ 1926653 h 2768823"/>
                <a:gd name="connsiteX987" fmla="*/ 770141 w 1313607"/>
                <a:gd name="connsiteY987" fmla="*/ 1925322 h 2768823"/>
                <a:gd name="connsiteX988" fmla="*/ 769294 w 1313607"/>
                <a:gd name="connsiteY988" fmla="*/ 1924203 h 2768823"/>
                <a:gd name="connsiteX989" fmla="*/ 767812 w 1313607"/>
                <a:gd name="connsiteY989" fmla="*/ 1923205 h 2768823"/>
                <a:gd name="connsiteX990" fmla="*/ 765815 w 1313607"/>
                <a:gd name="connsiteY990" fmla="*/ 1922842 h 2768823"/>
                <a:gd name="connsiteX991" fmla="*/ 765180 w 1313607"/>
                <a:gd name="connsiteY991" fmla="*/ 1923628 h 2768823"/>
                <a:gd name="connsiteX992" fmla="*/ 766844 w 1313607"/>
                <a:gd name="connsiteY992" fmla="*/ 1925806 h 2768823"/>
                <a:gd name="connsiteX993" fmla="*/ 766844 w 1313607"/>
                <a:gd name="connsiteY993" fmla="*/ 1926502 h 2768823"/>
                <a:gd name="connsiteX994" fmla="*/ 766359 w 1313607"/>
                <a:gd name="connsiteY994" fmla="*/ 1926502 h 2768823"/>
                <a:gd name="connsiteX995" fmla="*/ 732660 w 1313607"/>
                <a:gd name="connsiteY995" fmla="*/ 1890291 h 2768823"/>
                <a:gd name="connsiteX996" fmla="*/ 733960 w 1313607"/>
                <a:gd name="connsiteY996" fmla="*/ 1894254 h 2768823"/>
                <a:gd name="connsiteX997" fmla="*/ 739678 w 1313607"/>
                <a:gd name="connsiteY997" fmla="*/ 1897249 h 2768823"/>
                <a:gd name="connsiteX998" fmla="*/ 745244 w 1313607"/>
                <a:gd name="connsiteY998" fmla="*/ 1903390 h 2768823"/>
                <a:gd name="connsiteX999" fmla="*/ 749661 w 1313607"/>
                <a:gd name="connsiteY999" fmla="*/ 1905961 h 2768823"/>
                <a:gd name="connsiteX1000" fmla="*/ 750568 w 1313607"/>
                <a:gd name="connsiteY1000" fmla="*/ 1905901 h 2768823"/>
                <a:gd name="connsiteX1001" fmla="*/ 750931 w 1313607"/>
                <a:gd name="connsiteY1001" fmla="*/ 1904086 h 2768823"/>
                <a:gd name="connsiteX1002" fmla="*/ 750659 w 1313607"/>
                <a:gd name="connsiteY1002" fmla="*/ 1903329 h 2768823"/>
                <a:gd name="connsiteX1003" fmla="*/ 750024 w 1313607"/>
                <a:gd name="connsiteY1003" fmla="*/ 1902936 h 2768823"/>
                <a:gd name="connsiteX1004" fmla="*/ 749358 w 1313607"/>
                <a:gd name="connsiteY1004" fmla="*/ 1902664 h 2768823"/>
                <a:gd name="connsiteX1005" fmla="*/ 748905 w 1313607"/>
                <a:gd name="connsiteY1005" fmla="*/ 1902240 h 2768823"/>
                <a:gd name="connsiteX1006" fmla="*/ 747573 w 1313607"/>
                <a:gd name="connsiteY1006" fmla="*/ 1899004 h 2768823"/>
                <a:gd name="connsiteX1007" fmla="*/ 747150 w 1313607"/>
                <a:gd name="connsiteY1007" fmla="*/ 1897249 h 2768823"/>
                <a:gd name="connsiteX1008" fmla="*/ 746878 w 1313607"/>
                <a:gd name="connsiteY1008" fmla="*/ 1894587 h 2768823"/>
                <a:gd name="connsiteX1009" fmla="*/ 744669 w 1313607"/>
                <a:gd name="connsiteY1009" fmla="*/ 1896856 h 2768823"/>
                <a:gd name="connsiteX1010" fmla="*/ 743308 w 1313607"/>
                <a:gd name="connsiteY1010" fmla="*/ 1896765 h 2768823"/>
                <a:gd name="connsiteX1011" fmla="*/ 742340 w 1313607"/>
                <a:gd name="connsiteY1011" fmla="*/ 1894920 h 2768823"/>
                <a:gd name="connsiteX1012" fmla="*/ 741312 w 1313607"/>
                <a:gd name="connsiteY1012" fmla="*/ 1891925 h 2768823"/>
                <a:gd name="connsiteX1013" fmla="*/ 736804 w 1313607"/>
                <a:gd name="connsiteY1013" fmla="*/ 1883031 h 2768823"/>
                <a:gd name="connsiteX1014" fmla="*/ 735806 w 1313607"/>
                <a:gd name="connsiteY1014" fmla="*/ 1880429 h 2768823"/>
                <a:gd name="connsiteX1015" fmla="*/ 737288 w 1313607"/>
                <a:gd name="connsiteY1015" fmla="*/ 1880762 h 2768823"/>
                <a:gd name="connsiteX1016" fmla="*/ 739648 w 1313607"/>
                <a:gd name="connsiteY1016" fmla="*/ 1882638 h 2768823"/>
                <a:gd name="connsiteX1017" fmla="*/ 741312 w 1313607"/>
                <a:gd name="connsiteY1017" fmla="*/ 1882879 h 2768823"/>
                <a:gd name="connsiteX1018" fmla="*/ 740464 w 1313607"/>
                <a:gd name="connsiteY1018" fmla="*/ 1880641 h 2768823"/>
                <a:gd name="connsiteX1019" fmla="*/ 737742 w 1313607"/>
                <a:gd name="connsiteY1019" fmla="*/ 1878221 h 2768823"/>
                <a:gd name="connsiteX1020" fmla="*/ 736501 w 1313607"/>
                <a:gd name="connsiteY1020" fmla="*/ 1876466 h 2768823"/>
                <a:gd name="connsiteX1021" fmla="*/ 736199 w 1313607"/>
                <a:gd name="connsiteY1021" fmla="*/ 1875317 h 2768823"/>
                <a:gd name="connsiteX1022" fmla="*/ 736290 w 1313607"/>
                <a:gd name="connsiteY1022" fmla="*/ 1874258 h 2768823"/>
                <a:gd name="connsiteX1023" fmla="*/ 736471 w 1313607"/>
                <a:gd name="connsiteY1023" fmla="*/ 1873320 h 2768823"/>
                <a:gd name="connsiteX1024" fmla="*/ 736471 w 1313607"/>
                <a:gd name="connsiteY1024" fmla="*/ 1872624 h 2768823"/>
                <a:gd name="connsiteX1025" fmla="*/ 736048 w 1313607"/>
                <a:gd name="connsiteY1025" fmla="*/ 1871596 h 2768823"/>
                <a:gd name="connsiteX1026" fmla="*/ 734898 w 1313607"/>
                <a:gd name="connsiteY1026" fmla="*/ 1869750 h 2768823"/>
                <a:gd name="connsiteX1027" fmla="*/ 734414 w 1313607"/>
                <a:gd name="connsiteY1027" fmla="*/ 1868782 h 2768823"/>
                <a:gd name="connsiteX1028" fmla="*/ 732780 w 1313607"/>
                <a:gd name="connsiteY1028" fmla="*/ 1867996 h 2768823"/>
                <a:gd name="connsiteX1029" fmla="*/ 731631 w 1313607"/>
                <a:gd name="connsiteY1029" fmla="*/ 1868419 h 2768823"/>
                <a:gd name="connsiteX1030" fmla="*/ 731268 w 1313607"/>
                <a:gd name="connsiteY1030" fmla="*/ 1869811 h 2768823"/>
                <a:gd name="connsiteX1031" fmla="*/ 732569 w 1313607"/>
                <a:gd name="connsiteY1031" fmla="*/ 1873834 h 2768823"/>
                <a:gd name="connsiteX1032" fmla="*/ 732660 w 1313607"/>
                <a:gd name="connsiteY1032" fmla="*/ 1875982 h 2768823"/>
                <a:gd name="connsiteX1033" fmla="*/ 732236 w 1313607"/>
                <a:gd name="connsiteY1033" fmla="*/ 1885269 h 2768823"/>
                <a:gd name="connsiteX1034" fmla="*/ 732660 w 1313607"/>
                <a:gd name="connsiteY1034" fmla="*/ 1890321 h 2768823"/>
                <a:gd name="connsiteX1035" fmla="*/ 706704 w 1313607"/>
                <a:gd name="connsiteY1035" fmla="*/ 1440422 h 2768823"/>
                <a:gd name="connsiteX1036" fmla="*/ 707914 w 1313607"/>
                <a:gd name="connsiteY1036" fmla="*/ 1440634 h 2768823"/>
                <a:gd name="connsiteX1037" fmla="*/ 708307 w 1313607"/>
                <a:gd name="connsiteY1037" fmla="*/ 1439999 h 2768823"/>
                <a:gd name="connsiteX1038" fmla="*/ 708428 w 1313607"/>
                <a:gd name="connsiteY1038" fmla="*/ 1438788 h 2768823"/>
                <a:gd name="connsiteX1039" fmla="*/ 709336 w 1313607"/>
                <a:gd name="connsiteY1039" fmla="*/ 1436792 h 2768823"/>
                <a:gd name="connsiteX1040" fmla="*/ 709729 w 1313607"/>
                <a:gd name="connsiteY1040" fmla="*/ 1434009 h 2768823"/>
                <a:gd name="connsiteX1041" fmla="*/ 709608 w 1313607"/>
                <a:gd name="connsiteY1041" fmla="*/ 1432405 h 2768823"/>
                <a:gd name="connsiteX1042" fmla="*/ 708549 w 1313607"/>
                <a:gd name="connsiteY1042" fmla="*/ 1431861 h 2768823"/>
                <a:gd name="connsiteX1043" fmla="*/ 706401 w 1313607"/>
                <a:gd name="connsiteY1043" fmla="*/ 1431498 h 2768823"/>
                <a:gd name="connsiteX1044" fmla="*/ 703891 w 1313607"/>
                <a:gd name="connsiteY1044" fmla="*/ 1432799 h 2768823"/>
                <a:gd name="connsiteX1045" fmla="*/ 702831 w 1313607"/>
                <a:gd name="connsiteY1045" fmla="*/ 1432194 h 2768823"/>
                <a:gd name="connsiteX1046" fmla="*/ 701742 w 1313607"/>
                <a:gd name="connsiteY1046" fmla="*/ 1430953 h 2768823"/>
                <a:gd name="connsiteX1047" fmla="*/ 699958 w 1313607"/>
                <a:gd name="connsiteY1047" fmla="*/ 1430258 h 2768823"/>
                <a:gd name="connsiteX1048" fmla="*/ 697628 w 1313607"/>
                <a:gd name="connsiteY1048" fmla="*/ 1430923 h 2768823"/>
                <a:gd name="connsiteX1049" fmla="*/ 696358 w 1313607"/>
                <a:gd name="connsiteY1049" fmla="*/ 1432829 h 2768823"/>
                <a:gd name="connsiteX1050" fmla="*/ 696025 w 1313607"/>
                <a:gd name="connsiteY1050" fmla="*/ 1434977 h 2768823"/>
                <a:gd name="connsiteX1051" fmla="*/ 695118 w 1313607"/>
                <a:gd name="connsiteY1051" fmla="*/ 1437457 h 2768823"/>
                <a:gd name="connsiteX1052" fmla="*/ 694149 w 1313607"/>
                <a:gd name="connsiteY1052" fmla="*/ 1440846 h 2768823"/>
                <a:gd name="connsiteX1053" fmla="*/ 696267 w 1313607"/>
                <a:gd name="connsiteY1053" fmla="*/ 1445081 h 2768823"/>
                <a:gd name="connsiteX1054" fmla="*/ 701470 w 1313607"/>
                <a:gd name="connsiteY1054" fmla="*/ 1446049 h 2768823"/>
                <a:gd name="connsiteX1055" fmla="*/ 706069 w 1313607"/>
                <a:gd name="connsiteY1055" fmla="*/ 1444415 h 2768823"/>
                <a:gd name="connsiteX1056" fmla="*/ 706613 w 1313607"/>
                <a:gd name="connsiteY1056" fmla="*/ 1443296 h 2768823"/>
                <a:gd name="connsiteX1057" fmla="*/ 706038 w 1313607"/>
                <a:gd name="connsiteY1057" fmla="*/ 1442207 h 2768823"/>
                <a:gd name="connsiteX1058" fmla="*/ 705282 w 1313607"/>
                <a:gd name="connsiteY1058" fmla="*/ 1441662 h 2768823"/>
                <a:gd name="connsiteX1059" fmla="*/ 705584 w 1313607"/>
                <a:gd name="connsiteY1059" fmla="*/ 1440694 h 2768823"/>
                <a:gd name="connsiteX1060" fmla="*/ 706704 w 1313607"/>
                <a:gd name="connsiteY1060" fmla="*/ 1440513 h 2768823"/>
                <a:gd name="connsiteX1061" fmla="*/ 981780 w 1313607"/>
                <a:gd name="connsiteY1061" fmla="*/ 1241640 h 2768823"/>
                <a:gd name="connsiteX1062" fmla="*/ 978059 w 1313607"/>
                <a:gd name="connsiteY1062" fmla="*/ 1246571 h 2768823"/>
                <a:gd name="connsiteX1063" fmla="*/ 977908 w 1313607"/>
                <a:gd name="connsiteY1063" fmla="*/ 1248567 h 2768823"/>
                <a:gd name="connsiteX1064" fmla="*/ 979632 w 1313607"/>
                <a:gd name="connsiteY1064" fmla="*/ 1248446 h 2768823"/>
                <a:gd name="connsiteX1065" fmla="*/ 980963 w 1313607"/>
                <a:gd name="connsiteY1065" fmla="*/ 1247055 h 2768823"/>
                <a:gd name="connsiteX1066" fmla="*/ 981810 w 1313607"/>
                <a:gd name="connsiteY1066" fmla="*/ 1245300 h 2768823"/>
                <a:gd name="connsiteX1067" fmla="*/ 982415 w 1313607"/>
                <a:gd name="connsiteY1067" fmla="*/ 1243213 h 2768823"/>
                <a:gd name="connsiteX1068" fmla="*/ 982234 w 1313607"/>
                <a:gd name="connsiteY1068" fmla="*/ 1241882 h 2768823"/>
                <a:gd name="connsiteX1069" fmla="*/ 981810 w 1313607"/>
                <a:gd name="connsiteY1069" fmla="*/ 1241670 h 2768823"/>
                <a:gd name="connsiteX1070" fmla="*/ 987316 w 1313607"/>
                <a:gd name="connsiteY1070" fmla="*/ 1223368 h 2768823"/>
                <a:gd name="connsiteX1071" fmla="*/ 986045 w 1313607"/>
                <a:gd name="connsiteY1071" fmla="*/ 1225032 h 2768823"/>
                <a:gd name="connsiteX1072" fmla="*/ 985138 w 1313607"/>
                <a:gd name="connsiteY1072" fmla="*/ 1225455 h 2768823"/>
                <a:gd name="connsiteX1073" fmla="*/ 984200 w 1313607"/>
                <a:gd name="connsiteY1073" fmla="*/ 1226333 h 2768823"/>
                <a:gd name="connsiteX1074" fmla="*/ 983384 w 1313607"/>
                <a:gd name="connsiteY1074" fmla="*/ 1227906 h 2768823"/>
                <a:gd name="connsiteX1075" fmla="*/ 981508 w 1313607"/>
                <a:gd name="connsiteY1075" fmla="*/ 1238161 h 2768823"/>
                <a:gd name="connsiteX1076" fmla="*/ 981780 w 1313607"/>
                <a:gd name="connsiteY1076" fmla="*/ 1240309 h 2768823"/>
                <a:gd name="connsiteX1077" fmla="*/ 983293 w 1313607"/>
                <a:gd name="connsiteY1077" fmla="*/ 1238736 h 2768823"/>
                <a:gd name="connsiteX1078" fmla="*/ 984049 w 1313607"/>
                <a:gd name="connsiteY1078" fmla="*/ 1238675 h 2768823"/>
                <a:gd name="connsiteX1079" fmla="*/ 984745 w 1313607"/>
                <a:gd name="connsiteY1079" fmla="*/ 1238887 h 2768823"/>
                <a:gd name="connsiteX1080" fmla="*/ 986227 w 1313607"/>
                <a:gd name="connsiteY1080" fmla="*/ 1237768 h 2768823"/>
                <a:gd name="connsiteX1081" fmla="*/ 987649 w 1313607"/>
                <a:gd name="connsiteY1081" fmla="*/ 1236104 h 2768823"/>
                <a:gd name="connsiteX1082" fmla="*/ 988617 w 1313607"/>
                <a:gd name="connsiteY1082" fmla="*/ 1233593 h 2768823"/>
                <a:gd name="connsiteX1083" fmla="*/ 989010 w 1313607"/>
                <a:gd name="connsiteY1083" fmla="*/ 1231022 h 2768823"/>
                <a:gd name="connsiteX1084" fmla="*/ 988859 w 1313607"/>
                <a:gd name="connsiteY1084" fmla="*/ 1228995 h 2768823"/>
                <a:gd name="connsiteX1085" fmla="*/ 988617 w 1313607"/>
                <a:gd name="connsiteY1085" fmla="*/ 1227331 h 2768823"/>
                <a:gd name="connsiteX1086" fmla="*/ 988950 w 1313607"/>
                <a:gd name="connsiteY1086" fmla="*/ 1225909 h 2768823"/>
                <a:gd name="connsiteX1087" fmla="*/ 989645 w 1313607"/>
                <a:gd name="connsiteY1087" fmla="*/ 1224941 h 2768823"/>
                <a:gd name="connsiteX1088" fmla="*/ 989767 w 1313607"/>
                <a:gd name="connsiteY1088" fmla="*/ 1224034 h 2768823"/>
                <a:gd name="connsiteX1089" fmla="*/ 989404 w 1313607"/>
                <a:gd name="connsiteY1089" fmla="*/ 1223096 h 2768823"/>
                <a:gd name="connsiteX1090" fmla="*/ 989555 w 1313607"/>
                <a:gd name="connsiteY1090" fmla="*/ 1222339 h 2768823"/>
                <a:gd name="connsiteX1091" fmla="*/ 990039 w 1313607"/>
                <a:gd name="connsiteY1091" fmla="*/ 1221644 h 2768823"/>
                <a:gd name="connsiteX1092" fmla="*/ 990190 w 1313607"/>
                <a:gd name="connsiteY1092" fmla="*/ 1221250 h 2768823"/>
                <a:gd name="connsiteX1093" fmla="*/ 989161 w 1313607"/>
                <a:gd name="connsiteY1093" fmla="*/ 1221613 h 2768823"/>
                <a:gd name="connsiteX1094" fmla="*/ 987286 w 1313607"/>
                <a:gd name="connsiteY1094" fmla="*/ 1223428 h 2768823"/>
                <a:gd name="connsiteX1095" fmla="*/ 987377 w 1313607"/>
                <a:gd name="connsiteY1095" fmla="*/ 1221341 h 2768823"/>
                <a:gd name="connsiteX1096" fmla="*/ 985803 w 1313607"/>
                <a:gd name="connsiteY1096" fmla="*/ 1217197 h 2768823"/>
                <a:gd name="connsiteX1097" fmla="*/ 981810 w 1313607"/>
                <a:gd name="connsiteY1097" fmla="*/ 1216501 h 2768823"/>
                <a:gd name="connsiteX1098" fmla="*/ 979239 w 1313607"/>
                <a:gd name="connsiteY1098" fmla="*/ 1222612 h 2768823"/>
                <a:gd name="connsiteX1099" fmla="*/ 980509 w 1313607"/>
                <a:gd name="connsiteY1099" fmla="*/ 1221734 h 2768823"/>
                <a:gd name="connsiteX1100" fmla="*/ 981659 w 1313607"/>
                <a:gd name="connsiteY1100" fmla="*/ 1221371 h 2768823"/>
                <a:gd name="connsiteX1101" fmla="*/ 982627 w 1313607"/>
                <a:gd name="connsiteY1101" fmla="*/ 1221946 h 2768823"/>
                <a:gd name="connsiteX1102" fmla="*/ 983384 w 1313607"/>
                <a:gd name="connsiteY1102" fmla="*/ 1224034 h 2768823"/>
                <a:gd name="connsiteX1103" fmla="*/ 982627 w 1313607"/>
                <a:gd name="connsiteY1103" fmla="*/ 1225455 h 2768823"/>
                <a:gd name="connsiteX1104" fmla="*/ 987346 w 1313607"/>
                <a:gd name="connsiteY1104" fmla="*/ 1221311 h 2768823"/>
                <a:gd name="connsiteX1105" fmla="*/ 1135336 w 1313607"/>
                <a:gd name="connsiteY1105" fmla="*/ 857447 h 2768823"/>
                <a:gd name="connsiteX1106" fmla="*/ 1133309 w 1313607"/>
                <a:gd name="connsiteY1106" fmla="*/ 857447 h 2768823"/>
                <a:gd name="connsiteX1107" fmla="*/ 1131434 w 1313607"/>
                <a:gd name="connsiteY1107" fmla="*/ 859716 h 2768823"/>
                <a:gd name="connsiteX1108" fmla="*/ 1129467 w 1313607"/>
                <a:gd name="connsiteY1108" fmla="*/ 861107 h 2768823"/>
                <a:gd name="connsiteX1109" fmla="*/ 1128348 w 1313607"/>
                <a:gd name="connsiteY1109" fmla="*/ 860230 h 2768823"/>
                <a:gd name="connsiteX1110" fmla="*/ 1127894 w 1313607"/>
                <a:gd name="connsiteY1110" fmla="*/ 859050 h 2768823"/>
                <a:gd name="connsiteX1111" fmla="*/ 1126866 w 1313607"/>
                <a:gd name="connsiteY1111" fmla="*/ 858324 h 2768823"/>
                <a:gd name="connsiteX1112" fmla="*/ 1125686 w 1313607"/>
                <a:gd name="connsiteY1112" fmla="*/ 858899 h 2768823"/>
                <a:gd name="connsiteX1113" fmla="*/ 1124839 w 1313607"/>
                <a:gd name="connsiteY1113" fmla="*/ 861198 h 2768823"/>
                <a:gd name="connsiteX1114" fmla="*/ 1124718 w 1313607"/>
                <a:gd name="connsiteY1114" fmla="*/ 863618 h 2768823"/>
                <a:gd name="connsiteX1115" fmla="*/ 1125716 w 1313607"/>
                <a:gd name="connsiteY1115" fmla="*/ 864374 h 2768823"/>
                <a:gd name="connsiteX1116" fmla="*/ 1133824 w 1313607"/>
                <a:gd name="connsiteY1116" fmla="*/ 863799 h 2768823"/>
                <a:gd name="connsiteX1117" fmla="*/ 1135064 w 1313607"/>
                <a:gd name="connsiteY1117" fmla="*/ 863134 h 2768823"/>
                <a:gd name="connsiteX1118" fmla="*/ 1137333 w 1313607"/>
                <a:gd name="connsiteY1118" fmla="*/ 861440 h 2768823"/>
                <a:gd name="connsiteX1119" fmla="*/ 1138059 w 1313607"/>
                <a:gd name="connsiteY1119" fmla="*/ 859534 h 2768823"/>
                <a:gd name="connsiteX1120" fmla="*/ 1137091 w 1313607"/>
                <a:gd name="connsiteY1120" fmla="*/ 858354 h 2768823"/>
                <a:gd name="connsiteX1121" fmla="*/ 1135367 w 1313607"/>
                <a:gd name="connsiteY1121" fmla="*/ 857386 h 2768823"/>
                <a:gd name="connsiteX1122" fmla="*/ 1118879 w 1313607"/>
                <a:gd name="connsiteY1122" fmla="*/ 862529 h 2768823"/>
                <a:gd name="connsiteX1123" fmla="*/ 1117821 w 1313607"/>
                <a:gd name="connsiteY1123" fmla="*/ 861349 h 2768823"/>
                <a:gd name="connsiteX1124" fmla="*/ 1116792 w 1313607"/>
                <a:gd name="connsiteY1124" fmla="*/ 859504 h 2768823"/>
                <a:gd name="connsiteX1125" fmla="*/ 1116853 w 1313607"/>
                <a:gd name="connsiteY1125" fmla="*/ 858203 h 2768823"/>
                <a:gd name="connsiteX1126" fmla="*/ 1117669 w 1313607"/>
                <a:gd name="connsiteY1126" fmla="*/ 857326 h 2768823"/>
                <a:gd name="connsiteX1127" fmla="*/ 1117155 w 1313607"/>
                <a:gd name="connsiteY1127" fmla="*/ 856025 h 2768823"/>
                <a:gd name="connsiteX1128" fmla="*/ 1113525 w 1313607"/>
                <a:gd name="connsiteY1128" fmla="*/ 854149 h 2768823"/>
                <a:gd name="connsiteX1129" fmla="*/ 1111770 w 1313607"/>
                <a:gd name="connsiteY1129" fmla="*/ 854149 h 2768823"/>
                <a:gd name="connsiteX1130" fmla="*/ 1110833 w 1313607"/>
                <a:gd name="connsiteY1130" fmla="*/ 855420 h 2768823"/>
                <a:gd name="connsiteX1131" fmla="*/ 1110833 w 1313607"/>
                <a:gd name="connsiteY1131" fmla="*/ 857689 h 2768823"/>
                <a:gd name="connsiteX1132" fmla="*/ 1110500 w 1313607"/>
                <a:gd name="connsiteY1132" fmla="*/ 858566 h 2768823"/>
                <a:gd name="connsiteX1133" fmla="*/ 1110349 w 1313607"/>
                <a:gd name="connsiteY1133" fmla="*/ 860502 h 2768823"/>
                <a:gd name="connsiteX1134" fmla="*/ 1110923 w 1313607"/>
                <a:gd name="connsiteY1134" fmla="*/ 862983 h 2768823"/>
                <a:gd name="connsiteX1135" fmla="*/ 1111438 w 1313607"/>
                <a:gd name="connsiteY1135" fmla="*/ 863920 h 2768823"/>
                <a:gd name="connsiteX1136" fmla="*/ 1116248 w 1313607"/>
                <a:gd name="connsiteY1136" fmla="*/ 865010 h 2768823"/>
                <a:gd name="connsiteX1137" fmla="*/ 1117186 w 1313607"/>
                <a:gd name="connsiteY1137" fmla="*/ 865524 h 2768823"/>
                <a:gd name="connsiteX1138" fmla="*/ 1118093 w 1313607"/>
                <a:gd name="connsiteY1138" fmla="*/ 866250 h 2768823"/>
                <a:gd name="connsiteX1139" fmla="*/ 1119273 w 1313607"/>
                <a:gd name="connsiteY1139" fmla="*/ 866643 h 2768823"/>
                <a:gd name="connsiteX1140" fmla="*/ 1119424 w 1313607"/>
                <a:gd name="connsiteY1140" fmla="*/ 865373 h 2768823"/>
                <a:gd name="connsiteX1141" fmla="*/ 1119273 w 1313607"/>
                <a:gd name="connsiteY1141" fmla="*/ 863678 h 2768823"/>
                <a:gd name="connsiteX1142" fmla="*/ 1118819 w 1313607"/>
                <a:gd name="connsiteY1142" fmla="*/ 862529 h 2768823"/>
                <a:gd name="connsiteX1143" fmla="*/ 1155877 w 1313607"/>
                <a:gd name="connsiteY1143" fmla="*/ 842109 h 2768823"/>
                <a:gd name="connsiteX1144" fmla="*/ 1155030 w 1313607"/>
                <a:gd name="connsiteY1144" fmla="*/ 841958 h 2768823"/>
                <a:gd name="connsiteX1145" fmla="*/ 1154062 w 1313607"/>
                <a:gd name="connsiteY1145" fmla="*/ 841050 h 2768823"/>
                <a:gd name="connsiteX1146" fmla="*/ 1152247 w 1313607"/>
                <a:gd name="connsiteY1146" fmla="*/ 839901 h 2768823"/>
                <a:gd name="connsiteX1147" fmla="*/ 1151642 w 1313607"/>
                <a:gd name="connsiteY1147" fmla="*/ 841716 h 2768823"/>
                <a:gd name="connsiteX1148" fmla="*/ 1153094 w 1313607"/>
                <a:gd name="connsiteY1148" fmla="*/ 844650 h 2768823"/>
                <a:gd name="connsiteX1149" fmla="*/ 1155211 w 1313607"/>
                <a:gd name="connsiteY1149" fmla="*/ 845709 h 2768823"/>
                <a:gd name="connsiteX1150" fmla="*/ 1156845 w 1313607"/>
                <a:gd name="connsiteY1150" fmla="*/ 846102 h 2768823"/>
                <a:gd name="connsiteX1151" fmla="*/ 1157813 w 1313607"/>
                <a:gd name="connsiteY1151" fmla="*/ 845739 h 2768823"/>
                <a:gd name="connsiteX1152" fmla="*/ 1158086 w 1313607"/>
                <a:gd name="connsiteY1152" fmla="*/ 844499 h 2768823"/>
                <a:gd name="connsiteX1153" fmla="*/ 1157420 w 1313607"/>
                <a:gd name="connsiteY1153" fmla="*/ 843047 h 2768823"/>
                <a:gd name="connsiteX1154" fmla="*/ 1155847 w 1313607"/>
                <a:gd name="connsiteY1154" fmla="*/ 842079 h 2768823"/>
                <a:gd name="connsiteX1155" fmla="*/ 1124536 w 1313607"/>
                <a:gd name="connsiteY1155" fmla="*/ 852183 h 2768823"/>
                <a:gd name="connsiteX1156" fmla="*/ 1123447 w 1313607"/>
                <a:gd name="connsiteY1156" fmla="*/ 850398 h 2768823"/>
                <a:gd name="connsiteX1157" fmla="*/ 1123206 w 1313607"/>
                <a:gd name="connsiteY1157" fmla="*/ 849128 h 2768823"/>
                <a:gd name="connsiteX1158" fmla="*/ 1123206 w 1313607"/>
                <a:gd name="connsiteY1158" fmla="*/ 848371 h 2768823"/>
                <a:gd name="connsiteX1159" fmla="*/ 1123599 w 1313607"/>
                <a:gd name="connsiteY1159" fmla="*/ 848129 h 2768823"/>
                <a:gd name="connsiteX1160" fmla="*/ 1123206 w 1313607"/>
                <a:gd name="connsiteY1160" fmla="*/ 846223 h 2768823"/>
                <a:gd name="connsiteX1161" fmla="*/ 1124053 w 1313607"/>
                <a:gd name="connsiteY1161" fmla="*/ 845467 h 2768823"/>
                <a:gd name="connsiteX1162" fmla="*/ 1125505 w 1313607"/>
                <a:gd name="connsiteY1162" fmla="*/ 845860 h 2768823"/>
                <a:gd name="connsiteX1163" fmla="*/ 1126987 w 1313607"/>
                <a:gd name="connsiteY1163" fmla="*/ 846919 h 2768823"/>
                <a:gd name="connsiteX1164" fmla="*/ 1128318 w 1313607"/>
                <a:gd name="connsiteY1164" fmla="*/ 848371 h 2768823"/>
                <a:gd name="connsiteX1165" fmla="*/ 1129467 w 1313607"/>
                <a:gd name="connsiteY1165" fmla="*/ 850277 h 2768823"/>
                <a:gd name="connsiteX1166" fmla="*/ 1130617 w 1313607"/>
                <a:gd name="connsiteY1166" fmla="*/ 850549 h 2768823"/>
                <a:gd name="connsiteX1167" fmla="*/ 1132039 w 1313607"/>
                <a:gd name="connsiteY1167" fmla="*/ 849521 h 2768823"/>
                <a:gd name="connsiteX1168" fmla="*/ 1132039 w 1313607"/>
                <a:gd name="connsiteY1168" fmla="*/ 847524 h 2768823"/>
                <a:gd name="connsiteX1169" fmla="*/ 1129830 w 1313607"/>
                <a:gd name="connsiteY1169" fmla="*/ 845528 h 2768823"/>
                <a:gd name="connsiteX1170" fmla="*/ 1128893 w 1313607"/>
                <a:gd name="connsiteY1170" fmla="*/ 843834 h 2768823"/>
                <a:gd name="connsiteX1171" fmla="*/ 1128076 w 1313607"/>
                <a:gd name="connsiteY1171" fmla="*/ 843077 h 2768823"/>
                <a:gd name="connsiteX1172" fmla="*/ 1127350 w 1313607"/>
                <a:gd name="connsiteY1172" fmla="*/ 843349 h 2768823"/>
                <a:gd name="connsiteX1173" fmla="*/ 1126563 w 1313607"/>
                <a:gd name="connsiteY1173" fmla="*/ 843349 h 2768823"/>
                <a:gd name="connsiteX1174" fmla="*/ 1118819 w 1313607"/>
                <a:gd name="connsiteY1174" fmla="*/ 838630 h 2768823"/>
                <a:gd name="connsiteX1175" fmla="*/ 1117306 w 1313607"/>
                <a:gd name="connsiteY1175" fmla="*/ 838358 h 2768823"/>
                <a:gd name="connsiteX1176" fmla="*/ 1115975 w 1313607"/>
                <a:gd name="connsiteY1176" fmla="*/ 839054 h 2768823"/>
                <a:gd name="connsiteX1177" fmla="*/ 1114826 w 1313607"/>
                <a:gd name="connsiteY1177" fmla="*/ 839992 h 2768823"/>
                <a:gd name="connsiteX1178" fmla="*/ 1115461 w 1313607"/>
                <a:gd name="connsiteY1178" fmla="*/ 842684 h 2768823"/>
                <a:gd name="connsiteX1179" fmla="*/ 1118032 w 1313607"/>
                <a:gd name="connsiteY1179" fmla="*/ 846919 h 2768823"/>
                <a:gd name="connsiteX1180" fmla="*/ 1122752 w 1313607"/>
                <a:gd name="connsiteY1180" fmla="*/ 852485 h 2768823"/>
                <a:gd name="connsiteX1181" fmla="*/ 1124173 w 1313607"/>
                <a:gd name="connsiteY1181" fmla="*/ 853272 h 2768823"/>
                <a:gd name="connsiteX1182" fmla="*/ 1124718 w 1313607"/>
                <a:gd name="connsiteY1182" fmla="*/ 853060 h 2768823"/>
                <a:gd name="connsiteX1183" fmla="*/ 1124506 w 1313607"/>
                <a:gd name="connsiteY1183" fmla="*/ 852183 h 2768823"/>
                <a:gd name="connsiteX1184" fmla="*/ 1154183 w 1313607"/>
                <a:gd name="connsiteY1184" fmla="*/ 829918 h 2768823"/>
                <a:gd name="connsiteX1185" fmla="*/ 1152459 w 1313607"/>
                <a:gd name="connsiteY1185" fmla="*/ 830341 h 2768823"/>
                <a:gd name="connsiteX1186" fmla="*/ 1151037 w 1313607"/>
                <a:gd name="connsiteY1186" fmla="*/ 830130 h 2768823"/>
                <a:gd name="connsiteX1187" fmla="*/ 1149978 w 1313607"/>
                <a:gd name="connsiteY1187" fmla="*/ 830220 h 2768823"/>
                <a:gd name="connsiteX1188" fmla="*/ 1149313 w 1313607"/>
                <a:gd name="connsiteY1188" fmla="*/ 831370 h 2768823"/>
                <a:gd name="connsiteX1189" fmla="*/ 1149766 w 1313607"/>
                <a:gd name="connsiteY1189" fmla="*/ 833246 h 2768823"/>
                <a:gd name="connsiteX1190" fmla="*/ 1150341 w 1313607"/>
                <a:gd name="connsiteY1190" fmla="*/ 834183 h 2768823"/>
                <a:gd name="connsiteX1191" fmla="*/ 1153366 w 1313607"/>
                <a:gd name="connsiteY1191" fmla="*/ 836119 h 2768823"/>
                <a:gd name="connsiteX1192" fmla="*/ 1154062 w 1313607"/>
                <a:gd name="connsiteY1192" fmla="*/ 836301 h 2768823"/>
                <a:gd name="connsiteX1193" fmla="*/ 1153638 w 1313607"/>
                <a:gd name="connsiteY1193" fmla="*/ 835545 h 2768823"/>
                <a:gd name="connsiteX1194" fmla="*/ 1153971 w 1313607"/>
                <a:gd name="connsiteY1194" fmla="*/ 835393 h 2768823"/>
                <a:gd name="connsiteX1195" fmla="*/ 1155121 w 1313607"/>
                <a:gd name="connsiteY1195" fmla="*/ 836089 h 2768823"/>
                <a:gd name="connsiteX1196" fmla="*/ 1156210 w 1313607"/>
                <a:gd name="connsiteY1196" fmla="*/ 836361 h 2768823"/>
                <a:gd name="connsiteX1197" fmla="*/ 1157087 w 1313607"/>
                <a:gd name="connsiteY1197" fmla="*/ 835575 h 2768823"/>
                <a:gd name="connsiteX1198" fmla="*/ 1157692 w 1313607"/>
                <a:gd name="connsiteY1198" fmla="*/ 834183 h 2768823"/>
                <a:gd name="connsiteX1199" fmla="*/ 1157874 w 1313607"/>
                <a:gd name="connsiteY1199" fmla="*/ 832489 h 2768823"/>
                <a:gd name="connsiteX1200" fmla="*/ 1158630 w 1313607"/>
                <a:gd name="connsiteY1200" fmla="*/ 831430 h 2768823"/>
                <a:gd name="connsiteX1201" fmla="*/ 1160233 w 1313607"/>
                <a:gd name="connsiteY1201" fmla="*/ 830644 h 2768823"/>
                <a:gd name="connsiteX1202" fmla="*/ 1160627 w 1313607"/>
                <a:gd name="connsiteY1202" fmla="*/ 828526 h 2768823"/>
                <a:gd name="connsiteX1203" fmla="*/ 1159084 w 1313607"/>
                <a:gd name="connsiteY1203" fmla="*/ 827558 h 2768823"/>
                <a:gd name="connsiteX1204" fmla="*/ 1154274 w 1313607"/>
                <a:gd name="connsiteY1204" fmla="*/ 829948 h 2768823"/>
                <a:gd name="connsiteX1205" fmla="*/ 1155302 w 1313607"/>
                <a:gd name="connsiteY1205" fmla="*/ 827467 h 2768823"/>
                <a:gd name="connsiteX1206" fmla="*/ 1156845 w 1313607"/>
                <a:gd name="connsiteY1206" fmla="*/ 826015 h 2768823"/>
                <a:gd name="connsiteX1207" fmla="*/ 1155877 w 1313607"/>
                <a:gd name="connsiteY1207" fmla="*/ 823172 h 2768823"/>
                <a:gd name="connsiteX1208" fmla="*/ 1153155 w 1313607"/>
                <a:gd name="connsiteY1208" fmla="*/ 823293 h 2768823"/>
                <a:gd name="connsiteX1209" fmla="*/ 1151763 w 1313607"/>
                <a:gd name="connsiteY1209" fmla="*/ 824896 h 2768823"/>
                <a:gd name="connsiteX1210" fmla="*/ 1152186 w 1313607"/>
                <a:gd name="connsiteY1210" fmla="*/ 825864 h 2768823"/>
                <a:gd name="connsiteX1211" fmla="*/ 1153336 w 1313607"/>
                <a:gd name="connsiteY1211" fmla="*/ 827256 h 2768823"/>
                <a:gd name="connsiteX1212" fmla="*/ 1155242 w 1313607"/>
                <a:gd name="connsiteY1212" fmla="*/ 827498 h 2768823"/>
                <a:gd name="connsiteX1213" fmla="*/ 1192905 w 1313607"/>
                <a:gd name="connsiteY1213" fmla="*/ 799969 h 2768823"/>
                <a:gd name="connsiteX1214" fmla="*/ 1191211 w 1313607"/>
                <a:gd name="connsiteY1214" fmla="*/ 798789 h 2768823"/>
                <a:gd name="connsiteX1215" fmla="*/ 1191090 w 1313607"/>
                <a:gd name="connsiteY1215" fmla="*/ 798124 h 2768823"/>
                <a:gd name="connsiteX1216" fmla="*/ 1192602 w 1313607"/>
                <a:gd name="connsiteY1216" fmla="*/ 797942 h 2768823"/>
                <a:gd name="connsiteX1217" fmla="*/ 1192239 w 1313607"/>
                <a:gd name="connsiteY1217" fmla="*/ 796157 h 2768823"/>
                <a:gd name="connsiteX1218" fmla="*/ 1189607 w 1313607"/>
                <a:gd name="connsiteY1218" fmla="*/ 794191 h 2768823"/>
                <a:gd name="connsiteX1219" fmla="*/ 1187036 w 1313607"/>
                <a:gd name="connsiteY1219" fmla="*/ 794009 h 2768823"/>
                <a:gd name="connsiteX1220" fmla="*/ 1185191 w 1313607"/>
                <a:gd name="connsiteY1220" fmla="*/ 795219 h 2768823"/>
                <a:gd name="connsiteX1221" fmla="*/ 1184797 w 1313607"/>
                <a:gd name="connsiteY1221" fmla="*/ 799031 h 2768823"/>
                <a:gd name="connsiteX1222" fmla="*/ 1186491 w 1313607"/>
                <a:gd name="connsiteY1222" fmla="*/ 803327 h 2768823"/>
                <a:gd name="connsiteX1223" fmla="*/ 1189305 w 1313607"/>
                <a:gd name="connsiteY1223" fmla="*/ 807108 h 2768823"/>
                <a:gd name="connsiteX1224" fmla="*/ 1192330 w 1313607"/>
                <a:gd name="connsiteY1224" fmla="*/ 810164 h 2768823"/>
                <a:gd name="connsiteX1225" fmla="*/ 1193812 w 1313607"/>
                <a:gd name="connsiteY1225" fmla="*/ 811011 h 2768823"/>
                <a:gd name="connsiteX1226" fmla="*/ 1192875 w 1313607"/>
                <a:gd name="connsiteY1226" fmla="*/ 807653 h 2768823"/>
                <a:gd name="connsiteX1227" fmla="*/ 1192693 w 1313607"/>
                <a:gd name="connsiteY1227" fmla="*/ 805807 h 2768823"/>
                <a:gd name="connsiteX1228" fmla="*/ 1192995 w 1313607"/>
                <a:gd name="connsiteY1228" fmla="*/ 804567 h 2768823"/>
                <a:gd name="connsiteX1229" fmla="*/ 1193691 w 1313607"/>
                <a:gd name="connsiteY1229" fmla="*/ 804567 h 2768823"/>
                <a:gd name="connsiteX1230" fmla="*/ 1194811 w 1313607"/>
                <a:gd name="connsiteY1230" fmla="*/ 805021 h 2768823"/>
                <a:gd name="connsiteX1231" fmla="*/ 1195113 w 1313607"/>
                <a:gd name="connsiteY1231" fmla="*/ 803508 h 2768823"/>
                <a:gd name="connsiteX1232" fmla="*/ 1194296 w 1313607"/>
                <a:gd name="connsiteY1232" fmla="*/ 801360 h 2768823"/>
                <a:gd name="connsiteX1233" fmla="*/ 1192875 w 1313607"/>
                <a:gd name="connsiteY1233" fmla="*/ 799908 h 2768823"/>
                <a:gd name="connsiteX1234" fmla="*/ 1276883 w 1313607"/>
                <a:gd name="connsiteY1234" fmla="*/ 791559 h 2768823"/>
                <a:gd name="connsiteX1235" fmla="*/ 1276399 w 1313607"/>
                <a:gd name="connsiteY1235" fmla="*/ 791559 h 2768823"/>
                <a:gd name="connsiteX1236" fmla="*/ 1276157 w 1313607"/>
                <a:gd name="connsiteY1236" fmla="*/ 793041 h 2768823"/>
                <a:gd name="connsiteX1237" fmla="*/ 1275854 w 1313607"/>
                <a:gd name="connsiteY1237" fmla="*/ 793828 h 2768823"/>
                <a:gd name="connsiteX1238" fmla="*/ 1275310 w 1313607"/>
                <a:gd name="connsiteY1238" fmla="*/ 792769 h 2768823"/>
                <a:gd name="connsiteX1239" fmla="*/ 1274674 w 1313607"/>
                <a:gd name="connsiteY1239" fmla="*/ 792497 h 2768823"/>
                <a:gd name="connsiteX1240" fmla="*/ 1273676 w 1313607"/>
                <a:gd name="connsiteY1240" fmla="*/ 793707 h 2768823"/>
                <a:gd name="connsiteX1241" fmla="*/ 1272527 w 1313607"/>
                <a:gd name="connsiteY1241" fmla="*/ 794372 h 2768823"/>
                <a:gd name="connsiteX1242" fmla="*/ 1271317 w 1313607"/>
                <a:gd name="connsiteY1242" fmla="*/ 794161 h 2768823"/>
                <a:gd name="connsiteX1243" fmla="*/ 1270106 w 1313607"/>
                <a:gd name="connsiteY1243" fmla="*/ 793495 h 2768823"/>
                <a:gd name="connsiteX1244" fmla="*/ 1269048 w 1313607"/>
                <a:gd name="connsiteY1244" fmla="*/ 792285 h 2768823"/>
                <a:gd name="connsiteX1245" fmla="*/ 1268473 w 1313607"/>
                <a:gd name="connsiteY1245" fmla="*/ 792013 h 2768823"/>
                <a:gd name="connsiteX1246" fmla="*/ 1268201 w 1313607"/>
                <a:gd name="connsiteY1246" fmla="*/ 794675 h 2768823"/>
                <a:gd name="connsiteX1247" fmla="*/ 1267596 w 1313607"/>
                <a:gd name="connsiteY1247" fmla="*/ 795613 h 2768823"/>
                <a:gd name="connsiteX1248" fmla="*/ 1266779 w 1313607"/>
                <a:gd name="connsiteY1248" fmla="*/ 794796 h 2768823"/>
                <a:gd name="connsiteX1249" fmla="*/ 1266053 w 1313607"/>
                <a:gd name="connsiteY1249" fmla="*/ 792799 h 2768823"/>
                <a:gd name="connsiteX1250" fmla="*/ 1265266 w 1313607"/>
                <a:gd name="connsiteY1250" fmla="*/ 794009 h 2768823"/>
                <a:gd name="connsiteX1251" fmla="*/ 1265266 w 1313607"/>
                <a:gd name="connsiteY1251" fmla="*/ 798819 h 2768823"/>
                <a:gd name="connsiteX1252" fmla="*/ 1267112 w 1313607"/>
                <a:gd name="connsiteY1252" fmla="*/ 802026 h 2768823"/>
                <a:gd name="connsiteX1253" fmla="*/ 1270984 w 1313607"/>
                <a:gd name="connsiteY1253" fmla="*/ 804446 h 2768823"/>
                <a:gd name="connsiteX1254" fmla="*/ 1274554 w 1313607"/>
                <a:gd name="connsiteY1254" fmla="*/ 801179 h 2768823"/>
                <a:gd name="connsiteX1255" fmla="*/ 1275643 w 1313607"/>
                <a:gd name="connsiteY1255" fmla="*/ 799606 h 2768823"/>
                <a:gd name="connsiteX1256" fmla="*/ 1275491 w 1313607"/>
                <a:gd name="connsiteY1256" fmla="*/ 798940 h 2768823"/>
                <a:gd name="connsiteX1257" fmla="*/ 1275794 w 1313607"/>
                <a:gd name="connsiteY1257" fmla="*/ 798154 h 2768823"/>
                <a:gd name="connsiteX1258" fmla="*/ 1276429 w 1313607"/>
                <a:gd name="connsiteY1258" fmla="*/ 797307 h 2768823"/>
                <a:gd name="connsiteX1259" fmla="*/ 1277125 w 1313607"/>
                <a:gd name="connsiteY1259" fmla="*/ 795885 h 2768823"/>
                <a:gd name="connsiteX1260" fmla="*/ 1277458 w 1313607"/>
                <a:gd name="connsiteY1260" fmla="*/ 793888 h 2768823"/>
                <a:gd name="connsiteX1261" fmla="*/ 1277246 w 1313607"/>
                <a:gd name="connsiteY1261" fmla="*/ 792497 h 2768823"/>
                <a:gd name="connsiteX1262" fmla="*/ 1276883 w 1313607"/>
                <a:gd name="connsiteY1262" fmla="*/ 791620 h 2768823"/>
                <a:gd name="connsiteX1263" fmla="*/ 1175601 w 1313607"/>
                <a:gd name="connsiteY1263" fmla="*/ 792315 h 2768823"/>
                <a:gd name="connsiteX1264" fmla="*/ 1171184 w 1313607"/>
                <a:gd name="connsiteY1264" fmla="*/ 787778 h 2768823"/>
                <a:gd name="connsiteX1265" fmla="*/ 1170035 w 1313607"/>
                <a:gd name="connsiteY1265" fmla="*/ 788685 h 2768823"/>
                <a:gd name="connsiteX1266" fmla="*/ 1169672 w 1313607"/>
                <a:gd name="connsiteY1266" fmla="*/ 792043 h 2768823"/>
                <a:gd name="connsiteX1267" fmla="*/ 1169520 w 1313607"/>
                <a:gd name="connsiteY1267" fmla="*/ 794947 h 2768823"/>
                <a:gd name="connsiteX1268" fmla="*/ 1169097 w 1313607"/>
                <a:gd name="connsiteY1268" fmla="*/ 796883 h 2768823"/>
                <a:gd name="connsiteX1269" fmla="*/ 1169097 w 1313607"/>
                <a:gd name="connsiteY1269" fmla="*/ 798214 h 2768823"/>
                <a:gd name="connsiteX1270" fmla="*/ 1169732 w 1313607"/>
                <a:gd name="connsiteY1270" fmla="*/ 799424 h 2768823"/>
                <a:gd name="connsiteX1271" fmla="*/ 1170609 w 1313607"/>
                <a:gd name="connsiteY1271" fmla="*/ 800574 h 2768823"/>
                <a:gd name="connsiteX1272" fmla="*/ 1172576 w 1313607"/>
                <a:gd name="connsiteY1272" fmla="*/ 801723 h 2768823"/>
                <a:gd name="connsiteX1273" fmla="*/ 1177083 w 1313607"/>
                <a:gd name="connsiteY1273" fmla="*/ 802450 h 2768823"/>
                <a:gd name="connsiteX1274" fmla="*/ 1177688 w 1313607"/>
                <a:gd name="connsiteY1274" fmla="*/ 800453 h 2768823"/>
                <a:gd name="connsiteX1275" fmla="*/ 1176811 w 1313607"/>
                <a:gd name="connsiteY1275" fmla="*/ 795794 h 2768823"/>
                <a:gd name="connsiteX1276" fmla="*/ 1175631 w 1313607"/>
                <a:gd name="connsiteY1276" fmla="*/ 792315 h 2768823"/>
                <a:gd name="connsiteX1277" fmla="*/ 1309796 w 1313607"/>
                <a:gd name="connsiteY1277" fmla="*/ 765543 h 2768823"/>
                <a:gd name="connsiteX1278" fmla="*/ 1307588 w 1313607"/>
                <a:gd name="connsiteY1278" fmla="*/ 756558 h 2768823"/>
                <a:gd name="connsiteX1279" fmla="*/ 1304926 w 1313607"/>
                <a:gd name="connsiteY1279" fmla="*/ 752141 h 2768823"/>
                <a:gd name="connsiteX1280" fmla="*/ 1302778 w 1313607"/>
                <a:gd name="connsiteY1280" fmla="*/ 747634 h 2768823"/>
                <a:gd name="connsiteX1281" fmla="*/ 1303020 w 1313607"/>
                <a:gd name="connsiteY1281" fmla="*/ 742582 h 2768823"/>
                <a:gd name="connsiteX1282" fmla="*/ 1302839 w 1313607"/>
                <a:gd name="connsiteY1282" fmla="*/ 739164 h 2768823"/>
                <a:gd name="connsiteX1283" fmla="*/ 1300267 w 1313607"/>
                <a:gd name="connsiteY1283" fmla="*/ 727819 h 2768823"/>
                <a:gd name="connsiteX1284" fmla="*/ 1299239 w 1313607"/>
                <a:gd name="connsiteY1284" fmla="*/ 724643 h 2768823"/>
                <a:gd name="connsiteX1285" fmla="*/ 1298210 w 1313607"/>
                <a:gd name="connsiteY1285" fmla="*/ 723130 h 2768823"/>
                <a:gd name="connsiteX1286" fmla="*/ 1295790 w 1313607"/>
                <a:gd name="connsiteY1286" fmla="*/ 720680 h 2768823"/>
                <a:gd name="connsiteX1287" fmla="*/ 1294731 w 1313607"/>
                <a:gd name="connsiteY1287" fmla="*/ 719198 h 2768823"/>
                <a:gd name="connsiteX1288" fmla="*/ 1293824 w 1313607"/>
                <a:gd name="connsiteY1288" fmla="*/ 717201 h 2768823"/>
                <a:gd name="connsiteX1289" fmla="*/ 1288378 w 1313607"/>
                <a:gd name="connsiteY1289" fmla="*/ 701894 h 2768823"/>
                <a:gd name="connsiteX1290" fmla="*/ 1286140 w 1313607"/>
                <a:gd name="connsiteY1290" fmla="*/ 699050 h 2768823"/>
                <a:gd name="connsiteX1291" fmla="*/ 1275703 w 1313607"/>
                <a:gd name="connsiteY1291" fmla="*/ 695480 h 2768823"/>
                <a:gd name="connsiteX1292" fmla="*/ 1272133 w 1313607"/>
                <a:gd name="connsiteY1292" fmla="*/ 692516 h 2768823"/>
                <a:gd name="connsiteX1293" fmla="*/ 1269532 w 1313607"/>
                <a:gd name="connsiteY1293" fmla="*/ 688613 h 2768823"/>
                <a:gd name="connsiteX1294" fmla="*/ 1266022 w 1313607"/>
                <a:gd name="connsiteY1294" fmla="*/ 677057 h 2768823"/>
                <a:gd name="connsiteX1295" fmla="*/ 1265145 w 1313607"/>
                <a:gd name="connsiteY1295" fmla="*/ 671098 h 2768823"/>
                <a:gd name="connsiteX1296" fmla="*/ 1263663 w 1313607"/>
                <a:gd name="connsiteY1296" fmla="*/ 665925 h 2768823"/>
                <a:gd name="connsiteX1297" fmla="*/ 1263360 w 1313607"/>
                <a:gd name="connsiteY1297" fmla="*/ 663384 h 2768823"/>
                <a:gd name="connsiteX1298" fmla="*/ 1263512 w 1313607"/>
                <a:gd name="connsiteY1298" fmla="*/ 661115 h 2768823"/>
                <a:gd name="connsiteX1299" fmla="*/ 1264359 w 1313607"/>
                <a:gd name="connsiteY1299" fmla="*/ 658090 h 2768823"/>
                <a:gd name="connsiteX1300" fmla="*/ 1264692 w 1313607"/>
                <a:gd name="connsiteY1300" fmla="*/ 655670 h 2768823"/>
                <a:gd name="connsiteX1301" fmla="*/ 1264752 w 1313607"/>
                <a:gd name="connsiteY1301" fmla="*/ 652523 h 2768823"/>
                <a:gd name="connsiteX1302" fmla="*/ 1264207 w 1313607"/>
                <a:gd name="connsiteY1302" fmla="*/ 648318 h 2768823"/>
                <a:gd name="connsiteX1303" fmla="*/ 1264056 w 1313607"/>
                <a:gd name="connsiteY1303" fmla="*/ 645203 h 2768823"/>
                <a:gd name="connsiteX1304" fmla="*/ 1263633 w 1313607"/>
                <a:gd name="connsiteY1304" fmla="*/ 642843 h 2768823"/>
                <a:gd name="connsiteX1305" fmla="*/ 1261697 w 1313607"/>
                <a:gd name="connsiteY1305" fmla="*/ 638547 h 2768823"/>
                <a:gd name="connsiteX1306" fmla="*/ 1261273 w 1313607"/>
                <a:gd name="connsiteY1306" fmla="*/ 635734 h 2768823"/>
                <a:gd name="connsiteX1307" fmla="*/ 1262302 w 1313607"/>
                <a:gd name="connsiteY1307" fmla="*/ 630500 h 2768823"/>
                <a:gd name="connsiteX1308" fmla="*/ 1264752 w 1313607"/>
                <a:gd name="connsiteY1308" fmla="*/ 626991 h 2768823"/>
                <a:gd name="connsiteX1309" fmla="*/ 1267717 w 1313607"/>
                <a:gd name="connsiteY1309" fmla="*/ 624904 h 2768823"/>
                <a:gd name="connsiteX1310" fmla="*/ 1270227 w 1313607"/>
                <a:gd name="connsiteY1310" fmla="*/ 623936 h 2768823"/>
                <a:gd name="connsiteX1311" fmla="*/ 1270227 w 1313607"/>
                <a:gd name="connsiteY1311" fmla="*/ 620245 h 2768823"/>
                <a:gd name="connsiteX1312" fmla="*/ 1272648 w 1313607"/>
                <a:gd name="connsiteY1312" fmla="*/ 618218 h 2768823"/>
                <a:gd name="connsiteX1313" fmla="*/ 1275733 w 1313607"/>
                <a:gd name="connsiteY1313" fmla="*/ 616706 h 2768823"/>
                <a:gd name="connsiteX1314" fmla="*/ 1277760 w 1313607"/>
                <a:gd name="connsiteY1314" fmla="*/ 614437 h 2768823"/>
                <a:gd name="connsiteX1315" fmla="*/ 1277911 w 1313607"/>
                <a:gd name="connsiteY1315" fmla="*/ 611866 h 2768823"/>
                <a:gd name="connsiteX1316" fmla="*/ 1283296 w 1313607"/>
                <a:gd name="connsiteY1316" fmla="*/ 608296 h 2768823"/>
                <a:gd name="connsiteX1317" fmla="*/ 1285353 w 1313607"/>
                <a:gd name="connsiteY1317" fmla="*/ 606209 h 2768823"/>
                <a:gd name="connsiteX1318" fmla="*/ 1286321 w 1313607"/>
                <a:gd name="connsiteY1318" fmla="*/ 602639 h 2768823"/>
                <a:gd name="connsiteX1319" fmla="*/ 1286503 w 1313607"/>
                <a:gd name="connsiteY1319" fmla="*/ 598646 h 2768823"/>
                <a:gd name="connsiteX1320" fmla="*/ 1286079 w 1313607"/>
                <a:gd name="connsiteY1320" fmla="*/ 594441 h 2768823"/>
                <a:gd name="connsiteX1321" fmla="*/ 1285353 w 1313607"/>
                <a:gd name="connsiteY1321" fmla="*/ 590296 h 2768823"/>
                <a:gd name="connsiteX1322" fmla="*/ 1286321 w 1313607"/>
                <a:gd name="connsiteY1322" fmla="*/ 586545 h 2768823"/>
                <a:gd name="connsiteX1323" fmla="*/ 1287077 w 1313607"/>
                <a:gd name="connsiteY1323" fmla="*/ 582219 h 2768823"/>
                <a:gd name="connsiteX1324" fmla="*/ 1287501 w 1313607"/>
                <a:gd name="connsiteY1324" fmla="*/ 577560 h 2768823"/>
                <a:gd name="connsiteX1325" fmla="*/ 1287501 w 1313607"/>
                <a:gd name="connsiteY1325" fmla="*/ 572750 h 2768823"/>
                <a:gd name="connsiteX1326" fmla="*/ 1286351 w 1313607"/>
                <a:gd name="connsiteY1326" fmla="*/ 564159 h 2768823"/>
                <a:gd name="connsiteX1327" fmla="*/ 1286412 w 1313607"/>
                <a:gd name="connsiteY1327" fmla="*/ 562435 h 2768823"/>
                <a:gd name="connsiteX1328" fmla="*/ 1289679 w 1313607"/>
                <a:gd name="connsiteY1328" fmla="*/ 557262 h 2768823"/>
                <a:gd name="connsiteX1329" fmla="*/ 1291131 w 1313607"/>
                <a:gd name="connsiteY1329" fmla="*/ 552996 h 2768823"/>
                <a:gd name="connsiteX1330" fmla="*/ 1293309 w 1313607"/>
                <a:gd name="connsiteY1330" fmla="*/ 552421 h 2768823"/>
                <a:gd name="connsiteX1331" fmla="*/ 1295669 w 1313607"/>
                <a:gd name="connsiteY1331" fmla="*/ 552542 h 2768823"/>
                <a:gd name="connsiteX1332" fmla="*/ 1297151 w 1313607"/>
                <a:gd name="connsiteY1332" fmla="*/ 551756 h 2768823"/>
                <a:gd name="connsiteX1333" fmla="*/ 1297635 w 1313607"/>
                <a:gd name="connsiteY1333" fmla="*/ 549669 h 2768823"/>
                <a:gd name="connsiteX1334" fmla="*/ 1297363 w 1313607"/>
                <a:gd name="connsiteY1334" fmla="*/ 547975 h 2768823"/>
                <a:gd name="connsiteX1335" fmla="*/ 1293279 w 1313607"/>
                <a:gd name="connsiteY1335" fmla="*/ 536358 h 2768823"/>
                <a:gd name="connsiteX1336" fmla="*/ 1290526 w 1313607"/>
                <a:gd name="connsiteY1336" fmla="*/ 530035 h 2768823"/>
                <a:gd name="connsiteX1337" fmla="*/ 1288409 w 1313607"/>
                <a:gd name="connsiteY1337" fmla="*/ 526587 h 2768823"/>
                <a:gd name="connsiteX1338" fmla="*/ 1284506 w 1313607"/>
                <a:gd name="connsiteY1338" fmla="*/ 521565 h 2768823"/>
                <a:gd name="connsiteX1339" fmla="*/ 1278789 w 1313607"/>
                <a:gd name="connsiteY1339" fmla="*/ 509555 h 2768823"/>
                <a:gd name="connsiteX1340" fmla="*/ 1276308 w 1313607"/>
                <a:gd name="connsiteY1340" fmla="*/ 506379 h 2768823"/>
                <a:gd name="connsiteX1341" fmla="*/ 1273253 w 1313607"/>
                <a:gd name="connsiteY1341" fmla="*/ 505108 h 2768823"/>
                <a:gd name="connsiteX1342" fmla="*/ 1271438 w 1313607"/>
                <a:gd name="connsiteY1342" fmla="*/ 503505 h 2768823"/>
                <a:gd name="connsiteX1343" fmla="*/ 1269078 w 1313607"/>
                <a:gd name="connsiteY1343" fmla="*/ 499754 h 2768823"/>
                <a:gd name="connsiteX1344" fmla="*/ 1265418 w 1313607"/>
                <a:gd name="connsiteY1344" fmla="*/ 492009 h 2768823"/>
                <a:gd name="connsiteX1345" fmla="*/ 1264722 w 1313607"/>
                <a:gd name="connsiteY1345" fmla="*/ 489861 h 2768823"/>
                <a:gd name="connsiteX1346" fmla="*/ 1264298 w 1313607"/>
                <a:gd name="connsiteY1346" fmla="*/ 488167 h 2768823"/>
                <a:gd name="connsiteX1347" fmla="*/ 1264086 w 1313607"/>
                <a:gd name="connsiteY1347" fmla="*/ 486141 h 2768823"/>
                <a:gd name="connsiteX1348" fmla="*/ 1264086 w 1313607"/>
                <a:gd name="connsiteY1348" fmla="*/ 483085 h 2768823"/>
                <a:gd name="connsiteX1349" fmla="*/ 1263693 w 1313607"/>
                <a:gd name="connsiteY1349" fmla="*/ 480514 h 2768823"/>
                <a:gd name="connsiteX1350" fmla="*/ 1262816 w 1313607"/>
                <a:gd name="connsiteY1350" fmla="*/ 479062 h 2768823"/>
                <a:gd name="connsiteX1351" fmla="*/ 1261787 w 1313607"/>
                <a:gd name="connsiteY1351" fmla="*/ 477973 h 2768823"/>
                <a:gd name="connsiteX1352" fmla="*/ 1259035 w 1313607"/>
                <a:gd name="connsiteY1352" fmla="*/ 473042 h 2768823"/>
                <a:gd name="connsiteX1353" fmla="*/ 1256856 w 1313607"/>
                <a:gd name="connsiteY1353" fmla="*/ 470410 h 2768823"/>
                <a:gd name="connsiteX1354" fmla="*/ 1255102 w 1313607"/>
                <a:gd name="connsiteY1354" fmla="*/ 467354 h 2768823"/>
                <a:gd name="connsiteX1355" fmla="*/ 1254376 w 1313607"/>
                <a:gd name="connsiteY1355" fmla="*/ 462605 h 2768823"/>
                <a:gd name="connsiteX1356" fmla="*/ 1255616 w 1313607"/>
                <a:gd name="connsiteY1356" fmla="*/ 460729 h 2768823"/>
                <a:gd name="connsiteX1357" fmla="*/ 1256735 w 1313607"/>
                <a:gd name="connsiteY1357" fmla="*/ 458491 h 2768823"/>
                <a:gd name="connsiteX1358" fmla="*/ 1257673 w 1313607"/>
                <a:gd name="connsiteY1358" fmla="*/ 455859 h 2768823"/>
                <a:gd name="connsiteX1359" fmla="*/ 1258460 w 1313607"/>
                <a:gd name="connsiteY1359" fmla="*/ 452803 h 2768823"/>
                <a:gd name="connsiteX1360" fmla="*/ 1256645 w 1313607"/>
                <a:gd name="connsiteY1360" fmla="*/ 451835 h 2768823"/>
                <a:gd name="connsiteX1361" fmla="*/ 1256130 w 1313607"/>
                <a:gd name="connsiteY1361" fmla="*/ 450141 h 2768823"/>
                <a:gd name="connsiteX1362" fmla="*/ 1256433 w 1313607"/>
                <a:gd name="connsiteY1362" fmla="*/ 445513 h 2768823"/>
                <a:gd name="connsiteX1363" fmla="*/ 1257250 w 1313607"/>
                <a:gd name="connsiteY1363" fmla="*/ 441731 h 2768823"/>
                <a:gd name="connsiteX1364" fmla="*/ 1259216 w 1313607"/>
                <a:gd name="connsiteY1364" fmla="*/ 439644 h 2768823"/>
                <a:gd name="connsiteX1365" fmla="*/ 1270590 w 1313607"/>
                <a:gd name="connsiteY1365" fmla="*/ 434683 h 2768823"/>
                <a:gd name="connsiteX1366" fmla="*/ 1273374 w 1313607"/>
                <a:gd name="connsiteY1366" fmla="*/ 430659 h 2768823"/>
                <a:gd name="connsiteX1367" fmla="*/ 1275643 w 1313607"/>
                <a:gd name="connsiteY1367" fmla="*/ 423218 h 2768823"/>
                <a:gd name="connsiteX1368" fmla="*/ 1272194 w 1313607"/>
                <a:gd name="connsiteY1368" fmla="*/ 421130 h 2768823"/>
                <a:gd name="connsiteX1369" fmla="*/ 1272194 w 1313607"/>
                <a:gd name="connsiteY1369" fmla="*/ 415534 h 2768823"/>
                <a:gd name="connsiteX1370" fmla="*/ 1273374 w 1313607"/>
                <a:gd name="connsiteY1370" fmla="*/ 408788 h 2768823"/>
                <a:gd name="connsiteX1371" fmla="*/ 1273585 w 1313607"/>
                <a:gd name="connsiteY1371" fmla="*/ 403373 h 2768823"/>
                <a:gd name="connsiteX1372" fmla="*/ 1272315 w 1313607"/>
                <a:gd name="connsiteY1372" fmla="*/ 401618 h 2768823"/>
                <a:gd name="connsiteX1373" fmla="*/ 1270106 w 1313607"/>
                <a:gd name="connsiteY1373" fmla="*/ 400620 h 2768823"/>
                <a:gd name="connsiteX1374" fmla="*/ 1263270 w 1313607"/>
                <a:gd name="connsiteY1374" fmla="*/ 399470 h 2768823"/>
                <a:gd name="connsiteX1375" fmla="*/ 1256433 w 1313607"/>
                <a:gd name="connsiteY1375" fmla="*/ 395265 h 2768823"/>
                <a:gd name="connsiteX1376" fmla="*/ 1252349 w 1313607"/>
                <a:gd name="connsiteY1376" fmla="*/ 395659 h 2768823"/>
                <a:gd name="connsiteX1377" fmla="*/ 1248356 w 1313607"/>
                <a:gd name="connsiteY1377" fmla="*/ 397383 h 2768823"/>
                <a:gd name="connsiteX1378" fmla="*/ 1244605 w 1313607"/>
                <a:gd name="connsiteY1378" fmla="*/ 397625 h 2768823"/>
                <a:gd name="connsiteX1379" fmla="*/ 1241247 w 1313607"/>
                <a:gd name="connsiteY1379" fmla="*/ 393480 h 2768823"/>
                <a:gd name="connsiteX1380" fmla="*/ 1240006 w 1313607"/>
                <a:gd name="connsiteY1380" fmla="*/ 387581 h 2768823"/>
                <a:gd name="connsiteX1381" fmla="*/ 1241216 w 1313607"/>
                <a:gd name="connsiteY1381" fmla="*/ 382953 h 2768823"/>
                <a:gd name="connsiteX1382" fmla="*/ 1243485 w 1313607"/>
                <a:gd name="connsiteY1382" fmla="*/ 378657 h 2768823"/>
                <a:gd name="connsiteX1383" fmla="*/ 1245361 w 1313607"/>
                <a:gd name="connsiteY1383" fmla="*/ 373696 h 2768823"/>
                <a:gd name="connsiteX1384" fmla="*/ 1244211 w 1313607"/>
                <a:gd name="connsiteY1384" fmla="*/ 370792 h 2768823"/>
                <a:gd name="connsiteX1385" fmla="*/ 1246843 w 1313607"/>
                <a:gd name="connsiteY1385" fmla="*/ 368039 h 2768823"/>
                <a:gd name="connsiteX1386" fmla="*/ 1250443 w 1313607"/>
                <a:gd name="connsiteY1386" fmla="*/ 365437 h 2768823"/>
                <a:gd name="connsiteX1387" fmla="*/ 1252258 w 1313607"/>
                <a:gd name="connsiteY1387" fmla="*/ 363017 h 2768823"/>
                <a:gd name="connsiteX1388" fmla="*/ 1251956 w 1313607"/>
                <a:gd name="connsiteY1388" fmla="*/ 357209 h 2768823"/>
                <a:gd name="connsiteX1389" fmla="*/ 1251169 w 1313607"/>
                <a:gd name="connsiteY1389" fmla="*/ 353397 h 2768823"/>
                <a:gd name="connsiteX1390" fmla="*/ 1248779 w 1313607"/>
                <a:gd name="connsiteY1390" fmla="*/ 347044 h 2768823"/>
                <a:gd name="connsiteX1391" fmla="*/ 1247962 w 1313607"/>
                <a:gd name="connsiteY1391" fmla="*/ 343051 h 2768823"/>
                <a:gd name="connsiteX1392" fmla="*/ 1246843 w 1313607"/>
                <a:gd name="connsiteY1392" fmla="*/ 333371 h 2768823"/>
                <a:gd name="connsiteX1393" fmla="*/ 1245724 w 1313607"/>
                <a:gd name="connsiteY1393" fmla="*/ 329499 h 2768823"/>
                <a:gd name="connsiteX1394" fmla="*/ 1245361 w 1313607"/>
                <a:gd name="connsiteY1394" fmla="*/ 326474 h 2768823"/>
                <a:gd name="connsiteX1395" fmla="*/ 1245361 w 1313607"/>
                <a:gd name="connsiteY1395" fmla="*/ 312044 h 2768823"/>
                <a:gd name="connsiteX1396" fmla="*/ 1244877 w 1313607"/>
                <a:gd name="connsiteY1396" fmla="*/ 306961 h 2768823"/>
                <a:gd name="connsiteX1397" fmla="*/ 1244574 w 1313607"/>
                <a:gd name="connsiteY1397" fmla="*/ 301002 h 2768823"/>
                <a:gd name="connsiteX1398" fmla="*/ 1245028 w 1313607"/>
                <a:gd name="connsiteY1398" fmla="*/ 295284 h 2768823"/>
                <a:gd name="connsiteX1399" fmla="*/ 1246813 w 1313607"/>
                <a:gd name="connsiteY1399" fmla="*/ 290989 h 2768823"/>
                <a:gd name="connsiteX1400" fmla="*/ 1250201 w 1313607"/>
                <a:gd name="connsiteY1400" fmla="*/ 288266 h 2768823"/>
                <a:gd name="connsiteX1401" fmla="*/ 1257310 w 1313607"/>
                <a:gd name="connsiteY1401" fmla="*/ 285846 h 2768823"/>
                <a:gd name="connsiteX1402" fmla="*/ 1260607 w 1313607"/>
                <a:gd name="connsiteY1402" fmla="*/ 283274 h 2768823"/>
                <a:gd name="connsiteX1403" fmla="*/ 1263149 w 1313607"/>
                <a:gd name="connsiteY1403" fmla="*/ 278525 h 2768823"/>
                <a:gd name="connsiteX1404" fmla="*/ 1263239 w 1313607"/>
                <a:gd name="connsiteY1404" fmla="*/ 274199 h 2768823"/>
                <a:gd name="connsiteX1405" fmla="*/ 1261333 w 1313607"/>
                <a:gd name="connsiteY1405" fmla="*/ 271053 h 2768823"/>
                <a:gd name="connsiteX1406" fmla="*/ 1254345 w 1313607"/>
                <a:gd name="connsiteY1406" fmla="*/ 268542 h 2768823"/>
                <a:gd name="connsiteX1407" fmla="*/ 1245391 w 1313607"/>
                <a:gd name="connsiteY1407" fmla="*/ 258015 h 2768823"/>
                <a:gd name="connsiteX1408" fmla="*/ 1242638 w 1313607"/>
                <a:gd name="connsiteY1408" fmla="*/ 255927 h 2768823"/>
                <a:gd name="connsiteX1409" fmla="*/ 1235166 w 1313607"/>
                <a:gd name="connsiteY1409" fmla="*/ 249272 h 2768823"/>
                <a:gd name="connsiteX1410" fmla="*/ 1234349 w 1313607"/>
                <a:gd name="connsiteY1410" fmla="*/ 247124 h 2768823"/>
                <a:gd name="connsiteX1411" fmla="*/ 1233986 w 1313607"/>
                <a:gd name="connsiteY1411" fmla="*/ 245006 h 2768823"/>
                <a:gd name="connsiteX1412" fmla="*/ 1229933 w 1313607"/>
                <a:gd name="connsiteY1412" fmla="*/ 230304 h 2768823"/>
                <a:gd name="connsiteX1413" fmla="*/ 1228813 w 1313607"/>
                <a:gd name="connsiteY1413" fmla="*/ 227703 h 2768823"/>
                <a:gd name="connsiteX1414" fmla="*/ 1227482 w 1313607"/>
                <a:gd name="connsiteY1414" fmla="*/ 225888 h 2768823"/>
                <a:gd name="connsiteX1415" fmla="*/ 1224003 w 1313607"/>
                <a:gd name="connsiteY1415" fmla="*/ 226039 h 2768823"/>
                <a:gd name="connsiteX1416" fmla="*/ 1215472 w 1313607"/>
                <a:gd name="connsiteY1416" fmla="*/ 231696 h 2768823"/>
                <a:gd name="connsiteX1417" fmla="*/ 1213294 w 1313607"/>
                <a:gd name="connsiteY1417" fmla="*/ 231756 h 2768823"/>
                <a:gd name="connsiteX1418" fmla="*/ 1212629 w 1313607"/>
                <a:gd name="connsiteY1418" fmla="*/ 230395 h 2768823"/>
                <a:gd name="connsiteX1419" fmla="*/ 1212205 w 1313607"/>
                <a:gd name="connsiteY1419" fmla="*/ 230183 h 2768823"/>
                <a:gd name="connsiteX1420" fmla="*/ 1211903 w 1313607"/>
                <a:gd name="connsiteY1420" fmla="*/ 229699 h 2768823"/>
                <a:gd name="connsiteX1421" fmla="*/ 1211661 w 1313607"/>
                <a:gd name="connsiteY1421" fmla="*/ 227430 h 2768823"/>
                <a:gd name="connsiteX1422" fmla="*/ 1211661 w 1313607"/>
                <a:gd name="connsiteY1422" fmla="*/ 226099 h 2768823"/>
                <a:gd name="connsiteX1423" fmla="*/ 1212175 w 1313607"/>
                <a:gd name="connsiteY1423" fmla="*/ 223861 h 2768823"/>
                <a:gd name="connsiteX1424" fmla="*/ 1212689 w 1313607"/>
                <a:gd name="connsiteY1424" fmla="*/ 217659 h 2768823"/>
                <a:gd name="connsiteX1425" fmla="*/ 1212568 w 1313607"/>
                <a:gd name="connsiteY1425" fmla="*/ 215663 h 2768823"/>
                <a:gd name="connsiteX1426" fmla="*/ 1211661 w 1313607"/>
                <a:gd name="connsiteY1426" fmla="*/ 213847 h 2768823"/>
                <a:gd name="connsiteX1427" fmla="*/ 1212235 w 1313607"/>
                <a:gd name="connsiteY1427" fmla="*/ 208009 h 2768823"/>
                <a:gd name="connsiteX1428" fmla="*/ 1210693 w 1313607"/>
                <a:gd name="connsiteY1428" fmla="*/ 203834 h 2768823"/>
                <a:gd name="connsiteX1429" fmla="*/ 1206155 w 1313607"/>
                <a:gd name="connsiteY1429" fmla="*/ 198510 h 2768823"/>
                <a:gd name="connsiteX1430" fmla="*/ 1204824 w 1313607"/>
                <a:gd name="connsiteY1430" fmla="*/ 196060 h 2768823"/>
                <a:gd name="connsiteX1431" fmla="*/ 1204310 w 1313607"/>
                <a:gd name="connsiteY1431" fmla="*/ 193912 h 2768823"/>
                <a:gd name="connsiteX1432" fmla="*/ 1204037 w 1313607"/>
                <a:gd name="connsiteY1432" fmla="*/ 191885 h 2768823"/>
                <a:gd name="connsiteX1433" fmla="*/ 1203372 w 1313607"/>
                <a:gd name="connsiteY1433" fmla="*/ 189797 h 2768823"/>
                <a:gd name="connsiteX1434" fmla="*/ 1201890 w 1313607"/>
                <a:gd name="connsiteY1434" fmla="*/ 187801 h 2768823"/>
                <a:gd name="connsiteX1435" fmla="*/ 1186975 w 1313607"/>
                <a:gd name="connsiteY1435" fmla="*/ 178181 h 2768823"/>
                <a:gd name="connsiteX1436" fmla="*/ 1184102 w 1313607"/>
                <a:gd name="connsiteY1436" fmla="*/ 174551 h 2768823"/>
                <a:gd name="connsiteX1437" fmla="*/ 1179897 w 1313607"/>
                <a:gd name="connsiteY1437" fmla="*/ 166080 h 2768823"/>
                <a:gd name="connsiteX1438" fmla="*/ 1177356 w 1313607"/>
                <a:gd name="connsiteY1438" fmla="*/ 163539 h 2768823"/>
                <a:gd name="connsiteX1439" fmla="*/ 1171366 w 1313607"/>
                <a:gd name="connsiteY1439" fmla="*/ 165899 h 2768823"/>
                <a:gd name="connsiteX1440" fmla="*/ 1168401 w 1313607"/>
                <a:gd name="connsiteY1440" fmla="*/ 162571 h 2768823"/>
                <a:gd name="connsiteX1441" fmla="*/ 1165497 w 1313607"/>
                <a:gd name="connsiteY1441" fmla="*/ 158034 h 2768823"/>
                <a:gd name="connsiteX1442" fmla="*/ 1162684 w 1313607"/>
                <a:gd name="connsiteY1442" fmla="*/ 155371 h 2768823"/>
                <a:gd name="connsiteX1443" fmla="*/ 1160778 w 1313607"/>
                <a:gd name="connsiteY1443" fmla="*/ 155371 h 2768823"/>
                <a:gd name="connsiteX1444" fmla="*/ 1159023 w 1313607"/>
                <a:gd name="connsiteY1444" fmla="*/ 155946 h 2768823"/>
                <a:gd name="connsiteX1445" fmla="*/ 1157208 w 1313607"/>
                <a:gd name="connsiteY1445" fmla="*/ 155946 h 2768823"/>
                <a:gd name="connsiteX1446" fmla="*/ 1152912 w 1313607"/>
                <a:gd name="connsiteY1446" fmla="*/ 153133 h 2768823"/>
                <a:gd name="connsiteX1447" fmla="*/ 1148496 w 1313607"/>
                <a:gd name="connsiteY1447" fmla="*/ 152649 h 2768823"/>
                <a:gd name="connsiteX1448" fmla="*/ 1142022 w 1313607"/>
                <a:gd name="connsiteY1448" fmla="*/ 149230 h 2768823"/>
                <a:gd name="connsiteX1449" fmla="*/ 1134066 w 1313607"/>
                <a:gd name="connsiteY1449" fmla="*/ 148656 h 2768823"/>
                <a:gd name="connsiteX1450" fmla="*/ 1133672 w 1313607"/>
                <a:gd name="connsiteY1450" fmla="*/ 148081 h 2768823"/>
                <a:gd name="connsiteX1451" fmla="*/ 1133733 w 1313607"/>
                <a:gd name="connsiteY1451" fmla="*/ 145600 h 2768823"/>
                <a:gd name="connsiteX1452" fmla="*/ 1133370 w 1313607"/>
                <a:gd name="connsiteY1452" fmla="*/ 145056 h 2768823"/>
                <a:gd name="connsiteX1453" fmla="*/ 1126533 w 1313607"/>
                <a:gd name="connsiteY1453" fmla="*/ 143089 h 2768823"/>
                <a:gd name="connsiteX1454" fmla="*/ 1103300 w 1313607"/>
                <a:gd name="connsiteY1454" fmla="*/ 142878 h 2768823"/>
                <a:gd name="connsiteX1455" fmla="*/ 1099882 w 1313607"/>
                <a:gd name="connsiteY1455" fmla="*/ 140034 h 2768823"/>
                <a:gd name="connsiteX1456" fmla="*/ 1099730 w 1313607"/>
                <a:gd name="connsiteY1456" fmla="*/ 138854 h 2768823"/>
                <a:gd name="connsiteX1457" fmla="*/ 1099791 w 1313607"/>
                <a:gd name="connsiteY1457" fmla="*/ 137069 h 2768823"/>
                <a:gd name="connsiteX1458" fmla="*/ 1099670 w 1313607"/>
                <a:gd name="connsiteY1458" fmla="*/ 135436 h 2768823"/>
                <a:gd name="connsiteX1459" fmla="*/ 1098944 w 1313607"/>
                <a:gd name="connsiteY1459" fmla="*/ 134710 h 2768823"/>
                <a:gd name="connsiteX1460" fmla="*/ 1098460 w 1313607"/>
                <a:gd name="connsiteY1460" fmla="*/ 134437 h 2768823"/>
                <a:gd name="connsiteX1461" fmla="*/ 1097250 w 1313607"/>
                <a:gd name="connsiteY1461" fmla="*/ 132925 h 2768823"/>
                <a:gd name="connsiteX1462" fmla="*/ 1095858 w 1313607"/>
                <a:gd name="connsiteY1462" fmla="*/ 130535 h 2768823"/>
                <a:gd name="connsiteX1463" fmla="*/ 1092984 w 1313607"/>
                <a:gd name="connsiteY1463" fmla="*/ 126753 h 2768823"/>
                <a:gd name="connsiteX1464" fmla="*/ 1092379 w 1313607"/>
                <a:gd name="connsiteY1464" fmla="*/ 125211 h 2768823"/>
                <a:gd name="connsiteX1465" fmla="*/ 1087872 w 1313607"/>
                <a:gd name="connsiteY1465" fmla="*/ 119826 h 2768823"/>
                <a:gd name="connsiteX1466" fmla="*/ 1069540 w 1313607"/>
                <a:gd name="connsiteY1466" fmla="*/ 114834 h 2768823"/>
                <a:gd name="connsiteX1467" fmla="*/ 1067482 w 1313607"/>
                <a:gd name="connsiteY1467" fmla="*/ 106909 h 2768823"/>
                <a:gd name="connsiteX1468" fmla="*/ 1061916 w 1313607"/>
                <a:gd name="connsiteY1468" fmla="*/ 103278 h 2768823"/>
                <a:gd name="connsiteX1469" fmla="*/ 1052962 w 1313607"/>
                <a:gd name="connsiteY1469" fmla="*/ 94657 h 2768823"/>
                <a:gd name="connsiteX1470" fmla="*/ 1045248 w 1313607"/>
                <a:gd name="connsiteY1470" fmla="*/ 92600 h 2768823"/>
                <a:gd name="connsiteX1471" fmla="*/ 1042041 w 1313607"/>
                <a:gd name="connsiteY1471" fmla="*/ 89695 h 2768823"/>
                <a:gd name="connsiteX1472" fmla="*/ 1040831 w 1313607"/>
                <a:gd name="connsiteY1472" fmla="*/ 87245 h 2768823"/>
                <a:gd name="connsiteX1473" fmla="*/ 1037776 w 1313607"/>
                <a:gd name="connsiteY1473" fmla="*/ 79350 h 2768823"/>
                <a:gd name="connsiteX1474" fmla="*/ 1037170 w 1313607"/>
                <a:gd name="connsiteY1474" fmla="*/ 76476 h 2768823"/>
                <a:gd name="connsiteX1475" fmla="*/ 1036293 w 1313607"/>
                <a:gd name="connsiteY1475" fmla="*/ 73874 h 2768823"/>
                <a:gd name="connsiteX1476" fmla="*/ 1034236 w 1313607"/>
                <a:gd name="connsiteY1476" fmla="*/ 72603 h 2768823"/>
                <a:gd name="connsiteX1477" fmla="*/ 1027066 w 1313607"/>
                <a:gd name="connsiteY1477" fmla="*/ 72543 h 2768823"/>
                <a:gd name="connsiteX1478" fmla="*/ 1026128 w 1313607"/>
                <a:gd name="connsiteY1478" fmla="*/ 72089 h 2768823"/>
                <a:gd name="connsiteX1479" fmla="*/ 1025675 w 1313607"/>
                <a:gd name="connsiteY1479" fmla="*/ 71212 h 2768823"/>
                <a:gd name="connsiteX1480" fmla="*/ 1024949 w 1313607"/>
                <a:gd name="connsiteY1480" fmla="*/ 68913 h 2768823"/>
                <a:gd name="connsiteX1481" fmla="*/ 1024404 w 1313607"/>
                <a:gd name="connsiteY1481" fmla="*/ 68459 h 2768823"/>
                <a:gd name="connsiteX1482" fmla="*/ 1023134 w 1313607"/>
                <a:gd name="connsiteY1482" fmla="*/ 66825 h 2768823"/>
                <a:gd name="connsiteX1483" fmla="*/ 1017204 w 1313607"/>
                <a:gd name="connsiteY1483" fmla="*/ 56389 h 2768823"/>
                <a:gd name="connsiteX1484" fmla="*/ 1010791 w 1313607"/>
                <a:gd name="connsiteY1484" fmla="*/ 50127 h 2768823"/>
                <a:gd name="connsiteX1485" fmla="*/ 1002654 w 1313607"/>
                <a:gd name="connsiteY1485" fmla="*/ 43018 h 2768823"/>
                <a:gd name="connsiteX1486" fmla="*/ 985925 w 1313607"/>
                <a:gd name="connsiteY1486" fmla="*/ 36544 h 2768823"/>
                <a:gd name="connsiteX1487" fmla="*/ 983776 w 1313607"/>
                <a:gd name="connsiteY1487" fmla="*/ 33428 h 2768823"/>
                <a:gd name="connsiteX1488" fmla="*/ 984079 w 1313607"/>
                <a:gd name="connsiteY1488" fmla="*/ 28194 h 2768823"/>
                <a:gd name="connsiteX1489" fmla="*/ 987135 w 1313607"/>
                <a:gd name="connsiteY1489" fmla="*/ 26682 h 2768823"/>
                <a:gd name="connsiteX1490" fmla="*/ 988768 w 1313607"/>
                <a:gd name="connsiteY1490" fmla="*/ 22537 h 2768823"/>
                <a:gd name="connsiteX1491" fmla="*/ 988768 w 1313607"/>
                <a:gd name="connsiteY1491" fmla="*/ 17909 h 2768823"/>
                <a:gd name="connsiteX1492" fmla="*/ 986469 w 1313607"/>
                <a:gd name="connsiteY1492" fmla="*/ 14369 h 2768823"/>
                <a:gd name="connsiteX1493" fmla="*/ 981689 w 1313607"/>
                <a:gd name="connsiteY1493" fmla="*/ 12917 h 2768823"/>
                <a:gd name="connsiteX1494" fmla="*/ 974792 w 1313607"/>
                <a:gd name="connsiteY1494" fmla="*/ 6474 h 2768823"/>
                <a:gd name="connsiteX1495" fmla="*/ 962752 w 1313607"/>
                <a:gd name="connsiteY1495" fmla="*/ 4689 h 2768823"/>
                <a:gd name="connsiteX1496" fmla="*/ 957488 w 1313607"/>
                <a:gd name="connsiteY1496" fmla="*/ 0 h 2768823"/>
                <a:gd name="connsiteX1497" fmla="*/ 931290 w 1313607"/>
                <a:gd name="connsiteY1497" fmla="*/ 1845 h 2768823"/>
                <a:gd name="connsiteX1498" fmla="*/ 905063 w 1313607"/>
                <a:gd name="connsiteY1498" fmla="*/ 3691 h 2768823"/>
                <a:gd name="connsiteX1499" fmla="*/ 929112 w 1313607"/>
                <a:gd name="connsiteY1499" fmla="*/ 32581 h 2768823"/>
                <a:gd name="connsiteX1500" fmla="*/ 929899 w 1313607"/>
                <a:gd name="connsiteY1500" fmla="*/ 36937 h 2768823"/>
                <a:gd name="connsiteX1501" fmla="*/ 930685 w 1313607"/>
                <a:gd name="connsiteY1501" fmla="*/ 59626 h 2768823"/>
                <a:gd name="connsiteX1502" fmla="*/ 930262 w 1313607"/>
                <a:gd name="connsiteY1502" fmla="*/ 64466 h 2768823"/>
                <a:gd name="connsiteX1503" fmla="*/ 928901 w 1313607"/>
                <a:gd name="connsiteY1503" fmla="*/ 69639 h 2768823"/>
                <a:gd name="connsiteX1504" fmla="*/ 918615 w 1313607"/>
                <a:gd name="connsiteY1504" fmla="*/ 96744 h 2768823"/>
                <a:gd name="connsiteX1505" fmla="*/ 910084 w 1313607"/>
                <a:gd name="connsiteY1505" fmla="*/ 110024 h 2768823"/>
                <a:gd name="connsiteX1506" fmla="*/ 891026 w 1313607"/>
                <a:gd name="connsiteY1506" fmla="*/ 126663 h 2768823"/>
                <a:gd name="connsiteX1507" fmla="*/ 919583 w 1313607"/>
                <a:gd name="connsiteY1507" fmla="*/ 142787 h 2768823"/>
                <a:gd name="connsiteX1508" fmla="*/ 895866 w 1313607"/>
                <a:gd name="connsiteY1508" fmla="*/ 171344 h 2768823"/>
                <a:gd name="connsiteX1509" fmla="*/ 891933 w 1313607"/>
                <a:gd name="connsiteY1509" fmla="*/ 174521 h 2768823"/>
                <a:gd name="connsiteX1510" fmla="*/ 887880 w 1313607"/>
                <a:gd name="connsiteY1510" fmla="*/ 174793 h 2768823"/>
                <a:gd name="connsiteX1511" fmla="*/ 842684 w 1313607"/>
                <a:gd name="connsiteY1511" fmla="*/ 156249 h 2768823"/>
                <a:gd name="connsiteX1512" fmla="*/ 798033 w 1313607"/>
                <a:gd name="connsiteY1512" fmla="*/ 135678 h 2768823"/>
                <a:gd name="connsiteX1513" fmla="*/ 764030 w 1313607"/>
                <a:gd name="connsiteY1513" fmla="*/ 138219 h 2768823"/>
                <a:gd name="connsiteX1514" fmla="*/ 758434 w 1313607"/>
                <a:gd name="connsiteY1514" fmla="*/ 136797 h 2768823"/>
                <a:gd name="connsiteX1515" fmla="*/ 742038 w 1313607"/>
                <a:gd name="connsiteY1515" fmla="*/ 121459 h 2768823"/>
                <a:gd name="connsiteX1516" fmla="*/ 737439 w 1313607"/>
                <a:gd name="connsiteY1516" fmla="*/ 118434 h 2768823"/>
                <a:gd name="connsiteX1517" fmla="*/ 712603 w 1313607"/>
                <a:gd name="connsiteY1517" fmla="*/ 127419 h 2768823"/>
                <a:gd name="connsiteX1518" fmla="*/ 710848 w 1313607"/>
                <a:gd name="connsiteY1518" fmla="*/ 128054 h 2768823"/>
                <a:gd name="connsiteX1519" fmla="*/ 709820 w 1313607"/>
                <a:gd name="connsiteY1519" fmla="*/ 129506 h 2768823"/>
                <a:gd name="connsiteX1520" fmla="*/ 709275 w 1313607"/>
                <a:gd name="connsiteY1520" fmla="*/ 132441 h 2768823"/>
                <a:gd name="connsiteX1521" fmla="*/ 707309 w 1313607"/>
                <a:gd name="connsiteY1521" fmla="*/ 155704 h 2768823"/>
                <a:gd name="connsiteX1522" fmla="*/ 707188 w 1313607"/>
                <a:gd name="connsiteY1522" fmla="*/ 163388 h 2768823"/>
                <a:gd name="connsiteX1523" fmla="*/ 712512 w 1313607"/>
                <a:gd name="connsiteY1523" fmla="*/ 212668 h 2768823"/>
                <a:gd name="connsiteX1524" fmla="*/ 710304 w 1313607"/>
                <a:gd name="connsiteY1524" fmla="*/ 222681 h 2768823"/>
                <a:gd name="connsiteX1525" fmla="*/ 691729 w 1313607"/>
                <a:gd name="connsiteY1525" fmla="*/ 257954 h 2768823"/>
                <a:gd name="connsiteX1526" fmla="*/ 688583 w 1313607"/>
                <a:gd name="connsiteY1526" fmla="*/ 264156 h 2768823"/>
                <a:gd name="connsiteX1527" fmla="*/ 685588 w 1313607"/>
                <a:gd name="connsiteY1527" fmla="*/ 268663 h 2768823"/>
                <a:gd name="connsiteX1528" fmla="*/ 683017 w 1313607"/>
                <a:gd name="connsiteY1528" fmla="*/ 269450 h 2768823"/>
                <a:gd name="connsiteX1529" fmla="*/ 654157 w 1313607"/>
                <a:gd name="connsiteY1529" fmla="*/ 252690 h 2768823"/>
                <a:gd name="connsiteX1530" fmla="*/ 625297 w 1313607"/>
                <a:gd name="connsiteY1530" fmla="*/ 235870 h 2768823"/>
                <a:gd name="connsiteX1531" fmla="*/ 623119 w 1313607"/>
                <a:gd name="connsiteY1531" fmla="*/ 237716 h 2768823"/>
                <a:gd name="connsiteX1532" fmla="*/ 615072 w 1313607"/>
                <a:gd name="connsiteY1532" fmla="*/ 252025 h 2768823"/>
                <a:gd name="connsiteX1533" fmla="*/ 573597 w 1313607"/>
                <a:gd name="connsiteY1533" fmla="*/ 283970 h 2768823"/>
                <a:gd name="connsiteX1534" fmla="*/ 571087 w 1313607"/>
                <a:gd name="connsiteY1534" fmla="*/ 287328 h 2768823"/>
                <a:gd name="connsiteX1535" fmla="*/ 568969 w 1313607"/>
                <a:gd name="connsiteY1535" fmla="*/ 292199 h 2768823"/>
                <a:gd name="connsiteX1536" fmla="*/ 553571 w 1313607"/>
                <a:gd name="connsiteY1536" fmla="*/ 348406 h 2768823"/>
                <a:gd name="connsiteX1537" fmla="*/ 551423 w 1313607"/>
                <a:gd name="connsiteY1537" fmla="*/ 353609 h 2768823"/>
                <a:gd name="connsiteX1538" fmla="*/ 540926 w 1313607"/>
                <a:gd name="connsiteY1538" fmla="*/ 370126 h 2768823"/>
                <a:gd name="connsiteX1539" fmla="*/ 535450 w 1313607"/>
                <a:gd name="connsiteY1539" fmla="*/ 375904 h 2768823"/>
                <a:gd name="connsiteX1540" fmla="*/ 529249 w 1313607"/>
                <a:gd name="connsiteY1540" fmla="*/ 378899 h 2768823"/>
                <a:gd name="connsiteX1541" fmla="*/ 512399 w 1313607"/>
                <a:gd name="connsiteY1541" fmla="*/ 382136 h 2768823"/>
                <a:gd name="connsiteX1542" fmla="*/ 510493 w 1313607"/>
                <a:gd name="connsiteY1542" fmla="*/ 385010 h 2768823"/>
                <a:gd name="connsiteX1543" fmla="*/ 505108 w 1313607"/>
                <a:gd name="connsiteY1543" fmla="*/ 402798 h 2768823"/>
                <a:gd name="connsiteX1544" fmla="*/ 536388 w 1313607"/>
                <a:gd name="connsiteY1544" fmla="*/ 456161 h 2768823"/>
                <a:gd name="connsiteX1545" fmla="*/ 536993 w 1313607"/>
                <a:gd name="connsiteY1545" fmla="*/ 460397 h 2768823"/>
                <a:gd name="connsiteX1546" fmla="*/ 534150 w 1313607"/>
                <a:gd name="connsiteY1546" fmla="*/ 491314 h 2768823"/>
                <a:gd name="connsiteX1547" fmla="*/ 532546 w 1313607"/>
                <a:gd name="connsiteY1547" fmla="*/ 495276 h 2768823"/>
                <a:gd name="connsiteX1548" fmla="*/ 529521 w 1313607"/>
                <a:gd name="connsiteY1548" fmla="*/ 498029 h 2768823"/>
                <a:gd name="connsiteX1549" fmla="*/ 523592 w 1313607"/>
                <a:gd name="connsiteY1549" fmla="*/ 501448 h 2768823"/>
                <a:gd name="connsiteX1550" fmla="*/ 504987 w 1313607"/>
                <a:gd name="connsiteY1550" fmla="*/ 519296 h 2768823"/>
                <a:gd name="connsiteX1551" fmla="*/ 496245 w 1313607"/>
                <a:gd name="connsiteY1551" fmla="*/ 530338 h 2768823"/>
                <a:gd name="connsiteX1552" fmla="*/ 459065 w 1313607"/>
                <a:gd name="connsiteY1552" fmla="*/ 597859 h 2768823"/>
                <a:gd name="connsiteX1553" fmla="*/ 434592 w 1313607"/>
                <a:gd name="connsiteY1553" fmla="*/ 622998 h 2768823"/>
                <a:gd name="connsiteX1554" fmla="*/ 434955 w 1313607"/>
                <a:gd name="connsiteY1554" fmla="*/ 629411 h 2768823"/>
                <a:gd name="connsiteX1555" fmla="*/ 439614 w 1313607"/>
                <a:gd name="connsiteY1555" fmla="*/ 654520 h 2768823"/>
                <a:gd name="connsiteX1556" fmla="*/ 440219 w 1313607"/>
                <a:gd name="connsiteY1556" fmla="*/ 657787 h 2768823"/>
                <a:gd name="connsiteX1557" fmla="*/ 441005 w 1313607"/>
                <a:gd name="connsiteY1557" fmla="*/ 665229 h 2768823"/>
                <a:gd name="connsiteX1558" fmla="*/ 441187 w 1313607"/>
                <a:gd name="connsiteY1558" fmla="*/ 669948 h 2768823"/>
                <a:gd name="connsiteX1559" fmla="*/ 440158 w 1313607"/>
                <a:gd name="connsiteY1559" fmla="*/ 672973 h 2768823"/>
                <a:gd name="connsiteX1560" fmla="*/ 397050 w 1313607"/>
                <a:gd name="connsiteY1560" fmla="*/ 700865 h 2768823"/>
                <a:gd name="connsiteX1561" fmla="*/ 371246 w 1313607"/>
                <a:gd name="connsiteY1561" fmla="*/ 704042 h 2768823"/>
                <a:gd name="connsiteX1562" fmla="*/ 345441 w 1313607"/>
                <a:gd name="connsiteY1562" fmla="*/ 707218 h 2768823"/>
                <a:gd name="connsiteX1563" fmla="*/ 355878 w 1313607"/>
                <a:gd name="connsiteY1563" fmla="*/ 771442 h 2768823"/>
                <a:gd name="connsiteX1564" fmla="*/ 356332 w 1313607"/>
                <a:gd name="connsiteY1564" fmla="*/ 780608 h 2768823"/>
                <a:gd name="connsiteX1565" fmla="*/ 355152 w 1313607"/>
                <a:gd name="connsiteY1565" fmla="*/ 785388 h 2768823"/>
                <a:gd name="connsiteX1566" fmla="*/ 348436 w 1313607"/>
                <a:gd name="connsiteY1566" fmla="*/ 799908 h 2768823"/>
                <a:gd name="connsiteX1567" fmla="*/ 347468 w 1313607"/>
                <a:gd name="connsiteY1567" fmla="*/ 803448 h 2768823"/>
                <a:gd name="connsiteX1568" fmla="*/ 342386 w 1313607"/>
                <a:gd name="connsiteY1568" fmla="*/ 856327 h 2768823"/>
                <a:gd name="connsiteX1569" fmla="*/ 342507 w 1313607"/>
                <a:gd name="connsiteY1569" fmla="*/ 866915 h 2768823"/>
                <a:gd name="connsiteX1570" fmla="*/ 343202 w 1313607"/>
                <a:gd name="connsiteY1570" fmla="*/ 878592 h 2768823"/>
                <a:gd name="connsiteX1571" fmla="*/ 342809 w 1313607"/>
                <a:gd name="connsiteY1571" fmla="*/ 888908 h 2768823"/>
                <a:gd name="connsiteX1572" fmla="*/ 339572 w 1313607"/>
                <a:gd name="connsiteY1572" fmla="*/ 895412 h 2768823"/>
                <a:gd name="connsiteX1573" fmla="*/ 331374 w 1313607"/>
                <a:gd name="connsiteY1573" fmla="*/ 902763 h 2768823"/>
                <a:gd name="connsiteX1574" fmla="*/ 329317 w 1313607"/>
                <a:gd name="connsiteY1574" fmla="*/ 906121 h 2768823"/>
                <a:gd name="connsiteX1575" fmla="*/ 327895 w 1313607"/>
                <a:gd name="connsiteY1575" fmla="*/ 911536 h 2768823"/>
                <a:gd name="connsiteX1576" fmla="*/ 325112 w 1313607"/>
                <a:gd name="connsiteY1576" fmla="*/ 931986 h 2768823"/>
                <a:gd name="connsiteX1577" fmla="*/ 324537 w 1313607"/>
                <a:gd name="connsiteY1577" fmla="*/ 933711 h 2768823"/>
                <a:gd name="connsiteX1578" fmla="*/ 324447 w 1313607"/>
                <a:gd name="connsiteY1578" fmla="*/ 933953 h 2768823"/>
                <a:gd name="connsiteX1579" fmla="*/ 322299 w 1313607"/>
                <a:gd name="connsiteY1579" fmla="*/ 940487 h 2768823"/>
                <a:gd name="connsiteX1580" fmla="*/ 308413 w 1313607"/>
                <a:gd name="connsiteY1580" fmla="*/ 960786 h 2768823"/>
                <a:gd name="connsiteX1581" fmla="*/ 308413 w 1313607"/>
                <a:gd name="connsiteY1581" fmla="*/ 960786 h 2768823"/>
                <a:gd name="connsiteX1582" fmla="*/ 281762 w 1313607"/>
                <a:gd name="connsiteY1582" fmla="*/ 1005225 h 2768823"/>
                <a:gd name="connsiteX1583" fmla="*/ 255110 w 1313607"/>
                <a:gd name="connsiteY1583" fmla="*/ 1049271 h 2768823"/>
                <a:gd name="connsiteX1584" fmla="*/ 285029 w 1313607"/>
                <a:gd name="connsiteY1584" fmla="*/ 1069207 h 2768823"/>
                <a:gd name="connsiteX1585" fmla="*/ 289264 w 1313607"/>
                <a:gd name="connsiteY1585" fmla="*/ 1070689 h 2768823"/>
                <a:gd name="connsiteX1586" fmla="*/ 297160 w 1313607"/>
                <a:gd name="connsiteY1586" fmla="*/ 1072353 h 2768823"/>
                <a:gd name="connsiteX1587" fmla="*/ 300790 w 1313607"/>
                <a:gd name="connsiteY1587" fmla="*/ 1074773 h 2768823"/>
                <a:gd name="connsiteX1588" fmla="*/ 302666 w 1313607"/>
                <a:gd name="connsiteY1588" fmla="*/ 1079946 h 2768823"/>
                <a:gd name="connsiteX1589" fmla="*/ 307264 w 1313607"/>
                <a:gd name="connsiteY1589" fmla="*/ 1130284 h 2768823"/>
                <a:gd name="connsiteX1590" fmla="*/ 307173 w 1313607"/>
                <a:gd name="connsiteY1590" fmla="*/ 1134156 h 2768823"/>
                <a:gd name="connsiteX1591" fmla="*/ 305902 w 1313607"/>
                <a:gd name="connsiteY1591" fmla="*/ 1138029 h 2768823"/>
                <a:gd name="connsiteX1592" fmla="*/ 289234 w 1313607"/>
                <a:gd name="connsiteY1592" fmla="*/ 1169672 h 2768823"/>
                <a:gd name="connsiteX1593" fmla="*/ 287419 w 1313607"/>
                <a:gd name="connsiteY1593" fmla="*/ 1171789 h 2768823"/>
                <a:gd name="connsiteX1594" fmla="*/ 284908 w 1313607"/>
                <a:gd name="connsiteY1594" fmla="*/ 1171789 h 2768823"/>
                <a:gd name="connsiteX1595" fmla="*/ 249423 w 1313607"/>
                <a:gd name="connsiteY1595" fmla="*/ 1163198 h 2768823"/>
                <a:gd name="connsiteX1596" fmla="*/ 213938 w 1313607"/>
                <a:gd name="connsiteY1596" fmla="*/ 1154606 h 2768823"/>
                <a:gd name="connsiteX1597" fmla="*/ 188618 w 1313607"/>
                <a:gd name="connsiteY1597" fmla="*/ 1161383 h 2768823"/>
                <a:gd name="connsiteX1598" fmla="*/ 165748 w 1313607"/>
                <a:gd name="connsiteY1598" fmla="*/ 1175631 h 2768823"/>
                <a:gd name="connsiteX1599" fmla="*/ 158366 w 1313607"/>
                <a:gd name="connsiteY1599" fmla="*/ 1183013 h 2768823"/>
                <a:gd name="connsiteX1600" fmla="*/ 138309 w 1313607"/>
                <a:gd name="connsiteY1600" fmla="*/ 1213869 h 2768823"/>
                <a:gd name="connsiteX1601" fmla="*/ 119251 w 1313607"/>
                <a:gd name="connsiteY1601" fmla="*/ 1245754 h 2768823"/>
                <a:gd name="connsiteX1602" fmla="*/ 106878 w 1313607"/>
                <a:gd name="connsiteY1602" fmla="*/ 1258006 h 2768823"/>
                <a:gd name="connsiteX1603" fmla="*/ 111809 w 1313607"/>
                <a:gd name="connsiteY1603" fmla="*/ 1279091 h 2768823"/>
                <a:gd name="connsiteX1604" fmla="*/ 111809 w 1313607"/>
                <a:gd name="connsiteY1604" fmla="*/ 1283720 h 2768823"/>
                <a:gd name="connsiteX1605" fmla="*/ 110357 w 1313607"/>
                <a:gd name="connsiteY1605" fmla="*/ 1287773 h 2768823"/>
                <a:gd name="connsiteX1606" fmla="*/ 88970 w 1313607"/>
                <a:gd name="connsiteY1606" fmla="*/ 1321957 h 2768823"/>
                <a:gd name="connsiteX1607" fmla="*/ 95746 w 1313607"/>
                <a:gd name="connsiteY1607" fmla="*/ 1339231 h 2768823"/>
                <a:gd name="connsiteX1608" fmla="*/ 112142 w 1313607"/>
                <a:gd name="connsiteY1608" fmla="*/ 1380797 h 2768823"/>
                <a:gd name="connsiteX1609" fmla="*/ 100223 w 1313607"/>
                <a:gd name="connsiteY1609" fmla="*/ 1396679 h 2768823"/>
                <a:gd name="connsiteX1610" fmla="*/ 99104 w 1313607"/>
                <a:gd name="connsiteY1610" fmla="*/ 1399915 h 2768823"/>
                <a:gd name="connsiteX1611" fmla="*/ 99467 w 1313607"/>
                <a:gd name="connsiteY1611" fmla="*/ 1404151 h 2768823"/>
                <a:gd name="connsiteX1612" fmla="*/ 105426 w 1313607"/>
                <a:gd name="connsiteY1612" fmla="*/ 1435098 h 2768823"/>
                <a:gd name="connsiteX1613" fmla="*/ 105215 w 1313607"/>
                <a:gd name="connsiteY1613" fmla="*/ 1439787 h 2768823"/>
                <a:gd name="connsiteX1614" fmla="*/ 103672 w 1313607"/>
                <a:gd name="connsiteY1614" fmla="*/ 1445383 h 2768823"/>
                <a:gd name="connsiteX1615" fmla="*/ 100072 w 1313607"/>
                <a:gd name="connsiteY1615" fmla="*/ 1455185 h 2768823"/>
                <a:gd name="connsiteX1616" fmla="*/ 98771 w 1313607"/>
                <a:gd name="connsiteY1616" fmla="*/ 1460751 h 2768823"/>
                <a:gd name="connsiteX1617" fmla="*/ 98892 w 1313607"/>
                <a:gd name="connsiteY1617" fmla="*/ 1464775 h 2768823"/>
                <a:gd name="connsiteX1618" fmla="*/ 117829 w 1313607"/>
                <a:gd name="connsiteY1618" fmla="*/ 1513207 h 2768823"/>
                <a:gd name="connsiteX1619" fmla="*/ 118525 w 1313607"/>
                <a:gd name="connsiteY1619" fmla="*/ 1514962 h 2768823"/>
                <a:gd name="connsiteX1620" fmla="*/ 121338 w 1313607"/>
                <a:gd name="connsiteY1620" fmla="*/ 1524763 h 2768823"/>
                <a:gd name="connsiteX1621" fmla="*/ 121429 w 1313607"/>
                <a:gd name="connsiteY1621" fmla="*/ 1527607 h 2768823"/>
                <a:gd name="connsiteX1622" fmla="*/ 121671 w 1313607"/>
                <a:gd name="connsiteY1622" fmla="*/ 1535109 h 2768823"/>
                <a:gd name="connsiteX1623" fmla="*/ 113836 w 1313607"/>
                <a:gd name="connsiteY1623" fmla="*/ 1585448 h 2768823"/>
                <a:gd name="connsiteX1624" fmla="*/ 106001 w 1313607"/>
                <a:gd name="connsiteY1624" fmla="*/ 1635362 h 2768823"/>
                <a:gd name="connsiteX1625" fmla="*/ 107393 w 1313607"/>
                <a:gd name="connsiteY1625" fmla="*/ 1637964 h 2768823"/>
                <a:gd name="connsiteX1626" fmla="*/ 119039 w 1313607"/>
                <a:gd name="connsiteY1626" fmla="*/ 1649732 h 2768823"/>
                <a:gd name="connsiteX1627" fmla="*/ 123728 w 1313607"/>
                <a:gd name="connsiteY1627" fmla="*/ 1653271 h 2768823"/>
                <a:gd name="connsiteX1628" fmla="*/ 131654 w 1313607"/>
                <a:gd name="connsiteY1628" fmla="*/ 1663133 h 2768823"/>
                <a:gd name="connsiteX1629" fmla="*/ 134498 w 1313607"/>
                <a:gd name="connsiteY1629" fmla="*/ 1664827 h 2768823"/>
                <a:gd name="connsiteX1630" fmla="*/ 138279 w 1313607"/>
                <a:gd name="connsiteY1630" fmla="*/ 1665674 h 2768823"/>
                <a:gd name="connsiteX1631" fmla="*/ 145177 w 1313607"/>
                <a:gd name="connsiteY1631" fmla="*/ 1666098 h 2768823"/>
                <a:gd name="connsiteX1632" fmla="*/ 148444 w 1313607"/>
                <a:gd name="connsiteY1632" fmla="*/ 1667217 h 2768823"/>
                <a:gd name="connsiteX1633" fmla="*/ 151499 w 1313607"/>
                <a:gd name="connsiteY1633" fmla="*/ 1669940 h 2768823"/>
                <a:gd name="connsiteX1634" fmla="*/ 177999 w 1313607"/>
                <a:gd name="connsiteY1634" fmla="*/ 1704003 h 2768823"/>
                <a:gd name="connsiteX1635" fmla="*/ 178998 w 1313607"/>
                <a:gd name="connsiteY1635" fmla="*/ 1705848 h 2768823"/>
                <a:gd name="connsiteX1636" fmla="*/ 179119 w 1313607"/>
                <a:gd name="connsiteY1636" fmla="*/ 1708147 h 2768823"/>
                <a:gd name="connsiteX1637" fmla="*/ 175761 w 1313607"/>
                <a:gd name="connsiteY1637" fmla="*/ 1726298 h 2768823"/>
                <a:gd name="connsiteX1638" fmla="*/ 174248 w 1313607"/>
                <a:gd name="connsiteY1638" fmla="*/ 1731743 h 2768823"/>
                <a:gd name="connsiteX1639" fmla="*/ 172222 w 1313607"/>
                <a:gd name="connsiteY1639" fmla="*/ 1735979 h 2768823"/>
                <a:gd name="connsiteX1640" fmla="*/ 164870 w 1313607"/>
                <a:gd name="connsiteY1640" fmla="*/ 1746234 h 2768823"/>
                <a:gd name="connsiteX1641" fmla="*/ 164114 w 1313607"/>
                <a:gd name="connsiteY1641" fmla="*/ 1747958 h 2768823"/>
                <a:gd name="connsiteX1642" fmla="*/ 163479 w 1313607"/>
                <a:gd name="connsiteY1642" fmla="*/ 1750529 h 2768823"/>
                <a:gd name="connsiteX1643" fmla="*/ 161512 w 1313607"/>
                <a:gd name="connsiteY1643" fmla="*/ 1763538 h 2768823"/>
                <a:gd name="connsiteX1644" fmla="*/ 161240 w 1313607"/>
                <a:gd name="connsiteY1644" fmla="*/ 1764324 h 2768823"/>
                <a:gd name="connsiteX1645" fmla="*/ 160545 w 1313607"/>
                <a:gd name="connsiteY1645" fmla="*/ 1766381 h 2768823"/>
                <a:gd name="connsiteX1646" fmla="*/ 158396 w 1313607"/>
                <a:gd name="connsiteY1646" fmla="*/ 1767501 h 2768823"/>
                <a:gd name="connsiteX1647" fmla="*/ 147052 w 1313607"/>
                <a:gd name="connsiteY1647" fmla="*/ 1765534 h 2768823"/>
                <a:gd name="connsiteX1648" fmla="*/ 141214 w 1313607"/>
                <a:gd name="connsiteY1648" fmla="*/ 1765807 h 2768823"/>
                <a:gd name="connsiteX1649" fmla="*/ 118011 w 1313607"/>
                <a:gd name="connsiteY1649" fmla="*/ 1772280 h 2768823"/>
                <a:gd name="connsiteX1650" fmla="*/ 115228 w 1313607"/>
                <a:gd name="connsiteY1650" fmla="*/ 1774852 h 2768823"/>
                <a:gd name="connsiteX1651" fmla="*/ 115500 w 1313607"/>
                <a:gd name="connsiteY1651" fmla="*/ 1778754 h 2768823"/>
                <a:gd name="connsiteX1652" fmla="*/ 119402 w 1313607"/>
                <a:gd name="connsiteY1652" fmla="*/ 1787497 h 2768823"/>
                <a:gd name="connsiteX1653" fmla="*/ 121248 w 1313607"/>
                <a:gd name="connsiteY1653" fmla="*/ 1793880 h 2768823"/>
                <a:gd name="connsiteX1654" fmla="*/ 123426 w 1313607"/>
                <a:gd name="connsiteY1654" fmla="*/ 1807735 h 2768823"/>
                <a:gd name="connsiteX1655" fmla="*/ 124939 w 1313607"/>
                <a:gd name="connsiteY1655" fmla="*/ 1814481 h 2768823"/>
                <a:gd name="connsiteX1656" fmla="*/ 127631 w 1313607"/>
                <a:gd name="connsiteY1656" fmla="*/ 1821923 h 2768823"/>
                <a:gd name="connsiteX1657" fmla="*/ 138249 w 1313607"/>
                <a:gd name="connsiteY1657" fmla="*/ 1840195 h 2768823"/>
                <a:gd name="connsiteX1658" fmla="*/ 149503 w 1313607"/>
                <a:gd name="connsiteY1658" fmla="*/ 1866997 h 2768823"/>
                <a:gd name="connsiteX1659" fmla="*/ 150955 w 1313607"/>
                <a:gd name="connsiteY1659" fmla="*/ 1872352 h 2768823"/>
                <a:gd name="connsiteX1660" fmla="*/ 151348 w 1313607"/>
                <a:gd name="connsiteY1660" fmla="*/ 1878191 h 2768823"/>
                <a:gd name="connsiteX1661" fmla="*/ 150592 w 1313607"/>
                <a:gd name="connsiteY1661" fmla="*/ 1884967 h 2768823"/>
                <a:gd name="connsiteX1662" fmla="*/ 149412 w 1313607"/>
                <a:gd name="connsiteY1662" fmla="*/ 1889474 h 2768823"/>
                <a:gd name="connsiteX1663" fmla="*/ 147839 w 1313607"/>
                <a:gd name="connsiteY1663" fmla="*/ 1893044 h 2768823"/>
                <a:gd name="connsiteX1664" fmla="*/ 145903 w 1313607"/>
                <a:gd name="connsiteY1664" fmla="*/ 1896039 h 2768823"/>
                <a:gd name="connsiteX1665" fmla="*/ 140458 w 1313607"/>
                <a:gd name="connsiteY1665" fmla="*/ 1902452 h 2768823"/>
                <a:gd name="connsiteX1666" fmla="*/ 139157 w 1313607"/>
                <a:gd name="connsiteY1666" fmla="*/ 1904933 h 2768823"/>
                <a:gd name="connsiteX1667" fmla="*/ 138703 w 1313607"/>
                <a:gd name="connsiteY1667" fmla="*/ 1907988 h 2768823"/>
                <a:gd name="connsiteX1668" fmla="*/ 139550 w 1313607"/>
                <a:gd name="connsiteY1668" fmla="*/ 1914311 h 2768823"/>
                <a:gd name="connsiteX1669" fmla="*/ 142151 w 1313607"/>
                <a:gd name="connsiteY1669" fmla="*/ 1926321 h 2768823"/>
                <a:gd name="connsiteX1670" fmla="*/ 142454 w 1313607"/>
                <a:gd name="connsiteY1670" fmla="*/ 1933006 h 2768823"/>
                <a:gd name="connsiteX1671" fmla="*/ 141093 w 1313607"/>
                <a:gd name="connsiteY1671" fmla="*/ 1941113 h 2768823"/>
                <a:gd name="connsiteX1672" fmla="*/ 138309 w 1313607"/>
                <a:gd name="connsiteY1672" fmla="*/ 1947920 h 2768823"/>
                <a:gd name="connsiteX1673" fmla="*/ 134649 w 1313607"/>
                <a:gd name="connsiteY1673" fmla="*/ 1953517 h 2768823"/>
                <a:gd name="connsiteX1674" fmla="*/ 118949 w 1313607"/>
                <a:gd name="connsiteY1674" fmla="*/ 1970609 h 2768823"/>
                <a:gd name="connsiteX1675" fmla="*/ 104186 w 1313607"/>
                <a:gd name="connsiteY1675" fmla="*/ 1981741 h 2768823"/>
                <a:gd name="connsiteX1676" fmla="*/ 100072 w 1313607"/>
                <a:gd name="connsiteY1676" fmla="*/ 1982558 h 2768823"/>
                <a:gd name="connsiteX1677" fmla="*/ 83917 w 1313607"/>
                <a:gd name="connsiteY1677" fmla="*/ 1981076 h 2768823"/>
                <a:gd name="connsiteX1678" fmla="*/ 78684 w 1313607"/>
                <a:gd name="connsiteY1678" fmla="*/ 1982800 h 2768823"/>
                <a:gd name="connsiteX1679" fmla="*/ 77111 w 1313607"/>
                <a:gd name="connsiteY1679" fmla="*/ 1984252 h 2768823"/>
                <a:gd name="connsiteX1680" fmla="*/ 74600 w 1313607"/>
                <a:gd name="connsiteY1680" fmla="*/ 1986551 h 2768823"/>
                <a:gd name="connsiteX1681" fmla="*/ 73935 w 1313607"/>
                <a:gd name="connsiteY1681" fmla="*/ 1992813 h 2768823"/>
                <a:gd name="connsiteX1682" fmla="*/ 75114 w 1313607"/>
                <a:gd name="connsiteY1682" fmla="*/ 1995415 h 2768823"/>
                <a:gd name="connsiteX1683" fmla="*/ 78019 w 1313607"/>
                <a:gd name="connsiteY1683" fmla="*/ 1998894 h 2768823"/>
                <a:gd name="connsiteX1684" fmla="*/ 78623 w 1313607"/>
                <a:gd name="connsiteY1684" fmla="*/ 1999620 h 2768823"/>
                <a:gd name="connsiteX1685" fmla="*/ 79864 w 1313607"/>
                <a:gd name="connsiteY1685" fmla="*/ 2002615 h 2768823"/>
                <a:gd name="connsiteX1686" fmla="*/ 80015 w 1313607"/>
                <a:gd name="connsiteY1686" fmla="*/ 2005398 h 2768823"/>
                <a:gd name="connsiteX1687" fmla="*/ 79380 w 1313607"/>
                <a:gd name="connsiteY1687" fmla="*/ 2012356 h 2768823"/>
                <a:gd name="connsiteX1688" fmla="*/ 79380 w 1313607"/>
                <a:gd name="connsiteY1688" fmla="*/ 2015653 h 2768823"/>
                <a:gd name="connsiteX1689" fmla="*/ 78835 w 1313607"/>
                <a:gd name="connsiteY1689" fmla="*/ 2017166 h 2768823"/>
                <a:gd name="connsiteX1690" fmla="*/ 74903 w 1313607"/>
                <a:gd name="connsiteY1690" fmla="*/ 2023095 h 2768823"/>
                <a:gd name="connsiteX1691" fmla="*/ 72482 w 1313607"/>
                <a:gd name="connsiteY1691" fmla="*/ 2025576 h 2768823"/>
                <a:gd name="connsiteX1692" fmla="*/ 58930 w 1313607"/>
                <a:gd name="connsiteY1692" fmla="*/ 2032412 h 2768823"/>
                <a:gd name="connsiteX1693" fmla="*/ 57024 w 1313607"/>
                <a:gd name="connsiteY1693" fmla="*/ 2035196 h 2768823"/>
                <a:gd name="connsiteX1694" fmla="*/ 56631 w 1313607"/>
                <a:gd name="connsiteY1694" fmla="*/ 2040036 h 2768823"/>
                <a:gd name="connsiteX1695" fmla="*/ 57296 w 1313607"/>
                <a:gd name="connsiteY1695" fmla="*/ 2043968 h 2768823"/>
                <a:gd name="connsiteX1696" fmla="*/ 68005 w 1313607"/>
                <a:gd name="connsiteY1696" fmla="*/ 2080058 h 2768823"/>
                <a:gd name="connsiteX1697" fmla="*/ 70304 w 1313607"/>
                <a:gd name="connsiteY1697" fmla="*/ 2092219 h 2768823"/>
                <a:gd name="connsiteX1698" fmla="*/ 70788 w 1313607"/>
                <a:gd name="connsiteY1698" fmla="*/ 2096334 h 2768823"/>
                <a:gd name="connsiteX1699" fmla="*/ 70788 w 1313607"/>
                <a:gd name="connsiteY1699" fmla="*/ 2100176 h 2768823"/>
                <a:gd name="connsiteX1700" fmla="*/ 70728 w 1313607"/>
                <a:gd name="connsiteY1700" fmla="*/ 2100357 h 2768823"/>
                <a:gd name="connsiteX1701" fmla="*/ 69850 w 1313607"/>
                <a:gd name="connsiteY1701" fmla="*/ 2102929 h 2768823"/>
                <a:gd name="connsiteX1702" fmla="*/ 68066 w 1313607"/>
                <a:gd name="connsiteY1702" fmla="*/ 2105863 h 2768823"/>
                <a:gd name="connsiteX1703" fmla="*/ 67158 w 1313607"/>
                <a:gd name="connsiteY1703" fmla="*/ 2108676 h 2768823"/>
                <a:gd name="connsiteX1704" fmla="*/ 64436 w 1313607"/>
                <a:gd name="connsiteY1704" fmla="*/ 2119930 h 2768823"/>
                <a:gd name="connsiteX1705" fmla="*/ 64133 w 1313607"/>
                <a:gd name="connsiteY1705" fmla="*/ 2128551 h 2768823"/>
                <a:gd name="connsiteX1706" fmla="*/ 63014 w 1313607"/>
                <a:gd name="connsiteY1706" fmla="*/ 2133331 h 2768823"/>
                <a:gd name="connsiteX1707" fmla="*/ 60473 w 1313607"/>
                <a:gd name="connsiteY1707" fmla="*/ 2141227 h 2768823"/>
                <a:gd name="connsiteX1708" fmla="*/ 59595 w 1313607"/>
                <a:gd name="connsiteY1708" fmla="*/ 2145250 h 2768823"/>
                <a:gd name="connsiteX1709" fmla="*/ 58930 w 1313607"/>
                <a:gd name="connsiteY1709" fmla="*/ 2149848 h 2768823"/>
                <a:gd name="connsiteX1710" fmla="*/ 55965 w 1313607"/>
                <a:gd name="connsiteY1710" fmla="*/ 2159438 h 2768823"/>
                <a:gd name="connsiteX1711" fmla="*/ 50671 w 1313607"/>
                <a:gd name="connsiteY1711" fmla="*/ 2164248 h 2768823"/>
                <a:gd name="connsiteX1712" fmla="*/ 44167 w 1313607"/>
                <a:gd name="connsiteY1712" fmla="*/ 2165761 h 2768823"/>
                <a:gd name="connsiteX1713" fmla="*/ 37663 w 1313607"/>
                <a:gd name="connsiteY1713" fmla="*/ 2165367 h 2768823"/>
                <a:gd name="connsiteX1714" fmla="*/ 34578 w 1313607"/>
                <a:gd name="connsiteY1714" fmla="*/ 2163734 h 2768823"/>
                <a:gd name="connsiteX1715" fmla="*/ 34698 w 1313607"/>
                <a:gd name="connsiteY1715" fmla="*/ 2152178 h 2768823"/>
                <a:gd name="connsiteX1716" fmla="*/ 33186 w 1313607"/>
                <a:gd name="connsiteY1716" fmla="*/ 2146672 h 2768823"/>
                <a:gd name="connsiteX1717" fmla="*/ 33125 w 1313607"/>
                <a:gd name="connsiteY1717" fmla="*/ 2146551 h 2768823"/>
                <a:gd name="connsiteX1718" fmla="*/ 33125 w 1313607"/>
                <a:gd name="connsiteY1718" fmla="*/ 2146551 h 2768823"/>
                <a:gd name="connsiteX1719" fmla="*/ 33125 w 1313607"/>
                <a:gd name="connsiteY1719" fmla="*/ 2146612 h 2768823"/>
                <a:gd name="connsiteX1720" fmla="*/ 32339 w 1313607"/>
                <a:gd name="connsiteY1720" fmla="*/ 2146612 h 2768823"/>
                <a:gd name="connsiteX1721" fmla="*/ 30766 w 1313607"/>
                <a:gd name="connsiteY1721" fmla="*/ 2144857 h 2768823"/>
                <a:gd name="connsiteX1722" fmla="*/ 28739 w 1313607"/>
                <a:gd name="connsiteY1722" fmla="*/ 2141560 h 2768823"/>
                <a:gd name="connsiteX1723" fmla="*/ 26984 w 1313607"/>
                <a:gd name="connsiteY1723" fmla="*/ 2137566 h 2768823"/>
                <a:gd name="connsiteX1724" fmla="*/ 26258 w 1313607"/>
                <a:gd name="connsiteY1724" fmla="*/ 2133725 h 2768823"/>
                <a:gd name="connsiteX1725" fmla="*/ 24836 w 1313607"/>
                <a:gd name="connsiteY1725" fmla="*/ 2128582 h 2768823"/>
                <a:gd name="connsiteX1726" fmla="*/ 21448 w 1313607"/>
                <a:gd name="connsiteY1726" fmla="*/ 2127160 h 2768823"/>
                <a:gd name="connsiteX1727" fmla="*/ 11284 w 1313607"/>
                <a:gd name="connsiteY1727" fmla="*/ 2128854 h 2768823"/>
                <a:gd name="connsiteX1728" fmla="*/ 8622 w 1313607"/>
                <a:gd name="connsiteY1728" fmla="*/ 2130669 h 2768823"/>
                <a:gd name="connsiteX1729" fmla="*/ 2148 w 1313607"/>
                <a:gd name="connsiteY1729" fmla="*/ 2139472 h 2768823"/>
                <a:gd name="connsiteX1730" fmla="*/ 1150 w 1313607"/>
                <a:gd name="connsiteY1730" fmla="*/ 2141348 h 2768823"/>
                <a:gd name="connsiteX1731" fmla="*/ 696 w 1313607"/>
                <a:gd name="connsiteY1731" fmla="*/ 2143617 h 2768823"/>
                <a:gd name="connsiteX1732" fmla="*/ 1482 w 1313607"/>
                <a:gd name="connsiteY1732" fmla="*/ 2146158 h 2768823"/>
                <a:gd name="connsiteX1733" fmla="*/ 3388 w 1313607"/>
                <a:gd name="connsiteY1733" fmla="*/ 2146975 h 2768823"/>
                <a:gd name="connsiteX1734" fmla="*/ 7623 w 1313607"/>
                <a:gd name="connsiteY1734" fmla="*/ 2146642 h 2768823"/>
                <a:gd name="connsiteX1735" fmla="*/ 3116 w 1313607"/>
                <a:gd name="connsiteY1735" fmla="*/ 2148971 h 2768823"/>
                <a:gd name="connsiteX1736" fmla="*/ 938 w 1313607"/>
                <a:gd name="connsiteY1736" fmla="*/ 2150696 h 2768823"/>
                <a:gd name="connsiteX1737" fmla="*/ 0 w 1313607"/>
                <a:gd name="connsiteY1737" fmla="*/ 2153418 h 2768823"/>
                <a:gd name="connsiteX1738" fmla="*/ 1180 w 1313607"/>
                <a:gd name="connsiteY1738" fmla="*/ 2155687 h 2768823"/>
                <a:gd name="connsiteX1739" fmla="*/ 3872 w 1313607"/>
                <a:gd name="connsiteY1739" fmla="*/ 2157411 h 2768823"/>
                <a:gd name="connsiteX1740" fmla="*/ 8985 w 1313607"/>
                <a:gd name="connsiteY1740" fmla="*/ 2158954 h 2768823"/>
                <a:gd name="connsiteX1741" fmla="*/ 8712 w 1313607"/>
                <a:gd name="connsiteY1741" fmla="*/ 2160255 h 2768823"/>
                <a:gd name="connsiteX1742" fmla="*/ 8531 w 1313607"/>
                <a:gd name="connsiteY1742" fmla="*/ 2160800 h 2768823"/>
                <a:gd name="connsiteX1743" fmla="*/ 8228 w 1313607"/>
                <a:gd name="connsiteY1743" fmla="*/ 2161495 h 2768823"/>
                <a:gd name="connsiteX1744" fmla="*/ 8773 w 1313607"/>
                <a:gd name="connsiteY1744" fmla="*/ 2163250 h 2768823"/>
                <a:gd name="connsiteX1745" fmla="*/ 8985 w 1313607"/>
                <a:gd name="connsiteY1745" fmla="*/ 2165126 h 2768823"/>
                <a:gd name="connsiteX1746" fmla="*/ 8985 w 1313607"/>
                <a:gd name="connsiteY1746" fmla="*/ 2169361 h 2768823"/>
                <a:gd name="connsiteX1747" fmla="*/ 9529 w 1313607"/>
                <a:gd name="connsiteY1747" fmla="*/ 2170994 h 2768823"/>
                <a:gd name="connsiteX1748" fmla="*/ 10709 w 1313607"/>
                <a:gd name="connsiteY1748" fmla="*/ 2171660 h 2768823"/>
                <a:gd name="connsiteX1749" fmla="*/ 11889 w 1313607"/>
                <a:gd name="connsiteY1749" fmla="*/ 2172083 h 2768823"/>
                <a:gd name="connsiteX1750" fmla="*/ 12433 w 1313607"/>
                <a:gd name="connsiteY1750" fmla="*/ 2173021 h 2768823"/>
                <a:gd name="connsiteX1751" fmla="*/ 12615 w 1313607"/>
                <a:gd name="connsiteY1751" fmla="*/ 2179374 h 2768823"/>
                <a:gd name="connsiteX1752" fmla="*/ 12433 w 1313607"/>
                <a:gd name="connsiteY1752" fmla="*/ 2180886 h 2768823"/>
                <a:gd name="connsiteX1753" fmla="*/ 11526 w 1313607"/>
                <a:gd name="connsiteY1753" fmla="*/ 2183034 h 2768823"/>
                <a:gd name="connsiteX1754" fmla="*/ 10527 w 1313607"/>
                <a:gd name="connsiteY1754" fmla="*/ 2184486 h 2768823"/>
                <a:gd name="connsiteX1755" fmla="*/ 9953 w 1313607"/>
                <a:gd name="connsiteY1755" fmla="*/ 2185999 h 2768823"/>
                <a:gd name="connsiteX1756" fmla="*/ 10316 w 1313607"/>
                <a:gd name="connsiteY1756" fmla="*/ 2188419 h 2768823"/>
                <a:gd name="connsiteX1757" fmla="*/ 8228 w 1313607"/>
                <a:gd name="connsiteY1757" fmla="*/ 2189206 h 2768823"/>
                <a:gd name="connsiteX1758" fmla="*/ 7079 w 1313607"/>
                <a:gd name="connsiteY1758" fmla="*/ 2192140 h 2768823"/>
                <a:gd name="connsiteX1759" fmla="*/ 6958 w 1313607"/>
                <a:gd name="connsiteY1759" fmla="*/ 2195347 h 2768823"/>
                <a:gd name="connsiteX1760" fmla="*/ 7896 w 1313607"/>
                <a:gd name="connsiteY1760" fmla="*/ 2196829 h 2768823"/>
                <a:gd name="connsiteX1761" fmla="*/ 10467 w 1313607"/>
                <a:gd name="connsiteY1761" fmla="*/ 2196829 h 2768823"/>
                <a:gd name="connsiteX1762" fmla="*/ 11042 w 1313607"/>
                <a:gd name="connsiteY1762" fmla="*/ 2197222 h 2768823"/>
                <a:gd name="connsiteX1763" fmla="*/ 10649 w 1313607"/>
                <a:gd name="connsiteY1763" fmla="*/ 2198826 h 2768823"/>
                <a:gd name="connsiteX1764" fmla="*/ 10286 w 1313607"/>
                <a:gd name="connsiteY1764" fmla="*/ 2202335 h 2768823"/>
                <a:gd name="connsiteX1765" fmla="*/ 14248 w 1313607"/>
                <a:gd name="connsiteY1765" fmla="*/ 2207719 h 2768823"/>
                <a:gd name="connsiteX1766" fmla="*/ 15156 w 1313607"/>
                <a:gd name="connsiteY1766" fmla="*/ 2210291 h 2768823"/>
                <a:gd name="connsiteX1767" fmla="*/ 15156 w 1313607"/>
                <a:gd name="connsiteY1767" fmla="*/ 2211834 h 2768823"/>
                <a:gd name="connsiteX1768" fmla="*/ 14521 w 1313607"/>
                <a:gd name="connsiteY1768" fmla="*/ 2213558 h 2768823"/>
                <a:gd name="connsiteX1769" fmla="*/ 14460 w 1313607"/>
                <a:gd name="connsiteY1769" fmla="*/ 2215131 h 2768823"/>
                <a:gd name="connsiteX1770" fmla="*/ 14944 w 1313607"/>
                <a:gd name="connsiteY1770" fmla="*/ 2216462 h 2768823"/>
                <a:gd name="connsiteX1771" fmla="*/ 15731 w 1313607"/>
                <a:gd name="connsiteY1771" fmla="*/ 2216976 h 2768823"/>
                <a:gd name="connsiteX1772" fmla="*/ 16215 w 1313607"/>
                <a:gd name="connsiteY1772" fmla="*/ 2217793 h 2768823"/>
                <a:gd name="connsiteX1773" fmla="*/ 15821 w 1313607"/>
                <a:gd name="connsiteY1773" fmla="*/ 2219971 h 2768823"/>
                <a:gd name="connsiteX1774" fmla="*/ 17879 w 1313607"/>
                <a:gd name="connsiteY1774" fmla="*/ 2219971 h 2768823"/>
                <a:gd name="connsiteX1775" fmla="*/ 17304 w 1313607"/>
                <a:gd name="connsiteY1775" fmla="*/ 2221665 h 2768823"/>
                <a:gd name="connsiteX1776" fmla="*/ 16578 w 1313607"/>
                <a:gd name="connsiteY1776" fmla="*/ 2222391 h 2768823"/>
                <a:gd name="connsiteX1777" fmla="*/ 15731 w 1313607"/>
                <a:gd name="connsiteY1777" fmla="*/ 2222997 h 2768823"/>
                <a:gd name="connsiteX1778" fmla="*/ 14793 w 1313607"/>
                <a:gd name="connsiteY1778" fmla="*/ 2224267 h 2768823"/>
                <a:gd name="connsiteX1779" fmla="*/ 14521 w 1313607"/>
                <a:gd name="connsiteY1779" fmla="*/ 2225598 h 2768823"/>
                <a:gd name="connsiteX1780" fmla="*/ 14460 w 1313607"/>
                <a:gd name="connsiteY1780" fmla="*/ 2230892 h 2768823"/>
                <a:gd name="connsiteX1781" fmla="*/ 14248 w 1313607"/>
                <a:gd name="connsiteY1781" fmla="*/ 2230892 h 2768823"/>
                <a:gd name="connsiteX1782" fmla="*/ 13795 w 1313607"/>
                <a:gd name="connsiteY1782" fmla="*/ 2231255 h 2768823"/>
                <a:gd name="connsiteX1783" fmla="*/ 13311 w 1313607"/>
                <a:gd name="connsiteY1783" fmla="*/ 2231921 h 2768823"/>
                <a:gd name="connsiteX1784" fmla="*/ 13099 w 1313607"/>
                <a:gd name="connsiteY1784" fmla="*/ 2232737 h 2768823"/>
                <a:gd name="connsiteX1785" fmla="*/ 13311 w 1313607"/>
                <a:gd name="connsiteY1785" fmla="*/ 2233736 h 2768823"/>
                <a:gd name="connsiteX1786" fmla="*/ 14248 w 1313607"/>
                <a:gd name="connsiteY1786" fmla="*/ 2235309 h 2768823"/>
                <a:gd name="connsiteX1787" fmla="*/ 14460 w 1313607"/>
                <a:gd name="connsiteY1787" fmla="*/ 2236337 h 2768823"/>
                <a:gd name="connsiteX1788" fmla="*/ 15005 w 1313607"/>
                <a:gd name="connsiteY1788" fmla="*/ 2237245 h 2768823"/>
                <a:gd name="connsiteX1789" fmla="*/ 18635 w 1313607"/>
                <a:gd name="connsiteY1789" fmla="*/ 2239393 h 2768823"/>
                <a:gd name="connsiteX1790" fmla="*/ 17122 w 1313607"/>
                <a:gd name="connsiteY1790" fmla="*/ 2241329 h 2768823"/>
                <a:gd name="connsiteX1791" fmla="*/ 15368 w 1313607"/>
                <a:gd name="connsiteY1791" fmla="*/ 2242539 h 2768823"/>
                <a:gd name="connsiteX1792" fmla="*/ 14369 w 1313607"/>
                <a:gd name="connsiteY1792" fmla="*/ 2244293 h 2768823"/>
                <a:gd name="connsiteX1793" fmla="*/ 15126 w 1313607"/>
                <a:gd name="connsiteY1793" fmla="*/ 2247863 h 2768823"/>
                <a:gd name="connsiteX1794" fmla="*/ 11556 w 1313607"/>
                <a:gd name="connsiteY1794" fmla="*/ 2247379 h 2768823"/>
                <a:gd name="connsiteX1795" fmla="*/ 10104 w 1313607"/>
                <a:gd name="connsiteY1795" fmla="*/ 2248438 h 2768823"/>
                <a:gd name="connsiteX1796" fmla="*/ 9620 w 1313607"/>
                <a:gd name="connsiteY1796" fmla="*/ 2251584 h 2768823"/>
                <a:gd name="connsiteX1797" fmla="*/ 11375 w 1313607"/>
                <a:gd name="connsiteY1797" fmla="*/ 2255365 h 2768823"/>
                <a:gd name="connsiteX1798" fmla="*/ 11707 w 1313607"/>
                <a:gd name="connsiteY1798" fmla="*/ 2256939 h 2768823"/>
                <a:gd name="connsiteX1799" fmla="*/ 11496 w 1313607"/>
                <a:gd name="connsiteY1799" fmla="*/ 2258754 h 2768823"/>
                <a:gd name="connsiteX1800" fmla="*/ 11193 w 1313607"/>
                <a:gd name="connsiteY1800" fmla="*/ 2260115 h 2768823"/>
                <a:gd name="connsiteX1801" fmla="*/ 11314 w 1313607"/>
                <a:gd name="connsiteY1801" fmla="*/ 2261265 h 2768823"/>
                <a:gd name="connsiteX1802" fmla="*/ 12403 w 1313607"/>
                <a:gd name="connsiteY1802" fmla="*/ 2262414 h 2768823"/>
                <a:gd name="connsiteX1803" fmla="*/ 14611 w 1313607"/>
                <a:gd name="connsiteY1803" fmla="*/ 2257786 h 2768823"/>
                <a:gd name="connsiteX1804" fmla="*/ 17183 w 1313607"/>
                <a:gd name="connsiteY1804" fmla="*/ 2257725 h 2768823"/>
                <a:gd name="connsiteX1805" fmla="*/ 19966 w 1313607"/>
                <a:gd name="connsiteY1805" fmla="*/ 2258814 h 2768823"/>
                <a:gd name="connsiteX1806" fmla="*/ 22719 w 1313607"/>
                <a:gd name="connsiteY1806" fmla="*/ 2257483 h 2768823"/>
                <a:gd name="connsiteX1807" fmla="*/ 23082 w 1313607"/>
                <a:gd name="connsiteY1807" fmla="*/ 2256727 h 2768823"/>
                <a:gd name="connsiteX1808" fmla="*/ 23808 w 1313607"/>
                <a:gd name="connsiteY1808" fmla="*/ 2254609 h 2768823"/>
                <a:gd name="connsiteX1809" fmla="*/ 24141 w 1313607"/>
                <a:gd name="connsiteY1809" fmla="*/ 2253853 h 2768823"/>
                <a:gd name="connsiteX1810" fmla="*/ 24897 w 1313607"/>
                <a:gd name="connsiteY1810" fmla="*/ 2253036 h 2768823"/>
                <a:gd name="connsiteX1811" fmla="*/ 26561 w 1313607"/>
                <a:gd name="connsiteY1811" fmla="*/ 2251766 h 2768823"/>
                <a:gd name="connsiteX1812" fmla="*/ 30856 w 1313607"/>
                <a:gd name="connsiteY1812" fmla="*/ 2246109 h 2768823"/>
                <a:gd name="connsiteX1813" fmla="*/ 31764 w 1313607"/>
                <a:gd name="connsiteY1813" fmla="*/ 2244203 h 2768823"/>
                <a:gd name="connsiteX1814" fmla="*/ 30917 w 1313607"/>
                <a:gd name="connsiteY1814" fmla="*/ 2246623 h 2768823"/>
                <a:gd name="connsiteX1815" fmla="*/ 30070 w 1313607"/>
                <a:gd name="connsiteY1815" fmla="*/ 2248498 h 2768823"/>
                <a:gd name="connsiteX1816" fmla="*/ 27922 w 1313607"/>
                <a:gd name="connsiteY1816" fmla="*/ 2252098 h 2768823"/>
                <a:gd name="connsiteX1817" fmla="*/ 24443 w 1313607"/>
                <a:gd name="connsiteY1817" fmla="*/ 2259328 h 2768823"/>
                <a:gd name="connsiteX1818" fmla="*/ 23899 w 1313607"/>
                <a:gd name="connsiteY1818" fmla="*/ 2261295 h 2768823"/>
                <a:gd name="connsiteX1819" fmla="*/ 24836 w 1313607"/>
                <a:gd name="connsiteY1819" fmla="*/ 2261658 h 2768823"/>
                <a:gd name="connsiteX1820" fmla="*/ 26379 w 1313607"/>
                <a:gd name="connsiteY1820" fmla="*/ 2261022 h 2768823"/>
                <a:gd name="connsiteX1821" fmla="*/ 27559 w 1313607"/>
                <a:gd name="connsiteY1821" fmla="*/ 2259873 h 2768823"/>
                <a:gd name="connsiteX1822" fmla="*/ 28436 w 1313607"/>
                <a:gd name="connsiteY1822" fmla="*/ 2257665 h 2768823"/>
                <a:gd name="connsiteX1823" fmla="*/ 29102 w 1313607"/>
                <a:gd name="connsiteY1823" fmla="*/ 2255456 h 2768823"/>
                <a:gd name="connsiteX1824" fmla="*/ 30040 w 1313607"/>
                <a:gd name="connsiteY1824" fmla="*/ 2253974 h 2768823"/>
                <a:gd name="connsiteX1825" fmla="*/ 31764 w 1313607"/>
                <a:gd name="connsiteY1825" fmla="*/ 2253823 h 2768823"/>
                <a:gd name="connsiteX1826" fmla="*/ 31643 w 1313607"/>
                <a:gd name="connsiteY1826" fmla="*/ 2258118 h 2768823"/>
                <a:gd name="connsiteX1827" fmla="*/ 33489 w 1313607"/>
                <a:gd name="connsiteY1827" fmla="*/ 2260720 h 2768823"/>
                <a:gd name="connsiteX1828" fmla="*/ 34245 w 1313607"/>
                <a:gd name="connsiteY1828" fmla="*/ 2261991 h 2768823"/>
                <a:gd name="connsiteX1829" fmla="*/ 30675 w 1313607"/>
                <a:gd name="connsiteY1829" fmla="*/ 2262354 h 2768823"/>
                <a:gd name="connsiteX1830" fmla="*/ 29465 w 1313607"/>
                <a:gd name="connsiteY1830" fmla="*/ 2262838 h 2768823"/>
                <a:gd name="connsiteX1831" fmla="*/ 28315 w 1313607"/>
                <a:gd name="connsiteY1831" fmla="*/ 2264199 h 2768823"/>
                <a:gd name="connsiteX1832" fmla="*/ 27741 w 1313607"/>
                <a:gd name="connsiteY1832" fmla="*/ 2266135 h 2768823"/>
                <a:gd name="connsiteX1833" fmla="*/ 28315 w 1313607"/>
                <a:gd name="connsiteY1833" fmla="*/ 2268343 h 2768823"/>
                <a:gd name="connsiteX1834" fmla="*/ 29314 w 1313607"/>
                <a:gd name="connsiteY1834" fmla="*/ 2268797 h 2768823"/>
                <a:gd name="connsiteX1835" fmla="*/ 32218 w 1313607"/>
                <a:gd name="connsiteY1835" fmla="*/ 2267224 h 2768823"/>
                <a:gd name="connsiteX1836" fmla="*/ 33761 w 1313607"/>
                <a:gd name="connsiteY1836" fmla="*/ 2267012 h 2768823"/>
                <a:gd name="connsiteX1837" fmla="*/ 33761 w 1313607"/>
                <a:gd name="connsiteY1837" fmla="*/ 2268313 h 2768823"/>
                <a:gd name="connsiteX1838" fmla="*/ 32309 w 1313607"/>
                <a:gd name="connsiteY1838" fmla="*/ 2269463 h 2768823"/>
                <a:gd name="connsiteX1839" fmla="*/ 31008 w 1313607"/>
                <a:gd name="connsiteY1839" fmla="*/ 2270975 h 2768823"/>
                <a:gd name="connsiteX1840" fmla="*/ 29888 w 1313607"/>
                <a:gd name="connsiteY1840" fmla="*/ 2272942 h 2768823"/>
                <a:gd name="connsiteX1841" fmla="*/ 28981 w 1313607"/>
                <a:gd name="connsiteY1841" fmla="*/ 2275513 h 2768823"/>
                <a:gd name="connsiteX1842" fmla="*/ 36030 w 1313607"/>
                <a:gd name="connsiteY1842" fmla="*/ 2270340 h 2768823"/>
                <a:gd name="connsiteX1843" fmla="*/ 38934 w 1313607"/>
                <a:gd name="connsiteY1843" fmla="*/ 2267103 h 2768823"/>
                <a:gd name="connsiteX1844" fmla="*/ 41687 w 1313607"/>
                <a:gd name="connsiteY1844" fmla="*/ 2262928 h 2768823"/>
                <a:gd name="connsiteX1845" fmla="*/ 43623 w 1313607"/>
                <a:gd name="connsiteY1845" fmla="*/ 2257876 h 2768823"/>
                <a:gd name="connsiteX1846" fmla="*/ 44621 w 1313607"/>
                <a:gd name="connsiteY1846" fmla="*/ 2251796 h 2768823"/>
                <a:gd name="connsiteX1847" fmla="*/ 44803 w 1313607"/>
                <a:gd name="connsiteY1847" fmla="*/ 2245685 h 2768823"/>
                <a:gd name="connsiteX1848" fmla="*/ 44167 w 1313607"/>
                <a:gd name="connsiteY1848" fmla="*/ 2240512 h 2768823"/>
                <a:gd name="connsiteX1849" fmla="*/ 44772 w 1313607"/>
                <a:gd name="connsiteY1849" fmla="*/ 2240512 h 2768823"/>
                <a:gd name="connsiteX1850" fmla="*/ 45377 w 1313607"/>
                <a:gd name="connsiteY1850" fmla="*/ 2243144 h 2768823"/>
                <a:gd name="connsiteX1851" fmla="*/ 47313 w 1313607"/>
                <a:gd name="connsiteY1851" fmla="*/ 2249194 h 2768823"/>
                <a:gd name="connsiteX1852" fmla="*/ 48342 w 1313607"/>
                <a:gd name="connsiteY1852" fmla="*/ 2251493 h 2768823"/>
                <a:gd name="connsiteX1853" fmla="*/ 50006 w 1313607"/>
                <a:gd name="connsiteY1853" fmla="*/ 2248952 h 2768823"/>
                <a:gd name="connsiteX1854" fmla="*/ 52396 w 1313607"/>
                <a:gd name="connsiteY1854" fmla="*/ 2246169 h 2768823"/>
                <a:gd name="connsiteX1855" fmla="*/ 54785 w 1313607"/>
                <a:gd name="connsiteY1855" fmla="*/ 2245110 h 2768823"/>
                <a:gd name="connsiteX1856" fmla="*/ 56540 w 1313607"/>
                <a:gd name="connsiteY1856" fmla="*/ 2247803 h 2768823"/>
                <a:gd name="connsiteX1857" fmla="*/ 53212 w 1313607"/>
                <a:gd name="connsiteY1857" fmla="*/ 2249315 h 2768823"/>
                <a:gd name="connsiteX1858" fmla="*/ 51669 w 1313607"/>
                <a:gd name="connsiteY1858" fmla="*/ 2250646 h 2768823"/>
                <a:gd name="connsiteX1859" fmla="*/ 50278 w 1313607"/>
                <a:gd name="connsiteY1859" fmla="*/ 2252582 h 2768823"/>
                <a:gd name="connsiteX1860" fmla="*/ 51700 w 1313607"/>
                <a:gd name="connsiteY1860" fmla="*/ 2253792 h 2768823"/>
                <a:gd name="connsiteX1861" fmla="*/ 46194 w 1313607"/>
                <a:gd name="connsiteY1861" fmla="*/ 2259631 h 2768823"/>
                <a:gd name="connsiteX1862" fmla="*/ 43623 w 1313607"/>
                <a:gd name="connsiteY1862" fmla="*/ 2263412 h 2768823"/>
                <a:gd name="connsiteX1863" fmla="*/ 41324 w 1313607"/>
                <a:gd name="connsiteY1863" fmla="*/ 2268343 h 2768823"/>
                <a:gd name="connsiteX1864" fmla="*/ 39781 w 1313607"/>
                <a:gd name="connsiteY1864" fmla="*/ 2272790 h 2768823"/>
                <a:gd name="connsiteX1865" fmla="*/ 39085 w 1313607"/>
                <a:gd name="connsiteY1865" fmla="*/ 2276632 h 2768823"/>
                <a:gd name="connsiteX1866" fmla="*/ 40023 w 1313607"/>
                <a:gd name="connsiteY1866" fmla="*/ 2279325 h 2768823"/>
                <a:gd name="connsiteX1867" fmla="*/ 43411 w 1313607"/>
                <a:gd name="connsiteY1867" fmla="*/ 2280353 h 2768823"/>
                <a:gd name="connsiteX1868" fmla="*/ 42473 w 1313607"/>
                <a:gd name="connsiteY1868" fmla="*/ 2277631 h 2768823"/>
                <a:gd name="connsiteX1869" fmla="*/ 42019 w 1313607"/>
                <a:gd name="connsiteY1869" fmla="*/ 2276753 h 2768823"/>
                <a:gd name="connsiteX1870" fmla="*/ 43199 w 1313607"/>
                <a:gd name="connsiteY1870" fmla="*/ 2277510 h 2768823"/>
                <a:gd name="connsiteX1871" fmla="*/ 44621 w 1313607"/>
                <a:gd name="connsiteY1871" fmla="*/ 2278054 h 2768823"/>
                <a:gd name="connsiteX1872" fmla="*/ 46133 w 1313607"/>
                <a:gd name="connsiteY1872" fmla="*/ 2278236 h 2768823"/>
                <a:gd name="connsiteX1873" fmla="*/ 47555 w 1313607"/>
                <a:gd name="connsiteY1873" fmla="*/ 2277933 h 2768823"/>
                <a:gd name="connsiteX1874" fmla="*/ 48554 w 1313607"/>
                <a:gd name="connsiteY1874" fmla="*/ 2276995 h 2768823"/>
                <a:gd name="connsiteX1875" fmla="*/ 50732 w 1313607"/>
                <a:gd name="connsiteY1875" fmla="*/ 2273819 h 2768823"/>
                <a:gd name="connsiteX1876" fmla="*/ 51367 w 1313607"/>
                <a:gd name="connsiteY1876" fmla="*/ 2273123 h 2768823"/>
                <a:gd name="connsiteX1877" fmla="*/ 52335 w 1313607"/>
                <a:gd name="connsiteY1877" fmla="*/ 2272548 h 2768823"/>
                <a:gd name="connsiteX1878" fmla="*/ 57387 w 1313607"/>
                <a:gd name="connsiteY1878" fmla="*/ 2267980 h 2768823"/>
                <a:gd name="connsiteX1879" fmla="*/ 60654 w 1313607"/>
                <a:gd name="connsiteY1879" fmla="*/ 2267980 h 2768823"/>
                <a:gd name="connsiteX1880" fmla="*/ 62106 w 1313607"/>
                <a:gd name="connsiteY1880" fmla="*/ 2267012 h 2768823"/>
                <a:gd name="connsiteX1881" fmla="*/ 62197 w 1313607"/>
                <a:gd name="connsiteY1881" fmla="*/ 2264532 h 2768823"/>
                <a:gd name="connsiteX1882" fmla="*/ 64738 w 1313607"/>
                <a:gd name="connsiteY1882" fmla="*/ 2264048 h 2768823"/>
                <a:gd name="connsiteX1883" fmla="*/ 70274 w 1313607"/>
                <a:gd name="connsiteY1883" fmla="*/ 2264622 h 2768823"/>
                <a:gd name="connsiteX1884" fmla="*/ 74570 w 1313607"/>
                <a:gd name="connsiteY1884" fmla="*/ 2261779 h 2768823"/>
                <a:gd name="connsiteX1885" fmla="*/ 76657 w 1313607"/>
                <a:gd name="connsiteY1885" fmla="*/ 2261295 h 2768823"/>
                <a:gd name="connsiteX1886" fmla="*/ 77897 w 1313607"/>
                <a:gd name="connsiteY1886" fmla="*/ 2263503 h 2768823"/>
                <a:gd name="connsiteX1887" fmla="*/ 72180 w 1313607"/>
                <a:gd name="connsiteY1887" fmla="*/ 2266377 h 2768823"/>
                <a:gd name="connsiteX1888" fmla="*/ 70456 w 1313607"/>
                <a:gd name="connsiteY1888" fmla="*/ 2268918 h 2768823"/>
                <a:gd name="connsiteX1889" fmla="*/ 70939 w 1313607"/>
                <a:gd name="connsiteY1889" fmla="*/ 2273123 h 2768823"/>
                <a:gd name="connsiteX1890" fmla="*/ 71908 w 1313607"/>
                <a:gd name="connsiteY1890" fmla="*/ 2274757 h 2768823"/>
                <a:gd name="connsiteX1891" fmla="*/ 73057 w 1313607"/>
                <a:gd name="connsiteY1891" fmla="*/ 2276027 h 2768823"/>
                <a:gd name="connsiteX1892" fmla="*/ 74025 w 1313607"/>
                <a:gd name="connsiteY1892" fmla="*/ 2277510 h 2768823"/>
                <a:gd name="connsiteX1893" fmla="*/ 74751 w 1313607"/>
                <a:gd name="connsiteY1893" fmla="*/ 2282198 h 2768823"/>
                <a:gd name="connsiteX1894" fmla="*/ 75659 w 1313607"/>
                <a:gd name="connsiteY1894" fmla="*/ 2283651 h 2768823"/>
                <a:gd name="connsiteX1895" fmla="*/ 76990 w 1313607"/>
                <a:gd name="connsiteY1895" fmla="*/ 2284195 h 2768823"/>
                <a:gd name="connsiteX1896" fmla="*/ 78593 w 1313607"/>
                <a:gd name="connsiteY1896" fmla="*/ 2283953 h 2768823"/>
                <a:gd name="connsiteX1897" fmla="*/ 77988 w 1313607"/>
                <a:gd name="connsiteY1897" fmla="*/ 2285980 h 2768823"/>
                <a:gd name="connsiteX1898" fmla="*/ 77171 w 1313607"/>
                <a:gd name="connsiteY1898" fmla="*/ 2287039 h 2768823"/>
                <a:gd name="connsiteX1899" fmla="*/ 76143 w 1313607"/>
                <a:gd name="connsiteY1899" fmla="*/ 2287462 h 2768823"/>
                <a:gd name="connsiteX1900" fmla="*/ 74781 w 1313607"/>
                <a:gd name="connsiteY1900" fmla="*/ 2287523 h 2768823"/>
                <a:gd name="connsiteX1901" fmla="*/ 73692 w 1313607"/>
                <a:gd name="connsiteY1901" fmla="*/ 2287946 h 2768823"/>
                <a:gd name="connsiteX1902" fmla="*/ 73299 w 1313607"/>
                <a:gd name="connsiteY1902" fmla="*/ 2289096 h 2768823"/>
                <a:gd name="connsiteX1903" fmla="*/ 72392 w 1313607"/>
                <a:gd name="connsiteY1903" fmla="*/ 2300652 h 2768823"/>
                <a:gd name="connsiteX1904" fmla="*/ 71333 w 1313607"/>
                <a:gd name="connsiteY1904" fmla="*/ 2303798 h 2768823"/>
                <a:gd name="connsiteX1905" fmla="*/ 68852 w 1313607"/>
                <a:gd name="connsiteY1905" fmla="*/ 2304343 h 2768823"/>
                <a:gd name="connsiteX1906" fmla="*/ 69124 w 1313607"/>
                <a:gd name="connsiteY1906" fmla="*/ 2305522 h 2768823"/>
                <a:gd name="connsiteX1907" fmla="*/ 69276 w 1313607"/>
                <a:gd name="connsiteY1907" fmla="*/ 2306067 h 2768823"/>
                <a:gd name="connsiteX1908" fmla="*/ 69609 w 1313607"/>
                <a:gd name="connsiteY1908" fmla="*/ 2306732 h 2768823"/>
                <a:gd name="connsiteX1909" fmla="*/ 68157 w 1313607"/>
                <a:gd name="connsiteY1909" fmla="*/ 2308094 h 2768823"/>
                <a:gd name="connsiteX1910" fmla="*/ 67824 w 1313607"/>
                <a:gd name="connsiteY1910" fmla="*/ 2309758 h 2768823"/>
                <a:gd name="connsiteX1911" fmla="*/ 68308 w 1313607"/>
                <a:gd name="connsiteY1911" fmla="*/ 2311542 h 2768823"/>
                <a:gd name="connsiteX1912" fmla="*/ 69246 w 1313607"/>
                <a:gd name="connsiteY1912" fmla="*/ 2313297 h 2768823"/>
                <a:gd name="connsiteX1913" fmla="*/ 69820 w 1313607"/>
                <a:gd name="connsiteY1913" fmla="*/ 2315445 h 2768823"/>
                <a:gd name="connsiteX1914" fmla="*/ 69548 w 1313607"/>
                <a:gd name="connsiteY1914" fmla="*/ 2317925 h 2768823"/>
                <a:gd name="connsiteX1915" fmla="*/ 68247 w 1313607"/>
                <a:gd name="connsiteY1915" fmla="*/ 2322221 h 2768823"/>
                <a:gd name="connsiteX1916" fmla="*/ 63861 w 1313607"/>
                <a:gd name="connsiteY1916" fmla="*/ 2329542 h 2768823"/>
                <a:gd name="connsiteX1917" fmla="*/ 63165 w 1313607"/>
                <a:gd name="connsiteY1917" fmla="*/ 2332507 h 2768823"/>
                <a:gd name="connsiteX1918" fmla="*/ 66130 w 1313607"/>
                <a:gd name="connsiteY1918" fmla="*/ 2334231 h 2768823"/>
                <a:gd name="connsiteX1919" fmla="*/ 65464 w 1313607"/>
                <a:gd name="connsiteY1919" fmla="*/ 2335925 h 2768823"/>
                <a:gd name="connsiteX1920" fmla="*/ 65041 w 1313607"/>
                <a:gd name="connsiteY1920" fmla="*/ 2336258 h 2768823"/>
                <a:gd name="connsiteX1921" fmla="*/ 64073 w 1313607"/>
                <a:gd name="connsiteY1921" fmla="*/ 2336621 h 2768823"/>
                <a:gd name="connsiteX1922" fmla="*/ 64073 w 1313607"/>
                <a:gd name="connsiteY1922" fmla="*/ 2337801 h 2768823"/>
                <a:gd name="connsiteX1923" fmla="*/ 65464 w 1313607"/>
                <a:gd name="connsiteY1923" fmla="*/ 2337801 h 2768823"/>
                <a:gd name="connsiteX1924" fmla="*/ 65464 w 1313607"/>
                <a:gd name="connsiteY1924" fmla="*/ 2338860 h 2768823"/>
                <a:gd name="connsiteX1925" fmla="*/ 60231 w 1313607"/>
                <a:gd name="connsiteY1925" fmla="*/ 2340705 h 2768823"/>
                <a:gd name="connsiteX1926" fmla="*/ 58839 w 1313607"/>
                <a:gd name="connsiteY1926" fmla="*/ 2342490 h 2768823"/>
                <a:gd name="connsiteX1927" fmla="*/ 59868 w 1313607"/>
                <a:gd name="connsiteY1927" fmla="*/ 2346090 h 2768823"/>
                <a:gd name="connsiteX1928" fmla="*/ 58536 w 1313607"/>
                <a:gd name="connsiteY1928" fmla="*/ 2346422 h 2768823"/>
                <a:gd name="connsiteX1929" fmla="*/ 57296 w 1313607"/>
                <a:gd name="connsiteY1929" fmla="*/ 2347269 h 2768823"/>
                <a:gd name="connsiteX1930" fmla="*/ 55088 w 1313607"/>
                <a:gd name="connsiteY1930" fmla="*/ 2349750 h 2768823"/>
                <a:gd name="connsiteX1931" fmla="*/ 58143 w 1313607"/>
                <a:gd name="connsiteY1931" fmla="*/ 2350053 h 2768823"/>
                <a:gd name="connsiteX1932" fmla="*/ 60261 w 1313607"/>
                <a:gd name="connsiteY1932" fmla="*/ 2352563 h 2768823"/>
                <a:gd name="connsiteX1933" fmla="*/ 62227 w 1313607"/>
                <a:gd name="connsiteY1933" fmla="*/ 2356042 h 2768823"/>
                <a:gd name="connsiteX1934" fmla="*/ 64708 w 1313607"/>
                <a:gd name="connsiteY1934" fmla="*/ 2359188 h 2768823"/>
                <a:gd name="connsiteX1935" fmla="*/ 66220 w 1313607"/>
                <a:gd name="connsiteY1935" fmla="*/ 2358493 h 2768823"/>
                <a:gd name="connsiteX1936" fmla="*/ 68489 w 1313607"/>
                <a:gd name="connsiteY1936" fmla="*/ 2358251 h 2768823"/>
                <a:gd name="connsiteX1937" fmla="*/ 70365 w 1313607"/>
                <a:gd name="connsiteY1937" fmla="*/ 2358644 h 2768823"/>
                <a:gd name="connsiteX1938" fmla="*/ 70607 w 1313607"/>
                <a:gd name="connsiteY1938" fmla="*/ 2359793 h 2768823"/>
                <a:gd name="connsiteX1939" fmla="*/ 69730 w 1313607"/>
                <a:gd name="connsiteY1939" fmla="*/ 2361034 h 2768823"/>
                <a:gd name="connsiteX1940" fmla="*/ 60140 w 1313607"/>
                <a:gd name="connsiteY1940" fmla="*/ 2370079 h 2768823"/>
                <a:gd name="connsiteX1941" fmla="*/ 59898 w 1313607"/>
                <a:gd name="connsiteY1941" fmla="*/ 2372196 h 2768823"/>
                <a:gd name="connsiteX1942" fmla="*/ 60049 w 1313607"/>
                <a:gd name="connsiteY1942" fmla="*/ 2374133 h 2768823"/>
                <a:gd name="connsiteX1943" fmla="*/ 61471 w 1313607"/>
                <a:gd name="connsiteY1943" fmla="*/ 2374980 h 2768823"/>
                <a:gd name="connsiteX1944" fmla="*/ 63316 w 1313607"/>
                <a:gd name="connsiteY1944" fmla="*/ 2374980 h 2768823"/>
                <a:gd name="connsiteX1945" fmla="*/ 64708 w 1313607"/>
                <a:gd name="connsiteY1945" fmla="*/ 2374556 h 2768823"/>
                <a:gd name="connsiteX1946" fmla="*/ 64284 w 1313607"/>
                <a:gd name="connsiteY1946" fmla="*/ 2371501 h 2768823"/>
                <a:gd name="connsiteX1947" fmla="*/ 66553 w 1313607"/>
                <a:gd name="connsiteY1947" fmla="*/ 2371743 h 2768823"/>
                <a:gd name="connsiteX1948" fmla="*/ 71666 w 1313607"/>
                <a:gd name="connsiteY1948" fmla="*/ 2374556 h 2768823"/>
                <a:gd name="connsiteX1949" fmla="*/ 74146 w 1313607"/>
                <a:gd name="connsiteY1949" fmla="*/ 2375040 h 2768823"/>
                <a:gd name="connsiteX1950" fmla="*/ 77020 w 1313607"/>
                <a:gd name="connsiteY1950" fmla="*/ 2375040 h 2768823"/>
                <a:gd name="connsiteX1951" fmla="*/ 79803 w 1313607"/>
                <a:gd name="connsiteY1951" fmla="*/ 2374526 h 2768823"/>
                <a:gd name="connsiteX1952" fmla="*/ 81981 w 1313607"/>
                <a:gd name="connsiteY1952" fmla="*/ 2373376 h 2768823"/>
                <a:gd name="connsiteX1953" fmla="*/ 80560 w 1313607"/>
                <a:gd name="connsiteY1953" fmla="*/ 2376129 h 2768823"/>
                <a:gd name="connsiteX1954" fmla="*/ 74025 w 1313607"/>
                <a:gd name="connsiteY1954" fmla="*/ 2376795 h 2768823"/>
                <a:gd name="connsiteX1955" fmla="*/ 73057 w 1313607"/>
                <a:gd name="connsiteY1955" fmla="*/ 2380425 h 2768823"/>
                <a:gd name="connsiteX1956" fmla="*/ 73632 w 1313607"/>
                <a:gd name="connsiteY1956" fmla="*/ 2382149 h 2768823"/>
                <a:gd name="connsiteX1957" fmla="*/ 74540 w 1313607"/>
                <a:gd name="connsiteY1957" fmla="*/ 2383662 h 2768823"/>
                <a:gd name="connsiteX1958" fmla="*/ 75387 w 1313607"/>
                <a:gd name="connsiteY1958" fmla="*/ 2385507 h 2768823"/>
                <a:gd name="connsiteX1959" fmla="*/ 75750 w 1313607"/>
                <a:gd name="connsiteY1959" fmla="*/ 2388169 h 2768823"/>
                <a:gd name="connsiteX1960" fmla="*/ 76324 w 1313607"/>
                <a:gd name="connsiteY1960" fmla="*/ 2389863 h 2768823"/>
                <a:gd name="connsiteX1961" fmla="*/ 77565 w 1313607"/>
                <a:gd name="connsiteY1961" fmla="*/ 2390075 h 2768823"/>
                <a:gd name="connsiteX1962" fmla="*/ 78775 w 1313607"/>
                <a:gd name="connsiteY1962" fmla="*/ 2388895 h 2768823"/>
                <a:gd name="connsiteX1963" fmla="*/ 79319 w 1313607"/>
                <a:gd name="connsiteY1963" fmla="*/ 2386445 h 2768823"/>
                <a:gd name="connsiteX1964" fmla="*/ 79803 w 1313607"/>
                <a:gd name="connsiteY1964" fmla="*/ 2386566 h 2768823"/>
                <a:gd name="connsiteX1965" fmla="*/ 80892 w 1313607"/>
                <a:gd name="connsiteY1965" fmla="*/ 2387171 h 2768823"/>
                <a:gd name="connsiteX1966" fmla="*/ 81286 w 1313607"/>
                <a:gd name="connsiteY1966" fmla="*/ 2387504 h 2768823"/>
                <a:gd name="connsiteX1967" fmla="*/ 80741 w 1313607"/>
                <a:gd name="connsiteY1967" fmla="*/ 2391920 h 2768823"/>
                <a:gd name="connsiteX1968" fmla="*/ 81376 w 1313607"/>
                <a:gd name="connsiteY1968" fmla="*/ 2401540 h 2768823"/>
                <a:gd name="connsiteX1969" fmla="*/ 79924 w 1313607"/>
                <a:gd name="connsiteY1969" fmla="*/ 2404203 h 2768823"/>
                <a:gd name="connsiteX1970" fmla="*/ 80620 w 1313607"/>
                <a:gd name="connsiteY1970" fmla="*/ 2404656 h 2768823"/>
                <a:gd name="connsiteX1971" fmla="*/ 82738 w 1313607"/>
                <a:gd name="connsiteY1971" fmla="*/ 2406441 h 2768823"/>
                <a:gd name="connsiteX1972" fmla="*/ 81286 w 1313607"/>
                <a:gd name="connsiteY1972" fmla="*/ 2407530 h 2768823"/>
                <a:gd name="connsiteX1973" fmla="*/ 80620 w 1313607"/>
                <a:gd name="connsiteY1973" fmla="*/ 2407712 h 2768823"/>
                <a:gd name="connsiteX1974" fmla="*/ 82375 w 1313607"/>
                <a:gd name="connsiteY1974" fmla="*/ 2408680 h 2768823"/>
                <a:gd name="connsiteX1975" fmla="*/ 84099 w 1313607"/>
                <a:gd name="connsiteY1975" fmla="*/ 2410071 h 2768823"/>
                <a:gd name="connsiteX1976" fmla="*/ 82587 w 1313607"/>
                <a:gd name="connsiteY1976" fmla="*/ 2411100 h 2768823"/>
                <a:gd name="connsiteX1977" fmla="*/ 81225 w 1313607"/>
                <a:gd name="connsiteY1977" fmla="*/ 2412401 h 2768823"/>
                <a:gd name="connsiteX1978" fmla="*/ 80287 w 1313607"/>
                <a:gd name="connsiteY1978" fmla="*/ 2414276 h 2768823"/>
                <a:gd name="connsiteX1979" fmla="*/ 79894 w 1313607"/>
                <a:gd name="connsiteY1979" fmla="*/ 2417090 h 2768823"/>
                <a:gd name="connsiteX1980" fmla="*/ 80257 w 1313607"/>
                <a:gd name="connsiteY1980" fmla="*/ 2419933 h 2768823"/>
                <a:gd name="connsiteX1981" fmla="*/ 80953 w 1313607"/>
                <a:gd name="connsiteY1981" fmla="*/ 2422626 h 2768823"/>
                <a:gd name="connsiteX1982" fmla="*/ 81104 w 1313607"/>
                <a:gd name="connsiteY1982" fmla="*/ 2424895 h 2768823"/>
                <a:gd name="connsiteX1983" fmla="*/ 79924 w 1313607"/>
                <a:gd name="connsiteY1983" fmla="*/ 2426437 h 2768823"/>
                <a:gd name="connsiteX1984" fmla="*/ 80862 w 1313607"/>
                <a:gd name="connsiteY1984" fmla="*/ 2427224 h 2768823"/>
                <a:gd name="connsiteX1985" fmla="*/ 81861 w 1313607"/>
                <a:gd name="connsiteY1985" fmla="*/ 2427617 h 2768823"/>
                <a:gd name="connsiteX1986" fmla="*/ 82980 w 1313607"/>
                <a:gd name="connsiteY1986" fmla="*/ 2427708 h 2768823"/>
                <a:gd name="connsiteX1987" fmla="*/ 84099 w 1313607"/>
                <a:gd name="connsiteY1987" fmla="*/ 2427587 h 2768823"/>
                <a:gd name="connsiteX1988" fmla="*/ 82980 w 1313607"/>
                <a:gd name="connsiteY1988" fmla="*/ 2432185 h 2768823"/>
                <a:gd name="connsiteX1989" fmla="*/ 84613 w 1313607"/>
                <a:gd name="connsiteY1989" fmla="*/ 2432185 h 2768823"/>
                <a:gd name="connsiteX1990" fmla="*/ 86852 w 1313607"/>
                <a:gd name="connsiteY1990" fmla="*/ 2431641 h 2768823"/>
                <a:gd name="connsiteX1991" fmla="*/ 87548 w 1313607"/>
                <a:gd name="connsiteY1991" fmla="*/ 2434635 h 2768823"/>
                <a:gd name="connsiteX1992" fmla="*/ 88939 w 1313607"/>
                <a:gd name="connsiteY1992" fmla="*/ 2431308 h 2768823"/>
                <a:gd name="connsiteX1993" fmla="*/ 90331 w 1313607"/>
                <a:gd name="connsiteY1993" fmla="*/ 2419631 h 2768823"/>
                <a:gd name="connsiteX1994" fmla="*/ 91934 w 1313607"/>
                <a:gd name="connsiteY1994" fmla="*/ 2417090 h 2768823"/>
                <a:gd name="connsiteX1995" fmla="*/ 92690 w 1313607"/>
                <a:gd name="connsiteY1995" fmla="*/ 2416636 h 2768823"/>
                <a:gd name="connsiteX1996" fmla="*/ 93356 w 1313607"/>
                <a:gd name="connsiteY1996" fmla="*/ 2415698 h 2768823"/>
                <a:gd name="connsiteX1997" fmla="*/ 94052 w 1313607"/>
                <a:gd name="connsiteY1997" fmla="*/ 2414851 h 2768823"/>
                <a:gd name="connsiteX1998" fmla="*/ 95050 w 1313607"/>
                <a:gd name="connsiteY1998" fmla="*/ 2414730 h 2768823"/>
                <a:gd name="connsiteX1999" fmla="*/ 95625 w 1313607"/>
                <a:gd name="connsiteY1999" fmla="*/ 2415396 h 2768823"/>
                <a:gd name="connsiteX2000" fmla="*/ 98710 w 1313607"/>
                <a:gd name="connsiteY2000" fmla="*/ 2421537 h 2768823"/>
                <a:gd name="connsiteX2001" fmla="*/ 98922 w 1313607"/>
                <a:gd name="connsiteY2001" fmla="*/ 2423533 h 2768823"/>
                <a:gd name="connsiteX2002" fmla="*/ 97984 w 1313607"/>
                <a:gd name="connsiteY2002" fmla="*/ 2425106 h 2768823"/>
                <a:gd name="connsiteX2003" fmla="*/ 95716 w 1313607"/>
                <a:gd name="connsiteY2003" fmla="*/ 2426468 h 2768823"/>
                <a:gd name="connsiteX2004" fmla="*/ 100586 w 1313607"/>
                <a:gd name="connsiteY2004" fmla="*/ 2426468 h 2768823"/>
                <a:gd name="connsiteX2005" fmla="*/ 98680 w 1313607"/>
                <a:gd name="connsiteY2005" fmla="*/ 2429311 h 2768823"/>
                <a:gd name="connsiteX2006" fmla="*/ 96048 w 1313607"/>
                <a:gd name="connsiteY2006" fmla="*/ 2431762 h 2768823"/>
                <a:gd name="connsiteX2007" fmla="*/ 94627 w 1313607"/>
                <a:gd name="connsiteY2007" fmla="*/ 2433879 h 2768823"/>
                <a:gd name="connsiteX2008" fmla="*/ 96381 w 1313607"/>
                <a:gd name="connsiteY2008" fmla="*/ 2435815 h 2768823"/>
                <a:gd name="connsiteX2009" fmla="*/ 97046 w 1313607"/>
                <a:gd name="connsiteY2009" fmla="*/ 2435815 h 2768823"/>
                <a:gd name="connsiteX2010" fmla="*/ 98650 w 1313607"/>
                <a:gd name="connsiteY2010" fmla="*/ 2434908 h 2768823"/>
                <a:gd name="connsiteX2011" fmla="*/ 99497 w 1313607"/>
                <a:gd name="connsiteY2011" fmla="*/ 2434666 h 2768823"/>
                <a:gd name="connsiteX2012" fmla="*/ 100193 w 1313607"/>
                <a:gd name="connsiteY2012" fmla="*/ 2435029 h 2768823"/>
                <a:gd name="connsiteX2013" fmla="*/ 100616 w 1313607"/>
                <a:gd name="connsiteY2013" fmla="*/ 2435785 h 2768823"/>
                <a:gd name="connsiteX2014" fmla="*/ 100919 w 1313607"/>
                <a:gd name="connsiteY2014" fmla="*/ 2436602 h 2768823"/>
                <a:gd name="connsiteX2015" fmla="*/ 101161 w 1313607"/>
                <a:gd name="connsiteY2015" fmla="*/ 2437086 h 2768823"/>
                <a:gd name="connsiteX2016" fmla="*/ 102250 w 1313607"/>
                <a:gd name="connsiteY2016" fmla="*/ 2438024 h 2768823"/>
                <a:gd name="connsiteX2017" fmla="*/ 103400 w 1313607"/>
                <a:gd name="connsiteY2017" fmla="*/ 2439264 h 2768823"/>
                <a:gd name="connsiteX2018" fmla="*/ 104126 w 1313607"/>
                <a:gd name="connsiteY2018" fmla="*/ 2440867 h 2768823"/>
                <a:gd name="connsiteX2019" fmla="*/ 104004 w 1313607"/>
                <a:gd name="connsiteY2019" fmla="*/ 2442894 h 2768823"/>
                <a:gd name="connsiteX2020" fmla="*/ 104458 w 1313607"/>
                <a:gd name="connsiteY2020" fmla="*/ 2443923 h 2768823"/>
                <a:gd name="connsiteX2021" fmla="*/ 104458 w 1313607"/>
                <a:gd name="connsiteY2021" fmla="*/ 2445072 h 2768823"/>
                <a:gd name="connsiteX2022" fmla="*/ 103974 w 1313607"/>
                <a:gd name="connsiteY2022" fmla="*/ 2446010 h 2768823"/>
                <a:gd name="connsiteX2023" fmla="*/ 101705 w 1313607"/>
                <a:gd name="connsiteY2023" fmla="*/ 2446797 h 2768823"/>
                <a:gd name="connsiteX2024" fmla="*/ 100949 w 1313607"/>
                <a:gd name="connsiteY2024" fmla="*/ 2447765 h 2768823"/>
                <a:gd name="connsiteX2025" fmla="*/ 100253 w 1313607"/>
                <a:gd name="connsiteY2025" fmla="*/ 2448914 h 2768823"/>
                <a:gd name="connsiteX2026" fmla="*/ 99195 w 1313607"/>
                <a:gd name="connsiteY2026" fmla="*/ 2449912 h 2768823"/>
                <a:gd name="connsiteX2027" fmla="*/ 99195 w 1313607"/>
                <a:gd name="connsiteY2027" fmla="*/ 2451062 h 2768823"/>
                <a:gd name="connsiteX2028" fmla="*/ 102431 w 1313607"/>
                <a:gd name="connsiteY2028" fmla="*/ 2451123 h 2768823"/>
                <a:gd name="connsiteX2029" fmla="*/ 103944 w 1313607"/>
                <a:gd name="connsiteY2029" fmla="*/ 2451486 h 2768823"/>
                <a:gd name="connsiteX2030" fmla="*/ 105336 w 1313607"/>
                <a:gd name="connsiteY2030" fmla="*/ 2452333 h 2768823"/>
                <a:gd name="connsiteX2031" fmla="*/ 103974 w 1313607"/>
                <a:gd name="connsiteY2031" fmla="*/ 2453059 h 2768823"/>
                <a:gd name="connsiteX2032" fmla="*/ 102583 w 1313607"/>
                <a:gd name="connsiteY2032" fmla="*/ 2453391 h 2768823"/>
                <a:gd name="connsiteX2033" fmla="*/ 99769 w 1313607"/>
                <a:gd name="connsiteY2033" fmla="*/ 2453391 h 2768823"/>
                <a:gd name="connsiteX2034" fmla="*/ 101675 w 1313607"/>
                <a:gd name="connsiteY2034" fmla="*/ 2455237 h 2768823"/>
                <a:gd name="connsiteX2035" fmla="*/ 103490 w 1313607"/>
                <a:gd name="connsiteY2035" fmla="*/ 2456296 h 2768823"/>
                <a:gd name="connsiteX2036" fmla="*/ 105426 w 1313607"/>
                <a:gd name="connsiteY2036" fmla="*/ 2456780 h 2768823"/>
                <a:gd name="connsiteX2037" fmla="*/ 107725 w 1313607"/>
                <a:gd name="connsiteY2037" fmla="*/ 2456900 h 2768823"/>
                <a:gd name="connsiteX2038" fmla="*/ 108784 w 1313607"/>
                <a:gd name="connsiteY2038" fmla="*/ 2457506 h 2768823"/>
                <a:gd name="connsiteX2039" fmla="*/ 107695 w 1313607"/>
                <a:gd name="connsiteY2039" fmla="*/ 2458958 h 2768823"/>
                <a:gd name="connsiteX2040" fmla="*/ 104519 w 1313607"/>
                <a:gd name="connsiteY2040" fmla="*/ 2461650 h 2768823"/>
                <a:gd name="connsiteX2041" fmla="*/ 105699 w 1313607"/>
                <a:gd name="connsiteY2041" fmla="*/ 2462376 h 2768823"/>
                <a:gd name="connsiteX2042" fmla="*/ 108754 w 1313607"/>
                <a:gd name="connsiteY2042" fmla="*/ 2462164 h 2768823"/>
                <a:gd name="connsiteX2043" fmla="*/ 109359 w 1313607"/>
                <a:gd name="connsiteY2043" fmla="*/ 2462225 h 2768823"/>
                <a:gd name="connsiteX2044" fmla="*/ 109359 w 1313607"/>
                <a:gd name="connsiteY2044" fmla="*/ 2463768 h 2768823"/>
                <a:gd name="connsiteX2045" fmla="*/ 109722 w 1313607"/>
                <a:gd name="connsiteY2045" fmla="*/ 2467186 h 2768823"/>
                <a:gd name="connsiteX2046" fmla="*/ 110055 w 1313607"/>
                <a:gd name="connsiteY2046" fmla="*/ 2468517 h 2768823"/>
                <a:gd name="connsiteX2047" fmla="*/ 112989 w 1313607"/>
                <a:gd name="connsiteY2047" fmla="*/ 2473025 h 2768823"/>
                <a:gd name="connsiteX2048" fmla="*/ 113413 w 1313607"/>
                <a:gd name="connsiteY2048" fmla="*/ 2475324 h 2768823"/>
                <a:gd name="connsiteX2049" fmla="*/ 111507 w 1313607"/>
                <a:gd name="connsiteY2049" fmla="*/ 2477925 h 2768823"/>
                <a:gd name="connsiteX2050" fmla="*/ 113473 w 1313607"/>
                <a:gd name="connsiteY2050" fmla="*/ 2479861 h 2768823"/>
                <a:gd name="connsiteX2051" fmla="*/ 114199 w 1313607"/>
                <a:gd name="connsiteY2051" fmla="*/ 2480255 h 2768823"/>
                <a:gd name="connsiteX2052" fmla="*/ 114411 w 1313607"/>
                <a:gd name="connsiteY2052" fmla="*/ 2483370 h 2768823"/>
                <a:gd name="connsiteX2053" fmla="*/ 116831 w 1313607"/>
                <a:gd name="connsiteY2053" fmla="*/ 2486396 h 2768823"/>
                <a:gd name="connsiteX2054" fmla="*/ 119886 w 1313607"/>
                <a:gd name="connsiteY2054" fmla="*/ 2488725 h 2768823"/>
                <a:gd name="connsiteX2055" fmla="*/ 123063 w 1313607"/>
                <a:gd name="connsiteY2055" fmla="*/ 2490147 h 2768823"/>
                <a:gd name="connsiteX2056" fmla="*/ 123850 w 1313607"/>
                <a:gd name="connsiteY2056" fmla="*/ 2491297 h 2768823"/>
                <a:gd name="connsiteX2057" fmla="*/ 124424 w 1313607"/>
                <a:gd name="connsiteY2057" fmla="*/ 2492597 h 2768823"/>
                <a:gd name="connsiteX2058" fmla="*/ 124636 w 1313607"/>
                <a:gd name="connsiteY2058" fmla="*/ 2493565 h 2768823"/>
                <a:gd name="connsiteX2059" fmla="*/ 124727 w 1313607"/>
                <a:gd name="connsiteY2059" fmla="*/ 2494443 h 2768823"/>
                <a:gd name="connsiteX2060" fmla="*/ 125180 w 1313607"/>
                <a:gd name="connsiteY2060" fmla="*/ 2496076 h 2768823"/>
                <a:gd name="connsiteX2061" fmla="*/ 125271 w 1313607"/>
                <a:gd name="connsiteY2061" fmla="*/ 2497074 h 2768823"/>
                <a:gd name="connsiteX2062" fmla="*/ 125059 w 1313607"/>
                <a:gd name="connsiteY2062" fmla="*/ 2497589 h 2768823"/>
                <a:gd name="connsiteX2063" fmla="*/ 124182 w 1313607"/>
                <a:gd name="connsiteY2063" fmla="*/ 2499101 h 2768823"/>
                <a:gd name="connsiteX2064" fmla="*/ 123970 w 1313607"/>
                <a:gd name="connsiteY2064" fmla="*/ 2499948 h 2768823"/>
                <a:gd name="connsiteX2065" fmla="*/ 124273 w 1313607"/>
                <a:gd name="connsiteY2065" fmla="*/ 2503609 h 2768823"/>
                <a:gd name="connsiteX2066" fmla="*/ 125392 w 1313607"/>
                <a:gd name="connsiteY2066" fmla="*/ 2506573 h 2768823"/>
                <a:gd name="connsiteX2067" fmla="*/ 127268 w 1313607"/>
                <a:gd name="connsiteY2067" fmla="*/ 2508570 h 2768823"/>
                <a:gd name="connsiteX2068" fmla="*/ 130989 w 1313607"/>
                <a:gd name="connsiteY2068" fmla="*/ 2509659 h 2768823"/>
                <a:gd name="connsiteX2069" fmla="*/ 133530 w 1313607"/>
                <a:gd name="connsiteY2069" fmla="*/ 2511262 h 2768823"/>
                <a:gd name="connsiteX2070" fmla="*/ 136767 w 1313607"/>
                <a:gd name="connsiteY2070" fmla="*/ 2511958 h 2768823"/>
                <a:gd name="connsiteX2071" fmla="*/ 137826 w 1313607"/>
                <a:gd name="connsiteY2071" fmla="*/ 2512926 h 2768823"/>
                <a:gd name="connsiteX2072" fmla="*/ 139761 w 1313607"/>
                <a:gd name="connsiteY2072" fmla="*/ 2516224 h 2768823"/>
                <a:gd name="connsiteX2073" fmla="*/ 140276 w 1313607"/>
                <a:gd name="connsiteY2073" fmla="*/ 2516587 h 2768823"/>
                <a:gd name="connsiteX2074" fmla="*/ 141910 w 1313607"/>
                <a:gd name="connsiteY2074" fmla="*/ 2517041 h 2768823"/>
                <a:gd name="connsiteX2075" fmla="*/ 142545 w 1313607"/>
                <a:gd name="connsiteY2075" fmla="*/ 2517404 h 2768823"/>
                <a:gd name="connsiteX2076" fmla="*/ 142726 w 1313607"/>
                <a:gd name="connsiteY2076" fmla="*/ 2517827 h 2768823"/>
                <a:gd name="connsiteX2077" fmla="*/ 142726 w 1313607"/>
                <a:gd name="connsiteY2077" fmla="*/ 2518462 h 2768823"/>
                <a:gd name="connsiteX2078" fmla="*/ 142817 w 1313607"/>
                <a:gd name="connsiteY2078" fmla="*/ 2519128 h 2768823"/>
                <a:gd name="connsiteX2079" fmla="*/ 143240 w 1313607"/>
                <a:gd name="connsiteY2079" fmla="*/ 2519703 h 2768823"/>
                <a:gd name="connsiteX2080" fmla="*/ 149745 w 1313607"/>
                <a:gd name="connsiteY2080" fmla="*/ 2523998 h 2768823"/>
                <a:gd name="connsiteX2081" fmla="*/ 149957 w 1313607"/>
                <a:gd name="connsiteY2081" fmla="*/ 2525874 h 2768823"/>
                <a:gd name="connsiteX2082" fmla="*/ 149382 w 1313607"/>
                <a:gd name="connsiteY2082" fmla="*/ 2529565 h 2768823"/>
                <a:gd name="connsiteX2083" fmla="*/ 151499 w 1313607"/>
                <a:gd name="connsiteY2083" fmla="*/ 2535948 h 2768823"/>
                <a:gd name="connsiteX2084" fmla="*/ 153072 w 1313607"/>
                <a:gd name="connsiteY2084" fmla="*/ 2538640 h 2768823"/>
                <a:gd name="connsiteX2085" fmla="*/ 154887 w 1313607"/>
                <a:gd name="connsiteY2085" fmla="*/ 2540122 h 2768823"/>
                <a:gd name="connsiteX2086" fmla="*/ 156400 w 1313607"/>
                <a:gd name="connsiteY2086" fmla="*/ 2541937 h 2768823"/>
                <a:gd name="connsiteX2087" fmla="*/ 157005 w 1313607"/>
                <a:gd name="connsiteY2087" fmla="*/ 2545689 h 2768823"/>
                <a:gd name="connsiteX2088" fmla="*/ 157943 w 1313607"/>
                <a:gd name="connsiteY2088" fmla="*/ 2547776 h 2768823"/>
                <a:gd name="connsiteX2089" fmla="*/ 163176 w 1313607"/>
                <a:gd name="connsiteY2089" fmla="*/ 2553251 h 2768823"/>
                <a:gd name="connsiteX2090" fmla="*/ 164689 w 1313607"/>
                <a:gd name="connsiteY2090" fmla="*/ 2553736 h 2768823"/>
                <a:gd name="connsiteX2091" fmla="*/ 166262 w 1313607"/>
                <a:gd name="connsiteY2091" fmla="*/ 2553887 h 2768823"/>
                <a:gd name="connsiteX2092" fmla="*/ 167835 w 1313607"/>
                <a:gd name="connsiteY2092" fmla="*/ 2553736 h 2768823"/>
                <a:gd name="connsiteX2093" fmla="*/ 171859 w 1313607"/>
                <a:gd name="connsiteY2093" fmla="*/ 2552344 h 2768823"/>
                <a:gd name="connsiteX2094" fmla="*/ 174278 w 1313607"/>
                <a:gd name="connsiteY2094" fmla="*/ 2552102 h 2768823"/>
                <a:gd name="connsiteX2095" fmla="*/ 177273 w 1313607"/>
                <a:gd name="connsiteY2095" fmla="*/ 2552828 h 2768823"/>
                <a:gd name="connsiteX2096" fmla="*/ 178725 w 1313607"/>
                <a:gd name="connsiteY2096" fmla="*/ 2554915 h 2768823"/>
                <a:gd name="connsiteX2097" fmla="*/ 180510 w 1313607"/>
                <a:gd name="connsiteY2097" fmla="*/ 2562327 h 2768823"/>
                <a:gd name="connsiteX2098" fmla="*/ 183596 w 1313607"/>
                <a:gd name="connsiteY2098" fmla="*/ 2570041 h 2768823"/>
                <a:gd name="connsiteX2099" fmla="*/ 184019 w 1313607"/>
                <a:gd name="connsiteY2099" fmla="*/ 2573338 h 2768823"/>
                <a:gd name="connsiteX2100" fmla="*/ 183475 w 1313607"/>
                <a:gd name="connsiteY2100" fmla="*/ 2576817 h 2768823"/>
                <a:gd name="connsiteX2101" fmla="*/ 182174 w 1313607"/>
                <a:gd name="connsiteY2101" fmla="*/ 2580387 h 2768823"/>
                <a:gd name="connsiteX2102" fmla="*/ 180571 w 1313607"/>
                <a:gd name="connsiteY2102" fmla="*/ 2583442 h 2768823"/>
                <a:gd name="connsiteX2103" fmla="*/ 179119 w 1313607"/>
                <a:gd name="connsiteY2103" fmla="*/ 2585409 h 2768823"/>
                <a:gd name="connsiteX2104" fmla="*/ 173401 w 1313607"/>
                <a:gd name="connsiteY2104" fmla="*/ 2587526 h 2768823"/>
                <a:gd name="connsiteX2105" fmla="*/ 161361 w 1313607"/>
                <a:gd name="connsiteY2105" fmla="*/ 2583382 h 2768823"/>
                <a:gd name="connsiteX2106" fmla="*/ 155643 w 1313607"/>
                <a:gd name="connsiteY2106" fmla="*/ 2585409 h 2768823"/>
                <a:gd name="connsiteX2107" fmla="*/ 152104 w 1313607"/>
                <a:gd name="connsiteY2107" fmla="*/ 2591429 h 2768823"/>
                <a:gd name="connsiteX2108" fmla="*/ 154343 w 1313607"/>
                <a:gd name="connsiteY2108" fmla="*/ 2595301 h 2768823"/>
                <a:gd name="connsiteX2109" fmla="*/ 163206 w 1313607"/>
                <a:gd name="connsiteY2109" fmla="*/ 2601382 h 2768823"/>
                <a:gd name="connsiteX2110" fmla="*/ 166353 w 1313607"/>
                <a:gd name="connsiteY2110" fmla="*/ 2608763 h 2768823"/>
                <a:gd name="connsiteX2111" fmla="*/ 168410 w 1313607"/>
                <a:gd name="connsiteY2111" fmla="*/ 2612423 h 2768823"/>
                <a:gd name="connsiteX2112" fmla="*/ 173038 w 1313607"/>
                <a:gd name="connsiteY2112" fmla="*/ 2614904 h 2768823"/>
                <a:gd name="connsiteX2113" fmla="*/ 173462 w 1313607"/>
                <a:gd name="connsiteY2113" fmla="*/ 2617052 h 2768823"/>
                <a:gd name="connsiteX2114" fmla="*/ 172857 w 1313607"/>
                <a:gd name="connsiteY2114" fmla="*/ 2619683 h 2768823"/>
                <a:gd name="connsiteX2115" fmla="*/ 171556 w 1313607"/>
                <a:gd name="connsiteY2115" fmla="*/ 2621983 h 2768823"/>
                <a:gd name="connsiteX2116" fmla="*/ 169801 w 1313607"/>
                <a:gd name="connsiteY2116" fmla="*/ 2623314 h 2768823"/>
                <a:gd name="connsiteX2117" fmla="*/ 167865 w 1313607"/>
                <a:gd name="connsiteY2117" fmla="*/ 2623586 h 2768823"/>
                <a:gd name="connsiteX2118" fmla="*/ 163630 w 1313607"/>
                <a:gd name="connsiteY2118" fmla="*/ 2623132 h 2768823"/>
                <a:gd name="connsiteX2119" fmla="*/ 162783 w 1313607"/>
                <a:gd name="connsiteY2119" fmla="*/ 2623314 h 2768823"/>
                <a:gd name="connsiteX2120" fmla="*/ 161391 w 1313607"/>
                <a:gd name="connsiteY2120" fmla="*/ 2624070 h 2768823"/>
                <a:gd name="connsiteX2121" fmla="*/ 160514 w 1313607"/>
                <a:gd name="connsiteY2121" fmla="*/ 2624251 h 2768823"/>
                <a:gd name="connsiteX2122" fmla="*/ 159697 w 1313607"/>
                <a:gd name="connsiteY2122" fmla="*/ 2623888 h 2768823"/>
                <a:gd name="connsiteX2123" fmla="*/ 158185 w 1313607"/>
                <a:gd name="connsiteY2123" fmla="*/ 2622315 h 2768823"/>
                <a:gd name="connsiteX2124" fmla="*/ 157398 w 1313607"/>
                <a:gd name="connsiteY2124" fmla="*/ 2621952 h 2768823"/>
                <a:gd name="connsiteX2125" fmla="*/ 156642 w 1313607"/>
                <a:gd name="connsiteY2125" fmla="*/ 2621408 h 2768823"/>
                <a:gd name="connsiteX2126" fmla="*/ 155371 w 1313607"/>
                <a:gd name="connsiteY2126" fmla="*/ 2618988 h 2768823"/>
                <a:gd name="connsiteX2127" fmla="*/ 154645 w 1313607"/>
                <a:gd name="connsiteY2127" fmla="*/ 2618443 h 2768823"/>
                <a:gd name="connsiteX2128" fmla="*/ 135042 w 1313607"/>
                <a:gd name="connsiteY2128" fmla="*/ 2610578 h 2768823"/>
                <a:gd name="connsiteX2129" fmla="*/ 136404 w 1313607"/>
                <a:gd name="connsiteY2129" fmla="*/ 2612696 h 2768823"/>
                <a:gd name="connsiteX2130" fmla="*/ 140397 w 1313607"/>
                <a:gd name="connsiteY2130" fmla="*/ 2615418 h 2768823"/>
                <a:gd name="connsiteX2131" fmla="*/ 141607 w 1313607"/>
                <a:gd name="connsiteY2131" fmla="*/ 2619260 h 2768823"/>
                <a:gd name="connsiteX2132" fmla="*/ 144057 w 1313607"/>
                <a:gd name="connsiteY2132" fmla="*/ 2624191 h 2768823"/>
                <a:gd name="connsiteX2133" fmla="*/ 144420 w 1313607"/>
                <a:gd name="connsiteY2133" fmla="*/ 2625734 h 2768823"/>
                <a:gd name="connsiteX2134" fmla="*/ 145358 w 1313607"/>
                <a:gd name="connsiteY2134" fmla="*/ 2630997 h 2768823"/>
                <a:gd name="connsiteX2135" fmla="*/ 146447 w 1313607"/>
                <a:gd name="connsiteY2135" fmla="*/ 2632631 h 2768823"/>
                <a:gd name="connsiteX2136" fmla="*/ 150229 w 1313607"/>
                <a:gd name="connsiteY2136" fmla="*/ 2640678 h 2768823"/>
                <a:gd name="connsiteX2137" fmla="*/ 150955 w 1313607"/>
                <a:gd name="connsiteY2137" fmla="*/ 2641797 h 2768823"/>
                <a:gd name="connsiteX2138" fmla="*/ 159848 w 1313607"/>
                <a:gd name="connsiteY2138" fmla="*/ 2652567 h 2768823"/>
                <a:gd name="connsiteX2139" fmla="*/ 160514 w 1313607"/>
                <a:gd name="connsiteY2139" fmla="*/ 2654352 h 2768823"/>
                <a:gd name="connsiteX2140" fmla="*/ 160937 w 1313607"/>
                <a:gd name="connsiteY2140" fmla="*/ 2657558 h 2768823"/>
                <a:gd name="connsiteX2141" fmla="*/ 162027 w 1313607"/>
                <a:gd name="connsiteY2141" fmla="*/ 2659071 h 2768823"/>
                <a:gd name="connsiteX2142" fmla="*/ 163600 w 1313607"/>
                <a:gd name="connsiteY2142" fmla="*/ 2660069 h 2768823"/>
                <a:gd name="connsiteX2143" fmla="*/ 165354 w 1313607"/>
                <a:gd name="connsiteY2143" fmla="*/ 2661642 h 2768823"/>
                <a:gd name="connsiteX2144" fmla="*/ 166141 w 1313607"/>
                <a:gd name="connsiteY2144" fmla="*/ 2663850 h 2768823"/>
                <a:gd name="connsiteX2145" fmla="*/ 166625 w 1313607"/>
                <a:gd name="connsiteY2145" fmla="*/ 2666906 h 2768823"/>
                <a:gd name="connsiteX2146" fmla="*/ 167230 w 1313607"/>
                <a:gd name="connsiteY2146" fmla="*/ 2669598 h 2768823"/>
                <a:gd name="connsiteX2147" fmla="*/ 168531 w 1313607"/>
                <a:gd name="connsiteY2147" fmla="*/ 2670778 h 2768823"/>
                <a:gd name="connsiteX2148" fmla="*/ 169227 w 1313607"/>
                <a:gd name="connsiteY2148" fmla="*/ 2671111 h 2768823"/>
                <a:gd name="connsiteX2149" fmla="*/ 170013 w 1313607"/>
                <a:gd name="connsiteY2149" fmla="*/ 2671867 h 2768823"/>
                <a:gd name="connsiteX2150" fmla="*/ 170648 w 1313607"/>
                <a:gd name="connsiteY2150" fmla="*/ 2672775 h 2768823"/>
                <a:gd name="connsiteX2151" fmla="*/ 170921 w 1313607"/>
                <a:gd name="connsiteY2151" fmla="*/ 2673531 h 2768823"/>
                <a:gd name="connsiteX2152" fmla="*/ 170981 w 1313607"/>
                <a:gd name="connsiteY2152" fmla="*/ 2675921 h 2768823"/>
                <a:gd name="connsiteX2153" fmla="*/ 171223 w 1313607"/>
                <a:gd name="connsiteY2153" fmla="*/ 2677222 h 2768823"/>
                <a:gd name="connsiteX2154" fmla="*/ 172282 w 1313607"/>
                <a:gd name="connsiteY2154" fmla="*/ 2679793 h 2768823"/>
                <a:gd name="connsiteX2155" fmla="*/ 175247 w 1313607"/>
                <a:gd name="connsiteY2155" fmla="*/ 2683272 h 2768823"/>
                <a:gd name="connsiteX2156" fmla="*/ 179331 w 1313607"/>
                <a:gd name="connsiteY2156" fmla="*/ 2685269 h 2768823"/>
                <a:gd name="connsiteX2157" fmla="*/ 182840 w 1313607"/>
                <a:gd name="connsiteY2157" fmla="*/ 2688475 h 2768823"/>
                <a:gd name="connsiteX2158" fmla="*/ 184110 w 1313607"/>
                <a:gd name="connsiteY2158" fmla="*/ 2695645 h 2768823"/>
                <a:gd name="connsiteX2159" fmla="*/ 183868 w 1313607"/>
                <a:gd name="connsiteY2159" fmla="*/ 2697793 h 2768823"/>
                <a:gd name="connsiteX2160" fmla="*/ 183414 w 1313607"/>
                <a:gd name="connsiteY2160" fmla="*/ 2699093 h 2768823"/>
                <a:gd name="connsiteX2161" fmla="*/ 182598 w 1313607"/>
                <a:gd name="connsiteY2161" fmla="*/ 2699789 h 2768823"/>
                <a:gd name="connsiteX2162" fmla="*/ 181357 w 1313607"/>
                <a:gd name="connsiteY2162" fmla="*/ 2700031 h 2768823"/>
                <a:gd name="connsiteX2163" fmla="*/ 182507 w 1313607"/>
                <a:gd name="connsiteY2163" fmla="*/ 2702391 h 2768823"/>
                <a:gd name="connsiteX2164" fmla="*/ 184352 w 1313607"/>
                <a:gd name="connsiteY2164" fmla="*/ 2703057 h 2768823"/>
                <a:gd name="connsiteX2165" fmla="*/ 186833 w 1313607"/>
                <a:gd name="connsiteY2165" fmla="*/ 2702935 h 2768823"/>
                <a:gd name="connsiteX2166" fmla="*/ 187710 w 1313607"/>
                <a:gd name="connsiteY2166" fmla="*/ 2706173 h 2768823"/>
                <a:gd name="connsiteX2167" fmla="*/ 189586 w 1313607"/>
                <a:gd name="connsiteY2167" fmla="*/ 2706293 h 2768823"/>
                <a:gd name="connsiteX2168" fmla="*/ 191431 w 1313607"/>
                <a:gd name="connsiteY2168" fmla="*/ 2705870 h 2768823"/>
                <a:gd name="connsiteX2169" fmla="*/ 192944 w 1313607"/>
                <a:gd name="connsiteY2169" fmla="*/ 2708502 h 2768823"/>
                <a:gd name="connsiteX2170" fmla="*/ 194365 w 1313607"/>
                <a:gd name="connsiteY2170" fmla="*/ 2709651 h 2768823"/>
                <a:gd name="connsiteX2171" fmla="*/ 195817 w 1313607"/>
                <a:gd name="connsiteY2171" fmla="*/ 2711527 h 2768823"/>
                <a:gd name="connsiteX2172" fmla="*/ 196483 w 1313607"/>
                <a:gd name="connsiteY2172" fmla="*/ 2714734 h 2768823"/>
                <a:gd name="connsiteX2173" fmla="*/ 196150 w 1313607"/>
                <a:gd name="connsiteY2173" fmla="*/ 2716972 h 2768823"/>
                <a:gd name="connsiteX2174" fmla="*/ 195303 w 1313607"/>
                <a:gd name="connsiteY2174" fmla="*/ 2719211 h 2768823"/>
                <a:gd name="connsiteX2175" fmla="*/ 194184 w 1313607"/>
                <a:gd name="connsiteY2175" fmla="*/ 2721177 h 2768823"/>
                <a:gd name="connsiteX2176" fmla="*/ 193065 w 1313607"/>
                <a:gd name="connsiteY2176" fmla="*/ 2722569 h 2768823"/>
                <a:gd name="connsiteX2177" fmla="*/ 186107 w 1313607"/>
                <a:gd name="connsiteY2177" fmla="*/ 2727227 h 2768823"/>
                <a:gd name="connsiteX2178" fmla="*/ 183203 w 1313607"/>
                <a:gd name="connsiteY2178" fmla="*/ 2730374 h 2768823"/>
                <a:gd name="connsiteX2179" fmla="*/ 181993 w 1313607"/>
                <a:gd name="connsiteY2179" fmla="*/ 2735547 h 2768823"/>
                <a:gd name="connsiteX2180" fmla="*/ 183112 w 1313607"/>
                <a:gd name="connsiteY2180" fmla="*/ 2739993 h 2768823"/>
                <a:gd name="connsiteX2181" fmla="*/ 187861 w 1313607"/>
                <a:gd name="connsiteY2181" fmla="*/ 2747314 h 2768823"/>
                <a:gd name="connsiteX2182" fmla="*/ 188860 w 1313607"/>
                <a:gd name="connsiteY2182" fmla="*/ 2751731 h 2768823"/>
                <a:gd name="connsiteX2183" fmla="*/ 187589 w 1313607"/>
                <a:gd name="connsiteY2183" fmla="*/ 2750703 h 2768823"/>
                <a:gd name="connsiteX2184" fmla="*/ 186621 w 1313607"/>
                <a:gd name="connsiteY2184" fmla="*/ 2750703 h 2768823"/>
                <a:gd name="connsiteX2185" fmla="*/ 186288 w 1313607"/>
                <a:gd name="connsiteY2185" fmla="*/ 2751731 h 2768823"/>
                <a:gd name="connsiteX2186" fmla="*/ 186863 w 1313607"/>
                <a:gd name="connsiteY2186" fmla="*/ 2753848 h 2768823"/>
                <a:gd name="connsiteX2187" fmla="*/ 185562 w 1313607"/>
                <a:gd name="connsiteY2187" fmla="*/ 2755452 h 2768823"/>
                <a:gd name="connsiteX2188" fmla="*/ 183233 w 1313607"/>
                <a:gd name="connsiteY2188" fmla="*/ 2756450 h 2768823"/>
                <a:gd name="connsiteX2189" fmla="*/ 180722 w 1313607"/>
                <a:gd name="connsiteY2189" fmla="*/ 2756571 h 2768823"/>
                <a:gd name="connsiteX2190" fmla="*/ 178907 w 1313607"/>
                <a:gd name="connsiteY2190" fmla="*/ 2755543 h 2768823"/>
                <a:gd name="connsiteX2191" fmla="*/ 178030 w 1313607"/>
                <a:gd name="connsiteY2191" fmla="*/ 2754393 h 2768823"/>
                <a:gd name="connsiteX2192" fmla="*/ 177394 w 1313607"/>
                <a:gd name="connsiteY2192" fmla="*/ 2753879 h 2768823"/>
                <a:gd name="connsiteX2193" fmla="*/ 176850 w 1313607"/>
                <a:gd name="connsiteY2193" fmla="*/ 2753788 h 2768823"/>
                <a:gd name="connsiteX2194" fmla="*/ 176154 w 1313607"/>
                <a:gd name="connsiteY2194" fmla="*/ 2753788 h 2768823"/>
                <a:gd name="connsiteX2195" fmla="*/ 173068 w 1313607"/>
                <a:gd name="connsiteY2195" fmla="*/ 2759476 h 2768823"/>
                <a:gd name="connsiteX2196" fmla="*/ 173462 w 1313607"/>
                <a:gd name="connsiteY2196" fmla="*/ 2762319 h 2768823"/>
                <a:gd name="connsiteX2197" fmla="*/ 174944 w 1313607"/>
                <a:gd name="connsiteY2197" fmla="*/ 2762410 h 2768823"/>
                <a:gd name="connsiteX2198" fmla="*/ 176941 w 1313607"/>
                <a:gd name="connsiteY2198" fmla="*/ 2761291 h 2768823"/>
                <a:gd name="connsiteX2199" fmla="*/ 178907 w 1313607"/>
                <a:gd name="connsiteY2199" fmla="*/ 2760565 h 2768823"/>
                <a:gd name="connsiteX2200" fmla="*/ 179966 w 1313607"/>
                <a:gd name="connsiteY2200" fmla="*/ 2760746 h 2768823"/>
                <a:gd name="connsiteX2201" fmla="*/ 181297 w 1313607"/>
                <a:gd name="connsiteY2201" fmla="*/ 2761502 h 2768823"/>
                <a:gd name="connsiteX2202" fmla="*/ 182356 w 1313607"/>
                <a:gd name="connsiteY2202" fmla="*/ 2761684 h 2768823"/>
                <a:gd name="connsiteX2203" fmla="*/ 183536 w 1313607"/>
                <a:gd name="connsiteY2203" fmla="*/ 2761442 h 2768823"/>
                <a:gd name="connsiteX2204" fmla="*/ 185018 w 1313607"/>
                <a:gd name="connsiteY2204" fmla="*/ 2760111 h 2768823"/>
                <a:gd name="connsiteX2205" fmla="*/ 186107 w 1313607"/>
                <a:gd name="connsiteY2205" fmla="*/ 2759476 h 2768823"/>
                <a:gd name="connsiteX2206" fmla="*/ 188224 w 1313607"/>
                <a:gd name="connsiteY2206" fmla="*/ 2758961 h 2768823"/>
                <a:gd name="connsiteX2207" fmla="*/ 190312 w 1313607"/>
                <a:gd name="connsiteY2207" fmla="*/ 2759476 h 2768823"/>
                <a:gd name="connsiteX2208" fmla="*/ 191189 w 1313607"/>
                <a:gd name="connsiteY2208" fmla="*/ 2759990 h 2768823"/>
                <a:gd name="connsiteX2209" fmla="*/ 192853 w 1313607"/>
                <a:gd name="connsiteY2209" fmla="*/ 2761411 h 2768823"/>
                <a:gd name="connsiteX2210" fmla="*/ 193428 w 1313607"/>
                <a:gd name="connsiteY2210" fmla="*/ 2761714 h 2768823"/>
                <a:gd name="connsiteX2211" fmla="*/ 194547 w 1313607"/>
                <a:gd name="connsiteY2211" fmla="*/ 2761865 h 2768823"/>
                <a:gd name="connsiteX2212" fmla="*/ 196543 w 1313607"/>
                <a:gd name="connsiteY2212" fmla="*/ 2762561 h 2768823"/>
                <a:gd name="connsiteX2213" fmla="*/ 201959 w 1313607"/>
                <a:gd name="connsiteY2213" fmla="*/ 2762712 h 2768823"/>
                <a:gd name="connsiteX2214" fmla="*/ 218567 w 1313607"/>
                <a:gd name="connsiteY2214" fmla="*/ 2768369 h 2768823"/>
                <a:gd name="connsiteX2215" fmla="*/ 221804 w 1313607"/>
                <a:gd name="connsiteY2215" fmla="*/ 2768823 h 2768823"/>
                <a:gd name="connsiteX2216" fmla="*/ 228731 w 1313607"/>
                <a:gd name="connsiteY2216" fmla="*/ 2768278 h 2768823"/>
                <a:gd name="connsiteX2217" fmla="*/ 231696 w 1313607"/>
                <a:gd name="connsiteY2217" fmla="*/ 2767250 h 2768823"/>
                <a:gd name="connsiteX2218" fmla="*/ 241013 w 1313607"/>
                <a:gd name="connsiteY2218" fmla="*/ 2761381 h 2768823"/>
                <a:gd name="connsiteX2219" fmla="*/ 244492 w 1313607"/>
                <a:gd name="connsiteY2219" fmla="*/ 2760595 h 2768823"/>
                <a:gd name="connsiteX2220" fmla="*/ 248788 w 1313607"/>
                <a:gd name="connsiteY2220" fmla="*/ 2761321 h 2768823"/>
                <a:gd name="connsiteX2221" fmla="*/ 250331 w 1313607"/>
                <a:gd name="connsiteY2221" fmla="*/ 2760595 h 2768823"/>
                <a:gd name="connsiteX2222" fmla="*/ 251601 w 1313607"/>
                <a:gd name="connsiteY2222" fmla="*/ 2759203 h 2768823"/>
                <a:gd name="connsiteX2223" fmla="*/ 252539 w 1313607"/>
                <a:gd name="connsiteY2223" fmla="*/ 2757690 h 2768823"/>
                <a:gd name="connsiteX2224" fmla="*/ 253688 w 1313607"/>
                <a:gd name="connsiteY2224" fmla="*/ 2756511 h 2768823"/>
                <a:gd name="connsiteX2225" fmla="*/ 255473 w 1313607"/>
                <a:gd name="connsiteY2225" fmla="*/ 2756057 h 2768823"/>
                <a:gd name="connsiteX2226" fmla="*/ 268844 w 1313607"/>
                <a:gd name="connsiteY2226" fmla="*/ 2755028 h 2768823"/>
                <a:gd name="connsiteX2227" fmla="*/ 273654 w 1313607"/>
                <a:gd name="connsiteY2227" fmla="*/ 2756027 h 2768823"/>
                <a:gd name="connsiteX2228" fmla="*/ 275076 w 1313607"/>
                <a:gd name="connsiteY2228" fmla="*/ 2756027 h 2768823"/>
                <a:gd name="connsiteX2229" fmla="*/ 276528 w 1313607"/>
                <a:gd name="connsiteY2229" fmla="*/ 2755543 h 2768823"/>
                <a:gd name="connsiteX2230" fmla="*/ 279100 w 1313607"/>
                <a:gd name="connsiteY2230" fmla="*/ 2754121 h 2768823"/>
                <a:gd name="connsiteX2231" fmla="*/ 280612 w 1313607"/>
                <a:gd name="connsiteY2231" fmla="*/ 2753819 h 2768823"/>
                <a:gd name="connsiteX2232" fmla="*/ 283910 w 1313607"/>
                <a:gd name="connsiteY2232" fmla="*/ 2754151 h 2768823"/>
                <a:gd name="connsiteX2233" fmla="*/ 286541 w 1313607"/>
                <a:gd name="connsiteY2233" fmla="*/ 2755119 h 2768823"/>
                <a:gd name="connsiteX2234" fmla="*/ 294498 w 1313607"/>
                <a:gd name="connsiteY2234" fmla="*/ 2759959 h 2768823"/>
                <a:gd name="connsiteX2235" fmla="*/ 297402 w 1313607"/>
                <a:gd name="connsiteY2235" fmla="*/ 2760988 h 2768823"/>
                <a:gd name="connsiteX2236" fmla="*/ 300397 w 1313607"/>
                <a:gd name="connsiteY2236" fmla="*/ 2761532 h 2768823"/>
                <a:gd name="connsiteX2237" fmla="*/ 306871 w 1313607"/>
                <a:gd name="connsiteY2237" fmla="*/ 2761532 h 2768823"/>
                <a:gd name="connsiteX2238" fmla="*/ 309140 w 1313607"/>
                <a:gd name="connsiteY2238" fmla="*/ 2760988 h 2768823"/>
                <a:gd name="connsiteX2239" fmla="*/ 311015 w 1313607"/>
                <a:gd name="connsiteY2239" fmla="*/ 2759657 h 2768823"/>
                <a:gd name="connsiteX2240" fmla="*/ 312951 w 1313607"/>
                <a:gd name="connsiteY2240" fmla="*/ 2757237 h 2768823"/>
                <a:gd name="connsiteX2241" fmla="*/ 317579 w 1313607"/>
                <a:gd name="connsiteY2241" fmla="*/ 2749492 h 2768823"/>
                <a:gd name="connsiteX2242" fmla="*/ 318790 w 1313607"/>
                <a:gd name="connsiteY2242" fmla="*/ 2748313 h 2768823"/>
                <a:gd name="connsiteX2243" fmla="*/ 320574 w 1313607"/>
                <a:gd name="connsiteY2243" fmla="*/ 2747163 h 2768823"/>
                <a:gd name="connsiteX2244" fmla="*/ 326020 w 1313607"/>
                <a:gd name="connsiteY2244" fmla="*/ 2741445 h 2768823"/>
                <a:gd name="connsiteX2245" fmla="*/ 327441 w 1313607"/>
                <a:gd name="connsiteY2245" fmla="*/ 2739328 h 2768823"/>
                <a:gd name="connsiteX2246" fmla="*/ 327895 w 1313607"/>
                <a:gd name="connsiteY2246" fmla="*/ 2735788 h 2768823"/>
                <a:gd name="connsiteX2247" fmla="*/ 326957 w 1313607"/>
                <a:gd name="connsiteY2247" fmla="*/ 2732794 h 2768823"/>
                <a:gd name="connsiteX2248" fmla="*/ 322783 w 1313607"/>
                <a:gd name="connsiteY2248" fmla="*/ 2726471 h 2768823"/>
                <a:gd name="connsiteX2249" fmla="*/ 320574 w 1313607"/>
                <a:gd name="connsiteY2249" fmla="*/ 2724353 h 2768823"/>
                <a:gd name="connsiteX2250" fmla="*/ 319546 w 1313607"/>
                <a:gd name="connsiteY2250" fmla="*/ 2723083 h 2768823"/>
                <a:gd name="connsiteX2251" fmla="*/ 318699 w 1313607"/>
                <a:gd name="connsiteY2251" fmla="*/ 2721117 h 2768823"/>
                <a:gd name="connsiteX2252" fmla="*/ 318608 w 1313607"/>
                <a:gd name="connsiteY2252" fmla="*/ 2719302 h 2768823"/>
                <a:gd name="connsiteX2253" fmla="*/ 318699 w 1313607"/>
                <a:gd name="connsiteY2253" fmla="*/ 2717547 h 2768823"/>
                <a:gd name="connsiteX2254" fmla="*/ 318457 w 1313607"/>
                <a:gd name="connsiteY2254" fmla="*/ 2715792 h 2768823"/>
                <a:gd name="connsiteX2255" fmla="*/ 317186 w 1313607"/>
                <a:gd name="connsiteY2255" fmla="*/ 2713735 h 2768823"/>
                <a:gd name="connsiteX2256" fmla="*/ 313314 w 1313607"/>
                <a:gd name="connsiteY2256" fmla="*/ 2711013 h 2768823"/>
                <a:gd name="connsiteX2257" fmla="*/ 311650 w 1313607"/>
                <a:gd name="connsiteY2257" fmla="*/ 2709077 h 2768823"/>
                <a:gd name="connsiteX2258" fmla="*/ 310622 w 1313607"/>
                <a:gd name="connsiteY2258" fmla="*/ 2706263 h 2768823"/>
                <a:gd name="connsiteX2259" fmla="*/ 310470 w 1313607"/>
                <a:gd name="connsiteY2259" fmla="*/ 2703601 h 2768823"/>
                <a:gd name="connsiteX2260" fmla="*/ 310894 w 1313607"/>
                <a:gd name="connsiteY2260" fmla="*/ 2697339 h 2768823"/>
                <a:gd name="connsiteX2261" fmla="*/ 311892 w 1313607"/>
                <a:gd name="connsiteY2261" fmla="*/ 2690563 h 2768823"/>
                <a:gd name="connsiteX2262" fmla="*/ 314524 w 1313607"/>
                <a:gd name="connsiteY2262" fmla="*/ 2683756 h 2768823"/>
                <a:gd name="connsiteX2263" fmla="*/ 318185 w 1313607"/>
                <a:gd name="connsiteY2263" fmla="*/ 2678523 h 2768823"/>
                <a:gd name="connsiteX2264" fmla="*/ 322269 w 1313607"/>
                <a:gd name="connsiteY2264" fmla="*/ 2676435 h 2768823"/>
                <a:gd name="connsiteX2265" fmla="*/ 323448 w 1313607"/>
                <a:gd name="connsiteY2265" fmla="*/ 2675013 h 2768823"/>
                <a:gd name="connsiteX2266" fmla="*/ 324447 w 1313607"/>
                <a:gd name="connsiteY2266" fmla="*/ 2671928 h 2768823"/>
                <a:gd name="connsiteX2267" fmla="*/ 325748 w 1313607"/>
                <a:gd name="connsiteY2267" fmla="*/ 2668812 h 2768823"/>
                <a:gd name="connsiteX2268" fmla="*/ 327774 w 1313607"/>
                <a:gd name="connsiteY2268" fmla="*/ 2667390 h 2768823"/>
                <a:gd name="connsiteX2269" fmla="*/ 329680 w 1313607"/>
                <a:gd name="connsiteY2269" fmla="*/ 2666664 h 2768823"/>
                <a:gd name="connsiteX2270" fmla="*/ 331919 w 1313607"/>
                <a:gd name="connsiteY2270" fmla="*/ 2664879 h 2768823"/>
                <a:gd name="connsiteX2271" fmla="*/ 335730 w 1313607"/>
                <a:gd name="connsiteY2271" fmla="*/ 2660644 h 2768823"/>
                <a:gd name="connsiteX2272" fmla="*/ 339088 w 1313607"/>
                <a:gd name="connsiteY2272" fmla="*/ 2655864 h 2768823"/>
                <a:gd name="connsiteX2273" fmla="*/ 340934 w 1313607"/>
                <a:gd name="connsiteY2273" fmla="*/ 2654412 h 2768823"/>
                <a:gd name="connsiteX2274" fmla="*/ 343656 w 1313607"/>
                <a:gd name="connsiteY2274" fmla="*/ 2653868 h 2768823"/>
                <a:gd name="connsiteX2275" fmla="*/ 344564 w 1313607"/>
                <a:gd name="connsiteY2275" fmla="*/ 2653505 h 2768823"/>
                <a:gd name="connsiteX2276" fmla="*/ 346893 w 1313607"/>
                <a:gd name="connsiteY2276" fmla="*/ 2651932 h 2768823"/>
                <a:gd name="connsiteX2277" fmla="*/ 348133 w 1313607"/>
                <a:gd name="connsiteY2277" fmla="*/ 2651478 h 2768823"/>
                <a:gd name="connsiteX2278" fmla="*/ 347891 w 1313607"/>
                <a:gd name="connsiteY2278" fmla="*/ 2651871 h 2768823"/>
                <a:gd name="connsiteX2279" fmla="*/ 348376 w 1313607"/>
                <a:gd name="connsiteY2279" fmla="*/ 2652658 h 2768823"/>
                <a:gd name="connsiteX2280" fmla="*/ 349465 w 1313607"/>
                <a:gd name="connsiteY2280" fmla="*/ 2653837 h 2768823"/>
                <a:gd name="connsiteX2281" fmla="*/ 351582 w 1313607"/>
                <a:gd name="connsiteY2281" fmla="*/ 2651478 h 2768823"/>
                <a:gd name="connsiteX2282" fmla="*/ 351582 w 1313607"/>
                <a:gd name="connsiteY2282" fmla="*/ 2653474 h 2768823"/>
                <a:gd name="connsiteX2283" fmla="*/ 352036 w 1313607"/>
                <a:gd name="connsiteY2283" fmla="*/ 2654957 h 2768823"/>
                <a:gd name="connsiteX2284" fmla="*/ 352792 w 1313607"/>
                <a:gd name="connsiteY2284" fmla="*/ 2656076 h 2768823"/>
                <a:gd name="connsiteX2285" fmla="*/ 353639 w 1313607"/>
                <a:gd name="connsiteY2285" fmla="*/ 2657014 h 2768823"/>
                <a:gd name="connsiteX2286" fmla="*/ 352218 w 1313607"/>
                <a:gd name="connsiteY2286" fmla="*/ 2658527 h 2768823"/>
                <a:gd name="connsiteX2287" fmla="*/ 352399 w 1313607"/>
                <a:gd name="connsiteY2287" fmla="*/ 2659222 h 2768823"/>
                <a:gd name="connsiteX2288" fmla="*/ 353427 w 1313607"/>
                <a:gd name="connsiteY2288" fmla="*/ 2659373 h 2768823"/>
                <a:gd name="connsiteX2289" fmla="*/ 356241 w 1313607"/>
                <a:gd name="connsiteY2289" fmla="*/ 2659373 h 2768823"/>
                <a:gd name="connsiteX2290" fmla="*/ 357027 w 1313607"/>
                <a:gd name="connsiteY2290" fmla="*/ 2659525 h 2768823"/>
                <a:gd name="connsiteX2291" fmla="*/ 357784 w 1313607"/>
                <a:gd name="connsiteY2291" fmla="*/ 2659979 h 2768823"/>
                <a:gd name="connsiteX2292" fmla="*/ 358631 w 1313607"/>
                <a:gd name="connsiteY2292" fmla="*/ 2660190 h 2768823"/>
                <a:gd name="connsiteX2293" fmla="*/ 359236 w 1313607"/>
                <a:gd name="connsiteY2293" fmla="*/ 2659525 h 2768823"/>
                <a:gd name="connsiteX2294" fmla="*/ 359901 w 1313607"/>
                <a:gd name="connsiteY2294" fmla="*/ 2658254 h 2768823"/>
                <a:gd name="connsiteX2295" fmla="*/ 361898 w 1313607"/>
                <a:gd name="connsiteY2295" fmla="*/ 2658254 h 2768823"/>
                <a:gd name="connsiteX2296" fmla="*/ 362382 w 1313607"/>
                <a:gd name="connsiteY2296" fmla="*/ 2659979 h 2768823"/>
                <a:gd name="connsiteX2297" fmla="*/ 362896 w 1313607"/>
                <a:gd name="connsiteY2297" fmla="*/ 2660674 h 2768823"/>
                <a:gd name="connsiteX2298" fmla="*/ 363683 w 1313607"/>
                <a:gd name="connsiteY2298" fmla="*/ 2659979 h 2768823"/>
                <a:gd name="connsiteX2299" fmla="*/ 364560 w 1313607"/>
                <a:gd name="connsiteY2299" fmla="*/ 2658738 h 2768823"/>
                <a:gd name="connsiteX2300" fmla="*/ 365740 w 1313607"/>
                <a:gd name="connsiteY2300" fmla="*/ 2657528 h 2768823"/>
                <a:gd name="connsiteX2301" fmla="*/ 367011 w 1313607"/>
                <a:gd name="connsiteY2301" fmla="*/ 2656530 h 2768823"/>
                <a:gd name="connsiteX2302" fmla="*/ 368160 w 1313607"/>
                <a:gd name="connsiteY2302" fmla="*/ 2655985 h 2768823"/>
                <a:gd name="connsiteX2303" fmla="*/ 367162 w 1313607"/>
                <a:gd name="connsiteY2303" fmla="*/ 2653051 h 2768823"/>
                <a:gd name="connsiteX2304" fmla="*/ 366194 w 1313607"/>
                <a:gd name="connsiteY2304" fmla="*/ 2651024 h 2768823"/>
                <a:gd name="connsiteX2305" fmla="*/ 363350 w 1313607"/>
                <a:gd name="connsiteY2305" fmla="*/ 2647061 h 2768823"/>
                <a:gd name="connsiteX2306" fmla="*/ 362806 w 1313607"/>
                <a:gd name="connsiteY2306" fmla="*/ 2645730 h 2768823"/>
                <a:gd name="connsiteX2307" fmla="*/ 362382 w 1313607"/>
                <a:gd name="connsiteY2307" fmla="*/ 2644187 h 2768823"/>
                <a:gd name="connsiteX2308" fmla="*/ 361686 w 1313607"/>
                <a:gd name="connsiteY2308" fmla="*/ 2642947 h 2768823"/>
                <a:gd name="connsiteX2309" fmla="*/ 360234 w 1313607"/>
                <a:gd name="connsiteY2309" fmla="*/ 2642433 h 2768823"/>
                <a:gd name="connsiteX2310" fmla="*/ 359538 w 1313607"/>
                <a:gd name="connsiteY2310" fmla="*/ 2641676 h 2768823"/>
                <a:gd name="connsiteX2311" fmla="*/ 359417 w 1313607"/>
                <a:gd name="connsiteY2311" fmla="*/ 2639952 h 2768823"/>
                <a:gd name="connsiteX2312" fmla="*/ 359629 w 1313607"/>
                <a:gd name="connsiteY2312" fmla="*/ 2638016 h 2768823"/>
                <a:gd name="connsiteX2313" fmla="*/ 359901 w 1313607"/>
                <a:gd name="connsiteY2313" fmla="*/ 2636624 h 2768823"/>
                <a:gd name="connsiteX2314" fmla="*/ 361474 w 1313607"/>
                <a:gd name="connsiteY2314" fmla="*/ 2634325 h 2768823"/>
                <a:gd name="connsiteX2315" fmla="*/ 363834 w 1313607"/>
                <a:gd name="connsiteY2315" fmla="*/ 2633266 h 2768823"/>
                <a:gd name="connsiteX2316" fmla="*/ 368826 w 1313607"/>
                <a:gd name="connsiteY2316" fmla="*/ 2633266 h 2768823"/>
                <a:gd name="connsiteX2317" fmla="*/ 370943 w 1313607"/>
                <a:gd name="connsiteY2317" fmla="*/ 2634325 h 2768823"/>
                <a:gd name="connsiteX2318" fmla="*/ 372728 w 1313607"/>
                <a:gd name="connsiteY2318" fmla="*/ 2636171 h 2768823"/>
                <a:gd name="connsiteX2319" fmla="*/ 374422 w 1313607"/>
                <a:gd name="connsiteY2319" fmla="*/ 2637411 h 2768823"/>
                <a:gd name="connsiteX2320" fmla="*/ 376388 w 1313607"/>
                <a:gd name="connsiteY2320" fmla="*/ 2636624 h 2768823"/>
                <a:gd name="connsiteX2321" fmla="*/ 376237 w 1313607"/>
                <a:gd name="connsiteY2321" fmla="*/ 2633872 h 2768823"/>
                <a:gd name="connsiteX2322" fmla="*/ 378748 w 1313607"/>
                <a:gd name="connsiteY2322" fmla="*/ 2633750 h 2768823"/>
                <a:gd name="connsiteX2323" fmla="*/ 382045 w 1313607"/>
                <a:gd name="connsiteY2323" fmla="*/ 2634325 h 2768823"/>
                <a:gd name="connsiteX2324" fmla="*/ 384284 w 1313607"/>
                <a:gd name="connsiteY2324" fmla="*/ 2633781 h 2768823"/>
                <a:gd name="connsiteX2325" fmla="*/ 386795 w 1313607"/>
                <a:gd name="connsiteY2325" fmla="*/ 2632389 h 2768823"/>
                <a:gd name="connsiteX2326" fmla="*/ 390334 w 1313607"/>
                <a:gd name="connsiteY2326" fmla="*/ 2633024 h 2768823"/>
                <a:gd name="connsiteX2327" fmla="*/ 396445 w 1313607"/>
                <a:gd name="connsiteY2327" fmla="*/ 2635596 h 2768823"/>
                <a:gd name="connsiteX2328" fmla="*/ 396052 w 1313607"/>
                <a:gd name="connsiteY2328" fmla="*/ 2634598 h 2768823"/>
                <a:gd name="connsiteX2329" fmla="*/ 395356 w 1313607"/>
                <a:gd name="connsiteY2329" fmla="*/ 2631966 h 2768823"/>
                <a:gd name="connsiteX2330" fmla="*/ 394993 w 1313607"/>
                <a:gd name="connsiteY2330" fmla="*/ 2630937 h 2768823"/>
                <a:gd name="connsiteX2331" fmla="*/ 395961 w 1313607"/>
                <a:gd name="connsiteY2331" fmla="*/ 2630816 h 2768823"/>
                <a:gd name="connsiteX2332" fmla="*/ 398411 w 1313607"/>
                <a:gd name="connsiteY2332" fmla="*/ 2629908 h 2768823"/>
                <a:gd name="connsiteX2333" fmla="*/ 399107 w 1313607"/>
                <a:gd name="connsiteY2333" fmla="*/ 2629788 h 2768823"/>
                <a:gd name="connsiteX2334" fmla="*/ 399742 w 1313607"/>
                <a:gd name="connsiteY2334" fmla="*/ 2630846 h 2768823"/>
                <a:gd name="connsiteX2335" fmla="*/ 400075 w 1313607"/>
                <a:gd name="connsiteY2335" fmla="*/ 2633750 h 2768823"/>
                <a:gd name="connsiteX2336" fmla="*/ 400862 w 1313607"/>
                <a:gd name="connsiteY2336" fmla="*/ 2634325 h 2768823"/>
                <a:gd name="connsiteX2337" fmla="*/ 404673 w 1313607"/>
                <a:gd name="connsiteY2337" fmla="*/ 2634325 h 2768823"/>
                <a:gd name="connsiteX2338" fmla="*/ 405460 w 1313607"/>
                <a:gd name="connsiteY2338" fmla="*/ 2633992 h 2768823"/>
                <a:gd name="connsiteX2339" fmla="*/ 406216 w 1313607"/>
                <a:gd name="connsiteY2339" fmla="*/ 2633357 h 2768823"/>
                <a:gd name="connsiteX2340" fmla="*/ 407033 w 1313607"/>
                <a:gd name="connsiteY2340" fmla="*/ 2633085 h 2768823"/>
                <a:gd name="connsiteX2341" fmla="*/ 407789 w 1313607"/>
                <a:gd name="connsiteY2341" fmla="*/ 2633781 h 2768823"/>
                <a:gd name="connsiteX2342" fmla="*/ 410845 w 1313607"/>
                <a:gd name="connsiteY2342" fmla="*/ 2635717 h 2768823"/>
                <a:gd name="connsiteX2343" fmla="*/ 415080 w 1313607"/>
                <a:gd name="connsiteY2343" fmla="*/ 2634991 h 2768823"/>
                <a:gd name="connsiteX2344" fmla="*/ 419043 w 1313607"/>
                <a:gd name="connsiteY2344" fmla="*/ 2632661 h 2768823"/>
                <a:gd name="connsiteX2345" fmla="*/ 421191 w 1313607"/>
                <a:gd name="connsiteY2345" fmla="*/ 2629818 h 2768823"/>
                <a:gd name="connsiteX2346" fmla="*/ 423339 w 1313607"/>
                <a:gd name="connsiteY2346" fmla="*/ 2633992 h 2768823"/>
                <a:gd name="connsiteX2347" fmla="*/ 423944 w 1313607"/>
                <a:gd name="connsiteY2347" fmla="*/ 2635596 h 2768823"/>
                <a:gd name="connsiteX2348" fmla="*/ 423157 w 1313607"/>
                <a:gd name="connsiteY2348" fmla="*/ 2635656 h 2768823"/>
                <a:gd name="connsiteX2349" fmla="*/ 421191 w 1313607"/>
                <a:gd name="connsiteY2349" fmla="*/ 2636654 h 2768823"/>
                <a:gd name="connsiteX2350" fmla="*/ 422401 w 1313607"/>
                <a:gd name="connsiteY2350" fmla="*/ 2637592 h 2768823"/>
                <a:gd name="connsiteX2351" fmla="*/ 423762 w 1313607"/>
                <a:gd name="connsiteY2351" fmla="*/ 2637955 h 2768823"/>
                <a:gd name="connsiteX2352" fmla="*/ 428270 w 1313607"/>
                <a:gd name="connsiteY2352" fmla="*/ 2637714 h 2768823"/>
                <a:gd name="connsiteX2353" fmla="*/ 428723 w 1313607"/>
                <a:gd name="connsiteY2353" fmla="*/ 2637078 h 2768823"/>
                <a:gd name="connsiteX2354" fmla="*/ 428723 w 1313607"/>
                <a:gd name="connsiteY2354" fmla="*/ 2635989 h 2768823"/>
                <a:gd name="connsiteX2355" fmla="*/ 429389 w 1313607"/>
                <a:gd name="connsiteY2355" fmla="*/ 2634386 h 2768823"/>
                <a:gd name="connsiteX2356" fmla="*/ 431053 w 1313607"/>
                <a:gd name="connsiteY2356" fmla="*/ 2632057 h 2768823"/>
                <a:gd name="connsiteX2357" fmla="*/ 432111 w 1313607"/>
                <a:gd name="connsiteY2357" fmla="*/ 2631300 h 2768823"/>
                <a:gd name="connsiteX2358" fmla="*/ 433564 w 1313607"/>
                <a:gd name="connsiteY2358" fmla="*/ 2630997 h 2768823"/>
                <a:gd name="connsiteX2359" fmla="*/ 435076 w 1313607"/>
                <a:gd name="connsiteY2359" fmla="*/ 2631421 h 2768823"/>
                <a:gd name="connsiteX2360" fmla="*/ 436165 w 1313607"/>
                <a:gd name="connsiteY2360" fmla="*/ 2632420 h 2768823"/>
                <a:gd name="connsiteX2361" fmla="*/ 437012 w 1313607"/>
                <a:gd name="connsiteY2361" fmla="*/ 2633569 h 2768823"/>
                <a:gd name="connsiteX2362" fmla="*/ 437768 w 1313607"/>
                <a:gd name="connsiteY2362" fmla="*/ 2634386 h 2768823"/>
                <a:gd name="connsiteX2363" fmla="*/ 439795 w 1313607"/>
                <a:gd name="connsiteY2363" fmla="*/ 2635928 h 2768823"/>
                <a:gd name="connsiteX2364" fmla="*/ 440279 w 1313607"/>
                <a:gd name="connsiteY2364" fmla="*/ 2635293 h 2768823"/>
                <a:gd name="connsiteX2365" fmla="*/ 440461 w 1313607"/>
                <a:gd name="connsiteY2365" fmla="*/ 2632692 h 2768823"/>
                <a:gd name="connsiteX2366" fmla="*/ 441096 w 1313607"/>
                <a:gd name="connsiteY2366" fmla="*/ 2631875 h 2768823"/>
                <a:gd name="connsiteX2367" fmla="*/ 445331 w 1313607"/>
                <a:gd name="connsiteY2367" fmla="*/ 2629878 h 2768823"/>
                <a:gd name="connsiteX2368" fmla="*/ 449143 w 1313607"/>
                <a:gd name="connsiteY2368" fmla="*/ 2626914 h 2768823"/>
                <a:gd name="connsiteX2369" fmla="*/ 450535 w 1313607"/>
                <a:gd name="connsiteY2369" fmla="*/ 2626490 h 2768823"/>
                <a:gd name="connsiteX2370" fmla="*/ 451533 w 1313607"/>
                <a:gd name="connsiteY2370" fmla="*/ 2627337 h 2768823"/>
                <a:gd name="connsiteX2371" fmla="*/ 451140 w 1313607"/>
                <a:gd name="connsiteY2371" fmla="*/ 2629213 h 2768823"/>
                <a:gd name="connsiteX2372" fmla="*/ 450202 w 1313607"/>
                <a:gd name="connsiteY2372" fmla="*/ 2631149 h 2768823"/>
                <a:gd name="connsiteX2373" fmla="*/ 449506 w 1313607"/>
                <a:gd name="connsiteY2373" fmla="*/ 2632147 h 2768823"/>
                <a:gd name="connsiteX2374" fmla="*/ 451140 w 1313607"/>
                <a:gd name="connsiteY2374" fmla="*/ 2634507 h 2768823"/>
                <a:gd name="connsiteX2375" fmla="*/ 453106 w 1313607"/>
                <a:gd name="connsiteY2375" fmla="*/ 2633055 h 2768823"/>
                <a:gd name="connsiteX2376" fmla="*/ 455103 w 1313607"/>
                <a:gd name="connsiteY2376" fmla="*/ 2630332 h 2768823"/>
                <a:gd name="connsiteX2377" fmla="*/ 456766 w 1313607"/>
                <a:gd name="connsiteY2377" fmla="*/ 2628850 h 2768823"/>
                <a:gd name="connsiteX2378" fmla="*/ 457523 w 1313607"/>
                <a:gd name="connsiteY2378" fmla="*/ 2629182 h 2768823"/>
                <a:gd name="connsiteX2379" fmla="*/ 458975 w 1313607"/>
                <a:gd name="connsiteY2379" fmla="*/ 2630695 h 2768823"/>
                <a:gd name="connsiteX2380" fmla="*/ 460215 w 1313607"/>
                <a:gd name="connsiteY2380" fmla="*/ 2631028 h 2768823"/>
                <a:gd name="connsiteX2381" fmla="*/ 461153 w 1313607"/>
                <a:gd name="connsiteY2381" fmla="*/ 2631512 h 2768823"/>
                <a:gd name="connsiteX2382" fmla="*/ 461667 w 1313607"/>
                <a:gd name="connsiteY2382" fmla="*/ 2632420 h 2768823"/>
                <a:gd name="connsiteX2383" fmla="*/ 462242 w 1313607"/>
                <a:gd name="connsiteY2383" fmla="*/ 2632903 h 2768823"/>
                <a:gd name="connsiteX2384" fmla="*/ 463361 w 1313607"/>
                <a:gd name="connsiteY2384" fmla="*/ 2632147 h 2768823"/>
                <a:gd name="connsiteX2385" fmla="*/ 465146 w 1313607"/>
                <a:gd name="connsiteY2385" fmla="*/ 2635051 h 2768823"/>
                <a:gd name="connsiteX2386" fmla="*/ 467687 w 1313607"/>
                <a:gd name="connsiteY2386" fmla="*/ 2635142 h 2768823"/>
                <a:gd name="connsiteX2387" fmla="*/ 472679 w 1313607"/>
                <a:gd name="connsiteY2387" fmla="*/ 2633297 h 2768823"/>
                <a:gd name="connsiteX2388" fmla="*/ 474736 w 1313607"/>
                <a:gd name="connsiteY2388" fmla="*/ 2634718 h 2768823"/>
                <a:gd name="connsiteX2389" fmla="*/ 473949 w 1313607"/>
                <a:gd name="connsiteY2389" fmla="*/ 2637925 h 2768823"/>
                <a:gd name="connsiteX2390" fmla="*/ 470954 w 1313607"/>
                <a:gd name="connsiteY2390" fmla="*/ 2643491 h 2768823"/>
                <a:gd name="connsiteX2391" fmla="*/ 473768 w 1313607"/>
                <a:gd name="connsiteY2391" fmla="*/ 2644913 h 2768823"/>
                <a:gd name="connsiteX2392" fmla="*/ 475643 w 1313607"/>
                <a:gd name="connsiteY2392" fmla="*/ 2646547 h 2768823"/>
                <a:gd name="connsiteX2393" fmla="*/ 477307 w 1313607"/>
                <a:gd name="connsiteY2393" fmla="*/ 2646819 h 2768823"/>
                <a:gd name="connsiteX2394" fmla="*/ 479576 w 1313607"/>
                <a:gd name="connsiteY2394" fmla="*/ 2644097 h 2768823"/>
                <a:gd name="connsiteX2395" fmla="*/ 485384 w 1313607"/>
                <a:gd name="connsiteY2395" fmla="*/ 2632147 h 2768823"/>
                <a:gd name="connsiteX2396" fmla="*/ 487078 w 1313607"/>
                <a:gd name="connsiteY2396" fmla="*/ 2630030 h 2768823"/>
                <a:gd name="connsiteX2397" fmla="*/ 490981 w 1313607"/>
                <a:gd name="connsiteY2397" fmla="*/ 2626672 h 2768823"/>
                <a:gd name="connsiteX2398" fmla="*/ 492645 w 1313607"/>
                <a:gd name="connsiteY2398" fmla="*/ 2624736 h 2768823"/>
                <a:gd name="connsiteX2399" fmla="*/ 493250 w 1313607"/>
                <a:gd name="connsiteY2399" fmla="*/ 2623253 h 2768823"/>
                <a:gd name="connsiteX2400" fmla="*/ 493643 w 1313607"/>
                <a:gd name="connsiteY2400" fmla="*/ 2621589 h 2768823"/>
                <a:gd name="connsiteX2401" fmla="*/ 494218 w 1313607"/>
                <a:gd name="connsiteY2401" fmla="*/ 2620228 h 2768823"/>
                <a:gd name="connsiteX2402" fmla="*/ 495337 w 1313607"/>
                <a:gd name="connsiteY2402" fmla="*/ 2619653 h 2768823"/>
                <a:gd name="connsiteX2403" fmla="*/ 496002 w 1313607"/>
                <a:gd name="connsiteY2403" fmla="*/ 2618776 h 2768823"/>
                <a:gd name="connsiteX2404" fmla="*/ 498816 w 1313607"/>
                <a:gd name="connsiteY2404" fmla="*/ 2605314 h 2768823"/>
                <a:gd name="connsiteX2405" fmla="*/ 501720 w 1313607"/>
                <a:gd name="connsiteY2405" fmla="*/ 2591398 h 2768823"/>
                <a:gd name="connsiteX2406" fmla="*/ 503989 w 1313607"/>
                <a:gd name="connsiteY2406" fmla="*/ 2585409 h 2768823"/>
                <a:gd name="connsiteX2407" fmla="*/ 508859 w 1313607"/>
                <a:gd name="connsiteY2407" fmla="*/ 2576575 h 2768823"/>
                <a:gd name="connsiteX2408" fmla="*/ 509495 w 1313607"/>
                <a:gd name="connsiteY2408" fmla="*/ 2573338 h 2768823"/>
                <a:gd name="connsiteX2409" fmla="*/ 510130 w 1313607"/>
                <a:gd name="connsiteY2409" fmla="*/ 2571705 h 2768823"/>
                <a:gd name="connsiteX2410" fmla="*/ 512974 w 1313607"/>
                <a:gd name="connsiteY2410" fmla="*/ 2571463 h 2768823"/>
                <a:gd name="connsiteX2411" fmla="*/ 513609 w 1313607"/>
                <a:gd name="connsiteY2411" fmla="*/ 2569799 h 2768823"/>
                <a:gd name="connsiteX2412" fmla="*/ 513821 w 1313607"/>
                <a:gd name="connsiteY2412" fmla="*/ 2565896 h 2768823"/>
                <a:gd name="connsiteX2413" fmla="*/ 514274 w 1313607"/>
                <a:gd name="connsiteY2413" fmla="*/ 2562327 h 2768823"/>
                <a:gd name="connsiteX2414" fmla="*/ 514395 w 1313607"/>
                <a:gd name="connsiteY2414" fmla="*/ 2560542 h 2768823"/>
                <a:gd name="connsiteX2415" fmla="*/ 514395 w 1313607"/>
                <a:gd name="connsiteY2415" fmla="*/ 2559695 h 2768823"/>
                <a:gd name="connsiteX2416" fmla="*/ 514637 w 1313607"/>
                <a:gd name="connsiteY2416" fmla="*/ 2558787 h 2768823"/>
                <a:gd name="connsiteX2417" fmla="*/ 516937 w 1313607"/>
                <a:gd name="connsiteY2417" fmla="*/ 2554038 h 2768823"/>
                <a:gd name="connsiteX2418" fmla="*/ 517814 w 1313607"/>
                <a:gd name="connsiteY2418" fmla="*/ 2552707 h 2768823"/>
                <a:gd name="connsiteX2419" fmla="*/ 518782 w 1313607"/>
                <a:gd name="connsiteY2419" fmla="*/ 2552102 h 2768823"/>
                <a:gd name="connsiteX2420" fmla="*/ 519871 w 1313607"/>
                <a:gd name="connsiteY2420" fmla="*/ 2551648 h 2768823"/>
                <a:gd name="connsiteX2421" fmla="*/ 521141 w 1313607"/>
                <a:gd name="connsiteY2421" fmla="*/ 2550831 h 2768823"/>
                <a:gd name="connsiteX2422" fmla="*/ 522442 w 1313607"/>
                <a:gd name="connsiteY2422" fmla="*/ 2550498 h 2768823"/>
                <a:gd name="connsiteX2423" fmla="*/ 524862 w 1313607"/>
                <a:gd name="connsiteY2423" fmla="*/ 2552374 h 2768823"/>
                <a:gd name="connsiteX2424" fmla="*/ 526526 w 1313607"/>
                <a:gd name="connsiteY2424" fmla="*/ 2552525 h 2768823"/>
                <a:gd name="connsiteX2425" fmla="*/ 528251 w 1313607"/>
                <a:gd name="connsiteY2425" fmla="*/ 2552011 h 2768823"/>
                <a:gd name="connsiteX2426" fmla="*/ 529551 w 1313607"/>
                <a:gd name="connsiteY2426" fmla="*/ 2550861 h 2768823"/>
                <a:gd name="connsiteX2427" fmla="*/ 530308 w 1313607"/>
                <a:gd name="connsiteY2427" fmla="*/ 2548472 h 2768823"/>
                <a:gd name="connsiteX2428" fmla="*/ 530459 w 1313607"/>
                <a:gd name="connsiteY2428" fmla="*/ 2545416 h 2768823"/>
                <a:gd name="connsiteX2429" fmla="*/ 530187 w 1313607"/>
                <a:gd name="connsiteY2429" fmla="*/ 2540001 h 2768823"/>
                <a:gd name="connsiteX2430" fmla="*/ 528704 w 1313607"/>
                <a:gd name="connsiteY2430" fmla="*/ 2536522 h 2768823"/>
                <a:gd name="connsiteX2431" fmla="*/ 528039 w 1313607"/>
                <a:gd name="connsiteY2431" fmla="*/ 2534496 h 2768823"/>
                <a:gd name="connsiteX2432" fmla="*/ 528492 w 1313607"/>
                <a:gd name="connsiteY2432" fmla="*/ 2533618 h 2768823"/>
                <a:gd name="connsiteX2433" fmla="*/ 530035 w 1313607"/>
                <a:gd name="connsiteY2433" fmla="*/ 2533286 h 2768823"/>
                <a:gd name="connsiteX2434" fmla="*/ 532123 w 1313607"/>
                <a:gd name="connsiteY2434" fmla="*/ 2531743 h 2768823"/>
                <a:gd name="connsiteX2435" fmla="*/ 533696 w 1313607"/>
                <a:gd name="connsiteY2435" fmla="*/ 2531289 h 2768823"/>
                <a:gd name="connsiteX2436" fmla="*/ 535209 w 1313607"/>
                <a:gd name="connsiteY2436" fmla="*/ 2531591 h 2768823"/>
                <a:gd name="connsiteX2437" fmla="*/ 537931 w 1313607"/>
                <a:gd name="connsiteY2437" fmla="*/ 2532832 h 2768823"/>
                <a:gd name="connsiteX2438" fmla="*/ 539111 w 1313607"/>
                <a:gd name="connsiteY2438" fmla="*/ 2532348 h 2768823"/>
                <a:gd name="connsiteX2439" fmla="*/ 539625 w 1313607"/>
                <a:gd name="connsiteY2439" fmla="*/ 2531289 h 2768823"/>
                <a:gd name="connsiteX2440" fmla="*/ 539897 w 1313607"/>
                <a:gd name="connsiteY2440" fmla="*/ 2529776 h 2768823"/>
                <a:gd name="connsiteX2441" fmla="*/ 539716 w 1313607"/>
                <a:gd name="connsiteY2441" fmla="*/ 2528415 h 2768823"/>
                <a:gd name="connsiteX2442" fmla="*/ 538778 w 1313607"/>
                <a:gd name="connsiteY2442" fmla="*/ 2527840 h 2768823"/>
                <a:gd name="connsiteX2443" fmla="*/ 537659 w 1313607"/>
                <a:gd name="connsiteY2443" fmla="*/ 2528475 h 2768823"/>
                <a:gd name="connsiteX2444" fmla="*/ 536479 w 1313607"/>
                <a:gd name="connsiteY2444" fmla="*/ 2529655 h 2768823"/>
                <a:gd name="connsiteX2445" fmla="*/ 535269 w 1313607"/>
                <a:gd name="connsiteY2445" fmla="*/ 2530351 h 2768823"/>
                <a:gd name="connsiteX2446" fmla="*/ 533998 w 1313607"/>
                <a:gd name="connsiteY2446" fmla="*/ 2529504 h 2768823"/>
                <a:gd name="connsiteX2447" fmla="*/ 533182 w 1313607"/>
                <a:gd name="connsiteY2447" fmla="*/ 2527629 h 2768823"/>
                <a:gd name="connsiteX2448" fmla="*/ 533272 w 1313607"/>
                <a:gd name="connsiteY2448" fmla="*/ 2526055 h 2768823"/>
                <a:gd name="connsiteX2449" fmla="*/ 536025 w 1313607"/>
                <a:gd name="connsiteY2449" fmla="*/ 2517857 h 2768823"/>
                <a:gd name="connsiteX2450" fmla="*/ 536388 w 1313607"/>
                <a:gd name="connsiteY2450" fmla="*/ 2516163 h 2768823"/>
                <a:gd name="connsiteX2451" fmla="*/ 536388 w 1313607"/>
                <a:gd name="connsiteY2451" fmla="*/ 2514318 h 2768823"/>
                <a:gd name="connsiteX2452" fmla="*/ 536025 w 1313607"/>
                <a:gd name="connsiteY2452" fmla="*/ 2509750 h 2768823"/>
                <a:gd name="connsiteX2453" fmla="*/ 536025 w 1313607"/>
                <a:gd name="connsiteY2453" fmla="*/ 2508661 h 2768823"/>
                <a:gd name="connsiteX2454" fmla="*/ 538748 w 1313607"/>
                <a:gd name="connsiteY2454" fmla="*/ 2504032 h 2768823"/>
                <a:gd name="connsiteX2455" fmla="*/ 539232 w 1313607"/>
                <a:gd name="connsiteY2455" fmla="*/ 2502187 h 2768823"/>
                <a:gd name="connsiteX2456" fmla="*/ 538536 w 1313607"/>
                <a:gd name="connsiteY2456" fmla="*/ 2500947 h 2768823"/>
                <a:gd name="connsiteX2457" fmla="*/ 537356 w 1313607"/>
                <a:gd name="connsiteY2457" fmla="*/ 2499616 h 2768823"/>
                <a:gd name="connsiteX2458" fmla="*/ 536358 w 1313607"/>
                <a:gd name="connsiteY2458" fmla="*/ 2497558 h 2768823"/>
                <a:gd name="connsiteX2459" fmla="*/ 535844 w 1313607"/>
                <a:gd name="connsiteY2459" fmla="*/ 2493958 h 2768823"/>
                <a:gd name="connsiteX2460" fmla="*/ 536358 w 1313607"/>
                <a:gd name="connsiteY2460" fmla="*/ 2491206 h 2768823"/>
                <a:gd name="connsiteX2461" fmla="*/ 537689 w 1313607"/>
                <a:gd name="connsiteY2461" fmla="*/ 2489602 h 2768823"/>
                <a:gd name="connsiteX2462" fmla="*/ 539716 w 1313607"/>
                <a:gd name="connsiteY2462" fmla="*/ 2489542 h 2768823"/>
                <a:gd name="connsiteX2463" fmla="*/ 539716 w 1313607"/>
                <a:gd name="connsiteY2463" fmla="*/ 2488271 h 2768823"/>
                <a:gd name="connsiteX2464" fmla="*/ 538778 w 1313607"/>
                <a:gd name="connsiteY2464" fmla="*/ 2487818 h 2768823"/>
                <a:gd name="connsiteX2465" fmla="*/ 537901 w 1313607"/>
                <a:gd name="connsiteY2465" fmla="*/ 2487061 h 2768823"/>
                <a:gd name="connsiteX2466" fmla="*/ 537114 w 1313607"/>
                <a:gd name="connsiteY2466" fmla="*/ 2486033 h 2768823"/>
                <a:gd name="connsiteX2467" fmla="*/ 536358 w 1313607"/>
                <a:gd name="connsiteY2467" fmla="*/ 2484792 h 2768823"/>
                <a:gd name="connsiteX2468" fmla="*/ 537628 w 1313607"/>
                <a:gd name="connsiteY2468" fmla="*/ 2484853 h 2768823"/>
                <a:gd name="connsiteX2469" fmla="*/ 540049 w 1313607"/>
                <a:gd name="connsiteY2469" fmla="*/ 2485791 h 2768823"/>
                <a:gd name="connsiteX2470" fmla="*/ 541682 w 1313607"/>
                <a:gd name="connsiteY2470" fmla="*/ 2486123 h 2768823"/>
                <a:gd name="connsiteX2471" fmla="*/ 542106 w 1313607"/>
                <a:gd name="connsiteY2471" fmla="*/ 2486517 h 2768823"/>
                <a:gd name="connsiteX2472" fmla="*/ 542469 w 1313607"/>
                <a:gd name="connsiteY2472" fmla="*/ 2486819 h 2768823"/>
                <a:gd name="connsiteX2473" fmla="*/ 542892 w 1313607"/>
                <a:gd name="connsiteY2473" fmla="*/ 2486517 h 2768823"/>
                <a:gd name="connsiteX2474" fmla="*/ 543134 w 1313607"/>
                <a:gd name="connsiteY2474" fmla="*/ 2485821 h 2768823"/>
                <a:gd name="connsiteX2475" fmla="*/ 543316 w 1313607"/>
                <a:gd name="connsiteY2475" fmla="*/ 2484913 h 2768823"/>
                <a:gd name="connsiteX2476" fmla="*/ 543528 w 1313607"/>
                <a:gd name="connsiteY2476" fmla="*/ 2484066 h 2768823"/>
                <a:gd name="connsiteX2477" fmla="*/ 543951 w 1313607"/>
                <a:gd name="connsiteY2477" fmla="*/ 2483613 h 2768823"/>
                <a:gd name="connsiteX2478" fmla="*/ 544072 w 1313607"/>
                <a:gd name="connsiteY2478" fmla="*/ 2483401 h 2768823"/>
                <a:gd name="connsiteX2479" fmla="*/ 544254 w 1313607"/>
                <a:gd name="connsiteY2479" fmla="*/ 2483007 h 2768823"/>
                <a:gd name="connsiteX2480" fmla="*/ 544617 w 1313607"/>
                <a:gd name="connsiteY2480" fmla="*/ 2482614 h 2768823"/>
                <a:gd name="connsiteX2481" fmla="*/ 545252 w 1313607"/>
                <a:gd name="connsiteY2481" fmla="*/ 2482433 h 2768823"/>
                <a:gd name="connsiteX2482" fmla="*/ 545978 w 1313607"/>
                <a:gd name="connsiteY2482" fmla="*/ 2482766 h 2768823"/>
                <a:gd name="connsiteX2483" fmla="*/ 545978 w 1313607"/>
                <a:gd name="connsiteY2483" fmla="*/ 2483522 h 2768823"/>
                <a:gd name="connsiteX2484" fmla="*/ 545827 w 1313607"/>
                <a:gd name="connsiteY2484" fmla="*/ 2484308 h 2768823"/>
                <a:gd name="connsiteX2485" fmla="*/ 545978 w 1313607"/>
                <a:gd name="connsiteY2485" fmla="*/ 2484762 h 2768823"/>
                <a:gd name="connsiteX2486" fmla="*/ 549578 w 1313607"/>
                <a:gd name="connsiteY2486" fmla="*/ 2486033 h 2768823"/>
                <a:gd name="connsiteX2487" fmla="*/ 550879 w 1313607"/>
                <a:gd name="connsiteY2487" fmla="*/ 2485942 h 2768823"/>
                <a:gd name="connsiteX2488" fmla="*/ 550001 w 1313607"/>
                <a:gd name="connsiteY2488" fmla="*/ 2484036 h 2768823"/>
                <a:gd name="connsiteX2489" fmla="*/ 548610 w 1313607"/>
                <a:gd name="connsiteY2489" fmla="*/ 2481798 h 2768823"/>
                <a:gd name="connsiteX2490" fmla="*/ 547975 w 1313607"/>
                <a:gd name="connsiteY2490" fmla="*/ 2479831 h 2768823"/>
                <a:gd name="connsiteX2491" fmla="*/ 549517 w 1313607"/>
                <a:gd name="connsiteY2491" fmla="*/ 2478863 h 2768823"/>
                <a:gd name="connsiteX2492" fmla="*/ 547793 w 1313607"/>
                <a:gd name="connsiteY2492" fmla="*/ 2474840 h 2768823"/>
                <a:gd name="connsiteX2493" fmla="*/ 546855 w 1313607"/>
                <a:gd name="connsiteY2493" fmla="*/ 2473509 h 2768823"/>
                <a:gd name="connsiteX2494" fmla="*/ 546250 w 1313607"/>
                <a:gd name="connsiteY2494" fmla="*/ 2473509 h 2768823"/>
                <a:gd name="connsiteX2495" fmla="*/ 545615 w 1313607"/>
                <a:gd name="connsiteY2495" fmla="*/ 2473690 h 2768823"/>
                <a:gd name="connsiteX2496" fmla="*/ 544556 w 1313607"/>
                <a:gd name="connsiteY2496" fmla="*/ 2473146 h 2768823"/>
                <a:gd name="connsiteX2497" fmla="*/ 543437 w 1313607"/>
                <a:gd name="connsiteY2497" fmla="*/ 2471905 h 2768823"/>
                <a:gd name="connsiteX2498" fmla="*/ 540563 w 1313607"/>
                <a:gd name="connsiteY2498" fmla="*/ 2467247 h 2768823"/>
                <a:gd name="connsiteX2499" fmla="*/ 538990 w 1313607"/>
                <a:gd name="connsiteY2499" fmla="*/ 2463405 h 2768823"/>
                <a:gd name="connsiteX2500" fmla="*/ 538294 w 1313607"/>
                <a:gd name="connsiteY2500" fmla="*/ 2458867 h 2768823"/>
                <a:gd name="connsiteX2501" fmla="*/ 539080 w 1313607"/>
                <a:gd name="connsiteY2501" fmla="*/ 2454783 h 2768823"/>
                <a:gd name="connsiteX2502" fmla="*/ 541955 w 1313607"/>
                <a:gd name="connsiteY2502" fmla="*/ 2452242 h 2768823"/>
                <a:gd name="connsiteX2503" fmla="*/ 539413 w 1313607"/>
                <a:gd name="connsiteY2503" fmla="*/ 2446706 h 2768823"/>
                <a:gd name="connsiteX2504" fmla="*/ 541047 w 1313607"/>
                <a:gd name="connsiteY2504" fmla="*/ 2443408 h 2768823"/>
                <a:gd name="connsiteX2505" fmla="*/ 548852 w 1313607"/>
                <a:gd name="connsiteY2505" fmla="*/ 2439203 h 2768823"/>
                <a:gd name="connsiteX2506" fmla="*/ 547309 w 1313607"/>
                <a:gd name="connsiteY2506" fmla="*/ 2437570 h 2768823"/>
                <a:gd name="connsiteX2507" fmla="*/ 547521 w 1313607"/>
                <a:gd name="connsiteY2507" fmla="*/ 2436814 h 2768823"/>
                <a:gd name="connsiteX2508" fmla="*/ 548610 w 1313607"/>
                <a:gd name="connsiteY2508" fmla="*/ 2436088 h 2768823"/>
                <a:gd name="connsiteX2509" fmla="*/ 549548 w 1313607"/>
                <a:gd name="connsiteY2509" fmla="*/ 2434515 h 2768823"/>
                <a:gd name="connsiteX2510" fmla="*/ 546038 w 1313607"/>
                <a:gd name="connsiteY2510" fmla="*/ 2432155 h 2768823"/>
                <a:gd name="connsiteX2511" fmla="*/ 547339 w 1313607"/>
                <a:gd name="connsiteY2511" fmla="*/ 2428343 h 2768823"/>
                <a:gd name="connsiteX2512" fmla="*/ 549850 w 1313607"/>
                <a:gd name="connsiteY2512" fmla="*/ 2427496 h 2768823"/>
                <a:gd name="connsiteX2513" fmla="*/ 555779 w 1313607"/>
                <a:gd name="connsiteY2513" fmla="*/ 2428646 h 2768823"/>
                <a:gd name="connsiteX2514" fmla="*/ 555174 w 1313607"/>
                <a:gd name="connsiteY2514" fmla="*/ 2425530 h 2768823"/>
                <a:gd name="connsiteX2515" fmla="*/ 556324 w 1313607"/>
                <a:gd name="connsiteY2515" fmla="*/ 2424290 h 2768823"/>
                <a:gd name="connsiteX2516" fmla="*/ 558230 w 1313607"/>
                <a:gd name="connsiteY2516" fmla="*/ 2423775 h 2768823"/>
                <a:gd name="connsiteX2517" fmla="*/ 559893 w 1313607"/>
                <a:gd name="connsiteY2517" fmla="*/ 2422716 h 2768823"/>
                <a:gd name="connsiteX2518" fmla="*/ 557897 w 1313607"/>
                <a:gd name="connsiteY2518" fmla="*/ 2422111 h 2768823"/>
                <a:gd name="connsiteX2519" fmla="*/ 556505 w 1313607"/>
                <a:gd name="connsiteY2519" fmla="*/ 2420780 h 2768823"/>
                <a:gd name="connsiteX2520" fmla="*/ 555931 w 1313607"/>
                <a:gd name="connsiteY2520" fmla="*/ 2418996 h 2768823"/>
                <a:gd name="connsiteX2521" fmla="*/ 556445 w 1313607"/>
                <a:gd name="connsiteY2521" fmla="*/ 2416969 h 2768823"/>
                <a:gd name="connsiteX2522" fmla="*/ 557837 w 1313607"/>
                <a:gd name="connsiteY2522" fmla="*/ 2416001 h 2768823"/>
                <a:gd name="connsiteX2523" fmla="*/ 559289 w 1313607"/>
                <a:gd name="connsiteY2523" fmla="*/ 2415880 h 2768823"/>
                <a:gd name="connsiteX2524" fmla="*/ 559833 w 1313607"/>
                <a:gd name="connsiteY2524" fmla="*/ 2415123 h 2768823"/>
                <a:gd name="connsiteX2525" fmla="*/ 558563 w 1313607"/>
                <a:gd name="connsiteY2525" fmla="*/ 2412280 h 2768823"/>
                <a:gd name="connsiteX2526" fmla="*/ 561527 w 1313607"/>
                <a:gd name="connsiteY2526" fmla="*/ 2413066 h 2768823"/>
                <a:gd name="connsiteX2527" fmla="*/ 560650 w 1313607"/>
                <a:gd name="connsiteY2527" fmla="*/ 2409981 h 2768823"/>
                <a:gd name="connsiteX2528" fmla="*/ 558351 w 1313607"/>
                <a:gd name="connsiteY2528" fmla="*/ 2405534 h 2768823"/>
                <a:gd name="connsiteX2529" fmla="*/ 555477 w 1313607"/>
                <a:gd name="connsiteY2529" fmla="*/ 2398425 h 2768823"/>
                <a:gd name="connsiteX2530" fmla="*/ 551786 w 1313607"/>
                <a:gd name="connsiteY2530" fmla="*/ 2397033 h 2768823"/>
                <a:gd name="connsiteX2531" fmla="*/ 543981 w 1313607"/>
                <a:gd name="connsiteY2531" fmla="*/ 2396791 h 2768823"/>
                <a:gd name="connsiteX2532" fmla="*/ 543981 w 1313607"/>
                <a:gd name="connsiteY2532" fmla="*/ 2395732 h 2768823"/>
                <a:gd name="connsiteX2533" fmla="*/ 546734 w 1313607"/>
                <a:gd name="connsiteY2533" fmla="*/ 2395732 h 2768823"/>
                <a:gd name="connsiteX2534" fmla="*/ 546734 w 1313607"/>
                <a:gd name="connsiteY2534" fmla="*/ 2394552 h 2768823"/>
                <a:gd name="connsiteX2535" fmla="*/ 544526 w 1313607"/>
                <a:gd name="connsiteY2535" fmla="*/ 2393372 h 2768823"/>
                <a:gd name="connsiteX2536" fmla="*/ 544526 w 1313607"/>
                <a:gd name="connsiteY2536" fmla="*/ 2392193 h 2768823"/>
                <a:gd name="connsiteX2537" fmla="*/ 545222 w 1313607"/>
                <a:gd name="connsiteY2537" fmla="*/ 2391769 h 2768823"/>
                <a:gd name="connsiteX2538" fmla="*/ 546734 w 1313607"/>
                <a:gd name="connsiteY2538" fmla="*/ 2389712 h 2768823"/>
                <a:gd name="connsiteX2539" fmla="*/ 546038 w 1313607"/>
                <a:gd name="connsiteY2539" fmla="*/ 2388986 h 2768823"/>
                <a:gd name="connsiteX2540" fmla="*/ 545554 w 1313607"/>
                <a:gd name="connsiteY2540" fmla="*/ 2388290 h 2768823"/>
                <a:gd name="connsiteX2541" fmla="*/ 544556 w 1313607"/>
                <a:gd name="connsiteY2541" fmla="*/ 2386263 h 2768823"/>
                <a:gd name="connsiteX2542" fmla="*/ 545494 w 1313607"/>
                <a:gd name="connsiteY2542" fmla="*/ 2387080 h 2768823"/>
                <a:gd name="connsiteX2543" fmla="*/ 546401 w 1313607"/>
                <a:gd name="connsiteY2543" fmla="*/ 2387383 h 2768823"/>
                <a:gd name="connsiteX2544" fmla="*/ 547279 w 1313607"/>
                <a:gd name="connsiteY2544" fmla="*/ 2387111 h 2768823"/>
                <a:gd name="connsiteX2545" fmla="*/ 548126 w 1313607"/>
                <a:gd name="connsiteY2545" fmla="*/ 2386263 h 2768823"/>
                <a:gd name="connsiteX2546" fmla="*/ 548035 w 1313607"/>
                <a:gd name="connsiteY2546" fmla="*/ 2387958 h 2768823"/>
                <a:gd name="connsiteX2547" fmla="*/ 548035 w 1313607"/>
                <a:gd name="connsiteY2547" fmla="*/ 2389894 h 2768823"/>
                <a:gd name="connsiteX2548" fmla="*/ 548247 w 1313607"/>
                <a:gd name="connsiteY2548" fmla="*/ 2391497 h 2768823"/>
                <a:gd name="connsiteX2549" fmla="*/ 548822 w 1313607"/>
                <a:gd name="connsiteY2549" fmla="*/ 2392193 h 2768823"/>
                <a:gd name="connsiteX2550" fmla="*/ 549578 w 1313607"/>
                <a:gd name="connsiteY2550" fmla="*/ 2391709 h 2768823"/>
                <a:gd name="connsiteX2551" fmla="*/ 552361 w 1313607"/>
                <a:gd name="connsiteY2551" fmla="*/ 2389198 h 2768823"/>
                <a:gd name="connsiteX2552" fmla="*/ 553299 w 1313607"/>
                <a:gd name="connsiteY2552" fmla="*/ 2388018 h 2768823"/>
                <a:gd name="connsiteX2553" fmla="*/ 554236 w 1313607"/>
                <a:gd name="connsiteY2553" fmla="*/ 2387141 h 2768823"/>
                <a:gd name="connsiteX2554" fmla="*/ 555205 w 1313607"/>
                <a:gd name="connsiteY2554" fmla="*/ 2386778 h 2768823"/>
                <a:gd name="connsiteX2555" fmla="*/ 555659 w 1313607"/>
                <a:gd name="connsiteY2555" fmla="*/ 2385991 h 2768823"/>
                <a:gd name="connsiteX2556" fmla="*/ 555084 w 1313607"/>
                <a:gd name="connsiteY2556" fmla="*/ 2383874 h 2768823"/>
                <a:gd name="connsiteX2557" fmla="*/ 554085 w 1313607"/>
                <a:gd name="connsiteY2557" fmla="*/ 2382754 h 2768823"/>
                <a:gd name="connsiteX2558" fmla="*/ 552906 w 1313607"/>
                <a:gd name="connsiteY2558" fmla="*/ 2382543 h 2768823"/>
                <a:gd name="connsiteX2559" fmla="*/ 551756 w 1313607"/>
                <a:gd name="connsiteY2559" fmla="*/ 2382089 h 2768823"/>
                <a:gd name="connsiteX2560" fmla="*/ 550909 w 1313607"/>
                <a:gd name="connsiteY2560" fmla="*/ 2380334 h 2768823"/>
                <a:gd name="connsiteX2561" fmla="*/ 553087 w 1313607"/>
                <a:gd name="connsiteY2561" fmla="*/ 2381212 h 2768823"/>
                <a:gd name="connsiteX2562" fmla="*/ 554388 w 1313607"/>
                <a:gd name="connsiteY2562" fmla="*/ 2380969 h 2768823"/>
                <a:gd name="connsiteX2563" fmla="*/ 554599 w 1313607"/>
                <a:gd name="connsiteY2563" fmla="*/ 2379517 h 2768823"/>
                <a:gd name="connsiteX2564" fmla="*/ 553662 w 1313607"/>
                <a:gd name="connsiteY2564" fmla="*/ 2376795 h 2768823"/>
                <a:gd name="connsiteX2565" fmla="*/ 552845 w 1313607"/>
                <a:gd name="connsiteY2565" fmla="*/ 2375645 h 2768823"/>
                <a:gd name="connsiteX2566" fmla="*/ 550969 w 1313607"/>
                <a:gd name="connsiteY2566" fmla="*/ 2373679 h 2768823"/>
                <a:gd name="connsiteX2567" fmla="*/ 550274 w 1313607"/>
                <a:gd name="connsiteY2567" fmla="*/ 2372076 h 2768823"/>
                <a:gd name="connsiteX2568" fmla="*/ 553480 w 1313607"/>
                <a:gd name="connsiteY2568" fmla="*/ 2373981 h 2768823"/>
                <a:gd name="connsiteX2569" fmla="*/ 556536 w 1313607"/>
                <a:gd name="connsiteY2569" fmla="*/ 2375101 h 2768823"/>
                <a:gd name="connsiteX2570" fmla="*/ 563342 w 1313607"/>
                <a:gd name="connsiteY2570" fmla="*/ 2375766 h 2768823"/>
                <a:gd name="connsiteX2571" fmla="*/ 563342 w 1313607"/>
                <a:gd name="connsiteY2571" fmla="*/ 2374465 h 2768823"/>
                <a:gd name="connsiteX2572" fmla="*/ 561981 w 1313607"/>
                <a:gd name="connsiteY2572" fmla="*/ 2374465 h 2768823"/>
                <a:gd name="connsiteX2573" fmla="*/ 561981 w 1313607"/>
                <a:gd name="connsiteY2573" fmla="*/ 2373286 h 2768823"/>
                <a:gd name="connsiteX2574" fmla="*/ 564159 w 1313607"/>
                <a:gd name="connsiteY2574" fmla="*/ 2373286 h 2768823"/>
                <a:gd name="connsiteX2575" fmla="*/ 563161 w 1313607"/>
                <a:gd name="connsiteY2575" fmla="*/ 2370865 h 2768823"/>
                <a:gd name="connsiteX2576" fmla="*/ 561739 w 1313607"/>
                <a:gd name="connsiteY2576" fmla="*/ 2369323 h 2768823"/>
                <a:gd name="connsiteX2577" fmla="*/ 559984 w 1313607"/>
                <a:gd name="connsiteY2577" fmla="*/ 2368627 h 2768823"/>
                <a:gd name="connsiteX2578" fmla="*/ 557867 w 1313607"/>
                <a:gd name="connsiteY2578" fmla="*/ 2368627 h 2768823"/>
                <a:gd name="connsiteX2579" fmla="*/ 559198 w 1313607"/>
                <a:gd name="connsiteY2579" fmla="*/ 2367356 h 2768823"/>
                <a:gd name="connsiteX2580" fmla="*/ 557927 w 1313607"/>
                <a:gd name="connsiteY2580" fmla="*/ 2365753 h 2768823"/>
                <a:gd name="connsiteX2581" fmla="*/ 554448 w 1313607"/>
                <a:gd name="connsiteY2581" fmla="*/ 2362244 h 2768823"/>
                <a:gd name="connsiteX2582" fmla="*/ 553329 w 1313607"/>
                <a:gd name="connsiteY2582" fmla="*/ 2361578 h 2768823"/>
                <a:gd name="connsiteX2583" fmla="*/ 552058 w 1313607"/>
                <a:gd name="connsiteY2583" fmla="*/ 2361155 h 2768823"/>
                <a:gd name="connsiteX2584" fmla="*/ 551272 w 1313607"/>
                <a:gd name="connsiteY2584" fmla="*/ 2360126 h 2768823"/>
                <a:gd name="connsiteX2585" fmla="*/ 550697 w 1313607"/>
                <a:gd name="connsiteY2585" fmla="*/ 2358735 h 2768823"/>
                <a:gd name="connsiteX2586" fmla="*/ 549941 w 1313607"/>
                <a:gd name="connsiteY2586" fmla="*/ 2357283 h 2768823"/>
                <a:gd name="connsiteX2587" fmla="*/ 545585 w 1313607"/>
                <a:gd name="connsiteY2587" fmla="*/ 2352110 h 2768823"/>
                <a:gd name="connsiteX2588" fmla="*/ 539867 w 1313607"/>
                <a:gd name="connsiteY2588" fmla="*/ 2348359 h 2768823"/>
                <a:gd name="connsiteX2589" fmla="*/ 536419 w 1313607"/>
                <a:gd name="connsiteY2589" fmla="*/ 2345152 h 2768823"/>
                <a:gd name="connsiteX2590" fmla="*/ 535269 w 1313607"/>
                <a:gd name="connsiteY2590" fmla="*/ 2343155 h 2768823"/>
                <a:gd name="connsiteX2591" fmla="*/ 534452 w 1313607"/>
                <a:gd name="connsiteY2591" fmla="*/ 2340069 h 2768823"/>
                <a:gd name="connsiteX2592" fmla="*/ 546795 w 1313607"/>
                <a:gd name="connsiteY2592" fmla="*/ 2349750 h 2768823"/>
                <a:gd name="connsiteX2593" fmla="*/ 554751 w 1313607"/>
                <a:gd name="connsiteY2593" fmla="*/ 2361004 h 2768823"/>
                <a:gd name="connsiteX2594" fmla="*/ 556173 w 1313607"/>
                <a:gd name="connsiteY2594" fmla="*/ 2362486 h 2768823"/>
                <a:gd name="connsiteX2595" fmla="*/ 560983 w 1313607"/>
                <a:gd name="connsiteY2595" fmla="*/ 2365693 h 2768823"/>
                <a:gd name="connsiteX2596" fmla="*/ 562707 w 1313607"/>
                <a:gd name="connsiteY2596" fmla="*/ 2366298 h 2768823"/>
                <a:gd name="connsiteX2597" fmla="*/ 563403 w 1313607"/>
                <a:gd name="connsiteY2597" fmla="*/ 2365118 h 2768823"/>
                <a:gd name="connsiteX2598" fmla="*/ 560256 w 1313607"/>
                <a:gd name="connsiteY2598" fmla="*/ 2362728 h 2768823"/>
                <a:gd name="connsiteX2599" fmla="*/ 538597 w 1313607"/>
                <a:gd name="connsiteY2599" fmla="*/ 2340130 h 2768823"/>
                <a:gd name="connsiteX2600" fmla="*/ 538597 w 1313607"/>
                <a:gd name="connsiteY2600" fmla="*/ 2338829 h 2768823"/>
                <a:gd name="connsiteX2601" fmla="*/ 540593 w 1313607"/>
                <a:gd name="connsiteY2601" fmla="*/ 2339495 h 2768823"/>
                <a:gd name="connsiteX2602" fmla="*/ 541289 w 1313607"/>
                <a:gd name="connsiteY2602" fmla="*/ 2340130 h 2768823"/>
                <a:gd name="connsiteX2603" fmla="*/ 542045 w 1313607"/>
                <a:gd name="connsiteY2603" fmla="*/ 2338829 h 2768823"/>
                <a:gd name="connsiteX2604" fmla="*/ 540654 w 1313607"/>
                <a:gd name="connsiteY2604" fmla="*/ 2336560 h 2768823"/>
                <a:gd name="connsiteX2605" fmla="*/ 545070 w 1313607"/>
                <a:gd name="connsiteY2605" fmla="*/ 2338103 h 2768823"/>
                <a:gd name="connsiteX2606" fmla="*/ 547037 w 1313607"/>
                <a:gd name="connsiteY2606" fmla="*/ 2339404 h 2768823"/>
                <a:gd name="connsiteX2607" fmla="*/ 548912 w 1313607"/>
                <a:gd name="connsiteY2607" fmla="*/ 2341340 h 2768823"/>
                <a:gd name="connsiteX2608" fmla="*/ 549880 w 1313607"/>
                <a:gd name="connsiteY2608" fmla="*/ 2340281 h 2768823"/>
                <a:gd name="connsiteX2609" fmla="*/ 550334 w 1313607"/>
                <a:gd name="connsiteY2609" fmla="*/ 2338890 h 2768823"/>
                <a:gd name="connsiteX2610" fmla="*/ 550243 w 1313607"/>
                <a:gd name="connsiteY2610" fmla="*/ 2337256 h 2768823"/>
                <a:gd name="connsiteX2611" fmla="*/ 549608 w 1313607"/>
                <a:gd name="connsiteY2611" fmla="*/ 2335502 h 2768823"/>
                <a:gd name="connsiteX2612" fmla="*/ 550122 w 1313607"/>
                <a:gd name="connsiteY2612" fmla="*/ 2334987 h 2768823"/>
                <a:gd name="connsiteX2613" fmla="*/ 551121 w 1313607"/>
                <a:gd name="connsiteY2613" fmla="*/ 2333566 h 2768823"/>
                <a:gd name="connsiteX2614" fmla="*/ 551635 w 1313607"/>
                <a:gd name="connsiteY2614" fmla="*/ 2333051 h 2768823"/>
                <a:gd name="connsiteX2615" fmla="*/ 545797 w 1313607"/>
                <a:gd name="connsiteY2615" fmla="*/ 2330510 h 2768823"/>
                <a:gd name="connsiteX2616" fmla="*/ 543044 w 1313607"/>
                <a:gd name="connsiteY2616" fmla="*/ 2327031 h 2768823"/>
                <a:gd name="connsiteX2617" fmla="*/ 542287 w 1313607"/>
                <a:gd name="connsiteY2617" fmla="*/ 2325791 h 2768823"/>
                <a:gd name="connsiteX2618" fmla="*/ 542015 w 1313607"/>
                <a:gd name="connsiteY2618" fmla="*/ 2324611 h 2768823"/>
                <a:gd name="connsiteX2619" fmla="*/ 542408 w 1313607"/>
                <a:gd name="connsiteY2619" fmla="*/ 2323038 h 2768823"/>
                <a:gd name="connsiteX2620" fmla="*/ 543165 w 1313607"/>
                <a:gd name="connsiteY2620" fmla="*/ 2322130 h 2768823"/>
                <a:gd name="connsiteX2621" fmla="*/ 544102 w 1313607"/>
                <a:gd name="connsiteY2621" fmla="*/ 2322009 h 2768823"/>
                <a:gd name="connsiteX2622" fmla="*/ 557141 w 1313607"/>
                <a:gd name="connsiteY2622" fmla="*/ 2335532 h 2768823"/>
                <a:gd name="connsiteX2623" fmla="*/ 556233 w 1313607"/>
                <a:gd name="connsiteY2623" fmla="*/ 2334806 h 2768823"/>
                <a:gd name="connsiteX2624" fmla="*/ 555235 w 1313607"/>
                <a:gd name="connsiteY2624" fmla="*/ 2334292 h 2768823"/>
                <a:gd name="connsiteX2625" fmla="*/ 554176 w 1313607"/>
                <a:gd name="connsiteY2625" fmla="*/ 2334080 h 2768823"/>
                <a:gd name="connsiteX2626" fmla="*/ 553027 w 1313607"/>
                <a:gd name="connsiteY2626" fmla="*/ 2334231 h 2768823"/>
                <a:gd name="connsiteX2627" fmla="*/ 553692 w 1313607"/>
                <a:gd name="connsiteY2627" fmla="*/ 2335653 h 2768823"/>
                <a:gd name="connsiteX2628" fmla="*/ 554025 w 1313607"/>
                <a:gd name="connsiteY2628" fmla="*/ 2337105 h 2768823"/>
                <a:gd name="connsiteX2629" fmla="*/ 554025 w 1313607"/>
                <a:gd name="connsiteY2629" fmla="*/ 2338617 h 2768823"/>
                <a:gd name="connsiteX2630" fmla="*/ 553722 w 1313607"/>
                <a:gd name="connsiteY2630" fmla="*/ 2340160 h 2768823"/>
                <a:gd name="connsiteX2631" fmla="*/ 557746 w 1313607"/>
                <a:gd name="connsiteY2631" fmla="*/ 2340826 h 2768823"/>
                <a:gd name="connsiteX2632" fmla="*/ 559773 w 1313607"/>
                <a:gd name="connsiteY2632" fmla="*/ 2340735 h 2768823"/>
                <a:gd name="connsiteX2633" fmla="*/ 560650 w 1313607"/>
                <a:gd name="connsiteY2633" fmla="*/ 2339525 h 2768823"/>
                <a:gd name="connsiteX2634" fmla="*/ 560983 w 1313607"/>
                <a:gd name="connsiteY2634" fmla="*/ 2335955 h 2768823"/>
                <a:gd name="connsiteX2635" fmla="*/ 561830 w 1313607"/>
                <a:gd name="connsiteY2635" fmla="*/ 2336439 h 2768823"/>
                <a:gd name="connsiteX2636" fmla="*/ 563826 w 1313607"/>
                <a:gd name="connsiteY2636" fmla="*/ 2340765 h 2768823"/>
                <a:gd name="connsiteX2637" fmla="*/ 565097 w 1313607"/>
                <a:gd name="connsiteY2637" fmla="*/ 2342127 h 2768823"/>
                <a:gd name="connsiteX2638" fmla="*/ 566882 w 1313607"/>
                <a:gd name="connsiteY2638" fmla="*/ 2343216 h 2768823"/>
                <a:gd name="connsiteX2639" fmla="*/ 568606 w 1313607"/>
                <a:gd name="connsiteY2639" fmla="*/ 2343216 h 2768823"/>
                <a:gd name="connsiteX2640" fmla="*/ 569665 w 1313607"/>
                <a:gd name="connsiteY2640" fmla="*/ 2341370 h 2768823"/>
                <a:gd name="connsiteX2641" fmla="*/ 569332 w 1313607"/>
                <a:gd name="connsiteY2641" fmla="*/ 2339465 h 2768823"/>
                <a:gd name="connsiteX2642" fmla="*/ 566398 w 1313607"/>
                <a:gd name="connsiteY2642" fmla="*/ 2336863 h 2768823"/>
                <a:gd name="connsiteX2643" fmla="*/ 565520 w 1313607"/>
                <a:gd name="connsiteY2643" fmla="*/ 2334261 h 2768823"/>
                <a:gd name="connsiteX2644" fmla="*/ 569362 w 1313607"/>
                <a:gd name="connsiteY2644" fmla="*/ 2336621 h 2768823"/>
                <a:gd name="connsiteX2645" fmla="*/ 571087 w 1313607"/>
                <a:gd name="connsiteY2645" fmla="*/ 2336621 h 2768823"/>
                <a:gd name="connsiteX2646" fmla="*/ 570240 w 1313607"/>
                <a:gd name="connsiteY2646" fmla="*/ 2335199 h 2768823"/>
                <a:gd name="connsiteX2647" fmla="*/ 567547 w 1313607"/>
                <a:gd name="connsiteY2647" fmla="*/ 2332234 h 2768823"/>
                <a:gd name="connsiteX2648" fmla="*/ 566973 w 1313607"/>
                <a:gd name="connsiteY2648" fmla="*/ 2331236 h 2768823"/>
                <a:gd name="connsiteX2649" fmla="*/ 566821 w 1313607"/>
                <a:gd name="connsiteY2649" fmla="*/ 2328453 h 2768823"/>
                <a:gd name="connsiteX2650" fmla="*/ 566337 w 1313607"/>
                <a:gd name="connsiteY2650" fmla="*/ 2326729 h 2768823"/>
                <a:gd name="connsiteX2651" fmla="*/ 565581 w 1313607"/>
                <a:gd name="connsiteY2651" fmla="*/ 2326366 h 2768823"/>
                <a:gd name="connsiteX2652" fmla="*/ 564552 w 1313607"/>
                <a:gd name="connsiteY2652" fmla="*/ 2327666 h 2768823"/>
                <a:gd name="connsiteX2653" fmla="*/ 563403 w 1313607"/>
                <a:gd name="connsiteY2653" fmla="*/ 2328453 h 2768823"/>
                <a:gd name="connsiteX2654" fmla="*/ 562525 w 1313607"/>
                <a:gd name="connsiteY2654" fmla="*/ 2326971 h 2768823"/>
                <a:gd name="connsiteX2655" fmla="*/ 561436 w 1313607"/>
                <a:gd name="connsiteY2655" fmla="*/ 2323734 h 2768823"/>
                <a:gd name="connsiteX2656" fmla="*/ 561376 w 1313607"/>
                <a:gd name="connsiteY2656" fmla="*/ 2323552 h 2768823"/>
                <a:gd name="connsiteX2657" fmla="*/ 559893 w 1313607"/>
                <a:gd name="connsiteY2657" fmla="*/ 2323280 h 2768823"/>
                <a:gd name="connsiteX2658" fmla="*/ 558684 w 1313607"/>
                <a:gd name="connsiteY2658" fmla="*/ 2323552 h 2768823"/>
                <a:gd name="connsiteX2659" fmla="*/ 556415 w 1313607"/>
                <a:gd name="connsiteY2659" fmla="*/ 2319317 h 2768823"/>
                <a:gd name="connsiteX2660" fmla="*/ 555810 w 1313607"/>
                <a:gd name="connsiteY2660" fmla="*/ 2316957 h 2768823"/>
                <a:gd name="connsiteX2661" fmla="*/ 557171 w 1313607"/>
                <a:gd name="connsiteY2661" fmla="*/ 2315082 h 2768823"/>
                <a:gd name="connsiteX2662" fmla="*/ 558502 w 1313607"/>
                <a:gd name="connsiteY2662" fmla="*/ 2315657 h 2768823"/>
                <a:gd name="connsiteX2663" fmla="*/ 560620 w 1313607"/>
                <a:gd name="connsiteY2663" fmla="*/ 2320920 h 2768823"/>
                <a:gd name="connsiteX2664" fmla="*/ 562737 w 1313607"/>
                <a:gd name="connsiteY2664" fmla="*/ 2322221 h 2768823"/>
                <a:gd name="connsiteX2665" fmla="*/ 561406 w 1313607"/>
                <a:gd name="connsiteY2665" fmla="*/ 2320285 h 2768823"/>
                <a:gd name="connsiteX2666" fmla="*/ 561890 w 1313607"/>
                <a:gd name="connsiteY2666" fmla="*/ 2319226 h 2768823"/>
                <a:gd name="connsiteX2667" fmla="*/ 564794 w 1313607"/>
                <a:gd name="connsiteY2667" fmla="*/ 2317472 h 2768823"/>
                <a:gd name="connsiteX2668" fmla="*/ 565641 w 1313607"/>
                <a:gd name="connsiteY2668" fmla="*/ 2318803 h 2768823"/>
                <a:gd name="connsiteX2669" fmla="*/ 566519 w 1313607"/>
                <a:gd name="connsiteY2669" fmla="*/ 2319347 h 2768823"/>
                <a:gd name="connsiteX2670" fmla="*/ 567396 w 1313607"/>
                <a:gd name="connsiteY2670" fmla="*/ 2318924 h 2768823"/>
                <a:gd name="connsiteX2671" fmla="*/ 568213 w 1313607"/>
                <a:gd name="connsiteY2671" fmla="*/ 2317472 h 2768823"/>
                <a:gd name="connsiteX2672" fmla="*/ 566791 w 1313607"/>
                <a:gd name="connsiteY2672" fmla="*/ 2314870 h 2768823"/>
                <a:gd name="connsiteX2673" fmla="*/ 565248 w 1313607"/>
                <a:gd name="connsiteY2673" fmla="*/ 2313811 h 2768823"/>
                <a:gd name="connsiteX2674" fmla="*/ 563494 w 1313607"/>
                <a:gd name="connsiteY2674" fmla="*/ 2313116 h 2768823"/>
                <a:gd name="connsiteX2675" fmla="*/ 561376 w 1313607"/>
                <a:gd name="connsiteY2675" fmla="*/ 2311603 h 2768823"/>
                <a:gd name="connsiteX2676" fmla="*/ 562858 w 1313607"/>
                <a:gd name="connsiteY2676" fmla="*/ 2311875 h 2768823"/>
                <a:gd name="connsiteX2677" fmla="*/ 564008 w 1313607"/>
                <a:gd name="connsiteY2677" fmla="*/ 2311421 h 2768823"/>
                <a:gd name="connsiteX2678" fmla="*/ 564552 w 1313607"/>
                <a:gd name="connsiteY2678" fmla="*/ 2310151 h 2768823"/>
                <a:gd name="connsiteX2679" fmla="*/ 564280 w 1313607"/>
                <a:gd name="connsiteY2679" fmla="*/ 2307912 h 2768823"/>
                <a:gd name="connsiteX2680" fmla="*/ 566428 w 1313607"/>
                <a:gd name="connsiteY2680" fmla="*/ 2307005 h 2768823"/>
                <a:gd name="connsiteX2681" fmla="*/ 564431 w 1313607"/>
                <a:gd name="connsiteY2681" fmla="*/ 2303617 h 2768823"/>
                <a:gd name="connsiteX2682" fmla="*/ 560953 w 1313607"/>
                <a:gd name="connsiteY2682" fmla="*/ 2299412 h 2768823"/>
                <a:gd name="connsiteX2683" fmla="*/ 558744 w 1313607"/>
                <a:gd name="connsiteY2683" fmla="*/ 2295963 h 2768823"/>
                <a:gd name="connsiteX2684" fmla="*/ 559379 w 1313607"/>
                <a:gd name="connsiteY2684" fmla="*/ 2296054 h 2768823"/>
                <a:gd name="connsiteX2685" fmla="*/ 560771 w 1313607"/>
                <a:gd name="connsiteY2685" fmla="*/ 2295902 h 2768823"/>
                <a:gd name="connsiteX2686" fmla="*/ 561436 w 1313607"/>
                <a:gd name="connsiteY2686" fmla="*/ 2295963 h 2768823"/>
                <a:gd name="connsiteX2687" fmla="*/ 559984 w 1313607"/>
                <a:gd name="connsiteY2687" fmla="*/ 2292908 h 2768823"/>
                <a:gd name="connsiteX2688" fmla="*/ 555961 w 1313607"/>
                <a:gd name="connsiteY2688" fmla="*/ 2289308 h 2768823"/>
                <a:gd name="connsiteX2689" fmla="*/ 554509 w 1313607"/>
                <a:gd name="connsiteY2689" fmla="*/ 2286252 h 2768823"/>
                <a:gd name="connsiteX2690" fmla="*/ 558986 w 1313607"/>
                <a:gd name="connsiteY2690" fmla="*/ 2289338 h 2768823"/>
                <a:gd name="connsiteX2691" fmla="*/ 564976 w 1313607"/>
                <a:gd name="connsiteY2691" fmla="*/ 2295600 h 2768823"/>
                <a:gd name="connsiteX2692" fmla="*/ 570603 w 1313607"/>
                <a:gd name="connsiteY2692" fmla="*/ 2298988 h 2768823"/>
                <a:gd name="connsiteX2693" fmla="*/ 573870 w 1313607"/>
                <a:gd name="connsiteY2693" fmla="*/ 2293452 h 2768823"/>
                <a:gd name="connsiteX2694" fmla="*/ 572932 w 1313607"/>
                <a:gd name="connsiteY2694" fmla="*/ 2292756 h 2768823"/>
                <a:gd name="connsiteX2695" fmla="*/ 572024 w 1313607"/>
                <a:gd name="connsiteY2695" fmla="*/ 2291546 h 2768823"/>
                <a:gd name="connsiteX2696" fmla="*/ 571692 w 1313607"/>
                <a:gd name="connsiteY2696" fmla="*/ 2290427 h 2768823"/>
                <a:gd name="connsiteX2697" fmla="*/ 572478 w 1313607"/>
                <a:gd name="connsiteY2697" fmla="*/ 2289943 h 2768823"/>
                <a:gd name="connsiteX2698" fmla="*/ 573719 w 1313607"/>
                <a:gd name="connsiteY2698" fmla="*/ 2290336 h 2768823"/>
                <a:gd name="connsiteX2699" fmla="*/ 574596 w 1313607"/>
                <a:gd name="connsiteY2699" fmla="*/ 2290820 h 2768823"/>
                <a:gd name="connsiteX2700" fmla="*/ 575110 w 1313607"/>
                <a:gd name="connsiteY2700" fmla="*/ 2290397 h 2768823"/>
                <a:gd name="connsiteX2701" fmla="*/ 575292 w 1313607"/>
                <a:gd name="connsiteY2701" fmla="*/ 2288067 h 2768823"/>
                <a:gd name="connsiteX2702" fmla="*/ 575019 w 1313607"/>
                <a:gd name="connsiteY2702" fmla="*/ 2285556 h 2768823"/>
                <a:gd name="connsiteX2703" fmla="*/ 574263 w 1313607"/>
                <a:gd name="connsiteY2703" fmla="*/ 2283227 h 2768823"/>
                <a:gd name="connsiteX2704" fmla="*/ 573144 w 1313607"/>
                <a:gd name="connsiteY2704" fmla="*/ 2281352 h 2768823"/>
                <a:gd name="connsiteX2705" fmla="*/ 571813 w 1313607"/>
                <a:gd name="connsiteY2705" fmla="*/ 2280262 h 2768823"/>
                <a:gd name="connsiteX2706" fmla="*/ 572206 w 1313607"/>
                <a:gd name="connsiteY2706" fmla="*/ 2279990 h 2768823"/>
                <a:gd name="connsiteX2707" fmla="*/ 573174 w 1313607"/>
                <a:gd name="connsiteY2707" fmla="*/ 2278962 h 2768823"/>
                <a:gd name="connsiteX2708" fmla="*/ 565762 w 1313607"/>
                <a:gd name="connsiteY2708" fmla="*/ 2274787 h 2768823"/>
                <a:gd name="connsiteX2709" fmla="*/ 563494 w 1313607"/>
                <a:gd name="connsiteY2709" fmla="*/ 2274273 h 2768823"/>
                <a:gd name="connsiteX2710" fmla="*/ 563494 w 1313607"/>
                <a:gd name="connsiteY2710" fmla="*/ 2273063 h 2768823"/>
                <a:gd name="connsiteX2711" fmla="*/ 567154 w 1313607"/>
                <a:gd name="connsiteY2711" fmla="*/ 2272518 h 2768823"/>
                <a:gd name="connsiteX2712" fmla="*/ 568303 w 1313607"/>
                <a:gd name="connsiteY2712" fmla="*/ 2271853 h 2768823"/>
                <a:gd name="connsiteX2713" fmla="*/ 568697 w 1313607"/>
                <a:gd name="connsiteY2713" fmla="*/ 2271036 h 2768823"/>
                <a:gd name="connsiteX2714" fmla="*/ 568848 w 1313607"/>
                <a:gd name="connsiteY2714" fmla="*/ 2269886 h 2768823"/>
                <a:gd name="connsiteX2715" fmla="*/ 568848 w 1313607"/>
                <a:gd name="connsiteY2715" fmla="*/ 2268827 h 2768823"/>
                <a:gd name="connsiteX2716" fmla="*/ 568969 w 1313607"/>
                <a:gd name="connsiteY2716" fmla="*/ 2268283 h 2768823"/>
                <a:gd name="connsiteX2717" fmla="*/ 569574 w 1313607"/>
                <a:gd name="connsiteY2717" fmla="*/ 2268222 h 2768823"/>
                <a:gd name="connsiteX2718" fmla="*/ 571238 w 1313607"/>
                <a:gd name="connsiteY2718" fmla="*/ 2268555 h 2768823"/>
                <a:gd name="connsiteX2719" fmla="*/ 571782 w 1313607"/>
                <a:gd name="connsiteY2719" fmla="*/ 2268313 h 2768823"/>
                <a:gd name="connsiteX2720" fmla="*/ 572781 w 1313607"/>
                <a:gd name="connsiteY2720" fmla="*/ 2265137 h 2768823"/>
                <a:gd name="connsiteX2721" fmla="*/ 570784 w 1313607"/>
                <a:gd name="connsiteY2721" fmla="*/ 2264774 h 2768823"/>
                <a:gd name="connsiteX2722" fmla="*/ 564855 w 1313607"/>
                <a:gd name="connsiteY2722" fmla="*/ 2265923 h 2768823"/>
                <a:gd name="connsiteX2723" fmla="*/ 565490 w 1313607"/>
                <a:gd name="connsiteY2723" fmla="*/ 2267527 h 2768823"/>
                <a:gd name="connsiteX2724" fmla="*/ 565490 w 1313607"/>
                <a:gd name="connsiteY2724" fmla="*/ 2268646 h 2768823"/>
                <a:gd name="connsiteX2725" fmla="*/ 565006 w 1313607"/>
                <a:gd name="connsiteY2725" fmla="*/ 2269311 h 2768823"/>
                <a:gd name="connsiteX2726" fmla="*/ 563887 w 1313607"/>
                <a:gd name="connsiteY2726" fmla="*/ 2269523 h 2768823"/>
                <a:gd name="connsiteX2727" fmla="*/ 562646 w 1313607"/>
                <a:gd name="connsiteY2727" fmla="*/ 2269009 h 2768823"/>
                <a:gd name="connsiteX2728" fmla="*/ 562435 w 1313607"/>
                <a:gd name="connsiteY2728" fmla="*/ 2267799 h 2768823"/>
                <a:gd name="connsiteX2729" fmla="*/ 562798 w 1313607"/>
                <a:gd name="connsiteY2729" fmla="*/ 2265953 h 2768823"/>
                <a:gd name="connsiteX2730" fmla="*/ 561285 w 1313607"/>
                <a:gd name="connsiteY2730" fmla="*/ 2264411 h 2768823"/>
                <a:gd name="connsiteX2731" fmla="*/ 557595 w 1313607"/>
                <a:gd name="connsiteY2731" fmla="*/ 2261718 h 2768823"/>
                <a:gd name="connsiteX2732" fmla="*/ 555931 w 1313607"/>
                <a:gd name="connsiteY2732" fmla="*/ 2259843 h 2768823"/>
                <a:gd name="connsiteX2733" fmla="*/ 570361 w 1313607"/>
                <a:gd name="connsiteY2733" fmla="*/ 2262354 h 2768823"/>
                <a:gd name="connsiteX2734" fmla="*/ 569967 w 1313607"/>
                <a:gd name="connsiteY2734" fmla="*/ 2258209 h 2768823"/>
                <a:gd name="connsiteX2735" fmla="*/ 569483 w 1313607"/>
                <a:gd name="connsiteY2735" fmla="*/ 2257241 h 2768823"/>
                <a:gd name="connsiteX2736" fmla="*/ 568273 w 1313607"/>
                <a:gd name="connsiteY2736" fmla="*/ 2256334 h 2768823"/>
                <a:gd name="connsiteX2737" fmla="*/ 568031 w 1313607"/>
                <a:gd name="connsiteY2737" fmla="*/ 2256999 h 2768823"/>
                <a:gd name="connsiteX2738" fmla="*/ 566670 w 1313607"/>
                <a:gd name="connsiteY2738" fmla="*/ 2257907 h 2768823"/>
                <a:gd name="connsiteX2739" fmla="*/ 565097 w 1313607"/>
                <a:gd name="connsiteY2739" fmla="*/ 2258633 h 2768823"/>
                <a:gd name="connsiteX2740" fmla="*/ 564220 w 1313607"/>
                <a:gd name="connsiteY2740" fmla="*/ 2258723 h 2768823"/>
                <a:gd name="connsiteX2741" fmla="*/ 563705 w 1313607"/>
                <a:gd name="connsiteY2741" fmla="*/ 2257150 h 2768823"/>
                <a:gd name="connsiteX2742" fmla="*/ 563887 w 1313607"/>
                <a:gd name="connsiteY2742" fmla="*/ 2255698 h 2768823"/>
                <a:gd name="connsiteX2743" fmla="*/ 564250 w 1313607"/>
                <a:gd name="connsiteY2743" fmla="*/ 2254246 h 2768823"/>
                <a:gd name="connsiteX2744" fmla="*/ 564250 w 1313607"/>
                <a:gd name="connsiteY2744" fmla="*/ 2252613 h 2768823"/>
                <a:gd name="connsiteX2745" fmla="*/ 563282 w 1313607"/>
                <a:gd name="connsiteY2745" fmla="*/ 2250344 h 2768823"/>
                <a:gd name="connsiteX2746" fmla="*/ 561951 w 1313607"/>
                <a:gd name="connsiteY2746" fmla="*/ 2249467 h 2768823"/>
                <a:gd name="connsiteX2747" fmla="*/ 558653 w 1313607"/>
                <a:gd name="connsiteY2747" fmla="*/ 2249103 h 2768823"/>
                <a:gd name="connsiteX2748" fmla="*/ 537387 w 1313607"/>
                <a:gd name="connsiteY2748" fmla="*/ 2238515 h 2768823"/>
                <a:gd name="connsiteX2749" fmla="*/ 533786 w 1313607"/>
                <a:gd name="connsiteY2749" fmla="*/ 2238031 h 2768823"/>
                <a:gd name="connsiteX2750" fmla="*/ 536691 w 1313607"/>
                <a:gd name="connsiteY2750" fmla="*/ 2236519 h 2768823"/>
                <a:gd name="connsiteX2751" fmla="*/ 546583 w 1313607"/>
                <a:gd name="connsiteY2751" fmla="*/ 2239665 h 2768823"/>
                <a:gd name="connsiteX2752" fmla="*/ 552452 w 1313607"/>
                <a:gd name="connsiteY2752" fmla="*/ 2243114 h 2768823"/>
                <a:gd name="connsiteX2753" fmla="*/ 564764 w 1313607"/>
                <a:gd name="connsiteY2753" fmla="*/ 2245262 h 2768823"/>
                <a:gd name="connsiteX2754" fmla="*/ 565490 w 1313607"/>
                <a:gd name="connsiteY2754" fmla="*/ 2245564 h 2768823"/>
                <a:gd name="connsiteX2755" fmla="*/ 566851 w 1313607"/>
                <a:gd name="connsiteY2755" fmla="*/ 2246502 h 2768823"/>
                <a:gd name="connsiteX2756" fmla="*/ 567577 w 1313607"/>
                <a:gd name="connsiteY2756" fmla="*/ 2246623 h 2768823"/>
                <a:gd name="connsiteX2757" fmla="*/ 568122 w 1313607"/>
                <a:gd name="connsiteY2757" fmla="*/ 2246199 h 2768823"/>
                <a:gd name="connsiteX2758" fmla="*/ 569302 w 1313607"/>
                <a:gd name="connsiteY2758" fmla="*/ 2244566 h 2768823"/>
                <a:gd name="connsiteX2759" fmla="*/ 569967 w 1313607"/>
                <a:gd name="connsiteY2759" fmla="*/ 2244203 h 2768823"/>
                <a:gd name="connsiteX2760" fmla="*/ 572418 w 1313607"/>
                <a:gd name="connsiteY2760" fmla="*/ 2243779 h 2768823"/>
                <a:gd name="connsiteX2761" fmla="*/ 575836 w 1313607"/>
                <a:gd name="connsiteY2761" fmla="*/ 2242539 h 2768823"/>
                <a:gd name="connsiteX2762" fmla="*/ 578105 w 1313607"/>
                <a:gd name="connsiteY2762" fmla="*/ 2240603 h 2768823"/>
                <a:gd name="connsiteX2763" fmla="*/ 577228 w 1313607"/>
                <a:gd name="connsiteY2763" fmla="*/ 2238062 h 2768823"/>
                <a:gd name="connsiteX2764" fmla="*/ 579406 w 1313607"/>
                <a:gd name="connsiteY2764" fmla="*/ 2237063 h 2768823"/>
                <a:gd name="connsiteX2765" fmla="*/ 584458 w 1313607"/>
                <a:gd name="connsiteY2765" fmla="*/ 2237003 h 2768823"/>
                <a:gd name="connsiteX2766" fmla="*/ 586878 w 1313607"/>
                <a:gd name="connsiteY2766" fmla="*/ 2235642 h 2768823"/>
                <a:gd name="connsiteX2767" fmla="*/ 581312 w 1313607"/>
                <a:gd name="connsiteY2767" fmla="*/ 2230801 h 2768823"/>
                <a:gd name="connsiteX2768" fmla="*/ 577470 w 1313607"/>
                <a:gd name="connsiteY2768" fmla="*/ 2229743 h 2768823"/>
                <a:gd name="connsiteX2769" fmla="*/ 576199 w 1313607"/>
                <a:gd name="connsiteY2769" fmla="*/ 2228835 h 2768823"/>
                <a:gd name="connsiteX2770" fmla="*/ 577198 w 1313607"/>
                <a:gd name="connsiteY2770" fmla="*/ 2227171 h 2768823"/>
                <a:gd name="connsiteX2771" fmla="*/ 577198 w 1313607"/>
                <a:gd name="connsiteY2771" fmla="*/ 2225840 h 2768823"/>
                <a:gd name="connsiteX2772" fmla="*/ 574445 w 1313607"/>
                <a:gd name="connsiteY2772" fmla="*/ 2225840 h 2768823"/>
                <a:gd name="connsiteX2773" fmla="*/ 574445 w 1313607"/>
                <a:gd name="connsiteY2773" fmla="*/ 2224842 h 2768823"/>
                <a:gd name="connsiteX2774" fmla="*/ 574868 w 1313607"/>
                <a:gd name="connsiteY2774" fmla="*/ 2224570 h 2768823"/>
                <a:gd name="connsiteX2775" fmla="*/ 575806 w 1313607"/>
                <a:gd name="connsiteY2775" fmla="*/ 2223541 h 2768823"/>
                <a:gd name="connsiteX2776" fmla="*/ 573174 w 1313607"/>
                <a:gd name="connsiteY2776" fmla="*/ 2223057 h 2768823"/>
                <a:gd name="connsiteX2777" fmla="*/ 571329 w 1313607"/>
                <a:gd name="connsiteY2777" fmla="*/ 2221181 h 2768823"/>
                <a:gd name="connsiteX2778" fmla="*/ 570693 w 1313607"/>
                <a:gd name="connsiteY2778" fmla="*/ 2218368 h 2768823"/>
                <a:gd name="connsiteX2779" fmla="*/ 571661 w 1313607"/>
                <a:gd name="connsiteY2779" fmla="*/ 2215101 h 2768823"/>
                <a:gd name="connsiteX2780" fmla="*/ 570421 w 1313607"/>
                <a:gd name="connsiteY2780" fmla="*/ 2215010 h 2768823"/>
                <a:gd name="connsiteX2781" fmla="*/ 566851 w 1313607"/>
                <a:gd name="connsiteY2781" fmla="*/ 2213891 h 2768823"/>
                <a:gd name="connsiteX2782" fmla="*/ 567033 w 1313607"/>
                <a:gd name="connsiteY2782" fmla="*/ 2214738 h 2768823"/>
                <a:gd name="connsiteX2783" fmla="*/ 567305 w 1313607"/>
                <a:gd name="connsiteY2783" fmla="*/ 2216734 h 2768823"/>
                <a:gd name="connsiteX2784" fmla="*/ 567487 w 1313607"/>
                <a:gd name="connsiteY2784" fmla="*/ 2217612 h 2768823"/>
                <a:gd name="connsiteX2785" fmla="*/ 565702 w 1313607"/>
                <a:gd name="connsiteY2785" fmla="*/ 2215948 h 2768823"/>
                <a:gd name="connsiteX2786" fmla="*/ 561588 w 1313607"/>
                <a:gd name="connsiteY2786" fmla="*/ 2215373 h 2768823"/>
                <a:gd name="connsiteX2787" fmla="*/ 560226 w 1313607"/>
                <a:gd name="connsiteY2787" fmla="*/ 2214466 h 2768823"/>
                <a:gd name="connsiteX2788" fmla="*/ 558351 w 1313607"/>
                <a:gd name="connsiteY2788" fmla="*/ 2212378 h 2768823"/>
                <a:gd name="connsiteX2789" fmla="*/ 556173 w 1313607"/>
                <a:gd name="connsiteY2789" fmla="*/ 2211592 h 2768823"/>
                <a:gd name="connsiteX2790" fmla="*/ 544284 w 1313607"/>
                <a:gd name="connsiteY2790" fmla="*/ 2211985 h 2768823"/>
                <a:gd name="connsiteX2791" fmla="*/ 542953 w 1313607"/>
                <a:gd name="connsiteY2791" fmla="*/ 2210866 h 2768823"/>
                <a:gd name="connsiteX2792" fmla="*/ 537840 w 1313607"/>
                <a:gd name="connsiteY2792" fmla="*/ 2208204 h 2768823"/>
                <a:gd name="connsiteX2793" fmla="*/ 536449 w 1313607"/>
                <a:gd name="connsiteY2793" fmla="*/ 2207841 h 2768823"/>
                <a:gd name="connsiteX2794" fmla="*/ 535299 w 1313607"/>
                <a:gd name="connsiteY2794" fmla="*/ 2209383 h 2768823"/>
                <a:gd name="connsiteX2795" fmla="*/ 534603 w 1313607"/>
                <a:gd name="connsiteY2795" fmla="*/ 2211955 h 2768823"/>
                <a:gd name="connsiteX2796" fmla="*/ 534059 w 1313607"/>
                <a:gd name="connsiteY2796" fmla="*/ 2214768 h 2768823"/>
                <a:gd name="connsiteX2797" fmla="*/ 533363 w 1313607"/>
                <a:gd name="connsiteY2797" fmla="*/ 2216976 h 2768823"/>
                <a:gd name="connsiteX2798" fmla="*/ 532456 w 1313607"/>
                <a:gd name="connsiteY2798" fmla="*/ 2217733 h 2768823"/>
                <a:gd name="connsiteX2799" fmla="*/ 531185 w 1313607"/>
                <a:gd name="connsiteY2799" fmla="*/ 2217854 h 2768823"/>
                <a:gd name="connsiteX2800" fmla="*/ 530035 w 1313607"/>
                <a:gd name="connsiteY2800" fmla="*/ 2217218 h 2768823"/>
                <a:gd name="connsiteX2801" fmla="*/ 529551 w 1313607"/>
                <a:gd name="connsiteY2801" fmla="*/ 2215706 h 2768823"/>
                <a:gd name="connsiteX2802" fmla="*/ 529612 w 1313607"/>
                <a:gd name="connsiteY2802" fmla="*/ 2213316 h 2768823"/>
                <a:gd name="connsiteX2803" fmla="*/ 529551 w 1313607"/>
                <a:gd name="connsiteY2803" fmla="*/ 2212711 h 2768823"/>
                <a:gd name="connsiteX2804" fmla="*/ 529128 w 1313607"/>
                <a:gd name="connsiteY2804" fmla="*/ 2212499 h 2768823"/>
                <a:gd name="connsiteX2805" fmla="*/ 526950 w 1313607"/>
                <a:gd name="connsiteY2805" fmla="*/ 2209988 h 2768823"/>
                <a:gd name="connsiteX2806" fmla="*/ 525740 w 1313607"/>
                <a:gd name="connsiteY2806" fmla="*/ 2209383 h 2768823"/>
                <a:gd name="connsiteX2807" fmla="*/ 524409 w 1313607"/>
                <a:gd name="connsiteY2807" fmla="*/ 2209898 h 2768823"/>
                <a:gd name="connsiteX2808" fmla="*/ 522957 w 1313607"/>
                <a:gd name="connsiteY2808" fmla="*/ 2211955 h 2768823"/>
                <a:gd name="connsiteX2809" fmla="*/ 520869 w 1313607"/>
                <a:gd name="connsiteY2809" fmla="*/ 2213498 h 2768823"/>
                <a:gd name="connsiteX2810" fmla="*/ 516332 w 1313607"/>
                <a:gd name="connsiteY2810" fmla="*/ 2211350 h 2768823"/>
                <a:gd name="connsiteX2811" fmla="*/ 514305 w 1313607"/>
                <a:gd name="connsiteY2811" fmla="*/ 2212650 h 2768823"/>
                <a:gd name="connsiteX2812" fmla="*/ 513700 w 1313607"/>
                <a:gd name="connsiteY2812" fmla="*/ 2210805 h 2768823"/>
                <a:gd name="connsiteX2813" fmla="*/ 512671 w 1313607"/>
                <a:gd name="connsiteY2813" fmla="*/ 2210321 h 2768823"/>
                <a:gd name="connsiteX2814" fmla="*/ 511431 w 1313607"/>
                <a:gd name="connsiteY2814" fmla="*/ 2210684 h 2768823"/>
                <a:gd name="connsiteX2815" fmla="*/ 510160 w 1313607"/>
                <a:gd name="connsiteY2815" fmla="*/ 2211319 h 2768823"/>
                <a:gd name="connsiteX2816" fmla="*/ 510160 w 1313607"/>
                <a:gd name="connsiteY2816" fmla="*/ 2210230 h 2768823"/>
                <a:gd name="connsiteX2817" fmla="*/ 512036 w 1313607"/>
                <a:gd name="connsiteY2817" fmla="*/ 2209716 h 2768823"/>
                <a:gd name="connsiteX2818" fmla="*/ 516271 w 1313607"/>
                <a:gd name="connsiteY2818" fmla="*/ 2210624 h 2768823"/>
                <a:gd name="connsiteX2819" fmla="*/ 517784 w 1313607"/>
                <a:gd name="connsiteY2819" fmla="*/ 2210230 h 2768823"/>
                <a:gd name="connsiteX2820" fmla="*/ 518449 w 1313607"/>
                <a:gd name="connsiteY2820" fmla="*/ 2208718 h 2768823"/>
                <a:gd name="connsiteX2821" fmla="*/ 517995 w 1313607"/>
                <a:gd name="connsiteY2821" fmla="*/ 2207175 h 2768823"/>
                <a:gd name="connsiteX2822" fmla="*/ 516906 w 1313607"/>
                <a:gd name="connsiteY2822" fmla="*/ 2205965 h 2768823"/>
                <a:gd name="connsiteX2823" fmla="*/ 515636 w 1313607"/>
                <a:gd name="connsiteY2823" fmla="*/ 2205390 h 2768823"/>
                <a:gd name="connsiteX2824" fmla="*/ 515636 w 1313607"/>
                <a:gd name="connsiteY2824" fmla="*/ 2204059 h 2768823"/>
                <a:gd name="connsiteX2825" fmla="*/ 550395 w 1313607"/>
                <a:gd name="connsiteY2825" fmla="*/ 2207961 h 2768823"/>
                <a:gd name="connsiteX2826" fmla="*/ 585154 w 1313607"/>
                <a:gd name="connsiteY2826" fmla="*/ 2211864 h 2768823"/>
                <a:gd name="connsiteX2827" fmla="*/ 594078 w 1313607"/>
                <a:gd name="connsiteY2827" fmla="*/ 2209020 h 2768823"/>
                <a:gd name="connsiteX2828" fmla="*/ 596377 w 1313607"/>
                <a:gd name="connsiteY2828" fmla="*/ 2209020 h 2768823"/>
                <a:gd name="connsiteX2829" fmla="*/ 594713 w 1313607"/>
                <a:gd name="connsiteY2829" fmla="*/ 2205753 h 2768823"/>
                <a:gd name="connsiteX2830" fmla="*/ 592928 w 1313607"/>
                <a:gd name="connsiteY2830" fmla="*/ 2204331 h 2768823"/>
                <a:gd name="connsiteX2831" fmla="*/ 588118 w 1313607"/>
                <a:gd name="connsiteY2831" fmla="*/ 2204089 h 2768823"/>
                <a:gd name="connsiteX2832" fmla="*/ 590236 w 1313607"/>
                <a:gd name="connsiteY2832" fmla="*/ 2201215 h 2768823"/>
                <a:gd name="connsiteX2833" fmla="*/ 593866 w 1313607"/>
                <a:gd name="connsiteY2833" fmla="*/ 2201851 h 2768823"/>
                <a:gd name="connsiteX2834" fmla="*/ 599795 w 1313607"/>
                <a:gd name="connsiteY2834" fmla="*/ 2205420 h 2768823"/>
                <a:gd name="connsiteX2835" fmla="*/ 602125 w 1313607"/>
                <a:gd name="connsiteY2835" fmla="*/ 2205602 h 2768823"/>
                <a:gd name="connsiteX2836" fmla="*/ 603637 w 1313607"/>
                <a:gd name="connsiteY2836" fmla="*/ 2204029 h 2768823"/>
                <a:gd name="connsiteX2837" fmla="*/ 605089 w 1313607"/>
                <a:gd name="connsiteY2837" fmla="*/ 2201609 h 2768823"/>
                <a:gd name="connsiteX2838" fmla="*/ 607419 w 1313607"/>
                <a:gd name="connsiteY2838" fmla="*/ 2199249 h 2768823"/>
                <a:gd name="connsiteX2839" fmla="*/ 607419 w 1313607"/>
                <a:gd name="connsiteY2839" fmla="*/ 2198160 h 2768823"/>
                <a:gd name="connsiteX2840" fmla="*/ 605361 w 1313607"/>
                <a:gd name="connsiteY2840" fmla="*/ 2197616 h 2768823"/>
                <a:gd name="connsiteX2841" fmla="*/ 601096 w 1313607"/>
                <a:gd name="connsiteY2841" fmla="*/ 2198130 h 2768823"/>
                <a:gd name="connsiteX2842" fmla="*/ 599009 w 1313607"/>
                <a:gd name="connsiteY2842" fmla="*/ 2196829 h 2768823"/>
                <a:gd name="connsiteX2843" fmla="*/ 599674 w 1313607"/>
                <a:gd name="connsiteY2843" fmla="*/ 2196194 h 2768823"/>
                <a:gd name="connsiteX2844" fmla="*/ 600521 w 1313607"/>
                <a:gd name="connsiteY2844" fmla="*/ 2195014 h 2768823"/>
                <a:gd name="connsiteX2845" fmla="*/ 601156 w 1313607"/>
                <a:gd name="connsiteY2845" fmla="*/ 2193532 h 2768823"/>
                <a:gd name="connsiteX2846" fmla="*/ 601156 w 1313607"/>
                <a:gd name="connsiteY2846" fmla="*/ 2191959 h 2768823"/>
                <a:gd name="connsiteX2847" fmla="*/ 600128 w 1313607"/>
                <a:gd name="connsiteY2847" fmla="*/ 2190688 h 2768823"/>
                <a:gd name="connsiteX2848" fmla="*/ 596951 w 1313607"/>
                <a:gd name="connsiteY2848" fmla="*/ 2190295 h 2768823"/>
                <a:gd name="connsiteX2849" fmla="*/ 595590 w 1313607"/>
                <a:gd name="connsiteY2849" fmla="*/ 2189538 h 2768823"/>
                <a:gd name="connsiteX2850" fmla="*/ 597405 w 1313607"/>
                <a:gd name="connsiteY2850" fmla="*/ 2189145 h 2768823"/>
                <a:gd name="connsiteX2851" fmla="*/ 600340 w 1313607"/>
                <a:gd name="connsiteY2851" fmla="*/ 2187481 h 2768823"/>
                <a:gd name="connsiteX2852" fmla="*/ 601519 w 1313607"/>
                <a:gd name="connsiteY2852" fmla="*/ 2187088 h 2768823"/>
                <a:gd name="connsiteX2853" fmla="*/ 602911 w 1313607"/>
                <a:gd name="connsiteY2853" fmla="*/ 2187693 h 2768823"/>
                <a:gd name="connsiteX2854" fmla="*/ 604938 w 1313607"/>
                <a:gd name="connsiteY2854" fmla="*/ 2190779 h 2768823"/>
                <a:gd name="connsiteX2855" fmla="*/ 606057 w 1313607"/>
                <a:gd name="connsiteY2855" fmla="*/ 2191928 h 2768823"/>
                <a:gd name="connsiteX2856" fmla="*/ 609143 w 1313607"/>
                <a:gd name="connsiteY2856" fmla="*/ 2192927 h 2768823"/>
                <a:gd name="connsiteX2857" fmla="*/ 620578 w 1313607"/>
                <a:gd name="connsiteY2857" fmla="*/ 2193168 h 2768823"/>
                <a:gd name="connsiteX2858" fmla="*/ 620578 w 1313607"/>
                <a:gd name="connsiteY2858" fmla="*/ 2189932 h 2768823"/>
                <a:gd name="connsiteX2859" fmla="*/ 623482 w 1313607"/>
                <a:gd name="connsiteY2859" fmla="*/ 2189296 h 2768823"/>
                <a:gd name="connsiteX2860" fmla="*/ 628776 w 1313607"/>
                <a:gd name="connsiteY2860" fmla="*/ 2189508 h 2768823"/>
                <a:gd name="connsiteX2861" fmla="*/ 630712 w 1313607"/>
                <a:gd name="connsiteY2861" fmla="*/ 2187148 h 2768823"/>
                <a:gd name="connsiteX2862" fmla="*/ 630198 w 1313607"/>
                <a:gd name="connsiteY2862" fmla="*/ 2184547 h 2768823"/>
                <a:gd name="connsiteX2863" fmla="*/ 626749 w 1313607"/>
                <a:gd name="connsiteY2863" fmla="*/ 2179646 h 2768823"/>
                <a:gd name="connsiteX2864" fmla="*/ 639062 w 1313607"/>
                <a:gd name="connsiteY2864" fmla="*/ 2182308 h 2768823"/>
                <a:gd name="connsiteX2865" fmla="*/ 641935 w 1313607"/>
                <a:gd name="connsiteY2865" fmla="*/ 2180856 h 2768823"/>
                <a:gd name="connsiteX2866" fmla="*/ 639515 w 1313607"/>
                <a:gd name="connsiteY2866" fmla="*/ 2178829 h 2768823"/>
                <a:gd name="connsiteX2867" fmla="*/ 638789 w 1313607"/>
                <a:gd name="connsiteY2867" fmla="*/ 2178557 h 2768823"/>
                <a:gd name="connsiteX2868" fmla="*/ 638063 w 1313607"/>
                <a:gd name="connsiteY2868" fmla="*/ 2177982 h 2768823"/>
                <a:gd name="connsiteX2869" fmla="*/ 638214 w 1313607"/>
                <a:gd name="connsiteY2869" fmla="*/ 2176651 h 2768823"/>
                <a:gd name="connsiteX2870" fmla="*/ 639092 w 1313607"/>
                <a:gd name="connsiteY2870" fmla="*/ 2173687 h 2768823"/>
                <a:gd name="connsiteX2871" fmla="*/ 639969 w 1313607"/>
                <a:gd name="connsiteY2871" fmla="*/ 2168241 h 2768823"/>
                <a:gd name="connsiteX2872" fmla="*/ 639576 w 1313607"/>
                <a:gd name="connsiteY2872" fmla="*/ 2166275 h 2768823"/>
                <a:gd name="connsiteX2873" fmla="*/ 637791 w 1313607"/>
                <a:gd name="connsiteY2873" fmla="*/ 2165035 h 2768823"/>
                <a:gd name="connsiteX2874" fmla="*/ 637791 w 1313607"/>
                <a:gd name="connsiteY2874" fmla="*/ 2163825 h 2768823"/>
                <a:gd name="connsiteX2875" fmla="*/ 641119 w 1313607"/>
                <a:gd name="connsiteY2875" fmla="*/ 2165458 h 2768823"/>
                <a:gd name="connsiteX2876" fmla="*/ 648712 w 1313607"/>
                <a:gd name="connsiteY2876" fmla="*/ 2171176 h 2768823"/>
                <a:gd name="connsiteX2877" fmla="*/ 651525 w 1313607"/>
                <a:gd name="connsiteY2877" fmla="*/ 2171266 h 2768823"/>
                <a:gd name="connsiteX2878" fmla="*/ 650799 w 1313607"/>
                <a:gd name="connsiteY2878" fmla="*/ 2170752 h 2768823"/>
                <a:gd name="connsiteX2879" fmla="*/ 650103 w 1313607"/>
                <a:gd name="connsiteY2879" fmla="*/ 2169935 h 2768823"/>
                <a:gd name="connsiteX2880" fmla="*/ 652221 w 1313607"/>
                <a:gd name="connsiteY2880" fmla="*/ 2169935 h 2768823"/>
                <a:gd name="connsiteX2881" fmla="*/ 652221 w 1313607"/>
                <a:gd name="connsiteY2881" fmla="*/ 2168816 h 2768823"/>
                <a:gd name="connsiteX2882" fmla="*/ 649075 w 1313607"/>
                <a:gd name="connsiteY2882" fmla="*/ 2166457 h 2768823"/>
                <a:gd name="connsiteX2883" fmla="*/ 647713 w 1313607"/>
                <a:gd name="connsiteY2883" fmla="*/ 2164793 h 2768823"/>
                <a:gd name="connsiteX2884" fmla="*/ 646715 w 1313607"/>
                <a:gd name="connsiteY2884" fmla="*/ 2162584 h 2768823"/>
                <a:gd name="connsiteX2885" fmla="*/ 648802 w 1313607"/>
                <a:gd name="connsiteY2885" fmla="*/ 2162887 h 2768823"/>
                <a:gd name="connsiteX2886" fmla="*/ 650951 w 1313607"/>
                <a:gd name="connsiteY2886" fmla="*/ 2163734 h 2768823"/>
                <a:gd name="connsiteX2887" fmla="*/ 653038 w 1313607"/>
                <a:gd name="connsiteY2887" fmla="*/ 2164006 h 2768823"/>
                <a:gd name="connsiteX2888" fmla="*/ 654944 w 1313607"/>
                <a:gd name="connsiteY2888" fmla="*/ 2162584 h 2768823"/>
                <a:gd name="connsiteX2889" fmla="*/ 655821 w 1313607"/>
                <a:gd name="connsiteY2889" fmla="*/ 2159771 h 2768823"/>
                <a:gd name="connsiteX2890" fmla="*/ 654520 w 1313607"/>
                <a:gd name="connsiteY2890" fmla="*/ 2158652 h 2768823"/>
                <a:gd name="connsiteX2891" fmla="*/ 653250 w 1313607"/>
                <a:gd name="connsiteY2891" fmla="*/ 2157986 h 2768823"/>
                <a:gd name="connsiteX2892" fmla="*/ 654248 w 1313607"/>
                <a:gd name="connsiteY2892" fmla="*/ 2156473 h 2768823"/>
                <a:gd name="connsiteX2893" fmla="*/ 654248 w 1313607"/>
                <a:gd name="connsiteY2893" fmla="*/ 2155264 h 2768823"/>
                <a:gd name="connsiteX2894" fmla="*/ 653310 w 1313607"/>
                <a:gd name="connsiteY2894" fmla="*/ 2155052 h 2768823"/>
                <a:gd name="connsiteX2895" fmla="*/ 652403 w 1313607"/>
                <a:gd name="connsiteY2895" fmla="*/ 2154598 h 2768823"/>
                <a:gd name="connsiteX2896" fmla="*/ 651586 w 1313607"/>
                <a:gd name="connsiteY2896" fmla="*/ 2153842 h 2768823"/>
                <a:gd name="connsiteX2897" fmla="*/ 650799 w 1313607"/>
                <a:gd name="connsiteY2897" fmla="*/ 2152813 h 2768823"/>
                <a:gd name="connsiteX2898" fmla="*/ 651253 w 1313607"/>
                <a:gd name="connsiteY2898" fmla="*/ 2152027 h 2768823"/>
                <a:gd name="connsiteX2899" fmla="*/ 651737 w 1313607"/>
                <a:gd name="connsiteY2899" fmla="*/ 2151361 h 2768823"/>
                <a:gd name="connsiteX2900" fmla="*/ 651737 w 1313607"/>
                <a:gd name="connsiteY2900" fmla="*/ 2151361 h 2768823"/>
                <a:gd name="connsiteX2901" fmla="*/ 652856 w 1313607"/>
                <a:gd name="connsiteY2901" fmla="*/ 2150302 h 2768823"/>
                <a:gd name="connsiteX2902" fmla="*/ 653824 w 1313607"/>
                <a:gd name="connsiteY2902" fmla="*/ 2151179 h 2768823"/>
                <a:gd name="connsiteX2903" fmla="*/ 654550 w 1313607"/>
                <a:gd name="connsiteY2903" fmla="*/ 2148548 h 2768823"/>
                <a:gd name="connsiteX2904" fmla="*/ 655276 w 1313607"/>
                <a:gd name="connsiteY2904" fmla="*/ 2144645 h 2768823"/>
                <a:gd name="connsiteX2905" fmla="*/ 656305 w 1313607"/>
                <a:gd name="connsiteY2905" fmla="*/ 2141832 h 2768823"/>
                <a:gd name="connsiteX2906" fmla="*/ 654581 w 1313607"/>
                <a:gd name="connsiteY2906" fmla="*/ 2139321 h 2768823"/>
                <a:gd name="connsiteX2907" fmla="*/ 654762 w 1313607"/>
                <a:gd name="connsiteY2907" fmla="*/ 2135903 h 2768823"/>
                <a:gd name="connsiteX2908" fmla="*/ 655185 w 1313607"/>
                <a:gd name="connsiteY2908" fmla="*/ 2132061 h 2768823"/>
                <a:gd name="connsiteX2909" fmla="*/ 654248 w 1313607"/>
                <a:gd name="connsiteY2909" fmla="*/ 2128249 h 2768823"/>
                <a:gd name="connsiteX2910" fmla="*/ 656275 w 1313607"/>
                <a:gd name="connsiteY2910" fmla="*/ 2127220 h 2768823"/>
                <a:gd name="connsiteX2911" fmla="*/ 657908 w 1313607"/>
                <a:gd name="connsiteY2911" fmla="*/ 2125708 h 2768823"/>
                <a:gd name="connsiteX2912" fmla="*/ 659300 w 1313607"/>
                <a:gd name="connsiteY2912" fmla="*/ 2123620 h 2768823"/>
                <a:gd name="connsiteX2913" fmla="*/ 660510 w 1313607"/>
                <a:gd name="connsiteY2913" fmla="*/ 2120898 h 2768823"/>
                <a:gd name="connsiteX2914" fmla="*/ 659088 w 1313607"/>
                <a:gd name="connsiteY2914" fmla="*/ 2114757 h 2768823"/>
                <a:gd name="connsiteX2915" fmla="*/ 660147 w 1313607"/>
                <a:gd name="connsiteY2915" fmla="*/ 2115937 h 2768823"/>
                <a:gd name="connsiteX2916" fmla="*/ 661296 w 1313607"/>
                <a:gd name="connsiteY2916" fmla="*/ 2117540 h 2768823"/>
                <a:gd name="connsiteX2917" fmla="*/ 662204 w 1313607"/>
                <a:gd name="connsiteY2917" fmla="*/ 2119446 h 2768823"/>
                <a:gd name="connsiteX2918" fmla="*/ 662567 w 1313607"/>
                <a:gd name="connsiteY2918" fmla="*/ 2121503 h 2768823"/>
                <a:gd name="connsiteX2919" fmla="*/ 662083 w 1313607"/>
                <a:gd name="connsiteY2919" fmla="*/ 2123923 h 2768823"/>
                <a:gd name="connsiteX2920" fmla="*/ 660056 w 1313607"/>
                <a:gd name="connsiteY2920" fmla="*/ 2127977 h 2768823"/>
                <a:gd name="connsiteX2921" fmla="*/ 659753 w 1313607"/>
                <a:gd name="connsiteY2921" fmla="*/ 2130609 h 2768823"/>
                <a:gd name="connsiteX2922" fmla="*/ 663323 w 1313607"/>
                <a:gd name="connsiteY2922" fmla="*/ 2134844 h 2768823"/>
                <a:gd name="connsiteX2923" fmla="*/ 664231 w 1313607"/>
                <a:gd name="connsiteY2923" fmla="*/ 2135630 h 2768823"/>
                <a:gd name="connsiteX2924" fmla="*/ 665320 w 1313607"/>
                <a:gd name="connsiteY2924" fmla="*/ 2134511 h 2768823"/>
                <a:gd name="connsiteX2925" fmla="*/ 665834 w 1313607"/>
                <a:gd name="connsiteY2925" fmla="*/ 2131879 h 2768823"/>
                <a:gd name="connsiteX2926" fmla="*/ 665985 w 1313607"/>
                <a:gd name="connsiteY2926" fmla="*/ 2126283 h 2768823"/>
                <a:gd name="connsiteX2927" fmla="*/ 666470 w 1313607"/>
                <a:gd name="connsiteY2927" fmla="*/ 2124528 h 2768823"/>
                <a:gd name="connsiteX2928" fmla="*/ 667679 w 1313607"/>
                <a:gd name="connsiteY2928" fmla="*/ 2123046 h 2768823"/>
                <a:gd name="connsiteX2929" fmla="*/ 669041 w 1313607"/>
                <a:gd name="connsiteY2929" fmla="*/ 2122471 h 2768823"/>
                <a:gd name="connsiteX2930" fmla="*/ 670100 w 1313607"/>
                <a:gd name="connsiteY2930" fmla="*/ 2123439 h 2768823"/>
                <a:gd name="connsiteX2931" fmla="*/ 670100 w 1313607"/>
                <a:gd name="connsiteY2931" fmla="*/ 2125526 h 2768823"/>
                <a:gd name="connsiteX2932" fmla="*/ 668829 w 1313607"/>
                <a:gd name="connsiteY2932" fmla="*/ 2129792 h 2768823"/>
                <a:gd name="connsiteX2933" fmla="*/ 669071 w 1313607"/>
                <a:gd name="connsiteY2933" fmla="*/ 2130609 h 2768823"/>
                <a:gd name="connsiteX2934" fmla="*/ 669252 w 1313607"/>
                <a:gd name="connsiteY2934" fmla="*/ 2133029 h 2768823"/>
                <a:gd name="connsiteX2935" fmla="*/ 669313 w 1313607"/>
                <a:gd name="connsiteY2935" fmla="*/ 2138474 h 2768823"/>
                <a:gd name="connsiteX2936" fmla="*/ 668799 w 1313607"/>
                <a:gd name="connsiteY2936" fmla="*/ 2143980 h 2768823"/>
                <a:gd name="connsiteX2937" fmla="*/ 667377 w 1313607"/>
                <a:gd name="connsiteY2937" fmla="*/ 2146672 h 2768823"/>
                <a:gd name="connsiteX2938" fmla="*/ 667377 w 1313607"/>
                <a:gd name="connsiteY2938" fmla="*/ 2148003 h 2768823"/>
                <a:gd name="connsiteX2939" fmla="*/ 668436 w 1313607"/>
                <a:gd name="connsiteY2939" fmla="*/ 2151391 h 2768823"/>
                <a:gd name="connsiteX2940" fmla="*/ 667922 w 1313607"/>
                <a:gd name="connsiteY2940" fmla="*/ 2155415 h 2768823"/>
                <a:gd name="connsiteX2941" fmla="*/ 668163 w 1313607"/>
                <a:gd name="connsiteY2941" fmla="*/ 2158773 h 2768823"/>
                <a:gd name="connsiteX2942" fmla="*/ 671552 w 1313607"/>
                <a:gd name="connsiteY2942" fmla="*/ 2160225 h 2768823"/>
                <a:gd name="connsiteX2943" fmla="*/ 671158 w 1313607"/>
                <a:gd name="connsiteY2943" fmla="*/ 2161526 h 2768823"/>
                <a:gd name="connsiteX2944" fmla="*/ 670795 w 1313607"/>
                <a:gd name="connsiteY2944" fmla="*/ 2163583 h 2768823"/>
                <a:gd name="connsiteX2945" fmla="*/ 670704 w 1313607"/>
                <a:gd name="connsiteY2945" fmla="*/ 2165489 h 2768823"/>
                <a:gd name="connsiteX2946" fmla="*/ 671189 w 1313607"/>
                <a:gd name="connsiteY2946" fmla="*/ 2166335 h 2768823"/>
                <a:gd name="connsiteX2947" fmla="*/ 671884 w 1313607"/>
                <a:gd name="connsiteY2947" fmla="*/ 2165852 h 2768823"/>
                <a:gd name="connsiteX2948" fmla="*/ 672459 w 1313607"/>
                <a:gd name="connsiteY2948" fmla="*/ 2164672 h 2768823"/>
                <a:gd name="connsiteX2949" fmla="*/ 673609 w 1313607"/>
                <a:gd name="connsiteY2949" fmla="*/ 2161556 h 2768823"/>
                <a:gd name="connsiteX2950" fmla="*/ 672005 w 1313607"/>
                <a:gd name="connsiteY2950" fmla="*/ 2158470 h 2768823"/>
                <a:gd name="connsiteX2951" fmla="*/ 670826 w 1313607"/>
                <a:gd name="connsiteY2951" fmla="*/ 2154568 h 2768823"/>
                <a:gd name="connsiteX2952" fmla="*/ 670614 w 1313607"/>
                <a:gd name="connsiteY2952" fmla="*/ 2152148 h 2768823"/>
                <a:gd name="connsiteX2953" fmla="*/ 671884 w 1313607"/>
                <a:gd name="connsiteY2953" fmla="*/ 2153418 h 2768823"/>
                <a:gd name="connsiteX2954" fmla="*/ 673790 w 1313607"/>
                <a:gd name="connsiteY2954" fmla="*/ 2156958 h 2768823"/>
                <a:gd name="connsiteX2955" fmla="*/ 674758 w 1313607"/>
                <a:gd name="connsiteY2955" fmla="*/ 2157986 h 2768823"/>
                <a:gd name="connsiteX2956" fmla="*/ 676361 w 1313607"/>
                <a:gd name="connsiteY2956" fmla="*/ 2159015 h 2768823"/>
                <a:gd name="connsiteX2957" fmla="*/ 677058 w 1313607"/>
                <a:gd name="connsiteY2957" fmla="*/ 2159015 h 2768823"/>
                <a:gd name="connsiteX2958" fmla="*/ 677753 w 1313607"/>
                <a:gd name="connsiteY2958" fmla="*/ 2158621 h 2768823"/>
                <a:gd name="connsiteX2959" fmla="*/ 678510 w 1313607"/>
                <a:gd name="connsiteY2959" fmla="*/ 2158621 h 2768823"/>
                <a:gd name="connsiteX2960" fmla="*/ 679447 w 1313607"/>
                <a:gd name="connsiteY2960" fmla="*/ 2159620 h 2768823"/>
                <a:gd name="connsiteX2961" fmla="*/ 679780 w 1313607"/>
                <a:gd name="connsiteY2961" fmla="*/ 2160346 h 2768823"/>
                <a:gd name="connsiteX2962" fmla="*/ 680506 w 1313607"/>
                <a:gd name="connsiteY2962" fmla="*/ 2162675 h 2768823"/>
                <a:gd name="connsiteX2963" fmla="*/ 679840 w 1313607"/>
                <a:gd name="connsiteY2963" fmla="*/ 2165035 h 2768823"/>
                <a:gd name="connsiteX2964" fmla="*/ 680264 w 1313607"/>
                <a:gd name="connsiteY2964" fmla="*/ 2167152 h 2768823"/>
                <a:gd name="connsiteX2965" fmla="*/ 681323 w 1313607"/>
                <a:gd name="connsiteY2965" fmla="*/ 2168846 h 2768823"/>
                <a:gd name="connsiteX2966" fmla="*/ 682624 w 1313607"/>
                <a:gd name="connsiteY2966" fmla="*/ 2169996 h 2768823"/>
                <a:gd name="connsiteX2967" fmla="*/ 682624 w 1313607"/>
                <a:gd name="connsiteY2967" fmla="*/ 2164853 h 2768823"/>
                <a:gd name="connsiteX2968" fmla="*/ 682775 w 1313607"/>
                <a:gd name="connsiteY2968" fmla="*/ 2162433 h 2768823"/>
                <a:gd name="connsiteX2969" fmla="*/ 683319 w 1313607"/>
                <a:gd name="connsiteY2969" fmla="*/ 2160225 h 2768823"/>
                <a:gd name="connsiteX2970" fmla="*/ 684620 w 1313607"/>
                <a:gd name="connsiteY2970" fmla="*/ 2161284 h 2768823"/>
                <a:gd name="connsiteX2971" fmla="*/ 686435 w 1313607"/>
                <a:gd name="connsiteY2971" fmla="*/ 2161284 h 2768823"/>
                <a:gd name="connsiteX2972" fmla="*/ 688220 w 1313607"/>
                <a:gd name="connsiteY2972" fmla="*/ 2160406 h 2768823"/>
                <a:gd name="connsiteX2973" fmla="*/ 689521 w 1313607"/>
                <a:gd name="connsiteY2973" fmla="*/ 2159015 h 2768823"/>
                <a:gd name="connsiteX2974" fmla="*/ 690459 w 1313607"/>
                <a:gd name="connsiteY2974" fmla="*/ 2156595 h 2768823"/>
                <a:gd name="connsiteX2975" fmla="*/ 690277 w 1313607"/>
                <a:gd name="connsiteY2975" fmla="*/ 2155142 h 2768823"/>
                <a:gd name="connsiteX2976" fmla="*/ 689702 w 1313607"/>
                <a:gd name="connsiteY2976" fmla="*/ 2153781 h 2768823"/>
                <a:gd name="connsiteX2977" fmla="*/ 689551 w 1313607"/>
                <a:gd name="connsiteY2977" fmla="*/ 2151664 h 2768823"/>
                <a:gd name="connsiteX2978" fmla="*/ 691185 w 1313607"/>
                <a:gd name="connsiteY2978" fmla="*/ 2147519 h 2768823"/>
                <a:gd name="connsiteX2979" fmla="*/ 693786 w 1313607"/>
                <a:gd name="connsiteY2979" fmla="*/ 2144040 h 2768823"/>
                <a:gd name="connsiteX2980" fmla="*/ 695329 w 1313607"/>
                <a:gd name="connsiteY2980" fmla="*/ 2141015 h 2768823"/>
                <a:gd name="connsiteX2981" fmla="*/ 693726 w 1313607"/>
                <a:gd name="connsiteY2981" fmla="*/ 2138202 h 2768823"/>
                <a:gd name="connsiteX2982" fmla="*/ 694845 w 1313607"/>
                <a:gd name="connsiteY2982" fmla="*/ 2137052 h 2768823"/>
                <a:gd name="connsiteX2983" fmla="*/ 696055 w 1313607"/>
                <a:gd name="connsiteY2983" fmla="*/ 2136961 h 2768823"/>
                <a:gd name="connsiteX2984" fmla="*/ 698566 w 1313607"/>
                <a:gd name="connsiteY2984" fmla="*/ 2138171 h 2768823"/>
                <a:gd name="connsiteX2985" fmla="*/ 698354 w 1313607"/>
                <a:gd name="connsiteY2985" fmla="*/ 2137355 h 2768823"/>
                <a:gd name="connsiteX2986" fmla="*/ 698022 w 1313607"/>
                <a:gd name="connsiteY2986" fmla="*/ 2135267 h 2768823"/>
                <a:gd name="connsiteX2987" fmla="*/ 697840 w 1313607"/>
                <a:gd name="connsiteY2987" fmla="*/ 2134390 h 2768823"/>
                <a:gd name="connsiteX2988" fmla="*/ 703165 w 1313607"/>
                <a:gd name="connsiteY2988" fmla="*/ 2134632 h 2768823"/>
                <a:gd name="connsiteX2989" fmla="*/ 704435 w 1313607"/>
                <a:gd name="connsiteY2989" fmla="*/ 2133785 h 2768823"/>
                <a:gd name="connsiteX2990" fmla="*/ 706583 w 1313607"/>
                <a:gd name="connsiteY2990" fmla="*/ 2129489 h 2768823"/>
                <a:gd name="connsiteX2991" fmla="*/ 707460 w 1313607"/>
                <a:gd name="connsiteY2991" fmla="*/ 2128279 h 2768823"/>
                <a:gd name="connsiteX2992" fmla="*/ 708791 w 1313607"/>
                <a:gd name="connsiteY2992" fmla="*/ 2127644 h 2768823"/>
                <a:gd name="connsiteX2993" fmla="*/ 712149 w 1313607"/>
                <a:gd name="connsiteY2993" fmla="*/ 2127281 h 2768823"/>
                <a:gd name="connsiteX2994" fmla="*/ 713390 w 1313607"/>
                <a:gd name="connsiteY2994" fmla="*/ 2126313 h 2768823"/>
                <a:gd name="connsiteX2995" fmla="*/ 714630 w 1313607"/>
                <a:gd name="connsiteY2995" fmla="*/ 2124619 h 2768823"/>
                <a:gd name="connsiteX2996" fmla="*/ 716051 w 1313607"/>
                <a:gd name="connsiteY2996" fmla="*/ 2123651 h 2768823"/>
                <a:gd name="connsiteX2997" fmla="*/ 717564 w 1313607"/>
                <a:gd name="connsiteY2997" fmla="*/ 2123288 h 2768823"/>
                <a:gd name="connsiteX2998" fmla="*/ 719228 w 1313607"/>
                <a:gd name="connsiteY2998" fmla="*/ 2123469 h 2768823"/>
                <a:gd name="connsiteX2999" fmla="*/ 719228 w 1313607"/>
                <a:gd name="connsiteY2999" fmla="*/ 2124589 h 2768823"/>
                <a:gd name="connsiteX3000" fmla="*/ 718502 w 1313607"/>
                <a:gd name="connsiteY3000" fmla="*/ 2125072 h 2768823"/>
                <a:gd name="connsiteX3001" fmla="*/ 717836 w 1313607"/>
                <a:gd name="connsiteY3001" fmla="*/ 2125708 h 2768823"/>
                <a:gd name="connsiteX3002" fmla="*/ 719198 w 1313607"/>
                <a:gd name="connsiteY3002" fmla="*/ 2126948 h 2768823"/>
                <a:gd name="connsiteX3003" fmla="*/ 717867 w 1313607"/>
                <a:gd name="connsiteY3003" fmla="*/ 2128007 h 2768823"/>
                <a:gd name="connsiteX3004" fmla="*/ 715083 w 1313607"/>
                <a:gd name="connsiteY3004" fmla="*/ 2129580 h 2768823"/>
                <a:gd name="connsiteX3005" fmla="*/ 713722 w 1313607"/>
                <a:gd name="connsiteY3005" fmla="*/ 2130639 h 2768823"/>
                <a:gd name="connsiteX3006" fmla="*/ 716687 w 1313607"/>
                <a:gd name="connsiteY3006" fmla="*/ 2130003 h 2768823"/>
                <a:gd name="connsiteX3007" fmla="*/ 726125 w 1313607"/>
                <a:gd name="connsiteY3007" fmla="*/ 2125708 h 2768823"/>
                <a:gd name="connsiteX3008" fmla="*/ 725641 w 1313607"/>
                <a:gd name="connsiteY3008" fmla="*/ 2124195 h 2768823"/>
                <a:gd name="connsiteX3009" fmla="*/ 724824 w 1313607"/>
                <a:gd name="connsiteY3009" fmla="*/ 2123378 h 2768823"/>
                <a:gd name="connsiteX3010" fmla="*/ 723826 w 1313607"/>
                <a:gd name="connsiteY3010" fmla="*/ 2123167 h 2768823"/>
                <a:gd name="connsiteX3011" fmla="*/ 722677 w 1313607"/>
                <a:gd name="connsiteY3011" fmla="*/ 2123469 h 2768823"/>
                <a:gd name="connsiteX3012" fmla="*/ 724431 w 1313607"/>
                <a:gd name="connsiteY3012" fmla="*/ 2121533 h 2768823"/>
                <a:gd name="connsiteX3013" fmla="*/ 728061 w 1313607"/>
                <a:gd name="connsiteY3013" fmla="*/ 2119658 h 2768823"/>
                <a:gd name="connsiteX3014" fmla="*/ 731843 w 1313607"/>
                <a:gd name="connsiteY3014" fmla="*/ 2118569 h 2768823"/>
                <a:gd name="connsiteX3015" fmla="*/ 734021 w 1313607"/>
                <a:gd name="connsiteY3015" fmla="*/ 2119022 h 2768823"/>
                <a:gd name="connsiteX3016" fmla="*/ 735140 w 1313607"/>
                <a:gd name="connsiteY3016" fmla="*/ 2119990 h 2768823"/>
                <a:gd name="connsiteX3017" fmla="*/ 736138 w 1313607"/>
                <a:gd name="connsiteY3017" fmla="*/ 2119295 h 2768823"/>
                <a:gd name="connsiteX3018" fmla="*/ 736864 w 1313607"/>
                <a:gd name="connsiteY3018" fmla="*/ 2117570 h 2768823"/>
                <a:gd name="connsiteX3019" fmla="*/ 737137 w 1313607"/>
                <a:gd name="connsiteY3019" fmla="*/ 2115453 h 2768823"/>
                <a:gd name="connsiteX3020" fmla="*/ 736683 w 1313607"/>
                <a:gd name="connsiteY3020" fmla="*/ 2113758 h 2768823"/>
                <a:gd name="connsiteX3021" fmla="*/ 735594 w 1313607"/>
                <a:gd name="connsiteY3021" fmla="*/ 2113668 h 2768823"/>
                <a:gd name="connsiteX3022" fmla="*/ 732932 w 1313607"/>
                <a:gd name="connsiteY3022" fmla="*/ 2114787 h 2768823"/>
                <a:gd name="connsiteX3023" fmla="*/ 732932 w 1313607"/>
                <a:gd name="connsiteY3023" fmla="*/ 2113547 h 2768823"/>
                <a:gd name="connsiteX3024" fmla="*/ 733446 w 1313607"/>
                <a:gd name="connsiteY3024" fmla="*/ 2112942 h 2768823"/>
                <a:gd name="connsiteX3025" fmla="*/ 733749 w 1313607"/>
                <a:gd name="connsiteY3025" fmla="*/ 2112397 h 2768823"/>
                <a:gd name="connsiteX3026" fmla="*/ 733960 w 1313607"/>
                <a:gd name="connsiteY3026" fmla="*/ 2111792 h 2768823"/>
                <a:gd name="connsiteX3027" fmla="*/ 734323 w 1313607"/>
                <a:gd name="connsiteY3027" fmla="*/ 2111096 h 2768823"/>
                <a:gd name="connsiteX3028" fmla="*/ 732387 w 1313607"/>
                <a:gd name="connsiteY3028" fmla="*/ 2112246 h 2768823"/>
                <a:gd name="connsiteX3029" fmla="*/ 731450 w 1313607"/>
                <a:gd name="connsiteY3029" fmla="*/ 2110764 h 2768823"/>
                <a:gd name="connsiteX3030" fmla="*/ 730905 w 1313607"/>
                <a:gd name="connsiteY3030" fmla="*/ 2108555 h 2768823"/>
                <a:gd name="connsiteX3031" fmla="*/ 730179 w 1313607"/>
                <a:gd name="connsiteY3031" fmla="*/ 2107406 h 2768823"/>
                <a:gd name="connsiteX3032" fmla="*/ 728697 w 1313607"/>
                <a:gd name="connsiteY3032" fmla="*/ 2107224 h 2768823"/>
                <a:gd name="connsiteX3033" fmla="*/ 726549 w 1313607"/>
                <a:gd name="connsiteY3033" fmla="*/ 2106529 h 2768823"/>
                <a:gd name="connsiteX3034" fmla="*/ 724945 w 1313607"/>
                <a:gd name="connsiteY3034" fmla="*/ 2105197 h 2768823"/>
                <a:gd name="connsiteX3035" fmla="*/ 724945 w 1313607"/>
                <a:gd name="connsiteY3035" fmla="*/ 2103050 h 2768823"/>
                <a:gd name="connsiteX3036" fmla="*/ 727184 w 1313607"/>
                <a:gd name="connsiteY3036" fmla="*/ 2102717 h 2768823"/>
                <a:gd name="connsiteX3037" fmla="*/ 736350 w 1313607"/>
                <a:gd name="connsiteY3037" fmla="*/ 2109765 h 2768823"/>
                <a:gd name="connsiteX3038" fmla="*/ 734898 w 1313607"/>
                <a:gd name="connsiteY3038" fmla="*/ 2106468 h 2768823"/>
                <a:gd name="connsiteX3039" fmla="*/ 732478 w 1313607"/>
                <a:gd name="connsiteY3039" fmla="*/ 2103715 h 2768823"/>
                <a:gd name="connsiteX3040" fmla="*/ 729786 w 1313607"/>
                <a:gd name="connsiteY3040" fmla="*/ 2101809 h 2768823"/>
                <a:gd name="connsiteX3041" fmla="*/ 727426 w 1313607"/>
                <a:gd name="connsiteY3041" fmla="*/ 2101113 h 2768823"/>
                <a:gd name="connsiteX3042" fmla="*/ 721557 w 1313607"/>
                <a:gd name="connsiteY3042" fmla="*/ 2098028 h 2768823"/>
                <a:gd name="connsiteX3043" fmla="*/ 720922 w 1313607"/>
                <a:gd name="connsiteY3043" fmla="*/ 2095759 h 2768823"/>
                <a:gd name="connsiteX3044" fmla="*/ 721920 w 1313607"/>
                <a:gd name="connsiteY3044" fmla="*/ 2094912 h 2768823"/>
                <a:gd name="connsiteX3045" fmla="*/ 725339 w 1313607"/>
                <a:gd name="connsiteY3045" fmla="*/ 2094912 h 2768823"/>
                <a:gd name="connsiteX3046" fmla="*/ 725339 w 1313607"/>
                <a:gd name="connsiteY3046" fmla="*/ 2093702 h 2768823"/>
                <a:gd name="connsiteX3047" fmla="*/ 724582 w 1313607"/>
                <a:gd name="connsiteY3047" fmla="*/ 2092280 h 2768823"/>
                <a:gd name="connsiteX3048" fmla="*/ 723644 w 1313607"/>
                <a:gd name="connsiteY3048" fmla="*/ 2090858 h 2768823"/>
                <a:gd name="connsiteX3049" fmla="*/ 722495 w 1313607"/>
                <a:gd name="connsiteY3049" fmla="*/ 2089588 h 2768823"/>
                <a:gd name="connsiteX3050" fmla="*/ 721194 w 1313607"/>
                <a:gd name="connsiteY3050" fmla="*/ 2088741 h 2768823"/>
                <a:gd name="connsiteX3051" fmla="*/ 722737 w 1313607"/>
                <a:gd name="connsiteY3051" fmla="*/ 2086986 h 2768823"/>
                <a:gd name="connsiteX3052" fmla="*/ 724370 w 1313607"/>
                <a:gd name="connsiteY3052" fmla="*/ 2085625 h 2768823"/>
                <a:gd name="connsiteX3053" fmla="*/ 726125 w 1313607"/>
                <a:gd name="connsiteY3053" fmla="*/ 2084868 h 2768823"/>
                <a:gd name="connsiteX3054" fmla="*/ 728122 w 1313607"/>
                <a:gd name="connsiteY3054" fmla="*/ 2084929 h 2768823"/>
                <a:gd name="connsiteX3055" fmla="*/ 727910 w 1313607"/>
                <a:gd name="connsiteY3055" fmla="*/ 2085746 h 2768823"/>
                <a:gd name="connsiteX3056" fmla="*/ 727608 w 1313607"/>
                <a:gd name="connsiteY3056" fmla="*/ 2087893 h 2768823"/>
                <a:gd name="connsiteX3057" fmla="*/ 727426 w 1313607"/>
                <a:gd name="connsiteY3057" fmla="*/ 2088741 h 2768823"/>
                <a:gd name="connsiteX3058" fmla="*/ 730088 w 1313607"/>
                <a:gd name="connsiteY3058" fmla="*/ 2089890 h 2768823"/>
                <a:gd name="connsiteX3059" fmla="*/ 738468 w 1313607"/>
                <a:gd name="connsiteY3059" fmla="*/ 2088741 h 2768823"/>
                <a:gd name="connsiteX3060" fmla="*/ 739829 w 1313607"/>
                <a:gd name="connsiteY3060" fmla="*/ 2088831 h 2768823"/>
                <a:gd name="connsiteX3061" fmla="*/ 742733 w 1313607"/>
                <a:gd name="connsiteY3061" fmla="*/ 2089678 h 2768823"/>
                <a:gd name="connsiteX3062" fmla="*/ 743974 w 1313607"/>
                <a:gd name="connsiteY3062" fmla="*/ 2090556 h 2768823"/>
                <a:gd name="connsiteX3063" fmla="*/ 745668 w 1313607"/>
                <a:gd name="connsiteY3063" fmla="*/ 2091403 h 2768823"/>
                <a:gd name="connsiteX3064" fmla="*/ 747301 w 1313607"/>
                <a:gd name="connsiteY3064" fmla="*/ 2091070 h 2768823"/>
                <a:gd name="connsiteX3065" fmla="*/ 748905 w 1313607"/>
                <a:gd name="connsiteY3065" fmla="*/ 2090314 h 2768823"/>
                <a:gd name="connsiteX3066" fmla="*/ 750508 w 1313607"/>
                <a:gd name="connsiteY3066" fmla="*/ 2089890 h 2768823"/>
                <a:gd name="connsiteX3067" fmla="*/ 755771 w 1313607"/>
                <a:gd name="connsiteY3067" fmla="*/ 2089618 h 2768823"/>
                <a:gd name="connsiteX3068" fmla="*/ 757708 w 1313607"/>
                <a:gd name="connsiteY3068" fmla="*/ 2088378 h 2768823"/>
                <a:gd name="connsiteX3069" fmla="*/ 758464 w 1313607"/>
                <a:gd name="connsiteY3069" fmla="*/ 2085625 h 2768823"/>
                <a:gd name="connsiteX3070" fmla="*/ 757072 w 1313607"/>
                <a:gd name="connsiteY3070" fmla="*/ 2082599 h 2768823"/>
                <a:gd name="connsiteX3071" fmla="*/ 753896 w 1313607"/>
                <a:gd name="connsiteY3071" fmla="*/ 2080996 h 2768823"/>
                <a:gd name="connsiteX3072" fmla="*/ 750417 w 1313607"/>
                <a:gd name="connsiteY3072" fmla="*/ 2079998 h 2768823"/>
                <a:gd name="connsiteX3073" fmla="*/ 748148 w 1313607"/>
                <a:gd name="connsiteY3073" fmla="*/ 2078757 h 2768823"/>
                <a:gd name="connsiteX3074" fmla="*/ 750114 w 1313607"/>
                <a:gd name="connsiteY3074" fmla="*/ 2079000 h 2768823"/>
                <a:gd name="connsiteX3075" fmla="*/ 752141 w 1313607"/>
                <a:gd name="connsiteY3075" fmla="*/ 2079816 h 2768823"/>
                <a:gd name="connsiteX3076" fmla="*/ 753866 w 1313607"/>
                <a:gd name="connsiteY3076" fmla="*/ 2079816 h 2768823"/>
                <a:gd name="connsiteX3077" fmla="*/ 755045 w 1313607"/>
                <a:gd name="connsiteY3077" fmla="*/ 2077548 h 2768823"/>
                <a:gd name="connsiteX3078" fmla="*/ 748179 w 1313607"/>
                <a:gd name="connsiteY3078" fmla="*/ 2073827 h 2768823"/>
                <a:gd name="connsiteX3079" fmla="*/ 747997 w 1313607"/>
                <a:gd name="connsiteY3079" fmla="*/ 2073131 h 2768823"/>
                <a:gd name="connsiteX3080" fmla="*/ 747604 w 1313607"/>
                <a:gd name="connsiteY3080" fmla="*/ 2070711 h 2768823"/>
                <a:gd name="connsiteX3081" fmla="*/ 747452 w 1313607"/>
                <a:gd name="connsiteY3081" fmla="*/ 2070075 h 2768823"/>
                <a:gd name="connsiteX3082" fmla="*/ 744851 w 1313607"/>
                <a:gd name="connsiteY3082" fmla="*/ 2067867 h 2768823"/>
                <a:gd name="connsiteX3083" fmla="*/ 742219 w 1313607"/>
                <a:gd name="connsiteY3083" fmla="*/ 2066748 h 2768823"/>
                <a:gd name="connsiteX3084" fmla="*/ 736411 w 1313607"/>
                <a:gd name="connsiteY3084" fmla="*/ 2066354 h 2768823"/>
                <a:gd name="connsiteX3085" fmla="*/ 737500 w 1313607"/>
                <a:gd name="connsiteY3085" fmla="*/ 2069470 h 2768823"/>
                <a:gd name="connsiteX3086" fmla="*/ 739345 w 1313607"/>
                <a:gd name="connsiteY3086" fmla="*/ 2071225 h 2768823"/>
                <a:gd name="connsiteX3087" fmla="*/ 743368 w 1313607"/>
                <a:gd name="connsiteY3087" fmla="*/ 2073796 h 2768823"/>
                <a:gd name="connsiteX3088" fmla="*/ 738559 w 1313607"/>
                <a:gd name="connsiteY3088" fmla="*/ 2073796 h 2768823"/>
                <a:gd name="connsiteX3089" fmla="*/ 739285 w 1313607"/>
                <a:gd name="connsiteY3089" fmla="*/ 2076307 h 2768823"/>
                <a:gd name="connsiteX3090" fmla="*/ 742007 w 1313607"/>
                <a:gd name="connsiteY3090" fmla="*/ 2082448 h 2768823"/>
                <a:gd name="connsiteX3091" fmla="*/ 740797 w 1313607"/>
                <a:gd name="connsiteY3091" fmla="*/ 2084384 h 2768823"/>
                <a:gd name="connsiteX3092" fmla="*/ 739466 w 1313607"/>
                <a:gd name="connsiteY3092" fmla="*/ 2084717 h 2768823"/>
                <a:gd name="connsiteX3093" fmla="*/ 736441 w 1313607"/>
                <a:gd name="connsiteY3093" fmla="*/ 2083840 h 2768823"/>
                <a:gd name="connsiteX3094" fmla="*/ 736985 w 1313607"/>
                <a:gd name="connsiteY3094" fmla="*/ 2083295 h 2768823"/>
                <a:gd name="connsiteX3095" fmla="*/ 737984 w 1313607"/>
                <a:gd name="connsiteY3095" fmla="*/ 2081964 h 2768823"/>
                <a:gd name="connsiteX3096" fmla="*/ 738559 w 1313607"/>
                <a:gd name="connsiteY3096" fmla="*/ 2081390 h 2768823"/>
                <a:gd name="connsiteX3097" fmla="*/ 732720 w 1313607"/>
                <a:gd name="connsiteY3097" fmla="*/ 2078576 h 2768823"/>
                <a:gd name="connsiteX3098" fmla="*/ 725520 w 1313607"/>
                <a:gd name="connsiteY3098" fmla="*/ 2077396 h 2768823"/>
                <a:gd name="connsiteX3099" fmla="*/ 719137 w 1313607"/>
                <a:gd name="connsiteY3099" fmla="*/ 2079786 h 2768823"/>
                <a:gd name="connsiteX3100" fmla="*/ 715688 w 1313607"/>
                <a:gd name="connsiteY3100" fmla="*/ 2087591 h 2768823"/>
                <a:gd name="connsiteX3101" fmla="*/ 715083 w 1313607"/>
                <a:gd name="connsiteY3101" fmla="*/ 2087591 h 2768823"/>
                <a:gd name="connsiteX3102" fmla="*/ 714357 w 1313607"/>
                <a:gd name="connsiteY3102" fmla="*/ 2085262 h 2768823"/>
                <a:gd name="connsiteX3103" fmla="*/ 713299 w 1313607"/>
                <a:gd name="connsiteY3103" fmla="*/ 2084989 h 2768823"/>
                <a:gd name="connsiteX3104" fmla="*/ 710909 w 1313607"/>
                <a:gd name="connsiteY3104" fmla="*/ 2086381 h 2768823"/>
                <a:gd name="connsiteX3105" fmla="*/ 703104 w 1313607"/>
                <a:gd name="connsiteY3105" fmla="*/ 2086381 h 2768823"/>
                <a:gd name="connsiteX3106" fmla="*/ 703104 w 1313607"/>
                <a:gd name="connsiteY3106" fmla="*/ 2084233 h 2768823"/>
                <a:gd name="connsiteX3107" fmla="*/ 704647 w 1313607"/>
                <a:gd name="connsiteY3107" fmla="*/ 2084657 h 2768823"/>
                <a:gd name="connsiteX3108" fmla="*/ 708247 w 1313607"/>
                <a:gd name="connsiteY3108" fmla="*/ 2083900 h 2768823"/>
                <a:gd name="connsiteX3109" fmla="*/ 694422 w 1313607"/>
                <a:gd name="connsiteY3109" fmla="*/ 2071528 h 2768823"/>
                <a:gd name="connsiteX3110" fmla="*/ 695632 w 1313607"/>
                <a:gd name="connsiteY3110" fmla="*/ 2071951 h 2768823"/>
                <a:gd name="connsiteX3111" fmla="*/ 697810 w 1313607"/>
                <a:gd name="connsiteY3111" fmla="*/ 2073524 h 2768823"/>
                <a:gd name="connsiteX3112" fmla="*/ 698960 w 1313607"/>
                <a:gd name="connsiteY3112" fmla="*/ 2073857 h 2768823"/>
                <a:gd name="connsiteX3113" fmla="*/ 700109 w 1313607"/>
                <a:gd name="connsiteY3113" fmla="*/ 2073554 h 2768823"/>
                <a:gd name="connsiteX3114" fmla="*/ 703437 w 1313607"/>
                <a:gd name="connsiteY3114" fmla="*/ 2071497 h 2768823"/>
                <a:gd name="connsiteX3115" fmla="*/ 702650 w 1313607"/>
                <a:gd name="connsiteY3115" fmla="*/ 2070136 h 2768823"/>
                <a:gd name="connsiteX3116" fmla="*/ 702045 w 1313607"/>
                <a:gd name="connsiteY3116" fmla="*/ 2067988 h 2768823"/>
                <a:gd name="connsiteX3117" fmla="*/ 702045 w 1313607"/>
                <a:gd name="connsiteY3117" fmla="*/ 2065961 h 2768823"/>
                <a:gd name="connsiteX3118" fmla="*/ 703104 w 1313607"/>
                <a:gd name="connsiteY3118" fmla="*/ 2065084 h 2768823"/>
                <a:gd name="connsiteX3119" fmla="*/ 703739 w 1313607"/>
                <a:gd name="connsiteY3119" fmla="*/ 2064721 h 2768823"/>
                <a:gd name="connsiteX3120" fmla="*/ 704949 w 1313607"/>
                <a:gd name="connsiteY3120" fmla="*/ 2063118 h 2768823"/>
                <a:gd name="connsiteX3121" fmla="*/ 705494 w 1313607"/>
                <a:gd name="connsiteY3121" fmla="*/ 2062694 h 2768823"/>
                <a:gd name="connsiteX3122" fmla="*/ 706250 w 1313607"/>
                <a:gd name="connsiteY3122" fmla="*/ 2062997 h 2768823"/>
                <a:gd name="connsiteX3123" fmla="*/ 707399 w 1313607"/>
                <a:gd name="connsiteY3123" fmla="*/ 2064660 h 2768823"/>
                <a:gd name="connsiteX3124" fmla="*/ 708186 w 1313607"/>
                <a:gd name="connsiteY3124" fmla="*/ 2065054 h 2768823"/>
                <a:gd name="connsiteX3125" fmla="*/ 709578 w 1313607"/>
                <a:gd name="connsiteY3125" fmla="*/ 2064479 h 2768823"/>
                <a:gd name="connsiteX3126" fmla="*/ 711816 w 1313607"/>
                <a:gd name="connsiteY3126" fmla="*/ 2062452 h 2768823"/>
                <a:gd name="connsiteX3127" fmla="*/ 713087 w 1313607"/>
                <a:gd name="connsiteY3127" fmla="*/ 2062664 h 2768823"/>
                <a:gd name="connsiteX3128" fmla="*/ 713631 w 1313607"/>
                <a:gd name="connsiteY3128" fmla="*/ 2063783 h 2768823"/>
                <a:gd name="connsiteX3129" fmla="*/ 714085 w 1313607"/>
                <a:gd name="connsiteY3129" fmla="*/ 2067474 h 2768823"/>
                <a:gd name="connsiteX3130" fmla="*/ 714418 w 1313607"/>
                <a:gd name="connsiteY3130" fmla="*/ 2069017 h 2768823"/>
                <a:gd name="connsiteX3131" fmla="*/ 713238 w 1313607"/>
                <a:gd name="connsiteY3131" fmla="*/ 2068109 h 2768823"/>
                <a:gd name="connsiteX3132" fmla="*/ 711967 w 1313607"/>
                <a:gd name="connsiteY3132" fmla="*/ 2067958 h 2768823"/>
                <a:gd name="connsiteX3133" fmla="*/ 710727 w 1313607"/>
                <a:gd name="connsiteY3133" fmla="*/ 2068321 h 2768823"/>
                <a:gd name="connsiteX3134" fmla="*/ 709578 w 1313607"/>
                <a:gd name="connsiteY3134" fmla="*/ 2069017 h 2768823"/>
                <a:gd name="connsiteX3135" fmla="*/ 712542 w 1313607"/>
                <a:gd name="connsiteY3135" fmla="*/ 2071709 h 2768823"/>
                <a:gd name="connsiteX3136" fmla="*/ 718502 w 1313607"/>
                <a:gd name="connsiteY3136" fmla="*/ 2073463 h 2768823"/>
                <a:gd name="connsiteX3137" fmla="*/ 724492 w 1313607"/>
                <a:gd name="connsiteY3137" fmla="*/ 2073615 h 2768823"/>
                <a:gd name="connsiteX3138" fmla="*/ 727577 w 1313607"/>
                <a:gd name="connsiteY3138" fmla="*/ 2071497 h 2768823"/>
                <a:gd name="connsiteX3139" fmla="*/ 725550 w 1313607"/>
                <a:gd name="connsiteY3139" fmla="*/ 2071285 h 2768823"/>
                <a:gd name="connsiteX3140" fmla="*/ 723070 w 1313607"/>
                <a:gd name="connsiteY3140" fmla="*/ 2070499 h 2768823"/>
                <a:gd name="connsiteX3141" fmla="*/ 721436 w 1313607"/>
                <a:gd name="connsiteY3141" fmla="*/ 2068956 h 2768823"/>
                <a:gd name="connsiteX3142" fmla="*/ 722041 w 1313607"/>
                <a:gd name="connsiteY3142" fmla="*/ 2066445 h 2768823"/>
                <a:gd name="connsiteX3143" fmla="*/ 720438 w 1313607"/>
                <a:gd name="connsiteY3143" fmla="*/ 2064933 h 2768823"/>
                <a:gd name="connsiteX3144" fmla="*/ 718593 w 1313607"/>
                <a:gd name="connsiteY3144" fmla="*/ 2063965 h 2768823"/>
                <a:gd name="connsiteX3145" fmla="*/ 719984 w 1313607"/>
                <a:gd name="connsiteY3145" fmla="*/ 2063541 h 2768823"/>
                <a:gd name="connsiteX3146" fmla="*/ 722707 w 1313607"/>
                <a:gd name="connsiteY3146" fmla="*/ 2063874 h 2768823"/>
                <a:gd name="connsiteX3147" fmla="*/ 724098 w 1313607"/>
                <a:gd name="connsiteY3147" fmla="*/ 2062724 h 2768823"/>
                <a:gd name="connsiteX3148" fmla="*/ 720680 w 1313607"/>
                <a:gd name="connsiteY3148" fmla="*/ 2060244 h 2768823"/>
                <a:gd name="connsiteX3149" fmla="*/ 720680 w 1313607"/>
                <a:gd name="connsiteY3149" fmla="*/ 2059003 h 2768823"/>
                <a:gd name="connsiteX3150" fmla="*/ 728334 w 1313607"/>
                <a:gd name="connsiteY3150" fmla="*/ 2059790 h 2768823"/>
                <a:gd name="connsiteX3151" fmla="*/ 731813 w 1313607"/>
                <a:gd name="connsiteY3151" fmla="*/ 2059185 h 2768823"/>
                <a:gd name="connsiteX3152" fmla="*/ 735170 w 1313607"/>
                <a:gd name="connsiteY3152" fmla="*/ 2056523 h 2768823"/>
                <a:gd name="connsiteX3153" fmla="*/ 739678 w 1313607"/>
                <a:gd name="connsiteY3153" fmla="*/ 2050896 h 2768823"/>
                <a:gd name="connsiteX3154" fmla="*/ 742310 w 1313607"/>
                <a:gd name="connsiteY3154" fmla="*/ 2048627 h 2768823"/>
                <a:gd name="connsiteX3155" fmla="*/ 747997 w 1313607"/>
                <a:gd name="connsiteY3155" fmla="*/ 2046540 h 2768823"/>
                <a:gd name="connsiteX3156" fmla="*/ 753684 w 1313607"/>
                <a:gd name="connsiteY3156" fmla="*/ 2041397 h 2768823"/>
                <a:gd name="connsiteX3157" fmla="*/ 757980 w 1313607"/>
                <a:gd name="connsiteY3157" fmla="*/ 2039642 h 2768823"/>
                <a:gd name="connsiteX3158" fmla="*/ 760430 w 1313607"/>
                <a:gd name="connsiteY3158" fmla="*/ 2037071 h 2768823"/>
                <a:gd name="connsiteX3159" fmla="*/ 761701 w 1313607"/>
                <a:gd name="connsiteY3159" fmla="*/ 2036496 h 2768823"/>
                <a:gd name="connsiteX3160" fmla="*/ 762639 w 1313607"/>
                <a:gd name="connsiteY3160" fmla="*/ 2035619 h 2768823"/>
                <a:gd name="connsiteX3161" fmla="*/ 761943 w 1313607"/>
                <a:gd name="connsiteY3161" fmla="*/ 2033622 h 2768823"/>
                <a:gd name="connsiteX3162" fmla="*/ 759946 w 1313607"/>
                <a:gd name="connsiteY3162" fmla="*/ 2030174 h 2768823"/>
                <a:gd name="connsiteX3163" fmla="*/ 761217 w 1313607"/>
                <a:gd name="connsiteY3163" fmla="*/ 2030265 h 2768823"/>
                <a:gd name="connsiteX3164" fmla="*/ 762155 w 1313607"/>
                <a:gd name="connsiteY3164" fmla="*/ 2031202 h 2768823"/>
                <a:gd name="connsiteX3165" fmla="*/ 762971 w 1313607"/>
                <a:gd name="connsiteY3165" fmla="*/ 2032261 h 2768823"/>
                <a:gd name="connsiteX3166" fmla="*/ 764000 w 1313607"/>
                <a:gd name="connsiteY3166" fmla="*/ 2032775 h 2768823"/>
                <a:gd name="connsiteX3167" fmla="*/ 764998 w 1313607"/>
                <a:gd name="connsiteY3167" fmla="*/ 2032201 h 2768823"/>
                <a:gd name="connsiteX3168" fmla="*/ 766330 w 1313607"/>
                <a:gd name="connsiteY3168" fmla="*/ 2030809 h 2768823"/>
                <a:gd name="connsiteX3169" fmla="*/ 767539 w 1313607"/>
                <a:gd name="connsiteY3169" fmla="*/ 2029115 h 2768823"/>
                <a:gd name="connsiteX3170" fmla="*/ 768175 w 1313607"/>
                <a:gd name="connsiteY3170" fmla="*/ 2027663 h 2768823"/>
                <a:gd name="connsiteX3171" fmla="*/ 763304 w 1313607"/>
                <a:gd name="connsiteY3171" fmla="*/ 2027663 h 2768823"/>
                <a:gd name="connsiteX3172" fmla="*/ 764151 w 1313607"/>
                <a:gd name="connsiteY3172" fmla="*/ 2027088 h 2768823"/>
                <a:gd name="connsiteX3173" fmla="*/ 764817 w 1313607"/>
                <a:gd name="connsiteY3173" fmla="*/ 2026211 h 2768823"/>
                <a:gd name="connsiteX3174" fmla="*/ 765240 w 1313607"/>
                <a:gd name="connsiteY3174" fmla="*/ 2024940 h 2768823"/>
                <a:gd name="connsiteX3175" fmla="*/ 765392 w 1313607"/>
                <a:gd name="connsiteY3175" fmla="*/ 2023307 h 2768823"/>
                <a:gd name="connsiteX3176" fmla="*/ 765996 w 1313607"/>
                <a:gd name="connsiteY3176" fmla="*/ 2022853 h 2768823"/>
                <a:gd name="connsiteX3177" fmla="*/ 769597 w 1313607"/>
                <a:gd name="connsiteY3177" fmla="*/ 2022671 h 2768823"/>
                <a:gd name="connsiteX3178" fmla="*/ 769808 w 1313607"/>
                <a:gd name="connsiteY3178" fmla="*/ 2020040 h 2768823"/>
                <a:gd name="connsiteX3179" fmla="*/ 772168 w 1313607"/>
                <a:gd name="connsiteY3179" fmla="*/ 2018134 h 2768823"/>
                <a:gd name="connsiteX3180" fmla="*/ 779640 w 1313607"/>
                <a:gd name="connsiteY3180" fmla="*/ 2016016 h 2768823"/>
                <a:gd name="connsiteX3181" fmla="*/ 782090 w 1313607"/>
                <a:gd name="connsiteY3181" fmla="*/ 2014473 h 2768823"/>
                <a:gd name="connsiteX3182" fmla="*/ 784268 w 1313607"/>
                <a:gd name="connsiteY3182" fmla="*/ 2012053 h 2768823"/>
                <a:gd name="connsiteX3183" fmla="*/ 785479 w 1313607"/>
                <a:gd name="connsiteY3183" fmla="*/ 2008907 h 2768823"/>
                <a:gd name="connsiteX3184" fmla="*/ 786235 w 1313607"/>
                <a:gd name="connsiteY3184" fmla="*/ 2009905 h 2768823"/>
                <a:gd name="connsiteX3185" fmla="*/ 787324 w 1313607"/>
                <a:gd name="connsiteY3185" fmla="*/ 2012658 h 2768823"/>
                <a:gd name="connsiteX3186" fmla="*/ 788292 w 1313607"/>
                <a:gd name="connsiteY3186" fmla="*/ 2014050 h 2768823"/>
                <a:gd name="connsiteX3187" fmla="*/ 789865 w 1313607"/>
                <a:gd name="connsiteY3187" fmla="*/ 2014897 h 2768823"/>
                <a:gd name="connsiteX3188" fmla="*/ 791740 w 1313607"/>
                <a:gd name="connsiteY3188" fmla="*/ 2014897 h 2768823"/>
                <a:gd name="connsiteX3189" fmla="*/ 797851 w 1313607"/>
                <a:gd name="connsiteY3189" fmla="*/ 2013203 h 2768823"/>
                <a:gd name="connsiteX3190" fmla="*/ 800060 w 1313607"/>
                <a:gd name="connsiteY3190" fmla="*/ 2011811 h 2768823"/>
                <a:gd name="connsiteX3191" fmla="*/ 801724 w 1313607"/>
                <a:gd name="connsiteY3191" fmla="*/ 2009331 h 2768823"/>
                <a:gd name="connsiteX3192" fmla="*/ 802782 w 1313607"/>
                <a:gd name="connsiteY3192" fmla="*/ 2005186 h 2768823"/>
                <a:gd name="connsiteX3193" fmla="*/ 798457 w 1313607"/>
                <a:gd name="connsiteY3193" fmla="*/ 2002826 h 2768823"/>
                <a:gd name="connsiteX3194" fmla="*/ 773076 w 1313607"/>
                <a:gd name="connsiteY3194" fmla="*/ 2003915 h 2768823"/>
                <a:gd name="connsiteX3195" fmla="*/ 769264 w 1313607"/>
                <a:gd name="connsiteY3195" fmla="*/ 2005791 h 2768823"/>
                <a:gd name="connsiteX3196" fmla="*/ 767419 w 1313607"/>
                <a:gd name="connsiteY3196" fmla="*/ 2005791 h 2768823"/>
                <a:gd name="connsiteX3197" fmla="*/ 767902 w 1313607"/>
                <a:gd name="connsiteY3197" fmla="*/ 2003220 h 2768823"/>
                <a:gd name="connsiteX3198" fmla="*/ 769506 w 1313607"/>
                <a:gd name="connsiteY3198" fmla="*/ 2001677 h 2768823"/>
                <a:gd name="connsiteX3199" fmla="*/ 771775 w 1313607"/>
                <a:gd name="connsiteY3199" fmla="*/ 2001193 h 2768823"/>
                <a:gd name="connsiteX3200" fmla="*/ 776161 w 1313607"/>
                <a:gd name="connsiteY3200" fmla="*/ 2001405 h 2768823"/>
                <a:gd name="connsiteX3201" fmla="*/ 778430 w 1313607"/>
                <a:gd name="connsiteY3201" fmla="*/ 2000890 h 2768823"/>
                <a:gd name="connsiteX3202" fmla="*/ 780275 w 1313607"/>
                <a:gd name="connsiteY3202" fmla="*/ 1999499 h 2768823"/>
                <a:gd name="connsiteX3203" fmla="*/ 786537 w 1313607"/>
                <a:gd name="connsiteY3203" fmla="*/ 1990454 h 2768823"/>
                <a:gd name="connsiteX3204" fmla="*/ 787687 w 1313607"/>
                <a:gd name="connsiteY3204" fmla="*/ 1987459 h 2768823"/>
                <a:gd name="connsiteX3205" fmla="*/ 787233 w 1313607"/>
                <a:gd name="connsiteY3205" fmla="*/ 1984313 h 2768823"/>
                <a:gd name="connsiteX3206" fmla="*/ 783754 w 1313607"/>
                <a:gd name="connsiteY3206" fmla="*/ 1978504 h 2768823"/>
                <a:gd name="connsiteX3207" fmla="*/ 782726 w 1313607"/>
                <a:gd name="connsiteY3207" fmla="*/ 1976114 h 2768823"/>
                <a:gd name="connsiteX3208" fmla="*/ 785811 w 1313607"/>
                <a:gd name="connsiteY3208" fmla="*/ 1977718 h 2768823"/>
                <a:gd name="connsiteX3209" fmla="*/ 789048 w 1313607"/>
                <a:gd name="connsiteY3209" fmla="*/ 1981650 h 2768823"/>
                <a:gd name="connsiteX3210" fmla="*/ 796308 w 1313607"/>
                <a:gd name="connsiteY3210" fmla="*/ 1992692 h 2768823"/>
                <a:gd name="connsiteX3211" fmla="*/ 797670 w 1313607"/>
                <a:gd name="connsiteY3211" fmla="*/ 1993630 h 2768823"/>
                <a:gd name="connsiteX3212" fmla="*/ 800998 w 1313607"/>
                <a:gd name="connsiteY3212" fmla="*/ 1993872 h 2768823"/>
                <a:gd name="connsiteX3213" fmla="*/ 800876 w 1313607"/>
                <a:gd name="connsiteY3213" fmla="*/ 1992359 h 2768823"/>
                <a:gd name="connsiteX3214" fmla="*/ 801028 w 1313607"/>
                <a:gd name="connsiteY3214" fmla="*/ 1985008 h 2768823"/>
                <a:gd name="connsiteX3215" fmla="*/ 801361 w 1313607"/>
                <a:gd name="connsiteY3215" fmla="*/ 1982346 h 2768823"/>
                <a:gd name="connsiteX3216" fmla="*/ 799636 w 1313607"/>
                <a:gd name="connsiteY3216" fmla="*/ 1981530 h 2768823"/>
                <a:gd name="connsiteX3217" fmla="*/ 797851 w 1313607"/>
                <a:gd name="connsiteY3217" fmla="*/ 1981197 h 2768823"/>
                <a:gd name="connsiteX3218" fmla="*/ 798063 w 1313607"/>
                <a:gd name="connsiteY3218" fmla="*/ 1982044 h 2768823"/>
                <a:gd name="connsiteX3219" fmla="*/ 798366 w 1313607"/>
                <a:gd name="connsiteY3219" fmla="*/ 1984101 h 2768823"/>
                <a:gd name="connsiteX3220" fmla="*/ 798547 w 1313607"/>
                <a:gd name="connsiteY3220" fmla="*/ 1984978 h 2768823"/>
                <a:gd name="connsiteX3221" fmla="*/ 797397 w 1313607"/>
                <a:gd name="connsiteY3221" fmla="*/ 1985069 h 2768823"/>
                <a:gd name="connsiteX3222" fmla="*/ 796641 w 1313607"/>
                <a:gd name="connsiteY3222" fmla="*/ 1984524 h 2768823"/>
                <a:gd name="connsiteX3223" fmla="*/ 795129 w 1313607"/>
                <a:gd name="connsiteY3223" fmla="*/ 1982346 h 2768823"/>
                <a:gd name="connsiteX3224" fmla="*/ 795068 w 1313607"/>
                <a:gd name="connsiteY3224" fmla="*/ 1981893 h 2768823"/>
                <a:gd name="connsiteX3225" fmla="*/ 795189 w 1313607"/>
                <a:gd name="connsiteY3225" fmla="*/ 1980380 h 2768823"/>
                <a:gd name="connsiteX3226" fmla="*/ 795129 w 1313607"/>
                <a:gd name="connsiteY3226" fmla="*/ 1979926 h 2768823"/>
                <a:gd name="connsiteX3227" fmla="*/ 794735 w 1313607"/>
                <a:gd name="connsiteY3227" fmla="*/ 1979472 h 2768823"/>
                <a:gd name="connsiteX3228" fmla="*/ 793041 w 1313607"/>
                <a:gd name="connsiteY3228" fmla="*/ 1978081 h 2768823"/>
                <a:gd name="connsiteX3229" fmla="*/ 790742 w 1313607"/>
                <a:gd name="connsiteY3229" fmla="*/ 1976719 h 2768823"/>
                <a:gd name="connsiteX3230" fmla="*/ 786356 w 1313607"/>
                <a:gd name="connsiteY3230" fmla="*/ 1975328 h 2768823"/>
                <a:gd name="connsiteX3231" fmla="*/ 784450 w 1313607"/>
                <a:gd name="connsiteY3231" fmla="*/ 1972938 h 2768823"/>
                <a:gd name="connsiteX3232" fmla="*/ 780941 w 1313607"/>
                <a:gd name="connsiteY3232" fmla="*/ 1964347 h 2768823"/>
                <a:gd name="connsiteX3233" fmla="*/ 776554 w 1313607"/>
                <a:gd name="connsiteY3233" fmla="*/ 1950552 h 2768823"/>
                <a:gd name="connsiteX3234" fmla="*/ 776070 w 1313607"/>
                <a:gd name="connsiteY3234" fmla="*/ 1948192 h 2768823"/>
                <a:gd name="connsiteX3235" fmla="*/ 775858 w 1313607"/>
                <a:gd name="connsiteY3235" fmla="*/ 1945076 h 2768823"/>
                <a:gd name="connsiteX3236" fmla="*/ 776131 w 1313607"/>
                <a:gd name="connsiteY3236" fmla="*/ 1942142 h 2768823"/>
                <a:gd name="connsiteX3237" fmla="*/ 775768 w 1313607"/>
                <a:gd name="connsiteY3237" fmla="*/ 1941416 h 2768823"/>
                <a:gd name="connsiteX3238" fmla="*/ 774406 w 1313607"/>
                <a:gd name="connsiteY3238" fmla="*/ 1940660 h 2768823"/>
                <a:gd name="connsiteX3239" fmla="*/ 770625 w 1313607"/>
                <a:gd name="connsiteY3239" fmla="*/ 1942626 h 2768823"/>
                <a:gd name="connsiteX3240" fmla="*/ 769355 w 1313607"/>
                <a:gd name="connsiteY3240" fmla="*/ 1947981 h 2768823"/>
                <a:gd name="connsiteX3241" fmla="*/ 770292 w 1313607"/>
                <a:gd name="connsiteY3241" fmla="*/ 1952821 h 2768823"/>
                <a:gd name="connsiteX3242" fmla="*/ 772198 w 1313607"/>
                <a:gd name="connsiteY3242" fmla="*/ 1957480 h 2768823"/>
                <a:gd name="connsiteX3243" fmla="*/ 773741 w 1313607"/>
                <a:gd name="connsiteY3243" fmla="*/ 1962259 h 2768823"/>
                <a:gd name="connsiteX3244" fmla="*/ 772954 w 1313607"/>
                <a:gd name="connsiteY3244" fmla="*/ 1959930 h 2768823"/>
                <a:gd name="connsiteX3245" fmla="*/ 768568 w 1313607"/>
                <a:gd name="connsiteY3245" fmla="*/ 1953970 h 2768823"/>
                <a:gd name="connsiteX3246" fmla="*/ 767902 w 1313607"/>
                <a:gd name="connsiteY3246" fmla="*/ 1951308 h 2768823"/>
                <a:gd name="connsiteX3247" fmla="*/ 768054 w 1313607"/>
                <a:gd name="connsiteY3247" fmla="*/ 1944895 h 2768823"/>
                <a:gd name="connsiteX3248" fmla="*/ 767570 w 1313607"/>
                <a:gd name="connsiteY3248" fmla="*/ 1941900 h 2768823"/>
                <a:gd name="connsiteX3249" fmla="*/ 766118 w 1313607"/>
                <a:gd name="connsiteY3249" fmla="*/ 1939813 h 2768823"/>
                <a:gd name="connsiteX3250" fmla="*/ 762608 w 1313607"/>
                <a:gd name="connsiteY3250" fmla="*/ 1938935 h 2768823"/>
                <a:gd name="connsiteX3251" fmla="*/ 759160 w 1313607"/>
                <a:gd name="connsiteY3251" fmla="*/ 1935699 h 2768823"/>
                <a:gd name="connsiteX3252" fmla="*/ 756588 w 1313607"/>
                <a:gd name="connsiteY3252" fmla="*/ 1935215 h 2768823"/>
                <a:gd name="connsiteX3253" fmla="*/ 753926 w 1313607"/>
                <a:gd name="connsiteY3253" fmla="*/ 1935699 h 2768823"/>
                <a:gd name="connsiteX3254" fmla="*/ 751778 w 1313607"/>
                <a:gd name="connsiteY3254" fmla="*/ 1936818 h 2768823"/>
                <a:gd name="connsiteX3255" fmla="*/ 752686 w 1313607"/>
                <a:gd name="connsiteY3255" fmla="*/ 1939541 h 2768823"/>
                <a:gd name="connsiteX3256" fmla="*/ 753049 w 1313607"/>
                <a:gd name="connsiteY3256" fmla="*/ 1943110 h 2768823"/>
                <a:gd name="connsiteX3257" fmla="*/ 752958 w 1313607"/>
                <a:gd name="connsiteY3257" fmla="*/ 1946710 h 2768823"/>
                <a:gd name="connsiteX3258" fmla="*/ 752414 w 1313607"/>
                <a:gd name="connsiteY3258" fmla="*/ 1949463 h 2768823"/>
                <a:gd name="connsiteX3259" fmla="*/ 751778 w 1313607"/>
                <a:gd name="connsiteY3259" fmla="*/ 1949463 h 2768823"/>
                <a:gd name="connsiteX3260" fmla="*/ 751294 w 1313607"/>
                <a:gd name="connsiteY3260" fmla="*/ 1946831 h 2768823"/>
                <a:gd name="connsiteX3261" fmla="*/ 749388 w 1313607"/>
                <a:gd name="connsiteY3261" fmla="*/ 1940660 h 2768823"/>
                <a:gd name="connsiteX3262" fmla="*/ 748935 w 1313607"/>
                <a:gd name="connsiteY3262" fmla="*/ 1939238 h 2768823"/>
                <a:gd name="connsiteX3263" fmla="*/ 748723 w 1313607"/>
                <a:gd name="connsiteY3263" fmla="*/ 1936485 h 2768823"/>
                <a:gd name="connsiteX3264" fmla="*/ 748723 w 1313607"/>
                <a:gd name="connsiteY3264" fmla="*/ 1931191 h 2768823"/>
                <a:gd name="connsiteX3265" fmla="*/ 748330 w 1313607"/>
                <a:gd name="connsiteY3265" fmla="*/ 1932673 h 2768823"/>
                <a:gd name="connsiteX3266" fmla="*/ 747422 w 1313607"/>
                <a:gd name="connsiteY3266" fmla="*/ 1933672 h 2768823"/>
                <a:gd name="connsiteX3267" fmla="*/ 746212 w 1313607"/>
                <a:gd name="connsiteY3267" fmla="*/ 1934247 h 2768823"/>
                <a:gd name="connsiteX3268" fmla="*/ 744518 w 1313607"/>
                <a:gd name="connsiteY3268" fmla="*/ 1934247 h 2768823"/>
                <a:gd name="connsiteX3269" fmla="*/ 743187 w 1313607"/>
                <a:gd name="connsiteY3269" fmla="*/ 1933339 h 2768823"/>
                <a:gd name="connsiteX3270" fmla="*/ 740706 w 1313607"/>
                <a:gd name="connsiteY3270" fmla="*/ 1930435 h 2768823"/>
                <a:gd name="connsiteX3271" fmla="*/ 735836 w 1313607"/>
                <a:gd name="connsiteY3271" fmla="*/ 1927228 h 2768823"/>
                <a:gd name="connsiteX3272" fmla="*/ 733809 w 1313607"/>
                <a:gd name="connsiteY3272" fmla="*/ 1924566 h 2768823"/>
                <a:gd name="connsiteX3273" fmla="*/ 733113 w 1313607"/>
                <a:gd name="connsiteY3273" fmla="*/ 1920028 h 2768823"/>
                <a:gd name="connsiteX3274" fmla="*/ 735594 w 1313607"/>
                <a:gd name="connsiteY3274" fmla="*/ 1923084 h 2768823"/>
                <a:gd name="connsiteX3275" fmla="*/ 736955 w 1313607"/>
                <a:gd name="connsiteY3275" fmla="*/ 1924082 h 2768823"/>
                <a:gd name="connsiteX3276" fmla="*/ 738680 w 1313607"/>
                <a:gd name="connsiteY3276" fmla="*/ 1923961 h 2768823"/>
                <a:gd name="connsiteX3277" fmla="*/ 735382 w 1313607"/>
                <a:gd name="connsiteY3277" fmla="*/ 1919484 h 2768823"/>
                <a:gd name="connsiteX3278" fmla="*/ 730844 w 1313607"/>
                <a:gd name="connsiteY3278" fmla="*/ 1915097 h 2768823"/>
                <a:gd name="connsiteX3279" fmla="*/ 726912 w 1313607"/>
                <a:gd name="connsiteY3279" fmla="*/ 1910045 h 2768823"/>
                <a:gd name="connsiteX3280" fmla="*/ 725520 w 1313607"/>
                <a:gd name="connsiteY3280" fmla="*/ 1903481 h 2768823"/>
                <a:gd name="connsiteX3281" fmla="*/ 730754 w 1313607"/>
                <a:gd name="connsiteY3281" fmla="*/ 1911316 h 2768823"/>
                <a:gd name="connsiteX3282" fmla="*/ 733900 w 1313607"/>
                <a:gd name="connsiteY3282" fmla="*/ 1914946 h 2768823"/>
                <a:gd name="connsiteX3283" fmla="*/ 750326 w 1313607"/>
                <a:gd name="connsiteY3283" fmla="*/ 1920906 h 2768823"/>
                <a:gd name="connsiteX3284" fmla="*/ 754471 w 1313607"/>
                <a:gd name="connsiteY3284" fmla="*/ 1918909 h 2768823"/>
                <a:gd name="connsiteX3285" fmla="*/ 750508 w 1313607"/>
                <a:gd name="connsiteY3285" fmla="*/ 1915007 h 2768823"/>
                <a:gd name="connsiteX3286" fmla="*/ 736562 w 1313607"/>
                <a:gd name="connsiteY3286" fmla="*/ 1910015 h 2768823"/>
                <a:gd name="connsiteX3287" fmla="*/ 737711 w 1313607"/>
                <a:gd name="connsiteY3287" fmla="*/ 1908926 h 2768823"/>
                <a:gd name="connsiteX3288" fmla="*/ 738891 w 1313607"/>
                <a:gd name="connsiteY3288" fmla="*/ 1908866 h 2768823"/>
                <a:gd name="connsiteX3289" fmla="*/ 740132 w 1313607"/>
                <a:gd name="connsiteY3289" fmla="*/ 1909077 h 2768823"/>
                <a:gd name="connsiteX3290" fmla="*/ 741372 w 1313607"/>
                <a:gd name="connsiteY3290" fmla="*/ 1908745 h 2768823"/>
                <a:gd name="connsiteX3291" fmla="*/ 741372 w 1313607"/>
                <a:gd name="connsiteY3291" fmla="*/ 1907474 h 2768823"/>
                <a:gd name="connsiteX3292" fmla="*/ 739103 w 1313607"/>
                <a:gd name="connsiteY3292" fmla="*/ 1905508 h 2768823"/>
                <a:gd name="connsiteX3293" fmla="*/ 738680 w 1313607"/>
                <a:gd name="connsiteY3293" fmla="*/ 1904903 h 2768823"/>
                <a:gd name="connsiteX3294" fmla="*/ 738498 w 1313607"/>
                <a:gd name="connsiteY3294" fmla="*/ 1903541 h 2768823"/>
                <a:gd name="connsiteX3295" fmla="*/ 738498 w 1313607"/>
                <a:gd name="connsiteY3295" fmla="*/ 1901757 h 2768823"/>
                <a:gd name="connsiteX3296" fmla="*/ 738559 w 1313607"/>
                <a:gd name="connsiteY3296" fmla="*/ 1900244 h 2768823"/>
                <a:gd name="connsiteX3297" fmla="*/ 738680 w 1313607"/>
                <a:gd name="connsiteY3297" fmla="*/ 1899669 h 2768823"/>
                <a:gd name="connsiteX3298" fmla="*/ 736683 w 1313607"/>
                <a:gd name="connsiteY3298" fmla="*/ 1898278 h 2768823"/>
                <a:gd name="connsiteX3299" fmla="*/ 729664 w 1313607"/>
                <a:gd name="connsiteY3299" fmla="*/ 1898489 h 2768823"/>
                <a:gd name="connsiteX3300" fmla="*/ 726428 w 1313607"/>
                <a:gd name="connsiteY3300" fmla="*/ 1897007 h 2768823"/>
                <a:gd name="connsiteX3301" fmla="*/ 725127 w 1313607"/>
                <a:gd name="connsiteY3301" fmla="*/ 1896735 h 2768823"/>
                <a:gd name="connsiteX3302" fmla="*/ 723403 w 1313607"/>
                <a:gd name="connsiteY3302" fmla="*/ 1897098 h 2768823"/>
                <a:gd name="connsiteX3303" fmla="*/ 721497 w 1313607"/>
                <a:gd name="connsiteY3303" fmla="*/ 1898157 h 2768823"/>
                <a:gd name="connsiteX3304" fmla="*/ 718804 w 1313607"/>
                <a:gd name="connsiteY3304" fmla="*/ 1901030 h 2768823"/>
                <a:gd name="connsiteX3305" fmla="*/ 717201 w 1313607"/>
                <a:gd name="connsiteY3305" fmla="*/ 1902331 h 2768823"/>
                <a:gd name="connsiteX3306" fmla="*/ 716505 w 1313607"/>
                <a:gd name="connsiteY3306" fmla="*/ 1901091 h 2768823"/>
                <a:gd name="connsiteX3307" fmla="*/ 715809 w 1313607"/>
                <a:gd name="connsiteY3307" fmla="*/ 1900123 h 2768823"/>
                <a:gd name="connsiteX3308" fmla="*/ 714388 w 1313607"/>
                <a:gd name="connsiteY3308" fmla="*/ 1898520 h 2768823"/>
                <a:gd name="connsiteX3309" fmla="*/ 714388 w 1313607"/>
                <a:gd name="connsiteY3309" fmla="*/ 1897128 h 2768823"/>
                <a:gd name="connsiteX3310" fmla="*/ 715688 w 1313607"/>
                <a:gd name="connsiteY3310" fmla="*/ 1895525 h 2768823"/>
                <a:gd name="connsiteX3311" fmla="*/ 718260 w 1313607"/>
                <a:gd name="connsiteY3311" fmla="*/ 1893044 h 2768823"/>
                <a:gd name="connsiteX3312" fmla="*/ 719954 w 1313607"/>
                <a:gd name="connsiteY3312" fmla="*/ 1892015 h 2768823"/>
                <a:gd name="connsiteX3313" fmla="*/ 711544 w 1313607"/>
                <a:gd name="connsiteY3313" fmla="*/ 1888930 h 2768823"/>
                <a:gd name="connsiteX3314" fmla="*/ 707974 w 1313607"/>
                <a:gd name="connsiteY3314" fmla="*/ 1886177 h 2768823"/>
                <a:gd name="connsiteX3315" fmla="*/ 704828 w 1313607"/>
                <a:gd name="connsiteY3315" fmla="*/ 1881790 h 2768823"/>
                <a:gd name="connsiteX3316" fmla="*/ 704495 w 1313607"/>
                <a:gd name="connsiteY3316" fmla="*/ 1880762 h 2768823"/>
                <a:gd name="connsiteX3317" fmla="*/ 703860 w 1313607"/>
                <a:gd name="connsiteY3317" fmla="*/ 1877676 h 2768823"/>
                <a:gd name="connsiteX3318" fmla="*/ 703437 w 1313607"/>
                <a:gd name="connsiteY3318" fmla="*/ 1876557 h 2768823"/>
                <a:gd name="connsiteX3319" fmla="*/ 699988 w 1313607"/>
                <a:gd name="connsiteY3319" fmla="*/ 1874107 h 2768823"/>
                <a:gd name="connsiteX3320" fmla="*/ 695390 w 1313607"/>
                <a:gd name="connsiteY3320" fmla="*/ 1869539 h 2768823"/>
                <a:gd name="connsiteX3321" fmla="*/ 692879 w 1313607"/>
                <a:gd name="connsiteY3321" fmla="*/ 1867905 h 2768823"/>
                <a:gd name="connsiteX3322" fmla="*/ 690277 w 1313607"/>
                <a:gd name="connsiteY3322" fmla="*/ 1867693 h 2768823"/>
                <a:gd name="connsiteX3323" fmla="*/ 690277 w 1313607"/>
                <a:gd name="connsiteY3323" fmla="*/ 1866423 h 2768823"/>
                <a:gd name="connsiteX3324" fmla="*/ 691427 w 1313607"/>
                <a:gd name="connsiteY3324" fmla="*/ 1865606 h 2768823"/>
                <a:gd name="connsiteX3325" fmla="*/ 692304 w 1313607"/>
                <a:gd name="connsiteY3325" fmla="*/ 1864214 h 2768823"/>
                <a:gd name="connsiteX3326" fmla="*/ 692909 w 1313607"/>
                <a:gd name="connsiteY3326" fmla="*/ 1862309 h 2768823"/>
                <a:gd name="connsiteX3327" fmla="*/ 693091 w 1313607"/>
                <a:gd name="connsiteY3327" fmla="*/ 1860040 h 2768823"/>
                <a:gd name="connsiteX3328" fmla="*/ 691034 w 1313607"/>
                <a:gd name="connsiteY3328" fmla="*/ 1853505 h 2768823"/>
                <a:gd name="connsiteX3329" fmla="*/ 688402 w 1313607"/>
                <a:gd name="connsiteY3329" fmla="*/ 1851358 h 2768823"/>
                <a:gd name="connsiteX3330" fmla="*/ 685377 w 1313607"/>
                <a:gd name="connsiteY3330" fmla="*/ 1851176 h 2768823"/>
                <a:gd name="connsiteX3331" fmla="*/ 675061 w 1313607"/>
                <a:gd name="connsiteY3331" fmla="*/ 1853989 h 2768823"/>
                <a:gd name="connsiteX3332" fmla="*/ 669615 w 1313607"/>
                <a:gd name="connsiteY3332" fmla="*/ 1858134 h 2768823"/>
                <a:gd name="connsiteX3333" fmla="*/ 666076 w 1313607"/>
                <a:gd name="connsiteY3333" fmla="*/ 1863519 h 2768823"/>
                <a:gd name="connsiteX3334" fmla="*/ 667528 w 1313607"/>
                <a:gd name="connsiteY3334" fmla="*/ 1868934 h 2768823"/>
                <a:gd name="connsiteX3335" fmla="*/ 667528 w 1313607"/>
                <a:gd name="connsiteY3335" fmla="*/ 1870325 h 2768823"/>
                <a:gd name="connsiteX3336" fmla="*/ 660389 w 1313607"/>
                <a:gd name="connsiteY3336" fmla="*/ 1869266 h 2768823"/>
                <a:gd name="connsiteX3337" fmla="*/ 657122 w 1313607"/>
                <a:gd name="connsiteY3337" fmla="*/ 1867119 h 2768823"/>
                <a:gd name="connsiteX3338" fmla="*/ 655760 w 1313607"/>
                <a:gd name="connsiteY3338" fmla="*/ 1863186 h 2768823"/>
                <a:gd name="connsiteX3339" fmla="*/ 655428 w 1313607"/>
                <a:gd name="connsiteY3339" fmla="*/ 1861159 h 2768823"/>
                <a:gd name="connsiteX3340" fmla="*/ 653976 w 1313607"/>
                <a:gd name="connsiteY3340" fmla="*/ 1856924 h 2768823"/>
                <a:gd name="connsiteX3341" fmla="*/ 653643 w 1313607"/>
                <a:gd name="connsiteY3341" fmla="*/ 1854171 h 2768823"/>
                <a:gd name="connsiteX3342" fmla="*/ 654369 w 1313607"/>
                <a:gd name="connsiteY3342" fmla="*/ 1853354 h 2768823"/>
                <a:gd name="connsiteX3343" fmla="*/ 657938 w 1313607"/>
                <a:gd name="connsiteY3343" fmla="*/ 1851267 h 2768823"/>
                <a:gd name="connsiteX3344" fmla="*/ 659179 w 1313607"/>
                <a:gd name="connsiteY3344" fmla="*/ 1849603 h 2768823"/>
                <a:gd name="connsiteX3345" fmla="*/ 657817 w 1313607"/>
                <a:gd name="connsiteY3345" fmla="*/ 1847667 h 2768823"/>
                <a:gd name="connsiteX3346" fmla="*/ 654096 w 1313607"/>
                <a:gd name="connsiteY3346" fmla="*/ 1845428 h 2768823"/>
                <a:gd name="connsiteX3347" fmla="*/ 652644 w 1313607"/>
                <a:gd name="connsiteY3347" fmla="*/ 1843734 h 2768823"/>
                <a:gd name="connsiteX3348" fmla="*/ 650739 w 1313607"/>
                <a:gd name="connsiteY3348" fmla="*/ 1842131 h 2768823"/>
                <a:gd name="connsiteX3349" fmla="*/ 647925 w 1313607"/>
                <a:gd name="connsiteY3349" fmla="*/ 1841889 h 2768823"/>
                <a:gd name="connsiteX3350" fmla="*/ 634524 w 1313607"/>
                <a:gd name="connsiteY3350" fmla="*/ 1844006 h 2768823"/>
                <a:gd name="connsiteX3351" fmla="*/ 632709 w 1313607"/>
                <a:gd name="connsiteY3351" fmla="*/ 1845095 h 2768823"/>
                <a:gd name="connsiteX3352" fmla="*/ 631136 w 1313607"/>
                <a:gd name="connsiteY3352" fmla="*/ 1846578 h 2768823"/>
                <a:gd name="connsiteX3353" fmla="*/ 630773 w 1313607"/>
                <a:gd name="connsiteY3353" fmla="*/ 1846669 h 2768823"/>
                <a:gd name="connsiteX3354" fmla="*/ 629078 w 1313607"/>
                <a:gd name="connsiteY3354" fmla="*/ 1847122 h 2768823"/>
                <a:gd name="connsiteX3355" fmla="*/ 627022 w 1313607"/>
                <a:gd name="connsiteY3355" fmla="*/ 1846850 h 2768823"/>
                <a:gd name="connsiteX3356" fmla="*/ 625418 w 1313607"/>
                <a:gd name="connsiteY3356" fmla="*/ 1845761 h 2768823"/>
                <a:gd name="connsiteX3357" fmla="*/ 625418 w 1313607"/>
                <a:gd name="connsiteY3357" fmla="*/ 1844460 h 2768823"/>
                <a:gd name="connsiteX3358" fmla="*/ 629532 w 1313607"/>
                <a:gd name="connsiteY3358" fmla="*/ 1841889 h 2768823"/>
                <a:gd name="connsiteX3359" fmla="*/ 624057 w 1313607"/>
                <a:gd name="connsiteY3359" fmla="*/ 1837412 h 2768823"/>
                <a:gd name="connsiteX3360" fmla="*/ 620790 w 1313607"/>
                <a:gd name="connsiteY3360" fmla="*/ 1836111 h 2768823"/>
                <a:gd name="connsiteX3361" fmla="*/ 618763 w 1313607"/>
                <a:gd name="connsiteY3361" fmla="*/ 1833358 h 2768823"/>
                <a:gd name="connsiteX3362" fmla="*/ 616766 w 1313607"/>
                <a:gd name="connsiteY3362" fmla="*/ 1832723 h 2768823"/>
                <a:gd name="connsiteX3363" fmla="*/ 615708 w 1313607"/>
                <a:gd name="connsiteY3363" fmla="*/ 1832965 h 2768823"/>
                <a:gd name="connsiteX3364" fmla="*/ 613439 w 1313607"/>
                <a:gd name="connsiteY3364" fmla="*/ 1833933 h 2768823"/>
                <a:gd name="connsiteX3365" fmla="*/ 612229 w 1313607"/>
                <a:gd name="connsiteY3365" fmla="*/ 1834144 h 2768823"/>
                <a:gd name="connsiteX3366" fmla="*/ 611563 w 1313607"/>
                <a:gd name="connsiteY3366" fmla="*/ 1833721 h 2768823"/>
                <a:gd name="connsiteX3367" fmla="*/ 611563 w 1313607"/>
                <a:gd name="connsiteY3367" fmla="*/ 1832844 h 2768823"/>
                <a:gd name="connsiteX3368" fmla="*/ 612017 w 1313607"/>
                <a:gd name="connsiteY3368" fmla="*/ 1831966 h 2768823"/>
                <a:gd name="connsiteX3369" fmla="*/ 614376 w 1313607"/>
                <a:gd name="connsiteY3369" fmla="*/ 1831119 h 2768823"/>
                <a:gd name="connsiteX3370" fmla="*/ 618158 w 1313607"/>
                <a:gd name="connsiteY3370" fmla="*/ 1828518 h 2768823"/>
                <a:gd name="connsiteX3371" fmla="*/ 620880 w 1313607"/>
                <a:gd name="connsiteY3371" fmla="*/ 1825432 h 2768823"/>
                <a:gd name="connsiteX3372" fmla="*/ 624148 w 1313607"/>
                <a:gd name="connsiteY3372" fmla="*/ 1823738 h 2768823"/>
                <a:gd name="connsiteX3373" fmla="*/ 625388 w 1313607"/>
                <a:gd name="connsiteY3373" fmla="*/ 1822407 h 2768823"/>
                <a:gd name="connsiteX3374" fmla="*/ 626598 w 1313607"/>
                <a:gd name="connsiteY3374" fmla="*/ 1819654 h 2768823"/>
                <a:gd name="connsiteX3375" fmla="*/ 626084 w 1313607"/>
                <a:gd name="connsiteY3375" fmla="*/ 1819019 h 2768823"/>
                <a:gd name="connsiteX3376" fmla="*/ 624541 w 1313607"/>
                <a:gd name="connsiteY3376" fmla="*/ 1819140 h 2768823"/>
                <a:gd name="connsiteX3377" fmla="*/ 622635 w 1313607"/>
                <a:gd name="connsiteY3377" fmla="*/ 1818565 h 2768823"/>
                <a:gd name="connsiteX3378" fmla="*/ 621274 w 1313607"/>
                <a:gd name="connsiteY3378" fmla="*/ 1816992 h 2768823"/>
                <a:gd name="connsiteX3379" fmla="*/ 621213 w 1313607"/>
                <a:gd name="connsiteY3379" fmla="*/ 1815358 h 2768823"/>
                <a:gd name="connsiteX3380" fmla="*/ 621486 w 1313607"/>
                <a:gd name="connsiteY3380" fmla="*/ 1813422 h 2768823"/>
                <a:gd name="connsiteX3381" fmla="*/ 621213 w 1313607"/>
                <a:gd name="connsiteY3381" fmla="*/ 1810942 h 2768823"/>
                <a:gd name="connsiteX3382" fmla="*/ 620487 w 1313607"/>
                <a:gd name="connsiteY3382" fmla="*/ 1810185 h 2768823"/>
                <a:gd name="connsiteX3383" fmla="*/ 619640 w 1313607"/>
                <a:gd name="connsiteY3383" fmla="*/ 1810579 h 2768823"/>
                <a:gd name="connsiteX3384" fmla="*/ 618884 w 1313607"/>
                <a:gd name="connsiteY3384" fmla="*/ 1810488 h 2768823"/>
                <a:gd name="connsiteX3385" fmla="*/ 618490 w 1313607"/>
                <a:gd name="connsiteY3385" fmla="*/ 1808249 h 2768823"/>
                <a:gd name="connsiteX3386" fmla="*/ 618733 w 1313607"/>
                <a:gd name="connsiteY3386" fmla="*/ 1807221 h 2768823"/>
                <a:gd name="connsiteX3387" fmla="*/ 619428 w 1313607"/>
                <a:gd name="connsiteY3387" fmla="*/ 1806434 h 2768823"/>
                <a:gd name="connsiteX3388" fmla="*/ 620336 w 1313607"/>
                <a:gd name="connsiteY3388" fmla="*/ 1805920 h 2768823"/>
                <a:gd name="connsiteX3389" fmla="*/ 621153 w 1313607"/>
                <a:gd name="connsiteY3389" fmla="*/ 1805678 h 2768823"/>
                <a:gd name="connsiteX3390" fmla="*/ 617523 w 1313607"/>
                <a:gd name="connsiteY3390" fmla="*/ 1794848 h 2768823"/>
                <a:gd name="connsiteX3391" fmla="*/ 617069 w 1313607"/>
                <a:gd name="connsiteY3391" fmla="*/ 1794001 h 2768823"/>
                <a:gd name="connsiteX3392" fmla="*/ 616192 w 1313607"/>
                <a:gd name="connsiteY3392" fmla="*/ 1793608 h 2768823"/>
                <a:gd name="connsiteX3393" fmla="*/ 614558 w 1313607"/>
                <a:gd name="connsiteY3393" fmla="*/ 1794606 h 2768823"/>
                <a:gd name="connsiteX3394" fmla="*/ 614256 w 1313607"/>
                <a:gd name="connsiteY3394" fmla="*/ 1794001 h 2768823"/>
                <a:gd name="connsiteX3395" fmla="*/ 613378 w 1313607"/>
                <a:gd name="connsiteY3395" fmla="*/ 1791702 h 2768823"/>
                <a:gd name="connsiteX3396" fmla="*/ 613106 w 1313607"/>
                <a:gd name="connsiteY3396" fmla="*/ 1790401 h 2768823"/>
                <a:gd name="connsiteX3397" fmla="*/ 613378 w 1313607"/>
                <a:gd name="connsiteY3397" fmla="*/ 1788041 h 2768823"/>
                <a:gd name="connsiteX3398" fmla="*/ 612622 w 1313607"/>
                <a:gd name="connsiteY3398" fmla="*/ 1787587 h 2768823"/>
                <a:gd name="connsiteX3399" fmla="*/ 610837 w 1313607"/>
                <a:gd name="connsiteY3399" fmla="*/ 1787406 h 2768823"/>
                <a:gd name="connsiteX3400" fmla="*/ 608689 w 1313607"/>
                <a:gd name="connsiteY3400" fmla="*/ 1785288 h 2768823"/>
                <a:gd name="connsiteX3401" fmla="*/ 608599 w 1313607"/>
                <a:gd name="connsiteY3401" fmla="*/ 1784532 h 2768823"/>
                <a:gd name="connsiteX3402" fmla="*/ 608719 w 1313607"/>
                <a:gd name="connsiteY3402" fmla="*/ 1782203 h 2768823"/>
                <a:gd name="connsiteX3403" fmla="*/ 609627 w 1313607"/>
                <a:gd name="connsiteY3403" fmla="*/ 1776939 h 2768823"/>
                <a:gd name="connsiteX3404" fmla="*/ 611714 w 1313607"/>
                <a:gd name="connsiteY3404" fmla="*/ 1774579 h 2768823"/>
                <a:gd name="connsiteX3405" fmla="*/ 617704 w 1313607"/>
                <a:gd name="connsiteY3405" fmla="*/ 1773097 h 2768823"/>
                <a:gd name="connsiteX3406" fmla="*/ 616494 w 1313607"/>
                <a:gd name="connsiteY3406" fmla="*/ 1771191 h 2768823"/>
                <a:gd name="connsiteX3407" fmla="*/ 614044 w 1313607"/>
                <a:gd name="connsiteY3407" fmla="*/ 1770889 h 2768823"/>
                <a:gd name="connsiteX3408" fmla="*/ 608750 w 1313607"/>
                <a:gd name="connsiteY3408" fmla="*/ 1771645 h 2768823"/>
                <a:gd name="connsiteX3409" fmla="*/ 609445 w 1313607"/>
                <a:gd name="connsiteY3409" fmla="*/ 1771191 h 2768823"/>
                <a:gd name="connsiteX3410" fmla="*/ 611563 w 1313607"/>
                <a:gd name="connsiteY3410" fmla="*/ 1769164 h 2768823"/>
                <a:gd name="connsiteX3411" fmla="*/ 610655 w 1313607"/>
                <a:gd name="connsiteY3411" fmla="*/ 1768348 h 2768823"/>
                <a:gd name="connsiteX3412" fmla="*/ 609899 w 1313607"/>
                <a:gd name="connsiteY3412" fmla="*/ 1767349 h 2768823"/>
                <a:gd name="connsiteX3413" fmla="*/ 609536 w 1313607"/>
                <a:gd name="connsiteY3413" fmla="*/ 1766563 h 2768823"/>
                <a:gd name="connsiteX3414" fmla="*/ 609778 w 1313607"/>
                <a:gd name="connsiteY3414" fmla="*/ 1764112 h 2768823"/>
                <a:gd name="connsiteX3415" fmla="*/ 610292 w 1313607"/>
                <a:gd name="connsiteY3415" fmla="*/ 1761511 h 2768823"/>
                <a:gd name="connsiteX3416" fmla="*/ 611018 w 1313607"/>
                <a:gd name="connsiteY3416" fmla="*/ 1759454 h 2768823"/>
                <a:gd name="connsiteX3417" fmla="*/ 611926 w 1313607"/>
                <a:gd name="connsiteY3417" fmla="*/ 1758607 h 2768823"/>
                <a:gd name="connsiteX3418" fmla="*/ 612682 w 1313607"/>
                <a:gd name="connsiteY3418" fmla="*/ 1758153 h 2768823"/>
                <a:gd name="connsiteX3419" fmla="*/ 612924 w 1313607"/>
                <a:gd name="connsiteY3419" fmla="*/ 1757094 h 2768823"/>
                <a:gd name="connsiteX3420" fmla="*/ 612743 w 1313607"/>
                <a:gd name="connsiteY3420" fmla="*/ 1755793 h 2768823"/>
                <a:gd name="connsiteX3421" fmla="*/ 612259 w 1313607"/>
                <a:gd name="connsiteY3421" fmla="*/ 1754674 h 2768823"/>
                <a:gd name="connsiteX3422" fmla="*/ 611291 w 1313607"/>
                <a:gd name="connsiteY3422" fmla="*/ 1754099 h 2768823"/>
                <a:gd name="connsiteX3423" fmla="*/ 608568 w 1313607"/>
                <a:gd name="connsiteY3423" fmla="*/ 1754099 h 2768823"/>
                <a:gd name="connsiteX3424" fmla="*/ 607449 w 1313607"/>
                <a:gd name="connsiteY3424" fmla="*/ 1753494 h 2768823"/>
                <a:gd name="connsiteX3425" fmla="*/ 610020 w 1313607"/>
                <a:gd name="connsiteY3425" fmla="*/ 1753434 h 2768823"/>
                <a:gd name="connsiteX3426" fmla="*/ 611170 w 1313607"/>
                <a:gd name="connsiteY3426" fmla="*/ 1751861 h 2768823"/>
                <a:gd name="connsiteX3427" fmla="*/ 610807 w 1313607"/>
                <a:gd name="connsiteY3427" fmla="*/ 1749410 h 2768823"/>
                <a:gd name="connsiteX3428" fmla="*/ 608750 w 1313607"/>
                <a:gd name="connsiteY3428" fmla="*/ 1746809 h 2768823"/>
                <a:gd name="connsiteX3429" fmla="*/ 610323 w 1313607"/>
                <a:gd name="connsiteY3429" fmla="*/ 1745235 h 2768823"/>
                <a:gd name="connsiteX3430" fmla="*/ 611049 w 1313607"/>
                <a:gd name="connsiteY3430" fmla="*/ 1743662 h 2768823"/>
                <a:gd name="connsiteX3431" fmla="*/ 611533 w 1313607"/>
                <a:gd name="connsiteY3431" fmla="*/ 1738822 h 2768823"/>
                <a:gd name="connsiteX3432" fmla="*/ 608054 w 1313607"/>
                <a:gd name="connsiteY3432" fmla="*/ 1736311 h 2768823"/>
                <a:gd name="connsiteX3433" fmla="*/ 609990 w 1313607"/>
                <a:gd name="connsiteY3433" fmla="*/ 1733286 h 2768823"/>
                <a:gd name="connsiteX3434" fmla="*/ 612622 w 1313607"/>
                <a:gd name="connsiteY3434" fmla="*/ 1732076 h 2768823"/>
                <a:gd name="connsiteX3435" fmla="*/ 614195 w 1313607"/>
                <a:gd name="connsiteY3435" fmla="*/ 1730352 h 2768823"/>
                <a:gd name="connsiteX3436" fmla="*/ 612924 w 1313607"/>
                <a:gd name="connsiteY3436" fmla="*/ 1725723 h 2768823"/>
                <a:gd name="connsiteX3437" fmla="*/ 610928 w 1313607"/>
                <a:gd name="connsiteY3437" fmla="*/ 1722517 h 2768823"/>
                <a:gd name="connsiteX3438" fmla="*/ 608024 w 1313607"/>
                <a:gd name="connsiteY3438" fmla="*/ 1719068 h 2768823"/>
                <a:gd name="connsiteX3439" fmla="*/ 604998 w 1313607"/>
                <a:gd name="connsiteY3439" fmla="*/ 1716315 h 2768823"/>
                <a:gd name="connsiteX3440" fmla="*/ 602548 w 1313607"/>
                <a:gd name="connsiteY3440" fmla="*/ 1715196 h 2768823"/>
                <a:gd name="connsiteX3441" fmla="*/ 602548 w 1313607"/>
                <a:gd name="connsiteY3441" fmla="*/ 1713895 h 2768823"/>
                <a:gd name="connsiteX3442" fmla="*/ 604696 w 1313607"/>
                <a:gd name="connsiteY3442" fmla="*/ 1714137 h 2768823"/>
                <a:gd name="connsiteX3443" fmla="*/ 606390 w 1313607"/>
                <a:gd name="connsiteY3443" fmla="*/ 1714833 h 2768823"/>
                <a:gd name="connsiteX3444" fmla="*/ 611624 w 1313607"/>
                <a:gd name="connsiteY3444" fmla="*/ 1719613 h 2768823"/>
                <a:gd name="connsiteX3445" fmla="*/ 613408 w 1313607"/>
                <a:gd name="connsiteY3445" fmla="*/ 1720127 h 2768823"/>
                <a:gd name="connsiteX3446" fmla="*/ 617734 w 1313607"/>
                <a:gd name="connsiteY3446" fmla="*/ 1720369 h 2768823"/>
                <a:gd name="connsiteX3447" fmla="*/ 615254 w 1313607"/>
                <a:gd name="connsiteY3447" fmla="*/ 1719007 h 2768823"/>
                <a:gd name="connsiteX3448" fmla="*/ 612198 w 1313607"/>
                <a:gd name="connsiteY3448" fmla="*/ 1718070 h 2768823"/>
                <a:gd name="connsiteX3449" fmla="*/ 609506 w 1313607"/>
                <a:gd name="connsiteY3449" fmla="*/ 1716315 h 2768823"/>
                <a:gd name="connsiteX3450" fmla="*/ 608054 w 1313607"/>
                <a:gd name="connsiteY3450" fmla="*/ 1712473 h 2768823"/>
                <a:gd name="connsiteX3451" fmla="*/ 614286 w 1313607"/>
                <a:gd name="connsiteY3451" fmla="*/ 1715347 h 2768823"/>
                <a:gd name="connsiteX3452" fmla="*/ 617553 w 1313607"/>
                <a:gd name="connsiteY3452" fmla="*/ 1715952 h 2768823"/>
                <a:gd name="connsiteX3453" fmla="*/ 620578 w 1313607"/>
                <a:gd name="connsiteY3453" fmla="*/ 1715226 h 2768823"/>
                <a:gd name="connsiteX3454" fmla="*/ 613106 w 1313607"/>
                <a:gd name="connsiteY3454" fmla="*/ 1710779 h 2768823"/>
                <a:gd name="connsiteX3455" fmla="*/ 612924 w 1313607"/>
                <a:gd name="connsiteY3455" fmla="*/ 1708662 h 2768823"/>
                <a:gd name="connsiteX3456" fmla="*/ 609597 w 1313607"/>
                <a:gd name="connsiteY3456" fmla="*/ 1707179 h 2768823"/>
                <a:gd name="connsiteX3457" fmla="*/ 606662 w 1313607"/>
                <a:gd name="connsiteY3457" fmla="*/ 1704578 h 2768823"/>
                <a:gd name="connsiteX3458" fmla="*/ 603758 w 1313607"/>
                <a:gd name="connsiteY3458" fmla="*/ 1699889 h 2768823"/>
                <a:gd name="connsiteX3459" fmla="*/ 603244 w 1313607"/>
                <a:gd name="connsiteY3459" fmla="*/ 1698800 h 2768823"/>
                <a:gd name="connsiteX3460" fmla="*/ 603698 w 1313607"/>
                <a:gd name="connsiteY3460" fmla="*/ 1696863 h 2768823"/>
                <a:gd name="connsiteX3461" fmla="*/ 605634 w 1313607"/>
                <a:gd name="connsiteY3461" fmla="*/ 1695139 h 2768823"/>
                <a:gd name="connsiteX3462" fmla="*/ 606541 w 1313607"/>
                <a:gd name="connsiteY3462" fmla="*/ 1691509 h 2768823"/>
                <a:gd name="connsiteX3463" fmla="*/ 607630 w 1313607"/>
                <a:gd name="connsiteY3463" fmla="*/ 1692174 h 2768823"/>
                <a:gd name="connsiteX3464" fmla="*/ 608780 w 1313607"/>
                <a:gd name="connsiteY3464" fmla="*/ 1693990 h 2768823"/>
                <a:gd name="connsiteX3465" fmla="*/ 609536 w 1313607"/>
                <a:gd name="connsiteY3465" fmla="*/ 1695472 h 2768823"/>
                <a:gd name="connsiteX3466" fmla="*/ 610414 w 1313607"/>
                <a:gd name="connsiteY3466" fmla="*/ 1694232 h 2768823"/>
                <a:gd name="connsiteX3467" fmla="*/ 611381 w 1313607"/>
                <a:gd name="connsiteY3467" fmla="*/ 1693385 h 2768823"/>
                <a:gd name="connsiteX3468" fmla="*/ 612501 w 1313607"/>
                <a:gd name="connsiteY3468" fmla="*/ 1692900 h 2768823"/>
                <a:gd name="connsiteX3469" fmla="*/ 613650 w 1313607"/>
                <a:gd name="connsiteY3469" fmla="*/ 1692749 h 2768823"/>
                <a:gd name="connsiteX3470" fmla="*/ 614649 w 1313607"/>
                <a:gd name="connsiteY3470" fmla="*/ 1692144 h 2768823"/>
                <a:gd name="connsiteX3471" fmla="*/ 615102 w 1313607"/>
                <a:gd name="connsiteY3471" fmla="*/ 1690783 h 2768823"/>
                <a:gd name="connsiteX3472" fmla="*/ 615012 w 1313607"/>
                <a:gd name="connsiteY3472" fmla="*/ 1689422 h 2768823"/>
                <a:gd name="connsiteX3473" fmla="*/ 614316 w 1313607"/>
                <a:gd name="connsiteY3473" fmla="*/ 1688817 h 2768823"/>
                <a:gd name="connsiteX3474" fmla="*/ 613348 w 1313607"/>
                <a:gd name="connsiteY3474" fmla="*/ 1689391 h 2768823"/>
                <a:gd name="connsiteX3475" fmla="*/ 612804 w 1313607"/>
                <a:gd name="connsiteY3475" fmla="*/ 1690571 h 2768823"/>
                <a:gd name="connsiteX3476" fmla="*/ 612168 w 1313607"/>
                <a:gd name="connsiteY3476" fmla="*/ 1691569 h 2768823"/>
                <a:gd name="connsiteX3477" fmla="*/ 610867 w 1313607"/>
                <a:gd name="connsiteY3477" fmla="*/ 1691569 h 2768823"/>
                <a:gd name="connsiteX3478" fmla="*/ 609808 w 1313607"/>
                <a:gd name="connsiteY3478" fmla="*/ 1690783 h 2768823"/>
                <a:gd name="connsiteX3479" fmla="*/ 609022 w 1313607"/>
                <a:gd name="connsiteY3479" fmla="*/ 1689452 h 2768823"/>
                <a:gd name="connsiteX3480" fmla="*/ 608599 w 1313607"/>
                <a:gd name="connsiteY3480" fmla="*/ 1687849 h 2768823"/>
                <a:gd name="connsiteX3481" fmla="*/ 608024 w 1313607"/>
                <a:gd name="connsiteY3481" fmla="*/ 1686185 h 2768823"/>
                <a:gd name="connsiteX3482" fmla="*/ 608962 w 1313607"/>
                <a:gd name="connsiteY3482" fmla="*/ 1684279 h 2768823"/>
                <a:gd name="connsiteX3483" fmla="*/ 609990 w 1313607"/>
                <a:gd name="connsiteY3483" fmla="*/ 1683160 h 2768823"/>
                <a:gd name="connsiteX3484" fmla="*/ 610535 w 1313607"/>
                <a:gd name="connsiteY3484" fmla="*/ 1681919 h 2768823"/>
                <a:gd name="connsiteX3485" fmla="*/ 610081 w 1313607"/>
                <a:gd name="connsiteY3485" fmla="*/ 1679590 h 2768823"/>
                <a:gd name="connsiteX3486" fmla="*/ 609203 w 1313607"/>
                <a:gd name="connsiteY3486" fmla="*/ 1678592 h 2768823"/>
                <a:gd name="connsiteX3487" fmla="*/ 605241 w 1313607"/>
                <a:gd name="connsiteY3487" fmla="*/ 1676807 h 2768823"/>
                <a:gd name="connsiteX3488" fmla="*/ 605241 w 1313607"/>
                <a:gd name="connsiteY3488" fmla="*/ 1675597 h 2768823"/>
                <a:gd name="connsiteX3489" fmla="*/ 609445 w 1313607"/>
                <a:gd name="connsiteY3489" fmla="*/ 1675597 h 2768823"/>
                <a:gd name="connsiteX3490" fmla="*/ 609445 w 1313607"/>
                <a:gd name="connsiteY3490" fmla="*/ 1674145 h 2768823"/>
                <a:gd name="connsiteX3491" fmla="*/ 608356 w 1313607"/>
                <a:gd name="connsiteY3491" fmla="*/ 1673630 h 2768823"/>
                <a:gd name="connsiteX3492" fmla="*/ 605815 w 1313607"/>
                <a:gd name="connsiteY3492" fmla="*/ 1673025 h 2768823"/>
                <a:gd name="connsiteX3493" fmla="*/ 603970 w 1313607"/>
                <a:gd name="connsiteY3493" fmla="*/ 1671331 h 2768823"/>
                <a:gd name="connsiteX3494" fmla="*/ 601701 w 1313607"/>
                <a:gd name="connsiteY3494" fmla="*/ 1670575 h 2768823"/>
                <a:gd name="connsiteX3495" fmla="*/ 600793 w 1313607"/>
                <a:gd name="connsiteY3495" fmla="*/ 1669577 h 2768823"/>
                <a:gd name="connsiteX3496" fmla="*/ 601822 w 1313607"/>
                <a:gd name="connsiteY3496" fmla="*/ 1668488 h 2768823"/>
                <a:gd name="connsiteX3497" fmla="*/ 611503 w 1313607"/>
                <a:gd name="connsiteY3497" fmla="*/ 1668851 h 2768823"/>
                <a:gd name="connsiteX3498" fmla="*/ 611503 w 1313607"/>
                <a:gd name="connsiteY3498" fmla="*/ 1667519 h 2768823"/>
                <a:gd name="connsiteX3499" fmla="*/ 601036 w 1313607"/>
                <a:gd name="connsiteY3499" fmla="*/ 1665523 h 2768823"/>
                <a:gd name="connsiteX3500" fmla="*/ 598404 w 1313607"/>
                <a:gd name="connsiteY3500" fmla="*/ 1663405 h 2768823"/>
                <a:gd name="connsiteX3501" fmla="*/ 603093 w 1313607"/>
                <a:gd name="connsiteY3501" fmla="*/ 1662861 h 2768823"/>
                <a:gd name="connsiteX3502" fmla="*/ 607388 w 1313607"/>
                <a:gd name="connsiteY3502" fmla="*/ 1660895 h 2768823"/>
                <a:gd name="connsiteX3503" fmla="*/ 606299 w 1313607"/>
                <a:gd name="connsiteY3503" fmla="*/ 1658807 h 2768823"/>
                <a:gd name="connsiteX3504" fmla="*/ 604726 w 1313607"/>
                <a:gd name="connsiteY3504" fmla="*/ 1658081 h 2768823"/>
                <a:gd name="connsiteX3505" fmla="*/ 601126 w 1313607"/>
                <a:gd name="connsiteY3505" fmla="*/ 1658263 h 2768823"/>
                <a:gd name="connsiteX3506" fmla="*/ 601126 w 1313607"/>
                <a:gd name="connsiteY3506" fmla="*/ 1656931 h 2768823"/>
                <a:gd name="connsiteX3507" fmla="*/ 607902 w 1313607"/>
                <a:gd name="connsiteY3507" fmla="*/ 1656508 h 2768823"/>
                <a:gd name="connsiteX3508" fmla="*/ 610081 w 1313607"/>
                <a:gd name="connsiteY3508" fmla="*/ 1656931 h 2768823"/>
                <a:gd name="connsiteX3509" fmla="*/ 613711 w 1313607"/>
                <a:gd name="connsiteY3509" fmla="*/ 1659079 h 2768823"/>
                <a:gd name="connsiteX3510" fmla="*/ 615465 w 1313607"/>
                <a:gd name="connsiteY3510" fmla="*/ 1659412 h 2768823"/>
                <a:gd name="connsiteX3511" fmla="*/ 617674 w 1313607"/>
                <a:gd name="connsiteY3511" fmla="*/ 1658263 h 2768823"/>
                <a:gd name="connsiteX3512" fmla="*/ 615435 w 1313607"/>
                <a:gd name="connsiteY3512" fmla="*/ 1655691 h 2768823"/>
                <a:gd name="connsiteX3513" fmla="*/ 602488 w 1313607"/>
                <a:gd name="connsiteY3513" fmla="*/ 1652938 h 2768823"/>
                <a:gd name="connsiteX3514" fmla="*/ 604696 w 1313607"/>
                <a:gd name="connsiteY3514" fmla="*/ 1651063 h 2768823"/>
                <a:gd name="connsiteX3515" fmla="*/ 609294 w 1313607"/>
                <a:gd name="connsiteY3515" fmla="*/ 1652908 h 2768823"/>
                <a:gd name="connsiteX3516" fmla="*/ 612168 w 1313607"/>
                <a:gd name="connsiteY3516" fmla="*/ 1651759 h 2768823"/>
                <a:gd name="connsiteX3517" fmla="*/ 610202 w 1313607"/>
                <a:gd name="connsiteY3517" fmla="*/ 1650488 h 2768823"/>
                <a:gd name="connsiteX3518" fmla="*/ 609445 w 1313607"/>
                <a:gd name="connsiteY3518" fmla="*/ 1650307 h 2768823"/>
                <a:gd name="connsiteX3519" fmla="*/ 609445 w 1313607"/>
                <a:gd name="connsiteY3519" fmla="*/ 1648976 h 2768823"/>
                <a:gd name="connsiteX3520" fmla="*/ 612047 w 1313607"/>
                <a:gd name="connsiteY3520" fmla="*/ 1648824 h 2768823"/>
                <a:gd name="connsiteX3521" fmla="*/ 615738 w 1313607"/>
                <a:gd name="connsiteY3521" fmla="*/ 1647705 h 2768823"/>
                <a:gd name="connsiteX3522" fmla="*/ 618854 w 1313607"/>
                <a:gd name="connsiteY3522" fmla="*/ 1645557 h 2768823"/>
                <a:gd name="connsiteX3523" fmla="*/ 619731 w 1313607"/>
                <a:gd name="connsiteY3523" fmla="*/ 1642290 h 2768823"/>
                <a:gd name="connsiteX3524" fmla="*/ 612833 w 1313607"/>
                <a:gd name="connsiteY3524" fmla="*/ 1638297 h 2768823"/>
                <a:gd name="connsiteX3525" fmla="*/ 609385 w 1313607"/>
                <a:gd name="connsiteY3525" fmla="*/ 1638448 h 2768823"/>
                <a:gd name="connsiteX3526" fmla="*/ 607842 w 1313607"/>
                <a:gd name="connsiteY3526" fmla="*/ 1637692 h 2768823"/>
                <a:gd name="connsiteX3527" fmla="*/ 606602 w 1313607"/>
                <a:gd name="connsiteY3527" fmla="*/ 1635514 h 2768823"/>
                <a:gd name="connsiteX3528" fmla="*/ 615284 w 1313607"/>
                <a:gd name="connsiteY3528" fmla="*/ 1635181 h 2768823"/>
                <a:gd name="connsiteX3529" fmla="*/ 619550 w 1313607"/>
                <a:gd name="connsiteY3529" fmla="*/ 1636270 h 2768823"/>
                <a:gd name="connsiteX3530" fmla="*/ 623240 w 1313607"/>
                <a:gd name="connsiteY3530" fmla="*/ 1639507 h 2768823"/>
                <a:gd name="connsiteX3531" fmla="*/ 622877 w 1313607"/>
                <a:gd name="connsiteY3531" fmla="*/ 1642441 h 2768823"/>
                <a:gd name="connsiteX3532" fmla="*/ 624238 w 1313607"/>
                <a:gd name="connsiteY3532" fmla="*/ 1643984 h 2768823"/>
                <a:gd name="connsiteX3533" fmla="*/ 628050 w 1313607"/>
                <a:gd name="connsiteY3533" fmla="*/ 1644922 h 2768823"/>
                <a:gd name="connsiteX3534" fmla="*/ 626689 w 1313607"/>
                <a:gd name="connsiteY3534" fmla="*/ 1641413 h 2768823"/>
                <a:gd name="connsiteX3535" fmla="*/ 626174 w 1313607"/>
                <a:gd name="connsiteY3535" fmla="*/ 1639477 h 2768823"/>
                <a:gd name="connsiteX3536" fmla="*/ 625993 w 1313607"/>
                <a:gd name="connsiteY3536" fmla="*/ 1636935 h 2768823"/>
                <a:gd name="connsiteX3537" fmla="*/ 629200 w 1313607"/>
                <a:gd name="connsiteY3537" fmla="*/ 1638690 h 2768823"/>
                <a:gd name="connsiteX3538" fmla="*/ 631317 w 1313607"/>
                <a:gd name="connsiteY3538" fmla="*/ 1641897 h 2768823"/>
                <a:gd name="connsiteX3539" fmla="*/ 635008 w 1313607"/>
                <a:gd name="connsiteY3539" fmla="*/ 1650246 h 2768823"/>
                <a:gd name="connsiteX3540" fmla="*/ 636309 w 1313607"/>
                <a:gd name="connsiteY3540" fmla="*/ 1652273 h 2768823"/>
                <a:gd name="connsiteX3541" fmla="*/ 637640 w 1313607"/>
                <a:gd name="connsiteY3541" fmla="*/ 1653543 h 2768823"/>
                <a:gd name="connsiteX3542" fmla="*/ 639213 w 1313607"/>
                <a:gd name="connsiteY3542" fmla="*/ 1654179 h 2768823"/>
                <a:gd name="connsiteX3543" fmla="*/ 641209 w 1313607"/>
                <a:gd name="connsiteY3543" fmla="*/ 1654360 h 2768823"/>
                <a:gd name="connsiteX3544" fmla="*/ 642722 w 1313607"/>
                <a:gd name="connsiteY3544" fmla="*/ 1653120 h 2768823"/>
                <a:gd name="connsiteX3545" fmla="*/ 643327 w 1313607"/>
                <a:gd name="connsiteY3545" fmla="*/ 1650246 h 2768823"/>
                <a:gd name="connsiteX3546" fmla="*/ 643660 w 1313607"/>
                <a:gd name="connsiteY3546" fmla="*/ 1646888 h 2768823"/>
                <a:gd name="connsiteX3547" fmla="*/ 644295 w 1313607"/>
                <a:gd name="connsiteY3547" fmla="*/ 1644317 h 2768823"/>
                <a:gd name="connsiteX3548" fmla="*/ 645112 w 1313607"/>
                <a:gd name="connsiteY3548" fmla="*/ 1642169 h 2768823"/>
                <a:gd name="connsiteX3549" fmla="*/ 645112 w 1313607"/>
                <a:gd name="connsiteY3549" fmla="*/ 1639991 h 2768823"/>
                <a:gd name="connsiteX3550" fmla="*/ 644507 w 1313607"/>
                <a:gd name="connsiteY3550" fmla="*/ 1637752 h 2768823"/>
                <a:gd name="connsiteX3551" fmla="*/ 643297 w 1313607"/>
                <a:gd name="connsiteY3551" fmla="*/ 1635453 h 2768823"/>
                <a:gd name="connsiteX3552" fmla="*/ 641391 w 1313607"/>
                <a:gd name="connsiteY3552" fmla="*/ 1633698 h 2768823"/>
                <a:gd name="connsiteX3553" fmla="*/ 639637 w 1313607"/>
                <a:gd name="connsiteY3553" fmla="*/ 1633910 h 2768823"/>
                <a:gd name="connsiteX3554" fmla="*/ 637882 w 1313607"/>
                <a:gd name="connsiteY3554" fmla="*/ 1634909 h 2768823"/>
                <a:gd name="connsiteX3555" fmla="*/ 632920 w 1313607"/>
                <a:gd name="connsiteY3555" fmla="*/ 1636119 h 2768823"/>
                <a:gd name="connsiteX3556" fmla="*/ 632104 w 1313607"/>
                <a:gd name="connsiteY3556" fmla="*/ 1635060 h 2768823"/>
                <a:gd name="connsiteX3557" fmla="*/ 631559 w 1313607"/>
                <a:gd name="connsiteY3557" fmla="*/ 1631490 h 2768823"/>
                <a:gd name="connsiteX3558" fmla="*/ 631680 w 1313607"/>
                <a:gd name="connsiteY3558" fmla="*/ 1628344 h 2768823"/>
                <a:gd name="connsiteX3559" fmla="*/ 632043 w 1313607"/>
                <a:gd name="connsiteY3559" fmla="*/ 1625440 h 2768823"/>
                <a:gd name="connsiteX3560" fmla="*/ 631801 w 1313607"/>
                <a:gd name="connsiteY3560" fmla="*/ 1623232 h 2768823"/>
                <a:gd name="connsiteX3561" fmla="*/ 630138 w 1313607"/>
                <a:gd name="connsiteY3561" fmla="*/ 1622294 h 2768823"/>
                <a:gd name="connsiteX3562" fmla="*/ 630138 w 1313607"/>
                <a:gd name="connsiteY3562" fmla="*/ 1620842 h 2768823"/>
                <a:gd name="connsiteX3563" fmla="*/ 631287 w 1313607"/>
                <a:gd name="connsiteY3563" fmla="*/ 1620630 h 2768823"/>
                <a:gd name="connsiteX3564" fmla="*/ 632285 w 1313607"/>
                <a:gd name="connsiteY3564" fmla="*/ 1619934 h 2768823"/>
                <a:gd name="connsiteX3565" fmla="*/ 633072 w 1313607"/>
                <a:gd name="connsiteY3565" fmla="*/ 1618694 h 2768823"/>
                <a:gd name="connsiteX3566" fmla="*/ 633556 w 1313607"/>
                <a:gd name="connsiteY3566" fmla="*/ 1616818 h 2768823"/>
                <a:gd name="connsiteX3567" fmla="*/ 628322 w 1313607"/>
                <a:gd name="connsiteY3567" fmla="*/ 1618210 h 2768823"/>
                <a:gd name="connsiteX3568" fmla="*/ 627022 w 1313607"/>
                <a:gd name="connsiteY3568" fmla="*/ 1617423 h 2768823"/>
                <a:gd name="connsiteX3569" fmla="*/ 626689 w 1313607"/>
                <a:gd name="connsiteY3569" fmla="*/ 1616334 h 2768823"/>
                <a:gd name="connsiteX3570" fmla="*/ 626810 w 1313607"/>
                <a:gd name="connsiteY3570" fmla="*/ 1615275 h 2768823"/>
                <a:gd name="connsiteX3571" fmla="*/ 627203 w 1313607"/>
                <a:gd name="connsiteY3571" fmla="*/ 1614307 h 2768823"/>
                <a:gd name="connsiteX3572" fmla="*/ 627717 w 1313607"/>
                <a:gd name="connsiteY3572" fmla="*/ 1613400 h 2768823"/>
                <a:gd name="connsiteX3573" fmla="*/ 628322 w 1313607"/>
                <a:gd name="connsiteY3573" fmla="*/ 1611675 h 2768823"/>
                <a:gd name="connsiteX3574" fmla="*/ 628111 w 1313607"/>
                <a:gd name="connsiteY3574" fmla="*/ 1610647 h 2768823"/>
                <a:gd name="connsiteX3575" fmla="*/ 627626 w 1313607"/>
                <a:gd name="connsiteY3575" fmla="*/ 1610133 h 2768823"/>
                <a:gd name="connsiteX3576" fmla="*/ 627354 w 1313607"/>
                <a:gd name="connsiteY3576" fmla="*/ 1609981 h 2768823"/>
                <a:gd name="connsiteX3577" fmla="*/ 627203 w 1313607"/>
                <a:gd name="connsiteY3577" fmla="*/ 1609981 h 2768823"/>
                <a:gd name="connsiteX3578" fmla="*/ 627203 w 1313607"/>
                <a:gd name="connsiteY3578" fmla="*/ 1608439 h 2768823"/>
                <a:gd name="connsiteX3579" fmla="*/ 627294 w 1313607"/>
                <a:gd name="connsiteY3579" fmla="*/ 1606956 h 2768823"/>
                <a:gd name="connsiteX3580" fmla="*/ 627385 w 1313607"/>
                <a:gd name="connsiteY3580" fmla="*/ 1607289 h 2768823"/>
                <a:gd name="connsiteX3581" fmla="*/ 627717 w 1313607"/>
                <a:gd name="connsiteY3581" fmla="*/ 1606321 h 2768823"/>
                <a:gd name="connsiteX3582" fmla="*/ 629139 w 1313607"/>
                <a:gd name="connsiteY3582" fmla="*/ 1605292 h 2768823"/>
                <a:gd name="connsiteX3583" fmla="*/ 629442 w 1313607"/>
                <a:gd name="connsiteY3583" fmla="*/ 1603991 h 2768823"/>
                <a:gd name="connsiteX3584" fmla="*/ 629169 w 1313607"/>
                <a:gd name="connsiteY3584" fmla="*/ 1602479 h 2768823"/>
                <a:gd name="connsiteX3585" fmla="*/ 627778 w 1313607"/>
                <a:gd name="connsiteY3585" fmla="*/ 1599030 h 2768823"/>
                <a:gd name="connsiteX3586" fmla="*/ 627385 w 1313607"/>
                <a:gd name="connsiteY3586" fmla="*/ 1596550 h 2768823"/>
                <a:gd name="connsiteX3587" fmla="*/ 627385 w 1313607"/>
                <a:gd name="connsiteY3587" fmla="*/ 1594069 h 2768823"/>
                <a:gd name="connsiteX3588" fmla="*/ 627778 w 1313607"/>
                <a:gd name="connsiteY3588" fmla="*/ 1591921 h 2768823"/>
                <a:gd name="connsiteX3589" fmla="*/ 628443 w 1313607"/>
                <a:gd name="connsiteY3589" fmla="*/ 1590409 h 2768823"/>
                <a:gd name="connsiteX3590" fmla="*/ 629442 w 1313607"/>
                <a:gd name="connsiteY3590" fmla="*/ 1589804 h 2768823"/>
                <a:gd name="connsiteX3591" fmla="*/ 631590 w 1313607"/>
                <a:gd name="connsiteY3591" fmla="*/ 1589078 h 2768823"/>
                <a:gd name="connsiteX3592" fmla="*/ 631862 w 1313607"/>
                <a:gd name="connsiteY3592" fmla="*/ 1587323 h 2768823"/>
                <a:gd name="connsiteX3593" fmla="*/ 631620 w 1313607"/>
                <a:gd name="connsiteY3593" fmla="*/ 1585115 h 2768823"/>
                <a:gd name="connsiteX3594" fmla="*/ 632194 w 1313607"/>
                <a:gd name="connsiteY3594" fmla="*/ 1583088 h 2768823"/>
                <a:gd name="connsiteX3595" fmla="*/ 633283 w 1313607"/>
                <a:gd name="connsiteY3595" fmla="*/ 1582452 h 2768823"/>
                <a:gd name="connsiteX3596" fmla="*/ 638094 w 1313607"/>
                <a:gd name="connsiteY3596" fmla="*/ 1581726 h 2768823"/>
                <a:gd name="connsiteX3597" fmla="*/ 639062 w 1313607"/>
                <a:gd name="connsiteY3597" fmla="*/ 1580910 h 2768823"/>
                <a:gd name="connsiteX3598" fmla="*/ 638275 w 1313607"/>
                <a:gd name="connsiteY3598" fmla="*/ 1579125 h 2768823"/>
                <a:gd name="connsiteX3599" fmla="*/ 636793 w 1313607"/>
                <a:gd name="connsiteY3599" fmla="*/ 1577310 h 2768823"/>
                <a:gd name="connsiteX3600" fmla="*/ 635613 w 1313607"/>
                <a:gd name="connsiteY3600" fmla="*/ 1576312 h 2768823"/>
                <a:gd name="connsiteX3601" fmla="*/ 638940 w 1313607"/>
                <a:gd name="connsiteY3601" fmla="*/ 1571955 h 2768823"/>
                <a:gd name="connsiteX3602" fmla="*/ 639909 w 1313607"/>
                <a:gd name="connsiteY3602" fmla="*/ 1569293 h 2768823"/>
                <a:gd name="connsiteX3603" fmla="*/ 637731 w 1313607"/>
                <a:gd name="connsiteY3603" fmla="*/ 1568113 h 2768823"/>
                <a:gd name="connsiteX3604" fmla="*/ 639788 w 1313607"/>
                <a:gd name="connsiteY3604" fmla="*/ 1566480 h 2768823"/>
                <a:gd name="connsiteX3605" fmla="*/ 640332 w 1313607"/>
                <a:gd name="connsiteY3605" fmla="*/ 1564846 h 2768823"/>
                <a:gd name="connsiteX3606" fmla="*/ 640272 w 1313607"/>
                <a:gd name="connsiteY3606" fmla="*/ 1562426 h 2768823"/>
                <a:gd name="connsiteX3607" fmla="*/ 640483 w 1313607"/>
                <a:gd name="connsiteY3607" fmla="*/ 1558524 h 2768823"/>
                <a:gd name="connsiteX3608" fmla="*/ 641179 w 1313607"/>
                <a:gd name="connsiteY3608" fmla="*/ 1555801 h 2768823"/>
                <a:gd name="connsiteX3609" fmla="*/ 642904 w 1313607"/>
                <a:gd name="connsiteY3609" fmla="*/ 1552413 h 2768823"/>
                <a:gd name="connsiteX3610" fmla="*/ 643206 w 1313607"/>
                <a:gd name="connsiteY3610" fmla="*/ 1551808 h 2768823"/>
                <a:gd name="connsiteX3611" fmla="*/ 643902 w 1313607"/>
                <a:gd name="connsiteY3611" fmla="*/ 1549206 h 2768823"/>
                <a:gd name="connsiteX3612" fmla="*/ 643841 w 1313607"/>
                <a:gd name="connsiteY3612" fmla="*/ 1547361 h 2768823"/>
                <a:gd name="connsiteX3613" fmla="*/ 643569 w 1313607"/>
                <a:gd name="connsiteY3613" fmla="*/ 1544517 h 2768823"/>
                <a:gd name="connsiteX3614" fmla="*/ 643448 w 1313607"/>
                <a:gd name="connsiteY3614" fmla="*/ 1541311 h 2768823"/>
                <a:gd name="connsiteX3615" fmla="*/ 643902 w 1313607"/>
                <a:gd name="connsiteY3615" fmla="*/ 1538406 h 2768823"/>
                <a:gd name="connsiteX3616" fmla="*/ 644960 w 1313607"/>
                <a:gd name="connsiteY3616" fmla="*/ 1536501 h 2768823"/>
                <a:gd name="connsiteX3617" fmla="*/ 646564 w 1313607"/>
                <a:gd name="connsiteY3617" fmla="*/ 1535109 h 2768823"/>
                <a:gd name="connsiteX3618" fmla="*/ 648379 w 1313607"/>
                <a:gd name="connsiteY3618" fmla="*/ 1534655 h 2768823"/>
                <a:gd name="connsiteX3619" fmla="*/ 650043 w 1313607"/>
                <a:gd name="connsiteY3619" fmla="*/ 1535684 h 2768823"/>
                <a:gd name="connsiteX3620" fmla="*/ 647260 w 1313607"/>
                <a:gd name="connsiteY3620" fmla="*/ 1540766 h 2768823"/>
                <a:gd name="connsiteX3621" fmla="*/ 647532 w 1313607"/>
                <a:gd name="connsiteY3621" fmla="*/ 1541704 h 2768823"/>
                <a:gd name="connsiteX3622" fmla="*/ 650073 w 1313607"/>
                <a:gd name="connsiteY3622" fmla="*/ 1541069 h 2768823"/>
                <a:gd name="connsiteX3623" fmla="*/ 658453 w 1313607"/>
                <a:gd name="connsiteY3623" fmla="*/ 1535654 h 2768823"/>
                <a:gd name="connsiteX3624" fmla="*/ 656396 w 1313607"/>
                <a:gd name="connsiteY3624" fmla="*/ 1533929 h 2768823"/>
                <a:gd name="connsiteX3625" fmla="*/ 653098 w 1313607"/>
                <a:gd name="connsiteY3625" fmla="*/ 1532144 h 2768823"/>
                <a:gd name="connsiteX3626" fmla="*/ 649831 w 1313607"/>
                <a:gd name="connsiteY3626" fmla="*/ 1531297 h 2768823"/>
                <a:gd name="connsiteX3627" fmla="*/ 647804 w 1313607"/>
                <a:gd name="connsiteY3627" fmla="*/ 1532235 h 2768823"/>
                <a:gd name="connsiteX3628" fmla="*/ 639122 w 1313607"/>
                <a:gd name="connsiteY3628" fmla="*/ 1527486 h 2768823"/>
                <a:gd name="connsiteX3629" fmla="*/ 640393 w 1313607"/>
                <a:gd name="connsiteY3629" fmla="*/ 1526276 h 2768823"/>
                <a:gd name="connsiteX3630" fmla="*/ 641028 w 1313607"/>
                <a:gd name="connsiteY3630" fmla="*/ 1525943 h 2768823"/>
                <a:gd name="connsiteX3631" fmla="*/ 641966 w 1313607"/>
                <a:gd name="connsiteY3631" fmla="*/ 1526003 h 2768823"/>
                <a:gd name="connsiteX3632" fmla="*/ 641966 w 1313607"/>
                <a:gd name="connsiteY3632" fmla="*/ 1524793 h 2768823"/>
                <a:gd name="connsiteX3633" fmla="*/ 640816 w 1313607"/>
                <a:gd name="connsiteY3633" fmla="*/ 1523644 h 2768823"/>
                <a:gd name="connsiteX3634" fmla="*/ 640000 w 1313607"/>
                <a:gd name="connsiteY3634" fmla="*/ 1521738 h 2768823"/>
                <a:gd name="connsiteX3635" fmla="*/ 639334 w 1313607"/>
                <a:gd name="connsiteY3635" fmla="*/ 1519620 h 2768823"/>
                <a:gd name="connsiteX3636" fmla="*/ 638547 w 1313607"/>
                <a:gd name="connsiteY3636" fmla="*/ 1517866 h 2768823"/>
                <a:gd name="connsiteX3637" fmla="*/ 636914 w 1313607"/>
                <a:gd name="connsiteY3637" fmla="*/ 1516111 h 2768823"/>
                <a:gd name="connsiteX3638" fmla="*/ 635522 w 1313607"/>
                <a:gd name="connsiteY3638" fmla="*/ 1515839 h 2768823"/>
                <a:gd name="connsiteX3639" fmla="*/ 632376 w 1313607"/>
                <a:gd name="connsiteY3639" fmla="*/ 1516535 h 2768823"/>
                <a:gd name="connsiteX3640" fmla="*/ 631166 w 1313607"/>
                <a:gd name="connsiteY3640" fmla="*/ 1515657 h 2768823"/>
                <a:gd name="connsiteX3641" fmla="*/ 629895 w 1313607"/>
                <a:gd name="connsiteY3641" fmla="*/ 1513570 h 2768823"/>
                <a:gd name="connsiteX3642" fmla="*/ 629109 w 1313607"/>
                <a:gd name="connsiteY3642" fmla="*/ 1511059 h 2768823"/>
                <a:gd name="connsiteX3643" fmla="*/ 629230 w 1313607"/>
                <a:gd name="connsiteY3643" fmla="*/ 1508972 h 2768823"/>
                <a:gd name="connsiteX3644" fmla="*/ 629744 w 1313607"/>
                <a:gd name="connsiteY3644" fmla="*/ 1506431 h 2768823"/>
                <a:gd name="connsiteX3645" fmla="*/ 629139 w 1313607"/>
                <a:gd name="connsiteY3645" fmla="*/ 1504283 h 2768823"/>
                <a:gd name="connsiteX3646" fmla="*/ 627959 w 1313607"/>
                <a:gd name="connsiteY3646" fmla="*/ 1502589 h 2768823"/>
                <a:gd name="connsiteX3647" fmla="*/ 626810 w 1313607"/>
                <a:gd name="connsiteY3647" fmla="*/ 1501409 h 2768823"/>
                <a:gd name="connsiteX3648" fmla="*/ 627778 w 1313607"/>
                <a:gd name="connsiteY3648" fmla="*/ 1501530 h 2768823"/>
                <a:gd name="connsiteX3649" fmla="*/ 629018 w 1313607"/>
                <a:gd name="connsiteY3649" fmla="*/ 1501409 h 2768823"/>
                <a:gd name="connsiteX3650" fmla="*/ 630168 w 1313607"/>
                <a:gd name="connsiteY3650" fmla="*/ 1500955 h 2768823"/>
                <a:gd name="connsiteX3651" fmla="*/ 630924 w 1313607"/>
                <a:gd name="connsiteY3651" fmla="*/ 1500048 h 2768823"/>
                <a:gd name="connsiteX3652" fmla="*/ 631045 w 1313607"/>
                <a:gd name="connsiteY3652" fmla="*/ 1498838 h 2768823"/>
                <a:gd name="connsiteX3653" fmla="*/ 630984 w 1313607"/>
                <a:gd name="connsiteY3653" fmla="*/ 1497053 h 2768823"/>
                <a:gd name="connsiteX3654" fmla="*/ 630803 w 1313607"/>
                <a:gd name="connsiteY3654" fmla="*/ 1495419 h 2768823"/>
                <a:gd name="connsiteX3655" fmla="*/ 630561 w 1313607"/>
                <a:gd name="connsiteY3655" fmla="*/ 1494723 h 2768823"/>
                <a:gd name="connsiteX3656" fmla="*/ 626084 w 1313607"/>
                <a:gd name="connsiteY3656" fmla="*/ 1487766 h 2768823"/>
                <a:gd name="connsiteX3657" fmla="*/ 626084 w 1313607"/>
                <a:gd name="connsiteY3657" fmla="*/ 1484650 h 2768823"/>
                <a:gd name="connsiteX3658" fmla="*/ 627203 w 1313607"/>
                <a:gd name="connsiteY3658" fmla="*/ 1482562 h 2768823"/>
                <a:gd name="connsiteX3659" fmla="*/ 628927 w 1313607"/>
                <a:gd name="connsiteY3659" fmla="*/ 1481383 h 2768823"/>
                <a:gd name="connsiteX3660" fmla="*/ 630954 w 1313607"/>
                <a:gd name="connsiteY3660" fmla="*/ 1481020 h 2768823"/>
                <a:gd name="connsiteX3661" fmla="*/ 632648 w 1313607"/>
                <a:gd name="connsiteY3661" fmla="*/ 1479900 h 2768823"/>
                <a:gd name="connsiteX3662" fmla="*/ 633707 w 1313607"/>
                <a:gd name="connsiteY3662" fmla="*/ 1475030 h 2768823"/>
                <a:gd name="connsiteX3663" fmla="*/ 635795 w 1313607"/>
                <a:gd name="connsiteY3663" fmla="*/ 1473941 h 2768823"/>
                <a:gd name="connsiteX3664" fmla="*/ 636944 w 1313607"/>
                <a:gd name="connsiteY3664" fmla="*/ 1474818 h 2768823"/>
                <a:gd name="connsiteX3665" fmla="*/ 641300 w 1313607"/>
                <a:gd name="connsiteY3665" fmla="*/ 1481020 h 2768823"/>
                <a:gd name="connsiteX3666" fmla="*/ 645808 w 1313607"/>
                <a:gd name="connsiteY3666" fmla="*/ 1489218 h 2768823"/>
                <a:gd name="connsiteX3667" fmla="*/ 646352 w 1313607"/>
                <a:gd name="connsiteY3667" fmla="*/ 1489641 h 2768823"/>
                <a:gd name="connsiteX3668" fmla="*/ 648228 w 1313607"/>
                <a:gd name="connsiteY3668" fmla="*/ 1492515 h 2768823"/>
                <a:gd name="connsiteX3669" fmla="*/ 649408 w 1313607"/>
                <a:gd name="connsiteY3669" fmla="*/ 1493423 h 2768823"/>
                <a:gd name="connsiteX3670" fmla="*/ 650890 w 1313607"/>
                <a:gd name="connsiteY3670" fmla="*/ 1494118 h 2768823"/>
                <a:gd name="connsiteX3671" fmla="*/ 664080 w 1313607"/>
                <a:gd name="connsiteY3671" fmla="*/ 1494693 h 2768823"/>
                <a:gd name="connsiteX3672" fmla="*/ 662930 w 1313607"/>
                <a:gd name="connsiteY3672" fmla="*/ 1492061 h 2768823"/>
                <a:gd name="connsiteX3673" fmla="*/ 660933 w 1313607"/>
                <a:gd name="connsiteY3673" fmla="*/ 1491123 h 2768823"/>
                <a:gd name="connsiteX3674" fmla="*/ 659300 w 1313607"/>
                <a:gd name="connsiteY3674" fmla="*/ 1489913 h 2768823"/>
                <a:gd name="connsiteX3675" fmla="*/ 659239 w 1313607"/>
                <a:gd name="connsiteY3675" fmla="*/ 1486495 h 2768823"/>
                <a:gd name="connsiteX3676" fmla="*/ 660479 w 1313607"/>
                <a:gd name="connsiteY3676" fmla="*/ 1484287 h 2768823"/>
                <a:gd name="connsiteX3677" fmla="*/ 662688 w 1313607"/>
                <a:gd name="connsiteY3677" fmla="*/ 1482623 h 2768823"/>
                <a:gd name="connsiteX3678" fmla="*/ 666863 w 1313607"/>
                <a:gd name="connsiteY3678" fmla="*/ 1481020 h 2768823"/>
                <a:gd name="connsiteX3679" fmla="*/ 672036 w 1313607"/>
                <a:gd name="connsiteY3679" fmla="*/ 1481020 h 2768823"/>
                <a:gd name="connsiteX3680" fmla="*/ 672973 w 1313607"/>
                <a:gd name="connsiteY3680" fmla="*/ 1481594 h 2768823"/>
                <a:gd name="connsiteX3681" fmla="*/ 674698 w 1313607"/>
                <a:gd name="connsiteY3681" fmla="*/ 1484287 h 2768823"/>
                <a:gd name="connsiteX3682" fmla="*/ 675787 w 1313607"/>
                <a:gd name="connsiteY3682" fmla="*/ 1485013 h 2768823"/>
                <a:gd name="connsiteX3683" fmla="*/ 677784 w 1313607"/>
                <a:gd name="connsiteY3683" fmla="*/ 1484226 h 2768823"/>
                <a:gd name="connsiteX3684" fmla="*/ 679629 w 1313607"/>
                <a:gd name="connsiteY3684" fmla="*/ 1481988 h 2768823"/>
                <a:gd name="connsiteX3685" fmla="*/ 682775 w 1313607"/>
                <a:gd name="connsiteY3685" fmla="*/ 1476633 h 2768823"/>
                <a:gd name="connsiteX3686" fmla="*/ 681353 w 1313607"/>
                <a:gd name="connsiteY3686" fmla="*/ 1473910 h 2768823"/>
                <a:gd name="connsiteX3687" fmla="*/ 683561 w 1313607"/>
                <a:gd name="connsiteY3687" fmla="*/ 1472973 h 2768823"/>
                <a:gd name="connsiteX3688" fmla="*/ 684439 w 1313607"/>
                <a:gd name="connsiteY3688" fmla="*/ 1472247 h 2768823"/>
                <a:gd name="connsiteX3689" fmla="*/ 684802 w 1313607"/>
                <a:gd name="connsiteY3689" fmla="*/ 1470613 h 2768823"/>
                <a:gd name="connsiteX3690" fmla="*/ 684862 w 1313607"/>
                <a:gd name="connsiteY3690" fmla="*/ 1469131 h 2768823"/>
                <a:gd name="connsiteX3691" fmla="*/ 685014 w 1313607"/>
                <a:gd name="connsiteY3691" fmla="*/ 1467467 h 2768823"/>
                <a:gd name="connsiteX3692" fmla="*/ 686103 w 1313607"/>
                <a:gd name="connsiteY3692" fmla="*/ 1461144 h 2768823"/>
                <a:gd name="connsiteX3693" fmla="*/ 686586 w 1313607"/>
                <a:gd name="connsiteY3693" fmla="*/ 1459601 h 2768823"/>
                <a:gd name="connsiteX3694" fmla="*/ 687222 w 1313607"/>
                <a:gd name="connsiteY3694" fmla="*/ 1458936 h 2768823"/>
                <a:gd name="connsiteX3695" fmla="*/ 688583 w 1313607"/>
                <a:gd name="connsiteY3695" fmla="*/ 1459087 h 2768823"/>
                <a:gd name="connsiteX3696" fmla="*/ 688886 w 1313607"/>
                <a:gd name="connsiteY3696" fmla="*/ 1459692 h 2768823"/>
                <a:gd name="connsiteX3697" fmla="*/ 688825 w 1313607"/>
                <a:gd name="connsiteY3697" fmla="*/ 1460902 h 2768823"/>
                <a:gd name="connsiteX3698" fmla="*/ 689612 w 1313607"/>
                <a:gd name="connsiteY3698" fmla="*/ 1466862 h 2768823"/>
                <a:gd name="connsiteX3699" fmla="*/ 689763 w 1313607"/>
                <a:gd name="connsiteY3699" fmla="*/ 1469343 h 2768823"/>
                <a:gd name="connsiteX3700" fmla="*/ 690398 w 1313607"/>
                <a:gd name="connsiteY3700" fmla="*/ 1469978 h 2768823"/>
                <a:gd name="connsiteX3701" fmla="*/ 697840 w 1313607"/>
                <a:gd name="connsiteY3701" fmla="*/ 1463625 h 2768823"/>
                <a:gd name="connsiteX3702" fmla="*/ 700018 w 1313607"/>
                <a:gd name="connsiteY3702" fmla="*/ 1462899 h 2768823"/>
                <a:gd name="connsiteX3703" fmla="*/ 699020 w 1313607"/>
                <a:gd name="connsiteY3703" fmla="*/ 1461991 h 2768823"/>
                <a:gd name="connsiteX3704" fmla="*/ 698385 w 1313607"/>
                <a:gd name="connsiteY3704" fmla="*/ 1460721 h 2768823"/>
                <a:gd name="connsiteX3705" fmla="*/ 698022 w 1313607"/>
                <a:gd name="connsiteY3705" fmla="*/ 1458996 h 2768823"/>
                <a:gd name="connsiteX3706" fmla="*/ 697931 w 1313607"/>
                <a:gd name="connsiteY3706" fmla="*/ 1456788 h 2768823"/>
                <a:gd name="connsiteX3707" fmla="*/ 682684 w 1313607"/>
                <a:gd name="connsiteY3707" fmla="*/ 1450375 h 2768823"/>
                <a:gd name="connsiteX3708" fmla="*/ 680688 w 1313607"/>
                <a:gd name="connsiteY3708" fmla="*/ 1447804 h 2768823"/>
                <a:gd name="connsiteX3709" fmla="*/ 686920 w 1313607"/>
                <a:gd name="connsiteY3709" fmla="*/ 1447804 h 2768823"/>
                <a:gd name="connsiteX3710" fmla="*/ 688039 w 1313607"/>
                <a:gd name="connsiteY3710" fmla="*/ 1448257 h 2768823"/>
                <a:gd name="connsiteX3711" fmla="*/ 690338 w 1313607"/>
                <a:gd name="connsiteY3711" fmla="*/ 1450163 h 2768823"/>
                <a:gd name="connsiteX3712" fmla="*/ 691064 w 1313607"/>
                <a:gd name="connsiteY3712" fmla="*/ 1450556 h 2768823"/>
                <a:gd name="connsiteX3713" fmla="*/ 692032 w 1313607"/>
                <a:gd name="connsiteY3713" fmla="*/ 1450435 h 2768823"/>
                <a:gd name="connsiteX3714" fmla="*/ 692940 w 1313607"/>
                <a:gd name="connsiteY3714" fmla="*/ 1450042 h 2768823"/>
                <a:gd name="connsiteX3715" fmla="*/ 693333 w 1313607"/>
                <a:gd name="connsiteY3715" fmla="*/ 1449044 h 2768823"/>
                <a:gd name="connsiteX3716" fmla="*/ 692788 w 1313607"/>
                <a:gd name="connsiteY3716" fmla="*/ 1447077 h 2768823"/>
                <a:gd name="connsiteX3717" fmla="*/ 692667 w 1313607"/>
                <a:gd name="connsiteY3717" fmla="*/ 1445807 h 2768823"/>
                <a:gd name="connsiteX3718" fmla="*/ 693605 w 1313607"/>
                <a:gd name="connsiteY3718" fmla="*/ 1442388 h 2768823"/>
                <a:gd name="connsiteX3719" fmla="*/ 693847 w 1313607"/>
                <a:gd name="connsiteY3719" fmla="*/ 1440150 h 2768823"/>
                <a:gd name="connsiteX3720" fmla="*/ 693091 w 1313607"/>
                <a:gd name="connsiteY3720" fmla="*/ 1436368 h 2768823"/>
                <a:gd name="connsiteX3721" fmla="*/ 689763 w 1313607"/>
                <a:gd name="connsiteY3721" fmla="*/ 1431437 h 2768823"/>
                <a:gd name="connsiteX3722" fmla="*/ 689007 w 1313607"/>
                <a:gd name="connsiteY3722" fmla="*/ 1429169 h 2768823"/>
                <a:gd name="connsiteX3723" fmla="*/ 689188 w 1313607"/>
                <a:gd name="connsiteY3723" fmla="*/ 1425296 h 2768823"/>
                <a:gd name="connsiteX3724" fmla="*/ 688795 w 1313607"/>
                <a:gd name="connsiteY3724" fmla="*/ 1424601 h 2768823"/>
                <a:gd name="connsiteX3725" fmla="*/ 687585 w 1313607"/>
                <a:gd name="connsiteY3725" fmla="*/ 1422906 h 2768823"/>
                <a:gd name="connsiteX3726" fmla="*/ 686405 w 1313607"/>
                <a:gd name="connsiteY3726" fmla="*/ 1421666 h 2768823"/>
                <a:gd name="connsiteX3727" fmla="*/ 682018 w 1313607"/>
                <a:gd name="connsiteY3727" fmla="*/ 1418762 h 2768823"/>
                <a:gd name="connsiteX3728" fmla="*/ 682018 w 1313607"/>
                <a:gd name="connsiteY3728" fmla="*/ 1417280 h 2768823"/>
                <a:gd name="connsiteX3729" fmla="*/ 683652 w 1313607"/>
                <a:gd name="connsiteY3729" fmla="*/ 1413831 h 2768823"/>
                <a:gd name="connsiteX3730" fmla="*/ 682442 w 1313607"/>
                <a:gd name="connsiteY3730" fmla="*/ 1407569 h 2768823"/>
                <a:gd name="connsiteX3731" fmla="*/ 680052 w 1313607"/>
                <a:gd name="connsiteY3731" fmla="*/ 1401125 h 2768823"/>
                <a:gd name="connsiteX3732" fmla="*/ 678207 w 1313607"/>
                <a:gd name="connsiteY3732" fmla="*/ 1397193 h 2768823"/>
                <a:gd name="connsiteX3733" fmla="*/ 675182 w 1313607"/>
                <a:gd name="connsiteY3733" fmla="*/ 1392927 h 2768823"/>
                <a:gd name="connsiteX3734" fmla="*/ 662718 w 1313607"/>
                <a:gd name="connsiteY3734" fmla="*/ 1382491 h 2768823"/>
                <a:gd name="connsiteX3735" fmla="*/ 664443 w 1313607"/>
                <a:gd name="connsiteY3735" fmla="*/ 1381553 h 2768823"/>
                <a:gd name="connsiteX3736" fmla="*/ 666076 w 1313607"/>
                <a:gd name="connsiteY3736" fmla="*/ 1382733 h 2768823"/>
                <a:gd name="connsiteX3737" fmla="*/ 667740 w 1313607"/>
                <a:gd name="connsiteY3737" fmla="*/ 1384517 h 2768823"/>
                <a:gd name="connsiteX3738" fmla="*/ 669615 w 1313607"/>
                <a:gd name="connsiteY3738" fmla="*/ 1385395 h 2768823"/>
                <a:gd name="connsiteX3739" fmla="*/ 671128 w 1313607"/>
                <a:gd name="connsiteY3739" fmla="*/ 1384578 h 2768823"/>
                <a:gd name="connsiteX3740" fmla="*/ 674305 w 1313607"/>
                <a:gd name="connsiteY3740" fmla="*/ 1381523 h 2768823"/>
                <a:gd name="connsiteX3741" fmla="*/ 676543 w 1313607"/>
                <a:gd name="connsiteY3741" fmla="*/ 1381220 h 2768823"/>
                <a:gd name="connsiteX3742" fmla="*/ 675152 w 1313607"/>
                <a:gd name="connsiteY3742" fmla="*/ 1384487 h 2768823"/>
                <a:gd name="connsiteX3743" fmla="*/ 674426 w 1313607"/>
                <a:gd name="connsiteY3743" fmla="*/ 1385395 h 2768823"/>
                <a:gd name="connsiteX3744" fmla="*/ 675817 w 1313607"/>
                <a:gd name="connsiteY3744" fmla="*/ 1386181 h 2768823"/>
                <a:gd name="connsiteX3745" fmla="*/ 677027 w 1313607"/>
                <a:gd name="connsiteY3745" fmla="*/ 1387210 h 2768823"/>
                <a:gd name="connsiteX3746" fmla="*/ 678056 w 1313607"/>
                <a:gd name="connsiteY3746" fmla="*/ 1388571 h 2768823"/>
                <a:gd name="connsiteX3747" fmla="*/ 678933 w 1313607"/>
                <a:gd name="connsiteY3747" fmla="*/ 1390296 h 2768823"/>
                <a:gd name="connsiteX3748" fmla="*/ 680688 w 1313607"/>
                <a:gd name="connsiteY3748" fmla="*/ 1397737 h 2768823"/>
                <a:gd name="connsiteX3749" fmla="*/ 681353 w 1313607"/>
                <a:gd name="connsiteY3749" fmla="*/ 1399250 h 2768823"/>
                <a:gd name="connsiteX3750" fmla="*/ 682866 w 1313607"/>
                <a:gd name="connsiteY3750" fmla="*/ 1399310 h 2768823"/>
                <a:gd name="connsiteX3751" fmla="*/ 684408 w 1313607"/>
                <a:gd name="connsiteY3751" fmla="*/ 1398312 h 2768823"/>
                <a:gd name="connsiteX3752" fmla="*/ 685619 w 1313607"/>
                <a:gd name="connsiteY3752" fmla="*/ 1398312 h 2768823"/>
                <a:gd name="connsiteX3753" fmla="*/ 686133 w 1313607"/>
                <a:gd name="connsiteY3753" fmla="*/ 1401398 h 2768823"/>
                <a:gd name="connsiteX3754" fmla="*/ 685891 w 1313607"/>
                <a:gd name="connsiteY3754" fmla="*/ 1402063 h 2768823"/>
                <a:gd name="connsiteX3755" fmla="*/ 684953 w 1313607"/>
                <a:gd name="connsiteY3755" fmla="*/ 1403788 h 2768823"/>
                <a:gd name="connsiteX3756" fmla="*/ 684741 w 1313607"/>
                <a:gd name="connsiteY3756" fmla="*/ 1404816 h 2768823"/>
                <a:gd name="connsiteX3757" fmla="*/ 684983 w 1313607"/>
                <a:gd name="connsiteY3757" fmla="*/ 1405905 h 2768823"/>
                <a:gd name="connsiteX3758" fmla="*/ 685921 w 1313607"/>
                <a:gd name="connsiteY3758" fmla="*/ 1407720 h 2768823"/>
                <a:gd name="connsiteX3759" fmla="*/ 686133 w 1313607"/>
                <a:gd name="connsiteY3759" fmla="*/ 1408325 h 2768823"/>
                <a:gd name="connsiteX3760" fmla="*/ 685921 w 1313607"/>
                <a:gd name="connsiteY3760" fmla="*/ 1415465 h 2768823"/>
                <a:gd name="connsiteX3761" fmla="*/ 686133 w 1313607"/>
                <a:gd name="connsiteY3761" fmla="*/ 1417280 h 2768823"/>
                <a:gd name="connsiteX3762" fmla="*/ 687040 w 1313607"/>
                <a:gd name="connsiteY3762" fmla="*/ 1418338 h 2768823"/>
                <a:gd name="connsiteX3763" fmla="*/ 688674 w 1313607"/>
                <a:gd name="connsiteY3763" fmla="*/ 1419549 h 2768823"/>
                <a:gd name="connsiteX3764" fmla="*/ 690277 w 1313607"/>
                <a:gd name="connsiteY3764" fmla="*/ 1420184 h 2768823"/>
                <a:gd name="connsiteX3765" fmla="*/ 691003 w 1313607"/>
                <a:gd name="connsiteY3765" fmla="*/ 1419428 h 2768823"/>
                <a:gd name="connsiteX3766" fmla="*/ 692395 w 1313607"/>
                <a:gd name="connsiteY3766" fmla="*/ 1416493 h 2768823"/>
                <a:gd name="connsiteX3767" fmla="*/ 695602 w 1313607"/>
                <a:gd name="connsiteY3767" fmla="*/ 1413377 h 2768823"/>
                <a:gd name="connsiteX3768" fmla="*/ 699050 w 1313607"/>
                <a:gd name="connsiteY3768" fmla="*/ 1411018 h 2768823"/>
                <a:gd name="connsiteX3769" fmla="*/ 701319 w 1313607"/>
                <a:gd name="connsiteY3769" fmla="*/ 1410413 h 2768823"/>
                <a:gd name="connsiteX3770" fmla="*/ 701107 w 1313607"/>
                <a:gd name="connsiteY3770" fmla="*/ 1410897 h 2768823"/>
                <a:gd name="connsiteX3771" fmla="*/ 701047 w 1313607"/>
                <a:gd name="connsiteY3771" fmla="*/ 1411139 h 2768823"/>
                <a:gd name="connsiteX3772" fmla="*/ 700956 w 1313607"/>
                <a:gd name="connsiteY3772" fmla="*/ 1411350 h 2768823"/>
                <a:gd name="connsiteX3773" fmla="*/ 700714 w 1313607"/>
                <a:gd name="connsiteY3773" fmla="*/ 1411774 h 2768823"/>
                <a:gd name="connsiteX3774" fmla="*/ 702045 w 1313607"/>
                <a:gd name="connsiteY3774" fmla="*/ 1414134 h 2768823"/>
                <a:gd name="connsiteX3775" fmla="*/ 704042 w 1313607"/>
                <a:gd name="connsiteY3775" fmla="*/ 1415434 h 2768823"/>
                <a:gd name="connsiteX3776" fmla="*/ 708277 w 1313607"/>
                <a:gd name="connsiteY3776" fmla="*/ 1417219 h 2768823"/>
                <a:gd name="connsiteX3777" fmla="*/ 705766 w 1313607"/>
                <a:gd name="connsiteY3777" fmla="*/ 1420547 h 2768823"/>
                <a:gd name="connsiteX3778" fmla="*/ 696963 w 1313607"/>
                <a:gd name="connsiteY3778" fmla="*/ 1419397 h 2768823"/>
                <a:gd name="connsiteX3779" fmla="*/ 694422 w 1313607"/>
                <a:gd name="connsiteY3779" fmla="*/ 1422846 h 2768823"/>
                <a:gd name="connsiteX3780" fmla="*/ 698445 w 1313607"/>
                <a:gd name="connsiteY3780" fmla="*/ 1422574 h 2768823"/>
                <a:gd name="connsiteX3781" fmla="*/ 700412 w 1313607"/>
                <a:gd name="connsiteY3781" fmla="*/ 1422967 h 2768823"/>
                <a:gd name="connsiteX3782" fmla="*/ 702045 w 1313607"/>
                <a:gd name="connsiteY3782" fmla="*/ 1424389 h 2768823"/>
                <a:gd name="connsiteX3783" fmla="*/ 701773 w 1313607"/>
                <a:gd name="connsiteY3783" fmla="*/ 1425115 h 2768823"/>
                <a:gd name="connsiteX3784" fmla="*/ 701289 w 1313607"/>
                <a:gd name="connsiteY3784" fmla="*/ 1427021 h 2768823"/>
                <a:gd name="connsiteX3785" fmla="*/ 705615 w 1313607"/>
                <a:gd name="connsiteY3785" fmla="*/ 1427686 h 2768823"/>
                <a:gd name="connsiteX3786" fmla="*/ 707642 w 1313607"/>
                <a:gd name="connsiteY3786" fmla="*/ 1427414 h 2768823"/>
                <a:gd name="connsiteX3787" fmla="*/ 709517 w 1313607"/>
                <a:gd name="connsiteY3787" fmla="*/ 1425750 h 2768823"/>
                <a:gd name="connsiteX3788" fmla="*/ 710546 w 1313607"/>
                <a:gd name="connsiteY3788" fmla="*/ 1423451 h 2768823"/>
                <a:gd name="connsiteX3789" fmla="*/ 711332 w 1313607"/>
                <a:gd name="connsiteY3789" fmla="*/ 1420880 h 2768823"/>
                <a:gd name="connsiteX3790" fmla="*/ 712270 w 1313607"/>
                <a:gd name="connsiteY3790" fmla="*/ 1419337 h 2768823"/>
                <a:gd name="connsiteX3791" fmla="*/ 713722 w 1313607"/>
                <a:gd name="connsiteY3791" fmla="*/ 1420093 h 2768823"/>
                <a:gd name="connsiteX3792" fmla="*/ 713178 w 1313607"/>
                <a:gd name="connsiteY3792" fmla="*/ 1420819 h 2768823"/>
                <a:gd name="connsiteX3793" fmla="*/ 712421 w 1313607"/>
                <a:gd name="connsiteY3793" fmla="*/ 1422180 h 2768823"/>
                <a:gd name="connsiteX3794" fmla="*/ 711877 w 1313607"/>
                <a:gd name="connsiteY3794" fmla="*/ 1423754 h 2768823"/>
                <a:gd name="connsiteX3795" fmla="*/ 711937 w 1313607"/>
                <a:gd name="connsiteY3795" fmla="*/ 1425054 h 2768823"/>
                <a:gd name="connsiteX3796" fmla="*/ 713117 w 1313607"/>
                <a:gd name="connsiteY3796" fmla="*/ 1426295 h 2768823"/>
                <a:gd name="connsiteX3797" fmla="*/ 714176 w 1313607"/>
                <a:gd name="connsiteY3797" fmla="*/ 1425387 h 2768823"/>
                <a:gd name="connsiteX3798" fmla="*/ 715114 w 1313607"/>
                <a:gd name="connsiteY3798" fmla="*/ 1423723 h 2768823"/>
                <a:gd name="connsiteX3799" fmla="*/ 716051 w 1313607"/>
                <a:gd name="connsiteY3799" fmla="*/ 1422846 h 2768823"/>
                <a:gd name="connsiteX3800" fmla="*/ 718018 w 1313607"/>
                <a:gd name="connsiteY3800" fmla="*/ 1421908 h 2768823"/>
                <a:gd name="connsiteX3801" fmla="*/ 719530 w 1313607"/>
                <a:gd name="connsiteY3801" fmla="*/ 1419579 h 2768823"/>
                <a:gd name="connsiteX3802" fmla="*/ 721951 w 1313607"/>
                <a:gd name="connsiteY3802" fmla="*/ 1413317 h 2768823"/>
                <a:gd name="connsiteX3803" fmla="*/ 719893 w 1313607"/>
                <a:gd name="connsiteY3803" fmla="*/ 1411955 h 2768823"/>
                <a:gd name="connsiteX3804" fmla="*/ 716596 w 1313607"/>
                <a:gd name="connsiteY3804" fmla="*/ 1415767 h 2768823"/>
                <a:gd name="connsiteX3805" fmla="*/ 714357 w 1313607"/>
                <a:gd name="connsiteY3805" fmla="*/ 1414587 h 2768823"/>
                <a:gd name="connsiteX3806" fmla="*/ 715235 w 1313607"/>
                <a:gd name="connsiteY3806" fmla="*/ 1412863 h 2768823"/>
                <a:gd name="connsiteX3807" fmla="*/ 715688 w 1313607"/>
                <a:gd name="connsiteY3807" fmla="*/ 1411169 h 2768823"/>
                <a:gd name="connsiteX3808" fmla="*/ 715477 w 1313607"/>
                <a:gd name="connsiteY3808" fmla="*/ 1409747 h 2768823"/>
                <a:gd name="connsiteX3809" fmla="*/ 714357 w 1313607"/>
                <a:gd name="connsiteY3809" fmla="*/ 1408961 h 2768823"/>
                <a:gd name="connsiteX3810" fmla="*/ 714357 w 1313607"/>
                <a:gd name="connsiteY3810" fmla="*/ 1407690 h 2768823"/>
                <a:gd name="connsiteX3811" fmla="*/ 719228 w 1313607"/>
                <a:gd name="connsiteY3811" fmla="*/ 1407690 h 2768823"/>
                <a:gd name="connsiteX3812" fmla="*/ 718774 w 1313607"/>
                <a:gd name="connsiteY3812" fmla="*/ 1405603 h 2768823"/>
                <a:gd name="connsiteX3813" fmla="*/ 718532 w 1313607"/>
                <a:gd name="connsiteY3813" fmla="*/ 1404816 h 2768823"/>
                <a:gd name="connsiteX3814" fmla="*/ 720529 w 1313607"/>
                <a:gd name="connsiteY3814" fmla="*/ 1404816 h 2768823"/>
                <a:gd name="connsiteX3815" fmla="*/ 722132 w 1313607"/>
                <a:gd name="connsiteY3815" fmla="*/ 1406329 h 2768823"/>
                <a:gd name="connsiteX3816" fmla="*/ 725399 w 1313607"/>
                <a:gd name="connsiteY3816" fmla="*/ 1410503 h 2768823"/>
                <a:gd name="connsiteX3817" fmla="*/ 725581 w 1313607"/>
                <a:gd name="connsiteY3817" fmla="*/ 1411804 h 2768823"/>
                <a:gd name="connsiteX3818" fmla="*/ 725793 w 1313607"/>
                <a:gd name="connsiteY3818" fmla="*/ 1412742 h 2768823"/>
                <a:gd name="connsiteX3819" fmla="*/ 726125 w 1313607"/>
                <a:gd name="connsiteY3819" fmla="*/ 1413377 h 2768823"/>
                <a:gd name="connsiteX3820" fmla="*/ 726821 w 1313607"/>
                <a:gd name="connsiteY3820" fmla="*/ 1413680 h 2768823"/>
                <a:gd name="connsiteX3821" fmla="*/ 728455 w 1313607"/>
                <a:gd name="connsiteY3821" fmla="*/ 1413771 h 2768823"/>
                <a:gd name="connsiteX3822" fmla="*/ 730391 w 1313607"/>
                <a:gd name="connsiteY3822" fmla="*/ 1414466 h 2768823"/>
                <a:gd name="connsiteX3823" fmla="*/ 731510 w 1313607"/>
                <a:gd name="connsiteY3823" fmla="*/ 1414376 h 2768823"/>
                <a:gd name="connsiteX3824" fmla="*/ 733779 w 1313607"/>
                <a:gd name="connsiteY3824" fmla="*/ 1413407 h 2768823"/>
                <a:gd name="connsiteX3825" fmla="*/ 734777 w 1313607"/>
                <a:gd name="connsiteY3825" fmla="*/ 1412621 h 2768823"/>
                <a:gd name="connsiteX3826" fmla="*/ 735564 w 1313607"/>
                <a:gd name="connsiteY3826" fmla="*/ 1411653 h 2768823"/>
                <a:gd name="connsiteX3827" fmla="*/ 736471 w 1313607"/>
                <a:gd name="connsiteY3827" fmla="*/ 1410866 h 2768823"/>
                <a:gd name="connsiteX3828" fmla="*/ 738952 w 1313607"/>
                <a:gd name="connsiteY3828" fmla="*/ 1410231 h 2768823"/>
                <a:gd name="connsiteX3829" fmla="*/ 740071 w 1313607"/>
                <a:gd name="connsiteY3829" fmla="*/ 1409414 h 2768823"/>
                <a:gd name="connsiteX3830" fmla="*/ 740949 w 1313607"/>
                <a:gd name="connsiteY3830" fmla="*/ 1408083 h 2768823"/>
                <a:gd name="connsiteX3831" fmla="*/ 741251 w 1313607"/>
                <a:gd name="connsiteY3831" fmla="*/ 1406238 h 2768823"/>
                <a:gd name="connsiteX3832" fmla="*/ 740132 w 1313607"/>
                <a:gd name="connsiteY3832" fmla="*/ 1404060 h 2768823"/>
                <a:gd name="connsiteX3833" fmla="*/ 735261 w 1313607"/>
                <a:gd name="connsiteY3833" fmla="*/ 1402124 h 2768823"/>
                <a:gd name="connsiteX3834" fmla="*/ 733749 w 1313607"/>
                <a:gd name="connsiteY3834" fmla="*/ 1399310 h 2768823"/>
                <a:gd name="connsiteX3835" fmla="*/ 741039 w 1313607"/>
                <a:gd name="connsiteY3835" fmla="*/ 1401216 h 2768823"/>
                <a:gd name="connsiteX3836" fmla="*/ 745093 w 1313607"/>
                <a:gd name="connsiteY3836" fmla="*/ 1400732 h 2768823"/>
                <a:gd name="connsiteX3837" fmla="*/ 746121 w 1313607"/>
                <a:gd name="connsiteY3837" fmla="*/ 1396527 h 2768823"/>
                <a:gd name="connsiteX3838" fmla="*/ 744911 w 1313607"/>
                <a:gd name="connsiteY3838" fmla="*/ 1394954 h 2768823"/>
                <a:gd name="connsiteX3839" fmla="*/ 742885 w 1313607"/>
                <a:gd name="connsiteY3839" fmla="*/ 1395196 h 2768823"/>
                <a:gd name="connsiteX3840" fmla="*/ 739224 w 1313607"/>
                <a:gd name="connsiteY3840" fmla="*/ 1396527 h 2768823"/>
                <a:gd name="connsiteX3841" fmla="*/ 737711 w 1313607"/>
                <a:gd name="connsiteY3841" fmla="*/ 1395831 h 2768823"/>
                <a:gd name="connsiteX3842" fmla="*/ 732992 w 1313607"/>
                <a:gd name="connsiteY3842" fmla="*/ 1392383 h 2768823"/>
                <a:gd name="connsiteX3843" fmla="*/ 734081 w 1313607"/>
                <a:gd name="connsiteY3843" fmla="*/ 1388390 h 2768823"/>
                <a:gd name="connsiteX3844" fmla="*/ 735564 w 1313607"/>
                <a:gd name="connsiteY3844" fmla="*/ 1387482 h 2768823"/>
                <a:gd name="connsiteX3845" fmla="*/ 741463 w 1313607"/>
                <a:gd name="connsiteY3845" fmla="*/ 1390779 h 2768823"/>
                <a:gd name="connsiteX3846" fmla="*/ 744276 w 1313607"/>
                <a:gd name="connsiteY3846" fmla="*/ 1391566 h 2768823"/>
                <a:gd name="connsiteX3847" fmla="*/ 746606 w 1313607"/>
                <a:gd name="connsiteY3847" fmla="*/ 1390628 h 2768823"/>
                <a:gd name="connsiteX3848" fmla="*/ 747483 w 1313607"/>
                <a:gd name="connsiteY3848" fmla="*/ 1386696 h 2768823"/>
                <a:gd name="connsiteX3849" fmla="*/ 748209 w 1313607"/>
                <a:gd name="connsiteY3849" fmla="*/ 1386696 h 2768823"/>
                <a:gd name="connsiteX3850" fmla="*/ 749207 w 1313607"/>
                <a:gd name="connsiteY3850" fmla="*/ 1389690 h 2768823"/>
                <a:gd name="connsiteX3851" fmla="*/ 750629 w 1313607"/>
                <a:gd name="connsiteY3851" fmla="*/ 1390719 h 2768823"/>
                <a:gd name="connsiteX3852" fmla="*/ 751506 w 1313607"/>
                <a:gd name="connsiteY3852" fmla="*/ 1389690 h 2768823"/>
                <a:gd name="connsiteX3853" fmla="*/ 750901 w 1313607"/>
                <a:gd name="connsiteY3853" fmla="*/ 1386696 h 2768823"/>
                <a:gd name="connsiteX3854" fmla="*/ 748935 w 1313607"/>
                <a:gd name="connsiteY3854" fmla="*/ 1384094 h 2768823"/>
                <a:gd name="connsiteX3855" fmla="*/ 746243 w 1313607"/>
                <a:gd name="connsiteY3855" fmla="*/ 1382884 h 2768823"/>
                <a:gd name="connsiteX3856" fmla="*/ 720287 w 1313607"/>
                <a:gd name="connsiteY3856" fmla="*/ 1383217 h 2768823"/>
                <a:gd name="connsiteX3857" fmla="*/ 717806 w 1313607"/>
                <a:gd name="connsiteY3857" fmla="*/ 1381280 h 2768823"/>
                <a:gd name="connsiteX3858" fmla="*/ 723644 w 1313607"/>
                <a:gd name="connsiteY3858" fmla="*/ 1379889 h 2768823"/>
                <a:gd name="connsiteX3859" fmla="*/ 726095 w 1313607"/>
                <a:gd name="connsiteY3859" fmla="*/ 1378376 h 2768823"/>
                <a:gd name="connsiteX3860" fmla="*/ 727608 w 1313607"/>
                <a:gd name="connsiteY3860" fmla="*/ 1376047 h 2768823"/>
                <a:gd name="connsiteX3861" fmla="*/ 727486 w 1313607"/>
                <a:gd name="connsiteY3861" fmla="*/ 1375745 h 2768823"/>
                <a:gd name="connsiteX3862" fmla="*/ 727729 w 1313607"/>
                <a:gd name="connsiteY3862" fmla="*/ 1375019 h 2768823"/>
                <a:gd name="connsiteX3863" fmla="*/ 727729 w 1313607"/>
                <a:gd name="connsiteY3863" fmla="*/ 1373899 h 2768823"/>
                <a:gd name="connsiteX3864" fmla="*/ 728001 w 1313607"/>
                <a:gd name="connsiteY3864" fmla="*/ 1373203 h 2768823"/>
                <a:gd name="connsiteX3865" fmla="*/ 728878 w 1313607"/>
                <a:gd name="connsiteY3865" fmla="*/ 1373718 h 2768823"/>
                <a:gd name="connsiteX3866" fmla="*/ 729362 w 1313607"/>
                <a:gd name="connsiteY3866" fmla="*/ 1374534 h 2768823"/>
                <a:gd name="connsiteX3867" fmla="*/ 730270 w 1313607"/>
                <a:gd name="connsiteY3867" fmla="*/ 1376713 h 2768823"/>
                <a:gd name="connsiteX3868" fmla="*/ 730542 w 1313607"/>
                <a:gd name="connsiteY3868" fmla="*/ 1377136 h 2768823"/>
                <a:gd name="connsiteX3869" fmla="*/ 737167 w 1313607"/>
                <a:gd name="connsiteY3869" fmla="*/ 1378407 h 2768823"/>
                <a:gd name="connsiteX3870" fmla="*/ 735927 w 1313607"/>
                <a:gd name="connsiteY3870" fmla="*/ 1375805 h 2768823"/>
                <a:gd name="connsiteX3871" fmla="*/ 734202 w 1313607"/>
                <a:gd name="connsiteY3871" fmla="*/ 1374050 h 2768823"/>
                <a:gd name="connsiteX3872" fmla="*/ 730905 w 1313607"/>
                <a:gd name="connsiteY3872" fmla="*/ 1371570 h 2768823"/>
                <a:gd name="connsiteX3873" fmla="*/ 732508 w 1313607"/>
                <a:gd name="connsiteY3873" fmla="*/ 1370209 h 2768823"/>
                <a:gd name="connsiteX3874" fmla="*/ 734112 w 1313607"/>
                <a:gd name="connsiteY3874" fmla="*/ 1369906 h 2768823"/>
                <a:gd name="connsiteX3875" fmla="*/ 735655 w 1313607"/>
                <a:gd name="connsiteY3875" fmla="*/ 1370420 h 2768823"/>
                <a:gd name="connsiteX3876" fmla="*/ 737167 w 1313607"/>
                <a:gd name="connsiteY3876" fmla="*/ 1371570 h 2768823"/>
                <a:gd name="connsiteX3877" fmla="*/ 740555 w 1313607"/>
                <a:gd name="connsiteY3877" fmla="*/ 1376440 h 2768823"/>
                <a:gd name="connsiteX3878" fmla="*/ 741584 w 1313607"/>
                <a:gd name="connsiteY3878" fmla="*/ 1377136 h 2768823"/>
                <a:gd name="connsiteX3879" fmla="*/ 742431 w 1313607"/>
                <a:gd name="connsiteY3879" fmla="*/ 1376017 h 2768823"/>
                <a:gd name="connsiteX3880" fmla="*/ 743066 w 1313607"/>
                <a:gd name="connsiteY3880" fmla="*/ 1371146 h 2768823"/>
                <a:gd name="connsiteX3881" fmla="*/ 743701 w 1313607"/>
                <a:gd name="connsiteY3881" fmla="*/ 1370027 h 2768823"/>
                <a:gd name="connsiteX3882" fmla="*/ 745063 w 1313607"/>
                <a:gd name="connsiteY3882" fmla="*/ 1369543 h 2768823"/>
                <a:gd name="connsiteX3883" fmla="*/ 749510 w 1313607"/>
                <a:gd name="connsiteY3883" fmla="*/ 1365852 h 2768823"/>
                <a:gd name="connsiteX3884" fmla="*/ 746091 w 1313607"/>
                <a:gd name="connsiteY3884" fmla="*/ 1365852 h 2768823"/>
                <a:gd name="connsiteX3885" fmla="*/ 747634 w 1313607"/>
                <a:gd name="connsiteY3885" fmla="*/ 1363977 h 2768823"/>
                <a:gd name="connsiteX3886" fmla="*/ 748330 w 1313607"/>
                <a:gd name="connsiteY3886" fmla="*/ 1361708 h 2768823"/>
                <a:gd name="connsiteX3887" fmla="*/ 748753 w 1313607"/>
                <a:gd name="connsiteY3887" fmla="*/ 1359409 h 2768823"/>
                <a:gd name="connsiteX3888" fmla="*/ 749479 w 1313607"/>
                <a:gd name="connsiteY3888" fmla="*/ 1357473 h 2768823"/>
                <a:gd name="connsiteX3889" fmla="*/ 751657 w 1313607"/>
                <a:gd name="connsiteY3889" fmla="*/ 1355839 h 2768823"/>
                <a:gd name="connsiteX3890" fmla="*/ 753684 w 1313607"/>
                <a:gd name="connsiteY3890" fmla="*/ 1356505 h 2768823"/>
                <a:gd name="connsiteX3891" fmla="*/ 755711 w 1313607"/>
                <a:gd name="connsiteY3891" fmla="*/ 1358047 h 2768823"/>
                <a:gd name="connsiteX3892" fmla="*/ 757829 w 1313607"/>
                <a:gd name="connsiteY3892" fmla="*/ 1358894 h 2768823"/>
                <a:gd name="connsiteX3893" fmla="*/ 759341 w 1313607"/>
                <a:gd name="connsiteY3893" fmla="*/ 1358078 h 2768823"/>
                <a:gd name="connsiteX3894" fmla="*/ 759583 w 1313607"/>
                <a:gd name="connsiteY3894" fmla="*/ 1356021 h 2768823"/>
                <a:gd name="connsiteX3895" fmla="*/ 759039 w 1313607"/>
                <a:gd name="connsiteY3895" fmla="*/ 1353540 h 2768823"/>
                <a:gd name="connsiteX3896" fmla="*/ 758192 w 1313607"/>
                <a:gd name="connsiteY3896" fmla="*/ 1351301 h 2768823"/>
                <a:gd name="connsiteX3897" fmla="*/ 756800 w 1313607"/>
                <a:gd name="connsiteY3897" fmla="*/ 1349305 h 2768823"/>
                <a:gd name="connsiteX3898" fmla="*/ 754743 w 1313607"/>
                <a:gd name="connsiteY3898" fmla="*/ 1347520 h 2768823"/>
                <a:gd name="connsiteX3899" fmla="*/ 752414 w 1313607"/>
                <a:gd name="connsiteY3899" fmla="*/ 1346431 h 2768823"/>
                <a:gd name="connsiteX3900" fmla="*/ 750296 w 1313607"/>
                <a:gd name="connsiteY3900" fmla="*/ 1346340 h 2768823"/>
                <a:gd name="connsiteX3901" fmla="*/ 750296 w 1313607"/>
                <a:gd name="connsiteY3901" fmla="*/ 1344949 h 2768823"/>
                <a:gd name="connsiteX3902" fmla="*/ 755015 w 1313607"/>
                <a:gd name="connsiteY3902" fmla="*/ 1344767 h 2768823"/>
                <a:gd name="connsiteX3903" fmla="*/ 769536 w 1313607"/>
                <a:gd name="connsiteY3903" fmla="*/ 1349153 h 2768823"/>
                <a:gd name="connsiteX3904" fmla="*/ 768991 w 1313607"/>
                <a:gd name="connsiteY3904" fmla="*/ 1347399 h 2768823"/>
                <a:gd name="connsiteX3905" fmla="*/ 766722 w 1313607"/>
                <a:gd name="connsiteY3905" fmla="*/ 1342165 h 2768823"/>
                <a:gd name="connsiteX3906" fmla="*/ 766208 w 1313607"/>
                <a:gd name="connsiteY3906" fmla="*/ 1340139 h 2768823"/>
                <a:gd name="connsiteX3907" fmla="*/ 765936 w 1313607"/>
                <a:gd name="connsiteY3907" fmla="*/ 1338202 h 2768823"/>
                <a:gd name="connsiteX3908" fmla="*/ 765361 w 1313607"/>
                <a:gd name="connsiteY3908" fmla="*/ 1336508 h 2768823"/>
                <a:gd name="connsiteX3909" fmla="*/ 763970 w 1313607"/>
                <a:gd name="connsiteY3909" fmla="*/ 1335147 h 2768823"/>
                <a:gd name="connsiteX3910" fmla="*/ 766844 w 1313607"/>
                <a:gd name="connsiteY3910" fmla="*/ 1333877 h 2768823"/>
                <a:gd name="connsiteX3911" fmla="*/ 776373 w 1313607"/>
                <a:gd name="connsiteY3911" fmla="*/ 1336418 h 2768823"/>
                <a:gd name="connsiteX3912" fmla="*/ 776373 w 1313607"/>
                <a:gd name="connsiteY3912" fmla="*/ 1337961 h 2768823"/>
                <a:gd name="connsiteX3913" fmla="*/ 771412 w 1313607"/>
                <a:gd name="connsiteY3913" fmla="*/ 1338021 h 2768823"/>
                <a:gd name="connsiteX3914" fmla="*/ 769264 w 1313607"/>
                <a:gd name="connsiteY3914" fmla="*/ 1338868 h 2768823"/>
                <a:gd name="connsiteX3915" fmla="*/ 769536 w 1313607"/>
                <a:gd name="connsiteY3915" fmla="*/ 1342165 h 2768823"/>
                <a:gd name="connsiteX3916" fmla="*/ 770020 w 1313607"/>
                <a:gd name="connsiteY3916" fmla="*/ 1345039 h 2768823"/>
                <a:gd name="connsiteX3917" fmla="*/ 771290 w 1313607"/>
                <a:gd name="connsiteY3917" fmla="*/ 1346824 h 2768823"/>
                <a:gd name="connsiteX3918" fmla="*/ 772713 w 1313607"/>
                <a:gd name="connsiteY3918" fmla="*/ 1346975 h 2768823"/>
                <a:gd name="connsiteX3919" fmla="*/ 774346 w 1313607"/>
                <a:gd name="connsiteY3919" fmla="*/ 1344949 h 2768823"/>
                <a:gd name="connsiteX3920" fmla="*/ 774104 w 1313607"/>
                <a:gd name="connsiteY3920" fmla="*/ 1344162 h 2768823"/>
                <a:gd name="connsiteX3921" fmla="*/ 773650 w 1313607"/>
                <a:gd name="connsiteY3921" fmla="*/ 1342135 h 2768823"/>
                <a:gd name="connsiteX3922" fmla="*/ 780275 w 1313607"/>
                <a:gd name="connsiteY3922" fmla="*/ 1342044 h 2768823"/>
                <a:gd name="connsiteX3923" fmla="*/ 783452 w 1313607"/>
                <a:gd name="connsiteY3923" fmla="*/ 1340865 h 2768823"/>
                <a:gd name="connsiteX3924" fmla="*/ 785357 w 1313607"/>
                <a:gd name="connsiteY3924" fmla="*/ 1337930 h 2768823"/>
                <a:gd name="connsiteX3925" fmla="*/ 769475 w 1313607"/>
                <a:gd name="connsiteY3925" fmla="*/ 1331638 h 2768823"/>
                <a:gd name="connsiteX3926" fmla="*/ 767419 w 1313607"/>
                <a:gd name="connsiteY3926" fmla="*/ 1329520 h 2768823"/>
                <a:gd name="connsiteX3927" fmla="*/ 769022 w 1313607"/>
                <a:gd name="connsiteY3927" fmla="*/ 1328219 h 2768823"/>
                <a:gd name="connsiteX3928" fmla="*/ 770837 w 1313607"/>
                <a:gd name="connsiteY3928" fmla="*/ 1327675 h 2768823"/>
                <a:gd name="connsiteX3929" fmla="*/ 775012 w 1313607"/>
                <a:gd name="connsiteY3929" fmla="*/ 1328008 h 2768823"/>
                <a:gd name="connsiteX3930" fmla="*/ 780608 w 1313607"/>
                <a:gd name="connsiteY3930" fmla="*/ 1330186 h 2768823"/>
                <a:gd name="connsiteX3931" fmla="*/ 781939 w 1313607"/>
                <a:gd name="connsiteY3931" fmla="*/ 1329520 h 2768823"/>
                <a:gd name="connsiteX3932" fmla="*/ 781334 w 1313607"/>
                <a:gd name="connsiteY3932" fmla="*/ 1326193 h 2768823"/>
                <a:gd name="connsiteX3933" fmla="*/ 782635 w 1313607"/>
                <a:gd name="connsiteY3933" fmla="*/ 1325497 h 2768823"/>
                <a:gd name="connsiteX3934" fmla="*/ 784722 w 1313607"/>
                <a:gd name="connsiteY3934" fmla="*/ 1326616 h 2768823"/>
                <a:gd name="connsiteX3935" fmla="*/ 786446 w 1313607"/>
                <a:gd name="connsiteY3935" fmla="*/ 1328734 h 2768823"/>
                <a:gd name="connsiteX3936" fmla="*/ 787838 w 1313607"/>
                <a:gd name="connsiteY3936" fmla="*/ 1330004 h 2768823"/>
                <a:gd name="connsiteX3937" fmla="*/ 789623 w 1313607"/>
                <a:gd name="connsiteY3937" fmla="*/ 1330972 h 2768823"/>
                <a:gd name="connsiteX3938" fmla="*/ 790773 w 1313607"/>
                <a:gd name="connsiteY3938" fmla="*/ 1332394 h 2768823"/>
                <a:gd name="connsiteX3939" fmla="*/ 790288 w 1313607"/>
                <a:gd name="connsiteY3939" fmla="*/ 1335087 h 2768823"/>
                <a:gd name="connsiteX3940" fmla="*/ 791196 w 1313607"/>
                <a:gd name="connsiteY3940" fmla="*/ 1336629 h 2768823"/>
                <a:gd name="connsiteX3941" fmla="*/ 793223 w 1313607"/>
                <a:gd name="connsiteY3941" fmla="*/ 1338656 h 2768823"/>
                <a:gd name="connsiteX3942" fmla="*/ 794040 w 1313607"/>
                <a:gd name="connsiteY3942" fmla="*/ 1339957 h 2768823"/>
                <a:gd name="connsiteX3943" fmla="*/ 794584 w 1313607"/>
                <a:gd name="connsiteY3943" fmla="*/ 1340471 h 2768823"/>
                <a:gd name="connsiteX3944" fmla="*/ 797397 w 1313607"/>
                <a:gd name="connsiteY3944" fmla="*/ 1344071 h 2768823"/>
                <a:gd name="connsiteX3945" fmla="*/ 797821 w 1313607"/>
                <a:gd name="connsiteY3945" fmla="*/ 1344918 h 2768823"/>
                <a:gd name="connsiteX3946" fmla="*/ 799424 w 1313607"/>
                <a:gd name="connsiteY3946" fmla="*/ 1344737 h 2768823"/>
                <a:gd name="connsiteX3947" fmla="*/ 800029 w 1313607"/>
                <a:gd name="connsiteY3947" fmla="*/ 1343708 h 2768823"/>
                <a:gd name="connsiteX3948" fmla="*/ 800302 w 1313607"/>
                <a:gd name="connsiteY3948" fmla="*/ 1342044 h 2768823"/>
                <a:gd name="connsiteX3949" fmla="*/ 800967 w 1313607"/>
                <a:gd name="connsiteY3949" fmla="*/ 1339957 h 2768823"/>
                <a:gd name="connsiteX3950" fmla="*/ 802208 w 1313607"/>
                <a:gd name="connsiteY3950" fmla="*/ 1338868 h 2768823"/>
                <a:gd name="connsiteX3951" fmla="*/ 803478 w 1313607"/>
                <a:gd name="connsiteY3951" fmla="*/ 1339050 h 2768823"/>
                <a:gd name="connsiteX3952" fmla="*/ 804628 w 1313607"/>
                <a:gd name="connsiteY3952" fmla="*/ 1338808 h 2768823"/>
                <a:gd name="connsiteX3953" fmla="*/ 805414 w 1313607"/>
                <a:gd name="connsiteY3953" fmla="*/ 1336387 h 2768823"/>
                <a:gd name="connsiteX3954" fmla="*/ 802903 w 1313607"/>
                <a:gd name="connsiteY3954" fmla="*/ 1336115 h 2768823"/>
                <a:gd name="connsiteX3955" fmla="*/ 799818 w 1313607"/>
                <a:gd name="connsiteY3955" fmla="*/ 1334966 h 2768823"/>
                <a:gd name="connsiteX3956" fmla="*/ 798154 w 1313607"/>
                <a:gd name="connsiteY3956" fmla="*/ 1332394 h 2768823"/>
                <a:gd name="connsiteX3957" fmla="*/ 799909 w 1313607"/>
                <a:gd name="connsiteY3957" fmla="*/ 1327977 h 2768823"/>
                <a:gd name="connsiteX3958" fmla="*/ 803902 w 1313607"/>
                <a:gd name="connsiteY3958" fmla="*/ 1332636 h 2768823"/>
                <a:gd name="connsiteX3959" fmla="*/ 805868 w 1313607"/>
                <a:gd name="connsiteY3959" fmla="*/ 1332878 h 2768823"/>
                <a:gd name="connsiteX3960" fmla="*/ 807502 w 1313607"/>
                <a:gd name="connsiteY3960" fmla="*/ 1329520 h 2768823"/>
                <a:gd name="connsiteX3961" fmla="*/ 805354 w 1313607"/>
                <a:gd name="connsiteY3961" fmla="*/ 1329520 h 2768823"/>
                <a:gd name="connsiteX3962" fmla="*/ 806503 w 1313607"/>
                <a:gd name="connsiteY3962" fmla="*/ 1327251 h 2768823"/>
                <a:gd name="connsiteX3963" fmla="*/ 808348 w 1313607"/>
                <a:gd name="connsiteY3963" fmla="*/ 1322472 h 2768823"/>
                <a:gd name="connsiteX3964" fmla="*/ 809528 w 1313607"/>
                <a:gd name="connsiteY3964" fmla="*/ 1321110 h 2768823"/>
                <a:gd name="connsiteX3965" fmla="*/ 808076 w 1313607"/>
                <a:gd name="connsiteY3965" fmla="*/ 1318721 h 2768823"/>
                <a:gd name="connsiteX3966" fmla="*/ 807471 w 1313607"/>
                <a:gd name="connsiteY3966" fmla="*/ 1318176 h 2768823"/>
                <a:gd name="connsiteX3967" fmla="*/ 809831 w 1313607"/>
                <a:gd name="connsiteY3967" fmla="*/ 1315968 h 2768823"/>
                <a:gd name="connsiteX3968" fmla="*/ 814943 w 1313607"/>
                <a:gd name="connsiteY3968" fmla="*/ 1314516 h 2768823"/>
                <a:gd name="connsiteX3969" fmla="*/ 817152 w 1313607"/>
                <a:gd name="connsiteY3969" fmla="*/ 1311127 h 2768823"/>
                <a:gd name="connsiteX3970" fmla="*/ 817606 w 1313607"/>
                <a:gd name="connsiteY3970" fmla="*/ 1314576 h 2768823"/>
                <a:gd name="connsiteX3971" fmla="*/ 818785 w 1313607"/>
                <a:gd name="connsiteY3971" fmla="*/ 1315272 h 2768823"/>
                <a:gd name="connsiteX3972" fmla="*/ 820177 w 1313607"/>
                <a:gd name="connsiteY3972" fmla="*/ 1313880 h 2768823"/>
                <a:gd name="connsiteX3973" fmla="*/ 821205 w 1313607"/>
                <a:gd name="connsiteY3973" fmla="*/ 1311127 h 2768823"/>
                <a:gd name="connsiteX3974" fmla="*/ 821205 w 1313607"/>
                <a:gd name="connsiteY3974" fmla="*/ 1304865 h 2768823"/>
                <a:gd name="connsiteX3975" fmla="*/ 821326 w 1313607"/>
                <a:gd name="connsiteY3975" fmla="*/ 1303020 h 2768823"/>
                <a:gd name="connsiteX3976" fmla="*/ 821811 w 1313607"/>
                <a:gd name="connsiteY3976" fmla="*/ 1299662 h 2768823"/>
                <a:gd name="connsiteX3977" fmla="*/ 821931 w 1313607"/>
                <a:gd name="connsiteY3977" fmla="*/ 1297666 h 2768823"/>
                <a:gd name="connsiteX3978" fmla="*/ 821931 w 1313607"/>
                <a:gd name="connsiteY3978" fmla="*/ 1290405 h 2768823"/>
                <a:gd name="connsiteX3979" fmla="*/ 822355 w 1313607"/>
                <a:gd name="connsiteY3979" fmla="*/ 1286926 h 2768823"/>
                <a:gd name="connsiteX3980" fmla="*/ 823595 w 1313607"/>
                <a:gd name="connsiteY3980" fmla="*/ 1285444 h 2768823"/>
                <a:gd name="connsiteX3981" fmla="*/ 825410 w 1313607"/>
                <a:gd name="connsiteY3981" fmla="*/ 1286715 h 2768823"/>
                <a:gd name="connsiteX3982" fmla="*/ 827377 w 1313607"/>
                <a:gd name="connsiteY3982" fmla="*/ 1289225 h 2768823"/>
                <a:gd name="connsiteX3983" fmla="*/ 829464 w 1313607"/>
                <a:gd name="connsiteY3983" fmla="*/ 1290950 h 2768823"/>
                <a:gd name="connsiteX3984" fmla="*/ 831582 w 1313607"/>
                <a:gd name="connsiteY3984" fmla="*/ 1289951 h 2768823"/>
                <a:gd name="connsiteX3985" fmla="*/ 828829 w 1313607"/>
                <a:gd name="connsiteY3985" fmla="*/ 1283175 h 2768823"/>
                <a:gd name="connsiteX3986" fmla="*/ 828920 w 1313607"/>
                <a:gd name="connsiteY3986" fmla="*/ 1281451 h 2768823"/>
                <a:gd name="connsiteX3987" fmla="*/ 831582 w 1313607"/>
                <a:gd name="connsiteY3987" fmla="*/ 1282752 h 2768823"/>
                <a:gd name="connsiteX3988" fmla="*/ 839840 w 1313607"/>
                <a:gd name="connsiteY3988" fmla="*/ 1292765 h 2768823"/>
                <a:gd name="connsiteX3989" fmla="*/ 843228 w 1313607"/>
                <a:gd name="connsiteY3989" fmla="*/ 1295669 h 2768823"/>
                <a:gd name="connsiteX3990" fmla="*/ 845195 w 1313607"/>
                <a:gd name="connsiteY3990" fmla="*/ 1296788 h 2768823"/>
                <a:gd name="connsiteX3991" fmla="*/ 846072 w 1313607"/>
                <a:gd name="connsiteY3991" fmla="*/ 1296183 h 2768823"/>
                <a:gd name="connsiteX3992" fmla="*/ 845951 w 1313607"/>
                <a:gd name="connsiteY3992" fmla="*/ 1293793 h 2768823"/>
                <a:gd name="connsiteX3993" fmla="*/ 845588 w 1313607"/>
                <a:gd name="connsiteY3993" fmla="*/ 1292311 h 2768823"/>
                <a:gd name="connsiteX3994" fmla="*/ 841535 w 1313607"/>
                <a:gd name="connsiteY3994" fmla="*/ 1286715 h 2768823"/>
                <a:gd name="connsiteX3995" fmla="*/ 840536 w 1313607"/>
                <a:gd name="connsiteY3995" fmla="*/ 1284930 h 2768823"/>
                <a:gd name="connsiteX3996" fmla="*/ 840899 w 1313607"/>
                <a:gd name="connsiteY3996" fmla="*/ 1284143 h 2768823"/>
                <a:gd name="connsiteX3997" fmla="*/ 842563 w 1313607"/>
                <a:gd name="connsiteY3997" fmla="*/ 1283931 h 2768823"/>
                <a:gd name="connsiteX3998" fmla="*/ 843985 w 1313607"/>
                <a:gd name="connsiteY3998" fmla="*/ 1283326 h 2768823"/>
                <a:gd name="connsiteX3999" fmla="*/ 846798 w 1313607"/>
                <a:gd name="connsiteY3999" fmla="*/ 1281451 h 2768823"/>
                <a:gd name="connsiteX4000" fmla="*/ 843834 w 1313607"/>
                <a:gd name="connsiteY4000" fmla="*/ 1279061 h 2768823"/>
                <a:gd name="connsiteX4001" fmla="*/ 841111 w 1313607"/>
                <a:gd name="connsiteY4001" fmla="*/ 1278335 h 2768823"/>
                <a:gd name="connsiteX4002" fmla="*/ 839871 w 1313607"/>
                <a:gd name="connsiteY4002" fmla="*/ 1276671 h 2768823"/>
                <a:gd name="connsiteX4003" fmla="*/ 841292 w 1313607"/>
                <a:gd name="connsiteY4003" fmla="*/ 1271437 h 2768823"/>
                <a:gd name="connsiteX4004" fmla="*/ 838721 w 1313607"/>
                <a:gd name="connsiteY4004" fmla="*/ 1270469 h 2768823"/>
                <a:gd name="connsiteX4005" fmla="*/ 837541 w 1313607"/>
                <a:gd name="connsiteY4005" fmla="*/ 1269653 h 2768823"/>
                <a:gd name="connsiteX4006" fmla="*/ 836422 w 1313607"/>
                <a:gd name="connsiteY4006" fmla="*/ 1268473 h 2768823"/>
                <a:gd name="connsiteX4007" fmla="*/ 839023 w 1313607"/>
                <a:gd name="connsiteY4007" fmla="*/ 1265902 h 2768823"/>
                <a:gd name="connsiteX4008" fmla="*/ 841413 w 1313607"/>
                <a:gd name="connsiteY4008" fmla="*/ 1265780 h 2768823"/>
                <a:gd name="connsiteX4009" fmla="*/ 843682 w 1313607"/>
                <a:gd name="connsiteY4009" fmla="*/ 1267596 h 2768823"/>
                <a:gd name="connsiteX4010" fmla="*/ 845740 w 1313607"/>
                <a:gd name="connsiteY4010" fmla="*/ 1270742 h 2768823"/>
                <a:gd name="connsiteX4011" fmla="*/ 847101 w 1313607"/>
                <a:gd name="connsiteY4011" fmla="*/ 1272224 h 2768823"/>
                <a:gd name="connsiteX4012" fmla="*/ 852364 w 1313607"/>
                <a:gd name="connsiteY4012" fmla="*/ 1274160 h 2768823"/>
                <a:gd name="connsiteX4013" fmla="*/ 855087 w 1313607"/>
                <a:gd name="connsiteY4013" fmla="*/ 1277700 h 2768823"/>
                <a:gd name="connsiteX4014" fmla="*/ 856448 w 1313607"/>
                <a:gd name="connsiteY4014" fmla="*/ 1278516 h 2768823"/>
                <a:gd name="connsiteX4015" fmla="*/ 856297 w 1313607"/>
                <a:gd name="connsiteY4015" fmla="*/ 1279242 h 2768823"/>
                <a:gd name="connsiteX4016" fmla="*/ 856085 w 1313607"/>
                <a:gd name="connsiteY4016" fmla="*/ 1280664 h 2768823"/>
                <a:gd name="connsiteX4017" fmla="*/ 855813 w 1313607"/>
                <a:gd name="connsiteY4017" fmla="*/ 1281451 h 2768823"/>
                <a:gd name="connsiteX4018" fmla="*/ 858233 w 1313607"/>
                <a:gd name="connsiteY4018" fmla="*/ 1282994 h 2768823"/>
                <a:gd name="connsiteX4019" fmla="*/ 858566 w 1313607"/>
                <a:gd name="connsiteY4019" fmla="*/ 1284748 h 2768823"/>
                <a:gd name="connsiteX4020" fmla="*/ 858173 w 1313607"/>
                <a:gd name="connsiteY4020" fmla="*/ 1286956 h 2768823"/>
                <a:gd name="connsiteX4021" fmla="*/ 858475 w 1313607"/>
                <a:gd name="connsiteY4021" fmla="*/ 1289891 h 2768823"/>
                <a:gd name="connsiteX4022" fmla="*/ 863285 w 1313607"/>
                <a:gd name="connsiteY4022" fmla="*/ 1292704 h 2768823"/>
                <a:gd name="connsiteX4023" fmla="*/ 864495 w 1313607"/>
                <a:gd name="connsiteY4023" fmla="*/ 1292220 h 2768823"/>
                <a:gd name="connsiteX4024" fmla="*/ 866855 w 1313607"/>
                <a:gd name="connsiteY4024" fmla="*/ 1289921 h 2768823"/>
                <a:gd name="connsiteX4025" fmla="*/ 868156 w 1313607"/>
                <a:gd name="connsiteY4025" fmla="*/ 1288257 h 2768823"/>
                <a:gd name="connsiteX4026" fmla="*/ 869063 w 1313607"/>
                <a:gd name="connsiteY4026" fmla="*/ 1287350 h 2768823"/>
                <a:gd name="connsiteX4027" fmla="*/ 871483 w 1313607"/>
                <a:gd name="connsiteY4027" fmla="*/ 1286624 h 2768823"/>
                <a:gd name="connsiteX4028" fmla="*/ 871846 w 1313607"/>
                <a:gd name="connsiteY4028" fmla="*/ 1285837 h 2768823"/>
                <a:gd name="connsiteX4029" fmla="*/ 871272 w 1313607"/>
                <a:gd name="connsiteY4029" fmla="*/ 1281057 h 2768823"/>
                <a:gd name="connsiteX4030" fmla="*/ 869608 w 1313607"/>
                <a:gd name="connsiteY4030" fmla="*/ 1275522 h 2768823"/>
                <a:gd name="connsiteX4031" fmla="*/ 869880 w 1313607"/>
                <a:gd name="connsiteY4031" fmla="*/ 1273434 h 2768823"/>
                <a:gd name="connsiteX4032" fmla="*/ 873208 w 1313607"/>
                <a:gd name="connsiteY4032" fmla="*/ 1269985 h 2768823"/>
                <a:gd name="connsiteX4033" fmla="*/ 877413 w 1313607"/>
                <a:gd name="connsiteY4033" fmla="*/ 1266960 h 2768823"/>
                <a:gd name="connsiteX4034" fmla="*/ 881073 w 1313607"/>
                <a:gd name="connsiteY4034" fmla="*/ 1263300 h 2768823"/>
                <a:gd name="connsiteX4035" fmla="*/ 882616 w 1313607"/>
                <a:gd name="connsiteY4035" fmla="*/ 1257915 h 2768823"/>
                <a:gd name="connsiteX4036" fmla="*/ 883342 w 1313607"/>
                <a:gd name="connsiteY4036" fmla="*/ 1257068 h 2768823"/>
                <a:gd name="connsiteX4037" fmla="*/ 886972 w 1313607"/>
                <a:gd name="connsiteY4037" fmla="*/ 1255132 h 2768823"/>
                <a:gd name="connsiteX4038" fmla="*/ 888455 w 1313607"/>
                <a:gd name="connsiteY4038" fmla="*/ 1253559 h 2768823"/>
                <a:gd name="connsiteX4039" fmla="*/ 889907 w 1313607"/>
                <a:gd name="connsiteY4039" fmla="*/ 1253680 h 2768823"/>
                <a:gd name="connsiteX4040" fmla="*/ 897772 w 1313607"/>
                <a:gd name="connsiteY4040" fmla="*/ 1257189 h 2768823"/>
                <a:gd name="connsiteX4041" fmla="*/ 896047 w 1313607"/>
                <a:gd name="connsiteY4041" fmla="*/ 1252954 h 2768823"/>
                <a:gd name="connsiteX4042" fmla="*/ 895805 w 1313607"/>
                <a:gd name="connsiteY4042" fmla="*/ 1250624 h 2768823"/>
                <a:gd name="connsiteX4043" fmla="*/ 896713 w 1313607"/>
                <a:gd name="connsiteY4043" fmla="*/ 1247841 h 2768823"/>
                <a:gd name="connsiteX4044" fmla="*/ 898165 w 1313607"/>
                <a:gd name="connsiteY4044" fmla="*/ 1245875 h 2768823"/>
                <a:gd name="connsiteX4045" fmla="*/ 900071 w 1313607"/>
                <a:gd name="connsiteY4045" fmla="*/ 1244484 h 2768823"/>
                <a:gd name="connsiteX4046" fmla="*/ 902098 w 1313607"/>
                <a:gd name="connsiteY4046" fmla="*/ 1243878 h 2768823"/>
                <a:gd name="connsiteX4047" fmla="*/ 903943 w 1313607"/>
                <a:gd name="connsiteY4047" fmla="*/ 1244241 h 2768823"/>
                <a:gd name="connsiteX4048" fmla="*/ 904578 w 1313607"/>
                <a:gd name="connsiteY4048" fmla="*/ 1244847 h 2768823"/>
                <a:gd name="connsiteX4049" fmla="*/ 904972 w 1313607"/>
                <a:gd name="connsiteY4049" fmla="*/ 1245724 h 2768823"/>
                <a:gd name="connsiteX4050" fmla="*/ 905637 w 1313607"/>
                <a:gd name="connsiteY4050" fmla="*/ 1247781 h 2768823"/>
                <a:gd name="connsiteX4051" fmla="*/ 906726 w 1313607"/>
                <a:gd name="connsiteY4051" fmla="*/ 1248809 h 2768823"/>
                <a:gd name="connsiteX4052" fmla="*/ 907906 w 1313607"/>
                <a:gd name="connsiteY4052" fmla="*/ 1248446 h 2768823"/>
                <a:gd name="connsiteX4053" fmla="*/ 909086 w 1313607"/>
                <a:gd name="connsiteY4053" fmla="*/ 1247569 h 2768823"/>
                <a:gd name="connsiteX4054" fmla="*/ 910114 w 1313607"/>
                <a:gd name="connsiteY4054" fmla="*/ 1247085 h 2768823"/>
                <a:gd name="connsiteX4055" fmla="*/ 916740 w 1313607"/>
                <a:gd name="connsiteY4055" fmla="*/ 1246571 h 2768823"/>
                <a:gd name="connsiteX4056" fmla="*/ 919099 w 1313607"/>
                <a:gd name="connsiteY4056" fmla="*/ 1247085 h 2768823"/>
                <a:gd name="connsiteX4057" fmla="*/ 918403 w 1313607"/>
                <a:gd name="connsiteY4057" fmla="*/ 1242366 h 2768823"/>
                <a:gd name="connsiteX4058" fmla="*/ 919432 w 1313607"/>
                <a:gd name="connsiteY4058" fmla="*/ 1237223 h 2768823"/>
                <a:gd name="connsiteX4059" fmla="*/ 921308 w 1313607"/>
                <a:gd name="connsiteY4059" fmla="*/ 1232716 h 2768823"/>
                <a:gd name="connsiteX4060" fmla="*/ 923274 w 1313607"/>
                <a:gd name="connsiteY4060" fmla="*/ 1229963 h 2768823"/>
                <a:gd name="connsiteX4061" fmla="*/ 923516 w 1313607"/>
                <a:gd name="connsiteY4061" fmla="*/ 1232474 h 2768823"/>
                <a:gd name="connsiteX4062" fmla="*/ 923092 w 1313607"/>
                <a:gd name="connsiteY4062" fmla="*/ 1235408 h 2768823"/>
                <a:gd name="connsiteX4063" fmla="*/ 922366 w 1313607"/>
                <a:gd name="connsiteY4063" fmla="*/ 1238342 h 2768823"/>
                <a:gd name="connsiteX4064" fmla="*/ 921519 w 1313607"/>
                <a:gd name="connsiteY4064" fmla="*/ 1240702 h 2768823"/>
                <a:gd name="connsiteX4065" fmla="*/ 921580 w 1313607"/>
                <a:gd name="connsiteY4065" fmla="*/ 1242941 h 2768823"/>
                <a:gd name="connsiteX4066" fmla="*/ 922760 w 1313607"/>
                <a:gd name="connsiteY4066" fmla="*/ 1245300 h 2768823"/>
                <a:gd name="connsiteX4067" fmla="*/ 924363 w 1313607"/>
                <a:gd name="connsiteY4067" fmla="*/ 1246752 h 2768823"/>
                <a:gd name="connsiteX4068" fmla="*/ 925664 w 1313607"/>
                <a:gd name="connsiteY4068" fmla="*/ 1246329 h 2768823"/>
                <a:gd name="connsiteX4069" fmla="*/ 926692 w 1313607"/>
                <a:gd name="connsiteY4069" fmla="*/ 1241186 h 2768823"/>
                <a:gd name="connsiteX4070" fmla="*/ 926541 w 1313607"/>
                <a:gd name="connsiteY4070" fmla="*/ 1228450 h 2768823"/>
                <a:gd name="connsiteX4071" fmla="*/ 927418 w 1313607"/>
                <a:gd name="connsiteY4071" fmla="*/ 1225546 h 2768823"/>
                <a:gd name="connsiteX4072" fmla="*/ 928780 w 1313607"/>
                <a:gd name="connsiteY4072" fmla="*/ 1226333 h 2768823"/>
                <a:gd name="connsiteX4073" fmla="*/ 930141 w 1313607"/>
                <a:gd name="connsiteY4073" fmla="*/ 1228722 h 2768823"/>
                <a:gd name="connsiteX4074" fmla="*/ 931079 w 1313607"/>
                <a:gd name="connsiteY4074" fmla="*/ 1231475 h 2768823"/>
                <a:gd name="connsiteX4075" fmla="*/ 931139 w 1313607"/>
                <a:gd name="connsiteY4075" fmla="*/ 1233442 h 2768823"/>
                <a:gd name="connsiteX4076" fmla="*/ 930262 w 1313607"/>
                <a:gd name="connsiteY4076" fmla="*/ 1236497 h 2768823"/>
                <a:gd name="connsiteX4077" fmla="*/ 930383 w 1313607"/>
                <a:gd name="connsiteY4077" fmla="*/ 1239038 h 2768823"/>
                <a:gd name="connsiteX4078" fmla="*/ 931411 w 1313607"/>
                <a:gd name="connsiteY4078" fmla="*/ 1240793 h 2768823"/>
                <a:gd name="connsiteX4079" fmla="*/ 933226 w 1313607"/>
                <a:gd name="connsiteY4079" fmla="*/ 1241428 h 2768823"/>
                <a:gd name="connsiteX4080" fmla="*/ 934376 w 1313607"/>
                <a:gd name="connsiteY4080" fmla="*/ 1240702 h 2768823"/>
                <a:gd name="connsiteX4081" fmla="*/ 935526 w 1313607"/>
                <a:gd name="connsiteY4081" fmla="*/ 1238887 h 2768823"/>
                <a:gd name="connsiteX4082" fmla="*/ 936464 w 1313607"/>
                <a:gd name="connsiteY4082" fmla="*/ 1236527 h 2768823"/>
                <a:gd name="connsiteX4083" fmla="*/ 937068 w 1313607"/>
                <a:gd name="connsiteY4083" fmla="*/ 1234168 h 2768823"/>
                <a:gd name="connsiteX4084" fmla="*/ 937008 w 1313607"/>
                <a:gd name="connsiteY4084" fmla="*/ 1232897 h 2768823"/>
                <a:gd name="connsiteX4085" fmla="*/ 936312 w 1313607"/>
                <a:gd name="connsiteY4085" fmla="*/ 1228329 h 2768823"/>
                <a:gd name="connsiteX4086" fmla="*/ 936494 w 1313607"/>
                <a:gd name="connsiteY4086" fmla="*/ 1226484 h 2768823"/>
                <a:gd name="connsiteX4087" fmla="*/ 936796 w 1313607"/>
                <a:gd name="connsiteY4087" fmla="*/ 1225425 h 2768823"/>
                <a:gd name="connsiteX4088" fmla="*/ 936857 w 1313607"/>
                <a:gd name="connsiteY4088" fmla="*/ 1224366 h 2768823"/>
                <a:gd name="connsiteX4089" fmla="*/ 936312 w 1313607"/>
                <a:gd name="connsiteY4089" fmla="*/ 1222642 h 2768823"/>
                <a:gd name="connsiteX4090" fmla="*/ 938642 w 1313607"/>
                <a:gd name="connsiteY4090" fmla="*/ 1223973 h 2768823"/>
                <a:gd name="connsiteX4091" fmla="*/ 940547 w 1313607"/>
                <a:gd name="connsiteY4091" fmla="*/ 1221674 h 2768823"/>
                <a:gd name="connsiteX4092" fmla="*/ 945327 w 1313607"/>
                <a:gd name="connsiteY4092" fmla="*/ 1211237 h 2768823"/>
                <a:gd name="connsiteX4093" fmla="*/ 945751 w 1313607"/>
                <a:gd name="connsiteY4093" fmla="*/ 1211449 h 2768823"/>
                <a:gd name="connsiteX4094" fmla="*/ 947929 w 1313607"/>
                <a:gd name="connsiteY4094" fmla="*/ 1214020 h 2768823"/>
                <a:gd name="connsiteX4095" fmla="*/ 948867 w 1313607"/>
                <a:gd name="connsiteY4095" fmla="*/ 1215714 h 2768823"/>
                <a:gd name="connsiteX4096" fmla="*/ 949078 w 1313607"/>
                <a:gd name="connsiteY4096" fmla="*/ 1217620 h 2768823"/>
                <a:gd name="connsiteX4097" fmla="*/ 948080 w 1313607"/>
                <a:gd name="connsiteY4097" fmla="*/ 1219829 h 2768823"/>
                <a:gd name="connsiteX4098" fmla="*/ 949260 w 1313607"/>
                <a:gd name="connsiteY4098" fmla="*/ 1221069 h 2768823"/>
                <a:gd name="connsiteX4099" fmla="*/ 950379 w 1313607"/>
                <a:gd name="connsiteY4099" fmla="*/ 1220706 h 2768823"/>
                <a:gd name="connsiteX4100" fmla="*/ 951196 w 1313607"/>
                <a:gd name="connsiteY4100" fmla="*/ 1218982 h 2768823"/>
                <a:gd name="connsiteX4101" fmla="*/ 951529 w 1313607"/>
                <a:gd name="connsiteY4101" fmla="*/ 1216229 h 2768823"/>
                <a:gd name="connsiteX4102" fmla="*/ 956339 w 1313607"/>
                <a:gd name="connsiteY4102" fmla="*/ 1211237 h 2768823"/>
                <a:gd name="connsiteX4103" fmla="*/ 958093 w 1313607"/>
                <a:gd name="connsiteY4103" fmla="*/ 1211509 h 2768823"/>
                <a:gd name="connsiteX4104" fmla="*/ 959394 w 1313607"/>
                <a:gd name="connsiteY4104" fmla="*/ 1212840 h 2768823"/>
                <a:gd name="connsiteX4105" fmla="*/ 961542 w 1313607"/>
                <a:gd name="connsiteY4105" fmla="*/ 1217741 h 2768823"/>
                <a:gd name="connsiteX4106" fmla="*/ 962571 w 1313607"/>
                <a:gd name="connsiteY4106" fmla="*/ 1218134 h 2768823"/>
                <a:gd name="connsiteX4107" fmla="*/ 963871 w 1313607"/>
                <a:gd name="connsiteY4107" fmla="*/ 1216138 h 2768823"/>
                <a:gd name="connsiteX4108" fmla="*/ 966049 w 1313607"/>
                <a:gd name="connsiteY4108" fmla="*/ 1211207 h 2768823"/>
                <a:gd name="connsiteX4109" fmla="*/ 964416 w 1313607"/>
                <a:gd name="connsiteY4109" fmla="*/ 1211449 h 2768823"/>
                <a:gd name="connsiteX4110" fmla="*/ 962934 w 1313607"/>
                <a:gd name="connsiteY4110" fmla="*/ 1211116 h 2768823"/>
                <a:gd name="connsiteX4111" fmla="*/ 962147 w 1313607"/>
                <a:gd name="connsiteY4111" fmla="*/ 1209755 h 2768823"/>
                <a:gd name="connsiteX4112" fmla="*/ 962631 w 1313607"/>
                <a:gd name="connsiteY4112" fmla="*/ 1206911 h 2768823"/>
                <a:gd name="connsiteX4113" fmla="*/ 963629 w 1313607"/>
                <a:gd name="connsiteY4113" fmla="*/ 1205701 h 2768823"/>
                <a:gd name="connsiteX4114" fmla="*/ 968106 w 1313607"/>
                <a:gd name="connsiteY4114" fmla="*/ 1205459 h 2768823"/>
                <a:gd name="connsiteX4115" fmla="*/ 972916 w 1313607"/>
                <a:gd name="connsiteY4115" fmla="*/ 1201315 h 2768823"/>
                <a:gd name="connsiteX4116" fmla="*/ 973824 w 1313607"/>
                <a:gd name="connsiteY4116" fmla="*/ 1199379 h 2768823"/>
                <a:gd name="connsiteX4117" fmla="*/ 975700 w 1313607"/>
                <a:gd name="connsiteY4117" fmla="*/ 1192572 h 2768823"/>
                <a:gd name="connsiteX4118" fmla="*/ 977696 w 1313607"/>
                <a:gd name="connsiteY4118" fmla="*/ 1185463 h 2768823"/>
                <a:gd name="connsiteX4119" fmla="*/ 979360 w 1313607"/>
                <a:gd name="connsiteY4119" fmla="*/ 1182377 h 2768823"/>
                <a:gd name="connsiteX4120" fmla="*/ 981568 w 1313607"/>
                <a:gd name="connsiteY4120" fmla="*/ 1181076 h 2768823"/>
                <a:gd name="connsiteX4121" fmla="*/ 981841 w 1313607"/>
                <a:gd name="connsiteY4121" fmla="*/ 1180623 h 2768823"/>
                <a:gd name="connsiteX4122" fmla="*/ 982324 w 1313607"/>
                <a:gd name="connsiteY4122" fmla="*/ 1179624 h 2768823"/>
                <a:gd name="connsiteX4123" fmla="*/ 983111 w 1313607"/>
                <a:gd name="connsiteY4123" fmla="*/ 1178626 h 2768823"/>
                <a:gd name="connsiteX4124" fmla="*/ 984291 w 1313607"/>
                <a:gd name="connsiteY4124" fmla="*/ 1178172 h 2768823"/>
                <a:gd name="connsiteX4125" fmla="*/ 984956 w 1313607"/>
                <a:gd name="connsiteY4125" fmla="*/ 1177235 h 2768823"/>
                <a:gd name="connsiteX4126" fmla="*/ 985259 w 1313607"/>
                <a:gd name="connsiteY4126" fmla="*/ 1175056 h 2768823"/>
                <a:gd name="connsiteX4127" fmla="*/ 985410 w 1313607"/>
                <a:gd name="connsiteY4127" fmla="*/ 1170821 h 2768823"/>
                <a:gd name="connsiteX4128" fmla="*/ 985713 w 1313607"/>
                <a:gd name="connsiteY4128" fmla="*/ 1169732 h 2768823"/>
                <a:gd name="connsiteX4129" fmla="*/ 986136 w 1313607"/>
                <a:gd name="connsiteY4129" fmla="*/ 1169460 h 2768823"/>
                <a:gd name="connsiteX4130" fmla="*/ 986529 w 1313607"/>
                <a:gd name="connsiteY4130" fmla="*/ 1169339 h 2768823"/>
                <a:gd name="connsiteX4131" fmla="*/ 986711 w 1313607"/>
                <a:gd name="connsiteY4131" fmla="*/ 1168673 h 2768823"/>
                <a:gd name="connsiteX4132" fmla="*/ 986651 w 1313607"/>
                <a:gd name="connsiteY4132" fmla="*/ 1167917 h 2768823"/>
                <a:gd name="connsiteX4133" fmla="*/ 986499 w 1313607"/>
                <a:gd name="connsiteY4133" fmla="*/ 1166737 h 2768823"/>
                <a:gd name="connsiteX4134" fmla="*/ 986257 w 1313607"/>
                <a:gd name="connsiteY4134" fmla="*/ 1165981 h 2768823"/>
                <a:gd name="connsiteX4135" fmla="*/ 986015 w 1313607"/>
                <a:gd name="connsiteY4135" fmla="*/ 1166405 h 2768823"/>
                <a:gd name="connsiteX4136" fmla="*/ 986378 w 1313607"/>
                <a:gd name="connsiteY4136" fmla="*/ 1163773 h 2768823"/>
                <a:gd name="connsiteX4137" fmla="*/ 986469 w 1313607"/>
                <a:gd name="connsiteY4137" fmla="*/ 1162653 h 2768823"/>
                <a:gd name="connsiteX4138" fmla="*/ 986711 w 1313607"/>
                <a:gd name="connsiteY4138" fmla="*/ 1161806 h 2768823"/>
                <a:gd name="connsiteX4139" fmla="*/ 990674 w 1313607"/>
                <a:gd name="connsiteY4139" fmla="*/ 1153790 h 2768823"/>
                <a:gd name="connsiteX4140" fmla="*/ 991309 w 1313607"/>
                <a:gd name="connsiteY4140" fmla="*/ 1149978 h 2768823"/>
                <a:gd name="connsiteX4141" fmla="*/ 990069 w 1313607"/>
                <a:gd name="connsiteY4141" fmla="*/ 1146318 h 2768823"/>
                <a:gd name="connsiteX4142" fmla="*/ 991884 w 1313607"/>
                <a:gd name="connsiteY4142" fmla="*/ 1142234 h 2768823"/>
                <a:gd name="connsiteX4143" fmla="*/ 999749 w 1313607"/>
                <a:gd name="connsiteY4143" fmla="*/ 1133279 h 2768823"/>
                <a:gd name="connsiteX4144" fmla="*/ 1002321 w 1313607"/>
                <a:gd name="connsiteY4144" fmla="*/ 1126866 h 2768823"/>
                <a:gd name="connsiteX4145" fmla="*/ 1003198 w 1313607"/>
                <a:gd name="connsiteY4145" fmla="*/ 1125777 h 2768823"/>
                <a:gd name="connsiteX4146" fmla="*/ 1003591 w 1313607"/>
                <a:gd name="connsiteY4146" fmla="*/ 1126079 h 2768823"/>
                <a:gd name="connsiteX4147" fmla="*/ 1006647 w 1313607"/>
                <a:gd name="connsiteY4147" fmla="*/ 1127350 h 2768823"/>
                <a:gd name="connsiteX4148" fmla="*/ 1007040 w 1313607"/>
                <a:gd name="connsiteY4148" fmla="*/ 1126987 h 2768823"/>
                <a:gd name="connsiteX4149" fmla="*/ 1019806 w 1313607"/>
                <a:gd name="connsiteY4149" fmla="*/ 1108685 h 2768823"/>
                <a:gd name="connsiteX4150" fmla="*/ 1020442 w 1313607"/>
                <a:gd name="connsiteY4150" fmla="*/ 1108352 h 2768823"/>
                <a:gd name="connsiteX4151" fmla="*/ 1021046 w 1313607"/>
                <a:gd name="connsiteY4151" fmla="*/ 1109108 h 2768823"/>
                <a:gd name="connsiteX4152" fmla="*/ 1022468 w 1313607"/>
                <a:gd name="connsiteY4152" fmla="*/ 1109895 h 2768823"/>
                <a:gd name="connsiteX4153" fmla="*/ 1024193 w 1313607"/>
                <a:gd name="connsiteY4153" fmla="*/ 1109713 h 2768823"/>
                <a:gd name="connsiteX4154" fmla="*/ 1027066 w 1313607"/>
                <a:gd name="connsiteY4154" fmla="*/ 1107626 h 2768823"/>
                <a:gd name="connsiteX4155" fmla="*/ 1028700 w 1313607"/>
                <a:gd name="connsiteY4155" fmla="*/ 1106991 h 2768823"/>
                <a:gd name="connsiteX4156" fmla="*/ 1028367 w 1313607"/>
                <a:gd name="connsiteY4156" fmla="*/ 1106083 h 2768823"/>
                <a:gd name="connsiteX4157" fmla="*/ 1028216 w 1313607"/>
                <a:gd name="connsiteY4157" fmla="*/ 1105297 h 2768823"/>
                <a:gd name="connsiteX4158" fmla="*/ 1027944 w 1313607"/>
                <a:gd name="connsiteY4158" fmla="*/ 1104601 h 2768823"/>
                <a:gd name="connsiteX4159" fmla="*/ 1027308 w 1313607"/>
                <a:gd name="connsiteY4159" fmla="*/ 1103935 h 2768823"/>
                <a:gd name="connsiteX4160" fmla="*/ 1027732 w 1313607"/>
                <a:gd name="connsiteY4160" fmla="*/ 1102060 h 2768823"/>
                <a:gd name="connsiteX4161" fmla="*/ 1027883 w 1313607"/>
                <a:gd name="connsiteY4161" fmla="*/ 1100245 h 2768823"/>
                <a:gd name="connsiteX4162" fmla="*/ 1027732 w 1313607"/>
                <a:gd name="connsiteY4162" fmla="*/ 1098430 h 2768823"/>
                <a:gd name="connsiteX4163" fmla="*/ 1027308 w 1313607"/>
                <a:gd name="connsiteY4163" fmla="*/ 1096524 h 2768823"/>
                <a:gd name="connsiteX4164" fmla="*/ 1028821 w 1313607"/>
                <a:gd name="connsiteY4164" fmla="*/ 1098309 h 2768823"/>
                <a:gd name="connsiteX4165" fmla="*/ 1030666 w 1313607"/>
                <a:gd name="connsiteY4165" fmla="*/ 1101666 h 2768823"/>
                <a:gd name="connsiteX4166" fmla="*/ 1032845 w 1313607"/>
                <a:gd name="connsiteY4166" fmla="*/ 1103724 h 2768823"/>
                <a:gd name="connsiteX4167" fmla="*/ 1035295 w 1313607"/>
                <a:gd name="connsiteY4167" fmla="*/ 1101727 h 2768823"/>
                <a:gd name="connsiteX4168" fmla="*/ 1037231 w 1313607"/>
                <a:gd name="connsiteY4168" fmla="*/ 1098883 h 2768823"/>
                <a:gd name="connsiteX4169" fmla="*/ 1041315 w 1313607"/>
                <a:gd name="connsiteY4169" fmla="*/ 1094920 h 2768823"/>
                <a:gd name="connsiteX4170" fmla="*/ 1047032 w 1313607"/>
                <a:gd name="connsiteY4170" fmla="*/ 1085694 h 2768823"/>
                <a:gd name="connsiteX4171" fmla="*/ 1048212 w 1313607"/>
                <a:gd name="connsiteY4171" fmla="*/ 1084181 h 2768823"/>
                <a:gd name="connsiteX4172" fmla="*/ 1050723 w 1313607"/>
                <a:gd name="connsiteY4172" fmla="*/ 1082759 h 2768823"/>
                <a:gd name="connsiteX4173" fmla="*/ 1051872 w 1313607"/>
                <a:gd name="connsiteY4173" fmla="*/ 1081307 h 2768823"/>
                <a:gd name="connsiteX4174" fmla="*/ 1053204 w 1313607"/>
                <a:gd name="connsiteY4174" fmla="*/ 1080037 h 2768823"/>
                <a:gd name="connsiteX4175" fmla="*/ 1054565 w 1313607"/>
                <a:gd name="connsiteY4175" fmla="*/ 1080037 h 2768823"/>
                <a:gd name="connsiteX4176" fmla="*/ 1055714 w 1313607"/>
                <a:gd name="connsiteY4176" fmla="*/ 1079764 h 2768823"/>
                <a:gd name="connsiteX4177" fmla="*/ 1056350 w 1313607"/>
                <a:gd name="connsiteY4177" fmla="*/ 1077677 h 2768823"/>
                <a:gd name="connsiteX4178" fmla="*/ 1056229 w 1313607"/>
                <a:gd name="connsiteY4178" fmla="*/ 1074803 h 2768823"/>
                <a:gd name="connsiteX4179" fmla="*/ 1055473 w 1313607"/>
                <a:gd name="connsiteY4179" fmla="*/ 1072776 h 2768823"/>
                <a:gd name="connsiteX4180" fmla="*/ 1054293 w 1313607"/>
                <a:gd name="connsiteY4180" fmla="*/ 1071718 h 2768823"/>
                <a:gd name="connsiteX4181" fmla="*/ 1052932 w 1313607"/>
                <a:gd name="connsiteY4181" fmla="*/ 1071718 h 2768823"/>
                <a:gd name="connsiteX4182" fmla="*/ 1053567 w 1313607"/>
                <a:gd name="connsiteY4182" fmla="*/ 1074773 h 2768823"/>
                <a:gd name="connsiteX4183" fmla="*/ 1051509 w 1313607"/>
                <a:gd name="connsiteY4183" fmla="*/ 1073805 h 2768823"/>
                <a:gd name="connsiteX4184" fmla="*/ 1049422 w 1313607"/>
                <a:gd name="connsiteY4184" fmla="*/ 1073291 h 2768823"/>
                <a:gd name="connsiteX4185" fmla="*/ 1048787 w 1313607"/>
                <a:gd name="connsiteY4185" fmla="*/ 1073987 h 2768823"/>
                <a:gd name="connsiteX4186" fmla="*/ 1047668 w 1313607"/>
                <a:gd name="connsiteY4186" fmla="*/ 1077042 h 2768823"/>
                <a:gd name="connsiteX4187" fmla="*/ 1046730 w 1313607"/>
                <a:gd name="connsiteY4187" fmla="*/ 1077707 h 2768823"/>
                <a:gd name="connsiteX4188" fmla="*/ 1044885 w 1313607"/>
                <a:gd name="connsiteY4188" fmla="*/ 1077254 h 2768823"/>
                <a:gd name="connsiteX4189" fmla="*/ 1043644 w 1313607"/>
                <a:gd name="connsiteY4189" fmla="*/ 1075862 h 2768823"/>
                <a:gd name="connsiteX4190" fmla="*/ 1043433 w 1313607"/>
                <a:gd name="connsiteY4190" fmla="*/ 1073533 h 2768823"/>
                <a:gd name="connsiteX4191" fmla="*/ 1044643 w 1313607"/>
                <a:gd name="connsiteY4191" fmla="*/ 1070235 h 2768823"/>
                <a:gd name="connsiteX4192" fmla="*/ 1044400 w 1313607"/>
                <a:gd name="connsiteY4192" fmla="*/ 1068723 h 2768823"/>
                <a:gd name="connsiteX4193" fmla="*/ 1043614 w 1313607"/>
                <a:gd name="connsiteY4193" fmla="*/ 1065153 h 2768823"/>
                <a:gd name="connsiteX4194" fmla="*/ 1043251 w 1313607"/>
                <a:gd name="connsiteY4194" fmla="*/ 1064215 h 2768823"/>
                <a:gd name="connsiteX4195" fmla="*/ 1041950 w 1313607"/>
                <a:gd name="connsiteY4195" fmla="*/ 1063792 h 2768823"/>
                <a:gd name="connsiteX4196" fmla="*/ 1037866 w 1313607"/>
                <a:gd name="connsiteY4196" fmla="*/ 1064306 h 2768823"/>
                <a:gd name="connsiteX4197" fmla="*/ 1036777 w 1313607"/>
                <a:gd name="connsiteY4197" fmla="*/ 1065062 h 2768823"/>
                <a:gd name="connsiteX4198" fmla="*/ 1035507 w 1313607"/>
                <a:gd name="connsiteY4198" fmla="*/ 1066333 h 2768823"/>
                <a:gd name="connsiteX4199" fmla="*/ 1034175 w 1313607"/>
                <a:gd name="connsiteY4199" fmla="*/ 1065244 h 2768823"/>
                <a:gd name="connsiteX4200" fmla="*/ 1032270 w 1313607"/>
                <a:gd name="connsiteY4200" fmla="*/ 1061432 h 2768823"/>
                <a:gd name="connsiteX4201" fmla="*/ 1030878 w 1313607"/>
                <a:gd name="connsiteY4201" fmla="*/ 1061099 h 2768823"/>
                <a:gd name="connsiteX4202" fmla="*/ 1030273 w 1313607"/>
                <a:gd name="connsiteY4202" fmla="*/ 1060585 h 2768823"/>
                <a:gd name="connsiteX4203" fmla="*/ 1030515 w 1313607"/>
                <a:gd name="connsiteY4203" fmla="*/ 1059254 h 2768823"/>
                <a:gd name="connsiteX4204" fmla="*/ 1031211 w 1313607"/>
                <a:gd name="connsiteY4204" fmla="*/ 1058528 h 2768823"/>
                <a:gd name="connsiteX4205" fmla="*/ 1032028 w 1313607"/>
                <a:gd name="connsiteY4205" fmla="*/ 1058528 h 2768823"/>
                <a:gd name="connsiteX4206" fmla="*/ 1032693 w 1313607"/>
                <a:gd name="connsiteY4206" fmla="*/ 1059224 h 2768823"/>
                <a:gd name="connsiteX4207" fmla="*/ 1032965 w 1313607"/>
                <a:gd name="connsiteY4207" fmla="*/ 1060706 h 2768823"/>
                <a:gd name="connsiteX4208" fmla="*/ 1034206 w 1313607"/>
                <a:gd name="connsiteY4208" fmla="*/ 1062793 h 2768823"/>
                <a:gd name="connsiteX4209" fmla="*/ 1037019 w 1313607"/>
                <a:gd name="connsiteY4209" fmla="*/ 1061160 h 2768823"/>
                <a:gd name="connsiteX4210" fmla="*/ 1041920 w 1313607"/>
                <a:gd name="connsiteY4210" fmla="*/ 1057076 h 2768823"/>
                <a:gd name="connsiteX4211" fmla="*/ 1042707 w 1313607"/>
                <a:gd name="connsiteY4211" fmla="*/ 1057802 h 2768823"/>
                <a:gd name="connsiteX4212" fmla="*/ 1045278 w 1313607"/>
                <a:gd name="connsiteY4212" fmla="*/ 1062219 h 2768823"/>
                <a:gd name="connsiteX4213" fmla="*/ 1046730 w 1313607"/>
                <a:gd name="connsiteY4213" fmla="*/ 1063005 h 2768823"/>
                <a:gd name="connsiteX4214" fmla="*/ 1048182 w 1313607"/>
                <a:gd name="connsiteY4214" fmla="*/ 1062582 h 2768823"/>
                <a:gd name="connsiteX4215" fmla="*/ 1049573 w 1313607"/>
                <a:gd name="connsiteY4215" fmla="*/ 1061462 h 2768823"/>
                <a:gd name="connsiteX4216" fmla="*/ 1050844 w 1313607"/>
                <a:gd name="connsiteY4216" fmla="*/ 1060040 h 2768823"/>
                <a:gd name="connsiteX4217" fmla="*/ 1048817 w 1313607"/>
                <a:gd name="connsiteY4217" fmla="*/ 1060162 h 2768823"/>
                <a:gd name="connsiteX4218" fmla="*/ 1047123 w 1313607"/>
                <a:gd name="connsiteY4218" fmla="*/ 1059526 h 2768823"/>
                <a:gd name="connsiteX4219" fmla="*/ 1045701 w 1313607"/>
                <a:gd name="connsiteY4219" fmla="*/ 1058014 h 2768823"/>
                <a:gd name="connsiteX4220" fmla="*/ 1044552 w 1313607"/>
                <a:gd name="connsiteY4220" fmla="*/ 1055503 h 2768823"/>
                <a:gd name="connsiteX4221" fmla="*/ 1044552 w 1313607"/>
                <a:gd name="connsiteY4221" fmla="*/ 1050481 h 2768823"/>
                <a:gd name="connsiteX4222" fmla="*/ 1044128 w 1313607"/>
                <a:gd name="connsiteY4222" fmla="*/ 1049543 h 2768823"/>
                <a:gd name="connsiteX4223" fmla="*/ 1043190 w 1313607"/>
                <a:gd name="connsiteY4223" fmla="*/ 1048666 h 2768823"/>
                <a:gd name="connsiteX4224" fmla="*/ 1042283 w 1313607"/>
                <a:gd name="connsiteY4224" fmla="*/ 1048666 h 2768823"/>
                <a:gd name="connsiteX4225" fmla="*/ 1041103 w 1313607"/>
                <a:gd name="connsiteY4225" fmla="*/ 1054051 h 2768823"/>
                <a:gd name="connsiteX4226" fmla="*/ 1039258 w 1313607"/>
                <a:gd name="connsiteY4226" fmla="*/ 1052175 h 2768823"/>
                <a:gd name="connsiteX4227" fmla="*/ 1036989 w 1313607"/>
                <a:gd name="connsiteY4227" fmla="*/ 1048182 h 2768823"/>
                <a:gd name="connsiteX4228" fmla="*/ 1034901 w 1313607"/>
                <a:gd name="connsiteY4228" fmla="*/ 1045308 h 2768823"/>
                <a:gd name="connsiteX4229" fmla="*/ 1032875 w 1313607"/>
                <a:gd name="connsiteY4229" fmla="*/ 1044249 h 2768823"/>
                <a:gd name="connsiteX4230" fmla="*/ 1032300 w 1313607"/>
                <a:gd name="connsiteY4230" fmla="*/ 1045066 h 2768823"/>
                <a:gd name="connsiteX4231" fmla="*/ 1032179 w 1313607"/>
                <a:gd name="connsiteY4231" fmla="*/ 1047093 h 2768823"/>
                <a:gd name="connsiteX4232" fmla="*/ 1031483 w 1313607"/>
                <a:gd name="connsiteY4232" fmla="*/ 1049725 h 2768823"/>
                <a:gd name="connsiteX4233" fmla="*/ 1031816 w 1313607"/>
                <a:gd name="connsiteY4233" fmla="*/ 1049785 h 2768823"/>
                <a:gd name="connsiteX4234" fmla="*/ 1032028 w 1313607"/>
                <a:gd name="connsiteY4234" fmla="*/ 1050814 h 2768823"/>
                <a:gd name="connsiteX4235" fmla="*/ 1031756 w 1313607"/>
                <a:gd name="connsiteY4235" fmla="*/ 1051963 h 2768823"/>
                <a:gd name="connsiteX4236" fmla="*/ 1030818 w 1313607"/>
                <a:gd name="connsiteY4236" fmla="*/ 1052538 h 2768823"/>
                <a:gd name="connsiteX4237" fmla="*/ 1029880 w 1313607"/>
                <a:gd name="connsiteY4237" fmla="*/ 1051842 h 2768823"/>
                <a:gd name="connsiteX4238" fmla="*/ 1028488 w 1313607"/>
                <a:gd name="connsiteY4238" fmla="*/ 1048787 h 2768823"/>
                <a:gd name="connsiteX4239" fmla="*/ 1027702 w 1313607"/>
                <a:gd name="connsiteY4239" fmla="*/ 1048091 h 2768823"/>
                <a:gd name="connsiteX4240" fmla="*/ 1027339 w 1313607"/>
                <a:gd name="connsiteY4240" fmla="*/ 1047516 h 2768823"/>
                <a:gd name="connsiteX4241" fmla="*/ 1026492 w 1313607"/>
                <a:gd name="connsiteY4241" fmla="*/ 1044703 h 2768823"/>
                <a:gd name="connsiteX4242" fmla="*/ 1025947 w 1313607"/>
                <a:gd name="connsiteY4242" fmla="*/ 1043674 h 2768823"/>
                <a:gd name="connsiteX4243" fmla="*/ 1024949 w 1313607"/>
                <a:gd name="connsiteY4243" fmla="*/ 1042858 h 2768823"/>
                <a:gd name="connsiteX4244" fmla="*/ 1023981 w 1313607"/>
                <a:gd name="connsiteY4244" fmla="*/ 1042464 h 2768823"/>
                <a:gd name="connsiteX4245" fmla="*/ 1021803 w 1313607"/>
                <a:gd name="connsiteY4245" fmla="*/ 1042374 h 2768823"/>
                <a:gd name="connsiteX4246" fmla="*/ 1019927 w 1313607"/>
                <a:gd name="connsiteY4246" fmla="*/ 1041224 h 2768823"/>
                <a:gd name="connsiteX4247" fmla="*/ 1018626 w 1313607"/>
                <a:gd name="connsiteY4247" fmla="*/ 1038864 h 2768823"/>
                <a:gd name="connsiteX4248" fmla="*/ 1018626 w 1313607"/>
                <a:gd name="connsiteY4248" fmla="*/ 1036777 h 2768823"/>
                <a:gd name="connsiteX4249" fmla="*/ 1020471 w 1313607"/>
                <a:gd name="connsiteY4249" fmla="*/ 1036505 h 2768823"/>
                <a:gd name="connsiteX4250" fmla="*/ 1018626 w 1313607"/>
                <a:gd name="connsiteY4250" fmla="*/ 1032814 h 2768823"/>
                <a:gd name="connsiteX4251" fmla="*/ 1015601 w 1313607"/>
                <a:gd name="connsiteY4251" fmla="*/ 1031634 h 2768823"/>
                <a:gd name="connsiteX4252" fmla="*/ 1012213 w 1313607"/>
                <a:gd name="connsiteY4252" fmla="*/ 1031362 h 2768823"/>
                <a:gd name="connsiteX4253" fmla="*/ 1009430 w 1313607"/>
                <a:gd name="connsiteY4253" fmla="*/ 1030485 h 2768823"/>
                <a:gd name="connsiteX4254" fmla="*/ 1007645 w 1313607"/>
                <a:gd name="connsiteY4254" fmla="*/ 1028095 h 2768823"/>
                <a:gd name="connsiteX4255" fmla="*/ 1006495 w 1313607"/>
                <a:gd name="connsiteY4255" fmla="*/ 1024556 h 2768823"/>
                <a:gd name="connsiteX4256" fmla="*/ 1006284 w 1313607"/>
                <a:gd name="connsiteY4256" fmla="*/ 1020865 h 2768823"/>
                <a:gd name="connsiteX4257" fmla="*/ 1007373 w 1313607"/>
                <a:gd name="connsiteY4257" fmla="*/ 1017991 h 2768823"/>
                <a:gd name="connsiteX4258" fmla="*/ 1009793 w 1313607"/>
                <a:gd name="connsiteY4258" fmla="*/ 1017265 h 2768823"/>
                <a:gd name="connsiteX4259" fmla="*/ 1011910 w 1313607"/>
                <a:gd name="connsiteY4259" fmla="*/ 1019746 h 2768823"/>
                <a:gd name="connsiteX4260" fmla="*/ 1013907 w 1313607"/>
                <a:gd name="connsiteY4260" fmla="*/ 1022952 h 2768823"/>
                <a:gd name="connsiteX4261" fmla="*/ 1016025 w 1313607"/>
                <a:gd name="connsiteY4261" fmla="*/ 1024556 h 2768823"/>
                <a:gd name="connsiteX4262" fmla="*/ 1018596 w 1313607"/>
                <a:gd name="connsiteY4262" fmla="*/ 1025705 h 2768823"/>
                <a:gd name="connsiteX4263" fmla="*/ 1023376 w 1313607"/>
                <a:gd name="connsiteY4263" fmla="*/ 1030697 h 2768823"/>
                <a:gd name="connsiteX4264" fmla="*/ 1026038 w 1313607"/>
                <a:gd name="connsiteY4264" fmla="*/ 1031816 h 2768823"/>
                <a:gd name="connsiteX4265" fmla="*/ 1026038 w 1313607"/>
                <a:gd name="connsiteY4265" fmla="*/ 1030455 h 2768823"/>
                <a:gd name="connsiteX4266" fmla="*/ 1024676 w 1313607"/>
                <a:gd name="connsiteY4266" fmla="*/ 1028851 h 2768823"/>
                <a:gd name="connsiteX4267" fmla="*/ 1024435 w 1313607"/>
                <a:gd name="connsiteY4267" fmla="*/ 1027218 h 2768823"/>
                <a:gd name="connsiteX4268" fmla="*/ 1025130 w 1313607"/>
                <a:gd name="connsiteY4268" fmla="*/ 1026068 h 2768823"/>
                <a:gd name="connsiteX4269" fmla="*/ 1026794 w 1313607"/>
                <a:gd name="connsiteY4269" fmla="*/ 1026008 h 2768823"/>
                <a:gd name="connsiteX4270" fmla="*/ 1026794 w 1313607"/>
                <a:gd name="connsiteY4270" fmla="*/ 1024525 h 2768823"/>
                <a:gd name="connsiteX4271" fmla="*/ 1022257 w 1313607"/>
                <a:gd name="connsiteY4271" fmla="*/ 1020593 h 2768823"/>
                <a:gd name="connsiteX4272" fmla="*/ 1020139 w 1313607"/>
                <a:gd name="connsiteY4272" fmla="*/ 1017688 h 2768823"/>
                <a:gd name="connsiteX4273" fmla="*/ 1018415 w 1313607"/>
                <a:gd name="connsiteY4273" fmla="*/ 1014028 h 2768823"/>
                <a:gd name="connsiteX4274" fmla="*/ 1020351 w 1313607"/>
                <a:gd name="connsiteY4274" fmla="*/ 1013362 h 2768823"/>
                <a:gd name="connsiteX4275" fmla="*/ 1025493 w 1313607"/>
                <a:gd name="connsiteY4275" fmla="*/ 1013786 h 2768823"/>
                <a:gd name="connsiteX4276" fmla="*/ 1026794 w 1313607"/>
                <a:gd name="connsiteY4276" fmla="*/ 1012697 h 2768823"/>
                <a:gd name="connsiteX4277" fmla="*/ 1026128 w 1313607"/>
                <a:gd name="connsiteY4277" fmla="*/ 1009551 h 2768823"/>
                <a:gd name="connsiteX4278" fmla="*/ 1023648 w 1313607"/>
                <a:gd name="connsiteY4278" fmla="*/ 1007705 h 2768823"/>
                <a:gd name="connsiteX4279" fmla="*/ 1017235 w 1313607"/>
                <a:gd name="connsiteY4279" fmla="*/ 1004983 h 2768823"/>
                <a:gd name="connsiteX4280" fmla="*/ 1010852 w 1313607"/>
                <a:gd name="connsiteY4280" fmla="*/ 1006737 h 2768823"/>
                <a:gd name="connsiteX4281" fmla="*/ 1006949 w 1313607"/>
                <a:gd name="connsiteY4281" fmla="*/ 1006677 h 2768823"/>
                <a:gd name="connsiteX4282" fmla="*/ 1005134 w 1313607"/>
                <a:gd name="connsiteY4282" fmla="*/ 1005830 h 2768823"/>
                <a:gd name="connsiteX4283" fmla="*/ 1003319 w 1313607"/>
                <a:gd name="connsiteY4283" fmla="*/ 1003743 h 2768823"/>
                <a:gd name="connsiteX4284" fmla="*/ 1003531 w 1313607"/>
                <a:gd name="connsiteY4284" fmla="*/ 1002896 h 2768823"/>
                <a:gd name="connsiteX4285" fmla="*/ 1003924 w 1313607"/>
                <a:gd name="connsiteY4285" fmla="*/ 1000627 h 2768823"/>
                <a:gd name="connsiteX4286" fmla="*/ 1000869 w 1313607"/>
                <a:gd name="connsiteY4286" fmla="*/ 999477 h 2768823"/>
                <a:gd name="connsiteX4287" fmla="*/ 999629 w 1313607"/>
                <a:gd name="connsiteY4287" fmla="*/ 998297 h 2768823"/>
                <a:gd name="connsiteX4288" fmla="*/ 999144 w 1313607"/>
                <a:gd name="connsiteY4288" fmla="*/ 995514 h 2768823"/>
                <a:gd name="connsiteX4289" fmla="*/ 999598 w 1313607"/>
                <a:gd name="connsiteY4289" fmla="*/ 992429 h 2768823"/>
                <a:gd name="connsiteX4290" fmla="*/ 1000748 w 1313607"/>
                <a:gd name="connsiteY4290" fmla="*/ 990281 h 2768823"/>
                <a:gd name="connsiteX4291" fmla="*/ 1002321 w 1313607"/>
                <a:gd name="connsiteY4291" fmla="*/ 989403 h 2768823"/>
                <a:gd name="connsiteX4292" fmla="*/ 1003924 w 1313607"/>
                <a:gd name="connsiteY4292" fmla="*/ 990099 h 2768823"/>
                <a:gd name="connsiteX4293" fmla="*/ 1004378 w 1313607"/>
                <a:gd name="connsiteY4293" fmla="*/ 991733 h 2768823"/>
                <a:gd name="connsiteX4294" fmla="*/ 1004589 w 1313607"/>
                <a:gd name="connsiteY4294" fmla="*/ 994274 h 2768823"/>
                <a:gd name="connsiteX4295" fmla="*/ 1005164 w 1313607"/>
                <a:gd name="connsiteY4295" fmla="*/ 996634 h 2768823"/>
                <a:gd name="connsiteX4296" fmla="*/ 1006738 w 1313607"/>
                <a:gd name="connsiteY4296" fmla="*/ 997662 h 2768823"/>
                <a:gd name="connsiteX4297" fmla="*/ 1008522 w 1313607"/>
                <a:gd name="connsiteY4297" fmla="*/ 997511 h 2768823"/>
                <a:gd name="connsiteX4298" fmla="*/ 1012001 w 1313607"/>
                <a:gd name="connsiteY4298" fmla="*/ 996119 h 2768823"/>
                <a:gd name="connsiteX4299" fmla="*/ 1013605 w 1313607"/>
                <a:gd name="connsiteY4299" fmla="*/ 994818 h 2768823"/>
                <a:gd name="connsiteX4300" fmla="*/ 1012727 w 1313607"/>
                <a:gd name="connsiteY4300" fmla="*/ 991007 h 2768823"/>
                <a:gd name="connsiteX4301" fmla="*/ 1014754 w 1313607"/>
                <a:gd name="connsiteY4301" fmla="*/ 989313 h 2768823"/>
                <a:gd name="connsiteX4302" fmla="*/ 1016720 w 1313607"/>
                <a:gd name="connsiteY4302" fmla="*/ 986953 h 2768823"/>
                <a:gd name="connsiteX4303" fmla="*/ 1015722 w 1313607"/>
                <a:gd name="connsiteY4303" fmla="*/ 981175 h 2768823"/>
                <a:gd name="connsiteX4304" fmla="*/ 1016993 w 1313607"/>
                <a:gd name="connsiteY4304" fmla="*/ 980782 h 2768823"/>
                <a:gd name="connsiteX4305" fmla="*/ 1018263 w 1313607"/>
                <a:gd name="connsiteY4305" fmla="*/ 979420 h 2768823"/>
                <a:gd name="connsiteX4306" fmla="*/ 1019382 w 1313607"/>
                <a:gd name="connsiteY4306" fmla="*/ 977696 h 2768823"/>
                <a:gd name="connsiteX4307" fmla="*/ 1020169 w 1313607"/>
                <a:gd name="connsiteY4307" fmla="*/ 976123 h 2768823"/>
                <a:gd name="connsiteX4308" fmla="*/ 1020714 w 1313607"/>
                <a:gd name="connsiteY4308" fmla="*/ 973763 h 2768823"/>
                <a:gd name="connsiteX4309" fmla="*/ 1020230 w 1313607"/>
                <a:gd name="connsiteY4309" fmla="*/ 972251 h 2768823"/>
                <a:gd name="connsiteX4310" fmla="*/ 1019625 w 1313607"/>
                <a:gd name="connsiteY4310" fmla="*/ 970980 h 2768823"/>
                <a:gd name="connsiteX4311" fmla="*/ 1019806 w 1313607"/>
                <a:gd name="connsiteY4311" fmla="*/ 969286 h 2768823"/>
                <a:gd name="connsiteX4312" fmla="*/ 1021077 w 1313607"/>
                <a:gd name="connsiteY4312" fmla="*/ 968500 h 2768823"/>
                <a:gd name="connsiteX4313" fmla="*/ 1033298 w 1313607"/>
                <a:gd name="connsiteY4313" fmla="*/ 967774 h 2768823"/>
                <a:gd name="connsiteX4314" fmla="*/ 1034962 w 1313607"/>
                <a:gd name="connsiteY4314" fmla="*/ 966291 h 2768823"/>
                <a:gd name="connsiteX4315" fmla="*/ 1033480 w 1313607"/>
                <a:gd name="connsiteY4315" fmla="*/ 963992 h 2768823"/>
                <a:gd name="connsiteX4316" fmla="*/ 1033873 w 1313607"/>
                <a:gd name="connsiteY4316" fmla="*/ 961996 h 2768823"/>
                <a:gd name="connsiteX4317" fmla="*/ 1035325 w 1313607"/>
                <a:gd name="connsiteY4317" fmla="*/ 960271 h 2768823"/>
                <a:gd name="connsiteX4318" fmla="*/ 1037050 w 1313607"/>
                <a:gd name="connsiteY4318" fmla="*/ 958849 h 2768823"/>
                <a:gd name="connsiteX4319" fmla="*/ 1037322 w 1313607"/>
                <a:gd name="connsiteY4319" fmla="*/ 958244 h 2768823"/>
                <a:gd name="connsiteX4320" fmla="*/ 1037594 w 1313607"/>
                <a:gd name="connsiteY4320" fmla="*/ 957216 h 2768823"/>
                <a:gd name="connsiteX4321" fmla="*/ 1037776 w 1313607"/>
                <a:gd name="connsiteY4321" fmla="*/ 956248 h 2768823"/>
                <a:gd name="connsiteX4322" fmla="*/ 1037776 w 1313607"/>
                <a:gd name="connsiteY4322" fmla="*/ 955855 h 2768823"/>
                <a:gd name="connsiteX4323" fmla="*/ 1038925 w 1313607"/>
                <a:gd name="connsiteY4323" fmla="*/ 955764 h 2768823"/>
                <a:gd name="connsiteX4324" fmla="*/ 1040891 w 1313607"/>
                <a:gd name="connsiteY4324" fmla="*/ 957004 h 2768823"/>
                <a:gd name="connsiteX4325" fmla="*/ 1041920 w 1313607"/>
                <a:gd name="connsiteY4325" fmla="*/ 957367 h 2768823"/>
                <a:gd name="connsiteX4326" fmla="*/ 1042827 w 1313607"/>
                <a:gd name="connsiteY4326" fmla="*/ 956974 h 2768823"/>
                <a:gd name="connsiteX4327" fmla="*/ 1045974 w 1313607"/>
                <a:gd name="connsiteY4327" fmla="*/ 954342 h 2768823"/>
                <a:gd name="connsiteX4328" fmla="*/ 1045096 w 1313607"/>
                <a:gd name="connsiteY4328" fmla="*/ 953283 h 2768823"/>
                <a:gd name="connsiteX4329" fmla="*/ 1043342 w 1313607"/>
                <a:gd name="connsiteY4329" fmla="*/ 950167 h 2768823"/>
                <a:gd name="connsiteX4330" fmla="*/ 1042313 w 1313607"/>
                <a:gd name="connsiteY4330" fmla="*/ 946870 h 2768823"/>
                <a:gd name="connsiteX4331" fmla="*/ 1043553 w 1313607"/>
                <a:gd name="connsiteY4331" fmla="*/ 945357 h 2768823"/>
                <a:gd name="connsiteX4332" fmla="*/ 1051994 w 1313607"/>
                <a:gd name="connsiteY4332" fmla="*/ 945599 h 2768823"/>
                <a:gd name="connsiteX4333" fmla="*/ 1054262 w 1313607"/>
                <a:gd name="connsiteY4333" fmla="*/ 943875 h 2768823"/>
                <a:gd name="connsiteX4334" fmla="*/ 1052206 w 1313607"/>
                <a:gd name="connsiteY4334" fmla="*/ 942453 h 2768823"/>
                <a:gd name="connsiteX4335" fmla="*/ 1050602 w 1313607"/>
                <a:gd name="connsiteY4335" fmla="*/ 942030 h 2768823"/>
                <a:gd name="connsiteX4336" fmla="*/ 1050602 w 1313607"/>
                <a:gd name="connsiteY4336" fmla="*/ 942030 h 2768823"/>
                <a:gd name="connsiteX4337" fmla="*/ 1050027 w 1313607"/>
                <a:gd name="connsiteY4337" fmla="*/ 940820 h 2768823"/>
                <a:gd name="connsiteX4338" fmla="*/ 1051903 w 1313607"/>
                <a:gd name="connsiteY4338" fmla="*/ 934467 h 2768823"/>
                <a:gd name="connsiteX4339" fmla="*/ 1051963 w 1313607"/>
                <a:gd name="connsiteY4339" fmla="*/ 932168 h 2768823"/>
                <a:gd name="connsiteX4340" fmla="*/ 1051389 w 1313607"/>
                <a:gd name="connsiteY4340" fmla="*/ 930262 h 2768823"/>
                <a:gd name="connsiteX4341" fmla="*/ 1050118 w 1313607"/>
                <a:gd name="connsiteY4341" fmla="*/ 928870 h 2768823"/>
                <a:gd name="connsiteX4342" fmla="*/ 1055684 w 1313607"/>
                <a:gd name="connsiteY4342" fmla="*/ 928507 h 2768823"/>
                <a:gd name="connsiteX4343" fmla="*/ 1057590 w 1313607"/>
                <a:gd name="connsiteY4343" fmla="*/ 926541 h 2768823"/>
                <a:gd name="connsiteX4344" fmla="*/ 1056683 w 1313607"/>
                <a:gd name="connsiteY4344" fmla="*/ 921943 h 2768823"/>
                <a:gd name="connsiteX4345" fmla="*/ 1049392 w 1313607"/>
                <a:gd name="connsiteY4345" fmla="*/ 908269 h 2768823"/>
                <a:gd name="connsiteX4346" fmla="*/ 1043826 w 1313607"/>
                <a:gd name="connsiteY4346" fmla="*/ 901614 h 2768823"/>
                <a:gd name="connsiteX4347" fmla="*/ 1037776 w 1313607"/>
                <a:gd name="connsiteY4347" fmla="*/ 891026 h 2768823"/>
                <a:gd name="connsiteX4348" fmla="*/ 1034690 w 1313607"/>
                <a:gd name="connsiteY4348" fmla="*/ 888122 h 2768823"/>
                <a:gd name="connsiteX4349" fmla="*/ 1021894 w 1313607"/>
                <a:gd name="connsiteY4349" fmla="*/ 884824 h 2768823"/>
                <a:gd name="connsiteX4350" fmla="*/ 1023255 w 1313607"/>
                <a:gd name="connsiteY4350" fmla="*/ 881860 h 2768823"/>
                <a:gd name="connsiteX4351" fmla="*/ 1027460 w 1313607"/>
                <a:gd name="connsiteY4351" fmla="*/ 881557 h 2768823"/>
                <a:gd name="connsiteX4352" fmla="*/ 1028791 w 1313607"/>
                <a:gd name="connsiteY4352" fmla="*/ 878744 h 2768823"/>
                <a:gd name="connsiteX4353" fmla="*/ 1028246 w 1313607"/>
                <a:gd name="connsiteY4353" fmla="*/ 878411 h 2768823"/>
                <a:gd name="connsiteX4354" fmla="*/ 1027278 w 1313607"/>
                <a:gd name="connsiteY4354" fmla="*/ 877534 h 2768823"/>
                <a:gd name="connsiteX4355" fmla="*/ 1026734 w 1313607"/>
                <a:gd name="connsiteY4355" fmla="*/ 877261 h 2768823"/>
                <a:gd name="connsiteX4356" fmla="*/ 1030061 w 1313607"/>
                <a:gd name="connsiteY4356" fmla="*/ 876838 h 2768823"/>
                <a:gd name="connsiteX4357" fmla="*/ 1033359 w 1313607"/>
                <a:gd name="connsiteY4357" fmla="*/ 880771 h 2768823"/>
                <a:gd name="connsiteX4358" fmla="*/ 1036444 w 1313607"/>
                <a:gd name="connsiteY4358" fmla="*/ 885611 h 2768823"/>
                <a:gd name="connsiteX4359" fmla="*/ 1039106 w 1313607"/>
                <a:gd name="connsiteY4359" fmla="*/ 888001 h 2768823"/>
                <a:gd name="connsiteX4360" fmla="*/ 1041194 w 1313607"/>
                <a:gd name="connsiteY4360" fmla="*/ 888515 h 2768823"/>
                <a:gd name="connsiteX4361" fmla="*/ 1043009 w 1313607"/>
                <a:gd name="connsiteY4361" fmla="*/ 889876 h 2768823"/>
                <a:gd name="connsiteX4362" fmla="*/ 1044552 w 1313607"/>
                <a:gd name="connsiteY4362" fmla="*/ 891752 h 2768823"/>
                <a:gd name="connsiteX4363" fmla="*/ 1045943 w 1313607"/>
                <a:gd name="connsiteY4363" fmla="*/ 893930 h 2768823"/>
                <a:gd name="connsiteX4364" fmla="*/ 1047214 w 1313607"/>
                <a:gd name="connsiteY4364" fmla="*/ 896653 h 2768823"/>
                <a:gd name="connsiteX4365" fmla="*/ 1049059 w 1313607"/>
                <a:gd name="connsiteY4365" fmla="*/ 902370 h 2768823"/>
                <a:gd name="connsiteX4366" fmla="*/ 1050057 w 1313607"/>
                <a:gd name="connsiteY4366" fmla="*/ 904609 h 2768823"/>
                <a:gd name="connsiteX4367" fmla="*/ 1053325 w 1313607"/>
                <a:gd name="connsiteY4367" fmla="*/ 906636 h 2768823"/>
                <a:gd name="connsiteX4368" fmla="*/ 1057923 w 1313607"/>
                <a:gd name="connsiteY4368" fmla="*/ 906030 h 2768823"/>
                <a:gd name="connsiteX4369" fmla="*/ 1062491 w 1313607"/>
                <a:gd name="connsiteY4369" fmla="*/ 903399 h 2768823"/>
                <a:gd name="connsiteX4370" fmla="*/ 1065607 w 1313607"/>
                <a:gd name="connsiteY4370" fmla="*/ 899224 h 2768823"/>
                <a:gd name="connsiteX4371" fmla="*/ 1065849 w 1313607"/>
                <a:gd name="connsiteY4371" fmla="*/ 896048 h 2768823"/>
                <a:gd name="connsiteX4372" fmla="*/ 1064366 w 1313607"/>
                <a:gd name="connsiteY4372" fmla="*/ 893627 h 2768823"/>
                <a:gd name="connsiteX4373" fmla="*/ 1061069 w 1313607"/>
                <a:gd name="connsiteY4373" fmla="*/ 890965 h 2768823"/>
                <a:gd name="connsiteX4374" fmla="*/ 1057832 w 1313607"/>
                <a:gd name="connsiteY4374" fmla="*/ 887063 h 2768823"/>
                <a:gd name="connsiteX4375" fmla="*/ 1056047 w 1313607"/>
                <a:gd name="connsiteY4375" fmla="*/ 885460 h 2768823"/>
                <a:gd name="connsiteX4376" fmla="*/ 1054141 w 1313607"/>
                <a:gd name="connsiteY4376" fmla="*/ 884824 h 2768823"/>
                <a:gd name="connsiteX4377" fmla="*/ 1053960 w 1313607"/>
                <a:gd name="connsiteY4377" fmla="*/ 888303 h 2768823"/>
                <a:gd name="connsiteX4378" fmla="*/ 1052115 w 1313607"/>
                <a:gd name="connsiteY4378" fmla="*/ 889422 h 2768823"/>
                <a:gd name="connsiteX4379" fmla="*/ 1049846 w 1313607"/>
                <a:gd name="connsiteY4379" fmla="*/ 888817 h 2768823"/>
                <a:gd name="connsiteX4380" fmla="*/ 1048273 w 1313607"/>
                <a:gd name="connsiteY4380" fmla="*/ 887154 h 2768823"/>
                <a:gd name="connsiteX4381" fmla="*/ 1046669 w 1313607"/>
                <a:gd name="connsiteY4381" fmla="*/ 884401 h 2768823"/>
                <a:gd name="connsiteX4382" fmla="*/ 1044643 w 1313607"/>
                <a:gd name="connsiteY4382" fmla="*/ 882253 h 2768823"/>
                <a:gd name="connsiteX4383" fmla="*/ 1042434 w 1313607"/>
                <a:gd name="connsiteY4383" fmla="*/ 880861 h 2768823"/>
                <a:gd name="connsiteX4384" fmla="*/ 1040317 w 1313607"/>
                <a:gd name="connsiteY4384" fmla="*/ 880286 h 2768823"/>
                <a:gd name="connsiteX4385" fmla="*/ 1044431 w 1313607"/>
                <a:gd name="connsiteY4385" fmla="*/ 877261 h 2768823"/>
                <a:gd name="connsiteX4386" fmla="*/ 1043947 w 1313607"/>
                <a:gd name="connsiteY4386" fmla="*/ 876929 h 2768823"/>
                <a:gd name="connsiteX4387" fmla="*/ 1043039 w 1313607"/>
                <a:gd name="connsiteY4387" fmla="*/ 876021 h 2768823"/>
                <a:gd name="connsiteX4388" fmla="*/ 1042434 w 1313607"/>
                <a:gd name="connsiteY4388" fmla="*/ 875749 h 2768823"/>
                <a:gd name="connsiteX4389" fmla="*/ 1044340 w 1313607"/>
                <a:gd name="connsiteY4389" fmla="*/ 872240 h 2768823"/>
                <a:gd name="connsiteX4390" fmla="*/ 1048212 w 1313607"/>
                <a:gd name="connsiteY4390" fmla="*/ 871483 h 2768823"/>
                <a:gd name="connsiteX4391" fmla="*/ 1055473 w 1313607"/>
                <a:gd name="connsiteY4391" fmla="*/ 872572 h 2768823"/>
                <a:gd name="connsiteX4392" fmla="*/ 1055473 w 1313607"/>
                <a:gd name="connsiteY4392" fmla="*/ 871181 h 2768823"/>
                <a:gd name="connsiteX4393" fmla="*/ 1054051 w 1313607"/>
                <a:gd name="connsiteY4393" fmla="*/ 871302 h 2768823"/>
                <a:gd name="connsiteX4394" fmla="*/ 1049937 w 1313607"/>
                <a:gd name="connsiteY4394" fmla="*/ 869517 h 2768823"/>
                <a:gd name="connsiteX4395" fmla="*/ 1049937 w 1313607"/>
                <a:gd name="connsiteY4395" fmla="*/ 868125 h 2768823"/>
                <a:gd name="connsiteX4396" fmla="*/ 1054202 w 1313607"/>
                <a:gd name="connsiteY4396" fmla="*/ 866704 h 2768823"/>
                <a:gd name="connsiteX4397" fmla="*/ 1056562 w 1313607"/>
                <a:gd name="connsiteY4397" fmla="*/ 866613 h 2768823"/>
                <a:gd name="connsiteX4398" fmla="*/ 1058679 w 1313607"/>
                <a:gd name="connsiteY4398" fmla="*/ 870757 h 2768823"/>
                <a:gd name="connsiteX4399" fmla="*/ 1061190 w 1313607"/>
                <a:gd name="connsiteY4399" fmla="*/ 871393 h 2768823"/>
                <a:gd name="connsiteX4400" fmla="*/ 1065879 w 1313607"/>
                <a:gd name="connsiteY4400" fmla="*/ 871181 h 2768823"/>
                <a:gd name="connsiteX4401" fmla="*/ 1064427 w 1313607"/>
                <a:gd name="connsiteY4401" fmla="*/ 868035 h 2768823"/>
                <a:gd name="connsiteX4402" fmla="*/ 1066212 w 1313607"/>
                <a:gd name="connsiteY4402" fmla="*/ 867551 h 2768823"/>
                <a:gd name="connsiteX4403" fmla="*/ 1074682 w 1313607"/>
                <a:gd name="connsiteY4403" fmla="*/ 870757 h 2768823"/>
                <a:gd name="connsiteX4404" fmla="*/ 1077768 w 1313607"/>
                <a:gd name="connsiteY4404" fmla="*/ 870546 h 2768823"/>
                <a:gd name="connsiteX4405" fmla="*/ 1080793 w 1313607"/>
                <a:gd name="connsiteY4405" fmla="*/ 869093 h 2768823"/>
                <a:gd name="connsiteX4406" fmla="*/ 1083788 w 1313607"/>
                <a:gd name="connsiteY4406" fmla="*/ 866613 h 2768823"/>
                <a:gd name="connsiteX4407" fmla="*/ 1084574 w 1313607"/>
                <a:gd name="connsiteY4407" fmla="*/ 869063 h 2768823"/>
                <a:gd name="connsiteX4408" fmla="*/ 1086420 w 1313607"/>
                <a:gd name="connsiteY4408" fmla="*/ 870152 h 2768823"/>
                <a:gd name="connsiteX4409" fmla="*/ 1088507 w 1313607"/>
                <a:gd name="connsiteY4409" fmla="*/ 869850 h 2768823"/>
                <a:gd name="connsiteX4410" fmla="*/ 1089959 w 1313607"/>
                <a:gd name="connsiteY4410" fmla="*/ 868125 h 2768823"/>
                <a:gd name="connsiteX4411" fmla="*/ 1090020 w 1313607"/>
                <a:gd name="connsiteY4411" fmla="*/ 865978 h 2768823"/>
                <a:gd name="connsiteX4412" fmla="*/ 1089324 w 1313607"/>
                <a:gd name="connsiteY4412" fmla="*/ 863860 h 2768823"/>
                <a:gd name="connsiteX4413" fmla="*/ 1088961 w 1313607"/>
                <a:gd name="connsiteY4413" fmla="*/ 861561 h 2768823"/>
                <a:gd name="connsiteX4414" fmla="*/ 1089959 w 1313607"/>
                <a:gd name="connsiteY4414" fmla="*/ 858899 h 2768823"/>
                <a:gd name="connsiteX4415" fmla="*/ 1092349 w 1313607"/>
                <a:gd name="connsiteY4415" fmla="*/ 863255 h 2768823"/>
                <a:gd name="connsiteX4416" fmla="*/ 1093861 w 1313607"/>
                <a:gd name="connsiteY4416" fmla="*/ 864798 h 2768823"/>
                <a:gd name="connsiteX4417" fmla="*/ 1095495 w 1313607"/>
                <a:gd name="connsiteY4417" fmla="*/ 864949 h 2768823"/>
                <a:gd name="connsiteX4418" fmla="*/ 1096917 w 1313607"/>
                <a:gd name="connsiteY4418" fmla="*/ 863618 h 2768823"/>
                <a:gd name="connsiteX4419" fmla="*/ 1097643 w 1313607"/>
                <a:gd name="connsiteY4419" fmla="*/ 861561 h 2768823"/>
                <a:gd name="connsiteX4420" fmla="*/ 1098157 w 1313607"/>
                <a:gd name="connsiteY4420" fmla="*/ 858899 h 2768823"/>
                <a:gd name="connsiteX4421" fmla="*/ 1098914 w 1313607"/>
                <a:gd name="connsiteY4421" fmla="*/ 855813 h 2768823"/>
                <a:gd name="connsiteX4422" fmla="*/ 1096191 w 1313607"/>
                <a:gd name="connsiteY4422" fmla="*/ 853635 h 2768823"/>
                <a:gd name="connsiteX4423" fmla="*/ 1090413 w 1313607"/>
                <a:gd name="connsiteY4423" fmla="*/ 846375 h 2768823"/>
                <a:gd name="connsiteX4424" fmla="*/ 1087872 w 1313607"/>
                <a:gd name="connsiteY4424" fmla="*/ 846677 h 2768823"/>
                <a:gd name="connsiteX4425" fmla="*/ 1088689 w 1313607"/>
                <a:gd name="connsiteY4425" fmla="*/ 847101 h 2768823"/>
                <a:gd name="connsiteX4426" fmla="*/ 1090746 w 1313607"/>
                <a:gd name="connsiteY4426" fmla="*/ 849581 h 2768823"/>
                <a:gd name="connsiteX4427" fmla="*/ 1088477 w 1313607"/>
                <a:gd name="connsiteY4427" fmla="*/ 850822 h 2768823"/>
                <a:gd name="connsiteX4428" fmla="*/ 1085694 w 1313607"/>
                <a:gd name="connsiteY4428" fmla="*/ 848190 h 2768823"/>
                <a:gd name="connsiteX4429" fmla="*/ 1080974 w 1313607"/>
                <a:gd name="connsiteY4429" fmla="*/ 840597 h 2768823"/>
                <a:gd name="connsiteX4430" fmla="*/ 1083092 w 1313607"/>
                <a:gd name="connsiteY4430" fmla="*/ 840264 h 2768823"/>
                <a:gd name="connsiteX4431" fmla="*/ 1096826 w 1313607"/>
                <a:gd name="connsiteY4431" fmla="*/ 844590 h 2768823"/>
                <a:gd name="connsiteX4432" fmla="*/ 1099549 w 1313607"/>
                <a:gd name="connsiteY4432" fmla="*/ 842896 h 2768823"/>
                <a:gd name="connsiteX4433" fmla="*/ 1100487 w 1313607"/>
                <a:gd name="connsiteY4433" fmla="*/ 842896 h 2768823"/>
                <a:gd name="connsiteX4434" fmla="*/ 1101394 w 1313607"/>
                <a:gd name="connsiteY4434" fmla="*/ 844257 h 2768823"/>
                <a:gd name="connsiteX4435" fmla="*/ 1102302 w 1313607"/>
                <a:gd name="connsiteY4435" fmla="*/ 845286 h 2768823"/>
                <a:gd name="connsiteX4436" fmla="*/ 1103300 w 1313607"/>
                <a:gd name="connsiteY4436" fmla="*/ 844499 h 2768823"/>
                <a:gd name="connsiteX4437" fmla="*/ 1103875 w 1313607"/>
                <a:gd name="connsiteY4437" fmla="*/ 842835 h 2768823"/>
                <a:gd name="connsiteX4438" fmla="*/ 1103966 w 1313607"/>
                <a:gd name="connsiteY4438" fmla="*/ 841958 h 2768823"/>
                <a:gd name="connsiteX4439" fmla="*/ 1104177 w 1313607"/>
                <a:gd name="connsiteY4439" fmla="*/ 841383 h 2768823"/>
                <a:gd name="connsiteX4440" fmla="*/ 1105085 w 1313607"/>
                <a:gd name="connsiteY4440" fmla="*/ 840597 h 2768823"/>
                <a:gd name="connsiteX4441" fmla="*/ 1107868 w 1313607"/>
                <a:gd name="connsiteY4441" fmla="*/ 839659 h 2768823"/>
                <a:gd name="connsiteX4442" fmla="*/ 1113525 w 1313607"/>
                <a:gd name="connsiteY4442" fmla="*/ 839598 h 2768823"/>
                <a:gd name="connsiteX4443" fmla="*/ 1116157 w 1313607"/>
                <a:gd name="connsiteY4443" fmla="*/ 837541 h 2768823"/>
                <a:gd name="connsiteX4444" fmla="*/ 1114191 w 1313607"/>
                <a:gd name="connsiteY4444" fmla="*/ 837632 h 2768823"/>
                <a:gd name="connsiteX4445" fmla="*/ 1112859 w 1313607"/>
                <a:gd name="connsiteY4445" fmla="*/ 836634 h 2768823"/>
                <a:gd name="connsiteX4446" fmla="*/ 1110591 w 1313607"/>
                <a:gd name="connsiteY4446" fmla="*/ 832973 h 2768823"/>
                <a:gd name="connsiteX4447" fmla="*/ 1109048 w 1313607"/>
                <a:gd name="connsiteY4447" fmla="*/ 831007 h 2768823"/>
                <a:gd name="connsiteX4448" fmla="*/ 1107656 w 1313607"/>
                <a:gd name="connsiteY4448" fmla="*/ 829827 h 2768823"/>
                <a:gd name="connsiteX4449" fmla="*/ 1101031 w 1313607"/>
                <a:gd name="connsiteY4449" fmla="*/ 826651 h 2768823"/>
                <a:gd name="connsiteX4450" fmla="*/ 1092712 w 1313607"/>
                <a:gd name="connsiteY4450" fmla="*/ 819058 h 2768823"/>
                <a:gd name="connsiteX4451" fmla="*/ 1080400 w 1313607"/>
                <a:gd name="connsiteY4451" fmla="*/ 812463 h 2768823"/>
                <a:gd name="connsiteX4452" fmla="*/ 1074349 w 1313607"/>
                <a:gd name="connsiteY4452" fmla="*/ 806685 h 2768823"/>
                <a:gd name="connsiteX4453" fmla="*/ 1071959 w 1313607"/>
                <a:gd name="connsiteY4453" fmla="*/ 797458 h 2768823"/>
                <a:gd name="connsiteX4454" fmla="*/ 1073382 w 1313607"/>
                <a:gd name="connsiteY4454" fmla="*/ 799303 h 2768823"/>
                <a:gd name="connsiteX4455" fmla="*/ 1076558 w 1313607"/>
                <a:gd name="connsiteY4455" fmla="*/ 801300 h 2768823"/>
                <a:gd name="connsiteX4456" fmla="*/ 1077889 w 1313607"/>
                <a:gd name="connsiteY4456" fmla="*/ 803024 h 2768823"/>
                <a:gd name="connsiteX4457" fmla="*/ 1079976 w 1313607"/>
                <a:gd name="connsiteY4457" fmla="*/ 807320 h 2768823"/>
                <a:gd name="connsiteX4458" fmla="*/ 1080914 w 1313607"/>
                <a:gd name="connsiteY4458" fmla="*/ 808560 h 2768823"/>
                <a:gd name="connsiteX4459" fmla="*/ 1082427 w 1313607"/>
                <a:gd name="connsiteY4459" fmla="*/ 809861 h 2768823"/>
                <a:gd name="connsiteX4460" fmla="*/ 1088658 w 1313607"/>
                <a:gd name="connsiteY4460" fmla="*/ 811918 h 2768823"/>
                <a:gd name="connsiteX4461" fmla="*/ 1092077 w 1313607"/>
                <a:gd name="connsiteY4461" fmla="*/ 815669 h 2768823"/>
                <a:gd name="connsiteX4462" fmla="*/ 1096342 w 1313607"/>
                <a:gd name="connsiteY4462" fmla="*/ 816758 h 2768823"/>
                <a:gd name="connsiteX4463" fmla="*/ 1097855 w 1313607"/>
                <a:gd name="connsiteY4463" fmla="*/ 818301 h 2768823"/>
                <a:gd name="connsiteX4464" fmla="*/ 1100880 w 1313607"/>
                <a:gd name="connsiteY4464" fmla="*/ 822234 h 2768823"/>
                <a:gd name="connsiteX4465" fmla="*/ 1108443 w 1313607"/>
                <a:gd name="connsiteY4465" fmla="*/ 825289 h 2768823"/>
                <a:gd name="connsiteX4466" fmla="*/ 1118698 w 1313607"/>
                <a:gd name="connsiteY4466" fmla="*/ 832368 h 2768823"/>
                <a:gd name="connsiteX4467" fmla="*/ 1121542 w 1313607"/>
                <a:gd name="connsiteY4467" fmla="*/ 833064 h 2768823"/>
                <a:gd name="connsiteX4468" fmla="*/ 1120937 w 1313607"/>
                <a:gd name="connsiteY4468" fmla="*/ 829888 h 2768823"/>
                <a:gd name="connsiteX4469" fmla="*/ 1122177 w 1313607"/>
                <a:gd name="connsiteY4469" fmla="*/ 828466 h 2768823"/>
                <a:gd name="connsiteX4470" fmla="*/ 1123387 w 1313607"/>
                <a:gd name="connsiteY4470" fmla="*/ 828829 h 2768823"/>
                <a:gd name="connsiteX4471" fmla="*/ 1125747 w 1313607"/>
                <a:gd name="connsiteY4471" fmla="*/ 831279 h 2768823"/>
                <a:gd name="connsiteX4472" fmla="*/ 1127955 w 1313607"/>
                <a:gd name="connsiteY4472" fmla="*/ 832368 h 2768823"/>
                <a:gd name="connsiteX4473" fmla="*/ 1130950 w 1313607"/>
                <a:gd name="connsiteY4473" fmla="*/ 832943 h 2768823"/>
                <a:gd name="connsiteX4474" fmla="*/ 1132946 w 1313607"/>
                <a:gd name="connsiteY4474" fmla="*/ 834425 h 2768823"/>
                <a:gd name="connsiteX4475" fmla="*/ 1134671 w 1313607"/>
                <a:gd name="connsiteY4475" fmla="*/ 837299 h 2768823"/>
                <a:gd name="connsiteX4476" fmla="*/ 1136516 w 1313607"/>
                <a:gd name="connsiteY4476" fmla="*/ 839114 h 2768823"/>
                <a:gd name="connsiteX4477" fmla="*/ 1138906 w 1313607"/>
                <a:gd name="connsiteY4477" fmla="*/ 837541 h 2768823"/>
                <a:gd name="connsiteX4478" fmla="*/ 1137847 w 1313607"/>
                <a:gd name="connsiteY4478" fmla="*/ 833034 h 2768823"/>
                <a:gd name="connsiteX4479" fmla="*/ 1137121 w 1313607"/>
                <a:gd name="connsiteY4479" fmla="*/ 830825 h 2768823"/>
                <a:gd name="connsiteX4480" fmla="*/ 1136456 w 1313607"/>
                <a:gd name="connsiteY4480" fmla="*/ 829888 h 2768823"/>
                <a:gd name="connsiteX4481" fmla="*/ 1132553 w 1313607"/>
                <a:gd name="connsiteY4481" fmla="*/ 828587 h 2768823"/>
                <a:gd name="connsiteX4482" fmla="*/ 1130284 w 1313607"/>
                <a:gd name="connsiteY4482" fmla="*/ 827074 h 2768823"/>
                <a:gd name="connsiteX4483" fmla="*/ 1129256 w 1313607"/>
                <a:gd name="connsiteY4483" fmla="*/ 825168 h 2768823"/>
                <a:gd name="connsiteX4484" fmla="*/ 1129921 w 1313607"/>
                <a:gd name="connsiteY4484" fmla="*/ 823232 h 2768823"/>
                <a:gd name="connsiteX4485" fmla="*/ 1134398 w 1313607"/>
                <a:gd name="connsiteY4485" fmla="*/ 819874 h 2768823"/>
                <a:gd name="connsiteX4486" fmla="*/ 1133975 w 1313607"/>
                <a:gd name="connsiteY4486" fmla="*/ 818483 h 2768823"/>
                <a:gd name="connsiteX4487" fmla="*/ 1128500 w 1313607"/>
                <a:gd name="connsiteY4487" fmla="*/ 815972 h 2768823"/>
                <a:gd name="connsiteX4488" fmla="*/ 1129256 w 1313607"/>
                <a:gd name="connsiteY4488" fmla="*/ 814580 h 2768823"/>
                <a:gd name="connsiteX4489" fmla="*/ 1128348 w 1313607"/>
                <a:gd name="connsiteY4489" fmla="*/ 812735 h 2768823"/>
                <a:gd name="connsiteX4490" fmla="*/ 1126745 w 1313607"/>
                <a:gd name="connsiteY4490" fmla="*/ 810527 h 2768823"/>
                <a:gd name="connsiteX4491" fmla="*/ 1125202 w 1313607"/>
                <a:gd name="connsiteY4491" fmla="*/ 809559 h 2768823"/>
                <a:gd name="connsiteX4492" fmla="*/ 1124355 w 1313607"/>
                <a:gd name="connsiteY4492" fmla="*/ 811495 h 2768823"/>
                <a:gd name="connsiteX4493" fmla="*/ 1124809 w 1313607"/>
                <a:gd name="connsiteY4493" fmla="*/ 813582 h 2768823"/>
                <a:gd name="connsiteX4494" fmla="*/ 1127289 w 1313607"/>
                <a:gd name="connsiteY4494" fmla="*/ 816698 h 2768823"/>
                <a:gd name="connsiteX4495" fmla="*/ 1127774 w 1313607"/>
                <a:gd name="connsiteY4495" fmla="*/ 818997 h 2768823"/>
                <a:gd name="connsiteX4496" fmla="*/ 1125928 w 1313607"/>
                <a:gd name="connsiteY4496" fmla="*/ 823474 h 2768823"/>
                <a:gd name="connsiteX4497" fmla="*/ 1122117 w 1313607"/>
                <a:gd name="connsiteY4497" fmla="*/ 823414 h 2768823"/>
                <a:gd name="connsiteX4498" fmla="*/ 1114705 w 1313607"/>
                <a:gd name="connsiteY4498" fmla="*/ 820661 h 2768823"/>
                <a:gd name="connsiteX4499" fmla="*/ 1122026 w 1313607"/>
                <a:gd name="connsiteY4499" fmla="*/ 820328 h 2768823"/>
                <a:gd name="connsiteX4500" fmla="*/ 1124325 w 1313607"/>
                <a:gd name="connsiteY4500" fmla="*/ 818997 h 2768823"/>
                <a:gd name="connsiteX4501" fmla="*/ 1123054 w 1313607"/>
                <a:gd name="connsiteY4501" fmla="*/ 814611 h 2768823"/>
                <a:gd name="connsiteX4502" fmla="*/ 1122358 w 1313607"/>
                <a:gd name="connsiteY4502" fmla="*/ 812705 h 2768823"/>
                <a:gd name="connsiteX4503" fmla="*/ 1121572 w 1313607"/>
                <a:gd name="connsiteY4503" fmla="*/ 811464 h 2768823"/>
                <a:gd name="connsiteX4504" fmla="*/ 1122358 w 1313607"/>
                <a:gd name="connsiteY4504" fmla="*/ 809559 h 2768823"/>
                <a:gd name="connsiteX4505" fmla="*/ 1122631 w 1313607"/>
                <a:gd name="connsiteY4505" fmla="*/ 807834 h 2768823"/>
                <a:gd name="connsiteX4506" fmla="*/ 1122358 w 1313607"/>
                <a:gd name="connsiteY4506" fmla="*/ 806322 h 2768823"/>
                <a:gd name="connsiteX4507" fmla="*/ 1121572 w 1313607"/>
                <a:gd name="connsiteY4507" fmla="*/ 805172 h 2768823"/>
                <a:gd name="connsiteX4508" fmla="*/ 1123992 w 1313607"/>
                <a:gd name="connsiteY4508" fmla="*/ 803266 h 2768823"/>
                <a:gd name="connsiteX4509" fmla="*/ 1126654 w 1313607"/>
                <a:gd name="connsiteY4509" fmla="*/ 803418 h 2768823"/>
                <a:gd name="connsiteX4510" fmla="*/ 1128802 w 1313607"/>
                <a:gd name="connsiteY4510" fmla="*/ 806019 h 2768823"/>
                <a:gd name="connsiteX4511" fmla="*/ 1129830 w 1313607"/>
                <a:gd name="connsiteY4511" fmla="*/ 811464 h 2768823"/>
                <a:gd name="connsiteX4512" fmla="*/ 1130950 w 1313607"/>
                <a:gd name="connsiteY4512" fmla="*/ 810285 h 2768823"/>
                <a:gd name="connsiteX4513" fmla="*/ 1132160 w 1313607"/>
                <a:gd name="connsiteY4513" fmla="*/ 809680 h 2768823"/>
                <a:gd name="connsiteX4514" fmla="*/ 1133400 w 1313607"/>
                <a:gd name="connsiteY4514" fmla="*/ 809528 h 2768823"/>
                <a:gd name="connsiteX4515" fmla="*/ 1134701 w 1313607"/>
                <a:gd name="connsiteY4515" fmla="*/ 809770 h 2768823"/>
                <a:gd name="connsiteX4516" fmla="*/ 1133551 w 1313607"/>
                <a:gd name="connsiteY4516" fmla="*/ 803539 h 2768823"/>
                <a:gd name="connsiteX4517" fmla="*/ 1132069 w 1313607"/>
                <a:gd name="connsiteY4517" fmla="*/ 799939 h 2768823"/>
                <a:gd name="connsiteX4518" fmla="*/ 1129830 w 1313607"/>
                <a:gd name="connsiteY4518" fmla="*/ 798154 h 2768823"/>
                <a:gd name="connsiteX4519" fmla="*/ 1123175 w 1313607"/>
                <a:gd name="connsiteY4519" fmla="*/ 796732 h 2768823"/>
                <a:gd name="connsiteX4520" fmla="*/ 1120816 w 1313607"/>
                <a:gd name="connsiteY4520" fmla="*/ 795582 h 2768823"/>
                <a:gd name="connsiteX4521" fmla="*/ 1118819 w 1313607"/>
                <a:gd name="connsiteY4521" fmla="*/ 793435 h 2768823"/>
                <a:gd name="connsiteX4522" fmla="*/ 1116701 w 1313607"/>
                <a:gd name="connsiteY4522" fmla="*/ 789865 h 2768823"/>
                <a:gd name="connsiteX4523" fmla="*/ 1120271 w 1313607"/>
                <a:gd name="connsiteY4523" fmla="*/ 790077 h 2768823"/>
                <a:gd name="connsiteX4524" fmla="*/ 1124385 w 1313607"/>
                <a:gd name="connsiteY4524" fmla="*/ 793888 h 2768823"/>
                <a:gd name="connsiteX4525" fmla="*/ 1128469 w 1313607"/>
                <a:gd name="connsiteY4525" fmla="*/ 795673 h 2768823"/>
                <a:gd name="connsiteX4526" fmla="*/ 1131948 w 1313607"/>
                <a:gd name="connsiteY4526" fmla="*/ 789895 h 2768823"/>
                <a:gd name="connsiteX4527" fmla="*/ 1130436 w 1313607"/>
                <a:gd name="connsiteY4527" fmla="*/ 787626 h 2768823"/>
                <a:gd name="connsiteX4528" fmla="*/ 1128923 w 1313607"/>
                <a:gd name="connsiteY4528" fmla="*/ 782756 h 2768823"/>
                <a:gd name="connsiteX4529" fmla="*/ 1127774 w 1313607"/>
                <a:gd name="connsiteY4529" fmla="*/ 780669 h 2768823"/>
                <a:gd name="connsiteX4530" fmla="*/ 1131010 w 1313607"/>
                <a:gd name="connsiteY4530" fmla="*/ 781939 h 2768823"/>
                <a:gd name="connsiteX4531" fmla="*/ 1132342 w 1313607"/>
                <a:gd name="connsiteY4531" fmla="*/ 781667 h 2768823"/>
                <a:gd name="connsiteX4532" fmla="*/ 1132644 w 1313607"/>
                <a:gd name="connsiteY4532" fmla="*/ 778974 h 2768823"/>
                <a:gd name="connsiteX4533" fmla="*/ 1128469 w 1313607"/>
                <a:gd name="connsiteY4533" fmla="*/ 772833 h 2768823"/>
                <a:gd name="connsiteX4534" fmla="*/ 1132644 w 1313607"/>
                <a:gd name="connsiteY4534" fmla="*/ 771412 h 2768823"/>
                <a:gd name="connsiteX4535" fmla="*/ 1132916 w 1313607"/>
                <a:gd name="connsiteY4535" fmla="*/ 767237 h 2768823"/>
                <a:gd name="connsiteX4536" fmla="*/ 1136486 w 1313607"/>
                <a:gd name="connsiteY4536" fmla="*/ 766753 h 2768823"/>
                <a:gd name="connsiteX4537" fmla="*/ 1143716 w 1313607"/>
                <a:gd name="connsiteY4537" fmla="*/ 768356 h 2768823"/>
                <a:gd name="connsiteX4538" fmla="*/ 1143232 w 1313607"/>
                <a:gd name="connsiteY4538" fmla="*/ 770625 h 2768823"/>
                <a:gd name="connsiteX4539" fmla="*/ 1142960 w 1313607"/>
                <a:gd name="connsiteY4539" fmla="*/ 771442 h 2768823"/>
                <a:gd name="connsiteX4540" fmla="*/ 1146348 w 1313607"/>
                <a:gd name="connsiteY4540" fmla="*/ 774195 h 2768823"/>
                <a:gd name="connsiteX4541" fmla="*/ 1147830 w 1313607"/>
                <a:gd name="connsiteY4541" fmla="*/ 776070 h 2768823"/>
                <a:gd name="connsiteX4542" fmla="*/ 1149191 w 1313607"/>
                <a:gd name="connsiteY4542" fmla="*/ 778974 h 2768823"/>
                <a:gd name="connsiteX4543" fmla="*/ 1148254 w 1313607"/>
                <a:gd name="connsiteY4543" fmla="*/ 780124 h 2768823"/>
                <a:gd name="connsiteX4544" fmla="*/ 1147134 w 1313607"/>
                <a:gd name="connsiteY4544" fmla="*/ 782363 h 2768823"/>
                <a:gd name="connsiteX4545" fmla="*/ 1146529 w 1313607"/>
                <a:gd name="connsiteY4545" fmla="*/ 784874 h 2768823"/>
                <a:gd name="connsiteX4546" fmla="*/ 1147134 w 1313607"/>
                <a:gd name="connsiteY4546" fmla="*/ 786840 h 2768823"/>
                <a:gd name="connsiteX4547" fmla="*/ 1148284 w 1313607"/>
                <a:gd name="connsiteY4547" fmla="*/ 786477 h 2768823"/>
                <a:gd name="connsiteX4548" fmla="*/ 1151642 w 1313607"/>
                <a:gd name="connsiteY4548" fmla="*/ 782937 h 2768823"/>
                <a:gd name="connsiteX4549" fmla="*/ 1153033 w 1313607"/>
                <a:gd name="connsiteY4549" fmla="*/ 782060 h 2768823"/>
                <a:gd name="connsiteX4550" fmla="*/ 1158872 w 1313607"/>
                <a:gd name="connsiteY4550" fmla="*/ 783331 h 2768823"/>
                <a:gd name="connsiteX4551" fmla="*/ 1161383 w 1313607"/>
                <a:gd name="connsiteY4551" fmla="*/ 786114 h 2768823"/>
                <a:gd name="connsiteX4552" fmla="*/ 1160899 w 1313607"/>
                <a:gd name="connsiteY4552" fmla="*/ 791287 h 2768823"/>
                <a:gd name="connsiteX4553" fmla="*/ 1162472 w 1313607"/>
                <a:gd name="connsiteY4553" fmla="*/ 790742 h 2768823"/>
                <a:gd name="connsiteX4554" fmla="*/ 1163863 w 1313607"/>
                <a:gd name="connsiteY4554" fmla="*/ 789109 h 2768823"/>
                <a:gd name="connsiteX4555" fmla="*/ 1164983 w 1313607"/>
                <a:gd name="connsiteY4555" fmla="*/ 786658 h 2768823"/>
                <a:gd name="connsiteX4556" fmla="*/ 1165769 w 1313607"/>
                <a:gd name="connsiteY4556" fmla="*/ 783603 h 2768823"/>
                <a:gd name="connsiteX4557" fmla="*/ 1166102 w 1313607"/>
                <a:gd name="connsiteY4557" fmla="*/ 780275 h 2768823"/>
                <a:gd name="connsiteX4558" fmla="*/ 1165890 w 1313607"/>
                <a:gd name="connsiteY4558" fmla="*/ 777946 h 2768823"/>
                <a:gd name="connsiteX4559" fmla="*/ 1165436 w 1313607"/>
                <a:gd name="connsiteY4559" fmla="*/ 775768 h 2768823"/>
                <a:gd name="connsiteX4560" fmla="*/ 1165043 w 1313607"/>
                <a:gd name="connsiteY4560" fmla="*/ 772803 h 2768823"/>
                <a:gd name="connsiteX4561" fmla="*/ 1164680 w 1313607"/>
                <a:gd name="connsiteY4561" fmla="*/ 767025 h 2768823"/>
                <a:gd name="connsiteX4562" fmla="*/ 1164347 w 1313607"/>
                <a:gd name="connsiteY4562" fmla="*/ 765089 h 2768823"/>
                <a:gd name="connsiteX4563" fmla="*/ 1163380 w 1313607"/>
                <a:gd name="connsiteY4563" fmla="*/ 762669 h 2768823"/>
                <a:gd name="connsiteX4564" fmla="*/ 1160808 w 1313607"/>
                <a:gd name="connsiteY4564" fmla="*/ 759644 h 2768823"/>
                <a:gd name="connsiteX4565" fmla="*/ 1159538 w 1313607"/>
                <a:gd name="connsiteY4565" fmla="*/ 757345 h 2768823"/>
                <a:gd name="connsiteX4566" fmla="*/ 1161413 w 1313607"/>
                <a:gd name="connsiteY4566" fmla="*/ 756619 h 2768823"/>
                <a:gd name="connsiteX4567" fmla="*/ 1163440 w 1313607"/>
                <a:gd name="connsiteY4567" fmla="*/ 757224 h 2768823"/>
                <a:gd name="connsiteX4568" fmla="*/ 1174724 w 1313607"/>
                <a:gd name="connsiteY4568" fmla="*/ 766602 h 2768823"/>
                <a:gd name="connsiteX4569" fmla="*/ 1176811 w 1313607"/>
                <a:gd name="connsiteY4569" fmla="*/ 770171 h 2768823"/>
                <a:gd name="connsiteX4570" fmla="*/ 1179957 w 1313607"/>
                <a:gd name="connsiteY4570" fmla="*/ 779398 h 2768823"/>
                <a:gd name="connsiteX4571" fmla="*/ 1182287 w 1313607"/>
                <a:gd name="connsiteY4571" fmla="*/ 782030 h 2768823"/>
                <a:gd name="connsiteX4572" fmla="*/ 1184041 w 1313607"/>
                <a:gd name="connsiteY4572" fmla="*/ 782302 h 2768823"/>
                <a:gd name="connsiteX4573" fmla="*/ 1186401 w 1313607"/>
                <a:gd name="connsiteY4573" fmla="*/ 781455 h 2768823"/>
                <a:gd name="connsiteX4574" fmla="*/ 1187792 w 1313607"/>
                <a:gd name="connsiteY4574" fmla="*/ 782060 h 2768823"/>
                <a:gd name="connsiteX4575" fmla="*/ 1189910 w 1313607"/>
                <a:gd name="connsiteY4575" fmla="*/ 785993 h 2768823"/>
                <a:gd name="connsiteX4576" fmla="*/ 1190696 w 1313607"/>
                <a:gd name="connsiteY4576" fmla="*/ 786749 h 2768823"/>
                <a:gd name="connsiteX4577" fmla="*/ 1195325 w 1313607"/>
                <a:gd name="connsiteY4577" fmla="*/ 789230 h 2768823"/>
                <a:gd name="connsiteX4578" fmla="*/ 1200982 w 1313607"/>
                <a:gd name="connsiteY4578" fmla="*/ 789925 h 2768823"/>
                <a:gd name="connsiteX4579" fmla="*/ 1202222 w 1313607"/>
                <a:gd name="connsiteY4579" fmla="*/ 791317 h 2768823"/>
                <a:gd name="connsiteX4580" fmla="*/ 1205096 w 1313607"/>
                <a:gd name="connsiteY4580" fmla="*/ 797488 h 2768823"/>
                <a:gd name="connsiteX4581" fmla="*/ 1204310 w 1313607"/>
                <a:gd name="connsiteY4581" fmla="*/ 802087 h 2768823"/>
                <a:gd name="connsiteX4582" fmla="*/ 1206760 w 1313607"/>
                <a:gd name="connsiteY4582" fmla="*/ 802661 h 2768823"/>
                <a:gd name="connsiteX4583" fmla="*/ 1209422 w 1313607"/>
                <a:gd name="connsiteY4583" fmla="*/ 800332 h 2768823"/>
                <a:gd name="connsiteX4584" fmla="*/ 1209301 w 1313607"/>
                <a:gd name="connsiteY4584" fmla="*/ 796066 h 2768823"/>
                <a:gd name="connsiteX4585" fmla="*/ 1211298 w 1313607"/>
                <a:gd name="connsiteY4585" fmla="*/ 793435 h 2768823"/>
                <a:gd name="connsiteX4586" fmla="*/ 1212326 w 1313607"/>
                <a:gd name="connsiteY4586" fmla="*/ 792376 h 2768823"/>
                <a:gd name="connsiteX4587" fmla="*/ 1218739 w 1313607"/>
                <a:gd name="connsiteY4587" fmla="*/ 789351 h 2768823"/>
                <a:gd name="connsiteX4588" fmla="*/ 1220313 w 1313607"/>
                <a:gd name="connsiteY4588" fmla="*/ 788201 h 2768823"/>
                <a:gd name="connsiteX4589" fmla="*/ 1217106 w 1313607"/>
                <a:gd name="connsiteY4589" fmla="*/ 785357 h 2768823"/>
                <a:gd name="connsiteX4590" fmla="*/ 1215593 w 1313607"/>
                <a:gd name="connsiteY4590" fmla="*/ 783421 h 2768823"/>
                <a:gd name="connsiteX4591" fmla="*/ 1214746 w 1313607"/>
                <a:gd name="connsiteY4591" fmla="*/ 780638 h 2768823"/>
                <a:gd name="connsiteX4592" fmla="*/ 1214898 w 1313607"/>
                <a:gd name="connsiteY4592" fmla="*/ 776706 h 2768823"/>
                <a:gd name="connsiteX4593" fmla="*/ 1216138 w 1313607"/>
                <a:gd name="connsiteY4593" fmla="*/ 775042 h 2768823"/>
                <a:gd name="connsiteX4594" fmla="*/ 1217892 w 1313607"/>
                <a:gd name="connsiteY4594" fmla="*/ 775042 h 2768823"/>
                <a:gd name="connsiteX4595" fmla="*/ 1219587 w 1313607"/>
                <a:gd name="connsiteY4595" fmla="*/ 776010 h 2768823"/>
                <a:gd name="connsiteX4596" fmla="*/ 1223489 w 1313607"/>
                <a:gd name="connsiteY4596" fmla="*/ 780427 h 2768823"/>
                <a:gd name="connsiteX4597" fmla="*/ 1225607 w 1313607"/>
                <a:gd name="connsiteY4597" fmla="*/ 782060 h 2768823"/>
                <a:gd name="connsiteX4598" fmla="*/ 1227875 w 1313607"/>
                <a:gd name="connsiteY4598" fmla="*/ 782060 h 2768823"/>
                <a:gd name="connsiteX4599" fmla="*/ 1229267 w 1313607"/>
                <a:gd name="connsiteY4599" fmla="*/ 780457 h 2768823"/>
                <a:gd name="connsiteX4600" fmla="*/ 1230507 w 1313607"/>
                <a:gd name="connsiteY4600" fmla="*/ 778158 h 2768823"/>
                <a:gd name="connsiteX4601" fmla="*/ 1231990 w 1313607"/>
                <a:gd name="connsiteY4601" fmla="*/ 776282 h 2768823"/>
                <a:gd name="connsiteX4602" fmla="*/ 1234168 w 1313607"/>
                <a:gd name="connsiteY4602" fmla="*/ 775980 h 2768823"/>
                <a:gd name="connsiteX4603" fmla="*/ 1233774 w 1313607"/>
                <a:gd name="connsiteY4603" fmla="*/ 779216 h 2768823"/>
                <a:gd name="connsiteX4604" fmla="*/ 1234168 w 1313607"/>
                <a:gd name="connsiteY4604" fmla="*/ 783270 h 2768823"/>
                <a:gd name="connsiteX4605" fmla="*/ 1235257 w 1313607"/>
                <a:gd name="connsiteY4605" fmla="*/ 786689 h 2768823"/>
                <a:gd name="connsiteX4606" fmla="*/ 1236951 w 1313607"/>
                <a:gd name="connsiteY4606" fmla="*/ 788171 h 2768823"/>
                <a:gd name="connsiteX4607" fmla="*/ 1238645 w 1313607"/>
                <a:gd name="connsiteY4607" fmla="*/ 788504 h 2768823"/>
                <a:gd name="connsiteX4608" fmla="*/ 1239613 w 1313607"/>
                <a:gd name="connsiteY4608" fmla="*/ 788927 h 2768823"/>
                <a:gd name="connsiteX4609" fmla="*/ 1240127 w 1313607"/>
                <a:gd name="connsiteY4609" fmla="*/ 788625 h 2768823"/>
                <a:gd name="connsiteX4610" fmla="*/ 1240430 w 1313607"/>
                <a:gd name="connsiteY4610" fmla="*/ 786779 h 2768823"/>
                <a:gd name="connsiteX4611" fmla="*/ 1240611 w 1313607"/>
                <a:gd name="connsiteY4611" fmla="*/ 784510 h 2768823"/>
                <a:gd name="connsiteX4612" fmla="*/ 1240611 w 1313607"/>
                <a:gd name="connsiteY4612" fmla="*/ 782847 h 2768823"/>
                <a:gd name="connsiteX4613" fmla="*/ 1240127 w 1313607"/>
                <a:gd name="connsiteY4613" fmla="*/ 781606 h 2768823"/>
                <a:gd name="connsiteX4614" fmla="*/ 1239008 w 1313607"/>
                <a:gd name="connsiteY4614" fmla="*/ 780608 h 2768823"/>
                <a:gd name="connsiteX4615" fmla="*/ 1239704 w 1313607"/>
                <a:gd name="connsiteY4615" fmla="*/ 779126 h 2768823"/>
                <a:gd name="connsiteX4616" fmla="*/ 1240430 w 1313607"/>
                <a:gd name="connsiteY4616" fmla="*/ 778551 h 2768823"/>
                <a:gd name="connsiteX4617" fmla="*/ 1241126 w 1313607"/>
                <a:gd name="connsiteY4617" fmla="*/ 778248 h 2768823"/>
                <a:gd name="connsiteX4618" fmla="*/ 1241821 w 1313607"/>
                <a:gd name="connsiteY4618" fmla="*/ 777522 h 2768823"/>
                <a:gd name="connsiteX4619" fmla="*/ 1242638 w 1313607"/>
                <a:gd name="connsiteY4619" fmla="*/ 774679 h 2768823"/>
                <a:gd name="connsiteX4620" fmla="*/ 1242547 w 1313607"/>
                <a:gd name="connsiteY4620" fmla="*/ 774286 h 2768823"/>
                <a:gd name="connsiteX4621" fmla="*/ 1243818 w 1313607"/>
                <a:gd name="connsiteY4621" fmla="*/ 773559 h 2768823"/>
                <a:gd name="connsiteX4622" fmla="*/ 1245179 w 1313607"/>
                <a:gd name="connsiteY4622" fmla="*/ 773317 h 2768823"/>
                <a:gd name="connsiteX4623" fmla="*/ 1245905 w 1313607"/>
                <a:gd name="connsiteY4623" fmla="*/ 774346 h 2768823"/>
                <a:gd name="connsiteX4624" fmla="*/ 1245240 w 1313607"/>
                <a:gd name="connsiteY4624" fmla="*/ 777492 h 2768823"/>
                <a:gd name="connsiteX4625" fmla="*/ 1249656 w 1313607"/>
                <a:gd name="connsiteY4625" fmla="*/ 778793 h 2768823"/>
                <a:gd name="connsiteX4626" fmla="*/ 1257673 w 1313607"/>
                <a:gd name="connsiteY4626" fmla="*/ 778853 h 2768823"/>
                <a:gd name="connsiteX4627" fmla="*/ 1258066 w 1313607"/>
                <a:gd name="connsiteY4627" fmla="*/ 779580 h 2768823"/>
                <a:gd name="connsiteX4628" fmla="*/ 1258520 w 1313607"/>
                <a:gd name="connsiteY4628" fmla="*/ 780820 h 2768823"/>
                <a:gd name="connsiteX4629" fmla="*/ 1259246 w 1313607"/>
                <a:gd name="connsiteY4629" fmla="*/ 781879 h 2768823"/>
                <a:gd name="connsiteX4630" fmla="*/ 1260456 w 1313607"/>
                <a:gd name="connsiteY4630" fmla="*/ 781879 h 2768823"/>
                <a:gd name="connsiteX4631" fmla="*/ 1261848 w 1313607"/>
                <a:gd name="connsiteY4631" fmla="*/ 780336 h 2768823"/>
                <a:gd name="connsiteX4632" fmla="*/ 1264449 w 1313607"/>
                <a:gd name="connsiteY4632" fmla="*/ 775284 h 2768823"/>
                <a:gd name="connsiteX4633" fmla="*/ 1265992 w 1313607"/>
                <a:gd name="connsiteY4633" fmla="*/ 774195 h 2768823"/>
                <a:gd name="connsiteX4634" fmla="*/ 1270953 w 1313607"/>
                <a:gd name="connsiteY4634" fmla="*/ 774406 h 2768823"/>
                <a:gd name="connsiteX4635" fmla="*/ 1273222 w 1313607"/>
                <a:gd name="connsiteY4635" fmla="*/ 776010 h 2768823"/>
                <a:gd name="connsiteX4636" fmla="*/ 1274160 w 1313607"/>
                <a:gd name="connsiteY4636" fmla="*/ 779700 h 2768823"/>
                <a:gd name="connsiteX4637" fmla="*/ 1275189 w 1313607"/>
                <a:gd name="connsiteY4637" fmla="*/ 782605 h 2768823"/>
                <a:gd name="connsiteX4638" fmla="*/ 1277609 w 1313607"/>
                <a:gd name="connsiteY4638" fmla="*/ 783421 h 2768823"/>
                <a:gd name="connsiteX4639" fmla="*/ 1282540 w 1313607"/>
                <a:gd name="connsiteY4639" fmla="*/ 783482 h 2768823"/>
                <a:gd name="connsiteX4640" fmla="*/ 1283659 w 1313607"/>
                <a:gd name="connsiteY4640" fmla="*/ 782181 h 2768823"/>
                <a:gd name="connsiteX4641" fmla="*/ 1284264 w 1313607"/>
                <a:gd name="connsiteY4641" fmla="*/ 782181 h 2768823"/>
                <a:gd name="connsiteX4642" fmla="*/ 1284506 w 1313607"/>
                <a:gd name="connsiteY4642" fmla="*/ 784238 h 2768823"/>
                <a:gd name="connsiteX4643" fmla="*/ 1284839 w 1313607"/>
                <a:gd name="connsiteY4643" fmla="*/ 785751 h 2768823"/>
                <a:gd name="connsiteX4644" fmla="*/ 1285625 w 1313607"/>
                <a:gd name="connsiteY4644" fmla="*/ 786961 h 2768823"/>
                <a:gd name="connsiteX4645" fmla="*/ 1286533 w 1313607"/>
                <a:gd name="connsiteY4645" fmla="*/ 787778 h 2768823"/>
                <a:gd name="connsiteX4646" fmla="*/ 1288136 w 1313607"/>
                <a:gd name="connsiteY4646" fmla="*/ 788473 h 2768823"/>
                <a:gd name="connsiteX4647" fmla="*/ 1288923 w 1313607"/>
                <a:gd name="connsiteY4647" fmla="*/ 789320 h 2768823"/>
                <a:gd name="connsiteX4648" fmla="*/ 1289770 w 1313607"/>
                <a:gd name="connsiteY4648" fmla="*/ 789956 h 2768823"/>
                <a:gd name="connsiteX4649" fmla="*/ 1290768 w 1313607"/>
                <a:gd name="connsiteY4649" fmla="*/ 789774 h 2768823"/>
                <a:gd name="connsiteX4650" fmla="*/ 1291494 w 1313607"/>
                <a:gd name="connsiteY4650" fmla="*/ 788564 h 2768823"/>
                <a:gd name="connsiteX4651" fmla="*/ 1292251 w 1313607"/>
                <a:gd name="connsiteY4651" fmla="*/ 784843 h 2768823"/>
                <a:gd name="connsiteX4652" fmla="*/ 1292825 w 1313607"/>
                <a:gd name="connsiteY4652" fmla="*/ 783482 h 2768823"/>
                <a:gd name="connsiteX4653" fmla="*/ 1295155 w 1313607"/>
                <a:gd name="connsiteY4653" fmla="*/ 782181 h 2768823"/>
                <a:gd name="connsiteX4654" fmla="*/ 1300055 w 1313607"/>
                <a:gd name="connsiteY4654" fmla="*/ 783240 h 2768823"/>
                <a:gd name="connsiteX4655" fmla="*/ 1302506 w 1313607"/>
                <a:gd name="connsiteY4655" fmla="*/ 781909 h 2768823"/>
                <a:gd name="connsiteX4656" fmla="*/ 1301568 w 1313607"/>
                <a:gd name="connsiteY4656" fmla="*/ 781334 h 2768823"/>
                <a:gd name="connsiteX4657" fmla="*/ 1301296 w 1313607"/>
                <a:gd name="connsiteY4657" fmla="*/ 780880 h 2768823"/>
                <a:gd name="connsiteX4658" fmla="*/ 1301114 w 1313607"/>
                <a:gd name="connsiteY4658" fmla="*/ 780184 h 2768823"/>
                <a:gd name="connsiteX4659" fmla="*/ 1300479 w 1313607"/>
                <a:gd name="connsiteY4659" fmla="*/ 778823 h 2768823"/>
                <a:gd name="connsiteX4660" fmla="*/ 1307770 w 1313607"/>
                <a:gd name="connsiteY4660" fmla="*/ 780608 h 2768823"/>
                <a:gd name="connsiteX4661" fmla="*/ 1311309 w 1313607"/>
                <a:gd name="connsiteY4661" fmla="*/ 780003 h 2768823"/>
                <a:gd name="connsiteX4662" fmla="*/ 1313608 w 1313607"/>
                <a:gd name="connsiteY4662" fmla="*/ 775889 h 2768823"/>
                <a:gd name="connsiteX4663" fmla="*/ 1313608 w 1313607"/>
                <a:gd name="connsiteY4663" fmla="*/ 771805 h 2768823"/>
                <a:gd name="connsiteX4664" fmla="*/ 1309706 w 1313607"/>
                <a:gd name="connsiteY4664" fmla="*/ 765452 h 276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Lst>
              <a:rect l="l" t="t" r="r" b="b"/>
              <a:pathLst>
                <a:path w="1313607" h="2768823">
                  <a:moveTo>
                    <a:pt x="462666" y="2642342"/>
                  </a:moveTo>
                  <a:lnTo>
                    <a:pt x="461486" y="2642130"/>
                  </a:lnTo>
                  <a:lnTo>
                    <a:pt x="460457" y="2642130"/>
                  </a:lnTo>
                  <a:lnTo>
                    <a:pt x="459640" y="2641737"/>
                  </a:lnTo>
                  <a:lnTo>
                    <a:pt x="459005" y="2641102"/>
                  </a:lnTo>
                  <a:lnTo>
                    <a:pt x="457583" y="2641858"/>
                  </a:lnTo>
                  <a:lnTo>
                    <a:pt x="456313" y="2644308"/>
                  </a:lnTo>
                  <a:lnTo>
                    <a:pt x="457190" y="2646728"/>
                  </a:lnTo>
                  <a:lnTo>
                    <a:pt x="460427" y="2649148"/>
                  </a:lnTo>
                  <a:lnTo>
                    <a:pt x="460881" y="2649269"/>
                  </a:lnTo>
                  <a:lnTo>
                    <a:pt x="461788" y="2649330"/>
                  </a:lnTo>
                  <a:lnTo>
                    <a:pt x="462333" y="2648937"/>
                  </a:lnTo>
                  <a:lnTo>
                    <a:pt x="462484" y="2648271"/>
                  </a:lnTo>
                  <a:lnTo>
                    <a:pt x="462484" y="2646819"/>
                  </a:lnTo>
                  <a:lnTo>
                    <a:pt x="461970" y="2644974"/>
                  </a:lnTo>
                  <a:lnTo>
                    <a:pt x="462212" y="2644127"/>
                  </a:lnTo>
                  <a:lnTo>
                    <a:pt x="463573" y="2643885"/>
                  </a:lnTo>
                  <a:lnTo>
                    <a:pt x="464723" y="2642886"/>
                  </a:lnTo>
                  <a:lnTo>
                    <a:pt x="464844" y="2642009"/>
                  </a:lnTo>
                  <a:lnTo>
                    <a:pt x="463936" y="2642311"/>
                  </a:lnTo>
                  <a:lnTo>
                    <a:pt x="462696" y="2642311"/>
                  </a:lnTo>
                  <a:close/>
                  <a:moveTo>
                    <a:pt x="604998" y="2437842"/>
                  </a:moveTo>
                  <a:lnTo>
                    <a:pt x="604605" y="2437025"/>
                  </a:lnTo>
                  <a:lnTo>
                    <a:pt x="604091" y="2436269"/>
                  </a:lnTo>
                  <a:lnTo>
                    <a:pt x="603879" y="2435694"/>
                  </a:lnTo>
                  <a:lnTo>
                    <a:pt x="603637" y="2435271"/>
                  </a:lnTo>
                  <a:lnTo>
                    <a:pt x="603456" y="2434817"/>
                  </a:lnTo>
                  <a:lnTo>
                    <a:pt x="603456" y="2434061"/>
                  </a:lnTo>
                  <a:lnTo>
                    <a:pt x="602730" y="2434061"/>
                  </a:lnTo>
                  <a:lnTo>
                    <a:pt x="602125" y="2435483"/>
                  </a:lnTo>
                  <a:lnTo>
                    <a:pt x="601217" y="2435997"/>
                  </a:lnTo>
                  <a:lnTo>
                    <a:pt x="600370" y="2435694"/>
                  </a:lnTo>
                  <a:lnTo>
                    <a:pt x="599553" y="2433214"/>
                  </a:lnTo>
                  <a:lnTo>
                    <a:pt x="598494" y="2433123"/>
                  </a:lnTo>
                  <a:lnTo>
                    <a:pt x="596588" y="2434061"/>
                  </a:lnTo>
                  <a:lnTo>
                    <a:pt x="594925" y="2435483"/>
                  </a:lnTo>
                  <a:lnTo>
                    <a:pt x="591839" y="2440111"/>
                  </a:lnTo>
                  <a:lnTo>
                    <a:pt x="589631" y="2442350"/>
                  </a:lnTo>
                  <a:lnTo>
                    <a:pt x="589177" y="2445284"/>
                  </a:lnTo>
                  <a:lnTo>
                    <a:pt x="588905" y="2454965"/>
                  </a:lnTo>
                  <a:lnTo>
                    <a:pt x="588360" y="2456417"/>
                  </a:lnTo>
                  <a:lnTo>
                    <a:pt x="586999" y="2457990"/>
                  </a:lnTo>
                  <a:lnTo>
                    <a:pt x="584881" y="2458958"/>
                  </a:lnTo>
                  <a:lnTo>
                    <a:pt x="583944" y="2459805"/>
                  </a:lnTo>
                  <a:lnTo>
                    <a:pt x="583550" y="2461529"/>
                  </a:lnTo>
                  <a:lnTo>
                    <a:pt x="581766" y="2474114"/>
                  </a:lnTo>
                  <a:lnTo>
                    <a:pt x="577470" y="2484187"/>
                  </a:lnTo>
                  <a:lnTo>
                    <a:pt x="572236" y="2493565"/>
                  </a:lnTo>
                  <a:lnTo>
                    <a:pt x="567668" y="2504063"/>
                  </a:lnTo>
                  <a:lnTo>
                    <a:pt x="565944" y="2510476"/>
                  </a:lnTo>
                  <a:lnTo>
                    <a:pt x="564492" y="2512533"/>
                  </a:lnTo>
                  <a:lnTo>
                    <a:pt x="561769" y="2513320"/>
                  </a:lnTo>
                  <a:lnTo>
                    <a:pt x="558684" y="2513440"/>
                  </a:lnTo>
                  <a:lnTo>
                    <a:pt x="556566" y="2514136"/>
                  </a:lnTo>
                  <a:lnTo>
                    <a:pt x="554842" y="2515861"/>
                  </a:lnTo>
                  <a:lnTo>
                    <a:pt x="537931" y="2555429"/>
                  </a:lnTo>
                  <a:lnTo>
                    <a:pt x="537235" y="2558939"/>
                  </a:lnTo>
                  <a:lnTo>
                    <a:pt x="536872" y="2560270"/>
                  </a:lnTo>
                  <a:lnTo>
                    <a:pt x="534543" y="2564142"/>
                  </a:lnTo>
                  <a:lnTo>
                    <a:pt x="532819" y="2569375"/>
                  </a:lnTo>
                  <a:lnTo>
                    <a:pt x="532516" y="2571009"/>
                  </a:lnTo>
                  <a:lnTo>
                    <a:pt x="531760" y="2585409"/>
                  </a:lnTo>
                  <a:lnTo>
                    <a:pt x="532334" y="2588585"/>
                  </a:lnTo>
                  <a:lnTo>
                    <a:pt x="533423" y="2591761"/>
                  </a:lnTo>
                  <a:lnTo>
                    <a:pt x="534029" y="2594726"/>
                  </a:lnTo>
                  <a:lnTo>
                    <a:pt x="533182" y="2597358"/>
                  </a:lnTo>
                  <a:lnTo>
                    <a:pt x="533454" y="2604437"/>
                  </a:lnTo>
                  <a:lnTo>
                    <a:pt x="533333" y="2608551"/>
                  </a:lnTo>
                  <a:lnTo>
                    <a:pt x="532486" y="2612181"/>
                  </a:lnTo>
                  <a:lnTo>
                    <a:pt x="533847" y="2616719"/>
                  </a:lnTo>
                  <a:lnTo>
                    <a:pt x="533847" y="2618353"/>
                  </a:lnTo>
                  <a:lnTo>
                    <a:pt x="533635" y="2622164"/>
                  </a:lnTo>
                  <a:lnTo>
                    <a:pt x="533847" y="2623647"/>
                  </a:lnTo>
                  <a:lnTo>
                    <a:pt x="535420" y="2625522"/>
                  </a:lnTo>
                  <a:lnTo>
                    <a:pt x="537598" y="2625401"/>
                  </a:lnTo>
                  <a:lnTo>
                    <a:pt x="539867" y="2623979"/>
                  </a:lnTo>
                  <a:lnTo>
                    <a:pt x="541682" y="2621922"/>
                  </a:lnTo>
                  <a:lnTo>
                    <a:pt x="546734" y="2610850"/>
                  </a:lnTo>
                  <a:lnTo>
                    <a:pt x="547521" y="2608188"/>
                  </a:lnTo>
                  <a:lnTo>
                    <a:pt x="547853" y="2606524"/>
                  </a:lnTo>
                  <a:lnTo>
                    <a:pt x="549275" y="2604195"/>
                  </a:lnTo>
                  <a:lnTo>
                    <a:pt x="549608" y="2602501"/>
                  </a:lnTo>
                  <a:lnTo>
                    <a:pt x="549487" y="2598689"/>
                  </a:lnTo>
                  <a:lnTo>
                    <a:pt x="549608" y="2597358"/>
                  </a:lnTo>
                  <a:lnTo>
                    <a:pt x="550243" y="2594242"/>
                  </a:lnTo>
                  <a:lnTo>
                    <a:pt x="551272" y="2590763"/>
                  </a:lnTo>
                  <a:lnTo>
                    <a:pt x="552603" y="2587284"/>
                  </a:lnTo>
                  <a:lnTo>
                    <a:pt x="554085" y="2584199"/>
                  </a:lnTo>
                  <a:lnTo>
                    <a:pt x="554660" y="2582595"/>
                  </a:lnTo>
                  <a:lnTo>
                    <a:pt x="554993" y="2580720"/>
                  </a:lnTo>
                  <a:lnTo>
                    <a:pt x="555205" y="2577846"/>
                  </a:lnTo>
                  <a:lnTo>
                    <a:pt x="555416" y="2577029"/>
                  </a:lnTo>
                  <a:lnTo>
                    <a:pt x="556294" y="2575244"/>
                  </a:lnTo>
                  <a:lnTo>
                    <a:pt x="556566" y="2574427"/>
                  </a:lnTo>
                  <a:lnTo>
                    <a:pt x="556566" y="2573580"/>
                  </a:lnTo>
                  <a:lnTo>
                    <a:pt x="555870" y="2573066"/>
                  </a:lnTo>
                  <a:lnTo>
                    <a:pt x="555870" y="2572128"/>
                  </a:lnTo>
                  <a:lnTo>
                    <a:pt x="556415" y="2568468"/>
                  </a:lnTo>
                  <a:lnTo>
                    <a:pt x="557050" y="2567016"/>
                  </a:lnTo>
                  <a:lnTo>
                    <a:pt x="558321" y="2566411"/>
                  </a:lnTo>
                  <a:lnTo>
                    <a:pt x="559167" y="2565836"/>
                  </a:lnTo>
                  <a:lnTo>
                    <a:pt x="560196" y="2564475"/>
                  </a:lnTo>
                  <a:lnTo>
                    <a:pt x="561043" y="2562781"/>
                  </a:lnTo>
                  <a:lnTo>
                    <a:pt x="561406" y="2561298"/>
                  </a:lnTo>
                  <a:lnTo>
                    <a:pt x="561739" y="2557426"/>
                  </a:lnTo>
                  <a:lnTo>
                    <a:pt x="562616" y="2554099"/>
                  </a:lnTo>
                  <a:lnTo>
                    <a:pt x="568455" y="2536885"/>
                  </a:lnTo>
                  <a:lnTo>
                    <a:pt x="568939" y="2533497"/>
                  </a:lnTo>
                  <a:lnTo>
                    <a:pt x="568999" y="2531773"/>
                  </a:lnTo>
                  <a:lnTo>
                    <a:pt x="569241" y="2530109"/>
                  </a:lnTo>
                  <a:lnTo>
                    <a:pt x="569695" y="2528536"/>
                  </a:lnTo>
                  <a:lnTo>
                    <a:pt x="570330" y="2527084"/>
                  </a:lnTo>
                  <a:lnTo>
                    <a:pt x="570966" y="2526206"/>
                  </a:lnTo>
                  <a:lnTo>
                    <a:pt x="575624" y="2523665"/>
                  </a:lnTo>
                  <a:lnTo>
                    <a:pt x="575897" y="2523665"/>
                  </a:lnTo>
                  <a:lnTo>
                    <a:pt x="577046" y="2520549"/>
                  </a:lnTo>
                  <a:lnTo>
                    <a:pt x="578680" y="2511625"/>
                  </a:lnTo>
                  <a:lnTo>
                    <a:pt x="579648" y="2509780"/>
                  </a:lnTo>
                  <a:lnTo>
                    <a:pt x="581191" y="2508328"/>
                  </a:lnTo>
                  <a:lnTo>
                    <a:pt x="581342" y="2505061"/>
                  </a:lnTo>
                  <a:lnTo>
                    <a:pt x="580737" y="2501552"/>
                  </a:lnTo>
                  <a:lnTo>
                    <a:pt x="580011" y="2499374"/>
                  </a:lnTo>
                  <a:lnTo>
                    <a:pt x="582824" y="2494745"/>
                  </a:lnTo>
                  <a:lnTo>
                    <a:pt x="584337" y="2492869"/>
                  </a:lnTo>
                  <a:lnTo>
                    <a:pt x="586333" y="2491145"/>
                  </a:lnTo>
                  <a:lnTo>
                    <a:pt x="585214" y="2490782"/>
                  </a:lnTo>
                  <a:lnTo>
                    <a:pt x="584216" y="2490147"/>
                  </a:lnTo>
                  <a:lnTo>
                    <a:pt x="583399" y="2489149"/>
                  </a:lnTo>
                  <a:lnTo>
                    <a:pt x="582764" y="2487697"/>
                  </a:lnTo>
                  <a:lnTo>
                    <a:pt x="585002" y="2486275"/>
                  </a:lnTo>
                  <a:lnTo>
                    <a:pt x="587241" y="2485337"/>
                  </a:lnTo>
                  <a:lnTo>
                    <a:pt x="588995" y="2483401"/>
                  </a:lnTo>
                  <a:lnTo>
                    <a:pt x="589691" y="2478924"/>
                  </a:lnTo>
                  <a:lnTo>
                    <a:pt x="590296" y="2476443"/>
                  </a:lnTo>
                  <a:lnTo>
                    <a:pt x="594501" y="2469001"/>
                  </a:lnTo>
                  <a:lnTo>
                    <a:pt x="594895" y="2467428"/>
                  </a:lnTo>
                  <a:lnTo>
                    <a:pt x="595288" y="2464857"/>
                  </a:lnTo>
                  <a:lnTo>
                    <a:pt x="595802" y="2463284"/>
                  </a:lnTo>
                  <a:lnTo>
                    <a:pt x="596195" y="2462981"/>
                  </a:lnTo>
                  <a:lnTo>
                    <a:pt x="597587" y="2462376"/>
                  </a:lnTo>
                  <a:lnTo>
                    <a:pt x="597980" y="2462104"/>
                  </a:lnTo>
                  <a:lnTo>
                    <a:pt x="598101" y="2461408"/>
                  </a:lnTo>
                  <a:lnTo>
                    <a:pt x="598101" y="2459896"/>
                  </a:lnTo>
                  <a:lnTo>
                    <a:pt x="599644" y="2455539"/>
                  </a:lnTo>
                  <a:lnTo>
                    <a:pt x="599463" y="2452938"/>
                  </a:lnTo>
                  <a:lnTo>
                    <a:pt x="597194" y="2447976"/>
                  </a:lnTo>
                  <a:lnTo>
                    <a:pt x="600582" y="2442108"/>
                  </a:lnTo>
                  <a:lnTo>
                    <a:pt x="602730" y="2440020"/>
                  </a:lnTo>
                  <a:lnTo>
                    <a:pt x="605483" y="2439687"/>
                  </a:lnTo>
                  <a:lnTo>
                    <a:pt x="605301" y="2438659"/>
                  </a:lnTo>
                  <a:lnTo>
                    <a:pt x="604998" y="2437751"/>
                  </a:lnTo>
                  <a:close/>
                  <a:moveTo>
                    <a:pt x="799273" y="2346120"/>
                  </a:moveTo>
                  <a:lnTo>
                    <a:pt x="798245" y="2345122"/>
                  </a:lnTo>
                  <a:lnTo>
                    <a:pt x="796671" y="2344426"/>
                  </a:lnTo>
                  <a:lnTo>
                    <a:pt x="795582" y="2342792"/>
                  </a:lnTo>
                  <a:lnTo>
                    <a:pt x="794856" y="2340826"/>
                  </a:lnTo>
                  <a:lnTo>
                    <a:pt x="794372" y="2339192"/>
                  </a:lnTo>
                  <a:lnTo>
                    <a:pt x="795129" y="2338134"/>
                  </a:lnTo>
                  <a:lnTo>
                    <a:pt x="793737" y="2337468"/>
                  </a:lnTo>
                  <a:lnTo>
                    <a:pt x="791771" y="2337559"/>
                  </a:lnTo>
                  <a:lnTo>
                    <a:pt x="789774" y="2338224"/>
                  </a:lnTo>
                  <a:lnTo>
                    <a:pt x="788232" y="2339223"/>
                  </a:lnTo>
                  <a:lnTo>
                    <a:pt x="788232" y="2341522"/>
                  </a:lnTo>
                  <a:lnTo>
                    <a:pt x="785811" y="2341643"/>
                  </a:lnTo>
                  <a:lnTo>
                    <a:pt x="783875" y="2339979"/>
                  </a:lnTo>
                  <a:lnTo>
                    <a:pt x="785418" y="2336954"/>
                  </a:lnTo>
                  <a:lnTo>
                    <a:pt x="785418" y="2335865"/>
                  </a:lnTo>
                  <a:lnTo>
                    <a:pt x="779186" y="2336954"/>
                  </a:lnTo>
                  <a:lnTo>
                    <a:pt x="777764" y="2337468"/>
                  </a:lnTo>
                  <a:lnTo>
                    <a:pt x="777946" y="2338678"/>
                  </a:lnTo>
                  <a:lnTo>
                    <a:pt x="778733" y="2340069"/>
                  </a:lnTo>
                  <a:lnTo>
                    <a:pt x="779216" y="2341128"/>
                  </a:lnTo>
                  <a:lnTo>
                    <a:pt x="778430" y="2344184"/>
                  </a:lnTo>
                  <a:lnTo>
                    <a:pt x="776766" y="2345908"/>
                  </a:lnTo>
                  <a:lnTo>
                    <a:pt x="775102" y="2348086"/>
                  </a:lnTo>
                  <a:lnTo>
                    <a:pt x="774376" y="2352503"/>
                  </a:lnTo>
                  <a:lnTo>
                    <a:pt x="772440" y="2350113"/>
                  </a:lnTo>
                  <a:lnTo>
                    <a:pt x="771835" y="2348752"/>
                  </a:lnTo>
                  <a:lnTo>
                    <a:pt x="771624" y="2347058"/>
                  </a:lnTo>
                  <a:lnTo>
                    <a:pt x="771412" y="2346513"/>
                  </a:lnTo>
                  <a:lnTo>
                    <a:pt x="770927" y="2346150"/>
                  </a:lnTo>
                  <a:lnTo>
                    <a:pt x="770474" y="2345636"/>
                  </a:lnTo>
                  <a:lnTo>
                    <a:pt x="770232" y="2344607"/>
                  </a:lnTo>
                  <a:lnTo>
                    <a:pt x="770413" y="2343881"/>
                  </a:lnTo>
                  <a:lnTo>
                    <a:pt x="770746" y="2343246"/>
                  </a:lnTo>
                  <a:lnTo>
                    <a:pt x="770988" y="2342580"/>
                  </a:lnTo>
                  <a:lnTo>
                    <a:pt x="770927" y="2341703"/>
                  </a:lnTo>
                  <a:lnTo>
                    <a:pt x="769718" y="2338527"/>
                  </a:lnTo>
                  <a:lnTo>
                    <a:pt x="768235" y="2336470"/>
                  </a:lnTo>
                  <a:lnTo>
                    <a:pt x="766359" y="2335592"/>
                  </a:lnTo>
                  <a:lnTo>
                    <a:pt x="764000" y="2335865"/>
                  </a:lnTo>
                  <a:lnTo>
                    <a:pt x="761731" y="2337165"/>
                  </a:lnTo>
                  <a:lnTo>
                    <a:pt x="759735" y="2339253"/>
                  </a:lnTo>
                  <a:lnTo>
                    <a:pt x="758010" y="2341975"/>
                  </a:lnTo>
                  <a:lnTo>
                    <a:pt x="756528" y="2345152"/>
                  </a:lnTo>
                  <a:lnTo>
                    <a:pt x="755953" y="2346846"/>
                  </a:lnTo>
                  <a:lnTo>
                    <a:pt x="755408" y="2349387"/>
                  </a:lnTo>
                  <a:lnTo>
                    <a:pt x="754773" y="2350657"/>
                  </a:lnTo>
                  <a:lnTo>
                    <a:pt x="753382" y="2351535"/>
                  </a:lnTo>
                  <a:lnTo>
                    <a:pt x="751839" y="2351172"/>
                  </a:lnTo>
                  <a:lnTo>
                    <a:pt x="750296" y="2350416"/>
                  </a:lnTo>
                  <a:lnTo>
                    <a:pt x="748874" y="2350143"/>
                  </a:lnTo>
                  <a:lnTo>
                    <a:pt x="743762" y="2352382"/>
                  </a:lnTo>
                  <a:lnTo>
                    <a:pt x="740132" y="2356436"/>
                  </a:lnTo>
                  <a:lnTo>
                    <a:pt x="726246" y="2379033"/>
                  </a:lnTo>
                  <a:lnTo>
                    <a:pt x="709789" y="2395369"/>
                  </a:lnTo>
                  <a:lnTo>
                    <a:pt x="706432" y="2400512"/>
                  </a:lnTo>
                  <a:lnTo>
                    <a:pt x="704798" y="2406895"/>
                  </a:lnTo>
                  <a:lnTo>
                    <a:pt x="704949" y="2410858"/>
                  </a:lnTo>
                  <a:lnTo>
                    <a:pt x="705706" y="2414791"/>
                  </a:lnTo>
                  <a:lnTo>
                    <a:pt x="706795" y="2418179"/>
                  </a:lnTo>
                  <a:lnTo>
                    <a:pt x="707884" y="2420478"/>
                  </a:lnTo>
                  <a:lnTo>
                    <a:pt x="708186" y="2421476"/>
                  </a:lnTo>
                  <a:lnTo>
                    <a:pt x="708096" y="2423684"/>
                  </a:lnTo>
                  <a:lnTo>
                    <a:pt x="708277" y="2424592"/>
                  </a:lnTo>
                  <a:lnTo>
                    <a:pt x="709245" y="2426195"/>
                  </a:lnTo>
                  <a:lnTo>
                    <a:pt x="709578" y="2426921"/>
                  </a:lnTo>
                  <a:lnTo>
                    <a:pt x="710394" y="2427799"/>
                  </a:lnTo>
                  <a:lnTo>
                    <a:pt x="711332" y="2428434"/>
                  </a:lnTo>
                  <a:lnTo>
                    <a:pt x="711604" y="2429463"/>
                  </a:lnTo>
                  <a:lnTo>
                    <a:pt x="710304" y="2431610"/>
                  </a:lnTo>
                  <a:lnTo>
                    <a:pt x="710818" y="2434182"/>
                  </a:lnTo>
                  <a:lnTo>
                    <a:pt x="710304" y="2437691"/>
                  </a:lnTo>
                  <a:lnTo>
                    <a:pt x="709003" y="2440807"/>
                  </a:lnTo>
                  <a:lnTo>
                    <a:pt x="705221" y="2443620"/>
                  </a:lnTo>
                  <a:lnTo>
                    <a:pt x="703769" y="2446857"/>
                  </a:lnTo>
                  <a:lnTo>
                    <a:pt x="703588" y="2450124"/>
                  </a:lnTo>
                  <a:lnTo>
                    <a:pt x="709668" y="2455116"/>
                  </a:lnTo>
                  <a:lnTo>
                    <a:pt x="712240" y="2469606"/>
                  </a:lnTo>
                  <a:lnTo>
                    <a:pt x="716535" y="2471512"/>
                  </a:lnTo>
                  <a:lnTo>
                    <a:pt x="716112" y="2472359"/>
                  </a:lnTo>
                  <a:lnTo>
                    <a:pt x="715568" y="2473993"/>
                  </a:lnTo>
                  <a:lnTo>
                    <a:pt x="715174" y="2474870"/>
                  </a:lnTo>
                  <a:lnTo>
                    <a:pt x="716475" y="2475959"/>
                  </a:lnTo>
                  <a:lnTo>
                    <a:pt x="716263" y="2478107"/>
                  </a:lnTo>
                  <a:lnTo>
                    <a:pt x="715144" y="2480376"/>
                  </a:lnTo>
                  <a:lnTo>
                    <a:pt x="713813" y="2481858"/>
                  </a:lnTo>
                  <a:lnTo>
                    <a:pt x="713813" y="2483129"/>
                  </a:lnTo>
                  <a:lnTo>
                    <a:pt x="716051" y="2484006"/>
                  </a:lnTo>
                  <a:lnTo>
                    <a:pt x="718199" y="2482342"/>
                  </a:lnTo>
                  <a:lnTo>
                    <a:pt x="720377" y="2479922"/>
                  </a:lnTo>
                  <a:lnTo>
                    <a:pt x="722767" y="2478500"/>
                  </a:lnTo>
                  <a:lnTo>
                    <a:pt x="721951" y="2480497"/>
                  </a:lnTo>
                  <a:lnTo>
                    <a:pt x="721103" y="2485065"/>
                  </a:lnTo>
                  <a:lnTo>
                    <a:pt x="720287" y="2487212"/>
                  </a:lnTo>
                  <a:lnTo>
                    <a:pt x="718804" y="2488513"/>
                  </a:lnTo>
                  <a:lnTo>
                    <a:pt x="715083" y="2489784"/>
                  </a:lnTo>
                  <a:lnTo>
                    <a:pt x="713753" y="2491266"/>
                  </a:lnTo>
                  <a:lnTo>
                    <a:pt x="714146" y="2493475"/>
                  </a:lnTo>
                  <a:lnTo>
                    <a:pt x="714297" y="2495138"/>
                  </a:lnTo>
                  <a:lnTo>
                    <a:pt x="714055" y="2496560"/>
                  </a:lnTo>
                  <a:lnTo>
                    <a:pt x="707490" y="2507451"/>
                  </a:lnTo>
                  <a:lnTo>
                    <a:pt x="710606" y="2509145"/>
                  </a:lnTo>
                  <a:lnTo>
                    <a:pt x="714055" y="2508600"/>
                  </a:lnTo>
                  <a:lnTo>
                    <a:pt x="723584" y="2504123"/>
                  </a:lnTo>
                  <a:lnTo>
                    <a:pt x="724885" y="2503034"/>
                  </a:lnTo>
                  <a:lnTo>
                    <a:pt x="725883" y="2499464"/>
                  </a:lnTo>
                  <a:lnTo>
                    <a:pt x="726972" y="2498103"/>
                  </a:lnTo>
                  <a:lnTo>
                    <a:pt x="729604" y="2495955"/>
                  </a:lnTo>
                  <a:lnTo>
                    <a:pt x="728212" y="2494685"/>
                  </a:lnTo>
                  <a:lnTo>
                    <a:pt x="728212" y="2493535"/>
                  </a:lnTo>
                  <a:lnTo>
                    <a:pt x="733779" y="2493535"/>
                  </a:lnTo>
                  <a:lnTo>
                    <a:pt x="730179" y="2492264"/>
                  </a:lnTo>
                  <a:lnTo>
                    <a:pt x="728606" y="2491054"/>
                  </a:lnTo>
                  <a:lnTo>
                    <a:pt x="727547" y="2488876"/>
                  </a:lnTo>
                  <a:lnTo>
                    <a:pt x="728212" y="2480134"/>
                  </a:lnTo>
                  <a:lnTo>
                    <a:pt x="729725" y="2477865"/>
                  </a:lnTo>
                  <a:lnTo>
                    <a:pt x="736895" y="2474325"/>
                  </a:lnTo>
                  <a:lnTo>
                    <a:pt x="739254" y="2472541"/>
                  </a:lnTo>
                  <a:lnTo>
                    <a:pt x="732327" y="2472541"/>
                  </a:lnTo>
                  <a:lnTo>
                    <a:pt x="734414" y="2469878"/>
                  </a:lnTo>
                  <a:lnTo>
                    <a:pt x="736895" y="2467942"/>
                  </a:lnTo>
                  <a:lnTo>
                    <a:pt x="749388" y="2461438"/>
                  </a:lnTo>
                  <a:lnTo>
                    <a:pt x="751657" y="2460894"/>
                  </a:lnTo>
                  <a:lnTo>
                    <a:pt x="751657" y="2459835"/>
                  </a:lnTo>
                  <a:lnTo>
                    <a:pt x="750296" y="2459835"/>
                  </a:lnTo>
                  <a:lnTo>
                    <a:pt x="750296" y="2458564"/>
                  </a:lnTo>
                  <a:lnTo>
                    <a:pt x="753019" y="2456991"/>
                  </a:lnTo>
                  <a:lnTo>
                    <a:pt x="761973" y="2455085"/>
                  </a:lnTo>
                  <a:lnTo>
                    <a:pt x="761792" y="2454511"/>
                  </a:lnTo>
                  <a:lnTo>
                    <a:pt x="765331" y="2452877"/>
                  </a:lnTo>
                  <a:lnTo>
                    <a:pt x="765029" y="2447523"/>
                  </a:lnTo>
                  <a:lnTo>
                    <a:pt x="764181" y="2446948"/>
                  </a:lnTo>
                  <a:lnTo>
                    <a:pt x="762034" y="2447341"/>
                  </a:lnTo>
                  <a:lnTo>
                    <a:pt x="761247" y="2446948"/>
                  </a:lnTo>
                  <a:lnTo>
                    <a:pt x="760551" y="2443681"/>
                  </a:lnTo>
                  <a:lnTo>
                    <a:pt x="761943" y="2441321"/>
                  </a:lnTo>
                  <a:lnTo>
                    <a:pt x="765724" y="2438175"/>
                  </a:lnTo>
                  <a:lnTo>
                    <a:pt x="768114" y="2434908"/>
                  </a:lnTo>
                  <a:lnTo>
                    <a:pt x="770988" y="2432064"/>
                  </a:lnTo>
                  <a:lnTo>
                    <a:pt x="774134" y="2430067"/>
                  </a:lnTo>
                  <a:lnTo>
                    <a:pt x="777462" y="2429281"/>
                  </a:lnTo>
                  <a:lnTo>
                    <a:pt x="778158" y="2428918"/>
                  </a:lnTo>
                  <a:lnTo>
                    <a:pt x="779368" y="2427315"/>
                  </a:lnTo>
                  <a:lnTo>
                    <a:pt x="779852" y="2426952"/>
                  </a:lnTo>
                  <a:lnTo>
                    <a:pt x="780457" y="2427133"/>
                  </a:lnTo>
                  <a:lnTo>
                    <a:pt x="781606" y="2427950"/>
                  </a:lnTo>
                  <a:lnTo>
                    <a:pt x="781969" y="2428132"/>
                  </a:lnTo>
                  <a:lnTo>
                    <a:pt x="785085" y="2428132"/>
                  </a:lnTo>
                  <a:lnTo>
                    <a:pt x="786749" y="2427254"/>
                  </a:lnTo>
                  <a:lnTo>
                    <a:pt x="787112" y="2425227"/>
                  </a:lnTo>
                  <a:lnTo>
                    <a:pt x="786719" y="2422868"/>
                  </a:lnTo>
                  <a:lnTo>
                    <a:pt x="786114" y="2421113"/>
                  </a:lnTo>
                  <a:lnTo>
                    <a:pt x="785479" y="2419842"/>
                  </a:lnTo>
                  <a:lnTo>
                    <a:pt x="784994" y="2419298"/>
                  </a:lnTo>
                  <a:lnTo>
                    <a:pt x="783391" y="2418179"/>
                  </a:lnTo>
                  <a:lnTo>
                    <a:pt x="782060" y="2417574"/>
                  </a:lnTo>
                  <a:lnTo>
                    <a:pt x="781576" y="2418270"/>
                  </a:lnTo>
                  <a:lnTo>
                    <a:pt x="781364" y="2419389"/>
                  </a:lnTo>
                  <a:lnTo>
                    <a:pt x="780971" y="2419964"/>
                  </a:lnTo>
                  <a:lnTo>
                    <a:pt x="776918" y="2419147"/>
                  </a:lnTo>
                  <a:lnTo>
                    <a:pt x="772985" y="2417604"/>
                  </a:lnTo>
                  <a:lnTo>
                    <a:pt x="773832" y="2414972"/>
                  </a:lnTo>
                  <a:lnTo>
                    <a:pt x="774346" y="2414095"/>
                  </a:lnTo>
                  <a:lnTo>
                    <a:pt x="772591" y="2414307"/>
                  </a:lnTo>
                  <a:lnTo>
                    <a:pt x="771290" y="2413611"/>
                  </a:lnTo>
                  <a:lnTo>
                    <a:pt x="770867" y="2411947"/>
                  </a:lnTo>
                  <a:lnTo>
                    <a:pt x="771593" y="2409254"/>
                  </a:lnTo>
                  <a:lnTo>
                    <a:pt x="770111" y="2407500"/>
                  </a:lnTo>
                  <a:lnTo>
                    <a:pt x="770746" y="2405231"/>
                  </a:lnTo>
                  <a:lnTo>
                    <a:pt x="772168" y="2402781"/>
                  </a:lnTo>
                  <a:lnTo>
                    <a:pt x="772954" y="2400482"/>
                  </a:lnTo>
                  <a:lnTo>
                    <a:pt x="773076" y="2397759"/>
                  </a:lnTo>
                  <a:lnTo>
                    <a:pt x="773469" y="2395369"/>
                  </a:lnTo>
                  <a:lnTo>
                    <a:pt x="774104" y="2393009"/>
                  </a:lnTo>
                  <a:lnTo>
                    <a:pt x="775042" y="2390317"/>
                  </a:lnTo>
                  <a:lnTo>
                    <a:pt x="770867" y="2389077"/>
                  </a:lnTo>
                  <a:lnTo>
                    <a:pt x="770201" y="2388623"/>
                  </a:lnTo>
                  <a:lnTo>
                    <a:pt x="770444" y="2386959"/>
                  </a:lnTo>
                  <a:lnTo>
                    <a:pt x="770897" y="2385598"/>
                  </a:lnTo>
                  <a:lnTo>
                    <a:pt x="771381" y="2384569"/>
                  </a:lnTo>
                  <a:lnTo>
                    <a:pt x="771896" y="2382815"/>
                  </a:lnTo>
                  <a:lnTo>
                    <a:pt x="773650" y="2378580"/>
                  </a:lnTo>
                  <a:lnTo>
                    <a:pt x="775042" y="2372681"/>
                  </a:lnTo>
                  <a:lnTo>
                    <a:pt x="774951" y="2371047"/>
                  </a:lnTo>
                  <a:lnTo>
                    <a:pt x="774618" y="2369535"/>
                  </a:lnTo>
                  <a:lnTo>
                    <a:pt x="774739" y="2368385"/>
                  </a:lnTo>
                  <a:lnTo>
                    <a:pt x="776101" y="2367931"/>
                  </a:lnTo>
                  <a:lnTo>
                    <a:pt x="777220" y="2368294"/>
                  </a:lnTo>
                  <a:lnTo>
                    <a:pt x="779307" y="2369898"/>
                  </a:lnTo>
                  <a:lnTo>
                    <a:pt x="780578" y="2370261"/>
                  </a:lnTo>
                  <a:lnTo>
                    <a:pt x="784208" y="2370139"/>
                  </a:lnTo>
                  <a:lnTo>
                    <a:pt x="788232" y="2369171"/>
                  </a:lnTo>
                  <a:lnTo>
                    <a:pt x="787324" y="2367235"/>
                  </a:lnTo>
                  <a:lnTo>
                    <a:pt x="787324" y="2365239"/>
                  </a:lnTo>
                  <a:lnTo>
                    <a:pt x="787929" y="2363454"/>
                  </a:lnTo>
                  <a:lnTo>
                    <a:pt x="788867" y="2362093"/>
                  </a:lnTo>
                  <a:lnTo>
                    <a:pt x="788988" y="2359975"/>
                  </a:lnTo>
                  <a:lnTo>
                    <a:pt x="789895" y="2359642"/>
                  </a:lnTo>
                  <a:lnTo>
                    <a:pt x="791136" y="2360519"/>
                  </a:lnTo>
                  <a:lnTo>
                    <a:pt x="792285" y="2362093"/>
                  </a:lnTo>
                  <a:lnTo>
                    <a:pt x="792800" y="2355679"/>
                  </a:lnTo>
                  <a:lnTo>
                    <a:pt x="795643" y="2353168"/>
                  </a:lnTo>
                  <a:lnTo>
                    <a:pt x="802691" y="2352533"/>
                  </a:lnTo>
                  <a:lnTo>
                    <a:pt x="802056" y="2350960"/>
                  </a:lnTo>
                  <a:lnTo>
                    <a:pt x="799183" y="2346180"/>
                  </a:lnTo>
                  <a:close/>
                  <a:moveTo>
                    <a:pt x="824987" y="2326245"/>
                  </a:moveTo>
                  <a:lnTo>
                    <a:pt x="821689" y="2326245"/>
                  </a:lnTo>
                  <a:lnTo>
                    <a:pt x="818362" y="2327243"/>
                  </a:lnTo>
                  <a:lnTo>
                    <a:pt x="817031" y="2326698"/>
                  </a:lnTo>
                  <a:lnTo>
                    <a:pt x="816577" y="2323824"/>
                  </a:lnTo>
                  <a:lnTo>
                    <a:pt x="814913" y="2325004"/>
                  </a:lnTo>
                  <a:lnTo>
                    <a:pt x="813098" y="2324853"/>
                  </a:lnTo>
                  <a:lnTo>
                    <a:pt x="811525" y="2324309"/>
                  </a:lnTo>
                  <a:lnTo>
                    <a:pt x="810648" y="2324309"/>
                  </a:lnTo>
                  <a:lnTo>
                    <a:pt x="809165" y="2325761"/>
                  </a:lnTo>
                  <a:lnTo>
                    <a:pt x="805747" y="2325640"/>
                  </a:lnTo>
                  <a:lnTo>
                    <a:pt x="804114" y="2326184"/>
                  </a:lnTo>
                  <a:lnTo>
                    <a:pt x="802934" y="2327606"/>
                  </a:lnTo>
                  <a:lnTo>
                    <a:pt x="802268" y="2329240"/>
                  </a:lnTo>
                  <a:lnTo>
                    <a:pt x="801784" y="2330994"/>
                  </a:lnTo>
                  <a:lnTo>
                    <a:pt x="801058" y="2332688"/>
                  </a:lnTo>
                  <a:lnTo>
                    <a:pt x="798940" y="2335320"/>
                  </a:lnTo>
                  <a:lnTo>
                    <a:pt x="798245" y="2336591"/>
                  </a:lnTo>
                  <a:lnTo>
                    <a:pt x="797972" y="2338648"/>
                  </a:lnTo>
                  <a:lnTo>
                    <a:pt x="801482" y="2345122"/>
                  </a:lnTo>
                  <a:lnTo>
                    <a:pt x="802752" y="2346604"/>
                  </a:lnTo>
                  <a:lnTo>
                    <a:pt x="804144" y="2347753"/>
                  </a:lnTo>
                  <a:lnTo>
                    <a:pt x="805656" y="2348510"/>
                  </a:lnTo>
                  <a:lnTo>
                    <a:pt x="807290" y="2348782"/>
                  </a:lnTo>
                  <a:lnTo>
                    <a:pt x="807441" y="2347844"/>
                  </a:lnTo>
                  <a:lnTo>
                    <a:pt x="810375" y="2342943"/>
                  </a:lnTo>
                  <a:lnTo>
                    <a:pt x="810648" y="2341401"/>
                  </a:lnTo>
                  <a:lnTo>
                    <a:pt x="810436" y="2340221"/>
                  </a:lnTo>
                  <a:lnTo>
                    <a:pt x="809680" y="2339162"/>
                  </a:lnTo>
                  <a:lnTo>
                    <a:pt x="808348" y="2338073"/>
                  </a:lnTo>
                  <a:lnTo>
                    <a:pt x="810557" y="2334987"/>
                  </a:lnTo>
                  <a:lnTo>
                    <a:pt x="814913" y="2333384"/>
                  </a:lnTo>
                  <a:lnTo>
                    <a:pt x="816970" y="2331448"/>
                  </a:lnTo>
                  <a:lnTo>
                    <a:pt x="819209" y="2330359"/>
                  </a:lnTo>
                  <a:lnTo>
                    <a:pt x="824049" y="2331871"/>
                  </a:lnTo>
                  <a:lnTo>
                    <a:pt x="825501" y="2329603"/>
                  </a:lnTo>
                  <a:lnTo>
                    <a:pt x="826318" y="2329724"/>
                  </a:lnTo>
                  <a:lnTo>
                    <a:pt x="827044" y="2329603"/>
                  </a:lnTo>
                  <a:lnTo>
                    <a:pt x="827709" y="2329179"/>
                  </a:lnTo>
                  <a:lnTo>
                    <a:pt x="828345" y="2328392"/>
                  </a:lnTo>
                  <a:lnTo>
                    <a:pt x="826590" y="2326789"/>
                  </a:lnTo>
                  <a:lnTo>
                    <a:pt x="825047" y="2326154"/>
                  </a:lnTo>
                  <a:close/>
                  <a:moveTo>
                    <a:pt x="56389" y="2323794"/>
                  </a:moveTo>
                  <a:lnTo>
                    <a:pt x="57569" y="2321011"/>
                  </a:lnTo>
                  <a:lnTo>
                    <a:pt x="59142" y="2319468"/>
                  </a:lnTo>
                  <a:lnTo>
                    <a:pt x="60775" y="2320104"/>
                  </a:lnTo>
                  <a:lnTo>
                    <a:pt x="60291" y="2322191"/>
                  </a:lnTo>
                  <a:lnTo>
                    <a:pt x="60654" y="2323341"/>
                  </a:lnTo>
                  <a:lnTo>
                    <a:pt x="61592" y="2323461"/>
                  </a:lnTo>
                  <a:lnTo>
                    <a:pt x="62863" y="2322493"/>
                  </a:lnTo>
                  <a:lnTo>
                    <a:pt x="63226" y="2321495"/>
                  </a:lnTo>
                  <a:lnTo>
                    <a:pt x="64224" y="2316625"/>
                  </a:lnTo>
                  <a:lnTo>
                    <a:pt x="63710" y="2315868"/>
                  </a:lnTo>
                  <a:lnTo>
                    <a:pt x="63498" y="2314840"/>
                  </a:lnTo>
                  <a:lnTo>
                    <a:pt x="63498" y="2311875"/>
                  </a:lnTo>
                  <a:lnTo>
                    <a:pt x="61289" y="2310816"/>
                  </a:lnTo>
                  <a:lnTo>
                    <a:pt x="59505" y="2311754"/>
                  </a:lnTo>
                  <a:lnTo>
                    <a:pt x="57750" y="2313327"/>
                  </a:lnTo>
                  <a:lnTo>
                    <a:pt x="55542" y="2314144"/>
                  </a:lnTo>
                  <a:lnTo>
                    <a:pt x="46255" y="2314144"/>
                  </a:lnTo>
                  <a:lnTo>
                    <a:pt x="41959" y="2313236"/>
                  </a:lnTo>
                  <a:lnTo>
                    <a:pt x="40053" y="2314053"/>
                  </a:lnTo>
                  <a:lnTo>
                    <a:pt x="39236" y="2317199"/>
                  </a:lnTo>
                  <a:lnTo>
                    <a:pt x="40023" y="2319831"/>
                  </a:lnTo>
                  <a:lnTo>
                    <a:pt x="41898" y="2320376"/>
                  </a:lnTo>
                  <a:lnTo>
                    <a:pt x="44197" y="2320376"/>
                  </a:lnTo>
                  <a:lnTo>
                    <a:pt x="46255" y="2321435"/>
                  </a:lnTo>
                  <a:lnTo>
                    <a:pt x="44984" y="2321707"/>
                  </a:lnTo>
                  <a:lnTo>
                    <a:pt x="42201" y="2321193"/>
                  </a:lnTo>
                  <a:lnTo>
                    <a:pt x="41051" y="2321979"/>
                  </a:lnTo>
                  <a:lnTo>
                    <a:pt x="40718" y="2323401"/>
                  </a:lnTo>
                  <a:lnTo>
                    <a:pt x="41142" y="2324944"/>
                  </a:lnTo>
                  <a:lnTo>
                    <a:pt x="41777" y="2326456"/>
                  </a:lnTo>
                  <a:lnTo>
                    <a:pt x="42110" y="2327939"/>
                  </a:lnTo>
                  <a:lnTo>
                    <a:pt x="42291" y="2330087"/>
                  </a:lnTo>
                  <a:lnTo>
                    <a:pt x="42897" y="2330722"/>
                  </a:lnTo>
                  <a:lnTo>
                    <a:pt x="45559" y="2330964"/>
                  </a:lnTo>
                  <a:lnTo>
                    <a:pt x="46164" y="2331569"/>
                  </a:lnTo>
                  <a:lnTo>
                    <a:pt x="46799" y="2332537"/>
                  </a:lnTo>
                  <a:lnTo>
                    <a:pt x="47676" y="2333323"/>
                  </a:lnTo>
                  <a:lnTo>
                    <a:pt x="49037" y="2333323"/>
                  </a:lnTo>
                  <a:lnTo>
                    <a:pt x="49945" y="2332507"/>
                  </a:lnTo>
                  <a:lnTo>
                    <a:pt x="50671" y="2331145"/>
                  </a:lnTo>
                  <a:lnTo>
                    <a:pt x="51458" y="2330147"/>
                  </a:lnTo>
                  <a:lnTo>
                    <a:pt x="53515" y="2330661"/>
                  </a:lnTo>
                  <a:lnTo>
                    <a:pt x="54665" y="2329966"/>
                  </a:lnTo>
                  <a:lnTo>
                    <a:pt x="55542" y="2328604"/>
                  </a:lnTo>
                  <a:lnTo>
                    <a:pt x="56389" y="2323885"/>
                  </a:lnTo>
                  <a:close/>
                  <a:moveTo>
                    <a:pt x="41142" y="2307096"/>
                  </a:moveTo>
                  <a:lnTo>
                    <a:pt x="41505" y="2306490"/>
                  </a:lnTo>
                  <a:lnTo>
                    <a:pt x="41898" y="2305250"/>
                  </a:lnTo>
                  <a:lnTo>
                    <a:pt x="42927" y="2303465"/>
                  </a:lnTo>
                  <a:lnTo>
                    <a:pt x="45196" y="2301559"/>
                  </a:lnTo>
                  <a:lnTo>
                    <a:pt x="48070" y="2300652"/>
                  </a:lnTo>
                  <a:lnTo>
                    <a:pt x="50792" y="2301438"/>
                  </a:lnTo>
                  <a:lnTo>
                    <a:pt x="52456" y="2304675"/>
                  </a:lnTo>
                  <a:lnTo>
                    <a:pt x="55028" y="2303284"/>
                  </a:lnTo>
                  <a:lnTo>
                    <a:pt x="60412" y="2304978"/>
                  </a:lnTo>
                  <a:lnTo>
                    <a:pt x="65282" y="2301469"/>
                  </a:lnTo>
                  <a:lnTo>
                    <a:pt x="67914" y="2301106"/>
                  </a:lnTo>
                  <a:lnTo>
                    <a:pt x="70123" y="2300168"/>
                  </a:lnTo>
                  <a:lnTo>
                    <a:pt x="71030" y="2296901"/>
                  </a:lnTo>
                  <a:lnTo>
                    <a:pt x="71182" y="2289035"/>
                  </a:lnTo>
                  <a:lnTo>
                    <a:pt x="71030" y="2285163"/>
                  </a:lnTo>
                  <a:lnTo>
                    <a:pt x="70335" y="2281835"/>
                  </a:lnTo>
                  <a:lnTo>
                    <a:pt x="68550" y="2279022"/>
                  </a:lnTo>
                  <a:lnTo>
                    <a:pt x="66462" y="2277752"/>
                  </a:lnTo>
                  <a:lnTo>
                    <a:pt x="64587" y="2276118"/>
                  </a:lnTo>
                  <a:lnTo>
                    <a:pt x="63467" y="2272216"/>
                  </a:lnTo>
                  <a:lnTo>
                    <a:pt x="59928" y="2271127"/>
                  </a:lnTo>
                  <a:lnTo>
                    <a:pt x="58204" y="2271127"/>
                  </a:lnTo>
                  <a:lnTo>
                    <a:pt x="56570" y="2272216"/>
                  </a:lnTo>
                  <a:lnTo>
                    <a:pt x="56843" y="2272911"/>
                  </a:lnTo>
                  <a:lnTo>
                    <a:pt x="57326" y="2274636"/>
                  </a:lnTo>
                  <a:lnTo>
                    <a:pt x="56237" y="2275543"/>
                  </a:lnTo>
                  <a:lnTo>
                    <a:pt x="55542" y="2276995"/>
                  </a:lnTo>
                  <a:lnTo>
                    <a:pt x="55391" y="2278750"/>
                  </a:lnTo>
                  <a:lnTo>
                    <a:pt x="55844" y="2280656"/>
                  </a:lnTo>
                  <a:lnTo>
                    <a:pt x="54331" y="2281231"/>
                  </a:lnTo>
                  <a:lnTo>
                    <a:pt x="51367" y="2280595"/>
                  </a:lnTo>
                  <a:lnTo>
                    <a:pt x="49673" y="2280656"/>
                  </a:lnTo>
                  <a:lnTo>
                    <a:pt x="48311" y="2281412"/>
                  </a:lnTo>
                  <a:lnTo>
                    <a:pt x="45740" y="2283772"/>
                  </a:lnTo>
                  <a:lnTo>
                    <a:pt x="42231" y="2284951"/>
                  </a:lnTo>
                  <a:lnTo>
                    <a:pt x="32278" y="2294027"/>
                  </a:lnTo>
                  <a:lnTo>
                    <a:pt x="30251" y="2296719"/>
                  </a:lnTo>
                  <a:lnTo>
                    <a:pt x="30010" y="2299260"/>
                  </a:lnTo>
                  <a:lnTo>
                    <a:pt x="30947" y="2300773"/>
                  </a:lnTo>
                  <a:lnTo>
                    <a:pt x="34093" y="2304101"/>
                  </a:lnTo>
                  <a:lnTo>
                    <a:pt x="34456" y="2305220"/>
                  </a:lnTo>
                  <a:lnTo>
                    <a:pt x="35122" y="2309576"/>
                  </a:lnTo>
                  <a:lnTo>
                    <a:pt x="35757" y="2309576"/>
                  </a:lnTo>
                  <a:lnTo>
                    <a:pt x="35757" y="2303496"/>
                  </a:lnTo>
                  <a:lnTo>
                    <a:pt x="38934" y="2306460"/>
                  </a:lnTo>
                  <a:lnTo>
                    <a:pt x="39992" y="2307065"/>
                  </a:lnTo>
                  <a:lnTo>
                    <a:pt x="41021" y="2307126"/>
                  </a:lnTo>
                  <a:close/>
                  <a:moveTo>
                    <a:pt x="577349" y="2267738"/>
                  </a:moveTo>
                  <a:lnTo>
                    <a:pt x="576108" y="2268827"/>
                  </a:lnTo>
                  <a:lnTo>
                    <a:pt x="576502" y="2271247"/>
                  </a:lnTo>
                  <a:lnTo>
                    <a:pt x="577621" y="2273879"/>
                  </a:lnTo>
                  <a:lnTo>
                    <a:pt x="578468" y="2274515"/>
                  </a:lnTo>
                  <a:lnTo>
                    <a:pt x="579708" y="2274394"/>
                  </a:lnTo>
                  <a:lnTo>
                    <a:pt x="580797" y="2273002"/>
                  </a:lnTo>
                  <a:lnTo>
                    <a:pt x="580949" y="2270764"/>
                  </a:lnTo>
                  <a:lnTo>
                    <a:pt x="580616" y="2269644"/>
                  </a:lnTo>
                  <a:lnTo>
                    <a:pt x="579557" y="2268797"/>
                  </a:lnTo>
                  <a:lnTo>
                    <a:pt x="577349" y="2267769"/>
                  </a:lnTo>
                  <a:close/>
                  <a:moveTo>
                    <a:pt x="819390" y="2262021"/>
                  </a:moveTo>
                  <a:lnTo>
                    <a:pt x="823504" y="2260720"/>
                  </a:lnTo>
                  <a:lnTo>
                    <a:pt x="827558" y="2257665"/>
                  </a:lnTo>
                  <a:lnTo>
                    <a:pt x="824956" y="2255668"/>
                  </a:lnTo>
                  <a:lnTo>
                    <a:pt x="819239" y="2254428"/>
                  </a:lnTo>
                  <a:lnTo>
                    <a:pt x="816577" y="2252855"/>
                  </a:lnTo>
                  <a:lnTo>
                    <a:pt x="813098" y="2252855"/>
                  </a:lnTo>
                  <a:lnTo>
                    <a:pt x="815760" y="2259964"/>
                  </a:lnTo>
                  <a:lnTo>
                    <a:pt x="819390" y="2262051"/>
                  </a:lnTo>
                  <a:close/>
                  <a:moveTo>
                    <a:pt x="573234" y="2260236"/>
                  </a:moveTo>
                  <a:lnTo>
                    <a:pt x="573779" y="2261022"/>
                  </a:lnTo>
                  <a:lnTo>
                    <a:pt x="574354" y="2262656"/>
                  </a:lnTo>
                  <a:lnTo>
                    <a:pt x="575594" y="2264713"/>
                  </a:lnTo>
                  <a:lnTo>
                    <a:pt x="577470" y="2266075"/>
                  </a:lnTo>
                  <a:lnTo>
                    <a:pt x="579406" y="2266619"/>
                  </a:lnTo>
                  <a:lnTo>
                    <a:pt x="581069" y="2266559"/>
                  </a:lnTo>
                  <a:lnTo>
                    <a:pt x="582401" y="2265923"/>
                  </a:lnTo>
                  <a:lnTo>
                    <a:pt x="583399" y="2264925"/>
                  </a:lnTo>
                  <a:lnTo>
                    <a:pt x="583762" y="2264380"/>
                  </a:lnTo>
                  <a:lnTo>
                    <a:pt x="584246" y="2263443"/>
                  </a:lnTo>
                  <a:lnTo>
                    <a:pt x="584458" y="2263443"/>
                  </a:lnTo>
                  <a:lnTo>
                    <a:pt x="584821" y="2263170"/>
                  </a:lnTo>
                  <a:lnTo>
                    <a:pt x="583974" y="2262838"/>
                  </a:lnTo>
                  <a:lnTo>
                    <a:pt x="582068" y="2263654"/>
                  </a:lnTo>
                  <a:lnTo>
                    <a:pt x="579920" y="2263745"/>
                  </a:lnTo>
                  <a:lnTo>
                    <a:pt x="577470" y="2261597"/>
                  </a:lnTo>
                  <a:lnTo>
                    <a:pt x="575927" y="2259722"/>
                  </a:lnTo>
                  <a:lnTo>
                    <a:pt x="575624" y="2258360"/>
                  </a:lnTo>
                  <a:lnTo>
                    <a:pt x="576260" y="2257423"/>
                  </a:lnTo>
                  <a:lnTo>
                    <a:pt x="577409" y="2257423"/>
                  </a:lnTo>
                  <a:lnTo>
                    <a:pt x="577561" y="2256848"/>
                  </a:lnTo>
                  <a:lnTo>
                    <a:pt x="575715" y="2255184"/>
                  </a:lnTo>
                  <a:lnTo>
                    <a:pt x="576865" y="2255396"/>
                  </a:lnTo>
                  <a:lnTo>
                    <a:pt x="577984" y="2254851"/>
                  </a:lnTo>
                  <a:lnTo>
                    <a:pt x="579043" y="2253339"/>
                  </a:lnTo>
                  <a:lnTo>
                    <a:pt x="579315" y="2252340"/>
                  </a:lnTo>
                  <a:lnTo>
                    <a:pt x="578861" y="2251887"/>
                  </a:lnTo>
                  <a:lnTo>
                    <a:pt x="578256" y="2251584"/>
                  </a:lnTo>
                  <a:lnTo>
                    <a:pt x="576955" y="2252098"/>
                  </a:lnTo>
                  <a:lnTo>
                    <a:pt x="576532" y="2251856"/>
                  </a:lnTo>
                  <a:lnTo>
                    <a:pt x="575836" y="2252038"/>
                  </a:lnTo>
                  <a:lnTo>
                    <a:pt x="574535" y="2252734"/>
                  </a:lnTo>
                  <a:lnTo>
                    <a:pt x="573658" y="2252976"/>
                  </a:lnTo>
                  <a:lnTo>
                    <a:pt x="571873" y="2253883"/>
                  </a:lnTo>
                  <a:lnTo>
                    <a:pt x="571389" y="2255456"/>
                  </a:lnTo>
                  <a:lnTo>
                    <a:pt x="572539" y="2256999"/>
                  </a:lnTo>
                  <a:lnTo>
                    <a:pt x="573053" y="2258149"/>
                  </a:lnTo>
                  <a:lnTo>
                    <a:pt x="572932" y="2259298"/>
                  </a:lnTo>
                  <a:lnTo>
                    <a:pt x="573325" y="2260236"/>
                  </a:lnTo>
                  <a:close/>
                  <a:moveTo>
                    <a:pt x="724341" y="2151391"/>
                  </a:moveTo>
                  <a:lnTo>
                    <a:pt x="723705" y="2151875"/>
                  </a:lnTo>
                  <a:lnTo>
                    <a:pt x="722798" y="2152148"/>
                  </a:lnTo>
                  <a:lnTo>
                    <a:pt x="721406" y="2152148"/>
                  </a:lnTo>
                  <a:lnTo>
                    <a:pt x="719924" y="2152450"/>
                  </a:lnTo>
                  <a:lnTo>
                    <a:pt x="716354" y="2155112"/>
                  </a:lnTo>
                  <a:lnTo>
                    <a:pt x="714811" y="2156836"/>
                  </a:lnTo>
                  <a:lnTo>
                    <a:pt x="713238" y="2159499"/>
                  </a:lnTo>
                  <a:lnTo>
                    <a:pt x="713056" y="2161072"/>
                  </a:lnTo>
                  <a:lnTo>
                    <a:pt x="713541" y="2161647"/>
                  </a:lnTo>
                  <a:lnTo>
                    <a:pt x="714327" y="2162130"/>
                  </a:lnTo>
                  <a:lnTo>
                    <a:pt x="715356" y="2162130"/>
                  </a:lnTo>
                  <a:lnTo>
                    <a:pt x="717534" y="2160588"/>
                  </a:lnTo>
                  <a:lnTo>
                    <a:pt x="721013" y="2159680"/>
                  </a:lnTo>
                  <a:lnTo>
                    <a:pt x="722616" y="2158863"/>
                  </a:lnTo>
                  <a:lnTo>
                    <a:pt x="725430" y="2158289"/>
                  </a:lnTo>
                  <a:lnTo>
                    <a:pt x="725278" y="2157563"/>
                  </a:lnTo>
                  <a:lnTo>
                    <a:pt x="723735" y="2156988"/>
                  </a:lnTo>
                  <a:lnTo>
                    <a:pt x="722767" y="2155717"/>
                  </a:lnTo>
                  <a:lnTo>
                    <a:pt x="723130" y="2154840"/>
                  </a:lnTo>
                  <a:lnTo>
                    <a:pt x="723947" y="2154961"/>
                  </a:lnTo>
                  <a:lnTo>
                    <a:pt x="724734" y="2154568"/>
                  </a:lnTo>
                  <a:lnTo>
                    <a:pt x="725520" y="2153902"/>
                  </a:lnTo>
                  <a:lnTo>
                    <a:pt x="727698" y="2152722"/>
                  </a:lnTo>
                  <a:lnTo>
                    <a:pt x="729211" y="2151028"/>
                  </a:lnTo>
                  <a:lnTo>
                    <a:pt x="729544" y="2149304"/>
                  </a:lnTo>
                  <a:lnTo>
                    <a:pt x="728908" y="2148820"/>
                  </a:lnTo>
                  <a:lnTo>
                    <a:pt x="725974" y="2150696"/>
                  </a:lnTo>
                  <a:lnTo>
                    <a:pt x="724370" y="2151361"/>
                  </a:lnTo>
                  <a:close/>
                  <a:moveTo>
                    <a:pt x="706764" y="2151512"/>
                  </a:moveTo>
                  <a:lnTo>
                    <a:pt x="708125" y="2150726"/>
                  </a:lnTo>
                  <a:lnTo>
                    <a:pt x="708700" y="2149334"/>
                  </a:lnTo>
                  <a:lnTo>
                    <a:pt x="708549" y="2147731"/>
                  </a:lnTo>
                  <a:lnTo>
                    <a:pt x="708549" y="2146188"/>
                  </a:lnTo>
                  <a:lnTo>
                    <a:pt x="708277" y="2144403"/>
                  </a:lnTo>
                  <a:lnTo>
                    <a:pt x="708519" y="2144252"/>
                  </a:lnTo>
                  <a:lnTo>
                    <a:pt x="709668" y="2145613"/>
                  </a:lnTo>
                  <a:lnTo>
                    <a:pt x="710485" y="2145674"/>
                  </a:lnTo>
                  <a:lnTo>
                    <a:pt x="711181" y="2144918"/>
                  </a:lnTo>
                  <a:lnTo>
                    <a:pt x="711998" y="2145311"/>
                  </a:lnTo>
                  <a:lnTo>
                    <a:pt x="712754" y="2146279"/>
                  </a:lnTo>
                  <a:lnTo>
                    <a:pt x="713208" y="2145553"/>
                  </a:lnTo>
                  <a:lnTo>
                    <a:pt x="713571" y="2143465"/>
                  </a:lnTo>
                  <a:lnTo>
                    <a:pt x="712936" y="2143042"/>
                  </a:lnTo>
                  <a:lnTo>
                    <a:pt x="712270" y="2143133"/>
                  </a:lnTo>
                  <a:lnTo>
                    <a:pt x="711816" y="2143556"/>
                  </a:lnTo>
                  <a:lnTo>
                    <a:pt x="711604" y="2143163"/>
                  </a:lnTo>
                  <a:lnTo>
                    <a:pt x="715325" y="2141620"/>
                  </a:lnTo>
                  <a:lnTo>
                    <a:pt x="715416" y="2140834"/>
                  </a:lnTo>
                  <a:lnTo>
                    <a:pt x="710939" y="2140319"/>
                  </a:lnTo>
                  <a:lnTo>
                    <a:pt x="708670" y="2140622"/>
                  </a:lnTo>
                  <a:lnTo>
                    <a:pt x="706250" y="2141499"/>
                  </a:lnTo>
                  <a:lnTo>
                    <a:pt x="704042" y="2141136"/>
                  </a:lnTo>
                  <a:lnTo>
                    <a:pt x="702953" y="2142013"/>
                  </a:lnTo>
                  <a:lnTo>
                    <a:pt x="701954" y="2143556"/>
                  </a:lnTo>
                  <a:lnTo>
                    <a:pt x="701652" y="2144736"/>
                  </a:lnTo>
                  <a:lnTo>
                    <a:pt x="701833" y="2145795"/>
                  </a:lnTo>
                  <a:lnTo>
                    <a:pt x="701259" y="2146430"/>
                  </a:lnTo>
                  <a:lnTo>
                    <a:pt x="700169" y="2146793"/>
                  </a:lnTo>
                  <a:lnTo>
                    <a:pt x="699504" y="2147852"/>
                  </a:lnTo>
                  <a:lnTo>
                    <a:pt x="698899" y="2150423"/>
                  </a:lnTo>
                  <a:lnTo>
                    <a:pt x="698687" y="2151059"/>
                  </a:lnTo>
                  <a:lnTo>
                    <a:pt x="698687" y="2152178"/>
                  </a:lnTo>
                  <a:lnTo>
                    <a:pt x="699292" y="2152450"/>
                  </a:lnTo>
                  <a:lnTo>
                    <a:pt x="700805" y="2151361"/>
                  </a:lnTo>
                  <a:lnTo>
                    <a:pt x="702317" y="2149607"/>
                  </a:lnTo>
                  <a:lnTo>
                    <a:pt x="703104" y="2149092"/>
                  </a:lnTo>
                  <a:lnTo>
                    <a:pt x="703528" y="2148941"/>
                  </a:lnTo>
                  <a:lnTo>
                    <a:pt x="705403" y="2150998"/>
                  </a:lnTo>
                  <a:lnTo>
                    <a:pt x="706764" y="2151482"/>
                  </a:lnTo>
                  <a:close/>
                  <a:moveTo>
                    <a:pt x="664110" y="2146370"/>
                  </a:moveTo>
                  <a:lnTo>
                    <a:pt x="664019" y="2143677"/>
                  </a:lnTo>
                  <a:lnTo>
                    <a:pt x="663475" y="2140713"/>
                  </a:lnTo>
                  <a:lnTo>
                    <a:pt x="662779" y="2138171"/>
                  </a:lnTo>
                  <a:lnTo>
                    <a:pt x="662053" y="2136114"/>
                  </a:lnTo>
                  <a:lnTo>
                    <a:pt x="661145" y="2134995"/>
                  </a:lnTo>
                  <a:lnTo>
                    <a:pt x="660691" y="2134814"/>
                  </a:lnTo>
                  <a:lnTo>
                    <a:pt x="660268" y="2134571"/>
                  </a:lnTo>
                  <a:lnTo>
                    <a:pt x="659935" y="2133513"/>
                  </a:lnTo>
                  <a:lnTo>
                    <a:pt x="659663" y="2132212"/>
                  </a:lnTo>
                  <a:lnTo>
                    <a:pt x="658574" y="2132303"/>
                  </a:lnTo>
                  <a:lnTo>
                    <a:pt x="657727" y="2134148"/>
                  </a:lnTo>
                  <a:lnTo>
                    <a:pt x="658029" y="2139079"/>
                  </a:lnTo>
                  <a:lnTo>
                    <a:pt x="657969" y="2140954"/>
                  </a:lnTo>
                  <a:lnTo>
                    <a:pt x="658150" y="2142013"/>
                  </a:lnTo>
                  <a:lnTo>
                    <a:pt x="657938" y="2143465"/>
                  </a:lnTo>
                  <a:lnTo>
                    <a:pt x="656971" y="2145583"/>
                  </a:lnTo>
                  <a:lnTo>
                    <a:pt x="656002" y="2148517"/>
                  </a:lnTo>
                  <a:lnTo>
                    <a:pt x="655730" y="2151664"/>
                  </a:lnTo>
                  <a:lnTo>
                    <a:pt x="655882" y="2152934"/>
                  </a:lnTo>
                  <a:lnTo>
                    <a:pt x="656698" y="2153025"/>
                  </a:lnTo>
                  <a:lnTo>
                    <a:pt x="657364" y="2154568"/>
                  </a:lnTo>
                  <a:lnTo>
                    <a:pt x="657212" y="2157563"/>
                  </a:lnTo>
                  <a:lnTo>
                    <a:pt x="658120" y="2159710"/>
                  </a:lnTo>
                  <a:lnTo>
                    <a:pt x="658997" y="2159922"/>
                  </a:lnTo>
                  <a:lnTo>
                    <a:pt x="659058" y="2159045"/>
                  </a:lnTo>
                  <a:lnTo>
                    <a:pt x="661780" y="2162947"/>
                  </a:lnTo>
                  <a:lnTo>
                    <a:pt x="662416" y="2162766"/>
                  </a:lnTo>
                  <a:lnTo>
                    <a:pt x="661569" y="2160527"/>
                  </a:lnTo>
                  <a:lnTo>
                    <a:pt x="661357" y="2159166"/>
                  </a:lnTo>
                  <a:lnTo>
                    <a:pt x="662053" y="2158621"/>
                  </a:lnTo>
                  <a:lnTo>
                    <a:pt x="662748" y="2157926"/>
                  </a:lnTo>
                  <a:lnTo>
                    <a:pt x="663021" y="2156685"/>
                  </a:lnTo>
                  <a:lnTo>
                    <a:pt x="663323" y="2154931"/>
                  </a:lnTo>
                  <a:lnTo>
                    <a:pt x="663747" y="2153146"/>
                  </a:lnTo>
                  <a:lnTo>
                    <a:pt x="663747" y="2151331"/>
                  </a:lnTo>
                  <a:lnTo>
                    <a:pt x="663354" y="2149274"/>
                  </a:lnTo>
                  <a:lnTo>
                    <a:pt x="663595" y="2147822"/>
                  </a:lnTo>
                  <a:lnTo>
                    <a:pt x="664080" y="2146279"/>
                  </a:lnTo>
                  <a:close/>
                  <a:moveTo>
                    <a:pt x="728364" y="2138534"/>
                  </a:moveTo>
                  <a:lnTo>
                    <a:pt x="727910" y="2139200"/>
                  </a:lnTo>
                  <a:lnTo>
                    <a:pt x="728212" y="2140591"/>
                  </a:lnTo>
                  <a:lnTo>
                    <a:pt x="729332" y="2142376"/>
                  </a:lnTo>
                  <a:lnTo>
                    <a:pt x="730451" y="2143587"/>
                  </a:lnTo>
                  <a:lnTo>
                    <a:pt x="731480" y="2143980"/>
                  </a:lnTo>
                  <a:lnTo>
                    <a:pt x="732417" y="2143919"/>
                  </a:lnTo>
                  <a:lnTo>
                    <a:pt x="732902" y="2143284"/>
                  </a:lnTo>
                  <a:lnTo>
                    <a:pt x="733416" y="2143284"/>
                  </a:lnTo>
                  <a:lnTo>
                    <a:pt x="734354" y="2143647"/>
                  </a:lnTo>
                  <a:lnTo>
                    <a:pt x="735201" y="2143102"/>
                  </a:lnTo>
                  <a:lnTo>
                    <a:pt x="735836" y="2142134"/>
                  </a:lnTo>
                  <a:lnTo>
                    <a:pt x="736290" y="2141318"/>
                  </a:lnTo>
                  <a:lnTo>
                    <a:pt x="736562" y="2140591"/>
                  </a:lnTo>
                  <a:lnTo>
                    <a:pt x="736774" y="2139502"/>
                  </a:lnTo>
                  <a:lnTo>
                    <a:pt x="736774" y="2138353"/>
                  </a:lnTo>
                  <a:lnTo>
                    <a:pt x="737107" y="2137476"/>
                  </a:lnTo>
                  <a:lnTo>
                    <a:pt x="737409" y="2136296"/>
                  </a:lnTo>
                  <a:lnTo>
                    <a:pt x="739436" y="2134965"/>
                  </a:lnTo>
                  <a:lnTo>
                    <a:pt x="742219" y="2130366"/>
                  </a:lnTo>
                  <a:lnTo>
                    <a:pt x="742582" y="2129943"/>
                  </a:lnTo>
                  <a:lnTo>
                    <a:pt x="742854" y="2129157"/>
                  </a:lnTo>
                  <a:lnTo>
                    <a:pt x="742703" y="2128158"/>
                  </a:lnTo>
                  <a:lnTo>
                    <a:pt x="742401" y="2127705"/>
                  </a:lnTo>
                  <a:lnTo>
                    <a:pt x="742401" y="2126252"/>
                  </a:lnTo>
                  <a:lnTo>
                    <a:pt x="741795" y="2124256"/>
                  </a:lnTo>
                  <a:lnTo>
                    <a:pt x="740464" y="2124135"/>
                  </a:lnTo>
                  <a:lnTo>
                    <a:pt x="738922" y="2125072"/>
                  </a:lnTo>
                  <a:lnTo>
                    <a:pt x="737197" y="2126494"/>
                  </a:lnTo>
                  <a:lnTo>
                    <a:pt x="735352" y="2128521"/>
                  </a:lnTo>
                  <a:lnTo>
                    <a:pt x="731268" y="2131153"/>
                  </a:lnTo>
                  <a:lnTo>
                    <a:pt x="730965" y="2132000"/>
                  </a:lnTo>
                  <a:lnTo>
                    <a:pt x="731691" y="2132545"/>
                  </a:lnTo>
                  <a:lnTo>
                    <a:pt x="731450" y="2133755"/>
                  </a:lnTo>
                  <a:lnTo>
                    <a:pt x="730421" y="2134814"/>
                  </a:lnTo>
                  <a:lnTo>
                    <a:pt x="729513" y="2135177"/>
                  </a:lnTo>
                  <a:lnTo>
                    <a:pt x="728908" y="2134995"/>
                  </a:lnTo>
                  <a:lnTo>
                    <a:pt x="728787" y="2135691"/>
                  </a:lnTo>
                  <a:lnTo>
                    <a:pt x="729604" y="2137052"/>
                  </a:lnTo>
                  <a:lnTo>
                    <a:pt x="729967" y="2138171"/>
                  </a:lnTo>
                  <a:lnTo>
                    <a:pt x="729120" y="2138625"/>
                  </a:lnTo>
                  <a:lnTo>
                    <a:pt x="728364" y="2138565"/>
                  </a:lnTo>
                  <a:close/>
                  <a:moveTo>
                    <a:pt x="764424" y="2107103"/>
                  </a:moveTo>
                  <a:lnTo>
                    <a:pt x="763092" y="2107587"/>
                  </a:lnTo>
                  <a:lnTo>
                    <a:pt x="761731" y="2109312"/>
                  </a:lnTo>
                  <a:lnTo>
                    <a:pt x="760551" y="2111369"/>
                  </a:lnTo>
                  <a:lnTo>
                    <a:pt x="759946" y="2113365"/>
                  </a:lnTo>
                  <a:lnTo>
                    <a:pt x="760824" y="2113849"/>
                  </a:lnTo>
                  <a:lnTo>
                    <a:pt x="767812" y="2109614"/>
                  </a:lnTo>
                  <a:lnTo>
                    <a:pt x="769022" y="2108283"/>
                  </a:lnTo>
                  <a:lnTo>
                    <a:pt x="768386" y="2108011"/>
                  </a:lnTo>
                  <a:lnTo>
                    <a:pt x="765573" y="2107618"/>
                  </a:lnTo>
                  <a:lnTo>
                    <a:pt x="764424" y="2107133"/>
                  </a:lnTo>
                  <a:close/>
                  <a:moveTo>
                    <a:pt x="766481" y="2096061"/>
                  </a:moveTo>
                  <a:lnTo>
                    <a:pt x="766299" y="2097907"/>
                  </a:lnTo>
                  <a:lnTo>
                    <a:pt x="767176" y="2098602"/>
                  </a:lnTo>
                  <a:lnTo>
                    <a:pt x="767751" y="2098512"/>
                  </a:lnTo>
                  <a:lnTo>
                    <a:pt x="768326" y="2098512"/>
                  </a:lnTo>
                  <a:lnTo>
                    <a:pt x="769415" y="2099026"/>
                  </a:lnTo>
                  <a:lnTo>
                    <a:pt x="770444" y="2099843"/>
                  </a:lnTo>
                  <a:lnTo>
                    <a:pt x="771109" y="2099964"/>
                  </a:lnTo>
                  <a:lnTo>
                    <a:pt x="771563" y="2099722"/>
                  </a:lnTo>
                  <a:lnTo>
                    <a:pt x="771835" y="2099389"/>
                  </a:lnTo>
                  <a:lnTo>
                    <a:pt x="771835" y="2098875"/>
                  </a:lnTo>
                  <a:lnTo>
                    <a:pt x="771926" y="2098330"/>
                  </a:lnTo>
                  <a:lnTo>
                    <a:pt x="773196" y="2095971"/>
                  </a:lnTo>
                  <a:lnTo>
                    <a:pt x="773953" y="2095063"/>
                  </a:lnTo>
                  <a:lnTo>
                    <a:pt x="774860" y="2094186"/>
                  </a:lnTo>
                  <a:lnTo>
                    <a:pt x="775163" y="2093097"/>
                  </a:lnTo>
                  <a:lnTo>
                    <a:pt x="774406" y="2092250"/>
                  </a:lnTo>
                  <a:lnTo>
                    <a:pt x="773771" y="2092068"/>
                  </a:lnTo>
                  <a:lnTo>
                    <a:pt x="773076" y="2091766"/>
                  </a:lnTo>
                  <a:lnTo>
                    <a:pt x="771624" y="2091554"/>
                  </a:lnTo>
                  <a:lnTo>
                    <a:pt x="769808" y="2092129"/>
                  </a:lnTo>
                  <a:lnTo>
                    <a:pt x="767872" y="2093823"/>
                  </a:lnTo>
                  <a:lnTo>
                    <a:pt x="766481" y="2096092"/>
                  </a:lnTo>
                  <a:close/>
                  <a:moveTo>
                    <a:pt x="749994" y="2098814"/>
                  </a:moveTo>
                  <a:lnTo>
                    <a:pt x="755197" y="2098633"/>
                  </a:lnTo>
                  <a:lnTo>
                    <a:pt x="746243" y="2093157"/>
                  </a:lnTo>
                  <a:lnTo>
                    <a:pt x="740041" y="2091403"/>
                  </a:lnTo>
                  <a:lnTo>
                    <a:pt x="728273" y="2091221"/>
                  </a:lnTo>
                  <a:lnTo>
                    <a:pt x="733506" y="2093611"/>
                  </a:lnTo>
                  <a:lnTo>
                    <a:pt x="735140" y="2094942"/>
                  </a:lnTo>
                  <a:lnTo>
                    <a:pt x="735655" y="2095850"/>
                  </a:lnTo>
                  <a:lnTo>
                    <a:pt x="736562" y="2098179"/>
                  </a:lnTo>
                  <a:lnTo>
                    <a:pt x="736895" y="2098663"/>
                  </a:lnTo>
                  <a:lnTo>
                    <a:pt x="740706" y="2099782"/>
                  </a:lnTo>
                  <a:lnTo>
                    <a:pt x="745940" y="2104018"/>
                  </a:lnTo>
                  <a:lnTo>
                    <a:pt x="749086" y="2104532"/>
                  </a:lnTo>
                  <a:lnTo>
                    <a:pt x="751748" y="2101144"/>
                  </a:lnTo>
                  <a:lnTo>
                    <a:pt x="747150" y="2101628"/>
                  </a:lnTo>
                  <a:lnTo>
                    <a:pt x="745607" y="2100327"/>
                  </a:lnTo>
                  <a:lnTo>
                    <a:pt x="745486" y="2096303"/>
                  </a:lnTo>
                  <a:lnTo>
                    <a:pt x="747785" y="2098361"/>
                  </a:lnTo>
                  <a:lnTo>
                    <a:pt x="749963" y="2098814"/>
                  </a:lnTo>
                  <a:close/>
                  <a:moveTo>
                    <a:pt x="759281" y="2081147"/>
                  </a:moveTo>
                  <a:lnTo>
                    <a:pt x="760339" y="2082599"/>
                  </a:lnTo>
                  <a:lnTo>
                    <a:pt x="761580" y="2083810"/>
                  </a:lnTo>
                  <a:lnTo>
                    <a:pt x="762185" y="2085443"/>
                  </a:lnTo>
                  <a:lnTo>
                    <a:pt x="762336" y="2087047"/>
                  </a:lnTo>
                  <a:lnTo>
                    <a:pt x="762548" y="2088136"/>
                  </a:lnTo>
                  <a:lnTo>
                    <a:pt x="762276" y="2088680"/>
                  </a:lnTo>
                  <a:lnTo>
                    <a:pt x="761640" y="2089104"/>
                  </a:lnTo>
                  <a:lnTo>
                    <a:pt x="761277" y="2090374"/>
                  </a:lnTo>
                  <a:lnTo>
                    <a:pt x="761731" y="2091161"/>
                  </a:lnTo>
                  <a:lnTo>
                    <a:pt x="762276" y="2091040"/>
                  </a:lnTo>
                  <a:lnTo>
                    <a:pt x="766662" y="2088922"/>
                  </a:lnTo>
                  <a:lnTo>
                    <a:pt x="768175" y="2087470"/>
                  </a:lnTo>
                  <a:lnTo>
                    <a:pt x="768749" y="2085322"/>
                  </a:lnTo>
                  <a:lnTo>
                    <a:pt x="768447" y="2082962"/>
                  </a:lnTo>
                  <a:lnTo>
                    <a:pt x="768205" y="2081904"/>
                  </a:lnTo>
                  <a:lnTo>
                    <a:pt x="767842" y="2081753"/>
                  </a:lnTo>
                  <a:lnTo>
                    <a:pt x="767146" y="2081329"/>
                  </a:lnTo>
                  <a:lnTo>
                    <a:pt x="765513" y="2078969"/>
                  </a:lnTo>
                  <a:lnTo>
                    <a:pt x="764605" y="2078183"/>
                  </a:lnTo>
                  <a:lnTo>
                    <a:pt x="763788" y="2077759"/>
                  </a:lnTo>
                  <a:lnTo>
                    <a:pt x="763092" y="2077759"/>
                  </a:lnTo>
                  <a:lnTo>
                    <a:pt x="762790" y="2078183"/>
                  </a:lnTo>
                  <a:lnTo>
                    <a:pt x="758706" y="2078092"/>
                  </a:lnTo>
                  <a:lnTo>
                    <a:pt x="757768" y="2078788"/>
                  </a:lnTo>
                  <a:lnTo>
                    <a:pt x="758827" y="2080331"/>
                  </a:lnTo>
                  <a:lnTo>
                    <a:pt x="759311" y="2081178"/>
                  </a:lnTo>
                  <a:close/>
                  <a:moveTo>
                    <a:pt x="716959" y="2079393"/>
                  </a:moveTo>
                  <a:lnTo>
                    <a:pt x="718623" y="2079000"/>
                  </a:lnTo>
                  <a:lnTo>
                    <a:pt x="717443" y="2077880"/>
                  </a:lnTo>
                  <a:lnTo>
                    <a:pt x="705887" y="2074916"/>
                  </a:lnTo>
                  <a:lnTo>
                    <a:pt x="704284" y="2075672"/>
                  </a:lnTo>
                  <a:lnTo>
                    <a:pt x="704163" y="2077003"/>
                  </a:lnTo>
                  <a:lnTo>
                    <a:pt x="704889" y="2078031"/>
                  </a:lnTo>
                  <a:lnTo>
                    <a:pt x="705343" y="2079423"/>
                  </a:lnTo>
                  <a:lnTo>
                    <a:pt x="705917" y="2080784"/>
                  </a:lnTo>
                  <a:lnTo>
                    <a:pt x="707642" y="2082267"/>
                  </a:lnTo>
                  <a:lnTo>
                    <a:pt x="710213" y="2083719"/>
                  </a:lnTo>
                  <a:lnTo>
                    <a:pt x="712663" y="2084142"/>
                  </a:lnTo>
                  <a:lnTo>
                    <a:pt x="714872" y="2083568"/>
                  </a:lnTo>
                  <a:lnTo>
                    <a:pt x="715900" y="2081692"/>
                  </a:lnTo>
                  <a:lnTo>
                    <a:pt x="714630" y="2079786"/>
                  </a:lnTo>
                  <a:lnTo>
                    <a:pt x="714055" y="2079151"/>
                  </a:lnTo>
                  <a:lnTo>
                    <a:pt x="716051" y="2079151"/>
                  </a:lnTo>
                  <a:lnTo>
                    <a:pt x="716959" y="2079393"/>
                  </a:lnTo>
                  <a:close/>
                  <a:moveTo>
                    <a:pt x="778733" y="2073706"/>
                  </a:moveTo>
                  <a:lnTo>
                    <a:pt x="778853" y="2074885"/>
                  </a:lnTo>
                  <a:lnTo>
                    <a:pt x="779670" y="2075521"/>
                  </a:lnTo>
                  <a:lnTo>
                    <a:pt x="780638" y="2074825"/>
                  </a:lnTo>
                  <a:lnTo>
                    <a:pt x="781062" y="2074159"/>
                  </a:lnTo>
                  <a:lnTo>
                    <a:pt x="780608" y="2073010"/>
                  </a:lnTo>
                  <a:lnTo>
                    <a:pt x="779519" y="2072526"/>
                  </a:lnTo>
                  <a:lnTo>
                    <a:pt x="778763" y="2073736"/>
                  </a:lnTo>
                  <a:close/>
                  <a:moveTo>
                    <a:pt x="784480" y="2074583"/>
                  </a:moveTo>
                  <a:lnTo>
                    <a:pt x="784964" y="2075067"/>
                  </a:lnTo>
                  <a:lnTo>
                    <a:pt x="786235" y="2076700"/>
                  </a:lnTo>
                  <a:lnTo>
                    <a:pt x="787898" y="2077820"/>
                  </a:lnTo>
                  <a:lnTo>
                    <a:pt x="788988" y="2076822"/>
                  </a:lnTo>
                  <a:lnTo>
                    <a:pt x="788806" y="2075006"/>
                  </a:lnTo>
                  <a:lnTo>
                    <a:pt x="788413" y="2074129"/>
                  </a:lnTo>
                  <a:lnTo>
                    <a:pt x="787747" y="2073191"/>
                  </a:lnTo>
                  <a:lnTo>
                    <a:pt x="786295" y="2071921"/>
                  </a:lnTo>
                  <a:lnTo>
                    <a:pt x="784964" y="2071860"/>
                  </a:lnTo>
                  <a:lnTo>
                    <a:pt x="784087" y="2072889"/>
                  </a:lnTo>
                  <a:lnTo>
                    <a:pt x="784147" y="2074159"/>
                  </a:lnTo>
                  <a:lnTo>
                    <a:pt x="784541" y="2074643"/>
                  </a:lnTo>
                  <a:close/>
                  <a:moveTo>
                    <a:pt x="783482" y="2071648"/>
                  </a:moveTo>
                  <a:lnTo>
                    <a:pt x="784994" y="2069682"/>
                  </a:lnTo>
                  <a:lnTo>
                    <a:pt x="786689" y="2066748"/>
                  </a:lnTo>
                  <a:lnTo>
                    <a:pt x="786537" y="2065417"/>
                  </a:lnTo>
                  <a:lnTo>
                    <a:pt x="785751" y="2064539"/>
                  </a:lnTo>
                  <a:lnTo>
                    <a:pt x="785297" y="2064358"/>
                  </a:lnTo>
                  <a:lnTo>
                    <a:pt x="783966" y="2064630"/>
                  </a:lnTo>
                  <a:lnTo>
                    <a:pt x="781455" y="2065719"/>
                  </a:lnTo>
                  <a:lnTo>
                    <a:pt x="780154" y="2068502"/>
                  </a:lnTo>
                  <a:lnTo>
                    <a:pt x="781334" y="2071376"/>
                  </a:lnTo>
                  <a:lnTo>
                    <a:pt x="783512" y="2071648"/>
                  </a:lnTo>
                  <a:close/>
                  <a:moveTo>
                    <a:pt x="756256" y="2056916"/>
                  </a:moveTo>
                  <a:lnTo>
                    <a:pt x="757224" y="2056674"/>
                  </a:lnTo>
                  <a:lnTo>
                    <a:pt x="757708" y="2054920"/>
                  </a:lnTo>
                  <a:lnTo>
                    <a:pt x="758585" y="2053951"/>
                  </a:lnTo>
                  <a:lnTo>
                    <a:pt x="759613" y="2053528"/>
                  </a:lnTo>
                  <a:lnTo>
                    <a:pt x="762125" y="2050866"/>
                  </a:lnTo>
                  <a:lnTo>
                    <a:pt x="767782" y="2048355"/>
                  </a:lnTo>
                  <a:lnTo>
                    <a:pt x="767933" y="2047387"/>
                  </a:lnTo>
                  <a:lnTo>
                    <a:pt x="763304" y="2048657"/>
                  </a:lnTo>
                  <a:lnTo>
                    <a:pt x="762881" y="2048657"/>
                  </a:lnTo>
                  <a:lnTo>
                    <a:pt x="762427" y="2048385"/>
                  </a:lnTo>
                  <a:lnTo>
                    <a:pt x="762427" y="2047538"/>
                  </a:lnTo>
                  <a:lnTo>
                    <a:pt x="761428" y="2046449"/>
                  </a:lnTo>
                  <a:lnTo>
                    <a:pt x="759402" y="2045632"/>
                  </a:lnTo>
                  <a:lnTo>
                    <a:pt x="757194" y="2045632"/>
                  </a:lnTo>
                  <a:lnTo>
                    <a:pt x="754894" y="2046449"/>
                  </a:lnTo>
                  <a:lnTo>
                    <a:pt x="753170" y="2047689"/>
                  </a:lnTo>
                  <a:lnTo>
                    <a:pt x="751960" y="2049262"/>
                  </a:lnTo>
                  <a:lnTo>
                    <a:pt x="749903" y="2051501"/>
                  </a:lnTo>
                  <a:lnTo>
                    <a:pt x="749025" y="2052923"/>
                  </a:lnTo>
                  <a:lnTo>
                    <a:pt x="748451" y="2054314"/>
                  </a:lnTo>
                  <a:lnTo>
                    <a:pt x="748723" y="2054950"/>
                  </a:lnTo>
                  <a:lnTo>
                    <a:pt x="749449" y="2054859"/>
                  </a:lnTo>
                  <a:lnTo>
                    <a:pt x="749933" y="2055101"/>
                  </a:lnTo>
                  <a:lnTo>
                    <a:pt x="750266" y="2055555"/>
                  </a:lnTo>
                  <a:lnTo>
                    <a:pt x="750871" y="2055615"/>
                  </a:lnTo>
                  <a:lnTo>
                    <a:pt x="751567" y="2055434"/>
                  </a:lnTo>
                  <a:lnTo>
                    <a:pt x="751688" y="2055676"/>
                  </a:lnTo>
                  <a:lnTo>
                    <a:pt x="751083" y="2055978"/>
                  </a:lnTo>
                  <a:lnTo>
                    <a:pt x="750417" y="2056039"/>
                  </a:lnTo>
                  <a:lnTo>
                    <a:pt x="749873" y="2056311"/>
                  </a:lnTo>
                  <a:lnTo>
                    <a:pt x="749510" y="2057037"/>
                  </a:lnTo>
                  <a:lnTo>
                    <a:pt x="749721" y="2057884"/>
                  </a:lnTo>
                  <a:lnTo>
                    <a:pt x="749661" y="2058035"/>
                  </a:lnTo>
                  <a:lnTo>
                    <a:pt x="748784" y="2056039"/>
                  </a:lnTo>
                  <a:lnTo>
                    <a:pt x="747695" y="2055555"/>
                  </a:lnTo>
                  <a:lnTo>
                    <a:pt x="746394" y="2055646"/>
                  </a:lnTo>
                  <a:lnTo>
                    <a:pt x="745335" y="2056402"/>
                  </a:lnTo>
                  <a:lnTo>
                    <a:pt x="744942" y="2057824"/>
                  </a:lnTo>
                  <a:lnTo>
                    <a:pt x="745365" y="2058671"/>
                  </a:lnTo>
                  <a:lnTo>
                    <a:pt x="745698" y="2059457"/>
                  </a:lnTo>
                  <a:lnTo>
                    <a:pt x="745819" y="2061272"/>
                  </a:lnTo>
                  <a:lnTo>
                    <a:pt x="746606" y="2062997"/>
                  </a:lnTo>
                  <a:lnTo>
                    <a:pt x="747543" y="2064479"/>
                  </a:lnTo>
                  <a:lnTo>
                    <a:pt x="748118" y="2066143"/>
                  </a:lnTo>
                  <a:lnTo>
                    <a:pt x="748481" y="2067716"/>
                  </a:lnTo>
                  <a:lnTo>
                    <a:pt x="748995" y="2068805"/>
                  </a:lnTo>
                  <a:lnTo>
                    <a:pt x="749570" y="2068865"/>
                  </a:lnTo>
                  <a:lnTo>
                    <a:pt x="750145" y="2067776"/>
                  </a:lnTo>
                  <a:lnTo>
                    <a:pt x="751234" y="2067141"/>
                  </a:lnTo>
                  <a:lnTo>
                    <a:pt x="752020" y="2067353"/>
                  </a:lnTo>
                  <a:lnTo>
                    <a:pt x="751778" y="2061303"/>
                  </a:lnTo>
                  <a:lnTo>
                    <a:pt x="752172" y="2062845"/>
                  </a:lnTo>
                  <a:lnTo>
                    <a:pt x="753049" y="2063390"/>
                  </a:lnTo>
                  <a:lnTo>
                    <a:pt x="754108" y="2062724"/>
                  </a:lnTo>
                  <a:lnTo>
                    <a:pt x="754471" y="2060788"/>
                  </a:lnTo>
                  <a:lnTo>
                    <a:pt x="753382" y="2057128"/>
                  </a:lnTo>
                  <a:lnTo>
                    <a:pt x="753926" y="2057249"/>
                  </a:lnTo>
                  <a:lnTo>
                    <a:pt x="754350" y="2056916"/>
                  </a:lnTo>
                  <a:lnTo>
                    <a:pt x="754259" y="2056009"/>
                  </a:lnTo>
                  <a:lnTo>
                    <a:pt x="754773" y="2055887"/>
                  </a:lnTo>
                  <a:lnTo>
                    <a:pt x="756286" y="2056855"/>
                  </a:lnTo>
                  <a:close/>
                  <a:moveTo>
                    <a:pt x="790924" y="2032987"/>
                  </a:moveTo>
                  <a:lnTo>
                    <a:pt x="791650" y="2032291"/>
                  </a:lnTo>
                  <a:lnTo>
                    <a:pt x="792194" y="2032080"/>
                  </a:lnTo>
                  <a:lnTo>
                    <a:pt x="792588" y="2032080"/>
                  </a:lnTo>
                  <a:lnTo>
                    <a:pt x="792769" y="2031323"/>
                  </a:lnTo>
                  <a:lnTo>
                    <a:pt x="792315" y="2030537"/>
                  </a:lnTo>
                  <a:lnTo>
                    <a:pt x="791892" y="2030355"/>
                  </a:lnTo>
                  <a:lnTo>
                    <a:pt x="790591" y="2027844"/>
                  </a:lnTo>
                  <a:lnTo>
                    <a:pt x="789351" y="2026876"/>
                  </a:lnTo>
                  <a:lnTo>
                    <a:pt x="787869" y="2027602"/>
                  </a:lnTo>
                  <a:lnTo>
                    <a:pt x="780880" y="2035559"/>
                  </a:lnTo>
                  <a:lnTo>
                    <a:pt x="779882" y="2037374"/>
                  </a:lnTo>
                  <a:lnTo>
                    <a:pt x="780366" y="2039521"/>
                  </a:lnTo>
                  <a:lnTo>
                    <a:pt x="782604" y="2040520"/>
                  </a:lnTo>
                  <a:lnTo>
                    <a:pt x="783633" y="2040036"/>
                  </a:lnTo>
                  <a:lnTo>
                    <a:pt x="784601" y="2039673"/>
                  </a:lnTo>
                  <a:lnTo>
                    <a:pt x="785357" y="2038039"/>
                  </a:lnTo>
                  <a:lnTo>
                    <a:pt x="786840" y="2032503"/>
                  </a:lnTo>
                  <a:lnTo>
                    <a:pt x="787778" y="2033138"/>
                  </a:lnTo>
                  <a:lnTo>
                    <a:pt x="789623" y="2033350"/>
                  </a:lnTo>
                  <a:lnTo>
                    <a:pt x="790924" y="2033078"/>
                  </a:lnTo>
                  <a:close/>
                  <a:moveTo>
                    <a:pt x="776524" y="2034833"/>
                  </a:moveTo>
                  <a:lnTo>
                    <a:pt x="775556" y="2036194"/>
                  </a:lnTo>
                  <a:lnTo>
                    <a:pt x="773620" y="2038493"/>
                  </a:lnTo>
                  <a:lnTo>
                    <a:pt x="771442" y="2040066"/>
                  </a:lnTo>
                  <a:lnTo>
                    <a:pt x="769657" y="2041004"/>
                  </a:lnTo>
                  <a:lnTo>
                    <a:pt x="769657" y="2041548"/>
                  </a:lnTo>
                  <a:lnTo>
                    <a:pt x="771049" y="2041669"/>
                  </a:lnTo>
                  <a:lnTo>
                    <a:pt x="772380" y="2041246"/>
                  </a:lnTo>
                  <a:lnTo>
                    <a:pt x="774921" y="2039884"/>
                  </a:lnTo>
                  <a:lnTo>
                    <a:pt x="775677" y="2039612"/>
                  </a:lnTo>
                  <a:lnTo>
                    <a:pt x="776433" y="2039491"/>
                  </a:lnTo>
                  <a:lnTo>
                    <a:pt x="776827" y="2039128"/>
                  </a:lnTo>
                  <a:lnTo>
                    <a:pt x="776827" y="2038584"/>
                  </a:lnTo>
                  <a:lnTo>
                    <a:pt x="777129" y="2038069"/>
                  </a:lnTo>
                  <a:lnTo>
                    <a:pt x="779489" y="2036345"/>
                  </a:lnTo>
                  <a:lnTo>
                    <a:pt x="779852" y="2035952"/>
                  </a:lnTo>
                  <a:lnTo>
                    <a:pt x="784631" y="2030416"/>
                  </a:lnTo>
                  <a:lnTo>
                    <a:pt x="786537" y="2027754"/>
                  </a:lnTo>
                  <a:lnTo>
                    <a:pt x="786537" y="2026150"/>
                  </a:lnTo>
                  <a:lnTo>
                    <a:pt x="780548" y="2030628"/>
                  </a:lnTo>
                  <a:lnTo>
                    <a:pt x="776554" y="2034863"/>
                  </a:lnTo>
                  <a:close/>
                  <a:moveTo>
                    <a:pt x="793767" y="1995022"/>
                  </a:moveTo>
                  <a:lnTo>
                    <a:pt x="793677" y="1992601"/>
                  </a:lnTo>
                  <a:lnTo>
                    <a:pt x="792920" y="1990575"/>
                  </a:lnTo>
                  <a:lnTo>
                    <a:pt x="791952" y="1989213"/>
                  </a:lnTo>
                  <a:lnTo>
                    <a:pt x="790954" y="1988487"/>
                  </a:lnTo>
                  <a:lnTo>
                    <a:pt x="790016" y="1988124"/>
                  </a:lnTo>
                  <a:lnTo>
                    <a:pt x="789260" y="1988578"/>
                  </a:lnTo>
                  <a:lnTo>
                    <a:pt x="788262" y="1990998"/>
                  </a:lnTo>
                  <a:lnTo>
                    <a:pt x="783815" y="1998047"/>
                  </a:lnTo>
                  <a:lnTo>
                    <a:pt x="782604" y="2000951"/>
                  </a:lnTo>
                  <a:lnTo>
                    <a:pt x="783149" y="2002494"/>
                  </a:lnTo>
                  <a:lnTo>
                    <a:pt x="785781" y="2002100"/>
                  </a:lnTo>
                  <a:lnTo>
                    <a:pt x="786689" y="2002252"/>
                  </a:lnTo>
                  <a:lnTo>
                    <a:pt x="787294" y="2001647"/>
                  </a:lnTo>
                  <a:lnTo>
                    <a:pt x="787626" y="2001163"/>
                  </a:lnTo>
                  <a:lnTo>
                    <a:pt x="788383" y="2001647"/>
                  </a:lnTo>
                  <a:lnTo>
                    <a:pt x="789714" y="2002221"/>
                  </a:lnTo>
                  <a:lnTo>
                    <a:pt x="791287" y="2002312"/>
                  </a:lnTo>
                  <a:lnTo>
                    <a:pt x="792860" y="2001768"/>
                  </a:lnTo>
                  <a:lnTo>
                    <a:pt x="793858" y="2000830"/>
                  </a:lnTo>
                  <a:lnTo>
                    <a:pt x="794282" y="1999832"/>
                  </a:lnTo>
                  <a:lnTo>
                    <a:pt x="794282" y="1998773"/>
                  </a:lnTo>
                  <a:lnTo>
                    <a:pt x="793949" y="1998168"/>
                  </a:lnTo>
                  <a:lnTo>
                    <a:pt x="793707" y="1998047"/>
                  </a:lnTo>
                  <a:lnTo>
                    <a:pt x="793556" y="1998258"/>
                  </a:lnTo>
                  <a:lnTo>
                    <a:pt x="793283" y="1998440"/>
                  </a:lnTo>
                  <a:lnTo>
                    <a:pt x="793283" y="1997321"/>
                  </a:lnTo>
                  <a:lnTo>
                    <a:pt x="793707" y="1994961"/>
                  </a:lnTo>
                  <a:close/>
                  <a:moveTo>
                    <a:pt x="766359" y="1926532"/>
                  </a:moveTo>
                  <a:lnTo>
                    <a:pt x="765785" y="1926986"/>
                  </a:lnTo>
                  <a:lnTo>
                    <a:pt x="765422" y="1928196"/>
                  </a:lnTo>
                  <a:lnTo>
                    <a:pt x="765270" y="1929164"/>
                  </a:lnTo>
                  <a:lnTo>
                    <a:pt x="765392" y="1930858"/>
                  </a:lnTo>
                  <a:lnTo>
                    <a:pt x="766027" y="1933127"/>
                  </a:lnTo>
                  <a:lnTo>
                    <a:pt x="766420" y="1934186"/>
                  </a:lnTo>
                  <a:lnTo>
                    <a:pt x="767630" y="1934670"/>
                  </a:lnTo>
                  <a:lnTo>
                    <a:pt x="770111" y="1935215"/>
                  </a:lnTo>
                  <a:lnTo>
                    <a:pt x="772228" y="1934579"/>
                  </a:lnTo>
                  <a:lnTo>
                    <a:pt x="774739" y="1933278"/>
                  </a:lnTo>
                  <a:lnTo>
                    <a:pt x="774649" y="1931887"/>
                  </a:lnTo>
                  <a:lnTo>
                    <a:pt x="774074" y="1930314"/>
                  </a:lnTo>
                  <a:lnTo>
                    <a:pt x="773590" y="1929981"/>
                  </a:lnTo>
                  <a:lnTo>
                    <a:pt x="773076" y="1930344"/>
                  </a:lnTo>
                  <a:lnTo>
                    <a:pt x="772470" y="1930556"/>
                  </a:lnTo>
                  <a:lnTo>
                    <a:pt x="772410" y="1930405"/>
                  </a:lnTo>
                  <a:lnTo>
                    <a:pt x="772833" y="1930011"/>
                  </a:lnTo>
                  <a:lnTo>
                    <a:pt x="772833" y="1928892"/>
                  </a:lnTo>
                  <a:lnTo>
                    <a:pt x="772259" y="1927803"/>
                  </a:lnTo>
                  <a:lnTo>
                    <a:pt x="771260" y="1927410"/>
                  </a:lnTo>
                  <a:lnTo>
                    <a:pt x="770564" y="1926653"/>
                  </a:lnTo>
                  <a:lnTo>
                    <a:pt x="770141" y="1925322"/>
                  </a:lnTo>
                  <a:lnTo>
                    <a:pt x="769294" y="1924203"/>
                  </a:lnTo>
                  <a:lnTo>
                    <a:pt x="767812" y="1923205"/>
                  </a:lnTo>
                  <a:lnTo>
                    <a:pt x="765815" y="1922842"/>
                  </a:lnTo>
                  <a:lnTo>
                    <a:pt x="765180" y="1923628"/>
                  </a:lnTo>
                  <a:lnTo>
                    <a:pt x="766844" y="1925806"/>
                  </a:lnTo>
                  <a:lnTo>
                    <a:pt x="766844" y="1926502"/>
                  </a:lnTo>
                  <a:lnTo>
                    <a:pt x="766359" y="1926502"/>
                  </a:lnTo>
                  <a:close/>
                  <a:moveTo>
                    <a:pt x="732660" y="1890291"/>
                  </a:moveTo>
                  <a:lnTo>
                    <a:pt x="733960" y="1894254"/>
                  </a:lnTo>
                  <a:lnTo>
                    <a:pt x="739678" y="1897249"/>
                  </a:lnTo>
                  <a:lnTo>
                    <a:pt x="745244" y="1903390"/>
                  </a:lnTo>
                  <a:lnTo>
                    <a:pt x="749661" y="1905961"/>
                  </a:lnTo>
                  <a:lnTo>
                    <a:pt x="750568" y="1905901"/>
                  </a:lnTo>
                  <a:lnTo>
                    <a:pt x="750931" y="1904086"/>
                  </a:lnTo>
                  <a:lnTo>
                    <a:pt x="750659" y="1903329"/>
                  </a:lnTo>
                  <a:lnTo>
                    <a:pt x="750024" y="1902936"/>
                  </a:lnTo>
                  <a:lnTo>
                    <a:pt x="749358" y="1902664"/>
                  </a:lnTo>
                  <a:lnTo>
                    <a:pt x="748905" y="1902240"/>
                  </a:lnTo>
                  <a:lnTo>
                    <a:pt x="747573" y="1899004"/>
                  </a:lnTo>
                  <a:lnTo>
                    <a:pt x="747150" y="1897249"/>
                  </a:lnTo>
                  <a:lnTo>
                    <a:pt x="746878" y="1894587"/>
                  </a:lnTo>
                  <a:lnTo>
                    <a:pt x="744669" y="1896856"/>
                  </a:lnTo>
                  <a:lnTo>
                    <a:pt x="743308" y="1896765"/>
                  </a:lnTo>
                  <a:lnTo>
                    <a:pt x="742340" y="1894920"/>
                  </a:lnTo>
                  <a:lnTo>
                    <a:pt x="741312" y="1891925"/>
                  </a:lnTo>
                  <a:lnTo>
                    <a:pt x="736804" y="1883031"/>
                  </a:lnTo>
                  <a:lnTo>
                    <a:pt x="735806" y="1880429"/>
                  </a:lnTo>
                  <a:lnTo>
                    <a:pt x="737288" y="1880762"/>
                  </a:lnTo>
                  <a:lnTo>
                    <a:pt x="739648" y="1882638"/>
                  </a:lnTo>
                  <a:lnTo>
                    <a:pt x="741312" y="1882879"/>
                  </a:lnTo>
                  <a:lnTo>
                    <a:pt x="740464" y="1880641"/>
                  </a:lnTo>
                  <a:lnTo>
                    <a:pt x="737742" y="1878221"/>
                  </a:lnTo>
                  <a:lnTo>
                    <a:pt x="736501" y="1876466"/>
                  </a:lnTo>
                  <a:lnTo>
                    <a:pt x="736199" y="1875317"/>
                  </a:lnTo>
                  <a:lnTo>
                    <a:pt x="736290" y="1874258"/>
                  </a:lnTo>
                  <a:lnTo>
                    <a:pt x="736471" y="1873320"/>
                  </a:lnTo>
                  <a:lnTo>
                    <a:pt x="736471" y="1872624"/>
                  </a:lnTo>
                  <a:lnTo>
                    <a:pt x="736048" y="1871596"/>
                  </a:lnTo>
                  <a:lnTo>
                    <a:pt x="734898" y="1869750"/>
                  </a:lnTo>
                  <a:lnTo>
                    <a:pt x="734414" y="1868782"/>
                  </a:lnTo>
                  <a:lnTo>
                    <a:pt x="732780" y="1867996"/>
                  </a:lnTo>
                  <a:lnTo>
                    <a:pt x="731631" y="1868419"/>
                  </a:lnTo>
                  <a:lnTo>
                    <a:pt x="731268" y="1869811"/>
                  </a:lnTo>
                  <a:lnTo>
                    <a:pt x="732569" y="1873834"/>
                  </a:lnTo>
                  <a:lnTo>
                    <a:pt x="732660" y="1875982"/>
                  </a:lnTo>
                  <a:lnTo>
                    <a:pt x="732236" y="1885269"/>
                  </a:lnTo>
                  <a:lnTo>
                    <a:pt x="732660" y="1890321"/>
                  </a:lnTo>
                  <a:close/>
                  <a:moveTo>
                    <a:pt x="706704" y="1440422"/>
                  </a:moveTo>
                  <a:lnTo>
                    <a:pt x="707914" y="1440634"/>
                  </a:lnTo>
                  <a:lnTo>
                    <a:pt x="708307" y="1439999"/>
                  </a:lnTo>
                  <a:lnTo>
                    <a:pt x="708428" y="1438788"/>
                  </a:lnTo>
                  <a:lnTo>
                    <a:pt x="709336" y="1436792"/>
                  </a:lnTo>
                  <a:lnTo>
                    <a:pt x="709729" y="1434009"/>
                  </a:lnTo>
                  <a:lnTo>
                    <a:pt x="709608" y="1432405"/>
                  </a:lnTo>
                  <a:lnTo>
                    <a:pt x="708549" y="1431861"/>
                  </a:lnTo>
                  <a:lnTo>
                    <a:pt x="706401" y="1431498"/>
                  </a:lnTo>
                  <a:lnTo>
                    <a:pt x="703891" y="1432799"/>
                  </a:lnTo>
                  <a:lnTo>
                    <a:pt x="702831" y="1432194"/>
                  </a:lnTo>
                  <a:lnTo>
                    <a:pt x="701742" y="1430953"/>
                  </a:lnTo>
                  <a:lnTo>
                    <a:pt x="699958" y="1430258"/>
                  </a:lnTo>
                  <a:lnTo>
                    <a:pt x="697628" y="1430923"/>
                  </a:lnTo>
                  <a:lnTo>
                    <a:pt x="696358" y="1432829"/>
                  </a:lnTo>
                  <a:lnTo>
                    <a:pt x="696025" y="1434977"/>
                  </a:lnTo>
                  <a:lnTo>
                    <a:pt x="695118" y="1437457"/>
                  </a:lnTo>
                  <a:lnTo>
                    <a:pt x="694149" y="1440846"/>
                  </a:lnTo>
                  <a:lnTo>
                    <a:pt x="696267" y="1445081"/>
                  </a:lnTo>
                  <a:lnTo>
                    <a:pt x="701470" y="1446049"/>
                  </a:lnTo>
                  <a:lnTo>
                    <a:pt x="706069" y="1444415"/>
                  </a:lnTo>
                  <a:lnTo>
                    <a:pt x="706613" y="1443296"/>
                  </a:lnTo>
                  <a:lnTo>
                    <a:pt x="706038" y="1442207"/>
                  </a:lnTo>
                  <a:lnTo>
                    <a:pt x="705282" y="1441662"/>
                  </a:lnTo>
                  <a:lnTo>
                    <a:pt x="705584" y="1440694"/>
                  </a:lnTo>
                  <a:lnTo>
                    <a:pt x="706704" y="1440513"/>
                  </a:lnTo>
                  <a:close/>
                  <a:moveTo>
                    <a:pt x="981780" y="1241640"/>
                  </a:moveTo>
                  <a:lnTo>
                    <a:pt x="978059" y="1246571"/>
                  </a:lnTo>
                  <a:lnTo>
                    <a:pt x="977908" y="1248567"/>
                  </a:lnTo>
                  <a:lnTo>
                    <a:pt x="979632" y="1248446"/>
                  </a:lnTo>
                  <a:lnTo>
                    <a:pt x="980963" y="1247055"/>
                  </a:lnTo>
                  <a:lnTo>
                    <a:pt x="981810" y="1245300"/>
                  </a:lnTo>
                  <a:lnTo>
                    <a:pt x="982415" y="1243213"/>
                  </a:lnTo>
                  <a:lnTo>
                    <a:pt x="982234" y="1241882"/>
                  </a:lnTo>
                  <a:lnTo>
                    <a:pt x="981810" y="1241670"/>
                  </a:lnTo>
                  <a:close/>
                  <a:moveTo>
                    <a:pt x="987316" y="1223368"/>
                  </a:moveTo>
                  <a:lnTo>
                    <a:pt x="986045" y="1225032"/>
                  </a:lnTo>
                  <a:lnTo>
                    <a:pt x="985138" y="1225455"/>
                  </a:lnTo>
                  <a:lnTo>
                    <a:pt x="984200" y="1226333"/>
                  </a:lnTo>
                  <a:lnTo>
                    <a:pt x="983384" y="1227906"/>
                  </a:lnTo>
                  <a:lnTo>
                    <a:pt x="981508" y="1238161"/>
                  </a:lnTo>
                  <a:lnTo>
                    <a:pt x="981780" y="1240309"/>
                  </a:lnTo>
                  <a:lnTo>
                    <a:pt x="983293" y="1238736"/>
                  </a:lnTo>
                  <a:lnTo>
                    <a:pt x="984049" y="1238675"/>
                  </a:lnTo>
                  <a:lnTo>
                    <a:pt x="984745" y="1238887"/>
                  </a:lnTo>
                  <a:lnTo>
                    <a:pt x="986227" y="1237768"/>
                  </a:lnTo>
                  <a:lnTo>
                    <a:pt x="987649" y="1236104"/>
                  </a:lnTo>
                  <a:lnTo>
                    <a:pt x="988617" y="1233593"/>
                  </a:lnTo>
                  <a:lnTo>
                    <a:pt x="989010" y="1231022"/>
                  </a:lnTo>
                  <a:lnTo>
                    <a:pt x="988859" y="1228995"/>
                  </a:lnTo>
                  <a:lnTo>
                    <a:pt x="988617" y="1227331"/>
                  </a:lnTo>
                  <a:lnTo>
                    <a:pt x="988950" y="1225909"/>
                  </a:lnTo>
                  <a:lnTo>
                    <a:pt x="989645" y="1224941"/>
                  </a:lnTo>
                  <a:lnTo>
                    <a:pt x="989767" y="1224034"/>
                  </a:lnTo>
                  <a:lnTo>
                    <a:pt x="989404" y="1223096"/>
                  </a:lnTo>
                  <a:lnTo>
                    <a:pt x="989555" y="1222339"/>
                  </a:lnTo>
                  <a:lnTo>
                    <a:pt x="990039" y="1221644"/>
                  </a:lnTo>
                  <a:lnTo>
                    <a:pt x="990190" y="1221250"/>
                  </a:lnTo>
                  <a:lnTo>
                    <a:pt x="989161" y="1221613"/>
                  </a:lnTo>
                  <a:lnTo>
                    <a:pt x="987286" y="1223428"/>
                  </a:lnTo>
                  <a:close/>
                  <a:moveTo>
                    <a:pt x="987377" y="1221341"/>
                  </a:moveTo>
                  <a:lnTo>
                    <a:pt x="985803" y="1217197"/>
                  </a:lnTo>
                  <a:lnTo>
                    <a:pt x="981810" y="1216501"/>
                  </a:lnTo>
                  <a:lnTo>
                    <a:pt x="979239" y="1222612"/>
                  </a:lnTo>
                  <a:lnTo>
                    <a:pt x="980509" y="1221734"/>
                  </a:lnTo>
                  <a:lnTo>
                    <a:pt x="981659" y="1221371"/>
                  </a:lnTo>
                  <a:lnTo>
                    <a:pt x="982627" y="1221946"/>
                  </a:lnTo>
                  <a:lnTo>
                    <a:pt x="983384" y="1224034"/>
                  </a:lnTo>
                  <a:lnTo>
                    <a:pt x="982627" y="1225455"/>
                  </a:lnTo>
                  <a:lnTo>
                    <a:pt x="987346" y="1221311"/>
                  </a:lnTo>
                  <a:close/>
                  <a:moveTo>
                    <a:pt x="1135336" y="857447"/>
                  </a:moveTo>
                  <a:lnTo>
                    <a:pt x="1133309" y="857447"/>
                  </a:lnTo>
                  <a:lnTo>
                    <a:pt x="1131434" y="859716"/>
                  </a:lnTo>
                  <a:lnTo>
                    <a:pt x="1129467" y="861107"/>
                  </a:lnTo>
                  <a:lnTo>
                    <a:pt x="1128348" y="860230"/>
                  </a:lnTo>
                  <a:lnTo>
                    <a:pt x="1127894" y="859050"/>
                  </a:lnTo>
                  <a:lnTo>
                    <a:pt x="1126866" y="858324"/>
                  </a:lnTo>
                  <a:lnTo>
                    <a:pt x="1125686" y="858899"/>
                  </a:lnTo>
                  <a:lnTo>
                    <a:pt x="1124839" y="861198"/>
                  </a:lnTo>
                  <a:lnTo>
                    <a:pt x="1124718" y="863618"/>
                  </a:lnTo>
                  <a:lnTo>
                    <a:pt x="1125716" y="864374"/>
                  </a:lnTo>
                  <a:lnTo>
                    <a:pt x="1133824" y="863799"/>
                  </a:lnTo>
                  <a:lnTo>
                    <a:pt x="1135064" y="863134"/>
                  </a:lnTo>
                  <a:lnTo>
                    <a:pt x="1137333" y="861440"/>
                  </a:lnTo>
                  <a:lnTo>
                    <a:pt x="1138059" y="859534"/>
                  </a:lnTo>
                  <a:lnTo>
                    <a:pt x="1137091" y="858354"/>
                  </a:lnTo>
                  <a:lnTo>
                    <a:pt x="1135367" y="857386"/>
                  </a:lnTo>
                  <a:close/>
                  <a:moveTo>
                    <a:pt x="1118879" y="862529"/>
                  </a:moveTo>
                  <a:lnTo>
                    <a:pt x="1117821" y="861349"/>
                  </a:lnTo>
                  <a:lnTo>
                    <a:pt x="1116792" y="859504"/>
                  </a:lnTo>
                  <a:lnTo>
                    <a:pt x="1116853" y="858203"/>
                  </a:lnTo>
                  <a:lnTo>
                    <a:pt x="1117669" y="857326"/>
                  </a:lnTo>
                  <a:lnTo>
                    <a:pt x="1117155" y="856025"/>
                  </a:lnTo>
                  <a:lnTo>
                    <a:pt x="1113525" y="854149"/>
                  </a:lnTo>
                  <a:lnTo>
                    <a:pt x="1111770" y="854149"/>
                  </a:lnTo>
                  <a:lnTo>
                    <a:pt x="1110833" y="855420"/>
                  </a:lnTo>
                  <a:lnTo>
                    <a:pt x="1110833" y="857689"/>
                  </a:lnTo>
                  <a:lnTo>
                    <a:pt x="1110500" y="858566"/>
                  </a:lnTo>
                  <a:lnTo>
                    <a:pt x="1110349" y="860502"/>
                  </a:lnTo>
                  <a:lnTo>
                    <a:pt x="1110923" y="862983"/>
                  </a:lnTo>
                  <a:lnTo>
                    <a:pt x="1111438" y="863920"/>
                  </a:lnTo>
                  <a:lnTo>
                    <a:pt x="1116248" y="865010"/>
                  </a:lnTo>
                  <a:lnTo>
                    <a:pt x="1117186" y="865524"/>
                  </a:lnTo>
                  <a:lnTo>
                    <a:pt x="1118093" y="866250"/>
                  </a:lnTo>
                  <a:lnTo>
                    <a:pt x="1119273" y="866643"/>
                  </a:lnTo>
                  <a:lnTo>
                    <a:pt x="1119424" y="865373"/>
                  </a:lnTo>
                  <a:lnTo>
                    <a:pt x="1119273" y="863678"/>
                  </a:lnTo>
                  <a:lnTo>
                    <a:pt x="1118819" y="862529"/>
                  </a:lnTo>
                  <a:close/>
                  <a:moveTo>
                    <a:pt x="1155877" y="842109"/>
                  </a:moveTo>
                  <a:lnTo>
                    <a:pt x="1155030" y="841958"/>
                  </a:lnTo>
                  <a:lnTo>
                    <a:pt x="1154062" y="841050"/>
                  </a:lnTo>
                  <a:lnTo>
                    <a:pt x="1152247" y="839901"/>
                  </a:lnTo>
                  <a:lnTo>
                    <a:pt x="1151642" y="841716"/>
                  </a:lnTo>
                  <a:lnTo>
                    <a:pt x="1153094" y="844650"/>
                  </a:lnTo>
                  <a:lnTo>
                    <a:pt x="1155211" y="845709"/>
                  </a:lnTo>
                  <a:lnTo>
                    <a:pt x="1156845" y="846102"/>
                  </a:lnTo>
                  <a:lnTo>
                    <a:pt x="1157813" y="845739"/>
                  </a:lnTo>
                  <a:lnTo>
                    <a:pt x="1158086" y="844499"/>
                  </a:lnTo>
                  <a:lnTo>
                    <a:pt x="1157420" y="843047"/>
                  </a:lnTo>
                  <a:lnTo>
                    <a:pt x="1155847" y="842079"/>
                  </a:lnTo>
                  <a:close/>
                  <a:moveTo>
                    <a:pt x="1124536" y="852183"/>
                  </a:moveTo>
                  <a:lnTo>
                    <a:pt x="1123447" y="850398"/>
                  </a:lnTo>
                  <a:lnTo>
                    <a:pt x="1123206" y="849128"/>
                  </a:lnTo>
                  <a:lnTo>
                    <a:pt x="1123206" y="848371"/>
                  </a:lnTo>
                  <a:lnTo>
                    <a:pt x="1123599" y="848129"/>
                  </a:lnTo>
                  <a:lnTo>
                    <a:pt x="1123206" y="846223"/>
                  </a:lnTo>
                  <a:lnTo>
                    <a:pt x="1124053" y="845467"/>
                  </a:lnTo>
                  <a:lnTo>
                    <a:pt x="1125505" y="845860"/>
                  </a:lnTo>
                  <a:lnTo>
                    <a:pt x="1126987" y="846919"/>
                  </a:lnTo>
                  <a:lnTo>
                    <a:pt x="1128318" y="848371"/>
                  </a:lnTo>
                  <a:lnTo>
                    <a:pt x="1129467" y="850277"/>
                  </a:lnTo>
                  <a:lnTo>
                    <a:pt x="1130617" y="850549"/>
                  </a:lnTo>
                  <a:lnTo>
                    <a:pt x="1132039" y="849521"/>
                  </a:lnTo>
                  <a:lnTo>
                    <a:pt x="1132039" y="847524"/>
                  </a:lnTo>
                  <a:lnTo>
                    <a:pt x="1129830" y="845528"/>
                  </a:lnTo>
                  <a:lnTo>
                    <a:pt x="1128893" y="843834"/>
                  </a:lnTo>
                  <a:lnTo>
                    <a:pt x="1128076" y="843077"/>
                  </a:lnTo>
                  <a:lnTo>
                    <a:pt x="1127350" y="843349"/>
                  </a:lnTo>
                  <a:lnTo>
                    <a:pt x="1126563" y="843349"/>
                  </a:lnTo>
                  <a:lnTo>
                    <a:pt x="1118819" y="838630"/>
                  </a:lnTo>
                  <a:lnTo>
                    <a:pt x="1117306" y="838358"/>
                  </a:lnTo>
                  <a:lnTo>
                    <a:pt x="1115975" y="839054"/>
                  </a:lnTo>
                  <a:lnTo>
                    <a:pt x="1114826" y="839992"/>
                  </a:lnTo>
                  <a:lnTo>
                    <a:pt x="1115461" y="842684"/>
                  </a:lnTo>
                  <a:lnTo>
                    <a:pt x="1118032" y="846919"/>
                  </a:lnTo>
                  <a:lnTo>
                    <a:pt x="1122752" y="852485"/>
                  </a:lnTo>
                  <a:lnTo>
                    <a:pt x="1124173" y="853272"/>
                  </a:lnTo>
                  <a:lnTo>
                    <a:pt x="1124718" y="853060"/>
                  </a:lnTo>
                  <a:lnTo>
                    <a:pt x="1124506" y="852183"/>
                  </a:lnTo>
                  <a:close/>
                  <a:moveTo>
                    <a:pt x="1154183" y="829918"/>
                  </a:moveTo>
                  <a:lnTo>
                    <a:pt x="1152459" y="830341"/>
                  </a:lnTo>
                  <a:lnTo>
                    <a:pt x="1151037" y="830130"/>
                  </a:lnTo>
                  <a:lnTo>
                    <a:pt x="1149978" y="830220"/>
                  </a:lnTo>
                  <a:lnTo>
                    <a:pt x="1149313" y="831370"/>
                  </a:lnTo>
                  <a:lnTo>
                    <a:pt x="1149766" y="833246"/>
                  </a:lnTo>
                  <a:lnTo>
                    <a:pt x="1150341" y="834183"/>
                  </a:lnTo>
                  <a:lnTo>
                    <a:pt x="1153366" y="836119"/>
                  </a:lnTo>
                  <a:lnTo>
                    <a:pt x="1154062" y="836301"/>
                  </a:lnTo>
                  <a:lnTo>
                    <a:pt x="1153638" y="835545"/>
                  </a:lnTo>
                  <a:lnTo>
                    <a:pt x="1153971" y="835393"/>
                  </a:lnTo>
                  <a:lnTo>
                    <a:pt x="1155121" y="836089"/>
                  </a:lnTo>
                  <a:lnTo>
                    <a:pt x="1156210" y="836361"/>
                  </a:lnTo>
                  <a:lnTo>
                    <a:pt x="1157087" y="835575"/>
                  </a:lnTo>
                  <a:lnTo>
                    <a:pt x="1157692" y="834183"/>
                  </a:lnTo>
                  <a:lnTo>
                    <a:pt x="1157874" y="832489"/>
                  </a:lnTo>
                  <a:lnTo>
                    <a:pt x="1158630" y="831430"/>
                  </a:lnTo>
                  <a:lnTo>
                    <a:pt x="1160233" y="830644"/>
                  </a:lnTo>
                  <a:lnTo>
                    <a:pt x="1160627" y="828526"/>
                  </a:lnTo>
                  <a:lnTo>
                    <a:pt x="1159084" y="827558"/>
                  </a:lnTo>
                  <a:lnTo>
                    <a:pt x="1154274" y="829948"/>
                  </a:lnTo>
                  <a:close/>
                  <a:moveTo>
                    <a:pt x="1155302" y="827467"/>
                  </a:moveTo>
                  <a:lnTo>
                    <a:pt x="1156845" y="826015"/>
                  </a:lnTo>
                  <a:lnTo>
                    <a:pt x="1155877" y="823172"/>
                  </a:lnTo>
                  <a:lnTo>
                    <a:pt x="1153155" y="823293"/>
                  </a:lnTo>
                  <a:lnTo>
                    <a:pt x="1151763" y="824896"/>
                  </a:lnTo>
                  <a:lnTo>
                    <a:pt x="1152186" y="825864"/>
                  </a:lnTo>
                  <a:lnTo>
                    <a:pt x="1153336" y="827256"/>
                  </a:lnTo>
                  <a:lnTo>
                    <a:pt x="1155242" y="827498"/>
                  </a:lnTo>
                  <a:close/>
                  <a:moveTo>
                    <a:pt x="1192905" y="799969"/>
                  </a:moveTo>
                  <a:lnTo>
                    <a:pt x="1191211" y="798789"/>
                  </a:lnTo>
                  <a:lnTo>
                    <a:pt x="1191090" y="798124"/>
                  </a:lnTo>
                  <a:lnTo>
                    <a:pt x="1192602" y="797942"/>
                  </a:lnTo>
                  <a:lnTo>
                    <a:pt x="1192239" y="796157"/>
                  </a:lnTo>
                  <a:lnTo>
                    <a:pt x="1189607" y="794191"/>
                  </a:lnTo>
                  <a:lnTo>
                    <a:pt x="1187036" y="794009"/>
                  </a:lnTo>
                  <a:lnTo>
                    <a:pt x="1185191" y="795219"/>
                  </a:lnTo>
                  <a:lnTo>
                    <a:pt x="1184797" y="799031"/>
                  </a:lnTo>
                  <a:lnTo>
                    <a:pt x="1186491" y="803327"/>
                  </a:lnTo>
                  <a:lnTo>
                    <a:pt x="1189305" y="807108"/>
                  </a:lnTo>
                  <a:lnTo>
                    <a:pt x="1192330" y="810164"/>
                  </a:lnTo>
                  <a:lnTo>
                    <a:pt x="1193812" y="811011"/>
                  </a:lnTo>
                  <a:lnTo>
                    <a:pt x="1192875" y="807653"/>
                  </a:lnTo>
                  <a:lnTo>
                    <a:pt x="1192693" y="805807"/>
                  </a:lnTo>
                  <a:lnTo>
                    <a:pt x="1192995" y="804567"/>
                  </a:lnTo>
                  <a:lnTo>
                    <a:pt x="1193691" y="804567"/>
                  </a:lnTo>
                  <a:lnTo>
                    <a:pt x="1194811" y="805021"/>
                  </a:lnTo>
                  <a:lnTo>
                    <a:pt x="1195113" y="803508"/>
                  </a:lnTo>
                  <a:lnTo>
                    <a:pt x="1194296" y="801360"/>
                  </a:lnTo>
                  <a:lnTo>
                    <a:pt x="1192875" y="799908"/>
                  </a:lnTo>
                  <a:close/>
                  <a:moveTo>
                    <a:pt x="1276883" y="791559"/>
                  </a:moveTo>
                  <a:lnTo>
                    <a:pt x="1276399" y="791559"/>
                  </a:lnTo>
                  <a:lnTo>
                    <a:pt x="1276157" y="793041"/>
                  </a:lnTo>
                  <a:lnTo>
                    <a:pt x="1275854" y="793828"/>
                  </a:lnTo>
                  <a:lnTo>
                    <a:pt x="1275310" y="792769"/>
                  </a:lnTo>
                  <a:lnTo>
                    <a:pt x="1274674" y="792497"/>
                  </a:lnTo>
                  <a:lnTo>
                    <a:pt x="1273676" y="793707"/>
                  </a:lnTo>
                  <a:lnTo>
                    <a:pt x="1272527" y="794372"/>
                  </a:lnTo>
                  <a:lnTo>
                    <a:pt x="1271317" y="794161"/>
                  </a:lnTo>
                  <a:lnTo>
                    <a:pt x="1270106" y="793495"/>
                  </a:lnTo>
                  <a:lnTo>
                    <a:pt x="1269048" y="792285"/>
                  </a:lnTo>
                  <a:lnTo>
                    <a:pt x="1268473" y="792013"/>
                  </a:lnTo>
                  <a:lnTo>
                    <a:pt x="1268201" y="794675"/>
                  </a:lnTo>
                  <a:lnTo>
                    <a:pt x="1267596" y="795613"/>
                  </a:lnTo>
                  <a:lnTo>
                    <a:pt x="1266779" y="794796"/>
                  </a:lnTo>
                  <a:lnTo>
                    <a:pt x="1266053" y="792799"/>
                  </a:lnTo>
                  <a:lnTo>
                    <a:pt x="1265266" y="794009"/>
                  </a:lnTo>
                  <a:lnTo>
                    <a:pt x="1265266" y="798819"/>
                  </a:lnTo>
                  <a:lnTo>
                    <a:pt x="1267112" y="802026"/>
                  </a:lnTo>
                  <a:lnTo>
                    <a:pt x="1270984" y="804446"/>
                  </a:lnTo>
                  <a:lnTo>
                    <a:pt x="1274554" y="801179"/>
                  </a:lnTo>
                  <a:lnTo>
                    <a:pt x="1275643" y="799606"/>
                  </a:lnTo>
                  <a:lnTo>
                    <a:pt x="1275491" y="798940"/>
                  </a:lnTo>
                  <a:lnTo>
                    <a:pt x="1275794" y="798154"/>
                  </a:lnTo>
                  <a:lnTo>
                    <a:pt x="1276429" y="797307"/>
                  </a:lnTo>
                  <a:lnTo>
                    <a:pt x="1277125" y="795885"/>
                  </a:lnTo>
                  <a:lnTo>
                    <a:pt x="1277458" y="793888"/>
                  </a:lnTo>
                  <a:lnTo>
                    <a:pt x="1277246" y="792497"/>
                  </a:lnTo>
                  <a:lnTo>
                    <a:pt x="1276883" y="791620"/>
                  </a:lnTo>
                  <a:close/>
                  <a:moveTo>
                    <a:pt x="1175601" y="792315"/>
                  </a:moveTo>
                  <a:lnTo>
                    <a:pt x="1171184" y="787778"/>
                  </a:lnTo>
                  <a:lnTo>
                    <a:pt x="1170035" y="788685"/>
                  </a:lnTo>
                  <a:lnTo>
                    <a:pt x="1169672" y="792043"/>
                  </a:lnTo>
                  <a:lnTo>
                    <a:pt x="1169520" y="794947"/>
                  </a:lnTo>
                  <a:lnTo>
                    <a:pt x="1169097" y="796883"/>
                  </a:lnTo>
                  <a:lnTo>
                    <a:pt x="1169097" y="798214"/>
                  </a:lnTo>
                  <a:lnTo>
                    <a:pt x="1169732" y="799424"/>
                  </a:lnTo>
                  <a:lnTo>
                    <a:pt x="1170609" y="800574"/>
                  </a:lnTo>
                  <a:lnTo>
                    <a:pt x="1172576" y="801723"/>
                  </a:lnTo>
                  <a:lnTo>
                    <a:pt x="1177083" y="802450"/>
                  </a:lnTo>
                  <a:lnTo>
                    <a:pt x="1177688" y="800453"/>
                  </a:lnTo>
                  <a:lnTo>
                    <a:pt x="1176811" y="795794"/>
                  </a:lnTo>
                  <a:lnTo>
                    <a:pt x="1175631" y="792315"/>
                  </a:lnTo>
                  <a:close/>
                  <a:moveTo>
                    <a:pt x="1309796" y="765543"/>
                  </a:moveTo>
                  <a:lnTo>
                    <a:pt x="1307588" y="756558"/>
                  </a:lnTo>
                  <a:lnTo>
                    <a:pt x="1304926" y="752141"/>
                  </a:lnTo>
                  <a:lnTo>
                    <a:pt x="1302778" y="747634"/>
                  </a:lnTo>
                  <a:lnTo>
                    <a:pt x="1303020" y="742582"/>
                  </a:lnTo>
                  <a:lnTo>
                    <a:pt x="1302839" y="739164"/>
                  </a:lnTo>
                  <a:lnTo>
                    <a:pt x="1300267" y="727819"/>
                  </a:lnTo>
                  <a:lnTo>
                    <a:pt x="1299239" y="724643"/>
                  </a:lnTo>
                  <a:lnTo>
                    <a:pt x="1298210" y="723130"/>
                  </a:lnTo>
                  <a:lnTo>
                    <a:pt x="1295790" y="720680"/>
                  </a:lnTo>
                  <a:lnTo>
                    <a:pt x="1294731" y="719198"/>
                  </a:lnTo>
                  <a:lnTo>
                    <a:pt x="1293824" y="717201"/>
                  </a:lnTo>
                  <a:lnTo>
                    <a:pt x="1288378" y="701894"/>
                  </a:lnTo>
                  <a:lnTo>
                    <a:pt x="1286140" y="699050"/>
                  </a:lnTo>
                  <a:lnTo>
                    <a:pt x="1275703" y="695480"/>
                  </a:lnTo>
                  <a:lnTo>
                    <a:pt x="1272133" y="692516"/>
                  </a:lnTo>
                  <a:lnTo>
                    <a:pt x="1269532" y="688613"/>
                  </a:lnTo>
                  <a:lnTo>
                    <a:pt x="1266022" y="677057"/>
                  </a:lnTo>
                  <a:lnTo>
                    <a:pt x="1265145" y="671098"/>
                  </a:lnTo>
                  <a:lnTo>
                    <a:pt x="1263663" y="665925"/>
                  </a:lnTo>
                  <a:lnTo>
                    <a:pt x="1263360" y="663384"/>
                  </a:lnTo>
                  <a:lnTo>
                    <a:pt x="1263512" y="661115"/>
                  </a:lnTo>
                  <a:lnTo>
                    <a:pt x="1264359" y="658090"/>
                  </a:lnTo>
                  <a:lnTo>
                    <a:pt x="1264692" y="655670"/>
                  </a:lnTo>
                  <a:lnTo>
                    <a:pt x="1264752" y="652523"/>
                  </a:lnTo>
                  <a:lnTo>
                    <a:pt x="1264207" y="648318"/>
                  </a:lnTo>
                  <a:lnTo>
                    <a:pt x="1264056" y="645203"/>
                  </a:lnTo>
                  <a:lnTo>
                    <a:pt x="1263633" y="642843"/>
                  </a:lnTo>
                  <a:lnTo>
                    <a:pt x="1261697" y="638547"/>
                  </a:lnTo>
                  <a:lnTo>
                    <a:pt x="1261273" y="635734"/>
                  </a:lnTo>
                  <a:lnTo>
                    <a:pt x="1262302" y="630500"/>
                  </a:lnTo>
                  <a:lnTo>
                    <a:pt x="1264752" y="626991"/>
                  </a:lnTo>
                  <a:lnTo>
                    <a:pt x="1267717" y="624904"/>
                  </a:lnTo>
                  <a:lnTo>
                    <a:pt x="1270227" y="623936"/>
                  </a:lnTo>
                  <a:lnTo>
                    <a:pt x="1270227" y="620245"/>
                  </a:lnTo>
                  <a:lnTo>
                    <a:pt x="1272648" y="618218"/>
                  </a:lnTo>
                  <a:lnTo>
                    <a:pt x="1275733" y="616706"/>
                  </a:lnTo>
                  <a:lnTo>
                    <a:pt x="1277760" y="614437"/>
                  </a:lnTo>
                  <a:lnTo>
                    <a:pt x="1277911" y="611866"/>
                  </a:lnTo>
                  <a:lnTo>
                    <a:pt x="1283296" y="608296"/>
                  </a:lnTo>
                  <a:lnTo>
                    <a:pt x="1285353" y="606209"/>
                  </a:lnTo>
                  <a:lnTo>
                    <a:pt x="1286321" y="602639"/>
                  </a:lnTo>
                  <a:lnTo>
                    <a:pt x="1286503" y="598646"/>
                  </a:lnTo>
                  <a:lnTo>
                    <a:pt x="1286079" y="594441"/>
                  </a:lnTo>
                  <a:lnTo>
                    <a:pt x="1285353" y="590296"/>
                  </a:lnTo>
                  <a:lnTo>
                    <a:pt x="1286321" y="586545"/>
                  </a:lnTo>
                  <a:lnTo>
                    <a:pt x="1287077" y="582219"/>
                  </a:lnTo>
                  <a:lnTo>
                    <a:pt x="1287501" y="577560"/>
                  </a:lnTo>
                  <a:lnTo>
                    <a:pt x="1287501" y="572750"/>
                  </a:lnTo>
                  <a:lnTo>
                    <a:pt x="1286351" y="564159"/>
                  </a:lnTo>
                  <a:lnTo>
                    <a:pt x="1286412" y="562435"/>
                  </a:lnTo>
                  <a:lnTo>
                    <a:pt x="1289679" y="557262"/>
                  </a:lnTo>
                  <a:lnTo>
                    <a:pt x="1291131" y="552996"/>
                  </a:lnTo>
                  <a:lnTo>
                    <a:pt x="1293309" y="552421"/>
                  </a:lnTo>
                  <a:lnTo>
                    <a:pt x="1295669" y="552542"/>
                  </a:lnTo>
                  <a:lnTo>
                    <a:pt x="1297151" y="551756"/>
                  </a:lnTo>
                  <a:lnTo>
                    <a:pt x="1297635" y="549669"/>
                  </a:lnTo>
                  <a:lnTo>
                    <a:pt x="1297363" y="547975"/>
                  </a:lnTo>
                  <a:lnTo>
                    <a:pt x="1293279" y="536358"/>
                  </a:lnTo>
                  <a:lnTo>
                    <a:pt x="1290526" y="530035"/>
                  </a:lnTo>
                  <a:lnTo>
                    <a:pt x="1288409" y="526587"/>
                  </a:lnTo>
                  <a:lnTo>
                    <a:pt x="1284506" y="521565"/>
                  </a:lnTo>
                  <a:lnTo>
                    <a:pt x="1278789" y="509555"/>
                  </a:lnTo>
                  <a:lnTo>
                    <a:pt x="1276308" y="506379"/>
                  </a:lnTo>
                  <a:lnTo>
                    <a:pt x="1273253" y="505108"/>
                  </a:lnTo>
                  <a:lnTo>
                    <a:pt x="1271438" y="503505"/>
                  </a:lnTo>
                  <a:lnTo>
                    <a:pt x="1269078" y="499754"/>
                  </a:lnTo>
                  <a:lnTo>
                    <a:pt x="1265418" y="492009"/>
                  </a:lnTo>
                  <a:lnTo>
                    <a:pt x="1264722" y="489861"/>
                  </a:lnTo>
                  <a:lnTo>
                    <a:pt x="1264298" y="488167"/>
                  </a:lnTo>
                  <a:lnTo>
                    <a:pt x="1264086" y="486141"/>
                  </a:lnTo>
                  <a:lnTo>
                    <a:pt x="1264086" y="483085"/>
                  </a:lnTo>
                  <a:lnTo>
                    <a:pt x="1263693" y="480514"/>
                  </a:lnTo>
                  <a:lnTo>
                    <a:pt x="1262816" y="479062"/>
                  </a:lnTo>
                  <a:lnTo>
                    <a:pt x="1261787" y="477973"/>
                  </a:lnTo>
                  <a:lnTo>
                    <a:pt x="1259035" y="473042"/>
                  </a:lnTo>
                  <a:lnTo>
                    <a:pt x="1256856" y="470410"/>
                  </a:lnTo>
                  <a:lnTo>
                    <a:pt x="1255102" y="467354"/>
                  </a:lnTo>
                  <a:lnTo>
                    <a:pt x="1254376" y="462605"/>
                  </a:lnTo>
                  <a:lnTo>
                    <a:pt x="1255616" y="460729"/>
                  </a:lnTo>
                  <a:lnTo>
                    <a:pt x="1256735" y="458491"/>
                  </a:lnTo>
                  <a:lnTo>
                    <a:pt x="1257673" y="455859"/>
                  </a:lnTo>
                  <a:lnTo>
                    <a:pt x="1258460" y="452803"/>
                  </a:lnTo>
                  <a:lnTo>
                    <a:pt x="1256645" y="451835"/>
                  </a:lnTo>
                  <a:lnTo>
                    <a:pt x="1256130" y="450141"/>
                  </a:lnTo>
                  <a:lnTo>
                    <a:pt x="1256433" y="445513"/>
                  </a:lnTo>
                  <a:lnTo>
                    <a:pt x="1257250" y="441731"/>
                  </a:lnTo>
                  <a:lnTo>
                    <a:pt x="1259216" y="439644"/>
                  </a:lnTo>
                  <a:lnTo>
                    <a:pt x="1270590" y="434683"/>
                  </a:lnTo>
                  <a:lnTo>
                    <a:pt x="1273374" y="430659"/>
                  </a:lnTo>
                  <a:lnTo>
                    <a:pt x="1275643" y="423218"/>
                  </a:lnTo>
                  <a:lnTo>
                    <a:pt x="1272194" y="421130"/>
                  </a:lnTo>
                  <a:lnTo>
                    <a:pt x="1272194" y="415534"/>
                  </a:lnTo>
                  <a:lnTo>
                    <a:pt x="1273374" y="408788"/>
                  </a:lnTo>
                  <a:lnTo>
                    <a:pt x="1273585" y="403373"/>
                  </a:lnTo>
                  <a:lnTo>
                    <a:pt x="1272315" y="401618"/>
                  </a:lnTo>
                  <a:lnTo>
                    <a:pt x="1270106" y="400620"/>
                  </a:lnTo>
                  <a:lnTo>
                    <a:pt x="1263270" y="399470"/>
                  </a:lnTo>
                  <a:lnTo>
                    <a:pt x="1256433" y="395265"/>
                  </a:lnTo>
                  <a:lnTo>
                    <a:pt x="1252349" y="395659"/>
                  </a:lnTo>
                  <a:lnTo>
                    <a:pt x="1248356" y="397383"/>
                  </a:lnTo>
                  <a:lnTo>
                    <a:pt x="1244605" y="397625"/>
                  </a:lnTo>
                  <a:lnTo>
                    <a:pt x="1241247" y="393480"/>
                  </a:lnTo>
                  <a:lnTo>
                    <a:pt x="1240006" y="387581"/>
                  </a:lnTo>
                  <a:lnTo>
                    <a:pt x="1241216" y="382953"/>
                  </a:lnTo>
                  <a:lnTo>
                    <a:pt x="1243485" y="378657"/>
                  </a:lnTo>
                  <a:lnTo>
                    <a:pt x="1245361" y="373696"/>
                  </a:lnTo>
                  <a:lnTo>
                    <a:pt x="1244211" y="370792"/>
                  </a:lnTo>
                  <a:lnTo>
                    <a:pt x="1246843" y="368039"/>
                  </a:lnTo>
                  <a:lnTo>
                    <a:pt x="1250443" y="365437"/>
                  </a:lnTo>
                  <a:lnTo>
                    <a:pt x="1252258" y="363017"/>
                  </a:lnTo>
                  <a:lnTo>
                    <a:pt x="1251956" y="357209"/>
                  </a:lnTo>
                  <a:lnTo>
                    <a:pt x="1251169" y="353397"/>
                  </a:lnTo>
                  <a:lnTo>
                    <a:pt x="1248779" y="347044"/>
                  </a:lnTo>
                  <a:lnTo>
                    <a:pt x="1247962" y="343051"/>
                  </a:lnTo>
                  <a:lnTo>
                    <a:pt x="1246843" y="333371"/>
                  </a:lnTo>
                  <a:lnTo>
                    <a:pt x="1245724" y="329499"/>
                  </a:lnTo>
                  <a:lnTo>
                    <a:pt x="1245361" y="326474"/>
                  </a:lnTo>
                  <a:lnTo>
                    <a:pt x="1245361" y="312044"/>
                  </a:lnTo>
                  <a:lnTo>
                    <a:pt x="1244877" y="306961"/>
                  </a:lnTo>
                  <a:lnTo>
                    <a:pt x="1244574" y="301002"/>
                  </a:lnTo>
                  <a:lnTo>
                    <a:pt x="1245028" y="295284"/>
                  </a:lnTo>
                  <a:lnTo>
                    <a:pt x="1246813" y="290989"/>
                  </a:lnTo>
                  <a:lnTo>
                    <a:pt x="1250201" y="288266"/>
                  </a:lnTo>
                  <a:lnTo>
                    <a:pt x="1257310" y="285846"/>
                  </a:lnTo>
                  <a:lnTo>
                    <a:pt x="1260607" y="283274"/>
                  </a:lnTo>
                  <a:lnTo>
                    <a:pt x="1263149" y="278525"/>
                  </a:lnTo>
                  <a:lnTo>
                    <a:pt x="1263239" y="274199"/>
                  </a:lnTo>
                  <a:lnTo>
                    <a:pt x="1261333" y="271053"/>
                  </a:lnTo>
                  <a:lnTo>
                    <a:pt x="1254345" y="268542"/>
                  </a:lnTo>
                  <a:lnTo>
                    <a:pt x="1245391" y="258015"/>
                  </a:lnTo>
                  <a:lnTo>
                    <a:pt x="1242638" y="255927"/>
                  </a:lnTo>
                  <a:lnTo>
                    <a:pt x="1235166" y="249272"/>
                  </a:lnTo>
                  <a:lnTo>
                    <a:pt x="1234349" y="247124"/>
                  </a:lnTo>
                  <a:lnTo>
                    <a:pt x="1233986" y="245006"/>
                  </a:lnTo>
                  <a:lnTo>
                    <a:pt x="1229933" y="230304"/>
                  </a:lnTo>
                  <a:lnTo>
                    <a:pt x="1228813" y="227703"/>
                  </a:lnTo>
                  <a:lnTo>
                    <a:pt x="1227482" y="225888"/>
                  </a:lnTo>
                  <a:lnTo>
                    <a:pt x="1224003" y="226039"/>
                  </a:lnTo>
                  <a:lnTo>
                    <a:pt x="1215472" y="231696"/>
                  </a:lnTo>
                  <a:lnTo>
                    <a:pt x="1213294" y="231756"/>
                  </a:lnTo>
                  <a:lnTo>
                    <a:pt x="1212629" y="230395"/>
                  </a:lnTo>
                  <a:lnTo>
                    <a:pt x="1212205" y="230183"/>
                  </a:lnTo>
                  <a:lnTo>
                    <a:pt x="1211903" y="229699"/>
                  </a:lnTo>
                  <a:lnTo>
                    <a:pt x="1211661" y="227430"/>
                  </a:lnTo>
                  <a:lnTo>
                    <a:pt x="1211661" y="226099"/>
                  </a:lnTo>
                  <a:lnTo>
                    <a:pt x="1212175" y="223861"/>
                  </a:lnTo>
                  <a:lnTo>
                    <a:pt x="1212689" y="217659"/>
                  </a:lnTo>
                  <a:lnTo>
                    <a:pt x="1212568" y="215663"/>
                  </a:lnTo>
                  <a:lnTo>
                    <a:pt x="1211661" y="213847"/>
                  </a:lnTo>
                  <a:lnTo>
                    <a:pt x="1212235" y="208009"/>
                  </a:lnTo>
                  <a:lnTo>
                    <a:pt x="1210693" y="203834"/>
                  </a:lnTo>
                  <a:lnTo>
                    <a:pt x="1206155" y="198510"/>
                  </a:lnTo>
                  <a:lnTo>
                    <a:pt x="1204824" y="196060"/>
                  </a:lnTo>
                  <a:lnTo>
                    <a:pt x="1204310" y="193912"/>
                  </a:lnTo>
                  <a:lnTo>
                    <a:pt x="1204037" y="191885"/>
                  </a:lnTo>
                  <a:lnTo>
                    <a:pt x="1203372" y="189797"/>
                  </a:lnTo>
                  <a:lnTo>
                    <a:pt x="1201890" y="187801"/>
                  </a:lnTo>
                  <a:lnTo>
                    <a:pt x="1186975" y="178181"/>
                  </a:lnTo>
                  <a:lnTo>
                    <a:pt x="1184102" y="174551"/>
                  </a:lnTo>
                  <a:lnTo>
                    <a:pt x="1179897" y="166080"/>
                  </a:lnTo>
                  <a:lnTo>
                    <a:pt x="1177356" y="163539"/>
                  </a:lnTo>
                  <a:lnTo>
                    <a:pt x="1171366" y="165899"/>
                  </a:lnTo>
                  <a:lnTo>
                    <a:pt x="1168401" y="162571"/>
                  </a:lnTo>
                  <a:lnTo>
                    <a:pt x="1165497" y="158034"/>
                  </a:lnTo>
                  <a:lnTo>
                    <a:pt x="1162684" y="155371"/>
                  </a:lnTo>
                  <a:lnTo>
                    <a:pt x="1160778" y="155371"/>
                  </a:lnTo>
                  <a:lnTo>
                    <a:pt x="1159023" y="155946"/>
                  </a:lnTo>
                  <a:lnTo>
                    <a:pt x="1157208" y="155946"/>
                  </a:lnTo>
                  <a:lnTo>
                    <a:pt x="1152912" y="153133"/>
                  </a:lnTo>
                  <a:lnTo>
                    <a:pt x="1148496" y="152649"/>
                  </a:lnTo>
                  <a:lnTo>
                    <a:pt x="1142022" y="149230"/>
                  </a:lnTo>
                  <a:lnTo>
                    <a:pt x="1134066" y="148656"/>
                  </a:lnTo>
                  <a:lnTo>
                    <a:pt x="1133672" y="148081"/>
                  </a:lnTo>
                  <a:lnTo>
                    <a:pt x="1133733" y="145600"/>
                  </a:lnTo>
                  <a:lnTo>
                    <a:pt x="1133370" y="145056"/>
                  </a:lnTo>
                  <a:lnTo>
                    <a:pt x="1126533" y="143089"/>
                  </a:lnTo>
                  <a:lnTo>
                    <a:pt x="1103300" y="142878"/>
                  </a:lnTo>
                  <a:lnTo>
                    <a:pt x="1099882" y="140034"/>
                  </a:lnTo>
                  <a:lnTo>
                    <a:pt x="1099730" y="138854"/>
                  </a:lnTo>
                  <a:lnTo>
                    <a:pt x="1099791" y="137069"/>
                  </a:lnTo>
                  <a:lnTo>
                    <a:pt x="1099670" y="135436"/>
                  </a:lnTo>
                  <a:lnTo>
                    <a:pt x="1098944" y="134710"/>
                  </a:lnTo>
                  <a:lnTo>
                    <a:pt x="1098460" y="134437"/>
                  </a:lnTo>
                  <a:lnTo>
                    <a:pt x="1097250" y="132925"/>
                  </a:lnTo>
                  <a:lnTo>
                    <a:pt x="1095858" y="130535"/>
                  </a:lnTo>
                  <a:lnTo>
                    <a:pt x="1092984" y="126753"/>
                  </a:lnTo>
                  <a:lnTo>
                    <a:pt x="1092379" y="125211"/>
                  </a:lnTo>
                  <a:lnTo>
                    <a:pt x="1087872" y="119826"/>
                  </a:lnTo>
                  <a:lnTo>
                    <a:pt x="1069540" y="114834"/>
                  </a:lnTo>
                  <a:lnTo>
                    <a:pt x="1067482" y="106909"/>
                  </a:lnTo>
                  <a:lnTo>
                    <a:pt x="1061916" y="103278"/>
                  </a:lnTo>
                  <a:lnTo>
                    <a:pt x="1052962" y="94657"/>
                  </a:lnTo>
                  <a:lnTo>
                    <a:pt x="1045248" y="92600"/>
                  </a:lnTo>
                  <a:lnTo>
                    <a:pt x="1042041" y="89695"/>
                  </a:lnTo>
                  <a:lnTo>
                    <a:pt x="1040831" y="87245"/>
                  </a:lnTo>
                  <a:lnTo>
                    <a:pt x="1037776" y="79350"/>
                  </a:lnTo>
                  <a:lnTo>
                    <a:pt x="1037170" y="76476"/>
                  </a:lnTo>
                  <a:lnTo>
                    <a:pt x="1036293" y="73874"/>
                  </a:lnTo>
                  <a:lnTo>
                    <a:pt x="1034236" y="72603"/>
                  </a:lnTo>
                  <a:lnTo>
                    <a:pt x="1027066" y="72543"/>
                  </a:lnTo>
                  <a:lnTo>
                    <a:pt x="1026128" y="72089"/>
                  </a:lnTo>
                  <a:lnTo>
                    <a:pt x="1025675" y="71212"/>
                  </a:lnTo>
                  <a:lnTo>
                    <a:pt x="1024949" y="68913"/>
                  </a:lnTo>
                  <a:lnTo>
                    <a:pt x="1024404" y="68459"/>
                  </a:lnTo>
                  <a:lnTo>
                    <a:pt x="1023134" y="66825"/>
                  </a:lnTo>
                  <a:lnTo>
                    <a:pt x="1017204" y="56389"/>
                  </a:lnTo>
                  <a:lnTo>
                    <a:pt x="1010791" y="50127"/>
                  </a:lnTo>
                  <a:lnTo>
                    <a:pt x="1002654" y="43018"/>
                  </a:lnTo>
                  <a:lnTo>
                    <a:pt x="985925" y="36544"/>
                  </a:lnTo>
                  <a:lnTo>
                    <a:pt x="983776" y="33428"/>
                  </a:lnTo>
                  <a:lnTo>
                    <a:pt x="984079" y="28194"/>
                  </a:lnTo>
                  <a:lnTo>
                    <a:pt x="987135" y="26682"/>
                  </a:lnTo>
                  <a:lnTo>
                    <a:pt x="988768" y="22537"/>
                  </a:lnTo>
                  <a:lnTo>
                    <a:pt x="988768" y="17909"/>
                  </a:lnTo>
                  <a:lnTo>
                    <a:pt x="986469" y="14369"/>
                  </a:lnTo>
                  <a:lnTo>
                    <a:pt x="981689" y="12917"/>
                  </a:lnTo>
                  <a:lnTo>
                    <a:pt x="974792" y="6474"/>
                  </a:lnTo>
                  <a:lnTo>
                    <a:pt x="962752" y="4689"/>
                  </a:lnTo>
                  <a:lnTo>
                    <a:pt x="957488" y="0"/>
                  </a:lnTo>
                  <a:lnTo>
                    <a:pt x="931290" y="1845"/>
                  </a:lnTo>
                  <a:lnTo>
                    <a:pt x="905063" y="3691"/>
                  </a:lnTo>
                  <a:lnTo>
                    <a:pt x="929112" y="32581"/>
                  </a:lnTo>
                  <a:lnTo>
                    <a:pt x="929899" y="36937"/>
                  </a:lnTo>
                  <a:lnTo>
                    <a:pt x="930685" y="59626"/>
                  </a:lnTo>
                  <a:lnTo>
                    <a:pt x="930262" y="64466"/>
                  </a:lnTo>
                  <a:lnTo>
                    <a:pt x="928901" y="69639"/>
                  </a:lnTo>
                  <a:lnTo>
                    <a:pt x="918615" y="96744"/>
                  </a:lnTo>
                  <a:lnTo>
                    <a:pt x="910084" y="110024"/>
                  </a:lnTo>
                  <a:lnTo>
                    <a:pt x="891026" y="126663"/>
                  </a:lnTo>
                  <a:lnTo>
                    <a:pt x="919583" y="142787"/>
                  </a:lnTo>
                  <a:lnTo>
                    <a:pt x="895866" y="171344"/>
                  </a:lnTo>
                  <a:lnTo>
                    <a:pt x="891933" y="174521"/>
                  </a:lnTo>
                  <a:lnTo>
                    <a:pt x="887880" y="174793"/>
                  </a:lnTo>
                  <a:lnTo>
                    <a:pt x="842684" y="156249"/>
                  </a:lnTo>
                  <a:lnTo>
                    <a:pt x="798033" y="135678"/>
                  </a:lnTo>
                  <a:lnTo>
                    <a:pt x="764030" y="138219"/>
                  </a:lnTo>
                  <a:lnTo>
                    <a:pt x="758434" y="136797"/>
                  </a:lnTo>
                  <a:lnTo>
                    <a:pt x="742038" y="121459"/>
                  </a:lnTo>
                  <a:lnTo>
                    <a:pt x="737439" y="118434"/>
                  </a:lnTo>
                  <a:lnTo>
                    <a:pt x="712603" y="127419"/>
                  </a:lnTo>
                  <a:lnTo>
                    <a:pt x="710848" y="128054"/>
                  </a:lnTo>
                  <a:lnTo>
                    <a:pt x="709820" y="129506"/>
                  </a:lnTo>
                  <a:lnTo>
                    <a:pt x="709275" y="132441"/>
                  </a:lnTo>
                  <a:lnTo>
                    <a:pt x="707309" y="155704"/>
                  </a:lnTo>
                  <a:lnTo>
                    <a:pt x="707188" y="163388"/>
                  </a:lnTo>
                  <a:lnTo>
                    <a:pt x="712512" y="212668"/>
                  </a:lnTo>
                  <a:lnTo>
                    <a:pt x="710304" y="222681"/>
                  </a:lnTo>
                  <a:lnTo>
                    <a:pt x="691729" y="257954"/>
                  </a:lnTo>
                  <a:lnTo>
                    <a:pt x="688583" y="264156"/>
                  </a:lnTo>
                  <a:lnTo>
                    <a:pt x="685588" y="268663"/>
                  </a:lnTo>
                  <a:lnTo>
                    <a:pt x="683017" y="269450"/>
                  </a:lnTo>
                  <a:lnTo>
                    <a:pt x="654157" y="252690"/>
                  </a:lnTo>
                  <a:lnTo>
                    <a:pt x="625297" y="235870"/>
                  </a:lnTo>
                  <a:lnTo>
                    <a:pt x="623119" y="237716"/>
                  </a:lnTo>
                  <a:lnTo>
                    <a:pt x="615072" y="252025"/>
                  </a:lnTo>
                  <a:lnTo>
                    <a:pt x="573597" y="283970"/>
                  </a:lnTo>
                  <a:lnTo>
                    <a:pt x="571087" y="287328"/>
                  </a:lnTo>
                  <a:lnTo>
                    <a:pt x="568969" y="292199"/>
                  </a:lnTo>
                  <a:lnTo>
                    <a:pt x="553571" y="348406"/>
                  </a:lnTo>
                  <a:lnTo>
                    <a:pt x="551423" y="353609"/>
                  </a:lnTo>
                  <a:lnTo>
                    <a:pt x="540926" y="370126"/>
                  </a:lnTo>
                  <a:lnTo>
                    <a:pt x="535450" y="375904"/>
                  </a:lnTo>
                  <a:lnTo>
                    <a:pt x="529249" y="378899"/>
                  </a:lnTo>
                  <a:lnTo>
                    <a:pt x="512399" y="382136"/>
                  </a:lnTo>
                  <a:lnTo>
                    <a:pt x="510493" y="385010"/>
                  </a:lnTo>
                  <a:lnTo>
                    <a:pt x="505108" y="402798"/>
                  </a:lnTo>
                  <a:lnTo>
                    <a:pt x="536388" y="456161"/>
                  </a:lnTo>
                  <a:lnTo>
                    <a:pt x="536993" y="460397"/>
                  </a:lnTo>
                  <a:lnTo>
                    <a:pt x="534150" y="491314"/>
                  </a:lnTo>
                  <a:lnTo>
                    <a:pt x="532546" y="495276"/>
                  </a:lnTo>
                  <a:lnTo>
                    <a:pt x="529521" y="498029"/>
                  </a:lnTo>
                  <a:lnTo>
                    <a:pt x="523592" y="501448"/>
                  </a:lnTo>
                  <a:lnTo>
                    <a:pt x="504987" y="519296"/>
                  </a:lnTo>
                  <a:lnTo>
                    <a:pt x="496245" y="530338"/>
                  </a:lnTo>
                  <a:lnTo>
                    <a:pt x="459065" y="597859"/>
                  </a:lnTo>
                  <a:lnTo>
                    <a:pt x="434592" y="622998"/>
                  </a:lnTo>
                  <a:lnTo>
                    <a:pt x="434955" y="629411"/>
                  </a:lnTo>
                  <a:lnTo>
                    <a:pt x="439614" y="654520"/>
                  </a:lnTo>
                  <a:lnTo>
                    <a:pt x="440219" y="657787"/>
                  </a:lnTo>
                  <a:lnTo>
                    <a:pt x="441005" y="665229"/>
                  </a:lnTo>
                  <a:lnTo>
                    <a:pt x="441187" y="669948"/>
                  </a:lnTo>
                  <a:lnTo>
                    <a:pt x="440158" y="672973"/>
                  </a:lnTo>
                  <a:lnTo>
                    <a:pt x="397050" y="700865"/>
                  </a:lnTo>
                  <a:lnTo>
                    <a:pt x="371246" y="704042"/>
                  </a:lnTo>
                  <a:lnTo>
                    <a:pt x="345441" y="707218"/>
                  </a:lnTo>
                  <a:lnTo>
                    <a:pt x="355878" y="771442"/>
                  </a:lnTo>
                  <a:lnTo>
                    <a:pt x="356332" y="780608"/>
                  </a:lnTo>
                  <a:lnTo>
                    <a:pt x="355152" y="785388"/>
                  </a:lnTo>
                  <a:lnTo>
                    <a:pt x="348436" y="799908"/>
                  </a:lnTo>
                  <a:lnTo>
                    <a:pt x="347468" y="803448"/>
                  </a:lnTo>
                  <a:lnTo>
                    <a:pt x="342386" y="856327"/>
                  </a:lnTo>
                  <a:lnTo>
                    <a:pt x="342507" y="866915"/>
                  </a:lnTo>
                  <a:lnTo>
                    <a:pt x="343202" y="878592"/>
                  </a:lnTo>
                  <a:lnTo>
                    <a:pt x="342809" y="888908"/>
                  </a:lnTo>
                  <a:lnTo>
                    <a:pt x="339572" y="895412"/>
                  </a:lnTo>
                  <a:lnTo>
                    <a:pt x="331374" y="902763"/>
                  </a:lnTo>
                  <a:lnTo>
                    <a:pt x="329317" y="906121"/>
                  </a:lnTo>
                  <a:lnTo>
                    <a:pt x="327895" y="911536"/>
                  </a:lnTo>
                  <a:lnTo>
                    <a:pt x="325112" y="931986"/>
                  </a:lnTo>
                  <a:lnTo>
                    <a:pt x="324537" y="933711"/>
                  </a:lnTo>
                  <a:lnTo>
                    <a:pt x="324447" y="933953"/>
                  </a:lnTo>
                  <a:lnTo>
                    <a:pt x="322299" y="940487"/>
                  </a:lnTo>
                  <a:lnTo>
                    <a:pt x="308413" y="960786"/>
                  </a:lnTo>
                  <a:lnTo>
                    <a:pt x="308413" y="960786"/>
                  </a:lnTo>
                  <a:lnTo>
                    <a:pt x="281762" y="1005225"/>
                  </a:lnTo>
                  <a:lnTo>
                    <a:pt x="255110" y="1049271"/>
                  </a:lnTo>
                  <a:lnTo>
                    <a:pt x="285029" y="1069207"/>
                  </a:lnTo>
                  <a:lnTo>
                    <a:pt x="289264" y="1070689"/>
                  </a:lnTo>
                  <a:lnTo>
                    <a:pt x="297160" y="1072353"/>
                  </a:lnTo>
                  <a:lnTo>
                    <a:pt x="300790" y="1074773"/>
                  </a:lnTo>
                  <a:lnTo>
                    <a:pt x="302666" y="1079946"/>
                  </a:lnTo>
                  <a:lnTo>
                    <a:pt x="307264" y="1130284"/>
                  </a:lnTo>
                  <a:lnTo>
                    <a:pt x="307173" y="1134156"/>
                  </a:lnTo>
                  <a:lnTo>
                    <a:pt x="305902" y="1138029"/>
                  </a:lnTo>
                  <a:lnTo>
                    <a:pt x="289234" y="1169672"/>
                  </a:lnTo>
                  <a:lnTo>
                    <a:pt x="287419" y="1171789"/>
                  </a:lnTo>
                  <a:lnTo>
                    <a:pt x="284908" y="1171789"/>
                  </a:lnTo>
                  <a:lnTo>
                    <a:pt x="249423" y="1163198"/>
                  </a:lnTo>
                  <a:lnTo>
                    <a:pt x="213938" y="1154606"/>
                  </a:lnTo>
                  <a:lnTo>
                    <a:pt x="188618" y="1161383"/>
                  </a:lnTo>
                  <a:lnTo>
                    <a:pt x="165748" y="1175631"/>
                  </a:lnTo>
                  <a:lnTo>
                    <a:pt x="158366" y="1183013"/>
                  </a:lnTo>
                  <a:lnTo>
                    <a:pt x="138309" y="1213869"/>
                  </a:lnTo>
                  <a:lnTo>
                    <a:pt x="119251" y="1245754"/>
                  </a:lnTo>
                  <a:lnTo>
                    <a:pt x="106878" y="1258006"/>
                  </a:lnTo>
                  <a:lnTo>
                    <a:pt x="111809" y="1279091"/>
                  </a:lnTo>
                  <a:lnTo>
                    <a:pt x="111809" y="1283720"/>
                  </a:lnTo>
                  <a:lnTo>
                    <a:pt x="110357" y="1287773"/>
                  </a:lnTo>
                  <a:lnTo>
                    <a:pt x="88970" y="1321957"/>
                  </a:lnTo>
                  <a:lnTo>
                    <a:pt x="95746" y="1339231"/>
                  </a:lnTo>
                  <a:lnTo>
                    <a:pt x="112142" y="1380797"/>
                  </a:lnTo>
                  <a:lnTo>
                    <a:pt x="100223" y="1396679"/>
                  </a:lnTo>
                  <a:lnTo>
                    <a:pt x="99104" y="1399915"/>
                  </a:lnTo>
                  <a:lnTo>
                    <a:pt x="99467" y="1404151"/>
                  </a:lnTo>
                  <a:lnTo>
                    <a:pt x="105426" y="1435098"/>
                  </a:lnTo>
                  <a:lnTo>
                    <a:pt x="105215" y="1439787"/>
                  </a:lnTo>
                  <a:lnTo>
                    <a:pt x="103672" y="1445383"/>
                  </a:lnTo>
                  <a:lnTo>
                    <a:pt x="100072" y="1455185"/>
                  </a:lnTo>
                  <a:lnTo>
                    <a:pt x="98771" y="1460751"/>
                  </a:lnTo>
                  <a:lnTo>
                    <a:pt x="98892" y="1464775"/>
                  </a:lnTo>
                  <a:lnTo>
                    <a:pt x="117829" y="1513207"/>
                  </a:lnTo>
                  <a:lnTo>
                    <a:pt x="118525" y="1514962"/>
                  </a:lnTo>
                  <a:lnTo>
                    <a:pt x="121338" y="1524763"/>
                  </a:lnTo>
                  <a:lnTo>
                    <a:pt x="121429" y="1527607"/>
                  </a:lnTo>
                  <a:lnTo>
                    <a:pt x="121671" y="1535109"/>
                  </a:lnTo>
                  <a:lnTo>
                    <a:pt x="113836" y="1585448"/>
                  </a:lnTo>
                  <a:lnTo>
                    <a:pt x="106001" y="1635362"/>
                  </a:lnTo>
                  <a:lnTo>
                    <a:pt x="107393" y="1637964"/>
                  </a:lnTo>
                  <a:lnTo>
                    <a:pt x="119039" y="1649732"/>
                  </a:lnTo>
                  <a:lnTo>
                    <a:pt x="123728" y="1653271"/>
                  </a:lnTo>
                  <a:lnTo>
                    <a:pt x="131654" y="1663133"/>
                  </a:lnTo>
                  <a:lnTo>
                    <a:pt x="134498" y="1664827"/>
                  </a:lnTo>
                  <a:lnTo>
                    <a:pt x="138279" y="1665674"/>
                  </a:lnTo>
                  <a:lnTo>
                    <a:pt x="145177" y="1666098"/>
                  </a:lnTo>
                  <a:lnTo>
                    <a:pt x="148444" y="1667217"/>
                  </a:lnTo>
                  <a:lnTo>
                    <a:pt x="151499" y="1669940"/>
                  </a:lnTo>
                  <a:lnTo>
                    <a:pt x="177999" y="1704003"/>
                  </a:lnTo>
                  <a:lnTo>
                    <a:pt x="178998" y="1705848"/>
                  </a:lnTo>
                  <a:lnTo>
                    <a:pt x="179119" y="1708147"/>
                  </a:lnTo>
                  <a:lnTo>
                    <a:pt x="175761" y="1726298"/>
                  </a:lnTo>
                  <a:lnTo>
                    <a:pt x="174248" y="1731743"/>
                  </a:lnTo>
                  <a:lnTo>
                    <a:pt x="172222" y="1735979"/>
                  </a:lnTo>
                  <a:lnTo>
                    <a:pt x="164870" y="1746234"/>
                  </a:lnTo>
                  <a:lnTo>
                    <a:pt x="164114" y="1747958"/>
                  </a:lnTo>
                  <a:lnTo>
                    <a:pt x="163479" y="1750529"/>
                  </a:lnTo>
                  <a:lnTo>
                    <a:pt x="161512" y="1763538"/>
                  </a:lnTo>
                  <a:lnTo>
                    <a:pt x="161240" y="1764324"/>
                  </a:lnTo>
                  <a:lnTo>
                    <a:pt x="160545" y="1766381"/>
                  </a:lnTo>
                  <a:lnTo>
                    <a:pt x="158396" y="1767501"/>
                  </a:lnTo>
                  <a:lnTo>
                    <a:pt x="147052" y="1765534"/>
                  </a:lnTo>
                  <a:lnTo>
                    <a:pt x="141214" y="1765807"/>
                  </a:lnTo>
                  <a:lnTo>
                    <a:pt x="118011" y="1772280"/>
                  </a:lnTo>
                  <a:lnTo>
                    <a:pt x="115228" y="1774852"/>
                  </a:lnTo>
                  <a:lnTo>
                    <a:pt x="115500" y="1778754"/>
                  </a:lnTo>
                  <a:lnTo>
                    <a:pt x="119402" y="1787497"/>
                  </a:lnTo>
                  <a:lnTo>
                    <a:pt x="121248" y="1793880"/>
                  </a:lnTo>
                  <a:lnTo>
                    <a:pt x="123426" y="1807735"/>
                  </a:lnTo>
                  <a:lnTo>
                    <a:pt x="124939" y="1814481"/>
                  </a:lnTo>
                  <a:lnTo>
                    <a:pt x="127631" y="1821923"/>
                  </a:lnTo>
                  <a:lnTo>
                    <a:pt x="138249" y="1840195"/>
                  </a:lnTo>
                  <a:lnTo>
                    <a:pt x="149503" y="1866997"/>
                  </a:lnTo>
                  <a:lnTo>
                    <a:pt x="150955" y="1872352"/>
                  </a:lnTo>
                  <a:lnTo>
                    <a:pt x="151348" y="1878191"/>
                  </a:lnTo>
                  <a:lnTo>
                    <a:pt x="150592" y="1884967"/>
                  </a:lnTo>
                  <a:lnTo>
                    <a:pt x="149412" y="1889474"/>
                  </a:lnTo>
                  <a:lnTo>
                    <a:pt x="147839" y="1893044"/>
                  </a:lnTo>
                  <a:lnTo>
                    <a:pt x="145903" y="1896039"/>
                  </a:lnTo>
                  <a:lnTo>
                    <a:pt x="140458" y="1902452"/>
                  </a:lnTo>
                  <a:lnTo>
                    <a:pt x="139157" y="1904933"/>
                  </a:lnTo>
                  <a:lnTo>
                    <a:pt x="138703" y="1907988"/>
                  </a:lnTo>
                  <a:lnTo>
                    <a:pt x="139550" y="1914311"/>
                  </a:lnTo>
                  <a:lnTo>
                    <a:pt x="142151" y="1926321"/>
                  </a:lnTo>
                  <a:lnTo>
                    <a:pt x="142454" y="1933006"/>
                  </a:lnTo>
                  <a:lnTo>
                    <a:pt x="141093" y="1941113"/>
                  </a:lnTo>
                  <a:lnTo>
                    <a:pt x="138309" y="1947920"/>
                  </a:lnTo>
                  <a:lnTo>
                    <a:pt x="134649" y="1953517"/>
                  </a:lnTo>
                  <a:lnTo>
                    <a:pt x="118949" y="1970609"/>
                  </a:lnTo>
                  <a:lnTo>
                    <a:pt x="104186" y="1981741"/>
                  </a:lnTo>
                  <a:lnTo>
                    <a:pt x="100072" y="1982558"/>
                  </a:lnTo>
                  <a:lnTo>
                    <a:pt x="83917" y="1981076"/>
                  </a:lnTo>
                  <a:lnTo>
                    <a:pt x="78684" y="1982800"/>
                  </a:lnTo>
                  <a:lnTo>
                    <a:pt x="77111" y="1984252"/>
                  </a:lnTo>
                  <a:lnTo>
                    <a:pt x="74600" y="1986551"/>
                  </a:lnTo>
                  <a:lnTo>
                    <a:pt x="73935" y="1992813"/>
                  </a:lnTo>
                  <a:lnTo>
                    <a:pt x="75114" y="1995415"/>
                  </a:lnTo>
                  <a:lnTo>
                    <a:pt x="78019" y="1998894"/>
                  </a:lnTo>
                  <a:lnTo>
                    <a:pt x="78623" y="1999620"/>
                  </a:lnTo>
                  <a:lnTo>
                    <a:pt x="79864" y="2002615"/>
                  </a:lnTo>
                  <a:lnTo>
                    <a:pt x="80015" y="2005398"/>
                  </a:lnTo>
                  <a:lnTo>
                    <a:pt x="79380" y="2012356"/>
                  </a:lnTo>
                  <a:lnTo>
                    <a:pt x="79380" y="2015653"/>
                  </a:lnTo>
                  <a:lnTo>
                    <a:pt x="78835" y="2017166"/>
                  </a:lnTo>
                  <a:lnTo>
                    <a:pt x="74903" y="2023095"/>
                  </a:lnTo>
                  <a:lnTo>
                    <a:pt x="72482" y="2025576"/>
                  </a:lnTo>
                  <a:lnTo>
                    <a:pt x="58930" y="2032412"/>
                  </a:lnTo>
                  <a:lnTo>
                    <a:pt x="57024" y="2035196"/>
                  </a:lnTo>
                  <a:lnTo>
                    <a:pt x="56631" y="2040036"/>
                  </a:lnTo>
                  <a:lnTo>
                    <a:pt x="57296" y="2043968"/>
                  </a:lnTo>
                  <a:lnTo>
                    <a:pt x="68005" y="2080058"/>
                  </a:lnTo>
                  <a:lnTo>
                    <a:pt x="70304" y="2092219"/>
                  </a:lnTo>
                  <a:lnTo>
                    <a:pt x="70788" y="2096334"/>
                  </a:lnTo>
                  <a:lnTo>
                    <a:pt x="70788" y="2100176"/>
                  </a:lnTo>
                  <a:lnTo>
                    <a:pt x="70728" y="2100357"/>
                  </a:lnTo>
                  <a:lnTo>
                    <a:pt x="69850" y="2102929"/>
                  </a:lnTo>
                  <a:lnTo>
                    <a:pt x="68066" y="2105863"/>
                  </a:lnTo>
                  <a:lnTo>
                    <a:pt x="67158" y="2108676"/>
                  </a:lnTo>
                  <a:lnTo>
                    <a:pt x="64436" y="2119930"/>
                  </a:lnTo>
                  <a:lnTo>
                    <a:pt x="64133" y="2128551"/>
                  </a:lnTo>
                  <a:lnTo>
                    <a:pt x="63014" y="2133331"/>
                  </a:lnTo>
                  <a:lnTo>
                    <a:pt x="60473" y="2141227"/>
                  </a:lnTo>
                  <a:lnTo>
                    <a:pt x="59595" y="2145250"/>
                  </a:lnTo>
                  <a:lnTo>
                    <a:pt x="58930" y="2149848"/>
                  </a:lnTo>
                  <a:lnTo>
                    <a:pt x="55965" y="2159438"/>
                  </a:lnTo>
                  <a:lnTo>
                    <a:pt x="50671" y="2164248"/>
                  </a:lnTo>
                  <a:lnTo>
                    <a:pt x="44167" y="2165761"/>
                  </a:lnTo>
                  <a:lnTo>
                    <a:pt x="37663" y="2165367"/>
                  </a:lnTo>
                  <a:lnTo>
                    <a:pt x="34578" y="2163734"/>
                  </a:lnTo>
                  <a:lnTo>
                    <a:pt x="34698" y="2152178"/>
                  </a:lnTo>
                  <a:lnTo>
                    <a:pt x="33186" y="2146672"/>
                  </a:lnTo>
                  <a:lnTo>
                    <a:pt x="33125" y="2146551"/>
                  </a:lnTo>
                  <a:lnTo>
                    <a:pt x="33125" y="2146551"/>
                  </a:lnTo>
                  <a:lnTo>
                    <a:pt x="33125" y="2146612"/>
                  </a:lnTo>
                  <a:lnTo>
                    <a:pt x="32339" y="2146612"/>
                  </a:lnTo>
                  <a:lnTo>
                    <a:pt x="30766" y="2144857"/>
                  </a:lnTo>
                  <a:lnTo>
                    <a:pt x="28739" y="2141560"/>
                  </a:lnTo>
                  <a:lnTo>
                    <a:pt x="26984" y="2137566"/>
                  </a:lnTo>
                  <a:lnTo>
                    <a:pt x="26258" y="2133725"/>
                  </a:lnTo>
                  <a:lnTo>
                    <a:pt x="24836" y="2128582"/>
                  </a:lnTo>
                  <a:lnTo>
                    <a:pt x="21448" y="2127160"/>
                  </a:lnTo>
                  <a:lnTo>
                    <a:pt x="11284" y="2128854"/>
                  </a:lnTo>
                  <a:lnTo>
                    <a:pt x="8622" y="2130669"/>
                  </a:lnTo>
                  <a:lnTo>
                    <a:pt x="2148" y="2139472"/>
                  </a:lnTo>
                  <a:lnTo>
                    <a:pt x="1150" y="2141348"/>
                  </a:lnTo>
                  <a:lnTo>
                    <a:pt x="696" y="2143617"/>
                  </a:lnTo>
                  <a:lnTo>
                    <a:pt x="1482" y="2146158"/>
                  </a:lnTo>
                  <a:lnTo>
                    <a:pt x="3388" y="2146975"/>
                  </a:lnTo>
                  <a:lnTo>
                    <a:pt x="7623" y="2146642"/>
                  </a:lnTo>
                  <a:lnTo>
                    <a:pt x="3116" y="2148971"/>
                  </a:lnTo>
                  <a:lnTo>
                    <a:pt x="938" y="2150696"/>
                  </a:lnTo>
                  <a:lnTo>
                    <a:pt x="0" y="2153418"/>
                  </a:lnTo>
                  <a:lnTo>
                    <a:pt x="1180" y="2155687"/>
                  </a:lnTo>
                  <a:lnTo>
                    <a:pt x="3872" y="2157411"/>
                  </a:lnTo>
                  <a:lnTo>
                    <a:pt x="8985" y="2158954"/>
                  </a:lnTo>
                  <a:lnTo>
                    <a:pt x="8712" y="2160255"/>
                  </a:lnTo>
                  <a:lnTo>
                    <a:pt x="8531" y="2160800"/>
                  </a:lnTo>
                  <a:lnTo>
                    <a:pt x="8228" y="2161495"/>
                  </a:lnTo>
                  <a:lnTo>
                    <a:pt x="8773" y="2163250"/>
                  </a:lnTo>
                  <a:lnTo>
                    <a:pt x="8985" y="2165126"/>
                  </a:lnTo>
                  <a:lnTo>
                    <a:pt x="8985" y="2169361"/>
                  </a:lnTo>
                  <a:lnTo>
                    <a:pt x="9529" y="2170994"/>
                  </a:lnTo>
                  <a:lnTo>
                    <a:pt x="10709" y="2171660"/>
                  </a:lnTo>
                  <a:lnTo>
                    <a:pt x="11889" y="2172083"/>
                  </a:lnTo>
                  <a:lnTo>
                    <a:pt x="12433" y="2173021"/>
                  </a:lnTo>
                  <a:lnTo>
                    <a:pt x="12615" y="2179374"/>
                  </a:lnTo>
                  <a:lnTo>
                    <a:pt x="12433" y="2180886"/>
                  </a:lnTo>
                  <a:lnTo>
                    <a:pt x="11526" y="2183034"/>
                  </a:lnTo>
                  <a:lnTo>
                    <a:pt x="10527" y="2184486"/>
                  </a:lnTo>
                  <a:lnTo>
                    <a:pt x="9953" y="2185999"/>
                  </a:lnTo>
                  <a:lnTo>
                    <a:pt x="10316" y="2188419"/>
                  </a:lnTo>
                  <a:lnTo>
                    <a:pt x="8228" y="2189206"/>
                  </a:lnTo>
                  <a:lnTo>
                    <a:pt x="7079" y="2192140"/>
                  </a:lnTo>
                  <a:lnTo>
                    <a:pt x="6958" y="2195347"/>
                  </a:lnTo>
                  <a:lnTo>
                    <a:pt x="7896" y="2196829"/>
                  </a:lnTo>
                  <a:lnTo>
                    <a:pt x="10467" y="2196829"/>
                  </a:lnTo>
                  <a:lnTo>
                    <a:pt x="11042" y="2197222"/>
                  </a:lnTo>
                  <a:lnTo>
                    <a:pt x="10649" y="2198826"/>
                  </a:lnTo>
                  <a:lnTo>
                    <a:pt x="10286" y="2202335"/>
                  </a:lnTo>
                  <a:lnTo>
                    <a:pt x="14248" y="2207719"/>
                  </a:lnTo>
                  <a:lnTo>
                    <a:pt x="15156" y="2210291"/>
                  </a:lnTo>
                  <a:lnTo>
                    <a:pt x="15156" y="2211834"/>
                  </a:lnTo>
                  <a:lnTo>
                    <a:pt x="14521" y="2213558"/>
                  </a:lnTo>
                  <a:lnTo>
                    <a:pt x="14460" y="2215131"/>
                  </a:lnTo>
                  <a:lnTo>
                    <a:pt x="14944" y="2216462"/>
                  </a:lnTo>
                  <a:lnTo>
                    <a:pt x="15731" y="2216976"/>
                  </a:lnTo>
                  <a:lnTo>
                    <a:pt x="16215" y="2217793"/>
                  </a:lnTo>
                  <a:lnTo>
                    <a:pt x="15821" y="2219971"/>
                  </a:lnTo>
                  <a:lnTo>
                    <a:pt x="17879" y="2219971"/>
                  </a:lnTo>
                  <a:lnTo>
                    <a:pt x="17304" y="2221665"/>
                  </a:lnTo>
                  <a:lnTo>
                    <a:pt x="16578" y="2222391"/>
                  </a:lnTo>
                  <a:lnTo>
                    <a:pt x="15731" y="2222997"/>
                  </a:lnTo>
                  <a:lnTo>
                    <a:pt x="14793" y="2224267"/>
                  </a:lnTo>
                  <a:lnTo>
                    <a:pt x="14521" y="2225598"/>
                  </a:lnTo>
                  <a:lnTo>
                    <a:pt x="14460" y="2230892"/>
                  </a:lnTo>
                  <a:lnTo>
                    <a:pt x="14248" y="2230892"/>
                  </a:lnTo>
                  <a:lnTo>
                    <a:pt x="13795" y="2231255"/>
                  </a:lnTo>
                  <a:lnTo>
                    <a:pt x="13311" y="2231921"/>
                  </a:lnTo>
                  <a:lnTo>
                    <a:pt x="13099" y="2232737"/>
                  </a:lnTo>
                  <a:lnTo>
                    <a:pt x="13311" y="2233736"/>
                  </a:lnTo>
                  <a:lnTo>
                    <a:pt x="14248" y="2235309"/>
                  </a:lnTo>
                  <a:lnTo>
                    <a:pt x="14460" y="2236337"/>
                  </a:lnTo>
                  <a:lnTo>
                    <a:pt x="15005" y="2237245"/>
                  </a:lnTo>
                  <a:lnTo>
                    <a:pt x="18635" y="2239393"/>
                  </a:lnTo>
                  <a:lnTo>
                    <a:pt x="17122" y="2241329"/>
                  </a:lnTo>
                  <a:lnTo>
                    <a:pt x="15368" y="2242539"/>
                  </a:lnTo>
                  <a:lnTo>
                    <a:pt x="14369" y="2244293"/>
                  </a:lnTo>
                  <a:lnTo>
                    <a:pt x="15126" y="2247863"/>
                  </a:lnTo>
                  <a:lnTo>
                    <a:pt x="11556" y="2247379"/>
                  </a:lnTo>
                  <a:lnTo>
                    <a:pt x="10104" y="2248438"/>
                  </a:lnTo>
                  <a:lnTo>
                    <a:pt x="9620" y="2251584"/>
                  </a:lnTo>
                  <a:lnTo>
                    <a:pt x="11375" y="2255365"/>
                  </a:lnTo>
                  <a:lnTo>
                    <a:pt x="11707" y="2256939"/>
                  </a:lnTo>
                  <a:lnTo>
                    <a:pt x="11496" y="2258754"/>
                  </a:lnTo>
                  <a:lnTo>
                    <a:pt x="11193" y="2260115"/>
                  </a:lnTo>
                  <a:lnTo>
                    <a:pt x="11314" y="2261265"/>
                  </a:lnTo>
                  <a:lnTo>
                    <a:pt x="12403" y="2262414"/>
                  </a:lnTo>
                  <a:lnTo>
                    <a:pt x="14611" y="2257786"/>
                  </a:lnTo>
                  <a:lnTo>
                    <a:pt x="17183" y="2257725"/>
                  </a:lnTo>
                  <a:lnTo>
                    <a:pt x="19966" y="2258814"/>
                  </a:lnTo>
                  <a:lnTo>
                    <a:pt x="22719" y="2257483"/>
                  </a:lnTo>
                  <a:lnTo>
                    <a:pt x="23082" y="2256727"/>
                  </a:lnTo>
                  <a:lnTo>
                    <a:pt x="23808" y="2254609"/>
                  </a:lnTo>
                  <a:lnTo>
                    <a:pt x="24141" y="2253853"/>
                  </a:lnTo>
                  <a:lnTo>
                    <a:pt x="24897" y="2253036"/>
                  </a:lnTo>
                  <a:lnTo>
                    <a:pt x="26561" y="2251766"/>
                  </a:lnTo>
                  <a:lnTo>
                    <a:pt x="30856" y="2246109"/>
                  </a:lnTo>
                  <a:lnTo>
                    <a:pt x="31764" y="2244203"/>
                  </a:lnTo>
                  <a:lnTo>
                    <a:pt x="30917" y="2246623"/>
                  </a:lnTo>
                  <a:lnTo>
                    <a:pt x="30070" y="2248498"/>
                  </a:lnTo>
                  <a:lnTo>
                    <a:pt x="27922" y="2252098"/>
                  </a:lnTo>
                  <a:lnTo>
                    <a:pt x="24443" y="2259328"/>
                  </a:lnTo>
                  <a:lnTo>
                    <a:pt x="23899" y="2261295"/>
                  </a:lnTo>
                  <a:lnTo>
                    <a:pt x="24836" y="2261658"/>
                  </a:lnTo>
                  <a:lnTo>
                    <a:pt x="26379" y="2261022"/>
                  </a:lnTo>
                  <a:lnTo>
                    <a:pt x="27559" y="2259873"/>
                  </a:lnTo>
                  <a:lnTo>
                    <a:pt x="28436" y="2257665"/>
                  </a:lnTo>
                  <a:lnTo>
                    <a:pt x="29102" y="2255456"/>
                  </a:lnTo>
                  <a:lnTo>
                    <a:pt x="30040" y="2253974"/>
                  </a:lnTo>
                  <a:lnTo>
                    <a:pt x="31764" y="2253823"/>
                  </a:lnTo>
                  <a:lnTo>
                    <a:pt x="31643" y="2258118"/>
                  </a:lnTo>
                  <a:lnTo>
                    <a:pt x="33489" y="2260720"/>
                  </a:lnTo>
                  <a:lnTo>
                    <a:pt x="34245" y="2261991"/>
                  </a:lnTo>
                  <a:lnTo>
                    <a:pt x="30675" y="2262354"/>
                  </a:lnTo>
                  <a:lnTo>
                    <a:pt x="29465" y="2262838"/>
                  </a:lnTo>
                  <a:lnTo>
                    <a:pt x="28315" y="2264199"/>
                  </a:lnTo>
                  <a:lnTo>
                    <a:pt x="27741" y="2266135"/>
                  </a:lnTo>
                  <a:lnTo>
                    <a:pt x="28315" y="2268343"/>
                  </a:lnTo>
                  <a:lnTo>
                    <a:pt x="29314" y="2268797"/>
                  </a:lnTo>
                  <a:lnTo>
                    <a:pt x="32218" y="2267224"/>
                  </a:lnTo>
                  <a:lnTo>
                    <a:pt x="33761" y="2267012"/>
                  </a:lnTo>
                  <a:lnTo>
                    <a:pt x="33761" y="2268313"/>
                  </a:lnTo>
                  <a:lnTo>
                    <a:pt x="32309" y="2269463"/>
                  </a:lnTo>
                  <a:lnTo>
                    <a:pt x="31008" y="2270975"/>
                  </a:lnTo>
                  <a:lnTo>
                    <a:pt x="29888" y="2272942"/>
                  </a:lnTo>
                  <a:lnTo>
                    <a:pt x="28981" y="2275513"/>
                  </a:lnTo>
                  <a:lnTo>
                    <a:pt x="36030" y="2270340"/>
                  </a:lnTo>
                  <a:lnTo>
                    <a:pt x="38934" y="2267103"/>
                  </a:lnTo>
                  <a:lnTo>
                    <a:pt x="41687" y="2262928"/>
                  </a:lnTo>
                  <a:lnTo>
                    <a:pt x="43623" y="2257876"/>
                  </a:lnTo>
                  <a:lnTo>
                    <a:pt x="44621" y="2251796"/>
                  </a:lnTo>
                  <a:lnTo>
                    <a:pt x="44803" y="2245685"/>
                  </a:lnTo>
                  <a:lnTo>
                    <a:pt x="44167" y="2240512"/>
                  </a:lnTo>
                  <a:lnTo>
                    <a:pt x="44772" y="2240512"/>
                  </a:lnTo>
                  <a:lnTo>
                    <a:pt x="45377" y="2243144"/>
                  </a:lnTo>
                  <a:lnTo>
                    <a:pt x="47313" y="2249194"/>
                  </a:lnTo>
                  <a:lnTo>
                    <a:pt x="48342" y="2251493"/>
                  </a:lnTo>
                  <a:lnTo>
                    <a:pt x="50006" y="2248952"/>
                  </a:lnTo>
                  <a:lnTo>
                    <a:pt x="52396" y="2246169"/>
                  </a:lnTo>
                  <a:lnTo>
                    <a:pt x="54785" y="2245110"/>
                  </a:lnTo>
                  <a:lnTo>
                    <a:pt x="56540" y="2247803"/>
                  </a:lnTo>
                  <a:lnTo>
                    <a:pt x="53212" y="2249315"/>
                  </a:lnTo>
                  <a:lnTo>
                    <a:pt x="51669" y="2250646"/>
                  </a:lnTo>
                  <a:lnTo>
                    <a:pt x="50278" y="2252582"/>
                  </a:lnTo>
                  <a:lnTo>
                    <a:pt x="51700" y="2253792"/>
                  </a:lnTo>
                  <a:lnTo>
                    <a:pt x="46194" y="2259631"/>
                  </a:lnTo>
                  <a:lnTo>
                    <a:pt x="43623" y="2263412"/>
                  </a:lnTo>
                  <a:lnTo>
                    <a:pt x="41324" y="2268343"/>
                  </a:lnTo>
                  <a:lnTo>
                    <a:pt x="39781" y="2272790"/>
                  </a:lnTo>
                  <a:lnTo>
                    <a:pt x="39085" y="2276632"/>
                  </a:lnTo>
                  <a:lnTo>
                    <a:pt x="40023" y="2279325"/>
                  </a:lnTo>
                  <a:lnTo>
                    <a:pt x="43411" y="2280353"/>
                  </a:lnTo>
                  <a:lnTo>
                    <a:pt x="42473" y="2277631"/>
                  </a:lnTo>
                  <a:lnTo>
                    <a:pt x="42019" y="2276753"/>
                  </a:lnTo>
                  <a:lnTo>
                    <a:pt x="43199" y="2277510"/>
                  </a:lnTo>
                  <a:lnTo>
                    <a:pt x="44621" y="2278054"/>
                  </a:lnTo>
                  <a:lnTo>
                    <a:pt x="46133" y="2278236"/>
                  </a:lnTo>
                  <a:lnTo>
                    <a:pt x="47555" y="2277933"/>
                  </a:lnTo>
                  <a:lnTo>
                    <a:pt x="48554" y="2276995"/>
                  </a:lnTo>
                  <a:lnTo>
                    <a:pt x="50732" y="2273819"/>
                  </a:lnTo>
                  <a:lnTo>
                    <a:pt x="51367" y="2273123"/>
                  </a:lnTo>
                  <a:lnTo>
                    <a:pt x="52335" y="2272548"/>
                  </a:lnTo>
                  <a:lnTo>
                    <a:pt x="57387" y="2267980"/>
                  </a:lnTo>
                  <a:lnTo>
                    <a:pt x="60654" y="2267980"/>
                  </a:lnTo>
                  <a:lnTo>
                    <a:pt x="62106" y="2267012"/>
                  </a:lnTo>
                  <a:lnTo>
                    <a:pt x="62197" y="2264532"/>
                  </a:lnTo>
                  <a:lnTo>
                    <a:pt x="64738" y="2264048"/>
                  </a:lnTo>
                  <a:lnTo>
                    <a:pt x="70274" y="2264622"/>
                  </a:lnTo>
                  <a:lnTo>
                    <a:pt x="74570" y="2261779"/>
                  </a:lnTo>
                  <a:lnTo>
                    <a:pt x="76657" y="2261295"/>
                  </a:lnTo>
                  <a:lnTo>
                    <a:pt x="77897" y="2263503"/>
                  </a:lnTo>
                  <a:lnTo>
                    <a:pt x="72180" y="2266377"/>
                  </a:lnTo>
                  <a:lnTo>
                    <a:pt x="70456" y="2268918"/>
                  </a:lnTo>
                  <a:lnTo>
                    <a:pt x="70939" y="2273123"/>
                  </a:lnTo>
                  <a:lnTo>
                    <a:pt x="71908" y="2274757"/>
                  </a:lnTo>
                  <a:lnTo>
                    <a:pt x="73057" y="2276027"/>
                  </a:lnTo>
                  <a:lnTo>
                    <a:pt x="74025" y="2277510"/>
                  </a:lnTo>
                  <a:lnTo>
                    <a:pt x="74751" y="2282198"/>
                  </a:lnTo>
                  <a:lnTo>
                    <a:pt x="75659" y="2283651"/>
                  </a:lnTo>
                  <a:lnTo>
                    <a:pt x="76990" y="2284195"/>
                  </a:lnTo>
                  <a:lnTo>
                    <a:pt x="78593" y="2283953"/>
                  </a:lnTo>
                  <a:lnTo>
                    <a:pt x="77988" y="2285980"/>
                  </a:lnTo>
                  <a:lnTo>
                    <a:pt x="77171" y="2287039"/>
                  </a:lnTo>
                  <a:lnTo>
                    <a:pt x="76143" y="2287462"/>
                  </a:lnTo>
                  <a:lnTo>
                    <a:pt x="74781" y="2287523"/>
                  </a:lnTo>
                  <a:lnTo>
                    <a:pt x="73692" y="2287946"/>
                  </a:lnTo>
                  <a:lnTo>
                    <a:pt x="73299" y="2289096"/>
                  </a:lnTo>
                  <a:lnTo>
                    <a:pt x="72392" y="2300652"/>
                  </a:lnTo>
                  <a:lnTo>
                    <a:pt x="71333" y="2303798"/>
                  </a:lnTo>
                  <a:lnTo>
                    <a:pt x="68852" y="2304343"/>
                  </a:lnTo>
                  <a:lnTo>
                    <a:pt x="69124" y="2305522"/>
                  </a:lnTo>
                  <a:lnTo>
                    <a:pt x="69276" y="2306067"/>
                  </a:lnTo>
                  <a:lnTo>
                    <a:pt x="69609" y="2306732"/>
                  </a:lnTo>
                  <a:lnTo>
                    <a:pt x="68157" y="2308094"/>
                  </a:lnTo>
                  <a:lnTo>
                    <a:pt x="67824" y="2309758"/>
                  </a:lnTo>
                  <a:lnTo>
                    <a:pt x="68308" y="2311542"/>
                  </a:lnTo>
                  <a:lnTo>
                    <a:pt x="69246" y="2313297"/>
                  </a:lnTo>
                  <a:lnTo>
                    <a:pt x="69820" y="2315445"/>
                  </a:lnTo>
                  <a:lnTo>
                    <a:pt x="69548" y="2317925"/>
                  </a:lnTo>
                  <a:lnTo>
                    <a:pt x="68247" y="2322221"/>
                  </a:lnTo>
                  <a:lnTo>
                    <a:pt x="63861" y="2329542"/>
                  </a:lnTo>
                  <a:lnTo>
                    <a:pt x="63165" y="2332507"/>
                  </a:lnTo>
                  <a:lnTo>
                    <a:pt x="66130" y="2334231"/>
                  </a:lnTo>
                  <a:lnTo>
                    <a:pt x="65464" y="2335925"/>
                  </a:lnTo>
                  <a:lnTo>
                    <a:pt x="65041" y="2336258"/>
                  </a:lnTo>
                  <a:lnTo>
                    <a:pt x="64073" y="2336621"/>
                  </a:lnTo>
                  <a:lnTo>
                    <a:pt x="64073" y="2337801"/>
                  </a:lnTo>
                  <a:lnTo>
                    <a:pt x="65464" y="2337801"/>
                  </a:lnTo>
                  <a:lnTo>
                    <a:pt x="65464" y="2338860"/>
                  </a:lnTo>
                  <a:lnTo>
                    <a:pt x="60231" y="2340705"/>
                  </a:lnTo>
                  <a:lnTo>
                    <a:pt x="58839" y="2342490"/>
                  </a:lnTo>
                  <a:lnTo>
                    <a:pt x="59868" y="2346090"/>
                  </a:lnTo>
                  <a:lnTo>
                    <a:pt x="58536" y="2346422"/>
                  </a:lnTo>
                  <a:lnTo>
                    <a:pt x="57296" y="2347269"/>
                  </a:lnTo>
                  <a:lnTo>
                    <a:pt x="55088" y="2349750"/>
                  </a:lnTo>
                  <a:lnTo>
                    <a:pt x="58143" y="2350053"/>
                  </a:lnTo>
                  <a:lnTo>
                    <a:pt x="60261" y="2352563"/>
                  </a:lnTo>
                  <a:lnTo>
                    <a:pt x="62227" y="2356042"/>
                  </a:lnTo>
                  <a:lnTo>
                    <a:pt x="64708" y="2359188"/>
                  </a:lnTo>
                  <a:lnTo>
                    <a:pt x="66220" y="2358493"/>
                  </a:lnTo>
                  <a:lnTo>
                    <a:pt x="68489" y="2358251"/>
                  </a:lnTo>
                  <a:lnTo>
                    <a:pt x="70365" y="2358644"/>
                  </a:lnTo>
                  <a:lnTo>
                    <a:pt x="70607" y="2359793"/>
                  </a:lnTo>
                  <a:lnTo>
                    <a:pt x="69730" y="2361034"/>
                  </a:lnTo>
                  <a:lnTo>
                    <a:pt x="60140" y="2370079"/>
                  </a:lnTo>
                  <a:lnTo>
                    <a:pt x="59898" y="2372196"/>
                  </a:lnTo>
                  <a:lnTo>
                    <a:pt x="60049" y="2374133"/>
                  </a:lnTo>
                  <a:lnTo>
                    <a:pt x="61471" y="2374980"/>
                  </a:lnTo>
                  <a:lnTo>
                    <a:pt x="63316" y="2374980"/>
                  </a:lnTo>
                  <a:lnTo>
                    <a:pt x="64708" y="2374556"/>
                  </a:lnTo>
                  <a:lnTo>
                    <a:pt x="64284" y="2371501"/>
                  </a:lnTo>
                  <a:lnTo>
                    <a:pt x="66553" y="2371743"/>
                  </a:lnTo>
                  <a:lnTo>
                    <a:pt x="71666" y="2374556"/>
                  </a:lnTo>
                  <a:lnTo>
                    <a:pt x="74146" y="2375040"/>
                  </a:lnTo>
                  <a:lnTo>
                    <a:pt x="77020" y="2375040"/>
                  </a:lnTo>
                  <a:lnTo>
                    <a:pt x="79803" y="2374526"/>
                  </a:lnTo>
                  <a:lnTo>
                    <a:pt x="81981" y="2373376"/>
                  </a:lnTo>
                  <a:lnTo>
                    <a:pt x="80560" y="2376129"/>
                  </a:lnTo>
                  <a:lnTo>
                    <a:pt x="74025" y="2376795"/>
                  </a:lnTo>
                  <a:lnTo>
                    <a:pt x="73057" y="2380425"/>
                  </a:lnTo>
                  <a:lnTo>
                    <a:pt x="73632" y="2382149"/>
                  </a:lnTo>
                  <a:lnTo>
                    <a:pt x="74540" y="2383662"/>
                  </a:lnTo>
                  <a:lnTo>
                    <a:pt x="75387" y="2385507"/>
                  </a:lnTo>
                  <a:lnTo>
                    <a:pt x="75750" y="2388169"/>
                  </a:lnTo>
                  <a:lnTo>
                    <a:pt x="76324" y="2389863"/>
                  </a:lnTo>
                  <a:lnTo>
                    <a:pt x="77565" y="2390075"/>
                  </a:lnTo>
                  <a:lnTo>
                    <a:pt x="78775" y="2388895"/>
                  </a:lnTo>
                  <a:lnTo>
                    <a:pt x="79319" y="2386445"/>
                  </a:lnTo>
                  <a:lnTo>
                    <a:pt x="79803" y="2386566"/>
                  </a:lnTo>
                  <a:lnTo>
                    <a:pt x="80892" y="2387171"/>
                  </a:lnTo>
                  <a:lnTo>
                    <a:pt x="81286" y="2387504"/>
                  </a:lnTo>
                  <a:lnTo>
                    <a:pt x="80741" y="2391920"/>
                  </a:lnTo>
                  <a:lnTo>
                    <a:pt x="81376" y="2401540"/>
                  </a:lnTo>
                  <a:lnTo>
                    <a:pt x="79924" y="2404203"/>
                  </a:lnTo>
                  <a:lnTo>
                    <a:pt x="80620" y="2404656"/>
                  </a:lnTo>
                  <a:lnTo>
                    <a:pt x="82738" y="2406441"/>
                  </a:lnTo>
                  <a:lnTo>
                    <a:pt x="81286" y="2407530"/>
                  </a:lnTo>
                  <a:lnTo>
                    <a:pt x="80620" y="2407712"/>
                  </a:lnTo>
                  <a:lnTo>
                    <a:pt x="82375" y="2408680"/>
                  </a:lnTo>
                  <a:lnTo>
                    <a:pt x="84099" y="2410071"/>
                  </a:lnTo>
                  <a:lnTo>
                    <a:pt x="82587" y="2411100"/>
                  </a:lnTo>
                  <a:lnTo>
                    <a:pt x="81225" y="2412401"/>
                  </a:lnTo>
                  <a:lnTo>
                    <a:pt x="80287" y="2414276"/>
                  </a:lnTo>
                  <a:lnTo>
                    <a:pt x="79894" y="2417090"/>
                  </a:lnTo>
                  <a:lnTo>
                    <a:pt x="80257" y="2419933"/>
                  </a:lnTo>
                  <a:lnTo>
                    <a:pt x="80953" y="2422626"/>
                  </a:lnTo>
                  <a:lnTo>
                    <a:pt x="81104" y="2424895"/>
                  </a:lnTo>
                  <a:lnTo>
                    <a:pt x="79924" y="2426437"/>
                  </a:lnTo>
                  <a:lnTo>
                    <a:pt x="80862" y="2427224"/>
                  </a:lnTo>
                  <a:lnTo>
                    <a:pt x="81861" y="2427617"/>
                  </a:lnTo>
                  <a:lnTo>
                    <a:pt x="82980" y="2427708"/>
                  </a:lnTo>
                  <a:lnTo>
                    <a:pt x="84099" y="2427587"/>
                  </a:lnTo>
                  <a:lnTo>
                    <a:pt x="82980" y="2432185"/>
                  </a:lnTo>
                  <a:lnTo>
                    <a:pt x="84613" y="2432185"/>
                  </a:lnTo>
                  <a:lnTo>
                    <a:pt x="86852" y="2431641"/>
                  </a:lnTo>
                  <a:lnTo>
                    <a:pt x="87548" y="2434635"/>
                  </a:lnTo>
                  <a:lnTo>
                    <a:pt x="88939" y="2431308"/>
                  </a:lnTo>
                  <a:lnTo>
                    <a:pt x="90331" y="2419631"/>
                  </a:lnTo>
                  <a:lnTo>
                    <a:pt x="91934" y="2417090"/>
                  </a:lnTo>
                  <a:lnTo>
                    <a:pt x="92690" y="2416636"/>
                  </a:lnTo>
                  <a:lnTo>
                    <a:pt x="93356" y="2415698"/>
                  </a:lnTo>
                  <a:lnTo>
                    <a:pt x="94052" y="2414851"/>
                  </a:lnTo>
                  <a:lnTo>
                    <a:pt x="95050" y="2414730"/>
                  </a:lnTo>
                  <a:lnTo>
                    <a:pt x="95625" y="2415396"/>
                  </a:lnTo>
                  <a:lnTo>
                    <a:pt x="98710" y="2421537"/>
                  </a:lnTo>
                  <a:lnTo>
                    <a:pt x="98922" y="2423533"/>
                  </a:lnTo>
                  <a:lnTo>
                    <a:pt x="97984" y="2425106"/>
                  </a:lnTo>
                  <a:lnTo>
                    <a:pt x="95716" y="2426468"/>
                  </a:lnTo>
                  <a:lnTo>
                    <a:pt x="100586" y="2426468"/>
                  </a:lnTo>
                  <a:lnTo>
                    <a:pt x="98680" y="2429311"/>
                  </a:lnTo>
                  <a:lnTo>
                    <a:pt x="96048" y="2431762"/>
                  </a:lnTo>
                  <a:lnTo>
                    <a:pt x="94627" y="2433879"/>
                  </a:lnTo>
                  <a:lnTo>
                    <a:pt x="96381" y="2435815"/>
                  </a:lnTo>
                  <a:lnTo>
                    <a:pt x="97046" y="2435815"/>
                  </a:lnTo>
                  <a:lnTo>
                    <a:pt x="98650" y="2434908"/>
                  </a:lnTo>
                  <a:lnTo>
                    <a:pt x="99497" y="2434666"/>
                  </a:lnTo>
                  <a:lnTo>
                    <a:pt x="100193" y="2435029"/>
                  </a:lnTo>
                  <a:lnTo>
                    <a:pt x="100616" y="2435785"/>
                  </a:lnTo>
                  <a:lnTo>
                    <a:pt x="100919" y="2436602"/>
                  </a:lnTo>
                  <a:lnTo>
                    <a:pt x="101161" y="2437086"/>
                  </a:lnTo>
                  <a:lnTo>
                    <a:pt x="102250" y="2438024"/>
                  </a:lnTo>
                  <a:lnTo>
                    <a:pt x="103400" y="2439264"/>
                  </a:lnTo>
                  <a:lnTo>
                    <a:pt x="104126" y="2440867"/>
                  </a:lnTo>
                  <a:lnTo>
                    <a:pt x="104004" y="2442894"/>
                  </a:lnTo>
                  <a:lnTo>
                    <a:pt x="104458" y="2443923"/>
                  </a:lnTo>
                  <a:lnTo>
                    <a:pt x="104458" y="2445072"/>
                  </a:lnTo>
                  <a:lnTo>
                    <a:pt x="103974" y="2446010"/>
                  </a:lnTo>
                  <a:lnTo>
                    <a:pt x="101705" y="2446797"/>
                  </a:lnTo>
                  <a:lnTo>
                    <a:pt x="100949" y="2447765"/>
                  </a:lnTo>
                  <a:lnTo>
                    <a:pt x="100253" y="2448914"/>
                  </a:lnTo>
                  <a:lnTo>
                    <a:pt x="99195" y="2449912"/>
                  </a:lnTo>
                  <a:lnTo>
                    <a:pt x="99195" y="2451062"/>
                  </a:lnTo>
                  <a:lnTo>
                    <a:pt x="102431" y="2451123"/>
                  </a:lnTo>
                  <a:lnTo>
                    <a:pt x="103944" y="2451486"/>
                  </a:lnTo>
                  <a:lnTo>
                    <a:pt x="105336" y="2452333"/>
                  </a:lnTo>
                  <a:lnTo>
                    <a:pt x="103974" y="2453059"/>
                  </a:lnTo>
                  <a:lnTo>
                    <a:pt x="102583" y="2453391"/>
                  </a:lnTo>
                  <a:lnTo>
                    <a:pt x="99769" y="2453391"/>
                  </a:lnTo>
                  <a:lnTo>
                    <a:pt x="101675" y="2455237"/>
                  </a:lnTo>
                  <a:lnTo>
                    <a:pt x="103490" y="2456296"/>
                  </a:lnTo>
                  <a:lnTo>
                    <a:pt x="105426" y="2456780"/>
                  </a:lnTo>
                  <a:lnTo>
                    <a:pt x="107725" y="2456900"/>
                  </a:lnTo>
                  <a:lnTo>
                    <a:pt x="108784" y="2457506"/>
                  </a:lnTo>
                  <a:lnTo>
                    <a:pt x="107695" y="2458958"/>
                  </a:lnTo>
                  <a:lnTo>
                    <a:pt x="104519" y="2461650"/>
                  </a:lnTo>
                  <a:lnTo>
                    <a:pt x="105699" y="2462376"/>
                  </a:lnTo>
                  <a:lnTo>
                    <a:pt x="108754" y="2462164"/>
                  </a:lnTo>
                  <a:lnTo>
                    <a:pt x="109359" y="2462225"/>
                  </a:lnTo>
                  <a:lnTo>
                    <a:pt x="109359" y="2463768"/>
                  </a:lnTo>
                  <a:lnTo>
                    <a:pt x="109722" y="2467186"/>
                  </a:lnTo>
                  <a:lnTo>
                    <a:pt x="110055" y="2468517"/>
                  </a:lnTo>
                  <a:lnTo>
                    <a:pt x="112989" y="2473025"/>
                  </a:lnTo>
                  <a:lnTo>
                    <a:pt x="113413" y="2475324"/>
                  </a:lnTo>
                  <a:lnTo>
                    <a:pt x="111507" y="2477925"/>
                  </a:lnTo>
                  <a:lnTo>
                    <a:pt x="113473" y="2479861"/>
                  </a:lnTo>
                  <a:lnTo>
                    <a:pt x="114199" y="2480255"/>
                  </a:lnTo>
                  <a:lnTo>
                    <a:pt x="114411" y="2483370"/>
                  </a:lnTo>
                  <a:lnTo>
                    <a:pt x="116831" y="2486396"/>
                  </a:lnTo>
                  <a:lnTo>
                    <a:pt x="119886" y="2488725"/>
                  </a:lnTo>
                  <a:lnTo>
                    <a:pt x="123063" y="2490147"/>
                  </a:lnTo>
                  <a:lnTo>
                    <a:pt x="123850" y="2491297"/>
                  </a:lnTo>
                  <a:lnTo>
                    <a:pt x="124424" y="2492597"/>
                  </a:lnTo>
                  <a:lnTo>
                    <a:pt x="124636" y="2493565"/>
                  </a:lnTo>
                  <a:lnTo>
                    <a:pt x="124727" y="2494443"/>
                  </a:lnTo>
                  <a:lnTo>
                    <a:pt x="125180" y="2496076"/>
                  </a:lnTo>
                  <a:lnTo>
                    <a:pt x="125271" y="2497074"/>
                  </a:lnTo>
                  <a:lnTo>
                    <a:pt x="125059" y="2497589"/>
                  </a:lnTo>
                  <a:lnTo>
                    <a:pt x="124182" y="2499101"/>
                  </a:lnTo>
                  <a:lnTo>
                    <a:pt x="123970" y="2499948"/>
                  </a:lnTo>
                  <a:lnTo>
                    <a:pt x="124273" y="2503609"/>
                  </a:lnTo>
                  <a:lnTo>
                    <a:pt x="125392" y="2506573"/>
                  </a:lnTo>
                  <a:lnTo>
                    <a:pt x="127268" y="2508570"/>
                  </a:lnTo>
                  <a:lnTo>
                    <a:pt x="130989" y="2509659"/>
                  </a:lnTo>
                  <a:lnTo>
                    <a:pt x="133530" y="2511262"/>
                  </a:lnTo>
                  <a:lnTo>
                    <a:pt x="136767" y="2511958"/>
                  </a:lnTo>
                  <a:lnTo>
                    <a:pt x="137826" y="2512926"/>
                  </a:lnTo>
                  <a:lnTo>
                    <a:pt x="139761" y="2516224"/>
                  </a:lnTo>
                  <a:lnTo>
                    <a:pt x="140276" y="2516587"/>
                  </a:lnTo>
                  <a:lnTo>
                    <a:pt x="141910" y="2517041"/>
                  </a:lnTo>
                  <a:lnTo>
                    <a:pt x="142545" y="2517404"/>
                  </a:lnTo>
                  <a:lnTo>
                    <a:pt x="142726" y="2517827"/>
                  </a:lnTo>
                  <a:lnTo>
                    <a:pt x="142726" y="2518462"/>
                  </a:lnTo>
                  <a:lnTo>
                    <a:pt x="142817" y="2519128"/>
                  </a:lnTo>
                  <a:lnTo>
                    <a:pt x="143240" y="2519703"/>
                  </a:lnTo>
                  <a:lnTo>
                    <a:pt x="149745" y="2523998"/>
                  </a:lnTo>
                  <a:lnTo>
                    <a:pt x="149957" y="2525874"/>
                  </a:lnTo>
                  <a:lnTo>
                    <a:pt x="149382" y="2529565"/>
                  </a:lnTo>
                  <a:lnTo>
                    <a:pt x="151499" y="2535948"/>
                  </a:lnTo>
                  <a:lnTo>
                    <a:pt x="153072" y="2538640"/>
                  </a:lnTo>
                  <a:lnTo>
                    <a:pt x="154887" y="2540122"/>
                  </a:lnTo>
                  <a:lnTo>
                    <a:pt x="156400" y="2541937"/>
                  </a:lnTo>
                  <a:lnTo>
                    <a:pt x="157005" y="2545689"/>
                  </a:lnTo>
                  <a:lnTo>
                    <a:pt x="157943" y="2547776"/>
                  </a:lnTo>
                  <a:lnTo>
                    <a:pt x="163176" y="2553251"/>
                  </a:lnTo>
                  <a:lnTo>
                    <a:pt x="164689" y="2553736"/>
                  </a:lnTo>
                  <a:lnTo>
                    <a:pt x="166262" y="2553887"/>
                  </a:lnTo>
                  <a:lnTo>
                    <a:pt x="167835" y="2553736"/>
                  </a:lnTo>
                  <a:lnTo>
                    <a:pt x="171859" y="2552344"/>
                  </a:lnTo>
                  <a:lnTo>
                    <a:pt x="174278" y="2552102"/>
                  </a:lnTo>
                  <a:lnTo>
                    <a:pt x="177273" y="2552828"/>
                  </a:lnTo>
                  <a:lnTo>
                    <a:pt x="178725" y="2554915"/>
                  </a:lnTo>
                  <a:lnTo>
                    <a:pt x="180510" y="2562327"/>
                  </a:lnTo>
                  <a:lnTo>
                    <a:pt x="183596" y="2570041"/>
                  </a:lnTo>
                  <a:lnTo>
                    <a:pt x="184019" y="2573338"/>
                  </a:lnTo>
                  <a:lnTo>
                    <a:pt x="183475" y="2576817"/>
                  </a:lnTo>
                  <a:lnTo>
                    <a:pt x="182174" y="2580387"/>
                  </a:lnTo>
                  <a:lnTo>
                    <a:pt x="180571" y="2583442"/>
                  </a:lnTo>
                  <a:lnTo>
                    <a:pt x="179119" y="2585409"/>
                  </a:lnTo>
                  <a:lnTo>
                    <a:pt x="173401" y="2587526"/>
                  </a:lnTo>
                  <a:lnTo>
                    <a:pt x="161361" y="2583382"/>
                  </a:lnTo>
                  <a:lnTo>
                    <a:pt x="155643" y="2585409"/>
                  </a:lnTo>
                  <a:lnTo>
                    <a:pt x="152104" y="2591429"/>
                  </a:lnTo>
                  <a:lnTo>
                    <a:pt x="154343" y="2595301"/>
                  </a:lnTo>
                  <a:lnTo>
                    <a:pt x="163206" y="2601382"/>
                  </a:lnTo>
                  <a:lnTo>
                    <a:pt x="166353" y="2608763"/>
                  </a:lnTo>
                  <a:lnTo>
                    <a:pt x="168410" y="2612423"/>
                  </a:lnTo>
                  <a:lnTo>
                    <a:pt x="173038" y="2614904"/>
                  </a:lnTo>
                  <a:lnTo>
                    <a:pt x="173462" y="2617052"/>
                  </a:lnTo>
                  <a:lnTo>
                    <a:pt x="172857" y="2619683"/>
                  </a:lnTo>
                  <a:lnTo>
                    <a:pt x="171556" y="2621983"/>
                  </a:lnTo>
                  <a:lnTo>
                    <a:pt x="169801" y="2623314"/>
                  </a:lnTo>
                  <a:lnTo>
                    <a:pt x="167865" y="2623586"/>
                  </a:lnTo>
                  <a:lnTo>
                    <a:pt x="163630" y="2623132"/>
                  </a:lnTo>
                  <a:lnTo>
                    <a:pt x="162783" y="2623314"/>
                  </a:lnTo>
                  <a:lnTo>
                    <a:pt x="161391" y="2624070"/>
                  </a:lnTo>
                  <a:lnTo>
                    <a:pt x="160514" y="2624251"/>
                  </a:lnTo>
                  <a:lnTo>
                    <a:pt x="159697" y="2623888"/>
                  </a:lnTo>
                  <a:lnTo>
                    <a:pt x="158185" y="2622315"/>
                  </a:lnTo>
                  <a:lnTo>
                    <a:pt x="157398" y="2621952"/>
                  </a:lnTo>
                  <a:lnTo>
                    <a:pt x="156642" y="2621408"/>
                  </a:lnTo>
                  <a:lnTo>
                    <a:pt x="155371" y="2618988"/>
                  </a:lnTo>
                  <a:lnTo>
                    <a:pt x="154645" y="2618443"/>
                  </a:lnTo>
                  <a:lnTo>
                    <a:pt x="135042" y="2610578"/>
                  </a:lnTo>
                  <a:lnTo>
                    <a:pt x="136404" y="2612696"/>
                  </a:lnTo>
                  <a:lnTo>
                    <a:pt x="140397" y="2615418"/>
                  </a:lnTo>
                  <a:lnTo>
                    <a:pt x="141607" y="2619260"/>
                  </a:lnTo>
                  <a:lnTo>
                    <a:pt x="144057" y="2624191"/>
                  </a:lnTo>
                  <a:lnTo>
                    <a:pt x="144420" y="2625734"/>
                  </a:lnTo>
                  <a:lnTo>
                    <a:pt x="145358" y="2630997"/>
                  </a:lnTo>
                  <a:lnTo>
                    <a:pt x="146447" y="2632631"/>
                  </a:lnTo>
                  <a:lnTo>
                    <a:pt x="150229" y="2640678"/>
                  </a:lnTo>
                  <a:lnTo>
                    <a:pt x="150955" y="2641797"/>
                  </a:lnTo>
                  <a:lnTo>
                    <a:pt x="159848" y="2652567"/>
                  </a:lnTo>
                  <a:lnTo>
                    <a:pt x="160514" y="2654352"/>
                  </a:lnTo>
                  <a:lnTo>
                    <a:pt x="160937" y="2657558"/>
                  </a:lnTo>
                  <a:lnTo>
                    <a:pt x="162027" y="2659071"/>
                  </a:lnTo>
                  <a:lnTo>
                    <a:pt x="163600" y="2660069"/>
                  </a:lnTo>
                  <a:lnTo>
                    <a:pt x="165354" y="2661642"/>
                  </a:lnTo>
                  <a:lnTo>
                    <a:pt x="166141" y="2663850"/>
                  </a:lnTo>
                  <a:lnTo>
                    <a:pt x="166625" y="2666906"/>
                  </a:lnTo>
                  <a:lnTo>
                    <a:pt x="167230" y="2669598"/>
                  </a:lnTo>
                  <a:lnTo>
                    <a:pt x="168531" y="2670778"/>
                  </a:lnTo>
                  <a:lnTo>
                    <a:pt x="169227" y="2671111"/>
                  </a:lnTo>
                  <a:lnTo>
                    <a:pt x="170013" y="2671867"/>
                  </a:lnTo>
                  <a:lnTo>
                    <a:pt x="170648" y="2672775"/>
                  </a:lnTo>
                  <a:lnTo>
                    <a:pt x="170921" y="2673531"/>
                  </a:lnTo>
                  <a:lnTo>
                    <a:pt x="170981" y="2675921"/>
                  </a:lnTo>
                  <a:lnTo>
                    <a:pt x="171223" y="2677222"/>
                  </a:lnTo>
                  <a:lnTo>
                    <a:pt x="172282" y="2679793"/>
                  </a:lnTo>
                  <a:lnTo>
                    <a:pt x="175247" y="2683272"/>
                  </a:lnTo>
                  <a:lnTo>
                    <a:pt x="179331" y="2685269"/>
                  </a:lnTo>
                  <a:lnTo>
                    <a:pt x="182840" y="2688475"/>
                  </a:lnTo>
                  <a:lnTo>
                    <a:pt x="184110" y="2695645"/>
                  </a:lnTo>
                  <a:lnTo>
                    <a:pt x="183868" y="2697793"/>
                  </a:lnTo>
                  <a:lnTo>
                    <a:pt x="183414" y="2699093"/>
                  </a:lnTo>
                  <a:lnTo>
                    <a:pt x="182598" y="2699789"/>
                  </a:lnTo>
                  <a:lnTo>
                    <a:pt x="181357" y="2700031"/>
                  </a:lnTo>
                  <a:lnTo>
                    <a:pt x="182507" y="2702391"/>
                  </a:lnTo>
                  <a:lnTo>
                    <a:pt x="184352" y="2703057"/>
                  </a:lnTo>
                  <a:lnTo>
                    <a:pt x="186833" y="2702935"/>
                  </a:lnTo>
                  <a:lnTo>
                    <a:pt x="187710" y="2706173"/>
                  </a:lnTo>
                  <a:lnTo>
                    <a:pt x="189586" y="2706293"/>
                  </a:lnTo>
                  <a:lnTo>
                    <a:pt x="191431" y="2705870"/>
                  </a:lnTo>
                  <a:lnTo>
                    <a:pt x="192944" y="2708502"/>
                  </a:lnTo>
                  <a:lnTo>
                    <a:pt x="194365" y="2709651"/>
                  </a:lnTo>
                  <a:lnTo>
                    <a:pt x="195817" y="2711527"/>
                  </a:lnTo>
                  <a:lnTo>
                    <a:pt x="196483" y="2714734"/>
                  </a:lnTo>
                  <a:lnTo>
                    <a:pt x="196150" y="2716972"/>
                  </a:lnTo>
                  <a:lnTo>
                    <a:pt x="195303" y="2719211"/>
                  </a:lnTo>
                  <a:lnTo>
                    <a:pt x="194184" y="2721177"/>
                  </a:lnTo>
                  <a:lnTo>
                    <a:pt x="193065" y="2722569"/>
                  </a:lnTo>
                  <a:lnTo>
                    <a:pt x="186107" y="2727227"/>
                  </a:lnTo>
                  <a:lnTo>
                    <a:pt x="183203" y="2730374"/>
                  </a:lnTo>
                  <a:lnTo>
                    <a:pt x="181993" y="2735547"/>
                  </a:lnTo>
                  <a:lnTo>
                    <a:pt x="183112" y="2739993"/>
                  </a:lnTo>
                  <a:lnTo>
                    <a:pt x="187861" y="2747314"/>
                  </a:lnTo>
                  <a:lnTo>
                    <a:pt x="188860" y="2751731"/>
                  </a:lnTo>
                  <a:lnTo>
                    <a:pt x="187589" y="2750703"/>
                  </a:lnTo>
                  <a:lnTo>
                    <a:pt x="186621" y="2750703"/>
                  </a:lnTo>
                  <a:lnTo>
                    <a:pt x="186288" y="2751731"/>
                  </a:lnTo>
                  <a:lnTo>
                    <a:pt x="186863" y="2753848"/>
                  </a:lnTo>
                  <a:lnTo>
                    <a:pt x="185562" y="2755452"/>
                  </a:lnTo>
                  <a:lnTo>
                    <a:pt x="183233" y="2756450"/>
                  </a:lnTo>
                  <a:lnTo>
                    <a:pt x="180722" y="2756571"/>
                  </a:lnTo>
                  <a:lnTo>
                    <a:pt x="178907" y="2755543"/>
                  </a:lnTo>
                  <a:lnTo>
                    <a:pt x="178030" y="2754393"/>
                  </a:lnTo>
                  <a:lnTo>
                    <a:pt x="177394" y="2753879"/>
                  </a:lnTo>
                  <a:lnTo>
                    <a:pt x="176850" y="2753788"/>
                  </a:lnTo>
                  <a:lnTo>
                    <a:pt x="176154" y="2753788"/>
                  </a:lnTo>
                  <a:lnTo>
                    <a:pt x="173068" y="2759476"/>
                  </a:lnTo>
                  <a:lnTo>
                    <a:pt x="173462" y="2762319"/>
                  </a:lnTo>
                  <a:lnTo>
                    <a:pt x="174944" y="2762410"/>
                  </a:lnTo>
                  <a:lnTo>
                    <a:pt x="176941" y="2761291"/>
                  </a:lnTo>
                  <a:lnTo>
                    <a:pt x="178907" y="2760565"/>
                  </a:lnTo>
                  <a:lnTo>
                    <a:pt x="179966" y="2760746"/>
                  </a:lnTo>
                  <a:lnTo>
                    <a:pt x="181297" y="2761502"/>
                  </a:lnTo>
                  <a:lnTo>
                    <a:pt x="182356" y="2761684"/>
                  </a:lnTo>
                  <a:lnTo>
                    <a:pt x="183536" y="2761442"/>
                  </a:lnTo>
                  <a:lnTo>
                    <a:pt x="185018" y="2760111"/>
                  </a:lnTo>
                  <a:lnTo>
                    <a:pt x="186107" y="2759476"/>
                  </a:lnTo>
                  <a:lnTo>
                    <a:pt x="188224" y="2758961"/>
                  </a:lnTo>
                  <a:lnTo>
                    <a:pt x="190312" y="2759476"/>
                  </a:lnTo>
                  <a:lnTo>
                    <a:pt x="191189" y="2759990"/>
                  </a:lnTo>
                  <a:lnTo>
                    <a:pt x="192853" y="2761411"/>
                  </a:lnTo>
                  <a:lnTo>
                    <a:pt x="193428" y="2761714"/>
                  </a:lnTo>
                  <a:lnTo>
                    <a:pt x="194547" y="2761865"/>
                  </a:lnTo>
                  <a:lnTo>
                    <a:pt x="196543" y="2762561"/>
                  </a:lnTo>
                  <a:lnTo>
                    <a:pt x="201959" y="2762712"/>
                  </a:lnTo>
                  <a:lnTo>
                    <a:pt x="218567" y="2768369"/>
                  </a:lnTo>
                  <a:lnTo>
                    <a:pt x="221804" y="2768823"/>
                  </a:lnTo>
                  <a:lnTo>
                    <a:pt x="228731" y="2768278"/>
                  </a:lnTo>
                  <a:lnTo>
                    <a:pt x="231696" y="2767250"/>
                  </a:lnTo>
                  <a:lnTo>
                    <a:pt x="241013" y="2761381"/>
                  </a:lnTo>
                  <a:lnTo>
                    <a:pt x="244492" y="2760595"/>
                  </a:lnTo>
                  <a:lnTo>
                    <a:pt x="248788" y="2761321"/>
                  </a:lnTo>
                  <a:lnTo>
                    <a:pt x="250331" y="2760595"/>
                  </a:lnTo>
                  <a:lnTo>
                    <a:pt x="251601" y="2759203"/>
                  </a:lnTo>
                  <a:lnTo>
                    <a:pt x="252539" y="2757690"/>
                  </a:lnTo>
                  <a:lnTo>
                    <a:pt x="253688" y="2756511"/>
                  </a:lnTo>
                  <a:lnTo>
                    <a:pt x="255473" y="2756057"/>
                  </a:lnTo>
                  <a:lnTo>
                    <a:pt x="268844" y="2755028"/>
                  </a:lnTo>
                  <a:lnTo>
                    <a:pt x="273654" y="2756027"/>
                  </a:lnTo>
                  <a:lnTo>
                    <a:pt x="275076" y="2756027"/>
                  </a:lnTo>
                  <a:lnTo>
                    <a:pt x="276528" y="2755543"/>
                  </a:lnTo>
                  <a:lnTo>
                    <a:pt x="279100" y="2754121"/>
                  </a:lnTo>
                  <a:lnTo>
                    <a:pt x="280612" y="2753819"/>
                  </a:lnTo>
                  <a:lnTo>
                    <a:pt x="283910" y="2754151"/>
                  </a:lnTo>
                  <a:lnTo>
                    <a:pt x="286541" y="2755119"/>
                  </a:lnTo>
                  <a:lnTo>
                    <a:pt x="294498" y="2759959"/>
                  </a:lnTo>
                  <a:lnTo>
                    <a:pt x="297402" y="2760988"/>
                  </a:lnTo>
                  <a:lnTo>
                    <a:pt x="300397" y="2761532"/>
                  </a:lnTo>
                  <a:lnTo>
                    <a:pt x="306871" y="2761532"/>
                  </a:lnTo>
                  <a:lnTo>
                    <a:pt x="309140" y="2760988"/>
                  </a:lnTo>
                  <a:lnTo>
                    <a:pt x="311015" y="2759657"/>
                  </a:lnTo>
                  <a:lnTo>
                    <a:pt x="312951" y="2757237"/>
                  </a:lnTo>
                  <a:lnTo>
                    <a:pt x="317579" y="2749492"/>
                  </a:lnTo>
                  <a:lnTo>
                    <a:pt x="318790" y="2748313"/>
                  </a:lnTo>
                  <a:lnTo>
                    <a:pt x="320574" y="2747163"/>
                  </a:lnTo>
                  <a:lnTo>
                    <a:pt x="326020" y="2741445"/>
                  </a:lnTo>
                  <a:lnTo>
                    <a:pt x="327441" y="2739328"/>
                  </a:lnTo>
                  <a:lnTo>
                    <a:pt x="327895" y="2735788"/>
                  </a:lnTo>
                  <a:lnTo>
                    <a:pt x="326957" y="2732794"/>
                  </a:lnTo>
                  <a:lnTo>
                    <a:pt x="322783" y="2726471"/>
                  </a:lnTo>
                  <a:lnTo>
                    <a:pt x="320574" y="2724353"/>
                  </a:lnTo>
                  <a:lnTo>
                    <a:pt x="319546" y="2723083"/>
                  </a:lnTo>
                  <a:lnTo>
                    <a:pt x="318699" y="2721117"/>
                  </a:lnTo>
                  <a:lnTo>
                    <a:pt x="318608" y="2719302"/>
                  </a:lnTo>
                  <a:lnTo>
                    <a:pt x="318699" y="2717547"/>
                  </a:lnTo>
                  <a:lnTo>
                    <a:pt x="318457" y="2715792"/>
                  </a:lnTo>
                  <a:lnTo>
                    <a:pt x="317186" y="2713735"/>
                  </a:lnTo>
                  <a:lnTo>
                    <a:pt x="313314" y="2711013"/>
                  </a:lnTo>
                  <a:lnTo>
                    <a:pt x="311650" y="2709077"/>
                  </a:lnTo>
                  <a:lnTo>
                    <a:pt x="310622" y="2706263"/>
                  </a:lnTo>
                  <a:lnTo>
                    <a:pt x="310470" y="2703601"/>
                  </a:lnTo>
                  <a:lnTo>
                    <a:pt x="310894" y="2697339"/>
                  </a:lnTo>
                  <a:lnTo>
                    <a:pt x="311892" y="2690563"/>
                  </a:lnTo>
                  <a:lnTo>
                    <a:pt x="314524" y="2683756"/>
                  </a:lnTo>
                  <a:lnTo>
                    <a:pt x="318185" y="2678523"/>
                  </a:lnTo>
                  <a:lnTo>
                    <a:pt x="322269" y="2676435"/>
                  </a:lnTo>
                  <a:lnTo>
                    <a:pt x="323448" y="2675013"/>
                  </a:lnTo>
                  <a:lnTo>
                    <a:pt x="324447" y="2671928"/>
                  </a:lnTo>
                  <a:lnTo>
                    <a:pt x="325748" y="2668812"/>
                  </a:lnTo>
                  <a:lnTo>
                    <a:pt x="327774" y="2667390"/>
                  </a:lnTo>
                  <a:lnTo>
                    <a:pt x="329680" y="2666664"/>
                  </a:lnTo>
                  <a:lnTo>
                    <a:pt x="331919" y="2664879"/>
                  </a:lnTo>
                  <a:lnTo>
                    <a:pt x="335730" y="2660644"/>
                  </a:lnTo>
                  <a:lnTo>
                    <a:pt x="339088" y="2655864"/>
                  </a:lnTo>
                  <a:lnTo>
                    <a:pt x="340934" y="2654412"/>
                  </a:lnTo>
                  <a:lnTo>
                    <a:pt x="343656" y="2653868"/>
                  </a:lnTo>
                  <a:lnTo>
                    <a:pt x="344564" y="2653505"/>
                  </a:lnTo>
                  <a:lnTo>
                    <a:pt x="346893" y="2651932"/>
                  </a:lnTo>
                  <a:lnTo>
                    <a:pt x="348133" y="2651478"/>
                  </a:lnTo>
                  <a:lnTo>
                    <a:pt x="347891" y="2651871"/>
                  </a:lnTo>
                  <a:lnTo>
                    <a:pt x="348376" y="2652658"/>
                  </a:lnTo>
                  <a:lnTo>
                    <a:pt x="349465" y="2653837"/>
                  </a:lnTo>
                  <a:lnTo>
                    <a:pt x="351582" y="2651478"/>
                  </a:lnTo>
                  <a:lnTo>
                    <a:pt x="351582" y="2653474"/>
                  </a:lnTo>
                  <a:lnTo>
                    <a:pt x="352036" y="2654957"/>
                  </a:lnTo>
                  <a:lnTo>
                    <a:pt x="352792" y="2656076"/>
                  </a:lnTo>
                  <a:lnTo>
                    <a:pt x="353639" y="2657014"/>
                  </a:lnTo>
                  <a:lnTo>
                    <a:pt x="352218" y="2658527"/>
                  </a:lnTo>
                  <a:lnTo>
                    <a:pt x="352399" y="2659222"/>
                  </a:lnTo>
                  <a:lnTo>
                    <a:pt x="353427" y="2659373"/>
                  </a:lnTo>
                  <a:lnTo>
                    <a:pt x="356241" y="2659373"/>
                  </a:lnTo>
                  <a:lnTo>
                    <a:pt x="357027" y="2659525"/>
                  </a:lnTo>
                  <a:lnTo>
                    <a:pt x="357784" y="2659979"/>
                  </a:lnTo>
                  <a:lnTo>
                    <a:pt x="358631" y="2660190"/>
                  </a:lnTo>
                  <a:lnTo>
                    <a:pt x="359236" y="2659525"/>
                  </a:lnTo>
                  <a:lnTo>
                    <a:pt x="359901" y="2658254"/>
                  </a:lnTo>
                  <a:lnTo>
                    <a:pt x="361898" y="2658254"/>
                  </a:lnTo>
                  <a:lnTo>
                    <a:pt x="362382" y="2659979"/>
                  </a:lnTo>
                  <a:lnTo>
                    <a:pt x="362896" y="2660674"/>
                  </a:lnTo>
                  <a:lnTo>
                    <a:pt x="363683" y="2659979"/>
                  </a:lnTo>
                  <a:lnTo>
                    <a:pt x="364560" y="2658738"/>
                  </a:lnTo>
                  <a:lnTo>
                    <a:pt x="365740" y="2657528"/>
                  </a:lnTo>
                  <a:lnTo>
                    <a:pt x="367011" y="2656530"/>
                  </a:lnTo>
                  <a:lnTo>
                    <a:pt x="368160" y="2655985"/>
                  </a:lnTo>
                  <a:lnTo>
                    <a:pt x="367162" y="2653051"/>
                  </a:lnTo>
                  <a:lnTo>
                    <a:pt x="366194" y="2651024"/>
                  </a:lnTo>
                  <a:lnTo>
                    <a:pt x="363350" y="2647061"/>
                  </a:lnTo>
                  <a:lnTo>
                    <a:pt x="362806" y="2645730"/>
                  </a:lnTo>
                  <a:lnTo>
                    <a:pt x="362382" y="2644187"/>
                  </a:lnTo>
                  <a:lnTo>
                    <a:pt x="361686" y="2642947"/>
                  </a:lnTo>
                  <a:lnTo>
                    <a:pt x="360234" y="2642433"/>
                  </a:lnTo>
                  <a:lnTo>
                    <a:pt x="359538" y="2641676"/>
                  </a:lnTo>
                  <a:lnTo>
                    <a:pt x="359417" y="2639952"/>
                  </a:lnTo>
                  <a:lnTo>
                    <a:pt x="359629" y="2638016"/>
                  </a:lnTo>
                  <a:lnTo>
                    <a:pt x="359901" y="2636624"/>
                  </a:lnTo>
                  <a:lnTo>
                    <a:pt x="361474" y="2634325"/>
                  </a:lnTo>
                  <a:lnTo>
                    <a:pt x="363834" y="2633266"/>
                  </a:lnTo>
                  <a:lnTo>
                    <a:pt x="368826" y="2633266"/>
                  </a:lnTo>
                  <a:lnTo>
                    <a:pt x="370943" y="2634325"/>
                  </a:lnTo>
                  <a:lnTo>
                    <a:pt x="372728" y="2636171"/>
                  </a:lnTo>
                  <a:lnTo>
                    <a:pt x="374422" y="2637411"/>
                  </a:lnTo>
                  <a:lnTo>
                    <a:pt x="376388" y="2636624"/>
                  </a:lnTo>
                  <a:lnTo>
                    <a:pt x="376237" y="2633872"/>
                  </a:lnTo>
                  <a:lnTo>
                    <a:pt x="378748" y="2633750"/>
                  </a:lnTo>
                  <a:lnTo>
                    <a:pt x="382045" y="2634325"/>
                  </a:lnTo>
                  <a:lnTo>
                    <a:pt x="384284" y="2633781"/>
                  </a:lnTo>
                  <a:lnTo>
                    <a:pt x="386795" y="2632389"/>
                  </a:lnTo>
                  <a:lnTo>
                    <a:pt x="390334" y="2633024"/>
                  </a:lnTo>
                  <a:lnTo>
                    <a:pt x="396445" y="2635596"/>
                  </a:lnTo>
                  <a:lnTo>
                    <a:pt x="396052" y="2634598"/>
                  </a:lnTo>
                  <a:lnTo>
                    <a:pt x="395356" y="2631966"/>
                  </a:lnTo>
                  <a:lnTo>
                    <a:pt x="394993" y="2630937"/>
                  </a:lnTo>
                  <a:lnTo>
                    <a:pt x="395961" y="2630816"/>
                  </a:lnTo>
                  <a:lnTo>
                    <a:pt x="398411" y="2629908"/>
                  </a:lnTo>
                  <a:lnTo>
                    <a:pt x="399107" y="2629788"/>
                  </a:lnTo>
                  <a:lnTo>
                    <a:pt x="399742" y="2630846"/>
                  </a:lnTo>
                  <a:lnTo>
                    <a:pt x="400075" y="2633750"/>
                  </a:lnTo>
                  <a:lnTo>
                    <a:pt x="400862" y="2634325"/>
                  </a:lnTo>
                  <a:lnTo>
                    <a:pt x="404673" y="2634325"/>
                  </a:lnTo>
                  <a:lnTo>
                    <a:pt x="405460" y="2633992"/>
                  </a:lnTo>
                  <a:lnTo>
                    <a:pt x="406216" y="2633357"/>
                  </a:lnTo>
                  <a:lnTo>
                    <a:pt x="407033" y="2633085"/>
                  </a:lnTo>
                  <a:lnTo>
                    <a:pt x="407789" y="2633781"/>
                  </a:lnTo>
                  <a:lnTo>
                    <a:pt x="410845" y="2635717"/>
                  </a:lnTo>
                  <a:lnTo>
                    <a:pt x="415080" y="2634991"/>
                  </a:lnTo>
                  <a:lnTo>
                    <a:pt x="419043" y="2632661"/>
                  </a:lnTo>
                  <a:lnTo>
                    <a:pt x="421191" y="2629818"/>
                  </a:lnTo>
                  <a:lnTo>
                    <a:pt x="423339" y="2633992"/>
                  </a:lnTo>
                  <a:lnTo>
                    <a:pt x="423944" y="2635596"/>
                  </a:lnTo>
                  <a:lnTo>
                    <a:pt x="423157" y="2635656"/>
                  </a:lnTo>
                  <a:lnTo>
                    <a:pt x="421191" y="2636654"/>
                  </a:lnTo>
                  <a:lnTo>
                    <a:pt x="422401" y="2637592"/>
                  </a:lnTo>
                  <a:lnTo>
                    <a:pt x="423762" y="2637955"/>
                  </a:lnTo>
                  <a:lnTo>
                    <a:pt x="428270" y="2637714"/>
                  </a:lnTo>
                  <a:lnTo>
                    <a:pt x="428723" y="2637078"/>
                  </a:lnTo>
                  <a:lnTo>
                    <a:pt x="428723" y="2635989"/>
                  </a:lnTo>
                  <a:lnTo>
                    <a:pt x="429389" y="2634386"/>
                  </a:lnTo>
                  <a:lnTo>
                    <a:pt x="431053" y="2632057"/>
                  </a:lnTo>
                  <a:lnTo>
                    <a:pt x="432111" y="2631300"/>
                  </a:lnTo>
                  <a:lnTo>
                    <a:pt x="433564" y="2630997"/>
                  </a:lnTo>
                  <a:lnTo>
                    <a:pt x="435076" y="2631421"/>
                  </a:lnTo>
                  <a:lnTo>
                    <a:pt x="436165" y="2632420"/>
                  </a:lnTo>
                  <a:lnTo>
                    <a:pt x="437012" y="2633569"/>
                  </a:lnTo>
                  <a:lnTo>
                    <a:pt x="437768" y="2634386"/>
                  </a:lnTo>
                  <a:lnTo>
                    <a:pt x="439795" y="2635928"/>
                  </a:lnTo>
                  <a:lnTo>
                    <a:pt x="440279" y="2635293"/>
                  </a:lnTo>
                  <a:lnTo>
                    <a:pt x="440461" y="2632692"/>
                  </a:lnTo>
                  <a:lnTo>
                    <a:pt x="441096" y="2631875"/>
                  </a:lnTo>
                  <a:lnTo>
                    <a:pt x="445331" y="2629878"/>
                  </a:lnTo>
                  <a:lnTo>
                    <a:pt x="449143" y="2626914"/>
                  </a:lnTo>
                  <a:lnTo>
                    <a:pt x="450535" y="2626490"/>
                  </a:lnTo>
                  <a:lnTo>
                    <a:pt x="451533" y="2627337"/>
                  </a:lnTo>
                  <a:lnTo>
                    <a:pt x="451140" y="2629213"/>
                  </a:lnTo>
                  <a:lnTo>
                    <a:pt x="450202" y="2631149"/>
                  </a:lnTo>
                  <a:lnTo>
                    <a:pt x="449506" y="2632147"/>
                  </a:lnTo>
                  <a:lnTo>
                    <a:pt x="451140" y="2634507"/>
                  </a:lnTo>
                  <a:lnTo>
                    <a:pt x="453106" y="2633055"/>
                  </a:lnTo>
                  <a:lnTo>
                    <a:pt x="455103" y="2630332"/>
                  </a:lnTo>
                  <a:lnTo>
                    <a:pt x="456766" y="2628850"/>
                  </a:lnTo>
                  <a:lnTo>
                    <a:pt x="457523" y="2629182"/>
                  </a:lnTo>
                  <a:lnTo>
                    <a:pt x="458975" y="2630695"/>
                  </a:lnTo>
                  <a:lnTo>
                    <a:pt x="460215" y="2631028"/>
                  </a:lnTo>
                  <a:lnTo>
                    <a:pt x="461153" y="2631512"/>
                  </a:lnTo>
                  <a:lnTo>
                    <a:pt x="461667" y="2632420"/>
                  </a:lnTo>
                  <a:lnTo>
                    <a:pt x="462242" y="2632903"/>
                  </a:lnTo>
                  <a:lnTo>
                    <a:pt x="463361" y="2632147"/>
                  </a:lnTo>
                  <a:lnTo>
                    <a:pt x="465146" y="2635051"/>
                  </a:lnTo>
                  <a:lnTo>
                    <a:pt x="467687" y="2635142"/>
                  </a:lnTo>
                  <a:lnTo>
                    <a:pt x="472679" y="2633297"/>
                  </a:lnTo>
                  <a:lnTo>
                    <a:pt x="474736" y="2634718"/>
                  </a:lnTo>
                  <a:lnTo>
                    <a:pt x="473949" y="2637925"/>
                  </a:lnTo>
                  <a:lnTo>
                    <a:pt x="470954" y="2643491"/>
                  </a:lnTo>
                  <a:lnTo>
                    <a:pt x="473768" y="2644913"/>
                  </a:lnTo>
                  <a:lnTo>
                    <a:pt x="475643" y="2646547"/>
                  </a:lnTo>
                  <a:lnTo>
                    <a:pt x="477307" y="2646819"/>
                  </a:lnTo>
                  <a:lnTo>
                    <a:pt x="479576" y="2644097"/>
                  </a:lnTo>
                  <a:lnTo>
                    <a:pt x="485384" y="2632147"/>
                  </a:lnTo>
                  <a:lnTo>
                    <a:pt x="487078" y="2630030"/>
                  </a:lnTo>
                  <a:lnTo>
                    <a:pt x="490981" y="2626672"/>
                  </a:lnTo>
                  <a:lnTo>
                    <a:pt x="492645" y="2624736"/>
                  </a:lnTo>
                  <a:lnTo>
                    <a:pt x="493250" y="2623253"/>
                  </a:lnTo>
                  <a:lnTo>
                    <a:pt x="493643" y="2621589"/>
                  </a:lnTo>
                  <a:lnTo>
                    <a:pt x="494218" y="2620228"/>
                  </a:lnTo>
                  <a:lnTo>
                    <a:pt x="495337" y="2619653"/>
                  </a:lnTo>
                  <a:lnTo>
                    <a:pt x="496002" y="2618776"/>
                  </a:lnTo>
                  <a:lnTo>
                    <a:pt x="498816" y="2605314"/>
                  </a:lnTo>
                  <a:lnTo>
                    <a:pt x="501720" y="2591398"/>
                  </a:lnTo>
                  <a:lnTo>
                    <a:pt x="503989" y="2585409"/>
                  </a:lnTo>
                  <a:lnTo>
                    <a:pt x="508859" y="2576575"/>
                  </a:lnTo>
                  <a:lnTo>
                    <a:pt x="509495" y="2573338"/>
                  </a:lnTo>
                  <a:lnTo>
                    <a:pt x="510130" y="2571705"/>
                  </a:lnTo>
                  <a:lnTo>
                    <a:pt x="512974" y="2571463"/>
                  </a:lnTo>
                  <a:lnTo>
                    <a:pt x="513609" y="2569799"/>
                  </a:lnTo>
                  <a:lnTo>
                    <a:pt x="513821" y="2565896"/>
                  </a:lnTo>
                  <a:lnTo>
                    <a:pt x="514274" y="2562327"/>
                  </a:lnTo>
                  <a:lnTo>
                    <a:pt x="514395" y="2560542"/>
                  </a:lnTo>
                  <a:lnTo>
                    <a:pt x="514395" y="2559695"/>
                  </a:lnTo>
                  <a:lnTo>
                    <a:pt x="514637" y="2558787"/>
                  </a:lnTo>
                  <a:lnTo>
                    <a:pt x="516937" y="2554038"/>
                  </a:lnTo>
                  <a:lnTo>
                    <a:pt x="517814" y="2552707"/>
                  </a:lnTo>
                  <a:lnTo>
                    <a:pt x="518782" y="2552102"/>
                  </a:lnTo>
                  <a:lnTo>
                    <a:pt x="519871" y="2551648"/>
                  </a:lnTo>
                  <a:lnTo>
                    <a:pt x="521141" y="2550831"/>
                  </a:lnTo>
                  <a:lnTo>
                    <a:pt x="522442" y="2550498"/>
                  </a:lnTo>
                  <a:lnTo>
                    <a:pt x="524862" y="2552374"/>
                  </a:lnTo>
                  <a:lnTo>
                    <a:pt x="526526" y="2552525"/>
                  </a:lnTo>
                  <a:lnTo>
                    <a:pt x="528251" y="2552011"/>
                  </a:lnTo>
                  <a:lnTo>
                    <a:pt x="529551" y="2550861"/>
                  </a:lnTo>
                  <a:lnTo>
                    <a:pt x="530308" y="2548472"/>
                  </a:lnTo>
                  <a:lnTo>
                    <a:pt x="530459" y="2545416"/>
                  </a:lnTo>
                  <a:lnTo>
                    <a:pt x="530187" y="2540001"/>
                  </a:lnTo>
                  <a:lnTo>
                    <a:pt x="528704" y="2536522"/>
                  </a:lnTo>
                  <a:lnTo>
                    <a:pt x="528039" y="2534496"/>
                  </a:lnTo>
                  <a:lnTo>
                    <a:pt x="528492" y="2533618"/>
                  </a:lnTo>
                  <a:lnTo>
                    <a:pt x="530035" y="2533286"/>
                  </a:lnTo>
                  <a:lnTo>
                    <a:pt x="532123" y="2531743"/>
                  </a:lnTo>
                  <a:lnTo>
                    <a:pt x="533696" y="2531289"/>
                  </a:lnTo>
                  <a:lnTo>
                    <a:pt x="535209" y="2531591"/>
                  </a:lnTo>
                  <a:lnTo>
                    <a:pt x="537931" y="2532832"/>
                  </a:lnTo>
                  <a:lnTo>
                    <a:pt x="539111" y="2532348"/>
                  </a:lnTo>
                  <a:lnTo>
                    <a:pt x="539625" y="2531289"/>
                  </a:lnTo>
                  <a:lnTo>
                    <a:pt x="539897" y="2529776"/>
                  </a:lnTo>
                  <a:lnTo>
                    <a:pt x="539716" y="2528415"/>
                  </a:lnTo>
                  <a:lnTo>
                    <a:pt x="538778" y="2527840"/>
                  </a:lnTo>
                  <a:lnTo>
                    <a:pt x="537659" y="2528475"/>
                  </a:lnTo>
                  <a:lnTo>
                    <a:pt x="536479" y="2529655"/>
                  </a:lnTo>
                  <a:lnTo>
                    <a:pt x="535269" y="2530351"/>
                  </a:lnTo>
                  <a:lnTo>
                    <a:pt x="533998" y="2529504"/>
                  </a:lnTo>
                  <a:lnTo>
                    <a:pt x="533182" y="2527629"/>
                  </a:lnTo>
                  <a:lnTo>
                    <a:pt x="533272" y="2526055"/>
                  </a:lnTo>
                  <a:lnTo>
                    <a:pt x="536025" y="2517857"/>
                  </a:lnTo>
                  <a:lnTo>
                    <a:pt x="536388" y="2516163"/>
                  </a:lnTo>
                  <a:lnTo>
                    <a:pt x="536388" y="2514318"/>
                  </a:lnTo>
                  <a:lnTo>
                    <a:pt x="536025" y="2509750"/>
                  </a:lnTo>
                  <a:lnTo>
                    <a:pt x="536025" y="2508661"/>
                  </a:lnTo>
                  <a:lnTo>
                    <a:pt x="538748" y="2504032"/>
                  </a:lnTo>
                  <a:lnTo>
                    <a:pt x="539232" y="2502187"/>
                  </a:lnTo>
                  <a:lnTo>
                    <a:pt x="538536" y="2500947"/>
                  </a:lnTo>
                  <a:lnTo>
                    <a:pt x="537356" y="2499616"/>
                  </a:lnTo>
                  <a:lnTo>
                    <a:pt x="536358" y="2497558"/>
                  </a:lnTo>
                  <a:lnTo>
                    <a:pt x="535844" y="2493958"/>
                  </a:lnTo>
                  <a:lnTo>
                    <a:pt x="536358" y="2491206"/>
                  </a:lnTo>
                  <a:lnTo>
                    <a:pt x="537689" y="2489602"/>
                  </a:lnTo>
                  <a:lnTo>
                    <a:pt x="539716" y="2489542"/>
                  </a:lnTo>
                  <a:lnTo>
                    <a:pt x="539716" y="2488271"/>
                  </a:lnTo>
                  <a:lnTo>
                    <a:pt x="538778" y="2487818"/>
                  </a:lnTo>
                  <a:lnTo>
                    <a:pt x="537901" y="2487061"/>
                  </a:lnTo>
                  <a:lnTo>
                    <a:pt x="537114" y="2486033"/>
                  </a:lnTo>
                  <a:lnTo>
                    <a:pt x="536358" y="2484792"/>
                  </a:lnTo>
                  <a:lnTo>
                    <a:pt x="537628" y="2484853"/>
                  </a:lnTo>
                  <a:lnTo>
                    <a:pt x="540049" y="2485791"/>
                  </a:lnTo>
                  <a:lnTo>
                    <a:pt x="541682" y="2486123"/>
                  </a:lnTo>
                  <a:lnTo>
                    <a:pt x="542106" y="2486517"/>
                  </a:lnTo>
                  <a:lnTo>
                    <a:pt x="542469" y="2486819"/>
                  </a:lnTo>
                  <a:lnTo>
                    <a:pt x="542892" y="2486517"/>
                  </a:lnTo>
                  <a:lnTo>
                    <a:pt x="543134" y="2485821"/>
                  </a:lnTo>
                  <a:lnTo>
                    <a:pt x="543316" y="2484913"/>
                  </a:lnTo>
                  <a:lnTo>
                    <a:pt x="543528" y="2484066"/>
                  </a:lnTo>
                  <a:lnTo>
                    <a:pt x="543951" y="2483613"/>
                  </a:lnTo>
                  <a:lnTo>
                    <a:pt x="544072" y="2483401"/>
                  </a:lnTo>
                  <a:lnTo>
                    <a:pt x="544254" y="2483007"/>
                  </a:lnTo>
                  <a:lnTo>
                    <a:pt x="544617" y="2482614"/>
                  </a:lnTo>
                  <a:lnTo>
                    <a:pt x="545252" y="2482433"/>
                  </a:lnTo>
                  <a:lnTo>
                    <a:pt x="545978" y="2482766"/>
                  </a:lnTo>
                  <a:lnTo>
                    <a:pt x="545978" y="2483522"/>
                  </a:lnTo>
                  <a:lnTo>
                    <a:pt x="545827" y="2484308"/>
                  </a:lnTo>
                  <a:lnTo>
                    <a:pt x="545978" y="2484762"/>
                  </a:lnTo>
                  <a:lnTo>
                    <a:pt x="549578" y="2486033"/>
                  </a:lnTo>
                  <a:lnTo>
                    <a:pt x="550879" y="2485942"/>
                  </a:lnTo>
                  <a:lnTo>
                    <a:pt x="550001" y="2484036"/>
                  </a:lnTo>
                  <a:lnTo>
                    <a:pt x="548610" y="2481798"/>
                  </a:lnTo>
                  <a:lnTo>
                    <a:pt x="547975" y="2479831"/>
                  </a:lnTo>
                  <a:lnTo>
                    <a:pt x="549517" y="2478863"/>
                  </a:lnTo>
                  <a:lnTo>
                    <a:pt x="547793" y="2474840"/>
                  </a:lnTo>
                  <a:lnTo>
                    <a:pt x="546855" y="2473509"/>
                  </a:lnTo>
                  <a:lnTo>
                    <a:pt x="546250" y="2473509"/>
                  </a:lnTo>
                  <a:lnTo>
                    <a:pt x="545615" y="2473690"/>
                  </a:lnTo>
                  <a:lnTo>
                    <a:pt x="544556" y="2473146"/>
                  </a:lnTo>
                  <a:lnTo>
                    <a:pt x="543437" y="2471905"/>
                  </a:lnTo>
                  <a:lnTo>
                    <a:pt x="540563" y="2467247"/>
                  </a:lnTo>
                  <a:lnTo>
                    <a:pt x="538990" y="2463405"/>
                  </a:lnTo>
                  <a:lnTo>
                    <a:pt x="538294" y="2458867"/>
                  </a:lnTo>
                  <a:lnTo>
                    <a:pt x="539080" y="2454783"/>
                  </a:lnTo>
                  <a:lnTo>
                    <a:pt x="541955" y="2452242"/>
                  </a:lnTo>
                  <a:lnTo>
                    <a:pt x="539413" y="2446706"/>
                  </a:lnTo>
                  <a:lnTo>
                    <a:pt x="541047" y="2443408"/>
                  </a:lnTo>
                  <a:lnTo>
                    <a:pt x="548852" y="2439203"/>
                  </a:lnTo>
                  <a:lnTo>
                    <a:pt x="547309" y="2437570"/>
                  </a:lnTo>
                  <a:lnTo>
                    <a:pt x="547521" y="2436814"/>
                  </a:lnTo>
                  <a:lnTo>
                    <a:pt x="548610" y="2436088"/>
                  </a:lnTo>
                  <a:lnTo>
                    <a:pt x="549548" y="2434515"/>
                  </a:lnTo>
                  <a:lnTo>
                    <a:pt x="546038" y="2432155"/>
                  </a:lnTo>
                  <a:lnTo>
                    <a:pt x="547339" y="2428343"/>
                  </a:lnTo>
                  <a:lnTo>
                    <a:pt x="549850" y="2427496"/>
                  </a:lnTo>
                  <a:lnTo>
                    <a:pt x="555779" y="2428646"/>
                  </a:lnTo>
                  <a:lnTo>
                    <a:pt x="555174" y="2425530"/>
                  </a:lnTo>
                  <a:lnTo>
                    <a:pt x="556324" y="2424290"/>
                  </a:lnTo>
                  <a:lnTo>
                    <a:pt x="558230" y="2423775"/>
                  </a:lnTo>
                  <a:lnTo>
                    <a:pt x="559893" y="2422716"/>
                  </a:lnTo>
                  <a:lnTo>
                    <a:pt x="557897" y="2422111"/>
                  </a:lnTo>
                  <a:lnTo>
                    <a:pt x="556505" y="2420780"/>
                  </a:lnTo>
                  <a:lnTo>
                    <a:pt x="555931" y="2418996"/>
                  </a:lnTo>
                  <a:lnTo>
                    <a:pt x="556445" y="2416969"/>
                  </a:lnTo>
                  <a:lnTo>
                    <a:pt x="557837" y="2416001"/>
                  </a:lnTo>
                  <a:lnTo>
                    <a:pt x="559289" y="2415880"/>
                  </a:lnTo>
                  <a:lnTo>
                    <a:pt x="559833" y="2415123"/>
                  </a:lnTo>
                  <a:lnTo>
                    <a:pt x="558563" y="2412280"/>
                  </a:lnTo>
                  <a:lnTo>
                    <a:pt x="561527" y="2413066"/>
                  </a:lnTo>
                  <a:lnTo>
                    <a:pt x="560650" y="2409981"/>
                  </a:lnTo>
                  <a:lnTo>
                    <a:pt x="558351" y="2405534"/>
                  </a:lnTo>
                  <a:lnTo>
                    <a:pt x="555477" y="2398425"/>
                  </a:lnTo>
                  <a:lnTo>
                    <a:pt x="551786" y="2397033"/>
                  </a:lnTo>
                  <a:lnTo>
                    <a:pt x="543981" y="2396791"/>
                  </a:lnTo>
                  <a:lnTo>
                    <a:pt x="543981" y="2395732"/>
                  </a:lnTo>
                  <a:lnTo>
                    <a:pt x="546734" y="2395732"/>
                  </a:lnTo>
                  <a:lnTo>
                    <a:pt x="546734" y="2394552"/>
                  </a:lnTo>
                  <a:lnTo>
                    <a:pt x="544526" y="2393372"/>
                  </a:lnTo>
                  <a:lnTo>
                    <a:pt x="544526" y="2392193"/>
                  </a:lnTo>
                  <a:lnTo>
                    <a:pt x="545222" y="2391769"/>
                  </a:lnTo>
                  <a:lnTo>
                    <a:pt x="546734" y="2389712"/>
                  </a:lnTo>
                  <a:lnTo>
                    <a:pt x="546038" y="2388986"/>
                  </a:lnTo>
                  <a:lnTo>
                    <a:pt x="545554" y="2388290"/>
                  </a:lnTo>
                  <a:lnTo>
                    <a:pt x="544556" y="2386263"/>
                  </a:lnTo>
                  <a:lnTo>
                    <a:pt x="545494" y="2387080"/>
                  </a:lnTo>
                  <a:lnTo>
                    <a:pt x="546401" y="2387383"/>
                  </a:lnTo>
                  <a:lnTo>
                    <a:pt x="547279" y="2387111"/>
                  </a:lnTo>
                  <a:lnTo>
                    <a:pt x="548126" y="2386263"/>
                  </a:lnTo>
                  <a:lnTo>
                    <a:pt x="548035" y="2387958"/>
                  </a:lnTo>
                  <a:lnTo>
                    <a:pt x="548035" y="2389894"/>
                  </a:lnTo>
                  <a:lnTo>
                    <a:pt x="548247" y="2391497"/>
                  </a:lnTo>
                  <a:lnTo>
                    <a:pt x="548822" y="2392193"/>
                  </a:lnTo>
                  <a:lnTo>
                    <a:pt x="549578" y="2391709"/>
                  </a:lnTo>
                  <a:lnTo>
                    <a:pt x="552361" y="2389198"/>
                  </a:lnTo>
                  <a:lnTo>
                    <a:pt x="553299" y="2388018"/>
                  </a:lnTo>
                  <a:lnTo>
                    <a:pt x="554236" y="2387141"/>
                  </a:lnTo>
                  <a:lnTo>
                    <a:pt x="555205" y="2386778"/>
                  </a:lnTo>
                  <a:lnTo>
                    <a:pt x="555659" y="2385991"/>
                  </a:lnTo>
                  <a:lnTo>
                    <a:pt x="555084" y="2383874"/>
                  </a:lnTo>
                  <a:lnTo>
                    <a:pt x="554085" y="2382754"/>
                  </a:lnTo>
                  <a:lnTo>
                    <a:pt x="552906" y="2382543"/>
                  </a:lnTo>
                  <a:lnTo>
                    <a:pt x="551756" y="2382089"/>
                  </a:lnTo>
                  <a:lnTo>
                    <a:pt x="550909" y="2380334"/>
                  </a:lnTo>
                  <a:lnTo>
                    <a:pt x="553087" y="2381212"/>
                  </a:lnTo>
                  <a:lnTo>
                    <a:pt x="554388" y="2380969"/>
                  </a:lnTo>
                  <a:lnTo>
                    <a:pt x="554599" y="2379517"/>
                  </a:lnTo>
                  <a:lnTo>
                    <a:pt x="553662" y="2376795"/>
                  </a:lnTo>
                  <a:lnTo>
                    <a:pt x="552845" y="2375645"/>
                  </a:lnTo>
                  <a:lnTo>
                    <a:pt x="550969" y="2373679"/>
                  </a:lnTo>
                  <a:lnTo>
                    <a:pt x="550274" y="2372076"/>
                  </a:lnTo>
                  <a:lnTo>
                    <a:pt x="553480" y="2373981"/>
                  </a:lnTo>
                  <a:lnTo>
                    <a:pt x="556536" y="2375101"/>
                  </a:lnTo>
                  <a:lnTo>
                    <a:pt x="563342" y="2375766"/>
                  </a:lnTo>
                  <a:lnTo>
                    <a:pt x="563342" y="2374465"/>
                  </a:lnTo>
                  <a:lnTo>
                    <a:pt x="561981" y="2374465"/>
                  </a:lnTo>
                  <a:lnTo>
                    <a:pt x="561981" y="2373286"/>
                  </a:lnTo>
                  <a:lnTo>
                    <a:pt x="564159" y="2373286"/>
                  </a:lnTo>
                  <a:lnTo>
                    <a:pt x="563161" y="2370865"/>
                  </a:lnTo>
                  <a:lnTo>
                    <a:pt x="561739" y="2369323"/>
                  </a:lnTo>
                  <a:lnTo>
                    <a:pt x="559984" y="2368627"/>
                  </a:lnTo>
                  <a:lnTo>
                    <a:pt x="557867" y="2368627"/>
                  </a:lnTo>
                  <a:lnTo>
                    <a:pt x="559198" y="2367356"/>
                  </a:lnTo>
                  <a:lnTo>
                    <a:pt x="557927" y="2365753"/>
                  </a:lnTo>
                  <a:lnTo>
                    <a:pt x="554448" y="2362244"/>
                  </a:lnTo>
                  <a:lnTo>
                    <a:pt x="553329" y="2361578"/>
                  </a:lnTo>
                  <a:lnTo>
                    <a:pt x="552058" y="2361155"/>
                  </a:lnTo>
                  <a:lnTo>
                    <a:pt x="551272" y="2360126"/>
                  </a:lnTo>
                  <a:lnTo>
                    <a:pt x="550697" y="2358735"/>
                  </a:lnTo>
                  <a:lnTo>
                    <a:pt x="549941" y="2357283"/>
                  </a:lnTo>
                  <a:lnTo>
                    <a:pt x="545585" y="2352110"/>
                  </a:lnTo>
                  <a:lnTo>
                    <a:pt x="539867" y="2348359"/>
                  </a:lnTo>
                  <a:lnTo>
                    <a:pt x="536419" y="2345152"/>
                  </a:lnTo>
                  <a:lnTo>
                    <a:pt x="535269" y="2343155"/>
                  </a:lnTo>
                  <a:lnTo>
                    <a:pt x="534452" y="2340069"/>
                  </a:lnTo>
                  <a:lnTo>
                    <a:pt x="546795" y="2349750"/>
                  </a:lnTo>
                  <a:lnTo>
                    <a:pt x="554751" y="2361004"/>
                  </a:lnTo>
                  <a:lnTo>
                    <a:pt x="556173" y="2362486"/>
                  </a:lnTo>
                  <a:lnTo>
                    <a:pt x="560983" y="2365693"/>
                  </a:lnTo>
                  <a:lnTo>
                    <a:pt x="562707" y="2366298"/>
                  </a:lnTo>
                  <a:lnTo>
                    <a:pt x="563403" y="2365118"/>
                  </a:lnTo>
                  <a:lnTo>
                    <a:pt x="560256" y="2362728"/>
                  </a:lnTo>
                  <a:lnTo>
                    <a:pt x="538597" y="2340130"/>
                  </a:lnTo>
                  <a:lnTo>
                    <a:pt x="538597" y="2338829"/>
                  </a:lnTo>
                  <a:lnTo>
                    <a:pt x="540593" y="2339495"/>
                  </a:lnTo>
                  <a:lnTo>
                    <a:pt x="541289" y="2340130"/>
                  </a:lnTo>
                  <a:lnTo>
                    <a:pt x="542045" y="2338829"/>
                  </a:lnTo>
                  <a:lnTo>
                    <a:pt x="540654" y="2336560"/>
                  </a:lnTo>
                  <a:lnTo>
                    <a:pt x="545070" y="2338103"/>
                  </a:lnTo>
                  <a:lnTo>
                    <a:pt x="547037" y="2339404"/>
                  </a:lnTo>
                  <a:lnTo>
                    <a:pt x="548912" y="2341340"/>
                  </a:lnTo>
                  <a:lnTo>
                    <a:pt x="549880" y="2340281"/>
                  </a:lnTo>
                  <a:lnTo>
                    <a:pt x="550334" y="2338890"/>
                  </a:lnTo>
                  <a:lnTo>
                    <a:pt x="550243" y="2337256"/>
                  </a:lnTo>
                  <a:lnTo>
                    <a:pt x="549608" y="2335502"/>
                  </a:lnTo>
                  <a:lnTo>
                    <a:pt x="550122" y="2334987"/>
                  </a:lnTo>
                  <a:lnTo>
                    <a:pt x="551121" y="2333566"/>
                  </a:lnTo>
                  <a:lnTo>
                    <a:pt x="551635" y="2333051"/>
                  </a:lnTo>
                  <a:lnTo>
                    <a:pt x="545797" y="2330510"/>
                  </a:lnTo>
                  <a:lnTo>
                    <a:pt x="543044" y="2327031"/>
                  </a:lnTo>
                  <a:lnTo>
                    <a:pt x="542287" y="2325791"/>
                  </a:lnTo>
                  <a:lnTo>
                    <a:pt x="542015" y="2324611"/>
                  </a:lnTo>
                  <a:lnTo>
                    <a:pt x="542408" y="2323038"/>
                  </a:lnTo>
                  <a:lnTo>
                    <a:pt x="543165" y="2322130"/>
                  </a:lnTo>
                  <a:lnTo>
                    <a:pt x="544102" y="2322009"/>
                  </a:lnTo>
                  <a:lnTo>
                    <a:pt x="557141" y="2335532"/>
                  </a:lnTo>
                  <a:lnTo>
                    <a:pt x="556233" y="2334806"/>
                  </a:lnTo>
                  <a:lnTo>
                    <a:pt x="555235" y="2334292"/>
                  </a:lnTo>
                  <a:lnTo>
                    <a:pt x="554176" y="2334080"/>
                  </a:lnTo>
                  <a:lnTo>
                    <a:pt x="553027" y="2334231"/>
                  </a:lnTo>
                  <a:lnTo>
                    <a:pt x="553692" y="2335653"/>
                  </a:lnTo>
                  <a:lnTo>
                    <a:pt x="554025" y="2337105"/>
                  </a:lnTo>
                  <a:lnTo>
                    <a:pt x="554025" y="2338617"/>
                  </a:lnTo>
                  <a:lnTo>
                    <a:pt x="553722" y="2340160"/>
                  </a:lnTo>
                  <a:lnTo>
                    <a:pt x="557746" y="2340826"/>
                  </a:lnTo>
                  <a:lnTo>
                    <a:pt x="559773" y="2340735"/>
                  </a:lnTo>
                  <a:lnTo>
                    <a:pt x="560650" y="2339525"/>
                  </a:lnTo>
                  <a:lnTo>
                    <a:pt x="560983" y="2335955"/>
                  </a:lnTo>
                  <a:lnTo>
                    <a:pt x="561830" y="2336439"/>
                  </a:lnTo>
                  <a:lnTo>
                    <a:pt x="563826" y="2340765"/>
                  </a:lnTo>
                  <a:lnTo>
                    <a:pt x="565097" y="2342127"/>
                  </a:lnTo>
                  <a:lnTo>
                    <a:pt x="566882" y="2343216"/>
                  </a:lnTo>
                  <a:lnTo>
                    <a:pt x="568606" y="2343216"/>
                  </a:lnTo>
                  <a:lnTo>
                    <a:pt x="569665" y="2341370"/>
                  </a:lnTo>
                  <a:lnTo>
                    <a:pt x="569332" y="2339465"/>
                  </a:lnTo>
                  <a:lnTo>
                    <a:pt x="566398" y="2336863"/>
                  </a:lnTo>
                  <a:lnTo>
                    <a:pt x="565520" y="2334261"/>
                  </a:lnTo>
                  <a:lnTo>
                    <a:pt x="569362" y="2336621"/>
                  </a:lnTo>
                  <a:lnTo>
                    <a:pt x="571087" y="2336621"/>
                  </a:lnTo>
                  <a:lnTo>
                    <a:pt x="570240" y="2335199"/>
                  </a:lnTo>
                  <a:lnTo>
                    <a:pt x="567547" y="2332234"/>
                  </a:lnTo>
                  <a:lnTo>
                    <a:pt x="566973" y="2331236"/>
                  </a:lnTo>
                  <a:lnTo>
                    <a:pt x="566821" y="2328453"/>
                  </a:lnTo>
                  <a:lnTo>
                    <a:pt x="566337" y="2326729"/>
                  </a:lnTo>
                  <a:lnTo>
                    <a:pt x="565581" y="2326366"/>
                  </a:lnTo>
                  <a:lnTo>
                    <a:pt x="564552" y="2327666"/>
                  </a:lnTo>
                  <a:lnTo>
                    <a:pt x="563403" y="2328453"/>
                  </a:lnTo>
                  <a:lnTo>
                    <a:pt x="562525" y="2326971"/>
                  </a:lnTo>
                  <a:lnTo>
                    <a:pt x="561436" y="2323734"/>
                  </a:lnTo>
                  <a:lnTo>
                    <a:pt x="561376" y="2323552"/>
                  </a:lnTo>
                  <a:lnTo>
                    <a:pt x="559893" y="2323280"/>
                  </a:lnTo>
                  <a:lnTo>
                    <a:pt x="558684" y="2323552"/>
                  </a:lnTo>
                  <a:lnTo>
                    <a:pt x="556415" y="2319317"/>
                  </a:lnTo>
                  <a:lnTo>
                    <a:pt x="555810" y="2316957"/>
                  </a:lnTo>
                  <a:lnTo>
                    <a:pt x="557171" y="2315082"/>
                  </a:lnTo>
                  <a:lnTo>
                    <a:pt x="558502" y="2315657"/>
                  </a:lnTo>
                  <a:lnTo>
                    <a:pt x="560620" y="2320920"/>
                  </a:lnTo>
                  <a:lnTo>
                    <a:pt x="562737" y="2322221"/>
                  </a:lnTo>
                  <a:lnTo>
                    <a:pt x="561406" y="2320285"/>
                  </a:lnTo>
                  <a:lnTo>
                    <a:pt x="561890" y="2319226"/>
                  </a:lnTo>
                  <a:lnTo>
                    <a:pt x="564794" y="2317472"/>
                  </a:lnTo>
                  <a:lnTo>
                    <a:pt x="565641" y="2318803"/>
                  </a:lnTo>
                  <a:lnTo>
                    <a:pt x="566519" y="2319347"/>
                  </a:lnTo>
                  <a:lnTo>
                    <a:pt x="567396" y="2318924"/>
                  </a:lnTo>
                  <a:lnTo>
                    <a:pt x="568213" y="2317472"/>
                  </a:lnTo>
                  <a:lnTo>
                    <a:pt x="566791" y="2314870"/>
                  </a:lnTo>
                  <a:lnTo>
                    <a:pt x="565248" y="2313811"/>
                  </a:lnTo>
                  <a:lnTo>
                    <a:pt x="563494" y="2313116"/>
                  </a:lnTo>
                  <a:lnTo>
                    <a:pt x="561376" y="2311603"/>
                  </a:lnTo>
                  <a:lnTo>
                    <a:pt x="562858" y="2311875"/>
                  </a:lnTo>
                  <a:lnTo>
                    <a:pt x="564008" y="2311421"/>
                  </a:lnTo>
                  <a:lnTo>
                    <a:pt x="564552" y="2310151"/>
                  </a:lnTo>
                  <a:lnTo>
                    <a:pt x="564280" y="2307912"/>
                  </a:lnTo>
                  <a:lnTo>
                    <a:pt x="566428" y="2307005"/>
                  </a:lnTo>
                  <a:lnTo>
                    <a:pt x="564431" y="2303617"/>
                  </a:lnTo>
                  <a:lnTo>
                    <a:pt x="560953" y="2299412"/>
                  </a:lnTo>
                  <a:lnTo>
                    <a:pt x="558744" y="2295963"/>
                  </a:lnTo>
                  <a:lnTo>
                    <a:pt x="559379" y="2296054"/>
                  </a:lnTo>
                  <a:lnTo>
                    <a:pt x="560771" y="2295902"/>
                  </a:lnTo>
                  <a:lnTo>
                    <a:pt x="561436" y="2295963"/>
                  </a:lnTo>
                  <a:lnTo>
                    <a:pt x="559984" y="2292908"/>
                  </a:lnTo>
                  <a:lnTo>
                    <a:pt x="555961" y="2289308"/>
                  </a:lnTo>
                  <a:lnTo>
                    <a:pt x="554509" y="2286252"/>
                  </a:lnTo>
                  <a:lnTo>
                    <a:pt x="558986" y="2289338"/>
                  </a:lnTo>
                  <a:lnTo>
                    <a:pt x="564976" y="2295600"/>
                  </a:lnTo>
                  <a:lnTo>
                    <a:pt x="570603" y="2298988"/>
                  </a:lnTo>
                  <a:lnTo>
                    <a:pt x="573870" y="2293452"/>
                  </a:lnTo>
                  <a:lnTo>
                    <a:pt x="572932" y="2292756"/>
                  </a:lnTo>
                  <a:lnTo>
                    <a:pt x="572024" y="2291546"/>
                  </a:lnTo>
                  <a:lnTo>
                    <a:pt x="571692" y="2290427"/>
                  </a:lnTo>
                  <a:lnTo>
                    <a:pt x="572478" y="2289943"/>
                  </a:lnTo>
                  <a:lnTo>
                    <a:pt x="573719" y="2290336"/>
                  </a:lnTo>
                  <a:lnTo>
                    <a:pt x="574596" y="2290820"/>
                  </a:lnTo>
                  <a:lnTo>
                    <a:pt x="575110" y="2290397"/>
                  </a:lnTo>
                  <a:lnTo>
                    <a:pt x="575292" y="2288067"/>
                  </a:lnTo>
                  <a:lnTo>
                    <a:pt x="575019" y="2285556"/>
                  </a:lnTo>
                  <a:lnTo>
                    <a:pt x="574263" y="2283227"/>
                  </a:lnTo>
                  <a:lnTo>
                    <a:pt x="573144" y="2281352"/>
                  </a:lnTo>
                  <a:lnTo>
                    <a:pt x="571813" y="2280262"/>
                  </a:lnTo>
                  <a:lnTo>
                    <a:pt x="572206" y="2279990"/>
                  </a:lnTo>
                  <a:lnTo>
                    <a:pt x="573174" y="2278962"/>
                  </a:lnTo>
                  <a:lnTo>
                    <a:pt x="565762" y="2274787"/>
                  </a:lnTo>
                  <a:lnTo>
                    <a:pt x="563494" y="2274273"/>
                  </a:lnTo>
                  <a:lnTo>
                    <a:pt x="563494" y="2273063"/>
                  </a:lnTo>
                  <a:lnTo>
                    <a:pt x="567154" y="2272518"/>
                  </a:lnTo>
                  <a:lnTo>
                    <a:pt x="568303" y="2271853"/>
                  </a:lnTo>
                  <a:lnTo>
                    <a:pt x="568697" y="2271036"/>
                  </a:lnTo>
                  <a:lnTo>
                    <a:pt x="568848" y="2269886"/>
                  </a:lnTo>
                  <a:lnTo>
                    <a:pt x="568848" y="2268827"/>
                  </a:lnTo>
                  <a:lnTo>
                    <a:pt x="568969" y="2268283"/>
                  </a:lnTo>
                  <a:lnTo>
                    <a:pt x="569574" y="2268222"/>
                  </a:lnTo>
                  <a:lnTo>
                    <a:pt x="571238" y="2268555"/>
                  </a:lnTo>
                  <a:lnTo>
                    <a:pt x="571782" y="2268313"/>
                  </a:lnTo>
                  <a:lnTo>
                    <a:pt x="572781" y="2265137"/>
                  </a:lnTo>
                  <a:lnTo>
                    <a:pt x="570784" y="2264774"/>
                  </a:lnTo>
                  <a:lnTo>
                    <a:pt x="564855" y="2265923"/>
                  </a:lnTo>
                  <a:lnTo>
                    <a:pt x="565490" y="2267527"/>
                  </a:lnTo>
                  <a:lnTo>
                    <a:pt x="565490" y="2268646"/>
                  </a:lnTo>
                  <a:lnTo>
                    <a:pt x="565006" y="2269311"/>
                  </a:lnTo>
                  <a:lnTo>
                    <a:pt x="563887" y="2269523"/>
                  </a:lnTo>
                  <a:lnTo>
                    <a:pt x="562646" y="2269009"/>
                  </a:lnTo>
                  <a:lnTo>
                    <a:pt x="562435" y="2267799"/>
                  </a:lnTo>
                  <a:lnTo>
                    <a:pt x="562798" y="2265953"/>
                  </a:lnTo>
                  <a:lnTo>
                    <a:pt x="561285" y="2264411"/>
                  </a:lnTo>
                  <a:lnTo>
                    <a:pt x="557595" y="2261718"/>
                  </a:lnTo>
                  <a:lnTo>
                    <a:pt x="555931" y="2259843"/>
                  </a:lnTo>
                  <a:lnTo>
                    <a:pt x="570361" y="2262354"/>
                  </a:lnTo>
                  <a:lnTo>
                    <a:pt x="569967" y="2258209"/>
                  </a:lnTo>
                  <a:lnTo>
                    <a:pt x="569483" y="2257241"/>
                  </a:lnTo>
                  <a:lnTo>
                    <a:pt x="568273" y="2256334"/>
                  </a:lnTo>
                  <a:lnTo>
                    <a:pt x="568031" y="2256999"/>
                  </a:lnTo>
                  <a:lnTo>
                    <a:pt x="566670" y="2257907"/>
                  </a:lnTo>
                  <a:lnTo>
                    <a:pt x="565097" y="2258633"/>
                  </a:lnTo>
                  <a:lnTo>
                    <a:pt x="564220" y="2258723"/>
                  </a:lnTo>
                  <a:lnTo>
                    <a:pt x="563705" y="2257150"/>
                  </a:lnTo>
                  <a:lnTo>
                    <a:pt x="563887" y="2255698"/>
                  </a:lnTo>
                  <a:lnTo>
                    <a:pt x="564250" y="2254246"/>
                  </a:lnTo>
                  <a:lnTo>
                    <a:pt x="564250" y="2252613"/>
                  </a:lnTo>
                  <a:lnTo>
                    <a:pt x="563282" y="2250344"/>
                  </a:lnTo>
                  <a:lnTo>
                    <a:pt x="561951" y="2249467"/>
                  </a:lnTo>
                  <a:lnTo>
                    <a:pt x="558653" y="2249103"/>
                  </a:lnTo>
                  <a:lnTo>
                    <a:pt x="537387" y="2238515"/>
                  </a:lnTo>
                  <a:lnTo>
                    <a:pt x="533786" y="2238031"/>
                  </a:lnTo>
                  <a:lnTo>
                    <a:pt x="536691" y="2236519"/>
                  </a:lnTo>
                  <a:lnTo>
                    <a:pt x="546583" y="2239665"/>
                  </a:lnTo>
                  <a:lnTo>
                    <a:pt x="552452" y="2243114"/>
                  </a:lnTo>
                  <a:lnTo>
                    <a:pt x="564764" y="2245262"/>
                  </a:lnTo>
                  <a:lnTo>
                    <a:pt x="565490" y="2245564"/>
                  </a:lnTo>
                  <a:lnTo>
                    <a:pt x="566851" y="2246502"/>
                  </a:lnTo>
                  <a:lnTo>
                    <a:pt x="567577" y="2246623"/>
                  </a:lnTo>
                  <a:lnTo>
                    <a:pt x="568122" y="2246199"/>
                  </a:lnTo>
                  <a:lnTo>
                    <a:pt x="569302" y="2244566"/>
                  </a:lnTo>
                  <a:lnTo>
                    <a:pt x="569967" y="2244203"/>
                  </a:lnTo>
                  <a:lnTo>
                    <a:pt x="572418" y="2243779"/>
                  </a:lnTo>
                  <a:lnTo>
                    <a:pt x="575836" y="2242539"/>
                  </a:lnTo>
                  <a:lnTo>
                    <a:pt x="578105" y="2240603"/>
                  </a:lnTo>
                  <a:lnTo>
                    <a:pt x="577228" y="2238062"/>
                  </a:lnTo>
                  <a:lnTo>
                    <a:pt x="579406" y="2237063"/>
                  </a:lnTo>
                  <a:lnTo>
                    <a:pt x="584458" y="2237003"/>
                  </a:lnTo>
                  <a:lnTo>
                    <a:pt x="586878" y="2235642"/>
                  </a:lnTo>
                  <a:lnTo>
                    <a:pt x="581312" y="2230801"/>
                  </a:lnTo>
                  <a:lnTo>
                    <a:pt x="577470" y="2229743"/>
                  </a:lnTo>
                  <a:lnTo>
                    <a:pt x="576199" y="2228835"/>
                  </a:lnTo>
                  <a:lnTo>
                    <a:pt x="577198" y="2227171"/>
                  </a:lnTo>
                  <a:lnTo>
                    <a:pt x="577198" y="2225840"/>
                  </a:lnTo>
                  <a:lnTo>
                    <a:pt x="574445" y="2225840"/>
                  </a:lnTo>
                  <a:lnTo>
                    <a:pt x="574445" y="2224842"/>
                  </a:lnTo>
                  <a:lnTo>
                    <a:pt x="574868" y="2224570"/>
                  </a:lnTo>
                  <a:lnTo>
                    <a:pt x="575806" y="2223541"/>
                  </a:lnTo>
                  <a:lnTo>
                    <a:pt x="573174" y="2223057"/>
                  </a:lnTo>
                  <a:lnTo>
                    <a:pt x="571329" y="2221181"/>
                  </a:lnTo>
                  <a:lnTo>
                    <a:pt x="570693" y="2218368"/>
                  </a:lnTo>
                  <a:lnTo>
                    <a:pt x="571661" y="2215101"/>
                  </a:lnTo>
                  <a:lnTo>
                    <a:pt x="570421" y="2215010"/>
                  </a:lnTo>
                  <a:lnTo>
                    <a:pt x="566851" y="2213891"/>
                  </a:lnTo>
                  <a:lnTo>
                    <a:pt x="567033" y="2214738"/>
                  </a:lnTo>
                  <a:lnTo>
                    <a:pt x="567305" y="2216734"/>
                  </a:lnTo>
                  <a:lnTo>
                    <a:pt x="567487" y="2217612"/>
                  </a:lnTo>
                  <a:lnTo>
                    <a:pt x="565702" y="2215948"/>
                  </a:lnTo>
                  <a:lnTo>
                    <a:pt x="561588" y="2215373"/>
                  </a:lnTo>
                  <a:lnTo>
                    <a:pt x="560226" y="2214466"/>
                  </a:lnTo>
                  <a:lnTo>
                    <a:pt x="558351" y="2212378"/>
                  </a:lnTo>
                  <a:lnTo>
                    <a:pt x="556173" y="2211592"/>
                  </a:lnTo>
                  <a:lnTo>
                    <a:pt x="544284" y="2211985"/>
                  </a:lnTo>
                  <a:lnTo>
                    <a:pt x="542953" y="2210866"/>
                  </a:lnTo>
                  <a:lnTo>
                    <a:pt x="537840" y="2208204"/>
                  </a:lnTo>
                  <a:lnTo>
                    <a:pt x="536449" y="2207841"/>
                  </a:lnTo>
                  <a:lnTo>
                    <a:pt x="535299" y="2209383"/>
                  </a:lnTo>
                  <a:lnTo>
                    <a:pt x="534603" y="2211955"/>
                  </a:lnTo>
                  <a:lnTo>
                    <a:pt x="534059" y="2214768"/>
                  </a:lnTo>
                  <a:lnTo>
                    <a:pt x="533363" y="2216976"/>
                  </a:lnTo>
                  <a:lnTo>
                    <a:pt x="532456" y="2217733"/>
                  </a:lnTo>
                  <a:lnTo>
                    <a:pt x="531185" y="2217854"/>
                  </a:lnTo>
                  <a:lnTo>
                    <a:pt x="530035" y="2217218"/>
                  </a:lnTo>
                  <a:lnTo>
                    <a:pt x="529551" y="2215706"/>
                  </a:lnTo>
                  <a:lnTo>
                    <a:pt x="529612" y="2213316"/>
                  </a:lnTo>
                  <a:lnTo>
                    <a:pt x="529551" y="2212711"/>
                  </a:lnTo>
                  <a:lnTo>
                    <a:pt x="529128" y="2212499"/>
                  </a:lnTo>
                  <a:lnTo>
                    <a:pt x="526950" y="2209988"/>
                  </a:lnTo>
                  <a:lnTo>
                    <a:pt x="525740" y="2209383"/>
                  </a:lnTo>
                  <a:lnTo>
                    <a:pt x="524409" y="2209898"/>
                  </a:lnTo>
                  <a:lnTo>
                    <a:pt x="522957" y="2211955"/>
                  </a:lnTo>
                  <a:lnTo>
                    <a:pt x="520869" y="2213498"/>
                  </a:lnTo>
                  <a:lnTo>
                    <a:pt x="516332" y="2211350"/>
                  </a:lnTo>
                  <a:lnTo>
                    <a:pt x="514305" y="2212650"/>
                  </a:lnTo>
                  <a:lnTo>
                    <a:pt x="513700" y="2210805"/>
                  </a:lnTo>
                  <a:lnTo>
                    <a:pt x="512671" y="2210321"/>
                  </a:lnTo>
                  <a:lnTo>
                    <a:pt x="511431" y="2210684"/>
                  </a:lnTo>
                  <a:lnTo>
                    <a:pt x="510160" y="2211319"/>
                  </a:lnTo>
                  <a:lnTo>
                    <a:pt x="510160" y="2210230"/>
                  </a:lnTo>
                  <a:lnTo>
                    <a:pt x="512036" y="2209716"/>
                  </a:lnTo>
                  <a:lnTo>
                    <a:pt x="516271" y="2210624"/>
                  </a:lnTo>
                  <a:lnTo>
                    <a:pt x="517784" y="2210230"/>
                  </a:lnTo>
                  <a:lnTo>
                    <a:pt x="518449" y="2208718"/>
                  </a:lnTo>
                  <a:lnTo>
                    <a:pt x="517995" y="2207175"/>
                  </a:lnTo>
                  <a:lnTo>
                    <a:pt x="516906" y="2205965"/>
                  </a:lnTo>
                  <a:lnTo>
                    <a:pt x="515636" y="2205390"/>
                  </a:lnTo>
                  <a:lnTo>
                    <a:pt x="515636" y="2204059"/>
                  </a:lnTo>
                  <a:lnTo>
                    <a:pt x="550395" y="2207961"/>
                  </a:lnTo>
                  <a:lnTo>
                    <a:pt x="585154" y="2211864"/>
                  </a:lnTo>
                  <a:lnTo>
                    <a:pt x="594078" y="2209020"/>
                  </a:lnTo>
                  <a:lnTo>
                    <a:pt x="596377" y="2209020"/>
                  </a:lnTo>
                  <a:lnTo>
                    <a:pt x="594713" y="2205753"/>
                  </a:lnTo>
                  <a:lnTo>
                    <a:pt x="592928" y="2204331"/>
                  </a:lnTo>
                  <a:lnTo>
                    <a:pt x="588118" y="2204089"/>
                  </a:lnTo>
                  <a:lnTo>
                    <a:pt x="590236" y="2201215"/>
                  </a:lnTo>
                  <a:lnTo>
                    <a:pt x="593866" y="2201851"/>
                  </a:lnTo>
                  <a:lnTo>
                    <a:pt x="599795" y="2205420"/>
                  </a:lnTo>
                  <a:lnTo>
                    <a:pt x="602125" y="2205602"/>
                  </a:lnTo>
                  <a:lnTo>
                    <a:pt x="603637" y="2204029"/>
                  </a:lnTo>
                  <a:lnTo>
                    <a:pt x="605089" y="2201609"/>
                  </a:lnTo>
                  <a:lnTo>
                    <a:pt x="607419" y="2199249"/>
                  </a:lnTo>
                  <a:lnTo>
                    <a:pt x="607419" y="2198160"/>
                  </a:lnTo>
                  <a:lnTo>
                    <a:pt x="605361" y="2197616"/>
                  </a:lnTo>
                  <a:lnTo>
                    <a:pt x="601096" y="2198130"/>
                  </a:lnTo>
                  <a:lnTo>
                    <a:pt x="599009" y="2196829"/>
                  </a:lnTo>
                  <a:lnTo>
                    <a:pt x="599674" y="2196194"/>
                  </a:lnTo>
                  <a:lnTo>
                    <a:pt x="600521" y="2195014"/>
                  </a:lnTo>
                  <a:lnTo>
                    <a:pt x="601156" y="2193532"/>
                  </a:lnTo>
                  <a:lnTo>
                    <a:pt x="601156" y="2191959"/>
                  </a:lnTo>
                  <a:lnTo>
                    <a:pt x="600128" y="2190688"/>
                  </a:lnTo>
                  <a:lnTo>
                    <a:pt x="596951" y="2190295"/>
                  </a:lnTo>
                  <a:lnTo>
                    <a:pt x="595590" y="2189538"/>
                  </a:lnTo>
                  <a:lnTo>
                    <a:pt x="597405" y="2189145"/>
                  </a:lnTo>
                  <a:lnTo>
                    <a:pt x="600340" y="2187481"/>
                  </a:lnTo>
                  <a:lnTo>
                    <a:pt x="601519" y="2187088"/>
                  </a:lnTo>
                  <a:lnTo>
                    <a:pt x="602911" y="2187693"/>
                  </a:lnTo>
                  <a:lnTo>
                    <a:pt x="604938" y="2190779"/>
                  </a:lnTo>
                  <a:lnTo>
                    <a:pt x="606057" y="2191928"/>
                  </a:lnTo>
                  <a:lnTo>
                    <a:pt x="609143" y="2192927"/>
                  </a:lnTo>
                  <a:lnTo>
                    <a:pt x="620578" y="2193168"/>
                  </a:lnTo>
                  <a:lnTo>
                    <a:pt x="620578" y="2189932"/>
                  </a:lnTo>
                  <a:lnTo>
                    <a:pt x="623482" y="2189296"/>
                  </a:lnTo>
                  <a:lnTo>
                    <a:pt x="628776" y="2189508"/>
                  </a:lnTo>
                  <a:lnTo>
                    <a:pt x="630712" y="2187148"/>
                  </a:lnTo>
                  <a:lnTo>
                    <a:pt x="630198" y="2184547"/>
                  </a:lnTo>
                  <a:lnTo>
                    <a:pt x="626749" y="2179646"/>
                  </a:lnTo>
                  <a:lnTo>
                    <a:pt x="639062" y="2182308"/>
                  </a:lnTo>
                  <a:lnTo>
                    <a:pt x="641935" y="2180856"/>
                  </a:lnTo>
                  <a:lnTo>
                    <a:pt x="639515" y="2178829"/>
                  </a:lnTo>
                  <a:lnTo>
                    <a:pt x="638789" y="2178557"/>
                  </a:lnTo>
                  <a:lnTo>
                    <a:pt x="638063" y="2177982"/>
                  </a:lnTo>
                  <a:lnTo>
                    <a:pt x="638214" y="2176651"/>
                  </a:lnTo>
                  <a:lnTo>
                    <a:pt x="639092" y="2173687"/>
                  </a:lnTo>
                  <a:lnTo>
                    <a:pt x="639969" y="2168241"/>
                  </a:lnTo>
                  <a:lnTo>
                    <a:pt x="639576" y="2166275"/>
                  </a:lnTo>
                  <a:lnTo>
                    <a:pt x="637791" y="2165035"/>
                  </a:lnTo>
                  <a:lnTo>
                    <a:pt x="637791" y="2163825"/>
                  </a:lnTo>
                  <a:lnTo>
                    <a:pt x="641119" y="2165458"/>
                  </a:lnTo>
                  <a:lnTo>
                    <a:pt x="648712" y="2171176"/>
                  </a:lnTo>
                  <a:lnTo>
                    <a:pt x="651525" y="2171266"/>
                  </a:lnTo>
                  <a:lnTo>
                    <a:pt x="650799" y="2170752"/>
                  </a:lnTo>
                  <a:lnTo>
                    <a:pt x="650103" y="2169935"/>
                  </a:lnTo>
                  <a:lnTo>
                    <a:pt x="652221" y="2169935"/>
                  </a:lnTo>
                  <a:lnTo>
                    <a:pt x="652221" y="2168816"/>
                  </a:lnTo>
                  <a:lnTo>
                    <a:pt x="649075" y="2166457"/>
                  </a:lnTo>
                  <a:lnTo>
                    <a:pt x="647713" y="2164793"/>
                  </a:lnTo>
                  <a:lnTo>
                    <a:pt x="646715" y="2162584"/>
                  </a:lnTo>
                  <a:lnTo>
                    <a:pt x="648802" y="2162887"/>
                  </a:lnTo>
                  <a:lnTo>
                    <a:pt x="650951" y="2163734"/>
                  </a:lnTo>
                  <a:lnTo>
                    <a:pt x="653038" y="2164006"/>
                  </a:lnTo>
                  <a:lnTo>
                    <a:pt x="654944" y="2162584"/>
                  </a:lnTo>
                  <a:lnTo>
                    <a:pt x="655821" y="2159771"/>
                  </a:lnTo>
                  <a:lnTo>
                    <a:pt x="654520" y="2158652"/>
                  </a:lnTo>
                  <a:lnTo>
                    <a:pt x="653250" y="2157986"/>
                  </a:lnTo>
                  <a:lnTo>
                    <a:pt x="654248" y="2156473"/>
                  </a:lnTo>
                  <a:lnTo>
                    <a:pt x="654248" y="2155264"/>
                  </a:lnTo>
                  <a:lnTo>
                    <a:pt x="653310" y="2155052"/>
                  </a:lnTo>
                  <a:lnTo>
                    <a:pt x="652403" y="2154598"/>
                  </a:lnTo>
                  <a:lnTo>
                    <a:pt x="651586" y="2153842"/>
                  </a:lnTo>
                  <a:lnTo>
                    <a:pt x="650799" y="2152813"/>
                  </a:lnTo>
                  <a:lnTo>
                    <a:pt x="651253" y="2152027"/>
                  </a:lnTo>
                  <a:lnTo>
                    <a:pt x="651737" y="2151361"/>
                  </a:lnTo>
                  <a:lnTo>
                    <a:pt x="651737" y="2151361"/>
                  </a:lnTo>
                  <a:lnTo>
                    <a:pt x="652856" y="2150302"/>
                  </a:lnTo>
                  <a:lnTo>
                    <a:pt x="653824" y="2151179"/>
                  </a:lnTo>
                  <a:lnTo>
                    <a:pt x="654550" y="2148548"/>
                  </a:lnTo>
                  <a:lnTo>
                    <a:pt x="655276" y="2144645"/>
                  </a:lnTo>
                  <a:lnTo>
                    <a:pt x="656305" y="2141832"/>
                  </a:lnTo>
                  <a:lnTo>
                    <a:pt x="654581" y="2139321"/>
                  </a:lnTo>
                  <a:lnTo>
                    <a:pt x="654762" y="2135903"/>
                  </a:lnTo>
                  <a:lnTo>
                    <a:pt x="655185" y="2132061"/>
                  </a:lnTo>
                  <a:lnTo>
                    <a:pt x="654248" y="2128249"/>
                  </a:lnTo>
                  <a:lnTo>
                    <a:pt x="656275" y="2127220"/>
                  </a:lnTo>
                  <a:lnTo>
                    <a:pt x="657908" y="2125708"/>
                  </a:lnTo>
                  <a:lnTo>
                    <a:pt x="659300" y="2123620"/>
                  </a:lnTo>
                  <a:lnTo>
                    <a:pt x="660510" y="2120898"/>
                  </a:lnTo>
                  <a:lnTo>
                    <a:pt x="659088" y="2114757"/>
                  </a:lnTo>
                  <a:lnTo>
                    <a:pt x="660147" y="2115937"/>
                  </a:lnTo>
                  <a:lnTo>
                    <a:pt x="661296" y="2117540"/>
                  </a:lnTo>
                  <a:lnTo>
                    <a:pt x="662204" y="2119446"/>
                  </a:lnTo>
                  <a:lnTo>
                    <a:pt x="662567" y="2121503"/>
                  </a:lnTo>
                  <a:lnTo>
                    <a:pt x="662083" y="2123923"/>
                  </a:lnTo>
                  <a:lnTo>
                    <a:pt x="660056" y="2127977"/>
                  </a:lnTo>
                  <a:lnTo>
                    <a:pt x="659753" y="2130609"/>
                  </a:lnTo>
                  <a:lnTo>
                    <a:pt x="663323" y="2134844"/>
                  </a:lnTo>
                  <a:lnTo>
                    <a:pt x="664231" y="2135630"/>
                  </a:lnTo>
                  <a:lnTo>
                    <a:pt x="665320" y="2134511"/>
                  </a:lnTo>
                  <a:lnTo>
                    <a:pt x="665834" y="2131879"/>
                  </a:lnTo>
                  <a:lnTo>
                    <a:pt x="665985" y="2126283"/>
                  </a:lnTo>
                  <a:lnTo>
                    <a:pt x="666470" y="2124528"/>
                  </a:lnTo>
                  <a:lnTo>
                    <a:pt x="667679" y="2123046"/>
                  </a:lnTo>
                  <a:lnTo>
                    <a:pt x="669041" y="2122471"/>
                  </a:lnTo>
                  <a:lnTo>
                    <a:pt x="670100" y="2123439"/>
                  </a:lnTo>
                  <a:lnTo>
                    <a:pt x="670100" y="2125526"/>
                  </a:lnTo>
                  <a:lnTo>
                    <a:pt x="668829" y="2129792"/>
                  </a:lnTo>
                  <a:lnTo>
                    <a:pt x="669071" y="2130609"/>
                  </a:lnTo>
                  <a:lnTo>
                    <a:pt x="669252" y="2133029"/>
                  </a:lnTo>
                  <a:lnTo>
                    <a:pt x="669313" y="2138474"/>
                  </a:lnTo>
                  <a:lnTo>
                    <a:pt x="668799" y="2143980"/>
                  </a:lnTo>
                  <a:lnTo>
                    <a:pt x="667377" y="2146672"/>
                  </a:lnTo>
                  <a:lnTo>
                    <a:pt x="667377" y="2148003"/>
                  </a:lnTo>
                  <a:lnTo>
                    <a:pt x="668436" y="2151391"/>
                  </a:lnTo>
                  <a:lnTo>
                    <a:pt x="667922" y="2155415"/>
                  </a:lnTo>
                  <a:lnTo>
                    <a:pt x="668163" y="2158773"/>
                  </a:lnTo>
                  <a:lnTo>
                    <a:pt x="671552" y="2160225"/>
                  </a:lnTo>
                  <a:lnTo>
                    <a:pt x="671158" y="2161526"/>
                  </a:lnTo>
                  <a:lnTo>
                    <a:pt x="670795" y="2163583"/>
                  </a:lnTo>
                  <a:lnTo>
                    <a:pt x="670704" y="2165489"/>
                  </a:lnTo>
                  <a:lnTo>
                    <a:pt x="671189" y="2166335"/>
                  </a:lnTo>
                  <a:lnTo>
                    <a:pt x="671884" y="2165852"/>
                  </a:lnTo>
                  <a:lnTo>
                    <a:pt x="672459" y="2164672"/>
                  </a:lnTo>
                  <a:lnTo>
                    <a:pt x="673609" y="2161556"/>
                  </a:lnTo>
                  <a:lnTo>
                    <a:pt x="672005" y="2158470"/>
                  </a:lnTo>
                  <a:lnTo>
                    <a:pt x="670826" y="2154568"/>
                  </a:lnTo>
                  <a:lnTo>
                    <a:pt x="670614" y="2152148"/>
                  </a:lnTo>
                  <a:lnTo>
                    <a:pt x="671884" y="2153418"/>
                  </a:lnTo>
                  <a:lnTo>
                    <a:pt x="673790" y="2156958"/>
                  </a:lnTo>
                  <a:lnTo>
                    <a:pt x="674758" y="2157986"/>
                  </a:lnTo>
                  <a:lnTo>
                    <a:pt x="676361" y="2159015"/>
                  </a:lnTo>
                  <a:lnTo>
                    <a:pt x="677058" y="2159015"/>
                  </a:lnTo>
                  <a:lnTo>
                    <a:pt x="677753" y="2158621"/>
                  </a:lnTo>
                  <a:lnTo>
                    <a:pt x="678510" y="2158621"/>
                  </a:lnTo>
                  <a:lnTo>
                    <a:pt x="679447" y="2159620"/>
                  </a:lnTo>
                  <a:lnTo>
                    <a:pt x="679780" y="2160346"/>
                  </a:lnTo>
                  <a:lnTo>
                    <a:pt x="680506" y="2162675"/>
                  </a:lnTo>
                  <a:lnTo>
                    <a:pt x="679840" y="2165035"/>
                  </a:lnTo>
                  <a:lnTo>
                    <a:pt x="680264" y="2167152"/>
                  </a:lnTo>
                  <a:lnTo>
                    <a:pt x="681323" y="2168846"/>
                  </a:lnTo>
                  <a:lnTo>
                    <a:pt x="682624" y="2169996"/>
                  </a:lnTo>
                  <a:lnTo>
                    <a:pt x="682624" y="2164853"/>
                  </a:lnTo>
                  <a:lnTo>
                    <a:pt x="682775" y="2162433"/>
                  </a:lnTo>
                  <a:lnTo>
                    <a:pt x="683319" y="2160225"/>
                  </a:lnTo>
                  <a:lnTo>
                    <a:pt x="684620" y="2161284"/>
                  </a:lnTo>
                  <a:lnTo>
                    <a:pt x="686435" y="2161284"/>
                  </a:lnTo>
                  <a:lnTo>
                    <a:pt x="688220" y="2160406"/>
                  </a:lnTo>
                  <a:lnTo>
                    <a:pt x="689521" y="2159015"/>
                  </a:lnTo>
                  <a:lnTo>
                    <a:pt x="690459" y="2156595"/>
                  </a:lnTo>
                  <a:lnTo>
                    <a:pt x="690277" y="2155142"/>
                  </a:lnTo>
                  <a:lnTo>
                    <a:pt x="689702" y="2153781"/>
                  </a:lnTo>
                  <a:lnTo>
                    <a:pt x="689551" y="2151664"/>
                  </a:lnTo>
                  <a:lnTo>
                    <a:pt x="691185" y="2147519"/>
                  </a:lnTo>
                  <a:lnTo>
                    <a:pt x="693786" y="2144040"/>
                  </a:lnTo>
                  <a:lnTo>
                    <a:pt x="695329" y="2141015"/>
                  </a:lnTo>
                  <a:lnTo>
                    <a:pt x="693726" y="2138202"/>
                  </a:lnTo>
                  <a:lnTo>
                    <a:pt x="694845" y="2137052"/>
                  </a:lnTo>
                  <a:lnTo>
                    <a:pt x="696055" y="2136961"/>
                  </a:lnTo>
                  <a:lnTo>
                    <a:pt x="698566" y="2138171"/>
                  </a:lnTo>
                  <a:lnTo>
                    <a:pt x="698354" y="2137355"/>
                  </a:lnTo>
                  <a:lnTo>
                    <a:pt x="698022" y="2135267"/>
                  </a:lnTo>
                  <a:lnTo>
                    <a:pt x="697840" y="2134390"/>
                  </a:lnTo>
                  <a:lnTo>
                    <a:pt x="703165" y="2134632"/>
                  </a:lnTo>
                  <a:lnTo>
                    <a:pt x="704435" y="2133785"/>
                  </a:lnTo>
                  <a:lnTo>
                    <a:pt x="706583" y="2129489"/>
                  </a:lnTo>
                  <a:lnTo>
                    <a:pt x="707460" y="2128279"/>
                  </a:lnTo>
                  <a:lnTo>
                    <a:pt x="708791" y="2127644"/>
                  </a:lnTo>
                  <a:lnTo>
                    <a:pt x="712149" y="2127281"/>
                  </a:lnTo>
                  <a:lnTo>
                    <a:pt x="713390" y="2126313"/>
                  </a:lnTo>
                  <a:lnTo>
                    <a:pt x="714630" y="2124619"/>
                  </a:lnTo>
                  <a:lnTo>
                    <a:pt x="716051" y="2123651"/>
                  </a:lnTo>
                  <a:lnTo>
                    <a:pt x="717564" y="2123288"/>
                  </a:lnTo>
                  <a:lnTo>
                    <a:pt x="719228" y="2123469"/>
                  </a:lnTo>
                  <a:lnTo>
                    <a:pt x="719228" y="2124589"/>
                  </a:lnTo>
                  <a:lnTo>
                    <a:pt x="718502" y="2125072"/>
                  </a:lnTo>
                  <a:lnTo>
                    <a:pt x="717836" y="2125708"/>
                  </a:lnTo>
                  <a:lnTo>
                    <a:pt x="719198" y="2126948"/>
                  </a:lnTo>
                  <a:lnTo>
                    <a:pt x="717867" y="2128007"/>
                  </a:lnTo>
                  <a:lnTo>
                    <a:pt x="715083" y="2129580"/>
                  </a:lnTo>
                  <a:lnTo>
                    <a:pt x="713722" y="2130639"/>
                  </a:lnTo>
                  <a:lnTo>
                    <a:pt x="716687" y="2130003"/>
                  </a:lnTo>
                  <a:lnTo>
                    <a:pt x="726125" y="2125708"/>
                  </a:lnTo>
                  <a:lnTo>
                    <a:pt x="725641" y="2124195"/>
                  </a:lnTo>
                  <a:lnTo>
                    <a:pt x="724824" y="2123378"/>
                  </a:lnTo>
                  <a:lnTo>
                    <a:pt x="723826" y="2123167"/>
                  </a:lnTo>
                  <a:lnTo>
                    <a:pt x="722677" y="2123469"/>
                  </a:lnTo>
                  <a:lnTo>
                    <a:pt x="724431" y="2121533"/>
                  </a:lnTo>
                  <a:lnTo>
                    <a:pt x="728061" y="2119658"/>
                  </a:lnTo>
                  <a:lnTo>
                    <a:pt x="731843" y="2118569"/>
                  </a:lnTo>
                  <a:lnTo>
                    <a:pt x="734021" y="2119022"/>
                  </a:lnTo>
                  <a:lnTo>
                    <a:pt x="735140" y="2119990"/>
                  </a:lnTo>
                  <a:lnTo>
                    <a:pt x="736138" y="2119295"/>
                  </a:lnTo>
                  <a:lnTo>
                    <a:pt x="736864" y="2117570"/>
                  </a:lnTo>
                  <a:lnTo>
                    <a:pt x="737137" y="2115453"/>
                  </a:lnTo>
                  <a:lnTo>
                    <a:pt x="736683" y="2113758"/>
                  </a:lnTo>
                  <a:lnTo>
                    <a:pt x="735594" y="2113668"/>
                  </a:lnTo>
                  <a:lnTo>
                    <a:pt x="732932" y="2114787"/>
                  </a:lnTo>
                  <a:lnTo>
                    <a:pt x="732932" y="2113547"/>
                  </a:lnTo>
                  <a:lnTo>
                    <a:pt x="733446" y="2112942"/>
                  </a:lnTo>
                  <a:lnTo>
                    <a:pt x="733749" y="2112397"/>
                  </a:lnTo>
                  <a:lnTo>
                    <a:pt x="733960" y="2111792"/>
                  </a:lnTo>
                  <a:lnTo>
                    <a:pt x="734323" y="2111096"/>
                  </a:lnTo>
                  <a:lnTo>
                    <a:pt x="732387" y="2112246"/>
                  </a:lnTo>
                  <a:lnTo>
                    <a:pt x="731450" y="2110764"/>
                  </a:lnTo>
                  <a:lnTo>
                    <a:pt x="730905" y="2108555"/>
                  </a:lnTo>
                  <a:lnTo>
                    <a:pt x="730179" y="2107406"/>
                  </a:lnTo>
                  <a:lnTo>
                    <a:pt x="728697" y="2107224"/>
                  </a:lnTo>
                  <a:lnTo>
                    <a:pt x="726549" y="2106529"/>
                  </a:lnTo>
                  <a:lnTo>
                    <a:pt x="724945" y="2105197"/>
                  </a:lnTo>
                  <a:lnTo>
                    <a:pt x="724945" y="2103050"/>
                  </a:lnTo>
                  <a:lnTo>
                    <a:pt x="727184" y="2102717"/>
                  </a:lnTo>
                  <a:lnTo>
                    <a:pt x="736350" y="2109765"/>
                  </a:lnTo>
                  <a:lnTo>
                    <a:pt x="734898" y="2106468"/>
                  </a:lnTo>
                  <a:lnTo>
                    <a:pt x="732478" y="2103715"/>
                  </a:lnTo>
                  <a:lnTo>
                    <a:pt x="729786" y="2101809"/>
                  </a:lnTo>
                  <a:lnTo>
                    <a:pt x="727426" y="2101113"/>
                  </a:lnTo>
                  <a:lnTo>
                    <a:pt x="721557" y="2098028"/>
                  </a:lnTo>
                  <a:lnTo>
                    <a:pt x="720922" y="2095759"/>
                  </a:lnTo>
                  <a:lnTo>
                    <a:pt x="721920" y="2094912"/>
                  </a:lnTo>
                  <a:lnTo>
                    <a:pt x="725339" y="2094912"/>
                  </a:lnTo>
                  <a:lnTo>
                    <a:pt x="725339" y="2093702"/>
                  </a:lnTo>
                  <a:lnTo>
                    <a:pt x="724582" y="2092280"/>
                  </a:lnTo>
                  <a:lnTo>
                    <a:pt x="723644" y="2090858"/>
                  </a:lnTo>
                  <a:lnTo>
                    <a:pt x="722495" y="2089588"/>
                  </a:lnTo>
                  <a:lnTo>
                    <a:pt x="721194" y="2088741"/>
                  </a:lnTo>
                  <a:lnTo>
                    <a:pt x="722737" y="2086986"/>
                  </a:lnTo>
                  <a:lnTo>
                    <a:pt x="724370" y="2085625"/>
                  </a:lnTo>
                  <a:lnTo>
                    <a:pt x="726125" y="2084868"/>
                  </a:lnTo>
                  <a:lnTo>
                    <a:pt x="728122" y="2084929"/>
                  </a:lnTo>
                  <a:lnTo>
                    <a:pt x="727910" y="2085746"/>
                  </a:lnTo>
                  <a:lnTo>
                    <a:pt x="727608" y="2087893"/>
                  </a:lnTo>
                  <a:lnTo>
                    <a:pt x="727426" y="2088741"/>
                  </a:lnTo>
                  <a:lnTo>
                    <a:pt x="730088" y="2089890"/>
                  </a:lnTo>
                  <a:lnTo>
                    <a:pt x="738468" y="2088741"/>
                  </a:lnTo>
                  <a:lnTo>
                    <a:pt x="739829" y="2088831"/>
                  </a:lnTo>
                  <a:lnTo>
                    <a:pt x="742733" y="2089678"/>
                  </a:lnTo>
                  <a:lnTo>
                    <a:pt x="743974" y="2090556"/>
                  </a:lnTo>
                  <a:lnTo>
                    <a:pt x="745668" y="2091403"/>
                  </a:lnTo>
                  <a:lnTo>
                    <a:pt x="747301" y="2091070"/>
                  </a:lnTo>
                  <a:lnTo>
                    <a:pt x="748905" y="2090314"/>
                  </a:lnTo>
                  <a:lnTo>
                    <a:pt x="750508" y="2089890"/>
                  </a:lnTo>
                  <a:lnTo>
                    <a:pt x="755771" y="2089618"/>
                  </a:lnTo>
                  <a:lnTo>
                    <a:pt x="757708" y="2088378"/>
                  </a:lnTo>
                  <a:lnTo>
                    <a:pt x="758464" y="2085625"/>
                  </a:lnTo>
                  <a:lnTo>
                    <a:pt x="757072" y="2082599"/>
                  </a:lnTo>
                  <a:lnTo>
                    <a:pt x="753896" y="2080996"/>
                  </a:lnTo>
                  <a:lnTo>
                    <a:pt x="750417" y="2079998"/>
                  </a:lnTo>
                  <a:lnTo>
                    <a:pt x="748148" y="2078757"/>
                  </a:lnTo>
                  <a:lnTo>
                    <a:pt x="750114" y="2079000"/>
                  </a:lnTo>
                  <a:lnTo>
                    <a:pt x="752141" y="2079816"/>
                  </a:lnTo>
                  <a:lnTo>
                    <a:pt x="753866" y="2079816"/>
                  </a:lnTo>
                  <a:lnTo>
                    <a:pt x="755045" y="2077548"/>
                  </a:lnTo>
                  <a:lnTo>
                    <a:pt x="748179" y="2073827"/>
                  </a:lnTo>
                  <a:lnTo>
                    <a:pt x="747997" y="2073131"/>
                  </a:lnTo>
                  <a:lnTo>
                    <a:pt x="747604" y="2070711"/>
                  </a:lnTo>
                  <a:lnTo>
                    <a:pt x="747452" y="2070075"/>
                  </a:lnTo>
                  <a:lnTo>
                    <a:pt x="744851" y="2067867"/>
                  </a:lnTo>
                  <a:lnTo>
                    <a:pt x="742219" y="2066748"/>
                  </a:lnTo>
                  <a:lnTo>
                    <a:pt x="736411" y="2066354"/>
                  </a:lnTo>
                  <a:lnTo>
                    <a:pt x="737500" y="2069470"/>
                  </a:lnTo>
                  <a:lnTo>
                    <a:pt x="739345" y="2071225"/>
                  </a:lnTo>
                  <a:lnTo>
                    <a:pt x="743368" y="2073796"/>
                  </a:lnTo>
                  <a:lnTo>
                    <a:pt x="738559" y="2073796"/>
                  </a:lnTo>
                  <a:lnTo>
                    <a:pt x="739285" y="2076307"/>
                  </a:lnTo>
                  <a:lnTo>
                    <a:pt x="742007" y="2082448"/>
                  </a:lnTo>
                  <a:lnTo>
                    <a:pt x="740797" y="2084384"/>
                  </a:lnTo>
                  <a:lnTo>
                    <a:pt x="739466" y="2084717"/>
                  </a:lnTo>
                  <a:lnTo>
                    <a:pt x="736441" y="2083840"/>
                  </a:lnTo>
                  <a:lnTo>
                    <a:pt x="736985" y="2083295"/>
                  </a:lnTo>
                  <a:lnTo>
                    <a:pt x="737984" y="2081964"/>
                  </a:lnTo>
                  <a:lnTo>
                    <a:pt x="738559" y="2081390"/>
                  </a:lnTo>
                  <a:lnTo>
                    <a:pt x="732720" y="2078576"/>
                  </a:lnTo>
                  <a:lnTo>
                    <a:pt x="725520" y="2077396"/>
                  </a:lnTo>
                  <a:lnTo>
                    <a:pt x="719137" y="2079786"/>
                  </a:lnTo>
                  <a:lnTo>
                    <a:pt x="715688" y="2087591"/>
                  </a:lnTo>
                  <a:lnTo>
                    <a:pt x="715083" y="2087591"/>
                  </a:lnTo>
                  <a:lnTo>
                    <a:pt x="714357" y="2085262"/>
                  </a:lnTo>
                  <a:lnTo>
                    <a:pt x="713299" y="2084989"/>
                  </a:lnTo>
                  <a:lnTo>
                    <a:pt x="710909" y="2086381"/>
                  </a:lnTo>
                  <a:lnTo>
                    <a:pt x="703104" y="2086381"/>
                  </a:lnTo>
                  <a:lnTo>
                    <a:pt x="703104" y="2084233"/>
                  </a:lnTo>
                  <a:lnTo>
                    <a:pt x="704647" y="2084657"/>
                  </a:lnTo>
                  <a:lnTo>
                    <a:pt x="708247" y="2083900"/>
                  </a:lnTo>
                  <a:lnTo>
                    <a:pt x="694422" y="2071528"/>
                  </a:lnTo>
                  <a:lnTo>
                    <a:pt x="695632" y="2071951"/>
                  </a:lnTo>
                  <a:lnTo>
                    <a:pt x="697810" y="2073524"/>
                  </a:lnTo>
                  <a:lnTo>
                    <a:pt x="698960" y="2073857"/>
                  </a:lnTo>
                  <a:lnTo>
                    <a:pt x="700109" y="2073554"/>
                  </a:lnTo>
                  <a:lnTo>
                    <a:pt x="703437" y="2071497"/>
                  </a:lnTo>
                  <a:lnTo>
                    <a:pt x="702650" y="2070136"/>
                  </a:lnTo>
                  <a:lnTo>
                    <a:pt x="702045" y="2067988"/>
                  </a:lnTo>
                  <a:lnTo>
                    <a:pt x="702045" y="2065961"/>
                  </a:lnTo>
                  <a:lnTo>
                    <a:pt x="703104" y="2065084"/>
                  </a:lnTo>
                  <a:lnTo>
                    <a:pt x="703739" y="2064721"/>
                  </a:lnTo>
                  <a:lnTo>
                    <a:pt x="704949" y="2063118"/>
                  </a:lnTo>
                  <a:lnTo>
                    <a:pt x="705494" y="2062694"/>
                  </a:lnTo>
                  <a:lnTo>
                    <a:pt x="706250" y="2062997"/>
                  </a:lnTo>
                  <a:lnTo>
                    <a:pt x="707399" y="2064660"/>
                  </a:lnTo>
                  <a:lnTo>
                    <a:pt x="708186" y="2065054"/>
                  </a:lnTo>
                  <a:lnTo>
                    <a:pt x="709578" y="2064479"/>
                  </a:lnTo>
                  <a:lnTo>
                    <a:pt x="711816" y="2062452"/>
                  </a:lnTo>
                  <a:lnTo>
                    <a:pt x="713087" y="2062664"/>
                  </a:lnTo>
                  <a:lnTo>
                    <a:pt x="713631" y="2063783"/>
                  </a:lnTo>
                  <a:lnTo>
                    <a:pt x="714085" y="2067474"/>
                  </a:lnTo>
                  <a:lnTo>
                    <a:pt x="714418" y="2069017"/>
                  </a:lnTo>
                  <a:lnTo>
                    <a:pt x="713238" y="2068109"/>
                  </a:lnTo>
                  <a:lnTo>
                    <a:pt x="711967" y="2067958"/>
                  </a:lnTo>
                  <a:lnTo>
                    <a:pt x="710727" y="2068321"/>
                  </a:lnTo>
                  <a:lnTo>
                    <a:pt x="709578" y="2069017"/>
                  </a:lnTo>
                  <a:lnTo>
                    <a:pt x="712542" y="2071709"/>
                  </a:lnTo>
                  <a:lnTo>
                    <a:pt x="718502" y="2073463"/>
                  </a:lnTo>
                  <a:lnTo>
                    <a:pt x="724492" y="2073615"/>
                  </a:lnTo>
                  <a:lnTo>
                    <a:pt x="727577" y="2071497"/>
                  </a:lnTo>
                  <a:lnTo>
                    <a:pt x="725550" y="2071285"/>
                  </a:lnTo>
                  <a:lnTo>
                    <a:pt x="723070" y="2070499"/>
                  </a:lnTo>
                  <a:lnTo>
                    <a:pt x="721436" y="2068956"/>
                  </a:lnTo>
                  <a:lnTo>
                    <a:pt x="722041" y="2066445"/>
                  </a:lnTo>
                  <a:lnTo>
                    <a:pt x="720438" y="2064933"/>
                  </a:lnTo>
                  <a:lnTo>
                    <a:pt x="718593" y="2063965"/>
                  </a:lnTo>
                  <a:lnTo>
                    <a:pt x="719984" y="2063541"/>
                  </a:lnTo>
                  <a:lnTo>
                    <a:pt x="722707" y="2063874"/>
                  </a:lnTo>
                  <a:lnTo>
                    <a:pt x="724098" y="2062724"/>
                  </a:lnTo>
                  <a:lnTo>
                    <a:pt x="720680" y="2060244"/>
                  </a:lnTo>
                  <a:lnTo>
                    <a:pt x="720680" y="2059003"/>
                  </a:lnTo>
                  <a:lnTo>
                    <a:pt x="728334" y="2059790"/>
                  </a:lnTo>
                  <a:lnTo>
                    <a:pt x="731813" y="2059185"/>
                  </a:lnTo>
                  <a:lnTo>
                    <a:pt x="735170" y="2056523"/>
                  </a:lnTo>
                  <a:lnTo>
                    <a:pt x="739678" y="2050896"/>
                  </a:lnTo>
                  <a:lnTo>
                    <a:pt x="742310" y="2048627"/>
                  </a:lnTo>
                  <a:lnTo>
                    <a:pt x="747997" y="2046540"/>
                  </a:lnTo>
                  <a:lnTo>
                    <a:pt x="753684" y="2041397"/>
                  </a:lnTo>
                  <a:lnTo>
                    <a:pt x="757980" y="2039642"/>
                  </a:lnTo>
                  <a:lnTo>
                    <a:pt x="760430" y="2037071"/>
                  </a:lnTo>
                  <a:lnTo>
                    <a:pt x="761701" y="2036496"/>
                  </a:lnTo>
                  <a:lnTo>
                    <a:pt x="762639" y="2035619"/>
                  </a:lnTo>
                  <a:lnTo>
                    <a:pt x="761943" y="2033622"/>
                  </a:lnTo>
                  <a:lnTo>
                    <a:pt x="759946" y="2030174"/>
                  </a:lnTo>
                  <a:lnTo>
                    <a:pt x="761217" y="2030265"/>
                  </a:lnTo>
                  <a:lnTo>
                    <a:pt x="762155" y="2031202"/>
                  </a:lnTo>
                  <a:lnTo>
                    <a:pt x="762971" y="2032261"/>
                  </a:lnTo>
                  <a:lnTo>
                    <a:pt x="764000" y="2032775"/>
                  </a:lnTo>
                  <a:lnTo>
                    <a:pt x="764998" y="2032201"/>
                  </a:lnTo>
                  <a:lnTo>
                    <a:pt x="766330" y="2030809"/>
                  </a:lnTo>
                  <a:lnTo>
                    <a:pt x="767539" y="2029115"/>
                  </a:lnTo>
                  <a:lnTo>
                    <a:pt x="768175" y="2027663"/>
                  </a:lnTo>
                  <a:lnTo>
                    <a:pt x="763304" y="2027663"/>
                  </a:lnTo>
                  <a:lnTo>
                    <a:pt x="764151" y="2027088"/>
                  </a:lnTo>
                  <a:lnTo>
                    <a:pt x="764817" y="2026211"/>
                  </a:lnTo>
                  <a:lnTo>
                    <a:pt x="765240" y="2024940"/>
                  </a:lnTo>
                  <a:lnTo>
                    <a:pt x="765392" y="2023307"/>
                  </a:lnTo>
                  <a:lnTo>
                    <a:pt x="765996" y="2022853"/>
                  </a:lnTo>
                  <a:lnTo>
                    <a:pt x="769597" y="2022671"/>
                  </a:lnTo>
                  <a:lnTo>
                    <a:pt x="769808" y="2020040"/>
                  </a:lnTo>
                  <a:lnTo>
                    <a:pt x="772168" y="2018134"/>
                  </a:lnTo>
                  <a:lnTo>
                    <a:pt x="779640" y="2016016"/>
                  </a:lnTo>
                  <a:lnTo>
                    <a:pt x="782090" y="2014473"/>
                  </a:lnTo>
                  <a:lnTo>
                    <a:pt x="784268" y="2012053"/>
                  </a:lnTo>
                  <a:lnTo>
                    <a:pt x="785479" y="2008907"/>
                  </a:lnTo>
                  <a:lnTo>
                    <a:pt x="786235" y="2009905"/>
                  </a:lnTo>
                  <a:lnTo>
                    <a:pt x="787324" y="2012658"/>
                  </a:lnTo>
                  <a:lnTo>
                    <a:pt x="788292" y="2014050"/>
                  </a:lnTo>
                  <a:lnTo>
                    <a:pt x="789865" y="2014897"/>
                  </a:lnTo>
                  <a:lnTo>
                    <a:pt x="791740" y="2014897"/>
                  </a:lnTo>
                  <a:lnTo>
                    <a:pt x="797851" y="2013203"/>
                  </a:lnTo>
                  <a:lnTo>
                    <a:pt x="800060" y="2011811"/>
                  </a:lnTo>
                  <a:lnTo>
                    <a:pt x="801724" y="2009331"/>
                  </a:lnTo>
                  <a:lnTo>
                    <a:pt x="802782" y="2005186"/>
                  </a:lnTo>
                  <a:lnTo>
                    <a:pt x="798457" y="2002826"/>
                  </a:lnTo>
                  <a:lnTo>
                    <a:pt x="773076" y="2003915"/>
                  </a:lnTo>
                  <a:lnTo>
                    <a:pt x="769264" y="2005791"/>
                  </a:lnTo>
                  <a:lnTo>
                    <a:pt x="767419" y="2005791"/>
                  </a:lnTo>
                  <a:lnTo>
                    <a:pt x="767902" y="2003220"/>
                  </a:lnTo>
                  <a:lnTo>
                    <a:pt x="769506" y="2001677"/>
                  </a:lnTo>
                  <a:lnTo>
                    <a:pt x="771775" y="2001193"/>
                  </a:lnTo>
                  <a:lnTo>
                    <a:pt x="776161" y="2001405"/>
                  </a:lnTo>
                  <a:lnTo>
                    <a:pt x="778430" y="2000890"/>
                  </a:lnTo>
                  <a:lnTo>
                    <a:pt x="780275" y="1999499"/>
                  </a:lnTo>
                  <a:lnTo>
                    <a:pt x="786537" y="1990454"/>
                  </a:lnTo>
                  <a:lnTo>
                    <a:pt x="787687" y="1987459"/>
                  </a:lnTo>
                  <a:lnTo>
                    <a:pt x="787233" y="1984313"/>
                  </a:lnTo>
                  <a:lnTo>
                    <a:pt x="783754" y="1978504"/>
                  </a:lnTo>
                  <a:lnTo>
                    <a:pt x="782726" y="1976114"/>
                  </a:lnTo>
                  <a:lnTo>
                    <a:pt x="785811" y="1977718"/>
                  </a:lnTo>
                  <a:lnTo>
                    <a:pt x="789048" y="1981650"/>
                  </a:lnTo>
                  <a:lnTo>
                    <a:pt x="796308" y="1992692"/>
                  </a:lnTo>
                  <a:lnTo>
                    <a:pt x="797670" y="1993630"/>
                  </a:lnTo>
                  <a:lnTo>
                    <a:pt x="800998" y="1993872"/>
                  </a:lnTo>
                  <a:lnTo>
                    <a:pt x="800876" y="1992359"/>
                  </a:lnTo>
                  <a:lnTo>
                    <a:pt x="801028" y="1985008"/>
                  </a:lnTo>
                  <a:lnTo>
                    <a:pt x="801361" y="1982346"/>
                  </a:lnTo>
                  <a:lnTo>
                    <a:pt x="799636" y="1981530"/>
                  </a:lnTo>
                  <a:lnTo>
                    <a:pt x="797851" y="1981197"/>
                  </a:lnTo>
                  <a:lnTo>
                    <a:pt x="798063" y="1982044"/>
                  </a:lnTo>
                  <a:lnTo>
                    <a:pt x="798366" y="1984101"/>
                  </a:lnTo>
                  <a:lnTo>
                    <a:pt x="798547" y="1984978"/>
                  </a:lnTo>
                  <a:lnTo>
                    <a:pt x="797397" y="1985069"/>
                  </a:lnTo>
                  <a:lnTo>
                    <a:pt x="796641" y="1984524"/>
                  </a:lnTo>
                  <a:lnTo>
                    <a:pt x="795129" y="1982346"/>
                  </a:lnTo>
                  <a:lnTo>
                    <a:pt x="795068" y="1981893"/>
                  </a:lnTo>
                  <a:lnTo>
                    <a:pt x="795189" y="1980380"/>
                  </a:lnTo>
                  <a:lnTo>
                    <a:pt x="795129" y="1979926"/>
                  </a:lnTo>
                  <a:lnTo>
                    <a:pt x="794735" y="1979472"/>
                  </a:lnTo>
                  <a:lnTo>
                    <a:pt x="793041" y="1978081"/>
                  </a:lnTo>
                  <a:lnTo>
                    <a:pt x="790742" y="1976719"/>
                  </a:lnTo>
                  <a:lnTo>
                    <a:pt x="786356" y="1975328"/>
                  </a:lnTo>
                  <a:lnTo>
                    <a:pt x="784450" y="1972938"/>
                  </a:lnTo>
                  <a:lnTo>
                    <a:pt x="780941" y="1964347"/>
                  </a:lnTo>
                  <a:lnTo>
                    <a:pt x="776554" y="1950552"/>
                  </a:lnTo>
                  <a:lnTo>
                    <a:pt x="776070" y="1948192"/>
                  </a:lnTo>
                  <a:lnTo>
                    <a:pt x="775858" y="1945076"/>
                  </a:lnTo>
                  <a:lnTo>
                    <a:pt x="776131" y="1942142"/>
                  </a:lnTo>
                  <a:lnTo>
                    <a:pt x="775768" y="1941416"/>
                  </a:lnTo>
                  <a:lnTo>
                    <a:pt x="774406" y="1940660"/>
                  </a:lnTo>
                  <a:lnTo>
                    <a:pt x="770625" y="1942626"/>
                  </a:lnTo>
                  <a:lnTo>
                    <a:pt x="769355" y="1947981"/>
                  </a:lnTo>
                  <a:lnTo>
                    <a:pt x="770292" y="1952821"/>
                  </a:lnTo>
                  <a:lnTo>
                    <a:pt x="772198" y="1957480"/>
                  </a:lnTo>
                  <a:lnTo>
                    <a:pt x="773741" y="1962259"/>
                  </a:lnTo>
                  <a:lnTo>
                    <a:pt x="772954" y="1959930"/>
                  </a:lnTo>
                  <a:lnTo>
                    <a:pt x="768568" y="1953970"/>
                  </a:lnTo>
                  <a:lnTo>
                    <a:pt x="767902" y="1951308"/>
                  </a:lnTo>
                  <a:lnTo>
                    <a:pt x="768054" y="1944895"/>
                  </a:lnTo>
                  <a:lnTo>
                    <a:pt x="767570" y="1941900"/>
                  </a:lnTo>
                  <a:lnTo>
                    <a:pt x="766118" y="1939813"/>
                  </a:lnTo>
                  <a:lnTo>
                    <a:pt x="762608" y="1938935"/>
                  </a:lnTo>
                  <a:lnTo>
                    <a:pt x="759160" y="1935699"/>
                  </a:lnTo>
                  <a:lnTo>
                    <a:pt x="756588" y="1935215"/>
                  </a:lnTo>
                  <a:lnTo>
                    <a:pt x="753926" y="1935699"/>
                  </a:lnTo>
                  <a:lnTo>
                    <a:pt x="751778" y="1936818"/>
                  </a:lnTo>
                  <a:lnTo>
                    <a:pt x="752686" y="1939541"/>
                  </a:lnTo>
                  <a:lnTo>
                    <a:pt x="753049" y="1943110"/>
                  </a:lnTo>
                  <a:lnTo>
                    <a:pt x="752958" y="1946710"/>
                  </a:lnTo>
                  <a:lnTo>
                    <a:pt x="752414" y="1949463"/>
                  </a:lnTo>
                  <a:lnTo>
                    <a:pt x="751778" y="1949463"/>
                  </a:lnTo>
                  <a:lnTo>
                    <a:pt x="751294" y="1946831"/>
                  </a:lnTo>
                  <a:lnTo>
                    <a:pt x="749388" y="1940660"/>
                  </a:lnTo>
                  <a:lnTo>
                    <a:pt x="748935" y="1939238"/>
                  </a:lnTo>
                  <a:lnTo>
                    <a:pt x="748723" y="1936485"/>
                  </a:lnTo>
                  <a:lnTo>
                    <a:pt x="748723" y="1931191"/>
                  </a:lnTo>
                  <a:lnTo>
                    <a:pt x="748330" y="1932673"/>
                  </a:lnTo>
                  <a:lnTo>
                    <a:pt x="747422" y="1933672"/>
                  </a:lnTo>
                  <a:lnTo>
                    <a:pt x="746212" y="1934247"/>
                  </a:lnTo>
                  <a:lnTo>
                    <a:pt x="744518" y="1934247"/>
                  </a:lnTo>
                  <a:lnTo>
                    <a:pt x="743187" y="1933339"/>
                  </a:lnTo>
                  <a:lnTo>
                    <a:pt x="740706" y="1930435"/>
                  </a:lnTo>
                  <a:lnTo>
                    <a:pt x="735836" y="1927228"/>
                  </a:lnTo>
                  <a:lnTo>
                    <a:pt x="733809" y="1924566"/>
                  </a:lnTo>
                  <a:lnTo>
                    <a:pt x="733113" y="1920028"/>
                  </a:lnTo>
                  <a:lnTo>
                    <a:pt x="735594" y="1923084"/>
                  </a:lnTo>
                  <a:lnTo>
                    <a:pt x="736955" y="1924082"/>
                  </a:lnTo>
                  <a:lnTo>
                    <a:pt x="738680" y="1923961"/>
                  </a:lnTo>
                  <a:lnTo>
                    <a:pt x="735382" y="1919484"/>
                  </a:lnTo>
                  <a:lnTo>
                    <a:pt x="730844" y="1915097"/>
                  </a:lnTo>
                  <a:lnTo>
                    <a:pt x="726912" y="1910045"/>
                  </a:lnTo>
                  <a:lnTo>
                    <a:pt x="725520" y="1903481"/>
                  </a:lnTo>
                  <a:lnTo>
                    <a:pt x="730754" y="1911316"/>
                  </a:lnTo>
                  <a:lnTo>
                    <a:pt x="733900" y="1914946"/>
                  </a:lnTo>
                  <a:lnTo>
                    <a:pt x="750326" y="1920906"/>
                  </a:lnTo>
                  <a:lnTo>
                    <a:pt x="754471" y="1918909"/>
                  </a:lnTo>
                  <a:lnTo>
                    <a:pt x="750508" y="1915007"/>
                  </a:lnTo>
                  <a:lnTo>
                    <a:pt x="736562" y="1910015"/>
                  </a:lnTo>
                  <a:lnTo>
                    <a:pt x="737711" y="1908926"/>
                  </a:lnTo>
                  <a:lnTo>
                    <a:pt x="738891" y="1908866"/>
                  </a:lnTo>
                  <a:lnTo>
                    <a:pt x="740132" y="1909077"/>
                  </a:lnTo>
                  <a:lnTo>
                    <a:pt x="741372" y="1908745"/>
                  </a:lnTo>
                  <a:lnTo>
                    <a:pt x="741372" y="1907474"/>
                  </a:lnTo>
                  <a:lnTo>
                    <a:pt x="739103" y="1905508"/>
                  </a:lnTo>
                  <a:lnTo>
                    <a:pt x="738680" y="1904903"/>
                  </a:lnTo>
                  <a:lnTo>
                    <a:pt x="738498" y="1903541"/>
                  </a:lnTo>
                  <a:lnTo>
                    <a:pt x="738498" y="1901757"/>
                  </a:lnTo>
                  <a:lnTo>
                    <a:pt x="738559" y="1900244"/>
                  </a:lnTo>
                  <a:lnTo>
                    <a:pt x="738680" y="1899669"/>
                  </a:lnTo>
                  <a:lnTo>
                    <a:pt x="736683" y="1898278"/>
                  </a:lnTo>
                  <a:lnTo>
                    <a:pt x="729664" y="1898489"/>
                  </a:lnTo>
                  <a:lnTo>
                    <a:pt x="726428" y="1897007"/>
                  </a:lnTo>
                  <a:lnTo>
                    <a:pt x="725127" y="1896735"/>
                  </a:lnTo>
                  <a:lnTo>
                    <a:pt x="723403" y="1897098"/>
                  </a:lnTo>
                  <a:lnTo>
                    <a:pt x="721497" y="1898157"/>
                  </a:lnTo>
                  <a:lnTo>
                    <a:pt x="718804" y="1901030"/>
                  </a:lnTo>
                  <a:lnTo>
                    <a:pt x="717201" y="1902331"/>
                  </a:lnTo>
                  <a:lnTo>
                    <a:pt x="716505" y="1901091"/>
                  </a:lnTo>
                  <a:lnTo>
                    <a:pt x="715809" y="1900123"/>
                  </a:lnTo>
                  <a:lnTo>
                    <a:pt x="714388" y="1898520"/>
                  </a:lnTo>
                  <a:lnTo>
                    <a:pt x="714388" y="1897128"/>
                  </a:lnTo>
                  <a:lnTo>
                    <a:pt x="715688" y="1895525"/>
                  </a:lnTo>
                  <a:lnTo>
                    <a:pt x="718260" y="1893044"/>
                  </a:lnTo>
                  <a:lnTo>
                    <a:pt x="719954" y="1892015"/>
                  </a:lnTo>
                  <a:lnTo>
                    <a:pt x="711544" y="1888930"/>
                  </a:lnTo>
                  <a:lnTo>
                    <a:pt x="707974" y="1886177"/>
                  </a:lnTo>
                  <a:lnTo>
                    <a:pt x="704828" y="1881790"/>
                  </a:lnTo>
                  <a:lnTo>
                    <a:pt x="704495" y="1880762"/>
                  </a:lnTo>
                  <a:lnTo>
                    <a:pt x="703860" y="1877676"/>
                  </a:lnTo>
                  <a:lnTo>
                    <a:pt x="703437" y="1876557"/>
                  </a:lnTo>
                  <a:lnTo>
                    <a:pt x="699988" y="1874107"/>
                  </a:lnTo>
                  <a:lnTo>
                    <a:pt x="695390" y="1869539"/>
                  </a:lnTo>
                  <a:lnTo>
                    <a:pt x="692879" y="1867905"/>
                  </a:lnTo>
                  <a:lnTo>
                    <a:pt x="690277" y="1867693"/>
                  </a:lnTo>
                  <a:lnTo>
                    <a:pt x="690277" y="1866423"/>
                  </a:lnTo>
                  <a:lnTo>
                    <a:pt x="691427" y="1865606"/>
                  </a:lnTo>
                  <a:lnTo>
                    <a:pt x="692304" y="1864214"/>
                  </a:lnTo>
                  <a:lnTo>
                    <a:pt x="692909" y="1862309"/>
                  </a:lnTo>
                  <a:lnTo>
                    <a:pt x="693091" y="1860040"/>
                  </a:lnTo>
                  <a:lnTo>
                    <a:pt x="691034" y="1853505"/>
                  </a:lnTo>
                  <a:lnTo>
                    <a:pt x="688402" y="1851358"/>
                  </a:lnTo>
                  <a:lnTo>
                    <a:pt x="685377" y="1851176"/>
                  </a:lnTo>
                  <a:lnTo>
                    <a:pt x="675061" y="1853989"/>
                  </a:lnTo>
                  <a:lnTo>
                    <a:pt x="669615" y="1858134"/>
                  </a:lnTo>
                  <a:lnTo>
                    <a:pt x="666076" y="1863519"/>
                  </a:lnTo>
                  <a:lnTo>
                    <a:pt x="667528" y="1868934"/>
                  </a:lnTo>
                  <a:lnTo>
                    <a:pt x="667528" y="1870325"/>
                  </a:lnTo>
                  <a:lnTo>
                    <a:pt x="660389" y="1869266"/>
                  </a:lnTo>
                  <a:lnTo>
                    <a:pt x="657122" y="1867119"/>
                  </a:lnTo>
                  <a:lnTo>
                    <a:pt x="655760" y="1863186"/>
                  </a:lnTo>
                  <a:lnTo>
                    <a:pt x="655428" y="1861159"/>
                  </a:lnTo>
                  <a:lnTo>
                    <a:pt x="653976" y="1856924"/>
                  </a:lnTo>
                  <a:lnTo>
                    <a:pt x="653643" y="1854171"/>
                  </a:lnTo>
                  <a:lnTo>
                    <a:pt x="654369" y="1853354"/>
                  </a:lnTo>
                  <a:lnTo>
                    <a:pt x="657938" y="1851267"/>
                  </a:lnTo>
                  <a:lnTo>
                    <a:pt x="659179" y="1849603"/>
                  </a:lnTo>
                  <a:lnTo>
                    <a:pt x="657817" y="1847667"/>
                  </a:lnTo>
                  <a:lnTo>
                    <a:pt x="654096" y="1845428"/>
                  </a:lnTo>
                  <a:lnTo>
                    <a:pt x="652644" y="1843734"/>
                  </a:lnTo>
                  <a:lnTo>
                    <a:pt x="650739" y="1842131"/>
                  </a:lnTo>
                  <a:lnTo>
                    <a:pt x="647925" y="1841889"/>
                  </a:lnTo>
                  <a:lnTo>
                    <a:pt x="634524" y="1844006"/>
                  </a:lnTo>
                  <a:lnTo>
                    <a:pt x="632709" y="1845095"/>
                  </a:lnTo>
                  <a:lnTo>
                    <a:pt x="631136" y="1846578"/>
                  </a:lnTo>
                  <a:lnTo>
                    <a:pt x="630773" y="1846669"/>
                  </a:lnTo>
                  <a:lnTo>
                    <a:pt x="629078" y="1847122"/>
                  </a:lnTo>
                  <a:lnTo>
                    <a:pt x="627022" y="1846850"/>
                  </a:lnTo>
                  <a:lnTo>
                    <a:pt x="625418" y="1845761"/>
                  </a:lnTo>
                  <a:lnTo>
                    <a:pt x="625418" y="1844460"/>
                  </a:lnTo>
                  <a:lnTo>
                    <a:pt x="629532" y="1841889"/>
                  </a:lnTo>
                  <a:lnTo>
                    <a:pt x="624057" y="1837412"/>
                  </a:lnTo>
                  <a:lnTo>
                    <a:pt x="620790" y="1836111"/>
                  </a:lnTo>
                  <a:lnTo>
                    <a:pt x="618763" y="1833358"/>
                  </a:lnTo>
                  <a:lnTo>
                    <a:pt x="616766" y="1832723"/>
                  </a:lnTo>
                  <a:lnTo>
                    <a:pt x="615708" y="1832965"/>
                  </a:lnTo>
                  <a:lnTo>
                    <a:pt x="613439" y="1833933"/>
                  </a:lnTo>
                  <a:lnTo>
                    <a:pt x="612229" y="1834144"/>
                  </a:lnTo>
                  <a:lnTo>
                    <a:pt x="611563" y="1833721"/>
                  </a:lnTo>
                  <a:lnTo>
                    <a:pt x="611563" y="1832844"/>
                  </a:lnTo>
                  <a:lnTo>
                    <a:pt x="612017" y="1831966"/>
                  </a:lnTo>
                  <a:lnTo>
                    <a:pt x="614376" y="1831119"/>
                  </a:lnTo>
                  <a:lnTo>
                    <a:pt x="618158" y="1828518"/>
                  </a:lnTo>
                  <a:lnTo>
                    <a:pt x="620880" y="1825432"/>
                  </a:lnTo>
                  <a:lnTo>
                    <a:pt x="624148" y="1823738"/>
                  </a:lnTo>
                  <a:lnTo>
                    <a:pt x="625388" y="1822407"/>
                  </a:lnTo>
                  <a:lnTo>
                    <a:pt x="626598" y="1819654"/>
                  </a:lnTo>
                  <a:lnTo>
                    <a:pt x="626084" y="1819019"/>
                  </a:lnTo>
                  <a:lnTo>
                    <a:pt x="624541" y="1819140"/>
                  </a:lnTo>
                  <a:lnTo>
                    <a:pt x="622635" y="1818565"/>
                  </a:lnTo>
                  <a:lnTo>
                    <a:pt x="621274" y="1816992"/>
                  </a:lnTo>
                  <a:lnTo>
                    <a:pt x="621213" y="1815358"/>
                  </a:lnTo>
                  <a:lnTo>
                    <a:pt x="621486" y="1813422"/>
                  </a:lnTo>
                  <a:lnTo>
                    <a:pt x="621213" y="1810942"/>
                  </a:lnTo>
                  <a:lnTo>
                    <a:pt x="620487" y="1810185"/>
                  </a:lnTo>
                  <a:lnTo>
                    <a:pt x="619640" y="1810579"/>
                  </a:lnTo>
                  <a:lnTo>
                    <a:pt x="618884" y="1810488"/>
                  </a:lnTo>
                  <a:lnTo>
                    <a:pt x="618490" y="1808249"/>
                  </a:lnTo>
                  <a:lnTo>
                    <a:pt x="618733" y="1807221"/>
                  </a:lnTo>
                  <a:lnTo>
                    <a:pt x="619428" y="1806434"/>
                  </a:lnTo>
                  <a:lnTo>
                    <a:pt x="620336" y="1805920"/>
                  </a:lnTo>
                  <a:lnTo>
                    <a:pt x="621153" y="1805678"/>
                  </a:lnTo>
                  <a:lnTo>
                    <a:pt x="617523" y="1794848"/>
                  </a:lnTo>
                  <a:lnTo>
                    <a:pt x="617069" y="1794001"/>
                  </a:lnTo>
                  <a:lnTo>
                    <a:pt x="616192" y="1793608"/>
                  </a:lnTo>
                  <a:lnTo>
                    <a:pt x="614558" y="1794606"/>
                  </a:lnTo>
                  <a:lnTo>
                    <a:pt x="614256" y="1794001"/>
                  </a:lnTo>
                  <a:lnTo>
                    <a:pt x="613378" y="1791702"/>
                  </a:lnTo>
                  <a:lnTo>
                    <a:pt x="613106" y="1790401"/>
                  </a:lnTo>
                  <a:lnTo>
                    <a:pt x="613378" y="1788041"/>
                  </a:lnTo>
                  <a:lnTo>
                    <a:pt x="612622" y="1787587"/>
                  </a:lnTo>
                  <a:lnTo>
                    <a:pt x="610837" y="1787406"/>
                  </a:lnTo>
                  <a:lnTo>
                    <a:pt x="608689" y="1785288"/>
                  </a:lnTo>
                  <a:lnTo>
                    <a:pt x="608599" y="1784532"/>
                  </a:lnTo>
                  <a:lnTo>
                    <a:pt x="608719" y="1782203"/>
                  </a:lnTo>
                  <a:lnTo>
                    <a:pt x="609627" y="1776939"/>
                  </a:lnTo>
                  <a:lnTo>
                    <a:pt x="611714" y="1774579"/>
                  </a:lnTo>
                  <a:lnTo>
                    <a:pt x="617704" y="1773097"/>
                  </a:lnTo>
                  <a:lnTo>
                    <a:pt x="616494" y="1771191"/>
                  </a:lnTo>
                  <a:lnTo>
                    <a:pt x="614044" y="1770889"/>
                  </a:lnTo>
                  <a:lnTo>
                    <a:pt x="608750" y="1771645"/>
                  </a:lnTo>
                  <a:lnTo>
                    <a:pt x="609445" y="1771191"/>
                  </a:lnTo>
                  <a:lnTo>
                    <a:pt x="611563" y="1769164"/>
                  </a:lnTo>
                  <a:lnTo>
                    <a:pt x="610655" y="1768348"/>
                  </a:lnTo>
                  <a:lnTo>
                    <a:pt x="609899" y="1767349"/>
                  </a:lnTo>
                  <a:lnTo>
                    <a:pt x="609536" y="1766563"/>
                  </a:lnTo>
                  <a:lnTo>
                    <a:pt x="609778" y="1764112"/>
                  </a:lnTo>
                  <a:lnTo>
                    <a:pt x="610292" y="1761511"/>
                  </a:lnTo>
                  <a:lnTo>
                    <a:pt x="611018" y="1759454"/>
                  </a:lnTo>
                  <a:lnTo>
                    <a:pt x="611926" y="1758607"/>
                  </a:lnTo>
                  <a:lnTo>
                    <a:pt x="612682" y="1758153"/>
                  </a:lnTo>
                  <a:lnTo>
                    <a:pt x="612924" y="1757094"/>
                  </a:lnTo>
                  <a:lnTo>
                    <a:pt x="612743" y="1755793"/>
                  </a:lnTo>
                  <a:lnTo>
                    <a:pt x="612259" y="1754674"/>
                  </a:lnTo>
                  <a:lnTo>
                    <a:pt x="611291" y="1754099"/>
                  </a:lnTo>
                  <a:lnTo>
                    <a:pt x="608568" y="1754099"/>
                  </a:lnTo>
                  <a:lnTo>
                    <a:pt x="607449" y="1753494"/>
                  </a:lnTo>
                  <a:lnTo>
                    <a:pt x="610020" y="1753434"/>
                  </a:lnTo>
                  <a:lnTo>
                    <a:pt x="611170" y="1751861"/>
                  </a:lnTo>
                  <a:lnTo>
                    <a:pt x="610807" y="1749410"/>
                  </a:lnTo>
                  <a:lnTo>
                    <a:pt x="608750" y="1746809"/>
                  </a:lnTo>
                  <a:lnTo>
                    <a:pt x="610323" y="1745235"/>
                  </a:lnTo>
                  <a:lnTo>
                    <a:pt x="611049" y="1743662"/>
                  </a:lnTo>
                  <a:lnTo>
                    <a:pt x="611533" y="1738822"/>
                  </a:lnTo>
                  <a:lnTo>
                    <a:pt x="608054" y="1736311"/>
                  </a:lnTo>
                  <a:lnTo>
                    <a:pt x="609990" y="1733286"/>
                  </a:lnTo>
                  <a:lnTo>
                    <a:pt x="612622" y="1732076"/>
                  </a:lnTo>
                  <a:lnTo>
                    <a:pt x="614195" y="1730352"/>
                  </a:lnTo>
                  <a:lnTo>
                    <a:pt x="612924" y="1725723"/>
                  </a:lnTo>
                  <a:lnTo>
                    <a:pt x="610928" y="1722517"/>
                  </a:lnTo>
                  <a:lnTo>
                    <a:pt x="608024" y="1719068"/>
                  </a:lnTo>
                  <a:lnTo>
                    <a:pt x="604998" y="1716315"/>
                  </a:lnTo>
                  <a:lnTo>
                    <a:pt x="602548" y="1715196"/>
                  </a:lnTo>
                  <a:lnTo>
                    <a:pt x="602548" y="1713895"/>
                  </a:lnTo>
                  <a:lnTo>
                    <a:pt x="604696" y="1714137"/>
                  </a:lnTo>
                  <a:lnTo>
                    <a:pt x="606390" y="1714833"/>
                  </a:lnTo>
                  <a:lnTo>
                    <a:pt x="611624" y="1719613"/>
                  </a:lnTo>
                  <a:lnTo>
                    <a:pt x="613408" y="1720127"/>
                  </a:lnTo>
                  <a:lnTo>
                    <a:pt x="617734" y="1720369"/>
                  </a:lnTo>
                  <a:lnTo>
                    <a:pt x="615254" y="1719007"/>
                  </a:lnTo>
                  <a:lnTo>
                    <a:pt x="612198" y="1718070"/>
                  </a:lnTo>
                  <a:lnTo>
                    <a:pt x="609506" y="1716315"/>
                  </a:lnTo>
                  <a:lnTo>
                    <a:pt x="608054" y="1712473"/>
                  </a:lnTo>
                  <a:lnTo>
                    <a:pt x="614286" y="1715347"/>
                  </a:lnTo>
                  <a:lnTo>
                    <a:pt x="617553" y="1715952"/>
                  </a:lnTo>
                  <a:lnTo>
                    <a:pt x="620578" y="1715226"/>
                  </a:lnTo>
                  <a:lnTo>
                    <a:pt x="613106" y="1710779"/>
                  </a:lnTo>
                  <a:lnTo>
                    <a:pt x="612924" y="1708662"/>
                  </a:lnTo>
                  <a:lnTo>
                    <a:pt x="609597" y="1707179"/>
                  </a:lnTo>
                  <a:lnTo>
                    <a:pt x="606662" y="1704578"/>
                  </a:lnTo>
                  <a:lnTo>
                    <a:pt x="603758" y="1699889"/>
                  </a:lnTo>
                  <a:lnTo>
                    <a:pt x="603244" y="1698800"/>
                  </a:lnTo>
                  <a:lnTo>
                    <a:pt x="603698" y="1696863"/>
                  </a:lnTo>
                  <a:lnTo>
                    <a:pt x="605634" y="1695139"/>
                  </a:lnTo>
                  <a:lnTo>
                    <a:pt x="606541" y="1691509"/>
                  </a:lnTo>
                  <a:lnTo>
                    <a:pt x="607630" y="1692174"/>
                  </a:lnTo>
                  <a:lnTo>
                    <a:pt x="608780" y="1693990"/>
                  </a:lnTo>
                  <a:lnTo>
                    <a:pt x="609536" y="1695472"/>
                  </a:lnTo>
                  <a:lnTo>
                    <a:pt x="610414" y="1694232"/>
                  </a:lnTo>
                  <a:lnTo>
                    <a:pt x="611381" y="1693385"/>
                  </a:lnTo>
                  <a:lnTo>
                    <a:pt x="612501" y="1692900"/>
                  </a:lnTo>
                  <a:lnTo>
                    <a:pt x="613650" y="1692749"/>
                  </a:lnTo>
                  <a:lnTo>
                    <a:pt x="614649" y="1692144"/>
                  </a:lnTo>
                  <a:lnTo>
                    <a:pt x="615102" y="1690783"/>
                  </a:lnTo>
                  <a:lnTo>
                    <a:pt x="615012" y="1689422"/>
                  </a:lnTo>
                  <a:lnTo>
                    <a:pt x="614316" y="1688817"/>
                  </a:lnTo>
                  <a:lnTo>
                    <a:pt x="613348" y="1689391"/>
                  </a:lnTo>
                  <a:lnTo>
                    <a:pt x="612804" y="1690571"/>
                  </a:lnTo>
                  <a:lnTo>
                    <a:pt x="612168" y="1691569"/>
                  </a:lnTo>
                  <a:lnTo>
                    <a:pt x="610867" y="1691569"/>
                  </a:lnTo>
                  <a:lnTo>
                    <a:pt x="609808" y="1690783"/>
                  </a:lnTo>
                  <a:lnTo>
                    <a:pt x="609022" y="1689452"/>
                  </a:lnTo>
                  <a:lnTo>
                    <a:pt x="608599" y="1687849"/>
                  </a:lnTo>
                  <a:lnTo>
                    <a:pt x="608024" y="1686185"/>
                  </a:lnTo>
                  <a:lnTo>
                    <a:pt x="608962" y="1684279"/>
                  </a:lnTo>
                  <a:lnTo>
                    <a:pt x="609990" y="1683160"/>
                  </a:lnTo>
                  <a:lnTo>
                    <a:pt x="610535" y="1681919"/>
                  </a:lnTo>
                  <a:lnTo>
                    <a:pt x="610081" y="1679590"/>
                  </a:lnTo>
                  <a:lnTo>
                    <a:pt x="609203" y="1678592"/>
                  </a:lnTo>
                  <a:lnTo>
                    <a:pt x="605241" y="1676807"/>
                  </a:lnTo>
                  <a:lnTo>
                    <a:pt x="605241" y="1675597"/>
                  </a:lnTo>
                  <a:lnTo>
                    <a:pt x="609445" y="1675597"/>
                  </a:lnTo>
                  <a:lnTo>
                    <a:pt x="609445" y="1674145"/>
                  </a:lnTo>
                  <a:lnTo>
                    <a:pt x="608356" y="1673630"/>
                  </a:lnTo>
                  <a:lnTo>
                    <a:pt x="605815" y="1673025"/>
                  </a:lnTo>
                  <a:lnTo>
                    <a:pt x="603970" y="1671331"/>
                  </a:lnTo>
                  <a:lnTo>
                    <a:pt x="601701" y="1670575"/>
                  </a:lnTo>
                  <a:lnTo>
                    <a:pt x="600793" y="1669577"/>
                  </a:lnTo>
                  <a:lnTo>
                    <a:pt x="601822" y="1668488"/>
                  </a:lnTo>
                  <a:lnTo>
                    <a:pt x="611503" y="1668851"/>
                  </a:lnTo>
                  <a:lnTo>
                    <a:pt x="611503" y="1667519"/>
                  </a:lnTo>
                  <a:lnTo>
                    <a:pt x="601036" y="1665523"/>
                  </a:lnTo>
                  <a:lnTo>
                    <a:pt x="598404" y="1663405"/>
                  </a:lnTo>
                  <a:lnTo>
                    <a:pt x="603093" y="1662861"/>
                  </a:lnTo>
                  <a:lnTo>
                    <a:pt x="607388" y="1660895"/>
                  </a:lnTo>
                  <a:lnTo>
                    <a:pt x="606299" y="1658807"/>
                  </a:lnTo>
                  <a:lnTo>
                    <a:pt x="604726" y="1658081"/>
                  </a:lnTo>
                  <a:lnTo>
                    <a:pt x="601126" y="1658263"/>
                  </a:lnTo>
                  <a:lnTo>
                    <a:pt x="601126" y="1656931"/>
                  </a:lnTo>
                  <a:lnTo>
                    <a:pt x="607902" y="1656508"/>
                  </a:lnTo>
                  <a:lnTo>
                    <a:pt x="610081" y="1656931"/>
                  </a:lnTo>
                  <a:lnTo>
                    <a:pt x="613711" y="1659079"/>
                  </a:lnTo>
                  <a:lnTo>
                    <a:pt x="615465" y="1659412"/>
                  </a:lnTo>
                  <a:lnTo>
                    <a:pt x="617674" y="1658263"/>
                  </a:lnTo>
                  <a:lnTo>
                    <a:pt x="615435" y="1655691"/>
                  </a:lnTo>
                  <a:lnTo>
                    <a:pt x="602488" y="1652938"/>
                  </a:lnTo>
                  <a:lnTo>
                    <a:pt x="604696" y="1651063"/>
                  </a:lnTo>
                  <a:lnTo>
                    <a:pt x="609294" y="1652908"/>
                  </a:lnTo>
                  <a:lnTo>
                    <a:pt x="612168" y="1651759"/>
                  </a:lnTo>
                  <a:lnTo>
                    <a:pt x="610202" y="1650488"/>
                  </a:lnTo>
                  <a:lnTo>
                    <a:pt x="609445" y="1650307"/>
                  </a:lnTo>
                  <a:lnTo>
                    <a:pt x="609445" y="1648976"/>
                  </a:lnTo>
                  <a:lnTo>
                    <a:pt x="612047" y="1648824"/>
                  </a:lnTo>
                  <a:lnTo>
                    <a:pt x="615738" y="1647705"/>
                  </a:lnTo>
                  <a:lnTo>
                    <a:pt x="618854" y="1645557"/>
                  </a:lnTo>
                  <a:lnTo>
                    <a:pt x="619731" y="1642290"/>
                  </a:lnTo>
                  <a:lnTo>
                    <a:pt x="612833" y="1638297"/>
                  </a:lnTo>
                  <a:lnTo>
                    <a:pt x="609385" y="1638448"/>
                  </a:lnTo>
                  <a:lnTo>
                    <a:pt x="607842" y="1637692"/>
                  </a:lnTo>
                  <a:lnTo>
                    <a:pt x="606602" y="1635514"/>
                  </a:lnTo>
                  <a:lnTo>
                    <a:pt x="615284" y="1635181"/>
                  </a:lnTo>
                  <a:lnTo>
                    <a:pt x="619550" y="1636270"/>
                  </a:lnTo>
                  <a:lnTo>
                    <a:pt x="623240" y="1639507"/>
                  </a:lnTo>
                  <a:lnTo>
                    <a:pt x="622877" y="1642441"/>
                  </a:lnTo>
                  <a:lnTo>
                    <a:pt x="624238" y="1643984"/>
                  </a:lnTo>
                  <a:lnTo>
                    <a:pt x="628050" y="1644922"/>
                  </a:lnTo>
                  <a:lnTo>
                    <a:pt x="626689" y="1641413"/>
                  </a:lnTo>
                  <a:lnTo>
                    <a:pt x="626174" y="1639477"/>
                  </a:lnTo>
                  <a:lnTo>
                    <a:pt x="625993" y="1636935"/>
                  </a:lnTo>
                  <a:lnTo>
                    <a:pt x="629200" y="1638690"/>
                  </a:lnTo>
                  <a:lnTo>
                    <a:pt x="631317" y="1641897"/>
                  </a:lnTo>
                  <a:lnTo>
                    <a:pt x="635008" y="1650246"/>
                  </a:lnTo>
                  <a:lnTo>
                    <a:pt x="636309" y="1652273"/>
                  </a:lnTo>
                  <a:lnTo>
                    <a:pt x="637640" y="1653543"/>
                  </a:lnTo>
                  <a:lnTo>
                    <a:pt x="639213" y="1654179"/>
                  </a:lnTo>
                  <a:lnTo>
                    <a:pt x="641209" y="1654360"/>
                  </a:lnTo>
                  <a:lnTo>
                    <a:pt x="642722" y="1653120"/>
                  </a:lnTo>
                  <a:lnTo>
                    <a:pt x="643327" y="1650246"/>
                  </a:lnTo>
                  <a:lnTo>
                    <a:pt x="643660" y="1646888"/>
                  </a:lnTo>
                  <a:lnTo>
                    <a:pt x="644295" y="1644317"/>
                  </a:lnTo>
                  <a:lnTo>
                    <a:pt x="645112" y="1642169"/>
                  </a:lnTo>
                  <a:lnTo>
                    <a:pt x="645112" y="1639991"/>
                  </a:lnTo>
                  <a:lnTo>
                    <a:pt x="644507" y="1637752"/>
                  </a:lnTo>
                  <a:lnTo>
                    <a:pt x="643297" y="1635453"/>
                  </a:lnTo>
                  <a:lnTo>
                    <a:pt x="641391" y="1633698"/>
                  </a:lnTo>
                  <a:lnTo>
                    <a:pt x="639637" y="1633910"/>
                  </a:lnTo>
                  <a:lnTo>
                    <a:pt x="637882" y="1634909"/>
                  </a:lnTo>
                  <a:lnTo>
                    <a:pt x="632920" y="1636119"/>
                  </a:lnTo>
                  <a:lnTo>
                    <a:pt x="632104" y="1635060"/>
                  </a:lnTo>
                  <a:lnTo>
                    <a:pt x="631559" y="1631490"/>
                  </a:lnTo>
                  <a:lnTo>
                    <a:pt x="631680" y="1628344"/>
                  </a:lnTo>
                  <a:lnTo>
                    <a:pt x="632043" y="1625440"/>
                  </a:lnTo>
                  <a:lnTo>
                    <a:pt x="631801" y="1623232"/>
                  </a:lnTo>
                  <a:lnTo>
                    <a:pt x="630138" y="1622294"/>
                  </a:lnTo>
                  <a:lnTo>
                    <a:pt x="630138" y="1620842"/>
                  </a:lnTo>
                  <a:lnTo>
                    <a:pt x="631287" y="1620630"/>
                  </a:lnTo>
                  <a:lnTo>
                    <a:pt x="632285" y="1619934"/>
                  </a:lnTo>
                  <a:lnTo>
                    <a:pt x="633072" y="1618694"/>
                  </a:lnTo>
                  <a:lnTo>
                    <a:pt x="633556" y="1616818"/>
                  </a:lnTo>
                  <a:lnTo>
                    <a:pt x="628322" y="1618210"/>
                  </a:lnTo>
                  <a:lnTo>
                    <a:pt x="627022" y="1617423"/>
                  </a:lnTo>
                  <a:lnTo>
                    <a:pt x="626689" y="1616334"/>
                  </a:lnTo>
                  <a:lnTo>
                    <a:pt x="626810" y="1615275"/>
                  </a:lnTo>
                  <a:lnTo>
                    <a:pt x="627203" y="1614307"/>
                  </a:lnTo>
                  <a:lnTo>
                    <a:pt x="627717" y="1613400"/>
                  </a:lnTo>
                  <a:lnTo>
                    <a:pt x="628322" y="1611675"/>
                  </a:lnTo>
                  <a:lnTo>
                    <a:pt x="628111" y="1610647"/>
                  </a:lnTo>
                  <a:lnTo>
                    <a:pt x="627626" y="1610133"/>
                  </a:lnTo>
                  <a:lnTo>
                    <a:pt x="627354" y="1609981"/>
                  </a:lnTo>
                  <a:lnTo>
                    <a:pt x="627203" y="1609981"/>
                  </a:lnTo>
                  <a:lnTo>
                    <a:pt x="627203" y="1608439"/>
                  </a:lnTo>
                  <a:lnTo>
                    <a:pt x="627294" y="1606956"/>
                  </a:lnTo>
                  <a:lnTo>
                    <a:pt x="627385" y="1607289"/>
                  </a:lnTo>
                  <a:lnTo>
                    <a:pt x="627717" y="1606321"/>
                  </a:lnTo>
                  <a:lnTo>
                    <a:pt x="629139" y="1605292"/>
                  </a:lnTo>
                  <a:lnTo>
                    <a:pt x="629442" y="1603991"/>
                  </a:lnTo>
                  <a:lnTo>
                    <a:pt x="629169" y="1602479"/>
                  </a:lnTo>
                  <a:lnTo>
                    <a:pt x="627778" y="1599030"/>
                  </a:lnTo>
                  <a:lnTo>
                    <a:pt x="627385" y="1596550"/>
                  </a:lnTo>
                  <a:lnTo>
                    <a:pt x="627385" y="1594069"/>
                  </a:lnTo>
                  <a:lnTo>
                    <a:pt x="627778" y="1591921"/>
                  </a:lnTo>
                  <a:lnTo>
                    <a:pt x="628443" y="1590409"/>
                  </a:lnTo>
                  <a:lnTo>
                    <a:pt x="629442" y="1589804"/>
                  </a:lnTo>
                  <a:lnTo>
                    <a:pt x="631590" y="1589078"/>
                  </a:lnTo>
                  <a:lnTo>
                    <a:pt x="631862" y="1587323"/>
                  </a:lnTo>
                  <a:lnTo>
                    <a:pt x="631620" y="1585115"/>
                  </a:lnTo>
                  <a:lnTo>
                    <a:pt x="632194" y="1583088"/>
                  </a:lnTo>
                  <a:lnTo>
                    <a:pt x="633283" y="1582452"/>
                  </a:lnTo>
                  <a:lnTo>
                    <a:pt x="638094" y="1581726"/>
                  </a:lnTo>
                  <a:lnTo>
                    <a:pt x="639062" y="1580910"/>
                  </a:lnTo>
                  <a:lnTo>
                    <a:pt x="638275" y="1579125"/>
                  </a:lnTo>
                  <a:lnTo>
                    <a:pt x="636793" y="1577310"/>
                  </a:lnTo>
                  <a:lnTo>
                    <a:pt x="635613" y="1576312"/>
                  </a:lnTo>
                  <a:lnTo>
                    <a:pt x="638940" y="1571955"/>
                  </a:lnTo>
                  <a:lnTo>
                    <a:pt x="639909" y="1569293"/>
                  </a:lnTo>
                  <a:lnTo>
                    <a:pt x="637731" y="1568113"/>
                  </a:lnTo>
                  <a:lnTo>
                    <a:pt x="639788" y="1566480"/>
                  </a:lnTo>
                  <a:lnTo>
                    <a:pt x="640332" y="1564846"/>
                  </a:lnTo>
                  <a:lnTo>
                    <a:pt x="640272" y="1562426"/>
                  </a:lnTo>
                  <a:lnTo>
                    <a:pt x="640483" y="1558524"/>
                  </a:lnTo>
                  <a:lnTo>
                    <a:pt x="641179" y="1555801"/>
                  </a:lnTo>
                  <a:lnTo>
                    <a:pt x="642904" y="1552413"/>
                  </a:lnTo>
                  <a:lnTo>
                    <a:pt x="643206" y="1551808"/>
                  </a:lnTo>
                  <a:lnTo>
                    <a:pt x="643902" y="1549206"/>
                  </a:lnTo>
                  <a:lnTo>
                    <a:pt x="643841" y="1547361"/>
                  </a:lnTo>
                  <a:lnTo>
                    <a:pt x="643569" y="1544517"/>
                  </a:lnTo>
                  <a:lnTo>
                    <a:pt x="643448" y="1541311"/>
                  </a:lnTo>
                  <a:lnTo>
                    <a:pt x="643902" y="1538406"/>
                  </a:lnTo>
                  <a:lnTo>
                    <a:pt x="644960" y="1536501"/>
                  </a:lnTo>
                  <a:lnTo>
                    <a:pt x="646564" y="1535109"/>
                  </a:lnTo>
                  <a:lnTo>
                    <a:pt x="648379" y="1534655"/>
                  </a:lnTo>
                  <a:lnTo>
                    <a:pt x="650043" y="1535684"/>
                  </a:lnTo>
                  <a:lnTo>
                    <a:pt x="647260" y="1540766"/>
                  </a:lnTo>
                  <a:lnTo>
                    <a:pt x="647532" y="1541704"/>
                  </a:lnTo>
                  <a:lnTo>
                    <a:pt x="650073" y="1541069"/>
                  </a:lnTo>
                  <a:lnTo>
                    <a:pt x="658453" y="1535654"/>
                  </a:lnTo>
                  <a:lnTo>
                    <a:pt x="656396" y="1533929"/>
                  </a:lnTo>
                  <a:lnTo>
                    <a:pt x="653098" y="1532144"/>
                  </a:lnTo>
                  <a:lnTo>
                    <a:pt x="649831" y="1531297"/>
                  </a:lnTo>
                  <a:lnTo>
                    <a:pt x="647804" y="1532235"/>
                  </a:lnTo>
                  <a:lnTo>
                    <a:pt x="639122" y="1527486"/>
                  </a:lnTo>
                  <a:lnTo>
                    <a:pt x="640393" y="1526276"/>
                  </a:lnTo>
                  <a:lnTo>
                    <a:pt x="641028" y="1525943"/>
                  </a:lnTo>
                  <a:lnTo>
                    <a:pt x="641966" y="1526003"/>
                  </a:lnTo>
                  <a:lnTo>
                    <a:pt x="641966" y="1524793"/>
                  </a:lnTo>
                  <a:lnTo>
                    <a:pt x="640816" y="1523644"/>
                  </a:lnTo>
                  <a:lnTo>
                    <a:pt x="640000" y="1521738"/>
                  </a:lnTo>
                  <a:lnTo>
                    <a:pt x="639334" y="1519620"/>
                  </a:lnTo>
                  <a:lnTo>
                    <a:pt x="638547" y="1517866"/>
                  </a:lnTo>
                  <a:lnTo>
                    <a:pt x="636914" y="1516111"/>
                  </a:lnTo>
                  <a:lnTo>
                    <a:pt x="635522" y="1515839"/>
                  </a:lnTo>
                  <a:lnTo>
                    <a:pt x="632376" y="1516535"/>
                  </a:lnTo>
                  <a:lnTo>
                    <a:pt x="631166" y="1515657"/>
                  </a:lnTo>
                  <a:lnTo>
                    <a:pt x="629895" y="1513570"/>
                  </a:lnTo>
                  <a:lnTo>
                    <a:pt x="629109" y="1511059"/>
                  </a:lnTo>
                  <a:lnTo>
                    <a:pt x="629230" y="1508972"/>
                  </a:lnTo>
                  <a:lnTo>
                    <a:pt x="629744" y="1506431"/>
                  </a:lnTo>
                  <a:lnTo>
                    <a:pt x="629139" y="1504283"/>
                  </a:lnTo>
                  <a:lnTo>
                    <a:pt x="627959" y="1502589"/>
                  </a:lnTo>
                  <a:lnTo>
                    <a:pt x="626810" y="1501409"/>
                  </a:lnTo>
                  <a:lnTo>
                    <a:pt x="627778" y="1501530"/>
                  </a:lnTo>
                  <a:lnTo>
                    <a:pt x="629018" y="1501409"/>
                  </a:lnTo>
                  <a:lnTo>
                    <a:pt x="630168" y="1500955"/>
                  </a:lnTo>
                  <a:lnTo>
                    <a:pt x="630924" y="1500048"/>
                  </a:lnTo>
                  <a:lnTo>
                    <a:pt x="631045" y="1498838"/>
                  </a:lnTo>
                  <a:lnTo>
                    <a:pt x="630984" y="1497053"/>
                  </a:lnTo>
                  <a:lnTo>
                    <a:pt x="630803" y="1495419"/>
                  </a:lnTo>
                  <a:lnTo>
                    <a:pt x="630561" y="1494723"/>
                  </a:lnTo>
                  <a:lnTo>
                    <a:pt x="626084" y="1487766"/>
                  </a:lnTo>
                  <a:lnTo>
                    <a:pt x="626084" y="1484650"/>
                  </a:lnTo>
                  <a:lnTo>
                    <a:pt x="627203" y="1482562"/>
                  </a:lnTo>
                  <a:lnTo>
                    <a:pt x="628927" y="1481383"/>
                  </a:lnTo>
                  <a:lnTo>
                    <a:pt x="630954" y="1481020"/>
                  </a:lnTo>
                  <a:lnTo>
                    <a:pt x="632648" y="1479900"/>
                  </a:lnTo>
                  <a:lnTo>
                    <a:pt x="633707" y="1475030"/>
                  </a:lnTo>
                  <a:lnTo>
                    <a:pt x="635795" y="1473941"/>
                  </a:lnTo>
                  <a:lnTo>
                    <a:pt x="636944" y="1474818"/>
                  </a:lnTo>
                  <a:lnTo>
                    <a:pt x="641300" y="1481020"/>
                  </a:lnTo>
                  <a:lnTo>
                    <a:pt x="645808" y="1489218"/>
                  </a:lnTo>
                  <a:lnTo>
                    <a:pt x="646352" y="1489641"/>
                  </a:lnTo>
                  <a:lnTo>
                    <a:pt x="648228" y="1492515"/>
                  </a:lnTo>
                  <a:lnTo>
                    <a:pt x="649408" y="1493423"/>
                  </a:lnTo>
                  <a:lnTo>
                    <a:pt x="650890" y="1494118"/>
                  </a:lnTo>
                  <a:lnTo>
                    <a:pt x="664080" y="1494693"/>
                  </a:lnTo>
                  <a:lnTo>
                    <a:pt x="662930" y="1492061"/>
                  </a:lnTo>
                  <a:lnTo>
                    <a:pt x="660933" y="1491123"/>
                  </a:lnTo>
                  <a:lnTo>
                    <a:pt x="659300" y="1489913"/>
                  </a:lnTo>
                  <a:lnTo>
                    <a:pt x="659239" y="1486495"/>
                  </a:lnTo>
                  <a:lnTo>
                    <a:pt x="660479" y="1484287"/>
                  </a:lnTo>
                  <a:lnTo>
                    <a:pt x="662688" y="1482623"/>
                  </a:lnTo>
                  <a:lnTo>
                    <a:pt x="666863" y="1481020"/>
                  </a:lnTo>
                  <a:lnTo>
                    <a:pt x="672036" y="1481020"/>
                  </a:lnTo>
                  <a:lnTo>
                    <a:pt x="672973" y="1481594"/>
                  </a:lnTo>
                  <a:lnTo>
                    <a:pt x="674698" y="1484287"/>
                  </a:lnTo>
                  <a:lnTo>
                    <a:pt x="675787" y="1485013"/>
                  </a:lnTo>
                  <a:lnTo>
                    <a:pt x="677784" y="1484226"/>
                  </a:lnTo>
                  <a:lnTo>
                    <a:pt x="679629" y="1481988"/>
                  </a:lnTo>
                  <a:lnTo>
                    <a:pt x="682775" y="1476633"/>
                  </a:lnTo>
                  <a:lnTo>
                    <a:pt x="681353" y="1473910"/>
                  </a:lnTo>
                  <a:lnTo>
                    <a:pt x="683561" y="1472973"/>
                  </a:lnTo>
                  <a:lnTo>
                    <a:pt x="684439" y="1472247"/>
                  </a:lnTo>
                  <a:lnTo>
                    <a:pt x="684802" y="1470613"/>
                  </a:lnTo>
                  <a:lnTo>
                    <a:pt x="684862" y="1469131"/>
                  </a:lnTo>
                  <a:lnTo>
                    <a:pt x="685014" y="1467467"/>
                  </a:lnTo>
                  <a:lnTo>
                    <a:pt x="686103" y="1461144"/>
                  </a:lnTo>
                  <a:lnTo>
                    <a:pt x="686586" y="1459601"/>
                  </a:lnTo>
                  <a:lnTo>
                    <a:pt x="687222" y="1458936"/>
                  </a:lnTo>
                  <a:lnTo>
                    <a:pt x="688583" y="1459087"/>
                  </a:lnTo>
                  <a:lnTo>
                    <a:pt x="688886" y="1459692"/>
                  </a:lnTo>
                  <a:lnTo>
                    <a:pt x="688825" y="1460902"/>
                  </a:lnTo>
                  <a:lnTo>
                    <a:pt x="689612" y="1466862"/>
                  </a:lnTo>
                  <a:lnTo>
                    <a:pt x="689763" y="1469343"/>
                  </a:lnTo>
                  <a:lnTo>
                    <a:pt x="690398" y="1469978"/>
                  </a:lnTo>
                  <a:lnTo>
                    <a:pt x="697840" y="1463625"/>
                  </a:lnTo>
                  <a:lnTo>
                    <a:pt x="700018" y="1462899"/>
                  </a:lnTo>
                  <a:lnTo>
                    <a:pt x="699020" y="1461991"/>
                  </a:lnTo>
                  <a:lnTo>
                    <a:pt x="698385" y="1460721"/>
                  </a:lnTo>
                  <a:lnTo>
                    <a:pt x="698022" y="1458996"/>
                  </a:lnTo>
                  <a:lnTo>
                    <a:pt x="697931" y="1456788"/>
                  </a:lnTo>
                  <a:lnTo>
                    <a:pt x="682684" y="1450375"/>
                  </a:lnTo>
                  <a:lnTo>
                    <a:pt x="680688" y="1447804"/>
                  </a:lnTo>
                  <a:lnTo>
                    <a:pt x="686920" y="1447804"/>
                  </a:lnTo>
                  <a:lnTo>
                    <a:pt x="688039" y="1448257"/>
                  </a:lnTo>
                  <a:lnTo>
                    <a:pt x="690338" y="1450163"/>
                  </a:lnTo>
                  <a:lnTo>
                    <a:pt x="691064" y="1450556"/>
                  </a:lnTo>
                  <a:lnTo>
                    <a:pt x="692032" y="1450435"/>
                  </a:lnTo>
                  <a:lnTo>
                    <a:pt x="692940" y="1450042"/>
                  </a:lnTo>
                  <a:lnTo>
                    <a:pt x="693333" y="1449044"/>
                  </a:lnTo>
                  <a:lnTo>
                    <a:pt x="692788" y="1447077"/>
                  </a:lnTo>
                  <a:lnTo>
                    <a:pt x="692667" y="1445807"/>
                  </a:lnTo>
                  <a:lnTo>
                    <a:pt x="693605" y="1442388"/>
                  </a:lnTo>
                  <a:lnTo>
                    <a:pt x="693847" y="1440150"/>
                  </a:lnTo>
                  <a:lnTo>
                    <a:pt x="693091" y="1436368"/>
                  </a:lnTo>
                  <a:lnTo>
                    <a:pt x="689763" y="1431437"/>
                  </a:lnTo>
                  <a:lnTo>
                    <a:pt x="689007" y="1429169"/>
                  </a:lnTo>
                  <a:lnTo>
                    <a:pt x="689188" y="1425296"/>
                  </a:lnTo>
                  <a:lnTo>
                    <a:pt x="688795" y="1424601"/>
                  </a:lnTo>
                  <a:lnTo>
                    <a:pt x="687585" y="1422906"/>
                  </a:lnTo>
                  <a:lnTo>
                    <a:pt x="686405" y="1421666"/>
                  </a:lnTo>
                  <a:lnTo>
                    <a:pt x="682018" y="1418762"/>
                  </a:lnTo>
                  <a:lnTo>
                    <a:pt x="682018" y="1417280"/>
                  </a:lnTo>
                  <a:lnTo>
                    <a:pt x="683652" y="1413831"/>
                  </a:lnTo>
                  <a:lnTo>
                    <a:pt x="682442" y="1407569"/>
                  </a:lnTo>
                  <a:lnTo>
                    <a:pt x="680052" y="1401125"/>
                  </a:lnTo>
                  <a:lnTo>
                    <a:pt x="678207" y="1397193"/>
                  </a:lnTo>
                  <a:lnTo>
                    <a:pt x="675182" y="1392927"/>
                  </a:lnTo>
                  <a:lnTo>
                    <a:pt x="662718" y="1382491"/>
                  </a:lnTo>
                  <a:lnTo>
                    <a:pt x="664443" y="1381553"/>
                  </a:lnTo>
                  <a:lnTo>
                    <a:pt x="666076" y="1382733"/>
                  </a:lnTo>
                  <a:lnTo>
                    <a:pt x="667740" y="1384517"/>
                  </a:lnTo>
                  <a:lnTo>
                    <a:pt x="669615" y="1385395"/>
                  </a:lnTo>
                  <a:lnTo>
                    <a:pt x="671128" y="1384578"/>
                  </a:lnTo>
                  <a:lnTo>
                    <a:pt x="674305" y="1381523"/>
                  </a:lnTo>
                  <a:lnTo>
                    <a:pt x="676543" y="1381220"/>
                  </a:lnTo>
                  <a:lnTo>
                    <a:pt x="675152" y="1384487"/>
                  </a:lnTo>
                  <a:lnTo>
                    <a:pt x="674426" y="1385395"/>
                  </a:lnTo>
                  <a:lnTo>
                    <a:pt x="675817" y="1386181"/>
                  </a:lnTo>
                  <a:lnTo>
                    <a:pt x="677027" y="1387210"/>
                  </a:lnTo>
                  <a:lnTo>
                    <a:pt x="678056" y="1388571"/>
                  </a:lnTo>
                  <a:lnTo>
                    <a:pt x="678933" y="1390296"/>
                  </a:lnTo>
                  <a:lnTo>
                    <a:pt x="680688" y="1397737"/>
                  </a:lnTo>
                  <a:lnTo>
                    <a:pt x="681353" y="1399250"/>
                  </a:lnTo>
                  <a:lnTo>
                    <a:pt x="682866" y="1399310"/>
                  </a:lnTo>
                  <a:lnTo>
                    <a:pt x="684408" y="1398312"/>
                  </a:lnTo>
                  <a:lnTo>
                    <a:pt x="685619" y="1398312"/>
                  </a:lnTo>
                  <a:lnTo>
                    <a:pt x="686133" y="1401398"/>
                  </a:lnTo>
                  <a:lnTo>
                    <a:pt x="685891" y="1402063"/>
                  </a:lnTo>
                  <a:lnTo>
                    <a:pt x="684953" y="1403788"/>
                  </a:lnTo>
                  <a:lnTo>
                    <a:pt x="684741" y="1404816"/>
                  </a:lnTo>
                  <a:lnTo>
                    <a:pt x="684983" y="1405905"/>
                  </a:lnTo>
                  <a:lnTo>
                    <a:pt x="685921" y="1407720"/>
                  </a:lnTo>
                  <a:lnTo>
                    <a:pt x="686133" y="1408325"/>
                  </a:lnTo>
                  <a:lnTo>
                    <a:pt x="685921" y="1415465"/>
                  </a:lnTo>
                  <a:lnTo>
                    <a:pt x="686133" y="1417280"/>
                  </a:lnTo>
                  <a:lnTo>
                    <a:pt x="687040" y="1418338"/>
                  </a:lnTo>
                  <a:lnTo>
                    <a:pt x="688674" y="1419549"/>
                  </a:lnTo>
                  <a:lnTo>
                    <a:pt x="690277" y="1420184"/>
                  </a:lnTo>
                  <a:lnTo>
                    <a:pt x="691003" y="1419428"/>
                  </a:lnTo>
                  <a:lnTo>
                    <a:pt x="692395" y="1416493"/>
                  </a:lnTo>
                  <a:lnTo>
                    <a:pt x="695602" y="1413377"/>
                  </a:lnTo>
                  <a:lnTo>
                    <a:pt x="699050" y="1411018"/>
                  </a:lnTo>
                  <a:lnTo>
                    <a:pt x="701319" y="1410413"/>
                  </a:lnTo>
                  <a:lnTo>
                    <a:pt x="701107" y="1410897"/>
                  </a:lnTo>
                  <a:lnTo>
                    <a:pt x="701047" y="1411139"/>
                  </a:lnTo>
                  <a:lnTo>
                    <a:pt x="700956" y="1411350"/>
                  </a:lnTo>
                  <a:lnTo>
                    <a:pt x="700714" y="1411774"/>
                  </a:lnTo>
                  <a:lnTo>
                    <a:pt x="702045" y="1414134"/>
                  </a:lnTo>
                  <a:lnTo>
                    <a:pt x="704042" y="1415434"/>
                  </a:lnTo>
                  <a:lnTo>
                    <a:pt x="708277" y="1417219"/>
                  </a:lnTo>
                  <a:lnTo>
                    <a:pt x="705766" y="1420547"/>
                  </a:lnTo>
                  <a:lnTo>
                    <a:pt x="696963" y="1419397"/>
                  </a:lnTo>
                  <a:lnTo>
                    <a:pt x="694422" y="1422846"/>
                  </a:lnTo>
                  <a:lnTo>
                    <a:pt x="698445" y="1422574"/>
                  </a:lnTo>
                  <a:lnTo>
                    <a:pt x="700412" y="1422967"/>
                  </a:lnTo>
                  <a:lnTo>
                    <a:pt x="702045" y="1424389"/>
                  </a:lnTo>
                  <a:lnTo>
                    <a:pt x="701773" y="1425115"/>
                  </a:lnTo>
                  <a:lnTo>
                    <a:pt x="701289" y="1427021"/>
                  </a:lnTo>
                  <a:lnTo>
                    <a:pt x="705615" y="1427686"/>
                  </a:lnTo>
                  <a:lnTo>
                    <a:pt x="707642" y="1427414"/>
                  </a:lnTo>
                  <a:lnTo>
                    <a:pt x="709517" y="1425750"/>
                  </a:lnTo>
                  <a:lnTo>
                    <a:pt x="710546" y="1423451"/>
                  </a:lnTo>
                  <a:lnTo>
                    <a:pt x="711332" y="1420880"/>
                  </a:lnTo>
                  <a:lnTo>
                    <a:pt x="712270" y="1419337"/>
                  </a:lnTo>
                  <a:lnTo>
                    <a:pt x="713722" y="1420093"/>
                  </a:lnTo>
                  <a:lnTo>
                    <a:pt x="713178" y="1420819"/>
                  </a:lnTo>
                  <a:lnTo>
                    <a:pt x="712421" y="1422180"/>
                  </a:lnTo>
                  <a:lnTo>
                    <a:pt x="711877" y="1423754"/>
                  </a:lnTo>
                  <a:lnTo>
                    <a:pt x="711937" y="1425054"/>
                  </a:lnTo>
                  <a:lnTo>
                    <a:pt x="713117" y="1426295"/>
                  </a:lnTo>
                  <a:lnTo>
                    <a:pt x="714176" y="1425387"/>
                  </a:lnTo>
                  <a:lnTo>
                    <a:pt x="715114" y="1423723"/>
                  </a:lnTo>
                  <a:lnTo>
                    <a:pt x="716051" y="1422846"/>
                  </a:lnTo>
                  <a:lnTo>
                    <a:pt x="718018" y="1421908"/>
                  </a:lnTo>
                  <a:lnTo>
                    <a:pt x="719530" y="1419579"/>
                  </a:lnTo>
                  <a:lnTo>
                    <a:pt x="721951" y="1413317"/>
                  </a:lnTo>
                  <a:lnTo>
                    <a:pt x="719893" y="1411955"/>
                  </a:lnTo>
                  <a:lnTo>
                    <a:pt x="716596" y="1415767"/>
                  </a:lnTo>
                  <a:lnTo>
                    <a:pt x="714357" y="1414587"/>
                  </a:lnTo>
                  <a:lnTo>
                    <a:pt x="715235" y="1412863"/>
                  </a:lnTo>
                  <a:lnTo>
                    <a:pt x="715688" y="1411169"/>
                  </a:lnTo>
                  <a:lnTo>
                    <a:pt x="715477" y="1409747"/>
                  </a:lnTo>
                  <a:lnTo>
                    <a:pt x="714357" y="1408961"/>
                  </a:lnTo>
                  <a:lnTo>
                    <a:pt x="714357" y="1407690"/>
                  </a:lnTo>
                  <a:lnTo>
                    <a:pt x="719228" y="1407690"/>
                  </a:lnTo>
                  <a:lnTo>
                    <a:pt x="718774" y="1405603"/>
                  </a:lnTo>
                  <a:lnTo>
                    <a:pt x="718532" y="1404816"/>
                  </a:lnTo>
                  <a:lnTo>
                    <a:pt x="720529" y="1404816"/>
                  </a:lnTo>
                  <a:lnTo>
                    <a:pt x="722132" y="1406329"/>
                  </a:lnTo>
                  <a:lnTo>
                    <a:pt x="725399" y="1410503"/>
                  </a:lnTo>
                  <a:lnTo>
                    <a:pt x="725581" y="1411804"/>
                  </a:lnTo>
                  <a:lnTo>
                    <a:pt x="725793" y="1412742"/>
                  </a:lnTo>
                  <a:lnTo>
                    <a:pt x="726125" y="1413377"/>
                  </a:lnTo>
                  <a:lnTo>
                    <a:pt x="726821" y="1413680"/>
                  </a:lnTo>
                  <a:lnTo>
                    <a:pt x="728455" y="1413771"/>
                  </a:lnTo>
                  <a:lnTo>
                    <a:pt x="730391" y="1414466"/>
                  </a:lnTo>
                  <a:lnTo>
                    <a:pt x="731510" y="1414376"/>
                  </a:lnTo>
                  <a:lnTo>
                    <a:pt x="733779" y="1413407"/>
                  </a:lnTo>
                  <a:lnTo>
                    <a:pt x="734777" y="1412621"/>
                  </a:lnTo>
                  <a:lnTo>
                    <a:pt x="735564" y="1411653"/>
                  </a:lnTo>
                  <a:lnTo>
                    <a:pt x="736471" y="1410866"/>
                  </a:lnTo>
                  <a:lnTo>
                    <a:pt x="738952" y="1410231"/>
                  </a:lnTo>
                  <a:lnTo>
                    <a:pt x="740071" y="1409414"/>
                  </a:lnTo>
                  <a:lnTo>
                    <a:pt x="740949" y="1408083"/>
                  </a:lnTo>
                  <a:lnTo>
                    <a:pt x="741251" y="1406238"/>
                  </a:lnTo>
                  <a:lnTo>
                    <a:pt x="740132" y="1404060"/>
                  </a:lnTo>
                  <a:lnTo>
                    <a:pt x="735261" y="1402124"/>
                  </a:lnTo>
                  <a:lnTo>
                    <a:pt x="733749" y="1399310"/>
                  </a:lnTo>
                  <a:lnTo>
                    <a:pt x="741039" y="1401216"/>
                  </a:lnTo>
                  <a:lnTo>
                    <a:pt x="745093" y="1400732"/>
                  </a:lnTo>
                  <a:lnTo>
                    <a:pt x="746121" y="1396527"/>
                  </a:lnTo>
                  <a:lnTo>
                    <a:pt x="744911" y="1394954"/>
                  </a:lnTo>
                  <a:lnTo>
                    <a:pt x="742885" y="1395196"/>
                  </a:lnTo>
                  <a:lnTo>
                    <a:pt x="739224" y="1396527"/>
                  </a:lnTo>
                  <a:lnTo>
                    <a:pt x="737711" y="1395831"/>
                  </a:lnTo>
                  <a:lnTo>
                    <a:pt x="732992" y="1392383"/>
                  </a:lnTo>
                  <a:lnTo>
                    <a:pt x="734081" y="1388390"/>
                  </a:lnTo>
                  <a:lnTo>
                    <a:pt x="735564" y="1387482"/>
                  </a:lnTo>
                  <a:lnTo>
                    <a:pt x="741463" y="1390779"/>
                  </a:lnTo>
                  <a:lnTo>
                    <a:pt x="744276" y="1391566"/>
                  </a:lnTo>
                  <a:lnTo>
                    <a:pt x="746606" y="1390628"/>
                  </a:lnTo>
                  <a:lnTo>
                    <a:pt x="747483" y="1386696"/>
                  </a:lnTo>
                  <a:lnTo>
                    <a:pt x="748209" y="1386696"/>
                  </a:lnTo>
                  <a:lnTo>
                    <a:pt x="749207" y="1389690"/>
                  </a:lnTo>
                  <a:lnTo>
                    <a:pt x="750629" y="1390719"/>
                  </a:lnTo>
                  <a:lnTo>
                    <a:pt x="751506" y="1389690"/>
                  </a:lnTo>
                  <a:lnTo>
                    <a:pt x="750901" y="1386696"/>
                  </a:lnTo>
                  <a:lnTo>
                    <a:pt x="748935" y="1384094"/>
                  </a:lnTo>
                  <a:lnTo>
                    <a:pt x="746243" y="1382884"/>
                  </a:lnTo>
                  <a:lnTo>
                    <a:pt x="720287" y="1383217"/>
                  </a:lnTo>
                  <a:lnTo>
                    <a:pt x="717806" y="1381280"/>
                  </a:lnTo>
                  <a:lnTo>
                    <a:pt x="723644" y="1379889"/>
                  </a:lnTo>
                  <a:lnTo>
                    <a:pt x="726095" y="1378376"/>
                  </a:lnTo>
                  <a:lnTo>
                    <a:pt x="727608" y="1376047"/>
                  </a:lnTo>
                  <a:lnTo>
                    <a:pt x="727486" y="1375745"/>
                  </a:lnTo>
                  <a:lnTo>
                    <a:pt x="727729" y="1375019"/>
                  </a:lnTo>
                  <a:lnTo>
                    <a:pt x="727729" y="1373899"/>
                  </a:lnTo>
                  <a:lnTo>
                    <a:pt x="728001" y="1373203"/>
                  </a:lnTo>
                  <a:lnTo>
                    <a:pt x="728878" y="1373718"/>
                  </a:lnTo>
                  <a:lnTo>
                    <a:pt x="729362" y="1374534"/>
                  </a:lnTo>
                  <a:lnTo>
                    <a:pt x="730270" y="1376713"/>
                  </a:lnTo>
                  <a:lnTo>
                    <a:pt x="730542" y="1377136"/>
                  </a:lnTo>
                  <a:lnTo>
                    <a:pt x="737167" y="1378407"/>
                  </a:lnTo>
                  <a:lnTo>
                    <a:pt x="735927" y="1375805"/>
                  </a:lnTo>
                  <a:lnTo>
                    <a:pt x="734202" y="1374050"/>
                  </a:lnTo>
                  <a:lnTo>
                    <a:pt x="730905" y="1371570"/>
                  </a:lnTo>
                  <a:lnTo>
                    <a:pt x="732508" y="1370209"/>
                  </a:lnTo>
                  <a:lnTo>
                    <a:pt x="734112" y="1369906"/>
                  </a:lnTo>
                  <a:lnTo>
                    <a:pt x="735655" y="1370420"/>
                  </a:lnTo>
                  <a:lnTo>
                    <a:pt x="737167" y="1371570"/>
                  </a:lnTo>
                  <a:lnTo>
                    <a:pt x="740555" y="1376440"/>
                  </a:lnTo>
                  <a:lnTo>
                    <a:pt x="741584" y="1377136"/>
                  </a:lnTo>
                  <a:lnTo>
                    <a:pt x="742431" y="1376017"/>
                  </a:lnTo>
                  <a:lnTo>
                    <a:pt x="743066" y="1371146"/>
                  </a:lnTo>
                  <a:lnTo>
                    <a:pt x="743701" y="1370027"/>
                  </a:lnTo>
                  <a:lnTo>
                    <a:pt x="745063" y="1369543"/>
                  </a:lnTo>
                  <a:lnTo>
                    <a:pt x="749510" y="1365852"/>
                  </a:lnTo>
                  <a:lnTo>
                    <a:pt x="746091" y="1365852"/>
                  </a:lnTo>
                  <a:lnTo>
                    <a:pt x="747634" y="1363977"/>
                  </a:lnTo>
                  <a:lnTo>
                    <a:pt x="748330" y="1361708"/>
                  </a:lnTo>
                  <a:lnTo>
                    <a:pt x="748753" y="1359409"/>
                  </a:lnTo>
                  <a:lnTo>
                    <a:pt x="749479" y="1357473"/>
                  </a:lnTo>
                  <a:lnTo>
                    <a:pt x="751657" y="1355839"/>
                  </a:lnTo>
                  <a:lnTo>
                    <a:pt x="753684" y="1356505"/>
                  </a:lnTo>
                  <a:lnTo>
                    <a:pt x="755711" y="1358047"/>
                  </a:lnTo>
                  <a:lnTo>
                    <a:pt x="757829" y="1358894"/>
                  </a:lnTo>
                  <a:lnTo>
                    <a:pt x="759341" y="1358078"/>
                  </a:lnTo>
                  <a:lnTo>
                    <a:pt x="759583" y="1356021"/>
                  </a:lnTo>
                  <a:lnTo>
                    <a:pt x="759039" y="1353540"/>
                  </a:lnTo>
                  <a:lnTo>
                    <a:pt x="758192" y="1351301"/>
                  </a:lnTo>
                  <a:lnTo>
                    <a:pt x="756800" y="1349305"/>
                  </a:lnTo>
                  <a:lnTo>
                    <a:pt x="754743" y="1347520"/>
                  </a:lnTo>
                  <a:lnTo>
                    <a:pt x="752414" y="1346431"/>
                  </a:lnTo>
                  <a:lnTo>
                    <a:pt x="750296" y="1346340"/>
                  </a:lnTo>
                  <a:lnTo>
                    <a:pt x="750296" y="1344949"/>
                  </a:lnTo>
                  <a:lnTo>
                    <a:pt x="755015" y="1344767"/>
                  </a:lnTo>
                  <a:lnTo>
                    <a:pt x="769536" y="1349153"/>
                  </a:lnTo>
                  <a:lnTo>
                    <a:pt x="768991" y="1347399"/>
                  </a:lnTo>
                  <a:lnTo>
                    <a:pt x="766722" y="1342165"/>
                  </a:lnTo>
                  <a:lnTo>
                    <a:pt x="766208" y="1340139"/>
                  </a:lnTo>
                  <a:lnTo>
                    <a:pt x="765936" y="1338202"/>
                  </a:lnTo>
                  <a:lnTo>
                    <a:pt x="765361" y="1336508"/>
                  </a:lnTo>
                  <a:lnTo>
                    <a:pt x="763970" y="1335147"/>
                  </a:lnTo>
                  <a:lnTo>
                    <a:pt x="766844" y="1333877"/>
                  </a:lnTo>
                  <a:lnTo>
                    <a:pt x="776373" y="1336418"/>
                  </a:lnTo>
                  <a:lnTo>
                    <a:pt x="776373" y="1337961"/>
                  </a:lnTo>
                  <a:lnTo>
                    <a:pt x="771412" y="1338021"/>
                  </a:lnTo>
                  <a:lnTo>
                    <a:pt x="769264" y="1338868"/>
                  </a:lnTo>
                  <a:lnTo>
                    <a:pt x="769536" y="1342165"/>
                  </a:lnTo>
                  <a:lnTo>
                    <a:pt x="770020" y="1345039"/>
                  </a:lnTo>
                  <a:lnTo>
                    <a:pt x="771290" y="1346824"/>
                  </a:lnTo>
                  <a:lnTo>
                    <a:pt x="772713" y="1346975"/>
                  </a:lnTo>
                  <a:lnTo>
                    <a:pt x="774346" y="1344949"/>
                  </a:lnTo>
                  <a:lnTo>
                    <a:pt x="774104" y="1344162"/>
                  </a:lnTo>
                  <a:lnTo>
                    <a:pt x="773650" y="1342135"/>
                  </a:lnTo>
                  <a:lnTo>
                    <a:pt x="780275" y="1342044"/>
                  </a:lnTo>
                  <a:lnTo>
                    <a:pt x="783452" y="1340865"/>
                  </a:lnTo>
                  <a:lnTo>
                    <a:pt x="785357" y="1337930"/>
                  </a:lnTo>
                  <a:lnTo>
                    <a:pt x="769475" y="1331638"/>
                  </a:lnTo>
                  <a:lnTo>
                    <a:pt x="767419" y="1329520"/>
                  </a:lnTo>
                  <a:lnTo>
                    <a:pt x="769022" y="1328219"/>
                  </a:lnTo>
                  <a:lnTo>
                    <a:pt x="770837" y="1327675"/>
                  </a:lnTo>
                  <a:lnTo>
                    <a:pt x="775012" y="1328008"/>
                  </a:lnTo>
                  <a:lnTo>
                    <a:pt x="780608" y="1330186"/>
                  </a:lnTo>
                  <a:lnTo>
                    <a:pt x="781939" y="1329520"/>
                  </a:lnTo>
                  <a:lnTo>
                    <a:pt x="781334" y="1326193"/>
                  </a:lnTo>
                  <a:lnTo>
                    <a:pt x="782635" y="1325497"/>
                  </a:lnTo>
                  <a:lnTo>
                    <a:pt x="784722" y="1326616"/>
                  </a:lnTo>
                  <a:lnTo>
                    <a:pt x="786446" y="1328734"/>
                  </a:lnTo>
                  <a:lnTo>
                    <a:pt x="787838" y="1330004"/>
                  </a:lnTo>
                  <a:lnTo>
                    <a:pt x="789623" y="1330972"/>
                  </a:lnTo>
                  <a:lnTo>
                    <a:pt x="790773" y="1332394"/>
                  </a:lnTo>
                  <a:lnTo>
                    <a:pt x="790288" y="1335087"/>
                  </a:lnTo>
                  <a:lnTo>
                    <a:pt x="791196" y="1336629"/>
                  </a:lnTo>
                  <a:lnTo>
                    <a:pt x="793223" y="1338656"/>
                  </a:lnTo>
                  <a:lnTo>
                    <a:pt x="794040" y="1339957"/>
                  </a:lnTo>
                  <a:lnTo>
                    <a:pt x="794584" y="1340471"/>
                  </a:lnTo>
                  <a:lnTo>
                    <a:pt x="797397" y="1344071"/>
                  </a:lnTo>
                  <a:lnTo>
                    <a:pt x="797821" y="1344918"/>
                  </a:lnTo>
                  <a:lnTo>
                    <a:pt x="799424" y="1344737"/>
                  </a:lnTo>
                  <a:lnTo>
                    <a:pt x="800029" y="1343708"/>
                  </a:lnTo>
                  <a:lnTo>
                    <a:pt x="800302" y="1342044"/>
                  </a:lnTo>
                  <a:lnTo>
                    <a:pt x="800967" y="1339957"/>
                  </a:lnTo>
                  <a:lnTo>
                    <a:pt x="802208" y="1338868"/>
                  </a:lnTo>
                  <a:lnTo>
                    <a:pt x="803478" y="1339050"/>
                  </a:lnTo>
                  <a:lnTo>
                    <a:pt x="804628" y="1338808"/>
                  </a:lnTo>
                  <a:lnTo>
                    <a:pt x="805414" y="1336387"/>
                  </a:lnTo>
                  <a:lnTo>
                    <a:pt x="802903" y="1336115"/>
                  </a:lnTo>
                  <a:lnTo>
                    <a:pt x="799818" y="1334966"/>
                  </a:lnTo>
                  <a:lnTo>
                    <a:pt x="798154" y="1332394"/>
                  </a:lnTo>
                  <a:lnTo>
                    <a:pt x="799909" y="1327977"/>
                  </a:lnTo>
                  <a:lnTo>
                    <a:pt x="803902" y="1332636"/>
                  </a:lnTo>
                  <a:lnTo>
                    <a:pt x="805868" y="1332878"/>
                  </a:lnTo>
                  <a:lnTo>
                    <a:pt x="807502" y="1329520"/>
                  </a:lnTo>
                  <a:lnTo>
                    <a:pt x="805354" y="1329520"/>
                  </a:lnTo>
                  <a:lnTo>
                    <a:pt x="806503" y="1327251"/>
                  </a:lnTo>
                  <a:lnTo>
                    <a:pt x="808348" y="1322472"/>
                  </a:lnTo>
                  <a:lnTo>
                    <a:pt x="809528" y="1321110"/>
                  </a:lnTo>
                  <a:lnTo>
                    <a:pt x="808076" y="1318721"/>
                  </a:lnTo>
                  <a:lnTo>
                    <a:pt x="807471" y="1318176"/>
                  </a:lnTo>
                  <a:lnTo>
                    <a:pt x="809831" y="1315968"/>
                  </a:lnTo>
                  <a:lnTo>
                    <a:pt x="814943" y="1314516"/>
                  </a:lnTo>
                  <a:lnTo>
                    <a:pt x="817152" y="1311127"/>
                  </a:lnTo>
                  <a:lnTo>
                    <a:pt x="817606" y="1314576"/>
                  </a:lnTo>
                  <a:lnTo>
                    <a:pt x="818785" y="1315272"/>
                  </a:lnTo>
                  <a:lnTo>
                    <a:pt x="820177" y="1313880"/>
                  </a:lnTo>
                  <a:lnTo>
                    <a:pt x="821205" y="1311127"/>
                  </a:lnTo>
                  <a:lnTo>
                    <a:pt x="821205" y="1304865"/>
                  </a:lnTo>
                  <a:lnTo>
                    <a:pt x="821326" y="1303020"/>
                  </a:lnTo>
                  <a:lnTo>
                    <a:pt x="821811" y="1299662"/>
                  </a:lnTo>
                  <a:lnTo>
                    <a:pt x="821931" y="1297666"/>
                  </a:lnTo>
                  <a:lnTo>
                    <a:pt x="821931" y="1290405"/>
                  </a:lnTo>
                  <a:lnTo>
                    <a:pt x="822355" y="1286926"/>
                  </a:lnTo>
                  <a:lnTo>
                    <a:pt x="823595" y="1285444"/>
                  </a:lnTo>
                  <a:lnTo>
                    <a:pt x="825410" y="1286715"/>
                  </a:lnTo>
                  <a:lnTo>
                    <a:pt x="827377" y="1289225"/>
                  </a:lnTo>
                  <a:lnTo>
                    <a:pt x="829464" y="1290950"/>
                  </a:lnTo>
                  <a:lnTo>
                    <a:pt x="831582" y="1289951"/>
                  </a:lnTo>
                  <a:lnTo>
                    <a:pt x="828829" y="1283175"/>
                  </a:lnTo>
                  <a:lnTo>
                    <a:pt x="828920" y="1281451"/>
                  </a:lnTo>
                  <a:lnTo>
                    <a:pt x="831582" y="1282752"/>
                  </a:lnTo>
                  <a:lnTo>
                    <a:pt x="839840" y="1292765"/>
                  </a:lnTo>
                  <a:lnTo>
                    <a:pt x="843228" y="1295669"/>
                  </a:lnTo>
                  <a:lnTo>
                    <a:pt x="845195" y="1296788"/>
                  </a:lnTo>
                  <a:lnTo>
                    <a:pt x="846072" y="1296183"/>
                  </a:lnTo>
                  <a:lnTo>
                    <a:pt x="845951" y="1293793"/>
                  </a:lnTo>
                  <a:lnTo>
                    <a:pt x="845588" y="1292311"/>
                  </a:lnTo>
                  <a:lnTo>
                    <a:pt x="841535" y="1286715"/>
                  </a:lnTo>
                  <a:lnTo>
                    <a:pt x="840536" y="1284930"/>
                  </a:lnTo>
                  <a:lnTo>
                    <a:pt x="840899" y="1284143"/>
                  </a:lnTo>
                  <a:lnTo>
                    <a:pt x="842563" y="1283931"/>
                  </a:lnTo>
                  <a:lnTo>
                    <a:pt x="843985" y="1283326"/>
                  </a:lnTo>
                  <a:lnTo>
                    <a:pt x="846798" y="1281451"/>
                  </a:lnTo>
                  <a:lnTo>
                    <a:pt x="843834" y="1279061"/>
                  </a:lnTo>
                  <a:lnTo>
                    <a:pt x="841111" y="1278335"/>
                  </a:lnTo>
                  <a:lnTo>
                    <a:pt x="839871" y="1276671"/>
                  </a:lnTo>
                  <a:lnTo>
                    <a:pt x="841292" y="1271437"/>
                  </a:lnTo>
                  <a:lnTo>
                    <a:pt x="838721" y="1270469"/>
                  </a:lnTo>
                  <a:lnTo>
                    <a:pt x="837541" y="1269653"/>
                  </a:lnTo>
                  <a:lnTo>
                    <a:pt x="836422" y="1268473"/>
                  </a:lnTo>
                  <a:lnTo>
                    <a:pt x="839023" y="1265902"/>
                  </a:lnTo>
                  <a:lnTo>
                    <a:pt x="841413" y="1265780"/>
                  </a:lnTo>
                  <a:lnTo>
                    <a:pt x="843682" y="1267596"/>
                  </a:lnTo>
                  <a:lnTo>
                    <a:pt x="845740" y="1270742"/>
                  </a:lnTo>
                  <a:lnTo>
                    <a:pt x="847101" y="1272224"/>
                  </a:lnTo>
                  <a:lnTo>
                    <a:pt x="852364" y="1274160"/>
                  </a:lnTo>
                  <a:lnTo>
                    <a:pt x="855087" y="1277700"/>
                  </a:lnTo>
                  <a:lnTo>
                    <a:pt x="856448" y="1278516"/>
                  </a:lnTo>
                  <a:lnTo>
                    <a:pt x="856297" y="1279242"/>
                  </a:lnTo>
                  <a:lnTo>
                    <a:pt x="856085" y="1280664"/>
                  </a:lnTo>
                  <a:lnTo>
                    <a:pt x="855813" y="1281451"/>
                  </a:lnTo>
                  <a:lnTo>
                    <a:pt x="858233" y="1282994"/>
                  </a:lnTo>
                  <a:lnTo>
                    <a:pt x="858566" y="1284748"/>
                  </a:lnTo>
                  <a:lnTo>
                    <a:pt x="858173" y="1286956"/>
                  </a:lnTo>
                  <a:lnTo>
                    <a:pt x="858475" y="1289891"/>
                  </a:lnTo>
                  <a:lnTo>
                    <a:pt x="863285" y="1292704"/>
                  </a:lnTo>
                  <a:lnTo>
                    <a:pt x="864495" y="1292220"/>
                  </a:lnTo>
                  <a:lnTo>
                    <a:pt x="866855" y="1289921"/>
                  </a:lnTo>
                  <a:lnTo>
                    <a:pt x="868156" y="1288257"/>
                  </a:lnTo>
                  <a:lnTo>
                    <a:pt x="869063" y="1287350"/>
                  </a:lnTo>
                  <a:lnTo>
                    <a:pt x="871483" y="1286624"/>
                  </a:lnTo>
                  <a:lnTo>
                    <a:pt x="871846" y="1285837"/>
                  </a:lnTo>
                  <a:lnTo>
                    <a:pt x="871272" y="1281057"/>
                  </a:lnTo>
                  <a:lnTo>
                    <a:pt x="869608" y="1275522"/>
                  </a:lnTo>
                  <a:lnTo>
                    <a:pt x="869880" y="1273434"/>
                  </a:lnTo>
                  <a:lnTo>
                    <a:pt x="873208" y="1269985"/>
                  </a:lnTo>
                  <a:lnTo>
                    <a:pt x="877413" y="1266960"/>
                  </a:lnTo>
                  <a:lnTo>
                    <a:pt x="881073" y="1263300"/>
                  </a:lnTo>
                  <a:lnTo>
                    <a:pt x="882616" y="1257915"/>
                  </a:lnTo>
                  <a:lnTo>
                    <a:pt x="883342" y="1257068"/>
                  </a:lnTo>
                  <a:lnTo>
                    <a:pt x="886972" y="1255132"/>
                  </a:lnTo>
                  <a:lnTo>
                    <a:pt x="888455" y="1253559"/>
                  </a:lnTo>
                  <a:lnTo>
                    <a:pt x="889907" y="1253680"/>
                  </a:lnTo>
                  <a:lnTo>
                    <a:pt x="897772" y="1257189"/>
                  </a:lnTo>
                  <a:lnTo>
                    <a:pt x="896047" y="1252954"/>
                  </a:lnTo>
                  <a:lnTo>
                    <a:pt x="895805" y="1250624"/>
                  </a:lnTo>
                  <a:lnTo>
                    <a:pt x="896713" y="1247841"/>
                  </a:lnTo>
                  <a:lnTo>
                    <a:pt x="898165" y="1245875"/>
                  </a:lnTo>
                  <a:lnTo>
                    <a:pt x="900071" y="1244484"/>
                  </a:lnTo>
                  <a:lnTo>
                    <a:pt x="902098" y="1243878"/>
                  </a:lnTo>
                  <a:lnTo>
                    <a:pt x="903943" y="1244241"/>
                  </a:lnTo>
                  <a:lnTo>
                    <a:pt x="904578" y="1244847"/>
                  </a:lnTo>
                  <a:lnTo>
                    <a:pt x="904972" y="1245724"/>
                  </a:lnTo>
                  <a:lnTo>
                    <a:pt x="905637" y="1247781"/>
                  </a:lnTo>
                  <a:lnTo>
                    <a:pt x="906726" y="1248809"/>
                  </a:lnTo>
                  <a:lnTo>
                    <a:pt x="907906" y="1248446"/>
                  </a:lnTo>
                  <a:lnTo>
                    <a:pt x="909086" y="1247569"/>
                  </a:lnTo>
                  <a:lnTo>
                    <a:pt x="910114" y="1247085"/>
                  </a:lnTo>
                  <a:lnTo>
                    <a:pt x="916740" y="1246571"/>
                  </a:lnTo>
                  <a:lnTo>
                    <a:pt x="919099" y="1247085"/>
                  </a:lnTo>
                  <a:lnTo>
                    <a:pt x="918403" y="1242366"/>
                  </a:lnTo>
                  <a:lnTo>
                    <a:pt x="919432" y="1237223"/>
                  </a:lnTo>
                  <a:lnTo>
                    <a:pt x="921308" y="1232716"/>
                  </a:lnTo>
                  <a:lnTo>
                    <a:pt x="923274" y="1229963"/>
                  </a:lnTo>
                  <a:lnTo>
                    <a:pt x="923516" y="1232474"/>
                  </a:lnTo>
                  <a:lnTo>
                    <a:pt x="923092" y="1235408"/>
                  </a:lnTo>
                  <a:lnTo>
                    <a:pt x="922366" y="1238342"/>
                  </a:lnTo>
                  <a:lnTo>
                    <a:pt x="921519" y="1240702"/>
                  </a:lnTo>
                  <a:lnTo>
                    <a:pt x="921580" y="1242941"/>
                  </a:lnTo>
                  <a:lnTo>
                    <a:pt x="922760" y="1245300"/>
                  </a:lnTo>
                  <a:lnTo>
                    <a:pt x="924363" y="1246752"/>
                  </a:lnTo>
                  <a:lnTo>
                    <a:pt x="925664" y="1246329"/>
                  </a:lnTo>
                  <a:lnTo>
                    <a:pt x="926692" y="1241186"/>
                  </a:lnTo>
                  <a:lnTo>
                    <a:pt x="926541" y="1228450"/>
                  </a:lnTo>
                  <a:lnTo>
                    <a:pt x="927418" y="1225546"/>
                  </a:lnTo>
                  <a:lnTo>
                    <a:pt x="928780" y="1226333"/>
                  </a:lnTo>
                  <a:lnTo>
                    <a:pt x="930141" y="1228722"/>
                  </a:lnTo>
                  <a:lnTo>
                    <a:pt x="931079" y="1231475"/>
                  </a:lnTo>
                  <a:lnTo>
                    <a:pt x="931139" y="1233442"/>
                  </a:lnTo>
                  <a:lnTo>
                    <a:pt x="930262" y="1236497"/>
                  </a:lnTo>
                  <a:lnTo>
                    <a:pt x="930383" y="1239038"/>
                  </a:lnTo>
                  <a:lnTo>
                    <a:pt x="931411" y="1240793"/>
                  </a:lnTo>
                  <a:lnTo>
                    <a:pt x="933226" y="1241428"/>
                  </a:lnTo>
                  <a:lnTo>
                    <a:pt x="934376" y="1240702"/>
                  </a:lnTo>
                  <a:lnTo>
                    <a:pt x="935526" y="1238887"/>
                  </a:lnTo>
                  <a:lnTo>
                    <a:pt x="936464" y="1236527"/>
                  </a:lnTo>
                  <a:lnTo>
                    <a:pt x="937068" y="1234168"/>
                  </a:lnTo>
                  <a:lnTo>
                    <a:pt x="937008" y="1232897"/>
                  </a:lnTo>
                  <a:lnTo>
                    <a:pt x="936312" y="1228329"/>
                  </a:lnTo>
                  <a:lnTo>
                    <a:pt x="936494" y="1226484"/>
                  </a:lnTo>
                  <a:lnTo>
                    <a:pt x="936796" y="1225425"/>
                  </a:lnTo>
                  <a:lnTo>
                    <a:pt x="936857" y="1224366"/>
                  </a:lnTo>
                  <a:lnTo>
                    <a:pt x="936312" y="1222642"/>
                  </a:lnTo>
                  <a:lnTo>
                    <a:pt x="938642" y="1223973"/>
                  </a:lnTo>
                  <a:lnTo>
                    <a:pt x="940547" y="1221674"/>
                  </a:lnTo>
                  <a:lnTo>
                    <a:pt x="945327" y="1211237"/>
                  </a:lnTo>
                  <a:lnTo>
                    <a:pt x="945751" y="1211449"/>
                  </a:lnTo>
                  <a:lnTo>
                    <a:pt x="947929" y="1214020"/>
                  </a:lnTo>
                  <a:lnTo>
                    <a:pt x="948867" y="1215714"/>
                  </a:lnTo>
                  <a:lnTo>
                    <a:pt x="949078" y="1217620"/>
                  </a:lnTo>
                  <a:lnTo>
                    <a:pt x="948080" y="1219829"/>
                  </a:lnTo>
                  <a:lnTo>
                    <a:pt x="949260" y="1221069"/>
                  </a:lnTo>
                  <a:lnTo>
                    <a:pt x="950379" y="1220706"/>
                  </a:lnTo>
                  <a:lnTo>
                    <a:pt x="951196" y="1218982"/>
                  </a:lnTo>
                  <a:lnTo>
                    <a:pt x="951529" y="1216229"/>
                  </a:lnTo>
                  <a:lnTo>
                    <a:pt x="956339" y="1211237"/>
                  </a:lnTo>
                  <a:lnTo>
                    <a:pt x="958093" y="1211509"/>
                  </a:lnTo>
                  <a:lnTo>
                    <a:pt x="959394" y="1212840"/>
                  </a:lnTo>
                  <a:lnTo>
                    <a:pt x="961542" y="1217741"/>
                  </a:lnTo>
                  <a:lnTo>
                    <a:pt x="962571" y="1218134"/>
                  </a:lnTo>
                  <a:lnTo>
                    <a:pt x="963871" y="1216138"/>
                  </a:lnTo>
                  <a:lnTo>
                    <a:pt x="966049" y="1211207"/>
                  </a:lnTo>
                  <a:lnTo>
                    <a:pt x="964416" y="1211449"/>
                  </a:lnTo>
                  <a:lnTo>
                    <a:pt x="962934" y="1211116"/>
                  </a:lnTo>
                  <a:lnTo>
                    <a:pt x="962147" y="1209755"/>
                  </a:lnTo>
                  <a:lnTo>
                    <a:pt x="962631" y="1206911"/>
                  </a:lnTo>
                  <a:lnTo>
                    <a:pt x="963629" y="1205701"/>
                  </a:lnTo>
                  <a:lnTo>
                    <a:pt x="968106" y="1205459"/>
                  </a:lnTo>
                  <a:lnTo>
                    <a:pt x="972916" y="1201315"/>
                  </a:lnTo>
                  <a:lnTo>
                    <a:pt x="973824" y="1199379"/>
                  </a:lnTo>
                  <a:lnTo>
                    <a:pt x="975700" y="1192572"/>
                  </a:lnTo>
                  <a:lnTo>
                    <a:pt x="977696" y="1185463"/>
                  </a:lnTo>
                  <a:lnTo>
                    <a:pt x="979360" y="1182377"/>
                  </a:lnTo>
                  <a:lnTo>
                    <a:pt x="981568" y="1181076"/>
                  </a:lnTo>
                  <a:lnTo>
                    <a:pt x="981841" y="1180623"/>
                  </a:lnTo>
                  <a:lnTo>
                    <a:pt x="982324" y="1179624"/>
                  </a:lnTo>
                  <a:lnTo>
                    <a:pt x="983111" y="1178626"/>
                  </a:lnTo>
                  <a:lnTo>
                    <a:pt x="984291" y="1178172"/>
                  </a:lnTo>
                  <a:lnTo>
                    <a:pt x="984956" y="1177235"/>
                  </a:lnTo>
                  <a:lnTo>
                    <a:pt x="985259" y="1175056"/>
                  </a:lnTo>
                  <a:lnTo>
                    <a:pt x="985410" y="1170821"/>
                  </a:lnTo>
                  <a:lnTo>
                    <a:pt x="985713" y="1169732"/>
                  </a:lnTo>
                  <a:lnTo>
                    <a:pt x="986136" y="1169460"/>
                  </a:lnTo>
                  <a:lnTo>
                    <a:pt x="986529" y="1169339"/>
                  </a:lnTo>
                  <a:lnTo>
                    <a:pt x="986711" y="1168673"/>
                  </a:lnTo>
                  <a:lnTo>
                    <a:pt x="986651" y="1167917"/>
                  </a:lnTo>
                  <a:lnTo>
                    <a:pt x="986499" y="1166737"/>
                  </a:lnTo>
                  <a:lnTo>
                    <a:pt x="986257" y="1165981"/>
                  </a:lnTo>
                  <a:lnTo>
                    <a:pt x="986015" y="1166405"/>
                  </a:lnTo>
                  <a:lnTo>
                    <a:pt x="986378" y="1163773"/>
                  </a:lnTo>
                  <a:lnTo>
                    <a:pt x="986469" y="1162653"/>
                  </a:lnTo>
                  <a:lnTo>
                    <a:pt x="986711" y="1161806"/>
                  </a:lnTo>
                  <a:lnTo>
                    <a:pt x="990674" y="1153790"/>
                  </a:lnTo>
                  <a:lnTo>
                    <a:pt x="991309" y="1149978"/>
                  </a:lnTo>
                  <a:lnTo>
                    <a:pt x="990069" y="1146318"/>
                  </a:lnTo>
                  <a:lnTo>
                    <a:pt x="991884" y="1142234"/>
                  </a:lnTo>
                  <a:lnTo>
                    <a:pt x="999749" y="1133279"/>
                  </a:lnTo>
                  <a:lnTo>
                    <a:pt x="1002321" y="1126866"/>
                  </a:lnTo>
                  <a:lnTo>
                    <a:pt x="1003198" y="1125777"/>
                  </a:lnTo>
                  <a:lnTo>
                    <a:pt x="1003591" y="1126079"/>
                  </a:lnTo>
                  <a:lnTo>
                    <a:pt x="1006647" y="1127350"/>
                  </a:lnTo>
                  <a:lnTo>
                    <a:pt x="1007040" y="1126987"/>
                  </a:lnTo>
                  <a:lnTo>
                    <a:pt x="1019806" y="1108685"/>
                  </a:lnTo>
                  <a:lnTo>
                    <a:pt x="1020442" y="1108352"/>
                  </a:lnTo>
                  <a:lnTo>
                    <a:pt x="1021046" y="1109108"/>
                  </a:lnTo>
                  <a:lnTo>
                    <a:pt x="1022468" y="1109895"/>
                  </a:lnTo>
                  <a:lnTo>
                    <a:pt x="1024193" y="1109713"/>
                  </a:lnTo>
                  <a:lnTo>
                    <a:pt x="1027066" y="1107626"/>
                  </a:lnTo>
                  <a:lnTo>
                    <a:pt x="1028700" y="1106991"/>
                  </a:lnTo>
                  <a:lnTo>
                    <a:pt x="1028367" y="1106083"/>
                  </a:lnTo>
                  <a:lnTo>
                    <a:pt x="1028216" y="1105297"/>
                  </a:lnTo>
                  <a:lnTo>
                    <a:pt x="1027944" y="1104601"/>
                  </a:lnTo>
                  <a:lnTo>
                    <a:pt x="1027308" y="1103935"/>
                  </a:lnTo>
                  <a:lnTo>
                    <a:pt x="1027732" y="1102060"/>
                  </a:lnTo>
                  <a:lnTo>
                    <a:pt x="1027883" y="1100245"/>
                  </a:lnTo>
                  <a:lnTo>
                    <a:pt x="1027732" y="1098430"/>
                  </a:lnTo>
                  <a:lnTo>
                    <a:pt x="1027308" y="1096524"/>
                  </a:lnTo>
                  <a:lnTo>
                    <a:pt x="1028821" y="1098309"/>
                  </a:lnTo>
                  <a:lnTo>
                    <a:pt x="1030666" y="1101666"/>
                  </a:lnTo>
                  <a:lnTo>
                    <a:pt x="1032845" y="1103724"/>
                  </a:lnTo>
                  <a:lnTo>
                    <a:pt x="1035295" y="1101727"/>
                  </a:lnTo>
                  <a:lnTo>
                    <a:pt x="1037231" y="1098883"/>
                  </a:lnTo>
                  <a:lnTo>
                    <a:pt x="1041315" y="1094920"/>
                  </a:lnTo>
                  <a:lnTo>
                    <a:pt x="1047032" y="1085694"/>
                  </a:lnTo>
                  <a:lnTo>
                    <a:pt x="1048212" y="1084181"/>
                  </a:lnTo>
                  <a:lnTo>
                    <a:pt x="1050723" y="1082759"/>
                  </a:lnTo>
                  <a:lnTo>
                    <a:pt x="1051872" y="1081307"/>
                  </a:lnTo>
                  <a:lnTo>
                    <a:pt x="1053204" y="1080037"/>
                  </a:lnTo>
                  <a:lnTo>
                    <a:pt x="1054565" y="1080037"/>
                  </a:lnTo>
                  <a:lnTo>
                    <a:pt x="1055714" y="1079764"/>
                  </a:lnTo>
                  <a:lnTo>
                    <a:pt x="1056350" y="1077677"/>
                  </a:lnTo>
                  <a:lnTo>
                    <a:pt x="1056229" y="1074803"/>
                  </a:lnTo>
                  <a:lnTo>
                    <a:pt x="1055473" y="1072776"/>
                  </a:lnTo>
                  <a:lnTo>
                    <a:pt x="1054293" y="1071718"/>
                  </a:lnTo>
                  <a:lnTo>
                    <a:pt x="1052932" y="1071718"/>
                  </a:lnTo>
                  <a:lnTo>
                    <a:pt x="1053567" y="1074773"/>
                  </a:lnTo>
                  <a:lnTo>
                    <a:pt x="1051509" y="1073805"/>
                  </a:lnTo>
                  <a:lnTo>
                    <a:pt x="1049422" y="1073291"/>
                  </a:lnTo>
                  <a:lnTo>
                    <a:pt x="1048787" y="1073987"/>
                  </a:lnTo>
                  <a:lnTo>
                    <a:pt x="1047668" y="1077042"/>
                  </a:lnTo>
                  <a:lnTo>
                    <a:pt x="1046730" y="1077707"/>
                  </a:lnTo>
                  <a:lnTo>
                    <a:pt x="1044885" y="1077254"/>
                  </a:lnTo>
                  <a:lnTo>
                    <a:pt x="1043644" y="1075862"/>
                  </a:lnTo>
                  <a:lnTo>
                    <a:pt x="1043433" y="1073533"/>
                  </a:lnTo>
                  <a:lnTo>
                    <a:pt x="1044643" y="1070235"/>
                  </a:lnTo>
                  <a:lnTo>
                    <a:pt x="1044400" y="1068723"/>
                  </a:lnTo>
                  <a:lnTo>
                    <a:pt x="1043614" y="1065153"/>
                  </a:lnTo>
                  <a:lnTo>
                    <a:pt x="1043251" y="1064215"/>
                  </a:lnTo>
                  <a:lnTo>
                    <a:pt x="1041950" y="1063792"/>
                  </a:lnTo>
                  <a:lnTo>
                    <a:pt x="1037866" y="1064306"/>
                  </a:lnTo>
                  <a:lnTo>
                    <a:pt x="1036777" y="1065062"/>
                  </a:lnTo>
                  <a:lnTo>
                    <a:pt x="1035507" y="1066333"/>
                  </a:lnTo>
                  <a:lnTo>
                    <a:pt x="1034175" y="1065244"/>
                  </a:lnTo>
                  <a:lnTo>
                    <a:pt x="1032270" y="1061432"/>
                  </a:lnTo>
                  <a:lnTo>
                    <a:pt x="1030878" y="1061099"/>
                  </a:lnTo>
                  <a:lnTo>
                    <a:pt x="1030273" y="1060585"/>
                  </a:lnTo>
                  <a:lnTo>
                    <a:pt x="1030515" y="1059254"/>
                  </a:lnTo>
                  <a:lnTo>
                    <a:pt x="1031211" y="1058528"/>
                  </a:lnTo>
                  <a:lnTo>
                    <a:pt x="1032028" y="1058528"/>
                  </a:lnTo>
                  <a:lnTo>
                    <a:pt x="1032693" y="1059224"/>
                  </a:lnTo>
                  <a:lnTo>
                    <a:pt x="1032965" y="1060706"/>
                  </a:lnTo>
                  <a:lnTo>
                    <a:pt x="1034206" y="1062793"/>
                  </a:lnTo>
                  <a:lnTo>
                    <a:pt x="1037019" y="1061160"/>
                  </a:lnTo>
                  <a:lnTo>
                    <a:pt x="1041920" y="1057076"/>
                  </a:lnTo>
                  <a:lnTo>
                    <a:pt x="1042707" y="1057802"/>
                  </a:lnTo>
                  <a:lnTo>
                    <a:pt x="1045278" y="1062219"/>
                  </a:lnTo>
                  <a:lnTo>
                    <a:pt x="1046730" y="1063005"/>
                  </a:lnTo>
                  <a:lnTo>
                    <a:pt x="1048182" y="1062582"/>
                  </a:lnTo>
                  <a:lnTo>
                    <a:pt x="1049573" y="1061462"/>
                  </a:lnTo>
                  <a:lnTo>
                    <a:pt x="1050844" y="1060040"/>
                  </a:lnTo>
                  <a:lnTo>
                    <a:pt x="1048817" y="1060162"/>
                  </a:lnTo>
                  <a:lnTo>
                    <a:pt x="1047123" y="1059526"/>
                  </a:lnTo>
                  <a:lnTo>
                    <a:pt x="1045701" y="1058014"/>
                  </a:lnTo>
                  <a:lnTo>
                    <a:pt x="1044552" y="1055503"/>
                  </a:lnTo>
                  <a:lnTo>
                    <a:pt x="1044552" y="1050481"/>
                  </a:lnTo>
                  <a:lnTo>
                    <a:pt x="1044128" y="1049543"/>
                  </a:lnTo>
                  <a:lnTo>
                    <a:pt x="1043190" y="1048666"/>
                  </a:lnTo>
                  <a:lnTo>
                    <a:pt x="1042283" y="1048666"/>
                  </a:lnTo>
                  <a:lnTo>
                    <a:pt x="1041103" y="1054051"/>
                  </a:lnTo>
                  <a:lnTo>
                    <a:pt x="1039258" y="1052175"/>
                  </a:lnTo>
                  <a:lnTo>
                    <a:pt x="1036989" y="1048182"/>
                  </a:lnTo>
                  <a:lnTo>
                    <a:pt x="1034901" y="1045308"/>
                  </a:lnTo>
                  <a:lnTo>
                    <a:pt x="1032875" y="1044249"/>
                  </a:lnTo>
                  <a:lnTo>
                    <a:pt x="1032300" y="1045066"/>
                  </a:lnTo>
                  <a:lnTo>
                    <a:pt x="1032179" y="1047093"/>
                  </a:lnTo>
                  <a:lnTo>
                    <a:pt x="1031483" y="1049725"/>
                  </a:lnTo>
                  <a:lnTo>
                    <a:pt x="1031816" y="1049785"/>
                  </a:lnTo>
                  <a:lnTo>
                    <a:pt x="1032028" y="1050814"/>
                  </a:lnTo>
                  <a:lnTo>
                    <a:pt x="1031756" y="1051963"/>
                  </a:lnTo>
                  <a:lnTo>
                    <a:pt x="1030818" y="1052538"/>
                  </a:lnTo>
                  <a:lnTo>
                    <a:pt x="1029880" y="1051842"/>
                  </a:lnTo>
                  <a:lnTo>
                    <a:pt x="1028488" y="1048787"/>
                  </a:lnTo>
                  <a:lnTo>
                    <a:pt x="1027702" y="1048091"/>
                  </a:lnTo>
                  <a:lnTo>
                    <a:pt x="1027339" y="1047516"/>
                  </a:lnTo>
                  <a:lnTo>
                    <a:pt x="1026492" y="1044703"/>
                  </a:lnTo>
                  <a:lnTo>
                    <a:pt x="1025947" y="1043674"/>
                  </a:lnTo>
                  <a:lnTo>
                    <a:pt x="1024949" y="1042858"/>
                  </a:lnTo>
                  <a:lnTo>
                    <a:pt x="1023981" y="1042464"/>
                  </a:lnTo>
                  <a:lnTo>
                    <a:pt x="1021803" y="1042374"/>
                  </a:lnTo>
                  <a:lnTo>
                    <a:pt x="1019927" y="1041224"/>
                  </a:lnTo>
                  <a:lnTo>
                    <a:pt x="1018626" y="1038864"/>
                  </a:lnTo>
                  <a:lnTo>
                    <a:pt x="1018626" y="1036777"/>
                  </a:lnTo>
                  <a:lnTo>
                    <a:pt x="1020471" y="1036505"/>
                  </a:lnTo>
                  <a:lnTo>
                    <a:pt x="1018626" y="1032814"/>
                  </a:lnTo>
                  <a:lnTo>
                    <a:pt x="1015601" y="1031634"/>
                  </a:lnTo>
                  <a:lnTo>
                    <a:pt x="1012213" y="1031362"/>
                  </a:lnTo>
                  <a:lnTo>
                    <a:pt x="1009430" y="1030485"/>
                  </a:lnTo>
                  <a:lnTo>
                    <a:pt x="1007645" y="1028095"/>
                  </a:lnTo>
                  <a:lnTo>
                    <a:pt x="1006495" y="1024556"/>
                  </a:lnTo>
                  <a:lnTo>
                    <a:pt x="1006284" y="1020865"/>
                  </a:lnTo>
                  <a:lnTo>
                    <a:pt x="1007373" y="1017991"/>
                  </a:lnTo>
                  <a:lnTo>
                    <a:pt x="1009793" y="1017265"/>
                  </a:lnTo>
                  <a:lnTo>
                    <a:pt x="1011910" y="1019746"/>
                  </a:lnTo>
                  <a:lnTo>
                    <a:pt x="1013907" y="1022952"/>
                  </a:lnTo>
                  <a:lnTo>
                    <a:pt x="1016025" y="1024556"/>
                  </a:lnTo>
                  <a:lnTo>
                    <a:pt x="1018596" y="1025705"/>
                  </a:lnTo>
                  <a:lnTo>
                    <a:pt x="1023376" y="1030697"/>
                  </a:lnTo>
                  <a:lnTo>
                    <a:pt x="1026038" y="1031816"/>
                  </a:lnTo>
                  <a:lnTo>
                    <a:pt x="1026038" y="1030455"/>
                  </a:lnTo>
                  <a:lnTo>
                    <a:pt x="1024676" y="1028851"/>
                  </a:lnTo>
                  <a:lnTo>
                    <a:pt x="1024435" y="1027218"/>
                  </a:lnTo>
                  <a:lnTo>
                    <a:pt x="1025130" y="1026068"/>
                  </a:lnTo>
                  <a:lnTo>
                    <a:pt x="1026794" y="1026008"/>
                  </a:lnTo>
                  <a:lnTo>
                    <a:pt x="1026794" y="1024525"/>
                  </a:lnTo>
                  <a:lnTo>
                    <a:pt x="1022257" y="1020593"/>
                  </a:lnTo>
                  <a:lnTo>
                    <a:pt x="1020139" y="1017688"/>
                  </a:lnTo>
                  <a:lnTo>
                    <a:pt x="1018415" y="1014028"/>
                  </a:lnTo>
                  <a:lnTo>
                    <a:pt x="1020351" y="1013362"/>
                  </a:lnTo>
                  <a:lnTo>
                    <a:pt x="1025493" y="1013786"/>
                  </a:lnTo>
                  <a:lnTo>
                    <a:pt x="1026794" y="1012697"/>
                  </a:lnTo>
                  <a:lnTo>
                    <a:pt x="1026128" y="1009551"/>
                  </a:lnTo>
                  <a:lnTo>
                    <a:pt x="1023648" y="1007705"/>
                  </a:lnTo>
                  <a:lnTo>
                    <a:pt x="1017235" y="1004983"/>
                  </a:lnTo>
                  <a:lnTo>
                    <a:pt x="1010852" y="1006737"/>
                  </a:lnTo>
                  <a:lnTo>
                    <a:pt x="1006949" y="1006677"/>
                  </a:lnTo>
                  <a:lnTo>
                    <a:pt x="1005134" y="1005830"/>
                  </a:lnTo>
                  <a:lnTo>
                    <a:pt x="1003319" y="1003743"/>
                  </a:lnTo>
                  <a:lnTo>
                    <a:pt x="1003531" y="1002896"/>
                  </a:lnTo>
                  <a:lnTo>
                    <a:pt x="1003924" y="1000627"/>
                  </a:lnTo>
                  <a:lnTo>
                    <a:pt x="1000869" y="999477"/>
                  </a:lnTo>
                  <a:lnTo>
                    <a:pt x="999629" y="998297"/>
                  </a:lnTo>
                  <a:lnTo>
                    <a:pt x="999144" y="995514"/>
                  </a:lnTo>
                  <a:lnTo>
                    <a:pt x="999598" y="992429"/>
                  </a:lnTo>
                  <a:lnTo>
                    <a:pt x="1000748" y="990281"/>
                  </a:lnTo>
                  <a:lnTo>
                    <a:pt x="1002321" y="989403"/>
                  </a:lnTo>
                  <a:lnTo>
                    <a:pt x="1003924" y="990099"/>
                  </a:lnTo>
                  <a:lnTo>
                    <a:pt x="1004378" y="991733"/>
                  </a:lnTo>
                  <a:lnTo>
                    <a:pt x="1004589" y="994274"/>
                  </a:lnTo>
                  <a:lnTo>
                    <a:pt x="1005164" y="996634"/>
                  </a:lnTo>
                  <a:lnTo>
                    <a:pt x="1006738" y="997662"/>
                  </a:lnTo>
                  <a:lnTo>
                    <a:pt x="1008522" y="997511"/>
                  </a:lnTo>
                  <a:lnTo>
                    <a:pt x="1012001" y="996119"/>
                  </a:lnTo>
                  <a:lnTo>
                    <a:pt x="1013605" y="994818"/>
                  </a:lnTo>
                  <a:lnTo>
                    <a:pt x="1012727" y="991007"/>
                  </a:lnTo>
                  <a:lnTo>
                    <a:pt x="1014754" y="989313"/>
                  </a:lnTo>
                  <a:lnTo>
                    <a:pt x="1016720" y="986953"/>
                  </a:lnTo>
                  <a:lnTo>
                    <a:pt x="1015722" y="981175"/>
                  </a:lnTo>
                  <a:lnTo>
                    <a:pt x="1016993" y="980782"/>
                  </a:lnTo>
                  <a:lnTo>
                    <a:pt x="1018263" y="979420"/>
                  </a:lnTo>
                  <a:lnTo>
                    <a:pt x="1019382" y="977696"/>
                  </a:lnTo>
                  <a:lnTo>
                    <a:pt x="1020169" y="976123"/>
                  </a:lnTo>
                  <a:lnTo>
                    <a:pt x="1020714" y="973763"/>
                  </a:lnTo>
                  <a:lnTo>
                    <a:pt x="1020230" y="972251"/>
                  </a:lnTo>
                  <a:lnTo>
                    <a:pt x="1019625" y="970980"/>
                  </a:lnTo>
                  <a:lnTo>
                    <a:pt x="1019806" y="969286"/>
                  </a:lnTo>
                  <a:lnTo>
                    <a:pt x="1021077" y="968500"/>
                  </a:lnTo>
                  <a:lnTo>
                    <a:pt x="1033298" y="967774"/>
                  </a:lnTo>
                  <a:lnTo>
                    <a:pt x="1034962" y="966291"/>
                  </a:lnTo>
                  <a:lnTo>
                    <a:pt x="1033480" y="963992"/>
                  </a:lnTo>
                  <a:lnTo>
                    <a:pt x="1033873" y="961996"/>
                  </a:lnTo>
                  <a:lnTo>
                    <a:pt x="1035325" y="960271"/>
                  </a:lnTo>
                  <a:lnTo>
                    <a:pt x="1037050" y="958849"/>
                  </a:lnTo>
                  <a:lnTo>
                    <a:pt x="1037322" y="958244"/>
                  </a:lnTo>
                  <a:lnTo>
                    <a:pt x="1037594" y="957216"/>
                  </a:lnTo>
                  <a:lnTo>
                    <a:pt x="1037776" y="956248"/>
                  </a:lnTo>
                  <a:lnTo>
                    <a:pt x="1037776" y="955855"/>
                  </a:lnTo>
                  <a:lnTo>
                    <a:pt x="1038925" y="955764"/>
                  </a:lnTo>
                  <a:lnTo>
                    <a:pt x="1040891" y="957004"/>
                  </a:lnTo>
                  <a:lnTo>
                    <a:pt x="1041920" y="957367"/>
                  </a:lnTo>
                  <a:lnTo>
                    <a:pt x="1042827" y="956974"/>
                  </a:lnTo>
                  <a:lnTo>
                    <a:pt x="1045974" y="954342"/>
                  </a:lnTo>
                  <a:lnTo>
                    <a:pt x="1045096" y="953283"/>
                  </a:lnTo>
                  <a:lnTo>
                    <a:pt x="1043342" y="950167"/>
                  </a:lnTo>
                  <a:lnTo>
                    <a:pt x="1042313" y="946870"/>
                  </a:lnTo>
                  <a:lnTo>
                    <a:pt x="1043553" y="945357"/>
                  </a:lnTo>
                  <a:lnTo>
                    <a:pt x="1051994" y="945599"/>
                  </a:lnTo>
                  <a:lnTo>
                    <a:pt x="1054262" y="943875"/>
                  </a:lnTo>
                  <a:lnTo>
                    <a:pt x="1052206" y="942453"/>
                  </a:lnTo>
                  <a:lnTo>
                    <a:pt x="1050602" y="942030"/>
                  </a:lnTo>
                  <a:lnTo>
                    <a:pt x="1050602" y="942030"/>
                  </a:lnTo>
                  <a:lnTo>
                    <a:pt x="1050027" y="940820"/>
                  </a:lnTo>
                  <a:lnTo>
                    <a:pt x="1051903" y="934467"/>
                  </a:lnTo>
                  <a:lnTo>
                    <a:pt x="1051963" y="932168"/>
                  </a:lnTo>
                  <a:lnTo>
                    <a:pt x="1051389" y="930262"/>
                  </a:lnTo>
                  <a:lnTo>
                    <a:pt x="1050118" y="928870"/>
                  </a:lnTo>
                  <a:lnTo>
                    <a:pt x="1055684" y="928507"/>
                  </a:lnTo>
                  <a:lnTo>
                    <a:pt x="1057590" y="926541"/>
                  </a:lnTo>
                  <a:lnTo>
                    <a:pt x="1056683" y="921943"/>
                  </a:lnTo>
                  <a:lnTo>
                    <a:pt x="1049392" y="908269"/>
                  </a:lnTo>
                  <a:lnTo>
                    <a:pt x="1043826" y="901614"/>
                  </a:lnTo>
                  <a:lnTo>
                    <a:pt x="1037776" y="891026"/>
                  </a:lnTo>
                  <a:lnTo>
                    <a:pt x="1034690" y="888122"/>
                  </a:lnTo>
                  <a:lnTo>
                    <a:pt x="1021894" y="884824"/>
                  </a:lnTo>
                  <a:lnTo>
                    <a:pt x="1023255" y="881860"/>
                  </a:lnTo>
                  <a:lnTo>
                    <a:pt x="1027460" y="881557"/>
                  </a:lnTo>
                  <a:lnTo>
                    <a:pt x="1028791" y="878744"/>
                  </a:lnTo>
                  <a:lnTo>
                    <a:pt x="1028246" y="878411"/>
                  </a:lnTo>
                  <a:lnTo>
                    <a:pt x="1027278" y="877534"/>
                  </a:lnTo>
                  <a:lnTo>
                    <a:pt x="1026734" y="877261"/>
                  </a:lnTo>
                  <a:lnTo>
                    <a:pt x="1030061" y="876838"/>
                  </a:lnTo>
                  <a:lnTo>
                    <a:pt x="1033359" y="880771"/>
                  </a:lnTo>
                  <a:lnTo>
                    <a:pt x="1036444" y="885611"/>
                  </a:lnTo>
                  <a:lnTo>
                    <a:pt x="1039106" y="888001"/>
                  </a:lnTo>
                  <a:lnTo>
                    <a:pt x="1041194" y="888515"/>
                  </a:lnTo>
                  <a:lnTo>
                    <a:pt x="1043009" y="889876"/>
                  </a:lnTo>
                  <a:lnTo>
                    <a:pt x="1044552" y="891752"/>
                  </a:lnTo>
                  <a:lnTo>
                    <a:pt x="1045943" y="893930"/>
                  </a:lnTo>
                  <a:lnTo>
                    <a:pt x="1047214" y="896653"/>
                  </a:lnTo>
                  <a:lnTo>
                    <a:pt x="1049059" y="902370"/>
                  </a:lnTo>
                  <a:lnTo>
                    <a:pt x="1050057" y="904609"/>
                  </a:lnTo>
                  <a:lnTo>
                    <a:pt x="1053325" y="906636"/>
                  </a:lnTo>
                  <a:lnTo>
                    <a:pt x="1057923" y="906030"/>
                  </a:lnTo>
                  <a:lnTo>
                    <a:pt x="1062491" y="903399"/>
                  </a:lnTo>
                  <a:lnTo>
                    <a:pt x="1065607" y="899224"/>
                  </a:lnTo>
                  <a:lnTo>
                    <a:pt x="1065849" y="896048"/>
                  </a:lnTo>
                  <a:lnTo>
                    <a:pt x="1064366" y="893627"/>
                  </a:lnTo>
                  <a:lnTo>
                    <a:pt x="1061069" y="890965"/>
                  </a:lnTo>
                  <a:lnTo>
                    <a:pt x="1057832" y="887063"/>
                  </a:lnTo>
                  <a:lnTo>
                    <a:pt x="1056047" y="885460"/>
                  </a:lnTo>
                  <a:lnTo>
                    <a:pt x="1054141" y="884824"/>
                  </a:lnTo>
                  <a:lnTo>
                    <a:pt x="1053960" y="888303"/>
                  </a:lnTo>
                  <a:lnTo>
                    <a:pt x="1052115" y="889422"/>
                  </a:lnTo>
                  <a:lnTo>
                    <a:pt x="1049846" y="888817"/>
                  </a:lnTo>
                  <a:lnTo>
                    <a:pt x="1048273" y="887154"/>
                  </a:lnTo>
                  <a:lnTo>
                    <a:pt x="1046669" y="884401"/>
                  </a:lnTo>
                  <a:lnTo>
                    <a:pt x="1044643" y="882253"/>
                  </a:lnTo>
                  <a:lnTo>
                    <a:pt x="1042434" y="880861"/>
                  </a:lnTo>
                  <a:lnTo>
                    <a:pt x="1040317" y="880286"/>
                  </a:lnTo>
                  <a:lnTo>
                    <a:pt x="1044431" y="877261"/>
                  </a:lnTo>
                  <a:lnTo>
                    <a:pt x="1043947" y="876929"/>
                  </a:lnTo>
                  <a:lnTo>
                    <a:pt x="1043039" y="876021"/>
                  </a:lnTo>
                  <a:lnTo>
                    <a:pt x="1042434" y="875749"/>
                  </a:lnTo>
                  <a:lnTo>
                    <a:pt x="1044340" y="872240"/>
                  </a:lnTo>
                  <a:lnTo>
                    <a:pt x="1048212" y="871483"/>
                  </a:lnTo>
                  <a:lnTo>
                    <a:pt x="1055473" y="872572"/>
                  </a:lnTo>
                  <a:lnTo>
                    <a:pt x="1055473" y="871181"/>
                  </a:lnTo>
                  <a:lnTo>
                    <a:pt x="1054051" y="871302"/>
                  </a:lnTo>
                  <a:lnTo>
                    <a:pt x="1049937" y="869517"/>
                  </a:lnTo>
                  <a:lnTo>
                    <a:pt x="1049937" y="868125"/>
                  </a:lnTo>
                  <a:lnTo>
                    <a:pt x="1054202" y="866704"/>
                  </a:lnTo>
                  <a:lnTo>
                    <a:pt x="1056562" y="866613"/>
                  </a:lnTo>
                  <a:lnTo>
                    <a:pt x="1058679" y="870757"/>
                  </a:lnTo>
                  <a:lnTo>
                    <a:pt x="1061190" y="871393"/>
                  </a:lnTo>
                  <a:lnTo>
                    <a:pt x="1065879" y="871181"/>
                  </a:lnTo>
                  <a:lnTo>
                    <a:pt x="1064427" y="868035"/>
                  </a:lnTo>
                  <a:lnTo>
                    <a:pt x="1066212" y="867551"/>
                  </a:lnTo>
                  <a:lnTo>
                    <a:pt x="1074682" y="870757"/>
                  </a:lnTo>
                  <a:lnTo>
                    <a:pt x="1077768" y="870546"/>
                  </a:lnTo>
                  <a:lnTo>
                    <a:pt x="1080793" y="869093"/>
                  </a:lnTo>
                  <a:lnTo>
                    <a:pt x="1083788" y="866613"/>
                  </a:lnTo>
                  <a:lnTo>
                    <a:pt x="1084574" y="869063"/>
                  </a:lnTo>
                  <a:lnTo>
                    <a:pt x="1086420" y="870152"/>
                  </a:lnTo>
                  <a:lnTo>
                    <a:pt x="1088507" y="869850"/>
                  </a:lnTo>
                  <a:lnTo>
                    <a:pt x="1089959" y="868125"/>
                  </a:lnTo>
                  <a:lnTo>
                    <a:pt x="1090020" y="865978"/>
                  </a:lnTo>
                  <a:lnTo>
                    <a:pt x="1089324" y="863860"/>
                  </a:lnTo>
                  <a:lnTo>
                    <a:pt x="1088961" y="861561"/>
                  </a:lnTo>
                  <a:lnTo>
                    <a:pt x="1089959" y="858899"/>
                  </a:lnTo>
                  <a:lnTo>
                    <a:pt x="1092349" y="863255"/>
                  </a:lnTo>
                  <a:lnTo>
                    <a:pt x="1093861" y="864798"/>
                  </a:lnTo>
                  <a:lnTo>
                    <a:pt x="1095495" y="864949"/>
                  </a:lnTo>
                  <a:lnTo>
                    <a:pt x="1096917" y="863618"/>
                  </a:lnTo>
                  <a:lnTo>
                    <a:pt x="1097643" y="861561"/>
                  </a:lnTo>
                  <a:lnTo>
                    <a:pt x="1098157" y="858899"/>
                  </a:lnTo>
                  <a:lnTo>
                    <a:pt x="1098914" y="855813"/>
                  </a:lnTo>
                  <a:lnTo>
                    <a:pt x="1096191" y="853635"/>
                  </a:lnTo>
                  <a:lnTo>
                    <a:pt x="1090413" y="846375"/>
                  </a:lnTo>
                  <a:lnTo>
                    <a:pt x="1087872" y="846677"/>
                  </a:lnTo>
                  <a:lnTo>
                    <a:pt x="1088689" y="847101"/>
                  </a:lnTo>
                  <a:lnTo>
                    <a:pt x="1090746" y="849581"/>
                  </a:lnTo>
                  <a:lnTo>
                    <a:pt x="1088477" y="850822"/>
                  </a:lnTo>
                  <a:lnTo>
                    <a:pt x="1085694" y="848190"/>
                  </a:lnTo>
                  <a:lnTo>
                    <a:pt x="1080974" y="840597"/>
                  </a:lnTo>
                  <a:lnTo>
                    <a:pt x="1083092" y="840264"/>
                  </a:lnTo>
                  <a:lnTo>
                    <a:pt x="1096826" y="844590"/>
                  </a:lnTo>
                  <a:lnTo>
                    <a:pt x="1099549" y="842896"/>
                  </a:lnTo>
                  <a:lnTo>
                    <a:pt x="1100487" y="842896"/>
                  </a:lnTo>
                  <a:lnTo>
                    <a:pt x="1101394" y="844257"/>
                  </a:lnTo>
                  <a:lnTo>
                    <a:pt x="1102302" y="845286"/>
                  </a:lnTo>
                  <a:lnTo>
                    <a:pt x="1103300" y="844499"/>
                  </a:lnTo>
                  <a:lnTo>
                    <a:pt x="1103875" y="842835"/>
                  </a:lnTo>
                  <a:lnTo>
                    <a:pt x="1103966" y="841958"/>
                  </a:lnTo>
                  <a:lnTo>
                    <a:pt x="1104177" y="841383"/>
                  </a:lnTo>
                  <a:lnTo>
                    <a:pt x="1105085" y="840597"/>
                  </a:lnTo>
                  <a:lnTo>
                    <a:pt x="1107868" y="839659"/>
                  </a:lnTo>
                  <a:lnTo>
                    <a:pt x="1113525" y="839598"/>
                  </a:lnTo>
                  <a:lnTo>
                    <a:pt x="1116157" y="837541"/>
                  </a:lnTo>
                  <a:lnTo>
                    <a:pt x="1114191" y="837632"/>
                  </a:lnTo>
                  <a:lnTo>
                    <a:pt x="1112859" y="836634"/>
                  </a:lnTo>
                  <a:lnTo>
                    <a:pt x="1110591" y="832973"/>
                  </a:lnTo>
                  <a:lnTo>
                    <a:pt x="1109048" y="831007"/>
                  </a:lnTo>
                  <a:lnTo>
                    <a:pt x="1107656" y="829827"/>
                  </a:lnTo>
                  <a:lnTo>
                    <a:pt x="1101031" y="826651"/>
                  </a:lnTo>
                  <a:lnTo>
                    <a:pt x="1092712" y="819058"/>
                  </a:lnTo>
                  <a:lnTo>
                    <a:pt x="1080400" y="812463"/>
                  </a:lnTo>
                  <a:lnTo>
                    <a:pt x="1074349" y="806685"/>
                  </a:lnTo>
                  <a:lnTo>
                    <a:pt x="1071959" y="797458"/>
                  </a:lnTo>
                  <a:lnTo>
                    <a:pt x="1073382" y="799303"/>
                  </a:lnTo>
                  <a:lnTo>
                    <a:pt x="1076558" y="801300"/>
                  </a:lnTo>
                  <a:lnTo>
                    <a:pt x="1077889" y="803024"/>
                  </a:lnTo>
                  <a:lnTo>
                    <a:pt x="1079976" y="807320"/>
                  </a:lnTo>
                  <a:lnTo>
                    <a:pt x="1080914" y="808560"/>
                  </a:lnTo>
                  <a:lnTo>
                    <a:pt x="1082427" y="809861"/>
                  </a:lnTo>
                  <a:lnTo>
                    <a:pt x="1088658" y="811918"/>
                  </a:lnTo>
                  <a:lnTo>
                    <a:pt x="1092077" y="815669"/>
                  </a:lnTo>
                  <a:lnTo>
                    <a:pt x="1096342" y="816758"/>
                  </a:lnTo>
                  <a:lnTo>
                    <a:pt x="1097855" y="818301"/>
                  </a:lnTo>
                  <a:lnTo>
                    <a:pt x="1100880" y="822234"/>
                  </a:lnTo>
                  <a:lnTo>
                    <a:pt x="1108443" y="825289"/>
                  </a:lnTo>
                  <a:lnTo>
                    <a:pt x="1118698" y="832368"/>
                  </a:lnTo>
                  <a:lnTo>
                    <a:pt x="1121542" y="833064"/>
                  </a:lnTo>
                  <a:lnTo>
                    <a:pt x="1120937" y="829888"/>
                  </a:lnTo>
                  <a:lnTo>
                    <a:pt x="1122177" y="828466"/>
                  </a:lnTo>
                  <a:lnTo>
                    <a:pt x="1123387" y="828829"/>
                  </a:lnTo>
                  <a:lnTo>
                    <a:pt x="1125747" y="831279"/>
                  </a:lnTo>
                  <a:lnTo>
                    <a:pt x="1127955" y="832368"/>
                  </a:lnTo>
                  <a:lnTo>
                    <a:pt x="1130950" y="832943"/>
                  </a:lnTo>
                  <a:lnTo>
                    <a:pt x="1132946" y="834425"/>
                  </a:lnTo>
                  <a:lnTo>
                    <a:pt x="1134671" y="837299"/>
                  </a:lnTo>
                  <a:lnTo>
                    <a:pt x="1136516" y="839114"/>
                  </a:lnTo>
                  <a:lnTo>
                    <a:pt x="1138906" y="837541"/>
                  </a:lnTo>
                  <a:lnTo>
                    <a:pt x="1137847" y="833034"/>
                  </a:lnTo>
                  <a:lnTo>
                    <a:pt x="1137121" y="830825"/>
                  </a:lnTo>
                  <a:lnTo>
                    <a:pt x="1136456" y="829888"/>
                  </a:lnTo>
                  <a:lnTo>
                    <a:pt x="1132553" y="828587"/>
                  </a:lnTo>
                  <a:lnTo>
                    <a:pt x="1130284" y="827074"/>
                  </a:lnTo>
                  <a:lnTo>
                    <a:pt x="1129256" y="825168"/>
                  </a:lnTo>
                  <a:lnTo>
                    <a:pt x="1129921" y="823232"/>
                  </a:lnTo>
                  <a:lnTo>
                    <a:pt x="1134398" y="819874"/>
                  </a:lnTo>
                  <a:lnTo>
                    <a:pt x="1133975" y="818483"/>
                  </a:lnTo>
                  <a:lnTo>
                    <a:pt x="1128500" y="815972"/>
                  </a:lnTo>
                  <a:lnTo>
                    <a:pt x="1129256" y="814580"/>
                  </a:lnTo>
                  <a:lnTo>
                    <a:pt x="1128348" y="812735"/>
                  </a:lnTo>
                  <a:lnTo>
                    <a:pt x="1126745" y="810527"/>
                  </a:lnTo>
                  <a:lnTo>
                    <a:pt x="1125202" y="809559"/>
                  </a:lnTo>
                  <a:lnTo>
                    <a:pt x="1124355" y="811495"/>
                  </a:lnTo>
                  <a:lnTo>
                    <a:pt x="1124809" y="813582"/>
                  </a:lnTo>
                  <a:lnTo>
                    <a:pt x="1127289" y="816698"/>
                  </a:lnTo>
                  <a:lnTo>
                    <a:pt x="1127774" y="818997"/>
                  </a:lnTo>
                  <a:lnTo>
                    <a:pt x="1125928" y="823474"/>
                  </a:lnTo>
                  <a:lnTo>
                    <a:pt x="1122117" y="823414"/>
                  </a:lnTo>
                  <a:lnTo>
                    <a:pt x="1114705" y="820661"/>
                  </a:lnTo>
                  <a:lnTo>
                    <a:pt x="1122026" y="820328"/>
                  </a:lnTo>
                  <a:lnTo>
                    <a:pt x="1124325" y="818997"/>
                  </a:lnTo>
                  <a:lnTo>
                    <a:pt x="1123054" y="814611"/>
                  </a:lnTo>
                  <a:lnTo>
                    <a:pt x="1122358" y="812705"/>
                  </a:lnTo>
                  <a:lnTo>
                    <a:pt x="1121572" y="811464"/>
                  </a:lnTo>
                  <a:lnTo>
                    <a:pt x="1122358" y="809559"/>
                  </a:lnTo>
                  <a:lnTo>
                    <a:pt x="1122631" y="807834"/>
                  </a:lnTo>
                  <a:lnTo>
                    <a:pt x="1122358" y="806322"/>
                  </a:lnTo>
                  <a:lnTo>
                    <a:pt x="1121572" y="805172"/>
                  </a:lnTo>
                  <a:lnTo>
                    <a:pt x="1123992" y="803266"/>
                  </a:lnTo>
                  <a:lnTo>
                    <a:pt x="1126654" y="803418"/>
                  </a:lnTo>
                  <a:lnTo>
                    <a:pt x="1128802" y="806019"/>
                  </a:lnTo>
                  <a:lnTo>
                    <a:pt x="1129830" y="811464"/>
                  </a:lnTo>
                  <a:lnTo>
                    <a:pt x="1130950" y="810285"/>
                  </a:lnTo>
                  <a:lnTo>
                    <a:pt x="1132160" y="809680"/>
                  </a:lnTo>
                  <a:lnTo>
                    <a:pt x="1133400" y="809528"/>
                  </a:lnTo>
                  <a:lnTo>
                    <a:pt x="1134701" y="809770"/>
                  </a:lnTo>
                  <a:lnTo>
                    <a:pt x="1133551" y="803539"/>
                  </a:lnTo>
                  <a:lnTo>
                    <a:pt x="1132069" y="799939"/>
                  </a:lnTo>
                  <a:lnTo>
                    <a:pt x="1129830" y="798154"/>
                  </a:lnTo>
                  <a:lnTo>
                    <a:pt x="1123175" y="796732"/>
                  </a:lnTo>
                  <a:lnTo>
                    <a:pt x="1120816" y="795582"/>
                  </a:lnTo>
                  <a:lnTo>
                    <a:pt x="1118819" y="793435"/>
                  </a:lnTo>
                  <a:lnTo>
                    <a:pt x="1116701" y="789865"/>
                  </a:lnTo>
                  <a:lnTo>
                    <a:pt x="1120271" y="790077"/>
                  </a:lnTo>
                  <a:lnTo>
                    <a:pt x="1124385" y="793888"/>
                  </a:lnTo>
                  <a:lnTo>
                    <a:pt x="1128469" y="795673"/>
                  </a:lnTo>
                  <a:lnTo>
                    <a:pt x="1131948" y="789895"/>
                  </a:lnTo>
                  <a:lnTo>
                    <a:pt x="1130436" y="787626"/>
                  </a:lnTo>
                  <a:lnTo>
                    <a:pt x="1128923" y="782756"/>
                  </a:lnTo>
                  <a:lnTo>
                    <a:pt x="1127774" y="780669"/>
                  </a:lnTo>
                  <a:lnTo>
                    <a:pt x="1131010" y="781939"/>
                  </a:lnTo>
                  <a:lnTo>
                    <a:pt x="1132342" y="781667"/>
                  </a:lnTo>
                  <a:lnTo>
                    <a:pt x="1132644" y="778974"/>
                  </a:lnTo>
                  <a:lnTo>
                    <a:pt x="1128469" y="772833"/>
                  </a:lnTo>
                  <a:lnTo>
                    <a:pt x="1132644" y="771412"/>
                  </a:lnTo>
                  <a:lnTo>
                    <a:pt x="1132916" y="767237"/>
                  </a:lnTo>
                  <a:lnTo>
                    <a:pt x="1136486" y="766753"/>
                  </a:lnTo>
                  <a:lnTo>
                    <a:pt x="1143716" y="768356"/>
                  </a:lnTo>
                  <a:lnTo>
                    <a:pt x="1143232" y="770625"/>
                  </a:lnTo>
                  <a:lnTo>
                    <a:pt x="1142960" y="771442"/>
                  </a:lnTo>
                  <a:lnTo>
                    <a:pt x="1146348" y="774195"/>
                  </a:lnTo>
                  <a:lnTo>
                    <a:pt x="1147830" y="776070"/>
                  </a:lnTo>
                  <a:lnTo>
                    <a:pt x="1149191" y="778974"/>
                  </a:lnTo>
                  <a:lnTo>
                    <a:pt x="1148254" y="780124"/>
                  </a:lnTo>
                  <a:lnTo>
                    <a:pt x="1147134" y="782363"/>
                  </a:lnTo>
                  <a:lnTo>
                    <a:pt x="1146529" y="784874"/>
                  </a:lnTo>
                  <a:lnTo>
                    <a:pt x="1147134" y="786840"/>
                  </a:lnTo>
                  <a:lnTo>
                    <a:pt x="1148284" y="786477"/>
                  </a:lnTo>
                  <a:lnTo>
                    <a:pt x="1151642" y="782937"/>
                  </a:lnTo>
                  <a:lnTo>
                    <a:pt x="1153033" y="782060"/>
                  </a:lnTo>
                  <a:lnTo>
                    <a:pt x="1158872" y="783331"/>
                  </a:lnTo>
                  <a:lnTo>
                    <a:pt x="1161383" y="786114"/>
                  </a:lnTo>
                  <a:lnTo>
                    <a:pt x="1160899" y="791287"/>
                  </a:lnTo>
                  <a:lnTo>
                    <a:pt x="1162472" y="790742"/>
                  </a:lnTo>
                  <a:lnTo>
                    <a:pt x="1163863" y="789109"/>
                  </a:lnTo>
                  <a:lnTo>
                    <a:pt x="1164983" y="786658"/>
                  </a:lnTo>
                  <a:lnTo>
                    <a:pt x="1165769" y="783603"/>
                  </a:lnTo>
                  <a:lnTo>
                    <a:pt x="1166102" y="780275"/>
                  </a:lnTo>
                  <a:lnTo>
                    <a:pt x="1165890" y="777946"/>
                  </a:lnTo>
                  <a:lnTo>
                    <a:pt x="1165436" y="775768"/>
                  </a:lnTo>
                  <a:lnTo>
                    <a:pt x="1165043" y="772803"/>
                  </a:lnTo>
                  <a:lnTo>
                    <a:pt x="1164680" y="767025"/>
                  </a:lnTo>
                  <a:lnTo>
                    <a:pt x="1164347" y="765089"/>
                  </a:lnTo>
                  <a:lnTo>
                    <a:pt x="1163380" y="762669"/>
                  </a:lnTo>
                  <a:lnTo>
                    <a:pt x="1160808" y="759644"/>
                  </a:lnTo>
                  <a:lnTo>
                    <a:pt x="1159538" y="757345"/>
                  </a:lnTo>
                  <a:lnTo>
                    <a:pt x="1161413" y="756619"/>
                  </a:lnTo>
                  <a:lnTo>
                    <a:pt x="1163440" y="757224"/>
                  </a:lnTo>
                  <a:lnTo>
                    <a:pt x="1174724" y="766602"/>
                  </a:lnTo>
                  <a:lnTo>
                    <a:pt x="1176811" y="770171"/>
                  </a:lnTo>
                  <a:lnTo>
                    <a:pt x="1179957" y="779398"/>
                  </a:lnTo>
                  <a:lnTo>
                    <a:pt x="1182287" y="782030"/>
                  </a:lnTo>
                  <a:lnTo>
                    <a:pt x="1184041" y="782302"/>
                  </a:lnTo>
                  <a:lnTo>
                    <a:pt x="1186401" y="781455"/>
                  </a:lnTo>
                  <a:lnTo>
                    <a:pt x="1187792" y="782060"/>
                  </a:lnTo>
                  <a:lnTo>
                    <a:pt x="1189910" y="785993"/>
                  </a:lnTo>
                  <a:lnTo>
                    <a:pt x="1190696" y="786749"/>
                  </a:lnTo>
                  <a:lnTo>
                    <a:pt x="1195325" y="789230"/>
                  </a:lnTo>
                  <a:lnTo>
                    <a:pt x="1200982" y="789925"/>
                  </a:lnTo>
                  <a:lnTo>
                    <a:pt x="1202222" y="791317"/>
                  </a:lnTo>
                  <a:lnTo>
                    <a:pt x="1205096" y="797488"/>
                  </a:lnTo>
                  <a:lnTo>
                    <a:pt x="1204310" y="802087"/>
                  </a:lnTo>
                  <a:lnTo>
                    <a:pt x="1206760" y="802661"/>
                  </a:lnTo>
                  <a:lnTo>
                    <a:pt x="1209422" y="800332"/>
                  </a:lnTo>
                  <a:lnTo>
                    <a:pt x="1209301" y="796066"/>
                  </a:lnTo>
                  <a:lnTo>
                    <a:pt x="1211298" y="793435"/>
                  </a:lnTo>
                  <a:lnTo>
                    <a:pt x="1212326" y="792376"/>
                  </a:lnTo>
                  <a:lnTo>
                    <a:pt x="1218739" y="789351"/>
                  </a:lnTo>
                  <a:lnTo>
                    <a:pt x="1220313" y="788201"/>
                  </a:lnTo>
                  <a:lnTo>
                    <a:pt x="1217106" y="785357"/>
                  </a:lnTo>
                  <a:lnTo>
                    <a:pt x="1215593" y="783421"/>
                  </a:lnTo>
                  <a:lnTo>
                    <a:pt x="1214746" y="780638"/>
                  </a:lnTo>
                  <a:lnTo>
                    <a:pt x="1214898" y="776706"/>
                  </a:lnTo>
                  <a:lnTo>
                    <a:pt x="1216138" y="775042"/>
                  </a:lnTo>
                  <a:lnTo>
                    <a:pt x="1217892" y="775042"/>
                  </a:lnTo>
                  <a:lnTo>
                    <a:pt x="1219587" y="776010"/>
                  </a:lnTo>
                  <a:lnTo>
                    <a:pt x="1223489" y="780427"/>
                  </a:lnTo>
                  <a:lnTo>
                    <a:pt x="1225607" y="782060"/>
                  </a:lnTo>
                  <a:lnTo>
                    <a:pt x="1227875" y="782060"/>
                  </a:lnTo>
                  <a:lnTo>
                    <a:pt x="1229267" y="780457"/>
                  </a:lnTo>
                  <a:lnTo>
                    <a:pt x="1230507" y="778158"/>
                  </a:lnTo>
                  <a:lnTo>
                    <a:pt x="1231990" y="776282"/>
                  </a:lnTo>
                  <a:lnTo>
                    <a:pt x="1234168" y="775980"/>
                  </a:lnTo>
                  <a:lnTo>
                    <a:pt x="1233774" y="779216"/>
                  </a:lnTo>
                  <a:lnTo>
                    <a:pt x="1234168" y="783270"/>
                  </a:lnTo>
                  <a:lnTo>
                    <a:pt x="1235257" y="786689"/>
                  </a:lnTo>
                  <a:lnTo>
                    <a:pt x="1236951" y="788171"/>
                  </a:lnTo>
                  <a:lnTo>
                    <a:pt x="1238645" y="788504"/>
                  </a:lnTo>
                  <a:lnTo>
                    <a:pt x="1239613" y="788927"/>
                  </a:lnTo>
                  <a:lnTo>
                    <a:pt x="1240127" y="788625"/>
                  </a:lnTo>
                  <a:lnTo>
                    <a:pt x="1240430" y="786779"/>
                  </a:lnTo>
                  <a:lnTo>
                    <a:pt x="1240611" y="784510"/>
                  </a:lnTo>
                  <a:lnTo>
                    <a:pt x="1240611" y="782847"/>
                  </a:lnTo>
                  <a:lnTo>
                    <a:pt x="1240127" y="781606"/>
                  </a:lnTo>
                  <a:lnTo>
                    <a:pt x="1239008" y="780608"/>
                  </a:lnTo>
                  <a:lnTo>
                    <a:pt x="1239704" y="779126"/>
                  </a:lnTo>
                  <a:lnTo>
                    <a:pt x="1240430" y="778551"/>
                  </a:lnTo>
                  <a:lnTo>
                    <a:pt x="1241126" y="778248"/>
                  </a:lnTo>
                  <a:lnTo>
                    <a:pt x="1241821" y="777522"/>
                  </a:lnTo>
                  <a:lnTo>
                    <a:pt x="1242638" y="774679"/>
                  </a:lnTo>
                  <a:lnTo>
                    <a:pt x="1242547" y="774286"/>
                  </a:lnTo>
                  <a:lnTo>
                    <a:pt x="1243818" y="773559"/>
                  </a:lnTo>
                  <a:lnTo>
                    <a:pt x="1245179" y="773317"/>
                  </a:lnTo>
                  <a:lnTo>
                    <a:pt x="1245905" y="774346"/>
                  </a:lnTo>
                  <a:lnTo>
                    <a:pt x="1245240" y="777492"/>
                  </a:lnTo>
                  <a:lnTo>
                    <a:pt x="1249656" y="778793"/>
                  </a:lnTo>
                  <a:lnTo>
                    <a:pt x="1257673" y="778853"/>
                  </a:lnTo>
                  <a:lnTo>
                    <a:pt x="1258066" y="779580"/>
                  </a:lnTo>
                  <a:lnTo>
                    <a:pt x="1258520" y="780820"/>
                  </a:lnTo>
                  <a:lnTo>
                    <a:pt x="1259246" y="781879"/>
                  </a:lnTo>
                  <a:lnTo>
                    <a:pt x="1260456" y="781879"/>
                  </a:lnTo>
                  <a:lnTo>
                    <a:pt x="1261848" y="780336"/>
                  </a:lnTo>
                  <a:lnTo>
                    <a:pt x="1264449" y="775284"/>
                  </a:lnTo>
                  <a:lnTo>
                    <a:pt x="1265992" y="774195"/>
                  </a:lnTo>
                  <a:lnTo>
                    <a:pt x="1270953" y="774406"/>
                  </a:lnTo>
                  <a:lnTo>
                    <a:pt x="1273222" y="776010"/>
                  </a:lnTo>
                  <a:lnTo>
                    <a:pt x="1274160" y="779700"/>
                  </a:lnTo>
                  <a:lnTo>
                    <a:pt x="1275189" y="782605"/>
                  </a:lnTo>
                  <a:lnTo>
                    <a:pt x="1277609" y="783421"/>
                  </a:lnTo>
                  <a:lnTo>
                    <a:pt x="1282540" y="783482"/>
                  </a:lnTo>
                  <a:lnTo>
                    <a:pt x="1283659" y="782181"/>
                  </a:lnTo>
                  <a:lnTo>
                    <a:pt x="1284264" y="782181"/>
                  </a:lnTo>
                  <a:lnTo>
                    <a:pt x="1284506" y="784238"/>
                  </a:lnTo>
                  <a:lnTo>
                    <a:pt x="1284839" y="785751"/>
                  </a:lnTo>
                  <a:lnTo>
                    <a:pt x="1285625" y="786961"/>
                  </a:lnTo>
                  <a:lnTo>
                    <a:pt x="1286533" y="787778"/>
                  </a:lnTo>
                  <a:lnTo>
                    <a:pt x="1288136" y="788473"/>
                  </a:lnTo>
                  <a:lnTo>
                    <a:pt x="1288923" y="789320"/>
                  </a:lnTo>
                  <a:lnTo>
                    <a:pt x="1289770" y="789956"/>
                  </a:lnTo>
                  <a:lnTo>
                    <a:pt x="1290768" y="789774"/>
                  </a:lnTo>
                  <a:lnTo>
                    <a:pt x="1291494" y="788564"/>
                  </a:lnTo>
                  <a:lnTo>
                    <a:pt x="1292251" y="784843"/>
                  </a:lnTo>
                  <a:lnTo>
                    <a:pt x="1292825" y="783482"/>
                  </a:lnTo>
                  <a:lnTo>
                    <a:pt x="1295155" y="782181"/>
                  </a:lnTo>
                  <a:lnTo>
                    <a:pt x="1300055" y="783240"/>
                  </a:lnTo>
                  <a:lnTo>
                    <a:pt x="1302506" y="781909"/>
                  </a:lnTo>
                  <a:lnTo>
                    <a:pt x="1301568" y="781334"/>
                  </a:lnTo>
                  <a:lnTo>
                    <a:pt x="1301296" y="780880"/>
                  </a:lnTo>
                  <a:lnTo>
                    <a:pt x="1301114" y="780184"/>
                  </a:lnTo>
                  <a:lnTo>
                    <a:pt x="1300479" y="778823"/>
                  </a:lnTo>
                  <a:lnTo>
                    <a:pt x="1307770" y="780608"/>
                  </a:lnTo>
                  <a:lnTo>
                    <a:pt x="1311309" y="780003"/>
                  </a:lnTo>
                  <a:lnTo>
                    <a:pt x="1313608" y="775889"/>
                  </a:lnTo>
                  <a:lnTo>
                    <a:pt x="1313608" y="771805"/>
                  </a:lnTo>
                  <a:lnTo>
                    <a:pt x="1309706" y="765452"/>
                  </a:lnTo>
                  <a:close/>
                </a:path>
              </a:pathLst>
            </a:custGeom>
            <a:solidFill>
              <a:srgbClr val="96A3AC"/>
            </a:solidFill>
            <a:ln w="3175" cap="rnd">
              <a:solidFill>
                <a:schemeClr val="bg1"/>
              </a:solidFill>
              <a:prstDash val="solid"/>
              <a:round/>
            </a:ln>
          </p:spPr>
          <p:txBody>
            <a:bodyPr rtlCol="0" anchor="ctr"/>
            <a:lstStyle/>
            <a:p>
              <a:endParaRPr lang="en-ID"/>
            </a:p>
          </p:txBody>
        </p:sp>
        <p:sp>
          <p:nvSpPr>
            <p:cNvPr id="17" name="Freeform: Shape 16">
              <a:extLst>
                <a:ext uri="{FF2B5EF4-FFF2-40B4-BE49-F238E27FC236}">
                  <a16:creationId xmlns:a16="http://schemas.microsoft.com/office/drawing/2014/main" id="{CA178016-92A1-BC98-2202-496AEC72C38C}"/>
                </a:ext>
              </a:extLst>
            </p:cNvPr>
            <p:cNvSpPr/>
            <p:nvPr/>
          </p:nvSpPr>
          <p:spPr>
            <a:xfrm>
              <a:off x="9125627" y="4686130"/>
              <a:ext cx="8370" cy="9006"/>
            </a:xfrm>
            <a:custGeom>
              <a:avLst/>
              <a:gdLst>
                <a:gd name="connsiteX0" fmla="*/ 10437 w 10769"/>
                <a:gd name="connsiteY0" fmla="*/ 1210 h 11586"/>
                <a:gd name="connsiteX1" fmla="*/ 9741 w 10769"/>
                <a:gd name="connsiteY1" fmla="*/ 0 h 11586"/>
                <a:gd name="connsiteX2" fmla="*/ 6837 w 10769"/>
                <a:gd name="connsiteY2" fmla="*/ 454 h 11586"/>
                <a:gd name="connsiteX3" fmla="*/ 3630 w 10769"/>
                <a:gd name="connsiteY3" fmla="*/ 1966 h 11586"/>
                <a:gd name="connsiteX4" fmla="*/ 2571 w 10769"/>
                <a:gd name="connsiteY4" fmla="*/ 2935 h 11586"/>
                <a:gd name="connsiteX5" fmla="*/ 1028 w 10769"/>
                <a:gd name="connsiteY5" fmla="*/ 4387 h 11586"/>
                <a:gd name="connsiteX6" fmla="*/ 0 w 10769"/>
                <a:gd name="connsiteY6" fmla="*/ 7442 h 11586"/>
                <a:gd name="connsiteX7" fmla="*/ 1422 w 10769"/>
                <a:gd name="connsiteY7" fmla="*/ 10164 h 11586"/>
                <a:gd name="connsiteX8" fmla="*/ 4417 w 10769"/>
                <a:gd name="connsiteY8" fmla="*/ 11587 h 11586"/>
                <a:gd name="connsiteX9" fmla="*/ 7533 w 10769"/>
                <a:gd name="connsiteY9" fmla="*/ 11193 h 11586"/>
                <a:gd name="connsiteX10" fmla="*/ 9348 w 10769"/>
                <a:gd name="connsiteY10" fmla="*/ 8380 h 11586"/>
                <a:gd name="connsiteX11" fmla="*/ 9257 w 10769"/>
                <a:gd name="connsiteY11" fmla="*/ 8017 h 11586"/>
                <a:gd name="connsiteX12" fmla="*/ 9317 w 10769"/>
                <a:gd name="connsiteY12" fmla="*/ 7593 h 11586"/>
                <a:gd name="connsiteX13" fmla="*/ 9469 w 10769"/>
                <a:gd name="connsiteY13" fmla="*/ 7291 h 11586"/>
                <a:gd name="connsiteX14" fmla="*/ 9741 w 10769"/>
                <a:gd name="connsiteY14" fmla="*/ 6988 h 11586"/>
                <a:gd name="connsiteX15" fmla="*/ 9832 w 10769"/>
                <a:gd name="connsiteY15" fmla="*/ 6837 h 11586"/>
                <a:gd name="connsiteX16" fmla="*/ 10558 w 10769"/>
                <a:gd name="connsiteY16" fmla="*/ 5567 h 11586"/>
                <a:gd name="connsiteX17" fmla="*/ 10770 w 10769"/>
                <a:gd name="connsiteY17" fmla="*/ 3358 h 11586"/>
                <a:gd name="connsiteX18" fmla="*/ 10437 w 10769"/>
                <a:gd name="connsiteY18" fmla="*/ 1210 h 1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69" h="11586">
                  <a:moveTo>
                    <a:pt x="10437" y="1210"/>
                  </a:moveTo>
                  <a:lnTo>
                    <a:pt x="9741" y="0"/>
                  </a:lnTo>
                  <a:lnTo>
                    <a:pt x="6837" y="454"/>
                  </a:lnTo>
                  <a:lnTo>
                    <a:pt x="3630" y="1966"/>
                  </a:lnTo>
                  <a:lnTo>
                    <a:pt x="2571" y="2935"/>
                  </a:lnTo>
                  <a:lnTo>
                    <a:pt x="1028" y="4387"/>
                  </a:lnTo>
                  <a:lnTo>
                    <a:pt x="0" y="7442"/>
                  </a:lnTo>
                  <a:lnTo>
                    <a:pt x="1422" y="10164"/>
                  </a:lnTo>
                  <a:lnTo>
                    <a:pt x="4417" y="11587"/>
                  </a:lnTo>
                  <a:lnTo>
                    <a:pt x="7533" y="11193"/>
                  </a:lnTo>
                  <a:lnTo>
                    <a:pt x="9348" y="8380"/>
                  </a:lnTo>
                  <a:lnTo>
                    <a:pt x="9257" y="8017"/>
                  </a:lnTo>
                  <a:lnTo>
                    <a:pt x="9317" y="7593"/>
                  </a:lnTo>
                  <a:lnTo>
                    <a:pt x="9469" y="7291"/>
                  </a:lnTo>
                  <a:lnTo>
                    <a:pt x="9741" y="6988"/>
                  </a:lnTo>
                  <a:lnTo>
                    <a:pt x="9832" y="6837"/>
                  </a:lnTo>
                  <a:lnTo>
                    <a:pt x="10558" y="5567"/>
                  </a:lnTo>
                  <a:lnTo>
                    <a:pt x="10770" y="3358"/>
                  </a:lnTo>
                  <a:lnTo>
                    <a:pt x="10437" y="1210"/>
                  </a:lnTo>
                  <a:close/>
                </a:path>
              </a:pathLst>
            </a:custGeom>
            <a:solidFill>
              <a:srgbClr val="96A3AC"/>
            </a:solidFill>
            <a:ln w="3175" cap="rnd">
              <a:solidFill>
                <a:schemeClr val="bg1"/>
              </a:solidFill>
              <a:prstDash val="solid"/>
              <a:round/>
            </a:ln>
          </p:spPr>
          <p:txBody>
            <a:bodyPr rtlCol="0" anchor="ctr"/>
            <a:lstStyle/>
            <a:p>
              <a:endParaRPr lang="en-ID"/>
            </a:p>
          </p:txBody>
        </p:sp>
        <p:sp>
          <p:nvSpPr>
            <p:cNvPr id="18" name="Freeform: Shape 17">
              <a:extLst>
                <a:ext uri="{FF2B5EF4-FFF2-40B4-BE49-F238E27FC236}">
                  <a16:creationId xmlns:a16="http://schemas.microsoft.com/office/drawing/2014/main" id="{F691EC3E-41B4-A883-B56C-A2F1A99349B0}"/>
                </a:ext>
              </a:extLst>
            </p:cNvPr>
            <p:cNvSpPr/>
            <p:nvPr/>
          </p:nvSpPr>
          <p:spPr>
            <a:xfrm>
              <a:off x="9202259" y="4391473"/>
              <a:ext cx="246381" cy="149173"/>
            </a:xfrm>
            <a:custGeom>
              <a:avLst/>
              <a:gdLst>
                <a:gd name="connsiteX0" fmla="*/ 315553 w 316974"/>
                <a:gd name="connsiteY0" fmla="*/ 42987 h 191914"/>
                <a:gd name="connsiteX1" fmla="*/ 312165 w 316974"/>
                <a:gd name="connsiteY1" fmla="*/ 40295 h 191914"/>
                <a:gd name="connsiteX2" fmla="*/ 308444 w 316974"/>
                <a:gd name="connsiteY2" fmla="*/ 34970 h 191914"/>
                <a:gd name="connsiteX3" fmla="*/ 304844 w 316974"/>
                <a:gd name="connsiteY3" fmla="*/ 33004 h 191914"/>
                <a:gd name="connsiteX4" fmla="*/ 303029 w 316974"/>
                <a:gd name="connsiteY4" fmla="*/ 31643 h 191914"/>
                <a:gd name="connsiteX5" fmla="*/ 302605 w 316974"/>
                <a:gd name="connsiteY5" fmla="*/ 30675 h 191914"/>
                <a:gd name="connsiteX6" fmla="*/ 302212 w 316974"/>
                <a:gd name="connsiteY6" fmla="*/ 29767 h 191914"/>
                <a:gd name="connsiteX7" fmla="*/ 303120 w 316974"/>
                <a:gd name="connsiteY7" fmla="*/ 28436 h 191914"/>
                <a:gd name="connsiteX8" fmla="*/ 305056 w 316974"/>
                <a:gd name="connsiteY8" fmla="*/ 27620 h 191914"/>
                <a:gd name="connsiteX9" fmla="*/ 305661 w 316974"/>
                <a:gd name="connsiteY9" fmla="*/ 27075 h 191914"/>
                <a:gd name="connsiteX10" fmla="*/ 306447 w 316974"/>
                <a:gd name="connsiteY10" fmla="*/ 26379 h 191914"/>
                <a:gd name="connsiteX11" fmla="*/ 305902 w 316974"/>
                <a:gd name="connsiteY11" fmla="*/ 23838 h 191914"/>
                <a:gd name="connsiteX12" fmla="*/ 304390 w 316974"/>
                <a:gd name="connsiteY12" fmla="*/ 22900 h 191914"/>
                <a:gd name="connsiteX13" fmla="*/ 302514 w 316974"/>
                <a:gd name="connsiteY13" fmla="*/ 22779 h 191914"/>
                <a:gd name="connsiteX14" fmla="*/ 302000 w 316974"/>
                <a:gd name="connsiteY14" fmla="*/ 22598 h 191914"/>
                <a:gd name="connsiteX15" fmla="*/ 301909 w 316974"/>
                <a:gd name="connsiteY15" fmla="*/ 22537 h 191914"/>
                <a:gd name="connsiteX16" fmla="*/ 301123 w 316974"/>
                <a:gd name="connsiteY16" fmla="*/ 22235 h 191914"/>
                <a:gd name="connsiteX17" fmla="*/ 301093 w 316974"/>
                <a:gd name="connsiteY17" fmla="*/ 19966 h 191914"/>
                <a:gd name="connsiteX18" fmla="*/ 299701 w 316974"/>
                <a:gd name="connsiteY18" fmla="*/ 20208 h 191914"/>
                <a:gd name="connsiteX19" fmla="*/ 298763 w 316974"/>
                <a:gd name="connsiteY19" fmla="*/ 19179 h 191914"/>
                <a:gd name="connsiteX20" fmla="*/ 297916 w 316974"/>
                <a:gd name="connsiteY20" fmla="*/ 17636 h 191914"/>
                <a:gd name="connsiteX21" fmla="*/ 296767 w 316974"/>
                <a:gd name="connsiteY21" fmla="*/ 16275 h 191914"/>
                <a:gd name="connsiteX22" fmla="*/ 295375 w 316974"/>
                <a:gd name="connsiteY22" fmla="*/ 12403 h 191914"/>
                <a:gd name="connsiteX23" fmla="*/ 295133 w 316974"/>
                <a:gd name="connsiteY23" fmla="*/ 11889 h 191914"/>
                <a:gd name="connsiteX24" fmla="*/ 295284 w 316974"/>
                <a:gd name="connsiteY24" fmla="*/ 11405 h 191914"/>
                <a:gd name="connsiteX25" fmla="*/ 295557 w 316974"/>
                <a:gd name="connsiteY25" fmla="*/ 10376 h 191914"/>
                <a:gd name="connsiteX26" fmla="*/ 296434 w 316974"/>
                <a:gd name="connsiteY26" fmla="*/ 8985 h 191914"/>
                <a:gd name="connsiteX27" fmla="*/ 296827 w 316974"/>
                <a:gd name="connsiteY27" fmla="*/ 8349 h 191914"/>
                <a:gd name="connsiteX28" fmla="*/ 297523 w 316974"/>
                <a:gd name="connsiteY28" fmla="*/ 6837 h 191914"/>
                <a:gd name="connsiteX29" fmla="*/ 298098 w 316974"/>
                <a:gd name="connsiteY29" fmla="*/ 5203 h 191914"/>
                <a:gd name="connsiteX30" fmla="*/ 298340 w 316974"/>
                <a:gd name="connsiteY30" fmla="*/ 3993 h 191914"/>
                <a:gd name="connsiteX31" fmla="*/ 297886 w 316974"/>
                <a:gd name="connsiteY31" fmla="*/ 3297 h 191914"/>
                <a:gd name="connsiteX32" fmla="*/ 296404 w 316974"/>
                <a:gd name="connsiteY32" fmla="*/ 3237 h 191914"/>
                <a:gd name="connsiteX33" fmla="*/ 295526 w 316974"/>
                <a:gd name="connsiteY33" fmla="*/ 2813 h 191914"/>
                <a:gd name="connsiteX34" fmla="*/ 295073 w 316974"/>
                <a:gd name="connsiteY34" fmla="*/ 2299 h 191914"/>
                <a:gd name="connsiteX35" fmla="*/ 293560 w 316974"/>
                <a:gd name="connsiteY35" fmla="*/ 544 h 191914"/>
                <a:gd name="connsiteX36" fmla="*/ 292532 w 316974"/>
                <a:gd name="connsiteY36" fmla="*/ 0 h 191914"/>
                <a:gd name="connsiteX37" fmla="*/ 283184 w 316974"/>
                <a:gd name="connsiteY37" fmla="*/ 756 h 191914"/>
                <a:gd name="connsiteX38" fmla="*/ 278767 w 316974"/>
                <a:gd name="connsiteY38" fmla="*/ 1119 h 191914"/>
                <a:gd name="connsiteX39" fmla="*/ 278253 w 316974"/>
                <a:gd name="connsiteY39" fmla="*/ 998 h 191914"/>
                <a:gd name="connsiteX40" fmla="*/ 274592 w 316974"/>
                <a:gd name="connsiteY40" fmla="*/ 181 h 191914"/>
                <a:gd name="connsiteX41" fmla="*/ 270448 w 316974"/>
                <a:gd name="connsiteY41" fmla="*/ 2420 h 191914"/>
                <a:gd name="connsiteX42" fmla="*/ 268361 w 316974"/>
                <a:gd name="connsiteY42" fmla="*/ 3569 h 191914"/>
                <a:gd name="connsiteX43" fmla="*/ 267998 w 316974"/>
                <a:gd name="connsiteY43" fmla="*/ 3660 h 191914"/>
                <a:gd name="connsiteX44" fmla="*/ 263884 w 316974"/>
                <a:gd name="connsiteY44" fmla="*/ 4598 h 191914"/>
                <a:gd name="connsiteX45" fmla="*/ 263309 w 316974"/>
                <a:gd name="connsiteY45" fmla="*/ 4901 h 191914"/>
                <a:gd name="connsiteX46" fmla="*/ 262310 w 316974"/>
                <a:gd name="connsiteY46" fmla="*/ 5869 h 191914"/>
                <a:gd name="connsiteX47" fmla="*/ 262431 w 316974"/>
                <a:gd name="connsiteY47" fmla="*/ 6171 h 191914"/>
                <a:gd name="connsiteX48" fmla="*/ 262855 w 316974"/>
                <a:gd name="connsiteY48" fmla="*/ 6444 h 191914"/>
                <a:gd name="connsiteX49" fmla="*/ 262946 w 316974"/>
                <a:gd name="connsiteY49" fmla="*/ 7411 h 191914"/>
                <a:gd name="connsiteX50" fmla="*/ 262250 w 316974"/>
                <a:gd name="connsiteY50" fmla="*/ 11586 h 191914"/>
                <a:gd name="connsiteX51" fmla="*/ 262220 w 316974"/>
                <a:gd name="connsiteY51" fmla="*/ 12010 h 191914"/>
                <a:gd name="connsiteX52" fmla="*/ 262098 w 316974"/>
                <a:gd name="connsiteY52" fmla="*/ 13976 h 191914"/>
                <a:gd name="connsiteX53" fmla="*/ 262189 w 316974"/>
                <a:gd name="connsiteY53" fmla="*/ 16336 h 191914"/>
                <a:gd name="connsiteX54" fmla="*/ 263339 w 316974"/>
                <a:gd name="connsiteY54" fmla="*/ 19603 h 191914"/>
                <a:gd name="connsiteX55" fmla="*/ 265456 w 316974"/>
                <a:gd name="connsiteY55" fmla="*/ 20874 h 191914"/>
                <a:gd name="connsiteX56" fmla="*/ 266606 w 316974"/>
                <a:gd name="connsiteY56" fmla="*/ 22961 h 191914"/>
                <a:gd name="connsiteX57" fmla="*/ 266818 w 316974"/>
                <a:gd name="connsiteY57" fmla="*/ 26046 h 191914"/>
                <a:gd name="connsiteX58" fmla="*/ 266818 w 316974"/>
                <a:gd name="connsiteY58" fmla="*/ 26046 h 191914"/>
                <a:gd name="connsiteX59" fmla="*/ 266818 w 316974"/>
                <a:gd name="connsiteY59" fmla="*/ 26046 h 191914"/>
                <a:gd name="connsiteX60" fmla="*/ 264942 w 316974"/>
                <a:gd name="connsiteY60" fmla="*/ 23868 h 191914"/>
                <a:gd name="connsiteX61" fmla="*/ 263823 w 316974"/>
                <a:gd name="connsiteY61" fmla="*/ 23173 h 191914"/>
                <a:gd name="connsiteX62" fmla="*/ 259739 w 316974"/>
                <a:gd name="connsiteY62" fmla="*/ 22507 h 191914"/>
                <a:gd name="connsiteX63" fmla="*/ 252932 w 316974"/>
                <a:gd name="connsiteY63" fmla="*/ 19331 h 191914"/>
                <a:gd name="connsiteX64" fmla="*/ 250119 w 316974"/>
                <a:gd name="connsiteY64" fmla="*/ 18816 h 191914"/>
                <a:gd name="connsiteX65" fmla="*/ 247305 w 316974"/>
                <a:gd name="connsiteY65" fmla="*/ 19028 h 191914"/>
                <a:gd name="connsiteX66" fmla="*/ 243464 w 316974"/>
                <a:gd name="connsiteY66" fmla="*/ 20480 h 191914"/>
                <a:gd name="connsiteX67" fmla="*/ 240499 w 316974"/>
                <a:gd name="connsiteY67" fmla="*/ 21569 h 191914"/>
                <a:gd name="connsiteX68" fmla="*/ 237837 w 316974"/>
                <a:gd name="connsiteY68" fmla="*/ 21720 h 191914"/>
                <a:gd name="connsiteX69" fmla="*/ 230123 w 316974"/>
                <a:gd name="connsiteY69" fmla="*/ 20662 h 191914"/>
                <a:gd name="connsiteX70" fmla="*/ 228519 w 316974"/>
                <a:gd name="connsiteY70" fmla="*/ 19754 h 191914"/>
                <a:gd name="connsiteX71" fmla="*/ 228217 w 316974"/>
                <a:gd name="connsiteY71" fmla="*/ 21781 h 191914"/>
                <a:gd name="connsiteX72" fmla="*/ 228217 w 316974"/>
                <a:gd name="connsiteY72" fmla="*/ 23505 h 191914"/>
                <a:gd name="connsiteX73" fmla="*/ 227612 w 316974"/>
                <a:gd name="connsiteY73" fmla="*/ 24685 h 191914"/>
                <a:gd name="connsiteX74" fmla="*/ 227098 w 316974"/>
                <a:gd name="connsiteY74" fmla="*/ 25048 h 191914"/>
                <a:gd name="connsiteX75" fmla="*/ 226583 w 316974"/>
                <a:gd name="connsiteY75" fmla="*/ 25411 h 191914"/>
                <a:gd name="connsiteX76" fmla="*/ 225283 w 316974"/>
                <a:gd name="connsiteY76" fmla="*/ 25744 h 191914"/>
                <a:gd name="connsiteX77" fmla="*/ 223740 w 316974"/>
                <a:gd name="connsiteY77" fmla="*/ 25351 h 191914"/>
                <a:gd name="connsiteX78" fmla="*/ 221622 w 316974"/>
                <a:gd name="connsiteY78" fmla="*/ 25381 h 191914"/>
                <a:gd name="connsiteX79" fmla="*/ 219444 w 316974"/>
                <a:gd name="connsiteY79" fmla="*/ 25895 h 191914"/>
                <a:gd name="connsiteX80" fmla="*/ 217901 w 316974"/>
                <a:gd name="connsiteY80" fmla="*/ 26984 h 191914"/>
                <a:gd name="connsiteX81" fmla="*/ 216933 w 316974"/>
                <a:gd name="connsiteY81" fmla="*/ 28890 h 191914"/>
                <a:gd name="connsiteX82" fmla="*/ 216873 w 316974"/>
                <a:gd name="connsiteY82" fmla="*/ 29132 h 191914"/>
                <a:gd name="connsiteX83" fmla="*/ 216601 w 316974"/>
                <a:gd name="connsiteY83" fmla="*/ 30402 h 191914"/>
                <a:gd name="connsiteX84" fmla="*/ 216238 w 316974"/>
                <a:gd name="connsiteY84" fmla="*/ 31189 h 191914"/>
                <a:gd name="connsiteX85" fmla="*/ 215965 w 316974"/>
                <a:gd name="connsiteY85" fmla="*/ 31734 h 191914"/>
                <a:gd name="connsiteX86" fmla="*/ 214089 w 316974"/>
                <a:gd name="connsiteY86" fmla="*/ 33095 h 191914"/>
                <a:gd name="connsiteX87" fmla="*/ 211064 w 316974"/>
                <a:gd name="connsiteY87" fmla="*/ 33579 h 191914"/>
                <a:gd name="connsiteX88" fmla="*/ 208795 w 316974"/>
                <a:gd name="connsiteY88" fmla="*/ 32278 h 191914"/>
                <a:gd name="connsiteX89" fmla="*/ 208311 w 316974"/>
                <a:gd name="connsiteY89" fmla="*/ 31915 h 191914"/>
                <a:gd name="connsiteX90" fmla="*/ 206527 w 316974"/>
                <a:gd name="connsiteY90" fmla="*/ 30463 h 191914"/>
                <a:gd name="connsiteX91" fmla="*/ 203562 w 316974"/>
                <a:gd name="connsiteY91" fmla="*/ 29435 h 191914"/>
                <a:gd name="connsiteX92" fmla="*/ 197996 w 316974"/>
                <a:gd name="connsiteY92" fmla="*/ 29707 h 191914"/>
                <a:gd name="connsiteX93" fmla="*/ 185139 w 316974"/>
                <a:gd name="connsiteY93" fmla="*/ 30312 h 191914"/>
                <a:gd name="connsiteX94" fmla="*/ 181872 w 316974"/>
                <a:gd name="connsiteY94" fmla="*/ 30009 h 191914"/>
                <a:gd name="connsiteX95" fmla="*/ 175156 w 316974"/>
                <a:gd name="connsiteY95" fmla="*/ 29344 h 191914"/>
                <a:gd name="connsiteX96" fmla="*/ 173129 w 316974"/>
                <a:gd name="connsiteY96" fmla="*/ 29132 h 191914"/>
                <a:gd name="connsiteX97" fmla="*/ 170739 w 316974"/>
                <a:gd name="connsiteY97" fmla="*/ 28890 h 191914"/>
                <a:gd name="connsiteX98" fmla="*/ 164961 w 316974"/>
                <a:gd name="connsiteY98" fmla="*/ 30614 h 191914"/>
                <a:gd name="connsiteX99" fmla="*/ 161210 w 316974"/>
                <a:gd name="connsiteY99" fmla="*/ 35515 h 191914"/>
                <a:gd name="connsiteX100" fmla="*/ 159274 w 316974"/>
                <a:gd name="connsiteY100" fmla="*/ 32974 h 191914"/>
                <a:gd name="connsiteX101" fmla="*/ 157822 w 316974"/>
                <a:gd name="connsiteY101" fmla="*/ 32702 h 191914"/>
                <a:gd name="connsiteX102" fmla="*/ 156430 w 316974"/>
                <a:gd name="connsiteY102" fmla="*/ 33549 h 191914"/>
                <a:gd name="connsiteX103" fmla="*/ 154222 w 316974"/>
                <a:gd name="connsiteY103" fmla="*/ 34819 h 191914"/>
                <a:gd name="connsiteX104" fmla="*/ 153859 w 316974"/>
                <a:gd name="connsiteY104" fmla="*/ 34850 h 191914"/>
                <a:gd name="connsiteX105" fmla="*/ 152135 w 316974"/>
                <a:gd name="connsiteY105" fmla="*/ 35061 h 191914"/>
                <a:gd name="connsiteX106" fmla="*/ 150743 w 316974"/>
                <a:gd name="connsiteY106" fmla="*/ 34910 h 191914"/>
                <a:gd name="connsiteX107" fmla="*/ 149442 w 316974"/>
                <a:gd name="connsiteY107" fmla="*/ 35394 h 191914"/>
                <a:gd name="connsiteX108" fmla="*/ 147779 w 316974"/>
                <a:gd name="connsiteY108" fmla="*/ 37633 h 191914"/>
                <a:gd name="connsiteX109" fmla="*/ 146629 w 316974"/>
                <a:gd name="connsiteY109" fmla="*/ 39901 h 191914"/>
                <a:gd name="connsiteX110" fmla="*/ 145842 w 316974"/>
                <a:gd name="connsiteY110" fmla="*/ 42110 h 191914"/>
                <a:gd name="connsiteX111" fmla="*/ 145116 w 316974"/>
                <a:gd name="connsiteY111" fmla="*/ 44137 h 191914"/>
                <a:gd name="connsiteX112" fmla="*/ 144057 w 316974"/>
                <a:gd name="connsiteY112" fmla="*/ 46375 h 191914"/>
                <a:gd name="connsiteX113" fmla="*/ 143241 w 316974"/>
                <a:gd name="connsiteY113" fmla="*/ 48100 h 191914"/>
                <a:gd name="connsiteX114" fmla="*/ 142666 w 316974"/>
                <a:gd name="connsiteY114" fmla="*/ 48553 h 191914"/>
                <a:gd name="connsiteX115" fmla="*/ 140458 w 316974"/>
                <a:gd name="connsiteY115" fmla="*/ 49491 h 191914"/>
                <a:gd name="connsiteX116" fmla="*/ 137856 w 316974"/>
                <a:gd name="connsiteY116" fmla="*/ 49885 h 191914"/>
                <a:gd name="connsiteX117" fmla="*/ 136979 w 316974"/>
                <a:gd name="connsiteY117" fmla="*/ 49280 h 191914"/>
                <a:gd name="connsiteX118" fmla="*/ 135315 w 316974"/>
                <a:gd name="connsiteY118" fmla="*/ 49975 h 191914"/>
                <a:gd name="connsiteX119" fmla="*/ 134710 w 316974"/>
                <a:gd name="connsiteY119" fmla="*/ 50611 h 191914"/>
                <a:gd name="connsiteX120" fmla="*/ 134195 w 316974"/>
                <a:gd name="connsiteY120" fmla="*/ 51549 h 191914"/>
                <a:gd name="connsiteX121" fmla="*/ 133016 w 316974"/>
                <a:gd name="connsiteY121" fmla="*/ 52849 h 191914"/>
                <a:gd name="connsiteX122" fmla="*/ 132320 w 316974"/>
                <a:gd name="connsiteY122" fmla="*/ 54483 h 191914"/>
                <a:gd name="connsiteX123" fmla="*/ 131563 w 316974"/>
                <a:gd name="connsiteY123" fmla="*/ 54362 h 191914"/>
                <a:gd name="connsiteX124" fmla="*/ 130959 w 316974"/>
                <a:gd name="connsiteY124" fmla="*/ 54271 h 191914"/>
                <a:gd name="connsiteX125" fmla="*/ 130505 w 316974"/>
                <a:gd name="connsiteY125" fmla="*/ 54392 h 191914"/>
                <a:gd name="connsiteX126" fmla="*/ 128478 w 316974"/>
                <a:gd name="connsiteY126" fmla="*/ 56328 h 191914"/>
                <a:gd name="connsiteX127" fmla="*/ 127449 w 316974"/>
                <a:gd name="connsiteY127" fmla="*/ 56963 h 191914"/>
                <a:gd name="connsiteX128" fmla="*/ 126421 w 316974"/>
                <a:gd name="connsiteY128" fmla="*/ 57235 h 191914"/>
                <a:gd name="connsiteX129" fmla="*/ 124243 w 316974"/>
                <a:gd name="connsiteY129" fmla="*/ 57417 h 191914"/>
                <a:gd name="connsiteX130" fmla="*/ 123275 w 316974"/>
                <a:gd name="connsiteY130" fmla="*/ 57780 h 191914"/>
                <a:gd name="connsiteX131" fmla="*/ 121792 w 316974"/>
                <a:gd name="connsiteY131" fmla="*/ 59747 h 191914"/>
                <a:gd name="connsiteX132" fmla="*/ 120946 w 316974"/>
                <a:gd name="connsiteY132" fmla="*/ 62318 h 191914"/>
                <a:gd name="connsiteX133" fmla="*/ 120461 w 316974"/>
                <a:gd name="connsiteY133" fmla="*/ 63498 h 191914"/>
                <a:gd name="connsiteX134" fmla="*/ 120008 w 316974"/>
                <a:gd name="connsiteY134" fmla="*/ 64526 h 191914"/>
                <a:gd name="connsiteX135" fmla="*/ 118253 w 316974"/>
                <a:gd name="connsiteY135" fmla="*/ 65252 h 191914"/>
                <a:gd name="connsiteX136" fmla="*/ 116922 w 316974"/>
                <a:gd name="connsiteY136" fmla="*/ 63952 h 191914"/>
                <a:gd name="connsiteX137" fmla="*/ 115803 w 316974"/>
                <a:gd name="connsiteY137" fmla="*/ 61652 h 191914"/>
                <a:gd name="connsiteX138" fmla="*/ 114411 w 316974"/>
                <a:gd name="connsiteY138" fmla="*/ 59928 h 191914"/>
                <a:gd name="connsiteX139" fmla="*/ 110962 w 316974"/>
                <a:gd name="connsiteY139" fmla="*/ 60684 h 191914"/>
                <a:gd name="connsiteX140" fmla="*/ 109268 w 316974"/>
                <a:gd name="connsiteY140" fmla="*/ 60442 h 191914"/>
                <a:gd name="connsiteX141" fmla="*/ 107877 w 316974"/>
                <a:gd name="connsiteY141" fmla="*/ 59837 h 191914"/>
                <a:gd name="connsiteX142" fmla="*/ 106153 w 316974"/>
                <a:gd name="connsiteY142" fmla="*/ 59111 h 191914"/>
                <a:gd name="connsiteX143" fmla="*/ 105608 w 316974"/>
                <a:gd name="connsiteY143" fmla="*/ 58506 h 191914"/>
                <a:gd name="connsiteX144" fmla="*/ 105275 w 316974"/>
                <a:gd name="connsiteY144" fmla="*/ 57750 h 191914"/>
                <a:gd name="connsiteX145" fmla="*/ 104791 w 316974"/>
                <a:gd name="connsiteY145" fmla="*/ 57115 h 191914"/>
                <a:gd name="connsiteX146" fmla="*/ 103732 w 316974"/>
                <a:gd name="connsiteY146" fmla="*/ 56903 h 191914"/>
                <a:gd name="connsiteX147" fmla="*/ 100344 w 316974"/>
                <a:gd name="connsiteY147" fmla="*/ 57569 h 191914"/>
                <a:gd name="connsiteX148" fmla="*/ 88274 w 316974"/>
                <a:gd name="connsiteY148" fmla="*/ 57266 h 191914"/>
                <a:gd name="connsiteX149" fmla="*/ 78957 w 316974"/>
                <a:gd name="connsiteY149" fmla="*/ 57024 h 191914"/>
                <a:gd name="connsiteX150" fmla="*/ 78775 w 316974"/>
                <a:gd name="connsiteY150" fmla="*/ 56963 h 191914"/>
                <a:gd name="connsiteX151" fmla="*/ 77686 w 316974"/>
                <a:gd name="connsiteY151" fmla="*/ 56691 h 191914"/>
                <a:gd name="connsiteX152" fmla="*/ 72029 w 316974"/>
                <a:gd name="connsiteY152" fmla="*/ 52214 h 191914"/>
                <a:gd name="connsiteX153" fmla="*/ 70577 w 316974"/>
                <a:gd name="connsiteY153" fmla="*/ 51518 h 191914"/>
                <a:gd name="connsiteX154" fmla="*/ 68913 w 316974"/>
                <a:gd name="connsiteY154" fmla="*/ 51064 h 191914"/>
                <a:gd name="connsiteX155" fmla="*/ 67158 w 316974"/>
                <a:gd name="connsiteY155" fmla="*/ 51034 h 191914"/>
                <a:gd name="connsiteX156" fmla="*/ 65404 w 316974"/>
                <a:gd name="connsiteY156" fmla="*/ 51337 h 191914"/>
                <a:gd name="connsiteX157" fmla="*/ 63770 w 316974"/>
                <a:gd name="connsiteY157" fmla="*/ 51609 h 191914"/>
                <a:gd name="connsiteX158" fmla="*/ 62106 w 316974"/>
                <a:gd name="connsiteY158" fmla="*/ 51397 h 191914"/>
                <a:gd name="connsiteX159" fmla="*/ 52880 w 316974"/>
                <a:gd name="connsiteY159" fmla="*/ 47404 h 191914"/>
                <a:gd name="connsiteX160" fmla="*/ 49855 w 316974"/>
                <a:gd name="connsiteY160" fmla="*/ 46950 h 191914"/>
                <a:gd name="connsiteX161" fmla="*/ 43351 w 316974"/>
                <a:gd name="connsiteY161" fmla="*/ 47918 h 191914"/>
                <a:gd name="connsiteX162" fmla="*/ 41959 w 316974"/>
                <a:gd name="connsiteY162" fmla="*/ 47918 h 191914"/>
                <a:gd name="connsiteX163" fmla="*/ 35304 w 316974"/>
                <a:gd name="connsiteY163" fmla="*/ 46436 h 191914"/>
                <a:gd name="connsiteX164" fmla="*/ 33791 w 316974"/>
                <a:gd name="connsiteY164" fmla="*/ 46315 h 191914"/>
                <a:gd name="connsiteX165" fmla="*/ 33821 w 316974"/>
                <a:gd name="connsiteY165" fmla="*/ 47374 h 191914"/>
                <a:gd name="connsiteX166" fmla="*/ 33609 w 316974"/>
                <a:gd name="connsiteY166" fmla="*/ 48342 h 191914"/>
                <a:gd name="connsiteX167" fmla="*/ 33246 w 316974"/>
                <a:gd name="connsiteY167" fmla="*/ 49159 h 191914"/>
                <a:gd name="connsiteX168" fmla="*/ 32672 w 316974"/>
                <a:gd name="connsiteY168" fmla="*/ 49885 h 191914"/>
                <a:gd name="connsiteX169" fmla="*/ 32520 w 316974"/>
                <a:gd name="connsiteY169" fmla="*/ 53303 h 191914"/>
                <a:gd name="connsiteX170" fmla="*/ 32278 w 316974"/>
                <a:gd name="connsiteY170" fmla="*/ 53817 h 191914"/>
                <a:gd name="connsiteX171" fmla="*/ 31431 w 316974"/>
                <a:gd name="connsiteY171" fmla="*/ 55420 h 191914"/>
                <a:gd name="connsiteX172" fmla="*/ 29556 w 316974"/>
                <a:gd name="connsiteY172" fmla="*/ 56328 h 191914"/>
                <a:gd name="connsiteX173" fmla="*/ 27045 w 316974"/>
                <a:gd name="connsiteY173" fmla="*/ 56268 h 191914"/>
                <a:gd name="connsiteX174" fmla="*/ 23657 w 316974"/>
                <a:gd name="connsiteY174" fmla="*/ 56661 h 191914"/>
                <a:gd name="connsiteX175" fmla="*/ 21176 w 316974"/>
                <a:gd name="connsiteY175" fmla="*/ 58809 h 191914"/>
                <a:gd name="connsiteX176" fmla="*/ 19059 w 316974"/>
                <a:gd name="connsiteY176" fmla="*/ 61592 h 191914"/>
                <a:gd name="connsiteX177" fmla="*/ 16578 w 316974"/>
                <a:gd name="connsiteY177" fmla="*/ 63952 h 191914"/>
                <a:gd name="connsiteX178" fmla="*/ 11919 w 316974"/>
                <a:gd name="connsiteY178" fmla="*/ 66251 h 191914"/>
                <a:gd name="connsiteX179" fmla="*/ 9529 w 316974"/>
                <a:gd name="connsiteY179" fmla="*/ 67854 h 191914"/>
                <a:gd name="connsiteX180" fmla="*/ 8259 w 316974"/>
                <a:gd name="connsiteY180" fmla="*/ 68429 h 191914"/>
                <a:gd name="connsiteX181" fmla="*/ 6928 w 316974"/>
                <a:gd name="connsiteY181" fmla="*/ 68550 h 191914"/>
                <a:gd name="connsiteX182" fmla="*/ 5839 w 316974"/>
                <a:gd name="connsiteY182" fmla="*/ 69760 h 191914"/>
                <a:gd name="connsiteX183" fmla="*/ 4507 w 316974"/>
                <a:gd name="connsiteY183" fmla="*/ 72603 h 191914"/>
                <a:gd name="connsiteX184" fmla="*/ 3055 w 316974"/>
                <a:gd name="connsiteY184" fmla="*/ 74842 h 191914"/>
                <a:gd name="connsiteX185" fmla="*/ 2632 w 316974"/>
                <a:gd name="connsiteY185" fmla="*/ 75538 h 191914"/>
                <a:gd name="connsiteX186" fmla="*/ 0 w 316974"/>
                <a:gd name="connsiteY186" fmla="*/ 77050 h 191914"/>
                <a:gd name="connsiteX187" fmla="*/ 787 w 316974"/>
                <a:gd name="connsiteY187" fmla="*/ 78411 h 191914"/>
                <a:gd name="connsiteX188" fmla="*/ 1362 w 316974"/>
                <a:gd name="connsiteY188" fmla="*/ 79985 h 191914"/>
                <a:gd name="connsiteX189" fmla="*/ 1966 w 316974"/>
                <a:gd name="connsiteY189" fmla="*/ 83313 h 191914"/>
                <a:gd name="connsiteX190" fmla="*/ 1966 w 316974"/>
                <a:gd name="connsiteY190" fmla="*/ 83342 h 191914"/>
                <a:gd name="connsiteX191" fmla="*/ 1997 w 316974"/>
                <a:gd name="connsiteY191" fmla="*/ 83342 h 191914"/>
                <a:gd name="connsiteX192" fmla="*/ 3328 w 316974"/>
                <a:gd name="connsiteY192" fmla="*/ 85037 h 191914"/>
                <a:gd name="connsiteX193" fmla="*/ 3661 w 316974"/>
                <a:gd name="connsiteY193" fmla="*/ 86882 h 191914"/>
                <a:gd name="connsiteX194" fmla="*/ 4507 w 316974"/>
                <a:gd name="connsiteY194" fmla="*/ 88032 h 191914"/>
                <a:gd name="connsiteX195" fmla="*/ 7260 w 316974"/>
                <a:gd name="connsiteY195" fmla="*/ 87638 h 191914"/>
                <a:gd name="connsiteX196" fmla="*/ 5808 w 316974"/>
                <a:gd name="connsiteY196" fmla="*/ 85279 h 191914"/>
                <a:gd name="connsiteX197" fmla="*/ 7351 w 316974"/>
                <a:gd name="connsiteY197" fmla="*/ 85793 h 191914"/>
                <a:gd name="connsiteX198" fmla="*/ 10376 w 316974"/>
                <a:gd name="connsiteY198" fmla="*/ 85974 h 191914"/>
                <a:gd name="connsiteX199" fmla="*/ 11798 w 316974"/>
                <a:gd name="connsiteY199" fmla="*/ 86731 h 191914"/>
                <a:gd name="connsiteX200" fmla="*/ 14581 w 316974"/>
                <a:gd name="connsiteY200" fmla="*/ 87245 h 191914"/>
                <a:gd name="connsiteX201" fmla="*/ 16487 w 316974"/>
                <a:gd name="connsiteY201" fmla="*/ 88455 h 191914"/>
                <a:gd name="connsiteX202" fmla="*/ 19512 w 316974"/>
                <a:gd name="connsiteY202" fmla="*/ 91238 h 191914"/>
                <a:gd name="connsiteX203" fmla="*/ 22053 w 316974"/>
                <a:gd name="connsiteY203" fmla="*/ 91601 h 191914"/>
                <a:gd name="connsiteX204" fmla="*/ 25018 w 316974"/>
                <a:gd name="connsiteY204" fmla="*/ 91299 h 191914"/>
                <a:gd name="connsiteX205" fmla="*/ 26380 w 316974"/>
                <a:gd name="connsiteY205" fmla="*/ 91541 h 191914"/>
                <a:gd name="connsiteX206" fmla="*/ 27408 w 316974"/>
                <a:gd name="connsiteY206" fmla="*/ 91722 h 191914"/>
                <a:gd name="connsiteX207" fmla="*/ 27771 w 316974"/>
                <a:gd name="connsiteY207" fmla="*/ 92932 h 191914"/>
                <a:gd name="connsiteX208" fmla="*/ 28164 w 316974"/>
                <a:gd name="connsiteY208" fmla="*/ 94203 h 191914"/>
                <a:gd name="connsiteX209" fmla="*/ 25290 w 316974"/>
                <a:gd name="connsiteY209" fmla="*/ 99104 h 191914"/>
                <a:gd name="connsiteX210" fmla="*/ 15822 w 316974"/>
                <a:gd name="connsiteY210" fmla="*/ 105729 h 191914"/>
                <a:gd name="connsiteX211" fmla="*/ 14067 w 316974"/>
                <a:gd name="connsiteY211" fmla="*/ 106939 h 191914"/>
                <a:gd name="connsiteX212" fmla="*/ 11798 w 316974"/>
                <a:gd name="connsiteY212" fmla="*/ 109783 h 191914"/>
                <a:gd name="connsiteX213" fmla="*/ 12585 w 316974"/>
                <a:gd name="connsiteY213" fmla="*/ 110539 h 191914"/>
                <a:gd name="connsiteX214" fmla="*/ 12857 w 316974"/>
                <a:gd name="connsiteY214" fmla="*/ 111416 h 191914"/>
                <a:gd name="connsiteX215" fmla="*/ 12554 w 316974"/>
                <a:gd name="connsiteY215" fmla="*/ 112324 h 191914"/>
                <a:gd name="connsiteX216" fmla="*/ 11798 w 316974"/>
                <a:gd name="connsiteY216" fmla="*/ 113291 h 191914"/>
                <a:gd name="connsiteX217" fmla="*/ 11254 w 316974"/>
                <a:gd name="connsiteY217" fmla="*/ 113594 h 191914"/>
                <a:gd name="connsiteX218" fmla="*/ 9741 w 316974"/>
                <a:gd name="connsiteY218" fmla="*/ 114895 h 191914"/>
                <a:gd name="connsiteX219" fmla="*/ 11042 w 316974"/>
                <a:gd name="connsiteY219" fmla="*/ 116286 h 191914"/>
                <a:gd name="connsiteX220" fmla="*/ 11496 w 316974"/>
                <a:gd name="connsiteY220" fmla="*/ 116649 h 191914"/>
                <a:gd name="connsiteX221" fmla="*/ 11587 w 316974"/>
                <a:gd name="connsiteY221" fmla="*/ 116740 h 191914"/>
                <a:gd name="connsiteX222" fmla="*/ 11677 w 316974"/>
                <a:gd name="connsiteY222" fmla="*/ 116892 h 191914"/>
                <a:gd name="connsiteX223" fmla="*/ 11738 w 316974"/>
                <a:gd name="connsiteY223" fmla="*/ 117012 h 191914"/>
                <a:gd name="connsiteX224" fmla="*/ 11798 w 316974"/>
                <a:gd name="connsiteY224" fmla="*/ 117164 h 191914"/>
                <a:gd name="connsiteX225" fmla="*/ 14521 w 316974"/>
                <a:gd name="connsiteY225" fmla="*/ 120037 h 191914"/>
                <a:gd name="connsiteX226" fmla="*/ 17546 w 316974"/>
                <a:gd name="connsiteY226" fmla="*/ 119856 h 191914"/>
                <a:gd name="connsiteX227" fmla="*/ 20783 w 316974"/>
                <a:gd name="connsiteY227" fmla="*/ 118404 h 191914"/>
                <a:gd name="connsiteX228" fmla="*/ 23717 w 316974"/>
                <a:gd name="connsiteY228" fmla="*/ 117769 h 191914"/>
                <a:gd name="connsiteX229" fmla="*/ 24231 w 316974"/>
                <a:gd name="connsiteY229" fmla="*/ 117678 h 191914"/>
                <a:gd name="connsiteX230" fmla="*/ 25926 w 316974"/>
                <a:gd name="connsiteY230" fmla="*/ 120189 h 191914"/>
                <a:gd name="connsiteX231" fmla="*/ 25169 w 316974"/>
                <a:gd name="connsiteY231" fmla="*/ 122912 h 191914"/>
                <a:gd name="connsiteX232" fmla="*/ 24474 w 316974"/>
                <a:gd name="connsiteY232" fmla="*/ 125483 h 191914"/>
                <a:gd name="connsiteX233" fmla="*/ 23566 w 316974"/>
                <a:gd name="connsiteY233" fmla="*/ 127389 h 191914"/>
                <a:gd name="connsiteX234" fmla="*/ 20541 w 316974"/>
                <a:gd name="connsiteY234" fmla="*/ 133711 h 191914"/>
                <a:gd name="connsiteX235" fmla="*/ 20208 w 316974"/>
                <a:gd name="connsiteY235" fmla="*/ 138249 h 191914"/>
                <a:gd name="connsiteX236" fmla="*/ 21025 w 316974"/>
                <a:gd name="connsiteY236" fmla="*/ 139731 h 191914"/>
                <a:gd name="connsiteX237" fmla="*/ 21751 w 316974"/>
                <a:gd name="connsiteY237" fmla="*/ 141032 h 191914"/>
                <a:gd name="connsiteX238" fmla="*/ 24564 w 316974"/>
                <a:gd name="connsiteY238" fmla="*/ 142454 h 191914"/>
                <a:gd name="connsiteX239" fmla="*/ 28013 w 316974"/>
                <a:gd name="connsiteY239" fmla="*/ 142847 h 191914"/>
                <a:gd name="connsiteX240" fmla="*/ 29707 w 316974"/>
                <a:gd name="connsiteY240" fmla="*/ 143301 h 191914"/>
                <a:gd name="connsiteX241" fmla="*/ 33670 w 316974"/>
                <a:gd name="connsiteY241" fmla="*/ 146144 h 191914"/>
                <a:gd name="connsiteX242" fmla="*/ 34638 w 316974"/>
                <a:gd name="connsiteY242" fmla="*/ 146841 h 191914"/>
                <a:gd name="connsiteX243" fmla="*/ 41626 w 316974"/>
                <a:gd name="connsiteY243" fmla="*/ 149745 h 191914"/>
                <a:gd name="connsiteX244" fmla="*/ 49643 w 316974"/>
                <a:gd name="connsiteY244" fmla="*/ 162178 h 191914"/>
                <a:gd name="connsiteX245" fmla="*/ 50701 w 316974"/>
                <a:gd name="connsiteY245" fmla="*/ 163267 h 191914"/>
                <a:gd name="connsiteX246" fmla="*/ 52214 w 316974"/>
                <a:gd name="connsiteY246" fmla="*/ 164053 h 191914"/>
                <a:gd name="connsiteX247" fmla="*/ 53122 w 316974"/>
                <a:gd name="connsiteY247" fmla="*/ 164114 h 191914"/>
                <a:gd name="connsiteX248" fmla="*/ 53182 w 316974"/>
                <a:gd name="connsiteY248" fmla="*/ 164235 h 191914"/>
                <a:gd name="connsiteX249" fmla="*/ 53303 w 316974"/>
                <a:gd name="connsiteY249" fmla="*/ 164507 h 191914"/>
                <a:gd name="connsiteX250" fmla="*/ 52516 w 316974"/>
                <a:gd name="connsiteY250" fmla="*/ 166201 h 191914"/>
                <a:gd name="connsiteX251" fmla="*/ 50611 w 316974"/>
                <a:gd name="connsiteY251" fmla="*/ 168410 h 191914"/>
                <a:gd name="connsiteX252" fmla="*/ 48584 w 316974"/>
                <a:gd name="connsiteY252" fmla="*/ 170709 h 191914"/>
                <a:gd name="connsiteX253" fmla="*/ 43804 w 316974"/>
                <a:gd name="connsiteY253" fmla="*/ 171162 h 191914"/>
                <a:gd name="connsiteX254" fmla="*/ 39841 w 316974"/>
                <a:gd name="connsiteY254" fmla="*/ 169196 h 191914"/>
                <a:gd name="connsiteX255" fmla="*/ 34880 w 316974"/>
                <a:gd name="connsiteY255" fmla="*/ 169589 h 191914"/>
                <a:gd name="connsiteX256" fmla="*/ 36453 w 316974"/>
                <a:gd name="connsiteY256" fmla="*/ 171193 h 191914"/>
                <a:gd name="connsiteX257" fmla="*/ 37966 w 316974"/>
                <a:gd name="connsiteY257" fmla="*/ 172675 h 191914"/>
                <a:gd name="connsiteX258" fmla="*/ 39024 w 316974"/>
                <a:gd name="connsiteY258" fmla="*/ 174097 h 191914"/>
                <a:gd name="connsiteX259" fmla="*/ 39024 w 316974"/>
                <a:gd name="connsiteY259" fmla="*/ 174914 h 191914"/>
                <a:gd name="connsiteX260" fmla="*/ 31189 w 316974"/>
                <a:gd name="connsiteY260" fmla="*/ 175972 h 191914"/>
                <a:gd name="connsiteX261" fmla="*/ 22598 w 316974"/>
                <a:gd name="connsiteY261" fmla="*/ 177152 h 191914"/>
                <a:gd name="connsiteX262" fmla="*/ 20480 w 316974"/>
                <a:gd name="connsiteY262" fmla="*/ 176699 h 191914"/>
                <a:gd name="connsiteX263" fmla="*/ 20904 w 316974"/>
                <a:gd name="connsiteY263" fmla="*/ 177939 h 191914"/>
                <a:gd name="connsiteX264" fmla="*/ 21479 w 316974"/>
                <a:gd name="connsiteY264" fmla="*/ 178786 h 191914"/>
                <a:gd name="connsiteX265" fmla="*/ 22235 w 316974"/>
                <a:gd name="connsiteY265" fmla="*/ 179300 h 191914"/>
                <a:gd name="connsiteX266" fmla="*/ 23233 w 316974"/>
                <a:gd name="connsiteY266" fmla="*/ 179482 h 191914"/>
                <a:gd name="connsiteX267" fmla="*/ 23233 w 316974"/>
                <a:gd name="connsiteY267" fmla="*/ 180298 h 191914"/>
                <a:gd name="connsiteX268" fmla="*/ 22538 w 316974"/>
                <a:gd name="connsiteY268" fmla="*/ 181660 h 191914"/>
                <a:gd name="connsiteX269" fmla="*/ 22779 w 316974"/>
                <a:gd name="connsiteY269" fmla="*/ 182779 h 191914"/>
                <a:gd name="connsiteX270" fmla="*/ 22568 w 316974"/>
                <a:gd name="connsiteY270" fmla="*/ 183354 h 191914"/>
                <a:gd name="connsiteX271" fmla="*/ 26531 w 316974"/>
                <a:gd name="connsiteY271" fmla="*/ 187287 h 191914"/>
                <a:gd name="connsiteX272" fmla="*/ 29677 w 316974"/>
                <a:gd name="connsiteY272" fmla="*/ 187135 h 191914"/>
                <a:gd name="connsiteX273" fmla="*/ 39660 w 316974"/>
                <a:gd name="connsiteY273" fmla="*/ 186712 h 191914"/>
                <a:gd name="connsiteX274" fmla="*/ 44409 w 316974"/>
                <a:gd name="connsiteY274" fmla="*/ 189495 h 191914"/>
                <a:gd name="connsiteX275" fmla="*/ 45770 w 316974"/>
                <a:gd name="connsiteY275" fmla="*/ 190735 h 191914"/>
                <a:gd name="connsiteX276" fmla="*/ 47344 w 316974"/>
                <a:gd name="connsiteY276" fmla="*/ 191219 h 191914"/>
                <a:gd name="connsiteX277" fmla="*/ 52698 w 316974"/>
                <a:gd name="connsiteY277" fmla="*/ 191915 h 191914"/>
                <a:gd name="connsiteX278" fmla="*/ 53787 w 316974"/>
                <a:gd name="connsiteY278" fmla="*/ 191189 h 191914"/>
                <a:gd name="connsiteX279" fmla="*/ 54665 w 316974"/>
                <a:gd name="connsiteY279" fmla="*/ 189919 h 191914"/>
                <a:gd name="connsiteX280" fmla="*/ 56147 w 316974"/>
                <a:gd name="connsiteY280" fmla="*/ 188587 h 191914"/>
                <a:gd name="connsiteX281" fmla="*/ 60866 w 316974"/>
                <a:gd name="connsiteY281" fmla="*/ 186742 h 191914"/>
                <a:gd name="connsiteX282" fmla="*/ 62137 w 316974"/>
                <a:gd name="connsiteY282" fmla="*/ 185139 h 191914"/>
                <a:gd name="connsiteX283" fmla="*/ 59989 w 316974"/>
                <a:gd name="connsiteY283" fmla="*/ 182779 h 191914"/>
                <a:gd name="connsiteX284" fmla="*/ 59989 w 316974"/>
                <a:gd name="connsiteY284" fmla="*/ 181357 h 191914"/>
                <a:gd name="connsiteX285" fmla="*/ 60352 w 316974"/>
                <a:gd name="connsiteY285" fmla="*/ 180420 h 191914"/>
                <a:gd name="connsiteX286" fmla="*/ 61048 w 316974"/>
                <a:gd name="connsiteY286" fmla="*/ 179996 h 191914"/>
                <a:gd name="connsiteX287" fmla="*/ 62621 w 316974"/>
                <a:gd name="connsiteY287" fmla="*/ 180298 h 191914"/>
                <a:gd name="connsiteX288" fmla="*/ 65283 w 316974"/>
                <a:gd name="connsiteY288" fmla="*/ 180813 h 191914"/>
                <a:gd name="connsiteX289" fmla="*/ 66735 w 316974"/>
                <a:gd name="connsiteY289" fmla="*/ 181539 h 191914"/>
                <a:gd name="connsiteX290" fmla="*/ 68066 w 316974"/>
                <a:gd name="connsiteY290" fmla="*/ 182779 h 191914"/>
                <a:gd name="connsiteX291" fmla="*/ 68066 w 316974"/>
                <a:gd name="connsiteY291" fmla="*/ 182779 h 191914"/>
                <a:gd name="connsiteX292" fmla="*/ 70607 w 316974"/>
                <a:gd name="connsiteY292" fmla="*/ 184473 h 191914"/>
                <a:gd name="connsiteX293" fmla="*/ 73239 w 316974"/>
                <a:gd name="connsiteY293" fmla="*/ 185320 h 191914"/>
                <a:gd name="connsiteX294" fmla="*/ 75629 w 316974"/>
                <a:gd name="connsiteY294" fmla="*/ 185441 h 191914"/>
                <a:gd name="connsiteX295" fmla="*/ 75689 w 316974"/>
                <a:gd name="connsiteY295" fmla="*/ 185441 h 191914"/>
                <a:gd name="connsiteX296" fmla="*/ 75931 w 316974"/>
                <a:gd name="connsiteY296" fmla="*/ 185441 h 191914"/>
                <a:gd name="connsiteX297" fmla="*/ 78533 w 316974"/>
                <a:gd name="connsiteY297" fmla="*/ 184988 h 191914"/>
                <a:gd name="connsiteX298" fmla="*/ 83313 w 316974"/>
                <a:gd name="connsiteY298" fmla="*/ 182930 h 191914"/>
                <a:gd name="connsiteX299" fmla="*/ 85884 w 316974"/>
                <a:gd name="connsiteY299" fmla="*/ 182235 h 191914"/>
                <a:gd name="connsiteX300" fmla="*/ 88092 w 316974"/>
                <a:gd name="connsiteY300" fmla="*/ 182749 h 191914"/>
                <a:gd name="connsiteX301" fmla="*/ 92086 w 316974"/>
                <a:gd name="connsiteY301" fmla="*/ 184352 h 191914"/>
                <a:gd name="connsiteX302" fmla="*/ 96774 w 316974"/>
                <a:gd name="connsiteY302" fmla="*/ 185169 h 191914"/>
                <a:gd name="connsiteX303" fmla="*/ 101403 w 316974"/>
                <a:gd name="connsiteY303" fmla="*/ 184776 h 191914"/>
                <a:gd name="connsiteX304" fmla="*/ 105275 w 316974"/>
                <a:gd name="connsiteY304" fmla="*/ 182779 h 191914"/>
                <a:gd name="connsiteX305" fmla="*/ 107120 w 316974"/>
                <a:gd name="connsiteY305" fmla="*/ 181146 h 191914"/>
                <a:gd name="connsiteX306" fmla="*/ 111084 w 316974"/>
                <a:gd name="connsiteY306" fmla="*/ 178483 h 191914"/>
                <a:gd name="connsiteX307" fmla="*/ 112384 w 316974"/>
                <a:gd name="connsiteY307" fmla="*/ 176275 h 191914"/>
                <a:gd name="connsiteX308" fmla="*/ 112929 w 316974"/>
                <a:gd name="connsiteY308" fmla="*/ 174430 h 191914"/>
                <a:gd name="connsiteX309" fmla="*/ 113352 w 316974"/>
                <a:gd name="connsiteY309" fmla="*/ 171435 h 191914"/>
                <a:gd name="connsiteX310" fmla="*/ 113413 w 316974"/>
                <a:gd name="connsiteY310" fmla="*/ 170890 h 191914"/>
                <a:gd name="connsiteX311" fmla="*/ 114048 w 316974"/>
                <a:gd name="connsiteY311" fmla="*/ 169196 h 191914"/>
                <a:gd name="connsiteX312" fmla="*/ 114986 w 316974"/>
                <a:gd name="connsiteY312" fmla="*/ 167926 h 191914"/>
                <a:gd name="connsiteX313" fmla="*/ 117527 w 316974"/>
                <a:gd name="connsiteY313" fmla="*/ 165294 h 191914"/>
                <a:gd name="connsiteX314" fmla="*/ 118586 w 316974"/>
                <a:gd name="connsiteY314" fmla="*/ 163872 h 191914"/>
                <a:gd name="connsiteX315" fmla="*/ 119856 w 316974"/>
                <a:gd name="connsiteY315" fmla="*/ 161210 h 191914"/>
                <a:gd name="connsiteX316" fmla="*/ 120612 w 316974"/>
                <a:gd name="connsiteY316" fmla="*/ 160423 h 191914"/>
                <a:gd name="connsiteX317" fmla="*/ 121157 w 316974"/>
                <a:gd name="connsiteY317" fmla="*/ 160211 h 191914"/>
                <a:gd name="connsiteX318" fmla="*/ 122337 w 316974"/>
                <a:gd name="connsiteY318" fmla="*/ 159758 h 191914"/>
                <a:gd name="connsiteX319" fmla="*/ 123456 w 316974"/>
                <a:gd name="connsiteY319" fmla="*/ 160333 h 191914"/>
                <a:gd name="connsiteX320" fmla="*/ 123668 w 316974"/>
                <a:gd name="connsiteY320" fmla="*/ 162359 h 191914"/>
                <a:gd name="connsiteX321" fmla="*/ 123547 w 316974"/>
                <a:gd name="connsiteY321" fmla="*/ 164779 h 191914"/>
                <a:gd name="connsiteX322" fmla="*/ 123638 w 316974"/>
                <a:gd name="connsiteY322" fmla="*/ 166564 h 191914"/>
                <a:gd name="connsiteX323" fmla="*/ 124545 w 316974"/>
                <a:gd name="connsiteY323" fmla="*/ 168228 h 191914"/>
                <a:gd name="connsiteX324" fmla="*/ 125876 w 316974"/>
                <a:gd name="connsiteY324" fmla="*/ 169469 h 191914"/>
                <a:gd name="connsiteX325" fmla="*/ 129325 w 316974"/>
                <a:gd name="connsiteY325" fmla="*/ 172010 h 191914"/>
                <a:gd name="connsiteX326" fmla="*/ 130021 w 316974"/>
                <a:gd name="connsiteY326" fmla="*/ 172282 h 191914"/>
                <a:gd name="connsiteX327" fmla="*/ 130656 w 316974"/>
                <a:gd name="connsiteY327" fmla="*/ 172614 h 191914"/>
                <a:gd name="connsiteX328" fmla="*/ 130717 w 316974"/>
                <a:gd name="connsiteY328" fmla="*/ 172645 h 191914"/>
                <a:gd name="connsiteX329" fmla="*/ 131291 w 316974"/>
                <a:gd name="connsiteY329" fmla="*/ 173371 h 191914"/>
                <a:gd name="connsiteX330" fmla="*/ 131473 w 316974"/>
                <a:gd name="connsiteY330" fmla="*/ 174400 h 191914"/>
                <a:gd name="connsiteX331" fmla="*/ 131110 w 316974"/>
                <a:gd name="connsiteY331" fmla="*/ 176729 h 191914"/>
                <a:gd name="connsiteX332" fmla="*/ 131140 w 316974"/>
                <a:gd name="connsiteY332" fmla="*/ 177394 h 191914"/>
                <a:gd name="connsiteX333" fmla="*/ 133137 w 316974"/>
                <a:gd name="connsiteY333" fmla="*/ 178968 h 191914"/>
                <a:gd name="connsiteX334" fmla="*/ 142485 w 316974"/>
                <a:gd name="connsiteY334" fmla="*/ 182749 h 191914"/>
                <a:gd name="connsiteX335" fmla="*/ 142485 w 316974"/>
                <a:gd name="connsiteY335" fmla="*/ 182749 h 191914"/>
                <a:gd name="connsiteX336" fmla="*/ 142514 w 316974"/>
                <a:gd name="connsiteY336" fmla="*/ 182779 h 191914"/>
                <a:gd name="connsiteX337" fmla="*/ 142514 w 316974"/>
                <a:gd name="connsiteY337" fmla="*/ 182779 h 191914"/>
                <a:gd name="connsiteX338" fmla="*/ 144088 w 316974"/>
                <a:gd name="connsiteY338" fmla="*/ 186470 h 191914"/>
                <a:gd name="connsiteX339" fmla="*/ 148293 w 316974"/>
                <a:gd name="connsiteY339" fmla="*/ 187287 h 191914"/>
                <a:gd name="connsiteX340" fmla="*/ 152588 w 316974"/>
                <a:gd name="connsiteY340" fmla="*/ 185865 h 191914"/>
                <a:gd name="connsiteX341" fmla="*/ 154525 w 316974"/>
                <a:gd name="connsiteY341" fmla="*/ 182779 h 191914"/>
                <a:gd name="connsiteX342" fmla="*/ 154888 w 316974"/>
                <a:gd name="connsiteY342" fmla="*/ 179966 h 191914"/>
                <a:gd name="connsiteX343" fmla="*/ 156733 w 316974"/>
                <a:gd name="connsiteY343" fmla="*/ 179905 h 191914"/>
                <a:gd name="connsiteX344" fmla="*/ 159002 w 316974"/>
                <a:gd name="connsiteY344" fmla="*/ 181266 h 191914"/>
                <a:gd name="connsiteX345" fmla="*/ 160756 w 316974"/>
                <a:gd name="connsiteY345" fmla="*/ 182779 h 191914"/>
                <a:gd name="connsiteX346" fmla="*/ 162238 w 316974"/>
                <a:gd name="connsiteY346" fmla="*/ 182961 h 191914"/>
                <a:gd name="connsiteX347" fmla="*/ 163146 w 316974"/>
                <a:gd name="connsiteY347" fmla="*/ 183082 h 191914"/>
                <a:gd name="connsiteX348" fmla="*/ 164265 w 316974"/>
                <a:gd name="connsiteY348" fmla="*/ 183566 h 191914"/>
                <a:gd name="connsiteX349" fmla="*/ 165264 w 316974"/>
                <a:gd name="connsiteY349" fmla="*/ 184413 h 191914"/>
                <a:gd name="connsiteX350" fmla="*/ 170164 w 316974"/>
                <a:gd name="connsiteY350" fmla="*/ 184503 h 191914"/>
                <a:gd name="connsiteX351" fmla="*/ 171163 w 316974"/>
                <a:gd name="connsiteY351" fmla="*/ 185320 h 191914"/>
                <a:gd name="connsiteX352" fmla="*/ 178514 w 316974"/>
                <a:gd name="connsiteY352" fmla="*/ 191068 h 191914"/>
                <a:gd name="connsiteX353" fmla="*/ 183051 w 316974"/>
                <a:gd name="connsiteY353" fmla="*/ 191673 h 191914"/>
                <a:gd name="connsiteX354" fmla="*/ 187226 w 316974"/>
                <a:gd name="connsiteY354" fmla="*/ 190251 h 191914"/>
                <a:gd name="connsiteX355" fmla="*/ 192853 w 316974"/>
                <a:gd name="connsiteY355" fmla="*/ 188315 h 191914"/>
                <a:gd name="connsiteX356" fmla="*/ 196120 w 316974"/>
                <a:gd name="connsiteY356" fmla="*/ 188376 h 191914"/>
                <a:gd name="connsiteX357" fmla="*/ 197240 w 316974"/>
                <a:gd name="connsiteY357" fmla="*/ 188103 h 191914"/>
                <a:gd name="connsiteX358" fmla="*/ 198117 w 316974"/>
                <a:gd name="connsiteY358" fmla="*/ 187317 h 191914"/>
                <a:gd name="connsiteX359" fmla="*/ 199902 w 316974"/>
                <a:gd name="connsiteY359" fmla="*/ 185018 h 191914"/>
                <a:gd name="connsiteX360" fmla="*/ 200870 w 316974"/>
                <a:gd name="connsiteY360" fmla="*/ 184231 h 191914"/>
                <a:gd name="connsiteX361" fmla="*/ 195818 w 316974"/>
                <a:gd name="connsiteY361" fmla="*/ 181085 h 191914"/>
                <a:gd name="connsiteX362" fmla="*/ 194365 w 316974"/>
                <a:gd name="connsiteY362" fmla="*/ 178846 h 191914"/>
                <a:gd name="connsiteX363" fmla="*/ 193549 w 316974"/>
                <a:gd name="connsiteY363" fmla="*/ 176003 h 191914"/>
                <a:gd name="connsiteX364" fmla="*/ 192944 w 316974"/>
                <a:gd name="connsiteY364" fmla="*/ 172584 h 191914"/>
                <a:gd name="connsiteX365" fmla="*/ 192913 w 316974"/>
                <a:gd name="connsiteY365" fmla="*/ 172463 h 191914"/>
                <a:gd name="connsiteX366" fmla="*/ 192339 w 316974"/>
                <a:gd name="connsiteY366" fmla="*/ 170981 h 191914"/>
                <a:gd name="connsiteX367" fmla="*/ 191643 w 316974"/>
                <a:gd name="connsiteY367" fmla="*/ 169559 h 191914"/>
                <a:gd name="connsiteX368" fmla="*/ 191522 w 316974"/>
                <a:gd name="connsiteY368" fmla="*/ 168470 h 191914"/>
                <a:gd name="connsiteX369" fmla="*/ 192793 w 316974"/>
                <a:gd name="connsiteY369" fmla="*/ 167895 h 191914"/>
                <a:gd name="connsiteX370" fmla="*/ 193488 w 316974"/>
                <a:gd name="connsiteY370" fmla="*/ 167320 h 191914"/>
                <a:gd name="connsiteX371" fmla="*/ 193851 w 316974"/>
                <a:gd name="connsiteY371" fmla="*/ 166292 h 191914"/>
                <a:gd name="connsiteX372" fmla="*/ 194426 w 316974"/>
                <a:gd name="connsiteY372" fmla="*/ 165294 h 191914"/>
                <a:gd name="connsiteX373" fmla="*/ 197391 w 316974"/>
                <a:gd name="connsiteY373" fmla="*/ 164447 h 191914"/>
                <a:gd name="connsiteX374" fmla="*/ 198631 w 316974"/>
                <a:gd name="connsiteY374" fmla="*/ 163842 h 191914"/>
                <a:gd name="connsiteX375" fmla="*/ 200053 w 316974"/>
                <a:gd name="connsiteY375" fmla="*/ 163358 h 191914"/>
                <a:gd name="connsiteX376" fmla="*/ 202110 w 316974"/>
                <a:gd name="connsiteY376" fmla="*/ 163388 h 191914"/>
                <a:gd name="connsiteX377" fmla="*/ 201565 w 316974"/>
                <a:gd name="connsiteY377" fmla="*/ 162238 h 191914"/>
                <a:gd name="connsiteX378" fmla="*/ 199932 w 316974"/>
                <a:gd name="connsiteY378" fmla="*/ 159697 h 191914"/>
                <a:gd name="connsiteX379" fmla="*/ 199750 w 316974"/>
                <a:gd name="connsiteY379" fmla="*/ 159516 h 191914"/>
                <a:gd name="connsiteX380" fmla="*/ 198117 w 316974"/>
                <a:gd name="connsiteY380" fmla="*/ 157792 h 191914"/>
                <a:gd name="connsiteX381" fmla="*/ 197784 w 316974"/>
                <a:gd name="connsiteY381" fmla="*/ 157519 h 191914"/>
                <a:gd name="connsiteX382" fmla="*/ 197421 w 316974"/>
                <a:gd name="connsiteY382" fmla="*/ 157731 h 191914"/>
                <a:gd name="connsiteX383" fmla="*/ 196211 w 316974"/>
                <a:gd name="connsiteY383" fmla="*/ 158033 h 191914"/>
                <a:gd name="connsiteX384" fmla="*/ 195757 w 316974"/>
                <a:gd name="connsiteY384" fmla="*/ 158366 h 191914"/>
                <a:gd name="connsiteX385" fmla="*/ 195606 w 316974"/>
                <a:gd name="connsiteY385" fmla="*/ 158911 h 191914"/>
                <a:gd name="connsiteX386" fmla="*/ 195213 w 316974"/>
                <a:gd name="connsiteY386" fmla="*/ 159183 h 191914"/>
                <a:gd name="connsiteX387" fmla="*/ 193882 w 316974"/>
                <a:gd name="connsiteY387" fmla="*/ 158699 h 191914"/>
                <a:gd name="connsiteX388" fmla="*/ 193004 w 316974"/>
                <a:gd name="connsiteY388" fmla="*/ 158124 h 191914"/>
                <a:gd name="connsiteX389" fmla="*/ 192460 w 316974"/>
                <a:gd name="connsiteY389" fmla="*/ 157458 h 191914"/>
                <a:gd name="connsiteX390" fmla="*/ 191461 w 316974"/>
                <a:gd name="connsiteY390" fmla="*/ 155704 h 191914"/>
                <a:gd name="connsiteX391" fmla="*/ 190494 w 316974"/>
                <a:gd name="connsiteY391" fmla="*/ 154796 h 191914"/>
                <a:gd name="connsiteX392" fmla="*/ 189768 w 316974"/>
                <a:gd name="connsiteY392" fmla="*/ 154494 h 191914"/>
                <a:gd name="connsiteX393" fmla="*/ 189556 w 316974"/>
                <a:gd name="connsiteY393" fmla="*/ 153919 h 191914"/>
                <a:gd name="connsiteX394" fmla="*/ 189646 w 316974"/>
                <a:gd name="connsiteY394" fmla="*/ 153677 h 191914"/>
                <a:gd name="connsiteX395" fmla="*/ 190160 w 316974"/>
                <a:gd name="connsiteY395" fmla="*/ 152376 h 191914"/>
                <a:gd name="connsiteX396" fmla="*/ 191008 w 316974"/>
                <a:gd name="connsiteY396" fmla="*/ 151469 h 191914"/>
                <a:gd name="connsiteX397" fmla="*/ 195091 w 316974"/>
                <a:gd name="connsiteY397" fmla="*/ 149382 h 191914"/>
                <a:gd name="connsiteX398" fmla="*/ 197844 w 316974"/>
                <a:gd name="connsiteY398" fmla="*/ 148534 h 191914"/>
                <a:gd name="connsiteX399" fmla="*/ 207676 w 316974"/>
                <a:gd name="connsiteY399" fmla="*/ 145540 h 191914"/>
                <a:gd name="connsiteX400" fmla="*/ 207737 w 316974"/>
                <a:gd name="connsiteY400" fmla="*/ 145479 h 191914"/>
                <a:gd name="connsiteX401" fmla="*/ 208886 w 316974"/>
                <a:gd name="connsiteY401" fmla="*/ 144602 h 191914"/>
                <a:gd name="connsiteX402" fmla="*/ 208735 w 316974"/>
                <a:gd name="connsiteY402" fmla="*/ 143362 h 191914"/>
                <a:gd name="connsiteX403" fmla="*/ 208342 w 316974"/>
                <a:gd name="connsiteY403" fmla="*/ 141970 h 191914"/>
                <a:gd name="connsiteX404" fmla="*/ 208826 w 316974"/>
                <a:gd name="connsiteY404" fmla="*/ 140730 h 191914"/>
                <a:gd name="connsiteX405" fmla="*/ 209915 w 316974"/>
                <a:gd name="connsiteY405" fmla="*/ 140246 h 191914"/>
                <a:gd name="connsiteX406" fmla="*/ 211064 w 316974"/>
                <a:gd name="connsiteY406" fmla="*/ 140367 h 191914"/>
                <a:gd name="connsiteX407" fmla="*/ 212214 w 316974"/>
                <a:gd name="connsiteY407" fmla="*/ 140730 h 191914"/>
                <a:gd name="connsiteX408" fmla="*/ 213363 w 316974"/>
                <a:gd name="connsiteY408" fmla="*/ 140911 h 191914"/>
                <a:gd name="connsiteX409" fmla="*/ 214362 w 316974"/>
                <a:gd name="connsiteY409" fmla="*/ 140578 h 191914"/>
                <a:gd name="connsiteX410" fmla="*/ 216238 w 316974"/>
                <a:gd name="connsiteY410" fmla="*/ 139157 h 191914"/>
                <a:gd name="connsiteX411" fmla="*/ 217205 w 316974"/>
                <a:gd name="connsiteY411" fmla="*/ 138703 h 191914"/>
                <a:gd name="connsiteX412" fmla="*/ 219837 w 316974"/>
                <a:gd name="connsiteY412" fmla="*/ 139126 h 191914"/>
                <a:gd name="connsiteX413" fmla="*/ 223619 w 316974"/>
                <a:gd name="connsiteY413" fmla="*/ 139701 h 191914"/>
                <a:gd name="connsiteX414" fmla="*/ 227491 w 316974"/>
                <a:gd name="connsiteY414" fmla="*/ 139580 h 191914"/>
                <a:gd name="connsiteX415" fmla="*/ 229487 w 316974"/>
                <a:gd name="connsiteY415" fmla="*/ 139066 h 191914"/>
                <a:gd name="connsiteX416" fmla="*/ 231545 w 316974"/>
                <a:gd name="connsiteY416" fmla="*/ 138068 h 191914"/>
                <a:gd name="connsiteX417" fmla="*/ 232543 w 316974"/>
                <a:gd name="connsiteY417" fmla="*/ 136736 h 191914"/>
                <a:gd name="connsiteX418" fmla="*/ 232483 w 316974"/>
                <a:gd name="connsiteY418" fmla="*/ 134830 h 191914"/>
                <a:gd name="connsiteX419" fmla="*/ 231303 w 316974"/>
                <a:gd name="connsiteY419" fmla="*/ 132199 h 191914"/>
                <a:gd name="connsiteX420" fmla="*/ 230879 w 316974"/>
                <a:gd name="connsiteY420" fmla="*/ 130505 h 191914"/>
                <a:gd name="connsiteX421" fmla="*/ 231272 w 316974"/>
                <a:gd name="connsiteY421" fmla="*/ 128901 h 191914"/>
                <a:gd name="connsiteX422" fmla="*/ 231968 w 316974"/>
                <a:gd name="connsiteY422" fmla="*/ 127328 h 191914"/>
                <a:gd name="connsiteX423" fmla="*/ 232512 w 316974"/>
                <a:gd name="connsiteY423" fmla="*/ 125665 h 191914"/>
                <a:gd name="connsiteX424" fmla="*/ 232664 w 316974"/>
                <a:gd name="connsiteY424" fmla="*/ 123456 h 191914"/>
                <a:gd name="connsiteX425" fmla="*/ 232483 w 316974"/>
                <a:gd name="connsiteY425" fmla="*/ 119402 h 191914"/>
                <a:gd name="connsiteX426" fmla="*/ 232361 w 316974"/>
                <a:gd name="connsiteY426" fmla="*/ 116649 h 191914"/>
                <a:gd name="connsiteX427" fmla="*/ 232361 w 316974"/>
                <a:gd name="connsiteY427" fmla="*/ 116619 h 191914"/>
                <a:gd name="connsiteX428" fmla="*/ 233148 w 316974"/>
                <a:gd name="connsiteY428" fmla="*/ 113927 h 191914"/>
                <a:gd name="connsiteX429" fmla="*/ 234298 w 316974"/>
                <a:gd name="connsiteY429" fmla="*/ 112293 h 191914"/>
                <a:gd name="connsiteX430" fmla="*/ 234751 w 316974"/>
                <a:gd name="connsiteY430" fmla="*/ 110932 h 191914"/>
                <a:gd name="connsiteX431" fmla="*/ 234237 w 316974"/>
                <a:gd name="connsiteY431" fmla="*/ 110206 h 191914"/>
                <a:gd name="connsiteX432" fmla="*/ 233329 w 316974"/>
                <a:gd name="connsiteY432" fmla="*/ 108935 h 191914"/>
                <a:gd name="connsiteX433" fmla="*/ 232120 w 316974"/>
                <a:gd name="connsiteY433" fmla="*/ 108088 h 191914"/>
                <a:gd name="connsiteX434" fmla="*/ 229306 w 316974"/>
                <a:gd name="connsiteY434" fmla="*/ 107030 h 191914"/>
                <a:gd name="connsiteX435" fmla="*/ 228066 w 316974"/>
                <a:gd name="connsiteY435" fmla="*/ 106364 h 191914"/>
                <a:gd name="connsiteX436" fmla="*/ 227279 w 316974"/>
                <a:gd name="connsiteY436" fmla="*/ 105578 h 191914"/>
                <a:gd name="connsiteX437" fmla="*/ 225283 w 316974"/>
                <a:gd name="connsiteY437" fmla="*/ 103641 h 191914"/>
                <a:gd name="connsiteX438" fmla="*/ 223891 w 316974"/>
                <a:gd name="connsiteY438" fmla="*/ 100647 h 191914"/>
                <a:gd name="connsiteX439" fmla="*/ 223891 w 316974"/>
                <a:gd name="connsiteY439" fmla="*/ 97289 h 191914"/>
                <a:gd name="connsiteX440" fmla="*/ 225313 w 316974"/>
                <a:gd name="connsiteY440" fmla="*/ 93507 h 191914"/>
                <a:gd name="connsiteX441" fmla="*/ 227189 w 316974"/>
                <a:gd name="connsiteY441" fmla="*/ 90210 h 191914"/>
                <a:gd name="connsiteX442" fmla="*/ 227552 w 316974"/>
                <a:gd name="connsiteY442" fmla="*/ 89756 h 191914"/>
                <a:gd name="connsiteX443" fmla="*/ 228882 w 316974"/>
                <a:gd name="connsiteY443" fmla="*/ 88092 h 191914"/>
                <a:gd name="connsiteX444" fmla="*/ 231060 w 316974"/>
                <a:gd name="connsiteY444" fmla="*/ 87064 h 191914"/>
                <a:gd name="connsiteX445" fmla="*/ 232755 w 316974"/>
                <a:gd name="connsiteY445" fmla="*/ 87184 h 191914"/>
                <a:gd name="connsiteX446" fmla="*/ 239955 w 316974"/>
                <a:gd name="connsiteY446" fmla="*/ 87669 h 191914"/>
                <a:gd name="connsiteX447" fmla="*/ 241891 w 316974"/>
                <a:gd name="connsiteY447" fmla="*/ 86519 h 191914"/>
                <a:gd name="connsiteX448" fmla="*/ 243948 w 316974"/>
                <a:gd name="connsiteY448" fmla="*/ 83342 h 191914"/>
                <a:gd name="connsiteX449" fmla="*/ 244976 w 316974"/>
                <a:gd name="connsiteY449" fmla="*/ 82616 h 191914"/>
                <a:gd name="connsiteX450" fmla="*/ 245339 w 316974"/>
                <a:gd name="connsiteY450" fmla="*/ 82344 h 191914"/>
                <a:gd name="connsiteX451" fmla="*/ 246852 w 316974"/>
                <a:gd name="connsiteY451" fmla="*/ 81709 h 191914"/>
                <a:gd name="connsiteX452" fmla="*/ 248455 w 316974"/>
                <a:gd name="connsiteY452" fmla="*/ 81316 h 191914"/>
                <a:gd name="connsiteX453" fmla="*/ 252993 w 316974"/>
                <a:gd name="connsiteY453" fmla="*/ 81195 h 191914"/>
                <a:gd name="connsiteX454" fmla="*/ 253174 w 316974"/>
                <a:gd name="connsiteY454" fmla="*/ 81195 h 191914"/>
                <a:gd name="connsiteX455" fmla="*/ 253447 w 316974"/>
                <a:gd name="connsiteY455" fmla="*/ 81164 h 191914"/>
                <a:gd name="connsiteX456" fmla="*/ 256986 w 316974"/>
                <a:gd name="connsiteY456" fmla="*/ 79380 h 191914"/>
                <a:gd name="connsiteX457" fmla="*/ 259981 w 316974"/>
                <a:gd name="connsiteY457" fmla="*/ 77867 h 191914"/>
                <a:gd name="connsiteX458" fmla="*/ 263339 w 316974"/>
                <a:gd name="connsiteY458" fmla="*/ 77322 h 191914"/>
                <a:gd name="connsiteX459" fmla="*/ 264519 w 316974"/>
                <a:gd name="connsiteY459" fmla="*/ 77020 h 191914"/>
                <a:gd name="connsiteX460" fmla="*/ 265003 w 316974"/>
                <a:gd name="connsiteY460" fmla="*/ 76899 h 191914"/>
                <a:gd name="connsiteX461" fmla="*/ 267060 w 316974"/>
                <a:gd name="connsiteY461" fmla="*/ 75901 h 191914"/>
                <a:gd name="connsiteX462" fmla="*/ 269056 w 316974"/>
                <a:gd name="connsiteY462" fmla="*/ 74630 h 191914"/>
                <a:gd name="connsiteX463" fmla="*/ 270176 w 316974"/>
                <a:gd name="connsiteY463" fmla="*/ 73511 h 191914"/>
                <a:gd name="connsiteX464" fmla="*/ 270418 w 316974"/>
                <a:gd name="connsiteY464" fmla="*/ 73269 h 191914"/>
                <a:gd name="connsiteX465" fmla="*/ 271144 w 316974"/>
                <a:gd name="connsiteY465" fmla="*/ 71454 h 191914"/>
                <a:gd name="connsiteX466" fmla="*/ 271144 w 316974"/>
                <a:gd name="connsiteY466" fmla="*/ 69699 h 191914"/>
                <a:gd name="connsiteX467" fmla="*/ 270902 w 316974"/>
                <a:gd name="connsiteY467" fmla="*/ 67794 h 191914"/>
                <a:gd name="connsiteX468" fmla="*/ 270962 w 316974"/>
                <a:gd name="connsiteY468" fmla="*/ 65373 h 191914"/>
                <a:gd name="connsiteX469" fmla="*/ 274048 w 316974"/>
                <a:gd name="connsiteY469" fmla="*/ 65978 h 191914"/>
                <a:gd name="connsiteX470" fmla="*/ 274623 w 316974"/>
                <a:gd name="connsiteY470" fmla="*/ 66099 h 191914"/>
                <a:gd name="connsiteX471" fmla="*/ 275802 w 316974"/>
                <a:gd name="connsiteY471" fmla="*/ 65888 h 191914"/>
                <a:gd name="connsiteX472" fmla="*/ 276770 w 316974"/>
                <a:gd name="connsiteY472" fmla="*/ 65162 h 191914"/>
                <a:gd name="connsiteX473" fmla="*/ 277527 w 316974"/>
                <a:gd name="connsiteY473" fmla="*/ 64133 h 191914"/>
                <a:gd name="connsiteX474" fmla="*/ 278374 w 316974"/>
                <a:gd name="connsiteY474" fmla="*/ 63316 h 191914"/>
                <a:gd name="connsiteX475" fmla="*/ 279614 w 316974"/>
                <a:gd name="connsiteY475" fmla="*/ 63074 h 191914"/>
                <a:gd name="connsiteX476" fmla="*/ 280582 w 316974"/>
                <a:gd name="connsiteY476" fmla="*/ 63528 h 191914"/>
                <a:gd name="connsiteX477" fmla="*/ 283002 w 316974"/>
                <a:gd name="connsiteY477" fmla="*/ 65645 h 191914"/>
                <a:gd name="connsiteX478" fmla="*/ 284454 w 316974"/>
                <a:gd name="connsiteY478" fmla="*/ 66432 h 191914"/>
                <a:gd name="connsiteX479" fmla="*/ 286149 w 316974"/>
                <a:gd name="connsiteY479" fmla="*/ 66795 h 191914"/>
                <a:gd name="connsiteX480" fmla="*/ 286995 w 316974"/>
                <a:gd name="connsiteY480" fmla="*/ 66765 h 191914"/>
                <a:gd name="connsiteX481" fmla="*/ 290595 w 316974"/>
                <a:gd name="connsiteY481" fmla="*/ 65948 h 191914"/>
                <a:gd name="connsiteX482" fmla="*/ 292895 w 316974"/>
                <a:gd name="connsiteY482" fmla="*/ 65978 h 191914"/>
                <a:gd name="connsiteX483" fmla="*/ 293348 w 316974"/>
                <a:gd name="connsiteY483" fmla="*/ 65555 h 191914"/>
                <a:gd name="connsiteX484" fmla="*/ 293318 w 316974"/>
                <a:gd name="connsiteY484" fmla="*/ 65252 h 191914"/>
                <a:gd name="connsiteX485" fmla="*/ 293197 w 316974"/>
                <a:gd name="connsiteY485" fmla="*/ 64072 h 191914"/>
                <a:gd name="connsiteX486" fmla="*/ 292713 w 316974"/>
                <a:gd name="connsiteY486" fmla="*/ 63437 h 191914"/>
                <a:gd name="connsiteX487" fmla="*/ 291019 w 316974"/>
                <a:gd name="connsiteY487" fmla="*/ 62409 h 191914"/>
                <a:gd name="connsiteX488" fmla="*/ 290383 w 316974"/>
                <a:gd name="connsiteY488" fmla="*/ 61713 h 191914"/>
                <a:gd name="connsiteX489" fmla="*/ 290111 w 316974"/>
                <a:gd name="connsiteY489" fmla="*/ 60594 h 191914"/>
                <a:gd name="connsiteX490" fmla="*/ 290323 w 316974"/>
                <a:gd name="connsiteY490" fmla="*/ 58446 h 191914"/>
                <a:gd name="connsiteX491" fmla="*/ 290232 w 316974"/>
                <a:gd name="connsiteY491" fmla="*/ 57357 h 191914"/>
                <a:gd name="connsiteX492" fmla="*/ 289053 w 316974"/>
                <a:gd name="connsiteY492" fmla="*/ 53666 h 191914"/>
                <a:gd name="connsiteX493" fmla="*/ 288659 w 316974"/>
                <a:gd name="connsiteY493" fmla="*/ 51821 h 191914"/>
                <a:gd name="connsiteX494" fmla="*/ 288720 w 316974"/>
                <a:gd name="connsiteY494" fmla="*/ 51004 h 191914"/>
                <a:gd name="connsiteX495" fmla="*/ 288780 w 316974"/>
                <a:gd name="connsiteY495" fmla="*/ 49885 h 191914"/>
                <a:gd name="connsiteX496" fmla="*/ 291382 w 316974"/>
                <a:gd name="connsiteY496" fmla="*/ 47162 h 191914"/>
                <a:gd name="connsiteX497" fmla="*/ 291715 w 316974"/>
                <a:gd name="connsiteY497" fmla="*/ 46859 h 191914"/>
                <a:gd name="connsiteX498" fmla="*/ 294861 w 316974"/>
                <a:gd name="connsiteY498" fmla="*/ 45710 h 191914"/>
                <a:gd name="connsiteX499" fmla="*/ 296404 w 316974"/>
                <a:gd name="connsiteY499" fmla="*/ 44832 h 191914"/>
                <a:gd name="connsiteX500" fmla="*/ 298340 w 316974"/>
                <a:gd name="connsiteY500" fmla="*/ 44228 h 191914"/>
                <a:gd name="connsiteX501" fmla="*/ 299368 w 316974"/>
                <a:gd name="connsiteY501" fmla="*/ 43108 h 191914"/>
                <a:gd name="connsiteX502" fmla="*/ 299762 w 316974"/>
                <a:gd name="connsiteY502" fmla="*/ 42685 h 191914"/>
                <a:gd name="connsiteX503" fmla="*/ 300488 w 316974"/>
                <a:gd name="connsiteY503" fmla="*/ 43622 h 191914"/>
                <a:gd name="connsiteX504" fmla="*/ 300518 w 316974"/>
                <a:gd name="connsiteY504" fmla="*/ 43683 h 191914"/>
                <a:gd name="connsiteX505" fmla="*/ 301153 w 316974"/>
                <a:gd name="connsiteY505" fmla="*/ 42685 h 191914"/>
                <a:gd name="connsiteX506" fmla="*/ 302333 w 316974"/>
                <a:gd name="connsiteY506" fmla="*/ 43532 h 191914"/>
                <a:gd name="connsiteX507" fmla="*/ 303603 w 316974"/>
                <a:gd name="connsiteY507" fmla="*/ 43713 h 191914"/>
                <a:gd name="connsiteX508" fmla="*/ 304874 w 316974"/>
                <a:gd name="connsiteY508" fmla="*/ 43592 h 191914"/>
                <a:gd name="connsiteX509" fmla="*/ 306024 w 316974"/>
                <a:gd name="connsiteY509" fmla="*/ 43683 h 191914"/>
                <a:gd name="connsiteX510" fmla="*/ 306931 w 316974"/>
                <a:gd name="connsiteY510" fmla="*/ 44228 h 191914"/>
                <a:gd name="connsiteX511" fmla="*/ 308625 w 316974"/>
                <a:gd name="connsiteY511" fmla="*/ 45861 h 191914"/>
                <a:gd name="connsiteX512" fmla="*/ 309472 w 316974"/>
                <a:gd name="connsiteY512" fmla="*/ 46436 h 191914"/>
                <a:gd name="connsiteX513" fmla="*/ 310319 w 316974"/>
                <a:gd name="connsiteY513" fmla="*/ 46527 h 191914"/>
                <a:gd name="connsiteX514" fmla="*/ 312497 w 316974"/>
                <a:gd name="connsiteY514" fmla="*/ 46255 h 191914"/>
                <a:gd name="connsiteX515" fmla="*/ 313586 w 316974"/>
                <a:gd name="connsiteY515" fmla="*/ 46436 h 191914"/>
                <a:gd name="connsiteX516" fmla="*/ 314555 w 316974"/>
                <a:gd name="connsiteY516" fmla="*/ 46950 h 191914"/>
                <a:gd name="connsiteX517" fmla="*/ 316975 w 316974"/>
                <a:gd name="connsiteY517" fmla="*/ 48765 h 191914"/>
                <a:gd name="connsiteX518" fmla="*/ 315553 w 316974"/>
                <a:gd name="connsiteY518" fmla="*/ 42987 h 19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Lst>
              <a:rect l="l" t="t" r="r" b="b"/>
              <a:pathLst>
                <a:path w="316974" h="191914">
                  <a:moveTo>
                    <a:pt x="315553" y="42987"/>
                  </a:moveTo>
                  <a:lnTo>
                    <a:pt x="312165" y="40295"/>
                  </a:lnTo>
                  <a:lnTo>
                    <a:pt x="308444" y="34970"/>
                  </a:lnTo>
                  <a:lnTo>
                    <a:pt x="304844" y="33004"/>
                  </a:lnTo>
                  <a:lnTo>
                    <a:pt x="303029" y="31643"/>
                  </a:lnTo>
                  <a:lnTo>
                    <a:pt x="302605" y="30675"/>
                  </a:lnTo>
                  <a:lnTo>
                    <a:pt x="302212" y="29767"/>
                  </a:lnTo>
                  <a:lnTo>
                    <a:pt x="303120" y="28436"/>
                  </a:lnTo>
                  <a:lnTo>
                    <a:pt x="305056" y="27620"/>
                  </a:lnTo>
                  <a:lnTo>
                    <a:pt x="305661" y="27075"/>
                  </a:lnTo>
                  <a:lnTo>
                    <a:pt x="306447" y="26379"/>
                  </a:lnTo>
                  <a:lnTo>
                    <a:pt x="305902" y="23838"/>
                  </a:lnTo>
                  <a:lnTo>
                    <a:pt x="304390" y="22900"/>
                  </a:lnTo>
                  <a:lnTo>
                    <a:pt x="302514" y="22779"/>
                  </a:lnTo>
                  <a:lnTo>
                    <a:pt x="302000" y="22598"/>
                  </a:lnTo>
                  <a:lnTo>
                    <a:pt x="301909" y="22537"/>
                  </a:lnTo>
                  <a:lnTo>
                    <a:pt x="301123" y="22235"/>
                  </a:lnTo>
                  <a:lnTo>
                    <a:pt x="301093" y="19966"/>
                  </a:lnTo>
                  <a:lnTo>
                    <a:pt x="299701" y="20208"/>
                  </a:lnTo>
                  <a:lnTo>
                    <a:pt x="298763" y="19179"/>
                  </a:lnTo>
                  <a:lnTo>
                    <a:pt x="297916" y="17636"/>
                  </a:lnTo>
                  <a:lnTo>
                    <a:pt x="296767" y="16275"/>
                  </a:lnTo>
                  <a:lnTo>
                    <a:pt x="295375" y="12403"/>
                  </a:lnTo>
                  <a:lnTo>
                    <a:pt x="295133" y="11889"/>
                  </a:lnTo>
                  <a:lnTo>
                    <a:pt x="295284" y="11405"/>
                  </a:lnTo>
                  <a:lnTo>
                    <a:pt x="295557" y="10376"/>
                  </a:lnTo>
                  <a:lnTo>
                    <a:pt x="296434" y="8985"/>
                  </a:lnTo>
                  <a:lnTo>
                    <a:pt x="296827" y="8349"/>
                  </a:lnTo>
                  <a:lnTo>
                    <a:pt x="297523" y="6837"/>
                  </a:lnTo>
                  <a:lnTo>
                    <a:pt x="298098" y="5203"/>
                  </a:lnTo>
                  <a:lnTo>
                    <a:pt x="298340" y="3993"/>
                  </a:lnTo>
                  <a:lnTo>
                    <a:pt x="297886" y="3297"/>
                  </a:lnTo>
                  <a:lnTo>
                    <a:pt x="296404" y="3237"/>
                  </a:lnTo>
                  <a:lnTo>
                    <a:pt x="295526" y="2813"/>
                  </a:lnTo>
                  <a:lnTo>
                    <a:pt x="295073" y="2299"/>
                  </a:lnTo>
                  <a:lnTo>
                    <a:pt x="293560" y="544"/>
                  </a:lnTo>
                  <a:lnTo>
                    <a:pt x="292532" y="0"/>
                  </a:lnTo>
                  <a:lnTo>
                    <a:pt x="283184" y="756"/>
                  </a:lnTo>
                  <a:lnTo>
                    <a:pt x="278767" y="1119"/>
                  </a:lnTo>
                  <a:lnTo>
                    <a:pt x="278253" y="998"/>
                  </a:lnTo>
                  <a:lnTo>
                    <a:pt x="274592" y="181"/>
                  </a:lnTo>
                  <a:lnTo>
                    <a:pt x="270448" y="2420"/>
                  </a:lnTo>
                  <a:lnTo>
                    <a:pt x="268361" y="3569"/>
                  </a:lnTo>
                  <a:lnTo>
                    <a:pt x="267998" y="3660"/>
                  </a:lnTo>
                  <a:lnTo>
                    <a:pt x="263884" y="4598"/>
                  </a:lnTo>
                  <a:lnTo>
                    <a:pt x="263309" y="4901"/>
                  </a:lnTo>
                  <a:lnTo>
                    <a:pt x="262310" y="5869"/>
                  </a:lnTo>
                  <a:lnTo>
                    <a:pt x="262431" y="6171"/>
                  </a:lnTo>
                  <a:lnTo>
                    <a:pt x="262855" y="6444"/>
                  </a:lnTo>
                  <a:lnTo>
                    <a:pt x="262946" y="7411"/>
                  </a:lnTo>
                  <a:lnTo>
                    <a:pt x="262250" y="11586"/>
                  </a:lnTo>
                  <a:lnTo>
                    <a:pt x="262220" y="12010"/>
                  </a:lnTo>
                  <a:lnTo>
                    <a:pt x="262098" y="13976"/>
                  </a:lnTo>
                  <a:lnTo>
                    <a:pt x="262189" y="16336"/>
                  </a:lnTo>
                  <a:lnTo>
                    <a:pt x="263339" y="19603"/>
                  </a:lnTo>
                  <a:lnTo>
                    <a:pt x="265456" y="20874"/>
                  </a:lnTo>
                  <a:lnTo>
                    <a:pt x="266606" y="22961"/>
                  </a:lnTo>
                  <a:lnTo>
                    <a:pt x="266818" y="26046"/>
                  </a:lnTo>
                  <a:lnTo>
                    <a:pt x="266818" y="26046"/>
                  </a:lnTo>
                  <a:lnTo>
                    <a:pt x="266818" y="26046"/>
                  </a:lnTo>
                  <a:lnTo>
                    <a:pt x="264942" y="23868"/>
                  </a:lnTo>
                  <a:lnTo>
                    <a:pt x="263823" y="23173"/>
                  </a:lnTo>
                  <a:lnTo>
                    <a:pt x="259739" y="22507"/>
                  </a:lnTo>
                  <a:lnTo>
                    <a:pt x="252932" y="19331"/>
                  </a:lnTo>
                  <a:lnTo>
                    <a:pt x="250119" y="18816"/>
                  </a:lnTo>
                  <a:lnTo>
                    <a:pt x="247305" y="19028"/>
                  </a:lnTo>
                  <a:lnTo>
                    <a:pt x="243464" y="20480"/>
                  </a:lnTo>
                  <a:lnTo>
                    <a:pt x="240499" y="21569"/>
                  </a:lnTo>
                  <a:lnTo>
                    <a:pt x="237837" y="21720"/>
                  </a:lnTo>
                  <a:lnTo>
                    <a:pt x="230123" y="20662"/>
                  </a:lnTo>
                  <a:lnTo>
                    <a:pt x="228519" y="19754"/>
                  </a:lnTo>
                  <a:lnTo>
                    <a:pt x="228217" y="21781"/>
                  </a:lnTo>
                  <a:lnTo>
                    <a:pt x="228217" y="23505"/>
                  </a:lnTo>
                  <a:lnTo>
                    <a:pt x="227612" y="24685"/>
                  </a:lnTo>
                  <a:lnTo>
                    <a:pt x="227098" y="25048"/>
                  </a:lnTo>
                  <a:lnTo>
                    <a:pt x="226583" y="25411"/>
                  </a:lnTo>
                  <a:lnTo>
                    <a:pt x="225283" y="25744"/>
                  </a:lnTo>
                  <a:lnTo>
                    <a:pt x="223740" y="25351"/>
                  </a:lnTo>
                  <a:lnTo>
                    <a:pt x="221622" y="25381"/>
                  </a:lnTo>
                  <a:lnTo>
                    <a:pt x="219444" y="25895"/>
                  </a:lnTo>
                  <a:lnTo>
                    <a:pt x="217901" y="26984"/>
                  </a:lnTo>
                  <a:lnTo>
                    <a:pt x="216933" y="28890"/>
                  </a:lnTo>
                  <a:lnTo>
                    <a:pt x="216873" y="29132"/>
                  </a:lnTo>
                  <a:lnTo>
                    <a:pt x="216601" y="30402"/>
                  </a:lnTo>
                  <a:lnTo>
                    <a:pt x="216238" y="31189"/>
                  </a:lnTo>
                  <a:lnTo>
                    <a:pt x="215965" y="31734"/>
                  </a:lnTo>
                  <a:lnTo>
                    <a:pt x="214089" y="33095"/>
                  </a:lnTo>
                  <a:lnTo>
                    <a:pt x="211064" y="33579"/>
                  </a:lnTo>
                  <a:lnTo>
                    <a:pt x="208795" y="32278"/>
                  </a:lnTo>
                  <a:lnTo>
                    <a:pt x="208311" y="31915"/>
                  </a:lnTo>
                  <a:lnTo>
                    <a:pt x="206527" y="30463"/>
                  </a:lnTo>
                  <a:lnTo>
                    <a:pt x="203562" y="29435"/>
                  </a:lnTo>
                  <a:lnTo>
                    <a:pt x="197996" y="29707"/>
                  </a:lnTo>
                  <a:lnTo>
                    <a:pt x="185139" y="30312"/>
                  </a:lnTo>
                  <a:lnTo>
                    <a:pt x="181872" y="30009"/>
                  </a:lnTo>
                  <a:lnTo>
                    <a:pt x="175156" y="29344"/>
                  </a:lnTo>
                  <a:lnTo>
                    <a:pt x="173129" y="29132"/>
                  </a:lnTo>
                  <a:lnTo>
                    <a:pt x="170739" y="28890"/>
                  </a:lnTo>
                  <a:lnTo>
                    <a:pt x="164961" y="30614"/>
                  </a:lnTo>
                  <a:lnTo>
                    <a:pt x="161210" y="35515"/>
                  </a:lnTo>
                  <a:lnTo>
                    <a:pt x="159274" y="32974"/>
                  </a:lnTo>
                  <a:lnTo>
                    <a:pt x="157822" y="32702"/>
                  </a:lnTo>
                  <a:lnTo>
                    <a:pt x="156430" y="33549"/>
                  </a:lnTo>
                  <a:lnTo>
                    <a:pt x="154222" y="34819"/>
                  </a:lnTo>
                  <a:lnTo>
                    <a:pt x="153859" y="34850"/>
                  </a:lnTo>
                  <a:lnTo>
                    <a:pt x="152135" y="35061"/>
                  </a:lnTo>
                  <a:lnTo>
                    <a:pt x="150743" y="34910"/>
                  </a:lnTo>
                  <a:lnTo>
                    <a:pt x="149442" y="35394"/>
                  </a:lnTo>
                  <a:lnTo>
                    <a:pt x="147779" y="37633"/>
                  </a:lnTo>
                  <a:lnTo>
                    <a:pt x="146629" y="39901"/>
                  </a:lnTo>
                  <a:lnTo>
                    <a:pt x="145842" y="42110"/>
                  </a:lnTo>
                  <a:lnTo>
                    <a:pt x="145116" y="44137"/>
                  </a:lnTo>
                  <a:lnTo>
                    <a:pt x="144057" y="46375"/>
                  </a:lnTo>
                  <a:lnTo>
                    <a:pt x="143241" y="48100"/>
                  </a:lnTo>
                  <a:lnTo>
                    <a:pt x="142666" y="48553"/>
                  </a:lnTo>
                  <a:lnTo>
                    <a:pt x="140458" y="49491"/>
                  </a:lnTo>
                  <a:lnTo>
                    <a:pt x="137856" y="49885"/>
                  </a:lnTo>
                  <a:lnTo>
                    <a:pt x="136979" y="49280"/>
                  </a:lnTo>
                  <a:lnTo>
                    <a:pt x="135315" y="49975"/>
                  </a:lnTo>
                  <a:lnTo>
                    <a:pt x="134710" y="50611"/>
                  </a:lnTo>
                  <a:lnTo>
                    <a:pt x="134195" y="51549"/>
                  </a:lnTo>
                  <a:lnTo>
                    <a:pt x="133016" y="52849"/>
                  </a:lnTo>
                  <a:lnTo>
                    <a:pt x="132320" y="54483"/>
                  </a:lnTo>
                  <a:lnTo>
                    <a:pt x="131563" y="54362"/>
                  </a:lnTo>
                  <a:lnTo>
                    <a:pt x="130959" y="54271"/>
                  </a:lnTo>
                  <a:lnTo>
                    <a:pt x="130505" y="54392"/>
                  </a:lnTo>
                  <a:lnTo>
                    <a:pt x="128478" y="56328"/>
                  </a:lnTo>
                  <a:lnTo>
                    <a:pt x="127449" y="56963"/>
                  </a:lnTo>
                  <a:lnTo>
                    <a:pt x="126421" y="57235"/>
                  </a:lnTo>
                  <a:lnTo>
                    <a:pt x="124243" y="57417"/>
                  </a:lnTo>
                  <a:lnTo>
                    <a:pt x="123275" y="57780"/>
                  </a:lnTo>
                  <a:lnTo>
                    <a:pt x="121792" y="59747"/>
                  </a:lnTo>
                  <a:lnTo>
                    <a:pt x="120946" y="62318"/>
                  </a:lnTo>
                  <a:lnTo>
                    <a:pt x="120461" y="63498"/>
                  </a:lnTo>
                  <a:lnTo>
                    <a:pt x="120008" y="64526"/>
                  </a:lnTo>
                  <a:lnTo>
                    <a:pt x="118253" y="65252"/>
                  </a:lnTo>
                  <a:lnTo>
                    <a:pt x="116922" y="63952"/>
                  </a:lnTo>
                  <a:lnTo>
                    <a:pt x="115803" y="61652"/>
                  </a:lnTo>
                  <a:lnTo>
                    <a:pt x="114411" y="59928"/>
                  </a:lnTo>
                  <a:lnTo>
                    <a:pt x="110962" y="60684"/>
                  </a:lnTo>
                  <a:lnTo>
                    <a:pt x="109268" y="60442"/>
                  </a:lnTo>
                  <a:lnTo>
                    <a:pt x="107877" y="59837"/>
                  </a:lnTo>
                  <a:lnTo>
                    <a:pt x="106153" y="59111"/>
                  </a:lnTo>
                  <a:lnTo>
                    <a:pt x="105608" y="58506"/>
                  </a:lnTo>
                  <a:lnTo>
                    <a:pt x="105275" y="57750"/>
                  </a:lnTo>
                  <a:lnTo>
                    <a:pt x="104791" y="57115"/>
                  </a:lnTo>
                  <a:lnTo>
                    <a:pt x="103732" y="56903"/>
                  </a:lnTo>
                  <a:lnTo>
                    <a:pt x="100344" y="57569"/>
                  </a:lnTo>
                  <a:lnTo>
                    <a:pt x="88274" y="57266"/>
                  </a:lnTo>
                  <a:lnTo>
                    <a:pt x="78957" y="57024"/>
                  </a:lnTo>
                  <a:lnTo>
                    <a:pt x="78775" y="56963"/>
                  </a:lnTo>
                  <a:lnTo>
                    <a:pt x="77686" y="56691"/>
                  </a:lnTo>
                  <a:lnTo>
                    <a:pt x="72029" y="52214"/>
                  </a:lnTo>
                  <a:lnTo>
                    <a:pt x="70577" y="51518"/>
                  </a:lnTo>
                  <a:lnTo>
                    <a:pt x="68913" y="51064"/>
                  </a:lnTo>
                  <a:lnTo>
                    <a:pt x="67158" y="51034"/>
                  </a:lnTo>
                  <a:lnTo>
                    <a:pt x="65404" y="51337"/>
                  </a:lnTo>
                  <a:lnTo>
                    <a:pt x="63770" y="51609"/>
                  </a:lnTo>
                  <a:lnTo>
                    <a:pt x="62106" y="51397"/>
                  </a:lnTo>
                  <a:lnTo>
                    <a:pt x="52880" y="47404"/>
                  </a:lnTo>
                  <a:lnTo>
                    <a:pt x="49855" y="46950"/>
                  </a:lnTo>
                  <a:lnTo>
                    <a:pt x="43351" y="47918"/>
                  </a:lnTo>
                  <a:lnTo>
                    <a:pt x="41959" y="47918"/>
                  </a:lnTo>
                  <a:lnTo>
                    <a:pt x="35304" y="46436"/>
                  </a:lnTo>
                  <a:lnTo>
                    <a:pt x="33791" y="46315"/>
                  </a:lnTo>
                  <a:lnTo>
                    <a:pt x="33821" y="47374"/>
                  </a:lnTo>
                  <a:lnTo>
                    <a:pt x="33609" y="48342"/>
                  </a:lnTo>
                  <a:lnTo>
                    <a:pt x="33246" y="49159"/>
                  </a:lnTo>
                  <a:lnTo>
                    <a:pt x="32672" y="49885"/>
                  </a:lnTo>
                  <a:lnTo>
                    <a:pt x="32520" y="53303"/>
                  </a:lnTo>
                  <a:lnTo>
                    <a:pt x="32278" y="53817"/>
                  </a:lnTo>
                  <a:lnTo>
                    <a:pt x="31431" y="55420"/>
                  </a:lnTo>
                  <a:lnTo>
                    <a:pt x="29556" y="56328"/>
                  </a:lnTo>
                  <a:lnTo>
                    <a:pt x="27045" y="56268"/>
                  </a:lnTo>
                  <a:lnTo>
                    <a:pt x="23657" y="56661"/>
                  </a:lnTo>
                  <a:lnTo>
                    <a:pt x="21176" y="58809"/>
                  </a:lnTo>
                  <a:lnTo>
                    <a:pt x="19059" y="61592"/>
                  </a:lnTo>
                  <a:lnTo>
                    <a:pt x="16578" y="63952"/>
                  </a:lnTo>
                  <a:lnTo>
                    <a:pt x="11919" y="66251"/>
                  </a:lnTo>
                  <a:lnTo>
                    <a:pt x="9529" y="67854"/>
                  </a:lnTo>
                  <a:lnTo>
                    <a:pt x="8259" y="68429"/>
                  </a:lnTo>
                  <a:lnTo>
                    <a:pt x="6928" y="68550"/>
                  </a:lnTo>
                  <a:lnTo>
                    <a:pt x="5839" y="69760"/>
                  </a:lnTo>
                  <a:lnTo>
                    <a:pt x="4507" y="72603"/>
                  </a:lnTo>
                  <a:lnTo>
                    <a:pt x="3055" y="74842"/>
                  </a:lnTo>
                  <a:lnTo>
                    <a:pt x="2632" y="75538"/>
                  </a:lnTo>
                  <a:lnTo>
                    <a:pt x="0" y="77050"/>
                  </a:lnTo>
                  <a:lnTo>
                    <a:pt x="787" y="78411"/>
                  </a:lnTo>
                  <a:lnTo>
                    <a:pt x="1362" y="79985"/>
                  </a:lnTo>
                  <a:lnTo>
                    <a:pt x="1966" y="83313"/>
                  </a:lnTo>
                  <a:lnTo>
                    <a:pt x="1966" y="83342"/>
                  </a:lnTo>
                  <a:lnTo>
                    <a:pt x="1997" y="83342"/>
                  </a:lnTo>
                  <a:lnTo>
                    <a:pt x="3328" y="85037"/>
                  </a:lnTo>
                  <a:lnTo>
                    <a:pt x="3661" y="86882"/>
                  </a:lnTo>
                  <a:lnTo>
                    <a:pt x="4507" y="88032"/>
                  </a:lnTo>
                  <a:lnTo>
                    <a:pt x="7260" y="87638"/>
                  </a:lnTo>
                  <a:lnTo>
                    <a:pt x="5808" y="85279"/>
                  </a:lnTo>
                  <a:lnTo>
                    <a:pt x="7351" y="85793"/>
                  </a:lnTo>
                  <a:lnTo>
                    <a:pt x="10376" y="85974"/>
                  </a:lnTo>
                  <a:lnTo>
                    <a:pt x="11798" y="86731"/>
                  </a:lnTo>
                  <a:lnTo>
                    <a:pt x="14581" y="87245"/>
                  </a:lnTo>
                  <a:lnTo>
                    <a:pt x="16487" y="88455"/>
                  </a:lnTo>
                  <a:lnTo>
                    <a:pt x="19512" y="91238"/>
                  </a:lnTo>
                  <a:lnTo>
                    <a:pt x="22053" y="91601"/>
                  </a:lnTo>
                  <a:lnTo>
                    <a:pt x="25018" y="91299"/>
                  </a:lnTo>
                  <a:lnTo>
                    <a:pt x="26380" y="91541"/>
                  </a:lnTo>
                  <a:lnTo>
                    <a:pt x="27408" y="91722"/>
                  </a:lnTo>
                  <a:lnTo>
                    <a:pt x="27771" y="92932"/>
                  </a:lnTo>
                  <a:lnTo>
                    <a:pt x="28164" y="94203"/>
                  </a:lnTo>
                  <a:lnTo>
                    <a:pt x="25290" y="99104"/>
                  </a:lnTo>
                  <a:lnTo>
                    <a:pt x="15822" y="105729"/>
                  </a:lnTo>
                  <a:lnTo>
                    <a:pt x="14067" y="106939"/>
                  </a:lnTo>
                  <a:lnTo>
                    <a:pt x="11798" y="109783"/>
                  </a:lnTo>
                  <a:lnTo>
                    <a:pt x="12585" y="110539"/>
                  </a:lnTo>
                  <a:lnTo>
                    <a:pt x="12857" y="111416"/>
                  </a:lnTo>
                  <a:lnTo>
                    <a:pt x="12554" y="112324"/>
                  </a:lnTo>
                  <a:lnTo>
                    <a:pt x="11798" y="113291"/>
                  </a:lnTo>
                  <a:lnTo>
                    <a:pt x="11254" y="113594"/>
                  </a:lnTo>
                  <a:lnTo>
                    <a:pt x="9741" y="114895"/>
                  </a:lnTo>
                  <a:lnTo>
                    <a:pt x="11042" y="116286"/>
                  </a:lnTo>
                  <a:lnTo>
                    <a:pt x="11496" y="116649"/>
                  </a:lnTo>
                  <a:lnTo>
                    <a:pt x="11587" y="116740"/>
                  </a:lnTo>
                  <a:lnTo>
                    <a:pt x="11677" y="116892"/>
                  </a:lnTo>
                  <a:lnTo>
                    <a:pt x="11738" y="117012"/>
                  </a:lnTo>
                  <a:lnTo>
                    <a:pt x="11798" y="117164"/>
                  </a:lnTo>
                  <a:lnTo>
                    <a:pt x="14521" y="120037"/>
                  </a:lnTo>
                  <a:lnTo>
                    <a:pt x="17546" y="119856"/>
                  </a:lnTo>
                  <a:lnTo>
                    <a:pt x="20783" y="118404"/>
                  </a:lnTo>
                  <a:lnTo>
                    <a:pt x="23717" y="117769"/>
                  </a:lnTo>
                  <a:lnTo>
                    <a:pt x="24231" y="117678"/>
                  </a:lnTo>
                  <a:lnTo>
                    <a:pt x="25926" y="120189"/>
                  </a:lnTo>
                  <a:lnTo>
                    <a:pt x="25169" y="122912"/>
                  </a:lnTo>
                  <a:lnTo>
                    <a:pt x="24474" y="125483"/>
                  </a:lnTo>
                  <a:lnTo>
                    <a:pt x="23566" y="127389"/>
                  </a:lnTo>
                  <a:lnTo>
                    <a:pt x="20541" y="133711"/>
                  </a:lnTo>
                  <a:lnTo>
                    <a:pt x="20208" y="138249"/>
                  </a:lnTo>
                  <a:lnTo>
                    <a:pt x="21025" y="139731"/>
                  </a:lnTo>
                  <a:lnTo>
                    <a:pt x="21751" y="141032"/>
                  </a:lnTo>
                  <a:lnTo>
                    <a:pt x="24564" y="142454"/>
                  </a:lnTo>
                  <a:lnTo>
                    <a:pt x="28013" y="142847"/>
                  </a:lnTo>
                  <a:lnTo>
                    <a:pt x="29707" y="143301"/>
                  </a:lnTo>
                  <a:lnTo>
                    <a:pt x="33670" y="146144"/>
                  </a:lnTo>
                  <a:lnTo>
                    <a:pt x="34638" y="146841"/>
                  </a:lnTo>
                  <a:lnTo>
                    <a:pt x="41626" y="149745"/>
                  </a:lnTo>
                  <a:lnTo>
                    <a:pt x="49643" y="162178"/>
                  </a:lnTo>
                  <a:lnTo>
                    <a:pt x="50701" y="163267"/>
                  </a:lnTo>
                  <a:lnTo>
                    <a:pt x="52214" y="164053"/>
                  </a:lnTo>
                  <a:lnTo>
                    <a:pt x="53122" y="164114"/>
                  </a:lnTo>
                  <a:lnTo>
                    <a:pt x="53182" y="164235"/>
                  </a:lnTo>
                  <a:lnTo>
                    <a:pt x="53303" y="164507"/>
                  </a:lnTo>
                  <a:lnTo>
                    <a:pt x="52516" y="166201"/>
                  </a:lnTo>
                  <a:lnTo>
                    <a:pt x="50611" y="168410"/>
                  </a:lnTo>
                  <a:lnTo>
                    <a:pt x="48584" y="170709"/>
                  </a:lnTo>
                  <a:lnTo>
                    <a:pt x="43804" y="171162"/>
                  </a:lnTo>
                  <a:lnTo>
                    <a:pt x="39841" y="169196"/>
                  </a:lnTo>
                  <a:lnTo>
                    <a:pt x="34880" y="169589"/>
                  </a:lnTo>
                  <a:lnTo>
                    <a:pt x="36453" y="171193"/>
                  </a:lnTo>
                  <a:lnTo>
                    <a:pt x="37966" y="172675"/>
                  </a:lnTo>
                  <a:lnTo>
                    <a:pt x="39024" y="174097"/>
                  </a:lnTo>
                  <a:lnTo>
                    <a:pt x="39024" y="174914"/>
                  </a:lnTo>
                  <a:lnTo>
                    <a:pt x="31189" y="175972"/>
                  </a:lnTo>
                  <a:lnTo>
                    <a:pt x="22598" y="177152"/>
                  </a:lnTo>
                  <a:lnTo>
                    <a:pt x="20480" y="176699"/>
                  </a:lnTo>
                  <a:lnTo>
                    <a:pt x="20904" y="177939"/>
                  </a:lnTo>
                  <a:lnTo>
                    <a:pt x="21479" y="178786"/>
                  </a:lnTo>
                  <a:lnTo>
                    <a:pt x="22235" y="179300"/>
                  </a:lnTo>
                  <a:lnTo>
                    <a:pt x="23233" y="179482"/>
                  </a:lnTo>
                  <a:lnTo>
                    <a:pt x="23233" y="180298"/>
                  </a:lnTo>
                  <a:lnTo>
                    <a:pt x="22538" y="181660"/>
                  </a:lnTo>
                  <a:lnTo>
                    <a:pt x="22779" y="182779"/>
                  </a:lnTo>
                  <a:lnTo>
                    <a:pt x="22568" y="183354"/>
                  </a:lnTo>
                  <a:lnTo>
                    <a:pt x="26531" y="187287"/>
                  </a:lnTo>
                  <a:lnTo>
                    <a:pt x="29677" y="187135"/>
                  </a:lnTo>
                  <a:lnTo>
                    <a:pt x="39660" y="186712"/>
                  </a:lnTo>
                  <a:lnTo>
                    <a:pt x="44409" y="189495"/>
                  </a:lnTo>
                  <a:lnTo>
                    <a:pt x="45770" y="190735"/>
                  </a:lnTo>
                  <a:lnTo>
                    <a:pt x="47344" y="191219"/>
                  </a:lnTo>
                  <a:lnTo>
                    <a:pt x="52698" y="191915"/>
                  </a:lnTo>
                  <a:lnTo>
                    <a:pt x="53787" y="191189"/>
                  </a:lnTo>
                  <a:lnTo>
                    <a:pt x="54665" y="189919"/>
                  </a:lnTo>
                  <a:lnTo>
                    <a:pt x="56147" y="188587"/>
                  </a:lnTo>
                  <a:lnTo>
                    <a:pt x="60866" y="186742"/>
                  </a:lnTo>
                  <a:lnTo>
                    <a:pt x="62137" y="185139"/>
                  </a:lnTo>
                  <a:lnTo>
                    <a:pt x="59989" y="182779"/>
                  </a:lnTo>
                  <a:lnTo>
                    <a:pt x="59989" y="181357"/>
                  </a:lnTo>
                  <a:lnTo>
                    <a:pt x="60352" y="180420"/>
                  </a:lnTo>
                  <a:lnTo>
                    <a:pt x="61048" y="179996"/>
                  </a:lnTo>
                  <a:lnTo>
                    <a:pt x="62621" y="180298"/>
                  </a:lnTo>
                  <a:lnTo>
                    <a:pt x="65283" y="180813"/>
                  </a:lnTo>
                  <a:lnTo>
                    <a:pt x="66735" y="181539"/>
                  </a:lnTo>
                  <a:lnTo>
                    <a:pt x="68066" y="182779"/>
                  </a:lnTo>
                  <a:lnTo>
                    <a:pt x="68066" y="182779"/>
                  </a:lnTo>
                  <a:lnTo>
                    <a:pt x="70607" y="184473"/>
                  </a:lnTo>
                  <a:lnTo>
                    <a:pt x="73239" y="185320"/>
                  </a:lnTo>
                  <a:lnTo>
                    <a:pt x="75629" y="185441"/>
                  </a:lnTo>
                  <a:lnTo>
                    <a:pt x="75689" y="185441"/>
                  </a:lnTo>
                  <a:lnTo>
                    <a:pt x="75931" y="185441"/>
                  </a:lnTo>
                  <a:lnTo>
                    <a:pt x="78533" y="184988"/>
                  </a:lnTo>
                  <a:lnTo>
                    <a:pt x="83313" y="182930"/>
                  </a:lnTo>
                  <a:lnTo>
                    <a:pt x="85884" y="182235"/>
                  </a:lnTo>
                  <a:lnTo>
                    <a:pt x="88092" y="182749"/>
                  </a:lnTo>
                  <a:lnTo>
                    <a:pt x="92086" y="184352"/>
                  </a:lnTo>
                  <a:lnTo>
                    <a:pt x="96774" y="185169"/>
                  </a:lnTo>
                  <a:lnTo>
                    <a:pt x="101403" y="184776"/>
                  </a:lnTo>
                  <a:lnTo>
                    <a:pt x="105275" y="182779"/>
                  </a:lnTo>
                  <a:lnTo>
                    <a:pt x="107120" y="181146"/>
                  </a:lnTo>
                  <a:lnTo>
                    <a:pt x="111084" y="178483"/>
                  </a:lnTo>
                  <a:lnTo>
                    <a:pt x="112384" y="176275"/>
                  </a:lnTo>
                  <a:lnTo>
                    <a:pt x="112929" y="174430"/>
                  </a:lnTo>
                  <a:lnTo>
                    <a:pt x="113352" y="171435"/>
                  </a:lnTo>
                  <a:lnTo>
                    <a:pt x="113413" y="170890"/>
                  </a:lnTo>
                  <a:lnTo>
                    <a:pt x="114048" y="169196"/>
                  </a:lnTo>
                  <a:lnTo>
                    <a:pt x="114986" y="167926"/>
                  </a:lnTo>
                  <a:lnTo>
                    <a:pt x="117527" y="165294"/>
                  </a:lnTo>
                  <a:lnTo>
                    <a:pt x="118586" y="163872"/>
                  </a:lnTo>
                  <a:lnTo>
                    <a:pt x="119856" y="161210"/>
                  </a:lnTo>
                  <a:lnTo>
                    <a:pt x="120612" y="160423"/>
                  </a:lnTo>
                  <a:lnTo>
                    <a:pt x="121157" y="160211"/>
                  </a:lnTo>
                  <a:lnTo>
                    <a:pt x="122337" y="159758"/>
                  </a:lnTo>
                  <a:lnTo>
                    <a:pt x="123456" y="160333"/>
                  </a:lnTo>
                  <a:lnTo>
                    <a:pt x="123668" y="162359"/>
                  </a:lnTo>
                  <a:lnTo>
                    <a:pt x="123547" y="164779"/>
                  </a:lnTo>
                  <a:lnTo>
                    <a:pt x="123638" y="166564"/>
                  </a:lnTo>
                  <a:lnTo>
                    <a:pt x="124545" y="168228"/>
                  </a:lnTo>
                  <a:lnTo>
                    <a:pt x="125876" y="169469"/>
                  </a:lnTo>
                  <a:lnTo>
                    <a:pt x="129325" y="172010"/>
                  </a:lnTo>
                  <a:lnTo>
                    <a:pt x="130021" y="172282"/>
                  </a:lnTo>
                  <a:lnTo>
                    <a:pt x="130656" y="172614"/>
                  </a:lnTo>
                  <a:lnTo>
                    <a:pt x="130717" y="172645"/>
                  </a:lnTo>
                  <a:lnTo>
                    <a:pt x="131291" y="173371"/>
                  </a:lnTo>
                  <a:lnTo>
                    <a:pt x="131473" y="174400"/>
                  </a:lnTo>
                  <a:lnTo>
                    <a:pt x="131110" y="176729"/>
                  </a:lnTo>
                  <a:lnTo>
                    <a:pt x="131140" y="177394"/>
                  </a:lnTo>
                  <a:lnTo>
                    <a:pt x="133137" y="178968"/>
                  </a:lnTo>
                  <a:lnTo>
                    <a:pt x="142485" y="182749"/>
                  </a:lnTo>
                  <a:lnTo>
                    <a:pt x="142485" y="182749"/>
                  </a:lnTo>
                  <a:lnTo>
                    <a:pt x="142514" y="182779"/>
                  </a:lnTo>
                  <a:lnTo>
                    <a:pt x="142514" y="182779"/>
                  </a:lnTo>
                  <a:lnTo>
                    <a:pt x="144088" y="186470"/>
                  </a:lnTo>
                  <a:lnTo>
                    <a:pt x="148293" y="187287"/>
                  </a:lnTo>
                  <a:lnTo>
                    <a:pt x="152588" y="185865"/>
                  </a:lnTo>
                  <a:lnTo>
                    <a:pt x="154525" y="182779"/>
                  </a:lnTo>
                  <a:lnTo>
                    <a:pt x="154888" y="179966"/>
                  </a:lnTo>
                  <a:lnTo>
                    <a:pt x="156733" y="179905"/>
                  </a:lnTo>
                  <a:lnTo>
                    <a:pt x="159002" y="181266"/>
                  </a:lnTo>
                  <a:lnTo>
                    <a:pt x="160756" y="182779"/>
                  </a:lnTo>
                  <a:lnTo>
                    <a:pt x="162238" y="182961"/>
                  </a:lnTo>
                  <a:lnTo>
                    <a:pt x="163146" y="183082"/>
                  </a:lnTo>
                  <a:lnTo>
                    <a:pt x="164265" y="183566"/>
                  </a:lnTo>
                  <a:lnTo>
                    <a:pt x="165264" y="184413"/>
                  </a:lnTo>
                  <a:lnTo>
                    <a:pt x="170164" y="184503"/>
                  </a:lnTo>
                  <a:lnTo>
                    <a:pt x="171163" y="185320"/>
                  </a:lnTo>
                  <a:lnTo>
                    <a:pt x="178514" y="191068"/>
                  </a:lnTo>
                  <a:lnTo>
                    <a:pt x="183051" y="191673"/>
                  </a:lnTo>
                  <a:lnTo>
                    <a:pt x="187226" y="190251"/>
                  </a:lnTo>
                  <a:lnTo>
                    <a:pt x="192853" y="188315"/>
                  </a:lnTo>
                  <a:lnTo>
                    <a:pt x="196120" y="188376"/>
                  </a:lnTo>
                  <a:lnTo>
                    <a:pt x="197240" y="188103"/>
                  </a:lnTo>
                  <a:lnTo>
                    <a:pt x="198117" y="187317"/>
                  </a:lnTo>
                  <a:lnTo>
                    <a:pt x="199902" y="185018"/>
                  </a:lnTo>
                  <a:lnTo>
                    <a:pt x="200870" y="184231"/>
                  </a:lnTo>
                  <a:lnTo>
                    <a:pt x="195818" y="181085"/>
                  </a:lnTo>
                  <a:lnTo>
                    <a:pt x="194365" y="178846"/>
                  </a:lnTo>
                  <a:lnTo>
                    <a:pt x="193549" y="176003"/>
                  </a:lnTo>
                  <a:lnTo>
                    <a:pt x="192944" y="172584"/>
                  </a:lnTo>
                  <a:lnTo>
                    <a:pt x="192913" y="172463"/>
                  </a:lnTo>
                  <a:lnTo>
                    <a:pt x="192339" y="170981"/>
                  </a:lnTo>
                  <a:lnTo>
                    <a:pt x="191643" y="169559"/>
                  </a:lnTo>
                  <a:lnTo>
                    <a:pt x="191522" y="168470"/>
                  </a:lnTo>
                  <a:lnTo>
                    <a:pt x="192793" y="167895"/>
                  </a:lnTo>
                  <a:lnTo>
                    <a:pt x="193488" y="167320"/>
                  </a:lnTo>
                  <a:lnTo>
                    <a:pt x="193851" y="166292"/>
                  </a:lnTo>
                  <a:lnTo>
                    <a:pt x="194426" y="165294"/>
                  </a:lnTo>
                  <a:lnTo>
                    <a:pt x="197391" y="164447"/>
                  </a:lnTo>
                  <a:lnTo>
                    <a:pt x="198631" y="163842"/>
                  </a:lnTo>
                  <a:lnTo>
                    <a:pt x="200053" y="163358"/>
                  </a:lnTo>
                  <a:lnTo>
                    <a:pt x="202110" y="163388"/>
                  </a:lnTo>
                  <a:lnTo>
                    <a:pt x="201565" y="162238"/>
                  </a:lnTo>
                  <a:lnTo>
                    <a:pt x="199932" y="159697"/>
                  </a:lnTo>
                  <a:lnTo>
                    <a:pt x="199750" y="159516"/>
                  </a:lnTo>
                  <a:lnTo>
                    <a:pt x="198117" y="157792"/>
                  </a:lnTo>
                  <a:lnTo>
                    <a:pt x="197784" y="157519"/>
                  </a:lnTo>
                  <a:lnTo>
                    <a:pt x="197421" y="157731"/>
                  </a:lnTo>
                  <a:lnTo>
                    <a:pt x="196211" y="158033"/>
                  </a:lnTo>
                  <a:lnTo>
                    <a:pt x="195757" y="158366"/>
                  </a:lnTo>
                  <a:lnTo>
                    <a:pt x="195606" y="158911"/>
                  </a:lnTo>
                  <a:lnTo>
                    <a:pt x="195213" y="159183"/>
                  </a:lnTo>
                  <a:lnTo>
                    <a:pt x="193882" y="158699"/>
                  </a:lnTo>
                  <a:lnTo>
                    <a:pt x="193004" y="158124"/>
                  </a:lnTo>
                  <a:lnTo>
                    <a:pt x="192460" y="157458"/>
                  </a:lnTo>
                  <a:lnTo>
                    <a:pt x="191461" y="155704"/>
                  </a:lnTo>
                  <a:lnTo>
                    <a:pt x="190494" y="154796"/>
                  </a:lnTo>
                  <a:lnTo>
                    <a:pt x="189768" y="154494"/>
                  </a:lnTo>
                  <a:lnTo>
                    <a:pt x="189556" y="153919"/>
                  </a:lnTo>
                  <a:lnTo>
                    <a:pt x="189646" y="153677"/>
                  </a:lnTo>
                  <a:lnTo>
                    <a:pt x="190160" y="152376"/>
                  </a:lnTo>
                  <a:lnTo>
                    <a:pt x="191008" y="151469"/>
                  </a:lnTo>
                  <a:lnTo>
                    <a:pt x="195091" y="149382"/>
                  </a:lnTo>
                  <a:lnTo>
                    <a:pt x="197844" y="148534"/>
                  </a:lnTo>
                  <a:lnTo>
                    <a:pt x="207676" y="145540"/>
                  </a:lnTo>
                  <a:lnTo>
                    <a:pt x="207737" y="145479"/>
                  </a:lnTo>
                  <a:lnTo>
                    <a:pt x="208886" y="144602"/>
                  </a:lnTo>
                  <a:lnTo>
                    <a:pt x="208735" y="143362"/>
                  </a:lnTo>
                  <a:lnTo>
                    <a:pt x="208342" y="141970"/>
                  </a:lnTo>
                  <a:lnTo>
                    <a:pt x="208826" y="140730"/>
                  </a:lnTo>
                  <a:lnTo>
                    <a:pt x="209915" y="140246"/>
                  </a:lnTo>
                  <a:lnTo>
                    <a:pt x="211064" y="140367"/>
                  </a:lnTo>
                  <a:lnTo>
                    <a:pt x="212214" y="140730"/>
                  </a:lnTo>
                  <a:lnTo>
                    <a:pt x="213363" y="140911"/>
                  </a:lnTo>
                  <a:lnTo>
                    <a:pt x="214362" y="140578"/>
                  </a:lnTo>
                  <a:lnTo>
                    <a:pt x="216238" y="139157"/>
                  </a:lnTo>
                  <a:lnTo>
                    <a:pt x="217205" y="138703"/>
                  </a:lnTo>
                  <a:lnTo>
                    <a:pt x="219837" y="139126"/>
                  </a:lnTo>
                  <a:lnTo>
                    <a:pt x="223619" y="139701"/>
                  </a:lnTo>
                  <a:lnTo>
                    <a:pt x="227491" y="139580"/>
                  </a:lnTo>
                  <a:lnTo>
                    <a:pt x="229487" y="139066"/>
                  </a:lnTo>
                  <a:lnTo>
                    <a:pt x="231545" y="138068"/>
                  </a:lnTo>
                  <a:lnTo>
                    <a:pt x="232543" y="136736"/>
                  </a:lnTo>
                  <a:lnTo>
                    <a:pt x="232483" y="134830"/>
                  </a:lnTo>
                  <a:lnTo>
                    <a:pt x="231303" y="132199"/>
                  </a:lnTo>
                  <a:lnTo>
                    <a:pt x="230879" y="130505"/>
                  </a:lnTo>
                  <a:lnTo>
                    <a:pt x="231272" y="128901"/>
                  </a:lnTo>
                  <a:lnTo>
                    <a:pt x="231968" y="127328"/>
                  </a:lnTo>
                  <a:lnTo>
                    <a:pt x="232512" y="125665"/>
                  </a:lnTo>
                  <a:lnTo>
                    <a:pt x="232664" y="123456"/>
                  </a:lnTo>
                  <a:lnTo>
                    <a:pt x="232483" y="119402"/>
                  </a:lnTo>
                  <a:lnTo>
                    <a:pt x="232361" y="116649"/>
                  </a:lnTo>
                  <a:lnTo>
                    <a:pt x="232361" y="116619"/>
                  </a:lnTo>
                  <a:lnTo>
                    <a:pt x="233148" y="113927"/>
                  </a:lnTo>
                  <a:lnTo>
                    <a:pt x="234298" y="112293"/>
                  </a:lnTo>
                  <a:lnTo>
                    <a:pt x="234751" y="110932"/>
                  </a:lnTo>
                  <a:lnTo>
                    <a:pt x="234237" y="110206"/>
                  </a:lnTo>
                  <a:lnTo>
                    <a:pt x="233329" y="108935"/>
                  </a:lnTo>
                  <a:lnTo>
                    <a:pt x="232120" y="108088"/>
                  </a:lnTo>
                  <a:lnTo>
                    <a:pt x="229306" y="107030"/>
                  </a:lnTo>
                  <a:lnTo>
                    <a:pt x="228066" y="106364"/>
                  </a:lnTo>
                  <a:lnTo>
                    <a:pt x="227279" y="105578"/>
                  </a:lnTo>
                  <a:lnTo>
                    <a:pt x="225283" y="103641"/>
                  </a:lnTo>
                  <a:lnTo>
                    <a:pt x="223891" y="100647"/>
                  </a:lnTo>
                  <a:lnTo>
                    <a:pt x="223891" y="97289"/>
                  </a:lnTo>
                  <a:lnTo>
                    <a:pt x="225313" y="93507"/>
                  </a:lnTo>
                  <a:lnTo>
                    <a:pt x="227189" y="90210"/>
                  </a:lnTo>
                  <a:lnTo>
                    <a:pt x="227552" y="89756"/>
                  </a:lnTo>
                  <a:lnTo>
                    <a:pt x="228882" y="88092"/>
                  </a:lnTo>
                  <a:lnTo>
                    <a:pt x="231060" y="87064"/>
                  </a:lnTo>
                  <a:lnTo>
                    <a:pt x="232755" y="87184"/>
                  </a:lnTo>
                  <a:lnTo>
                    <a:pt x="239955" y="87669"/>
                  </a:lnTo>
                  <a:lnTo>
                    <a:pt x="241891" y="86519"/>
                  </a:lnTo>
                  <a:lnTo>
                    <a:pt x="243948" y="83342"/>
                  </a:lnTo>
                  <a:lnTo>
                    <a:pt x="244976" y="82616"/>
                  </a:lnTo>
                  <a:lnTo>
                    <a:pt x="245339" y="82344"/>
                  </a:lnTo>
                  <a:lnTo>
                    <a:pt x="246852" y="81709"/>
                  </a:lnTo>
                  <a:lnTo>
                    <a:pt x="248455" y="81316"/>
                  </a:lnTo>
                  <a:lnTo>
                    <a:pt x="252993" y="81195"/>
                  </a:lnTo>
                  <a:lnTo>
                    <a:pt x="253174" y="81195"/>
                  </a:lnTo>
                  <a:lnTo>
                    <a:pt x="253447" y="81164"/>
                  </a:lnTo>
                  <a:lnTo>
                    <a:pt x="256986" y="79380"/>
                  </a:lnTo>
                  <a:lnTo>
                    <a:pt x="259981" y="77867"/>
                  </a:lnTo>
                  <a:lnTo>
                    <a:pt x="263339" y="77322"/>
                  </a:lnTo>
                  <a:lnTo>
                    <a:pt x="264519" y="77020"/>
                  </a:lnTo>
                  <a:lnTo>
                    <a:pt x="265003" y="76899"/>
                  </a:lnTo>
                  <a:lnTo>
                    <a:pt x="267060" y="75901"/>
                  </a:lnTo>
                  <a:lnTo>
                    <a:pt x="269056" y="74630"/>
                  </a:lnTo>
                  <a:lnTo>
                    <a:pt x="270176" y="73511"/>
                  </a:lnTo>
                  <a:lnTo>
                    <a:pt x="270418" y="73269"/>
                  </a:lnTo>
                  <a:lnTo>
                    <a:pt x="271144" y="71454"/>
                  </a:lnTo>
                  <a:lnTo>
                    <a:pt x="271144" y="69699"/>
                  </a:lnTo>
                  <a:lnTo>
                    <a:pt x="270902" y="67794"/>
                  </a:lnTo>
                  <a:lnTo>
                    <a:pt x="270962" y="65373"/>
                  </a:lnTo>
                  <a:lnTo>
                    <a:pt x="274048" y="65978"/>
                  </a:lnTo>
                  <a:lnTo>
                    <a:pt x="274623" y="66099"/>
                  </a:lnTo>
                  <a:lnTo>
                    <a:pt x="275802" y="65888"/>
                  </a:lnTo>
                  <a:lnTo>
                    <a:pt x="276770" y="65162"/>
                  </a:lnTo>
                  <a:lnTo>
                    <a:pt x="277527" y="64133"/>
                  </a:lnTo>
                  <a:lnTo>
                    <a:pt x="278374" y="63316"/>
                  </a:lnTo>
                  <a:lnTo>
                    <a:pt x="279614" y="63074"/>
                  </a:lnTo>
                  <a:lnTo>
                    <a:pt x="280582" y="63528"/>
                  </a:lnTo>
                  <a:lnTo>
                    <a:pt x="283002" y="65645"/>
                  </a:lnTo>
                  <a:lnTo>
                    <a:pt x="284454" y="66432"/>
                  </a:lnTo>
                  <a:lnTo>
                    <a:pt x="286149" y="66795"/>
                  </a:lnTo>
                  <a:lnTo>
                    <a:pt x="286995" y="66765"/>
                  </a:lnTo>
                  <a:lnTo>
                    <a:pt x="290595" y="65948"/>
                  </a:lnTo>
                  <a:lnTo>
                    <a:pt x="292895" y="65978"/>
                  </a:lnTo>
                  <a:lnTo>
                    <a:pt x="293348" y="65555"/>
                  </a:lnTo>
                  <a:lnTo>
                    <a:pt x="293318" y="65252"/>
                  </a:lnTo>
                  <a:lnTo>
                    <a:pt x="293197" y="64072"/>
                  </a:lnTo>
                  <a:lnTo>
                    <a:pt x="292713" y="63437"/>
                  </a:lnTo>
                  <a:lnTo>
                    <a:pt x="291019" y="62409"/>
                  </a:lnTo>
                  <a:lnTo>
                    <a:pt x="290383" y="61713"/>
                  </a:lnTo>
                  <a:lnTo>
                    <a:pt x="290111" y="60594"/>
                  </a:lnTo>
                  <a:lnTo>
                    <a:pt x="290323" y="58446"/>
                  </a:lnTo>
                  <a:lnTo>
                    <a:pt x="290232" y="57357"/>
                  </a:lnTo>
                  <a:lnTo>
                    <a:pt x="289053" y="53666"/>
                  </a:lnTo>
                  <a:lnTo>
                    <a:pt x="288659" y="51821"/>
                  </a:lnTo>
                  <a:lnTo>
                    <a:pt x="288720" y="51004"/>
                  </a:lnTo>
                  <a:lnTo>
                    <a:pt x="288780" y="49885"/>
                  </a:lnTo>
                  <a:lnTo>
                    <a:pt x="291382" y="47162"/>
                  </a:lnTo>
                  <a:lnTo>
                    <a:pt x="291715" y="46859"/>
                  </a:lnTo>
                  <a:lnTo>
                    <a:pt x="294861" y="45710"/>
                  </a:lnTo>
                  <a:lnTo>
                    <a:pt x="296404" y="44832"/>
                  </a:lnTo>
                  <a:lnTo>
                    <a:pt x="298340" y="44228"/>
                  </a:lnTo>
                  <a:lnTo>
                    <a:pt x="299368" y="43108"/>
                  </a:lnTo>
                  <a:lnTo>
                    <a:pt x="299762" y="42685"/>
                  </a:lnTo>
                  <a:lnTo>
                    <a:pt x="300488" y="43622"/>
                  </a:lnTo>
                  <a:lnTo>
                    <a:pt x="300518" y="43683"/>
                  </a:lnTo>
                  <a:lnTo>
                    <a:pt x="301153" y="42685"/>
                  </a:lnTo>
                  <a:lnTo>
                    <a:pt x="302333" y="43532"/>
                  </a:lnTo>
                  <a:lnTo>
                    <a:pt x="303603" y="43713"/>
                  </a:lnTo>
                  <a:lnTo>
                    <a:pt x="304874" y="43592"/>
                  </a:lnTo>
                  <a:lnTo>
                    <a:pt x="306024" y="43683"/>
                  </a:lnTo>
                  <a:lnTo>
                    <a:pt x="306931" y="44228"/>
                  </a:lnTo>
                  <a:lnTo>
                    <a:pt x="308625" y="45861"/>
                  </a:lnTo>
                  <a:lnTo>
                    <a:pt x="309472" y="46436"/>
                  </a:lnTo>
                  <a:lnTo>
                    <a:pt x="310319" y="46527"/>
                  </a:lnTo>
                  <a:lnTo>
                    <a:pt x="312497" y="46255"/>
                  </a:lnTo>
                  <a:lnTo>
                    <a:pt x="313586" y="46436"/>
                  </a:lnTo>
                  <a:lnTo>
                    <a:pt x="314555" y="46950"/>
                  </a:lnTo>
                  <a:lnTo>
                    <a:pt x="316975" y="48765"/>
                  </a:lnTo>
                  <a:lnTo>
                    <a:pt x="315553" y="42987"/>
                  </a:lnTo>
                  <a:close/>
                </a:path>
              </a:pathLst>
            </a:custGeom>
            <a:solidFill>
              <a:srgbClr val="96A3AC"/>
            </a:solidFill>
            <a:ln w="3175" cap="rnd">
              <a:solidFill>
                <a:schemeClr val="bg1"/>
              </a:solidFill>
              <a:prstDash val="solid"/>
              <a:round/>
            </a:ln>
          </p:spPr>
          <p:txBody>
            <a:bodyPr rtlCol="0" anchor="ctr"/>
            <a:lstStyle/>
            <a:p>
              <a:endParaRPr lang="en-ID"/>
            </a:p>
          </p:txBody>
        </p:sp>
        <p:sp>
          <p:nvSpPr>
            <p:cNvPr id="19" name="Freeform: Shape 18">
              <a:extLst>
                <a:ext uri="{FF2B5EF4-FFF2-40B4-BE49-F238E27FC236}">
                  <a16:creationId xmlns:a16="http://schemas.microsoft.com/office/drawing/2014/main" id="{8677E4EF-754D-7961-526A-9CFD73CCF7F9}"/>
                </a:ext>
              </a:extLst>
            </p:cNvPr>
            <p:cNvSpPr/>
            <p:nvPr/>
          </p:nvSpPr>
          <p:spPr>
            <a:xfrm>
              <a:off x="9474410" y="4096372"/>
              <a:ext cx="445451" cy="201327"/>
            </a:xfrm>
            <a:custGeom>
              <a:avLst/>
              <a:gdLst>
                <a:gd name="connsiteX0" fmla="*/ 569604 w 573083"/>
                <a:gd name="connsiteY0" fmla="*/ 73481 h 259012"/>
                <a:gd name="connsiteX1" fmla="*/ 561739 w 573083"/>
                <a:gd name="connsiteY1" fmla="*/ 73178 h 259012"/>
                <a:gd name="connsiteX2" fmla="*/ 558048 w 573083"/>
                <a:gd name="connsiteY2" fmla="*/ 72119 h 259012"/>
                <a:gd name="connsiteX3" fmla="*/ 552936 w 573083"/>
                <a:gd name="connsiteY3" fmla="*/ 67400 h 259012"/>
                <a:gd name="connsiteX4" fmla="*/ 550788 w 573083"/>
                <a:gd name="connsiteY4" fmla="*/ 66644 h 259012"/>
                <a:gd name="connsiteX5" fmla="*/ 545252 w 573083"/>
                <a:gd name="connsiteY5" fmla="*/ 66825 h 259012"/>
                <a:gd name="connsiteX6" fmla="*/ 540533 w 573083"/>
                <a:gd name="connsiteY6" fmla="*/ 65494 h 259012"/>
                <a:gd name="connsiteX7" fmla="*/ 539776 w 573083"/>
                <a:gd name="connsiteY7" fmla="*/ 64919 h 259012"/>
                <a:gd name="connsiteX8" fmla="*/ 539535 w 573083"/>
                <a:gd name="connsiteY8" fmla="*/ 64042 h 259012"/>
                <a:gd name="connsiteX9" fmla="*/ 539837 w 573083"/>
                <a:gd name="connsiteY9" fmla="*/ 63104 h 259012"/>
                <a:gd name="connsiteX10" fmla="*/ 539807 w 573083"/>
                <a:gd name="connsiteY10" fmla="*/ 62137 h 259012"/>
                <a:gd name="connsiteX11" fmla="*/ 538687 w 573083"/>
                <a:gd name="connsiteY11" fmla="*/ 60987 h 259012"/>
                <a:gd name="connsiteX12" fmla="*/ 537871 w 573083"/>
                <a:gd name="connsiteY12" fmla="*/ 60836 h 259012"/>
                <a:gd name="connsiteX13" fmla="*/ 535481 w 573083"/>
                <a:gd name="connsiteY13" fmla="*/ 61108 h 259012"/>
                <a:gd name="connsiteX14" fmla="*/ 534452 w 573083"/>
                <a:gd name="connsiteY14" fmla="*/ 61047 h 259012"/>
                <a:gd name="connsiteX15" fmla="*/ 533272 w 573083"/>
                <a:gd name="connsiteY15" fmla="*/ 60594 h 259012"/>
                <a:gd name="connsiteX16" fmla="*/ 530005 w 573083"/>
                <a:gd name="connsiteY16" fmla="*/ 58658 h 259012"/>
                <a:gd name="connsiteX17" fmla="*/ 522896 w 573083"/>
                <a:gd name="connsiteY17" fmla="*/ 57387 h 259012"/>
                <a:gd name="connsiteX18" fmla="*/ 520052 w 573083"/>
                <a:gd name="connsiteY18" fmla="*/ 55451 h 259012"/>
                <a:gd name="connsiteX19" fmla="*/ 519387 w 573083"/>
                <a:gd name="connsiteY19" fmla="*/ 50974 h 259012"/>
                <a:gd name="connsiteX20" fmla="*/ 518086 w 573083"/>
                <a:gd name="connsiteY20" fmla="*/ 45982 h 259012"/>
                <a:gd name="connsiteX21" fmla="*/ 515212 w 573083"/>
                <a:gd name="connsiteY21" fmla="*/ 41687 h 259012"/>
                <a:gd name="connsiteX22" fmla="*/ 511582 w 573083"/>
                <a:gd name="connsiteY22" fmla="*/ 38540 h 259012"/>
                <a:gd name="connsiteX23" fmla="*/ 506167 w 573083"/>
                <a:gd name="connsiteY23" fmla="*/ 36030 h 259012"/>
                <a:gd name="connsiteX24" fmla="*/ 502477 w 573083"/>
                <a:gd name="connsiteY24" fmla="*/ 32914 h 259012"/>
                <a:gd name="connsiteX25" fmla="*/ 500631 w 573083"/>
                <a:gd name="connsiteY25" fmla="*/ 31945 h 259012"/>
                <a:gd name="connsiteX26" fmla="*/ 498604 w 573083"/>
                <a:gd name="connsiteY26" fmla="*/ 32278 h 259012"/>
                <a:gd name="connsiteX27" fmla="*/ 496880 w 573083"/>
                <a:gd name="connsiteY27" fmla="*/ 33761 h 259012"/>
                <a:gd name="connsiteX28" fmla="*/ 495428 w 573083"/>
                <a:gd name="connsiteY28" fmla="*/ 35303 h 259012"/>
                <a:gd name="connsiteX29" fmla="*/ 494399 w 573083"/>
                <a:gd name="connsiteY29" fmla="*/ 35969 h 259012"/>
                <a:gd name="connsiteX30" fmla="*/ 492856 w 573083"/>
                <a:gd name="connsiteY30" fmla="*/ 34789 h 259012"/>
                <a:gd name="connsiteX31" fmla="*/ 489468 w 573083"/>
                <a:gd name="connsiteY31" fmla="*/ 30009 h 259012"/>
                <a:gd name="connsiteX32" fmla="*/ 487774 w 573083"/>
                <a:gd name="connsiteY32" fmla="*/ 28406 h 259012"/>
                <a:gd name="connsiteX33" fmla="*/ 486776 w 573083"/>
                <a:gd name="connsiteY33" fmla="*/ 28134 h 259012"/>
                <a:gd name="connsiteX34" fmla="*/ 485203 w 573083"/>
                <a:gd name="connsiteY34" fmla="*/ 28467 h 259012"/>
                <a:gd name="connsiteX35" fmla="*/ 484446 w 573083"/>
                <a:gd name="connsiteY35" fmla="*/ 28376 h 259012"/>
                <a:gd name="connsiteX36" fmla="*/ 483418 w 573083"/>
                <a:gd name="connsiteY36" fmla="*/ 27710 h 259012"/>
                <a:gd name="connsiteX37" fmla="*/ 481542 w 573083"/>
                <a:gd name="connsiteY37" fmla="*/ 26016 h 259012"/>
                <a:gd name="connsiteX38" fmla="*/ 480544 w 573083"/>
                <a:gd name="connsiteY38" fmla="*/ 25411 h 259012"/>
                <a:gd name="connsiteX39" fmla="*/ 478669 w 573083"/>
                <a:gd name="connsiteY39" fmla="*/ 24927 h 259012"/>
                <a:gd name="connsiteX40" fmla="*/ 471469 w 573083"/>
                <a:gd name="connsiteY40" fmla="*/ 25714 h 259012"/>
                <a:gd name="connsiteX41" fmla="*/ 469926 w 573083"/>
                <a:gd name="connsiteY41" fmla="*/ 26258 h 259012"/>
                <a:gd name="connsiteX42" fmla="*/ 468111 w 573083"/>
                <a:gd name="connsiteY42" fmla="*/ 26954 h 259012"/>
                <a:gd name="connsiteX43" fmla="*/ 466598 w 573083"/>
                <a:gd name="connsiteY43" fmla="*/ 26531 h 259012"/>
                <a:gd name="connsiteX44" fmla="*/ 462877 w 573083"/>
                <a:gd name="connsiteY44" fmla="*/ 27317 h 259012"/>
                <a:gd name="connsiteX45" fmla="*/ 461214 w 573083"/>
                <a:gd name="connsiteY45" fmla="*/ 27317 h 259012"/>
                <a:gd name="connsiteX46" fmla="*/ 451412 w 573083"/>
                <a:gd name="connsiteY46" fmla="*/ 24745 h 259012"/>
                <a:gd name="connsiteX47" fmla="*/ 445785 w 573083"/>
                <a:gd name="connsiteY47" fmla="*/ 21993 h 259012"/>
                <a:gd name="connsiteX48" fmla="*/ 444394 w 573083"/>
                <a:gd name="connsiteY48" fmla="*/ 21690 h 259012"/>
                <a:gd name="connsiteX49" fmla="*/ 442548 w 573083"/>
                <a:gd name="connsiteY49" fmla="*/ 22840 h 259012"/>
                <a:gd name="connsiteX50" fmla="*/ 439432 w 573083"/>
                <a:gd name="connsiteY50" fmla="*/ 27135 h 259012"/>
                <a:gd name="connsiteX51" fmla="*/ 437678 w 573083"/>
                <a:gd name="connsiteY51" fmla="*/ 28618 h 259012"/>
                <a:gd name="connsiteX52" fmla="*/ 435530 w 573083"/>
                <a:gd name="connsiteY52" fmla="*/ 28950 h 259012"/>
                <a:gd name="connsiteX53" fmla="*/ 433987 w 573083"/>
                <a:gd name="connsiteY53" fmla="*/ 27983 h 259012"/>
                <a:gd name="connsiteX54" fmla="*/ 432566 w 573083"/>
                <a:gd name="connsiteY54" fmla="*/ 26500 h 259012"/>
                <a:gd name="connsiteX55" fmla="*/ 430720 w 573083"/>
                <a:gd name="connsiteY55" fmla="*/ 25351 h 259012"/>
                <a:gd name="connsiteX56" fmla="*/ 429177 w 573083"/>
                <a:gd name="connsiteY56" fmla="*/ 25230 h 259012"/>
                <a:gd name="connsiteX57" fmla="*/ 425093 w 573083"/>
                <a:gd name="connsiteY57" fmla="*/ 25986 h 259012"/>
                <a:gd name="connsiteX58" fmla="*/ 423550 w 573083"/>
                <a:gd name="connsiteY58" fmla="*/ 26651 h 259012"/>
                <a:gd name="connsiteX59" fmla="*/ 421524 w 573083"/>
                <a:gd name="connsiteY59" fmla="*/ 28739 h 259012"/>
                <a:gd name="connsiteX60" fmla="*/ 422734 w 573083"/>
                <a:gd name="connsiteY60" fmla="*/ 30039 h 259012"/>
                <a:gd name="connsiteX61" fmla="*/ 425063 w 573083"/>
                <a:gd name="connsiteY61" fmla="*/ 31340 h 259012"/>
                <a:gd name="connsiteX62" fmla="*/ 426273 w 573083"/>
                <a:gd name="connsiteY62" fmla="*/ 33488 h 259012"/>
                <a:gd name="connsiteX63" fmla="*/ 425456 w 573083"/>
                <a:gd name="connsiteY63" fmla="*/ 34789 h 259012"/>
                <a:gd name="connsiteX64" fmla="*/ 423581 w 573083"/>
                <a:gd name="connsiteY64" fmla="*/ 35122 h 259012"/>
                <a:gd name="connsiteX65" fmla="*/ 421493 w 573083"/>
                <a:gd name="connsiteY65" fmla="*/ 35152 h 259012"/>
                <a:gd name="connsiteX66" fmla="*/ 419890 w 573083"/>
                <a:gd name="connsiteY66" fmla="*/ 35455 h 259012"/>
                <a:gd name="connsiteX67" fmla="*/ 417833 w 573083"/>
                <a:gd name="connsiteY67" fmla="*/ 37300 h 259012"/>
                <a:gd name="connsiteX68" fmla="*/ 414535 w 573083"/>
                <a:gd name="connsiteY68" fmla="*/ 41747 h 259012"/>
                <a:gd name="connsiteX69" fmla="*/ 412357 w 573083"/>
                <a:gd name="connsiteY69" fmla="*/ 43471 h 259012"/>
                <a:gd name="connsiteX70" fmla="*/ 409998 w 573083"/>
                <a:gd name="connsiteY70" fmla="*/ 44258 h 259012"/>
                <a:gd name="connsiteX71" fmla="*/ 408152 w 573083"/>
                <a:gd name="connsiteY71" fmla="*/ 43925 h 259012"/>
                <a:gd name="connsiteX72" fmla="*/ 406519 w 573083"/>
                <a:gd name="connsiteY72" fmla="*/ 42836 h 259012"/>
                <a:gd name="connsiteX73" fmla="*/ 404885 w 573083"/>
                <a:gd name="connsiteY73" fmla="*/ 41263 h 259012"/>
                <a:gd name="connsiteX74" fmla="*/ 402980 w 573083"/>
                <a:gd name="connsiteY74" fmla="*/ 39962 h 259012"/>
                <a:gd name="connsiteX75" fmla="*/ 401406 w 573083"/>
                <a:gd name="connsiteY75" fmla="*/ 39750 h 259012"/>
                <a:gd name="connsiteX76" fmla="*/ 399712 w 573083"/>
                <a:gd name="connsiteY76" fmla="*/ 39871 h 259012"/>
                <a:gd name="connsiteX77" fmla="*/ 397443 w 573083"/>
                <a:gd name="connsiteY77" fmla="*/ 39538 h 259012"/>
                <a:gd name="connsiteX78" fmla="*/ 395840 w 573083"/>
                <a:gd name="connsiteY78" fmla="*/ 38449 h 259012"/>
                <a:gd name="connsiteX79" fmla="*/ 386916 w 573083"/>
                <a:gd name="connsiteY79" fmla="*/ 28648 h 259012"/>
                <a:gd name="connsiteX80" fmla="*/ 385343 w 573083"/>
                <a:gd name="connsiteY80" fmla="*/ 28376 h 259012"/>
                <a:gd name="connsiteX81" fmla="*/ 381531 w 573083"/>
                <a:gd name="connsiteY81" fmla="*/ 28950 h 259012"/>
                <a:gd name="connsiteX82" fmla="*/ 379353 w 573083"/>
                <a:gd name="connsiteY82" fmla="*/ 28648 h 259012"/>
                <a:gd name="connsiteX83" fmla="*/ 378446 w 573083"/>
                <a:gd name="connsiteY83" fmla="*/ 28709 h 259012"/>
                <a:gd name="connsiteX84" fmla="*/ 377417 w 573083"/>
                <a:gd name="connsiteY84" fmla="*/ 29223 h 259012"/>
                <a:gd name="connsiteX85" fmla="*/ 375814 w 573083"/>
                <a:gd name="connsiteY85" fmla="*/ 31068 h 259012"/>
                <a:gd name="connsiteX86" fmla="*/ 374664 w 573083"/>
                <a:gd name="connsiteY86" fmla="*/ 32066 h 259012"/>
                <a:gd name="connsiteX87" fmla="*/ 372274 w 573083"/>
                <a:gd name="connsiteY87" fmla="*/ 32853 h 259012"/>
                <a:gd name="connsiteX88" fmla="*/ 370066 w 573083"/>
                <a:gd name="connsiteY88" fmla="*/ 32339 h 259012"/>
                <a:gd name="connsiteX89" fmla="*/ 361565 w 573083"/>
                <a:gd name="connsiteY89" fmla="*/ 28346 h 259012"/>
                <a:gd name="connsiteX90" fmla="*/ 359992 w 573083"/>
                <a:gd name="connsiteY90" fmla="*/ 28678 h 259012"/>
                <a:gd name="connsiteX91" fmla="*/ 359992 w 573083"/>
                <a:gd name="connsiteY91" fmla="*/ 31129 h 259012"/>
                <a:gd name="connsiteX92" fmla="*/ 354819 w 573083"/>
                <a:gd name="connsiteY92" fmla="*/ 31310 h 259012"/>
                <a:gd name="connsiteX93" fmla="*/ 350705 w 573083"/>
                <a:gd name="connsiteY93" fmla="*/ 29888 h 259012"/>
                <a:gd name="connsiteX94" fmla="*/ 349495 w 573083"/>
                <a:gd name="connsiteY94" fmla="*/ 29888 h 259012"/>
                <a:gd name="connsiteX95" fmla="*/ 348466 w 573083"/>
                <a:gd name="connsiteY95" fmla="*/ 30614 h 259012"/>
                <a:gd name="connsiteX96" fmla="*/ 348103 w 573083"/>
                <a:gd name="connsiteY96" fmla="*/ 31492 h 259012"/>
                <a:gd name="connsiteX97" fmla="*/ 347891 w 573083"/>
                <a:gd name="connsiteY97" fmla="*/ 32792 h 259012"/>
                <a:gd name="connsiteX98" fmla="*/ 347347 w 573083"/>
                <a:gd name="connsiteY98" fmla="*/ 34819 h 259012"/>
                <a:gd name="connsiteX99" fmla="*/ 346651 w 573083"/>
                <a:gd name="connsiteY99" fmla="*/ 36786 h 259012"/>
                <a:gd name="connsiteX100" fmla="*/ 346137 w 573083"/>
                <a:gd name="connsiteY100" fmla="*/ 37421 h 259012"/>
                <a:gd name="connsiteX101" fmla="*/ 338393 w 573083"/>
                <a:gd name="connsiteY101" fmla="*/ 38056 h 259012"/>
                <a:gd name="connsiteX102" fmla="*/ 336850 w 573083"/>
                <a:gd name="connsiteY102" fmla="*/ 38812 h 259012"/>
                <a:gd name="connsiteX103" fmla="*/ 334641 w 573083"/>
                <a:gd name="connsiteY103" fmla="*/ 41233 h 259012"/>
                <a:gd name="connsiteX104" fmla="*/ 333673 w 573083"/>
                <a:gd name="connsiteY104" fmla="*/ 42080 h 259012"/>
                <a:gd name="connsiteX105" fmla="*/ 331435 w 573083"/>
                <a:gd name="connsiteY105" fmla="*/ 41838 h 259012"/>
                <a:gd name="connsiteX106" fmla="*/ 331193 w 573083"/>
                <a:gd name="connsiteY106" fmla="*/ 41626 h 259012"/>
                <a:gd name="connsiteX107" fmla="*/ 330618 w 573083"/>
                <a:gd name="connsiteY107" fmla="*/ 42322 h 259012"/>
                <a:gd name="connsiteX108" fmla="*/ 328712 w 573083"/>
                <a:gd name="connsiteY108" fmla="*/ 46315 h 259012"/>
                <a:gd name="connsiteX109" fmla="*/ 328138 w 573083"/>
                <a:gd name="connsiteY109" fmla="*/ 47979 h 259012"/>
                <a:gd name="connsiteX110" fmla="*/ 327442 w 573083"/>
                <a:gd name="connsiteY110" fmla="*/ 49552 h 259012"/>
                <a:gd name="connsiteX111" fmla="*/ 326171 w 573083"/>
                <a:gd name="connsiteY111" fmla="*/ 50943 h 259012"/>
                <a:gd name="connsiteX112" fmla="*/ 325626 w 573083"/>
                <a:gd name="connsiteY112" fmla="*/ 55874 h 259012"/>
                <a:gd name="connsiteX113" fmla="*/ 324598 w 573083"/>
                <a:gd name="connsiteY113" fmla="*/ 59414 h 259012"/>
                <a:gd name="connsiteX114" fmla="*/ 322601 w 573083"/>
                <a:gd name="connsiteY114" fmla="*/ 60805 h 259012"/>
                <a:gd name="connsiteX115" fmla="*/ 319274 w 573083"/>
                <a:gd name="connsiteY115" fmla="*/ 59293 h 259012"/>
                <a:gd name="connsiteX116" fmla="*/ 314101 w 573083"/>
                <a:gd name="connsiteY116" fmla="*/ 54816 h 259012"/>
                <a:gd name="connsiteX117" fmla="*/ 311287 w 573083"/>
                <a:gd name="connsiteY117" fmla="*/ 53484 h 259012"/>
                <a:gd name="connsiteX118" fmla="*/ 308051 w 573083"/>
                <a:gd name="connsiteY118" fmla="*/ 53817 h 259012"/>
                <a:gd name="connsiteX119" fmla="*/ 306236 w 573083"/>
                <a:gd name="connsiteY119" fmla="*/ 55057 h 259012"/>
                <a:gd name="connsiteX120" fmla="*/ 304269 w 573083"/>
                <a:gd name="connsiteY120" fmla="*/ 56933 h 259012"/>
                <a:gd name="connsiteX121" fmla="*/ 302847 w 573083"/>
                <a:gd name="connsiteY121" fmla="*/ 58264 h 259012"/>
                <a:gd name="connsiteX122" fmla="*/ 300639 w 573083"/>
                <a:gd name="connsiteY122" fmla="*/ 59021 h 259012"/>
                <a:gd name="connsiteX123" fmla="*/ 295980 w 573083"/>
                <a:gd name="connsiteY123" fmla="*/ 58718 h 259012"/>
                <a:gd name="connsiteX124" fmla="*/ 293439 w 573083"/>
                <a:gd name="connsiteY124" fmla="*/ 57841 h 259012"/>
                <a:gd name="connsiteX125" fmla="*/ 292138 w 573083"/>
                <a:gd name="connsiteY125" fmla="*/ 56207 h 259012"/>
                <a:gd name="connsiteX126" fmla="*/ 292138 w 573083"/>
                <a:gd name="connsiteY126" fmla="*/ 56177 h 259012"/>
                <a:gd name="connsiteX127" fmla="*/ 292562 w 573083"/>
                <a:gd name="connsiteY127" fmla="*/ 54331 h 259012"/>
                <a:gd name="connsiteX128" fmla="*/ 296343 w 573083"/>
                <a:gd name="connsiteY128" fmla="*/ 48614 h 259012"/>
                <a:gd name="connsiteX129" fmla="*/ 296797 w 573083"/>
                <a:gd name="connsiteY129" fmla="*/ 48281 h 259012"/>
                <a:gd name="connsiteX130" fmla="*/ 297463 w 573083"/>
                <a:gd name="connsiteY130" fmla="*/ 48130 h 259012"/>
                <a:gd name="connsiteX131" fmla="*/ 298037 w 573083"/>
                <a:gd name="connsiteY131" fmla="*/ 47797 h 259012"/>
                <a:gd name="connsiteX132" fmla="*/ 298279 w 573083"/>
                <a:gd name="connsiteY132" fmla="*/ 47011 h 259012"/>
                <a:gd name="connsiteX133" fmla="*/ 298098 w 573083"/>
                <a:gd name="connsiteY133" fmla="*/ 46375 h 259012"/>
                <a:gd name="connsiteX134" fmla="*/ 298037 w 573083"/>
                <a:gd name="connsiteY134" fmla="*/ 46345 h 259012"/>
                <a:gd name="connsiteX135" fmla="*/ 297281 w 573083"/>
                <a:gd name="connsiteY135" fmla="*/ 45619 h 259012"/>
                <a:gd name="connsiteX136" fmla="*/ 297251 w 573083"/>
                <a:gd name="connsiteY136" fmla="*/ 45558 h 259012"/>
                <a:gd name="connsiteX137" fmla="*/ 297100 w 573083"/>
                <a:gd name="connsiteY137" fmla="*/ 45226 h 259012"/>
                <a:gd name="connsiteX138" fmla="*/ 297069 w 573083"/>
                <a:gd name="connsiteY138" fmla="*/ 45226 h 259012"/>
                <a:gd name="connsiteX139" fmla="*/ 295708 w 573083"/>
                <a:gd name="connsiteY139" fmla="*/ 44288 h 259012"/>
                <a:gd name="connsiteX140" fmla="*/ 295375 w 573083"/>
                <a:gd name="connsiteY140" fmla="*/ 43834 h 259012"/>
                <a:gd name="connsiteX141" fmla="*/ 295375 w 573083"/>
                <a:gd name="connsiteY141" fmla="*/ 43804 h 259012"/>
                <a:gd name="connsiteX142" fmla="*/ 295436 w 573083"/>
                <a:gd name="connsiteY142" fmla="*/ 43229 h 259012"/>
                <a:gd name="connsiteX143" fmla="*/ 296192 w 573083"/>
                <a:gd name="connsiteY143" fmla="*/ 42170 h 259012"/>
                <a:gd name="connsiteX144" fmla="*/ 296343 w 573083"/>
                <a:gd name="connsiteY144" fmla="*/ 41596 h 259012"/>
                <a:gd name="connsiteX145" fmla="*/ 295738 w 573083"/>
                <a:gd name="connsiteY145" fmla="*/ 34729 h 259012"/>
                <a:gd name="connsiteX146" fmla="*/ 295224 w 573083"/>
                <a:gd name="connsiteY146" fmla="*/ 32369 h 259012"/>
                <a:gd name="connsiteX147" fmla="*/ 294316 w 573083"/>
                <a:gd name="connsiteY147" fmla="*/ 29676 h 259012"/>
                <a:gd name="connsiteX148" fmla="*/ 294286 w 573083"/>
                <a:gd name="connsiteY148" fmla="*/ 29676 h 259012"/>
                <a:gd name="connsiteX149" fmla="*/ 293379 w 573083"/>
                <a:gd name="connsiteY149" fmla="*/ 29041 h 259012"/>
                <a:gd name="connsiteX150" fmla="*/ 290020 w 573083"/>
                <a:gd name="connsiteY150" fmla="*/ 30282 h 259012"/>
                <a:gd name="connsiteX151" fmla="*/ 287994 w 573083"/>
                <a:gd name="connsiteY151" fmla="*/ 30463 h 259012"/>
                <a:gd name="connsiteX152" fmla="*/ 285786 w 573083"/>
                <a:gd name="connsiteY152" fmla="*/ 30251 h 259012"/>
                <a:gd name="connsiteX153" fmla="*/ 280007 w 573083"/>
                <a:gd name="connsiteY153" fmla="*/ 28436 h 259012"/>
                <a:gd name="connsiteX154" fmla="*/ 280007 w 573083"/>
                <a:gd name="connsiteY154" fmla="*/ 28406 h 259012"/>
                <a:gd name="connsiteX155" fmla="*/ 280219 w 573083"/>
                <a:gd name="connsiteY155" fmla="*/ 26712 h 259012"/>
                <a:gd name="connsiteX156" fmla="*/ 280159 w 573083"/>
                <a:gd name="connsiteY156" fmla="*/ 24504 h 259012"/>
                <a:gd name="connsiteX157" fmla="*/ 280310 w 573083"/>
                <a:gd name="connsiteY157" fmla="*/ 23747 h 259012"/>
                <a:gd name="connsiteX158" fmla="*/ 280764 w 573083"/>
                <a:gd name="connsiteY158" fmla="*/ 22840 h 259012"/>
                <a:gd name="connsiteX159" fmla="*/ 276740 w 573083"/>
                <a:gd name="connsiteY159" fmla="*/ 22810 h 259012"/>
                <a:gd name="connsiteX160" fmla="*/ 274653 w 573083"/>
                <a:gd name="connsiteY160" fmla="*/ 22265 h 259012"/>
                <a:gd name="connsiteX161" fmla="*/ 272929 w 573083"/>
                <a:gd name="connsiteY161" fmla="*/ 21055 h 259012"/>
                <a:gd name="connsiteX162" fmla="*/ 272414 w 573083"/>
                <a:gd name="connsiteY162" fmla="*/ 20057 h 259012"/>
                <a:gd name="connsiteX163" fmla="*/ 270781 w 573083"/>
                <a:gd name="connsiteY163" fmla="*/ 15519 h 259012"/>
                <a:gd name="connsiteX164" fmla="*/ 268966 w 573083"/>
                <a:gd name="connsiteY164" fmla="*/ 8349 h 259012"/>
                <a:gd name="connsiteX165" fmla="*/ 267755 w 573083"/>
                <a:gd name="connsiteY165" fmla="*/ 5475 h 259012"/>
                <a:gd name="connsiteX166" fmla="*/ 265366 w 573083"/>
                <a:gd name="connsiteY166" fmla="*/ 4054 h 259012"/>
                <a:gd name="connsiteX167" fmla="*/ 264610 w 573083"/>
                <a:gd name="connsiteY167" fmla="*/ 3297 h 259012"/>
                <a:gd name="connsiteX168" fmla="*/ 262915 w 573083"/>
                <a:gd name="connsiteY168" fmla="*/ 544 h 259012"/>
                <a:gd name="connsiteX169" fmla="*/ 262068 w 573083"/>
                <a:gd name="connsiteY169" fmla="*/ 212 h 259012"/>
                <a:gd name="connsiteX170" fmla="*/ 261524 w 573083"/>
                <a:gd name="connsiteY170" fmla="*/ 0 h 259012"/>
                <a:gd name="connsiteX171" fmla="*/ 260949 w 573083"/>
                <a:gd name="connsiteY171" fmla="*/ 242 h 259012"/>
                <a:gd name="connsiteX172" fmla="*/ 260556 w 573083"/>
                <a:gd name="connsiteY172" fmla="*/ 938 h 259012"/>
                <a:gd name="connsiteX173" fmla="*/ 251843 w 573083"/>
                <a:gd name="connsiteY173" fmla="*/ 9801 h 259012"/>
                <a:gd name="connsiteX174" fmla="*/ 251057 w 573083"/>
                <a:gd name="connsiteY174" fmla="*/ 10406 h 259012"/>
                <a:gd name="connsiteX175" fmla="*/ 249635 w 573083"/>
                <a:gd name="connsiteY175" fmla="*/ 10951 h 259012"/>
                <a:gd name="connsiteX176" fmla="*/ 248606 w 573083"/>
                <a:gd name="connsiteY176" fmla="*/ 11102 h 259012"/>
                <a:gd name="connsiteX177" fmla="*/ 245521 w 573083"/>
                <a:gd name="connsiteY177" fmla="*/ 11072 h 259012"/>
                <a:gd name="connsiteX178" fmla="*/ 243554 w 573083"/>
                <a:gd name="connsiteY178" fmla="*/ 11435 h 259012"/>
                <a:gd name="connsiteX179" fmla="*/ 241921 w 573083"/>
                <a:gd name="connsiteY179" fmla="*/ 12191 h 259012"/>
                <a:gd name="connsiteX180" fmla="*/ 240469 w 573083"/>
                <a:gd name="connsiteY180" fmla="*/ 13492 h 259012"/>
                <a:gd name="connsiteX181" fmla="*/ 239077 w 573083"/>
                <a:gd name="connsiteY181" fmla="*/ 15489 h 259012"/>
                <a:gd name="connsiteX182" fmla="*/ 237474 w 573083"/>
                <a:gd name="connsiteY182" fmla="*/ 20117 h 259012"/>
                <a:gd name="connsiteX183" fmla="*/ 237655 w 573083"/>
                <a:gd name="connsiteY183" fmla="*/ 20268 h 259012"/>
                <a:gd name="connsiteX184" fmla="*/ 237988 w 573083"/>
                <a:gd name="connsiteY184" fmla="*/ 20692 h 259012"/>
                <a:gd name="connsiteX185" fmla="*/ 238170 w 573083"/>
                <a:gd name="connsiteY185" fmla="*/ 21388 h 259012"/>
                <a:gd name="connsiteX186" fmla="*/ 237928 w 573083"/>
                <a:gd name="connsiteY186" fmla="*/ 22326 h 259012"/>
                <a:gd name="connsiteX187" fmla="*/ 237474 w 573083"/>
                <a:gd name="connsiteY187" fmla="*/ 22628 h 259012"/>
                <a:gd name="connsiteX188" fmla="*/ 236234 w 573083"/>
                <a:gd name="connsiteY188" fmla="*/ 22658 h 259012"/>
                <a:gd name="connsiteX189" fmla="*/ 235931 w 573083"/>
                <a:gd name="connsiteY189" fmla="*/ 22719 h 259012"/>
                <a:gd name="connsiteX190" fmla="*/ 235235 w 573083"/>
                <a:gd name="connsiteY190" fmla="*/ 25471 h 259012"/>
                <a:gd name="connsiteX191" fmla="*/ 234993 w 573083"/>
                <a:gd name="connsiteY191" fmla="*/ 27257 h 259012"/>
                <a:gd name="connsiteX192" fmla="*/ 234267 w 573083"/>
                <a:gd name="connsiteY192" fmla="*/ 28376 h 259012"/>
                <a:gd name="connsiteX193" fmla="*/ 231151 w 573083"/>
                <a:gd name="connsiteY193" fmla="*/ 29525 h 259012"/>
                <a:gd name="connsiteX194" fmla="*/ 228641 w 573083"/>
                <a:gd name="connsiteY194" fmla="*/ 29979 h 259012"/>
                <a:gd name="connsiteX195" fmla="*/ 227612 w 573083"/>
                <a:gd name="connsiteY195" fmla="*/ 29919 h 259012"/>
                <a:gd name="connsiteX196" fmla="*/ 226614 w 573083"/>
                <a:gd name="connsiteY196" fmla="*/ 29465 h 259012"/>
                <a:gd name="connsiteX197" fmla="*/ 224617 w 573083"/>
                <a:gd name="connsiteY197" fmla="*/ 28134 h 259012"/>
                <a:gd name="connsiteX198" fmla="*/ 223710 w 573083"/>
                <a:gd name="connsiteY198" fmla="*/ 27831 h 259012"/>
                <a:gd name="connsiteX199" fmla="*/ 221501 w 573083"/>
                <a:gd name="connsiteY199" fmla="*/ 28315 h 259012"/>
                <a:gd name="connsiteX200" fmla="*/ 217599 w 573083"/>
                <a:gd name="connsiteY200" fmla="*/ 30402 h 259012"/>
                <a:gd name="connsiteX201" fmla="*/ 215088 w 573083"/>
                <a:gd name="connsiteY201" fmla="*/ 30584 h 259012"/>
                <a:gd name="connsiteX202" fmla="*/ 213091 w 573083"/>
                <a:gd name="connsiteY202" fmla="*/ 30251 h 259012"/>
                <a:gd name="connsiteX203" fmla="*/ 212547 w 573083"/>
                <a:gd name="connsiteY203" fmla="*/ 28648 h 259012"/>
                <a:gd name="connsiteX204" fmla="*/ 212970 w 573083"/>
                <a:gd name="connsiteY204" fmla="*/ 23959 h 259012"/>
                <a:gd name="connsiteX205" fmla="*/ 212698 w 573083"/>
                <a:gd name="connsiteY205" fmla="*/ 21872 h 259012"/>
                <a:gd name="connsiteX206" fmla="*/ 212214 w 573083"/>
                <a:gd name="connsiteY206" fmla="*/ 19936 h 259012"/>
                <a:gd name="connsiteX207" fmla="*/ 212123 w 573083"/>
                <a:gd name="connsiteY207" fmla="*/ 17909 h 259012"/>
                <a:gd name="connsiteX208" fmla="*/ 213000 w 573083"/>
                <a:gd name="connsiteY208" fmla="*/ 15519 h 259012"/>
                <a:gd name="connsiteX209" fmla="*/ 210096 w 573083"/>
                <a:gd name="connsiteY209" fmla="*/ 13885 h 259012"/>
                <a:gd name="connsiteX210" fmla="*/ 200113 w 573083"/>
                <a:gd name="connsiteY210" fmla="*/ 13038 h 259012"/>
                <a:gd name="connsiteX211" fmla="*/ 195999 w 573083"/>
                <a:gd name="connsiteY211" fmla="*/ 13129 h 259012"/>
                <a:gd name="connsiteX212" fmla="*/ 194124 w 573083"/>
                <a:gd name="connsiteY212" fmla="*/ 13794 h 259012"/>
                <a:gd name="connsiteX213" fmla="*/ 189979 w 573083"/>
                <a:gd name="connsiteY213" fmla="*/ 17304 h 259012"/>
                <a:gd name="connsiteX214" fmla="*/ 187166 w 573083"/>
                <a:gd name="connsiteY214" fmla="*/ 17455 h 259012"/>
                <a:gd name="connsiteX215" fmla="*/ 184262 w 573083"/>
                <a:gd name="connsiteY215" fmla="*/ 16638 h 259012"/>
                <a:gd name="connsiteX216" fmla="*/ 180964 w 573083"/>
                <a:gd name="connsiteY216" fmla="*/ 15095 h 259012"/>
                <a:gd name="connsiteX217" fmla="*/ 180269 w 573083"/>
                <a:gd name="connsiteY217" fmla="*/ 14974 h 259012"/>
                <a:gd name="connsiteX218" fmla="*/ 179573 w 573083"/>
                <a:gd name="connsiteY218" fmla="*/ 15095 h 259012"/>
                <a:gd name="connsiteX219" fmla="*/ 176699 w 573083"/>
                <a:gd name="connsiteY219" fmla="*/ 16487 h 259012"/>
                <a:gd name="connsiteX220" fmla="*/ 172252 w 573083"/>
                <a:gd name="connsiteY220" fmla="*/ 15882 h 259012"/>
                <a:gd name="connsiteX221" fmla="*/ 170164 w 573083"/>
                <a:gd name="connsiteY221" fmla="*/ 17122 h 259012"/>
                <a:gd name="connsiteX222" fmla="*/ 169650 w 573083"/>
                <a:gd name="connsiteY222" fmla="*/ 18272 h 259012"/>
                <a:gd name="connsiteX223" fmla="*/ 169408 w 573083"/>
                <a:gd name="connsiteY223" fmla="*/ 20934 h 259012"/>
                <a:gd name="connsiteX224" fmla="*/ 168894 w 573083"/>
                <a:gd name="connsiteY224" fmla="*/ 22174 h 259012"/>
                <a:gd name="connsiteX225" fmla="*/ 168077 w 573083"/>
                <a:gd name="connsiteY225" fmla="*/ 22930 h 259012"/>
                <a:gd name="connsiteX226" fmla="*/ 164750 w 573083"/>
                <a:gd name="connsiteY226" fmla="*/ 24564 h 259012"/>
                <a:gd name="connsiteX227" fmla="*/ 160454 w 573083"/>
                <a:gd name="connsiteY227" fmla="*/ 29404 h 259012"/>
                <a:gd name="connsiteX228" fmla="*/ 158215 w 573083"/>
                <a:gd name="connsiteY228" fmla="*/ 30765 h 259012"/>
                <a:gd name="connsiteX229" fmla="*/ 155281 w 573083"/>
                <a:gd name="connsiteY229" fmla="*/ 30161 h 259012"/>
                <a:gd name="connsiteX230" fmla="*/ 155039 w 573083"/>
                <a:gd name="connsiteY230" fmla="*/ 36907 h 259012"/>
                <a:gd name="connsiteX231" fmla="*/ 152649 w 573083"/>
                <a:gd name="connsiteY231" fmla="*/ 38601 h 259012"/>
                <a:gd name="connsiteX232" fmla="*/ 148928 w 573083"/>
                <a:gd name="connsiteY232" fmla="*/ 41293 h 259012"/>
                <a:gd name="connsiteX233" fmla="*/ 135375 w 573083"/>
                <a:gd name="connsiteY233" fmla="*/ 46133 h 259012"/>
                <a:gd name="connsiteX234" fmla="*/ 132441 w 573083"/>
                <a:gd name="connsiteY234" fmla="*/ 48735 h 259012"/>
                <a:gd name="connsiteX235" fmla="*/ 129991 w 573083"/>
                <a:gd name="connsiteY235" fmla="*/ 52335 h 259012"/>
                <a:gd name="connsiteX236" fmla="*/ 128145 w 573083"/>
                <a:gd name="connsiteY236" fmla="*/ 56661 h 259012"/>
                <a:gd name="connsiteX237" fmla="*/ 126844 w 573083"/>
                <a:gd name="connsiteY237" fmla="*/ 61289 h 259012"/>
                <a:gd name="connsiteX238" fmla="*/ 126481 w 573083"/>
                <a:gd name="connsiteY238" fmla="*/ 65101 h 259012"/>
                <a:gd name="connsiteX239" fmla="*/ 126512 w 573083"/>
                <a:gd name="connsiteY239" fmla="*/ 65948 h 259012"/>
                <a:gd name="connsiteX240" fmla="*/ 126633 w 573083"/>
                <a:gd name="connsiteY240" fmla="*/ 72240 h 259012"/>
                <a:gd name="connsiteX241" fmla="*/ 125967 w 573083"/>
                <a:gd name="connsiteY241" fmla="*/ 75326 h 259012"/>
                <a:gd name="connsiteX242" fmla="*/ 123880 w 573083"/>
                <a:gd name="connsiteY242" fmla="*/ 78593 h 259012"/>
                <a:gd name="connsiteX243" fmla="*/ 120915 w 573083"/>
                <a:gd name="connsiteY243" fmla="*/ 81134 h 259012"/>
                <a:gd name="connsiteX244" fmla="*/ 117557 w 573083"/>
                <a:gd name="connsiteY244" fmla="*/ 82556 h 259012"/>
                <a:gd name="connsiteX245" fmla="*/ 112173 w 573083"/>
                <a:gd name="connsiteY245" fmla="*/ 82163 h 259012"/>
                <a:gd name="connsiteX246" fmla="*/ 109722 w 573083"/>
                <a:gd name="connsiteY246" fmla="*/ 82496 h 259012"/>
                <a:gd name="connsiteX247" fmla="*/ 107635 w 573083"/>
                <a:gd name="connsiteY247" fmla="*/ 83766 h 259012"/>
                <a:gd name="connsiteX248" fmla="*/ 106304 w 573083"/>
                <a:gd name="connsiteY248" fmla="*/ 86217 h 259012"/>
                <a:gd name="connsiteX249" fmla="*/ 105668 w 573083"/>
                <a:gd name="connsiteY249" fmla="*/ 88304 h 259012"/>
                <a:gd name="connsiteX250" fmla="*/ 104882 w 573083"/>
                <a:gd name="connsiteY250" fmla="*/ 92660 h 259012"/>
                <a:gd name="connsiteX251" fmla="*/ 104065 w 573083"/>
                <a:gd name="connsiteY251" fmla="*/ 94596 h 259012"/>
                <a:gd name="connsiteX252" fmla="*/ 102220 w 573083"/>
                <a:gd name="connsiteY252" fmla="*/ 96260 h 259012"/>
                <a:gd name="connsiteX253" fmla="*/ 100284 w 573083"/>
                <a:gd name="connsiteY253" fmla="*/ 96351 h 259012"/>
                <a:gd name="connsiteX254" fmla="*/ 98166 w 573083"/>
                <a:gd name="connsiteY254" fmla="*/ 96018 h 259012"/>
                <a:gd name="connsiteX255" fmla="*/ 95685 w 573083"/>
                <a:gd name="connsiteY255" fmla="*/ 96411 h 259012"/>
                <a:gd name="connsiteX256" fmla="*/ 94052 w 573083"/>
                <a:gd name="connsiteY256" fmla="*/ 97652 h 259012"/>
                <a:gd name="connsiteX257" fmla="*/ 90603 w 573083"/>
                <a:gd name="connsiteY257" fmla="*/ 103157 h 259012"/>
                <a:gd name="connsiteX258" fmla="*/ 88819 w 573083"/>
                <a:gd name="connsiteY258" fmla="*/ 104518 h 259012"/>
                <a:gd name="connsiteX259" fmla="*/ 69488 w 573083"/>
                <a:gd name="connsiteY259" fmla="*/ 111507 h 259012"/>
                <a:gd name="connsiteX260" fmla="*/ 65797 w 573083"/>
                <a:gd name="connsiteY260" fmla="*/ 110992 h 259012"/>
                <a:gd name="connsiteX261" fmla="*/ 62712 w 573083"/>
                <a:gd name="connsiteY261" fmla="*/ 107997 h 259012"/>
                <a:gd name="connsiteX262" fmla="*/ 61259 w 573083"/>
                <a:gd name="connsiteY262" fmla="*/ 107332 h 259012"/>
                <a:gd name="connsiteX263" fmla="*/ 58870 w 573083"/>
                <a:gd name="connsiteY263" fmla="*/ 107997 h 259012"/>
                <a:gd name="connsiteX264" fmla="*/ 57024 w 573083"/>
                <a:gd name="connsiteY264" fmla="*/ 109086 h 259012"/>
                <a:gd name="connsiteX265" fmla="*/ 55058 w 573083"/>
                <a:gd name="connsiteY265" fmla="*/ 110297 h 259012"/>
                <a:gd name="connsiteX266" fmla="*/ 53303 w 573083"/>
                <a:gd name="connsiteY266" fmla="*/ 110569 h 259012"/>
                <a:gd name="connsiteX267" fmla="*/ 41838 w 573083"/>
                <a:gd name="connsiteY267" fmla="*/ 105245 h 259012"/>
                <a:gd name="connsiteX268" fmla="*/ 36998 w 573083"/>
                <a:gd name="connsiteY268" fmla="*/ 104065 h 259012"/>
                <a:gd name="connsiteX269" fmla="*/ 32490 w 573083"/>
                <a:gd name="connsiteY269" fmla="*/ 104942 h 259012"/>
                <a:gd name="connsiteX270" fmla="*/ 27075 w 573083"/>
                <a:gd name="connsiteY270" fmla="*/ 108572 h 259012"/>
                <a:gd name="connsiteX271" fmla="*/ 26168 w 573083"/>
                <a:gd name="connsiteY271" fmla="*/ 109873 h 259012"/>
                <a:gd name="connsiteX272" fmla="*/ 25563 w 573083"/>
                <a:gd name="connsiteY272" fmla="*/ 112535 h 259012"/>
                <a:gd name="connsiteX273" fmla="*/ 24141 w 573083"/>
                <a:gd name="connsiteY273" fmla="*/ 114199 h 259012"/>
                <a:gd name="connsiteX274" fmla="*/ 20662 w 573083"/>
                <a:gd name="connsiteY274" fmla="*/ 116982 h 259012"/>
                <a:gd name="connsiteX275" fmla="*/ 18211 w 573083"/>
                <a:gd name="connsiteY275" fmla="*/ 120854 h 259012"/>
                <a:gd name="connsiteX276" fmla="*/ 13099 w 573083"/>
                <a:gd name="connsiteY276" fmla="*/ 134347 h 259012"/>
                <a:gd name="connsiteX277" fmla="*/ 11950 w 573083"/>
                <a:gd name="connsiteY277" fmla="*/ 136282 h 259012"/>
                <a:gd name="connsiteX278" fmla="*/ 10346 w 573083"/>
                <a:gd name="connsiteY278" fmla="*/ 138068 h 259012"/>
                <a:gd name="connsiteX279" fmla="*/ 10104 w 573083"/>
                <a:gd name="connsiteY279" fmla="*/ 140730 h 259012"/>
                <a:gd name="connsiteX280" fmla="*/ 11042 w 573083"/>
                <a:gd name="connsiteY280" fmla="*/ 147264 h 259012"/>
                <a:gd name="connsiteX281" fmla="*/ 10498 w 573083"/>
                <a:gd name="connsiteY281" fmla="*/ 148988 h 259012"/>
                <a:gd name="connsiteX282" fmla="*/ 10286 w 573083"/>
                <a:gd name="connsiteY282" fmla="*/ 149714 h 259012"/>
                <a:gd name="connsiteX283" fmla="*/ 8622 w 573083"/>
                <a:gd name="connsiteY283" fmla="*/ 151318 h 259012"/>
                <a:gd name="connsiteX284" fmla="*/ 6988 w 573083"/>
                <a:gd name="connsiteY284" fmla="*/ 152558 h 259012"/>
                <a:gd name="connsiteX285" fmla="*/ 6232 w 573083"/>
                <a:gd name="connsiteY285" fmla="*/ 153889 h 259012"/>
                <a:gd name="connsiteX286" fmla="*/ 5718 w 573083"/>
                <a:gd name="connsiteY286" fmla="*/ 155734 h 259012"/>
                <a:gd name="connsiteX287" fmla="*/ 3055 w 573083"/>
                <a:gd name="connsiteY287" fmla="*/ 159244 h 259012"/>
                <a:gd name="connsiteX288" fmla="*/ 2057 w 573083"/>
                <a:gd name="connsiteY288" fmla="*/ 161089 h 259012"/>
                <a:gd name="connsiteX289" fmla="*/ 1634 w 573083"/>
                <a:gd name="connsiteY289" fmla="*/ 163086 h 259012"/>
                <a:gd name="connsiteX290" fmla="*/ 726 w 573083"/>
                <a:gd name="connsiteY290" fmla="*/ 170527 h 259012"/>
                <a:gd name="connsiteX291" fmla="*/ 484 w 573083"/>
                <a:gd name="connsiteY291" fmla="*/ 171374 h 259012"/>
                <a:gd name="connsiteX292" fmla="*/ 242 w 573083"/>
                <a:gd name="connsiteY292" fmla="*/ 171798 h 259012"/>
                <a:gd name="connsiteX293" fmla="*/ 61 w 573083"/>
                <a:gd name="connsiteY293" fmla="*/ 172463 h 259012"/>
                <a:gd name="connsiteX294" fmla="*/ 0 w 573083"/>
                <a:gd name="connsiteY294" fmla="*/ 173976 h 259012"/>
                <a:gd name="connsiteX295" fmla="*/ 303 w 573083"/>
                <a:gd name="connsiteY295" fmla="*/ 174823 h 259012"/>
                <a:gd name="connsiteX296" fmla="*/ 1089 w 573083"/>
                <a:gd name="connsiteY296" fmla="*/ 175246 h 259012"/>
                <a:gd name="connsiteX297" fmla="*/ 3116 w 573083"/>
                <a:gd name="connsiteY297" fmla="*/ 175428 h 259012"/>
                <a:gd name="connsiteX298" fmla="*/ 3691 w 573083"/>
                <a:gd name="connsiteY298" fmla="*/ 175761 h 259012"/>
                <a:gd name="connsiteX299" fmla="*/ 4750 w 573083"/>
                <a:gd name="connsiteY299" fmla="*/ 176547 h 259012"/>
                <a:gd name="connsiteX300" fmla="*/ 5778 w 573083"/>
                <a:gd name="connsiteY300" fmla="*/ 177606 h 259012"/>
                <a:gd name="connsiteX301" fmla="*/ 6232 w 573083"/>
                <a:gd name="connsiteY301" fmla="*/ 178725 h 259012"/>
                <a:gd name="connsiteX302" fmla="*/ 5990 w 573083"/>
                <a:gd name="connsiteY302" fmla="*/ 179331 h 259012"/>
                <a:gd name="connsiteX303" fmla="*/ 5597 w 573083"/>
                <a:gd name="connsiteY303" fmla="*/ 180147 h 259012"/>
                <a:gd name="connsiteX304" fmla="*/ 5415 w 573083"/>
                <a:gd name="connsiteY304" fmla="*/ 180843 h 259012"/>
                <a:gd name="connsiteX305" fmla="*/ 5869 w 573083"/>
                <a:gd name="connsiteY305" fmla="*/ 181115 h 259012"/>
                <a:gd name="connsiteX306" fmla="*/ 6141 w 573083"/>
                <a:gd name="connsiteY306" fmla="*/ 181418 h 259012"/>
                <a:gd name="connsiteX307" fmla="*/ 6474 w 573083"/>
                <a:gd name="connsiteY307" fmla="*/ 182113 h 259012"/>
                <a:gd name="connsiteX308" fmla="*/ 6807 w 573083"/>
                <a:gd name="connsiteY308" fmla="*/ 182900 h 259012"/>
                <a:gd name="connsiteX309" fmla="*/ 6928 w 573083"/>
                <a:gd name="connsiteY309" fmla="*/ 183535 h 259012"/>
                <a:gd name="connsiteX310" fmla="*/ 7260 w 573083"/>
                <a:gd name="connsiteY310" fmla="*/ 184352 h 259012"/>
                <a:gd name="connsiteX311" fmla="*/ 8017 w 573083"/>
                <a:gd name="connsiteY311" fmla="*/ 184806 h 259012"/>
                <a:gd name="connsiteX312" fmla="*/ 8924 w 573083"/>
                <a:gd name="connsiteY312" fmla="*/ 185199 h 259012"/>
                <a:gd name="connsiteX313" fmla="*/ 10044 w 573083"/>
                <a:gd name="connsiteY313" fmla="*/ 186137 h 259012"/>
                <a:gd name="connsiteX314" fmla="*/ 10679 w 573083"/>
                <a:gd name="connsiteY314" fmla="*/ 186318 h 259012"/>
                <a:gd name="connsiteX315" fmla="*/ 11042 w 573083"/>
                <a:gd name="connsiteY315" fmla="*/ 186803 h 259012"/>
                <a:gd name="connsiteX316" fmla="*/ 11133 w 573083"/>
                <a:gd name="connsiteY316" fmla="*/ 187407 h 259012"/>
                <a:gd name="connsiteX317" fmla="*/ 11012 w 573083"/>
                <a:gd name="connsiteY317" fmla="*/ 188981 h 259012"/>
                <a:gd name="connsiteX318" fmla="*/ 11042 w 573083"/>
                <a:gd name="connsiteY318" fmla="*/ 189646 h 259012"/>
                <a:gd name="connsiteX319" fmla="*/ 12615 w 573083"/>
                <a:gd name="connsiteY319" fmla="*/ 194638 h 259012"/>
                <a:gd name="connsiteX320" fmla="*/ 13099 w 573083"/>
                <a:gd name="connsiteY320" fmla="*/ 197148 h 259012"/>
                <a:gd name="connsiteX321" fmla="*/ 13099 w 573083"/>
                <a:gd name="connsiteY321" fmla="*/ 200144 h 259012"/>
                <a:gd name="connsiteX322" fmla="*/ 13825 w 573083"/>
                <a:gd name="connsiteY322" fmla="*/ 202322 h 259012"/>
                <a:gd name="connsiteX323" fmla="*/ 16366 w 573083"/>
                <a:gd name="connsiteY323" fmla="*/ 204863 h 259012"/>
                <a:gd name="connsiteX324" fmla="*/ 17758 w 573083"/>
                <a:gd name="connsiteY324" fmla="*/ 205649 h 259012"/>
                <a:gd name="connsiteX325" fmla="*/ 19361 w 573083"/>
                <a:gd name="connsiteY325" fmla="*/ 205861 h 259012"/>
                <a:gd name="connsiteX326" fmla="*/ 20420 w 573083"/>
                <a:gd name="connsiteY326" fmla="*/ 206496 h 259012"/>
                <a:gd name="connsiteX327" fmla="*/ 21932 w 573083"/>
                <a:gd name="connsiteY327" fmla="*/ 209037 h 259012"/>
                <a:gd name="connsiteX328" fmla="*/ 22416 w 573083"/>
                <a:gd name="connsiteY328" fmla="*/ 209824 h 259012"/>
                <a:gd name="connsiteX329" fmla="*/ 23717 w 573083"/>
                <a:gd name="connsiteY329" fmla="*/ 211125 h 259012"/>
                <a:gd name="connsiteX330" fmla="*/ 22689 w 573083"/>
                <a:gd name="connsiteY330" fmla="*/ 212274 h 259012"/>
                <a:gd name="connsiteX331" fmla="*/ 22175 w 573083"/>
                <a:gd name="connsiteY331" fmla="*/ 213696 h 259012"/>
                <a:gd name="connsiteX332" fmla="*/ 21569 w 573083"/>
                <a:gd name="connsiteY332" fmla="*/ 216267 h 259012"/>
                <a:gd name="connsiteX333" fmla="*/ 21993 w 573083"/>
                <a:gd name="connsiteY333" fmla="*/ 216479 h 259012"/>
                <a:gd name="connsiteX334" fmla="*/ 23173 w 573083"/>
                <a:gd name="connsiteY334" fmla="*/ 217417 h 259012"/>
                <a:gd name="connsiteX335" fmla="*/ 22659 w 573083"/>
                <a:gd name="connsiteY335" fmla="*/ 219686 h 259012"/>
                <a:gd name="connsiteX336" fmla="*/ 24957 w 573083"/>
                <a:gd name="connsiteY336" fmla="*/ 220835 h 259012"/>
                <a:gd name="connsiteX337" fmla="*/ 28225 w 573083"/>
                <a:gd name="connsiteY337" fmla="*/ 221894 h 259012"/>
                <a:gd name="connsiteX338" fmla="*/ 30554 w 573083"/>
                <a:gd name="connsiteY338" fmla="*/ 223861 h 259012"/>
                <a:gd name="connsiteX339" fmla="*/ 34245 w 573083"/>
                <a:gd name="connsiteY339" fmla="*/ 221803 h 259012"/>
                <a:gd name="connsiteX340" fmla="*/ 37875 w 573083"/>
                <a:gd name="connsiteY340" fmla="*/ 222529 h 259012"/>
                <a:gd name="connsiteX341" fmla="*/ 42050 w 573083"/>
                <a:gd name="connsiteY341" fmla="*/ 223588 h 259012"/>
                <a:gd name="connsiteX342" fmla="*/ 43078 w 573083"/>
                <a:gd name="connsiteY342" fmla="*/ 223861 h 259012"/>
                <a:gd name="connsiteX343" fmla="*/ 49643 w 573083"/>
                <a:gd name="connsiteY343" fmla="*/ 224768 h 259012"/>
                <a:gd name="connsiteX344" fmla="*/ 52819 w 573083"/>
                <a:gd name="connsiteY344" fmla="*/ 227188 h 259012"/>
                <a:gd name="connsiteX345" fmla="*/ 63135 w 573083"/>
                <a:gd name="connsiteY345" fmla="*/ 239924 h 259012"/>
                <a:gd name="connsiteX346" fmla="*/ 64133 w 573083"/>
                <a:gd name="connsiteY346" fmla="*/ 240771 h 259012"/>
                <a:gd name="connsiteX347" fmla="*/ 65162 w 573083"/>
                <a:gd name="connsiteY347" fmla="*/ 241164 h 259012"/>
                <a:gd name="connsiteX348" fmla="*/ 67703 w 573083"/>
                <a:gd name="connsiteY348" fmla="*/ 241648 h 259012"/>
                <a:gd name="connsiteX349" fmla="*/ 68641 w 573083"/>
                <a:gd name="connsiteY349" fmla="*/ 242223 h 259012"/>
                <a:gd name="connsiteX350" fmla="*/ 72029 w 573083"/>
                <a:gd name="connsiteY350" fmla="*/ 246912 h 259012"/>
                <a:gd name="connsiteX351" fmla="*/ 73269 w 573083"/>
                <a:gd name="connsiteY351" fmla="*/ 248092 h 259012"/>
                <a:gd name="connsiteX352" fmla="*/ 74298 w 573083"/>
                <a:gd name="connsiteY352" fmla="*/ 248062 h 259012"/>
                <a:gd name="connsiteX353" fmla="*/ 75296 w 573083"/>
                <a:gd name="connsiteY353" fmla="*/ 247608 h 259012"/>
                <a:gd name="connsiteX354" fmla="*/ 76445 w 573083"/>
                <a:gd name="connsiteY354" fmla="*/ 247427 h 259012"/>
                <a:gd name="connsiteX355" fmla="*/ 77958 w 573083"/>
                <a:gd name="connsiteY355" fmla="*/ 248122 h 259012"/>
                <a:gd name="connsiteX356" fmla="*/ 80015 w 573083"/>
                <a:gd name="connsiteY356" fmla="*/ 249514 h 259012"/>
                <a:gd name="connsiteX357" fmla="*/ 81891 w 573083"/>
                <a:gd name="connsiteY357" fmla="*/ 251147 h 259012"/>
                <a:gd name="connsiteX358" fmla="*/ 82677 w 573083"/>
                <a:gd name="connsiteY358" fmla="*/ 252569 h 259012"/>
                <a:gd name="connsiteX359" fmla="*/ 83736 w 573083"/>
                <a:gd name="connsiteY359" fmla="*/ 253628 h 259012"/>
                <a:gd name="connsiteX360" fmla="*/ 88032 w 573083"/>
                <a:gd name="connsiteY360" fmla="*/ 255776 h 259012"/>
                <a:gd name="connsiteX361" fmla="*/ 90301 w 573083"/>
                <a:gd name="connsiteY361" fmla="*/ 256895 h 259012"/>
                <a:gd name="connsiteX362" fmla="*/ 98741 w 573083"/>
                <a:gd name="connsiteY362" fmla="*/ 259013 h 259012"/>
                <a:gd name="connsiteX363" fmla="*/ 104549 w 573083"/>
                <a:gd name="connsiteY363" fmla="*/ 258650 h 259012"/>
                <a:gd name="connsiteX364" fmla="*/ 127601 w 573083"/>
                <a:gd name="connsiteY364" fmla="*/ 257288 h 259012"/>
                <a:gd name="connsiteX365" fmla="*/ 140004 w 573083"/>
                <a:gd name="connsiteY365" fmla="*/ 258498 h 259012"/>
                <a:gd name="connsiteX366" fmla="*/ 143755 w 573083"/>
                <a:gd name="connsiteY366" fmla="*/ 258166 h 259012"/>
                <a:gd name="connsiteX367" fmla="*/ 151287 w 573083"/>
                <a:gd name="connsiteY367" fmla="*/ 255352 h 259012"/>
                <a:gd name="connsiteX368" fmla="*/ 171889 w 573083"/>
                <a:gd name="connsiteY368" fmla="*/ 253144 h 259012"/>
                <a:gd name="connsiteX369" fmla="*/ 176396 w 573083"/>
                <a:gd name="connsiteY369" fmla="*/ 253447 h 259012"/>
                <a:gd name="connsiteX370" fmla="*/ 180057 w 573083"/>
                <a:gd name="connsiteY370" fmla="*/ 254929 h 259012"/>
                <a:gd name="connsiteX371" fmla="*/ 183051 w 573083"/>
                <a:gd name="connsiteY371" fmla="*/ 255443 h 259012"/>
                <a:gd name="connsiteX372" fmla="*/ 185986 w 573083"/>
                <a:gd name="connsiteY372" fmla="*/ 255171 h 259012"/>
                <a:gd name="connsiteX373" fmla="*/ 188436 w 573083"/>
                <a:gd name="connsiteY373" fmla="*/ 253779 h 259012"/>
                <a:gd name="connsiteX374" fmla="*/ 191764 w 573083"/>
                <a:gd name="connsiteY374" fmla="*/ 250270 h 259012"/>
                <a:gd name="connsiteX375" fmla="*/ 193519 w 573083"/>
                <a:gd name="connsiteY375" fmla="*/ 249060 h 259012"/>
                <a:gd name="connsiteX376" fmla="*/ 195818 w 573083"/>
                <a:gd name="connsiteY376" fmla="*/ 248516 h 259012"/>
                <a:gd name="connsiteX377" fmla="*/ 198298 w 573083"/>
                <a:gd name="connsiteY377" fmla="*/ 247699 h 259012"/>
                <a:gd name="connsiteX378" fmla="*/ 198419 w 573083"/>
                <a:gd name="connsiteY378" fmla="*/ 247668 h 259012"/>
                <a:gd name="connsiteX379" fmla="*/ 194577 w 573083"/>
                <a:gd name="connsiteY379" fmla="*/ 245067 h 259012"/>
                <a:gd name="connsiteX380" fmla="*/ 191613 w 573083"/>
                <a:gd name="connsiteY380" fmla="*/ 242405 h 259012"/>
                <a:gd name="connsiteX381" fmla="*/ 190977 w 573083"/>
                <a:gd name="connsiteY381" fmla="*/ 239833 h 259012"/>
                <a:gd name="connsiteX382" fmla="*/ 191220 w 573083"/>
                <a:gd name="connsiteY382" fmla="*/ 236929 h 259012"/>
                <a:gd name="connsiteX383" fmla="*/ 192218 w 573083"/>
                <a:gd name="connsiteY383" fmla="*/ 231242 h 259012"/>
                <a:gd name="connsiteX384" fmla="*/ 191885 w 573083"/>
                <a:gd name="connsiteY384" fmla="*/ 229639 h 259012"/>
                <a:gd name="connsiteX385" fmla="*/ 191189 w 573083"/>
                <a:gd name="connsiteY385" fmla="*/ 229094 h 259012"/>
                <a:gd name="connsiteX386" fmla="*/ 191038 w 573083"/>
                <a:gd name="connsiteY386" fmla="*/ 228610 h 259012"/>
                <a:gd name="connsiteX387" fmla="*/ 192369 w 573083"/>
                <a:gd name="connsiteY387" fmla="*/ 227097 h 259012"/>
                <a:gd name="connsiteX388" fmla="*/ 193276 w 573083"/>
                <a:gd name="connsiteY388" fmla="*/ 226614 h 259012"/>
                <a:gd name="connsiteX389" fmla="*/ 195243 w 573083"/>
                <a:gd name="connsiteY389" fmla="*/ 226311 h 259012"/>
                <a:gd name="connsiteX390" fmla="*/ 196211 w 573083"/>
                <a:gd name="connsiteY390" fmla="*/ 225524 h 259012"/>
                <a:gd name="connsiteX391" fmla="*/ 198903 w 573083"/>
                <a:gd name="connsiteY391" fmla="*/ 220412 h 259012"/>
                <a:gd name="connsiteX392" fmla="*/ 200628 w 573083"/>
                <a:gd name="connsiteY392" fmla="*/ 219081 h 259012"/>
                <a:gd name="connsiteX393" fmla="*/ 210218 w 573083"/>
                <a:gd name="connsiteY393" fmla="*/ 217084 h 259012"/>
                <a:gd name="connsiteX394" fmla="*/ 215088 w 573083"/>
                <a:gd name="connsiteY394" fmla="*/ 216086 h 259012"/>
                <a:gd name="connsiteX395" fmla="*/ 216540 w 573083"/>
                <a:gd name="connsiteY395" fmla="*/ 215451 h 259012"/>
                <a:gd name="connsiteX396" fmla="*/ 218809 w 573083"/>
                <a:gd name="connsiteY396" fmla="*/ 215541 h 259012"/>
                <a:gd name="connsiteX397" fmla="*/ 220775 w 573083"/>
                <a:gd name="connsiteY397" fmla="*/ 215632 h 259012"/>
                <a:gd name="connsiteX398" fmla="*/ 226826 w 573083"/>
                <a:gd name="connsiteY398" fmla="*/ 214815 h 259012"/>
                <a:gd name="connsiteX399" fmla="*/ 239289 w 573083"/>
                <a:gd name="connsiteY399" fmla="*/ 216237 h 259012"/>
                <a:gd name="connsiteX400" fmla="*/ 240408 w 573083"/>
                <a:gd name="connsiteY400" fmla="*/ 216026 h 259012"/>
                <a:gd name="connsiteX401" fmla="*/ 246398 w 573083"/>
                <a:gd name="connsiteY401" fmla="*/ 212486 h 259012"/>
                <a:gd name="connsiteX402" fmla="*/ 259981 w 573083"/>
                <a:gd name="connsiteY402" fmla="*/ 212728 h 259012"/>
                <a:gd name="connsiteX403" fmla="*/ 265366 w 573083"/>
                <a:gd name="connsiteY403" fmla="*/ 209219 h 259012"/>
                <a:gd name="connsiteX404" fmla="*/ 265517 w 573083"/>
                <a:gd name="connsiteY404" fmla="*/ 208493 h 259012"/>
                <a:gd name="connsiteX405" fmla="*/ 265577 w 573083"/>
                <a:gd name="connsiteY405" fmla="*/ 207767 h 259012"/>
                <a:gd name="connsiteX406" fmla="*/ 265517 w 573083"/>
                <a:gd name="connsiteY406" fmla="*/ 207010 h 259012"/>
                <a:gd name="connsiteX407" fmla="*/ 265366 w 573083"/>
                <a:gd name="connsiteY407" fmla="*/ 206254 h 259012"/>
                <a:gd name="connsiteX408" fmla="*/ 265366 w 573083"/>
                <a:gd name="connsiteY408" fmla="*/ 206164 h 259012"/>
                <a:gd name="connsiteX409" fmla="*/ 265305 w 573083"/>
                <a:gd name="connsiteY409" fmla="*/ 206103 h 259012"/>
                <a:gd name="connsiteX410" fmla="*/ 265366 w 573083"/>
                <a:gd name="connsiteY410" fmla="*/ 206042 h 259012"/>
                <a:gd name="connsiteX411" fmla="*/ 265366 w 573083"/>
                <a:gd name="connsiteY411" fmla="*/ 205952 h 259012"/>
                <a:gd name="connsiteX412" fmla="*/ 266576 w 573083"/>
                <a:gd name="connsiteY412" fmla="*/ 203774 h 259012"/>
                <a:gd name="connsiteX413" fmla="*/ 267514 w 573083"/>
                <a:gd name="connsiteY413" fmla="*/ 198419 h 259012"/>
                <a:gd name="connsiteX414" fmla="*/ 268633 w 573083"/>
                <a:gd name="connsiteY414" fmla="*/ 196392 h 259012"/>
                <a:gd name="connsiteX415" fmla="*/ 270357 w 573083"/>
                <a:gd name="connsiteY415" fmla="*/ 195485 h 259012"/>
                <a:gd name="connsiteX416" fmla="*/ 279614 w 573083"/>
                <a:gd name="connsiteY416" fmla="*/ 193186 h 259012"/>
                <a:gd name="connsiteX417" fmla="*/ 280673 w 573083"/>
                <a:gd name="connsiteY417" fmla="*/ 193246 h 259012"/>
                <a:gd name="connsiteX418" fmla="*/ 281701 w 573083"/>
                <a:gd name="connsiteY418" fmla="*/ 193518 h 259012"/>
                <a:gd name="connsiteX419" fmla="*/ 282851 w 573083"/>
                <a:gd name="connsiteY419" fmla="*/ 194396 h 259012"/>
                <a:gd name="connsiteX420" fmla="*/ 285029 w 573083"/>
                <a:gd name="connsiteY420" fmla="*/ 196876 h 259012"/>
                <a:gd name="connsiteX421" fmla="*/ 286027 w 573083"/>
                <a:gd name="connsiteY421" fmla="*/ 197360 h 259012"/>
                <a:gd name="connsiteX422" fmla="*/ 290656 w 573083"/>
                <a:gd name="connsiteY422" fmla="*/ 196543 h 259012"/>
                <a:gd name="connsiteX423" fmla="*/ 293046 w 573083"/>
                <a:gd name="connsiteY423" fmla="*/ 196906 h 259012"/>
                <a:gd name="connsiteX424" fmla="*/ 294831 w 573083"/>
                <a:gd name="connsiteY424" fmla="*/ 198903 h 259012"/>
                <a:gd name="connsiteX425" fmla="*/ 294861 w 573083"/>
                <a:gd name="connsiteY425" fmla="*/ 200264 h 259012"/>
                <a:gd name="connsiteX426" fmla="*/ 294316 w 573083"/>
                <a:gd name="connsiteY426" fmla="*/ 201474 h 259012"/>
                <a:gd name="connsiteX427" fmla="*/ 294044 w 573083"/>
                <a:gd name="connsiteY427" fmla="*/ 202624 h 259012"/>
                <a:gd name="connsiteX428" fmla="*/ 295012 w 573083"/>
                <a:gd name="connsiteY428" fmla="*/ 203955 h 259012"/>
                <a:gd name="connsiteX429" fmla="*/ 295950 w 573083"/>
                <a:gd name="connsiteY429" fmla="*/ 204046 h 259012"/>
                <a:gd name="connsiteX430" fmla="*/ 299580 w 573083"/>
                <a:gd name="connsiteY430" fmla="*/ 202775 h 259012"/>
                <a:gd name="connsiteX431" fmla="*/ 302061 w 573083"/>
                <a:gd name="connsiteY431" fmla="*/ 203501 h 259012"/>
                <a:gd name="connsiteX432" fmla="*/ 305902 w 573083"/>
                <a:gd name="connsiteY432" fmla="*/ 206708 h 259012"/>
                <a:gd name="connsiteX433" fmla="*/ 307960 w 573083"/>
                <a:gd name="connsiteY433" fmla="*/ 207434 h 259012"/>
                <a:gd name="connsiteX434" fmla="*/ 310350 w 573083"/>
                <a:gd name="connsiteY434" fmla="*/ 206617 h 259012"/>
                <a:gd name="connsiteX435" fmla="*/ 314918 w 573083"/>
                <a:gd name="connsiteY435" fmla="*/ 202715 h 259012"/>
                <a:gd name="connsiteX436" fmla="*/ 317217 w 573083"/>
                <a:gd name="connsiteY436" fmla="*/ 201384 h 259012"/>
                <a:gd name="connsiteX437" fmla="*/ 321058 w 573083"/>
                <a:gd name="connsiteY437" fmla="*/ 200295 h 259012"/>
                <a:gd name="connsiteX438" fmla="*/ 321392 w 573083"/>
                <a:gd name="connsiteY438" fmla="*/ 200113 h 259012"/>
                <a:gd name="connsiteX439" fmla="*/ 325385 w 573083"/>
                <a:gd name="connsiteY439" fmla="*/ 197844 h 259012"/>
                <a:gd name="connsiteX440" fmla="*/ 327290 w 573083"/>
                <a:gd name="connsiteY440" fmla="*/ 197179 h 259012"/>
                <a:gd name="connsiteX441" fmla="*/ 328138 w 573083"/>
                <a:gd name="connsiteY441" fmla="*/ 196543 h 259012"/>
                <a:gd name="connsiteX442" fmla="*/ 328864 w 573083"/>
                <a:gd name="connsiteY442" fmla="*/ 195333 h 259012"/>
                <a:gd name="connsiteX443" fmla="*/ 329408 w 573083"/>
                <a:gd name="connsiteY443" fmla="*/ 192823 h 259012"/>
                <a:gd name="connsiteX444" fmla="*/ 329801 w 573083"/>
                <a:gd name="connsiteY444" fmla="*/ 191854 h 259012"/>
                <a:gd name="connsiteX445" fmla="*/ 331072 w 573083"/>
                <a:gd name="connsiteY445" fmla="*/ 190493 h 259012"/>
                <a:gd name="connsiteX446" fmla="*/ 331919 w 573083"/>
                <a:gd name="connsiteY446" fmla="*/ 190342 h 259012"/>
                <a:gd name="connsiteX447" fmla="*/ 332978 w 573083"/>
                <a:gd name="connsiteY447" fmla="*/ 190675 h 259012"/>
                <a:gd name="connsiteX448" fmla="*/ 334732 w 573083"/>
                <a:gd name="connsiteY448" fmla="*/ 190856 h 259012"/>
                <a:gd name="connsiteX449" fmla="*/ 336396 w 573083"/>
                <a:gd name="connsiteY449" fmla="*/ 190160 h 259012"/>
                <a:gd name="connsiteX450" fmla="*/ 339452 w 573083"/>
                <a:gd name="connsiteY450" fmla="*/ 187559 h 259012"/>
                <a:gd name="connsiteX451" fmla="*/ 340571 w 573083"/>
                <a:gd name="connsiteY451" fmla="*/ 187105 h 259012"/>
                <a:gd name="connsiteX452" fmla="*/ 342597 w 573083"/>
                <a:gd name="connsiteY452" fmla="*/ 188043 h 259012"/>
                <a:gd name="connsiteX453" fmla="*/ 343717 w 573083"/>
                <a:gd name="connsiteY453" fmla="*/ 189193 h 259012"/>
                <a:gd name="connsiteX454" fmla="*/ 344957 w 573083"/>
                <a:gd name="connsiteY454" fmla="*/ 189676 h 259012"/>
                <a:gd name="connsiteX455" fmla="*/ 347226 w 573083"/>
                <a:gd name="connsiteY455" fmla="*/ 188587 h 259012"/>
                <a:gd name="connsiteX456" fmla="*/ 350160 w 573083"/>
                <a:gd name="connsiteY456" fmla="*/ 185865 h 259012"/>
                <a:gd name="connsiteX457" fmla="*/ 352671 w 573083"/>
                <a:gd name="connsiteY457" fmla="*/ 182325 h 259012"/>
                <a:gd name="connsiteX458" fmla="*/ 354789 w 573083"/>
                <a:gd name="connsiteY458" fmla="*/ 178302 h 259012"/>
                <a:gd name="connsiteX459" fmla="*/ 358691 w 573083"/>
                <a:gd name="connsiteY459" fmla="*/ 167290 h 259012"/>
                <a:gd name="connsiteX460" fmla="*/ 359841 w 573083"/>
                <a:gd name="connsiteY460" fmla="*/ 165112 h 259012"/>
                <a:gd name="connsiteX461" fmla="*/ 361354 w 573083"/>
                <a:gd name="connsiteY461" fmla="*/ 163297 h 259012"/>
                <a:gd name="connsiteX462" fmla="*/ 364409 w 573083"/>
                <a:gd name="connsiteY462" fmla="*/ 160302 h 259012"/>
                <a:gd name="connsiteX463" fmla="*/ 364651 w 573083"/>
                <a:gd name="connsiteY463" fmla="*/ 160090 h 259012"/>
                <a:gd name="connsiteX464" fmla="*/ 366012 w 573083"/>
                <a:gd name="connsiteY464" fmla="*/ 158215 h 259012"/>
                <a:gd name="connsiteX465" fmla="*/ 366103 w 573083"/>
                <a:gd name="connsiteY465" fmla="*/ 157731 h 259012"/>
                <a:gd name="connsiteX466" fmla="*/ 366103 w 573083"/>
                <a:gd name="connsiteY466" fmla="*/ 157247 h 259012"/>
                <a:gd name="connsiteX467" fmla="*/ 366103 w 573083"/>
                <a:gd name="connsiteY467" fmla="*/ 156763 h 259012"/>
                <a:gd name="connsiteX468" fmla="*/ 366042 w 573083"/>
                <a:gd name="connsiteY468" fmla="*/ 156249 h 259012"/>
                <a:gd name="connsiteX469" fmla="*/ 365861 w 573083"/>
                <a:gd name="connsiteY469" fmla="*/ 153828 h 259012"/>
                <a:gd name="connsiteX470" fmla="*/ 365891 w 573083"/>
                <a:gd name="connsiteY470" fmla="*/ 152679 h 259012"/>
                <a:gd name="connsiteX471" fmla="*/ 366012 w 573083"/>
                <a:gd name="connsiteY471" fmla="*/ 151620 h 259012"/>
                <a:gd name="connsiteX472" fmla="*/ 368886 w 573083"/>
                <a:gd name="connsiteY472" fmla="*/ 150561 h 259012"/>
                <a:gd name="connsiteX473" fmla="*/ 375148 w 573083"/>
                <a:gd name="connsiteY473" fmla="*/ 150168 h 259012"/>
                <a:gd name="connsiteX474" fmla="*/ 396445 w 573083"/>
                <a:gd name="connsiteY474" fmla="*/ 145630 h 259012"/>
                <a:gd name="connsiteX475" fmla="*/ 398079 w 573083"/>
                <a:gd name="connsiteY475" fmla="*/ 145600 h 259012"/>
                <a:gd name="connsiteX476" fmla="*/ 399622 w 573083"/>
                <a:gd name="connsiteY476" fmla="*/ 146387 h 259012"/>
                <a:gd name="connsiteX477" fmla="*/ 402617 w 573083"/>
                <a:gd name="connsiteY477" fmla="*/ 148867 h 259012"/>
                <a:gd name="connsiteX478" fmla="*/ 404069 w 573083"/>
                <a:gd name="connsiteY478" fmla="*/ 149230 h 259012"/>
                <a:gd name="connsiteX479" fmla="*/ 407245 w 573083"/>
                <a:gd name="connsiteY479" fmla="*/ 149533 h 259012"/>
                <a:gd name="connsiteX480" fmla="*/ 412690 w 573083"/>
                <a:gd name="connsiteY480" fmla="*/ 152618 h 259012"/>
                <a:gd name="connsiteX481" fmla="*/ 416290 w 573083"/>
                <a:gd name="connsiteY481" fmla="*/ 152921 h 259012"/>
                <a:gd name="connsiteX482" fmla="*/ 418801 w 573083"/>
                <a:gd name="connsiteY482" fmla="*/ 152739 h 259012"/>
                <a:gd name="connsiteX483" fmla="*/ 421766 w 573083"/>
                <a:gd name="connsiteY483" fmla="*/ 153224 h 259012"/>
                <a:gd name="connsiteX484" fmla="*/ 424579 w 573083"/>
                <a:gd name="connsiteY484" fmla="*/ 154403 h 259012"/>
                <a:gd name="connsiteX485" fmla="*/ 426606 w 573083"/>
                <a:gd name="connsiteY485" fmla="*/ 156249 h 259012"/>
                <a:gd name="connsiteX486" fmla="*/ 429147 w 573083"/>
                <a:gd name="connsiteY486" fmla="*/ 156793 h 259012"/>
                <a:gd name="connsiteX487" fmla="*/ 436952 w 573083"/>
                <a:gd name="connsiteY487" fmla="*/ 153344 h 259012"/>
                <a:gd name="connsiteX488" fmla="*/ 440279 w 573083"/>
                <a:gd name="connsiteY488" fmla="*/ 152649 h 259012"/>
                <a:gd name="connsiteX489" fmla="*/ 442125 w 573083"/>
                <a:gd name="connsiteY489" fmla="*/ 153405 h 259012"/>
                <a:gd name="connsiteX490" fmla="*/ 443365 w 573083"/>
                <a:gd name="connsiteY490" fmla="*/ 154343 h 259012"/>
                <a:gd name="connsiteX491" fmla="*/ 444484 w 573083"/>
                <a:gd name="connsiteY491" fmla="*/ 154827 h 259012"/>
                <a:gd name="connsiteX492" fmla="*/ 445997 w 573083"/>
                <a:gd name="connsiteY492" fmla="*/ 154040 h 259012"/>
                <a:gd name="connsiteX493" fmla="*/ 447177 w 573083"/>
                <a:gd name="connsiteY493" fmla="*/ 152498 h 259012"/>
                <a:gd name="connsiteX494" fmla="*/ 447721 w 573083"/>
                <a:gd name="connsiteY494" fmla="*/ 150985 h 259012"/>
                <a:gd name="connsiteX495" fmla="*/ 448568 w 573083"/>
                <a:gd name="connsiteY495" fmla="*/ 149714 h 259012"/>
                <a:gd name="connsiteX496" fmla="*/ 450535 w 573083"/>
                <a:gd name="connsiteY496" fmla="*/ 148625 h 259012"/>
                <a:gd name="connsiteX497" fmla="*/ 452229 w 573083"/>
                <a:gd name="connsiteY497" fmla="*/ 148323 h 259012"/>
                <a:gd name="connsiteX498" fmla="*/ 455647 w 573083"/>
                <a:gd name="connsiteY498" fmla="*/ 148262 h 259012"/>
                <a:gd name="connsiteX499" fmla="*/ 460881 w 573083"/>
                <a:gd name="connsiteY499" fmla="*/ 146719 h 259012"/>
                <a:gd name="connsiteX500" fmla="*/ 462363 w 573083"/>
                <a:gd name="connsiteY500" fmla="*/ 147113 h 259012"/>
                <a:gd name="connsiteX501" fmla="*/ 465721 w 573083"/>
                <a:gd name="connsiteY501" fmla="*/ 148988 h 259012"/>
                <a:gd name="connsiteX502" fmla="*/ 467566 w 573083"/>
                <a:gd name="connsiteY502" fmla="*/ 149654 h 259012"/>
                <a:gd name="connsiteX503" fmla="*/ 468413 w 573083"/>
                <a:gd name="connsiteY503" fmla="*/ 150380 h 259012"/>
                <a:gd name="connsiteX504" fmla="*/ 469079 w 573083"/>
                <a:gd name="connsiteY504" fmla="*/ 151560 h 259012"/>
                <a:gd name="connsiteX505" fmla="*/ 469987 w 573083"/>
                <a:gd name="connsiteY505" fmla="*/ 154252 h 259012"/>
                <a:gd name="connsiteX506" fmla="*/ 470652 w 573083"/>
                <a:gd name="connsiteY506" fmla="*/ 155250 h 259012"/>
                <a:gd name="connsiteX507" fmla="*/ 472255 w 573083"/>
                <a:gd name="connsiteY507" fmla="*/ 155916 h 259012"/>
                <a:gd name="connsiteX508" fmla="*/ 475976 w 573083"/>
                <a:gd name="connsiteY508" fmla="*/ 155886 h 259012"/>
                <a:gd name="connsiteX509" fmla="*/ 477700 w 573083"/>
                <a:gd name="connsiteY509" fmla="*/ 156249 h 259012"/>
                <a:gd name="connsiteX510" fmla="*/ 478578 w 573083"/>
                <a:gd name="connsiteY510" fmla="*/ 157822 h 259012"/>
                <a:gd name="connsiteX511" fmla="*/ 479878 w 573083"/>
                <a:gd name="connsiteY511" fmla="*/ 163569 h 259012"/>
                <a:gd name="connsiteX512" fmla="*/ 480695 w 573083"/>
                <a:gd name="connsiteY512" fmla="*/ 165052 h 259012"/>
                <a:gd name="connsiteX513" fmla="*/ 486352 w 573083"/>
                <a:gd name="connsiteY513" fmla="*/ 173038 h 259012"/>
                <a:gd name="connsiteX514" fmla="*/ 488742 w 573083"/>
                <a:gd name="connsiteY514" fmla="*/ 175579 h 259012"/>
                <a:gd name="connsiteX515" fmla="*/ 491374 w 573083"/>
                <a:gd name="connsiteY515" fmla="*/ 177425 h 259012"/>
                <a:gd name="connsiteX516" fmla="*/ 494551 w 573083"/>
                <a:gd name="connsiteY516" fmla="*/ 178393 h 259012"/>
                <a:gd name="connsiteX517" fmla="*/ 497606 w 573083"/>
                <a:gd name="connsiteY517" fmla="*/ 178151 h 259012"/>
                <a:gd name="connsiteX518" fmla="*/ 502809 w 573083"/>
                <a:gd name="connsiteY518" fmla="*/ 175700 h 259012"/>
                <a:gd name="connsiteX519" fmla="*/ 507165 w 573083"/>
                <a:gd name="connsiteY519" fmla="*/ 175095 h 259012"/>
                <a:gd name="connsiteX520" fmla="*/ 510221 w 573083"/>
                <a:gd name="connsiteY520" fmla="*/ 173492 h 259012"/>
                <a:gd name="connsiteX521" fmla="*/ 511673 w 573083"/>
                <a:gd name="connsiteY521" fmla="*/ 172947 h 259012"/>
                <a:gd name="connsiteX522" fmla="*/ 516937 w 573083"/>
                <a:gd name="connsiteY522" fmla="*/ 172705 h 259012"/>
                <a:gd name="connsiteX523" fmla="*/ 518782 w 573083"/>
                <a:gd name="connsiteY523" fmla="*/ 172100 h 259012"/>
                <a:gd name="connsiteX524" fmla="*/ 520597 w 573083"/>
                <a:gd name="connsiteY524" fmla="*/ 172010 h 259012"/>
                <a:gd name="connsiteX525" fmla="*/ 526617 w 573083"/>
                <a:gd name="connsiteY525" fmla="*/ 172554 h 259012"/>
                <a:gd name="connsiteX526" fmla="*/ 528493 w 573083"/>
                <a:gd name="connsiteY526" fmla="*/ 172040 h 259012"/>
                <a:gd name="connsiteX527" fmla="*/ 530247 w 573083"/>
                <a:gd name="connsiteY527" fmla="*/ 170769 h 259012"/>
                <a:gd name="connsiteX528" fmla="*/ 532153 w 573083"/>
                <a:gd name="connsiteY528" fmla="*/ 168531 h 259012"/>
                <a:gd name="connsiteX529" fmla="*/ 532244 w 573083"/>
                <a:gd name="connsiteY529" fmla="*/ 158487 h 259012"/>
                <a:gd name="connsiteX530" fmla="*/ 533363 w 573083"/>
                <a:gd name="connsiteY530" fmla="*/ 156218 h 259012"/>
                <a:gd name="connsiteX531" fmla="*/ 533696 w 573083"/>
                <a:gd name="connsiteY531" fmla="*/ 154040 h 259012"/>
                <a:gd name="connsiteX532" fmla="*/ 532546 w 573083"/>
                <a:gd name="connsiteY532" fmla="*/ 148383 h 259012"/>
                <a:gd name="connsiteX533" fmla="*/ 532758 w 573083"/>
                <a:gd name="connsiteY533" fmla="*/ 145570 h 259012"/>
                <a:gd name="connsiteX534" fmla="*/ 534241 w 573083"/>
                <a:gd name="connsiteY534" fmla="*/ 143301 h 259012"/>
                <a:gd name="connsiteX535" fmla="*/ 540835 w 573083"/>
                <a:gd name="connsiteY535" fmla="*/ 138400 h 259012"/>
                <a:gd name="connsiteX536" fmla="*/ 541440 w 573083"/>
                <a:gd name="connsiteY536" fmla="*/ 137372 h 259012"/>
                <a:gd name="connsiteX537" fmla="*/ 542499 w 573083"/>
                <a:gd name="connsiteY537" fmla="*/ 135133 h 259012"/>
                <a:gd name="connsiteX538" fmla="*/ 543255 w 573083"/>
                <a:gd name="connsiteY538" fmla="*/ 134165 h 259012"/>
                <a:gd name="connsiteX539" fmla="*/ 544496 w 573083"/>
                <a:gd name="connsiteY539" fmla="*/ 133378 h 259012"/>
                <a:gd name="connsiteX540" fmla="*/ 547188 w 573083"/>
                <a:gd name="connsiteY540" fmla="*/ 132592 h 259012"/>
                <a:gd name="connsiteX541" fmla="*/ 548398 w 573083"/>
                <a:gd name="connsiteY541" fmla="*/ 131866 h 259012"/>
                <a:gd name="connsiteX542" fmla="*/ 550001 w 573083"/>
                <a:gd name="connsiteY542" fmla="*/ 129899 h 259012"/>
                <a:gd name="connsiteX543" fmla="*/ 551242 w 573083"/>
                <a:gd name="connsiteY543" fmla="*/ 127298 h 259012"/>
                <a:gd name="connsiteX544" fmla="*/ 551877 w 573083"/>
                <a:gd name="connsiteY544" fmla="*/ 124303 h 259012"/>
                <a:gd name="connsiteX545" fmla="*/ 551756 w 573083"/>
                <a:gd name="connsiteY545" fmla="*/ 121308 h 259012"/>
                <a:gd name="connsiteX546" fmla="*/ 552059 w 573083"/>
                <a:gd name="connsiteY546" fmla="*/ 119463 h 259012"/>
                <a:gd name="connsiteX547" fmla="*/ 552845 w 573083"/>
                <a:gd name="connsiteY547" fmla="*/ 118525 h 259012"/>
                <a:gd name="connsiteX548" fmla="*/ 553783 w 573083"/>
                <a:gd name="connsiteY548" fmla="*/ 117829 h 259012"/>
                <a:gd name="connsiteX549" fmla="*/ 554660 w 573083"/>
                <a:gd name="connsiteY549" fmla="*/ 116680 h 259012"/>
                <a:gd name="connsiteX550" fmla="*/ 555356 w 573083"/>
                <a:gd name="connsiteY550" fmla="*/ 115077 h 259012"/>
                <a:gd name="connsiteX551" fmla="*/ 555598 w 573083"/>
                <a:gd name="connsiteY551" fmla="*/ 114108 h 259012"/>
                <a:gd name="connsiteX552" fmla="*/ 555356 w 573083"/>
                <a:gd name="connsiteY552" fmla="*/ 109359 h 259012"/>
                <a:gd name="connsiteX553" fmla="*/ 555174 w 573083"/>
                <a:gd name="connsiteY553" fmla="*/ 108209 h 259012"/>
                <a:gd name="connsiteX554" fmla="*/ 555235 w 573083"/>
                <a:gd name="connsiteY554" fmla="*/ 107120 h 259012"/>
                <a:gd name="connsiteX555" fmla="*/ 555900 w 573083"/>
                <a:gd name="connsiteY555" fmla="*/ 105426 h 259012"/>
                <a:gd name="connsiteX556" fmla="*/ 556112 w 573083"/>
                <a:gd name="connsiteY556" fmla="*/ 105154 h 259012"/>
                <a:gd name="connsiteX557" fmla="*/ 556869 w 573083"/>
                <a:gd name="connsiteY557" fmla="*/ 104155 h 259012"/>
                <a:gd name="connsiteX558" fmla="*/ 559289 w 573083"/>
                <a:gd name="connsiteY558" fmla="*/ 102280 h 259012"/>
                <a:gd name="connsiteX559" fmla="*/ 560226 w 573083"/>
                <a:gd name="connsiteY559" fmla="*/ 101010 h 259012"/>
                <a:gd name="connsiteX560" fmla="*/ 560438 w 573083"/>
                <a:gd name="connsiteY560" fmla="*/ 100162 h 259012"/>
                <a:gd name="connsiteX561" fmla="*/ 560408 w 573083"/>
                <a:gd name="connsiteY561" fmla="*/ 98347 h 259012"/>
                <a:gd name="connsiteX562" fmla="*/ 560529 w 573083"/>
                <a:gd name="connsiteY562" fmla="*/ 97652 h 259012"/>
                <a:gd name="connsiteX563" fmla="*/ 561800 w 573083"/>
                <a:gd name="connsiteY563" fmla="*/ 95171 h 259012"/>
                <a:gd name="connsiteX564" fmla="*/ 563978 w 573083"/>
                <a:gd name="connsiteY564" fmla="*/ 89242 h 259012"/>
                <a:gd name="connsiteX565" fmla="*/ 565732 w 573083"/>
                <a:gd name="connsiteY565" fmla="*/ 87971 h 259012"/>
                <a:gd name="connsiteX566" fmla="*/ 569604 w 573083"/>
                <a:gd name="connsiteY566" fmla="*/ 87457 h 259012"/>
                <a:gd name="connsiteX567" fmla="*/ 571177 w 573083"/>
                <a:gd name="connsiteY567" fmla="*/ 86217 h 259012"/>
                <a:gd name="connsiteX568" fmla="*/ 571117 w 573083"/>
                <a:gd name="connsiteY568" fmla="*/ 83857 h 259012"/>
                <a:gd name="connsiteX569" fmla="*/ 571601 w 573083"/>
                <a:gd name="connsiteY569" fmla="*/ 80590 h 259012"/>
                <a:gd name="connsiteX570" fmla="*/ 572327 w 573083"/>
                <a:gd name="connsiteY570" fmla="*/ 77383 h 259012"/>
                <a:gd name="connsiteX571" fmla="*/ 573083 w 573083"/>
                <a:gd name="connsiteY571" fmla="*/ 75084 h 259012"/>
                <a:gd name="connsiteX572" fmla="*/ 569604 w 573083"/>
                <a:gd name="connsiteY572" fmla="*/ 73481 h 2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Lst>
              <a:rect l="l" t="t" r="r" b="b"/>
              <a:pathLst>
                <a:path w="573083" h="259012">
                  <a:moveTo>
                    <a:pt x="569604" y="73481"/>
                  </a:moveTo>
                  <a:lnTo>
                    <a:pt x="561739" y="73178"/>
                  </a:lnTo>
                  <a:lnTo>
                    <a:pt x="558048" y="72119"/>
                  </a:lnTo>
                  <a:lnTo>
                    <a:pt x="552936" y="67400"/>
                  </a:lnTo>
                  <a:lnTo>
                    <a:pt x="550788" y="66644"/>
                  </a:lnTo>
                  <a:lnTo>
                    <a:pt x="545252" y="66825"/>
                  </a:lnTo>
                  <a:lnTo>
                    <a:pt x="540533" y="65494"/>
                  </a:lnTo>
                  <a:lnTo>
                    <a:pt x="539776" y="64919"/>
                  </a:lnTo>
                  <a:lnTo>
                    <a:pt x="539535" y="64042"/>
                  </a:lnTo>
                  <a:lnTo>
                    <a:pt x="539837" y="63104"/>
                  </a:lnTo>
                  <a:lnTo>
                    <a:pt x="539807" y="62137"/>
                  </a:lnTo>
                  <a:lnTo>
                    <a:pt x="538687" y="60987"/>
                  </a:lnTo>
                  <a:lnTo>
                    <a:pt x="537871" y="60836"/>
                  </a:lnTo>
                  <a:lnTo>
                    <a:pt x="535481" y="61108"/>
                  </a:lnTo>
                  <a:lnTo>
                    <a:pt x="534452" y="61047"/>
                  </a:lnTo>
                  <a:lnTo>
                    <a:pt x="533272" y="60594"/>
                  </a:lnTo>
                  <a:lnTo>
                    <a:pt x="530005" y="58658"/>
                  </a:lnTo>
                  <a:lnTo>
                    <a:pt x="522896" y="57387"/>
                  </a:lnTo>
                  <a:lnTo>
                    <a:pt x="520052" y="55451"/>
                  </a:lnTo>
                  <a:lnTo>
                    <a:pt x="519387" y="50974"/>
                  </a:lnTo>
                  <a:lnTo>
                    <a:pt x="518086" y="45982"/>
                  </a:lnTo>
                  <a:lnTo>
                    <a:pt x="515212" y="41687"/>
                  </a:lnTo>
                  <a:lnTo>
                    <a:pt x="511582" y="38540"/>
                  </a:lnTo>
                  <a:lnTo>
                    <a:pt x="506167" y="36030"/>
                  </a:lnTo>
                  <a:lnTo>
                    <a:pt x="502477" y="32914"/>
                  </a:lnTo>
                  <a:lnTo>
                    <a:pt x="500631" y="31945"/>
                  </a:lnTo>
                  <a:lnTo>
                    <a:pt x="498604" y="32278"/>
                  </a:lnTo>
                  <a:lnTo>
                    <a:pt x="496880" y="33761"/>
                  </a:lnTo>
                  <a:lnTo>
                    <a:pt x="495428" y="35303"/>
                  </a:lnTo>
                  <a:lnTo>
                    <a:pt x="494399" y="35969"/>
                  </a:lnTo>
                  <a:lnTo>
                    <a:pt x="492856" y="34789"/>
                  </a:lnTo>
                  <a:lnTo>
                    <a:pt x="489468" y="30009"/>
                  </a:lnTo>
                  <a:lnTo>
                    <a:pt x="487774" y="28406"/>
                  </a:lnTo>
                  <a:lnTo>
                    <a:pt x="486776" y="28134"/>
                  </a:lnTo>
                  <a:lnTo>
                    <a:pt x="485203" y="28467"/>
                  </a:lnTo>
                  <a:lnTo>
                    <a:pt x="484446" y="28376"/>
                  </a:lnTo>
                  <a:lnTo>
                    <a:pt x="483418" y="27710"/>
                  </a:lnTo>
                  <a:lnTo>
                    <a:pt x="481542" y="26016"/>
                  </a:lnTo>
                  <a:lnTo>
                    <a:pt x="480544" y="25411"/>
                  </a:lnTo>
                  <a:lnTo>
                    <a:pt x="478669" y="24927"/>
                  </a:lnTo>
                  <a:lnTo>
                    <a:pt x="471469" y="25714"/>
                  </a:lnTo>
                  <a:lnTo>
                    <a:pt x="469926" y="26258"/>
                  </a:lnTo>
                  <a:lnTo>
                    <a:pt x="468111" y="26954"/>
                  </a:lnTo>
                  <a:lnTo>
                    <a:pt x="466598" y="26531"/>
                  </a:lnTo>
                  <a:lnTo>
                    <a:pt x="462877" y="27317"/>
                  </a:lnTo>
                  <a:lnTo>
                    <a:pt x="461214" y="27317"/>
                  </a:lnTo>
                  <a:lnTo>
                    <a:pt x="451412" y="24745"/>
                  </a:lnTo>
                  <a:lnTo>
                    <a:pt x="445785" y="21993"/>
                  </a:lnTo>
                  <a:lnTo>
                    <a:pt x="444394" y="21690"/>
                  </a:lnTo>
                  <a:lnTo>
                    <a:pt x="442548" y="22840"/>
                  </a:lnTo>
                  <a:lnTo>
                    <a:pt x="439432" y="27135"/>
                  </a:lnTo>
                  <a:lnTo>
                    <a:pt x="437678" y="28618"/>
                  </a:lnTo>
                  <a:lnTo>
                    <a:pt x="435530" y="28950"/>
                  </a:lnTo>
                  <a:lnTo>
                    <a:pt x="433987" y="27983"/>
                  </a:lnTo>
                  <a:lnTo>
                    <a:pt x="432566" y="26500"/>
                  </a:lnTo>
                  <a:lnTo>
                    <a:pt x="430720" y="25351"/>
                  </a:lnTo>
                  <a:lnTo>
                    <a:pt x="429177" y="25230"/>
                  </a:lnTo>
                  <a:lnTo>
                    <a:pt x="425093" y="25986"/>
                  </a:lnTo>
                  <a:lnTo>
                    <a:pt x="423550" y="26651"/>
                  </a:lnTo>
                  <a:lnTo>
                    <a:pt x="421524" y="28739"/>
                  </a:lnTo>
                  <a:lnTo>
                    <a:pt x="422734" y="30039"/>
                  </a:lnTo>
                  <a:lnTo>
                    <a:pt x="425063" y="31340"/>
                  </a:lnTo>
                  <a:lnTo>
                    <a:pt x="426273" y="33488"/>
                  </a:lnTo>
                  <a:lnTo>
                    <a:pt x="425456" y="34789"/>
                  </a:lnTo>
                  <a:lnTo>
                    <a:pt x="423581" y="35122"/>
                  </a:lnTo>
                  <a:lnTo>
                    <a:pt x="421493" y="35152"/>
                  </a:lnTo>
                  <a:lnTo>
                    <a:pt x="419890" y="35455"/>
                  </a:lnTo>
                  <a:lnTo>
                    <a:pt x="417833" y="37300"/>
                  </a:lnTo>
                  <a:lnTo>
                    <a:pt x="414535" y="41747"/>
                  </a:lnTo>
                  <a:lnTo>
                    <a:pt x="412357" y="43471"/>
                  </a:lnTo>
                  <a:lnTo>
                    <a:pt x="409998" y="44258"/>
                  </a:lnTo>
                  <a:lnTo>
                    <a:pt x="408152" y="43925"/>
                  </a:lnTo>
                  <a:lnTo>
                    <a:pt x="406519" y="42836"/>
                  </a:lnTo>
                  <a:lnTo>
                    <a:pt x="404885" y="41263"/>
                  </a:lnTo>
                  <a:lnTo>
                    <a:pt x="402980" y="39962"/>
                  </a:lnTo>
                  <a:lnTo>
                    <a:pt x="401406" y="39750"/>
                  </a:lnTo>
                  <a:lnTo>
                    <a:pt x="399712" y="39871"/>
                  </a:lnTo>
                  <a:lnTo>
                    <a:pt x="397443" y="39538"/>
                  </a:lnTo>
                  <a:lnTo>
                    <a:pt x="395840" y="38449"/>
                  </a:lnTo>
                  <a:lnTo>
                    <a:pt x="386916" y="28648"/>
                  </a:lnTo>
                  <a:lnTo>
                    <a:pt x="385343" y="28376"/>
                  </a:lnTo>
                  <a:lnTo>
                    <a:pt x="381531" y="28950"/>
                  </a:lnTo>
                  <a:lnTo>
                    <a:pt x="379353" y="28648"/>
                  </a:lnTo>
                  <a:lnTo>
                    <a:pt x="378446" y="28709"/>
                  </a:lnTo>
                  <a:lnTo>
                    <a:pt x="377417" y="29223"/>
                  </a:lnTo>
                  <a:lnTo>
                    <a:pt x="375814" y="31068"/>
                  </a:lnTo>
                  <a:lnTo>
                    <a:pt x="374664" y="32066"/>
                  </a:lnTo>
                  <a:lnTo>
                    <a:pt x="372274" y="32853"/>
                  </a:lnTo>
                  <a:lnTo>
                    <a:pt x="370066" y="32339"/>
                  </a:lnTo>
                  <a:lnTo>
                    <a:pt x="361565" y="28346"/>
                  </a:lnTo>
                  <a:lnTo>
                    <a:pt x="359992" y="28678"/>
                  </a:lnTo>
                  <a:lnTo>
                    <a:pt x="359992" y="31129"/>
                  </a:lnTo>
                  <a:lnTo>
                    <a:pt x="354819" y="31310"/>
                  </a:lnTo>
                  <a:lnTo>
                    <a:pt x="350705" y="29888"/>
                  </a:lnTo>
                  <a:lnTo>
                    <a:pt x="349495" y="29888"/>
                  </a:lnTo>
                  <a:lnTo>
                    <a:pt x="348466" y="30614"/>
                  </a:lnTo>
                  <a:lnTo>
                    <a:pt x="348103" y="31492"/>
                  </a:lnTo>
                  <a:lnTo>
                    <a:pt x="347891" y="32792"/>
                  </a:lnTo>
                  <a:lnTo>
                    <a:pt x="347347" y="34819"/>
                  </a:lnTo>
                  <a:lnTo>
                    <a:pt x="346651" y="36786"/>
                  </a:lnTo>
                  <a:lnTo>
                    <a:pt x="346137" y="37421"/>
                  </a:lnTo>
                  <a:lnTo>
                    <a:pt x="338393" y="38056"/>
                  </a:lnTo>
                  <a:lnTo>
                    <a:pt x="336850" y="38812"/>
                  </a:lnTo>
                  <a:lnTo>
                    <a:pt x="334641" y="41233"/>
                  </a:lnTo>
                  <a:lnTo>
                    <a:pt x="333673" y="42080"/>
                  </a:lnTo>
                  <a:lnTo>
                    <a:pt x="331435" y="41838"/>
                  </a:lnTo>
                  <a:lnTo>
                    <a:pt x="331193" y="41626"/>
                  </a:lnTo>
                  <a:lnTo>
                    <a:pt x="330618" y="42322"/>
                  </a:lnTo>
                  <a:lnTo>
                    <a:pt x="328712" y="46315"/>
                  </a:lnTo>
                  <a:lnTo>
                    <a:pt x="328138" y="47979"/>
                  </a:lnTo>
                  <a:lnTo>
                    <a:pt x="327442" y="49552"/>
                  </a:lnTo>
                  <a:lnTo>
                    <a:pt x="326171" y="50943"/>
                  </a:lnTo>
                  <a:lnTo>
                    <a:pt x="325626" y="55874"/>
                  </a:lnTo>
                  <a:lnTo>
                    <a:pt x="324598" y="59414"/>
                  </a:lnTo>
                  <a:lnTo>
                    <a:pt x="322601" y="60805"/>
                  </a:lnTo>
                  <a:lnTo>
                    <a:pt x="319274" y="59293"/>
                  </a:lnTo>
                  <a:lnTo>
                    <a:pt x="314101" y="54816"/>
                  </a:lnTo>
                  <a:lnTo>
                    <a:pt x="311287" y="53484"/>
                  </a:lnTo>
                  <a:lnTo>
                    <a:pt x="308051" y="53817"/>
                  </a:lnTo>
                  <a:lnTo>
                    <a:pt x="306236" y="55057"/>
                  </a:lnTo>
                  <a:lnTo>
                    <a:pt x="304269" y="56933"/>
                  </a:lnTo>
                  <a:lnTo>
                    <a:pt x="302847" y="58264"/>
                  </a:lnTo>
                  <a:lnTo>
                    <a:pt x="300639" y="59021"/>
                  </a:lnTo>
                  <a:lnTo>
                    <a:pt x="295980" y="58718"/>
                  </a:lnTo>
                  <a:lnTo>
                    <a:pt x="293439" y="57841"/>
                  </a:lnTo>
                  <a:lnTo>
                    <a:pt x="292138" y="56207"/>
                  </a:lnTo>
                  <a:lnTo>
                    <a:pt x="292138" y="56177"/>
                  </a:lnTo>
                  <a:lnTo>
                    <a:pt x="292562" y="54331"/>
                  </a:lnTo>
                  <a:lnTo>
                    <a:pt x="296343" y="48614"/>
                  </a:lnTo>
                  <a:lnTo>
                    <a:pt x="296797" y="48281"/>
                  </a:lnTo>
                  <a:lnTo>
                    <a:pt x="297463" y="48130"/>
                  </a:lnTo>
                  <a:lnTo>
                    <a:pt x="298037" y="47797"/>
                  </a:lnTo>
                  <a:lnTo>
                    <a:pt x="298279" y="47011"/>
                  </a:lnTo>
                  <a:lnTo>
                    <a:pt x="298098" y="46375"/>
                  </a:lnTo>
                  <a:lnTo>
                    <a:pt x="298037" y="46345"/>
                  </a:lnTo>
                  <a:lnTo>
                    <a:pt x="297281" y="45619"/>
                  </a:lnTo>
                  <a:lnTo>
                    <a:pt x="297251" y="45558"/>
                  </a:lnTo>
                  <a:lnTo>
                    <a:pt x="297100" y="45226"/>
                  </a:lnTo>
                  <a:lnTo>
                    <a:pt x="297069" y="45226"/>
                  </a:lnTo>
                  <a:lnTo>
                    <a:pt x="295708" y="44288"/>
                  </a:lnTo>
                  <a:lnTo>
                    <a:pt x="295375" y="43834"/>
                  </a:lnTo>
                  <a:lnTo>
                    <a:pt x="295375" y="43804"/>
                  </a:lnTo>
                  <a:lnTo>
                    <a:pt x="295436" y="43229"/>
                  </a:lnTo>
                  <a:lnTo>
                    <a:pt x="296192" y="42170"/>
                  </a:lnTo>
                  <a:lnTo>
                    <a:pt x="296343" y="41596"/>
                  </a:lnTo>
                  <a:lnTo>
                    <a:pt x="295738" y="34729"/>
                  </a:lnTo>
                  <a:lnTo>
                    <a:pt x="295224" y="32369"/>
                  </a:lnTo>
                  <a:lnTo>
                    <a:pt x="294316" y="29676"/>
                  </a:lnTo>
                  <a:lnTo>
                    <a:pt x="294286" y="29676"/>
                  </a:lnTo>
                  <a:lnTo>
                    <a:pt x="293379" y="29041"/>
                  </a:lnTo>
                  <a:lnTo>
                    <a:pt x="290020" y="30282"/>
                  </a:lnTo>
                  <a:lnTo>
                    <a:pt x="287994" y="30463"/>
                  </a:lnTo>
                  <a:lnTo>
                    <a:pt x="285786" y="30251"/>
                  </a:lnTo>
                  <a:lnTo>
                    <a:pt x="280007" y="28436"/>
                  </a:lnTo>
                  <a:lnTo>
                    <a:pt x="280007" y="28406"/>
                  </a:lnTo>
                  <a:lnTo>
                    <a:pt x="280219" y="26712"/>
                  </a:lnTo>
                  <a:lnTo>
                    <a:pt x="280159" y="24504"/>
                  </a:lnTo>
                  <a:lnTo>
                    <a:pt x="280310" y="23747"/>
                  </a:lnTo>
                  <a:lnTo>
                    <a:pt x="280764" y="22840"/>
                  </a:lnTo>
                  <a:lnTo>
                    <a:pt x="276740" y="22810"/>
                  </a:lnTo>
                  <a:lnTo>
                    <a:pt x="274653" y="22265"/>
                  </a:lnTo>
                  <a:lnTo>
                    <a:pt x="272929" y="21055"/>
                  </a:lnTo>
                  <a:lnTo>
                    <a:pt x="272414" y="20057"/>
                  </a:lnTo>
                  <a:lnTo>
                    <a:pt x="270781" y="15519"/>
                  </a:lnTo>
                  <a:lnTo>
                    <a:pt x="268966" y="8349"/>
                  </a:lnTo>
                  <a:lnTo>
                    <a:pt x="267755" y="5475"/>
                  </a:lnTo>
                  <a:lnTo>
                    <a:pt x="265366" y="4054"/>
                  </a:lnTo>
                  <a:lnTo>
                    <a:pt x="264610" y="3297"/>
                  </a:lnTo>
                  <a:lnTo>
                    <a:pt x="262915" y="544"/>
                  </a:lnTo>
                  <a:lnTo>
                    <a:pt x="262068" y="212"/>
                  </a:lnTo>
                  <a:lnTo>
                    <a:pt x="261524" y="0"/>
                  </a:lnTo>
                  <a:lnTo>
                    <a:pt x="260949" y="242"/>
                  </a:lnTo>
                  <a:lnTo>
                    <a:pt x="260556" y="938"/>
                  </a:lnTo>
                  <a:lnTo>
                    <a:pt x="251843" y="9801"/>
                  </a:lnTo>
                  <a:lnTo>
                    <a:pt x="251057" y="10406"/>
                  </a:lnTo>
                  <a:lnTo>
                    <a:pt x="249635" y="10951"/>
                  </a:lnTo>
                  <a:lnTo>
                    <a:pt x="248606" y="11102"/>
                  </a:lnTo>
                  <a:lnTo>
                    <a:pt x="245521" y="11072"/>
                  </a:lnTo>
                  <a:lnTo>
                    <a:pt x="243554" y="11435"/>
                  </a:lnTo>
                  <a:lnTo>
                    <a:pt x="241921" y="12191"/>
                  </a:lnTo>
                  <a:lnTo>
                    <a:pt x="240469" y="13492"/>
                  </a:lnTo>
                  <a:lnTo>
                    <a:pt x="239077" y="15489"/>
                  </a:lnTo>
                  <a:lnTo>
                    <a:pt x="237474" y="20117"/>
                  </a:lnTo>
                  <a:lnTo>
                    <a:pt x="237655" y="20268"/>
                  </a:lnTo>
                  <a:lnTo>
                    <a:pt x="237988" y="20692"/>
                  </a:lnTo>
                  <a:lnTo>
                    <a:pt x="238170" y="21388"/>
                  </a:lnTo>
                  <a:lnTo>
                    <a:pt x="237928" y="22326"/>
                  </a:lnTo>
                  <a:lnTo>
                    <a:pt x="237474" y="22628"/>
                  </a:lnTo>
                  <a:lnTo>
                    <a:pt x="236234" y="22658"/>
                  </a:lnTo>
                  <a:lnTo>
                    <a:pt x="235931" y="22719"/>
                  </a:lnTo>
                  <a:lnTo>
                    <a:pt x="235235" y="25471"/>
                  </a:lnTo>
                  <a:lnTo>
                    <a:pt x="234993" y="27257"/>
                  </a:lnTo>
                  <a:lnTo>
                    <a:pt x="234267" y="28376"/>
                  </a:lnTo>
                  <a:lnTo>
                    <a:pt x="231151" y="29525"/>
                  </a:lnTo>
                  <a:lnTo>
                    <a:pt x="228641" y="29979"/>
                  </a:lnTo>
                  <a:lnTo>
                    <a:pt x="227612" y="29919"/>
                  </a:lnTo>
                  <a:lnTo>
                    <a:pt x="226614" y="29465"/>
                  </a:lnTo>
                  <a:lnTo>
                    <a:pt x="224617" y="28134"/>
                  </a:lnTo>
                  <a:lnTo>
                    <a:pt x="223710" y="27831"/>
                  </a:lnTo>
                  <a:lnTo>
                    <a:pt x="221501" y="28315"/>
                  </a:lnTo>
                  <a:lnTo>
                    <a:pt x="217599" y="30402"/>
                  </a:lnTo>
                  <a:lnTo>
                    <a:pt x="215088" y="30584"/>
                  </a:lnTo>
                  <a:lnTo>
                    <a:pt x="213091" y="30251"/>
                  </a:lnTo>
                  <a:lnTo>
                    <a:pt x="212547" y="28648"/>
                  </a:lnTo>
                  <a:lnTo>
                    <a:pt x="212970" y="23959"/>
                  </a:lnTo>
                  <a:lnTo>
                    <a:pt x="212698" y="21872"/>
                  </a:lnTo>
                  <a:lnTo>
                    <a:pt x="212214" y="19936"/>
                  </a:lnTo>
                  <a:lnTo>
                    <a:pt x="212123" y="17909"/>
                  </a:lnTo>
                  <a:lnTo>
                    <a:pt x="213000" y="15519"/>
                  </a:lnTo>
                  <a:lnTo>
                    <a:pt x="210096" y="13885"/>
                  </a:lnTo>
                  <a:lnTo>
                    <a:pt x="200113" y="13038"/>
                  </a:lnTo>
                  <a:lnTo>
                    <a:pt x="195999" y="13129"/>
                  </a:lnTo>
                  <a:lnTo>
                    <a:pt x="194124" y="13794"/>
                  </a:lnTo>
                  <a:lnTo>
                    <a:pt x="189979" y="17304"/>
                  </a:lnTo>
                  <a:lnTo>
                    <a:pt x="187166" y="17455"/>
                  </a:lnTo>
                  <a:lnTo>
                    <a:pt x="184262" y="16638"/>
                  </a:lnTo>
                  <a:lnTo>
                    <a:pt x="180964" y="15095"/>
                  </a:lnTo>
                  <a:lnTo>
                    <a:pt x="180269" y="14974"/>
                  </a:lnTo>
                  <a:lnTo>
                    <a:pt x="179573" y="15095"/>
                  </a:lnTo>
                  <a:lnTo>
                    <a:pt x="176699" y="16487"/>
                  </a:lnTo>
                  <a:lnTo>
                    <a:pt x="172252" y="15882"/>
                  </a:lnTo>
                  <a:lnTo>
                    <a:pt x="170164" y="17122"/>
                  </a:lnTo>
                  <a:lnTo>
                    <a:pt x="169650" y="18272"/>
                  </a:lnTo>
                  <a:lnTo>
                    <a:pt x="169408" y="20934"/>
                  </a:lnTo>
                  <a:lnTo>
                    <a:pt x="168894" y="22174"/>
                  </a:lnTo>
                  <a:lnTo>
                    <a:pt x="168077" y="22930"/>
                  </a:lnTo>
                  <a:lnTo>
                    <a:pt x="164750" y="24564"/>
                  </a:lnTo>
                  <a:lnTo>
                    <a:pt x="160454" y="29404"/>
                  </a:lnTo>
                  <a:lnTo>
                    <a:pt x="158215" y="30765"/>
                  </a:lnTo>
                  <a:lnTo>
                    <a:pt x="155281" y="30161"/>
                  </a:lnTo>
                  <a:lnTo>
                    <a:pt x="155039" y="36907"/>
                  </a:lnTo>
                  <a:lnTo>
                    <a:pt x="152649" y="38601"/>
                  </a:lnTo>
                  <a:lnTo>
                    <a:pt x="148928" y="41293"/>
                  </a:lnTo>
                  <a:lnTo>
                    <a:pt x="135375" y="46133"/>
                  </a:lnTo>
                  <a:lnTo>
                    <a:pt x="132441" y="48735"/>
                  </a:lnTo>
                  <a:lnTo>
                    <a:pt x="129991" y="52335"/>
                  </a:lnTo>
                  <a:lnTo>
                    <a:pt x="128145" y="56661"/>
                  </a:lnTo>
                  <a:lnTo>
                    <a:pt x="126844" y="61289"/>
                  </a:lnTo>
                  <a:lnTo>
                    <a:pt x="126481" y="65101"/>
                  </a:lnTo>
                  <a:lnTo>
                    <a:pt x="126512" y="65948"/>
                  </a:lnTo>
                  <a:lnTo>
                    <a:pt x="126633" y="72240"/>
                  </a:lnTo>
                  <a:lnTo>
                    <a:pt x="125967" y="75326"/>
                  </a:lnTo>
                  <a:lnTo>
                    <a:pt x="123880" y="78593"/>
                  </a:lnTo>
                  <a:lnTo>
                    <a:pt x="120915" y="81134"/>
                  </a:lnTo>
                  <a:lnTo>
                    <a:pt x="117557" y="82556"/>
                  </a:lnTo>
                  <a:lnTo>
                    <a:pt x="112173" y="82163"/>
                  </a:lnTo>
                  <a:lnTo>
                    <a:pt x="109722" y="82496"/>
                  </a:lnTo>
                  <a:lnTo>
                    <a:pt x="107635" y="83766"/>
                  </a:lnTo>
                  <a:lnTo>
                    <a:pt x="106304" y="86217"/>
                  </a:lnTo>
                  <a:lnTo>
                    <a:pt x="105668" y="88304"/>
                  </a:lnTo>
                  <a:lnTo>
                    <a:pt x="104882" y="92660"/>
                  </a:lnTo>
                  <a:lnTo>
                    <a:pt x="104065" y="94596"/>
                  </a:lnTo>
                  <a:lnTo>
                    <a:pt x="102220" y="96260"/>
                  </a:lnTo>
                  <a:lnTo>
                    <a:pt x="100284" y="96351"/>
                  </a:lnTo>
                  <a:lnTo>
                    <a:pt x="98166" y="96018"/>
                  </a:lnTo>
                  <a:lnTo>
                    <a:pt x="95685" y="96411"/>
                  </a:lnTo>
                  <a:lnTo>
                    <a:pt x="94052" y="97652"/>
                  </a:lnTo>
                  <a:lnTo>
                    <a:pt x="90603" y="103157"/>
                  </a:lnTo>
                  <a:lnTo>
                    <a:pt x="88819" y="104518"/>
                  </a:lnTo>
                  <a:lnTo>
                    <a:pt x="69488" y="111507"/>
                  </a:lnTo>
                  <a:lnTo>
                    <a:pt x="65797" y="110992"/>
                  </a:lnTo>
                  <a:lnTo>
                    <a:pt x="62712" y="107997"/>
                  </a:lnTo>
                  <a:lnTo>
                    <a:pt x="61259" y="107332"/>
                  </a:lnTo>
                  <a:lnTo>
                    <a:pt x="58870" y="107997"/>
                  </a:lnTo>
                  <a:lnTo>
                    <a:pt x="57024" y="109086"/>
                  </a:lnTo>
                  <a:lnTo>
                    <a:pt x="55058" y="110297"/>
                  </a:lnTo>
                  <a:lnTo>
                    <a:pt x="53303" y="110569"/>
                  </a:lnTo>
                  <a:lnTo>
                    <a:pt x="41838" y="105245"/>
                  </a:lnTo>
                  <a:lnTo>
                    <a:pt x="36998" y="104065"/>
                  </a:lnTo>
                  <a:lnTo>
                    <a:pt x="32490" y="104942"/>
                  </a:lnTo>
                  <a:lnTo>
                    <a:pt x="27075" y="108572"/>
                  </a:lnTo>
                  <a:lnTo>
                    <a:pt x="26168" y="109873"/>
                  </a:lnTo>
                  <a:lnTo>
                    <a:pt x="25563" y="112535"/>
                  </a:lnTo>
                  <a:lnTo>
                    <a:pt x="24141" y="114199"/>
                  </a:lnTo>
                  <a:lnTo>
                    <a:pt x="20662" y="116982"/>
                  </a:lnTo>
                  <a:lnTo>
                    <a:pt x="18211" y="120854"/>
                  </a:lnTo>
                  <a:lnTo>
                    <a:pt x="13099" y="134347"/>
                  </a:lnTo>
                  <a:lnTo>
                    <a:pt x="11950" y="136282"/>
                  </a:lnTo>
                  <a:lnTo>
                    <a:pt x="10346" y="138068"/>
                  </a:lnTo>
                  <a:lnTo>
                    <a:pt x="10104" y="140730"/>
                  </a:lnTo>
                  <a:lnTo>
                    <a:pt x="11042" y="147264"/>
                  </a:lnTo>
                  <a:lnTo>
                    <a:pt x="10498" y="148988"/>
                  </a:lnTo>
                  <a:lnTo>
                    <a:pt x="10286" y="149714"/>
                  </a:lnTo>
                  <a:lnTo>
                    <a:pt x="8622" y="151318"/>
                  </a:lnTo>
                  <a:lnTo>
                    <a:pt x="6988" y="152558"/>
                  </a:lnTo>
                  <a:lnTo>
                    <a:pt x="6232" y="153889"/>
                  </a:lnTo>
                  <a:lnTo>
                    <a:pt x="5718" y="155734"/>
                  </a:lnTo>
                  <a:lnTo>
                    <a:pt x="3055" y="159244"/>
                  </a:lnTo>
                  <a:lnTo>
                    <a:pt x="2057" y="161089"/>
                  </a:lnTo>
                  <a:lnTo>
                    <a:pt x="1634" y="163086"/>
                  </a:lnTo>
                  <a:lnTo>
                    <a:pt x="726" y="170527"/>
                  </a:lnTo>
                  <a:lnTo>
                    <a:pt x="484" y="171374"/>
                  </a:lnTo>
                  <a:lnTo>
                    <a:pt x="242" y="171798"/>
                  </a:lnTo>
                  <a:lnTo>
                    <a:pt x="61" y="172463"/>
                  </a:lnTo>
                  <a:lnTo>
                    <a:pt x="0" y="173976"/>
                  </a:lnTo>
                  <a:lnTo>
                    <a:pt x="303" y="174823"/>
                  </a:lnTo>
                  <a:lnTo>
                    <a:pt x="1089" y="175246"/>
                  </a:lnTo>
                  <a:lnTo>
                    <a:pt x="3116" y="175428"/>
                  </a:lnTo>
                  <a:lnTo>
                    <a:pt x="3691" y="175761"/>
                  </a:lnTo>
                  <a:lnTo>
                    <a:pt x="4750" y="176547"/>
                  </a:lnTo>
                  <a:lnTo>
                    <a:pt x="5778" y="177606"/>
                  </a:lnTo>
                  <a:lnTo>
                    <a:pt x="6232" y="178725"/>
                  </a:lnTo>
                  <a:lnTo>
                    <a:pt x="5990" y="179331"/>
                  </a:lnTo>
                  <a:lnTo>
                    <a:pt x="5597" y="180147"/>
                  </a:lnTo>
                  <a:lnTo>
                    <a:pt x="5415" y="180843"/>
                  </a:lnTo>
                  <a:lnTo>
                    <a:pt x="5869" y="181115"/>
                  </a:lnTo>
                  <a:lnTo>
                    <a:pt x="6141" y="181418"/>
                  </a:lnTo>
                  <a:lnTo>
                    <a:pt x="6474" y="182113"/>
                  </a:lnTo>
                  <a:lnTo>
                    <a:pt x="6807" y="182900"/>
                  </a:lnTo>
                  <a:lnTo>
                    <a:pt x="6928" y="183535"/>
                  </a:lnTo>
                  <a:lnTo>
                    <a:pt x="7260" y="184352"/>
                  </a:lnTo>
                  <a:lnTo>
                    <a:pt x="8017" y="184806"/>
                  </a:lnTo>
                  <a:lnTo>
                    <a:pt x="8924" y="185199"/>
                  </a:lnTo>
                  <a:lnTo>
                    <a:pt x="10044" y="186137"/>
                  </a:lnTo>
                  <a:lnTo>
                    <a:pt x="10679" y="186318"/>
                  </a:lnTo>
                  <a:lnTo>
                    <a:pt x="11042" y="186803"/>
                  </a:lnTo>
                  <a:lnTo>
                    <a:pt x="11133" y="187407"/>
                  </a:lnTo>
                  <a:lnTo>
                    <a:pt x="11012" y="188981"/>
                  </a:lnTo>
                  <a:lnTo>
                    <a:pt x="11042" y="189646"/>
                  </a:lnTo>
                  <a:lnTo>
                    <a:pt x="12615" y="194638"/>
                  </a:lnTo>
                  <a:lnTo>
                    <a:pt x="13099" y="197148"/>
                  </a:lnTo>
                  <a:lnTo>
                    <a:pt x="13099" y="200144"/>
                  </a:lnTo>
                  <a:lnTo>
                    <a:pt x="13825" y="202322"/>
                  </a:lnTo>
                  <a:lnTo>
                    <a:pt x="16366" y="204863"/>
                  </a:lnTo>
                  <a:lnTo>
                    <a:pt x="17758" y="205649"/>
                  </a:lnTo>
                  <a:lnTo>
                    <a:pt x="19361" y="205861"/>
                  </a:lnTo>
                  <a:lnTo>
                    <a:pt x="20420" y="206496"/>
                  </a:lnTo>
                  <a:lnTo>
                    <a:pt x="21932" y="209037"/>
                  </a:lnTo>
                  <a:lnTo>
                    <a:pt x="22416" y="209824"/>
                  </a:lnTo>
                  <a:lnTo>
                    <a:pt x="23717" y="211125"/>
                  </a:lnTo>
                  <a:lnTo>
                    <a:pt x="22689" y="212274"/>
                  </a:lnTo>
                  <a:lnTo>
                    <a:pt x="22175" y="213696"/>
                  </a:lnTo>
                  <a:lnTo>
                    <a:pt x="21569" y="216267"/>
                  </a:lnTo>
                  <a:lnTo>
                    <a:pt x="21993" y="216479"/>
                  </a:lnTo>
                  <a:lnTo>
                    <a:pt x="23173" y="217417"/>
                  </a:lnTo>
                  <a:lnTo>
                    <a:pt x="22659" y="219686"/>
                  </a:lnTo>
                  <a:lnTo>
                    <a:pt x="24957" y="220835"/>
                  </a:lnTo>
                  <a:lnTo>
                    <a:pt x="28225" y="221894"/>
                  </a:lnTo>
                  <a:lnTo>
                    <a:pt x="30554" y="223861"/>
                  </a:lnTo>
                  <a:lnTo>
                    <a:pt x="34245" y="221803"/>
                  </a:lnTo>
                  <a:lnTo>
                    <a:pt x="37875" y="222529"/>
                  </a:lnTo>
                  <a:lnTo>
                    <a:pt x="42050" y="223588"/>
                  </a:lnTo>
                  <a:lnTo>
                    <a:pt x="43078" y="223861"/>
                  </a:lnTo>
                  <a:lnTo>
                    <a:pt x="49643" y="224768"/>
                  </a:lnTo>
                  <a:lnTo>
                    <a:pt x="52819" y="227188"/>
                  </a:lnTo>
                  <a:lnTo>
                    <a:pt x="63135" y="239924"/>
                  </a:lnTo>
                  <a:lnTo>
                    <a:pt x="64133" y="240771"/>
                  </a:lnTo>
                  <a:lnTo>
                    <a:pt x="65162" y="241164"/>
                  </a:lnTo>
                  <a:lnTo>
                    <a:pt x="67703" y="241648"/>
                  </a:lnTo>
                  <a:lnTo>
                    <a:pt x="68641" y="242223"/>
                  </a:lnTo>
                  <a:lnTo>
                    <a:pt x="72029" y="246912"/>
                  </a:lnTo>
                  <a:lnTo>
                    <a:pt x="73269" y="248092"/>
                  </a:lnTo>
                  <a:lnTo>
                    <a:pt x="74298" y="248062"/>
                  </a:lnTo>
                  <a:lnTo>
                    <a:pt x="75296" y="247608"/>
                  </a:lnTo>
                  <a:lnTo>
                    <a:pt x="76445" y="247427"/>
                  </a:lnTo>
                  <a:lnTo>
                    <a:pt x="77958" y="248122"/>
                  </a:lnTo>
                  <a:lnTo>
                    <a:pt x="80015" y="249514"/>
                  </a:lnTo>
                  <a:lnTo>
                    <a:pt x="81891" y="251147"/>
                  </a:lnTo>
                  <a:lnTo>
                    <a:pt x="82677" y="252569"/>
                  </a:lnTo>
                  <a:lnTo>
                    <a:pt x="83736" y="253628"/>
                  </a:lnTo>
                  <a:lnTo>
                    <a:pt x="88032" y="255776"/>
                  </a:lnTo>
                  <a:lnTo>
                    <a:pt x="90301" y="256895"/>
                  </a:lnTo>
                  <a:lnTo>
                    <a:pt x="98741" y="259013"/>
                  </a:lnTo>
                  <a:lnTo>
                    <a:pt x="104549" y="258650"/>
                  </a:lnTo>
                  <a:lnTo>
                    <a:pt x="127601" y="257288"/>
                  </a:lnTo>
                  <a:lnTo>
                    <a:pt x="140004" y="258498"/>
                  </a:lnTo>
                  <a:lnTo>
                    <a:pt x="143755" y="258166"/>
                  </a:lnTo>
                  <a:lnTo>
                    <a:pt x="151287" y="255352"/>
                  </a:lnTo>
                  <a:lnTo>
                    <a:pt x="171889" y="253144"/>
                  </a:lnTo>
                  <a:lnTo>
                    <a:pt x="176396" y="253447"/>
                  </a:lnTo>
                  <a:lnTo>
                    <a:pt x="180057" y="254929"/>
                  </a:lnTo>
                  <a:lnTo>
                    <a:pt x="183051" y="255443"/>
                  </a:lnTo>
                  <a:lnTo>
                    <a:pt x="185986" y="255171"/>
                  </a:lnTo>
                  <a:lnTo>
                    <a:pt x="188436" y="253779"/>
                  </a:lnTo>
                  <a:lnTo>
                    <a:pt x="191764" y="250270"/>
                  </a:lnTo>
                  <a:lnTo>
                    <a:pt x="193519" y="249060"/>
                  </a:lnTo>
                  <a:lnTo>
                    <a:pt x="195818" y="248516"/>
                  </a:lnTo>
                  <a:lnTo>
                    <a:pt x="198298" y="247699"/>
                  </a:lnTo>
                  <a:lnTo>
                    <a:pt x="198419" y="247668"/>
                  </a:lnTo>
                  <a:lnTo>
                    <a:pt x="194577" y="245067"/>
                  </a:lnTo>
                  <a:lnTo>
                    <a:pt x="191613" y="242405"/>
                  </a:lnTo>
                  <a:lnTo>
                    <a:pt x="190977" y="239833"/>
                  </a:lnTo>
                  <a:lnTo>
                    <a:pt x="191220" y="236929"/>
                  </a:lnTo>
                  <a:lnTo>
                    <a:pt x="192218" y="231242"/>
                  </a:lnTo>
                  <a:lnTo>
                    <a:pt x="191885" y="229639"/>
                  </a:lnTo>
                  <a:lnTo>
                    <a:pt x="191189" y="229094"/>
                  </a:lnTo>
                  <a:lnTo>
                    <a:pt x="191038" y="228610"/>
                  </a:lnTo>
                  <a:lnTo>
                    <a:pt x="192369" y="227097"/>
                  </a:lnTo>
                  <a:lnTo>
                    <a:pt x="193276" y="226614"/>
                  </a:lnTo>
                  <a:lnTo>
                    <a:pt x="195243" y="226311"/>
                  </a:lnTo>
                  <a:lnTo>
                    <a:pt x="196211" y="225524"/>
                  </a:lnTo>
                  <a:lnTo>
                    <a:pt x="198903" y="220412"/>
                  </a:lnTo>
                  <a:lnTo>
                    <a:pt x="200628" y="219081"/>
                  </a:lnTo>
                  <a:lnTo>
                    <a:pt x="210218" y="217084"/>
                  </a:lnTo>
                  <a:lnTo>
                    <a:pt x="215088" y="216086"/>
                  </a:lnTo>
                  <a:lnTo>
                    <a:pt x="216540" y="215451"/>
                  </a:lnTo>
                  <a:lnTo>
                    <a:pt x="218809" y="215541"/>
                  </a:lnTo>
                  <a:lnTo>
                    <a:pt x="220775" y="215632"/>
                  </a:lnTo>
                  <a:lnTo>
                    <a:pt x="226826" y="214815"/>
                  </a:lnTo>
                  <a:lnTo>
                    <a:pt x="239289" y="216237"/>
                  </a:lnTo>
                  <a:lnTo>
                    <a:pt x="240408" y="216026"/>
                  </a:lnTo>
                  <a:lnTo>
                    <a:pt x="246398" y="212486"/>
                  </a:lnTo>
                  <a:lnTo>
                    <a:pt x="259981" y="212728"/>
                  </a:lnTo>
                  <a:lnTo>
                    <a:pt x="265366" y="209219"/>
                  </a:lnTo>
                  <a:lnTo>
                    <a:pt x="265517" y="208493"/>
                  </a:lnTo>
                  <a:lnTo>
                    <a:pt x="265577" y="207767"/>
                  </a:lnTo>
                  <a:lnTo>
                    <a:pt x="265517" y="207010"/>
                  </a:lnTo>
                  <a:lnTo>
                    <a:pt x="265366" y="206254"/>
                  </a:lnTo>
                  <a:lnTo>
                    <a:pt x="265366" y="206164"/>
                  </a:lnTo>
                  <a:lnTo>
                    <a:pt x="265305" y="206103"/>
                  </a:lnTo>
                  <a:lnTo>
                    <a:pt x="265366" y="206042"/>
                  </a:lnTo>
                  <a:lnTo>
                    <a:pt x="265366" y="205952"/>
                  </a:lnTo>
                  <a:lnTo>
                    <a:pt x="266576" y="203774"/>
                  </a:lnTo>
                  <a:lnTo>
                    <a:pt x="267514" y="198419"/>
                  </a:lnTo>
                  <a:lnTo>
                    <a:pt x="268633" y="196392"/>
                  </a:lnTo>
                  <a:lnTo>
                    <a:pt x="270357" y="195485"/>
                  </a:lnTo>
                  <a:lnTo>
                    <a:pt x="279614" y="193186"/>
                  </a:lnTo>
                  <a:lnTo>
                    <a:pt x="280673" y="193246"/>
                  </a:lnTo>
                  <a:lnTo>
                    <a:pt x="281701" y="193518"/>
                  </a:lnTo>
                  <a:lnTo>
                    <a:pt x="282851" y="194396"/>
                  </a:lnTo>
                  <a:lnTo>
                    <a:pt x="285029" y="196876"/>
                  </a:lnTo>
                  <a:lnTo>
                    <a:pt x="286027" y="197360"/>
                  </a:lnTo>
                  <a:lnTo>
                    <a:pt x="290656" y="196543"/>
                  </a:lnTo>
                  <a:lnTo>
                    <a:pt x="293046" y="196906"/>
                  </a:lnTo>
                  <a:lnTo>
                    <a:pt x="294831" y="198903"/>
                  </a:lnTo>
                  <a:lnTo>
                    <a:pt x="294861" y="200264"/>
                  </a:lnTo>
                  <a:lnTo>
                    <a:pt x="294316" y="201474"/>
                  </a:lnTo>
                  <a:lnTo>
                    <a:pt x="294044" y="202624"/>
                  </a:lnTo>
                  <a:lnTo>
                    <a:pt x="295012" y="203955"/>
                  </a:lnTo>
                  <a:lnTo>
                    <a:pt x="295950" y="204046"/>
                  </a:lnTo>
                  <a:lnTo>
                    <a:pt x="299580" y="202775"/>
                  </a:lnTo>
                  <a:lnTo>
                    <a:pt x="302061" y="203501"/>
                  </a:lnTo>
                  <a:lnTo>
                    <a:pt x="305902" y="206708"/>
                  </a:lnTo>
                  <a:lnTo>
                    <a:pt x="307960" y="207434"/>
                  </a:lnTo>
                  <a:lnTo>
                    <a:pt x="310350" y="206617"/>
                  </a:lnTo>
                  <a:lnTo>
                    <a:pt x="314918" y="202715"/>
                  </a:lnTo>
                  <a:lnTo>
                    <a:pt x="317217" y="201384"/>
                  </a:lnTo>
                  <a:lnTo>
                    <a:pt x="321058" y="200295"/>
                  </a:lnTo>
                  <a:lnTo>
                    <a:pt x="321392" y="200113"/>
                  </a:lnTo>
                  <a:lnTo>
                    <a:pt x="325385" y="197844"/>
                  </a:lnTo>
                  <a:lnTo>
                    <a:pt x="327290" y="197179"/>
                  </a:lnTo>
                  <a:lnTo>
                    <a:pt x="328138" y="196543"/>
                  </a:lnTo>
                  <a:lnTo>
                    <a:pt x="328864" y="195333"/>
                  </a:lnTo>
                  <a:lnTo>
                    <a:pt x="329408" y="192823"/>
                  </a:lnTo>
                  <a:lnTo>
                    <a:pt x="329801" y="191854"/>
                  </a:lnTo>
                  <a:lnTo>
                    <a:pt x="331072" y="190493"/>
                  </a:lnTo>
                  <a:lnTo>
                    <a:pt x="331919" y="190342"/>
                  </a:lnTo>
                  <a:lnTo>
                    <a:pt x="332978" y="190675"/>
                  </a:lnTo>
                  <a:lnTo>
                    <a:pt x="334732" y="190856"/>
                  </a:lnTo>
                  <a:lnTo>
                    <a:pt x="336396" y="190160"/>
                  </a:lnTo>
                  <a:lnTo>
                    <a:pt x="339452" y="187559"/>
                  </a:lnTo>
                  <a:lnTo>
                    <a:pt x="340571" y="187105"/>
                  </a:lnTo>
                  <a:lnTo>
                    <a:pt x="342597" y="188043"/>
                  </a:lnTo>
                  <a:lnTo>
                    <a:pt x="343717" y="189193"/>
                  </a:lnTo>
                  <a:lnTo>
                    <a:pt x="344957" y="189676"/>
                  </a:lnTo>
                  <a:lnTo>
                    <a:pt x="347226" y="188587"/>
                  </a:lnTo>
                  <a:lnTo>
                    <a:pt x="350160" y="185865"/>
                  </a:lnTo>
                  <a:lnTo>
                    <a:pt x="352671" y="182325"/>
                  </a:lnTo>
                  <a:lnTo>
                    <a:pt x="354789" y="178302"/>
                  </a:lnTo>
                  <a:lnTo>
                    <a:pt x="358691" y="167290"/>
                  </a:lnTo>
                  <a:lnTo>
                    <a:pt x="359841" y="165112"/>
                  </a:lnTo>
                  <a:lnTo>
                    <a:pt x="361354" y="163297"/>
                  </a:lnTo>
                  <a:lnTo>
                    <a:pt x="364409" y="160302"/>
                  </a:lnTo>
                  <a:lnTo>
                    <a:pt x="364651" y="160090"/>
                  </a:lnTo>
                  <a:lnTo>
                    <a:pt x="366012" y="158215"/>
                  </a:lnTo>
                  <a:lnTo>
                    <a:pt x="366103" y="157731"/>
                  </a:lnTo>
                  <a:lnTo>
                    <a:pt x="366103" y="157247"/>
                  </a:lnTo>
                  <a:lnTo>
                    <a:pt x="366103" y="156763"/>
                  </a:lnTo>
                  <a:lnTo>
                    <a:pt x="366042" y="156249"/>
                  </a:lnTo>
                  <a:lnTo>
                    <a:pt x="365861" y="153828"/>
                  </a:lnTo>
                  <a:lnTo>
                    <a:pt x="365891" y="152679"/>
                  </a:lnTo>
                  <a:lnTo>
                    <a:pt x="366012" y="151620"/>
                  </a:lnTo>
                  <a:lnTo>
                    <a:pt x="368886" y="150561"/>
                  </a:lnTo>
                  <a:lnTo>
                    <a:pt x="375148" y="150168"/>
                  </a:lnTo>
                  <a:lnTo>
                    <a:pt x="396445" y="145630"/>
                  </a:lnTo>
                  <a:lnTo>
                    <a:pt x="398079" y="145600"/>
                  </a:lnTo>
                  <a:lnTo>
                    <a:pt x="399622" y="146387"/>
                  </a:lnTo>
                  <a:lnTo>
                    <a:pt x="402617" y="148867"/>
                  </a:lnTo>
                  <a:lnTo>
                    <a:pt x="404069" y="149230"/>
                  </a:lnTo>
                  <a:lnTo>
                    <a:pt x="407245" y="149533"/>
                  </a:lnTo>
                  <a:lnTo>
                    <a:pt x="412690" y="152618"/>
                  </a:lnTo>
                  <a:lnTo>
                    <a:pt x="416290" y="152921"/>
                  </a:lnTo>
                  <a:lnTo>
                    <a:pt x="418801" y="152739"/>
                  </a:lnTo>
                  <a:lnTo>
                    <a:pt x="421766" y="153224"/>
                  </a:lnTo>
                  <a:lnTo>
                    <a:pt x="424579" y="154403"/>
                  </a:lnTo>
                  <a:lnTo>
                    <a:pt x="426606" y="156249"/>
                  </a:lnTo>
                  <a:lnTo>
                    <a:pt x="429147" y="156793"/>
                  </a:lnTo>
                  <a:lnTo>
                    <a:pt x="436952" y="153344"/>
                  </a:lnTo>
                  <a:lnTo>
                    <a:pt x="440279" y="152649"/>
                  </a:lnTo>
                  <a:lnTo>
                    <a:pt x="442125" y="153405"/>
                  </a:lnTo>
                  <a:lnTo>
                    <a:pt x="443365" y="154343"/>
                  </a:lnTo>
                  <a:lnTo>
                    <a:pt x="444484" y="154827"/>
                  </a:lnTo>
                  <a:lnTo>
                    <a:pt x="445997" y="154040"/>
                  </a:lnTo>
                  <a:lnTo>
                    <a:pt x="447177" y="152498"/>
                  </a:lnTo>
                  <a:lnTo>
                    <a:pt x="447721" y="150985"/>
                  </a:lnTo>
                  <a:lnTo>
                    <a:pt x="448568" y="149714"/>
                  </a:lnTo>
                  <a:lnTo>
                    <a:pt x="450535" y="148625"/>
                  </a:lnTo>
                  <a:lnTo>
                    <a:pt x="452229" y="148323"/>
                  </a:lnTo>
                  <a:lnTo>
                    <a:pt x="455647" y="148262"/>
                  </a:lnTo>
                  <a:lnTo>
                    <a:pt x="460881" y="146719"/>
                  </a:lnTo>
                  <a:lnTo>
                    <a:pt x="462363" y="147113"/>
                  </a:lnTo>
                  <a:lnTo>
                    <a:pt x="465721" y="148988"/>
                  </a:lnTo>
                  <a:lnTo>
                    <a:pt x="467566" y="149654"/>
                  </a:lnTo>
                  <a:lnTo>
                    <a:pt x="468413" y="150380"/>
                  </a:lnTo>
                  <a:lnTo>
                    <a:pt x="469079" y="151560"/>
                  </a:lnTo>
                  <a:lnTo>
                    <a:pt x="469987" y="154252"/>
                  </a:lnTo>
                  <a:lnTo>
                    <a:pt x="470652" y="155250"/>
                  </a:lnTo>
                  <a:lnTo>
                    <a:pt x="472255" y="155916"/>
                  </a:lnTo>
                  <a:lnTo>
                    <a:pt x="475976" y="155886"/>
                  </a:lnTo>
                  <a:lnTo>
                    <a:pt x="477700" y="156249"/>
                  </a:lnTo>
                  <a:lnTo>
                    <a:pt x="478578" y="157822"/>
                  </a:lnTo>
                  <a:lnTo>
                    <a:pt x="479878" y="163569"/>
                  </a:lnTo>
                  <a:lnTo>
                    <a:pt x="480695" y="165052"/>
                  </a:lnTo>
                  <a:lnTo>
                    <a:pt x="486352" y="173038"/>
                  </a:lnTo>
                  <a:lnTo>
                    <a:pt x="488742" y="175579"/>
                  </a:lnTo>
                  <a:lnTo>
                    <a:pt x="491374" y="177425"/>
                  </a:lnTo>
                  <a:lnTo>
                    <a:pt x="494551" y="178393"/>
                  </a:lnTo>
                  <a:lnTo>
                    <a:pt x="497606" y="178151"/>
                  </a:lnTo>
                  <a:lnTo>
                    <a:pt x="502809" y="175700"/>
                  </a:lnTo>
                  <a:lnTo>
                    <a:pt x="507165" y="175095"/>
                  </a:lnTo>
                  <a:lnTo>
                    <a:pt x="510221" y="173492"/>
                  </a:lnTo>
                  <a:lnTo>
                    <a:pt x="511673" y="172947"/>
                  </a:lnTo>
                  <a:lnTo>
                    <a:pt x="516937" y="172705"/>
                  </a:lnTo>
                  <a:lnTo>
                    <a:pt x="518782" y="172100"/>
                  </a:lnTo>
                  <a:lnTo>
                    <a:pt x="520597" y="172010"/>
                  </a:lnTo>
                  <a:lnTo>
                    <a:pt x="526617" y="172554"/>
                  </a:lnTo>
                  <a:lnTo>
                    <a:pt x="528493" y="172040"/>
                  </a:lnTo>
                  <a:lnTo>
                    <a:pt x="530247" y="170769"/>
                  </a:lnTo>
                  <a:lnTo>
                    <a:pt x="532153" y="168531"/>
                  </a:lnTo>
                  <a:lnTo>
                    <a:pt x="532244" y="158487"/>
                  </a:lnTo>
                  <a:lnTo>
                    <a:pt x="533363" y="156218"/>
                  </a:lnTo>
                  <a:lnTo>
                    <a:pt x="533696" y="154040"/>
                  </a:lnTo>
                  <a:lnTo>
                    <a:pt x="532546" y="148383"/>
                  </a:lnTo>
                  <a:lnTo>
                    <a:pt x="532758" y="145570"/>
                  </a:lnTo>
                  <a:lnTo>
                    <a:pt x="534241" y="143301"/>
                  </a:lnTo>
                  <a:lnTo>
                    <a:pt x="540835" y="138400"/>
                  </a:lnTo>
                  <a:lnTo>
                    <a:pt x="541440" y="137372"/>
                  </a:lnTo>
                  <a:lnTo>
                    <a:pt x="542499" y="135133"/>
                  </a:lnTo>
                  <a:lnTo>
                    <a:pt x="543255" y="134165"/>
                  </a:lnTo>
                  <a:lnTo>
                    <a:pt x="544496" y="133378"/>
                  </a:lnTo>
                  <a:lnTo>
                    <a:pt x="547188" y="132592"/>
                  </a:lnTo>
                  <a:lnTo>
                    <a:pt x="548398" y="131866"/>
                  </a:lnTo>
                  <a:lnTo>
                    <a:pt x="550001" y="129899"/>
                  </a:lnTo>
                  <a:lnTo>
                    <a:pt x="551242" y="127298"/>
                  </a:lnTo>
                  <a:lnTo>
                    <a:pt x="551877" y="124303"/>
                  </a:lnTo>
                  <a:lnTo>
                    <a:pt x="551756" y="121308"/>
                  </a:lnTo>
                  <a:lnTo>
                    <a:pt x="552059" y="119463"/>
                  </a:lnTo>
                  <a:lnTo>
                    <a:pt x="552845" y="118525"/>
                  </a:lnTo>
                  <a:lnTo>
                    <a:pt x="553783" y="117829"/>
                  </a:lnTo>
                  <a:lnTo>
                    <a:pt x="554660" y="116680"/>
                  </a:lnTo>
                  <a:lnTo>
                    <a:pt x="555356" y="115077"/>
                  </a:lnTo>
                  <a:lnTo>
                    <a:pt x="555598" y="114108"/>
                  </a:lnTo>
                  <a:lnTo>
                    <a:pt x="555356" y="109359"/>
                  </a:lnTo>
                  <a:lnTo>
                    <a:pt x="555174" y="108209"/>
                  </a:lnTo>
                  <a:lnTo>
                    <a:pt x="555235" y="107120"/>
                  </a:lnTo>
                  <a:lnTo>
                    <a:pt x="555900" y="105426"/>
                  </a:lnTo>
                  <a:lnTo>
                    <a:pt x="556112" y="105154"/>
                  </a:lnTo>
                  <a:lnTo>
                    <a:pt x="556869" y="104155"/>
                  </a:lnTo>
                  <a:lnTo>
                    <a:pt x="559289" y="102280"/>
                  </a:lnTo>
                  <a:lnTo>
                    <a:pt x="560226" y="101010"/>
                  </a:lnTo>
                  <a:lnTo>
                    <a:pt x="560438" y="100162"/>
                  </a:lnTo>
                  <a:lnTo>
                    <a:pt x="560408" y="98347"/>
                  </a:lnTo>
                  <a:lnTo>
                    <a:pt x="560529" y="97652"/>
                  </a:lnTo>
                  <a:lnTo>
                    <a:pt x="561800" y="95171"/>
                  </a:lnTo>
                  <a:lnTo>
                    <a:pt x="563978" y="89242"/>
                  </a:lnTo>
                  <a:lnTo>
                    <a:pt x="565732" y="87971"/>
                  </a:lnTo>
                  <a:lnTo>
                    <a:pt x="569604" y="87457"/>
                  </a:lnTo>
                  <a:lnTo>
                    <a:pt x="571177" y="86217"/>
                  </a:lnTo>
                  <a:lnTo>
                    <a:pt x="571117" y="83857"/>
                  </a:lnTo>
                  <a:lnTo>
                    <a:pt x="571601" y="80590"/>
                  </a:lnTo>
                  <a:lnTo>
                    <a:pt x="572327" y="77383"/>
                  </a:lnTo>
                  <a:lnTo>
                    <a:pt x="573083" y="75084"/>
                  </a:lnTo>
                  <a:lnTo>
                    <a:pt x="569604" y="73481"/>
                  </a:lnTo>
                  <a:close/>
                </a:path>
              </a:pathLst>
            </a:custGeom>
            <a:solidFill>
              <a:srgbClr val="96A3AC"/>
            </a:solidFill>
            <a:ln w="3175" cap="rnd">
              <a:solidFill>
                <a:schemeClr val="bg1"/>
              </a:solidFill>
              <a:prstDash val="solid"/>
              <a:round/>
            </a:ln>
          </p:spPr>
          <p:txBody>
            <a:bodyPr rtlCol="0" anchor="ctr"/>
            <a:lstStyle/>
            <a:p>
              <a:endParaRPr lang="en-ID"/>
            </a:p>
          </p:txBody>
        </p:sp>
        <p:sp>
          <p:nvSpPr>
            <p:cNvPr id="20" name="Freeform: Shape 19">
              <a:extLst>
                <a:ext uri="{FF2B5EF4-FFF2-40B4-BE49-F238E27FC236}">
                  <a16:creationId xmlns:a16="http://schemas.microsoft.com/office/drawing/2014/main" id="{8D59F0C5-8925-3AD2-1304-5F4E1DF9337D}"/>
                </a:ext>
              </a:extLst>
            </p:cNvPr>
            <p:cNvSpPr/>
            <p:nvPr/>
          </p:nvSpPr>
          <p:spPr>
            <a:xfrm>
              <a:off x="9630873" y="4463451"/>
              <a:ext cx="323789" cy="432141"/>
            </a:xfrm>
            <a:custGeom>
              <a:avLst/>
              <a:gdLst>
                <a:gd name="connsiteX0" fmla="*/ 416411 w 416562"/>
                <a:gd name="connsiteY0" fmla="*/ 387793 h 555960"/>
                <a:gd name="connsiteX1" fmla="*/ 416260 w 416562"/>
                <a:gd name="connsiteY1" fmla="*/ 386311 h 555960"/>
                <a:gd name="connsiteX2" fmla="*/ 414566 w 416562"/>
                <a:gd name="connsiteY2" fmla="*/ 385645 h 555960"/>
                <a:gd name="connsiteX3" fmla="*/ 409604 w 416562"/>
                <a:gd name="connsiteY3" fmla="*/ 384647 h 555960"/>
                <a:gd name="connsiteX4" fmla="*/ 407850 w 416562"/>
                <a:gd name="connsiteY4" fmla="*/ 383618 h 555960"/>
                <a:gd name="connsiteX5" fmla="*/ 406428 w 416562"/>
                <a:gd name="connsiteY5" fmla="*/ 382318 h 555960"/>
                <a:gd name="connsiteX6" fmla="*/ 403766 w 416562"/>
                <a:gd name="connsiteY6" fmla="*/ 378990 h 555960"/>
                <a:gd name="connsiteX7" fmla="*/ 401346 w 416562"/>
                <a:gd name="connsiteY7" fmla="*/ 376751 h 555960"/>
                <a:gd name="connsiteX8" fmla="*/ 400710 w 416562"/>
                <a:gd name="connsiteY8" fmla="*/ 375874 h 555960"/>
                <a:gd name="connsiteX9" fmla="*/ 400408 w 416562"/>
                <a:gd name="connsiteY9" fmla="*/ 374876 h 555960"/>
                <a:gd name="connsiteX10" fmla="*/ 400075 w 416562"/>
                <a:gd name="connsiteY10" fmla="*/ 372546 h 555960"/>
                <a:gd name="connsiteX11" fmla="*/ 399712 w 416562"/>
                <a:gd name="connsiteY11" fmla="*/ 371548 h 555960"/>
                <a:gd name="connsiteX12" fmla="*/ 398472 w 416562"/>
                <a:gd name="connsiteY12" fmla="*/ 369854 h 555960"/>
                <a:gd name="connsiteX13" fmla="*/ 391242 w 416562"/>
                <a:gd name="connsiteY13" fmla="*/ 363169 h 555960"/>
                <a:gd name="connsiteX14" fmla="*/ 390395 w 416562"/>
                <a:gd name="connsiteY14" fmla="*/ 362594 h 555960"/>
                <a:gd name="connsiteX15" fmla="*/ 389880 w 416562"/>
                <a:gd name="connsiteY15" fmla="*/ 362291 h 555960"/>
                <a:gd name="connsiteX16" fmla="*/ 388247 w 416562"/>
                <a:gd name="connsiteY16" fmla="*/ 361595 h 555960"/>
                <a:gd name="connsiteX17" fmla="*/ 387249 w 416562"/>
                <a:gd name="connsiteY17" fmla="*/ 361474 h 555960"/>
                <a:gd name="connsiteX18" fmla="*/ 385343 w 416562"/>
                <a:gd name="connsiteY18" fmla="*/ 361565 h 555960"/>
                <a:gd name="connsiteX19" fmla="*/ 384375 w 416562"/>
                <a:gd name="connsiteY19" fmla="*/ 361232 h 555960"/>
                <a:gd name="connsiteX20" fmla="*/ 383800 w 416562"/>
                <a:gd name="connsiteY20" fmla="*/ 360658 h 555960"/>
                <a:gd name="connsiteX21" fmla="*/ 383558 w 416562"/>
                <a:gd name="connsiteY21" fmla="*/ 360416 h 555960"/>
                <a:gd name="connsiteX22" fmla="*/ 382439 w 416562"/>
                <a:gd name="connsiteY22" fmla="*/ 358238 h 555960"/>
                <a:gd name="connsiteX23" fmla="*/ 381682 w 416562"/>
                <a:gd name="connsiteY23" fmla="*/ 357481 h 555960"/>
                <a:gd name="connsiteX24" fmla="*/ 380744 w 416562"/>
                <a:gd name="connsiteY24" fmla="*/ 357239 h 555960"/>
                <a:gd name="connsiteX25" fmla="*/ 378566 w 416562"/>
                <a:gd name="connsiteY25" fmla="*/ 357360 h 555960"/>
                <a:gd name="connsiteX26" fmla="*/ 377508 w 416562"/>
                <a:gd name="connsiteY26" fmla="*/ 357118 h 555960"/>
                <a:gd name="connsiteX27" fmla="*/ 376540 w 416562"/>
                <a:gd name="connsiteY27" fmla="*/ 356453 h 555960"/>
                <a:gd name="connsiteX28" fmla="*/ 375118 w 416562"/>
                <a:gd name="connsiteY28" fmla="*/ 354728 h 555960"/>
                <a:gd name="connsiteX29" fmla="*/ 374422 w 416562"/>
                <a:gd name="connsiteY29" fmla="*/ 354063 h 555960"/>
                <a:gd name="connsiteX30" fmla="*/ 371094 w 416562"/>
                <a:gd name="connsiteY30" fmla="*/ 352581 h 555960"/>
                <a:gd name="connsiteX31" fmla="*/ 369703 w 416562"/>
                <a:gd name="connsiteY31" fmla="*/ 351401 h 555960"/>
                <a:gd name="connsiteX32" fmla="*/ 368765 w 416562"/>
                <a:gd name="connsiteY32" fmla="*/ 348950 h 555960"/>
                <a:gd name="connsiteX33" fmla="*/ 366859 w 416562"/>
                <a:gd name="connsiteY33" fmla="*/ 342930 h 555960"/>
                <a:gd name="connsiteX34" fmla="*/ 365649 w 416562"/>
                <a:gd name="connsiteY34" fmla="*/ 340571 h 555960"/>
                <a:gd name="connsiteX35" fmla="*/ 365558 w 416562"/>
                <a:gd name="connsiteY35" fmla="*/ 339966 h 555960"/>
                <a:gd name="connsiteX36" fmla="*/ 365649 w 416562"/>
                <a:gd name="connsiteY36" fmla="*/ 339330 h 555960"/>
                <a:gd name="connsiteX37" fmla="*/ 365952 w 416562"/>
                <a:gd name="connsiteY37" fmla="*/ 338695 h 555960"/>
                <a:gd name="connsiteX38" fmla="*/ 366073 w 416562"/>
                <a:gd name="connsiteY38" fmla="*/ 338362 h 555960"/>
                <a:gd name="connsiteX39" fmla="*/ 366103 w 416562"/>
                <a:gd name="connsiteY39" fmla="*/ 338030 h 555960"/>
                <a:gd name="connsiteX40" fmla="*/ 366073 w 416562"/>
                <a:gd name="connsiteY40" fmla="*/ 337697 h 555960"/>
                <a:gd name="connsiteX41" fmla="*/ 365952 w 416562"/>
                <a:gd name="connsiteY41" fmla="*/ 337425 h 555960"/>
                <a:gd name="connsiteX42" fmla="*/ 365619 w 416562"/>
                <a:gd name="connsiteY42" fmla="*/ 336971 h 555960"/>
                <a:gd name="connsiteX43" fmla="*/ 365498 w 416562"/>
                <a:gd name="connsiteY43" fmla="*/ 336487 h 555960"/>
                <a:gd name="connsiteX44" fmla="*/ 365619 w 416562"/>
                <a:gd name="connsiteY44" fmla="*/ 336033 h 555960"/>
                <a:gd name="connsiteX45" fmla="*/ 365952 w 416562"/>
                <a:gd name="connsiteY45" fmla="*/ 335579 h 555960"/>
                <a:gd name="connsiteX46" fmla="*/ 365982 w 416562"/>
                <a:gd name="connsiteY46" fmla="*/ 335519 h 555960"/>
                <a:gd name="connsiteX47" fmla="*/ 366012 w 416562"/>
                <a:gd name="connsiteY47" fmla="*/ 335458 h 555960"/>
                <a:gd name="connsiteX48" fmla="*/ 365982 w 416562"/>
                <a:gd name="connsiteY48" fmla="*/ 335398 h 555960"/>
                <a:gd name="connsiteX49" fmla="*/ 365952 w 416562"/>
                <a:gd name="connsiteY49" fmla="*/ 335307 h 555960"/>
                <a:gd name="connsiteX50" fmla="*/ 365165 w 416562"/>
                <a:gd name="connsiteY50" fmla="*/ 333734 h 555960"/>
                <a:gd name="connsiteX51" fmla="*/ 365074 w 416562"/>
                <a:gd name="connsiteY51" fmla="*/ 330799 h 555960"/>
                <a:gd name="connsiteX52" fmla="*/ 364409 w 416562"/>
                <a:gd name="connsiteY52" fmla="*/ 329136 h 555960"/>
                <a:gd name="connsiteX53" fmla="*/ 363380 w 416562"/>
                <a:gd name="connsiteY53" fmla="*/ 328198 h 555960"/>
                <a:gd name="connsiteX54" fmla="*/ 360416 w 416562"/>
                <a:gd name="connsiteY54" fmla="*/ 326685 h 555960"/>
                <a:gd name="connsiteX55" fmla="*/ 359145 w 416562"/>
                <a:gd name="connsiteY55" fmla="*/ 325626 h 555960"/>
                <a:gd name="connsiteX56" fmla="*/ 358238 w 416562"/>
                <a:gd name="connsiteY56" fmla="*/ 324265 h 555960"/>
                <a:gd name="connsiteX57" fmla="*/ 357421 w 416562"/>
                <a:gd name="connsiteY57" fmla="*/ 322692 h 555960"/>
                <a:gd name="connsiteX58" fmla="*/ 356786 w 416562"/>
                <a:gd name="connsiteY58" fmla="*/ 321058 h 555960"/>
                <a:gd name="connsiteX59" fmla="*/ 356332 w 416562"/>
                <a:gd name="connsiteY59" fmla="*/ 319364 h 555960"/>
                <a:gd name="connsiteX60" fmla="*/ 356332 w 416562"/>
                <a:gd name="connsiteY60" fmla="*/ 318306 h 555960"/>
                <a:gd name="connsiteX61" fmla="*/ 356695 w 416562"/>
                <a:gd name="connsiteY61" fmla="*/ 316188 h 555960"/>
                <a:gd name="connsiteX62" fmla="*/ 356604 w 416562"/>
                <a:gd name="connsiteY62" fmla="*/ 315190 h 555960"/>
                <a:gd name="connsiteX63" fmla="*/ 353972 w 416562"/>
                <a:gd name="connsiteY63" fmla="*/ 312286 h 555960"/>
                <a:gd name="connsiteX64" fmla="*/ 352671 w 416562"/>
                <a:gd name="connsiteY64" fmla="*/ 308837 h 555960"/>
                <a:gd name="connsiteX65" fmla="*/ 353185 w 416562"/>
                <a:gd name="connsiteY65" fmla="*/ 306054 h 555960"/>
                <a:gd name="connsiteX66" fmla="*/ 354486 w 416562"/>
                <a:gd name="connsiteY66" fmla="*/ 303119 h 555960"/>
                <a:gd name="connsiteX67" fmla="*/ 355424 w 416562"/>
                <a:gd name="connsiteY67" fmla="*/ 299156 h 555960"/>
                <a:gd name="connsiteX68" fmla="*/ 355636 w 416562"/>
                <a:gd name="connsiteY68" fmla="*/ 295345 h 555960"/>
                <a:gd name="connsiteX69" fmla="*/ 355938 w 416562"/>
                <a:gd name="connsiteY69" fmla="*/ 294679 h 555960"/>
                <a:gd name="connsiteX70" fmla="*/ 356937 w 416562"/>
                <a:gd name="connsiteY70" fmla="*/ 292985 h 555960"/>
                <a:gd name="connsiteX71" fmla="*/ 357179 w 416562"/>
                <a:gd name="connsiteY71" fmla="*/ 292410 h 555960"/>
                <a:gd name="connsiteX72" fmla="*/ 357421 w 416562"/>
                <a:gd name="connsiteY72" fmla="*/ 290414 h 555960"/>
                <a:gd name="connsiteX73" fmla="*/ 357481 w 416562"/>
                <a:gd name="connsiteY73" fmla="*/ 286693 h 555960"/>
                <a:gd name="connsiteX74" fmla="*/ 357693 w 416562"/>
                <a:gd name="connsiteY74" fmla="*/ 285089 h 555960"/>
                <a:gd name="connsiteX75" fmla="*/ 358933 w 416562"/>
                <a:gd name="connsiteY75" fmla="*/ 283365 h 555960"/>
                <a:gd name="connsiteX76" fmla="*/ 361202 w 416562"/>
                <a:gd name="connsiteY76" fmla="*/ 282458 h 555960"/>
                <a:gd name="connsiteX77" fmla="*/ 364379 w 416562"/>
                <a:gd name="connsiteY77" fmla="*/ 281974 h 555960"/>
                <a:gd name="connsiteX78" fmla="*/ 365952 w 416562"/>
                <a:gd name="connsiteY78" fmla="*/ 281762 h 555960"/>
                <a:gd name="connsiteX79" fmla="*/ 368190 w 416562"/>
                <a:gd name="connsiteY79" fmla="*/ 281671 h 555960"/>
                <a:gd name="connsiteX80" fmla="*/ 369309 w 416562"/>
                <a:gd name="connsiteY80" fmla="*/ 280340 h 555960"/>
                <a:gd name="connsiteX81" fmla="*/ 370096 w 416562"/>
                <a:gd name="connsiteY81" fmla="*/ 278495 h 555960"/>
                <a:gd name="connsiteX82" fmla="*/ 371246 w 416562"/>
                <a:gd name="connsiteY82" fmla="*/ 276891 h 555960"/>
                <a:gd name="connsiteX83" fmla="*/ 373303 w 416562"/>
                <a:gd name="connsiteY83" fmla="*/ 276226 h 555960"/>
                <a:gd name="connsiteX84" fmla="*/ 375390 w 416562"/>
                <a:gd name="connsiteY84" fmla="*/ 276347 h 555960"/>
                <a:gd name="connsiteX85" fmla="*/ 377145 w 416562"/>
                <a:gd name="connsiteY85" fmla="*/ 276044 h 555960"/>
                <a:gd name="connsiteX86" fmla="*/ 378355 w 416562"/>
                <a:gd name="connsiteY86" fmla="*/ 274048 h 555960"/>
                <a:gd name="connsiteX87" fmla="*/ 378325 w 416562"/>
                <a:gd name="connsiteY87" fmla="*/ 272928 h 555960"/>
                <a:gd name="connsiteX88" fmla="*/ 377689 w 416562"/>
                <a:gd name="connsiteY88" fmla="*/ 270206 h 555960"/>
                <a:gd name="connsiteX89" fmla="*/ 377599 w 416562"/>
                <a:gd name="connsiteY89" fmla="*/ 268935 h 555960"/>
                <a:gd name="connsiteX90" fmla="*/ 377780 w 416562"/>
                <a:gd name="connsiteY90" fmla="*/ 267483 h 555960"/>
                <a:gd name="connsiteX91" fmla="*/ 378808 w 416562"/>
                <a:gd name="connsiteY91" fmla="*/ 263672 h 555960"/>
                <a:gd name="connsiteX92" fmla="*/ 378688 w 416562"/>
                <a:gd name="connsiteY92" fmla="*/ 263672 h 555960"/>
                <a:gd name="connsiteX93" fmla="*/ 378476 w 416562"/>
                <a:gd name="connsiteY93" fmla="*/ 263278 h 555960"/>
                <a:gd name="connsiteX94" fmla="*/ 378355 w 416562"/>
                <a:gd name="connsiteY94" fmla="*/ 262583 h 555960"/>
                <a:gd name="connsiteX95" fmla="*/ 378476 w 416562"/>
                <a:gd name="connsiteY95" fmla="*/ 261796 h 555960"/>
                <a:gd name="connsiteX96" fmla="*/ 378748 w 416562"/>
                <a:gd name="connsiteY96" fmla="*/ 261645 h 555960"/>
                <a:gd name="connsiteX97" fmla="*/ 380351 w 416562"/>
                <a:gd name="connsiteY97" fmla="*/ 259890 h 555960"/>
                <a:gd name="connsiteX98" fmla="*/ 381894 w 416562"/>
                <a:gd name="connsiteY98" fmla="*/ 257591 h 555960"/>
                <a:gd name="connsiteX99" fmla="*/ 382771 w 416562"/>
                <a:gd name="connsiteY99" fmla="*/ 256714 h 555960"/>
                <a:gd name="connsiteX100" fmla="*/ 387097 w 416562"/>
                <a:gd name="connsiteY100" fmla="*/ 254868 h 555960"/>
                <a:gd name="connsiteX101" fmla="*/ 387007 w 416562"/>
                <a:gd name="connsiteY101" fmla="*/ 254808 h 555960"/>
                <a:gd name="connsiteX102" fmla="*/ 386462 w 416562"/>
                <a:gd name="connsiteY102" fmla="*/ 252932 h 555960"/>
                <a:gd name="connsiteX103" fmla="*/ 386886 w 416562"/>
                <a:gd name="connsiteY103" fmla="*/ 246731 h 555960"/>
                <a:gd name="connsiteX104" fmla="*/ 386069 w 416562"/>
                <a:gd name="connsiteY104" fmla="*/ 244976 h 555960"/>
                <a:gd name="connsiteX105" fmla="*/ 384163 w 416562"/>
                <a:gd name="connsiteY105" fmla="*/ 244129 h 555960"/>
                <a:gd name="connsiteX106" fmla="*/ 380018 w 416562"/>
                <a:gd name="connsiteY106" fmla="*/ 243585 h 555960"/>
                <a:gd name="connsiteX107" fmla="*/ 376146 w 416562"/>
                <a:gd name="connsiteY107" fmla="*/ 241981 h 555960"/>
                <a:gd name="connsiteX108" fmla="*/ 372788 w 416562"/>
                <a:gd name="connsiteY108" fmla="*/ 239319 h 555960"/>
                <a:gd name="connsiteX109" fmla="*/ 370096 w 416562"/>
                <a:gd name="connsiteY109" fmla="*/ 235961 h 555960"/>
                <a:gd name="connsiteX110" fmla="*/ 368311 w 416562"/>
                <a:gd name="connsiteY110" fmla="*/ 232210 h 555960"/>
                <a:gd name="connsiteX111" fmla="*/ 368220 w 416562"/>
                <a:gd name="connsiteY111" fmla="*/ 231212 h 555960"/>
                <a:gd name="connsiteX112" fmla="*/ 368432 w 416562"/>
                <a:gd name="connsiteY112" fmla="*/ 229185 h 555960"/>
                <a:gd name="connsiteX113" fmla="*/ 368341 w 416562"/>
                <a:gd name="connsiteY113" fmla="*/ 228217 h 555960"/>
                <a:gd name="connsiteX114" fmla="*/ 367918 w 416562"/>
                <a:gd name="connsiteY114" fmla="*/ 227309 h 555960"/>
                <a:gd name="connsiteX115" fmla="*/ 365800 w 416562"/>
                <a:gd name="connsiteY115" fmla="*/ 225525 h 555960"/>
                <a:gd name="connsiteX116" fmla="*/ 365498 w 416562"/>
                <a:gd name="connsiteY116" fmla="*/ 224465 h 555960"/>
                <a:gd name="connsiteX117" fmla="*/ 365528 w 416562"/>
                <a:gd name="connsiteY117" fmla="*/ 222802 h 555960"/>
                <a:gd name="connsiteX118" fmla="*/ 365770 w 416562"/>
                <a:gd name="connsiteY118" fmla="*/ 221047 h 555960"/>
                <a:gd name="connsiteX119" fmla="*/ 366224 w 416562"/>
                <a:gd name="connsiteY119" fmla="*/ 219837 h 555960"/>
                <a:gd name="connsiteX120" fmla="*/ 366920 w 416562"/>
                <a:gd name="connsiteY120" fmla="*/ 219262 h 555960"/>
                <a:gd name="connsiteX121" fmla="*/ 367827 w 416562"/>
                <a:gd name="connsiteY121" fmla="*/ 218990 h 555960"/>
                <a:gd name="connsiteX122" fmla="*/ 371397 w 416562"/>
                <a:gd name="connsiteY122" fmla="*/ 218839 h 555960"/>
                <a:gd name="connsiteX123" fmla="*/ 372668 w 416562"/>
                <a:gd name="connsiteY123" fmla="*/ 218294 h 555960"/>
                <a:gd name="connsiteX124" fmla="*/ 373514 w 416562"/>
                <a:gd name="connsiteY124" fmla="*/ 217054 h 555960"/>
                <a:gd name="connsiteX125" fmla="*/ 373817 w 416562"/>
                <a:gd name="connsiteY125" fmla="*/ 214785 h 555960"/>
                <a:gd name="connsiteX126" fmla="*/ 374422 w 416562"/>
                <a:gd name="connsiteY126" fmla="*/ 212637 h 555960"/>
                <a:gd name="connsiteX127" fmla="*/ 375904 w 416562"/>
                <a:gd name="connsiteY127" fmla="*/ 211336 h 555960"/>
                <a:gd name="connsiteX128" fmla="*/ 377901 w 416562"/>
                <a:gd name="connsiteY128" fmla="*/ 210762 h 555960"/>
                <a:gd name="connsiteX129" fmla="*/ 380018 w 416562"/>
                <a:gd name="connsiteY129" fmla="*/ 210852 h 555960"/>
                <a:gd name="connsiteX130" fmla="*/ 382106 w 416562"/>
                <a:gd name="connsiteY130" fmla="*/ 211639 h 555960"/>
                <a:gd name="connsiteX131" fmla="*/ 385797 w 416562"/>
                <a:gd name="connsiteY131" fmla="*/ 213908 h 555960"/>
                <a:gd name="connsiteX132" fmla="*/ 387944 w 416562"/>
                <a:gd name="connsiteY132" fmla="*/ 214392 h 555960"/>
                <a:gd name="connsiteX133" fmla="*/ 389880 w 416562"/>
                <a:gd name="connsiteY133" fmla="*/ 214089 h 555960"/>
                <a:gd name="connsiteX134" fmla="*/ 392119 w 416562"/>
                <a:gd name="connsiteY134" fmla="*/ 213091 h 555960"/>
                <a:gd name="connsiteX135" fmla="*/ 393874 w 416562"/>
                <a:gd name="connsiteY135" fmla="*/ 211427 h 555960"/>
                <a:gd name="connsiteX136" fmla="*/ 394479 w 416562"/>
                <a:gd name="connsiteY136" fmla="*/ 209098 h 555960"/>
                <a:gd name="connsiteX137" fmla="*/ 389427 w 416562"/>
                <a:gd name="connsiteY137" fmla="*/ 203864 h 555960"/>
                <a:gd name="connsiteX138" fmla="*/ 387944 w 416562"/>
                <a:gd name="connsiteY138" fmla="*/ 202896 h 555960"/>
                <a:gd name="connsiteX139" fmla="*/ 380018 w 416562"/>
                <a:gd name="connsiteY139" fmla="*/ 202019 h 555960"/>
                <a:gd name="connsiteX140" fmla="*/ 376600 w 416562"/>
                <a:gd name="connsiteY140" fmla="*/ 200476 h 555960"/>
                <a:gd name="connsiteX141" fmla="*/ 373182 w 416562"/>
                <a:gd name="connsiteY141" fmla="*/ 197905 h 555960"/>
                <a:gd name="connsiteX142" fmla="*/ 366163 w 416562"/>
                <a:gd name="connsiteY142" fmla="*/ 190765 h 555960"/>
                <a:gd name="connsiteX143" fmla="*/ 364681 w 416562"/>
                <a:gd name="connsiteY143" fmla="*/ 189979 h 555960"/>
                <a:gd name="connsiteX144" fmla="*/ 362836 w 416562"/>
                <a:gd name="connsiteY144" fmla="*/ 189616 h 555960"/>
                <a:gd name="connsiteX145" fmla="*/ 360355 w 416562"/>
                <a:gd name="connsiteY145" fmla="*/ 189525 h 555960"/>
                <a:gd name="connsiteX146" fmla="*/ 359296 w 416562"/>
                <a:gd name="connsiteY146" fmla="*/ 190282 h 555960"/>
                <a:gd name="connsiteX147" fmla="*/ 355787 w 416562"/>
                <a:gd name="connsiteY147" fmla="*/ 193821 h 555960"/>
                <a:gd name="connsiteX148" fmla="*/ 353821 w 416562"/>
                <a:gd name="connsiteY148" fmla="*/ 194910 h 555960"/>
                <a:gd name="connsiteX149" fmla="*/ 349676 w 416562"/>
                <a:gd name="connsiteY149" fmla="*/ 195787 h 555960"/>
                <a:gd name="connsiteX150" fmla="*/ 348164 w 416562"/>
                <a:gd name="connsiteY150" fmla="*/ 196816 h 555960"/>
                <a:gd name="connsiteX151" fmla="*/ 347589 w 416562"/>
                <a:gd name="connsiteY151" fmla="*/ 198843 h 555960"/>
                <a:gd name="connsiteX152" fmla="*/ 336124 w 416562"/>
                <a:gd name="connsiteY152" fmla="*/ 217871 h 555960"/>
                <a:gd name="connsiteX153" fmla="*/ 334823 w 416562"/>
                <a:gd name="connsiteY153" fmla="*/ 219141 h 555960"/>
                <a:gd name="connsiteX154" fmla="*/ 332403 w 416562"/>
                <a:gd name="connsiteY154" fmla="*/ 219686 h 555960"/>
                <a:gd name="connsiteX155" fmla="*/ 330225 w 416562"/>
                <a:gd name="connsiteY155" fmla="*/ 219474 h 555960"/>
                <a:gd name="connsiteX156" fmla="*/ 327986 w 416562"/>
                <a:gd name="connsiteY156" fmla="*/ 218567 h 555960"/>
                <a:gd name="connsiteX157" fmla="*/ 326231 w 416562"/>
                <a:gd name="connsiteY157" fmla="*/ 216993 h 555960"/>
                <a:gd name="connsiteX158" fmla="*/ 325173 w 416562"/>
                <a:gd name="connsiteY158" fmla="*/ 213242 h 555960"/>
                <a:gd name="connsiteX159" fmla="*/ 324265 w 416562"/>
                <a:gd name="connsiteY159" fmla="*/ 212395 h 555960"/>
                <a:gd name="connsiteX160" fmla="*/ 323116 w 416562"/>
                <a:gd name="connsiteY160" fmla="*/ 211760 h 555960"/>
                <a:gd name="connsiteX161" fmla="*/ 322027 w 416562"/>
                <a:gd name="connsiteY161" fmla="*/ 210852 h 555960"/>
                <a:gd name="connsiteX162" fmla="*/ 321482 w 416562"/>
                <a:gd name="connsiteY162" fmla="*/ 209854 h 555960"/>
                <a:gd name="connsiteX163" fmla="*/ 321149 w 416562"/>
                <a:gd name="connsiteY163" fmla="*/ 208220 h 555960"/>
                <a:gd name="connsiteX164" fmla="*/ 320937 w 416562"/>
                <a:gd name="connsiteY164" fmla="*/ 207343 h 555960"/>
                <a:gd name="connsiteX165" fmla="*/ 320726 w 416562"/>
                <a:gd name="connsiteY165" fmla="*/ 206436 h 555960"/>
                <a:gd name="connsiteX166" fmla="*/ 317912 w 416562"/>
                <a:gd name="connsiteY166" fmla="*/ 200174 h 555960"/>
                <a:gd name="connsiteX167" fmla="*/ 316914 w 416562"/>
                <a:gd name="connsiteY167" fmla="*/ 199266 h 555960"/>
                <a:gd name="connsiteX168" fmla="*/ 313708 w 416562"/>
                <a:gd name="connsiteY168" fmla="*/ 198782 h 555960"/>
                <a:gd name="connsiteX169" fmla="*/ 304602 w 416562"/>
                <a:gd name="connsiteY169" fmla="*/ 194426 h 555960"/>
                <a:gd name="connsiteX170" fmla="*/ 302938 w 416562"/>
                <a:gd name="connsiteY170" fmla="*/ 194093 h 555960"/>
                <a:gd name="connsiteX171" fmla="*/ 301214 w 416562"/>
                <a:gd name="connsiteY171" fmla="*/ 194517 h 555960"/>
                <a:gd name="connsiteX172" fmla="*/ 297553 w 416562"/>
                <a:gd name="connsiteY172" fmla="*/ 195999 h 555960"/>
                <a:gd name="connsiteX173" fmla="*/ 293015 w 416562"/>
                <a:gd name="connsiteY173" fmla="*/ 196846 h 555960"/>
                <a:gd name="connsiteX174" fmla="*/ 287842 w 416562"/>
                <a:gd name="connsiteY174" fmla="*/ 196876 h 555960"/>
                <a:gd name="connsiteX175" fmla="*/ 282911 w 416562"/>
                <a:gd name="connsiteY175" fmla="*/ 195485 h 555960"/>
                <a:gd name="connsiteX176" fmla="*/ 279221 w 416562"/>
                <a:gd name="connsiteY176" fmla="*/ 192097 h 555960"/>
                <a:gd name="connsiteX177" fmla="*/ 278283 w 416562"/>
                <a:gd name="connsiteY177" fmla="*/ 189737 h 555960"/>
                <a:gd name="connsiteX178" fmla="*/ 277678 w 416562"/>
                <a:gd name="connsiteY178" fmla="*/ 187407 h 555960"/>
                <a:gd name="connsiteX179" fmla="*/ 276801 w 416562"/>
                <a:gd name="connsiteY179" fmla="*/ 185320 h 555960"/>
                <a:gd name="connsiteX180" fmla="*/ 275016 w 416562"/>
                <a:gd name="connsiteY180" fmla="*/ 183808 h 555960"/>
                <a:gd name="connsiteX181" fmla="*/ 273049 w 416562"/>
                <a:gd name="connsiteY181" fmla="*/ 183263 h 555960"/>
                <a:gd name="connsiteX182" fmla="*/ 266908 w 416562"/>
                <a:gd name="connsiteY182" fmla="*/ 183747 h 555960"/>
                <a:gd name="connsiteX183" fmla="*/ 258347 w 416562"/>
                <a:gd name="connsiteY183" fmla="*/ 182870 h 555960"/>
                <a:gd name="connsiteX184" fmla="*/ 256714 w 416562"/>
                <a:gd name="connsiteY184" fmla="*/ 182174 h 555960"/>
                <a:gd name="connsiteX185" fmla="*/ 254959 w 416562"/>
                <a:gd name="connsiteY185" fmla="*/ 178725 h 555960"/>
                <a:gd name="connsiteX186" fmla="*/ 253144 w 416562"/>
                <a:gd name="connsiteY186" fmla="*/ 177455 h 555960"/>
                <a:gd name="connsiteX187" fmla="*/ 253084 w 416562"/>
                <a:gd name="connsiteY187" fmla="*/ 177425 h 555960"/>
                <a:gd name="connsiteX188" fmla="*/ 253084 w 416562"/>
                <a:gd name="connsiteY188" fmla="*/ 177425 h 555960"/>
                <a:gd name="connsiteX189" fmla="*/ 251359 w 416562"/>
                <a:gd name="connsiteY189" fmla="*/ 176729 h 555960"/>
                <a:gd name="connsiteX190" fmla="*/ 251722 w 416562"/>
                <a:gd name="connsiteY190" fmla="*/ 174944 h 555960"/>
                <a:gd name="connsiteX191" fmla="*/ 252660 w 416562"/>
                <a:gd name="connsiteY191" fmla="*/ 173522 h 555960"/>
                <a:gd name="connsiteX192" fmla="*/ 253961 w 416562"/>
                <a:gd name="connsiteY192" fmla="*/ 172463 h 555960"/>
                <a:gd name="connsiteX193" fmla="*/ 256653 w 416562"/>
                <a:gd name="connsiteY193" fmla="*/ 171556 h 555960"/>
                <a:gd name="connsiteX194" fmla="*/ 262492 w 416562"/>
                <a:gd name="connsiteY194" fmla="*/ 171828 h 555960"/>
                <a:gd name="connsiteX195" fmla="*/ 265305 w 416562"/>
                <a:gd name="connsiteY195" fmla="*/ 171435 h 555960"/>
                <a:gd name="connsiteX196" fmla="*/ 269419 w 416562"/>
                <a:gd name="connsiteY196" fmla="*/ 170376 h 555960"/>
                <a:gd name="connsiteX197" fmla="*/ 270841 w 416562"/>
                <a:gd name="connsiteY197" fmla="*/ 169287 h 555960"/>
                <a:gd name="connsiteX198" fmla="*/ 271113 w 416562"/>
                <a:gd name="connsiteY198" fmla="*/ 166776 h 555960"/>
                <a:gd name="connsiteX199" fmla="*/ 270296 w 416562"/>
                <a:gd name="connsiteY199" fmla="*/ 164659 h 555960"/>
                <a:gd name="connsiteX200" fmla="*/ 268844 w 416562"/>
                <a:gd name="connsiteY200" fmla="*/ 163449 h 555960"/>
                <a:gd name="connsiteX201" fmla="*/ 265305 w 416562"/>
                <a:gd name="connsiteY201" fmla="*/ 162208 h 555960"/>
                <a:gd name="connsiteX202" fmla="*/ 262794 w 416562"/>
                <a:gd name="connsiteY202" fmla="*/ 161059 h 555960"/>
                <a:gd name="connsiteX203" fmla="*/ 257984 w 416562"/>
                <a:gd name="connsiteY203" fmla="*/ 160272 h 555960"/>
                <a:gd name="connsiteX204" fmla="*/ 255625 w 416562"/>
                <a:gd name="connsiteY204" fmla="*/ 158820 h 555960"/>
                <a:gd name="connsiteX205" fmla="*/ 255564 w 416562"/>
                <a:gd name="connsiteY205" fmla="*/ 158094 h 555960"/>
                <a:gd name="connsiteX206" fmla="*/ 255806 w 416562"/>
                <a:gd name="connsiteY206" fmla="*/ 157247 h 555960"/>
                <a:gd name="connsiteX207" fmla="*/ 255503 w 416562"/>
                <a:gd name="connsiteY207" fmla="*/ 156581 h 555960"/>
                <a:gd name="connsiteX208" fmla="*/ 253810 w 416562"/>
                <a:gd name="connsiteY208" fmla="*/ 156491 h 555960"/>
                <a:gd name="connsiteX209" fmla="*/ 252448 w 416562"/>
                <a:gd name="connsiteY209" fmla="*/ 156158 h 555960"/>
                <a:gd name="connsiteX210" fmla="*/ 252206 w 416562"/>
                <a:gd name="connsiteY210" fmla="*/ 155069 h 555960"/>
                <a:gd name="connsiteX211" fmla="*/ 252690 w 416562"/>
                <a:gd name="connsiteY211" fmla="*/ 153707 h 555960"/>
                <a:gd name="connsiteX212" fmla="*/ 253447 w 416562"/>
                <a:gd name="connsiteY212" fmla="*/ 152679 h 555960"/>
                <a:gd name="connsiteX213" fmla="*/ 254445 w 416562"/>
                <a:gd name="connsiteY213" fmla="*/ 152225 h 555960"/>
                <a:gd name="connsiteX214" fmla="*/ 256986 w 416562"/>
                <a:gd name="connsiteY214" fmla="*/ 152044 h 555960"/>
                <a:gd name="connsiteX215" fmla="*/ 258045 w 416562"/>
                <a:gd name="connsiteY215" fmla="*/ 151711 h 555960"/>
                <a:gd name="connsiteX216" fmla="*/ 259315 w 416562"/>
                <a:gd name="connsiteY216" fmla="*/ 150712 h 555960"/>
                <a:gd name="connsiteX217" fmla="*/ 259648 w 416562"/>
                <a:gd name="connsiteY217" fmla="*/ 150108 h 555960"/>
                <a:gd name="connsiteX218" fmla="*/ 259708 w 416562"/>
                <a:gd name="connsiteY218" fmla="*/ 149200 h 555960"/>
                <a:gd name="connsiteX219" fmla="*/ 260102 w 416562"/>
                <a:gd name="connsiteY219" fmla="*/ 147355 h 555960"/>
                <a:gd name="connsiteX220" fmla="*/ 260404 w 416562"/>
                <a:gd name="connsiteY220" fmla="*/ 146810 h 555960"/>
                <a:gd name="connsiteX221" fmla="*/ 261251 w 416562"/>
                <a:gd name="connsiteY221" fmla="*/ 145872 h 555960"/>
                <a:gd name="connsiteX222" fmla="*/ 261524 w 416562"/>
                <a:gd name="connsiteY222" fmla="*/ 145298 h 555960"/>
                <a:gd name="connsiteX223" fmla="*/ 261584 w 416562"/>
                <a:gd name="connsiteY223" fmla="*/ 144662 h 555960"/>
                <a:gd name="connsiteX224" fmla="*/ 261584 w 416562"/>
                <a:gd name="connsiteY224" fmla="*/ 143694 h 555960"/>
                <a:gd name="connsiteX225" fmla="*/ 261524 w 416562"/>
                <a:gd name="connsiteY225" fmla="*/ 142877 h 555960"/>
                <a:gd name="connsiteX226" fmla="*/ 261372 w 416562"/>
                <a:gd name="connsiteY226" fmla="*/ 142696 h 555960"/>
                <a:gd name="connsiteX227" fmla="*/ 262159 w 416562"/>
                <a:gd name="connsiteY227" fmla="*/ 141637 h 555960"/>
                <a:gd name="connsiteX228" fmla="*/ 263006 w 416562"/>
                <a:gd name="connsiteY228" fmla="*/ 140821 h 555960"/>
                <a:gd name="connsiteX229" fmla="*/ 264065 w 416562"/>
                <a:gd name="connsiteY229" fmla="*/ 140336 h 555960"/>
                <a:gd name="connsiteX230" fmla="*/ 265305 w 416562"/>
                <a:gd name="connsiteY230" fmla="*/ 140276 h 555960"/>
                <a:gd name="connsiteX231" fmla="*/ 266576 w 416562"/>
                <a:gd name="connsiteY231" fmla="*/ 139247 h 555960"/>
                <a:gd name="connsiteX232" fmla="*/ 266969 w 416562"/>
                <a:gd name="connsiteY232" fmla="*/ 137583 h 555960"/>
                <a:gd name="connsiteX233" fmla="*/ 266515 w 416562"/>
                <a:gd name="connsiteY233" fmla="*/ 135859 h 555960"/>
                <a:gd name="connsiteX234" fmla="*/ 265608 w 416562"/>
                <a:gd name="connsiteY234" fmla="*/ 134861 h 555960"/>
                <a:gd name="connsiteX235" fmla="*/ 263097 w 416562"/>
                <a:gd name="connsiteY235" fmla="*/ 132078 h 555960"/>
                <a:gd name="connsiteX236" fmla="*/ 260525 w 416562"/>
                <a:gd name="connsiteY236" fmla="*/ 130142 h 555960"/>
                <a:gd name="connsiteX237" fmla="*/ 257682 w 416562"/>
                <a:gd name="connsiteY237" fmla="*/ 128720 h 555960"/>
                <a:gd name="connsiteX238" fmla="*/ 247003 w 416562"/>
                <a:gd name="connsiteY238" fmla="*/ 125634 h 555960"/>
                <a:gd name="connsiteX239" fmla="*/ 242737 w 416562"/>
                <a:gd name="connsiteY239" fmla="*/ 125513 h 555960"/>
                <a:gd name="connsiteX240" fmla="*/ 240922 w 416562"/>
                <a:gd name="connsiteY240" fmla="*/ 124848 h 555960"/>
                <a:gd name="connsiteX241" fmla="*/ 237595 w 416562"/>
                <a:gd name="connsiteY241" fmla="*/ 122670 h 555960"/>
                <a:gd name="connsiteX242" fmla="*/ 235961 w 416562"/>
                <a:gd name="connsiteY242" fmla="*/ 120885 h 555960"/>
                <a:gd name="connsiteX243" fmla="*/ 232512 w 416562"/>
                <a:gd name="connsiteY243" fmla="*/ 116196 h 555960"/>
                <a:gd name="connsiteX244" fmla="*/ 230879 w 416562"/>
                <a:gd name="connsiteY244" fmla="*/ 115077 h 555960"/>
                <a:gd name="connsiteX245" fmla="*/ 229850 w 416562"/>
                <a:gd name="connsiteY245" fmla="*/ 115318 h 555960"/>
                <a:gd name="connsiteX246" fmla="*/ 228247 w 416562"/>
                <a:gd name="connsiteY246" fmla="*/ 116982 h 555960"/>
                <a:gd name="connsiteX247" fmla="*/ 227249 w 416562"/>
                <a:gd name="connsiteY247" fmla="*/ 117406 h 555960"/>
                <a:gd name="connsiteX248" fmla="*/ 226069 w 416562"/>
                <a:gd name="connsiteY248" fmla="*/ 117133 h 555960"/>
                <a:gd name="connsiteX249" fmla="*/ 225192 w 416562"/>
                <a:gd name="connsiteY249" fmla="*/ 116407 h 555960"/>
                <a:gd name="connsiteX250" fmla="*/ 224345 w 416562"/>
                <a:gd name="connsiteY250" fmla="*/ 115500 h 555960"/>
                <a:gd name="connsiteX251" fmla="*/ 223316 w 416562"/>
                <a:gd name="connsiteY251" fmla="*/ 114744 h 555960"/>
                <a:gd name="connsiteX252" fmla="*/ 218536 w 416562"/>
                <a:gd name="connsiteY252" fmla="*/ 112747 h 555960"/>
                <a:gd name="connsiteX253" fmla="*/ 214997 w 416562"/>
                <a:gd name="connsiteY253" fmla="*/ 111265 h 555960"/>
                <a:gd name="connsiteX254" fmla="*/ 213485 w 416562"/>
                <a:gd name="connsiteY254" fmla="*/ 110115 h 555960"/>
                <a:gd name="connsiteX255" fmla="*/ 209582 w 416562"/>
                <a:gd name="connsiteY255" fmla="*/ 105396 h 555960"/>
                <a:gd name="connsiteX256" fmla="*/ 203078 w 416562"/>
                <a:gd name="connsiteY256" fmla="*/ 99981 h 555960"/>
                <a:gd name="connsiteX257" fmla="*/ 199811 w 416562"/>
                <a:gd name="connsiteY257" fmla="*/ 95534 h 555960"/>
                <a:gd name="connsiteX258" fmla="*/ 198359 w 416562"/>
                <a:gd name="connsiteY258" fmla="*/ 94173 h 555960"/>
                <a:gd name="connsiteX259" fmla="*/ 196695 w 416562"/>
                <a:gd name="connsiteY259" fmla="*/ 93416 h 555960"/>
                <a:gd name="connsiteX260" fmla="*/ 194880 w 416562"/>
                <a:gd name="connsiteY260" fmla="*/ 92872 h 555960"/>
                <a:gd name="connsiteX261" fmla="*/ 193428 w 416562"/>
                <a:gd name="connsiteY261" fmla="*/ 91995 h 555960"/>
                <a:gd name="connsiteX262" fmla="*/ 192792 w 416562"/>
                <a:gd name="connsiteY262" fmla="*/ 90149 h 555960"/>
                <a:gd name="connsiteX263" fmla="*/ 195031 w 416562"/>
                <a:gd name="connsiteY263" fmla="*/ 88485 h 555960"/>
                <a:gd name="connsiteX264" fmla="*/ 196513 w 416562"/>
                <a:gd name="connsiteY264" fmla="*/ 87094 h 555960"/>
                <a:gd name="connsiteX265" fmla="*/ 196755 w 416562"/>
                <a:gd name="connsiteY265" fmla="*/ 85249 h 555960"/>
                <a:gd name="connsiteX266" fmla="*/ 195485 w 416562"/>
                <a:gd name="connsiteY266" fmla="*/ 82193 h 555960"/>
                <a:gd name="connsiteX267" fmla="*/ 192520 w 416562"/>
                <a:gd name="connsiteY267" fmla="*/ 77504 h 555960"/>
                <a:gd name="connsiteX268" fmla="*/ 192157 w 416562"/>
                <a:gd name="connsiteY268" fmla="*/ 75356 h 555960"/>
                <a:gd name="connsiteX269" fmla="*/ 192944 w 416562"/>
                <a:gd name="connsiteY269" fmla="*/ 72059 h 555960"/>
                <a:gd name="connsiteX270" fmla="*/ 194063 w 416562"/>
                <a:gd name="connsiteY270" fmla="*/ 69639 h 555960"/>
                <a:gd name="connsiteX271" fmla="*/ 194456 w 416562"/>
                <a:gd name="connsiteY271" fmla="*/ 68489 h 555960"/>
                <a:gd name="connsiteX272" fmla="*/ 194728 w 416562"/>
                <a:gd name="connsiteY272" fmla="*/ 66644 h 555960"/>
                <a:gd name="connsiteX273" fmla="*/ 194638 w 416562"/>
                <a:gd name="connsiteY273" fmla="*/ 59747 h 555960"/>
                <a:gd name="connsiteX274" fmla="*/ 194880 w 416562"/>
                <a:gd name="connsiteY274" fmla="*/ 58415 h 555960"/>
                <a:gd name="connsiteX275" fmla="*/ 195303 w 416562"/>
                <a:gd name="connsiteY275" fmla="*/ 57145 h 555960"/>
                <a:gd name="connsiteX276" fmla="*/ 195303 w 416562"/>
                <a:gd name="connsiteY276" fmla="*/ 55935 h 555960"/>
                <a:gd name="connsiteX277" fmla="*/ 194487 w 416562"/>
                <a:gd name="connsiteY277" fmla="*/ 54634 h 555960"/>
                <a:gd name="connsiteX278" fmla="*/ 193216 w 416562"/>
                <a:gd name="connsiteY278" fmla="*/ 54059 h 555960"/>
                <a:gd name="connsiteX279" fmla="*/ 192127 w 416562"/>
                <a:gd name="connsiteY279" fmla="*/ 54483 h 555960"/>
                <a:gd name="connsiteX280" fmla="*/ 191249 w 416562"/>
                <a:gd name="connsiteY280" fmla="*/ 55632 h 555960"/>
                <a:gd name="connsiteX281" fmla="*/ 190645 w 416562"/>
                <a:gd name="connsiteY281" fmla="*/ 57145 h 555960"/>
                <a:gd name="connsiteX282" fmla="*/ 189374 w 416562"/>
                <a:gd name="connsiteY282" fmla="*/ 58113 h 555960"/>
                <a:gd name="connsiteX283" fmla="*/ 188013 w 416562"/>
                <a:gd name="connsiteY283" fmla="*/ 58476 h 555960"/>
                <a:gd name="connsiteX284" fmla="*/ 186681 w 416562"/>
                <a:gd name="connsiteY284" fmla="*/ 58204 h 555960"/>
                <a:gd name="connsiteX285" fmla="*/ 185472 w 416562"/>
                <a:gd name="connsiteY285" fmla="*/ 57175 h 555960"/>
                <a:gd name="connsiteX286" fmla="*/ 184534 w 416562"/>
                <a:gd name="connsiteY286" fmla="*/ 55390 h 555960"/>
                <a:gd name="connsiteX287" fmla="*/ 182204 w 416562"/>
                <a:gd name="connsiteY287" fmla="*/ 52668 h 555960"/>
                <a:gd name="connsiteX288" fmla="*/ 181236 w 416562"/>
                <a:gd name="connsiteY288" fmla="*/ 51155 h 555960"/>
                <a:gd name="connsiteX289" fmla="*/ 180994 w 416562"/>
                <a:gd name="connsiteY289" fmla="*/ 50308 h 555960"/>
                <a:gd name="connsiteX290" fmla="*/ 180873 w 416562"/>
                <a:gd name="connsiteY290" fmla="*/ 49885 h 555960"/>
                <a:gd name="connsiteX291" fmla="*/ 180661 w 416562"/>
                <a:gd name="connsiteY291" fmla="*/ 47192 h 555960"/>
                <a:gd name="connsiteX292" fmla="*/ 180298 w 416562"/>
                <a:gd name="connsiteY292" fmla="*/ 46073 h 555960"/>
                <a:gd name="connsiteX293" fmla="*/ 179603 w 416562"/>
                <a:gd name="connsiteY293" fmla="*/ 45256 h 555960"/>
                <a:gd name="connsiteX294" fmla="*/ 177848 w 416562"/>
                <a:gd name="connsiteY294" fmla="*/ 44167 h 555960"/>
                <a:gd name="connsiteX295" fmla="*/ 177153 w 416562"/>
                <a:gd name="connsiteY295" fmla="*/ 43562 h 555960"/>
                <a:gd name="connsiteX296" fmla="*/ 173795 w 416562"/>
                <a:gd name="connsiteY296" fmla="*/ 38026 h 555960"/>
                <a:gd name="connsiteX297" fmla="*/ 172252 w 416562"/>
                <a:gd name="connsiteY297" fmla="*/ 36604 h 555960"/>
                <a:gd name="connsiteX298" fmla="*/ 170376 w 416562"/>
                <a:gd name="connsiteY298" fmla="*/ 35908 h 555960"/>
                <a:gd name="connsiteX299" fmla="*/ 166534 w 416562"/>
                <a:gd name="connsiteY299" fmla="*/ 35515 h 555960"/>
                <a:gd name="connsiteX300" fmla="*/ 164719 w 416562"/>
                <a:gd name="connsiteY300" fmla="*/ 34729 h 555960"/>
                <a:gd name="connsiteX301" fmla="*/ 159395 w 416562"/>
                <a:gd name="connsiteY301" fmla="*/ 30191 h 555960"/>
                <a:gd name="connsiteX302" fmla="*/ 157519 w 416562"/>
                <a:gd name="connsiteY302" fmla="*/ 29041 h 555960"/>
                <a:gd name="connsiteX303" fmla="*/ 153556 w 416562"/>
                <a:gd name="connsiteY303" fmla="*/ 27408 h 555960"/>
                <a:gd name="connsiteX304" fmla="*/ 151862 w 416562"/>
                <a:gd name="connsiteY304" fmla="*/ 26228 h 555960"/>
                <a:gd name="connsiteX305" fmla="*/ 150320 w 416562"/>
                <a:gd name="connsiteY305" fmla="*/ 24080 h 555960"/>
                <a:gd name="connsiteX306" fmla="*/ 148202 w 416562"/>
                <a:gd name="connsiteY306" fmla="*/ 17999 h 555960"/>
                <a:gd name="connsiteX307" fmla="*/ 146992 w 416562"/>
                <a:gd name="connsiteY307" fmla="*/ 16003 h 555960"/>
                <a:gd name="connsiteX308" fmla="*/ 140669 w 416562"/>
                <a:gd name="connsiteY308" fmla="*/ 8743 h 555960"/>
                <a:gd name="connsiteX309" fmla="*/ 135194 w 416562"/>
                <a:gd name="connsiteY309" fmla="*/ 4447 h 555960"/>
                <a:gd name="connsiteX310" fmla="*/ 133378 w 416562"/>
                <a:gd name="connsiteY310" fmla="*/ 3751 h 555960"/>
                <a:gd name="connsiteX311" fmla="*/ 130868 w 416562"/>
                <a:gd name="connsiteY311" fmla="*/ 4901 h 555960"/>
                <a:gd name="connsiteX312" fmla="*/ 130142 w 416562"/>
                <a:gd name="connsiteY312" fmla="*/ 4992 h 555960"/>
                <a:gd name="connsiteX313" fmla="*/ 129355 w 416562"/>
                <a:gd name="connsiteY313" fmla="*/ 4598 h 555960"/>
                <a:gd name="connsiteX314" fmla="*/ 128327 w 416562"/>
                <a:gd name="connsiteY314" fmla="*/ 3267 h 555960"/>
                <a:gd name="connsiteX315" fmla="*/ 127782 w 416562"/>
                <a:gd name="connsiteY315" fmla="*/ 2874 h 555960"/>
                <a:gd name="connsiteX316" fmla="*/ 126149 w 416562"/>
                <a:gd name="connsiteY316" fmla="*/ 2511 h 555960"/>
                <a:gd name="connsiteX317" fmla="*/ 125150 w 416562"/>
                <a:gd name="connsiteY317" fmla="*/ 2602 h 555960"/>
                <a:gd name="connsiteX318" fmla="*/ 122609 w 416562"/>
                <a:gd name="connsiteY318" fmla="*/ 3781 h 555960"/>
                <a:gd name="connsiteX319" fmla="*/ 119765 w 416562"/>
                <a:gd name="connsiteY319" fmla="*/ 4114 h 555960"/>
                <a:gd name="connsiteX320" fmla="*/ 115561 w 416562"/>
                <a:gd name="connsiteY320" fmla="*/ 1906 h 555960"/>
                <a:gd name="connsiteX321" fmla="*/ 109117 w 416562"/>
                <a:gd name="connsiteY321" fmla="*/ 1361 h 555960"/>
                <a:gd name="connsiteX322" fmla="*/ 105063 w 416562"/>
                <a:gd name="connsiteY322" fmla="*/ 2178 h 555960"/>
                <a:gd name="connsiteX323" fmla="*/ 103520 w 416562"/>
                <a:gd name="connsiteY323" fmla="*/ 2783 h 555960"/>
                <a:gd name="connsiteX324" fmla="*/ 95141 w 416562"/>
                <a:gd name="connsiteY324" fmla="*/ 5959 h 555960"/>
                <a:gd name="connsiteX325" fmla="*/ 93386 w 416562"/>
                <a:gd name="connsiteY325" fmla="*/ 5627 h 555960"/>
                <a:gd name="connsiteX326" fmla="*/ 87245 w 416562"/>
                <a:gd name="connsiteY326" fmla="*/ 1997 h 555960"/>
                <a:gd name="connsiteX327" fmla="*/ 85067 w 416562"/>
                <a:gd name="connsiteY327" fmla="*/ 726 h 555960"/>
                <a:gd name="connsiteX328" fmla="*/ 82950 w 416562"/>
                <a:gd name="connsiteY328" fmla="*/ 91 h 555960"/>
                <a:gd name="connsiteX329" fmla="*/ 80801 w 416562"/>
                <a:gd name="connsiteY329" fmla="*/ 0 h 555960"/>
                <a:gd name="connsiteX330" fmla="*/ 74963 w 416562"/>
                <a:gd name="connsiteY330" fmla="*/ 1028 h 555960"/>
                <a:gd name="connsiteX331" fmla="*/ 72815 w 416562"/>
                <a:gd name="connsiteY331" fmla="*/ 998 h 555960"/>
                <a:gd name="connsiteX332" fmla="*/ 70940 w 416562"/>
                <a:gd name="connsiteY332" fmla="*/ 1301 h 555960"/>
                <a:gd name="connsiteX333" fmla="*/ 68459 w 416562"/>
                <a:gd name="connsiteY333" fmla="*/ 2329 h 555960"/>
                <a:gd name="connsiteX334" fmla="*/ 66130 w 416562"/>
                <a:gd name="connsiteY334" fmla="*/ 3751 h 555960"/>
                <a:gd name="connsiteX335" fmla="*/ 64678 w 416562"/>
                <a:gd name="connsiteY335" fmla="*/ 5264 h 555960"/>
                <a:gd name="connsiteX336" fmla="*/ 64859 w 416562"/>
                <a:gd name="connsiteY336" fmla="*/ 6353 h 555960"/>
                <a:gd name="connsiteX337" fmla="*/ 65585 w 416562"/>
                <a:gd name="connsiteY337" fmla="*/ 7563 h 555960"/>
                <a:gd name="connsiteX338" fmla="*/ 65857 w 416562"/>
                <a:gd name="connsiteY338" fmla="*/ 8682 h 555960"/>
                <a:gd name="connsiteX339" fmla="*/ 63195 w 416562"/>
                <a:gd name="connsiteY339" fmla="*/ 10013 h 555960"/>
                <a:gd name="connsiteX340" fmla="*/ 62500 w 416562"/>
                <a:gd name="connsiteY340" fmla="*/ 10921 h 555960"/>
                <a:gd name="connsiteX341" fmla="*/ 61985 w 416562"/>
                <a:gd name="connsiteY341" fmla="*/ 11889 h 555960"/>
                <a:gd name="connsiteX342" fmla="*/ 61259 w 416562"/>
                <a:gd name="connsiteY342" fmla="*/ 12827 h 555960"/>
                <a:gd name="connsiteX343" fmla="*/ 59565 w 416562"/>
                <a:gd name="connsiteY343" fmla="*/ 14097 h 555960"/>
                <a:gd name="connsiteX344" fmla="*/ 58718 w 416562"/>
                <a:gd name="connsiteY344" fmla="*/ 14430 h 555960"/>
                <a:gd name="connsiteX345" fmla="*/ 57599 w 416562"/>
                <a:gd name="connsiteY345" fmla="*/ 14581 h 555960"/>
                <a:gd name="connsiteX346" fmla="*/ 56328 w 416562"/>
                <a:gd name="connsiteY346" fmla="*/ 15126 h 555960"/>
                <a:gd name="connsiteX347" fmla="*/ 55511 w 416562"/>
                <a:gd name="connsiteY347" fmla="*/ 16275 h 555960"/>
                <a:gd name="connsiteX348" fmla="*/ 54755 w 416562"/>
                <a:gd name="connsiteY348" fmla="*/ 17606 h 555960"/>
                <a:gd name="connsiteX349" fmla="*/ 53727 w 416562"/>
                <a:gd name="connsiteY349" fmla="*/ 18665 h 555960"/>
                <a:gd name="connsiteX350" fmla="*/ 52063 w 416562"/>
                <a:gd name="connsiteY350" fmla="*/ 19210 h 555960"/>
                <a:gd name="connsiteX351" fmla="*/ 48311 w 416562"/>
                <a:gd name="connsiteY351" fmla="*/ 19210 h 555960"/>
                <a:gd name="connsiteX352" fmla="*/ 46496 w 416562"/>
                <a:gd name="connsiteY352" fmla="*/ 19573 h 555960"/>
                <a:gd name="connsiteX353" fmla="*/ 45619 w 416562"/>
                <a:gd name="connsiteY353" fmla="*/ 20178 h 555960"/>
                <a:gd name="connsiteX354" fmla="*/ 44470 w 416562"/>
                <a:gd name="connsiteY354" fmla="*/ 20994 h 555960"/>
                <a:gd name="connsiteX355" fmla="*/ 43743 w 416562"/>
                <a:gd name="connsiteY355" fmla="*/ 22628 h 555960"/>
                <a:gd name="connsiteX356" fmla="*/ 43260 w 416562"/>
                <a:gd name="connsiteY356" fmla="*/ 24231 h 555960"/>
                <a:gd name="connsiteX357" fmla="*/ 42110 w 416562"/>
                <a:gd name="connsiteY357" fmla="*/ 25593 h 555960"/>
                <a:gd name="connsiteX358" fmla="*/ 39327 w 416562"/>
                <a:gd name="connsiteY358" fmla="*/ 26107 h 555960"/>
                <a:gd name="connsiteX359" fmla="*/ 30493 w 416562"/>
                <a:gd name="connsiteY359" fmla="*/ 25260 h 555960"/>
                <a:gd name="connsiteX360" fmla="*/ 28255 w 416562"/>
                <a:gd name="connsiteY360" fmla="*/ 24050 h 555960"/>
                <a:gd name="connsiteX361" fmla="*/ 28255 w 416562"/>
                <a:gd name="connsiteY361" fmla="*/ 24019 h 555960"/>
                <a:gd name="connsiteX362" fmla="*/ 26772 w 416562"/>
                <a:gd name="connsiteY362" fmla="*/ 21418 h 555960"/>
                <a:gd name="connsiteX363" fmla="*/ 24534 w 416562"/>
                <a:gd name="connsiteY363" fmla="*/ 20631 h 555960"/>
                <a:gd name="connsiteX364" fmla="*/ 22204 w 416562"/>
                <a:gd name="connsiteY364" fmla="*/ 21539 h 555960"/>
                <a:gd name="connsiteX365" fmla="*/ 20632 w 416562"/>
                <a:gd name="connsiteY365" fmla="*/ 24050 h 555960"/>
                <a:gd name="connsiteX366" fmla="*/ 20511 w 416562"/>
                <a:gd name="connsiteY366" fmla="*/ 27983 h 555960"/>
                <a:gd name="connsiteX367" fmla="*/ 18726 w 416562"/>
                <a:gd name="connsiteY367" fmla="*/ 28436 h 555960"/>
                <a:gd name="connsiteX368" fmla="*/ 16154 w 416562"/>
                <a:gd name="connsiteY368" fmla="*/ 28104 h 555960"/>
                <a:gd name="connsiteX369" fmla="*/ 13795 w 416562"/>
                <a:gd name="connsiteY369" fmla="*/ 29676 h 555960"/>
                <a:gd name="connsiteX370" fmla="*/ 13462 w 416562"/>
                <a:gd name="connsiteY370" fmla="*/ 30130 h 555960"/>
                <a:gd name="connsiteX371" fmla="*/ 13341 w 416562"/>
                <a:gd name="connsiteY371" fmla="*/ 30645 h 555960"/>
                <a:gd name="connsiteX372" fmla="*/ 13492 w 416562"/>
                <a:gd name="connsiteY372" fmla="*/ 31129 h 555960"/>
                <a:gd name="connsiteX373" fmla="*/ 14248 w 416562"/>
                <a:gd name="connsiteY373" fmla="*/ 32248 h 555960"/>
                <a:gd name="connsiteX374" fmla="*/ 14460 w 416562"/>
                <a:gd name="connsiteY374" fmla="*/ 32823 h 555960"/>
                <a:gd name="connsiteX375" fmla="*/ 14339 w 416562"/>
                <a:gd name="connsiteY375" fmla="*/ 33246 h 555960"/>
                <a:gd name="connsiteX376" fmla="*/ 13795 w 416562"/>
                <a:gd name="connsiteY376" fmla="*/ 33518 h 555960"/>
                <a:gd name="connsiteX377" fmla="*/ 11859 w 416562"/>
                <a:gd name="connsiteY377" fmla="*/ 32702 h 555960"/>
                <a:gd name="connsiteX378" fmla="*/ 5657 w 416562"/>
                <a:gd name="connsiteY378" fmla="*/ 32278 h 555960"/>
                <a:gd name="connsiteX379" fmla="*/ 6262 w 416562"/>
                <a:gd name="connsiteY379" fmla="*/ 34305 h 555960"/>
                <a:gd name="connsiteX380" fmla="*/ 4507 w 416562"/>
                <a:gd name="connsiteY380" fmla="*/ 35364 h 555960"/>
                <a:gd name="connsiteX381" fmla="*/ 3721 w 416562"/>
                <a:gd name="connsiteY381" fmla="*/ 36060 h 555960"/>
                <a:gd name="connsiteX382" fmla="*/ 2814 w 416562"/>
                <a:gd name="connsiteY382" fmla="*/ 37028 h 555960"/>
                <a:gd name="connsiteX383" fmla="*/ 4901 w 416562"/>
                <a:gd name="connsiteY383" fmla="*/ 38540 h 555960"/>
                <a:gd name="connsiteX384" fmla="*/ 5929 w 416562"/>
                <a:gd name="connsiteY384" fmla="*/ 39629 h 555960"/>
                <a:gd name="connsiteX385" fmla="*/ 6262 w 416562"/>
                <a:gd name="connsiteY385" fmla="*/ 40658 h 555960"/>
                <a:gd name="connsiteX386" fmla="*/ 5506 w 416562"/>
                <a:gd name="connsiteY386" fmla="*/ 41535 h 555960"/>
                <a:gd name="connsiteX387" fmla="*/ 4266 w 416562"/>
                <a:gd name="connsiteY387" fmla="*/ 41777 h 555960"/>
                <a:gd name="connsiteX388" fmla="*/ 1028 w 416562"/>
                <a:gd name="connsiteY388" fmla="*/ 42050 h 555960"/>
                <a:gd name="connsiteX389" fmla="*/ 756 w 416562"/>
                <a:gd name="connsiteY389" fmla="*/ 45680 h 555960"/>
                <a:gd name="connsiteX390" fmla="*/ 545 w 416562"/>
                <a:gd name="connsiteY390" fmla="*/ 46466 h 555960"/>
                <a:gd name="connsiteX391" fmla="*/ 182 w 416562"/>
                <a:gd name="connsiteY391" fmla="*/ 47011 h 555960"/>
                <a:gd name="connsiteX392" fmla="*/ 0 w 416562"/>
                <a:gd name="connsiteY392" fmla="*/ 47585 h 555960"/>
                <a:gd name="connsiteX393" fmla="*/ 363 w 416562"/>
                <a:gd name="connsiteY393" fmla="*/ 48402 h 555960"/>
                <a:gd name="connsiteX394" fmla="*/ 1936 w 416562"/>
                <a:gd name="connsiteY394" fmla="*/ 49854 h 555960"/>
                <a:gd name="connsiteX395" fmla="*/ 2632 w 416562"/>
                <a:gd name="connsiteY395" fmla="*/ 50974 h 555960"/>
                <a:gd name="connsiteX396" fmla="*/ 5566 w 416562"/>
                <a:gd name="connsiteY396" fmla="*/ 54301 h 555960"/>
                <a:gd name="connsiteX397" fmla="*/ 6020 w 416562"/>
                <a:gd name="connsiteY397" fmla="*/ 56298 h 555960"/>
                <a:gd name="connsiteX398" fmla="*/ 6444 w 416562"/>
                <a:gd name="connsiteY398" fmla="*/ 60321 h 555960"/>
                <a:gd name="connsiteX399" fmla="*/ 7291 w 416562"/>
                <a:gd name="connsiteY399" fmla="*/ 62015 h 555960"/>
                <a:gd name="connsiteX400" fmla="*/ 8682 w 416562"/>
                <a:gd name="connsiteY400" fmla="*/ 63044 h 555960"/>
                <a:gd name="connsiteX401" fmla="*/ 10407 w 416562"/>
                <a:gd name="connsiteY401" fmla="*/ 63952 h 555960"/>
                <a:gd name="connsiteX402" fmla="*/ 11859 w 416562"/>
                <a:gd name="connsiteY402" fmla="*/ 65131 h 555960"/>
                <a:gd name="connsiteX403" fmla="*/ 12433 w 416562"/>
                <a:gd name="connsiteY403" fmla="*/ 67007 h 555960"/>
                <a:gd name="connsiteX404" fmla="*/ 11859 w 416562"/>
                <a:gd name="connsiteY404" fmla="*/ 68157 h 555960"/>
                <a:gd name="connsiteX405" fmla="*/ 9106 w 416562"/>
                <a:gd name="connsiteY405" fmla="*/ 71696 h 555960"/>
                <a:gd name="connsiteX406" fmla="*/ 8017 w 416562"/>
                <a:gd name="connsiteY406" fmla="*/ 72452 h 555960"/>
                <a:gd name="connsiteX407" fmla="*/ 6776 w 416562"/>
                <a:gd name="connsiteY407" fmla="*/ 73541 h 555960"/>
                <a:gd name="connsiteX408" fmla="*/ 6383 w 416562"/>
                <a:gd name="connsiteY408" fmla="*/ 76052 h 555960"/>
                <a:gd name="connsiteX409" fmla="*/ 6262 w 416562"/>
                <a:gd name="connsiteY409" fmla="*/ 78502 h 555960"/>
                <a:gd name="connsiteX410" fmla="*/ 5899 w 416562"/>
                <a:gd name="connsiteY410" fmla="*/ 79652 h 555960"/>
                <a:gd name="connsiteX411" fmla="*/ 6746 w 416562"/>
                <a:gd name="connsiteY411" fmla="*/ 80287 h 555960"/>
                <a:gd name="connsiteX412" fmla="*/ 8773 w 416562"/>
                <a:gd name="connsiteY412" fmla="*/ 83282 h 555960"/>
                <a:gd name="connsiteX413" fmla="*/ 9741 w 416562"/>
                <a:gd name="connsiteY413" fmla="*/ 84159 h 555960"/>
                <a:gd name="connsiteX414" fmla="*/ 11586 w 416562"/>
                <a:gd name="connsiteY414" fmla="*/ 84129 h 555960"/>
                <a:gd name="connsiteX415" fmla="*/ 12887 w 416562"/>
                <a:gd name="connsiteY415" fmla="*/ 83191 h 555960"/>
                <a:gd name="connsiteX416" fmla="*/ 13916 w 416562"/>
                <a:gd name="connsiteY416" fmla="*/ 82072 h 555960"/>
                <a:gd name="connsiteX417" fmla="*/ 15670 w 416562"/>
                <a:gd name="connsiteY417" fmla="*/ 81225 h 555960"/>
                <a:gd name="connsiteX418" fmla="*/ 16547 w 416562"/>
                <a:gd name="connsiteY418" fmla="*/ 80650 h 555960"/>
                <a:gd name="connsiteX419" fmla="*/ 17425 w 416562"/>
                <a:gd name="connsiteY419" fmla="*/ 80378 h 555960"/>
                <a:gd name="connsiteX420" fmla="*/ 18333 w 416562"/>
                <a:gd name="connsiteY420" fmla="*/ 81044 h 555960"/>
                <a:gd name="connsiteX421" fmla="*/ 18968 w 416562"/>
                <a:gd name="connsiteY421" fmla="*/ 82072 h 555960"/>
                <a:gd name="connsiteX422" fmla="*/ 19270 w 416562"/>
                <a:gd name="connsiteY422" fmla="*/ 82768 h 555960"/>
                <a:gd name="connsiteX423" fmla="*/ 19724 w 416562"/>
                <a:gd name="connsiteY423" fmla="*/ 83343 h 555960"/>
                <a:gd name="connsiteX424" fmla="*/ 20722 w 416562"/>
                <a:gd name="connsiteY424" fmla="*/ 84159 h 555960"/>
                <a:gd name="connsiteX425" fmla="*/ 22416 w 416562"/>
                <a:gd name="connsiteY425" fmla="*/ 84885 h 555960"/>
                <a:gd name="connsiteX426" fmla="*/ 23899 w 416562"/>
                <a:gd name="connsiteY426" fmla="*/ 85158 h 555960"/>
                <a:gd name="connsiteX427" fmla="*/ 25169 w 416562"/>
                <a:gd name="connsiteY427" fmla="*/ 85854 h 555960"/>
                <a:gd name="connsiteX428" fmla="*/ 26319 w 416562"/>
                <a:gd name="connsiteY428" fmla="*/ 87729 h 555960"/>
                <a:gd name="connsiteX429" fmla="*/ 23384 w 416562"/>
                <a:gd name="connsiteY429" fmla="*/ 90361 h 555960"/>
                <a:gd name="connsiteX430" fmla="*/ 17395 w 416562"/>
                <a:gd name="connsiteY430" fmla="*/ 89574 h 555960"/>
                <a:gd name="connsiteX431" fmla="*/ 16578 w 416562"/>
                <a:gd name="connsiteY431" fmla="*/ 89453 h 555960"/>
                <a:gd name="connsiteX432" fmla="*/ 15247 w 416562"/>
                <a:gd name="connsiteY432" fmla="*/ 92721 h 555960"/>
                <a:gd name="connsiteX433" fmla="*/ 15912 w 416562"/>
                <a:gd name="connsiteY433" fmla="*/ 95141 h 555960"/>
                <a:gd name="connsiteX434" fmla="*/ 16850 w 416562"/>
                <a:gd name="connsiteY434" fmla="*/ 96079 h 555960"/>
                <a:gd name="connsiteX435" fmla="*/ 18786 w 416562"/>
                <a:gd name="connsiteY435" fmla="*/ 97954 h 555960"/>
                <a:gd name="connsiteX436" fmla="*/ 19361 w 416562"/>
                <a:gd name="connsiteY436" fmla="*/ 99497 h 555960"/>
                <a:gd name="connsiteX437" fmla="*/ 18484 w 416562"/>
                <a:gd name="connsiteY437" fmla="*/ 100828 h 555960"/>
                <a:gd name="connsiteX438" fmla="*/ 13190 w 416562"/>
                <a:gd name="connsiteY438" fmla="*/ 103097 h 555960"/>
                <a:gd name="connsiteX439" fmla="*/ 14460 w 416562"/>
                <a:gd name="connsiteY439" fmla="*/ 105154 h 555960"/>
                <a:gd name="connsiteX440" fmla="*/ 15973 w 416562"/>
                <a:gd name="connsiteY440" fmla="*/ 106878 h 555960"/>
                <a:gd name="connsiteX441" fmla="*/ 17727 w 416562"/>
                <a:gd name="connsiteY441" fmla="*/ 108058 h 555960"/>
                <a:gd name="connsiteX442" fmla="*/ 19724 w 416562"/>
                <a:gd name="connsiteY442" fmla="*/ 108482 h 555960"/>
                <a:gd name="connsiteX443" fmla="*/ 23868 w 416562"/>
                <a:gd name="connsiteY443" fmla="*/ 108482 h 555960"/>
                <a:gd name="connsiteX444" fmla="*/ 24867 w 416562"/>
                <a:gd name="connsiteY444" fmla="*/ 108996 h 555960"/>
                <a:gd name="connsiteX445" fmla="*/ 25199 w 416562"/>
                <a:gd name="connsiteY445" fmla="*/ 110266 h 555960"/>
                <a:gd name="connsiteX446" fmla="*/ 25290 w 416562"/>
                <a:gd name="connsiteY446" fmla="*/ 111749 h 555960"/>
                <a:gd name="connsiteX447" fmla="*/ 25563 w 416562"/>
                <a:gd name="connsiteY447" fmla="*/ 112959 h 555960"/>
                <a:gd name="connsiteX448" fmla="*/ 28164 w 416562"/>
                <a:gd name="connsiteY448" fmla="*/ 115803 h 555960"/>
                <a:gd name="connsiteX449" fmla="*/ 31915 w 416562"/>
                <a:gd name="connsiteY449" fmla="*/ 117527 h 555960"/>
                <a:gd name="connsiteX450" fmla="*/ 52153 w 416562"/>
                <a:gd name="connsiteY450" fmla="*/ 122367 h 555960"/>
                <a:gd name="connsiteX451" fmla="*/ 53666 w 416562"/>
                <a:gd name="connsiteY451" fmla="*/ 124787 h 555960"/>
                <a:gd name="connsiteX452" fmla="*/ 55572 w 416562"/>
                <a:gd name="connsiteY452" fmla="*/ 125634 h 555960"/>
                <a:gd name="connsiteX453" fmla="*/ 56661 w 416562"/>
                <a:gd name="connsiteY453" fmla="*/ 128266 h 555960"/>
                <a:gd name="connsiteX454" fmla="*/ 56389 w 416562"/>
                <a:gd name="connsiteY454" fmla="*/ 131352 h 555960"/>
                <a:gd name="connsiteX455" fmla="*/ 55239 w 416562"/>
                <a:gd name="connsiteY455" fmla="*/ 132411 h 555960"/>
                <a:gd name="connsiteX456" fmla="*/ 54937 w 416562"/>
                <a:gd name="connsiteY456" fmla="*/ 132713 h 555960"/>
                <a:gd name="connsiteX457" fmla="*/ 46224 w 416562"/>
                <a:gd name="connsiteY457" fmla="*/ 133076 h 555960"/>
                <a:gd name="connsiteX458" fmla="*/ 45740 w 416562"/>
                <a:gd name="connsiteY458" fmla="*/ 132743 h 555960"/>
                <a:gd name="connsiteX459" fmla="*/ 44923 w 416562"/>
                <a:gd name="connsiteY459" fmla="*/ 131594 h 555960"/>
                <a:gd name="connsiteX460" fmla="*/ 44440 w 416562"/>
                <a:gd name="connsiteY460" fmla="*/ 131352 h 555960"/>
                <a:gd name="connsiteX461" fmla="*/ 43743 w 416562"/>
                <a:gd name="connsiteY461" fmla="*/ 131654 h 555960"/>
                <a:gd name="connsiteX462" fmla="*/ 43350 w 416562"/>
                <a:gd name="connsiteY462" fmla="*/ 132229 h 555960"/>
                <a:gd name="connsiteX463" fmla="*/ 43048 w 416562"/>
                <a:gd name="connsiteY463" fmla="*/ 132804 h 555960"/>
                <a:gd name="connsiteX464" fmla="*/ 42564 w 416562"/>
                <a:gd name="connsiteY464" fmla="*/ 133167 h 555960"/>
                <a:gd name="connsiteX465" fmla="*/ 38329 w 416562"/>
                <a:gd name="connsiteY465" fmla="*/ 133681 h 555960"/>
                <a:gd name="connsiteX466" fmla="*/ 36181 w 416562"/>
                <a:gd name="connsiteY466" fmla="*/ 133530 h 555960"/>
                <a:gd name="connsiteX467" fmla="*/ 34275 w 416562"/>
                <a:gd name="connsiteY467" fmla="*/ 132864 h 555960"/>
                <a:gd name="connsiteX468" fmla="*/ 33155 w 416562"/>
                <a:gd name="connsiteY468" fmla="*/ 131866 h 555960"/>
                <a:gd name="connsiteX469" fmla="*/ 31280 w 416562"/>
                <a:gd name="connsiteY469" fmla="*/ 129325 h 555960"/>
                <a:gd name="connsiteX470" fmla="*/ 30100 w 416562"/>
                <a:gd name="connsiteY470" fmla="*/ 128750 h 555960"/>
                <a:gd name="connsiteX471" fmla="*/ 27861 w 416562"/>
                <a:gd name="connsiteY471" fmla="*/ 129234 h 555960"/>
                <a:gd name="connsiteX472" fmla="*/ 28588 w 416562"/>
                <a:gd name="connsiteY472" fmla="*/ 131170 h 555960"/>
                <a:gd name="connsiteX473" fmla="*/ 29858 w 416562"/>
                <a:gd name="connsiteY473" fmla="*/ 133651 h 555960"/>
                <a:gd name="connsiteX474" fmla="*/ 29465 w 416562"/>
                <a:gd name="connsiteY474" fmla="*/ 135738 h 555960"/>
                <a:gd name="connsiteX475" fmla="*/ 27287 w 416562"/>
                <a:gd name="connsiteY475" fmla="*/ 136162 h 555960"/>
                <a:gd name="connsiteX476" fmla="*/ 21660 w 416562"/>
                <a:gd name="connsiteY476" fmla="*/ 135647 h 555960"/>
                <a:gd name="connsiteX477" fmla="*/ 20117 w 416562"/>
                <a:gd name="connsiteY477" fmla="*/ 136888 h 555960"/>
                <a:gd name="connsiteX478" fmla="*/ 20269 w 416562"/>
                <a:gd name="connsiteY478" fmla="*/ 138068 h 555960"/>
                <a:gd name="connsiteX479" fmla="*/ 21055 w 416562"/>
                <a:gd name="connsiteY479" fmla="*/ 139066 h 555960"/>
                <a:gd name="connsiteX480" fmla="*/ 22053 w 416562"/>
                <a:gd name="connsiteY480" fmla="*/ 140004 h 555960"/>
                <a:gd name="connsiteX481" fmla="*/ 22810 w 416562"/>
                <a:gd name="connsiteY481" fmla="*/ 140850 h 555960"/>
                <a:gd name="connsiteX482" fmla="*/ 23566 w 416562"/>
                <a:gd name="connsiteY482" fmla="*/ 142484 h 555960"/>
                <a:gd name="connsiteX483" fmla="*/ 23899 w 416562"/>
                <a:gd name="connsiteY483" fmla="*/ 143725 h 555960"/>
                <a:gd name="connsiteX484" fmla="*/ 24262 w 416562"/>
                <a:gd name="connsiteY484" fmla="*/ 146871 h 555960"/>
                <a:gd name="connsiteX485" fmla="*/ 25109 w 416562"/>
                <a:gd name="connsiteY485" fmla="*/ 150712 h 555960"/>
                <a:gd name="connsiteX486" fmla="*/ 25199 w 416562"/>
                <a:gd name="connsiteY486" fmla="*/ 152104 h 555960"/>
                <a:gd name="connsiteX487" fmla="*/ 24988 w 416562"/>
                <a:gd name="connsiteY487" fmla="*/ 153344 h 555960"/>
                <a:gd name="connsiteX488" fmla="*/ 24534 w 416562"/>
                <a:gd name="connsiteY488" fmla="*/ 154887 h 555960"/>
                <a:gd name="connsiteX489" fmla="*/ 24171 w 416562"/>
                <a:gd name="connsiteY489" fmla="*/ 156491 h 555960"/>
                <a:gd name="connsiteX490" fmla="*/ 24383 w 416562"/>
                <a:gd name="connsiteY490" fmla="*/ 157822 h 555960"/>
                <a:gd name="connsiteX491" fmla="*/ 25472 w 416562"/>
                <a:gd name="connsiteY491" fmla="*/ 158729 h 555960"/>
                <a:gd name="connsiteX492" fmla="*/ 27529 w 416562"/>
                <a:gd name="connsiteY492" fmla="*/ 158003 h 555960"/>
                <a:gd name="connsiteX493" fmla="*/ 28467 w 416562"/>
                <a:gd name="connsiteY493" fmla="*/ 158941 h 555960"/>
                <a:gd name="connsiteX494" fmla="*/ 28860 w 416562"/>
                <a:gd name="connsiteY494" fmla="*/ 160937 h 555960"/>
                <a:gd name="connsiteX495" fmla="*/ 28134 w 416562"/>
                <a:gd name="connsiteY495" fmla="*/ 161875 h 555960"/>
                <a:gd name="connsiteX496" fmla="*/ 26984 w 416562"/>
                <a:gd name="connsiteY496" fmla="*/ 162329 h 555960"/>
                <a:gd name="connsiteX497" fmla="*/ 26046 w 416562"/>
                <a:gd name="connsiteY497" fmla="*/ 162874 h 555960"/>
                <a:gd name="connsiteX498" fmla="*/ 24443 w 416562"/>
                <a:gd name="connsiteY498" fmla="*/ 165354 h 555960"/>
                <a:gd name="connsiteX499" fmla="*/ 23536 w 416562"/>
                <a:gd name="connsiteY499" fmla="*/ 166474 h 555960"/>
                <a:gd name="connsiteX500" fmla="*/ 22326 w 416562"/>
                <a:gd name="connsiteY500" fmla="*/ 167139 h 555960"/>
                <a:gd name="connsiteX501" fmla="*/ 20843 w 416562"/>
                <a:gd name="connsiteY501" fmla="*/ 166957 h 555960"/>
                <a:gd name="connsiteX502" fmla="*/ 18816 w 416562"/>
                <a:gd name="connsiteY502" fmla="*/ 164931 h 555960"/>
                <a:gd name="connsiteX503" fmla="*/ 17455 w 416562"/>
                <a:gd name="connsiteY503" fmla="*/ 164538 h 555960"/>
                <a:gd name="connsiteX504" fmla="*/ 14732 w 416562"/>
                <a:gd name="connsiteY504" fmla="*/ 165929 h 555960"/>
                <a:gd name="connsiteX505" fmla="*/ 15035 w 416562"/>
                <a:gd name="connsiteY505" fmla="*/ 168561 h 555960"/>
                <a:gd name="connsiteX506" fmla="*/ 17183 w 416562"/>
                <a:gd name="connsiteY506" fmla="*/ 172342 h 555960"/>
                <a:gd name="connsiteX507" fmla="*/ 20420 w 416562"/>
                <a:gd name="connsiteY507" fmla="*/ 171435 h 555960"/>
                <a:gd name="connsiteX508" fmla="*/ 22477 w 416562"/>
                <a:gd name="connsiteY508" fmla="*/ 171162 h 555960"/>
                <a:gd name="connsiteX509" fmla="*/ 24110 w 416562"/>
                <a:gd name="connsiteY509" fmla="*/ 170618 h 555960"/>
                <a:gd name="connsiteX510" fmla="*/ 33126 w 416562"/>
                <a:gd name="connsiteY510" fmla="*/ 164568 h 555960"/>
                <a:gd name="connsiteX511" fmla="*/ 34396 w 416562"/>
                <a:gd name="connsiteY511" fmla="*/ 164295 h 555960"/>
                <a:gd name="connsiteX512" fmla="*/ 35031 w 416562"/>
                <a:gd name="connsiteY512" fmla="*/ 165082 h 555960"/>
                <a:gd name="connsiteX513" fmla="*/ 35424 w 416562"/>
                <a:gd name="connsiteY513" fmla="*/ 166141 h 555960"/>
                <a:gd name="connsiteX514" fmla="*/ 35908 w 416562"/>
                <a:gd name="connsiteY514" fmla="*/ 166776 h 555960"/>
                <a:gd name="connsiteX515" fmla="*/ 36907 w 416562"/>
                <a:gd name="connsiteY515" fmla="*/ 166776 h 555960"/>
                <a:gd name="connsiteX516" fmla="*/ 38722 w 416562"/>
                <a:gd name="connsiteY516" fmla="*/ 166080 h 555960"/>
                <a:gd name="connsiteX517" fmla="*/ 39690 w 416562"/>
                <a:gd name="connsiteY517" fmla="*/ 165899 h 555960"/>
                <a:gd name="connsiteX518" fmla="*/ 44167 w 416562"/>
                <a:gd name="connsiteY518" fmla="*/ 166776 h 555960"/>
                <a:gd name="connsiteX519" fmla="*/ 45105 w 416562"/>
                <a:gd name="connsiteY519" fmla="*/ 166655 h 555960"/>
                <a:gd name="connsiteX520" fmla="*/ 45922 w 416562"/>
                <a:gd name="connsiteY520" fmla="*/ 166262 h 555960"/>
                <a:gd name="connsiteX521" fmla="*/ 46829 w 416562"/>
                <a:gd name="connsiteY521" fmla="*/ 166262 h 555960"/>
                <a:gd name="connsiteX522" fmla="*/ 48826 w 416562"/>
                <a:gd name="connsiteY522" fmla="*/ 168047 h 555960"/>
                <a:gd name="connsiteX523" fmla="*/ 49824 w 416562"/>
                <a:gd name="connsiteY523" fmla="*/ 168380 h 555960"/>
                <a:gd name="connsiteX524" fmla="*/ 50853 w 416562"/>
                <a:gd name="connsiteY524" fmla="*/ 168258 h 555960"/>
                <a:gd name="connsiteX525" fmla="*/ 51125 w 416562"/>
                <a:gd name="connsiteY525" fmla="*/ 168137 h 555960"/>
                <a:gd name="connsiteX526" fmla="*/ 51155 w 416562"/>
                <a:gd name="connsiteY526" fmla="*/ 168017 h 555960"/>
                <a:gd name="connsiteX527" fmla="*/ 51518 w 416562"/>
                <a:gd name="connsiteY527" fmla="*/ 168410 h 555960"/>
                <a:gd name="connsiteX528" fmla="*/ 51518 w 416562"/>
                <a:gd name="connsiteY528" fmla="*/ 168410 h 555960"/>
                <a:gd name="connsiteX529" fmla="*/ 52123 w 416562"/>
                <a:gd name="connsiteY529" fmla="*/ 169045 h 555960"/>
                <a:gd name="connsiteX530" fmla="*/ 52698 w 416562"/>
                <a:gd name="connsiteY530" fmla="*/ 169559 h 555960"/>
                <a:gd name="connsiteX531" fmla="*/ 53122 w 416562"/>
                <a:gd name="connsiteY531" fmla="*/ 170285 h 555960"/>
                <a:gd name="connsiteX532" fmla="*/ 53424 w 416562"/>
                <a:gd name="connsiteY532" fmla="*/ 171374 h 555960"/>
                <a:gd name="connsiteX533" fmla="*/ 53485 w 416562"/>
                <a:gd name="connsiteY533" fmla="*/ 172675 h 555960"/>
                <a:gd name="connsiteX534" fmla="*/ 53152 w 416562"/>
                <a:gd name="connsiteY534" fmla="*/ 173068 h 555960"/>
                <a:gd name="connsiteX535" fmla="*/ 52607 w 416562"/>
                <a:gd name="connsiteY535" fmla="*/ 173189 h 555960"/>
                <a:gd name="connsiteX536" fmla="*/ 52214 w 416562"/>
                <a:gd name="connsiteY536" fmla="*/ 173794 h 555960"/>
                <a:gd name="connsiteX537" fmla="*/ 48644 w 416562"/>
                <a:gd name="connsiteY537" fmla="*/ 189465 h 555960"/>
                <a:gd name="connsiteX538" fmla="*/ 47585 w 416562"/>
                <a:gd name="connsiteY538" fmla="*/ 191885 h 555960"/>
                <a:gd name="connsiteX539" fmla="*/ 46648 w 416562"/>
                <a:gd name="connsiteY539" fmla="*/ 193216 h 555960"/>
                <a:gd name="connsiteX540" fmla="*/ 44621 w 416562"/>
                <a:gd name="connsiteY540" fmla="*/ 194789 h 555960"/>
                <a:gd name="connsiteX541" fmla="*/ 43562 w 416562"/>
                <a:gd name="connsiteY541" fmla="*/ 195848 h 555960"/>
                <a:gd name="connsiteX542" fmla="*/ 42776 w 416562"/>
                <a:gd name="connsiteY542" fmla="*/ 197058 h 555960"/>
                <a:gd name="connsiteX543" fmla="*/ 41324 w 416562"/>
                <a:gd name="connsiteY543" fmla="*/ 200960 h 555960"/>
                <a:gd name="connsiteX544" fmla="*/ 36604 w 416562"/>
                <a:gd name="connsiteY544" fmla="*/ 208372 h 555960"/>
                <a:gd name="connsiteX545" fmla="*/ 36151 w 416562"/>
                <a:gd name="connsiteY545" fmla="*/ 208795 h 555960"/>
                <a:gd name="connsiteX546" fmla="*/ 35061 w 416562"/>
                <a:gd name="connsiteY546" fmla="*/ 209370 h 555960"/>
                <a:gd name="connsiteX547" fmla="*/ 34547 w 416562"/>
                <a:gd name="connsiteY547" fmla="*/ 209975 h 555960"/>
                <a:gd name="connsiteX548" fmla="*/ 34335 w 416562"/>
                <a:gd name="connsiteY548" fmla="*/ 210822 h 555960"/>
                <a:gd name="connsiteX549" fmla="*/ 34456 w 416562"/>
                <a:gd name="connsiteY549" fmla="*/ 212910 h 555960"/>
                <a:gd name="connsiteX550" fmla="*/ 34275 w 416562"/>
                <a:gd name="connsiteY550" fmla="*/ 213817 h 555960"/>
                <a:gd name="connsiteX551" fmla="*/ 33670 w 416562"/>
                <a:gd name="connsiteY551" fmla="*/ 214846 h 555960"/>
                <a:gd name="connsiteX552" fmla="*/ 33035 w 416562"/>
                <a:gd name="connsiteY552" fmla="*/ 215753 h 555960"/>
                <a:gd name="connsiteX553" fmla="*/ 32248 w 416562"/>
                <a:gd name="connsiteY553" fmla="*/ 216358 h 555960"/>
                <a:gd name="connsiteX554" fmla="*/ 28678 w 416562"/>
                <a:gd name="connsiteY554" fmla="*/ 217447 h 555960"/>
                <a:gd name="connsiteX555" fmla="*/ 28406 w 416562"/>
                <a:gd name="connsiteY555" fmla="*/ 219474 h 555960"/>
                <a:gd name="connsiteX556" fmla="*/ 30040 w 416562"/>
                <a:gd name="connsiteY556" fmla="*/ 225222 h 555960"/>
                <a:gd name="connsiteX557" fmla="*/ 29828 w 416562"/>
                <a:gd name="connsiteY557" fmla="*/ 228761 h 555960"/>
                <a:gd name="connsiteX558" fmla="*/ 28648 w 416562"/>
                <a:gd name="connsiteY558" fmla="*/ 230667 h 555960"/>
                <a:gd name="connsiteX559" fmla="*/ 27257 w 416562"/>
                <a:gd name="connsiteY559" fmla="*/ 232271 h 555960"/>
                <a:gd name="connsiteX560" fmla="*/ 26379 w 416562"/>
                <a:gd name="connsiteY560" fmla="*/ 234963 h 555960"/>
                <a:gd name="connsiteX561" fmla="*/ 26561 w 416562"/>
                <a:gd name="connsiteY561" fmla="*/ 237443 h 555960"/>
                <a:gd name="connsiteX562" fmla="*/ 27347 w 416562"/>
                <a:gd name="connsiteY562" fmla="*/ 240015 h 555960"/>
                <a:gd name="connsiteX563" fmla="*/ 29586 w 416562"/>
                <a:gd name="connsiteY563" fmla="*/ 244462 h 555960"/>
                <a:gd name="connsiteX564" fmla="*/ 31401 w 416562"/>
                <a:gd name="connsiteY564" fmla="*/ 246489 h 555960"/>
                <a:gd name="connsiteX565" fmla="*/ 33428 w 416562"/>
                <a:gd name="connsiteY565" fmla="*/ 247336 h 555960"/>
                <a:gd name="connsiteX566" fmla="*/ 37754 w 416562"/>
                <a:gd name="connsiteY566" fmla="*/ 248183 h 555960"/>
                <a:gd name="connsiteX567" fmla="*/ 39841 w 416562"/>
                <a:gd name="connsiteY567" fmla="*/ 249181 h 555960"/>
                <a:gd name="connsiteX568" fmla="*/ 40718 w 416562"/>
                <a:gd name="connsiteY568" fmla="*/ 249423 h 555960"/>
                <a:gd name="connsiteX569" fmla="*/ 42140 w 416562"/>
                <a:gd name="connsiteY569" fmla="*/ 249483 h 555960"/>
                <a:gd name="connsiteX570" fmla="*/ 45377 w 416562"/>
                <a:gd name="connsiteY570" fmla="*/ 248757 h 555960"/>
                <a:gd name="connsiteX571" fmla="*/ 46527 w 416562"/>
                <a:gd name="connsiteY571" fmla="*/ 248969 h 555960"/>
                <a:gd name="connsiteX572" fmla="*/ 48251 w 416562"/>
                <a:gd name="connsiteY572" fmla="*/ 250300 h 555960"/>
                <a:gd name="connsiteX573" fmla="*/ 49975 w 416562"/>
                <a:gd name="connsiteY573" fmla="*/ 252630 h 555960"/>
                <a:gd name="connsiteX574" fmla="*/ 51216 w 416562"/>
                <a:gd name="connsiteY574" fmla="*/ 255383 h 555960"/>
                <a:gd name="connsiteX575" fmla="*/ 51427 w 416562"/>
                <a:gd name="connsiteY575" fmla="*/ 258015 h 555960"/>
                <a:gd name="connsiteX576" fmla="*/ 52063 w 416562"/>
                <a:gd name="connsiteY576" fmla="*/ 259678 h 555960"/>
                <a:gd name="connsiteX577" fmla="*/ 53968 w 416562"/>
                <a:gd name="connsiteY577" fmla="*/ 261463 h 555960"/>
                <a:gd name="connsiteX578" fmla="*/ 58355 w 416562"/>
                <a:gd name="connsiteY578" fmla="*/ 264488 h 555960"/>
                <a:gd name="connsiteX579" fmla="*/ 59444 w 416562"/>
                <a:gd name="connsiteY579" fmla="*/ 265487 h 555960"/>
                <a:gd name="connsiteX580" fmla="*/ 60140 w 416562"/>
                <a:gd name="connsiteY580" fmla="*/ 265850 h 555960"/>
                <a:gd name="connsiteX581" fmla="*/ 60745 w 416562"/>
                <a:gd name="connsiteY581" fmla="*/ 265668 h 555960"/>
                <a:gd name="connsiteX582" fmla="*/ 61864 w 416562"/>
                <a:gd name="connsiteY582" fmla="*/ 264609 h 555960"/>
                <a:gd name="connsiteX583" fmla="*/ 62469 w 416562"/>
                <a:gd name="connsiteY583" fmla="*/ 264609 h 555960"/>
                <a:gd name="connsiteX584" fmla="*/ 63316 w 416562"/>
                <a:gd name="connsiteY584" fmla="*/ 265638 h 555960"/>
                <a:gd name="connsiteX585" fmla="*/ 63528 w 416562"/>
                <a:gd name="connsiteY585" fmla="*/ 267937 h 555960"/>
                <a:gd name="connsiteX586" fmla="*/ 64193 w 416562"/>
                <a:gd name="connsiteY586" fmla="*/ 268723 h 555960"/>
                <a:gd name="connsiteX587" fmla="*/ 65736 w 416562"/>
                <a:gd name="connsiteY587" fmla="*/ 270085 h 555960"/>
                <a:gd name="connsiteX588" fmla="*/ 67551 w 416562"/>
                <a:gd name="connsiteY588" fmla="*/ 272535 h 555960"/>
                <a:gd name="connsiteX589" fmla="*/ 68126 w 416562"/>
                <a:gd name="connsiteY589" fmla="*/ 273322 h 555960"/>
                <a:gd name="connsiteX590" fmla="*/ 71424 w 416562"/>
                <a:gd name="connsiteY590" fmla="*/ 275076 h 555960"/>
                <a:gd name="connsiteX591" fmla="*/ 73057 w 416562"/>
                <a:gd name="connsiteY591" fmla="*/ 276922 h 555960"/>
                <a:gd name="connsiteX592" fmla="*/ 73995 w 416562"/>
                <a:gd name="connsiteY592" fmla="*/ 277617 h 555960"/>
                <a:gd name="connsiteX593" fmla="*/ 74358 w 416562"/>
                <a:gd name="connsiteY593" fmla="*/ 277285 h 555960"/>
                <a:gd name="connsiteX594" fmla="*/ 74963 w 416562"/>
                <a:gd name="connsiteY594" fmla="*/ 276498 h 555960"/>
                <a:gd name="connsiteX595" fmla="*/ 75870 w 416562"/>
                <a:gd name="connsiteY595" fmla="*/ 276196 h 555960"/>
                <a:gd name="connsiteX596" fmla="*/ 77141 w 416562"/>
                <a:gd name="connsiteY596" fmla="*/ 277254 h 555960"/>
                <a:gd name="connsiteX597" fmla="*/ 77867 w 416562"/>
                <a:gd name="connsiteY597" fmla="*/ 279674 h 555960"/>
                <a:gd name="connsiteX598" fmla="*/ 77020 w 416562"/>
                <a:gd name="connsiteY598" fmla="*/ 281762 h 555960"/>
                <a:gd name="connsiteX599" fmla="*/ 75326 w 416562"/>
                <a:gd name="connsiteY599" fmla="*/ 283516 h 555960"/>
                <a:gd name="connsiteX600" fmla="*/ 71182 w 416562"/>
                <a:gd name="connsiteY600" fmla="*/ 286360 h 555960"/>
                <a:gd name="connsiteX601" fmla="*/ 68792 w 416562"/>
                <a:gd name="connsiteY601" fmla="*/ 287177 h 555960"/>
                <a:gd name="connsiteX602" fmla="*/ 66311 w 416562"/>
                <a:gd name="connsiteY602" fmla="*/ 287358 h 555960"/>
                <a:gd name="connsiteX603" fmla="*/ 60594 w 416562"/>
                <a:gd name="connsiteY603" fmla="*/ 286814 h 555960"/>
                <a:gd name="connsiteX604" fmla="*/ 55239 w 416562"/>
                <a:gd name="connsiteY604" fmla="*/ 287177 h 555960"/>
                <a:gd name="connsiteX605" fmla="*/ 53757 w 416562"/>
                <a:gd name="connsiteY605" fmla="*/ 287600 h 555960"/>
                <a:gd name="connsiteX606" fmla="*/ 52305 w 416562"/>
                <a:gd name="connsiteY606" fmla="*/ 287661 h 555960"/>
                <a:gd name="connsiteX607" fmla="*/ 51004 w 416562"/>
                <a:gd name="connsiteY607" fmla="*/ 286905 h 555960"/>
                <a:gd name="connsiteX608" fmla="*/ 48402 w 416562"/>
                <a:gd name="connsiteY608" fmla="*/ 284666 h 555960"/>
                <a:gd name="connsiteX609" fmla="*/ 45861 w 416562"/>
                <a:gd name="connsiteY609" fmla="*/ 283002 h 555960"/>
                <a:gd name="connsiteX610" fmla="*/ 44530 w 416562"/>
                <a:gd name="connsiteY610" fmla="*/ 282579 h 555960"/>
                <a:gd name="connsiteX611" fmla="*/ 43048 w 416562"/>
                <a:gd name="connsiteY611" fmla="*/ 282639 h 555960"/>
                <a:gd name="connsiteX612" fmla="*/ 40991 w 416562"/>
                <a:gd name="connsiteY612" fmla="*/ 283274 h 555960"/>
                <a:gd name="connsiteX613" fmla="*/ 40113 w 416562"/>
                <a:gd name="connsiteY613" fmla="*/ 283970 h 555960"/>
                <a:gd name="connsiteX614" fmla="*/ 39569 w 416562"/>
                <a:gd name="connsiteY614" fmla="*/ 285211 h 555960"/>
                <a:gd name="connsiteX615" fmla="*/ 39569 w 416562"/>
                <a:gd name="connsiteY615" fmla="*/ 286118 h 555960"/>
                <a:gd name="connsiteX616" fmla="*/ 40053 w 416562"/>
                <a:gd name="connsiteY616" fmla="*/ 287721 h 555960"/>
                <a:gd name="connsiteX617" fmla="*/ 39841 w 416562"/>
                <a:gd name="connsiteY617" fmla="*/ 288629 h 555960"/>
                <a:gd name="connsiteX618" fmla="*/ 38692 w 416562"/>
                <a:gd name="connsiteY618" fmla="*/ 289657 h 555960"/>
                <a:gd name="connsiteX619" fmla="*/ 39841 w 416562"/>
                <a:gd name="connsiteY619" fmla="*/ 290353 h 555960"/>
                <a:gd name="connsiteX620" fmla="*/ 43320 w 416562"/>
                <a:gd name="connsiteY620" fmla="*/ 292804 h 555960"/>
                <a:gd name="connsiteX621" fmla="*/ 46406 w 416562"/>
                <a:gd name="connsiteY621" fmla="*/ 296464 h 555960"/>
                <a:gd name="connsiteX622" fmla="*/ 51790 w 416562"/>
                <a:gd name="connsiteY622" fmla="*/ 304450 h 555960"/>
                <a:gd name="connsiteX623" fmla="*/ 62076 w 416562"/>
                <a:gd name="connsiteY623" fmla="*/ 314706 h 555960"/>
                <a:gd name="connsiteX624" fmla="*/ 64073 w 416562"/>
                <a:gd name="connsiteY624" fmla="*/ 318911 h 555960"/>
                <a:gd name="connsiteX625" fmla="*/ 66493 w 416562"/>
                <a:gd name="connsiteY625" fmla="*/ 325989 h 555960"/>
                <a:gd name="connsiteX626" fmla="*/ 66674 w 416562"/>
                <a:gd name="connsiteY626" fmla="*/ 329378 h 555960"/>
                <a:gd name="connsiteX627" fmla="*/ 64073 w 416562"/>
                <a:gd name="connsiteY627" fmla="*/ 331707 h 555960"/>
                <a:gd name="connsiteX628" fmla="*/ 63649 w 416562"/>
                <a:gd name="connsiteY628" fmla="*/ 333220 h 555960"/>
                <a:gd name="connsiteX629" fmla="*/ 63467 w 416562"/>
                <a:gd name="connsiteY629" fmla="*/ 335065 h 555960"/>
                <a:gd name="connsiteX630" fmla="*/ 63589 w 416562"/>
                <a:gd name="connsiteY630" fmla="*/ 336819 h 555960"/>
                <a:gd name="connsiteX631" fmla="*/ 64073 w 416562"/>
                <a:gd name="connsiteY631" fmla="*/ 338181 h 555960"/>
                <a:gd name="connsiteX632" fmla="*/ 64799 w 416562"/>
                <a:gd name="connsiteY632" fmla="*/ 338816 h 555960"/>
                <a:gd name="connsiteX633" fmla="*/ 65071 w 416562"/>
                <a:gd name="connsiteY633" fmla="*/ 339391 h 555960"/>
                <a:gd name="connsiteX634" fmla="*/ 64890 w 416562"/>
                <a:gd name="connsiteY634" fmla="*/ 339905 h 555960"/>
                <a:gd name="connsiteX635" fmla="*/ 64073 w 416562"/>
                <a:gd name="connsiteY635" fmla="*/ 340389 h 555960"/>
                <a:gd name="connsiteX636" fmla="*/ 60291 w 416562"/>
                <a:gd name="connsiteY636" fmla="*/ 338967 h 555960"/>
                <a:gd name="connsiteX637" fmla="*/ 59051 w 416562"/>
                <a:gd name="connsiteY637" fmla="*/ 339058 h 555960"/>
                <a:gd name="connsiteX638" fmla="*/ 57810 w 416562"/>
                <a:gd name="connsiteY638" fmla="*/ 341841 h 555960"/>
                <a:gd name="connsiteX639" fmla="*/ 56933 w 416562"/>
                <a:gd name="connsiteY639" fmla="*/ 342930 h 555960"/>
                <a:gd name="connsiteX640" fmla="*/ 56147 w 416562"/>
                <a:gd name="connsiteY640" fmla="*/ 341811 h 555960"/>
                <a:gd name="connsiteX641" fmla="*/ 55330 w 416562"/>
                <a:gd name="connsiteY641" fmla="*/ 339663 h 555960"/>
                <a:gd name="connsiteX642" fmla="*/ 53878 w 416562"/>
                <a:gd name="connsiteY642" fmla="*/ 337243 h 555960"/>
                <a:gd name="connsiteX643" fmla="*/ 52153 w 416562"/>
                <a:gd name="connsiteY643" fmla="*/ 335186 h 555960"/>
                <a:gd name="connsiteX644" fmla="*/ 50490 w 416562"/>
                <a:gd name="connsiteY644" fmla="*/ 334248 h 555960"/>
                <a:gd name="connsiteX645" fmla="*/ 49400 w 416562"/>
                <a:gd name="connsiteY645" fmla="*/ 334551 h 555960"/>
                <a:gd name="connsiteX646" fmla="*/ 47071 w 416562"/>
                <a:gd name="connsiteY646" fmla="*/ 336275 h 555960"/>
                <a:gd name="connsiteX647" fmla="*/ 45892 w 416562"/>
                <a:gd name="connsiteY647" fmla="*/ 336880 h 555960"/>
                <a:gd name="connsiteX648" fmla="*/ 44712 w 416562"/>
                <a:gd name="connsiteY648" fmla="*/ 336910 h 555960"/>
                <a:gd name="connsiteX649" fmla="*/ 42140 w 416562"/>
                <a:gd name="connsiteY649" fmla="*/ 336547 h 555960"/>
                <a:gd name="connsiteX650" fmla="*/ 41051 w 416562"/>
                <a:gd name="connsiteY650" fmla="*/ 336850 h 555960"/>
                <a:gd name="connsiteX651" fmla="*/ 39660 w 416562"/>
                <a:gd name="connsiteY651" fmla="*/ 338937 h 555960"/>
                <a:gd name="connsiteX652" fmla="*/ 38692 w 416562"/>
                <a:gd name="connsiteY652" fmla="*/ 341781 h 555960"/>
                <a:gd name="connsiteX653" fmla="*/ 37482 w 416562"/>
                <a:gd name="connsiteY653" fmla="*/ 343959 h 555960"/>
                <a:gd name="connsiteX654" fmla="*/ 35273 w 416562"/>
                <a:gd name="connsiteY654" fmla="*/ 343959 h 555960"/>
                <a:gd name="connsiteX655" fmla="*/ 33246 w 416562"/>
                <a:gd name="connsiteY655" fmla="*/ 346893 h 555960"/>
                <a:gd name="connsiteX656" fmla="*/ 33307 w 416562"/>
                <a:gd name="connsiteY656" fmla="*/ 350554 h 555960"/>
                <a:gd name="connsiteX657" fmla="*/ 34941 w 416562"/>
                <a:gd name="connsiteY657" fmla="*/ 353881 h 555960"/>
                <a:gd name="connsiteX658" fmla="*/ 37572 w 416562"/>
                <a:gd name="connsiteY658" fmla="*/ 355969 h 555960"/>
                <a:gd name="connsiteX659" fmla="*/ 51397 w 416562"/>
                <a:gd name="connsiteY659" fmla="*/ 361716 h 555960"/>
                <a:gd name="connsiteX660" fmla="*/ 53061 w 416562"/>
                <a:gd name="connsiteY660" fmla="*/ 362836 h 555960"/>
                <a:gd name="connsiteX661" fmla="*/ 57266 w 416562"/>
                <a:gd name="connsiteY661" fmla="*/ 368674 h 555960"/>
                <a:gd name="connsiteX662" fmla="*/ 63226 w 416562"/>
                <a:gd name="connsiteY662" fmla="*/ 374362 h 555960"/>
                <a:gd name="connsiteX663" fmla="*/ 64405 w 416562"/>
                <a:gd name="connsiteY663" fmla="*/ 376055 h 555960"/>
                <a:gd name="connsiteX664" fmla="*/ 66160 w 416562"/>
                <a:gd name="connsiteY664" fmla="*/ 379595 h 555960"/>
                <a:gd name="connsiteX665" fmla="*/ 67158 w 416562"/>
                <a:gd name="connsiteY665" fmla="*/ 381047 h 555960"/>
                <a:gd name="connsiteX666" fmla="*/ 70728 w 416562"/>
                <a:gd name="connsiteY666" fmla="*/ 383800 h 555960"/>
                <a:gd name="connsiteX667" fmla="*/ 70940 w 416562"/>
                <a:gd name="connsiteY667" fmla="*/ 383982 h 555960"/>
                <a:gd name="connsiteX668" fmla="*/ 74055 w 416562"/>
                <a:gd name="connsiteY668" fmla="*/ 387733 h 555960"/>
                <a:gd name="connsiteX669" fmla="*/ 75780 w 416562"/>
                <a:gd name="connsiteY669" fmla="*/ 389215 h 555960"/>
                <a:gd name="connsiteX670" fmla="*/ 77867 w 416562"/>
                <a:gd name="connsiteY670" fmla="*/ 390213 h 555960"/>
                <a:gd name="connsiteX671" fmla="*/ 82344 w 416562"/>
                <a:gd name="connsiteY671" fmla="*/ 391454 h 555960"/>
                <a:gd name="connsiteX672" fmla="*/ 84492 w 416562"/>
                <a:gd name="connsiteY672" fmla="*/ 391665 h 555960"/>
                <a:gd name="connsiteX673" fmla="*/ 85793 w 416562"/>
                <a:gd name="connsiteY673" fmla="*/ 391211 h 555960"/>
                <a:gd name="connsiteX674" fmla="*/ 86610 w 416562"/>
                <a:gd name="connsiteY674" fmla="*/ 390455 h 555960"/>
                <a:gd name="connsiteX675" fmla="*/ 87396 w 416562"/>
                <a:gd name="connsiteY675" fmla="*/ 390546 h 555960"/>
                <a:gd name="connsiteX676" fmla="*/ 90361 w 416562"/>
                <a:gd name="connsiteY676" fmla="*/ 395477 h 555960"/>
                <a:gd name="connsiteX677" fmla="*/ 92206 w 416562"/>
                <a:gd name="connsiteY677" fmla="*/ 397746 h 555960"/>
                <a:gd name="connsiteX678" fmla="*/ 94264 w 416562"/>
                <a:gd name="connsiteY678" fmla="*/ 399289 h 555960"/>
                <a:gd name="connsiteX679" fmla="*/ 96623 w 416562"/>
                <a:gd name="connsiteY679" fmla="*/ 400106 h 555960"/>
                <a:gd name="connsiteX680" fmla="*/ 99951 w 416562"/>
                <a:gd name="connsiteY680" fmla="*/ 400317 h 555960"/>
                <a:gd name="connsiteX681" fmla="*/ 103369 w 416562"/>
                <a:gd name="connsiteY681" fmla="*/ 400045 h 555960"/>
                <a:gd name="connsiteX682" fmla="*/ 104549 w 416562"/>
                <a:gd name="connsiteY682" fmla="*/ 399380 h 555960"/>
                <a:gd name="connsiteX683" fmla="*/ 106878 w 416562"/>
                <a:gd name="connsiteY683" fmla="*/ 397171 h 555960"/>
                <a:gd name="connsiteX684" fmla="*/ 107846 w 416562"/>
                <a:gd name="connsiteY684" fmla="*/ 396687 h 555960"/>
                <a:gd name="connsiteX685" fmla="*/ 109117 w 416562"/>
                <a:gd name="connsiteY685" fmla="*/ 397080 h 555960"/>
                <a:gd name="connsiteX686" fmla="*/ 109843 w 416562"/>
                <a:gd name="connsiteY686" fmla="*/ 398109 h 555960"/>
                <a:gd name="connsiteX687" fmla="*/ 110418 w 416562"/>
                <a:gd name="connsiteY687" fmla="*/ 399410 h 555960"/>
                <a:gd name="connsiteX688" fmla="*/ 111204 w 416562"/>
                <a:gd name="connsiteY688" fmla="*/ 400620 h 555960"/>
                <a:gd name="connsiteX689" fmla="*/ 112172 w 416562"/>
                <a:gd name="connsiteY689" fmla="*/ 401558 h 555960"/>
                <a:gd name="connsiteX690" fmla="*/ 118222 w 416562"/>
                <a:gd name="connsiteY690" fmla="*/ 405490 h 555960"/>
                <a:gd name="connsiteX691" fmla="*/ 121732 w 416562"/>
                <a:gd name="connsiteY691" fmla="*/ 408667 h 555960"/>
                <a:gd name="connsiteX692" fmla="*/ 121913 w 416562"/>
                <a:gd name="connsiteY692" fmla="*/ 408848 h 555960"/>
                <a:gd name="connsiteX693" fmla="*/ 127994 w 416562"/>
                <a:gd name="connsiteY693" fmla="*/ 414414 h 555960"/>
                <a:gd name="connsiteX694" fmla="*/ 129264 w 416562"/>
                <a:gd name="connsiteY694" fmla="*/ 414808 h 555960"/>
                <a:gd name="connsiteX695" fmla="*/ 130414 w 416562"/>
                <a:gd name="connsiteY695" fmla="*/ 415140 h 555960"/>
                <a:gd name="connsiteX696" fmla="*/ 135799 w 416562"/>
                <a:gd name="connsiteY696" fmla="*/ 415655 h 555960"/>
                <a:gd name="connsiteX697" fmla="*/ 138703 w 416562"/>
                <a:gd name="connsiteY697" fmla="*/ 416804 h 555960"/>
                <a:gd name="connsiteX698" fmla="*/ 143966 w 416562"/>
                <a:gd name="connsiteY698" fmla="*/ 420313 h 555960"/>
                <a:gd name="connsiteX699" fmla="*/ 150168 w 416562"/>
                <a:gd name="connsiteY699" fmla="*/ 423187 h 555960"/>
                <a:gd name="connsiteX700" fmla="*/ 151832 w 416562"/>
                <a:gd name="connsiteY700" fmla="*/ 425214 h 555960"/>
                <a:gd name="connsiteX701" fmla="*/ 151983 w 416562"/>
                <a:gd name="connsiteY701" fmla="*/ 428330 h 555960"/>
                <a:gd name="connsiteX702" fmla="*/ 150985 w 416562"/>
                <a:gd name="connsiteY702" fmla="*/ 433200 h 555960"/>
                <a:gd name="connsiteX703" fmla="*/ 142847 w 416562"/>
                <a:gd name="connsiteY703" fmla="*/ 434501 h 555960"/>
                <a:gd name="connsiteX704" fmla="*/ 138975 w 416562"/>
                <a:gd name="connsiteY704" fmla="*/ 435802 h 555960"/>
                <a:gd name="connsiteX705" fmla="*/ 138128 w 416562"/>
                <a:gd name="connsiteY705" fmla="*/ 436316 h 555960"/>
                <a:gd name="connsiteX706" fmla="*/ 137281 w 416562"/>
                <a:gd name="connsiteY706" fmla="*/ 437708 h 555960"/>
                <a:gd name="connsiteX707" fmla="*/ 137220 w 416562"/>
                <a:gd name="connsiteY707" fmla="*/ 438918 h 555960"/>
                <a:gd name="connsiteX708" fmla="*/ 137372 w 416562"/>
                <a:gd name="connsiteY708" fmla="*/ 440068 h 555960"/>
                <a:gd name="connsiteX709" fmla="*/ 137220 w 416562"/>
                <a:gd name="connsiteY709" fmla="*/ 441278 h 555960"/>
                <a:gd name="connsiteX710" fmla="*/ 134710 w 416562"/>
                <a:gd name="connsiteY710" fmla="*/ 443879 h 555960"/>
                <a:gd name="connsiteX711" fmla="*/ 131291 w 416562"/>
                <a:gd name="connsiteY711" fmla="*/ 442972 h 555960"/>
                <a:gd name="connsiteX712" fmla="*/ 127510 w 416562"/>
                <a:gd name="connsiteY712" fmla="*/ 440854 h 555960"/>
                <a:gd name="connsiteX713" fmla="*/ 123910 w 416562"/>
                <a:gd name="connsiteY713" fmla="*/ 440007 h 555960"/>
                <a:gd name="connsiteX714" fmla="*/ 122790 w 416562"/>
                <a:gd name="connsiteY714" fmla="*/ 440521 h 555960"/>
                <a:gd name="connsiteX715" fmla="*/ 121853 w 416562"/>
                <a:gd name="connsiteY715" fmla="*/ 441217 h 555960"/>
                <a:gd name="connsiteX716" fmla="*/ 119735 w 416562"/>
                <a:gd name="connsiteY716" fmla="*/ 442760 h 555960"/>
                <a:gd name="connsiteX717" fmla="*/ 118919 w 416562"/>
                <a:gd name="connsiteY717" fmla="*/ 443819 h 555960"/>
                <a:gd name="connsiteX718" fmla="*/ 118707 w 416562"/>
                <a:gd name="connsiteY718" fmla="*/ 446300 h 555960"/>
                <a:gd name="connsiteX719" fmla="*/ 119856 w 416562"/>
                <a:gd name="connsiteY719" fmla="*/ 448205 h 555960"/>
                <a:gd name="connsiteX720" fmla="*/ 119947 w 416562"/>
                <a:gd name="connsiteY720" fmla="*/ 448326 h 555960"/>
                <a:gd name="connsiteX721" fmla="*/ 125725 w 416562"/>
                <a:gd name="connsiteY721" fmla="*/ 453378 h 555960"/>
                <a:gd name="connsiteX722" fmla="*/ 126481 w 416562"/>
                <a:gd name="connsiteY722" fmla="*/ 454679 h 555960"/>
                <a:gd name="connsiteX723" fmla="*/ 126693 w 416562"/>
                <a:gd name="connsiteY723" fmla="*/ 455102 h 555960"/>
                <a:gd name="connsiteX724" fmla="*/ 125362 w 416562"/>
                <a:gd name="connsiteY724" fmla="*/ 458340 h 555960"/>
                <a:gd name="connsiteX725" fmla="*/ 124213 w 416562"/>
                <a:gd name="connsiteY725" fmla="*/ 460366 h 555960"/>
                <a:gd name="connsiteX726" fmla="*/ 123850 w 416562"/>
                <a:gd name="connsiteY726" fmla="*/ 461395 h 555960"/>
                <a:gd name="connsiteX727" fmla="*/ 123819 w 416562"/>
                <a:gd name="connsiteY727" fmla="*/ 463422 h 555960"/>
                <a:gd name="connsiteX728" fmla="*/ 124091 w 416562"/>
                <a:gd name="connsiteY728" fmla="*/ 465176 h 555960"/>
                <a:gd name="connsiteX729" fmla="*/ 123970 w 416562"/>
                <a:gd name="connsiteY729" fmla="*/ 466810 h 555960"/>
                <a:gd name="connsiteX730" fmla="*/ 122790 w 416562"/>
                <a:gd name="connsiteY730" fmla="*/ 468443 h 555960"/>
                <a:gd name="connsiteX731" fmla="*/ 124848 w 416562"/>
                <a:gd name="connsiteY731" fmla="*/ 470531 h 555960"/>
                <a:gd name="connsiteX732" fmla="*/ 129900 w 416562"/>
                <a:gd name="connsiteY732" fmla="*/ 473102 h 555960"/>
                <a:gd name="connsiteX733" fmla="*/ 131563 w 416562"/>
                <a:gd name="connsiteY733" fmla="*/ 475099 h 555960"/>
                <a:gd name="connsiteX734" fmla="*/ 131594 w 416562"/>
                <a:gd name="connsiteY734" fmla="*/ 475099 h 555960"/>
                <a:gd name="connsiteX735" fmla="*/ 131594 w 416562"/>
                <a:gd name="connsiteY735" fmla="*/ 475099 h 555960"/>
                <a:gd name="connsiteX736" fmla="*/ 131594 w 416562"/>
                <a:gd name="connsiteY736" fmla="*/ 475129 h 555960"/>
                <a:gd name="connsiteX737" fmla="*/ 131594 w 416562"/>
                <a:gd name="connsiteY737" fmla="*/ 475129 h 555960"/>
                <a:gd name="connsiteX738" fmla="*/ 134438 w 416562"/>
                <a:gd name="connsiteY738" fmla="*/ 481421 h 555960"/>
                <a:gd name="connsiteX739" fmla="*/ 134982 w 416562"/>
                <a:gd name="connsiteY739" fmla="*/ 482117 h 555960"/>
                <a:gd name="connsiteX740" fmla="*/ 136343 w 416562"/>
                <a:gd name="connsiteY740" fmla="*/ 483327 h 555960"/>
                <a:gd name="connsiteX741" fmla="*/ 136827 w 416562"/>
                <a:gd name="connsiteY741" fmla="*/ 484295 h 555960"/>
                <a:gd name="connsiteX742" fmla="*/ 136797 w 416562"/>
                <a:gd name="connsiteY742" fmla="*/ 485324 h 555960"/>
                <a:gd name="connsiteX743" fmla="*/ 135768 w 416562"/>
                <a:gd name="connsiteY743" fmla="*/ 486806 h 555960"/>
                <a:gd name="connsiteX744" fmla="*/ 135647 w 416562"/>
                <a:gd name="connsiteY744" fmla="*/ 487593 h 555960"/>
                <a:gd name="connsiteX745" fmla="*/ 136101 w 416562"/>
                <a:gd name="connsiteY745" fmla="*/ 488379 h 555960"/>
                <a:gd name="connsiteX746" fmla="*/ 137674 w 416562"/>
                <a:gd name="connsiteY746" fmla="*/ 489619 h 555960"/>
                <a:gd name="connsiteX747" fmla="*/ 138249 w 416562"/>
                <a:gd name="connsiteY747" fmla="*/ 490376 h 555960"/>
                <a:gd name="connsiteX748" fmla="*/ 138491 w 416562"/>
                <a:gd name="connsiteY748" fmla="*/ 491344 h 555960"/>
                <a:gd name="connsiteX749" fmla="*/ 138309 w 416562"/>
                <a:gd name="connsiteY749" fmla="*/ 493008 h 555960"/>
                <a:gd name="connsiteX750" fmla="*/ 138461 w 416562"/>
                <a:gd name="connsiteY750" fmla="*/ 493915 h 555960"/>
                <a:gd name="connsiteX751" fmla="*/ 139338 w 416562"/>
                <a:gd name="connsiteY751" fmla="*/ 495972 h 555960"/>
                <a:gd name="connsiteX752" fmla="*/ 140155 w 416562"/>
                <a:gd name="connsiteY752" fmla="*/ 496819 h 555960"/>
                <a:gd name="connsiteX753" fmla="*/ 141365 w 416562"/>
                <a:gd name="connsiteY753" fmla="*/ 496971 h 555960"/>
                <a:gd name="connsiteX754" fmla="*/ 148232 w 416562"/>
                <a:gd name="connsiteY754" fmla="*/ 496819 h 555960"/>
                <a:gd name="connsiteX755" fmla="*/ 149775 w 416562"/>
                <a:gd name="connsiteY755" fmla="*/ 497061 h 555960"/>
                <a:gd name="connsiteX756" fmla="*/ 162208 w 416562"/>
                <a:gd name="connsiteY756" fmla="*/ 505471 h 555960"/>
                <a:gd name="connsiteX757" fmla="*/ 163902 w 416562"/>
                <a:gd name="connsiteY757" fmla="*/ 507135 h 555960"/>
                <a:gd name="connsiteX758" fmla="*/ 164719 w 416562"/>
                <a:gd name="connsiteY758" fmla="*/ 507922 h 555960"/>
                <a:gd name="connsiteX759" fmla="*/ 166625 w 416562"/>
                <a:gd name="connsiteY759" fmla="*/ 510342 h 555960"/>
                <a:gd name="connsiteX760" fmla="*/ 170436 w 416562"/>
                <a:gd name="connsiteY760" fmla="*/ 517965 h 555960"/>
                <a:gd name="connsiteX761" fmla="*/ 171526 w 416562"/>
                <a:gd name="connsiteY761" fmla="*/ 521293 h 555960"/>
                <a:gd name="connsiteX762" fmla="*/ 171768 w 416562"/>
                <a:gd name="connsiteY762" fmla="*/ 523501 h 555960"/>
                <a:gd name="connsiteX763" fmla="*/ 171798 w 416562"/>
                <a:gd name="connsiteY763" fmla="*/ 527464 h 555960"/>
                <a:gd name="connsiteX764" fmla="*/ 172403 w 416562"/>
                <a:gd name="connsiteY764" fmla="*/ 529763 h 555960"/>
                <a:gd name="connsiteX765" fmla="*/ 175579 w 416562"/>
                <a:gd name="connsiteY765" fmla="*/ 537417 h 555960"/>
                <a:gd name="connsiteX766" fmla="*/ 176033 w 416562"/>
                <a:gd name="connsiteY766" fmla="*/ 539897 h 555960"/>
                <a:gd name="connsiteX767" fmla="*/ 176547 w 416562"/>
                <a:gd name="connsiteY767" fmla="*/ 541531 h 555960"/>
                <a:gd name="connsiteX768" fmla="*/ 176547 w 416562"/>
                <a:gd name="connsiteY768" fmla="*/ 543104 h 555960"/>
                <a:gd name="connsiteX769" fmla="*/ 175489 w 416562"/>
                <a:gd name="connsiteY769" fmla="*/ 545343 h 555960"/>
                <a:gd name="connsiteX770" fmla="*/ 174641 w 416562"/>
                <a:gd name="connsiteY770" fmla="*/ 546341 h 555960"/>
                <a:gd name="connsiteX771" fmla="*/ 173915 w 416562"/>
                <a:gd name="connsiteY771" fmla="*/ 546855 h 555960"/>
                <a:gd name="connsiteX772" fmla="*/ 173311 w 416562"/>
                <a:gd name="connsiteY772" fmla="*/ 547521 h 555960"/>
                <a:gd name="connsiteX773" fmla="*/ 172826 w 416562"/>
                <a:gd name="connsiteY773" fmla="*/ 549003 h 555960"/>
                <a:gd name="connsiteX774" fmla="*/ 172857 w 416562"/>
                <a:gd name="connsiteY774" fmla="*/ 549911 h 555960"/>
                <a:gd name="connsiteX775" fmla="*/ 173371 w 416562"/>
                <a:gd name="connsiteY775" fmla="*/ 551454 h 555960"/>
                <a:gd name="connsiteX776" fmla="*/ 173311 w 416562"/>
                <a:gd name="connsiteY776" fmla="*/ 552361 h 555960"/>
                <a:gd name="connsiteX777" fmla="*/ 175640 w 416562"/>
                <a:gd name="connsiteY777" fmla="*/ 554630 h 555960"/>
                <a:gd name="connsiteX778" fmla="*/ 176850 w 416562"/>
                <a:gd name="connsiteY778" fmla="*/ 555235 h 555960"/>
                <a:gd name="connsiteX779" fmla="*/ 178483 w 416562"/>
                <a:gd name="connsiteY779" fmla="*/ 555174 h 555960"/>
                <a:gd name="connsiteX780" fmla="*/ 179240 w 416562"/>
                <a:gd name="connsiteY780" fmla="*/ 554599 h 555960"/>
                <a:gd name="connsiteX781" fmla="*/ 180329 w 416562"/>
                <a:gd name="connsiteY781" fmla="*/ 552724 h 555960"/>
                <a:gd name="connsiteX782" fmla="*/ 180964 w 416562"/>
                <a:gd name="connsiteY782" fmla="*/ 552300 h 555960"/>
                <a:gd name="connsiteX783" fmla="*/ 181932 w 416562"/>
                <a:gd name="connsiteY783" fmla="*/ 552845 h 555960"/>
                <a:gd name="connsiteX784" fmla="*/ 183838 w 416562"/>
                <a:gd name="connsiteY784" fmla="*/ 555325 h 555960"/>
                <a:gd name="connsiteX785" fmla="*/ 184806 w 416562"/>
                <a:gd name="connsiteY785" fmla="*/ 555961 h 555960"/>
                <a:gd name="connsiteX786" fmla="*/ 186984 w 416562"/>
                <a:gd name="connsiteY786" fmla="*/ 555265 h 555960"/>
                <a:gd name="connsiteX787" fmla="*/ 188134 w 416562"/>
                <a:gd name="connsiteY787" fmla="*/ 554085 h 555960"/>
                <a:gd name="connsiteX788" fmla="*/ 189011 w 416562"/>
                <a:gd name="connsiteY788" fmla="*/ 553178 h 555960"/>
                <a:gd name="connsiteX789" fmla="*/ 190705 w 416562"/>
                <a:gd name="connsiteY789" fmla="*/ 550516 h 555960"/>
                <a:gd name="connsiteX790" fmla="*/ 191764 w 416562"/>
                <a:gd name="connsiteY790" fmla="*/ 548186 h 555960"/>
                <a:gd name="connsiteX791" fmla="*/ 191824 w 416562"/>
                <a:gd name="connsiteY791" fmla="*/ 547763 h 555960"/>
                <a:gd name="connsiteX792" fmla="*/ 192157 w 416562"/>
                <a:gd name="connsiteY792" fmla="*/ 545191 h 555960"/>
                <a:gd name="connsiteX793" fmla="*/ 191855 w 416562"/>
                <a:gd name="connsiteY793" fmla="*/ 544011 h 555960"/>
                <a:gd name="connsiteX794" fmla="*/ 190886 w 416562"/>
                <a:gd name="connsiteY794" fmla="*/ 540260 h 555960"/>
                <a:gd name="connsiteX795" fmla="*/ 191008 w 416562"/>
                <a:gd name="connsiteY795" fmla="*/ 537447 h 555960"/>
                <a:gd name="connsiteX796" fmla="*/ 192248 w 416562"/>
                <a:gd name="connsiteY796" fmla="*/ 531306 h 555960"/>
                <a:gd name="connsiteX797" fmla="*/ 193246 w 416562"/>
                <a:gd name="connsiteY797" fmla="*/ 528644 h 555960"/>
                <a:gd name="connsiteX798" fmla="*/ 195213 w 416562"/>
                <a:gd name="connsiteY798" fmla="*/ 526436 h 555960"/>
                <a:gd name="connsiteX799" fmla="*/ 197784 w 416562"/>
                <a:gd name="connsiteY799" fmla="*/ 525074 h 555960"/>
                <a:gd name="connsiteX800" fmla="*/ 207222 w 416562"/>
                <a:gd name="connsiteY800" fmla="*/ 522140 h 555960"/>
                <a:gd name="connsiteX801" fmla="*/ 214362 w 416562"/>
                <a:gd name="connsiteY801" fmla="*/ 519871 h 555960"/>
                <a:gd name="connsiteX802" fmla="*/ 217266 w 416562"/>
                <a:gd name="connsiteY802" fmla="*/ 518993 h 555960"/>
                <a:gd name="connsiteX803" fmla="*/ 219807 w 416562"/>
                <a:gd name="connsiteY803" fmla="*/ 517814 h 555960"/>
                <a:gd name="connsiteX804" fmla="*/ 220987 w 416562"/>
                <a:gd name="connsiteY804" fmla="*/ 516725 h 555960"/>
                <a:gd name="connsiteX805" fmla="*/ 224345 w 416562"/>
                <a:gd name="connsiteY805" fmla="*/ 513699 h 555960"/>
                <a:gd name="connsiteX806" fmla="*/ 226795 w 416562"/>
                <a:gd name="connsiteY806" fmla="*/ 512247 h 555960"/>
                <a:gd name="connsiteX807" fmla="*/ 227551 w 416562"/>
                <a:gd name="connsiteY807" fmla="*/ 512278 h 555960"/>
                <a:gd name="connsiteX808" fmla="*/ 228217 w 416562"/>
                <a:gd name="connsiteY808" fmla="*/ 512459 h 555960"/>
                <a:gd name="connsiteX809" fmla="*/ 229578 w 416562"/>
                <a:gd name="connsiteY809" fmla="*/ 513125 h 555960"/>
                <a:gd name="connsiteX810" fmla="*/ 233420 w 416562"/>
                <a:gd name="connsiteY810" fmla="*/ 515848 h 555960"/>
                <a:gd name="connsiteX811" fmla="*/ 236959 w 416562"/>
                <a:gd name="connsiteY811" fmla="*/ 519084 h 555960"/>
                <a:gd name="connsiteX812" fmla="*/ 238623 w 416562"/>
                <a:gd name="connsiteY812" fmla="*/ 521565 h 555960"/>
                <a:gd name="connsiteX813" fmla="*/ 239531 w 416562"/>
                <a:gd name="connsiteY813" fmla="*/ 523350 h 555960"/>
                <a:gd name="connsiteX814" fmla="*/ 239955 w 416562"/>
                <a:gd name="connsiteY814" fmla="*/ 523713 h 555960"/>
                <a:gd name="connsiteX815" fmla="*/ 240801 w 416562"/>
                <a:gd name="connsiteY815" fmla="*/ 524530 h 555960"/>
                <a:gd name="connsiteX816" fmla="*/ 241588 w 416562"/>
                <a:gd name="connsiteY816" fmla="*/ 524681 h 555960"/>
                <a:gd name="connsiteX817" fmla="*/ 245944 w 416562"/>
                <a:gd name="connsiteY817" fmla="*/ 525498 h 555960"/>
                <a:gd name="connsiteX818" fmla="*/ 247003 w 416562"/>
                <a:gd name="connsiteY818" fmla="*/ 525286 h 555960"/>
                <a:gd name="connsiteX819" fmla="*/ 247124 w 416562"/>
                <a:gd name="connsiteY819" fmla="*/ 524409 h 555960"/>
                <a:gd name="connsiteX820" fmla="*/ 247184 w 416562"/>
                <a:gd name="connsiteY820" fmla="*/ 524136 h 555960"/>
                <a:gd name="connsiteX821" fmla="*/ 247094 w 416562"/>
                <a:gd name="connsiteY821" fmla="*/ 521595 h 555960"/>
                <a:gd name="connsiteX822" fmla="*/ 246942 w 416562"/>
                <a:gd name="connsiteY822" fmla="*/ 520536 h 555960"/>
                <a:gd name="connsiteX823" fmla="*/ 246640 w 416562"/>
                <a:gd name="connsiteY823" fmla="*/ 519871 h 555960"/>
                <a:gd name="connsiteX824" fmla="*/ 246428 w 416562"/>
                <a:gd name="connsiteY824" fmla="*/ 519205 h 555960"/>
                <a:gd name="connsiteX825" fmla="*/ 246549 w 416562"/>
                <a:gd name="connsiteY825" fmla="*/ 518116 h 555960"/>
                <a:gd name="connsiteX826" fmla="*/ 252448 w 416562"/>
                <a:gd name="connsiteY826" fmla="*/ 509767 h 555960"/>
                <a:gd name="connsiteX827" fmla="*/ 253174 w 416562"/>
                <a:gd name="connsiteY827" fmla="*/ 509253 h 555960"/>
                <a:gd name="connsiteX828" fmla="*/ 253779 w 416562"/>
                <a:gd name="connsiteY828" fmla="*/ 508799 h 555960"/>
                <a:gd name="connsiteX829" fmla="*/ 255534 w 416562"/>
                <a:gd name="connsiteY829" fmla="*/ 508648 h 555960"/>
                <a:gd name="connsiteX830" fmla="*/ 259013 w 416562"/>
                <a:gd name="connsiteY830" fmla="*/ 509888 h 555960"/>
                <a:gd name="connsiteX831" fmla="*/ 260132 w 416562"/>
                <a:gd name="connsiteY831" fmla="*/ 509767 h 555960"/>
                <a:gd name="connsiteX832" fmla="*/ 260011 w 416562"/>
                <a:gd name="connsiteY832" fmla="*/ 508950 h 555960"/>
                <a:gd name="connsiteX833" fmla="*/ 259285 w 416562"/>
                <a:gd name="connsiteY833" fmla="*/ 507861 h 555960"/>
                <a:gd name="connsiteX834" fmla="*/ 259104 w 416562"/>
                <a:gd name="connsiteY834" fmla="*/ 506772 h 555960"/>
                <a:gd name="connsiteX835" fmla="*/ 260768 w 416562"/>
                <a:gd name="connsiteY835" fmla="*/ 505925 h 555960"/>
                <a:gd name="connsiteX836" fmla="*/ 261947 w 416562"/>
                <a:gd name="connsiteY836" fmla="*/ 506258 h 555960"/>
                <a:gd name="connsiteX837" fmla="*/ 262885 w 416562"/>
                <a:gd name="connsiteY837" fmla="*/ 507135 h 555960"/>
                <a:gd name="connsiteX838" fmla="*/ 263913 w 416562"/>
                <a:gd name="connsiteY838" fmla="*/ 507377 h 555960"/>
                <a:gd name="connsiteX839" fmla="*/ 264367 w 416562"/>
                <a:gd name="connsiteY839" fmla="*/ 506893 h 555960"/>
                <a:gd name="connsiteX840" fmla="*/ 265305 w 416562"/>
                <a:gd name="connsiteY840" fmla="*/ 505804 h 555960"/>
                <a:gd name="connsiteX841" fmla="*/ 267120 w 416562"/>
                <a:gd name="connsiteY841" fmla="*/ 506923 h 555960"/>
                <a:gd name="connsiteX842" fmla="*/ 269177 w 416562"/>
                <a:gd name="connsiteY842" fmla="*/ 506893 h 555960"/>
                <a:gd name="connsiteX843" fmla="*/ 273382 w 416562"/>
                <a:gd name="connsiteY843" fmla="*/ 505864 h 555960"/>
                <a:gd name="connsiteX844" fmla="*/ 273624 w 416562"/>
                <a:gd name="connsiteY844" fmla="*/ 505986 h 555960"/>
                <a:gd name="connsiteX845" fmla="*/ 274744 w 416562"/>
                <a:gd name="connsiteY845" fmla="*/ 506530 h 555960"/>
                <a:gd name="connsiteX846" fmla="*/ 279705 w 416562"/>
                <a:gd name="connsiteY846" fmla="*/ 506439 h 555960"/>
                <a:gd name="connsiteX847" fmla="*/ 283244 w 416562"/>
                <a:gd name="connsiteY847" fmla="*/ 507316 h 555960"/>
                <a:gd name="connsiteX848" fmla="*/ 284999 w 416562"/>
                <a:gd name="connsiteY848" fmla="*/ 507407 h 555960"/>
                <a:gd name="connsiteX849" fmla="*/ 284999 w 416562"/>
                <a:gd name="connsiteY849" fmla="*/ 507407 h 555960"/>
                <a:gd name="connsiteX850" fmla="*/ 286511 w 416562"/>
                <a:gd name="connsiteY850" fmla="*/ 506530 h 555960"/>
                <a:gd name="connsiteX851" fmla="*/ 287964 w 416562"/>
                <a:gd name="connsiteY851" fmla="*/ 504897 h 555960"/>
                <a:gd name="connsiteX852" fmla="*/ 289264 w 416562"/>
                <a:gd name="connsiteY852" fmla="*/ 504140 h 555960"/>
                <a:gd name="connsiteX853" fmla="*/ 299096 w 416562"/>
                <a:gd name="connsiteY853" fmla="*/ 498665 h 555960"/>
                <a:gd name="connsiteX854" fmla="*/ 301123 w 416562"/>
                <a:gd name="connsiteY854" fmla="*/ 498211 h 555960"/>
                <a:gd name="connsiteX855" fmla="*/ 305146 w 416562"/>
                <a:gd name="connsiteY855" fmla="*/ 498271 h 555960"/>
                <a:gd name="connsiteX856" fmla="*/ 305872 w 416562"/>
                <a:gd name="connsiteY856" fmla="*/ 498090 h 555960"/>
                <a:gd name="connsiteX857" fmla="*/ 309291 w 416562"/>
                <a:gd name="connsiteY857" fmla="*/ 495367 h 555960"/>
                <a:gd name="connsiteX858" fmla="*/ 310349 w 416562"/>
                <a:gd name="connsiteY858" fmla="*/ 494913 h 555960"/>
                <a:gd name="connsiteX859" fmla="*/ 311620 w 416562"/>
                <a:gd name="connsiteY859" fmla="*/ 495156 h 555960"/>
                <a:gd name="connsiteX860" fmla="*/ 316975 w 416562"/>
                <a:gd name="connsiteY860" fmla="*/ 497727 h 555960"/>
                <a:gd name="connsiteX861" fmla="*/ 320272 w 416562"/>
                <a:gd name="connsiteY861" fmla="*/ 498786 h 555960"/>
                <a:gd name="connsiteX862" fmla="*/ 322057 w 416562"/>
                <a:gd name="connsiteY862" fmla="*/ 498967 h 555960"/>
                <a:gd name="connsiteX863" fmla="*/ 323630 w 416562"/>
                <a:gd name="connsiteY863" fmla="*/ 499149 h 555960"/>
                <a:gd name="connsiteX864" fmla="*/ 327109 w 416562"/>
                <a:gd name="connsiteY864" fmla="*/ 498574 h 555960"/>
                <a:gd name="connsiteX865" fmla="*/ 340994 w 416562"/>
                <a:gd name="connsiteY865" fmla="*/ 493189 h 555960"/>
                <a:gd name="connsiteX866" fmla="*/ 343626 w 416562"/>
                <a:gd name="connsiteY866" fmla="*/ 490648 h 555960"/>
                <a:gd name="connsiteX867" fmla="*/ 344534 w 416562"/>
                <a:gd name="connsiteY867" fmla="*/ 490497 h 555960"/>
                <a:gd name="connsiteX868" fmla="*/ 344987 w 416562"/>
                <a:gd name="connsiteY868" fmla="*/ 491132 h 555960"/>
                <a:gd name="connsiteX869" fmla="*/ 345078 w 416562"/>
                <a:gd name="connsiteY869" fmla="*/ 493250 h 555960"/>
                <a:gd name="connsiteX870" fmla="*/ 345350 w 416562"/>
                <a:gd name="connsiteY870" fmla="*/ 494157 h 555960"/>
                <a:gd name="connsiteX871" fmla="*/ 346833 w 416562"/>
                <a:gd name="connsiteY871" fmla="*/ 495761 h 555960"/>
                <a:gd name="connsiteX872" fmla="*/ 348436 w 416562"/>
                <a:gd name="connsiteY872" fmla="*/ 496880 h 555960"/>
                <a:gd name="connsiteX873" fmla="*/ 350221 w 416562"/>
                <a:gd name="connsiteY873" fmla="*/ 497485 h 555960"/>
                <a:gd name="connsiteX874" fmla="*/ 352218 w 416562"/>
                <a:gd name="connsiteY874" fmla="*/ 497606 h 555960"/>
                <a:gd name="connsiteX875" fmla="*/ 354154 w 416562"/>
                <a:gd name="connsiteY875" fmla="*/ 496668 h 555960"/>
                <a:gd name="connsiteX876" fmla="*/ 358328 w 416562"/>
                <a:gd name="connsiteY876" fmla="*/ 496608 h 555960"/>
                <a:gd name="connsiteX877" fmla="*/ 360143 w 416562"/>
                <a:gd name="connsiteY877" fmla="*/ 496063 h 555960"/>
                <a:gd name="connsiteX878" fmla="*/ 361626 w 416562"/>
                <a:gd name="connsiteY878" fmla="*/ 494278 h 555960"/>
                <a:gd name="connsiteX879" fmla="*/ 363229 w 416562"/>
                <a:gd name="connsiteY879" fmla="*/ 489710 h 555960"/>
                <a:gd name="connsiteX880" fmla="*/ 364772 w 416562"/>
                <a:gd name="connsiteY880" fmla="*/ 487835 h 555960"/>
                <a:gd name="connsiteX881" fmla="*/ 366315 w 416562"/>
                <a:gd name="connsiteY881" fmla="*/ 487169 h 555960"/>
                <a:gd name="connsiteX882" fmla="*/ 367555 w 416562"/>
                <a:gd name="connsiteY882" fmla="*/ 486897 h 555960"/>
                <a:gd name="connsiteX883" fmla="*/ 368704 w 416562"/>
                <a:gd name="connsiteY883" fmla="*/ 486201 h 555960"/>
                <a:gd name="connsiteX884" fmla="*/ 369763 w 416562"/>
                <a:gd name="connsiteY884" fmla="*/ 484174 h 555960"/>
                <a:gd name="connsiteX885" fmla="*/ 371155 w 416562"/>
                <a:gd name="connsiteY885" fmla="*/ 479606 h 555960"/>
                <a:gd name="connsiteX886" fmla="*/ 371488 w 416562"/>
                <a:gd name="connsiteY886" fmla="*/ 477005 h 555960"/>
                <a:gd name="connsiteX887" fmla="*/ 371064 w 416562"/>
                <a:gd name="connsiteY887" fmla="*/ 475129 h 555960"/>
                <a:gd name="connsiteX888" fmla="*/ 371064 w 416562"/>
                <a:gd name="connsiteY888" fmla="*/ 475099 h 555960"/>
                <a:gd name="connsiteX889" fmla="*/ 370308 w 416562"/>
                <a:gd name="connsiteY889" fmla="*/ 473344 h 555960"/>
                <a:gd name="connsiteX890" fmla="*/ 369037 w 416562"/>
                <a:gd name="connsiteY890" fmla="*/ 471892 h 555960"/>
                <a:gd name="connsiteX891" fmla="*/ 365952 w 416562"/>
                <a:gd name="connsiteY891" fmla="*/ 469835 h 555960"/>
                <a:gd name="connsiteX892" fmla="*/ 360748 w 416562"/>
                <a:gd name="connsiteY892" fmla="*/ 465358 h 555960"/>
                <a:gd name="connsiteX893" fmla="*/ 360294 w 416562"/>
                <a:gd name="connsiteY893" fmla="*/ 465176 h 555960"/>
                <a:gd name="connsiteX894" fmla="*/ 360658 w 416562"/>
                <a:gd name="connsiteY894" fmla="*/ 462665 h 555960"/>
                <a:gd name="connsiteX895" fmla="*/ 361898 w 416562"/>
                <a:gd name="connsiteY895" fmla="*/ 457644 h 555960"/>
                <a:gd name="connsiteX896" fmla="*/ 362231 w 416562"/>
                <a:gd name="connsiteY896" fmla="*/ 456343 h 555960"/>
                <a:gd name="connsiteX897" fmla="*/ 362684 w 416562"/>
                <a:gd name="connsiteY897" fmla="*/ 453227 h 555960"/>
                <a:gd name="connsiteX898" fmla="*/ 361989 w 416562"/>
                <a:gd name="connsiteY898" fmla="*/ 451533 h 555960"/>
                <a:gd name="connsiteX899" fmla="*/ 364590 w 416562"/>
                <a:gd name="connsiteY899" fmla="*/ 446935 h 555960"/>
                <a:gd name="connsiteX900" fmla="*/ 365952 w 416562"/>
                <a:gd name="connsiteY900" fmla="*/ 445755 h 555960"/>
                <a:gd name="connsiteX901" fmla="*/ 366042 w 416562"/>
                <a:gd name="connsiteY901" fmla="*/ 445362 h 555960"/>
                <a:gd name="connsiteX902" fmla="*/ 366073 w 416562"/>
                <a:gd name="connsiteY902" fmla="*/ 444968 h 555960"/>
                <a:gd name="connsiteX903" fmla="*/ 366042 w 416562"/>
                <a:gd name="connsiteY903" fmla="*/ 444605 h 555960"/>
                <a:gd name="connsiteX904" fmla="*/ 365952 w 416562"/>
                <a:gd name="connsiteY904" fmla="*/ 444212 h 555960"/>
                <a:gd name="connsiteX905" fmla="*/ 364439 w 416562"/>
                <a:gd name="connsiteY905" fmla="*/ 443123 h 555960"/>
                <a:gd name="connsiteX906" fmla="*/ 363108 w 416562"/>
                <a:gd name="connsiteY906" fmla="*/ 441247 h 555960"/>
                <a:gd name="connsiteX907" fmla="*/ 360688 w 416562"/>
                <a:gd name="connsiteY907" fmla="*/ 435893 h 555960"/>
                <a:gd name="connsiteX908" fmla="*/ 360355 w 416562"/>
                <a:gd name="connsiteY908" fmla="*/ 435439 h 555960"/>
                <a:gd name="connsiteX909" fmla="*/ 360506 w 416562"/>
                <a:gd name="connsiteY909" fmla="*/ 434955 h 555960"/>
                <a:gd name="connsiteX910" fmla="*/ 360809 w 416562"/>
                <a:gd name="connsiteY910" fmla="*/ 434501 h 555960"/>
                <a:gd name="connsiteX911" fmla="*/ 361444 w 416562"/>
                <a:gd name="connsiteY911" fmla="*/ 433594 h 555960"/>
                <a:gd name="connsiteX912" fmla="*/ 362321 w 416562"/>
                <a:gd name="connsiteY912" fmla="*/ 432868 h 555960"/>
                <a:gd name="connsiteX913" fmla="*/ 364893 w 416562"/>
                <a:gd name="connsiteY913" fmla="*/ 431628 h 555960"/>
                <a:gd name="connsiteX914" fmla="*/ 365952 w 416562"/>
                <a:gd name="connsiteY914" fmla="*/ 430781 h 555960"/>
                <a:gd name="connsiteX915" fmla="*/ 367525 w 416562"/>
                <a:gd name="connsiteY915" fmla="*/ 428572 h 555960"/>
                <a:gd name="connsiteX916" fmla="*/ 368432 w 416562"/>
                <a:gd name="connsiteY916" fmla="*/ 427846 h 555960"/>
                <a:gd name="connsiteX917" fmla="*/ 369793 w 416562"/>
                <a:gd name="connsiteY917" fmla="*/ 427816 h 555960"/>
                <a:gd name="connsiteX918" fmla="*/ 371578 w 416562"/>
                <a:gd name="connsiteY918" fmla="*/ 428058 h 555960"/>
                <a:gd name="connsiteX919" fmla="*/ 372274 w 416562"/>
                <a:gd name="connsiteY919" fmla="*/ 427665 h 555960"/>
                <a:gd name="connsiteX920" fmla="*/ 372305 w 416562"/>
                <a:gd name="connsiteY920" fmla="*/ 427634 h 555960"/>
                <a:gd name="connsiteX921" fmla="*/ 372849 w 416562"/>
                <a:gd name="connsiteY921" fmla="*/ 426939 h 555960"/>
                <a:gd name="connsiteX922" fmla="*/ 374210 w 416562"/>
                <a:gd name="connsiteY922" fmla="*/ 426061 h 555960"/>
                <a:gd name="connsiteX923" fmla="*/ 376963 w 416562"/>
                <a:gd name="connsiteY923" fmla="*/ 425728 h 555960"/>
                <a:gd name="connsiteX924" fmla="*/ 384526 w 416562"/>
                <a:gd name="connsiteY924" fmla="*/ 427604 h 555960"/>
                <a:gd name="connsiteX925" fmla="*/ 387581 w 416562"/>
                <a:gd name="connsiteY925" fmla="*/ 426908 h 555960"/>
                <a:gd name="connsiteX926" fmla="*/ 390667 w 416562"/>
                <a:gd name="connsiteY926" fmla="*/ 425728 h 555960"/>
                <a:gd name="connsiteX927" fmla="*/ 391847 w 416562"/>
                <a:gd name="connsiteY927" fmla="*/ 424397 h 555960"/>
                <a:gd name="connsiteX928" fmla="*/ 391907 w 416562"/>
                <a:gd name="connsiteY928" fmla="*/ 424216 h 555960"/>
                <a:gd name="connsiteX929" fmla="*/ 392512 w 416562"/>
                <a:gd name="connsiteY929" fmla="*/ 422824 h 555960"/>
                <a:gd name="connsiteX930" fmla="*/ 394297 w 416562"/>
                <a:gd name="connsiteY930" fmla="*/ 416683 h 555960"/>
                <a:gd name="connsiteX931" fmla="*/ 394933 w 416562"/>
                <a:gd name="connsiteY931" fmla="*/ 415110 h 555960"/>
                <a:gd name="connsiteX932" fmla="*/ 395628 w 416562"/>
                <a:gd name="connsiteY932" fmla="*/ 414021 h 555960"/>
                <a:gd name="connsiteX933" fmla="*/ 396808 w 416562"/>
                <a:gd name="connsiteY933" fmla="*/ 413356 h 555960"/>
                <a:gd name="connsiteX934" fmla="*/ 399591 w 416562"/>
                <a:gd name="connsiteY934" fmla="*/ 412781 h 555960"/>
                <a:gd name="connsiteX935" fmla="*/ 400892 w 416562"/>
                <a:gd name="connsiteY935" fmla="*/ 412297 h 555960"/>
                <a:gd name="connsiteX936" fmla="*/ 400922 w 416562"/>
                <a:gd name="connsiteY936" fmla="*/ 412297 h 555960"/>
                <a:gd name="connsiteX937" fmla="*/ 400922 w 416562"/>
                <a:gd name="connsiteY937" fmla="*/ 412297 h 555960"/>
                <a:gd name="connsiteX938" fmla="*/ 400922 w 416562"/>
                <a:gd name="connsiteY938" fmla="*/ 412267 h 555960"/>
                <a:gd name="connsiteX939" fmla="*/ 402253 w 416562"/>
                <a:gd name="connsiteY939" fmla="*/ 410512 h 555960"/>
                <a:gd name="connsiteX940" fmla="*/ 406488 w 416562"/>
                <a:gd name="connsiteY940" fmla="*/ 406852 h 555960"/>
                <a:gd name="connsiteX941" fmla="*/ 407003 w 416562"/>
                <a:gd name="connsiteY941" fmla="*/ 405853 h 555960"/>
                <a:gd name="connsiteX942" fmla="*/ 407729 w 416562"/>
                <a:gd name="connsiteY942" fmla="*/ 403554 h 555960"/>
                <a:gd name="connsiteX943" fmla="*/ 408243 w 416562"/>
                <a:gd name="connsiteY943" fmla="*/ 402647 h 555960"/>
                <a:gd name="connsiteX944" fmla="*/ 409090 w 416562"/>
                <a:gd name="connsiteY944" fmla="*/ 401951 h 555960"/>
                <a:gd name="connsiteX945" fmla="*/ 410784 w 416562"/>
                <a:gd name="connsiteY945" fmla="*/ 401225 h 555960"/>
                <a:gd name="connsiteX946" fmla="*/ 411601 w 416562"/>
                <a:gd name="connsiteY946" fmla="*/ 400650 h 555960"/>
                <a:gd name="connsiteX947" fmla="*/ 413658 w 416562"/>
                <a:gd name="connsiteY947" fmla="*/ 397776 h 555960"/>
                <a:gd name="connsiteX948" fmla="*/ 415503 w 416562"/>
                <a:gd name="connsiteY948" fmla="*/ 393632 h 555960"/>
                <a:gd name="connsiteX949" fmla="*/ 416562 w 416562"/>
                <a:gd name="connsiteY949" fmla="*/ 389396 h 555960"/>
                <a:gd name="connsiteX950" fmla="*/ 416411 w 416562"/>
                <a:gd name="connsiteY950" fmla="*/ 387793 h 55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Lst>
              <a:rect l="l" t="t" r="r" b="b"/>
              <a:pathLst>
                <a:path w="416562" h="555960">
                  <a:moveTo>
                    <a:pt x="416411" y="387793"/>
                  </a:moveTo>
                  <a:lnTo>
                    <a:pt x="416260" y="386311"/>
                  </a:lnTo>
                  <a:lnTo>
                    <a:pt x="414566" y="385645"/>
                  </a:lnTo>
                  <a:lnTo>
                    <a:pt x="409604" y="384647"/>
                  </a:lnTo>
                  <a:lnTo>
                    <a:pt x="407850" y="383618"/>
                  </a:lnTo>
                  <a:lnTo>
                    <a:pt x="406428" y="382318"/>
                  </a:lnTo>
                  <a:lnTo>
                    <a:pt x="403766" y="378990"/>
                  </a:lnTo>
                  <a:lnTo>
                    <a:pt x="401346" y="376751"/>
                  </a:lnTo>
                  <a:lnTo>
                    <a:pt x="400710" y="375874"/>
                  </a:lnTo>
                  <a:lnTo>
                    <a:pt x="400408" y="374876"/>
                  </a:lnTo>
                  <a:lnTo>
                    <a:pt x="400075" y="372546"/>
                  </a:lnTo>
                  <a:lnTo>
                    <a:pt x="399712" y="371548"/>
                  </a:lnTo>
                  <a:lnTo>
                    <a:pt x="398472" y="369854"/>
                  </a:lnTo>
                  <a:lnTo>
                    <a:pt x="391242" y="363169"/>
                  </a:lnTo>
                  <a:lnTo>
                    <a:pt x="390395" y="362594"/>
                  </a:lnTo>
                  <a:lnTo>
                    <a:pt x="389880" y="362291"/>
                  </a:lnTo>
                  <a:lnTo>
                    <a:pt x="388247" y="361595"/>
                  </a:lnTo>
                  <a:lnTo>
                    <a:pt x="387249" y="361474"/>
                  </a:lnTo>
                  <a:lnTo>
                    <a:pt x="385343" y="361565"/>
                  </a:lnTo>
                  <a:lnTo>
                    <a:pt x="384375" y="361232"/>
                  </a:lnTo>
                  <a:lnTo>
                    <a:pt x="383800" y="360658"/>
                  </a:lnTo>
                  <a:lnTo>
                    <a:pt x="383558" y="360416"/>
                  </a:lnTo>
                  <a:lnTo>
                    <a:pt x="382439" y="358238"/>
                  </a:lnTo>
                  <a:lnTo>
                    <a:pt x="381682" y="357481"/>
                  </a:lnTo>
                  <a:lnTo>
                    <a:pt x="380744" y="357239"/>
                  </a:lnTo>
                  <a:lnTo>
                    <a:pt x="378566" y="357360"/>
                  </a:lnTo>
                  <a:lnTo>
                    <a:pt x="377508" y="357118"/>
                  </a:lnTo>
                  <a:lnTo>
                    <a:pt x="376540" y="356453"/>
                  </a:lnTo>
                  <a:lnTo>
                    <a:pt x="375118" y="354728"/>
                  </a:lnTo>
                  <a:lnTo>
                    <a:pt x="374422" y="354063"/>
                  </a:lnTo>
                  <a:lnTo>
                    <a:pt x="371094" y="352581"/>
                  </a:lnTo>
                  <a:lnTo>
                    <a:pt x="369703" y="351401"/>
                  </a:lnTo>
                  <a:lnTo>
                    <a:pt x="368765" y="348950"/>
                  </a:lnTo>
                  <a:lnTo>
                    <a:pt x="366859" y="342930"/>
                  </a:lnTo>
                  <a:lnTo>
                    <a:pt x="365649" y="340571"/>
                  </a:lnTo>
                  <a:lnTo>
                    <a:pt x="365558" y="339966"/>
                  </a:lnTo>
                  <a:lnTo>
                    <a:pt x="365649" y="339330"/>
                  </a:lnTo>
                  <a:lnTo>
                    <a:pt x="365952" y="338695"/>
                  </a:lnTo>
                  <a:lnTo>
                    <a:pt x="366073" y="338362"/>
                  </a:lnTo>
                  <a:lnTo>
                    <a:pt x="366103" y="338030"/>
                  </a:lnTo>
                  <a:lnTo>
                    <a:pt x="366073" y="337697"/>
                  </a:lnTo>
                  <a:lnTo>
                    <a:pt x="365952" y="337425"/>
                  </a:lnTo>
                  <a:lnTo>
                    <a:pt x="365619" y="336971"/>
                  </a:lnTo>
                  <a:lnTo>
                    <a:pt x="365498" y="336487"/>
                  </a:lnTo>
                  <a:lnTo>
                    <a:pt x="365619" y="336033"/>
                  </a:lnTo>
                  <a:lnTo>
                    <a:pt x="365952" y="335579"/>
                  </a:lnTo>
                  <a:lnTo>
                    <a:pt x="365982" y="335519"/>
                  </a:lnTo>
                  <a:lnTo>
                    <a:pt x="366012" y="335458"/>
                  </a:lnTo>
                  <a:lnTo>
                    <a:pt x="365982" y="335398"/>
                  </a:lnTo>
                  <a:lnTo>
                    <a:pt x="365952" y="335307"/>
                  </a:lnTo>
                  <a:lnTo>
                    <a:pt x="365165" y="333734"/>
                  </a:lnTo>
                  <a:lnTo>
                    <a:pt x="365074" y="330799"/>
                  </a:lnTo>
                  <a:lnTo>
                    <a:pt x="364409" y="329136"/>
                  </a:lnTo>
                  <a:lnTo>
                    <a:pt x="363380" y="328198"/>
                  </a:lnTo>
                  <a:lnTo>
                    <a:pt x="360416" y="326685"/>
                  </a:lnTo>
                  <a:lnTo>
                    <a:pt x="359145" y="325626"/>
                  </a:lnTo>
                  <a:lnTo>
                    <a:pt x="358238" y="324265"/>
                  </a:lnTo>
                  <a:lnTo>
                    <a:pt x="357421" y="322692"/>
                  </a:lnTo>
                  <a:lnTo>
                    <a:pt x="356786" y="321058"/>
                  </a:lnTo>
                  <a:lnTo>
                    <a:pt x="356332" y="319364"/>
                  </a:lnTo>
                  <a:lnTo>
                    <a:pt x="356332" y="318306"/>
                  </a:lnTo>
                  <a:lnTo>
                    <a:pt x="356695" y="316188"/>
                  </a:lnTo>
                  <a:lnTo>
                    <a:pt x="356604" y="315190"/>
                  </a:lnTo>
                  <a:lnTo>
                    <a:pt x="353972" y="312286"/>
                  </a:lnTo>
                  <a:lnTo>
                    <a:pt x="352671" y="308837"/>
                  </a:lnTo>
                  <a:lnTo>
                    <a:pt x="353185" y="306054"/>
                  </a:lnTo>
                  <a:lnTo>
                    <a:pt x="354486" y="303119"/>
                  </a:lnTo>
                  <a:lnTo>
                    <a:pt x="355424" y="299156"/>
                  </a:lnTo>
                  <a:lnTo>
                    <a:pt x="355636" y="295345"/>
                  </a:lnTo>
                  <a:lnTo>
                    <a:pt x="355938" y="294679"/>
                  </a:lnTo>
                  <a:lnTo>
                    <a:pt x="356937" y="292985"/>
                  </a:lnTo>
                  <a:lnTo>
                    <a:pt x="357179" y="292410"/>
                  </a:lnTo>
                  <a:lnTo>
                    <a:pt x="357421" y="290414"/>
                  </a:lnTo>
                  <a:lnTo>
                    <a:pt x="357481" y="286693"/>
                  </a:lnTo>
                  <a:lnTo>
                    <a:pt x="357693" y="285089"/>
                  </a:lnTo>
                  <a:lnTo>
                    <a:pt x="358933" y="283365"/>
                  </a:lnTo>
                  <a:lnTo>
                    <a:pt x="361202" y="282458"/>
                  </a:lnTo>
                  <a:lnTo>
                    <a:pt x="364379" y="281974"/>
                  </a:lnTo>
                  <a:lnTo>
                    <a:pt x="365952" y="281762"/>
                  </a:lnTo>
                  <a:lnTo>
                    <a:pt x="368190" y="281671"/>
                  </a:lnTo>
                  <a:lnTo>
                    <a:pt x="369309" y="280340"/>
                  </a:lnTo>
                  <a:lnTo>
                    <a:pt x="370096" y="278495"/>
                  </a:lnTo>
                  <a:lnTo>
                    <a:pt x="371246" y="276891"/>
                  </a:lnTo>
                  <a:lnTo>
                    <a:pt x="373303" y="276226"/>
                  </a:lnTo>
                  <a:lnTo>
                    <a:pt x="375390" y="276347"/>
                  </a:lnTo>
                  <a:lnTo>
                    <a:pt x="377145" y="276044"/>
                  </a:lnTo>
                  <a:lnTo>
                    <a:pt x="378355" y="274048"/>
                  </a:lnTo>
                  <a:lnTo>
                    <a:pt x="378325" y="272928"/>
                  </a:lnTo>
                  <a:lnTo>
                    <a:pt x="377689" y="270206"/>
                  </a:lnTo>
                  <a:lnTo>
                    <a:pt x="377599" y="268935"/>
                  </a:lnTo>
                  <a:lnTo>
                    <a:pt x="377780" y="267483"/>
                  </a:lnTo>
                  <a:lnTo>
                    <a:pt x="378808" y="263672"/>
                  </a:lnTo>
                  <a:lnTo>
                    <a:pt x="378688" y="263672"/>
                  </a:lnTo>
                  <a:lnTo>
                    <a:pt x="378476" y="263278"/>
                  </a:lnTo>
                  <a:lnTo>
                    <a:pt x="378355" y="262583"/>
                  </a:lnTo>
                  <a:lnTo>
                    <a:pt x="378476" y="261796"/>
                  </a:lnTo>
                  <a:lnTo>
                    <a:pt x="378748" y="261645"/>
                  </a:lnTo>
                  <a:lnTo>
                    <a:pt x="380351" y="259890"/>
                  </a:lnTo>
                  <a:lnTo>
                    <a:pt x="381894" y="257591"/>
                  </a:lnTo>
                  <a:lnTo>
                    <a:pt x="382771" y="256714"/>
                  </a:lnTo>
                  <a:lnTo>
                    <a:pt x="387097" y="254868"/>
                  </a:lnTo>
                  <a:lnTo>
                    <a:pt x="387007" y="254808"/>
                  </a:lnTo>
                  <a:lnTo>
                    <a:pt x="386462" y="252932"/>
                  </a:lnTo>
                  <a:lnTo>
                    <a:pt x="386886" y="246731"/>
                  </a:lnTo>
                  <a:lnTo>
                    <a:pt x="386069" y="244976"/>
                  </a:lnTo>
                  <a:lnTo>
                    <a:pt x="384163" y="244129"/>
                  </a:lnTo>
                  <a:lnTo>
                    <a:pt x="380018" y="243585"/>
                  </a:lnTo>
                  <a:lnTo>
                    <a:pt x="376146" y="241981"/>
                  </a:lnTo>
                  <a:lnTo>
                    <a:pt x="372788" y="239319"/>
                  </a:lnTo>
                  <a:lnTo>
                    <a:pt x="370096" y="235961"/>
                  </a:lnTo>
                  <a:lnTo>
                    <a:pt x="368311" y="232210"/>
                  </a:lnTo>
                  <a:lnTo>
                    <a:pt x="368220" y="231212"/>
                  </a:lnTo>
                  <a:lnTo>
                    <a:pt x="368432" y="229185"/>
                  </a:lnTo>
                  <a:lnTo>
                    <a:pt x="368341" y="228217"/>
                  </a:lnTo>
                  <a:lnTo>
                    <a:pt x="367918" y="227309"/>
                  </a:lnTo>
                  <a:lnTo>
                    <a:pt x="365800" y="225525"/>
                  </a:lnTo>
                  <a:lnTo>
                    <a:pt x="365498" y="224465"/>
                  </a:lnTo>
                  <a:lnTo>
                    <a:pt x="365528" y="222802"/>
                  </a:lnTo>
                  <a:lnTo>
                    <a:pt x="365770" y="221047"/>
                  </a:lnTo>
                  <a:lnTo>
                    <a:pt x="366224" y="219837"/>
                  </a:lnTo>
                  <a:lnTo>
                    <a:pt x="366920" y="219262"/>
                  </a:lnTo>
                  <a:lnTo>
                    <a:pt x="367827" y="218990"/>
                  </a:lnTo>
                  <a:lnTo>
                    <a:pt x="371397" y="218839"/>
                  </a:lnTo>
                  <a:lnTo>
                    <a:pt x="372668" y="218294"/>
                  </a:lnTo>
                  <a:lnTo>
                    <a:pt x="373514" y="217054"/>
                  </a:lnTo>
                  <a:lnTo>
                    <a:pt x="373817" y="214785"/>
                  </a:lnTo>
                  <a:lnTo>
                    <a:pt x="374422" y="212637"/>
                  </a:lnTo>
                  <a:lnTo>
                    <a:pt x="375904" y="211336"/>
                  </a:lnTo>
                  <a:lnTo>
                    <a:pt x="377901" y="210762"/>
                  </a:lnTo>
                  <a:lnTo>
                    <a:pt x="380018" y="210852"/>
                  </a:lnTo>
                  <a:lnTo>
                    <a:pt x="382106" y="211639"/>
                  </a:lnTo>
                  <a:lnTo>
                    <a:pt x="385797" y="213908"/>
                  </a:lnTo>
                  <a:lnTo>
                    <a:pt x="387944" y="214392"/>
                  </a:lnTo>
                  <a:lnTo>
                    <a:pt x="389880" y="214089"/>
                  </a:lnTo>
                  <a:lnTo>
                    <a:pt x="392119" y="213091"/>
                  </a:lnTo>
                  <a:lnTo>
                    <a:pt x="393874" y="211427"/>
                  </a:lnTo>
                  <a:lnTo>
                    <a:pt x="394479" y="209098"/>
                  </a:lnTo>
                  <a:lnTo>
                    <a:pt x="389427" y="203864"/>
                  </a:lnTo>
                  <a:lnTo>
                    <a:pt x="387944" y="202896"/>
                  </a:lnTo>
                  <a:lnTo>
                    <a:pt x="380018" y="202019"/>
                  </a:lnTo>
                  <a:lnTo>
                    <a:pt x="376600" y="200476"/>
                  </a:lnTo>
                  <a:lnTo>
                    <a:pt x="373182" y="197905"/>
                  </a:lnTo>
                  <a:lnTo>
                    <a:pt x="366163" y="190765"/>
                  </a:lnTo>
                  <a:lnTo>
                    <a:pt x="364681" y="189979"/>
                  </a:lnTo>
                  <a:lnTo>
                    <a:pt x="362836" y="189616"/>
                  </a:lnTo>
                  <a:lnTo>
                    <a:pt x="360355" y="189525"/>
                  </a:lnTo>
                  <a:lnTo>
                    <a:pt x="359296" y="190282"/>
                  </a:lnTo>
                  <a:lnTo>
                    <a:pt x="355787" y="193821"/>
                  </a:lnTo>
                  <a:lnTo>
                    <a:pt x="353821" y="194910"/>
                  </a:lnTo>
                  <a:lnTo>
                    <a:pt x="349676" y="195787"/>
                  </a:lnTo>
                  <a:lnTo>
                    <a:pt x="348164" y="196816"/>
                  </a:lnTo>
                  <a:lnTo>
                    <a:pt x="347589" y="198843"/>
                  </a:lnTo>
                  <a:lnTo>
                    <a:pt x="336124" y="217871"/>
                  </a:lnTo>
                  <a:lnTo>
                    <a:pt x="334823" y="219141"/>
                  </a:lnTo>
                  <a:lnTo>
                    <a:pt x="332403" y="219686"/>
                  </a:lnTo>
                  <a:lnTo>
                    <a:pt x="330225" y="219474"/>
                  </a:lnTo>
                  <a:lnTo>
                    <a:pt x="327986" y="218567"/>
                  </a:lnTo>
                  <a:lnTo>
                    <a:pt x="326231" y="216993"/>
                  </a:lnTo>
                  <a:lnTo>
                    <a:pt x="325173" y="213242"/>
                  </a:lnTo>
                  <a:lnTo>
                    <a:pt x="324265" y="212395"/>
                  </a:lnTo>
                  <a:lnTo>
                    <a:pt x="323116" y="211760"/>
                  </a:lnTo>
                  <a:lnTo>
                    <a:pt x="322027" y="210852"/>
                  </a:lnTo>
                  <a:lnTo>
                    <a:pt x="321482" y="209854"/>
                  </a:lnTo>
                  <a:lnTo>
                    <a:pt x="321149" y="208220"/>
                  </a:lnTo>
                  <a:lnTo>
                    <a:pt x="320937" y="207343"/>
                  </a:lnTo>
                  <a:lnTo>
                    <a:pt x="320726" y="206436"/>
                  </a:lnTo>
                  <a:lnTo>
                    <a:pt x="317912" y="200174"/>
                  </a:lnTo>
                  <a:lnTo>
                    <a:pt x="316914" y="199266"/>
                  </a:lnTo>
                  <a:lnTo>
                    <a:pt x="313708" y="198782"/>
                  </a:lnTo>
                  <a:lnTo>
                    <a:pt x="304602" y="194426"/>
                  </a:lnTo>
                  <a:lnTo>
                    <a:pt x="302938" y="194093"/>
                  </a:lnTo>
                  <a:lnTo>
                    <a:pt x="301214" y="194517"/>
                  </a:lnTo>
                  <a:lnTo>
                    <a:pt x="297553" y="195999"/>
                  </a:lnTo>
                  <a:lnTo>
                    <a:pt x="293015" y="196846"/>
                  </a:lnTo>
                  <a:lnTo>
                    <a:pt x="287842" y="196876"/>
                  </a:lnTo>
                  <a:lnTo>
                    <a:pt x="282911" y="195485"/>
                  </a:lnTo>
                  <a:lnTo>
                    <a:pt x="279221" y="192097"/>
                  </a:lnTo>
                  <a:lnTo>
                    <a:pt x="278283" y="189737"/>
                  </a:lnTo>
                  <a:lnTo>
                    <a:pt x="277678" y="187407"/>
                  </a:lnTo>
                  <a:lnTo>
                    <a:pt x="276801" y="185320"/>
                  </a:lnTo>
                  <a:lnTo>
                    <a:pt x="275016" y="183808"/>
                  </a:lnTo>
                  <a:lnTo>
                    <a:pt x="273049" y="183263"/>
                  </a:lnTo>
                  <a:lnTo>
                    <a:pt x="266908" y="183747"/>
                  </a:lnTo>
                  <a:lnTo>
                    <a:pt x="258347" y="182870"/>
                  </a:lnTo>
                  <a:lnTo>
                    <a:pt x="256714" y="182174"/>
                  </a:lnTo>
                  <a:lnTo>
                    <a:pt x="254959" y="178725"/>
                  </a:lnTo>
                  <a:lnTo>
                    <a:pt x="253144" y="177455"/>
                  </a:lnTo>
                  <a:lnTo>
                    <a:pt x="253084" y="177425"/>
                  </a:lnTo>
                  <a:lnTo>
                    <a:pt x="253084" y="177425"/>
                  </a:lnTo>
                  <a:lnTo>
                    <a:pt x="251359" y="176729"/>
                  </a:lnTo>
                  <a:lnTo>
                    <a:pt x="251722" y="174944"/>
                  </a:lnTo>
                  <a:lnTo>
                    <a:pt x="252660" y="173522"/>
                  </a:lnTo>
                  <a:lnTo>
                    <a:pt x="253961" y="172463"/>
                  </a:lnTo>
                  <a:lnTo>
                    <a:pt x="256653" y="171556"/>
                  </a:lnTo>
                  <a:lnTo>
                    <a:pt x="262492" y="171828"/>
                  </a:lnTo>
                  <a:lnTo>
                    <a:pt x="265305" y="171435"/>
                  </a:lnTo>
                  <a:lnTo>
                    <a:pt x="269419" y="170376"/>
                  </a:lnTo>
                  <a:lnTo>
                    <a:pt x="270841" y="169287"/>
                  </a:lnTo>
                  <a:lnTo>
                    <a:pt x="271113" y="166776"/>
                  </a:lnTo>
                  <a:lnTo>
                    <a:pt x="270296" y="164659"/>
                  </a:lnTo>
                  <a:lnTo>
                    <a:pt x="268844" y="163449"/>
                  </a:lnTo>
                  <a:lnTo>
                    <a:pt x="265305" y="162208"/>
                  </a:lnTo>
                  <a:lnTo>
                    <a:pt x="262794" y="161059"/>
                  </a:lnTo>
                  <a:lnTo>
                    <a:pt x="257984" y="160272"/>
                  </a:lnTo>
                  <a:lnTo>
                    <a:pt x="255625" y="158820"/>
                  </a:lnTo>
                  <a:lnTo>
                    <a:pt x="255564" y="158094"/>
                  </a:lnTo>
                  <a:lnTo>
                    <a:pt x="255806" y="157247"/>
                  </a:lnTo>
                  <a:lnTo>
                    <a:pt x="255503" y="156581"/>
                  </a:lnTo>
                  <a:lnTo>
                    <a:pt x="253810" y="156491"/>
                  </a:lnTo>
                  <a:lnTo>
                    <a:pt x="252448" y="156158"/>
                  </a:lnTo>
                  <a:lnTo>
                    <a:pt x="252206" y="155069"/>
                  </a:lnTo>
                  <a:lnTo>
                    <a:pt x="252690" y="153707"/>
                  </a:lnTo>
                  <a:lnTo>
                    <a:pt x="253447" y="152679"/>
                  </a:lnTo>
                  <a:lnTo>
                    <a:pt x="254445" y="152225"/>
                  </a:lnTo>
                  <a:lnTo>
                    <a:pt x="256986" y="152044"/>
                  </a:lnTo>
                  <a:lnTo>
                    <a:pt x="258045" y="151711"/>
                  </a:lnTo>
                  <a:lnTo>
                    <a:pt x="259315" y="150712"/>
                  </a:lnTo>
                  <a:lnTo>
                    <a:pt x="259648" y="150108"/>
                  </a:lnTo>
                  <a:lnTo>
                    <a:pt x="259708" y="149200"/>
                  </a:lnTo>
                  <a:lnTo>
                    <a:pt x="260102" y="147355"/>
                  </a:lnTo>
                  <a:lnTo>
                    <a:pt x="260404" y="146810"/>
                  </a:lnTo>
                  <a:lnTo>
                    <a:pt x="261251" y="145872"/>
                  </a:lnTo>
                  <a:lnTo>
                    <a:pt x="261524" y="145298"/>
                  </a:lnTo>
                  <a:lnTo>
                    <a:pt x="261584" y="144662"/>
                  </a:lnTo>
                  <a:lnTo>
                    <a:pt x="261584" y="143694"/>
                  </a:lnTo>
                  <a:lnTo>
                    <a:pt x="261524" y="142877"/>
                  </a:lnTo>
                  <a:lnTo>
                    <a:pt x="261372" y="142696"/>
                  </a:lnTo>
                  <a:lnTo>
                    <a:pt x="262159" y="141637"/>
                  </a:lnTo>
                  <a:lnTo>
                    <a:pt x="263006" y="140821"/>
                  </a:lnTo>
                  <a:lnTo>
                    <a:pt x="264065" y="140336"/>
                  </a:lnTo>
                  <a:lnTo>
                    <a:pt x="265305" y="140276"/>
                  </a:lnTo>
                  <a:lnTo>
                    <a:pt x="266576" y="139247"/>
                  </a:lnTo>
                  <a:lnTo>
                    <a:pt x="266969" y="137583"/>
                  </a:lnTo>
                  <a:lnTo>
                    <a:pt x="266515" y="135859"/>
                  </a:lnTo>
                  <a:lnTo>
                    <a:pt x="265608" y="134861"/>
                  </a:lnTo>
                  <a:lnTo>
                    <a:pt x="263097" y="132078"/>
                  </a:lnTo>
                  <a:lnTo>
                    <a:pt x="260525" y="130142"/>
                  </a:lnTo>
                  <a:lnTo>
                    <a:pt x="257682" y="128720"/>
                  </a:lnTo>
                  <a:lnTo>
                    <a:pt x="247003" y="125634"/>
                  </a:lnTo>
                  <a:lnTo>
                    <a:pt x="242737" y="125513"/>
                  </a:lnTo>
                  <a:lnTo>
                    <a:pt x="240922" y="124848"/>
                  </a:lnTo>
                  <a:lnTo>
                    <a:pt x="237595" y="122670"/>
                  </a:lnTo>
                  <a:lnTo>
                    <a:pt x="235961" y="120885"/>
                  </a:lnTo>
                  <a:lnTo>
                    <a:pt x="232512" y="116196"/>
                  </a:lnTo>
                  <a:lnTo>
                    <a:pt x="230879" y="115077"/>
                  </a:lnTo>
                  <a:lnTo>
                    <a:pt x="229850" y="115318"/>
                  </a:lnTo>
                  <a:lnTo>
                    <a:pt x="228247" y="116982"/>
                  </a:lnTo>
                  <a:lnTo>
                    <a:pt x="227249" y="117406"/>
                  </a:lnTo>
                  <a:lnTo>
                    <a:pt x="226069" y="117133"/>
                  </a:lnTo>
                  <a:lnTo>
                    <a:pt x="225192" y="116407"/>
                  </a:lnTo>
                  <a:lnTo>
                    <a:pt x="224345" y="115500"/>
                  </a:lnTo>
                  <a:lnTo>
                    <a:pt x="223316" y="114744"/>
                  </a:lnTo>
                  <a:lnTo>
                    <a:pt x="218536" y="112747"/>
                  </a:lnTo>
                  <a:lnTo>
                    <a:pt x="214997" y="111265"/>
                  </a:lnTo>
                  <a:lnTo>
                    <a:pt x="213485" y="110115"/>
                  </a:lnTo>
                  <a:lnTo>
                    <a:pt x="209582" y="105396"/>
                  </a:lnTo>
                  <a:lnTo>
                    <a:pt x="203078" y="99981"/>
                  </a:lnTo>
                  <a:lnTo>
                    <a:pt x="199811" y="95534"/>
                  </a:lnTo>
                  <a:lnTo>
                    <a:pt x="198359" y="94173"/>
                  </a:lnTo>
                  <a:lnTo>
                    <a:pt x="196695" y="93416"/>
                  </a:lnTo>
                  <a:lnTo>
                    <a:pt x="194880" y="92872"/>
                  </a:lnTo>
                  <a:lnTo>
                    <a:pt x="193428" y="91995"/>
                  </a:lnTo>
                  <a:lnTo>
                    <a:pt x="192792" y="90149"/>
                  </a:lnTo>
                  <a:lnTo>
                    <a:pt x="195031" y="88485"/>
                  </a:lnTo>
                  <a:lnTo>
                    <a:pt x="196513" y="87094"/>
                  </a:lnTo>
                  <a:lnTo>
                    <a:pt x="196755" y="85249"/>
                  </a:lnTo>
                  <a:lnTo>
                    <a:pt x="195485" y="82193"/>
                  </a:lnTo>
                  <a:lnTo>
                    <a:pt x="192520" y="77504"/>
                  </a:lnTo>
                  <a:lnTo>
                    <a:pt x="192157" y="75356"/>
                  </a:lnTo>
                  <a:lnTo>
                    <a:pt x="192944" y="72059"/>
                  </a:lnTo>
                  <a:lnTo>
                    <a:pt x="194063" y="69639"/>
                  </a:lnTo>
                  <a:lnTo>
                    <a:pt x="194456" y="68489"/>
                  </a:lnTo>
                  <a:lnTo>
                    <a:pt x="194728" y="66644"/>
                  </a:lnTo>
                  <a:lnTo>
                    <a:pt x="194638" y="59747"/>
                  </a:lnTo>
                  <a:lnTo>
                    <a:pt x="194880" y="58415"/>
                  </a:lnTo>
                  <a:lnTo>
                    <a:pt x="195303" y="57145"/>
                  </a:lnTo>
                  <a:lnTo>
                    <a:pt x="195303" y="55935"/>
                  </a:lnTo>
                  <a:lnTo>
                    <a:pt x="194487" y="54634"/>
                  </a:lnTo>
                  <a:lnTo>
                    <a:pt x="193216" y="54059"/>
                  </a:lnTo>
                  <a:lnTo>
                    <a:pt x="192127" y="54483"/>
                  </a:lnTo>
                  <a:lnTo>
                    <a:pt x="191249" y="55632"/>
                  </a:lnTo>
                  <a:lnTo>
                    <a:pt x="190645" y="57145"/>
                  </a:lnTo>
                  <a:lnTo>
                    <a:pt x="189374" y="58113"/>
                  </a:lnTo>
                  <a:lnTo>
                    <a:pt x="188013" y="58476"/>
                  </a:lnTo>
                  <a:lnTo>
                    <a:pt x="186681" y="58204"/>
                  </a:lnTo>
                  <a:lnTo>
                    <a:pt x="185472" y="57175"/>
                  </a:lnTo>
                  <a:lnTo>
                    <a:pt x="184534" y="55390"/>
                  </a:lnTo>
                  <a:lnTo>
                    <a:pt x="182204" y="52668"/>
                  </a:lnTo>
                  <a:lnTo>
                    <a:pt x="181236" y="51155"/>
                  </a:lnTo>
                  <a:lnTo>
                    <a:pt x="180994" y="50308"/>
                  </a:lnTo>
                  <a:lnTo>
                    <a:pt x="180873" y="49885"/>
                  </a:lnTo>
                  <a:lnTo>
                    <a:pt x="180661" y="47192"/>
                  </a:lnTo>
                  <a:lnTo>
                    <a:pt x="180298" y="46073"/>
                  </a:lnTo>
                  <a:lnTo>
                    <a:pt x="179603" y="45256"/>
                  </a:lnTo>
                  <a:lnTo>
                    <a:pt x="177848" y="44167"/>
                  </a:lnTo>
                  <a:lnTo>
                    <a:pt x="177153" y="43562"/>
                  </a:lnTo>
                  <a:lnTo>
                    <a:pt x="173795" y="38026"/>
                  </a:lnTo>
                  <a:lnTo>
                    <a:pt x="172252" y="36604"/>
                  </a:lnTo>
                  <a:lnTo>
                    <a:pt x="170376" y="35908"/>
                  </a:lnTo>
                  <a:lnTo>
                    <a:pt x="166534" y="35515"/>
                  </a:lnTo>
                  <a:lnTo>
                    <a:pt x="164719" y="34729"/>
                  </a:lnTo>
                  <a:lnTo>
                    <a:pt x="159395" y="30191"/>
                  </a:lnTo>
                  <a:lnTo>
                    <a:pt x="157519" y="29041"/>
                  </a:lnTo>
                  <a:lnTo>
                    <a:pt x="153556" y="27408"/>
                  </a:lnTo>
                  <a:lnTo>
                    <a:pt x="151862" y="26228"/>
                  </a:lnTo>
                  <a:lnTo>
                    <a:pt x="150320" y="24080"/>
                  </a:lnTo>
                  <a:lnTo>
                    <a:pt x="148202" y="17999"/>
                  </a:lnTo>
                  <a:lnTo>
                    <a:pt x="146992" y="16003"/>
                  </a:lnTo>
                  <a:lnTo>
                    <a:pt x="140669" y="8743"/>
                  </a:lnTo>
                  <a:lnTo>
                    <a:pt x="135194" y="4447"/>
                  </a:lnTo>
                  <a:lnTo>
                    <a:pt x="133378" y="3751"/>
                  </a:lnTo>
                  <a:lnTo>
                    <a:pt x="130868" y="4901"/>
                  </a:lnTo>
                  <a:lnTo>
                    <a:pt x="130142" y="4992"/>
                  </a:lnTo>
                  <a:lnTo>
                    <a:pt x="129355" y="4598"/>
                  </a:lnTo>
                  <a:lnTo>
                    <a:pt x="128327" y="3267"/>
                  </a:lnTo>
                  <a:lnTo>
                    <a:pt x="127782" y="2874"/>
                  </a:lnTo>
                  <a:lnTo>
                    <a:pt x="126149" y="2511"/>
                  </a:lnTo>
                  <a:lnTo>
                    <a:pt x="125150" y="2602"/>
                  </a:lnTo>
                  <a:lnTo>
                    <a:pt x="122609" y="3781"/>
                  </a:lnTo>
                  <a:lnTo>
                    <a:pt x="119765" y="4114"/>
                  </a:lnTo>
                  <a:lnTo>
                    <a:pt x="115561" y="1906"/>
                  </a:lnTo>
                  <a:lnTo>
                    <a:pt x="109117" y="1361"/>
                  </a:lnTo>
                  <a:lnTo>
                    <a:pt x="105063" y="2178"/>
                  </a:lnTo>
                  <a:lnTo>
                    <a:pt x="103520" y="2783"/>
                  </a:lnTo>
                  <a:lnTo>
                    <a:pt x="95141" y="5959"/>
                  </a:lnTo>
                  <a:lnTo>
                    <a:pt x="93386" y="5627"/>
                  </a:lnTo>
                  <a:lnTo>
                    <a:pt x="87245" y="1997"/>
                  </a:lnTo>
                  <a:lnTo>
                    <a:pt x="85067" y="726"/>
                  </a:lnTo>
                  <a:lnTo>
                    <a:pt x="82950" y="91"/>
                  </a:lnTo>
                  <a:lnTo>
                    <a:pt x="80801" y="0"/>
                  </a:lnTo>
                  <a:lnTo>
                    <a:pt x="74963" y="1028"/>
                  </a:lnTo>
                  <a:lnTo>
                    <a:pt x="72815" y="998"/>
                  </a:lnTo>
                  <a:lnTo>
                    <a:pt x="70940" y="1301"/>
                  </a:lnTo>
                  <a:lnTo>
                    <a:pt x="68459" y="2329"/>
                  </a:lnTo>
                  <a:lnTo>
                    <a:pt x="66130" y="3751"/>
                  </a:lnTo>
                  <a:lnTo>
                    <a:pt x="64678" y="5264"/>
                  </a:lnTo>
                  <a:lnTo>
                    <a:pt x="64859" y="6353"/>
                  </a:lnTo>
                  <a:lnTo>
                    <a:pt x="65585" y="7563"/>
                  </a:lnTo>
                  <a:lnTo>
                    <a:pt x="65857" y="8682"/>
                  </a:lnTo>
                  <a:lnTo>
                    <a:pt x="63195" y="10013"/>
                  </a:lnTo>
                  <a:lnTo>
                    <a:pt x="62500" y="10921"/>
                  </a:lnTo>
                  <a:lnTo>
                    <a:pt x="61985" y="11889"/>
                  </a:lnTo>
                  <a:lnTo>
                    <a:pt x="61259" y="12827"/>
                  </a:lnTo>
                  <a:lnTo>
                    <a:pt x="59565" y="14097"/>
                  </a:lnTo>
                  <a:lnTo>
                    <a:pt x="58718" y="14430"/>
                  </a:lnTo>
                  <a:lnTo>
                    <a:pt x="57599" y="14581"/>
                  </a:lnTo>
                  <a:lnTo>
                    <a:pt x="56328" y="15126"/>
                  </a:lnTo>
                  <a:lnTo>
                    <a:pt x="55511" y="16275"/>
                  </a:lnTo>
                  <a:lnTo>
                    <a:pt x="54755" y="17606"/>
                  </a:lnTo>
                  <a:lnTo>
                    <a:pt x="53727" y="18665"/>
                  </a:lnTo>
                  <a:lnTo>
                    <a:pt x="52063" y="19210"/>
                  </a:lnTo>
                  <a:lnTo>
                    <a:pt x="48311" y="19210"/>
                  </a:lnTo>
                  <a:lnTo>
                    <a:pt x="46496" y="19573"/>
                  </a:lnTo>
                  <a:lnTo>
                    <a:pt x="45619" y="20178"/>
                  </a:lnTo>
                  <a:lnTo>
                    <a:pt x="44470" y="20994"/>
                  </a:lnTo>
                  <a:lnTo>
                    <a:pt x="43743" y="22628"/>
                  </a:lnTo>
                  <a:lnTo>
                    <a:pt x="43260" y="24231"/>
                  </a:lnTo>
                  <a:lnTo>
                    <a:pt x="42110" y="25593"/>
                  </a:lnTo>
                  <a:lnTo>
                    <a:pt x="39327" y="26107"/>
                  </a:lnTo>
                  <a:lnTo>
                    <a:pt x="30493" y="25260"/>
                  </a:lnTo>
                  <a:lnTo>
                    <a:pt x="28255" y="24050"/>
                  </a:lnTo>
                  <a:lnTo>
                    <a:pt x="28255" y="24019"/>
                  </a:lnTo>
                  <a:lnTo>
                    <a:pt x="26772" y="21418"/>
                  </a:lnTo>
                  <a:lnTo>
                    <a:pt x="24534" y="20631"/>
                  </a:lnTo>
                  <a:lnTo>
                    <a:pt x="22204" y="21539"/>
                  </a:lnTo>
                  <a:lnTo>
                    <a:pt x="20632" y="24050"/>
                  </a:lnTo>
                  <a:lnTo>
                    <a:pt x="20511" y="27983"/>
                  </a:lnTo>
                  <a:lnTo>
                    <a:pt x="18726" y="28436"/>
                  </a:lnTo>
                  <a:lnTo>
                    <a:pt x="16154" y="28104"/>
                  </a:lnTo>
                  <a:lnTo>
                    <a:pt x="13795" y="29676"/>
                  </a:lnTo>
                  <a:lnTo>
                    <a:pt x="13462" y="30130"/>
                  </a:lnTo>
                  <a:lnTo>
                    <a:pt x="13341" y="30645"/>
                  </a:lnTo>
                  <a:lnTo>
                    <a:pt x="13492" y="31129"/>
                  </a:lnTo>
                  <a:lnTo>
                    <a:pt x="14248" y="32248"/>
                  </a:lnTo>
                  <a:lnTo>
                    <a:pt x="14460" y="32823"/>
                  </a:lnTo>
                  <a:lnTo>
                    <a:pt x="14339" y="33246"/>
                  </a:lnTo>
                  <a:lnTo>
                    <a:pt x="13795" y="33518"/>
                  </a:lnTo>
                  <a:lnTo>
                    <a:pt x="11859" y="32702"/>
                  </a:lnTo>
                  <a:lnTo>
                    <a:pt x="5657" y="32278"/>
                  </a:lnTo>
                  <a:lnTo>
                    <a:pt x="6262" y="34305"/>
                  </a:lnTo>
                  <a:lnTo>
                    <a:pt x="4507" y="35364"/>
                  </a:lnTo>
                  <a:lnTo>
                    <a:pt x="3721" y="36060"/>
                  </a:lnTo>
                  <a:lnTo>
                    <a:pt x="2814" y="37028"/>
                  </a:lnTo>
                  <a:lnTo>
                    <a:pt x="4901" y="38540"/>
                  </a:lnTo>
                  <a:lnTo>
                    <a:pt x="5929" y="39629"/>
                  </a:lnTo>
                  <a:lnTo>
                    <a:pt x="6262" y="40658"/>
                  </a:lnTo>
                  <a:lnTo>
                    <a:pt x="5506" y="41535"/>
                  </a:lnTo>
                  <a:lnTo>
                    <a:pt x="4266" y="41777"/>
                  </a:lnTo>
                  <a:lnTo>
                    <a:pt x="1028" y="42050"/>
                  </a:lnTo>
                  <a:lnTo>
                    <a:pt x="756" y="45680"/>
                  </a:lnTo>
                  <a:lnTo>
                    <a:pt x="545" y="46466"/>
                  </a:lnTo>
                  <a:lnTo>
                    <a:pt x="182" y="47011"/>
                  </a:lnTo>
                  <a:lnTo>
                    <a:pt x="0" y="47585"/>
                  </a:lnTo>
                  <a:lnTo>
                    <a:pt x="363" y="48402"/>
                  </a:lnTo>
                  <a:lnTo>
                    <a:pt x="1936" y="49854"/>
                  </a:lnTo>
                  <a:lnTo>
                    <a:pt x="2632" y="50974"/>
                  </a:lnTo>
                  <a:lnTo>
                    <a:pt x="5566" y="54301"/>
                  </a:lnTo>
                  <a:lnTo>
                    <a:pt x="6020" y="56298"/>
                  </a:lnTo>
                  <a:lnTo>
                    <a:pt x="6444" y="60321"/>
                  </a:lnTo>
                  <a:lnTo>
                    <a:pt x="7291" y="62015"/>
                  </a:lnTo>
                  <a:lnTo>
                    <a:pt x="8682" y="63044"/>
                  </a:lnTo>
                  <a:lnTo>
                    <a:pt x="10407" y="63952"/>
                  </a:lnTo>
                  <a:lnTo>
                    <a:pt x="11859" y="65131"/>
                  </a:lnTo>
                  <a:lnTo>
                    <a:pt x="12433" y="67007"/>
                  </a:lnTo>
                  <a:lnTo>
                    <a:pt x="11859" y="68157"/>
                  </a:lnTo>
                  <a:lnTo>
                    <a:pt x="9106" y="71696"/>
                  </a:lnTo>
                  <a:lnTo>
                    <a:pt x="8017" y="72452"/>
                  </a:lnTo>
                  <a:lnTo>
                    <a:pt x="6776" y="73541"/>
                  </a:lnTo>
                  <a:lnTo>
                    <a:pt x="6383" y="76052"/>
                  </a:lnTo>
                  <a:lnTo>
                    <a:pt x="6262" y="78502"/>
                  </a:lnTo>
                  <a:lnTo>
                    <a:pt x="5899" y="79652"/>
                  </a:lnTo>
                  <a:lnTo>
                    <a:pt x="6746" y="80287"/>
                  </a:lnTo>
                  <a:lnTo>
                    <a:pt x="8773" y="83282"/>
                  </a:lnTo>
                  <a:lnTo>
                    <a:pt x="9741" y="84159"/>
                  </a:lnTo>
                  <a:lnTo>
                    <a:pt x="11586" y="84129"/>
                  </a:lnTo>
                  <a:lnTo>
                    <a:pt x="12887" y="83191"/>
                  </a:lnTo>
                  <a:lnTo>
                    <a:pt x="13916" y="82072"/>
                  </a:lnTo>
                  <a:lnTo>
                    <a:pt x="15670" y="81225"/>
                  </a:lnTo>
                  <a:lnTo>
                    <a:pt x="16547" y="80650"/>
                  </a:lnTo>
                  <a:lnTo>
                    <a:pt x="17425" y="80378"/>
                  </a:lnTo>
                  <a:lnTo>
                    <a:pt x="18333" y="81044"/>
                  </a:lnTo>
                  <a:lnTo>
                    <a:pt x="18968" y="82072"/>
                  </a:lnTo>
                  <a:lnTo>
                    <a:pt x="19270" y="82768"/>
                  </a:lnTo>
                  <a:lnTo>
                    <a:pt x="19724" y="83343"/>
                  </a:lnTo>
                  <a:lnTo>
                    <a:pt x="20722" y="84159"/>
                  </a:lnTo>
                  <a:lnTo>
                    <a:pt x="22416" y="84885"/>
                  </a:lnTo>
                  <a:lnTo>
                    <a:pt x="23899" y="85158"/>
                  </a:lnTo>
                  <a:lnTo>
                    <a:pt x="25169" y="85854"/>
                  </a:lnTo>
                  <a:lnTo>
                    <a:pt x="26319" y="87729"/>
                  </a:lnTo>
                  <a:lnTo>
                    <a:pt x="23384" y="90361"/>
                  </a:lnTo>
                  <a:lnTo>
                    <a:pt x="17395" y="89574"/>
                  </a:lnTo>
                  <a:lnTo>
                    <a:pt x="16578" y="89453"/>
                  </a:lnTo>
                  <a:lnTo>
                    <a:pt x="15247" y="92721"/>
                  </a:lnTo>
                  <a:lnTo>
                    <a:pt x="15912" y="95141"/>
                  </a:lnTo>
                  <a:lnTo>
                    <a:pt x="16850" y="96079"/>
                  </a:lnTo>
                  <a:lnTo>
                    <a:pt x="18786" y="97954"/>
                  </a:lnTo>
                  <a:lnTo>
                    <a:pt x="19361" y="99497"/>
                  </a:lnTo>
                  <a:lnTo>
                    <a:pt x="18484" y="100828"/>
                  </a:lnTo>
                  <a:lnTo>
                    <a:pt x="13190" y="103097"/>
                  </a:lnTo>
                  <a:lnTo>
                    <a:pt x="14460" y="105154"/>
                  </a:lnTo>
                  <a:lnTo>
                    <a:pt x="15973" y="106878"/>
                  </a:lnTo>
                  <a:lnTo>
                    <a:pt x="17727" y="108058"/>
                  </a:lnTo>
                  <a:lnTo>
                    <a:pt x="19724" y="108482"/>
                  </a:lnTo>
                  <a:lnTo>
                    <a:pt x="23868" y="108482"/>
                  </a:lnTo>
                  <a:lnTo>
                    <a:pt x="24867" y="108996"/>
                  </a:lnTo>
                  <a:lnTo>
                    <a:pt x="25199" y="110266"/>
                  </a:lnTo>
                  <a:lnTo>
                    <a:pt x="25290" y="111749"/>
                  </a:lnTo>
                  <a:lnTo>
                    <a:pt x="25563" y="112959"/>
                  </a:lnTo>
                  <a:lnTo>
                    <a:pt x="28164" y="115803"/>
                  </a:lnTo>
                  <a:lnTo>
                    <a:pt x="31915" y="117527"/>
                  </a:lnTo>
                  <a:lnTo>
                    <a:pt x="52153" y="122367"/>
                  </a:lnTo>
                  <a:lnTo>
                    <a:pt x="53666" y="124787"/>
                  </a:lnTo>
                  <a:lnTo>
                    <a:pt x="55572" y="125634"/>
                  </a:lnTo>
                  <a:lnTo>
                    <a:pt x="56661" y="128266"/>
                  </a:lnTo>
                  <a:lnTo>
                    <a:pt x="56389" y="131352"/>
                  </a:lnTo>
                  <a:lnTo>
                    <a:pt x="55239" y="132411"/>
                  </a:lnTo>
                  <a:lnTo>
                    <a:pt x="54937" y="132713"/>
                  </a:lnTo>
                  <a:lnTo>
                    <a:pt x="46224" y="133076"/>
                  </a:lnTo>
                  <a:lnTo>
                    <a:pt x="45740" y="132743"/>
                  </a:lnTo>
                  <a:lnTo>
                    <a:pt x="44923" y="131594"/>
                  </a:lnTo>
                  <a:lnTo>
                    <a:pt x="44440" y="131352"/>
                  </a:lnTo>
                  <a:lnTo>
                    <a:pt x="43743" y="131654"/>
                  </a:lnTo>
                  <a:lnTo>
                    <a:pt x="43350" y="132229"/>
                  </a:lnTo>
                  <a:lnTo>
                    <a:pt x="43048" y="132804"/>
                  </a:lnTo>
                  <a:lnTo>
                    <a:pt x="42564" y="133167"/>
                  </a:lnTo>
                  <a:lnTo>
                    <a:pt x="38329" y="133681"/>
                  </a:lnTo>
                  <a:lnTo>
                    <a:pt x="36181" y="133530"/>
                  </a:lnTo>
                  <a:lnTo>
                    <a:pt x="34275" y="132864"/>
                  </a:lnTo>
                  <a:lnTo>
                    <a:pt x="33155" y="131866"/>
                  </a:lnTo>
                  <a:lnTo>
                    <a:pt x="31280" y="129325"/>
                  </a:lnTo>
                  <a:lnTo>
                    <a:pt x="30100" y="128750"/>
                  </a:lnTo>
                  <a:lnTo>
                    <a:pt x="27861" y="129234"/>
                  </a:lnTo>
                  <a:lnTo>
                    <a:pt x="28588" y="131170"/>
                  </a:lnTo>
                  <a:lnTo>
                    <a:pt x="29858" y="133651"/>
                  </a:lnTo>
                  <a:lnTo>
                    <a:pt x="29465" y="135738"/>
                  </a:lnTo>
                  <a:lnTo>
                    <a:pt x="27287" y="136162"/>
                  </a:lnTo>
                  <a:lnTo>
                    <a:pt x="21660" y="135647"/>
                  </a:lnTo>
                  <a:lnTo>
                    <a:pt x="20117" y="136888"/>
                  </a:lnTo>
                  <a:lnTo>
                    <a:pt x="20269" y="138068"/>
                  </a:lnTo>
                  <a:lnTo>
                    <a:pt x="21055" y="139066"/>
                  </a:lnTo>
                  <a:lnTo>
                    <a:pt x="22053" y="140004"/>
                  </a:lnTo>
                  <a:lnTo>
                    <a:pt x="22810" y="140850"/>
                  </a:lnTo>
                  <a:lnTo>
                    <a:pt x="23566" y="142484"/>
                  </a:lnTo>
                  <a:lnTo>
                    <a:pt x="23899" y="143725"/>
                  </a:lnTo>
                  <a:lnTo>
                    <a:pt x="24262" y="146871"/>
                  </a:lnTo>
                  <a:lnTo>
                    <a:pt x="25109" y="150712"/>
                  </a:lnTo>
                  <a:lnTo>
                    <a:pt x="25199" y="152104"/>
                  </a:lnTo>
                  <a:lnTo>
                    <a:pt x="24988" y="153344"/>
                  </a:lnTo>
                  <a:lnTo>
                    <a:pt x="24534" y="154887"/>
                  </a:lnTo>
                  <a:lnTo>
                    <a:pt x="24171" y="156491"/>
                  </a:lnTo>
                  <a:lnTo>
                    <a:pt x="24383" y="157822"/>
                  </a:lnTo>
                  <a:lnTo>
                    <a:pt x="25472" y="158729"/>
                  </a:lnTo>
                  <a:lnTo>
                    <a:pt x="27529" y="158003"/>
                  </a:lnTo>
                  <a:lnTo>
                    <a:pt x="28467" y="158941"/>
                  </a:lnTo>
                  <a:lnTo>
                    <a:pt x="28860" y="160937"/>
                  </a:lnTo>
                  <a:lnTo>
                    <a:pt x="28134" y="161875"/>
                  </a:lnTo>
                  <a:lnTo>
                    <a:pt x="26984" y="162329"/>
                  </a:lnTo>
                  <a:lnTo>
                    <a:pt x="26046" y="162874"/>
                  </a:lnTo>
                  <a:lnTo>
                    <a:pt x="24443" y="165354"/>
                  </a:lnTo>
                  <a:lnTo>
                    <a:pt x="23536" y="166474"/>
                  </a:lnTo>
                  <a:lnTo>
                    <a:pt x="22326" y="167139"/>
                  </a:lnTo>
                  <a:lnTo>
                    <a:pt x="20843" y="166957"/>
                  </a:lnTo>
                  <a:lnTo>
                    <a:pt x="18816" y="164931"/>
                  </a:lnTo>
                  <a:lnTo>
                    <a:pt x="17455" y="164538"/>
                  </a:lnTo>
                  <a:lnTo>
                    <a:pt x="14732" y="165929"/>
                  </a:lnTo>
                  <a:lnTo>
                    <a:pt x="15035" y="168561"/>
                  </a:lnTo>
                  <a:lnTo>
                    <a:pt x="17183" y="172342"/>
                  </a:lnTo>
                  <a:lnTo>
                    <a:pt x="20420" y="171435"/>
                  </a:lnTo>
                  <a:lnTo>
                    <a:pt x="22477" y="171162"/>
                  </a:lnTo>
                  <a:lnTo>
                    <a:pt x="24110" y="170618"/>
                  </a:lnTo>
                  <a:lnTo>
                    <a:pt x="33126" y="164568"/>
                  </a:lnTo>
                  <a:lnTo>
                    <a:pt x="34396" y="164295"/>
                  </a:lnTo>
                  <a:lnTo>
                    <a:pt x="35031" y="165082"/>
                  </a:lnTo>
                  <a:lnTo>
                    <a:pt x="35424" y="166141"/>
                  </a:lnTo>
                  <a:lnTo>
                    <a:pt x="35908" y="166776"/>
                  </a:lnTo>
                  <a:lnTo>
                    <a:pt x="36907" y="166776"/>
                  </a:lnTo>
                  <a:lnTo>
                    <a:pt x="38722" y="166080"/>
                  </a:lnTo>
                  <a:lnTo>
                    <a:pt x="39690" y="165899"/>
                  </a:lnTo>
                  <a:lnTo>
                    <a:pt x="44167" y="166776"/>
                  </a:lnTo>
                  <a:lnTo>
                    <a:pt x="45105" y="166655"/>
                  </a:lnTo>
                  <a:lnTo>
                    <a:pt x="45922" y="166262"/>
                  </a:lnTo>
                  <a:lnTo>
                    <a:pt x="46829" y="166262"/>
                  </a:lnTo>
                  <a:lnTo>
                    <a:pt x="48826" y="168047"/>
                  </a:lnTo>
                  <a:lnTo>
                    <a:pt x="49824" y="168380"/>
                  </a:lnTo>
                  <a:lnTo>
                    <a:pt x="50853" y="168258"/>
                  </a:lnTo>
                  <a:lnTo>
                    <a:pt x="51125" y="168137"/>
                  </a:lnTo>
                  <a:lnTo>
                    <a:pt x="51155" y="168017"/>
                  </a:lnTo>
                  <a:lnTo>
                    <a:pt x="51518" y="168410"/>
                  </a:lnTo>
                  <a:lnTo>
                    <a:pt x="51518" y="168410"/>
                  </a:lnTo>
                  <a:lnTo>
                    <a:pt x="52123" y="169045"/>
                  </a:lnTo>
                  <a:lnTo>
                    <a:pt x="52698" y="169559"/>
                  </a:lnTo>
                  <a:lnTo>
                    <a:pt x="53122" y="170285"/>
                  </a:lnTo>
                  <a:lnTo>
                    <a:pt x="53424" y="171374"/>
                  </a:lnTo>
                  <a:lnTo>
                    <a:pt x="53485" y="172675"/>
                  </a:lnTo>
                  <a:lnTo>
                    <a:pt x="53152" y="173068"/>
                  </a:lnTo>
                  <a:lnTo>
                    <a:pt x="52607" y="173189"/>
                  </a:lnTo>
                  <a:lnTo>
                    <a:pt x="52214" y="173794"/>
                  </a:lnTo>
                  <a:lnTo>
                    <a:pt x="48644" y="189465"/>
                  </a:lnTo>
                  <a:lnTo>
                    <a:pt x="47585" y="191885"/>
                  </a:lnTo>
                  <a:lnTo>
                    <a:pt x="46648" y="193216"/>
                  </a:lnTo>
                  <a:lnTo>
                    <a:pt x="44621" y="194789"/>
                  </a:lnTo>
                  <a:lnTo>
                    <a:pt x="43562" y="195848"/>
                  </a:lnTo>
                  <a:lnTo>
                    <a:pt x="42776" y="197058"/>
                  </a:lnTo>
                  <a:lnTo>
                    <a:pt x="41324" y="200960"/>
                  </a:lnTo>
                  <a:lnTo>
                    <a:pt x="36604" y="208372"/>
                  </a:lnTo>
                  <a:lnTo>
                    <a:pt x="36151" y="208795"/>
                  </a:lnTo>
                  <a:lnTo>
                    <a:pt x="35061" y="209370"/>
                  </a:lnTo>
                  <a:lnTo>
                    <a:pt x="34547" y="209975"/>
                  </a:lnTo>
                  <a:lnTo>
                    <a:pt x="34335" y="210822"/>
                  </a:lnTo>
                  <a:lnTo>
                    <a:pt x="34456" y="212910"/>
                  </a:lnTo>
                  <a:lnTo>
                    <a:pt x="34275" y="213817"/>
                  </a:lnTo>
                  <a:lnTo>
                    <a:pt x="33670" y="214846"/>
                  </a:lnTo>
                  <a:lnTo>
                    <a:pt x="33035" y="215753"/>
                  </a:lnTo>
                  <a:lnTo>
                    <a:pt x="32248" y="216358"/>
                  </a:lnTo>
                  <a:lnTo>
                    <a:pt x="28678" y="217447"/>
                  </a:lnTo>
                  <a:lnTo>
                    <a:pt x="28406" y="219474"/>
                  </a:lnTo>
                  <a:lnTo>
                    <a:pt x="30040" y="225222"/>
                  </a:lnTo>
                  <a:lnTo>
                    <a:pt x="29828" y="228761"/>
                  </a:lnTo>
                  <a:lnTo>
                    <a:pt x="28648" y="230667"/>
                  </a:lnTo>
                  <a:lnTo>
                    <a:pt x="27257" y="232271"/>
                  </a:lnTo>
                  <a:lnTo>
                    <a:pt x="26379" y="234963"/>
                  </a:lnTo>
                  <a:lnTo>
                    <a:pt x="26561" y="237443"/>
                  </a:lnTo>
                  <a:lnTo>
                    <a:pt x="27347" y="240015"/>
                  </a:lnTo>
                  <a:lnTo>
                    <a:pt x="29586" y="244462"/>
                  </a:lnTo>
                  <a:lnTo>
                    <a:pt x="31401" y="246489"/>
                  </a:lnTo>
                  <a:lnTo>
                    <a:pt x="33428" y="247336"/>
                  </a:lnTo>
                  <a:lnTo>
                    <a:pt x="37754" y="248183"/>
                  </a:lnTo>
                  <a:lnTo>
                    <a:pt x="39841" y="249181"/>
                  </a:lnTo>
                  <a:lnTo>
                    <a:pt x="40718" y="249423"/>
                  </a:lnTo>
                  <a:lnTo>
                    <a:pt x="42140" y="249483"/>
                  </a:lnTo>
                  <a:lnTo>
                    <a:pt x="45377" y="248757"/>
                  </a:lnTo>
                  <a:lnTo>
                    <a:pt x="46527" y="248969"/>
                  </a:lnTo>
                  <a:lnTo>
                    <a:pt x="48251" y="250300"/>
                  </a:lnTo>
                  <a:lnTo>
                    <a:pt x="49975" y="252630"/>
                  </a:lnTo>
                  <a:lnTo>
                    <a:pt x="51216" y="255383"/>
                  </a:lnTo>
                  <a:lnTo>
                    <a:pt x="51427" y="258015"/>
                  </a:lnTo>
                  <a:lnTo>
                    <a:pt x="52063" y="259678"/>
                  </a:lnTo>
                  <a:lnTo>
                    <a:pt x="53968" y="261463"/>
                  </a:lnTo>
                  <a:lnTo>
                    <a:pt x="58355" y="264488"/>
                  </a:lnTo>
                  <a:lnTo>
                    <a:pt x="59444" y="265487"/>
                  </a:lnTo>
                  <a:lnTo>
                    <a:pt x="60140" y="265850"/>
                  </a:lnTo>
                  <a:lnTo>
                    <a:pt x="60745" y="265668"/>
                  </a:lnTo>
                  <a:lnTo>
                    <a:pt x="61864" y="264609"/>
                  </a:lnTo>
                  <a:lnTo>
                    <a:pt x="62469" y="264609"/>
                  </a:lnTo>
                  <a:lnTo>
                    <a:pt x="63316" y="265638"/>
                  </a:lnTo>
                  <a:lnTo>
                    <a:pt x="63528" y="267937"/>
                  </a:lnTo>
                  <a:lnTo>
                    <a:pt x="64193" y="268723"/>
                  </a:lnTo>
                  <a:lnTo>
                    <a:pt x="65736" y="270085"/>
                  </a:lnTo>
                  <a:lnTo>
                    <a:pt x="67551" y="272535"/>
                  </a:lnTo>
                  <a:lnTo>
                    <a:pt x="68126" y="273322"/>
                  </a:lnTo>
                  <a:lnTo>
                    <a:pt x="71424" y="275076"/>
                  </a:lnTo>
                  <a:lnTo>
                    <a:pt x="73057" y="276922"/>
                  </a:lnTo>
                  <a:lnTo>
                    <a:pt x="73995" y="277617"/>
                  </a:lnTo>
                  <a:lnTo>
                    <a:pt x="74358" y="277285"/>
                  </a:lnTo>
                  <a:lnTo>
                    <a:pt x="74963" y="276498"/>
                  </a:lnTo>
                  <a:lnTo>
                    <a:pt x="75870" y="276196"/>
                  </a:lnTo>
                  <a:lnTo>
                    <a:pt x="77141" y="277254"/>
                  </a:lnTo>
                  <a:lnTo>
                    <a:pt x="77867" y="279674"/>
                  </a:lnTo>
                  <a:lnTo>
                    <a:pt x="77020" y="281762"/>
                  </a:lnTo>
                  <a:lnTo>
                    <a:pt x="75326" y="283516"/>
                  </a:lnTo>
                  <a:lnTo>
                    <a:pt x="71182" y="286360"/>
                  </a:lnTo>
                  <a:lnTo>
                    <a:pt x="68792" y="287177"/>
                  </a:lnTo>
                  <a:lnTo>
                    <a:pt x="66311" y="287358"/>
                  </a:lnTo>
                  <a:lnTo>
                    <a:pt x="60594" y="286814"/>
                  </a:lnTo>
                  <a:lnTo>
                    <a:pt x="55239" y="287177"/>
                  </a:lnTo>
                  <a:lnTo>
                    <a:pt x="53757" y="287600"/>
                  </a:lnTo>
                  <a:lnTo>
                    <a:pt x="52305" y="287661"/>
                  </a:lnTo>
                  <a:lnTo>
                    <a:pt x="51004" y="286905"/>
                  </a:lnTo>
                  <a:lnTo>
                    <a:pt x="48402" y="284666"/>
                  </a:lnTo>
                  <a:lnTo>
                    <a:pt x="45861" y="283002"/>
                  </a:lnTo>
                  <a:lnTo>
                    <a:pt x="44530" y="282579"/>
                  </a:lnTo>
                  <a:lnTo>
                    <a:pt x="43048" y="282639"/>
                  </a:lnTo>
                  <a:lnTo>
                    <a:pt x="40991" y="283274"/>
                  </a:lnTo>
                  <a:lnTo>
                    <a:pt x="40113" y="283970"/>
                  </a:lnTo>
                  <a:lnTo>
                    <a:pt x="39569" y="285211"/>
                  </a:lnTo>
                  <a:lnTo>
                    <a:pt x="39569" y="286118"/>
                  </a:lnTo>
                  <a:lnTo>
                    <a:pt x="40053" y="287721"/>
                  </a:lnTo>
                  <a:lnTo>
                    <a:pt x="39841" y="288629"/>
                  </a:lnTo>
                  <a:lnTo>
                    <a:pt x="38692" y="289657"/>
                  </a:lnTo>
                  <a:lnTo>
                    <a:pt x="39841" y="290353"/>
                  </a:lnTo>
                  <a:lnTo>
                    <a:pt x="43320" y="292804"/>
                  </a:lnTo>
                  <a:lnTo>
                    <a:pt x="46406" y="296464"/>
                  </a:lnTo>
                  <a:lnTo>
                    <a:pt x="51790" y="304450"/>
                  </a:lnTo>
                  <a:lnTo>
                    <a:pt x="62076" y="314706"/>
                  </a:lnTo>
                  <a:lnTo>
                    <a:pt x="64073" y="318911"/>
                  </a:lnTo>
                  <a:lnTo>
                    <a:pt x="66493" y="325989"/>
                  </a:lnTo>
                  <a:lnTo>
                    <a:pt x="66674" y="329378"/>
                  </a:lnTo>
                  <a:lnTo>
                    <a:pt x="64073" y="331707"/>
                  </a:lnTo>
                  <a:lnTo>
                    <a:pt x="63649" y="333220"/>
                  </a:lnTo>
                  <a:lnTo>
                    <a:pt x="63467" y="335065"/>
                  </a:lnTo>
                  <a:lnTo>
                    <a:pt x="63589" y="336819"/>
                  </a:lnTo>
                  <a:lnTo>
                    <a:pt x="64073" y="338181"/>
                  </a:lnTo>
                  <a:lnTo>
                    <a:pt x="64799" y="338816"/>
                  </a:lnTo>
                  <a:lnTo>
                    <a:pt x="65071" y="339391"/>
                  </a:lnTo>
                  <a:lnTo>
                    <a:pt x="64890" y="339905"/>
                  </a:lnTo>
                  <a:lnTo>
                    <a:pt x="64073" y="340389"/>
                  </a:lnTo>
                  <a:lnTo>
                    <a:pt x="60291" y="338967"/>
                  </a:lnTo>
                  <a:lnTo>
                    <a:pt x="59051" y="339058"/>
                  </a:lnTo>
                  <a:lnTo>
                    <a:pt x="57810" y="341841"/>
                  </a:lnTo>
                  <a:lnTo>
                    <a:pt x="56933" y="342930"/>
                  </a:lnTo>
                  <a:lnTo>
                    <a:pt x="56147" y="341811"/>
                  </a:lnTo>
                  <a:lnTo>
                    <a:pt x="55330" y="339663"/>
                  </a:lnTo>
                  <a:lnTo>
                    <a:pt x="53878" y="337243"/>
                  </a:lnTo>
                  <a:lnTo>
                    <a:pt x="52153" y="335186"/>
                  </a:lnTo>
                  <a:lnTo>
                    <a:pt x="50490" y="334248"/>
                  </a:lnTo>
                  <a:lnTo>
                    <a:pt x="49400" y="334551"/>
                  </a:lnTo>
                  <a:lnTo>
                    <a:pt x="47071" y="336275"/>
                  </a:lnTo>
                  <a:lnTo>
                    <a:pt x="45892" y="336880"/>
                  </a:lnTo>
                  <a:lnTo>
                    <a:pt x="44712" y="336910"/>
                  </a:lnTo>
                  <a:lnTo>
                    <a:pt x="42140" y="336547"/>
                  </a:lnTo>
                  <a:lnTo>
                    <a:pt x="41051" y="336850"/>
                  </a:lnTo>
                  <a:lnTo>
                    <a:pt x="39660" y="338937"/>
                  </a:lnTo>
                  <a:lnTo>
                    <a:pt x="38692" y="341781"/>
                  </a:lnTo>
                  <a:lnTo>
                    <a:pt x="37482" y="343959"/>
                  </a:lnTo>
                  <a:lnTo>
                    <a:pt x="35273" y="343959"/>
                  </a:lnTo>
                  <a:lnTo>
                    <a:pt x="33246" y="346893"/>
                  </a:lnTo>
                  <a:lnTo>
                    <a:pt x="33307" y="350554"/>
                  </a:lnTo>
                  <a:lnTo>
                    <a:pt x="34941" y="353881"/>
                  </a:lnTo>
                  <a:lnTo>
                    <a:pt x="37572" y="355969"/>
                  </a:lnTo>
                  <a:lnTo>
                    <a:pt x="51397" y="361716"/>
                  </a:lnTo>
                  <a:lnTo>
                    <a:pt x="53061" y="362836"/>
                  </a:lnTo>
                  <a:lnTo>
                    <a:pt x="57266" y="368674"/>
                  </a:lnTo>
                  <a:lnTo>
                    <a:pt x="63226" y="374362"/>
                  </a:lnTo>
                  <a:lnTo>
                    <a:pt x="64405" y="376055"/>
                  </a:lnTo>
                  <a:lnTo>
                    <a:pt x="66160" y="379595"/>
                  </a:lnTo>
                  <a:lnTo>
                    <a:pt x="67158" y="381047"/>
                  </a:lnTo>
                  <a:lnTo>
                    <a:pt x="70728" y="383800"/>
                  </a:lnTo>
                  <a:lnTo>
                    <a:pt x="70940" y="383982"/>
                  </a:lnTo>
                  <a:lnTo>
                    <a:pt x="74055" y="387733"/>
                  </a:lnTo>
                  <a:lnTo>
                    <a:pt x="75780" y="389215"/>
                  </a:lnTo>
                  <a:lnTo>
                    <a:pt x="77867" y="390213"/>
                  </a:lnTo>
                  <a:lnTo>
                    <a:pt x="82344" y="391454"/>
                  </a:lnTo>
                  <a:lnTo>
                    <a:pt x="84492" y="391665"/>
                  </a:lnTo>
                  <a:lnTo>
                    <a:pt x="85793" y="391211"/>
                  </a:lnTo>
                  <a:lnTo>
                    <a:pt x="86610" y="390455"/>
                  </a:lnTo>
                  <a:lnTo>
                    <a:pt x="87396" y="390546"/>
                  </a:lnTo>
                  <a:lnTo>
                    <a:pt x="90361" y="395477"/>
                  </a:lnTo>
                  <a:lnTo>
                    <a:pt x="92206" y="397746"/>
                  </a:lnTo>
                  <a:lnTo>
                    <a:pt x="94264" y="399289"/>
                  </a:lnTo>
                  <a:lnTo>
                    <a:pt x="96623" y="400106"/>
                  </a:lnTo>
                  <a:lnTo>
                    <a:pt x="99951" y="400317"/>
                  </a:lnTo>
                  <a:lnTo>
                    <a:pt x="103369" y="400045"/>
                  </a:lnTo>
                  <a:lnTo>
                    <a:pt x="104549" y="399380"/>
                  </a:lnTo>
                  <a:lnTo>
                    <a:pt x="106878" y="397171"/>
                  </a:lnTo>
                  <a:lnTo>
                    <a:pt x="107846" y="396687"/>
                  </a:lnTo>
                  <a:lnTo>
                    <a:pt x="109117" y="397080"/>
                  </a:lnTo>
                  <a:lnTo>
                    <a:pt x="109843" y="398109"/>
                  </a:lnTo>
                  <a:lnTo>
                    <a:pt x="110418" y="399410"/>
                  </a:lnTo>
                  <a:lnTo>
                    <a:pt x="111204" y="400620"/>
                  </a:lnTo>
                  <a:lnTo>
                    <a:pt x="112172" y="401558"/>
                  </a:lnTo>
                  <a:lnTo>
                    <a:pt x="118222" y="405490"/>
                  </a:lnTo>
                  <a:lnTo>
                    <a:pt x="121732" y="408667"/>
                  </a:lnTo>
                  <a:lnTo>
                    <a:pt x="121913" y="408848"/>
                  </a:lnTo>
                  <a:lnTo>
                    <a:pt x="127994" y="414414"/>
                  </a:lnTo>
                  <a:lnTo>
                    <a:pt x="129264" y="414808"/>
                  </a:lnTo>
                  <a:lnTo>
                    <a:pt x="130414" y="415140"/>
                  </a:lnTo>
                  <a:lnTo>
                    <a:pt x="135799" y="415655"/>
                  </a:lnTo>
                  <a:lnTo>
                    <a:pt x="138703" y="416804"/>
                  </a:lnTo>
                  <a:lnTo>
                    <a:pt x="143966" y="420313"/>
                  </a:lnTo>
                  <a:lnTo>
                    <a:pt x="150168" y="423187"/>
                  </a:lnTo>
                  <a:lnTo>
                    <a:pt x="151832" y="425214"/>
                  </a:lnTo>
                  <a:lnTo>
                    <a:pt x="151983" y="428330"/>
                  </a:lnTo>
                  <a:lnTo>
                    <a:pt x="150985" y="433200"/>
                  </a:lnTo>
                  <a:lnTo>
                    <a:pt x="142847" y="434501"/>
                  </a:lnTo>
                  <a:lnTo>
                    <a:pt x="138975" y="435802"/>
                  </a:lnTo>
                  <a:lnTo>
                    <a:pt x="138128" y="436316"/>
                  </a:lnTo>
                  <a:lnTo>
                    <a:pt x="137281" y="437708"/>
                  </a:lnTo>
                  <a:lnTo>
                    <a:pt x="137220" y="438918"/>
                  </a:lnTo>
                  <a:lnTo>
                    <a:pt x="137372" y="440068"/>
                  </a:lnTo>
                  <a:lnTo>
                    <a:pt x="137220" y="441278"/>
                  </a:lnTo>
                  <a:lnTo>
                    <a:pt x="134710" y="443879"/>
                  </a:lnTo>
                  <a:lnTo>
                    <a:pt x="131291" y="442972"/>
                  </a:lnTo>
                  <a:lnTo>
                    <a:pt x="127510" y="440854"/>
                  </a:lnTo>
                  <a:lnTo>
                    <a:pt x="123910" y="440007"/>
                  </a:lnTo>
                  <a:lnTo>
                    <a:pt x="122790" y="440521"/>
                  </a:lnTo>
                  <a:lnTo>
                    <a:pt x="121853" y="441217"/>
                  </a:lnTo>
                  <a:lnTo>
                    <a:pt x="119735" y="442760"/>
                  </a:lnTo>
                  <a:lnTo>
                    <a:pt x="118919" y="443819"/>
                  </a:lnTo>
                  <a:lnTo>
                    <a:pt x="118707" y="446300"/>
                  </a:lnTo>
                  <a:lnTo>
                    <a:pt x="119856" y="448205"/>
                  </a:lnTo>
                  <a:lnTo>
                    <a:pt x="119947" y="448326"/>
                  </a:lnTo>
                  <a:lnTo>
                    <a:pt x="125725" y="453378"/>
                  </a:lnTo>
                  <a:lnTo>
                    <a:pt x="126481" y="454679"/>
                  </a:lnTo>
                  <a:lnTo>
                    <a:pt x="126693" y="455102"/>
                  </a:lnTo>
                  <a:lnTo>
                    <a:pt x="125362" y="458340"/>
                  </a:lnTo>
                  <a:lnTo>
                    <a:pt x="124213" y="460366"/>
                  </a:lnTo>
                  <a:lnTo>
                    <a:pt x="123850" y="461395"/>
                  </a:lnTo>
                  <a:lnTo>
                    <a:pt x="123819" y="463422"/>
                  </a:lnTo>
                  <a:lnTo>
                    <a:pt x="124091" y="465176"/>
                  </a:lnTo>
                  <a:lnTo>
                    <a:pt x="123970" y="466810"/>
                  </a:lnTo>
                  <a:lnTo>
                    <a:pt x="122790" y="468443"/>
                  </a:lnTo>
                  <a:lnTo>
                    <a:pt x="124848" y="470531"/>
                  </a:lnTo>
                  <a:lnTo>
                    <a:pt x="129900" y="473102"/>
                  </a:lnTo>
                  <a:lnTo>
                    <a:pt x="131563" y="475099"/>
                  </a:lnTo>
                  <a:lnTo>
                    <a:pt x="131594" y="475099"/>
                  </a:lnTo>
                  <a:lnTo>
                    <a:pt x="131594" y="475099"/>
                  </a:lnTo>
                  <a:lnTo>
                    <a:pt x="131594" y="475129"/>
                  </a:lnTo>
                  <a:lnTo>
                    <a:pt x="131594" y="475129"/>
                  </a:lnTo>
                  <a:lnTo>
                    <a:pt x="134438" y="481421"/>
                  </a:lnTo>
                  <a:lnTo>
                    <a:pt x="134982" y="482117"/>
                  </a:lnTo>
                  <a:lnTo>
                    <a:pt x="136343" y="483327"/>
                  </a:lnTo>
                  <a:lnTo>
                    <a:pt x="136827" y="484295"/>
                  </a:lnTo>
                  <a:lnTo>
                    <a:pt x="136797" y="485324"/>
                  </a:lnTo>
                  <a:lnTo>
                    <a:pt x="135768" y="486806"/>
                  </a:lnTo>
                  <a:lnTo>
                    <a:pt x="135647" y="487593"/>
                  </a:lnTo>
                  <a:lnTo>
                    <a:pt x="136101" y="488379"/>
                  </a:lnTo>
                  <a:lnTo>
                    <a:pt x="137674" y="489619"/>
                  </a:lnTo>
                  <a:lnTo>
                    <a:pt x="138249" y="490376"/>
                  </a:lnTo>
                  <a:lnTo>
                    <a:pt x="138491" y="491344"/>
                  </a:lnTo>
                  <a:lnTo>
                    <a:pt x="138309" y="493008"/>
                  </a:lnTo>
                  <a:lnTo>
                    <a:pt x="138461" y="493915"/>
                  </a:lnTo>
                  <a:lnTo>
                    <a:pt x="139338" y="495972"/>
                  </a:lnTo>
                  <a:lnTo>
                    <a:pt x="140155" y="496819"/>
                  </a:lnTo>
                  <a:lnTo>
                    <a:pt x="141365" y="496971"/>
                  </a:lnTo>
                  <a:lnTo>
                    <a:pt x="148232" y="496819"/>
                  </a:lnTo>
                  <a:lnTo>
                    <a:pt x="149775" y="497061"/>
                  </a:lnTo>
                  <a:lnTo>
                    <a:pt x="162208" y="505471"/>
                  </a:lnTo>
                  <a:lnTo>
                    <a:pt x="163902" y="507135"/>
                  </a:lnTo>
                  <a:lnTo>
                    <a:pt x="164719" y="507922"/>
                  </a:lnTo>
                  <a:lnTo>
                    <a:pt x="166625" y="510342"/>
                  </a:lnTo>
                  <a:lnTo>
                    <a:pt x="170436" y="517965"/>
                  </a:lnTo>
                  <a:lnTo>
                    <a:pt x="171526" y="521293"/>
                  </a:lnTo>
                  <a:lnTo>
                    <a:pt x="171768" y="523501"/>
                  </a:lnTo>
                  <a:lnTo>
                    <a:pt x="171798" y="527464"/>
                  </a:lnTo>
                  <a:lnTo>
                    <a:pt x="172403" y="529763"/>
                  </a:lnTo>
                  <a:lnTo>
                    <a:pt x="175579" y="537417"/>
                  </a:lnTo>
                  <a:lnTo>
                    <a:pt x="176033" y="539897"/>
                  </a:lnTo>
                  <a:lnTo>
                    <a:pt x="176547" y="541531"/>
                  </a:lnTo>
                  <a:lnTo>
                    <a:pt x="176547" y="543104"/>
                  </a:lnTo>
                  <a:lnTo>
                    <a:pt x="175489" y="545343"/>
                  </a:lnTo>
                  <a:lnTo>
                    <a:pt x="174641" y="546341"/>
                  </a:lnTo>
                  <a:lnTo>
                    <a:pt x="173915" y="546855"/>
                  </a:lnTo>
                  <a:lnTo>
                    <a:pt x="173311" y="547521"/>
                  </a:lnTo>
                  <a:lnTo>
                    <a:pt x="172826" y="549003"/>
                  </a:lnTo>
                  <a:lnTo>
                    <a:pt x="172857" y="549911"/>
                  </a:lnTo>
                  <a:lnTo>
                    <a:pt x="173371" y="551454"/>
                  </a:lnTo>
                  <a:lnTo>
                    <a:pt x="173311" y="552361"/>
                  </a:lnTo>
                  <a:lnTo>
                    <a:pt x="175640" y="554630"/>
                  </a:lnTo>
                  <a:lnTo>
                    <a:pt x="176850" y="555235"/>
                  </a:lnTo>
                  <a:lnTo>
                    <a:pt x="178483" y="555174"/>
                  </a:lnTo>
                  <a:lnTo>
                    <a:pt x="179240" y="554599"/>
                  </a:lnTo>
                  <a:lnTo>
                    <a:pt x="180329" y="552724"/>
                  </a:lnTo>
                  <a:lnTo>
                    <a:pt x="180964" y="552300"/>
                  </a:lnTo>
                  <a:lnTo>
                    <a:pt x="181932" y="552845"/>
                  </a:lnTo>
                  <a:lnTo>
                    <a:pt x="183838" y="555325"/>
                  </a:lnTo>
                  <a:lnTo>
                    <a:pt x="184806" y="555961"/>
                  </a:lnTo>
                  <a:lnTo>
                    <a:pt x="186984" y="555265"/>
                  </a:lnTo>
                  <a:lnTo>
                    <a:pt x="188134" y="554085"/>
                  </a:lnTo>
                  <a:lnTo>
                    <a:pt x="189011" y="553178"/>
                  </a:lnTo>
                  <a:lnTo>
                    <a:pt x="190705" y="550516"/>
                  </a:lnTo>
                  <a:lnTo>
                    <a:pt x="191764" y="548186"/>
                  </a:lnTo>
                  <a:lnTo>
                    <a:pt x="191824" y="547763"/>
                  </a:lnTo>
                  <a:lnTo>
                    <a:pt x="192157" y="545191"/>
                  </a:lnTo>
                  <a:lnTo>
                    <a:pt x="191855" y="544011"/>
                  </a:lnTo>
                  <a:lnTo>
                    <a:pt x="190886" y="540260"/>
                  </a:lnTo>
                  <a:lnTo>
                    <a:pt x="191008" y="537447"/>
                  </a:lnTo>
                  <a:lnTo>
                    <a:pt x="192248" y="531306"/>
                  </a:lnTo>
                  <a:lnTo>
                    <a:pt x="193246" y="528644"/>
                  </a:lnTo>
                  <a:lnTo>
                    <a:pt x="195213" y="526436"/>
                  </a:lnTo>
                  <a:lnTo>
                    <a:pt x="197784" y="525074"/>
                  </a:lnTo>
                  <a:lnTo>
                    <a:pt x="207222" y="522140"/>
                  </a:lnTo>
                  <a:lnTo>
                    <a:pt x="214362" y="519871"/>
                  </a:lnTo>
                  <a:lnTo>
                    <a:pt x="217266" y="518993"/>
                  </a:lnTo>
                  <a:lnTo>
                    <a:pt x="219807" y="517814"/>
                  </a:lnTo>
                  <a:lnTo>
                    <a:pt x="220987" y="516725"/>
                  </a:lnTo>
                  <a:lnTo>
                    <a:pt x="224345" y="513699"/>
                  </a:lnTo>
                  <a:lnTo>
                    <a:pt x="226795" y="512247"/>
                  </a:lnTo>
                  <a:lnTo>
                    <a:pt x="227551" y="512278"/>
                  </a:lnTo>
                  <a:lnTo>
                    <a:pt x="228217" y="512459"/>
                  </a:lnTo>
                  <a:lnTo>
                    <a:pt x="229578" y="513125"/>
                  </a:lnTo>
                  <a:lnTo>
                    <a:pt x="233420" y="515848"/>
                  </a:lnTo>
                  <a:lnTo>
                    <a:pt x="236959" y="519084"/>
                  </a:lnTo>
                  <a:lnTo>
                    <a:pt x="238623" y="521565"/>
                  </a:lnTo>
                  <a:lnTo>
                    <a:pt x="239531" y="523350"/>
                  </a:lnTo>
                  <a:lnTo>
                    <a:pt x="239955" y="523713"/>
                  </a:lnTo>
                  <a:lnTo>
                    <a:pt x="240801" y="524530"/>
                  </a:lnTo>
                  <a:lnTo>
                    <a:pt x="241588" y="524681"/>
                  </a:lnTo>
                  <a:lnTo>
                    <a:pt x="245944" y="525498"/>
                  </a:lnTo>
                  <a:lnTo>
                    <a:pt x="247003" y="525286"/>
                  </a:lnTo>
                  <a:lnTo>
                    <a:pt x="247124" y="524409"/>
                  </a:lnTo>
                  <a:lnTo>
                    <a:pt x="247184" y="524136"/>
                  </a:lnTo>
                  <a:lnTo>
                    <a:pt x="247094" y="521595"/>
                  </a:lnTo>
                  <a:lnTo>
                    <a:pt x="246942" y="520536"/>
                  </a:lnTo>
                  <a:lnTo>
                    <a:pt x="246640" y="519871"/>
                  </a:lnTo>
                  <a:lnTo>
                    <a:pt x="246428" y="519205"/>
                  </a:lnTo>
                  <a:lnTo>
                    <a:pt x="246549" y="518116"/>
                  </a:lnTo>
                  <a:lnTo>
                    <a:pt x="252448" y="509767"/>
                  </a:lnTo>
                  <a:lnTo>
                    <a:pt x="253174" y="509253"/>
                  </a:lnTo>
                  <a:lnTo>
                    <a:pt x="253779" y="508799"/>
                  </a:lnTo>
                  <a:lnTo>
                    <a:pt x="255534" y="508648"/>
                  </a:lnTo>
                  <a:lnTo>
                    <a:pt x="259013" y="509888"/>
                  </a:lnTo>
                  <a:lnTo>
                    <a:pt x="260132" y="509767"/>
                  </a:lnTo>
                  <a:lnTo>
                    <a:pt x="260011" y="508950"/>
                  </a:lnTo>
                  <a:lnTo>
                    <a:pt x="259285" y="507861"/>
                  </a:lnTo>
                  <a:lnTo>
                    <a:pt x="259104" y="506772"/>
                  </a:lnTo>
                  <a:lnTo>
                    <a:pt x="260768" y="505925"/>
                  </a:lnTo>
                  <a:lnTo>
                    <a:pt x="261947" y="506258"/>
                  </a:lnTo>
                  <a:lnTo>
                    <a:pt x="262885" y="507135"/>
                  </a:lnTo>
                  <a:lnTo>
                    <a:pt x="263913" y="507377"/>
                  </a:lnTo>
                  <a:lnTo>
                    <a:pt x="264367" y="506893"/>
                  </a:lnTo>
                  <a:lnTo>
                    <a:pt x="265305" y="505804"/>
                  </a:lnTo>
                  <a:lnTo>
                    <a:pt x="267120" y="506923"/>
                  </a:lnTo>
                  <a:lnTo>
                    <a:pt x="269177" y="506893"/>
                  </a:lnTo>
                  <a:lnTo>
                    <a:pt x="273382" y="505864"/>
                  </a:lnTo>
                  <a:lnTo>
                    <a:pt x="273624" y="505986"/>
                  </a:lnTo>
                  <a:lnTo>
                    <a:pt x="274744" y="506530"/>
                  </a:lnTo>
                  <a:lnTo>
                    <a:pt x="279705" y="506439"/>
                  </a:lnTo>
                  <a:lnTo>
                    <a:pt x="283244" y="507316"/>
                  </a:lnTo>
                  <a:lnTo>
                    <a:pt x="284999" y="507407"/>
                  </a:lnTo>
                  <a:lnTo>
                    <a:pt x="284999" y="507407"/>
                  </a:lnTo>
                  <a:lnTo>
                    <a:pt x="286511" y="506530"/>
                  </a:lnTo>
                  <a:lnTo>
                    <a:pt x="287964" y="504897"/>
                  </a:lnTo>
                  <a:lnTo>
                    <a:pt x="289264" y="504140"/>
                  </a:lnTo>
                  <a:lnTo>
                    <a:pt x="299096" y="498665"/>
                  </a:lnTo>
                  <a:lnTo>
                    <a:pt x="301123" y="498211"/>
                  </a:lnTo>
                  <a:lnTo>
                    <a:pt x="305146" y="498271"/>
                  </a:lnTo>
                  <a:lnTo>
                    <a:pt x="305872" y="498090"/>
                  </a:lnTo>
                  <a:lnTo>
                    <a:pt x="309291" y="495367"/>
                  </a:lnTo>
                  <a:lnTo>
                    <a:pt x="310349" y="494913"/>
                  </a:lnTo>
                  <a:lnTo>
                    <a:pt x="311620" y="495156"/>
                  </a:lnTo>
                  <a:lnTo>
                    <a:pt x="316975" y="497727"/>
                  </a:lnTo>
                  <a:lnTo>
                    <a:pt x="320272" y="498786"/>
                  </a:lnTo>
                  <a:lnTo>
                    <a:pt x="322057" y="498967"/>
                  </a:lnTo>
                  <a:lnTo>
                    <a:pt x="323630" y="499149"/>
                  </a:lnTo>
                  <a:lnTo>
                    <a:pt x="327109" y="498574"/>
                  </a:lnTo>
                  <a:lnTo>
                    <a:pt x="340994" y="493189"/>
                  </a:lnTo>
                  <a:lnTo>
                    <a:pt x="343626" y="490648"/>
                  </a:lnTo>
                  <a:lnTo>
                    <a:pt x="344534" y="490497"/>
                  </a:lnTo>
                  <a:lnTo>
                    <a:pt x="344987" y="491132"/>
                  </a:lnTo>
                  <a:lnTo>
                    <a:pt x="345078" y="493250"/>
                  </a:lnTo>
                  <a:lnTo>
                    <a:pt x="345350" y="494157"/>
                  </a:lnTo>
                  <a:lnTo>
                    <a:pt x="346833" y="495761"/>
                  </a:lnTo>
                  <a:lnTo>
                    <a:pt x="348436" y="496880"/>
                  </a:lnTo>
                  <a:lnTo>
                    <a:pt x="350221" y="497485"/>
                  </a:lnTo>
                  <a:lnTo>
                    <a:pt x="352218" y="497606"/>
                  </a:lnTo>
                  <a:lnTo>
                    <a:pt x="354154" y="496668"/>
                  </a:lnTo>
                  <a:lnTo>
                    <a:pt x="358328" y="496608"/>
                  </a:lnTo>
                  <a:lnTo>
                    <a:pt x="360143" y="496063"/>
                  </a:lnTo>
                  <a:lnTo>
                    <a:pt x="361626" y="494278"/>
                  </a:lnTo>
                  <a:lnTo>
                    <a:pt x="363229" y="489710"/>
                  </a:lnTo>
                  <a:lnTo>
                    <a:pt x="364772" y="487835"/>
                  </a:lnTo>
                  <a:lnTo>
                    <a:pt x="366315" y="487169"/>
                  </a:lnTo>
                  <a:lnTo>
                    <a:pt x="367555" y="486897"/>
                  </a:lnTo>
                  <a:lnTo>
                    <a:pt x="368704" y="486201"/>
                  </a:lnTo>
                  <a:lnTo>
                    <a:pt x="369763" y="484174"/>
                  </a:lnTo>
                  <a:lnTo>
                    <a:pt x="371155" y="479606"/>
                  </a:lnTo>
                  <a:lnTo>
                    <a:pt x="371488" y="477005"/>
                  </a:lnTo>
                  <a:lnTo>
                    <a:pt x="371064" y="475129"/>
                  </a:lnTo>
                  <a:lnTo>
                    <a:pt x="371064" y="475099"/>
                  </a:lnTo>
                  <a:lnTo>
                    <a:pt x="370308" y="473344"/>
                  </a:lnTo>
                  <a:lnTo>
                    <a:pt x="369037" y="471892"/>
                  </a:lnTo>
                  <a:lnTo>
                    <a:pt x="365952" y="469835"/>
                  </a:lnTo>
                  <a:lnTo>
                    <a:pt x="360748" y="465358"/>
                  </a:lnTo>
                  <a:lnTo>
                    <a:pt x="360294" y="465176"/>
                  </a:lnTo>
                  <a:lnTo>
                    <a:pt x="360658" y="462665"/>
                  </a:lnTo>
                  <a:lnTo>
                    <a:pt x="361898" y="457644"/>
                  </a:lnTo>
                  <a:lnTo>
                    <a:pt x="362231" y="456343"/>
                  </a:lnTo>
                  <a:lnTo>
                    <a:pt x="362684" y="453227"/>
                  </a:lnTo>
                  <a:lnTo>
                    <a:pt x="361989" y="451533"/>
                  </a:lnTo>
                  <a:lnTo>
                    <a:pt x="364590" y="446935"/>
                  </a:lnTo>
                  <a:lnTo>
                    <a:pt x="365952" y="445755"/>
                  </a:lnTo>
                  <a:lnTo>
                    <a:pt x="366042" y="445362"/>
                  </a:lnTo>
                  <a:lnTo>
                    <a:pt x="366073" y="444968"/>
                  </a:lnTo>
                  <a:lnTo>
                    <a:pt x="366042" y="444605"/>
                  </a:lnTo>
                  <a:lnTo>
                    <a:pt x="365952" y="444212"/>
                  </a:lnTo>
                  <a:lnTo>
                    <a:pt x="364439" y="443123"/>
                  </a:lnTo>
                  <a:lnTo>
                    <a:pt x="363108" y="441247"/>
                  </a:lnTo>
                  <a:lnTo>
                    <a:pt x="360688" y="435893"/>
                  </a:lnTo>
                  <a:lnTo>
                    <a:pt x="360355" y="435439"/>
                  </a:lnTo>
                  <a:lnTo>
                    <a:pt x="360506" y="434955"/>
                  </a:lnTo>
                  <a:lnTo>
                    <a:pt x="360809" y="434501"/>
                  </a:lnTo>
                  <a:lnTo>
                    <a:pt x="361444" y="433594"/>
                  </a:lnTo>
                  <a:lnTo>
                    <a:pt x="362321" y="432868"/>
                  </a:lnTo>
                  <a:lnTo>
                    <a:pt x="364893" y="431628"/>
                  </a:lnTo>
                  <a:lnTo>
                    <a:pt x="365952" y="430781"/>
                  </a:lnTo>
                  <a:lnTo>
                    <a:pt x="367525" y="428572"/>
                  </a:lnTo>
                  <a:lnTo>
                    <a:pt x="368432" y="427846"/>
                  </a:lnTo>
                  <a:lnTo>
                    <a:pt x="369793" y="427816"/>
                  </a:lnTo>
                  <a:lnTo>
                    <a:pt x="371578" y="428058"/>
                  </a:lnTo>
                  <a:lnTo>
                    <a:pt x="372274" y="427665"/>
                  </a:lnTo>
                  <a:lnTo>
                    <a:pt x="372305" y="427634"/>
                  </a:lnTo>
                  <a:lnTo>
                    <a:pt x="372849" y="426939"/>
                  </a:lnTo>
                  <a:lnTo>
                    <a:pt x="374210" y="426061"/>
                  </a:lnTo>
                  <a:lnTo>
                    <a:pt x="376963" y="425728"/>
                  </a:lnTo>
                  <a:lnTo>
                    <a:pt x="384526" y="427604"/>
                  </a:lnTo>
                  <a:lnTo>
                    <a:pt x="387581" y="426908"/>
                  </a:lnTo>
                  <a:lnTo>
                    <a:pt x="390667" y="425728"/>
                  </a:lnTo>
                  <a:lnTo>
                    <a:pt x="391847" y="424397"/>
                  </a:lnTo>
                  <a:lnTo>
                    <a:pt x="391907" y="424216"/>
                  </a:lnTo>
                  <a:lnTo>
                    <a:pt x="392512" y="422824"/>
                  </a:lnTo>
                  <a:lnTo>
                    <a:pt x="394297" y="416683"/>
                  </a:lnTo>
                  <a:lnTo>
                    <a:pt x="394933" y="415110"/>
                  </a:lnTo>
                  <a:lnTo>
                    <a:pt x="395628" y="414021"/>
                  </a:lnTo>
                  <a:lnTo>
                    <a:pt x="396808" y="413356"/>
                  </a:lnTo>
                  <a:lnTo>
                    <a:pt x="399591" y="412781"/>
                  </a:lnTo>
                  <a:lnTo>
                    <a:pt x="400892" y="412297"/>
                  </a:lnTo>
                  <a:lnTo>
                    <a:pt x="400922" y="412297"/>
                  </a:lnTo>
                  <a:lnTo>
                    <a:pt x="400922" y="412297"/>
                  </a:lnTo>
                  <a:lnTo>
                    <a:pt x="400922" y="412267"/>
                  </a:lnTo>
                  <a:lnTo>
                    <a:pt x="402253" y="410512"/>
                  </a:lnTo>
                  <a:lnTo>
                    <a:pt x="406488" y="406852"/>
                  </a:lnTo>
                  <a:lnTo>
                    <a:pt x="407003" y="405853"/>
                  </a:lnTo>
                  <a:lnTo>
                    <a:pt x="407729" y="403554"/>
                  </a:lnTo>
                  <a:lnTo>
                    <a:pt x="408243" y="402647"/>
                  </a:lnTo>
                  <a:lnTo>
                    <a:pt x="409090" y="401951"/>
                  </a:lnTo>
                  <a:lnTo>
                    <a:pt x="410784" y="401225"/>
                  </a:lnTo>
                  <a:lnTo>
                    <a:pt x="411601" y="400650"/>
                  </a:lnTo>
                  <a:lnTo>
                    <a:pt x="413658" y="397776"/>
                  </a:lnTo>
                  <a:lnTo>
                    <a:pt x="415503" y="393632"/>
                  </a:lnTo>
                  <a:lnTo>
                    <a:pt x="416562" y="389396"/>
                  </a:lnTo>
                  <a:lnTo>
                    <a:pt x="416411" y="387793"/>
                  </a:lnTo>
                  <a:close/>
                </a:path>
              </a:pathLst>
            </a:custGeom>
            <a:solidFill>
              <a:srgbClr val="96A3AC"/>
            </a:solidFill>
            <a:ln w="3175" cap="rnd">
              <a:solidFill>
                <a:schemeClr val="bg1"/>
              </a:solidFill>
              <a:prstDash val="solid"/>
              <a:round/>
            </a:ln>
          </p:spPr>
          <p:txBody>
            <a:bodyPr rtlCol="0" anchor="ctr"/>
            <a:lstStyle/>
            <a:p>
              <a:endParaRPr lang="en-ID"/>
            </a:p>
          </p:txBody>
        </p:sp>
        <p:sp>
          <p:nvSpPr>
            <p:cNvPr id="21" name="Freeform: Shape 20">
              <a:extLst>
                <a:ext uri="{FF2B5EF4-FFF2-40B4-BE49-F238E27FC236}">
                  <a16:creationId xmlns:a16="http://schemas.microsoft.com/office/drawing/2014/main" id="{91C52697-0D67-E5F2-8D1E-620E407932ED}"/>
                </a:ext>
              </a:extLst>
            </p:cNvPr>
            <p:cNvSpPr/>
            <p:nvPr/>
          </p:nvSpPr>
          <p:spPr>
            <a:xfrm>
              <a:off x="9690739" y="1074270"/>
              <a:ext cx="2498347" cy="3883986"/>
            </a:xfrm>
            <a:custGeom>
              <a:avLst/>
              <a:gdLst>
                <a:gd name="connsiteX0" fmla="*/ 916225 w 3214184"/>
                <a:gd name="connsiteY0" fmla="*/ 2155082 h 4996841"/>
                <a:gd name="connsiteX1" fmla="*/ 915862 w 3214184"/>
                <a:gd name="connsiteY1" fmla="*/ 2154628 h 4996841"/>
                <a:gd name="connsiteX2" fmla="*/ 912988 w 3214184"/>
                <a:gd name="connsiteY2" fmla="*/ 2153781 h 4996841"/>
                <a:gd name="connsiteX3" fmla="*/ 906817 w 3214184"/>
                <a:gd name="connsiteY3" fmla="*/ 2148064 h 4996841"/>
                <a:gd name="connsiteX4" fmla="*/ 905879 w 3214184"/>
                <a:gd name="connsiteY4" fmla="*/ 2146702 h 4996841"/>
                <a:gd name="connsiteX5" fmla="*/ 904941 w 3214184"/>
                <a:gd name="connsiteY5" fmla="*/ 2146037 h 4996841"/>
                <a:gd name="connsiteX6" fmla="*/ 904034 w 3214184"/>
                <a:gd name="connsiteY6" fmla="*/ 2146491 h 4996841"/>
                <a:gd name="connsiteX7" fmla="*/ 903338 w 3214184"/>
                <a:gd name="connsiteY7" fmla="*/ 2146218 h 4996841"/>
                <a:gd name="connsiteX8" fmla="*/ 902673 w 3214184"/>
                <a:gd name="connsiteY8" fmla="*/ 2144555 h 4996841"/>
                <a:gd name="connsiteX9" fmla="*/ 902219 w 3214184"/>
                <a:gd name="connsiteY9" fmla="*/ 2144464 h 4996841"/>
                <a:gd name="connsiteX10" fmla="*/ 901523 w 3214184"/>
                <a:gd name="connsiteY10" fmla="*/ 2145613 h 4996841"/>
                <a:gd name="connsiteX11" fmla="*/ 900283 w 3214184"/>
                <a:gd name="connsiteY11" fmla="*/ 2145401 h 4996841"/>
                <a:gd name="connsiteX12" fmla="*/ 899164 w 3214184"/>
                <a:gd name="connsiteY12" fmla="*/ 2144615 h 4996841"/>
                <a:gd name="connsiteX13" fmla="*/ 898770 w 3214184"/>
                <a:gd name="connsiteY13" fmla="*/ 2144887 h 4996841"/>
                <a:gd name="connsiteX14" fmla="*/ 899164 w 3214184"/>
                <a:gd name="connsiteY14" fmla="*/ 2145976 h 4996841"/>
                <a:gd name="connsiteX15" fmla="*/ 899284 w 3214184"/>
                <a:gd name="connsiteY15" fmla="*/ 2147307 h 4996841"/>
                <a:gd name="connsiteX16" fmla="*/ 898952 w 3214184"/>
                <a:gd name="connsiteY16" fmla="*/ 2148760 h 4996841"/>
                <a:gd name="connsiteX17" fmla="*/ 899043 w 3214184"/>
                <a:gd name="connsiteY17" fmla="*/ 2150817 h 4996841"/>
                <a:gd name="connsiteX18" fmla="*/ 899738 w 3214184"/>
                <a:gd name="connsiteY18" fmla="*/ 2153237 h 4996841"/>
                <a:gd name="connsiteX19" fmla="*/ 901553 w 3214184"/>
                <a:gd name="connsiteY19" fmla="*/ 2155173 h 4996841"/>
                <a:gd name="connsiteX20" fmla="*/ 907059 w 3214184"/>
                <a:gd name="connsiteY20" fmla="*/ 2159317 h 4996841"/>
                <a:gd name="connsiteX21" fmla="*/ 909358 w 3214184"/>
                <a:gd name="connsiteY21" fmla="*/ 2160164 h 4996841"/>
                <a:gd name="connsiteX22" fmla="*/ 910538 w 3214184"/>
                <a:gd name="connsiteY22" fmla="*/ 2160406 h 4996841"/>
                <a:gd name="connsiteX23" fmla="*/ 911899 w 3214184"/>
                <a:gd name="connsiteY23" fmla="*/ 2160406 h 4996841"/>
                <a:gd name="connsiteX24" fmla="*/ 914138 w 3214184"/>
                <a:gd name="connsiteY24" fmla="*/ 2161042 h 4996841"/>
                <a:gd name="connsiteX25" fmla="*/ 914592 w 3214184"/>
                <a:gd name="connsiteY25" fmla="*/ 2160437 h 4996841"/>
                <a:gd name="connsiteX26" fmla="*/ 914501 w 3214184"/>
                <a:gd name="connsiteY26" fmla="*/ 2158954 h 4996841"/>
                <a:gd name="connsiteX27" fmla="*/ 914985 w 3214184"/>
                <a:gd name="connsiteY27" fmla="*/ 2157502 h 4996841"/>
                <a:gd name="connsiteX28" fmla="*/ 916255 w 3214184"/>
                <a:gd name="connsiteY28" fmla="*/ 2156655 h 4996841"/>
                <a:gd name="connsiteX29" fmla="*/ 916830 w 3214184"/>
                <a:gd name="connsiteY29" fmla="*/ 2156080 h 4996841"/>
                <a:gd name="connsiteX30" fmla="*/ 916195 w 3214184"/>
                <a:gd name="connsiteY30" fmla="*/ 2155143 h 4996841"/>
                <a:gd name="connsiteX31" fmla="*/ 1025221 w 3214184"/>
                <a:gd name="connsiteY31" fmla="*/ 2211259 h 4996841"/>
                <a:gd name="connsiteX32" fmla="*/ 1024525 w 3214184"/>
                <a:gd name="connsiteY32" fmla="*/ 2210351 h 4996841"/>
                <a:gd name="connsiteX33" fmla="*/ 1024132 w 3214184"/>
                <a:gd name="connsiteY33" fmla="*/ 2210019 h 4996841"/>
                <a:gd name="connsiteX34" fmla="*/ 1016721 w 3214184"/>
                <a:gd name="connsiteY34" fmla="*/ 2205360 h 4996841"/>
                <a:gd name="connsiteX35" fmla="*/ 1012183 w 3214184"/>
                <a:gd name="connsiteY35" fmla="*/ 2204271 h 4996841"/>
                <a:gd name="connsiteX36" fmla="*/ 1011033 w 3214184"/>
                <a:gd name="connsiteY36" fmla="*/ 2204725 h 4996841"/>
                <a:gd name="connsiteX37" fmla="*/ 1015238 w 3214184"/>
                <a:gd name="connsiteY37" fmla="*/ 2207538 h 4996841"/>
                <a:gd name="connsiteX38" fmla="*/ 1016993 w 3214184"/>
                <a:gd name="connsiteY38" fmla="*/ 2208294 h 4996841"/>
                <a:gd name="connsiteX39" fmla="*/ 1018233 w 3214184"/>
                <a:gd name="connsiteY39" fmla="*/ 2209172 h 4996841"/>
                <a:gd name="connsiteX40" fmla="*/ 1018717 w 3214184"/>
                <a:gd name="connsiteY40" fmla="*/ 2210109 h 4996841"/>
                <a:gd name="connsiteX41" fmla="*/ 1024072 w 3214184"/>
                <a:gd name="connsiteY41" fmla="*/ 2214042 h 4996841"/>
                <a:gd name="connsiteX42" fmla="*/ 1024616 w 3214184"/>
                <a:gd name="connsiteY42" fmla="*/ 2213346 h 4996841"/>
                <a:gd name="connsiteX43" fmla="*/ 1025040 w 3214184"/>
                <a:gd name="connsiteY43" fmla="*/ 2212469 h 4996841"/>
                <a:gd name="connsiteX44" fmla="*/ 1025463 w 3214184"/>
                <a:gd name="connsiteY44" fmla="*/ 2212106 h 4996841"/>
                <a:gd name="connsiteX45" fmla="*/ 1025251 w 3214184"/>
                <a:gd name="connsiteY45" fmla="*/ 2211259 h 4996841"/>
                <a:gd name="connsiteX46" fmla="*/ 907755 w 3214184"/>
                <a:gd name="connsiteY46" fmla="*/ 2094125 h 4996841"/>
                <a:gd name="connsiteX47" fmla="*/ 906968 w 3214184"/>
                <a:gd name="connsiteY47" fmla="*/ 2092068 h 4996841"/>
                <a:gd name="connsiteX48" fmla="*/ 906424 w 3214184"/>
                <a:gd name="connsiteY48" fmla="*/ 2090011 h 4996841"/>
                <a:gd name="connsiteX49" fmla="*/ 905063 w 3214184"/>
                <a:gd name="connsiteY49" fmla="*/ 2088952 h 4996841"/>
                <a:gd name="connsiteX50" fmla="*/ 903489 w 3214184"/>
                <a:gd name="connsiteY50" fmla="*/ 2088680 h 4996841"/>
                <a:gd name="connsiteX51" fmla="*/ 902128 w 3214184"/>
                <a:gd name="connsiteY51" fmla="*/ 2089285 h 4996841"/>
                <a:gd name="connsiteX52" fmla="*/ 900676 w 3214184"/>
                <a:gd name="connsiteY52" fmla="*/ 2091857 h 4996841"/>
                <a:gd name="connsiteX53" fmla="*/ 900222 w 3214184"/>
                <a:gd name="connsiteY53" fmla="*/ 2095154 h 4996841"/>
                <a:gd name="connsiteX54" fmla="*/ 900767 w 3214184"/>
                <a:gd name="connsiteY54" fmla="*/ 2098451 h 4996841"/>
                <a:gd name="connsiteX55" fmla="*/ 902128 w 3214184"/>
                <a:gd name="connsiteY55" fmla="*/ 2101114 h 4996841"/>
                <a:gd name="connsiteX56" fmla="*/ 904548 w 3214184"/>
                <a:gd name="connsiteY56" fmla="*/ 2101840 h 4996841"/>
                <a:gd name="connsiteX57" fmla="*/ 908088 w 3214184"/>
                <a:gd name="connsiteY57" fmla="*/ 2097181 h 4996841"/>
                <a:gd name="connsiteX58" fmla="*/ 907725 w 3214184"/>
                <a:gd name="connsiteY58" fmla="*/ 2094125 h 4996841"/>
                <a:gd name="connsiteX59" fmla="*/ 896774 w 3214184"/>
                <a:gd name="connsiteY59" fmla="*/ 2147398 h 4996841"/>
                <a:gd name="connsiteX60" fmla="*/ 896290 w 3214184"/>
                <a:gd name="connsiteY60" fmla="*/ 2146642 h 4996841"/>
                <a:gd name="connsiteX61" fmla="*/ 895957 w 3214184"/>
                <a:gd name="connsiteY61" fmla="*/ 2145916 h 4996841"/>
                <a:gd name="connsiteX62" fmla="*/ 895866 w 3214184"/>
                <a:gd name="connsiteY62" fmla="*/ 2144978 h 4996841"/>
                <a:gd name="connsiteX63" fmla="*/ 894928 w 3214184"/>
                <a:gd name="connsiteY63" fmla="*/ 2143617 h 4996841"/>
                <a:gd name="connsiteX64" fmla="*/ 893083 w 3214184"/>
                <a:gd name="connsiteY64" fmla="*/ 2142134 h 4996841"/>
                <a:gd name="connsiteX65" fmla="*/ 891086 w 3214184"/>
                <a:gd name="connsiteY65" fmla="*/ 2141378 h 4996841"/>
                <a:gd name="connsiteX66" fmla="*/ 890028 w 3214184"/>
                <a:gd name="connsiteY66" fmla="*/ 2141227 h 4996841"/>
                <a:gd name="connsiteX67" fmla="*/ 887366 w 3214184"/>
                <a:gd name="connsiteY67" fmla="*/ 2141378 h 4996841"/>
                <a:gd name="connsiteX68" fmla="*/ 887123 w 3214184"/>
                <a:gd name="connsiteY68" fmla="*/ 2142376 h 4996841"/>
                <a:gd name="connsiteX69" fmla="*/ 888818 w 3214184"/>
                <a:gd name="connsiteY69" fmla="*/ 2145432 h 4996841"/>
                <a:gd name="connsiteX70" fmla="*/ 889725 w 3214184"/>
                <a:gd name="connsiteY70" fmla="*/ 2146279 h 4996841"/>
                <a:gd name="connsiteX71" fmla="*/ 890723 w 3214184"/>
                <a:gd name="connsiteY71" fmla="*/ 2146642 h 4996841"/>
                <a:gd name="connsiteX72" fmla="*/ 891389 w 3214184"/>
                <a:gd name="connsiteY72" fmla="*/ 2147277 h 4996841"/>
                <a:gd name="connsiteX73" fmla="*/ 891722 w 3214184"/>
                <a:gd name="connsiteY73" fmla="*/ 2148064 h 4996841"/>
                <a:gd name="connsiteX74" fmla="*/ 892962 w 3214184"/>
                <a:gd name="connsiteY74" fmla="*/ 2149758 h 4996841"/>
                <a:gd name="connsiteX75" fmla="*/ 895019 w 3214184"/>
                <a:gd name="connsiteY75" fmla="*/ 2151603 h 4996841"/>
                <a:gd name="connsiteX76" fmla="*/ 896502 w 3214184"/>
                <a:gd name="connsiteY76" fmla="*/ 2151270 h 4996841"/>
                <a:gd name="connsiteX77" fmla="*/ 896985 w 3214184"/>
                <a:gd name="connsiteY77" fmla="*/ 2149032 h 4996841"/>
                <a:gd name="connsiteX78" fmla="*/ 897076 w 3214184"/>
                <a:gd name="connsiteY78" fmla="*/ 2147822 h 4996841"/>
                <a:gd name="connsiteX79" fmla="*/ 896834 w 3214184"/>
                <a:gd name="connsiteY79" fmla="*/ 2147368 h 4996841"/>
                <a:gd name="connsiteX80" fmla="*/ 1633366 w 3214184"/>
                <a:gd name="connsiteY80" fmla="*/ 1194054 h 4996841"/>
                <a:gd name="connsiteX81" fmla="*/ 1629736 w 3214184"/>
                <a:gd name="connsiteY81" fmla="*/ 1192421 h 4996841"/>
                <a:gd name="connsiteX82" fmla="*/ 1627558 w 3214184"/>
                <a:gd name="connsiteY82" fmla="*/ 1190182 h 4996841"/>
                <a:gd name="connsiteX83" fmla="*/ 1627316 w 3214184"/>
                <a:gd name="connsiteY83" fmla="*/ 1189396 h 4996841"/>
                <a:gd name="connsiteX84" fmla="*/ 1627920 w 3214184"/>
                <a:gd name="connsiteY84" fmla="*/ 1187853 h 4996841"/>
                <a:gd name="connsiteX85" fmla="*/ 1628375 w 3214184"/>
                <a:gd name="connsiteY85" fmla="*/ 1183376 h 4996841"/>
                <a:gd name="connsiteX86" fmla="*/ 1628828 w 3214184"/>
                <a:gd name="connsiteY86" fmla="*/ 1180229 h 4996841"/>
                <a:gd name="connsiteX87" fmla="*/ 1629948 w 3214184"/>
                <a:gd name="connsiteY87" fmla="*/ 1181591 h 4996841"/>
                <a:gd name="connsiteX88" fmla="*/ 1630915 w 3214184"/>
                <a:gd name="connsiteY88" fmla="*/ 1184344 h 4996841"/>
                <a:gd name="connsiteX89" fmla="*/ 1631127 w 3214184"/>
                <a:gd name="connsiteY89" fmla="*/ 1185523 h 4996841"/>
                <a:gd name="connsiteX90" fmla="*/ 1633547 w 3214184"/>
                <a:gd name="connsiteY90" fmla="*/ 1190364 h 4996841"/>
                <a:gd name="connsiteX91" fmla="*/ 1634818 w 3214184"/>
                <a:gd name="connsiteY91" fmla="*/ 1191271 h 4996841"/>
                <a:gd name="connsiteX92" fmla="*/ 1635937 w 3214184"/>
                <a:gd name="connsiteY92" fmla="*/ 1188670 h 4996841"/>
                <a:gd name="connsiteX93" fmla="*/ 1635604 w 3214184"/>
                <a:gd name="connsiteY93" fmla="*/ 1187823 h 4996841"/>
                <a:gd name="connsiteX94" fmla="*/ 1632276 w 3214184"/>
                <a:gd name="connsiteY94" fmla="*/ 1178051 h 4996841"/>
                <a:gd name="connsiteX95" fmla="*/ 1630764 w 3214184"/>
                <a:gd name="connsiteY95" fmla="*/ 1171457 h 4996841"/>
                <a:gd name="connsiteX96" fmla="*/ 1627890 w 3214184"/>
                <a:gd name="connsiteY96" fmla="*/ 1169067 h 4996841"/>
                <a:gd name="connsiteX97" fmla="*/ 1622505 w 3214184"/>
                <a:gd name="connsiteY97" fmla="*/ 1167373 h 4996841"/>
                <a:gd name="connsiteX98" fmla="*/ 1617787 w 3214184"/>
                <a:gd name="connsiteY98" fmla="*/ 1167705 h 4996841"/>
                <a:gd name="connsiteX99" fmla="*/ 1615518 w 3214184"/>
                <a:gd name="connsiteY99" fmla="*/ 1168462 h 4996841"/>
                <a:gd name="connsiteX100" fmla="*/ 1614156 w 3214184"/>
                <a:gd name="connsiteY100" fmla="*/ 1171517 h 4996841"/>
                <a:gd name="connsiteX101" fmla="*/ 1609286 w 3214184"/>
                <a:gd name="connsiteY101" fmla="*/ 1171396 h 4996841"/>
                <a:gd name="connsiteX102" fmla="*/ 1604960 w 3214184"/>
                <a:gd name="connsiteY102" fmla="*/ 1172455 h 4996841"/>
                <a:gd name="connsiteX103" fmla="*/ 1601450 w 3214184"/>
                <a:gd name="connsiteY103" fmla="*/ 1173604 h 4996841"/>
                <a:gd name="connsiteX104" fmla="*/ 1599636 w 3214184"/>
                <a:gd name="connsiteY104" fmla="*/ 1178687 h 4996841"/>
                <a:gd name="connsiteX105" fmla="*/ 1599545 w 3214184"/>
                <a:gd name="connsiteY105" fmla="*/ 1184374 h 4996841"/>
                <a:gd name="connsiteX106" fmla="*/ 1601753 w 3214184"/>
                <a:gd name="connsiteY106" fmla="*/ 1189123 h 4996841"/>
                <a:gd name="connsiteX107" fmla="*/ 1605383 w 3214184"/>
                <a:gd name="connsiteY107" fmla="*/ 1193903 h 4996841"/>
                <a:gd name="connsiteX108" fmla="*/ 1609407 w 3214184"/>
                <a:gd name="connsiteY108" fmla="*/ 1197019 h 4996841"/>
                <a:gd name="connsiteX109" fmla="*/ 1614307 w 3214184"/>
                <a:gd name="connsiteY109" fmla="*/ 1197866 h 4996841"/>
                <a:gd name="connsiteX110" fmla="*/ 1617998 w 3214184"/>
                <a:gd name="connsiteY110" fmla="*/ 1197957 h 4996841"/>
                <a:gd name="connsiteX111" fmla="*/ 1620327 w 3214184"/>
                <a:gd name="connsiteY111" fmla="*/ 1199197 h 4996841"/>
                <a:gd name="connsiteX112" fmla="*/ 1621447 w 3214184"/>
                <a:gd name="connsiteY112" fmla="*/ 1199621 h 4996841"/>
                <a:gd name="connsiteX113" fmla="*/ 1621356 w 3214184"/>
                <a:gd name="connsiteY113" fmla="*/ 1202343 h 4996841"/>
                <a:gd name="connsiteX114" fmla="*/ 1621447 w 3214184"/>
                <a:gd name="connsiteY114" fmla="*/ 1205187 h 4996841"/>
                <a:gd name="connsiteX115" fmla="*/ 1622112 w 3214184"/>
                <a:gd name="connsiteY115" fmla="*/ 1208575 h 4996841"/>
                <a:gd name="connsiteX116" fmla="*/ 1622112 w 3214184"/>
                <a:gd name="connsiteY116" fmla="*/ 1211328 h 4996841"/>
                <a:gd name="connsiteX117" fmla="*/ 1623595 w 3214184"/>
                <a:gd name="connsiteY117" fmla="*/ 1213778 h 4996841"/>
                <a:gd name="connsiteX118" fmla="*/ 1625561 w 3214184"/>
                <a:gd name="connsiteY118" fmla="*/ 1213294 h 4996841"/>
                <a:gd name="connsiteX119" fmla="*/ 1629342 w 3214184"/>
                <a:gd name="connsiteY119" fmla="*/ 1210178 h 4996841"/>
                <a:gd name="connsiteX120" fmla="*/ 1631550 w 3214184"/>
                <a:gd name="connsiteY120" fmla="*/ 1208908 h 4996841"/>
                <a:gd name="connsiteX121" fmla="*/ 1632821 w 3214184"/>
                <a:gd name="connsiteY121" fmla="*/ 1207456 h 4996841"/>
                <a:gd name="connsiteX122" fmla="*/ 1634001 w 3214184"/>
                <a:gd name="connsiteY122" fmla="*/ 1205459 h 4996841"/>
                <a:gd name="connsiteX123" fmla="*/ 1634999 w 3214184"/>
                <a:gd name="connsiteY123" fmla="*/ 1204400 h 4996841"/>
                <a:gd name="connsiteX124" fmla="*/ 1635604 w 3214184"/>
                <a:gd name="connsiteY124" fmla="*/ 1202646 h 4996841"/>
                <a:gd name="connsiteX125" fmla="*/ 1635847 w 3214184"/>
                <a:gd name="connsiteY125" fmla="*/ 1198501 h 4996841"/>
                <a:gd name="connsiteX126" fmla="*/ 1635060 w 3214184"/>
                <a:gd name="connsiteY126" fmla="*/ 1195506 h 4996841"/>
                <a:gd name="connsiteX127" fmla="*/ 1633305 w 3214184"/>
                <a:gd name="connsiteY127" fmla="*/ 1194054 h 4996841"/>
                <a:gd name="connsiteX128" fmla="*/ 2856583 w 3214184"/>
                <a:gd name="connsiteY128" fmla="*/ 4453768 h 4996841"/>
                <a:gd name="connsiteX129" fmla="*/ 2856583 w 3214184"/>
                <a:gd name="connsiteY129" fmla="*/ 4446840 h 4996841"/>
                <a:gd name="connsiteX130" fmla="*/ 2855705 w 3214184"/>
                <a:gd name="connsiteY130" fmla="*/ 4444843 h 4996841"/>
                <a:gd name="connsiteX131" fmla="*/ 2855131 w 3214184"/>
                <a:gd name="connsiteY131" fmla="*/ 4442937 h 4996841"/>
                <a:gd name="connsiteX132" fmla="*/ 2855131 w 3214184"/>
                <a:gd name="connsiteY132" fmla="*/ 4441092 h 4996841"/>
                <a:gd name="connsiteX133" fmla="*/ 2854646 w 3214184"/>
                <a:gd name="connsiteY133" fmla="*/ 4438551 h 4996841"/>
                <a:gd name="connsiteX134" fmla="*/ 2853497 w 3214184"/>
                <a:gd name="connsiteY134" fmla="*/ 4435556 h 4996841"/>
                <a:gd name="connsiteX135" fmla="*/ 2852832 w 3214184"/>
                <a:gd name="connsiteY135" fmla="*/ 4433166 h 4996841"/>
                <a:gd name="connsiteX136" fmla="*/ 2853073 w 3214184"/>
                <a:gd name="connsiteY136" fmla="*/ 4431109 h 4996841"/>
                <a:gd name="connsiteX137" fmla="*/ 2852529 w 3214184"/>
                <a:gd name="connsiteY137" fmla="*/ 4429718 h 4996841"/>
                <a:gd name="connsiteX138" fmla="*/ 2851470 w 3214184"/>
                <a:gd name="connsiteY138" fmla="*/ 4430444 h 4996841"/>
                <a:gd name="connsiteX139" fmla="*/ 2850593 w 3214184"/>
                <a:gd name="connsiteY139" fmla="*/ 4431563 h 4996841"/>
                <a:gd name="connsiteX140" fmla="*/ 2849595 w 3214184"/>
                <a:gd name="connsiteY140" fmla="*/ 4431684 h 4996841"/>
                <a:gd name="connsiteX141" fmla="*/ 2848566 w 3214184"/>
                <a:gd name="connsiteY141" fmla="*/ 4432017 h 4996841"/>
                <a:gd name="connsiteX142" fmla="*/ 2848233 w 3214184"/>
                <a:gd name="connsiteY142" fmla="*/ 4433318 h 4996841"/>
                <a:gd name="connsiteX143" fmla="*/ 2848475 w 3214184"/>
                <a:gd name="connsiteY143" fmla="*/ 4435133 h 4996841"/>
                <a:gd name="connsiteX144" fmla="*/ 2848384 w 3214184"/>
                <a:gd name="connsiteY144" fmla="*/ 4436978 h 4996841"/>
                <a:gd name="connsiteX145" fmla="*/ 2848384 w 3214184"/>
                <a:gd name="connsiteY145" fmla="*/ 4439095 h 4996841"/>
                <a:gd name="connsiteX146" fmla="*/ 2848535 w 3214184"/>
                <a:gd name="connsiteY146" fmla="*/ 4440306 h 4996841"/>
                <a:gd name="connsiteX147" fmla="*/ 2849564 w 3214184"/>
                <a:gd name="connsiteY147" fmla="*/ 4445055 h 4996841"/>
                <a:gd name="connsiteX148" fmla="*/ 2851168 w 3214184"/>
                <a:gd name="connsiteY148" fmla="*/ 4449593 h 4996841"/>
                <a:gd name="connsiteX149" fmla="*/ 2852771 w 3214184"/>
                <a:gd name="connsiteY149" fmla="*/ 4452709 h 4996841"/>
                <a:gd name="connsiteX150" fmla="*/ 2854858 w 3214184"/>
                <a:gd name="connsiteY150" fmla="*/ 4455401 h 4996841"/>
                <a:gd name="connsiteX151" fmla="*/ 2855191 w 3214184"/>
                <a:gd name="connsiteY151" fmla="*/ 4455734 h 4996841"/>
                <a:gd name="connsiteX152" fmla="*/ 2855857 w 3214184"/>
                <a:gd name="connsiteY152" fmla="*/ 4456309 h 4996841"/>
                <a:gd name="connsiteX153" fmla="*/ 2856522 w 3214184"/>
                <a:gd name="connsiteY153" fmla="*/ 4456369 h 4996841"/>
                <a:gd name="connsiteX154" fmla="*/ 2856733 w 3214184"/>
                <a:gd name="connsiteY154" fmla="*/ 4455946 h 4996841"/>
                <a:gd name="connsiteX155" fmla="*/ 2856733 w 3214184"/>
                <a:gd name="connsiteY155" fmla="*/ 4455613 h 4996841"/>
                <a:gd name="connsiteX156" fmla="*/ 2856522 w 3214184"/>
                <a:gd name="connsiteY156" fmla="*/ 4453737 h 4996841"/>
                <a:gd name="connsiteX157" fmla="*/ 2843000 w 3214184"/>
                <a:gd name="connsiteY157" fmla="*/ 4645229 h 4996841"/>
                <a:gd name="connsiteX158" fmla="*/ 2841880 w 3214184"/>
                <a:gd name="connsiteY158" fmla="*/ 4644594 h 4996841"/>
                <a:gd name="connsiteX159" fmla="*/ 2840640 w 3214184"/>
                <a:gd name="connsiteY159" fmla="*/ 4644442 h 4996841"/>
                <a:gd name="connsiteX160" fmla="*/ 2838099 w 3214184"/>
                <a:gd name="connsiteY160" fmla="*/ 4644594 h 4996841"/>
                <a:gd name="connsiteX161" fmla="*/ 2834801 w 3214184"/>
                <a:gd name="connsiteY161" fmla="*/ 4645198 h 4996841"/>
                <a:gd name="connsiteX162" fmla="*/ 2823246 w 3214184"/>
                <a:gd name="connsiteY162" fmla="*/ 4644957 h 4996841"/>
                <a:gd name="connsiteX163" fmla="*/ 2820401 w 3214184"/>
                <a:gd name="connsiteY163" fmla="*/ 4646893 h 4996841"/>
                <a:gd name="connsiteX164" fmla="*/ 2819464 w 3214184"/>
                <a:gd name="connsiteY164" fmla="*/ 4649313 h 4996841"/>
                <a:gd name="connsiteX165" fmla="*/ 2819948 w 3214184"/>
                <a:gd name="connsiteY165" fmla="*/ 4650553 h 4996841"/>
                <a:gd name="connsiteX166" fmla="*/ 2820947 w 3214184"/>
                <a:gd name="connsiteY166" fmla="*/ 4651612 h 4996841"/>
                <a:gd name="connsiteX167" fmla="*/ 2822277 w 3214184"/>
                <a:gd name="connsiteY167" fmla="*/ 4651763 h 4996841"/>
                <a:gd name="connsiteX168" fmla="*/ 2824032 w 3214184"/>
                <a:gd name="connsiteY168" fmla="*/ 4650765 h 4996841"/>
                <a:gd name="connsiteX169" fmla="*/ 2824728 w 3214184"/>
                <a:gd name="connsiteY169" fmla="*/ 4650704 h 4996841"/>
                <a:gd name="connsiteX170" fmla="*/ 2825091 w 3214184"/>
                <a:gd name="connsiteY170" fmla="*/ 4652217 h 4996841"/>
                <a:gd name="connsiteX171" fmla="*/ 2826119 w 3214184"/>
                <a:gd name="connsiteY171" fmla="*/ 4652610 h 4996841"/>
                <a:gd name="connsiteX172" fmla="*/ 2827693 w 3214184"/>
                <a:gd name="connsiteY172" fmla="*/ 4652731 h 4996841"/>
                <a:gd name="connsiteX173" fmla="*/ 2831353 w 3214184"/>
                <a:gd name="connsiteY173" fmla="*/ 4653881 h 4996841"/>
                <a:gd name="connsiteX174" fmla="*/ 2833047 w 3214184"/>
                <a:gd name="connsiteY174" fmla="*/ 4653699 h 4996841"/>
                <a:gd name="connsiteX175" fmla="*/ 2843514 w 3214184"/>
                <a:gd name="connsiteY175" fmla="*/ 4646621 h 4996841"/>
                <a:gd name="connsiteX176" fmla="*/ 2843514 w 3214184"/>
                <a:gd name="connsiteY176" fmla="*/ 4645622 h 4996841"/>
                <a:gd name="connsiteX177" fmla="*/ 2843000 w 3214184"/>
                <a:gd name="connsiteY177" fmla="*/ 4645229 h 4996841"/>
                <a:gd name="connsiteX178" fmla="*/ 833367 w 3214184"/>
                <a:gd name="connsiteY178" fmla="*/ 2208778 h 4996841"/>
                <a:gd name="connsiteX179" fmla="*/ 832701 w 3214184"/>
                <a:gd name="connsiteY179" fmla="*/ 2207387 h 4996841"/>
                <a:gd name="connsiteX180" fmla="*/ 831128 w 3214184"/>
                <a:gd name="connsiteY180" fmla="*/ 2206903 h 4996841"/>
                <a:gd name="connsiteX181" fmla="*/ 828284 w 3214184"/>
                <a:gd name="connsiteY181" fmla="*/ 2204543 h 4996841"/>
                <a:gd name="connsiteX182" fmla="*/ 826197 w 3214184"/>
                <a:gd name="connsiteY182" fmla="*/ 2203757 h 4996841"/>
                <a:gd name="connsiteX183" fmla="*/ 825138 w 3214184"/>
                <a:gd name="connsiteY183" fmla="*/ 2205693 h 4996841"/>
                <a:gd name="connsiteX184" fmla="*/ 824987 w 3214184"/>
                <a:gd name="connsiteY184" fmla="*/ 2207629 h 4996841"/>
                <a:gd name="connsiteX185" fmla="*/ 824442 w 3214184"/>
                <a:gd name="connsiteY185" fmla="*/ 2209565 h 4996841"/>
                <a:gd name="connsiteX186" fmla="*/ 824654 w 3214184"/>
                <a:gd name="connsiteY186" fmla="*/ 2211410 h 4996841"/>
                <a:gd name="connsiteX187" fmla="*/ 826257 w 3214184"/>
                <a:gd name="connsiteY187" fmla="*/ 2212620 h 4996841"/>
                <a:gd name="connsiteX188" fmla="*/ 831612 w 3214184"/>
                <a:gd name="connsiteY188" fmla="*/ 2210412 h 4996841"/>
                <a:gd name="connsiteX189" fmla="*/ 833457 w 3214184"/>
                <a:gd name="connsiteY189" fmla="*/ 2210351 h 4996841"/>
                <a:gd name="connsiteX190" fmla="*/ 833367 w 3214184"/>
                <a:gd name="connsiteY190" fmla="*/ 2208809 h 4996841"/>
                <a:gd name="connsiteX191" fmla="*/ 2092643 w 3214184"/>
                <a:gd name="connsiteY191" fmla="*/ 1281088 h 4996841"/>
                <a:gd name="connsiteX192" fmla="*/ 2092340 w 3214184"/>
                <a:gd name="connsiteY192" fmla="*/ 1278789 h 4996841"/>
                <a:gd name="connsiteX193" fmla="*/ 2092189 w 3214184"/>
                <a:gd name="connsiteY193" fmla="*/ 1268231 h 4996841"/>
                <a:gd name="connsiteX194" fmla="*/ 2090858 w 3214184"/>
                <a:gd name="connsiteY194" fmla="*/ 1262937 h 4996841"/>
                <a:gd name="connsiteX195" fmla="*/ 2088438 w 3214184"/>
                <a:gd name="connsiteY195" fmla="*/ 1258097 h 4996841"/>
                <a:gd name="connsiteX196" fmla="*/ 2085443 w 3214184"/>
                <a:gd name="connsiteY196" fmla="*/ 1254981 h 4996841"/>
                <a:gd name="connsiteX197" fmla="*/ 2074250 w 3214184"/>
                <a:gd name="connsiteY197" fmla="*/ 1252470 h 4996841"/>
                <a:gd name="connsiteX198" fmla="*/ 2063027 w 3214184"/>
                <a:gd name="connsiteY198" fmla="*/ 1253075 h 4996841"/>
                <a:gd name="connsiteX199" fmla="*/ 2056946 w 3214184"/>
                <a:gd name="connsiteY199" fmla="*/ 1255646 h 4996841"/>
                <a:gd name="connsiteX200" fmla="*/ 2055434 w 3214184"/>
                <a:gd name="connsiteY200" fmla="*/ 1257552 h 4996841"/>
                <a:gd name="connsiteX201" fmla="*/ 2059518 w 3214184"/>
                <a:gd name="connsiteY201" fmla="*/ 1258308 h 4996841"/>
                <a:gd name="connsiteX202" fmla="*/ 2066506 w 3214184"/>
                <a:gd name="connsiteY202" fmla="*/ 1263239 h 4996841"/>
                <a:gd name="connsiteX203" fmla="*/ 2069561 w 3214184"/>
                <a:gd name="connsiteY203" fmla="*/ 1264601 h 4996841"/>
                <a:gd name="connsiteX204" fmla="*/ 2072193 w 3214184"/>
                <a:gd name="connsiteY204" fmla="*/ 1266385 h 4996841"/>
                <a:gd name="connsiteX205" fmla="*/ 2077306 w 3214184"/>
                <a:gd name="connsiteY205" fmla="*/ 1270923 h 4996841"/>
                <a:gd name="connsiteX206" fmla="*/ 2080634 w 3214184"/>
                <a:gd name="connsiteY206" fmla="*/ 1276459 h 4996841"/>
                <a:gd name="connsiteX207" fmla="*/ 2082600 w 3214184"/>
                <a:gd name="connsiteY207" fmla="*/ 1281390 h 4996841"/>
                <a:gd name="connsiteX208" fmla="*/ 2084656 w 3214184"/>
                <a:gd name="connsiteY208" fmla="*/ 1284143 h 4996841"/>
                <a:gd name="connsiteX209" fmla="*/ 2089073 w 3214184"/>
                <a:gd name="connsiteY209" fmla="*/ 1286230 h 4996841"/>
                <a:gd name="connsiteX210" fmla="*/ 2091736 w 3214184"/>
                <a:gd name="connsiteY210" fmla="*/ 1285989 h 4996841"/>
                <a:gd name="connsiteX211" fmla="*/ 2092854 w 3214184"/>
                <a:gd name="connsiteY211" fmla="*/ 1283115 h 4996841"/>
                <a:gd name="connsiteX212" fmla="*/ 2092704 w 3214184"/>
                <a:gd name="connsiteY212" fmla="*/ 1281118 h 4996841"/>
                <a:gd name="connsiteX213" fmla="*/ 2050502 w 3214184"/>
                <a:gd name="connsiteY213" fmla="*/ 1261243 h 4996841"/>
                <a:gd name="connsiteX214" fmla="*/ 2046782 w 3214184"/>
                <a:gd name="connsiteY214" fmla="*/ 1261576 h 4996841"/>
                <a:gd name="connsiteX215" fmla="*/ 2046207 w 3214184"/>
                <a:gd name="connsiteY215" fmla="*/ 1264601 h 4996841"/>
                <a:gd name="connsiteX216" fmla="*/ 2049898 w 3214184"/>
                <a:gd name="connsiteY216" fmla="*/ 1264268 h 4996841"/>
                <a:gd name="connsiteX217" fmla="*/ 2052045 w 3214184"/>
                <a:gd name="connsiteY217" fmla="*/ 1262574 h 4996841"/>
                <a:gd name="connsiteX218" fmla="*/ 2050472 w 3214184"/>
                <a:gd name="connsiteY218" fmla="*/ 1261243 h 4996841"/>
                <a:gd name="connsiteX219" fmla="*/ 3210161 w 3214184"/>
                <a:gd name="connsiteY219" fmla="*/ 403131 h 4996841"/>
                <a:gd name="connsiteX220" fmla="*/ 3208225 w 3214184"/>
                <a:gd name="connsiteY220" fmla="*/ 403221 h 4996841"/>
                <a:gd name="connsiteX221" fmla="*/ 3203688 w 3214184"/>
                <a:gd name="connsiteY221" fmla="*/ 400196 h 4996841"/>
                <a:gd name="connsiteX222" fmla="*/ 3201328 w 3214184"/>
                <a:gd name="connsiteY222" fmla="*/ 400983 h 4996841"/>
                <a:gd name="connsiteX223" fmla="*/ 3192615 w 3214184"/>
                <a:gd name="connsiteY223" fmla="*/ 408364 h 4996841"/>
                <a:gd name="connsiteX224" fmla="*/ 3178579 w 3214184"/>
                <a:gd name="connsiteY224" fmla="*/ 413567 h 4996841"/>
                <a:gd name="connsiteX225" fmla="*/ 3173708 w 3214184"/>
                <a:gd name="connsiteY225" fmla="*/ 413930 h 4996841"/>
                <a:gd name="connsiteX226" fmla="*/ 3171348 w 3214184"/>
                <a:gd name="connsiteY226" fmla="*/ 414868 h 4996841"/>
                <a:gd name="connsiteX227" fmla="*/ 3166902 w 3214184"/>
                <a:gd name="connsiteY227" fmla="*/ 419345 h 4996841"/>
                <a:gd name="connsiteX228" fmla="*/ 3164663 w 3214184"/>
                <a:gd name="connsiteY228" fmla="*/ 420949 h 4996841"/>
                <a:gd name="connsiteX229" fmla="*/ 3153864 w 3214184"/>
                <a:gd name="connsiteY229" fmla="*/ 423641 h 4996841"/>
                <a:gd name="connsiteX230" fmla="*/ 3148237 w 3214184"/>
                <a:gd name="connsiteY230" fmla="*/ 423339 h 4996841"/>
                <a:gd name="connsiteX231" fmla="*/ 3143366 w 3214184"/>
                <a:gd name="connsiteY231" fmla="*/ 420949 h 4996841"/>
                <a:gd name="connsiteX232" fmla="*/ 3138193 w 3214184"/>
                <a:gd name="connsiteY232" fmla="*/ 414535 h 4996841"/>
                <a:gd name="connsiteX233" fmla="*/ 3136499 w 3214184"/>
                <a:gd name="connsiteY233" fmla="*/ 413930 h 4996841"/>
                <a:gd name="connsiteX234" fmla="*/ 3134593 w 3214184"/>
                <a:gd name="connsiteY234" fmla="*/ 415927 h 4996841"/>
                <a:gd name="connsiteX235" fmla="*/ 3131084 w 3214184"/>
                <a:gd name="connsiteY235" fmla="*/ 422824 h 4996841"/>
                <a:gd name="connsiteX236" fmla="*/ 3127756 w 3214184"/>
                <a:gd name="connsiteY236" fmla="*/ 425547 h 4996841"/>
                <a:gd name="connsiteX237" fmla="*/ 3122644 w 3214184"/>
                <a:gd name="connsiteY237" fmla="*/ 433685 h 4996841"/>
                <a:gd name="connsiteX238" fmla="*/ 3101831 w 3214184"/>
                <a:gd name="connsiteY238" fmla="*/ 453651 h 4996841"/>
                <a:gd name="connsiteX239" fmla="*/ 3093512 w 3214184"/>
                <a:gd name="connsiteY239" fmla="*/ 456827 h 4996841"/>
                <a:gd name="connsiteX240" fmla="*/ 3084860 w 3214184"/>
                <a:gd name="connsiteY240" fmla="*/ 463845 h 4996841"/>
                <a:gd name="connsiteX241" fmla="*/ 3078265 w 3214184"/>
                <a:gd name="connsiteY241" fmla="*/ 466538 h 4996841"/>
                <a:gd name="connsiteX242" fmla="*/ 3068010 w 3214184"/>
                <a:gd name="connsiteY242" fmla="*/ 477549 h 4996841"/>
                <a:gd name="connsiteX243" fmla="*/ 3064712 w 3214184"/>
                <a:gd name="connsiteY243" fmla="*/ 482904 h 4996841"/>
                <a:gd name="connsiteX244" fmla="*/ 3062958 w 3214184"/>
                <a:gd name="connsiteY244" fmla="*/ 486564 h 4996841"/>
                <a:gd name="connsiteX245" fmla="*/ 3058178 w 3214184"/>
                <a:gd name="connsiteY245" fmla="*/ 494036 h 4996841"/>
                <a:gd name="connsiteX246" fmla="*/ 3042629 w 3214184"/>
                <a:gd name="connsiteY246" fmla="*/ 504382 h 4996841"/>
                <a:gd name="connsiteX247" fmla="*/ 3046168 w 3214184"/>
                <a:gd name="connsiteY247" fmla="*/ 498574 h 4996841"/>
                <a:gd name="connsiteX248" fmla="*/ 3056332 w 3214184"/>
                <a:gd name="connsiteY248" fmla="*/ 493189 h 4996841"/>
                <a:gd name="connsiteX249" fmla="*/ 3059872 w 3214184"/>
                <a:gd name="connsiteY249" fmla="*/ 485778 h 4996841"/>
                <a:gd name="connsiteX250" fmla="*/ 3055335 w 3214184"/>
                <a:gd name="connsiteY250" fmla="*/ 486655 h 4996841"/>
                <a:gd name="connsiteX251" fmla="*/ 3037425 w 3214184"/>
                <a:gd name="connsiteY251" fmla="*/ 499300 h 4996841"/>
                <a:gd name="connsiteX252" fmla="*/ 3023298 w 3214184"/>
                <a:gd name="connsiteY252" fmla="*/ 513095 h 4996841"/>
                <a:gd name="connsiteX253" fmla="*/ 3008807 w 3214184"/>
                <a:gd name="connsiteY253" fmla="*/ 519447 h 4996841"/>
                <a:gd name="connsiteX254" fmla="*/ 2989568 w 3214184"/>
                <a:gd name="connsiteY254" fmla="*/ 532970 h 4996841"/>
                <a:gd name="connsiteX255" fmla="*/ 2975229 w 3214184"/>
                <a:gd name="connsiteY255" fmla="*/ 538869 h 4996841"/>
                <a:gd name="connsiteX256" fmla="*/ 2970843 w 3214184"/>
                <a:gd name="connsiteY256" fmla="*/ 542196 h 4996841"/>
                <a:gd name="connsiteX257" fmla="*/ 2954446 w 3214184"/>
                <a:gd name="connsiteY257" fmla="*/ 545101 h 4996841"/>
                <a:gd name="connsiteX258" fmla="*/ 2941619 w 3214184"/>
                <a:gd name="connsiteY258" fmla="*/ 541591 h 4996841"/>
                <a:gd name="connsiteX259" fmla="*/ 2936900 w 3214184"/>
                <a:gd name="connsiteY259" fmla="*/ 538234 h 4996841"/>
                <a:gd name="connsiteX260" fmla="*/ 2924134 w 3214184"/>
                <a:gd name="connsiteY260" fmla="*/ 524318 h 4996841"/>
                <a:gd name="connsiteX261" fmla="*/ 2919535 w 3214184"/>
                <a:gd name="connsiteY261" fmla="*/ 522231 h 4996841"/>
                <a:gd name="connsiteX262" fmla="*/ 2915784 w 3214184"/>
                <a:gd name="connsiteY262" fmla="*/ 524590 h 4996841"/>
                <a:gd name="connsiteX263" fmla="*/ 2936658 w 3214184"/>
                <a:gd name="connsiteY263" fmla="*/ 549911 h 4996841"/>
                <a:gd name="connsiteX264" fmla="*/ 2937081 w 3214184"/>
                <a:gd name="connsiteY264" fmla="*/ 560105 h 4996841"/>
                <a:gd name="connsiteX265" fmla="*/ 2937868 w 3214184"/>
                <a:gd name="connsiteY265" fmla="*/ 563917 h 4996841"/>
                <a:gd name="connsiteX266" fmla="*/ 2936960 w 3214184"/>
                <a:gd name="connsiteY266" fmla="*/ 566428 h 4996841"/>
                <a:gd name="connsiteX267" fmla="*/ 2935448 w 3214184"/>
                <a:gd name="connsiteY267" fmla="*/ 568697 h 4996841"/>
                <a:gd name="connsiteX268" fmla="*/ 2934420 w 3214184"/>
                <a:gd name="connsiteY268" fmla="*/ 571752 h 4996841"/>
                <a:gd name="connsiteX269" fmla="*/ 2935115 w 3214184"/>
                <a:gd name="connsiteY269" fmla="*/ 575322 h 4996841"/>
                <a:gd name="connsiteX270" fmla="*/ 2937717 w 3214184"/>
                <a:gd name="connsiteY270" fmla="*/ 575443 h 4996841"/>
                <a:gd name="connsiteX271" fmla="*/ 2943344 w 3214184"/>
                <a:gd name="connsiteY271" fmla="*/ 573446 h 4996841"/>
                <a:gd name="connsiteX272" fmla="*/ 2945582 w 3214184"/>
                <a:gd name="connsiteY272" fmla="*/ 574989 h 4996841"/>
                <a:gd name="connsiteX273" fmla="*/ 2949606 w 3214184"/>
                <a:gd name="connsiteY273" fmla="*/ 580676 h 4996841"/>
                <a:gd name="connsiteX274" fmla="*/ 2951633 w 3214184"/>
                <a:gd name="connsiteY274" fmla="*/ 581977 h 4996841"/>
                <a:gd name="connsiteX275" fmla="*/ 2954597 w 3214184"/>
                <a:gd name="connsiteY275" fmla="*/ 582824 h 4996841"/>
                <a:gd name="connsiteX276" fmla="*/ 2963400 w 3214184"/>
                <a:gd name="connsiteY276" fmla="*/ 588481 h 4996841"/>
                <a:gd name="connsiteX277" fmla="*/ 2963068 w 3214184"/>
                <a:gd name="connsiteY277" fmla="*/ 589479 h 4996841"/>
                <a:gd name="connsiteX278" fmla="*/ 2962281 w 3214184"/>
                <a:gd name="connsiteY278" fmla="*/ 592474 h 4996841"/>
                <a:gd name="connsiteX279" fmla="*/ 2961948 w 3214184"/>
                <a:gd name="connsiteY279" fmla="*/ 593503 h 4996841"/>
                <a:gd name="connsiteX280" fmla="*/ 2963551 w 3214184"/>
                <a:gd name="connsiteY280" fmla="*/ 593503 h 4996841"/>
                <a:gd name="connsiteX281" fmla="*/ 2965185 w 3214184"/>
                <a:gd name="connsiteY281" fmla="*/ 594229 h 4996841"/>
                <a:gd name="connsiteX282" fmla="*/ 2968180 w 3214184"/>
                <a:gd name="connsiteY282" fmla="*/ 596800 h 4996841"/>
                <a:gd name="connsiteX283" fmla="*/ 2965125 w 3214184"/>
                <a:gd name="connsiteY283" fmla="*/ 598736 h 4996841"/>
                <a:gd name="connsiteX284" fmla="*/ 2961040 w 3214184"/>
                <a:gd name="connsiteY284" fmla="*/ 598131 h 4996841"/>
                <a:gd name="connsiteX285" fmla="*/ 2956836 w 3214184"/>
                <a:gd name="connsiteY285" fmla="*/ 596014 h 4996841"/>
                <a:gd name="connsiteX286" fmla="*/ 2953629 w 3214184"/>
                <a:gd name="connsiteY286" fmla="*/ 593503 h 4996841"/>
                <a:gd name="connsiteX287" fmla="*/ 2957078 w 3214184"/>
                <a:gd name="connsiteY287" fmla="*/ 590175 h 4996841"/>
                <a:gd name="connsiteX288" fmla="*/ 2949878 w 3214184"/>
                <a:gd name="connsiteY288" fmla="*/ 585063 h 4996841"/>
                <a:gd name="connsiteX289" fmla="*/ 2927401 w 3214184"/>
                <a:gd name="connsiteY289" fmla="*/ 583550 h 4996841"/>
                <a:gd name="connsiteX290" fmla="*/ 2928400 w 3214184"/>
                <a:gd name="connsiteY290" fmla="*/ 582461 h 4996841"/>
                <a:gd name="connsiteX291" fmla="*/ 2929428 w 3214184"/>
                <a:gd name="connsiteY291" fmla="*/ 581886 h 4996841"/>
                <a:gd name="connsiteX292" fmla="*/ 2930457 w 3214184"/>
                <a:gd name="connsiteY292" fmla="*/ 581765 h 4996841"/>
                <a:gd name="connsiteX293" fmla="*/ 2931606 w 3214184"/>
                <a:gd name="connsiteY293" fmla="*/ 582038 h 4996841"/>
                <a:gd name="connsiteX294" fmla="*/ 2927189 w 3214184"/>
                <a:gd name="connsiteY294" fmla="*/ 578226 h 4996841"/>
                <a:gd name="connsiteX295" fmla="*/ 2922833 w 3214184"/>
                <a:gd name="connsiteY295" fmla="*/ 579134 h 4996841"/>
                <a:gd name="connsiteX296" fmla="*/ 2910037 w 3214184"/>
                <a:gd name="connsiteY296" fmla="*/ 589933 h 4996841"/>
                <a:gd name="connsiteX297" fmla="*/ 2905711 w 3214184"/>
                <a:gd name="connsiteY297" fmla="*/ 590811 h 4996841"/>
                <a:gd name="connsiteX298" fmla="*/ 2901445 w 3214184"/>
                <a:gd name="connsiteY298" fmla="*/ 589752 h 4996841"/>
                <a:gd name="connsiteX299" fmla="*/ 2892975 w 3214184"/>
                <a:gd name="connsiteY299" fmla="*/ 584912 h 4996841"/>
                <a:gd name="connsiteX300" fmla="*/ 2887711 w 3214184"/>
                <a:gd name="connsiteY300" fmla="*/ 584488 h 4996841"/>
                <a:gd name="connsiteX301" fmla="*/ 2882568 w 3214184"/>
                <a:gd name="connsiteY301" fmla="*/ 586333 h 4996841"/>
                <a:gd name="connsiteX302" fmla="*/ 2878908 w 3214184"/>
                <a:gd name="connsiteY302" fmla="*/ 591113 h 4996841"/>
                <a:gd name="connsiteX303" fmla="*/ 2877395 w 3214184"/>
                <a:gd name="connsiteY303" fmla="*/ 593805 h 4996841"/>
                <a:gd name="connsiteX304" fmla="*/ 2871678 w 3214184"/>
                <a:gd name="connsiteY304" fmla="*/ 599402 h 4996841"/>
                <a:gd name="connsiteX305" fmla="*/ 2868047 w 3214184"/>
                <a:gd name="connsiteY305" fmla="*/ 605755 h 4996841"/>
                <a:gd name="connsiteX306" fmla="*/ 2866203 w 3214184"/>
                <a:gd name="connsiteY306" fmla="*/ 608296 h 4996841"/>
                <a:gd name="connsiteX307" fmla="*/ 2864025 w 3214184"/>
                <a:gd name="connsiteY307" fmla="*/ 608750 h 4996841"/>
                <a:gd name="connsiteX308" fmla="*/ 2864357 w 3214184"/>
                <a:gd name="connsiteY308" fmla="*/ 605301 h 4996841"/>
                <a:gd name="connsiteX309" fmla="*/ 2864902 w 3214184"/>
                <a:gd name="connsiteY309" fmla="*/ 602125 h 4996841"/>
                <a:gd name="connsiteX310" fmla="*/ 2865719 w 3214184"/>
                <a:gd name="connsiteY310" fmla="*/ 599281 h 4996841"/>
                <a:gd name="connsiteX311" fmla="*/ 2866838 w 3214184"/>
                <a:gd name="connsiteY311" fmla="*/ 596831 h 4996841"/>
                <a:gd name="connsiteX312" fmla="*/ 2862088 w 3214184"/>
                <a:gd name="connsiteY312" fmla="*/ 593805 h 4996841"/>
                <a:gd name="connsiteX313" fmla="*/ 2857671 w 3214184"/>
                <a:gd name="connsiteY313" fmla="*/ 594138 h 4996841"/>
                <a:gd name="connsiteX314" fmla="*/ 2841275 w 3214184"/>
                <a:gd name="connsiteY314" fmla="*/ 606239 h 4996841"/>
                <a:gd name="connsiteX315" fmla="*/ 2838129 w 3214184"/>
                <a:gd name="connsiteY315" fmla="*/ 610988 h 4996841"/>
                <a:gd name="connsiteX316" fmla="*/ 2839158 w 3214184"/>
                <a:gd name="connsiteY316" fmla="*/ 616101 h 4996841"/>
                <a:gd name="connsiteX317" fmla="*/ 2848778 w 3214184"/>
                <a:gd name="connsiteY317" fmla="*/ 633405 h 4996841"/>
                <a:gd name="connsiteX318" fmla="*/ 2850956 w 3214184"/>
                <a:gd name="connsiteY318" fmla="*/ 638941 h 4996841"/>
                <a:gd name="connsiteX319" fmla="*/ 2851530 w 3214184"/>
                <a:gd name="connsiteY319" fmla="*/ 644144 h 4996841"/>
                <a:gd name="connsiteX320" fmla="*/ 2850411 w 3214184"/>
                <a:gd name="connsiteY320" fmla="*/ 649196 h 4996841"/>
                <a:gd name="connsiteX321" fmla="*/ 2847447 w 3214184"/>
                <a:gd name="connsiteY321" fmla="*/ 654278 h 4996841"/>
                <a:gd name="connsiteX322" fmla="*/ 2835951 w 3214184"/>
                <a:gd name="connsiteY322" fmla="*/ 664322 h 4996841"/>
                <a:gd name="connsiteX323" fmla="*/ 2833652 w 3214184"/>
                <a:gd name="connsiteY323" fmla="*/ 669767 h 4996841"/>
                <a:gd name="connsiteX324" fmla="*/ 2833864 w 3214184"/>
                <a:gd name="connsiteY324" fmla="*/ 670099 h 4996841"/>
                <a:gd name="connsiteX325" fmla="*/ 2834257 w 3214184"/>
                <a:gd name="connsiteY325" fmla="*/ 674849 h 4996841"/>
                <a:gd name="connsiteX326" fmla="*/ 2834257 w 3214184"/>
                <a:gd name="connsiteY326" fmla="*/ 679780 h 4996841"/>
                <a:gd name="connsiteX327" fmla="*/ 2835377 w 3214184"/>
                <a:gd name="connsiteY327" fmla="*/ 685165 h 4996841"/>
                <a:gd name="connsiteX328" fmla="*/ 2835739 w 3214184"/>
                <a:gd name="connsiteY328" fmla="*/ 687978 h 4996841"/>
                <a:gd name="connsiteX329" fmla="*/ 2835316 w 3214184"/>
                <a:gd name="connsiteY329" fmla="*/ 690489 h 4996841"/>
                <a:gd name="connsiteX330" fmla="*/ 2833984 w 3214184"/>
                <a:gd name="connsiteY330" fmla="*/ 693060 h 4996841"/>
                <a:gd name="connsiteX331" fmla="*/ 2826059 w 3214184"/>
                <a:gd name="connsiteY331" fmla="*/ 701712 h 4996841"/>
                <a:gd name="connsiteX332" fmla="*/ 2825484 w 3214184"/>
                <a:gd name="connsiteY332" fmla="*/ 703679 h 4996841"/>
                <a:gd name="connsiteX333" fmla="*/ 2826029 w 3214184"/>
                <a:gd name="connsiteY333" fmla="*/ 707581 h 4996841"/>
                <a:gd name="connsiteX334" fmla="*/ 2826785 w 3214184"/>
                <a:gd name="connsiteY334" fmla="*/ 709547 h 4996841"/>
                <a:gd name="connsiteX335" fmla="*/ 2830173 w 3214184"/>
                <a:gd name="connsiteY335" fmla="*/ 715840 h 4996841"/>
                <a:gd name="connsiteX336" fmla="*/ 2831201 w 3214184"/>
                <a:gd name="connsiteY336" fmla="*/ 719107 h 4996841"/>
                <a:gd name="connsiteX337" fmla="*/ 2831565 w 3214184"/>
                <a:gd name="connsiteY337" fmla="*/ 721618 h 4996841"/>
                <a:gd name="connsiteX338" fmla="*/ 2831444 w 3214184"/>
                <a:gd name="connsiteY338" fmla="*/ 734807 h 4996841"/>
                <a:gd name="connsiteX339" fmla="*/ 2830809 w 3214184"/>
                <a:gd name="connsiteY339" fmla="*/ 743127 h 4996841"/>
                <a:gd name="connsiteX340" fmla="*/ 2829114 w 3214184"/>
                <a:gd name="connsiteY340" fmla="*/ 750175 h 4996841"/>
                <a:gd name="connsiteX341" fmla="*/ 2825998 w 3214184"/>
                <a:gd name="connsiteY341" fmla="*/ 753140 h 4996841"/>
                <a:gd name="connsiteX342" fmla="*/ 2824032 w 3214184"/>
                <a:gd name="connsiteY342" fmla="*/ 754229 h 4996841"/>
                <a:gd name="connsiteX343" fmla="*/ 2818889 w 3214184"/>
                <a:gd name="connsiteY343" fmla="*/ 760128 h 4996841"/>
                <a:gd name="connsiteX344" fmla="*/ 2817195 w 3214184"/>
                <a:gd name="connsiteY344" fmla="*/ 763123 h 4996841"/>
                <a:gd name="connsiteX345" fmla="*/ 2815955 w 3214184"/>
                <a:gd name="connsiteY345" fmla="*/ 766571 h 4996841"/>
                <a:gd name="connsiteX346" fmla="*/ 2815592 w 3214184"/>
                <a:gd name="connsiteY346" fmla="*/ 769445 h 4996841"/>
                <a:gd name="connsiteX347" fmla="*/ 2815985 w 3214184"/>
                <a:gd name="connsiteY347" fmla="*/ 772349 h 4996841"/>
                <a:gd name="connsiteX348" fmla="*/ 2817165 w 3214184"/>
                <a:gd name="connsiteY348" fmla="*/ 775828 h 4996841"/>
                <a:gd name="connsiteX349" fmla="*/ 2815501 w 3214184"/>
                <a:gd name="connsiteY349" fmla="*/ 779519 h 4996841"/>
                <a:gd name="connsiteX350" fmla="*/ 2814593 w 3214184"/>
                <a:gd name="connsiteY350" fmla="*/ 781122 h 4996841"/>
                <a:gd name="connsiteX351" fmla="*/ 2813655 w 3214184"/>
                <a:gd name="connsiteY351" fmla="*/ 782453 h 4996841"/>
                <a:gd name="connsiteX352" fmla="*/ 2814079 w 3214184"/>
                <a:gd name="connsiteY352" fmla="*/ 776010 h 4996841"/>
                <a:gd name="connsiteX353" fmla="*/ 2812355 w 3214184"/>
                <a:gd name="connsiteY353" fmla="*/ 772864 h 4996841"/>
                <a:gd name="connsiteX354" fmla="*/ 2802130 w 3214184"/>
                <a:gd name="connsiteY354" fmla="*/ 767600 h 4996841"/>
                <a:gd name="connsiteX355" fmla="*/ 2797320 w 3214184"/>
                <a:gd name="connsiteY355" fmla="*/ 767116 h 4996841"/>
                <a:gd name="connsiteX356" fmla="*/ 2758537 w 3214184"/>
                <a:gd name="connsiteY356" fmla="*/ 783542 h 4996841"/>
                <a:gd name="connsiteX357" fmla="*/ 2754272 w 3214184"/>
                <a:gd name="connsiteY357" fmla="*/ 782605 h 4996841"/>
                <a:gd name="connsiteX358" fmla="*/ 2748736 w 3214184"/>
                <a:gd name="connsiteY358" fmla="*/ 786991 h 4996841"/>
                <a:gd name="connsiteX359" fmla="*/ 2738783 w 3214184"/>
                <a:gd name="connsiteY359" fmla="*/ 786991 h 4996841"/>
                <a:gd name="connsiteX360" fmla="*/ 2714159 w 3214184"/>
                <a:gd name="connsiteY360" fmla="*/ 793919 h 4996841"/>
                <a:gd name="connsiteX361" fmla="*/ 2710952 w 3214184"/>
                <a:gd name="connsiteY361" fmla="*/ 796823 h 4996841"/>
                <a:gd name="connsiteX362" fmla="*/ 2704659 w 3214184"/>
                <a:gd name="connsiteY362" fmla="*/ 804809 h 4996841"/>
                <a:gd name="connsiteX363" fmla="*/ 2700546 w 3214184"/>
                <a:gd name="connsiteY363" fmla="*/ 808076 h 4996841"/>
                <a:gd name="connsiteX364" fmla="*/ 2696401 w 3214184"/>
                <a:gd name="connsiteY364" fmla="*/ 810164 h 4996841"/>
                <a:gd name="connsiteX365" fmla="*/ 2693648 w 3214184"/>
                <a:gd name="connsiteY365" fmla="*/ 809710 h 4996841"/>
                <a:gd name="connsiteX366" fmla="*/ 2695614 w 3214184"/>
                <a:gd name="connsiteY366" fmla="*/ 808833 h 4996841"/>
                <a:gd name="connsiteX367" fmla="*/ 2703874 w 3214184"/>
                <a:gd name="connsiteY367" fmla="*/ 801209 h 4996841"/>
                <a:gd name="connsiteX368" fmla="*/ 2705809 w 3214184"/>
                <a:gd name="connsiteY368" fmla="*/ 798396 h 4996841"/>
                <a:gd name="connsiteX369" fmla="*/ 2709137 w 3214184"/>
                <a:gd name="connsiteY369" fmla="*/ 791166 h 4996841"/>
                <a:gd name="connsiteX370" fmla="*/ 2711073 w 3214184"/>
                <a:gd name="connsiteY370" fmla="*/ 789835 h 4996841"/>
                <a:gd name="connsiteX371" fmla="*/ 2713735 w 3214184"/>
                <a:gd name="connsiteY371" fmla="*/ 789835 h 4996841"/>
                <a:gd name="connsiteX372" fmla="*/ 2715702 w 3214184"/>
                <a:gd name="connsiteY372" fmla="*/ 788655 h 4996841"/>
                <a:gd name="connsiteX373" fmla="*/ 2715611 w 3214184"/>
                <a:gd name="connsiteY373" fmla="*/ 783875 h 4996841"/>
                <a:gd name="connsiteX374" fmla="*/ 2713645 w 3214184"/>
                <a:gd name="connsiteY374" fmla="*/ 780366 h 4996841"/>
                <a:gd name="connsiteX375" fmla="*/ 2710559 w 3214184"/>
                <a:gd name="connsiteY375" fmla="*/ 779035 h 4996841"/>
                <a:gd name="connsiteX376" fmla="*/ 2704630 w 3214184"/>
                <a:gd name="connsiteY376" fmla="*/ 779035 h 4996841"/>
                <a:gd name="connsiteX377" fmla="*/ 2685752 w 3214184"/>
                <a:gd name="connsiteY377" fmla="*/ 788080 h 4996841"/>
                <a:gd name="connsiteX378" fmla="*/ 2659615 w 3214184"/>
                <a:gd name="connsiteY378" fmla="*/ 790228 h 4996841"/>
                <a:gd name="connsiteX379" fmla="*/ 2658012 w 3214184"/>
                <a:gd name="connsiteY379" fmla="*/ 789623 h 4996841"/>
                <a:gd name="connsiteX380" fmla="*/ 2656772 w 3214184"/>
                <a:gd name="connsiteY380" fmla="*/ 788080 h 4996841"/>
                <a:gd name="connsiteX381" fmla="*/ 2654261 w 3214184"/>
                <a:gd name="connsiteY381" fmla="*/ 783875 h 4996841"/>
                <a:gd name="connsiteX382" fmla="*/ 2651871 w 3214184"/>
                <a:gd name="connsiteY382" fmla="*/ 781879 h 4996841"/>
                <a:gd name="connsiteX383" fmla="*/ 2640678 w 3214184"/>
                <a:gd name="connsiteY383" fmla="*/ 777038 h 4996841"/>
                <a:gd name="connsiteX384" fmla="*/ 2637804 w 3214184"/>
                <a:gd name="connsiteY384" fmla="*/ 774195 h 4996841"/>
                <a:gd name="connsiteX385" fmla="*/ 2635747 w 3214184"/>
                <a:gd name="connsiteY385" fmla="*/ 769597 h 4996841"/>
                <a:gd name="connsiteX386" fmla="*/ 2635021 w 3214184"/>
                <a:gd name="connsiteY386" fmla="*/ 762215 h 4996841"/>
                <a:gd name="connsiteX387" fmla="*/ 2633811 w 3214184"/>
                <a:gd name="connsiteY387" fmla="*/ 757950 h 4996841"/>
                <a:gd name="connsiteX388" fmla="*/ 2621831 w 3214184"/>
                <a:gd name="connsiteY388" fmla="*/ 735533 h 4996841"/>
                <a:gd name="connsiteX389" fmla="*/ 2619896 w 3214184"/>
                <a:gd name="connsiteY389" fmla="*/ 730572 h 4996841"/>
                <a:gd name="connsiteX390" fmla="*/ 2619079 w 3214184"/>
                <a:gd name="connsiteY390" fmla="*/ 724764 h 4996841"/>
                <a:gd name="connsiteX391" fmla="*/ 2614602 w 3214184"/>
                <a:gd name="connsiteY391" fmla="*/ 712754 h 4996841"/>
                <a:gd name="connsiteX392" fmla="*/ 2606131 w 3214184"/>
                <a:gd name="connsiteY392" fmla="*/ 706159 h 4996841"/>
                <a:gd name="connsiteX393" fmla="*/ 2596057 w 3214184"/>
                <a:gd name="connsiteY393" fmla="*/ 703104 h 4996841"/>
                <a:gd name="connsiteX394" fmla="*/ 2585983 w 3214184"/>
                <a:gd name="connsiteY394" fmla="*/ 700048 h 4996841"/>
                <a:gd name="connsiteX395" fmla="*/ 2577211 w 3214184"/>
                <a:gd name="connsiteY395" fmla="*/ 694785 h 4996841"/>
                <a:gd name="connsiteX396" fmla="*/ 2570827 w 3214184"/>
                <a:gd name="connsiteY396" fmla="*/ 689793 h 4996841"/>
                <a:gd name="connsiteX397" fmla="*/ 2560421 w 3214184"/>
                <a:gd name="connsiteY397" fmla="*/ 682775 h 4996841"/>
                <a:gd name="connsiteX398" fmla="*/ 2550015 w 3214184"/>
                <a:gd name="connsiteY398" fmla="*/ 673941 h 4996841"/>
                <a:gd name="connsiteX399" fmla="*/ 2547292 w 3214184"/>
                <a:gd name="connsiteY399" fmla="*/ 666560 h 4996841"/>
                <a:gd name="connsiteX400" fmla="*/ 2546051 w 3214184"/>
                <a:gd name="connsiteY400" fmla="*/ 661629 h 4996841"/>
                <a:gd name="connsiteX401" fmla="*/ 2546294 w 3214184"/>
                <a:gd name="connsiteY401" fmla="*/ 657485 h 4996841"/>
                <a:gd name="connsiteX402" fmla="*/ 2547080 w 3214184"/>
                <a:gd name="connsiteY402" fmla="*/ 653552 h 4996841"/>
                <a:gd name="connsiteX403" fmla="*/ 2547564 w 3214184"/>
                <a:gd name="connsiteY403" fmla="*/ 649498 h 4996841"/>
                <a:gd name="connsiteX404" fmla="*/ 2546687 w 3214184"/>
                <a:gd name="connsiteY404" fmla="*/ 645021 h 4996841"/>
                <a:gd name="connsiteX405" fmla="*/ 2551497 w 3214184"/>
                <a:gd name="connsiteY405" fmla="*/ 632890 h 4996841"/>
                <a:gd name="connsiteX406" fmla="*/ 2557668 w 3214184"/>
                <a:gd name="connsiteY406" fmla="*/ 622998 h 4996841"/>
                <a:gd name="connsiteX407" fmla="*/ 2564566 w 3214184"/>
                <a:gd name="connsiteY407" fmla="*/ 615435 h 4996841"/>
                <a:gd name="connsiteX408" fmla="*/ 2571524 w 3214184"/>
                <a:gd name="connsiteY408" fmla="*/ 610323 h 4996841"/>
                <a:gd name="connsiteX409" fmla="*/ 2581113 w 3214184"/>
                <a:gd name="connsiteY409" fmla="*/ 610171 h 4996841"/>
                <a:gd name="connsiteX410" fmla="*/ 2586498 w 3214184"/>
                <a:gd name="connsiteY410" fmla="*/ 608417 h 4996841"/>
                <a:gd name="connsiteX411" fmla="*/ 2588797 w 3214184"/>
                <a:gd name="connsiteY411" fmla="*/ 602820 h 4996841"/>
                <a:gd name="connsiteX412" fmla="*/ 2589008 w 3214184"/>
                <a:gd name="connsiteY412" fmla="*/ 600067 h 4996841"/>
                <a:gd name="connsiteX413" fmla="*/ 2589916 w 3214184"/>
                <a:gd name="connsiteY413" fmla="*/ 594350 h 4996841"/>
                <a:gd name="connsiteX414" fmla="*/ 2590128 w 3214184"/>
                <a:gd name="connsiteY414" fmla="*/ 591204 h 4996841"/>
                <a:gd name="connsiteX415" fmla="*/ 2589704 w 3214184"/>
                <a:gd name="connsiteY415" fmla="*/ 585849 h 4996841"/>
                <a:gd name="connsiteX416" fmla="*/ 2588585 w 3214184"/>
                <a:gd name="connsiteY416" fmla="*/ 585123 h 4996841"/>
                <a:gd name="connsiteX417" fmla="*/ 2587073 w 3214184"/>
                <a:gd name="connsiteY417" fmla="*/ 585547 h 4996841"/>
                <a:gd name="connsiteX418" fmla="*/ 2585287 w 3214184"/>
                <a:gd name="connsiteY418" fmla="*/ 583641 h 4996841"/>
                <a:gd name="connsiteX419" fmla="*/ 2585983 w 3214184"/>
                <a:gd name="connsiteY419" fmla="*/ 579043 h 4996841"/>
                <a:gd name="connsiteX420" fmla="*/ 2590067 w 3214184"/>
                <a:gd name="connsiteY420" fmla="*/ 574717 h 4996841"/>
                <a:gd name="connsiteX421" fmla="*/ 2599929 w 3214184"/>
                <a:gd name="connsiteY421" fmla="*/ 574898 h 4996841"/>
                <a:gd name="connsiteX422" fmla="*/ 2617112 w 3214184"/>
                <a:gd name="connsiteY422" fmla="*/ 571026 h 4996841"/>
                <a:gd name="connsiteX423" fmla="*/ 2655834 w 3214184"/>
                <a:gd name="connsiteY423" fmla="*/ 565611 h 4996841"/>
                <a:gd name="connsiteX424" fmla="*/ 2676737 w 3214184"/>
                <a:gd name="connsiteY424" fmla="*/ 557171 h 4996841"/>
                <a:gd name="connsiteX425" fmla="*/ 2693195 w 3214184"/>
                <a:gd name="connsiteY425" fmla="*/ 553027 h 4996841"/>
                <a:gd name="connsiteX426" fmla="*/ 2700062 w 3214184"/>
                <a:gd name="connsiteY426" fmla="*/ 553329 h 4996841"/>
                <a:gd name="connsiteX427" fmla="*/ 2704750 w 3214184"/>
                <a:gd name="connsiteY427" fmla="*/ 553057 h 4996841"/>
                <a:gd name="connsiteX428" fmla="*/ 2706566 w 3214184"/>
                <a:gd name="connsiteY428" fmla="*/ 553692 h 4996841"/>
                <a:gd name="connsiteX429" fmla="*/ 2713039 w 3214184"/>
                <a:gd name="connsiteY429" fmla="*/ 555326 h 4996841"/>
                <a:gd name="connsiteX430" fmla="*/ 2721934 w 3214184"/>
                <a:gd name="connsiteY430" fmla="*/ 555870 h 4996841"/>
                <a:gd name="connsiteX431" fmla="*/ 2725685 w 3214184"/>
                <a:gd name="connsiteY431" fmla="*/ 553662 h 4996841"/>
                <a:gd name="connsiteX432" fmla="*/ 2728075 w 3214184"/>
                <a:gd name="connsiteY432" fmla="*/ 546704 h 4996841"/>
                <a:gd name="connsiteX433" fmla="*/ 2726955 w 3214184"/>
                <a:gd name="connsiteY433" fmla="*/ 539625 h 4996841"/>
                <a:gd name="connsiteX434" fmla="*/ 2726290 w 3214184"/>
                <a:gd name="connsiteY434" fmla="*/ 537477 h 4996841"/>
                <a:gd name="connsiteX435" fmla="*/ 2726138 w 3214184"/>
                <a:gd name="connsiteY435" fmla="*/ 535208 h 4996841"/>
                <a:gd name="connsiteX436" fmla="*/ 2723718 w 3214184"/>
                <a:gd name="connsiteY436" fmla="*/ 529461 h 4996841"/>
                <a:gd name="connsiteX437" fmla="*/ 2721813 w 3214184"/>
                <a:gd name="connsiteY437" fmla="*/ 523955 h 4996841"/>
                <a:gd name="connsiteX438" fmla="*/ 2720905 w 3214184"/>
                <a:gd name="connsiteY438" fmla="*/ 522321 h 4996841"/>
                <a:gd name="connsiteX439" fmla="*/ 2720572 w 3214184"/>
                <a:gd name="connsiteY439" fmla="*/ 520385 h 4996841"/>
                <a:gd name="connsiteX440" fmla="*/ 2720330 w 3214184"/>
                <a:gd name="connsiteY440" fmla="*/ 518298 h 4996841"/>
                <a:gd name="connsiteX441" fmla="*/ 2719725 w 3214184"/>
                <a:gd name="connsiteY441" fmla="*/ 516331 h 4996841"/>
                <a:gd name="connsiteX442" fmla="*/ 2717577 w 3214184"/>
                <a:gd name="connsiteY442" fmla="*/ 513367 h 4996841"/>
                <a:gd name="connsiteX443" fmla="*/ 2715490 w 3214184"/>
                <a:gd name="connsiteY443" fmla="*/ 511552 h 4996841"/>
                <a:gd name="connsiteX444" fmla="*/ 2713433 w 3214184"/>
                <a:gd name="connsiteY444" fmla="*/ 509132 h 4996841"/>
                <a:gd name="connsiteX445" fmla="*/ 2711527 w 3214184"/>
                <a:gd name="connsiteY445" fmla="*/ 504503 h 4996841"/>
                <a:gd name="connsiteX446" fmla="*/ 2710650 w 3214184"/>
                <a:gd name="connsiteY446" fmla="*/ 500934 h 4996841"/>
                <a:gd name="connsiteX447" fmla="*/ 2710287 w 3214184"/>
                <a:gd name="connsiteY447" fmla="*/ 497636 h 4996841"/>
                <a:gd name="connsiteX448" fmla="*/ 2710075 w 3214184"/>
                <a:gd name="connsiteY448" fmla="*/ 489317 h 4996841"/>
                <a:gd name="connsiteX449" fmla="*/ 2710256 w 3214184"/>
                <a:gd name="connsiteY449" fmla="*/ 486806 h 4996841"/>
                <a:gd name="connsiteX450" fmla="*/ 2710559 w 3214184"/>
                <a:gd name="connsiteY450" fmla="*/ 485445 h 4996841"/>
                <a:gd name="connsiteX451" fmla="*/ 2710559 w 3214184"/>
                <a:gd name="connsiteY451" fmla="*/ 484114 h 4996841"/>
                <a:gd name="connsiteX452" fmla="*/ 2709803 w 3214184"/>
                <a:gd name="connsiteY452" fmla="*/ 481694 h 4996841"/>
                <a:gd name="connsiteX453" fmla="*/ 2708321 w 3214184"/>
                <a:gd name="connsiteY453" fmla="*/ 480362 h 4996841"/>
                <a:gd name="connsiteX454" fmla="*/ 2701846 w 3214184"/>
                <a:gd name="connsiteY454" fmla="*/ 480816 h 4996841"/>
                <a:gd name="connsiteX455" fmla="*/ 2704630 w 3214184"/>
                <a:gd name="connsiteY455" fmla="*/ 480090 h 4996841"/>
                <a:gd name="connsiteX456" fmla="*/ 2707715 w 3214184"/>
                <a:gd name="connsiteY456" fmla="*/ 478457 h 4996841"/>
                <a:gd name="connsiteX457" fmla="*/ 2709227 w 3214184"/>
                <a:gd name="connsiteY457" fmla="*/ 475643 h 4996841"/>
                <a:gd name="connsiteX458" fmla="*/ 2701816 w 3214184"/>
                <a:gd name="connsiteY458" fmla="*/ 466296 h 4996841"/>
                <a:gd name="connsiteX459" fmla="*/ 2697823 w 3214184"/>
                <a:gd name="connsiteY459" fmla="*/ 461032 h 4996841"/>
                <a:gd name="connsiteX460" fmla="*/ 2695221 w 3214184"/>
                <a:gd name="connsiteY460" fmla="*/ 459580 h 4996841"/>
                <a:gd name="connsiteX461" fmla="*/ 2692227 w 3214184"/>
                <a:gd name="connsiteY461" fmla="*/ 456282 h 4996841"/>
                <a:gd name="connsiteX462" fmla="*/ 2690744 w 3214184"/>
                <a:gd name="connsiteY462" fmla="*/ 455284 h 4996841"/>
                <a:gd name="connsiteX463" fmla="*/ 2685238 w 3214184"/>
                <a:gd name="connsiteY463" fmla="*/ 456282 h 4996841"/>
                <a:gd name="connsiteX464" fmla="*/ 2683212 w 3214184"/>
                <a:gd name="connsiteY464" fmla="*/ 455284 h 4996841"/>
                <a:gd name="connsiteX465" fmla="*/ 2677797 w 3214184"/>
                <a:gd name="connsiteY465" fmla="*/ 449083 h 4996841"/>
                <a:gd name="connsiteX466" fmla="*/ 2671989 w 3214184"/>
                <a:gd name="connsiteY466" fmla="*/ 441610 h 4996841"/>
                <a:gd name="connsiteX467" fmla="*/ 2663457 w 3214184"/>
                <a:gd name="connsiteY467" fmla="*/ 431234 h 4996841"/>
                <a:gd name="connsiteX468" fmla="*/ 2659888 w 3214184"/>
                <a:gd name="connsiteY468" fmla="*/ 428996 h 4996841"/>
                <a:gd name="connsiteX469" fmla="*/ 2658375 w 3214184"/>
                <a:gd name="connsiteY469" fmla="*/ 427846 h 4996841"/>
                <a:gd name="connsiteX470" fmla="*/ 2657710 w 3214184"/>
                <a:gd name="connsiteY470" fmla="*/ 425698 h 4996841"/>
                <a:gd name="connsiteX471" fmla="*/ 2657437 w 3214184"/>
                <a:gd name="connsiteY471" fmla="*/ 420132 h 4996841"/>
                <a:gd name="connsiteX472" fmla="*/ 2657044 w 3214184"/>
                <a:gd name="connsiteY472" fmla="*/ 417591 h 4996841"/>
                <a:gd name="connsiteX473" fmla="*/ 2656046 w 3214184"/>
                <a:gd name="connsiteY473" fmla="*/ 415685 h 4996841"/>
                <a:gd name="connsiteX474" fmla="*/ 2653565 w 3214184"/>
                <a:gd name="connsiteY474" fmla="*/ 413114 h 4996841"/>
                <a:gd name="connsiteX475" fmla="*/ 2652536 w 3214184"/>
                <a:gd name="connsiteY475" fmla="*/ 411480 h 4996841"/>
                <a:gd name="connsiteX476" fmla="*/ 2651992 w 3214184"/>
                <a:gd name="connsiteY476" fmla="*/ 409544 h 4996841"/>
                <a:gd name="connsiteX477" fmla="*/ 2650993 w 3214184"/>
                <a:gd name="connsiteY477" fmla="*/ 404764 h 4996841"/>
                <a:gd name="connsiteX478" fmla="*/ 2650449 w 3214184"/>
                <a:gd name="connsiteY478" fmla="*/ 402768 h 4996841"/>
                <a:gd name="connsiteX479" fmla="*/ 2649753 w 3214184"/>
                <a:gd name="connsiteY479" fmla="*/ 397171 h 4996841"/>
                <a:gd name="connsiteX480" fmla="*/ 2644187 w 3214184"/>
                <a:gd name="connsiteY480" fmla="*/ 394721 h 4996841"/>
                <a:gd name="connsiteX481" fmla="*/ 2613300 w 3214184"/>
                <a:gd name="connsiteY481" fmla="*/ 380049 h 4996841"/>
                <a:gd name="connsiteX482" fmla="*/ 2585560 w 3214184"/>
                <a:gd name="connsiteY482" fmla="*/ 372183 h 4996841"/>
                <a:gd name="connsiteX483" fmla="*/ 2551104 w 3214184"/>
                <a:gd name="connsiteY483" fmla="*/ 370368 h 4996841"/>
                <a:gd name="connsiteX484" fmla="*/ 2505454 w 3214184"/>
                <a:gd name="connsiteY484" fmla="*/ 369975 h 4996841"/>
                <a:gd name="connsiteX485" fmla="*/ 2478167 w 3214184"/>
                <a:gd name="connsiteY485" fmla="*/ 374210 h 4996841"/>
                <a:gd name="connsiteX486" fmla="*/ 2452575 w 3214184"/>
                <a:gd name="connsiteY486" fmla="*/ 370641 h 4996841"/>
                <a:gd name="connsiteX487" fmla="*/ 2440565 w 3214184"/>
                <a:gd name="connsiteY487" fmla="*/ 361444 h 4996841"/>
                <a:gd name="connsiteX488" fmla="*/ 2436239 w 3214184"/>
                <a:gd name="connsiteY488" fmla="*/ 360113 h 4996841"/>
                <a:gd name="connsiteX489" fmla="*/ 2434212 w 3214184"/>
                <a:gd name="connsiteY489" fmla="*/ 358873 h 4996841"/>
                <a:gd name="connsiteX490" fmla="*/ 2432639 w 3214184"/>
                <a:gd name="connsiteY490" fmla="*/ 356725 h 4996841"/>
                <a:gd name="connsiteX491" fmla="*/ 2428645 w 3214184"/>
                <a:gd name="connsiteY491" fmla="*/ 354154 h 4996841"/>
                <a:gd name="connsiteX492" fmla="*/ 2423019 w 3214184"/>
                <a:gd name="connsiteY492" fmla="*/ 352157 h 4996841"/>
                <a:gd name="connsiteX493" fmla="*/ 2417725 w 3214184"/>
                <a:gd name="connsiteY493" fmla="*/ 348527 h 4996841"/>
                <a:gd name="connsiteX494" fmla="*/ 2415577 w 3214184"/>
                <a:gd name="connsiteY494" fmla="*/ 347891 h 4996841"/>
                <a:gd name="connsiteX495" fmla="*/ 2401540 w 3214184"/>
                <a:gd name="connsiteY495" fmla="*/ 340813 h 4996841"/>
                <a:gd name="connsiteX496" fmla="*/ 2391073 w 3214184"/>
                <a:gd name="connsiteY496" fmla="*/ 341085 h 4996841"/>
                <a:gd name="connsiteX497" fmla="*/ 2385386 w 3214184"/>
                <a:gd name="connsiteY497" fmla="*/ 341448 h 4996841"/>
                <a:gd name="connsiteX498" fmla="*/ 2381030 w 3214184"/>
                <a:gd name="connsiteY498" fmla="*/ 343566 h 4996841"/>
                <a:gd name="connsiteX499" fmla="*/ 2382845 w 3214184"/>
                <a:gd name="connsiteY499" fmla="*/ 349283 h 4996841"/>
                <a:gd name="connsiteX500" fmla="*/ 2386263 w 3214184"/>
                <a:gd name="connsiteY500" fmla="*/ 354880 h 4996841"/>
                <a:gd name="connsiteX501" fmla="*/ 2428253 w 3214184"/>
                <a:gd name="connsiteY501" fmla="*/ 389971 h 4996841"/>
                <a:gd name="connsiteX502" fmla="*/ 2470241 w 3214184"/>
                <a:gd name="connsiteY502" fmla="*/ 424851 h 4996841"/>
                <a:gd name="connsiteX503" fmla="*/ 2477048 w 3214184"/>
                <a:gd name="connsiteY503" fmla="*/ 434713 h 4996841"/>
                <a:gd name="connsiteX504" fmla="*/ 2478591 w 3214184"/>
                <a:gd name="connsiteY504" fmla="*/ 439553 h 4996841"/>
                <a:gd name="connsiteX505" fmla="*/ 2478712 w 3214184"/>
                <a:gd name="connsiteY505" fmla="*/ 444999 h 4996841"/>
                <a:gd name="connsiteX506" fmla="*/ 2477895 w 3214184"/>
                <a:gd name="connsiteY506" fmla="*/ 450867 h 4996841"/>
                <a:gd name="connsiteX507" fmla="*/ 2475112 w 3214184"/>
                <a:gd name="connsiteY507" fmla="*/ 465630 h 4996841"/>
                <a:gd name="connsiteX508" fmla="*/ 2474900 w 3214184"/>
                <a:gd name="connsiteY508" fmla="*/ 467990 h 4996841"/>
                <a:gd name="connsiteX509" fmla="*/ 2474900 w 3214184"/>
                <a:gd name="connsiteY509" fmla="*/ 472164 h 4996841"/>
                <a:gd name="connsiteX510" fmla="*/ 2474598 w 3214184"/>
                <a:gd name="connsiteY510" fmla="*/ 474554 h 4996841"/>
                <a:gd name="connsiteX511" fmla="*/ 2472904 w 3214184"/>
                <a:gd name="connsiteY511" fmla="*/ 480816 h 4996841"/>
                <a:gd name="connsiteX512" fmla="*/ 2471723 w 3214184"/>
                <a:gd name="connsiteY512" fmla="*/ 487230 h 4996841"/>
                <a:gd name="connsiteX513" fmla="*/ 2471270 w 3214184"/>
                <a:gd name="connsiteY513" fmla="*/ 494641 h 4996841"/>
                <a:gd name="connsiteX514" fmla="*/ 2472329 w 3214184"/>
                <a:gd name="connsiteY514" fmla="*/ 499572 h 4996841"/>
                <a:gd name="connsiteX515" fmla="*/ 2475626 w 3214184"/>
                <a:gd name="connsiteY515" fmla="*/ 498665 h 4996841"/>
                <a:gd name="connsiteX516" fmla="*/ 2479952 w 3214184"/>
                <a:gd name="connsiteY516" fmla="*/ 494974 h 4996841"/>
                <a:gd name="connsiteX517" fmla="*/ 2485095 w 3214184"/>
                <a:gd name="connsiteY517" fmla="*/ 492221 h 4996841"/>
                <a:gd name="connsiteX518" fmla="*/ 2490329 w 3214184"/>
                <a:gd name="connsiteY518" fmla="*/ 491072 h 4996841"/>
                <a:gd name="connsiteX519" fmla="*/ 2494897 w 3214184"/>
                <a:gd name="connsiteY519" fmla="*/ 492312 h 4996841"/>
                <a:gd name="connsiteX520" fmla="*/ 2495562 w 3214184"/>
                <a:gd name="connsiteY520" fmla="*/ 492796 h 4996841"/>
                <a:gd name="connsiteX521" fmla="*/ 2487817 w 3214184"/>
                <a:gd name="connsiteY521" fmla="*/ 494339 h 4996841"/>
                <a:gd name="connsiteX522" fmla="*/ 2470453 w 3214184"/>
                <a:gd name="connsiteY522" fmla="*/ 505471 h 4996841"/>
                <a:gd name="connsiteX523" fmla="*/ 2468033 w 3214184"/>
                <a:gd name="connsiteY523" fmla="*/ 509676 h 4996841"/>
                <a:gd name="connsiteX524" fmla="*/ 2470060 w 3214184"/>
                <a:gd name="connsiteY524" fmla="*/ 510916 h 4996841"/>
                <a:gd name="connsiteX525" fmla="*/ 2473872 w 3214184"/>
                <a:gd name="connsiteY525" fmla="*/ 509737 h 4996841"/>
                <a:gd name="connsiteX526" fmla="*/ 2475687 w 3214184"/>
                <a:gd name="connsiteY526" fmla="*/ 511189 h 4996841"/>
                <a:gd name="connsiteX527" fmla="*/ 2473842 w 3214184"/>
                <a:gd name="connsiteY527" fmla="*/ 512641 h 4996841"/>
                <a:gd name="connsiteX528" fmla="*/ 2469727 w 3214184"/>
                <a:gd name="connsiteY528" fmla="*/ 513004 h 4996841"/>
                <a:gd name="connsiteX529" fmla="*/ 2468033 w 3214184"/>
                <a:gd name="connsiteY529" fmla="*/ 514547 h 4996841"/>
                <a:gd name="connsiteX530" fmla="*/ 2466672 w 3214184"/>
                <a:gd name="connsiteY530" fmla="*/ 524651 h 4996841"/>
                <a:gd name="connsiteX531" fmla="*/ 2469092 w 3214184"/>
                <a:gd name="connsiteY531" fmla="*/ 526859 h 4996841"/>
                <a:gd name="connsiteX532" fmla="*/ 2477744 w 3214184"/>
                <a:gd name="connsiteY532" fmla="*/ 523713 h 4996841"/>
                <a:gd name="connsiteX533" fmla="*/ 2481162 w 3214184"/>
                <a:gd name="connsiteY533" fmla="*/ 526466 h 4996841"/>
                <a:gd name="connsiteX534" fmla="*/ 2479407 w 3214184"/>
                <a:gd name="connsiteY534" fmla="*/ 528372 h 4996841"/>
                <a:gd name="connsiteX535" fmla="*/ 2476111 w 3214184"/>
                <a:gd name="connsiteY535" fmla="*/ 533121 h 4996841"/>
                <a:gd name="connsiteX536" fmla="*/ 2474295 w 3214184"/>
                <a:gd name="connsiteY536" fmla="*/ 534906 h 4996841"/>
                <a:gd name="connsiteX537" fmla="*/ 2471905 w 3214184"/>
                <a:gd name="connsiteY537" fmla="*/ 535723 h 4996841"/>
                <a:gd name="connsiteX538" fmla="*/ 2463919 w 3214184"/>
                <a:gd name="connsiteY538" fmla="*/ 534906 h 4996841"/>
                <a:gd name="connsiteX539" fmla="*/ 2462921 w 3214184"/>
                <a:gd name="connsiteY539" fmla="*/ 536751 h 4996841"/>
                <a:gd name="connsiteX540" fmla="*/ 2462588 w 3214184"/>
                <a:gd name="connsiteY540" fmla="*/ 540956 h 4996841"/>
                <a:gd name="connsiteX541" fmla="*/ 2462678 w 3214184"/>
                <a:gd name="connsiteY541" fmla="*/ 545252 h 4996841"/>
                <a:gd name="connsiteX542" fmla="*/ 2462890 w 3214184"/>
                <a:gd name="connsiteY542" fmla="*/ 547490 h 4996841"/>
                <a:gd name="connsiteX543" fmla="*/ 2464131 w 3214184"/>
                <a:gd name="connsiteY543" fmla="*/ 549608 h 4996841"/>
                <a:gd name="connsiteX544" fmla="*/ 2465522 w 3214184"/>
                <a:gd name="connsiteY544" fmla="*/ 551423 h 4996841"/>
                <a:gd name="connsiteX545" fmla="*/ 2466702 w 3214184"/>
                <a:gd name="connsiteY545" fmla="*/ 553571 h 4996841"/>
                <a:gd name="connsiteX546" fmla="*/ 2467398 w 3214184"/>
                <a:gd name="connsiteY546" fmla="*/ 556687 h 4996841"/>
                <a:gd name="connsiteX547" fmla="*/ 2467277 w 3214184"/>
                <a:gd name="connsiteY547" fmla="*/ 559561 h 4996841"/>
                <a:gd name="connsiteX548" fmla="*/ 2466702 w 3214184"/>
                <a:gd name="connsiteY548" fmla="*/ 563009 h 4996841"/>
                <a:gd name="connsiteX549" fmla="*/ 2465976 w 3214184"/>
                <a:gd name="connsiteY549" fmla="*/ 566277 h 4996841"/>
                <a:gd name="connsiteX550" fmla="*/ 2465311 w 3214184"/>
                <a:gd name="connsiteY550" fmla="*/ 568515 h 4996841"/>
                <a:gd name="connsiteX551" fmla="*/ 2462346 w 3214184"/>
                <a:gd name="connsiteY551" fmla="*/ 574838 h 4996841"/>
                <a:gd name="connsiteX552" fmla="*/ 2461135 w 3214184"/>
                <a:gd name="connsiteY552" fmla="*/ 578559 h 4996841"/>
                <a:gd name="connsiteX553" fmla="*/ 2461832 w 3214184"/>
                <a:gd name="connsiteY553" fmla="*/ 580223 h 4996841"/>
                <a:gd name="connsiteX554" fmla="*/ 2466490 w 3214184"/>
                <a:gd name="connsiteY554" fmla="*/ 579497 h 4996841"/>
                <a:gd name="connsiteX555" fmla="*/ 2468548 w 3214184"/>
                <a:gd name="connsiteY555" fmla="*/ 580374 h 4996841"/>
                <a:gd name="connsiteX556" fmla="*/ 2469425 w 3214184"/>
                <a:gd name="connsiteY556" fmla="*/ 583580 h 4996841"/>
                <a:gd name="connsiteX557" fmla="*/ 2468698 w 3214184"/>
                <a:gd name="connsiteY557" fmla="*/ 587090 h 4996841"/>
                <a:gd name="connsiteX558" fmla="*/ 2467035 w 3214184"/>
                <a:gd name="connsiteY558" fmla="*/ 589207 h 4996841"/>
                <a:gd name="connsiteX559" fmla="*/ 2465189 w 3214184"/>
                <a:gd name="connsiteY559" fmla="*/ 590145 h 4996841"/>
                <a:gd name="connsiteX560" fmla="*/ 2463919 w 3214184"/>
                <a:gd name="connsiteY560" fmla="*/ 590145 h 4996841"/>
                <a:gd name="connsiteX561" fmla="*/ 2463919 w 3214184"/>
                <a:gd name="connsiteY561" fmla="*/ 589510 h 4996841"/>
                <a:gd name="connsiteX562" fmla="*/ 2463586 w 3214184"/>
                <a:gd name="connsiteY562" fmla="*/ 587997 h 4996841"/>
                <a:gd name="connsiteX563" fmla="*/ 2463102 w 3214184"/>
                <a:gd name="connsiteY563" fmla="*/ 586303 h 4996841"/>
                <a:gd name="connsiteX564" fmla="*/ 2462558 w 3214184"/>
                <a:gd name="connsiteY564" fmla="*/ 585214 h 4996841"/>
                <a:gd name="connsiteX565" fmla="*/ 2461741 w 3214184"/>
                <a:gd name="connsiteY565" fmla="*/ 585063 h 4996841"/>
                <a:gd name="connsiteX566" fmla="*/ 2459139 w 3214184"/>
                <a:gd name="connsiteY566" fmla="*/ 586122 h 4996841"/>
                <a:gd name="connsiteX567" fmla="*/ 2458353 w 3214184"/>
                <a:gd name="connsiteY567" fmla="*/ 586848 h 4996841"/>
                <a:gd name="connsiteX568" fmla="*/ 2457475 w 3214184"/>
                <a:gd name="connsiteY568" fmla="*/ 589207 h 4996841"/>
                <a:gd name="connsiteX569" fmla="*/ 2456568 w 3214184"/>
                <a:gd name="connsiteY569" fmla="*/ 592807 h 4996841"/>
                <a:gd name="connsiteX570" fmla="*/ 2456810 w 3214184"/>
                <a:gd name="connsiteY570" fmla="*/ 595923 h 4996841"/>
                <a:gd name="connsiteX571" fmla="*/ 2456387 w 3214184"/>
                <a:gd name="connsiteY571" fmla="*/ 600461 h 4996841"/>
                <a:gd name="connsiteX572" fmla="*/ 2456508 w 3214184"/>
                <a:gd name="connsiteY572" fmla="*/ 602427 h 4996841"/>
                <a:gd name="connsiteX573" fmla="*/ 2454420 w 3214184"/>
                <a:gd name="connsiteY573" fmla="*/ 612229 h 4996841"/>
                <a:gd name="connsiteX574" fmla="*/ 2440262 w 3214184"/>
                <a:gd name="connsiteY574" fmla="*/ 648440 h 4996841"/>
                <a:gd name="connsiteX575" fmla="*/ 2433304 w 3214184"/>
                <a:gd name="connsiteY575" fmla="*/ 668375 h 4996841"/>
                <a:gd name="connsiteX576" fmla="*/ 2430643 w 3214184"/>
                <a:gd name="connsiteY576" fmla="*/ 684136 h 4996841"/>
                <a:gd name="connsiteX577" fmla="*/ 2430521 w 3214184"/>
                <a:gd name="connsiteY577" fmla="*/ 693575 h 4996841"/>
                <a:gd name="connsiteX578" fmla="*/ 2430158 w 3214184"/>
                <a:gd name="connsiteY578" fmla="*/ 697659 h 4996841"/>
                <a:gd name="connsiteX579" fmla="*/ 2431520 w 3214184"/>
                <a:gd name="connsiteY579" fmla="*/ 701622 h 4996841"/>
                <a:gd name="connsiteX580" fmla="*/ 2435543 w 3214184"/>
                <a:gd name="connsiteY580" fmla="*/ 708095 h 4996841"/>
                <a:gd name="connsiteX581" fmla="*/ 2440746 w 3214184"/>
                <a:gd name="connsiteY581" fmla="*/ 709547 h 4996841"/>
                <a:gd name="connsiteX582" fmla="*/ 2445799 w 3214184"/>
                <a:gd name="connsiteY582" fmla="*/ 711998 h 4996841"/>
                <a:gd name="connsiteX583" fmla="*/ 2449095 w 3214184"/>
                <a:gd name="connsiteY583" fmla="*/ 711393 h 4996841"/>
                <a:gd name="connsiteX584" fmla="*/ 2452847 w 3214184"/>
                <a:gd name="connsiteY584" fmla="*/ 711514 h 4996841"/>
                <a:gd name="connsiteX585" fmla="*/ 2458141 w 3214184"/>
                <a:gd name="connsiteY585" fmla="*/ 710485 h 4996841"/>
                <a:gd name="connsiteX586" fmla="*/ 2463737 w 3214184"/>
                <a:gd name="connsiteY586" fmla="*/ 712573 h 4996841"/>
                <a:gd name="connsiteX587" fmla="*/ 2469334 w 3214184"/>
                <a:gd name="connsiteY587" fmla="*/ 716293 h 4996841"/>
                <a:gd name="connsiteX588" fmla="*/ 2471694 w 3214184"/>
                <a:gd name="connsiteY588" fmla="*/ 718441 h 4996841"/>
                <a:gd name="connsiteX589" fmla="*/ 2474900 w 3214184"/>
                <a:gd name="connsiteY589" fmla="*/ 720650 h 4996841"/>
                <a:gd name="connsiteX590" fmla="*/ 2479015 w 3214184"/>
                <a:gd name="connsiteY590" fmla="*/ 724976 h 4996841"/>
                <a:gd name="connsiteX591" fmla="*/ 2480769 w 3214184"/>
                <a:gd name="connsiteY591" fmla="*/ 727940 h 4996841"/>
                <a:gd name="connsiteX592" fmla="*/ 2483008 w 3214184"/>
                <a:gd name="connsiteY592" fmla="*/ 729453 h 4996841"/>
                <a:gd name="connsiteX593" fmla="*/ 2492143 w 3214184"/>
                <a:gd name="connsiteY593" fmla="*/ 725520 h 4996841"/>
                <a:gd name="connsiteX594" fmla="*/ 2490238 w 3214184"/>
                <a:gd name="connsiteY594" fmla="*/ 728545 h 4996841"/>
                <a:gd name="connsiteX595" fmla="*/ 2487939 w 3214184"/>
                <a:gd name="connsiteY595" fmla="*/ 730360 h 4996841"/>
                <a:gd name="connsiteX596" fmla="*/ 2485821 w 3214184"/>
                <a:gd name="connsiteY596" fmla="*/ 732599 h 4996841"/>
                <a:gd name="connsiteX597" fmla="*/ 2484551 w 3214184"/>
                <a:gd name="connsiteY597" fmla="*/ 736985 h 4996841"/>
                <a:gd name="connsiteX598" fmla="*/ 2491690 w 3214184"/>
                <a:gd name="connsiteY598" fmla="*/ 743005 h 4996841"/>
                <a:gd name="connsiteX599" fmla="*/ 2495350 w 3214184"/>
                <a:gd name="connsiteY599" fmla="*/ 747422 h 4996841"/>
                <a:gd name="connsiteX600" fmla="*/ 2496953 w 3214184"/>
                <a:gd name="connsiteY600" fmla="*/ 751476 h 4996841"/>
                <a:gd name="connsiteX601" fmla="*/ 2497649 w 3214184"/>
                <a:gd name="connsiteY601" fmla="*/ 754441 h 4996841"/>
                <a:gd name="connsiteX602" fmla="*/ 2502520 w 3214184"/>
                <a:gd name="connsiteY602" fmla="*/ 761247 h 4996841"/>
                <a:gd name="connsiteX603" fmla="*/ 2503185 w 3214184"/>
                <a:gd name="connsiteY603" fmla="*/ 763970 h 4996841"/>
                <a:gd name="connsiteX604" fmla="*/ 2503548 w 3214184"/>
                <a:gd name="connsiteY604" fmla="*/ 766783 h 4996841"/>
                <a:gd name="connsiteX605" fmla="*/ 2504365 w 3214184"/>
                <a:gd name="connsiteY605" fmla="*/ 768840 h 4996841"/>
                <a:gd name="connsiteX606" fmla="*/ 2506634 w 3214184"/>
                <a:gd name="connsiteY606" fmla="*/ 769324 h 4996841"/>
                <a:gd name="connsiteX607" fmla="*/ 2503518 w 3214184"/>
                <a:gd name="connsiteY607" fmla="*/ 772864 h 4996841"/>
                <a:gd name="connsiteX608" fmla="*/ 2502611 w 3214184"/>
                <a:gd name="connsiteY608" fmla="*/ 775405 h 4996841"/>
                <a:gd name="connsiteX609" fmla="*/ 2503216 w 3214184"/>
                <a:gd name="connsiteY609" fmla="*/ 786991 h 4996841"/>
                <a:gd name="connsiteX610" fmla="*/ 2501038 w 3214184"/>
                <a:gd name="connsiteY610" fmla="*/ 792799 h 4996841"/>
                <a:gd name="connsiteX611" fmla="*/ 2492023 w 3214184"/>
                <a:gd name="connsiteY611" fmla="*/ 796278 h 4996841"/>
                <a:gd name="connsiteX612" fmla="*/ 2490752 w 3214184"/>
                <a:gd name="connsiteY612" fmla="*/ 801572 h 4996841"/>
                <a:gd name="connsiteX613" fmla="*/ 2492476 w 3214184"/>
                <a:gd name="connsiteY613" fmla="*/ 805898 h 4996841"/>
                <a:gd name="connsiteX614" fmla="*/ 2497861 w 3214184"/>
                <a:gd name="connsiteY614" fmla="*/ 813068 h 4996841"/>
                <a:gd name="connsiteX615" fmla="*/ 2499555 w 3214184"/>
                <a:gd name="connsiteY615" fmla="*/ 820631 h 4996841"/>
                <a:gd name="connsiteX616" fmla="*/ 2500826 w 3214184"/>
                <a:gd name="connsiteY616" fmla="*/ 823051 h 4996841"/>
                <a:gd name="connsiteX617" fmla="*/ 2503216 w 3214184"/>
                <a:gd name="connsiteY617" fmla="*/ 826409 h 4996841"/>
                <a:gd name="connsiteX618" fmla="*/ 2505363 w 3214184"/>
                <a:gd name="connsiteY618" fmla="*/ 827165 h 4996841"/>
                <a:gd name="connsiteX619" fmla="*/ 2507632 w 3214184"/>
                <a:gd name="connsiteY619" fmla="*/ 826227 h 4996841"/>
                <a:gd name="connsiteX620" fmla="*/ 2509598 w 3214184"/>
                <a:gd name="connsiteY620" fmla="*/ 825985 h 4996841"/>
                <a:gd name="connsiteX621" fmla="*/ 2510839 w 3214184"/>
                <a:gd name="connsiteY621" fmla="*/ 828738 h 4996841"/>
                <a:gd name="connsiteX622" fmla="*/ 2501945 w 3214184"/>
                <a:gd name="connsiteY622" fmla="*/ 831309 h 4996841"/>
                <a:gd name="connsiteX623" fmla="*/ 2497467 w 3214184"/>
                <a:gd name="connsiteY623" fmla="*/ 833911 h 4996841"/>
                <a:gd name="connsiteX624" fmla="*/ 2493898 w 3214184"/>
                <a:gd name="connsiteY624" fmla="*/ 839054 h 4996841"/>
                <a:gd name="connsiteX625" fmla="*/ 2492960 w 3214184"/>
                <a:gd name="connsiteY625" fmla="*/ 843652 h 4996841"/>
                <a:gd name="connsiteX626" fmla="*/ 2492173 w 3214184"/>
                <a:gd name="connsiteY626" fmla="*/ 856963 h 4996841"/>
                <a:gd name="connsiteX627" fmla="*/ 2491478 w 3214184"/>
                <a:gd name="connsiteY627" fmla="*/ 862257 h 4996841"/>
                <a:gd name="connsiteX628" fmla="*/ 2490419 w 3214184"/>
                <a:gd name="connsiteY628" fmla="*/ 865524 h 4996841"/>
                <a:gd name="connsiteX629" fmla="*/ 2489209 w 3214184"/>
                <a:gd name="connsiteY629" fmla="*/ 867490 h 4996841"/>
                <a:gd name="connsiteX630" fmla="*/ 2478803 w 3214184"/>
                <a:gd name="connsiteY630" fmla="*/ 878108 h 4996841"/>
                <a:gd name="connsiteX631" fmla="*/ 2477925 w 3214184"/>
                <a:gd name="connsiteY631" fmla="*/ 879712 h 4996841"/>
                <a:gd name="connsiteX632" fmla="*/ 2476111 w 3214184"/>
                <a:gd name="connsiteY632" fmla="*/ 887396 h 4996841"/>
                <a:gd name="connsiteX633" fmla="*/ 2475324 w 3214184"/>
                <a:gd name="connsiteY633" fmla="*/ 890058 h 4996841"/>
                <a:gd name="connsiteX634" fmla="*/ 2470847 w 3214184"/>
                <a:gd name="connsiteY634" fmla="*/ 896834 h 4996841"/>
                <a:gd name="connsiteX635" fmla="*/ 2469455 w 3214184"/>
                <a:gd name="connsiteY635" fmla="*/ 900494 h 4996841"/>
                <a:gd name="connsiteX636" fmla="*/ 2466641 w 3214184"/>
                <a:gd name="connsiteY636" fmla="*/ 910145 h 4996841"/>
                <a:gd name="connsiteX637" fmla="*/ 2463828 w 3214184"/>
                <a:gd name="connsiteY637" fmla="*/ 922397 h 4996841"/>
                <a:gd name="connsiteX638" fmla="*/ 2462134 w 3214184"/>
                <a:gd name="connsiteY638" fmla="*/ 935072 h 4996841"/>
                <a:gd name="connsiteX639" fmla="*/ 2462558 w 3214184"/>
                <a:gd name="connsiteY639" fmla="*/ 946083 h 4996841"/>
                <a:gd name="connsiteX640" fmla="*/ 2464131 w 3214184"/>
                <a:gd name="connsiteY640" fmla="*/ 950016 h 4996841"/>
                <a:gd name="connsiteX641" fmla="*/ 2469062 w 3214184"/>
                <a:gd name="connsiteY641" fmla="*/ 958456 h 4996841"/>
                <a:gd name="connsiteX642" fmla="*/ 2470090 w 3214184"/>
                <a:gd name="connsiteY642" fmla="*/ 962480 h 4996841"/>
                <a:gd name="connsiteX643" fmla="*/ 2469334 w 3214184"/>
                <a:gd name="connsiteY643" fmla="*/ 968984 h 4996841"/>
                <a:gd name="connsiteX644" fmla="*/ 2466551 w 3214184"/>
                <a:gd name="connsiteY644" fmla="*/ 979209 h 4996841"/>
                <a:gd name="connsiteX645" fmla="*/ 2466672 w 3214184"/>
                <a:gd name="connsiteY645" fmla="*/ 985017 h 4996841"/>
                <a:gd name="connsiteX646" fmla="*/ 2468819 w 3214184"/>
                <a:gd name="connsiteY646" fmla="*/ 991219 h 4996841"/>
                <a:gd name="connsiteX647" fmla="*/ 2471633 w 3214184"/>
                <a:gd name="connsiteY647" fmla="*/ 997057 h 4996841"/>
                <a:gd name="connsiteX648" fmla="*/ 2473357 w 3214184"/>
                <a:gd name="connsiteY648" fmla="*/ 1003833 h 4996841"/>
                <a:gd name="connsiteX649" fmla="*/ 2472238 w 3214184"/>
                <a:gd name="connsiteY649" fmla="*/ 1013000 h 4996841"/>
                <a:gd name="connsiteX650" fmla="*/ 2470967 w 3214184"/>
                <a:gd name="connsiteY650" fmla="*/ 1008220 h 4996841"/>
                <a:gd name="connsiteX651" fmla="*/ 2462981 w 3214184"/>
                <a:gd name="connsiteY651" fmla="*/ 991551 h 4996841"/>
                <a:gd name="connsiteX652" fmla="*/ 2458262 w 3214184"/>
                <a:gd name="connsiteY652" fmla="*/ 983686 h 4996841"/>
                <a:gd name="connsiteX653" fmla="*/ 2456991 w 3214184"/>
                <a:gd name="connsiteY653" fmla="*/ 978785 h 4996841"/>
                <a:gd name="connsiteX654" fmla="*/ 2456991 w 3214184"/>
                <a:gd name="connsiteY654" fmla="*/ 975518 h 4996841"/>
                <a:gd name="connsiteX655" fmla="*/ 2457536 w 3214184"/>
                <a:gd name="connsiteY655" fmla="*/ 973884 h 4996841"/>
                <a:gd name="connsiteX656" fmla="*/ 2458353 w 3214184"/>
                <a:gd name="connsiteY656" fmla="*/ 972402 h 4996841"/>
                <a:gd name="connsiteX657" fmla="*/ 2459139 w 3214184"/>
                <a:gd name="connsiteY657" fmla="*/ 969437 h 4996841"/>
                <a:gd name="connsiteX658" fmla="*/ 2459412 w 3214184"/>
                <a:gd name="connsiteY658" fmla="*/ 965686 h 4996841"/>
                <a:gd name="connsiteX659" fmla="*/ 2458746 w 3214184"/>
                <a:gd name="connsiteY659" fmla="*/ 963750 h 4996841"/>
                <a:gd name="connsiteX660" fmla="*/ 2452907 w 3214184"/>
                <a:gd name="connsiteY660" fmla="*/ 957397 h 4996841"/>
                <a:gd name="connsiteX661" fmla="*/ 2448824 w 3214184"/>
                <a:gd name="connsiteY661" fmla="*/ 950228 h 4996841"/>
                <a:gd name="connsiteX662" fmla="*/ 2443257 w 3214184"/>
                <a:gd name="connsiteY662" fmla="*/ 946023 h 4996841"/>
                <a:gd name="connsiteX663" fmla="*/ 2439294 w 3214184"/>
                <a:gd name="connsiteY663" fmla="*/ 940729 h 4996841"/>
                <a:gd name="connsiteX664" fmla="*/ 2437691 w 3214184"/>
                <a:gd name="connsiteY664" fmla="*/ 939791 h 4996841"/>
                <a:gd name="connsiteX665" fmla="*/ 2429917 w 3214184"/>
                <a:gd name="connsiteY665" fmla="*/ 941727 h 4996841"/>
                <a:gd name="connsiteX666" fmla="*/ 2425439 w 3214184"/>
                <a:gd name="connsiteY666" fmla="*/ 939731 h 4996841"/>
                <a:gd name="connsiteX667" fmla="*/ 2423201 w 3214184"/>
                <a:gd name="connsiteY667" fmla="*/ 940517 h 4996841"/>
                <a:gd name="connsiteX668" fmla="*/ 2421113 w 3214184"/>
                <a:gd name="connsiteY668" fmla="*/ 942483 h 4996841"/>
                <a:gd name="connsiteX669" fmla="*/ 2419510 w 3214184"/>
                <a:gd name="connsiteY669" fmla="*/ 945206 h 4996841"/>
                <a:gd name="connsiteX670" fmla="*/ 2417513 w 3214184"/>
                <a:gd name="connsiteY670" fmla="*/ 947596 h 4996841"/>
                <a:gd name="connsiteX671" fmla="*/ 2412280 w 3214184"/>
                <a:gd name="connsiteY671" fmla="*/ 947959 h 4996841"/>
                <a:gd name="connsiteX672" fmla="*/ 2409920 w 3214184"/>
                <a:gd name="connsiteY672" fmla="*/ 948715 h 4996841"/>
                <a:gd name="connsiteX673" fmla="*/ 2405836 w 3214184"/>
                <a:gd name="connsiteY673" fmla="*/ 951105 h 4996841"/>
                <a:gd name="connsiteX674" fmla="*/ 2401752 w 3214184"/>
                <a:gd name="connsiteY674" fmla="*/ 952285 h 4996841"/>
                <a:gd name="connsiteX675" fmla="*/ 2400179 w 3214184"/>
                <a:gd name="connsiteY675" fmla="*/ 953223 h 4996841"/>
                <a:gd name="connsiteX676" fmla="*/ 2394885 w 3214184"/>
                <a:gd name="connsiteY676" fmla="*/ 959938 h 4996841"/>
                <a:gd name="connsiteX677" fmla="*/ 2391951 w 3214184"/>
                <a:gd name="connsiteY677" fmla="*/ 965807 h 4996841"/>
                <a:gd name="connsiteX678" fmla="*/ 2394885 w 3214184"/>
                <a:gd name="connsiteY678" fmla="*/ 968106 h 4996841"/>
                <a:gd name="connsiteX679" fmla="*/ 2403900 w 3214184"/>
                <a:gd name="connsiteY679" fmla="*/ 970194 h 4996841"/>
                <a:gd name="connsiteX680" fmla="*/ 2405987 w 3214184"/>
                <a:gd name="connsiteY680" fmla="*/ 973975 h 4996841"/>
                <a:gd name="connsiteX681" fmla="*/ 2406411 w 3214184"/>
                <a:gd name="connsiteY681" fmla="*/ 977999 h 4996841"/>
                <a:gd name="connsiteX682" fmla="*/ 2405291 w 3214184"/>
                <a:gd name="connsiteY682" fmla="*/ 988072 h 4996841"/>
                <a:gd name="connsiteX683" fmla="*/ 2403507 w 3214184"/>
                <a:gd name="connsiteY683" fmla="*/ 982052 h 4996841"/>
                <a:gd name="connsiteX684" fmla="*/ 2401359 w 3214184"/>
                <a:gd name="connsiteY684" fmla="*/ 977091 h 4996841"/>
                <a:gd name="connsiteX685" fmla="*/ 2398848 w 3214184"/>
                <a:gd name="connsiteY685" fmla="*/ 973763 h 4996841"/>
                <a:gd name="connsiteX686" fmla="*/ 2395611 w 3214184"/>
                <a:gd name="connsiteY686" fmla="*/ 972553 h 4996841"/>
                <a:gd name="connsiteX687" fmla="*/ 2391255 w 3214184"/>
                <a:gd name="connsiteY687" fmla="*/ 973733 h 4996841"/>
                <a:gd name="connsiteX688" fmla="*/ 2388986 w 3214184"/>
                <a:gd name="connsiteY688" fmla="*/ 972795 h 4996841"/>
                <a:gd name="connsiteX689" fmla="*/ 2387957 w 3214184"/>
                <a:gd name="connsiteY689" fmla="*/ 968681 h 4996841"/>
                <a:gd name="connsiteX690" fmla="*/ 2387262 w 3214184"/>
                <a:gd name="connsiteY690" fmla="*/ 966927 h 4996841"/>
                <a:gd name="connsiteX691" fmla="*/ 2382482 w 3214184"/>
                <a:gd name="connsiteY691" fmla="*/ 961663 h 4996841"/>
                <a:gd name="connsiteX692" fmla="*/ 2383844 w 3214184"/>
                <a:gd name="connsiteY692" fmla="*/ 959001 h 4996841"/>
                <a:gd name="connsiteX693" fmla="*/ 2386203 w 3214184"/>
                <a:gd name="connsiteY693" fmla="*/ 957912 h 4996841"/>
                <a:gd name="connsiteX694" fmla="*/ 2390831 w 3214184"/>
                <a:gd name="connsiteY694" fmla="*/ 956853 h 4996841"/>
                <a:gd name="connsiteX695" fmla="*/ 2392677 w 3214184"/>
                <a:gd name="connsiteY695" fmla="*/ 955492 h 4996841"/>
                <a:gd name="connsiteX696" fmla="*/ 2394371 w 3214184"/>
                <a:gd name="connsiteY696" fmla="*/ 953797 h 4996841"/>
                <a:gd name="connsiteX697" fmla="*/ 2395884 w 3214184"/>
                <a:gd name="connsiteY697" fmla="*/ 951498 h 4996841"/>
                <a:gd name="connsiteX698" fmla="*/ 2397366 w 3214184"/>
                <a:gd name="connsiteY698" fmla="*/ 948352 h 4996841"/>
                <a:gd name="connsiteX699" fmla="*/ 2400482 w 3214184"/>
                <a:gd name="connsiteY699" fmla="*/ 943421 h 4996841"/>
                <a:gd name="connsiteX700" fmla="*/ 2404596 w 3214184"/>
                <a:gd name="connsiteY700" fmla="*/ 940154 h 4996841"/>
                <a:gd name="connsiteX701" fmla="*/ 2420447 w 3214184"/>
                <a:gd name="connsiteY701" fmla="*/ 932500 h 4996841"/>
                <a:gd name="connsiteX702" fmla="*/ 2423170 w 3214184"/>
                <a:gd name="connsiteY702" fmla="*/ 928023 h 4996841"/>
                <a:gd name="connsiteX703" fmla="*/ 2422233 w 3214184"/>
                <a:gd name="connsiteY703" fmla="*/ 921580 h 4996841"/>
                <a:gd name="connsiteX704" fmla="*/ 2419389 w 3214184"/>
                <a:gd name="connsiteY704" fmla="*/ 917072 h 4996841"/>
                <a:gd name="connsiteX705" fmla="*/ 2409406 w 3214184"/>
                <a:gd name="connsiteY705" fmla="*/ 908118 h 4996841"/>
                <a:gd name="connsiteX706" fmla="*/ 2404868 w 3214184"/>
                <a:gd name="connsiteY706" fmla="*/ 906635 h 4996841"/>
                <a:gd name="connsiteX707" fmla="*/ 2394371 w 3214184"/>
                <a:gd name="connsiteY707" fmla="*/ 906151 h 4996841"/>
                <a:gd name="connsiteX708" fmla="*/ 2390469 w 3214184"/>
                <a:gd name="connsiteY708" fmla="*/ 902703 h 4996841"/>
                <a:gd name="connsiteX709" fmla="*/ 2388774 w 3214184"/>
                <a:gd name="connsiteY709" fmla="*/ 898135 h 4996841"/>
                <a:gd name="connsiteX710" fmla="*/ 2386234 w 3214184"/>
                <a:gd name="connsiteY710" fmla="*/ 888243 h 4996841"/>
                <a:gd name="connsiteX711" fmla="*/ 2383874 w 3214184"/>
                <a:gd name="connsiteY711" fmla="*/ 884522 h 4996841"/>
                <a:gd name="connsiteX712" fmla="*/ 2378882 w 3214184"/>
                <a:gd name="connsiteY712" fmla="*/ 882011 h 4996841"/>
                <a:gd name="connsiteX713" fmla="*/ 2366237 w 3214184"/>
                <a:gd name="connsiteY713" fmla="*/ 885066 h 4996841"/>
                <a:gd name="connsiteX714" fmla="*/ 2347602 w 3214184"/>
                <a:gd name="connsiteY714" fmla="*/ 886216 h 4996841"/>
                <a:gd name="connsiteX715" fmla="*/ 2328241 w 3214184"/>
                <a:gd name="connsiteY715" fmla="*/ 891631 h 4996841"/>
                <a:gd name="connsiteX716" fmla="*/ 2308064 w 3214184"/>
                <a:gd name="connsiteY716" fmla="*/ 893930 h 4996841"/>
                <a:gd name="connsiteX717" fmla="*/ 2310695 w 3214184"/>
                <a:gd name="connsiteY717" fmla="*/ 890148 h 4996841"/>
                <a:gd name="connsiteX718" fmla="*/ 2319257 w 3214184"/>
                <a:gd name="connsiteY718" fmla="*/ 884552 h 4996841"/>
                <a:gd name="connsiteX719" fmla="*/ 2319378 w 3214184"/>
                <a:gd name="connsiteY719" fmla="*/ 880498 h 4996841"/>
                <a:gd name="connsiteX720" fmla="*/ 2317744 w 3214184"/>
                <a:gd name="connsiteY720" fmla="*/ 878350 h 4996841"/>
                <a:gd name="connsiteX721" fmla="*/ 2289580 w 3214184"/>
                <a:gd name="connsiteY721" fmla="*/ 864737 h 4996841"/>
                <a:gd name="connsiteX722" fmla="*/ 2273032 w 3214184"/>
                <a:gd name="connsiteY722" fmla="*/ 859897 h 4996841"/>
                <a:gd name="connsiteX723" fmla="*/ 2268555 w 3214184"/>
                <a:gd name="connsiteY723" fmla="*/ 861258 h 4996841"/>
                <a:gd name="connsiteX724" fmla="*/ 2264925 w 3214184"/>
                <a:gd name="connsiteY724" fmla="*/ 866250 h 4996841"/>
                <a:gd name="connsiteX725" fmla="*/ 2254912 w 3214184"/>
                <a:gd name="connsiteY725" fmla="*/ 887668 h 4996841"/>
                <a:gd name="connsiteX726" fmla="*/ 2238485 w 3214184"/>
                <a:gd name="connsiteY726" fmla="*/ 914410 h 4996841"/>
                <a:gd name="connsiteX727" fmla="*/ 2217854 w 3214184"/>
                <a:gd name="connsiteY727" fmla="*/ 938248 h 4996841"/>
                <a:gd name="connsiteX728" fmla="*/ 2216885 w 3214184"/>
                <a:gd name="connsiteY728" fmla="*/ 939095 h 4996841"/>
                <a:gd name="connsiteX729" fmla="*/ 2216432 w 3214184"/>
                <a:gd name="connsiteY729" fmla="*/ 940426 h 4996841"/>
                <a:gd name="connsiteX730" fmla="*/ 2216976 w 3214184"/>
                <a:gd name="connsiteY730" fmla="*/ 942816 h 4996841"/>
                <a:gd name="connsiteX731" fmla="*/ 2214950 w 3214184"/>
                <a:gd name="connsiteY731" fmla="*/ 944571 h 4996841"/>
                <a:gd name="connsiteX732" fmla="*/ 2208022 w 3214184"/>
                <a:gd name="connsiteY732" fmla="*/ 947535 h 4996841"/>
                <a:gd name="connsiteX733" fmla="*/ 2202123 w 3214184"/>
                <a:gd name="connsiteY733" fmla="*/ 953102 h 4996841"/>
                <a:gd name="connsiteX734" fmla="*/ 2200429 w 3214184"/>
                <a:gd name="connsiteY734" fmla="*/ 953949 h 4996841"/>
                <a:gd name="connsiteX735" fmla="*/ 2198916 w 3214184"/>
                <a:gd name="connsiteY735" fmla="*/ 955129 h 4996841"/>
                <a:gd name="connsiteX736" fmla="*/ 2195952 w 3214184"/>
                <a:gd name="connsiteY736" fmla="*/ 960513 h 4996841"/>
                <a:gd name="connsiteX737" fmla="*/ 2194257 w 3214184"/>
                <a:gd name="connsiteY737" fmla="*/ 961723 h 4996841"/>
                <a:gd name="connsiteX738" fmla="*/ 2192473 w 3214184"/>
                <a:gd name="connsiteY738" fmla="*/ 962570 h 4996841"/>
                <a:gd name="connsiteX739" fmla="*/ 2186634 w 3214184"/>
                <a:gd name="connsiteY739" fmla="*/ 967985 h 4996841"/>
                <a:gd name="connsiteX740" fmla="*/ 2162796 w 3214184"/>
                <a:gd name="connsiteY740" fmla="*/ 975337 h 4996841"/>
                <a:gd name="connsiteX741" fmla="*/ 2153993 w 3214184"/>
                <a:gd name="connsiteY741" fmla="*/ 980540 h 4996841"/>
                <a:gd name="connsiteX742" fmla="*/ 2131637 w 3214184"/>
                <a:gd name="connsiteY742" fmla="*/ 984200 h 4996841"/>
                <a:gd name="connsiteX743" fmla="*/ 2122986 w 3214184"/>
                <a:gd name="connsiteY743" fmla="*/ 988587 h 4996841"/>
                <a:gd name="connsiteX744" fmla="*/ 2115543 w 3214184"/>
                <a:gd name="connsiteY744" fmla="*/ 997602 h 4996841"/>
                <a:gd name="connsiteX745" fmla="*/ 2098996 w 3214184"/>
                <a:gd name="connsiteY745" fmla="*/ 1024737 h 4996841"/>
                <a:gd name="connsiteX746" fmla="*/ 2079696 w 3214184"/>
                <a:gd name="connsiteY746" fmla="*/ 1043372 h 4996841"/>
                <a:gd name="connsiteX747" fmla="*/ 2058247 w 3214184"/>
                <a:gd name="connsiteY747" fmla="*/ 1057288 h 4996841"/>
                <a:gd name="connsiteX748" fmla="*/ 2049474 w 3214184"/>
                <a:gd name="connsiteY748" fmla="*/ 1059980 h 4996841"/>
                <a:gd name="connsiteX749" fmla="*/ 2034106 w 3214184"/>
                <a:gd name="connsiteY749" fmla="*/ 1070992 h 4996841"/>
                <a:gd name="connsiteX750" fmla="*/ 2026301 w 3214184"/>
                <a:gd name="connsiteY750" fmla="*/ 1083304 h 4996841"/>
                <a:gd name="connsiteX751" fmla="*/ 2025243 w 3214184"/>
                <a:gd name="connsiteY751" fmla="*/ 1086269 h 4996841"/>
                <a:gd name="connsiteX752" fmla="*/ 2024426 w 3214184"/>
                <a:gd name="connsiteY752" fmla="*/ 1089475 h 4996841"/>
                <a:gd name="connsiteX753" fmla="*/ 2023186 w 3214184"/>
                <a:gd name="connsiteY753" fmla="*/ 1096040 h 4996841"/>
                <a:gd name="connsiteX754" fmla="*/ 2022430 w 3214184"/>
                <a:gd name="connsiteY754" fmla="*/ 1101697 h 4996841"/>
                <a:gd name="connsiteX755" fmla="*/ 2022309 w 3214184"/>
                <a:gd name="connsiteY755" fmla="*/ 1106597 h 4996841"/>
                <a:gd name="connsiteX756" fmla="*/ 2022550 w 3214184"/>
                <a:gd name="connsiteY756" fmla="*/ 1116792 h 4996841"/>
                <a:gd name="connsiteX757" fmla="*/ 2023458 w 3214184"/>
                <a:gd name="connsiteY757" fmla="*/ 1121602 h 4996841"/>
                <a:gd name="connsiteX758" fmla="*/ 2025485 w 3214184"/>
                <a:gd name="connsiteY758" fmla="*/ 1126866 h 4996841"/>
                <a:gd name="connsiteX759" fmla="*/ 2029478 w 3214184"/>
                <a:gd name="connsiteY759" fmla="*/ 1134399 h 4996841"/>
                <a:gd name="connsiteX760" fmla="*/ 2038705 w 3214184"/>
                <a:gd name="connsiteY760" fmla="*/ 1144503 h 4996841"/>
                <a:gd name="connsiteX761" fmla="*/ 2063027 w 3214184"/>
                <a:gd name="connsiteY761" fmla="*/ 1189063 h 4996841"/>
                <a:gd name="connsiteX762" fmla="*/ 2065266 w 3214184"/>
                <a:gd name="connsiteY762" fmla="*/ 1191755 h 4996841"/>
                <a:gd name="connsiteX763" fmla="*/ 2075854 w 3214184"/>
                <a:gd name="connsiteY763" fmla="*/ 1197352 h 4996841"/>
                <a:gd name="connsiteX764" fmla="*/ 2079060 w 3214184"/>
                <a:gd name="connsiteY764" fmla="*/ 1200740 h 4996841"/>
                <a:gd name="connsiteX765" fmla="*/ 2079938 w 3214184"/>
                <a:gd name="connsiteY765" fmla="*/ 1202827 h 4996841"/>
                <a:gd name="connsiteX766" fmla="*/ 2080845 w 3214184"/>
                <a:gd name="connsiteY766" fmla="*/ 1207214 h 4996841"/>
                <a:gd name="connsiteX767" fmla="*/ 2081510 w 3214184"/>
                <a:gd name="connsiteY767" fmla="*/ 1209029 h 4996841"/>
                <a:gd name="connsiteX768" fmla="*/ 2082751 w 3214184"/>
                <a:gd name="connsiteY768" fmla="*/ 1210965 h 4996841"/>
                <a:gd name="connsiteX769" fmla="*/ 2086714 w 3214184"/>
                <a:gd name="connsiteY769" fmla="*/ 1215714 h 4996841"/>
                <a:gd name="connsiteX770" fmla="*/ 2088438 w 3214184"/>
                <a:gd name="connsiteY770" fmla="*/ 1218830 h 4996841"/>
                <a:gd name="connsiteX771" fmla="*/ 2089648 w 3214184"/>
                <a:gd name="connsiteY771" fmla="*/ 1222400 h 4996841"/>
                <a:gd name="connsiteX772" fmla="*/ 2094186 w 3214184"/>
                <a:gd name="connsiteY772" fmla="*/ 1243213 h 4996841"/>
                <a:gd name="connsiteX773" fmla="*/ 2095578 w 3214184"/>
                <a:gd name="connsiteY773" fmla="*/ 1247115 h 4996841"/>
                <a:gd name="connsiteX774" fmla="*/ 2097877 w 3214184"/>
                <a:gd name="connsiteY774" fmla="*/ 1249536 h 4996841"/>
                <a:gd name="connsiteX775" fmla="*/ 2101143 w 3214184"/>
                <a:gd name="connsiteY775" fmla="*/ 1251804 h 4996841"/>
                <a:gd name="connsiteX776" fmla="*/ 2103685 w 3214184"/>
                <a:gd name="connsiteY776" fmla="*/ 1254678 h 4996841"/>
                <a:gd name="connsiteX777" fmla="*/ 2103988 w 3214184"/>
                <a:gd name="connsiteY777" fmla="*/ 1259095 h 4996841"/>
                <a:gd name="connsiteX778" fmla="*/ 2102021 w 3214184"/>
                <a:gd name="connsiteY778" fmla="*/ 1256735 h 4996841"/>
                <a:gd name="connsiteX779" fmla="*/ 2099541 w 3214184"/>
                <a:gd name="connsiteY779" fmla="*/ 1255707 h 4996841"/>
                <a:gd name="connsiteX780" fmla="*/ 2097090 w 3214184"/>
                <a:gd name="connsiteY780" fmla="*/ 1255979 h 4996841"/>
                <a:gd name="connsiteX781" fmla="*/ 2093369 w 3214184"/>
                <a:gd name="connsiteY781" fmla="*/ 1258793 h 4996841"/>
                <a:gd name="connsiteX782" fmla="*/ 2093097 w 3214184"/>
                <a:gd name="connsiteY782" fmla="*/ 1259942 h 4996841"/>
                <a:gd name="connsiteX783" fmla="*/ 2093006 w 3214184"/>
                <a:gd name="connsiteY783" fmla="*/ 1262786 h 4996841"/>
                <a:gd name="connsiteX784" fmla="*/ 2093097 w 3214184"/>
                <a:gd name="connsiteY784" fmla="*/ 1264419 h 4996841"/>
                <a:gd name="connsiteX785" fmla="*/ 2093369 w 3214184"/>
                <a:gd name="connsiteY785" fmla="*/ 1266083 h 4996841"/>
                <a:gd name="connsiteX786" fmla="*/ 2093914 w 3214184"/>
                <a:gd name="connsiteY786" fmla="*/ 1267414 h 4996841"/>
                <a:gd name="connsiteX787" fmla="*/ 2094670 w 3214184"/>
                <a:gd name="connsiteY787" fmla="*/ 1267989 h 4996841"/>
                <a:gd name="connsiteX788" fmla="*/ 2096061 w 3214184"/>
                <a:gd name="connsiteY788" fmla="*/ 1270893 h 4996841"/>
                <a:gd name="connsiteX789" fmla="*/ 2099177 w 3214184"/>
                <a:gd name="connsiteY789" fmla="*/ 1284506 h 4996841"/>
                <a:gd name="connsiteX790" fmla="*/ 2101143 w 3214184"/>
                <a:gd name="connsiteY790" fmla="*/ 1288802 h 4996841"/>
                <a:gd name="connsiteX791" fmla="*/ 2102293 w 3214184"/>
                <a:gd name="connsiteY791" fmla="*/ 1290617 h 4996841"/>
                <a:gd name="connsiteX792" fmla="*/ 2103655 w 3214184"/>
                <a:gd name="connsiteY792" fmla="*/ 1293763 h 4996841"/>
                <a:gd name="connsiteX793" fmla="*/ 2104804 w 3214184"/>
                <a:gd name="connsiteY793" fmla="*/ 1297121 h 4996841"/>
                <a:gd name="connsiteX794" fmla="*/ 2105288 w 3214184"/>
                <a:gd name="connsiteY794" fmla="*/ 1301205 h 4996841"/>
                <a:gd name="connsiteX795" fmla="*/ 2103655 w 3214184"/>
                <a:gd name="connsiteY795" fmla="*/ 1304986 h 4996841"/>
                <a:gd name="connsiteX796" fmla="*/ 2099903 w 3214184"/>
                <a:gd name="connsiteY796" fmla="*/ 1305349 h 4996841"/>
                <a:gd name="connsiteX797" fmla="*/ 2092008 w 3214184"/>
                <a:gd name="connsiteY797" fmla="*/ 1302990 h 4996841"/>
                <a:gd name="connsiteX798" fmla="*/ 2089255 w 3214184"/>
                <a:gd name="connsiteY798" fmla="*/ 1300993 h 4996841"/>
                <a:gd name="connsiteX799" fmla="*/ 2087772 w 3214184"/>
                <a:gd name="connsiteY799" fmla="*/ 1300539 h 4996841"/>
                <a:gd name="connsiteX800" fmla="*/ 2073191 w 3214184"/>
                <a:gd name="connsiteY800" fmla="*/ 1301901 h 4996841"/>
                <a:gd name="connsiteX801" fmla="*/ 2069894 w 3214184"/>
                <a:gd name="connsiteY801" fmla="*/ 1301265 h 4996841"/>
                <a:gd name="connsiteX802" fmla="*/ 2067051 w 3214184"/>
                <a:gd name="connsiteY802" fmla="*/ 1298240 h 4996841"/>
                <a:gd name="connsiteX803" fmla="*/ 2062754 w 3214184"/>
                <a:gd name="connsiteY803" fmla="*/ 1292099 h 4996841"/>
                <a:gd name="connsiteX804" fmla="*/ 2057945 w 3214184"/>
                <a:gd name="connsiteY804" fmla="*/ 1287622 h 4996841"/>
                <a:gd name="connsiteX805" fmla="*/ 2040490 w 3214184"/>
                <a:gd name="connsiteY805" fmla="*/ 1277246 h 4996841"/>
                <a:gd name="connsiteX806" fmla="*/ 2036527 w 3214184"/>
                <a:gd name="connsiteY806" fmla="*/ 1275945 h 4996841"/>
                <a:gd name="connsiteX807" fmla="*/ 2033592 w 3214184"/>
                <a:gd name="connsiteY807" fmla="*/ 1276822 h 4996841"/>
                <a:gd name="connsiteX808" fmla="*/ 2032442 w 3214184"/>
                <a:gd name="connsiteY808" fmla="*/ 1279545 h 4996841"/>
                <a:gd name="connsiteX809" fmla="*/ 2030628 w 3214184"/>
                <a:gd name="connsiteY809" fmla="*/ 1289104 h 4996841"/>
                <a:gd name="connsiteX810" fmla="*/ 2030083 w 3214184"/>
                <a:gd name="connsiteY810" fmla="*/ 1293037 h 4996841"/>
                <a:gd name="connsiteX811" fmla="*/ 2033411 w 3214184"/>
                <a:gd name="connsiteY811" fmla="*/ 1291555 h 4996841"/>
                <a:gd name="connsiteX812" fmla="*/ 2037827 w 3214184"/>
                <a:gd name="connsiteY812" fmla="*/ 1288348 h 4996841"/>
                <a:gd name="connsiteX813" fmla="*/ 2041821 w 3214184"/>
                <a:gd name="connsiteY813" fmla="*/ 1287108 h 4996841"/>
                <a:gd name="connsiteX814" fmla="*/ 2043878 w 3214184"/>
                <a:gd name="connsiteY814" fmla="*/ 1291736 h 4996841"/>
                <a:gd name="connsiteX815" fmla="*/ 2041578 w 3214184"/>
                <a:gd name="connsiteY815" fmla="*/ 1291615 h 4996841"/>
                <a:gd name="connsiteX816" fmla="*/ 2035740 w 3214184"/>
                <a:gd name="connsiteY816" fmla="*/ 1293612 h 4996841"/>
                <a:gd name="connsiteX817" fmla="*/ 2033592 w 3214184"/>
                <a:gd name="connsiteY817" fmla="*/ 1295306 h 4996841"/>
                <a:gd name="connsiteX818" fmla="*/ 2028117 w 3214184"/>
                <a:gd name="connsiteY818" fmla="*/ 1296365 h 4996841"/>
                <a:gd name="connsiteX819" fmla="*/ 2026090 w 3214184"/>
                <a:gd name="connsiteY819" fmla="*/ 1297454 h 4996841"/>
                <a:gd name="connsiteX820" fmla="*/ 2027421 w 3214184"/>
                <a:gd name="connsiteY820" fmla="*/ 1300509 h 4996841"/>
                <a:gd name="connsiteX821" fmla="*/ 2025031 w 3214184"/>
                <a:gd name="connsiteY821" fmla="*/ 1301901 h 4996841"/>
                <a:gd name="connsiteX822" fmla="*/ 2007939 w 3214184"/>
                <a:gd name="connsiteY822" fmla="*/ 1304109 h 4996841"/>
                <a:gd name="connsiteX823" fmla="*/ 1995657 w 3214184"/>
                <a:gd name="connsiteY823" fmla="*/ 1296274 h 4996841"/>
                <a:gd name="connsiteX824" fmla="*/ 1989607 w 3214184"/>
                <a:gd name="connsiteY824" fmla="*/ 1290829 h 4996841"/>
                <a:gd name="connsiteX825" fmla="*/ 1985311 w 3214184"/>
                <a:gd name="connsiteY825" fmla="*/ 1287471 h 4996841"/>
                <a:gd name="connsiteX826" fmla="*/ 1984192 w 3214184"/>
                <a:gd name="connsiteY826" fmla="*/ 1283810 h 4996841"/>
                <a:gd name="connsiteX827" fmla="*/ 1981409 w 3214184"/>
                <a:gd name="connsiteY827" fmla="*/ 1282358 h 4996841"/>
                <a:gd name="connsiteX828" fmla="*/ 1975933 w 3214184"/>
                <a:gd name="connsiteY828" fmla="*/ 1282540 h 4996841"/>
                <a:gd name="connsiteX829" fmla="*/ 1965224 w 3214184"/>
                <a:gd name="connsiteY829" fmla="*/ 1278910 h 4996841"/>
                <a:gd name="connsiteX830" fmla="*/ 1955090 w 3214184"/>
                <a:gd name="connsiteY830" fmla="*/ 1271286 h 4996841"/>
                <a:gd name="connsiteX831" fmla="*/ 1943080 w 3214184"/>
                <a:gd name="connsiteY831" fmla="*/ 1263633 h 4996841"/>
                <a:gd name="connsiteX832" fmla="*/ 1938149 w 3214184"/>
                <a:gd name="connsiteY832" fmla="*/ 1261818 h 4996841"/>
                <a:gd name="connsiteX833" fmla="*/ 1932462 w 3214184"/>
                <a:gd name="connsiteY833" fmla="*/ 1261515 h 4996841"/>
                <a:gd name="connsiteX834" fmla="*/ 1924566 w 3214184"/>
                <a:gd name="connsiteY834" fmla="*/ 1260365 h 4996841"/>
                <a:gd name="connsiteX835" fmla="*/ 1913070 w 3214184"/>
                <a:gd name="connsiteY835" fmla="*/ 1255828 h 4996841"/>
                <a:gd name="connsiteX836" fmla="*/ 1901787 w 3214184"/>
                <a:gd name="connsiteY836" fmla="*/ 1251683 h 4996841"/>
                <a:gd name="connsiteX837" fmla="*/ 1896976 w 3214184"/>
                <a:gd name="connsiteY837" fmla="*/ 1246783 h 4996841"/>
                <a:gd name="connsiteX838" fmla="*/ 1895374 w 3214184"/>
                <a:gd name="connsiteY838" fmla="*/ 1245119 h 4996841"/>
                <a:gd name="connsiteX839" fmla="*/ 1892469 w 3214184"/>
                <a:gd name="connsiteY839" fmla="*/ 1244998 h 4996841"/>
                <a:gd name="connsiteX840" fmla="*/ 1892197 w 3214184"/>
                <a:gd name="connsiteY840" fmla="*/ 1248507 h 4996841"/>
                <a:gd name="connsiteX841" fmla="*/ 1893135 w 3214184"/>
                <a:gd name="connsiteY841" fmla="*/ 1250443 h 4996841"/>
                <a:gd name="connsiteX842" fmla="*/ 1898913 w 3214184"/>
                <a:gd name="connsiteY842" fmla="*/ 1255707 h 4996841"/>
                <a:gd name="connsiteX843" fmla="*/ 1899821 w 3214184"/>
                <a:gd name="connsiteY843" fmla="*/ 1256040 h 4996841"/>
                <a:gd name="connsiteX844" fmla="*/ 1897884 w 3214184"/>
                <a:gd name="connsiteY844" fmla="*/ 1261273 h 4996841"/>
                <a:gd name="connsiteX845" fmla="*/ 1894677 w 3214184"/>
                <a:gd name="connsiteY845" fmla="*/ 1261394 h 4996841"/>
                <a:gd name="connsiteX846" fmla="*/ 1888143 w 3214184"/>
                <a:gd name="connsiteY846" fmla="*/ 1257401 h 4996841"/>
                <a:gd name="connsiteX847" fmla="*/ 1884483 w 3214184"/>
                <a:gd name="connsiteY847" fmla="*/ 1258036 h 4996841"/>
                <a:gd name="connsiteX848" fmla="*/ 1877979 w 3214184"/>
                <a:gd name="connsiteY848" fmla="*/ 1263693 h 4996841"/>
                <a:gd name="connsiteX849" fmla="*/ 1874651 w 3214184"/>
                <a:gd name="connsiteY849" fmla="*/ 1265054 h 4996841"/>
                <a:gd name="connsiteX850" fmla="*/ 1870991 w 3214184"/>
                <a:gd name="connsiteY850" fmla="*/ 1265054 h 4996841"/>
                <a:gd name="connsiteX851" fmla="*/ 1869085 w 3214184"/>
                <a:gd name="connsiteY851" fmla="*/ 1265659 h 4996841"/>
                <a:gd name="connsiteX852" fmla="*/ 1867814 w 3214184"/>
                <a:gd name="connsiteY852" fmla="*/ 1267142 h 4996841"/>
                <a:gd name="connsiteX853" fmla="*/ 1867149 w 3214184"/>
                <a:gd name="connsiteY853" fmla="*/ 1269834 h 4996841"/>
                <a:gd name="connsiteX854" fmla="*/ 1867391 w 3214184"/>
                <a:gd name="connsiteY854" fmla="*/ 1274069 h 4996841"/>
                <a:gd name="connsiteX855" fmla="*/ 1866725 w 3214184"/>
                <a:gd name="connsiteY855" fmla="*/ 1276762 h 4996841"/>
                <a:gd name="connsiteX856" fmla="*/ 1865394 w 3214184"/>
                <a:gd name="connsiteY856" fmla="*/ 1278153 h 4996841"/>
                <a:gd name="connsiteX857" fmla="*/ 1861401 w 3214184"/>
                <a:gd name="connsiteY857" fmla="*/ 1279454 h 4996841"/>
                <a:gd name="connsiteX858" fmla="*/ 1859798 w 3214184"/>
                <a:gd name="connsiteY858" fmla="*/ 1280452 h 4996841"/>
                <a:gd name="connsiteX859" fmla="*/ 1858285 w 3214184"/>
                <a:gd name="connsiteY859" fmla="*/ 1281935 h 4996841"/>
                <a:gd name="connsiteX860" fmla="*/ 1856652 w 3214184"/>
                <a:gd name="connsiteY860" fmla="*/ 1282873 h 4996841"/>
                <a:gd name="connsiteX861" fmla="*/ 1855200 w 3214184"/>
                <a:gd name="connsiteY861" fmla="*/ 1282389 h 4996841"/>
                <a:gd name="connsiteX862" fmla="*/ 1854322 w 3214184"/>
                <a:gd name="connsiteY862" fmla="*/ 1279726 h 4996841"/>
                <a:gd name="connsiteX863" fmla="*/ 1859707 w 3214184"/>
                <a:gd name="connsiteY863" fmla="*/ 1276610 h 4996841"/>
                <a:gd name="connsiteX864" fmla="*/ 1861190 w 3214184"/>
                <a:gd name="connsiteY864" fmla="*/ 1275279 h 4996841"/>
                <a:gd name="connsiteX865" fmla="*/ 1862763 w 3214184"/>
                <a:gd name="connsiteY865" fmla="*/ 1273041 h 4996841"/>
                <a:gd name="connsiteX866" fmla="*/ 1862974 w 3214184"/>
                <a:gd name="connsiteY866" fmla="*/ 1271559 h 4996841"/>
                <a:gd name="connsiteX867" fmla="*/ 1862097 w 3214184"/>
                <a:gd name="connsiteY867" fmla="*/ 1270076 h 4996841"/>
                <a:gd name="connsiteX868" fmla="*/ 1854897 w 3214184"/>
                <a:gd name="connsiteY868" fmla="*/ 1261213 h 4996841"/>
                <a:gd name="connsiteX869" fmla="*/ 1853989 w 3214184"/>
                <a:gd name="connsiteY869" fmla="*/ 1257219 h 4996841"/>
                <a:gd name="connsiteX870" fmla="*/ 1857045 w 3214184"/>
                <a:gd name="connsiteY870" fmla="*/ 1253045 h 4996841"/>
                <a:gd name="connsiteX871" fmla="*/ 1859192 w 3214184"/>
                <a:gd name="connsiteY871" fmla="*/ 1252107 h 4996841"/>
                <a:gd name="connsiteX872" fmla="*/ 1866725 w 3214184"/>
                <a:gd name="connsiteY872" fmla="*/ 1251411 h 4996841"/>
                <a:gd name="connsiteX873" fmla="*/ 1874954 w 3214184"/>
                <a:gd name="connsiteY873" fmla="*/ 1253045 h 4996841"/>
                <a:gd name="connsiteX874" fmla="*/ 1876648 w 3214184"/>
                <a:gd name="connsiteY874" fmla="*/ 1252258 h 4996841"/>
                <a:gd name="connsiteX875" fmla="*/ 1879945 w 3214184"/>
                <a:gd name="connsiteY875" fmla="*/ 1248114 h 4996841"/>
                <a:gd name="connsiteX876" fmla="*/ 1883394 w 3214184"/>
                <a:gd name="connsiteY876" fmla="*/ 1249657 h 4996841"/>
                <a:gd name="connsiteX877" fmla="*/ 1887055 w 3214184"/>
                <a:gd name="connsiteY877" fmla="*/ 1253105 h 4996841"/>
                <a:gd name="connsiteX878" fmla="*/ 1890866 w 3214184"/>
                <a:gd name="connsiteY878" fmla="*/ 1254497 h 4996841"/>
                <a:gd name="connsiteX879" fmla="*/ 1890200 w 3214184"/>
                <a:gd name="connsiteY879" fmla="*/ 1251925 h 4996841"/>
                <a:gd name="connsiteX880" fmla="*/ 1887992 w 3214184"/>
                <a:gd name="connsiteY880" fmla="*/ 1249384 h 4996841"/>
                <a:gd name="connsiteX881" fmla="*/ 1887387 w 3214184"/>
                <a:gd name="connsiteY881" fmla="*/ 1246964 h 4996841"/>
                <a:gd name="connsiteX882" fmla="*/ 1887871 w 3214184"/>
                <a:gd name="connsiteY882" fmla="*/ 1243667 h 4996841"/>
                <a:gd name="connsiteX883" fmla="*/ 1889081 w 3214184"/>
                <a:gd name="connsiteY883" fmla="*/ 1239250 h 4996841"/>
                <a:gd name="connsiteX884" fmla="*/ 1886358 w 3214184"/>
                <a:gd name="connsiteY884" fmla="*/ 1237556 h 4996841"/>
                <a:gd name="connsiteX885" fmla="*/ 1876194 w 3214184"/>
                <a:gd name="connsiteY885" fmla="*/ 1238857 h 4996841"/>
                <a:gd name="connsiteX886" fmla="*/ 1864820 w 3214184"/>
                <a:gd name="connsiteY886" fmla="*/ 1239371 h 4996841"/>
                <a:gd name="connsiteX887" fmla="*/ 1855018 w 3214184"/>
                <a:gd name="connsiteY887" fmla="*/ 1237284 h 4996841"/>
                <a:gd name="connsiteX888" fmla="*/ 1829667 w 3214184"/>
                <a:gd name="connsiteY888" fmla="*/ 1222702 h 4996841"/>
                <a:gd name="connsiteX889" fmla="*/ 1821984 w 3214184"/>
                <a:gd name="connsiteY889" fmla="*/ 1214383 h 4996841"/>
                <a:gd name="connsiteX890" fmla="*/ 1820592 w 3214184"/>
                <a:gd name="connsiteY890" fmla="*/ 1210330 h 4996841"/>
                <a:gd name="connsiteX891" fmla="*/ 1821711 w 3214184"/>
                <a:gd name="connsiteY891" fmla="*/ 1205792 h 4996841"/>
                <a:gd name="connsiteX892" fmla="*/ 1820773 w 3214184"/>
                <a:gd name="connsiteY892" fmla="*/ 1201587 h 4996841"/>
                <a:gd name="connsiteX893" fmla="*/ 1817446 w 3214184"/>
                <a:gd name="connsiteY893" fmla="*/ 1197564 h 4996841"/>
                <a:gd name="connsiteX894" fmla="*/ 1812242 w 3214184"/>
                <a:gd name="connsiteY894" fmla="*/ 1196081 h 4996841"/>
                <a:gd name="connsiteX895" fmla="*/ 1806586 w 3214184"/>
                <a:gd name="connsiteY895" fmla="*/ 1194841 h 4996841"/>
                <a:gd name="connsiteX896" fmla="*/ 1800051 w 3214184"/>
                <a:gd name="connsiteY896" fmla="*/ 1190091 h 4996841"/>
                <a:gd name="connsiteX897" fmla="*/ 1789796 w 3214184"/>
                <a:gd name="connsiteY897" fmla="*/ 1183013 h 4996841"/>
                <a:gd name="connsiteX898" fmla="*/ 1782354 w 3214184"/>
                <a:gd name="connsiteY898" fmla="*/ 1180441 h 4996841"/>
                <a:gd name="connsiteX899" fmla="*/ 1771615 w 3214184"/>
                <a:gd name="connsiteY899" fmla="*/ 1174603 h 4996841"/>
                <a:gd name="connsiteX900" fmla="*/ 1762691 w 3214184"/>
                <a:gd name="connsiteY900" fmla="*/ 1170821 h 4996841"/>
                <a:gd name="connsiteX901" fmla="*/ 1755854 w 3214184"/>
                <a:gd name="connsiteY901" fmla="*/ 1168522 h 4996841"/>
                <a:gd name="connsiteX902" fmla="*/ 1750499 w 3214184"/>
                <a:gd name="connsiteY902" fmla="*/ 1167373 h 4996841"/>
                <a:gd name="connsiteX903" fmla="*/ 1747565 w 3214184"/>
                <a:gd name="connsiteY903" fmla="*/ 1168885 h 4996841"/>
                <a:gd name="connsiteX904" fmla="*/ 1744661 w 3214184"/>
                <a:gd name="connsiteY904" fmla="*/ 1170368 h 4996841"/>
                <a:gd name="connsiteX905" fmla="*/ 1739669 w 3214184"/>
                <a:gd name="connsiteY905" fmla="*/ 1172273 h 4996841"/>
                <a:gd name="connsiteX906" fmla="*/ 1731592 w 3214184"/>
                <a:gd name="connsiteY906" fmla="*/ 1173060 h 4996841"/>
                <a:gd name="connsiteX907" fmla="*/ 1731380 w 3214184"/>
                <a:gd name="connsiteY907" fmla="*/ 1176539 h 4996841"/>
                <a:gd name="connsiteX908" fmla="*/ 1735978 w 3214184"/>
                <a:gd name="connsiteY908" fmla="*/ 1180562 h 4996841"/>
                <a:gd name="connsiteX909" fmla="*/ 1736342 w 3214184"/>
                <a:gd name="connsiteY909" fmla="*/ 1188700 h 4996841"/>
                <a:gd name="connsiteX910" fmla="*/ 1735857 w 3214184"/>
                <a:gd name="connsiteY910" fmla="*/ 1191211 h 4996841"/>
                <a:gd name="connsiteX911" fmla="*/ 1732560 w 3214184"/>
                <a:gd name="connsiteY911" fmla="*/ 1198532 h 4996841"/>
                <a:gd name="connsiteX912" fmla="*/ 1732076 w 3214184"/>
                <a:gd name="connsiteY912" fmla="*/ 1200921 h 4996841"/>
                <a:gd name="connsiteX913" fmla="*/ 1729868 w 3214184"/>
                <a:gd name="connsiteY913" fmla="*/ 1206790 h 4996841"/>
                <a:gd name="connsiteX914" fmla="*/ 1731018 w 3214184"/>
                <a:gd name="connsiteY914" fmla="*/ 1210693 h 4996841"/>
                <a:gd name="connsiteX915" fmla="*/ 1730322 w 3214184"/>
                <a:gd name="connsiteY915" fmla="*/ 1214323 h 4996841"/>
                <a:gd name="connsiteX916" fmla="*/ 1725754 w 3214184"/>
                <a:gd name="connsiteY916" fmla="*/ 1216289 h 4996841"/>
                <a:gd name="connsiteX917" fmla="*/ 1719038 w 3214184"/>
                <a:gd name="connsiteY917" fmla="*/ 1218649 h 4996841"/>
                <a:gd name="connsiteX918" fmla="*/ 1714984 w 3214184"/>
                <a:gd name="connsiteY918" fmla="*/ 1221160 h 4996841"/>
                <a:gd name="connsiteX919" fmla="*/ 1712564 w 3214184"/>
                <a:gd name="connsiteY919" fmla="*/ 1226302 h 4996841"/>
                <a:gd name="connsiteX920" fmla="*/ 1706302 w 3214184"/>
                <a:gd name="connsiteY920" fmla="*/ 1226726 h 4996841"/>
                <a:gd name="connsiteX921" fmla="*/ 1703126 w 3214184"/>
                <a:gd name="connsiteY921" fmla="*/ 1221129 h 4996841"/>
                <a:gd name="connsiteX922" fmla="*/ 1695956 w 3214184"/>
                <a:gd name="connsiteY922" fmla="*/ 1219798 h 4996841"/>
                <a:gd name="connsiteX923" fmla="*/ 1693324 w 3214184"/>
                <a:gd name="connsiteY923" fmla="*/ 1223519 h 4996841"/>
                <a:gd name="connsiteX924" fmla="*/ 1695351 w 3214184"/>
                <a:gd name="connsiteY924" fmla="*/ 1229963 h 4996841"/>
                <a:gd name="connsiteX925" fmla="*/ 1696682 w 3214184"/>
                <a:gd name="connsiteY925" fmla="*/ 1234743 h 4996841"/>
                <a:gd name="connsiteX926" fmla="*/ 1698860 w 3214184"/>
                <a:gd name="connsiteY926" fmla="*/ 1237919 h 4996841"/>
                <a:gd name="connsiteX927" fmla="*/ 1706665 w 3214184"/>
                <a:gd name="connsiteY927" fmla="*/ 1242578 h 4996841"/>
                <a:gd name="connsiteX928" fmla="*/ 1704940 w 3214184"/>
                <a:gd name="connsiteY928" fmla="*/ 1243788 h 4996841"/>
                <a:gd name="connsiteX929" fmla="*/ 1699798 w 3214184"/>
                <a:gd name="connsiteY929" fmla="*/ 1241216 h 4996841"/>
                <a:gd name="connsiteX930" fmla="*/ 1700796 w 3214184"/>
                <a:gd name="connsiteY930" fmla="*/ 1243515 h 4996841"/>
                <a:gd name="connsiteX931" fmla="*/ 1701401 w 3214184"/>
                <a:gd name="connsiteY931" fmla="*/ 1248507 h 4996841"/>
                <a:gd name="connsiteX932" fmla="*/ 1702218 w 3214184"/>
                <a:gd name="connsiteY932" fmla="*/ 1250776 h 4996841"/>
                <a:gd name="connsiteX933" fmla="*/ 1701039 w 3214184"/>
                <a:gd name="connsiteY933" fmla="*/ 1255737 h 4996841"/>
                <a:gd name="connsiteX934" fmla="*/ 1703458 w 3214184"/>
                <a:gd name="connsiteY934" fmla="*/ 1259307 h 4996841"/>
                <a:gd name="connsiteX935" fmla="*/ 1705395 w 3214184"/>
                <a:gd name="connsiteY935" fmla="*/ 1266930 h 4996841"/>
                <a:gd name="connsiteX936" fmla="*/ 1713865 w 3214184"/>
                <a:gd name="connsiteY936" fmla="*/ 1266597 h 4996841"/>
                <a:gd name="connsiteX937" fmla="*/ 1719008 w 3214184"/>
                <a:gd name="connsiteY937" fmla="*/ 1269018 h 4996841"/>
                <a:gd name="connsiteX938" fmla="*/ 1723938 w 3214184"/>
                <a:gd name="connsiteY938" fmla="*/ 1274826 h 4996841"/>
                <a:gd name="connsiteX939" fmla="*/ 1727932 w 3214184"/>
                <a:gd name="connsiteY939" fmla="*/ 1283810 h 4996841"/>
                <a:gd name="connsiteX940" fmla="*/ 1733044 w 3214184"/>
                <a:gd name="connsiteY940" fmla="*/ 1293824 h 4996841"/>
                <a:gd name="connsiteX941" fmla="*/ 1755279 w 3214184"/>
                <a:gd name="connsiteY941" fmla="*/ 1325920 h 4996841"/>
                <a:gd name="connsiteX942" fmla="*/ 1761904 w 3214184"/>
                <a:gd name="connsiteY942" fmla="*/ 1336448 h 4996841"/>
                <a:gd name="connsiteX943" fmla="*/ 1778482 w 3214184"/>
                <a:gd name="connsiteY943" fmla="*/ 1345554 h 4996841"/>
                <a:gd name="connsiteX944" fmla="*/ 1783836 w 3214184"/>
                <a:gd name="connsiteY944" fmla="*/ 1348064 h 4996841"/>
                <a:gd name="connsiteX945" fmla="*/ 1788404 w 3214184"/>
                <a:gd name="connsiteY945" fmla="*/ 1343890 h 4996841"/>
                <a:gd name="connsiteX946" fmla="*/ 1797298 w 3214184"/>
                <a:gd name="connsiteY946" fmla="*/ 1339231 h 4996841"/>
                <a:gd name="connsiteX947" fmla="*/ 1801504 w 3214184"/>
                <a:gd name="connsiteY947" fmla="*/ 1338203 h 4996841"/>
                <a:gd name="connsiteX948" fmla="*/ 1805738 w 3214184"/>
                <a:gd name="connsiteY948" fmla="*/ 1338535 h 4996841"/>
                <a:gd name="connsiteX949" fmla="*/ 1810185 w 3214184"/>
                <a:gd name="connsiteY949" fmla="*/ 1340078 h 4996841"/>
                <a:gd name="connsiteX950" fmla="*/ 1813059 w 3214184"/>
                <a:gd name="connsiteY950" fmla="*/ 1340229 h 4996841"/>
                <a:gd name="connsiteX951" fmla="*/ 1815238 w 3214184"/>
                <a:gd name="connsiteY951" fmla="*/ 1338081 h 4996841"/>
                <a:gd name="connsiteX952" fmla="*/ 1815600 w 3214184"/>
                <a:gd name="connsiteY952" fmla="*/ 1332787 h 4996841"/>
                <a:gd name="connsiteX953" fmla="*/ 1818807 w 3214184"/>
                <a:gd name="connsiteY953" fmla="*/ 1328704 h 4996841"/>
                <a:gd name="connsiteX954" fmla="*/ 1825009 w 3214184"/>
                <a:gd name="connsiteY954" fmla="*/ 1326404 h 4996841"/>
                <a:gd name="connsiteX955" fmla="*/ 1827731 w 3214184"/>
                <a:gd name="connsiteY955" fmla="*/ 1328068 h 4996841"/>
                <a:gd name="connsiteX956" fmla="*/ 1830817 w 3214184"/>
                <a:gd name="connsiteY956" fmla="*/ 1330004 h 4996841"/>
                <a:gd name="connsiteX957" fmla="*/ 1830091 w 3214184"/>
                <a:gd name="connsiteY957" fmla="*/ 1331487 h 4996841"/>
                <a:gd name="connsiteX958" fmla="*/ 1829849 w 3214184"/>
                <a:gd name="connsiteY958" fmla="*/ 1340229 h 4996841"/>
                <a:gd name="connsiteX959" fmla="*/ 1833448 w 3214184"/>
                <a:gd name="connsiteY959" fmla="*/ 1344253 h 4996841"/>
                <a:gd name="connsiteX960" fmla="*/ 1845943 w 3214184"/>
                <a:gd name="connsiteY960" fmla="*/ 1343043 h 4996841"/>
                <a:gd name="connsiteX961" fmla="*/ 1844642 w 3214184"/>
                <a:gd name="connsiteY961" fmla="*/ 1344041 h 4996841"/>
                <a:gd name="connsiteX962" fmla="*/ 1843250 w 3214184"/>
                <a:gd name="connsiteY962" fmla="*/ 1344616 h 4996841"/>
                <a:gd name="connsiteX963" fmla="*/ 1842010 w 3214184"/>
                <a:gd name="connsiteY963" fmla="*/ 1345523 h 4996841"/>
                <a:gd name="connsiteX964" fmla="*/ 1841132 w 3214184"/>
                <a:gd name="connsiteY964" fmla="*/ 1347580 h 4996841"/>
                <a:gd name="connsiteX965" fmla="*/ 1842736 w 3214184"/>
                <a:gd name="connsiteY965" fmla="*/ 1348458 h 4996841"/>
                <a:gd name="connsiteX966" fmla="*/ 1845277 w 3214184"/>
                <a:gd name="connsiteY966" fmla="*/ 1351332 h 4996841"/>
                <a:gd name="connsiteX967" fmla="*/ 1850571 w 3214184"/>
                <a:gd name="connsiteY967" fmla="*/ 1353147 h 4996841"/>
                <a:gd name="connsiteX968" fmla="*/ 1852296 w 3214184"/>
                <a:gd name="connsiteY968" fmla="*/ 1354931 h 4996841"/>
                <a:gd name="connsiteX969" fmla="*/ 1852931 w 3214184"/>
                <a:gd name="connsiteY969" fmla="*/ 1357775 h 4996841"/>
                <a:gd name="connsiteX970" fmla="*/ 1850843 w 3214184"/>
                <a:gd name="connsiteY970" fmla="*/ 1362010 h 4996841"/>
                <a:gd name="connsiteX971" fmla="*/ 1842554 w 3214184"/>
                <a:gd name="connsiteY971" fmla="*/ 1365762 h 4996841"/>
                <a:gd name="connsiteX972" fmla="*/ 1840406 w 3214184"/>
                <a:gd name="connsiteY972" fmla="*/ 1369543 h 4996841"/>
                <a:gd name="connsiteX973" fmla="*/ 1841647 w 3214184"/>
                <a:gd name="connsiteY973" fmla="*/ 1373718 h 4996841"/>
                <a:gd name="connsiteX974" fmla="*/ 1844853 w 3214184"/>
                <a:gd name="connsiteY974" fmla="*/ 1377590 h 4996841"/>
                <a:gd name="connsiteX975" fmla="*/ 1850783 w 3214184"/>
                <a:gd name="connsiteY975" fmla="*/ 1382581 h 4996841"/>
                <a:gd name="connsiteX976" fmla="*/ 1853294 w 3214184"/>
                <a:gd name="connsiteY976" fmla="*/ 1385606 h 4996841"/>
                <a:gd name="connsiteX977" fmla="*/ 1854867 w 3214184"/>
                <a:gd name="connsiteY977" fmla="*/ 1389025 h 4996841"/>
                <a:gd name="connsiteX978" fmla="*/ 1858951 w 3214184"/>
                <a:gd name="connsiteY978" fmla="*/ 1407932 h 4996841"/>
                <a:gd name="connsiteX979" fmla="*/ 1859162 w 3214184"/>
                <a:gd name="connsiteY979" fmla="*/ 1413014 h 4996841"/>
                <a:gd name="connsiteX980" fmla="*/ 1857710 w 3214184"/>
                <a:gd name="connsiteY980" fmla="*/ 1416735 h 4996841"/>
                <a:gd name="connsiteX981" fmla="*/ 1850450 w 3214184"/>
                <a:gd name="connsiteY981" fmla="*/ 1429774 h 4996841"/>
                <a:gd name="connsiteX982" fmla="*/ 1848726 w 3214184"/>
                <a:gd name="connsiteY982" fmla="*/ 1431861 h 4996841"/>
                <a:gd name="connsiteX983" fmla="*/ 1844642 w 3214184"/>
                <a:gd name="connsiteY983" fmla="*/ 1433010 h 4996841"/>
                <a:gd name="connsiteX984" fmla="*/ 1836898 w 3214184"/>
                <a:gd name="connsiteY984" fmla="*/ 1438062 h 4996841"/>
                <a:gd name="connsiteX985" fmla="*/ 1833025 w 3214184"/>
                <a:gd name="connsiteY985" fmla="*/ 1441088 h 4996841"/>
                <a:gd name="connsiteX986" fmla="*/ 1822044 w 3214184"/>
                <a:gd name="connsiteY986" fmla="*/ 1440331 h 4996841"/>
                <a:gd name="connsiteX987" fmla="*/ 1815782 w 3214184"/>
                <a:gd name="connsiteY987" fmla="*/ 1441814 h 4996841"/>
                <a:gd name="connsiteX988" fmla="*/ 1811456 w 3214184"/>
                <a:gd name="connsiteY988" fmla="*/ 1445444 h 4996841"/>
                <a:gd name="connsiteX989" fmla="*/ 1811093 w 3214184"/>
                <a:gd name="connsiteY989" fmla="*/ 1450526 h 4996841"/>
                <a:gd name="connsiteX990" fmla="*/ 1811970 w 3214184"/>
                <a:gd name="connsiteY990" fmla="*/ 1453884 h 4996841"/>
                <a:gd name="connsiteX991" fmla="*/ 1810911 w 3214184"/>
                <a:gd name="connsiteY991" fmla="*/ 1459238 h 4996841"/>
                <a:gd name="connsiteX992" fmla="*/ 1803409 w 3214184"/>
                <a:gd name="connsiteY992" fmla="*/ 1462294 h 4996841"/>
                <a:gd name="connsiteX993" fmla="*/ 1793698 w 3214184"/>
                <a:gd name="connsiteY993" fmla="*/ 1464109 h 4996841"/>
                <a:gd name="connsiteX994" fmla="*/ 1778906 w 3214184"/>
                <a:gd name="connsiteY994" fmla="*/ 1458664 h 4996841"/>
                <a:gd name="connsiteX995" fmla="*/ 1777726 w 3214184"/>
                <a:gd name="connsiteY995" fmla="*/ 1457817 h 4996841"/>
                <a:gd name="connsiteX996" fmla="*/ 1777121 w 3214184"/>
                <a:gd name="connsiteY996" fmla="*/ 1456788 h 4996841"/>
                <a:gd name="connsiteX997" fmla="*/ 1775971 w 3214184"/>
                <a:gd name="connsiteY997" fmla="*/ 1454066 h 4996841"/>
                <a:gd name="connsiteX998" fmla="*/ 1775275 w 3214184"/>
                <a:gd name="connsiteY998" fmla="*/ 1453491 h 4996841"/>
                <a:gd name="connsiteX999" fmla="*/ 1774458 w 3214184"/>
                <a:gd name="connsiteY999" fmla="*/ 1452553 h 4996841"/>
                <a:gd name="connsiteX1000" fmla="*/ 1771161 w 3214184"/>
                <a:gd name="connsiteY1000" fmla="*/ 1445625 h 4996841"/>
                <a:gd name="connsiteX1001" fmla="*/ 1769225 w 3214184"/>
                <a:gd name="connsiteY1001" fmla="*/ 1443417 h 4996841"/>
                <a:gd name="connsiteX1002" fmla="*/ 1766714 w 3214184"/>
                <a:gd name="connsiteY1002" fmla="*/ 1442509 h 4996841"/>
                <a:gd name="connsiteX1003" fmla="*/ 1750832 w 3214184"/>
                <a:gd name="connsiteY1003" fmla="*/ 1442025 h 4996841"/>
                <a:gd name="connsiteX1004" fmla="*/ 1748866 w 3214184"/>
                <a:gd name="connsiteY1004" fmla="*/ 1440543 h 4996841"/>
                <a:gd name="connsiteX1005" fmla="*/ 1745175 w 3214184"/>
                <a:gd name="connsiteY1005" fmla="*/ 1435763 h 4996841"/>
                <a:gd name="connsiteX1006" fmla="*/ 1743269 w 3214184"/>
                <a:gd name="connsiteY1006" fmla="*/ 1434735 h 4996841"/>
                <a:gd name="connsiteX1007" fmla="*/ 1741333 w 3214184"/>
                <a:gd name="connsiteY1007" fmla="*/ 1435431 h 4996841"/>
                <a:gd name="connsiteX1008" fmla="*/ 1737430 w 3214184"/>
                <a:gd name="connsiteY1008" fmla="*/ 1438486 h 4996841"/>
                <a:gd name="connsiteX1009" fmla="*/ 1735374 w 3214184"/>
                <a:gd name="connsiteY1009" fmla="*/ 1439152 h 4996841"/>
                <a:gd name="connsiteX1010" fmla="*/ 1733407 w 3214184"/>
                <a:gd name="connsiteY1010" fmla="*/ 1438486 h 4996841"/>
                <a:gd name="connsiteX1011" fmla="*/ 1730443 w 3214184"/>
                <a:gd name="connsiteY1011" fmla="*/ 1434916 h 4996841"/>
                <a:gd name="connsiteX1012" fmla="*/ 1728779 w 3214184"/>
                <a:gd name="connsiteY1012" fmla="*/ 1433404 h 4996841"/>
                <a:gd name="connsiteX1013" fmla="*/ 1726389 w 3214184"/>
                <a:gd name="connsiteY1013" fmla="*/ 1433041 h 4996841"/>
                <a:gd name="connsiteX1014" fmla="*/ 1719855 w 3214184"/>
                <a:gd name="connsiteY1014" fmla="*/ 1436308 h 4996841"/>
                <a:gd name="connsiteX1015" fmla="*/ 1717918 w 3214184"/>
                <a:gd name="connsiteY1015" fmla="*/ 1435552 h 4996841"/>
                <a:gd name="connsiteX1016" fmla="*/ 1714379 w 3214184"/>
                <a:gd name="connsiteY1016" fmla="*/ 1431377 h 4996841"/>
                <a:gd name="connsiteX1017" fmla="*/ 1713260 w 3214184"/>
                <a:gd name="connsiteY1017" fmla="*/ 1430439 h 4996841"/>
                <a:gd name="connsiteX1018" fmla="*/ 1711415 w 3214184"/>
                <a:gd name="connsiteY1018" fmla="*/ 1429834 h 4996841"/>
                <a:gd name="connsiteX1019" fmla="*/ 1707300 w 3214184"/>
                <a:gd name="connsiteY1019" fmla="*/ 1426990 h 4996841"/>
                <a:gd name="connsiteX1020" fmla="*/ 1705243 w 3214184"/>
                <a:gd name="connsiteY1020" fmla="*/ 1426113 h 4996841"/>
                <a:gd name="connsiteX1021" fmla="*/ 1700070 w 3214184"/>
                <a:gd name="connsiteY1021" fmla="*/ 1426597 h 4996841"/>
                <a:gd name="connsiteX1022" fmla="*/ 1697408 w 3214184"/>
                <a:gd name="connsiteY1022" fmla="*/ 1426204 h 4996841"/>
                <a:gd name="connsiteX1023" fmla="*/ 1695381 w 3214184"/>
                <a:gd name="connsiteY1023" fmla="*/ 1423996 h 4996841"/>
                <a:gd name="connsiteX1024" fmla="*/ 1691358 w 3214184"/>
                <a:gd name="connsiteY1024" fmla="*/ 1421303 h 4996841"/>
                <a:gd name="connsiteX1025" fmla="*/ 1685852 w 3214184"/>
                <a:gd name="connsiteY1025" fmla="*/ 1420033 h 4996841"/>
                <a:gd name="connsiteX1026" fmla="*/ 1678531 w 3214184"/>
                <a:gd name="connsiteY1026" fmla="*/ 1418369 h 4996841"/>
                <a:gd name="connsiteX1027" fmla="*/ 1675718 w 3214184"/>
                <a:gd name="connsiteY1027" fmla="*/ 1415313 h 4996841"/>
                <a:gd name="connsiteX1028" fmla="*/ 1676414 w 3214184"/>
                <a:gd name="connsiteY1028" fmla="*/ 1412863 h 4996841"/>
                <a:gd name="connsiteX1029" fmla="*/ 1677744 w 3214184"/>
                <a:gd name="connsiteY1029" fmla="*/ 1410655 h 4996841"/>
                <a:gd name="connsiteX1030" fmla="*/ 1675204 w 3214184"/>
                <a:gd name="connsiteY1030" fmla="*/ 1406843 h 4996841"/>
                <a:gd name="connsiteX1031" fmla="*/ 1671513 w 3214184"/>
                <a:gd name="connsiteY1031" fmla="*/ 1404544 h 4996841"/>
                <a:gd name="connsiteX1032" fmla="*/ 1670272 w 3214184"/>
                <a:gd name="connsiteY1032" fmla="*/ 1398584 h 4996841"/>
                <a:gd name="connsiteX1033" fmla="*/ 1671724 w 3214184"/>
                <a:gd name="connsiteY1033" fmla="*/ 1396315 h 4996841"/>
                <a:gd name="connsiteX1034" fmla="*/ 1672844 w 3214184"/>
                <a:gd name="connsiteY1034" fmla="*/ 1394047 h 4996841"/>
                <a:gd name="connsiteX1035" fmla="*/ 1672027 w 3214184"/>
                <a:gd name="connsiteY1035" fmla="*/ 1391627 h 4996841"/>
                <a:gd name="connsiteX1036" fmla="*/ 1667943 w 3214184"/>
                <a:gd name="connsiteY1036" fmla="*/ 1387875 h 4996841"/>
                <a:gd name="connsiteX1037" fmla="*/ 1665433 w 3214184"/>
                <a:gd name="connsiteY1037" fmla="*/ 1383822 h 4996841"/>
                <a:gd name="connsiteX1038" fmla="*/ 1661409 w 3214184"/>
                <a:gd name="connsiteY1038" fmla="*/ 1379284 h 4996841"/>
                <a:gd name="connsiteX1039" fmla="*/ 1658081 w 3214184"/>
                <a:gd name="connsiteY1039" fmla="*/ 1376561 h 4996841"/>
                <a:gd name="connsiteX1040" fmla="*/ 1655207 w 3214184"/>
                <a:gd name="connsiteY1040" fmla="*/ 1374262 h 4996841"/>
                <a:gd name="connsiteX1041" fmla="*/ 1651819 w 3214184"/>
                <a:gd name="connsiteY1041" fmla="*/ 1376924 h 4996841"/>
                <a:gd name="connsiteX1042" fmla="*/ 1649762 w 3214184"/>
                <a:gd name="connsiteY1042" fmla="*/ 1379586 h 4996841"/>
                <a:gd name="connsiteX1043" fmla="*/ 1646858 w 3214184"/>
                <a:gd name="connsiteY1043" fmla="*/ 1378376 h 4996841"/>
                <a:gd name="connsiteX1044" fmla="*/ 1645920 w 3214184"/>
                <a:gd name="connsiteY1044" fmla="*/ 1376380 h 4996841"/>
                <a:gd name="connsiteX1045" fmla="*/ 1644922 w 3214184"/>
                <a:gd name="connsiteY1045" fmla="*/ 1371842 h 4996841"/>
                <a:gd name="connsiteX1046" fmla="*/ 1644105 w 3214184"/>
                <a:gd name="connsiteY1046" fmla="*/ 1369694 h 4996841"/>
                <a:gd name="connsiteX1047" fmla="*/ 1642532 w 3214184"/>
                <a:gd name="connsiteY1047" fmla="*/ 1368061 h 4996841"/>
                <a:gd name="connsiteX1048" fmla="*/ 1639204 w 3214184"/>
                <a:gd name="connsiteY1048" fmla="*/ 1366155 h 4996841"/>
                <a:gd name="connsiteX1049" fmla="*/ 1637873 w 3214184"/>
                <a:gd name="connsiteY1049" fmla="*/ 1363735 h 4996841"/>
                <a:gd name="connsiteX1050" fmla="*/ 1638569 w 3214184"/>
                <a:gd name="connsiteY1050" fmla="*/ 1357775 h 4996841"/>
                <a:gd name="connsiteX1051" fmla="*/ 1635121 w 3214184"/>
                <a:gd name="connsiteY1051" fmla="*/ 1352088 h 4996841"/>
                <a:gd name="connsiteX1052" fmla="*/ 1630159 w 3214184"/>
                <a:gd name="connsiteY1052" fmla="*/ 1347883 h 4996841"/>
                <a:gd name="connsiteX1053" fmla="*/ 1621538 w 3214184"/>
                <a:gd name="connsiteY1053" fmla="*/ 1344162 h 4996841"/>
                <a:gd name="connsiteX1054" fmla="*/ 1612795 w 3214184"/>
                <a:gd name="connsiteY1054" fmla="*/ 1338989 h 4996841"/>
                <a:gd name="connsiteX1055" fmla="*/ 1607168 w 3214184"/>
                <a:gd name="connsiteY1055" fmla="*/ 1333090 h 4996841"/>
                <a:gd name="connsiteX1056" fmla="*/ 1605474 w 3214184"/>
                <a:gd name="connsiteY1056" fmla="*/ 1334149 h 4996841"/>
                <a:gd name="connsiteX1057" fmla="*/ 1606230 w 3214184"/>
                <a:gd name="connsiteY1057" fmla="*/ 1336690 h 4996841"/>
                <a:gd name="connsiteX1058" fmla="*/ 1607834 w 3214184"/>
                <a:gd name="connsiteY1058" fmla="*/ 1339564 h 4996841"/>
                <a:gd name="connsiteX1059" fmla="*/ 1608862 w 3214184"/>
                <a:gd name="connsiteY1059" fmla="*/ 1341863 h 4996841"/>
                <a:gd name="connsiteX1060" fmla="*/ 1610768 w 3214184"/>
                <a:gd name="connsiteY1060" fmla="*/ 1348216 h 4996841"/>
                <a:gd name="connsiteX1061" fmla="*/ 1607834 w 3214184"/>
                <a:gd name="connsiteY1061" fmla="*/ 1352088 h 4996841"/>
                <a:gd name="connsiteX1062" fmla="*/ 1602540 w 3214184"/>
                <a:gd name="connsiteY1062" fmla="*/ 1352269 h 4996841"/>
                <a:gd name="connsiteX1063" fmla="*/ 1595491 w 3214184"/>
                <a:gd name="connsiteY1063" fmla="*/ 1355597 h 4996841"/>
                <a:gd name="connsiteX1064" fmla="*/ 1589834 w 3214184"/>
                <a:gd name="connsiteY1064" fmla="*/ 1359681 h 4996841"/>
                <a:gd name="connsiteX1065" fmla="*/ 1583663 w 3214184"/>
                <a:gd name="connsiteY1065" fmla="*/ 1357684 h 4996841"/>
                <a:gd name="connsiteX1066" fmla="*/ 1581605 w 3214184"/>
                <a:gd name="connsiteY1066" fmla="*/ 1353842 h 4996841"/>
                <a:gd name="connsiteX1067" fmla="*/ 1581817 w 3214184"/>
                <a:gd name="connsiteY1067" fmla="*/ 1350727 h 4996841"/>
                <a:gd name="connsiteX1068" fmla="*/ 1579306 w 3214184"/>
                <a:gd name="connsiteY1068" fmla="*/ 1347671 h 4996841"/>
                <a:gd name="connsiteX1069" fmla="*/ 1580910 w 3214184"/>
                <a:gd name="connsiteY1069" fmla="*/ 1343617 h 4996841"/>
                <a:gd name="connsiteX1070" fmla="*/ 1579458 w 3214184"/>
                <a:gd name="connsiteY1070" fmla="*/ 1341409 h 4996841"/>
                <a:gd name="connsiteX1071" fmla="*/ 1576735 w 3214184"/>
                <a:gd name="connsiteY1071" fmla="*/ 1340471 h 4996841"/>
                <a:gd name="connsiteX1072" fmla="*/ 1564786 w 3214184"/>
                <a:gd name="connsiteY1072" fmla="*/ 1339685 h 4996841"/>
                <a:gd name="connsiteX1073" fmla="*/ 1562002 w 3214184"/>
                <a:gd name="connsiteY1073" fmla="*/ 1337446 h 4996841"/>
                <a:gd name="connsiteX1074" fmla="*/ 1560732 w 3214184"/>
                <a:gd name="connsiteY1074" fmla="*/ 1335147 h 4996841"/>
                <a:gd name="connsiteX1075" fmla="*/ 1554319 w 3214184"/>
                <a:gd name="connsiteY1075" fmla="*/ 1332122 h 4996841"/>
                <a:gd name="connsiteX1076" fmla="*/ 1549962 w 3214184"/>
                <a:gd name="connsiteY1076" fmla="*/ 1330488 h 4996841"/>
                <a:gd name="connsiteX1077" fmla="*/ 1544064 w 3214184"/>
                <a:gd name="connsiteY1077" fmla="*/ 1324317 h 4996841"/>
                <a:gd name="connsiteX1078" fmla="*/ 1548298 w 3214184"/>
                <a:gd name="connsiteY1078" fmla="*/ 1320082 h 4996841"/>
                <a:gd name="connsiteX1079" fmla="*/ 1549448 w 3214184"/>
                <a:gd name="connsiteY1079" fmla="*/ 1315332 h 4996841"/>
                <a:gd name="connsiteX1080" fmla="*/ 1545637 w 3214184"/>
                <a:gd name="connsiteY1080" fmla="*/ 1313094 h 4996841"/>
                <a:gd name="connsiteX1081" fmla="*/ 1541281 w 3214184"/>
                <a:gd name="connsiteY1081" fmla="*/ 1308768 h 4996841"/>
                <a:gd name="connsiteX1082" fmla="*/ 1539677 w 3214184"/>
                <a:gd name="connsiteY1082" fmla="*/ 1307981 h 4996841"/>
                <a:gd name="connsiteX1083" fmla="*/ 1533415 w 3214184"/>
                <a:gd name="connsiteY1083" fmla="*/ 1307981 h 4996841"/>
                <a:gd name="connsiteX1084" fmla="*/ 1531721 w 3214184"/>
                <a:gd name="connsiteY1084" fmla="*/ 1307255 h 4996841"/>
                <a:gd name="connsiteX1085" fmla="*/ 1528605 w 3214184"/>
                <a:gd name="connsiteY1085" fmla="*/ 1304079 h 4996841"/>
                <a:gd name="connsiteX1086" fmla="*/ 1526881 w 3214184"/>
                <a:gd name="connsiteY1086" fmla="*/ 1303625 h 4996841"/>
                <a:gd name="connsiteX1087" fmla="*/ 1525731 w 3214184"/>
                <a:gd name="connsiteY1087" fmla="*/ 1301931 h 4996841"/>
                <a:gd name="connsiteX1088" fmla="*/ 1522736 w 3214184"/>
                <a:gd name="connsiteY1088" fmla="*/ 1302052 h 4996841"/>
                <a:gd name="connsiteX1089" fmla="*/ 1524218 w 3214184"/>
                <a:gd name="connsiteY1089" fmla="*/ 1301114 h 4996841"/>
                <a:gd name="connsiteX1090" fmla="*/ 1528998 w 3214184"/>
                <a:gd name="connsiteY1090" fmla="*/ 1302052 h 4996841"/>
                <a:gd name="connsiteX1091" fmla="*/ 1529543 w 3214184"/>
                <a:gd name="connsiteY1091" fmla="*/ 1301356 h 4996841"/>
                <a:gd name="connsiteX1092" fmla="*/ 1533173 w 3214184"/>
                <a:gd name="connsiteY1092" fmla="*/ 1301175 h 4996841"/>
                <a:gd name="connsiteX1093" fmla="*/ 1537196 w 3214184"/>
                <a:gd name="connsiteY1093" fmla="*/ 1296516 h 4996841"/>
                <a:gd name="connsiteX1094" fmla="*/ 1541522 w 3214184"/>
                <a:gd name="connsiteY1094" fmla="*/ 1294368 h 4996841"/>
                <a:gd name="connsiteX1095" fmla="*/ 1546332 w 3214184"/>
                <a:gd name="connsiteY1095" fmla="*/ 1289982 h 4996841"/>
                <a:gd name="connsiteX1096" fmla="*/ 1545909 w 3214184"/>
                <a:gd name="connsiteY1096" fmla="*/ 1287138 h 4996841"/>
                <a:gd name="connsiteX1097" fmla="*/ 1542158 w 3214184"/>
                <a:gd name="connsiteY1097" fmla="*/ 1284627 h 4996841"/>
                <a:gd name="connsiteX1098" fmla="*/ 1539798 w 3214184"/>
                <a:gd name="connsiteY1098" fmla="*/ 1279061 h 4996841"/>
                <a:gd name="connsiteX1099" fmla="*/ 1531690 w 3214184"/>
                <a:gd name="connsiteY1099" fmla="*/ 1271377 h 4996841"/>
                <a:gd name="connsiteX1100" fmla="*/ 1532024 w 3214184"/>
                <a:gd name="connsiteY1100" fmla="*/ 1269895 h 4996841"/>
                <a:gd name="connsiteX1101" fmla="*/ 1533959 w 3214184"/>
                <a:gd name="connsiteY1101" fmla="*/ 1267807 h 4996841"/>
                <a:gd name="connsiteX1102" fmla="*/ 1536592 w 3214184"/>
                <a:gd name="connsiteY1102" fmla="*/ 1267021 h 4996841"/>
                <a:gd name="connsiteX1103" fmla="*/ 1541371 w 3214184"/>
                <a:gd name="connsiteY1103" fmla="*/ 1266083 h 4996841"/>
                <a:gd name="connsiteX1104" fmla="*/ 1545576 w 3214184"/>
                <a:gd name="connsiteY1104" fmla="*/ 1264994 h 4996841"/>
                <a:gd name="connsiteX1105" fmla="*/ 1549479 w 3214184"/>
                <a:gd name="connsiteY1105" fmla="*/ 1261606 h 4996841"/>
                <a:gd name="connsiteX1106" fmla="*/ 1546120 w 3214184"/>
                <a:gd name="connsiteY1106" fmla="*/ 1255646 h 4996841"/>
                <a:gd name="connsiteX1107" fmla="*/ 1543459 w 3214184"/>
                <a:gd name="connsiteY1107" fmla="*/ 1255646 h 4996841"/>
                <a:gd name="connsiteX1108" fmla="*/ 1541613 w 3214184"/>
                <a:gd name="connsiteY1108" fmla="*/ 1256675 h 4996841"/>
                <a:gd name="connsiteX1109" fmla="*/ 1536743 w 3214184"/>
                <a:gd name="connsiteY1109" fmla="*/ 1258671 h 4996841"/>
                <a:gd name="connsiteX1110" fmla="*/ 1529876 w 3214184"/>
                <a:gd name="connsiteY1110" fmla="*/ 1258187 h 4996841"/>
                <a:gd name="connsiteX1111" fmla="*/ 1529664 w 3214184"/>
                <a:gd name="connsiteY1111" fmla="*/ 1259276 h 4996841"/>
                <a:gd name="connsiteX1112" fmla="*/ 1528272 w 3214184"/>
                <a:gd name="connsiteY1112" fmla="*/ 1258702 h 4996841"/>
                <a:gd name="connsiteX1113" fmla="*/ 1524158 w 3214184"/>
                <a:gd name="connsiteY1113" fmla="*/ 1254799 h 4996841"/>
                <a:gd name="connsiteX1114" fmla="*/ 1526941 w 3214184"/>
                <a:gd name="connsiteY1114" fmla="*/ 1252682 h 4996841"/>
                <a:gd name="connsiteX1115" fmla="*/ 1532961 w 3214184"/>
                <a:gd name="connsiteY1115" fmla="*/ 1250594 h 4996841"/>
                <a:gd name="connsiteX1116" fmla="*/ 1535744 w 3214184"/>
                <a:gd name="connsiteY1116" fmla="*/ 1248749 h 4996841"/>
                <a:gd name="connsiteX1117" fmla="*/ 1539768 w 3214184"/>
                <a:gd name="connsiteY1117" fmla="*/ 1243546 h 4996841"/>
                <a:gd name="connsiteX1118" fmla="*/ 1541704 w 3214184"/>
                <a:gd name="connsiteY1118" fmla="*/ 1240037 h 4996841"/>
                <a:gd name="connsiteX1119" fmla="*/ 1542733 w 3214184"/>
                <a:gd name="connsiteY1119" fmla="*/ 1236739 h 4996841"/>
                <a:gd name="connsiteX1120" fmla="*/ 1541159 w 3214184"/>
                <a:gd name="connsiteY1120" fmla="*/ 1236406 h 4996841"/>
                <a:gd name="connsiteX1121" fmla="*/ 1539405 w 3214184"/>
                <a:gd name="connsiteY1121" fmla="*/ 1234954 h 4996841"/>
                <a:gd name="connsiteX1122" fmla="*/ 1537710 w 3214184"/>
                <a:gd name="connsiteY1122" fmla="*/ 1232958 h 4996841"/>
                <a:gd name="connsiteX1123" fmla="*/ 1536531 w 3214184"/>
                <a:gd name="connsiteY1123" fmla="*/ 1230901 h 4996841"/>
                <a:gd name="connsiteX1124" fmla="*/ 1536198 w 3214184"/>
                <a:gd name="connsiteY1124" fmla="*/ 1229812 h 4996841"/>
                <a:gd name="connsiteX1125" fmla="*/ 1535896 w 3214184"/>
                <a:gd name="connsiteY1125" fmla="*/ 1227240 h 4996841"/>
                <a:gd name="connsiteX1126" fmla="*/ 1535472 w 3214184"/>
                <a:gd name="connsiteY1126" fmla="*/ 1225153 h 4996841"/>
                <a:gd name="connsiteX1127" fmla="*/ 1535775 w 3214184"/>
                <a:gd name="connsiteY1127" fmla="*/ 1224245 h 4996841"/>
                <a:gd name="connsiteX1128" fmla="*/ 1535775 w 3214184"/>
                <a:gd name="connsiteY1128" fmla="*/ 1223670 h 4996841"/>
                <a:gd name="connsiteX1129" fmla="*/ 1534746 w 3214184"/>
                <a:gd name="connsiteY1129" fmla="*/ 1223489 h 4996841"/>
                <a:gd name="connsiteX1130" fmla="*/ 1533294 w 3214184"/>
                <a:gd name="connsiteY1130" fmla="*/ 1223640 h 4996841"/>
                <a:gd name="connsiteX1131" fmla="*/ 1532598 w 3214184"/>
                <a:gd name="connsiteY1131" fmla="*/ 1223459 h 4996841"/>
                <a:gd name="connsiteX1132" fmla="*/ 1532054 w 3214184"/>
                <a:gd name="connsiteY1132" fmla="*/ 1222733 h 4996841"/>
                <a:gd name="connsiteX1133" fmla="*/ 1529210 w 3214184"/>
                <a:gd name="connsiteY1133" fmla="*/ 1216864 h 4996841"/>
                <a:gd name="connsiteX1134" fmla="*/ 1526246 w 3214184"/>
                <a:gd name="connsiteY1134" fmla="*/ 1212931 h 4996841"/>
                <a:gd name="connsiteX1135" fmla="*/ 1522827 w 3214184"/>
                <a:gd name="connsiteY1135" fmla="*/ 1210662 h 4996841"/>
                <a:gd name="connsiteX1136" fmla="*/ 1518592 w 3214184"/>
                <a:gd name="connsiteY1136" fmla="*/ 1209936 h 4996841"/>
                <a:gd name="connsiteX1137" fmla="*/ 1520286 w 3214184"/>
                <a:gd name="connsiteY1137" fmla="*/ 1206185 h 4996841"/>
                <a:gd name="connsiteX1138" fmla="*/ 1522888 w 3214184"/>
                <a:gd name="connsiteY1138" fmla="*/ 1204340 h 4996841"/>
                <a:gd name="connsiteX1139" fmla="*/ 1525761 w 3214184"/>
                <a:gd name="connsiteY1139" fmla="*/ 1203039 h 4996841"/>
                <a:gd name="connsiteX1140" fmla="*/ 1528303 w 3214184"/>
                <a:gd name="connsiteY1140" fmla="*/ 1200952 h 4996841"/>
                <a:gd name="connsiteX1141" fmla="*/ 1530027 w 3214184"/>
                <a:gd name="connsiteY1141" fmla="*/ 1196142 h 4996841"/>
                <a:gd name="connsiteX1142" fmla="*/ 1527365 w 3214184"/>
                <a:gd name="connsiteY1142" fmla="*/ 1194478 h 4996841"/>
                <a:gd name="connsiteX1143" fmla="*/ 1523856 w 3214184"/>
                <a:gd name="connsiteY1143" fmla="*/ 1193601 h 4996841"/>
                <a:gd name="connsiteX1144" fmla="*/ 1523069 w 3214184"/>
                <a:gd name="connsiteY1144" fmla="*/ 1191241 h 4996841"/>
                <a:gd name="connsiteX1145" fmla="*/ 1525035 w 3214184"/>
                <a:gd name="connsiteY1145" fmla="*/ 1186643 h 4996841"/>
                <a:gd name="connsiteX1146" fmla="*/ 1525792 w 3214184"/>
                <a:gd name="connsiteY1146" fmla="*/ 1183648 h 4996841"/>
                <a:gd name="connsiteX1147" fmla="*/ 1525005 w 3214184"/>
                <a:gd name="connsiteY1147" fmla="*/ 1181984 h 4996841"/>
                <a:gd name="connsiteX1148" fmla="*/ 1516444 w 3214184"/>
                <a:gd name="connsiteY1148" fmla="*/ 1180502 h 4996841"/>
                <a:gd name="connsiteX1149" fmla="*/ 1514629 w 3214184"/>
                <a:gd name="connsiteY1149" fmla="*/ 1177809 h 4996841"/>
                <a:gd name="connsiteX1150" fmla="*/ 1515778 w 3214184"/>
                <a:gd name="connsiteY1150" fmla="*/ 1172304 h 4996841"/>
                <a:gd name="connsiteX1151" fmla="*/ 1511997 w 3214184"/>
                <a:gd name="connsiteY1151" fmla="*/ 1169581 h 4996841"/>
                <a:gd name="connsiteX1152" fmla="*/ 1511029 w 3214184"/>
                <a:gd name="connsiteY1152" fmla="*/ 1167796 h 4996841"/>
                <a:gd name="connsiteX1153" fmla="*/ 1513056 w 3214184"/>
                <a:gd name="connsiteY1153" fmla="*/ 1166586 h 4996841"/>
                <a:gd name="connsiteX1154" fmla="*/ 1515143 w 3214184"/>
                <a:gd name="connsiteY1154" fmla="*/ 1166465 h 4996841"/>
                <a:gd name="connsiteX1155" fmla="*/ 1516595 w 3214184"/>
                <a:gd name="connsiteY1155" fmla="*/ 1165527 h 4996841"/>
                <a:gd name="connsiteX1156" fmla="*/ 1516595 w 3214184"/>
                <a:gd name="connsiteY1156" fmla="*/ 1161625 h 4996841"/>
                <a:gd name="connsiteX1157" fmla="*/ 1516293 w 3214184"/>
                <a:gd name="connsiteY1157" fmla="*/ 1161867 h 4996841"/>
                <a:gd name="connsiteX1158" fmla="*/ 1513056 w 3214184"/>
                <a:gd name="connsiteY1158" fmla="*/ 1156331 h 4996841"/>
                <a:gd name="connsiteX1159" fmla="*/ 1511725 w 3214184"/>
                <a:gd name="connsiteY1159" fmla="*/ 1155605 h 4996841"/>
                <a:gd name="connsiteX1160" fmla="*/ 1508912 w 3214184"/>
                <a:gd name="connsiteY1160" fmla="*/ 1155756 h 4996841"/>
                <a:gd name="connsiteX1161" fmla="*/ 1512330 w 3214184"/>
                <a:gd name="connsiteY1161" fmla="*/ 1152580 h 4996841"/>
                <a:gd name="connsiteX1162" fmla="*/ 1509819 w 3214184"/>
                <a:gd name="connsiteY1162" fmla="*/ 1149615 h 4996841"/>
                <a:gd name="connsiteX1163" fmla="*/ 1503557 w 3214184"/>
                <a:gd name="connsiteY1163" fmla="*/ 1149615 h 4996841"/>
                <a:gd name="connsiteX1164" fmla="*/ 1500652 w 3214184"/>
                <a:gd name="connsiteY1164" fmla="*/ 1148223 h 4996841"/>
                <a:gd name="connsiteX1165" fmla="*/ 1501802 w 3214184"/>
                <a:gd name="connsiteY1165" fmla="*/ 1144956 h 4996841"/>
                <a:gd name="connsiteX1166" fmla="*/ 1500925 w 3214184"/>
                <a:gd name="connsiteY1166" fmla="*/ 1144321 h 4996841"/>
                <a:gd name="connsiteX1167" fmla="*/ 1497839 w 3214184"/>
                <a:gd name="connsiteY1167" fmla="*/ 1145077 h 4996841"/>
                <a:gd name="connsiteX1168" fmla="*/ 1496145 w 3214184"/>
                <a:gd name="connsiteY1168" fmla="*/ 1143746 h 4996841"/>
                <a:gd name="connsiteX1169" fmla="*/ 1495268 w 3214184"/>
                <a:gd name="connsiteY1169" fmla="*/ 1141992 h 4996841"/>
                <a:gd name="connsiteX1170" fmla="*/ 1494330 w 3214184"/>
                <a:gd name="connsiteY1170" fmla="*/ 1135972 h 4996841"/>
                <a:gd name="connsiteX1171" fmla="*/ 1496175 w 3214184"/>
                <a:gd name="connsiteY1171" fmla="*/ 1132704 h 4996841"/>
                <a:gd name="connsiteX1172" fmla="*/ 1495964 w 3214184"/>
                <a:gd name="connsiteY1172" fmla="*/ 1128681 h 4996841"/>
                <a:gd name="connsiteX1173" fmla="*/ 1494451 w 3214184"/>
                <a:gd name="connsiteY1173" fmla="*/ 1125263 h 4996841"/>
                <a:gd name="connsiteX1174" fmla="*/ 1492304 w 3214184"/>
                <a:gd name="connsiteY1174" fmla="*/ 1123811 h 4996841"/>
                <a:gd name="connsiteX1175" fmla="*/ 1477722 w 3214184"/>
                <a:gd name="connsiteY1175" fmla="*/ 1120664 h 4996841"/>
                <a:gd name="connsiteX1176" fmla="*/ 1479810 w 3214184"/>
                <a:gd name="connsiteY1176" fmla="*/ 1117881 h 4996841"/>
                <a:gd name="connsiteX1177" fmla="*/ 1484952 w 3214184"/>
                <a:gd name="connsiteY1177" fmla="*/ 1119122 h 4996841"/>
                <a:gd name="connsiteX1178" fmla="*/ 1487433 w 3214184"/>
                <a:gd name="connsiteY1178" fmla="*/ 1117730 h 4996841"/>
                <a:gd name="connsiteX1179" fmla="*/ 1485860 w 3214184"/>
                <a:gd name="connsiteY1179" fmla="*/ 1115673 h 4996841"/>
                <a:gd name="connsiteX1180" fmla="*/ 1485194 w 3214184"/>
                <a:gd name="connsiteY1180" fmla="*/ 1114463 h 4996841"/>
                <a:gd name="connsiteX1181" fmla="*/ 1484650 w 3214184"/>
                <a:gd name="connsiteY1181" fmla="*/ 1113162 h 4996841"/>
                <a:gd name="connsiteX1182" fmla="*/ 1486495 w 3214184"/>
                <a:gd name="connsiteY1182" fmla="*/ 1114100 h 4996841"/>
                <a:gd name="connsiteX1183" fmla="*/ 1488219 w 3214184"/>
                <a:gd name="connsiteY1183" fmla="*/ 1113374 h 4996841"/>
                <a:gd name="connsiteX1184" fmla="*/ 1489732 w 3214184"/>
                <a:gd name="connsiteY1184" fmla="*/ 1112285 h 4996841"/>
                <a:gd name="connsiteX1185" fmla="*/ 1490851 w 3214184"/>
                <a:gd name="connsiteY1185" fmla="*/ 1112285 h 4996841"/>
                <a:gd name="connsiteX1186" fmla="*/ 1492727 w 3214184"/>
                <a:gd name="connsiteY1186" fmla="*/ 1114039 h 4996841"/>
                <a:gd name="connsiteX1187" fmla="*/ 1494905 w 3214184"/>
                <a:gd name="connsiteY1187" fmla="*/ 1115219 h 4996841"/>
                <a:gd name="connsiteX1188" fmla="*/ 1497174 w 3214184"/>
                <a:gd name="connsiteY1188" fmla="*/ 1115522 h 4996841"/>
                <a:gd name="connsiteX1189" fmla="*/ 1499200 w 3214184"/>
                <a:gd name="connsiteY1189" fmla="*/ 1114675 h 4996841"/>
                <a:gd name="connsiteX1190" fmla="*/ 1497295 w 3214184"/>
                <a:gd name="connsiteY1190" fmla="*/ 1108171 h 4996841"/>
                <a:gd name="connsiteX1191" fmla="*/ 1499200 w 3214184"/>
                <a:gd name="connsiteY1191" fmla="*/ 1104934 h 4996841"/>
                <a:gd name="connsiteX1192" fmla="*/ 1502952 w 3214184"/>
                <a:gd name="connsiteY1192" fmla="*/ 1104450 h 4996841"/>
                <a:gd name="connsiteX1193" fmla="*/ 1511755 w 3214184"/>
                <a:gd name="connsiteY1193" fmla="*/ 1107475 h 4996841"/>
                <a:gd name="connsiteX1194" fmla="*/ 1514689 w 3214184"/>
                <a:gd name="connsiteY1194" fmla="*/ 1107233 h 4996841"/>
                <a:gd name="connsiteX1195" fmla="*/ 1516414 w 3214184"/>
                <a:gd name="connsiteY1195" fmla="*/ 1105418 h 4996841"/>
                <a:gd name="connsiteX1196" fmla="*/ 1516505 w 3214184"/>
                <a:gd name="connsiteY1196" fmla="*/ 1101969 h 4996841"/>
                <a:gd name="connsiteX1197" fmla="*/ 1515113 w 3214184"/>
                <a:gd name="connsiteY1197" fmla="*/ 1099609 h 4996841"/>
                <a:gd name="connsiteX1198" fmla="*/ 1513177 w 3214184"/>
                <a:gd name="connsiteY1198" fmla="*/ 1098248 h 4996841"/>
                <a:gd name="connsiteX1199" fmla="*/ 1511574 w 3214184"/>
                <a:gd name="connsiteY1199" fmla="*/ 1097794 h 4996841"/>
                <a:gd name="connsiteX1200" fmla="*/ 1514538 w 3214184"/>
                <a:gd name="connsiteY1200" fmla="*/ 1093892 h 4996841"/>
                <a:gd name="connsiteX1201" fmla="*/ 1518955 w 3214184"/>
                <a:gd name="connsiteY1201" fmla="*/ 1090413 h 4996841"/>
                <a:gd name="connsiteX1202" fmla="*/ 1522343 w 3214184"/>
                <a:gd name="connsiteY1202" fmla="*/ 1085270 h 4996841"/>
                <a:gd name="connsiteX1203" fmla="*/ 1521980 w 3214184"/>
                <a:gd name="connsiteY1203" fmla="*/ 1076437 h 4996841"/>
                <a:gd name="connsiteX1204" fmla="*/ 1524944 w 3214184"/>
                <a:gd name="connsiteY1204" fmla="*/ 1075166 h 4996841"/>
                <a:gd name="connsiteX1205" fmla="*/ 1526004 w 3214184"/>
                <a:gd name="connsiteY1205" fmla="*/ 1073472 h 4996841"/>
                <a:gd name="connsiteX1206" fmla="*/ 1525550 w 3214184"/>
                <a:gd name="connsiteY1206" fmla="*/ 1070568 h 4996841"/>
                <a:gd name="connsiteX1207" fmla="*/ 1523614 w 3214184"/>
                <a:gd name="connsiteY1207" fmla="*/ 1064004 h 4996841"/>
                <a:gd name="connsiteX1208" fmla="*/ 1522706 w 3214184"/>
                <a:gd name="connsiteY1208" fmla="*/ 1060071 h 4996841"/>
                <a:gd name="connsiteX1209" fmla="*/ 1522283 w 3214184"/>
                <a:gd name="connsiteY1209" fmla="*/ 1058830 h 4996841"/>
                <a:gd name="connsiteX1210" fmla="*/ 1521043 w 3214184"/>
                <a:gd name="connsiteY1210" fmla="*/ 1057227 h 4996841"/>
                <a:gd name="connsiteX1211" fmla="*/ 1518562 w 3214184"/>
                <a:gd name="connsiteY1211" fmla="*/ 1055321 h 4996841"/>
                <a:gd name="connsiteX1212" fmla="*/ 1517745 w 3214184"/>
                <a:gd name="connsiteY1212" fmla="*/ 1053355 h 4996841"/>
                <a:gd name="connsiteX1213" fmla="*/ 1521496 w 3214184"/>
                <a:gd name="connsiteY1213" fmla="*/ 1051812 h 4996841"/>
                <a:gd name="connsiteX1214" fmla="*/ 1523371 w 3214184"/>
                <a:gd name="connsiteY1214" fmla="*/ 1050027 h 4996841"/>
                <a:gd name="connsiteX1215" fmla="*/ 1524007 w 3214184"/>
                <a:gd name="connsiteY1215" fmla="*/ 1047274 h 4996841"/>
                <a:gd name="connsiteX1216" fmla="*/ 1522978 w 3214184"/>
                <a:gd name="connsiteY1216" fmla="*/ 1045732 h 4996841"/>
                <a:gd name="connsiteX1217" fmla="*/ 1518743 w 3214184"/>
                <a:gd name="connsiteY1217" fmla="*/ 1045580 h 4996841"/>
                <a:gd name="connsiteX1218" fmla="*/ 1517140 w 3214184"/>
                <a:gd name="connsiteY1218" fmla="*/ 1044068 h 4996841"/>
                <a:gd name="connsiteX1219" fmla="*/ 1517472 w 3214184"/>
                <a:gd name="connsiteY1219" fmla="*/ 1043312 h 4996841"/>
                <a:gd name="connsiteX1220" fmla="*/ 1516686 w 3214184"/>
                <a:gd name="connsiteY1220" fmla="*/ 1035265 h 4996841"/>
                <a:gd name="connsiteX1221" fmla="*/ 1516444 w 3214184"/>
                <a:gd name="connsiteY1221" fmla="*/ 1034811 h 4996841"/>
                <a:gd name="connsiteX1222" fmla="*/ 1516444 w 3214184"/>
                <a:gd name="connsiteY1222" fmla="*/ 1032542 h 4996841"/>
                <a:gd name="connsiteX1223" fmla="*/ 1517140 w 3214184"/>
                <a:gd name="connsiteY1223" fmla="*/ 1025584 h 4996841"/>
                <a:gd name="connsiteX1224" fmla="*/ 1518743 w 3214184"/>
                <a:gd name="connsiteY1224" fmla="*/ 1028397 h 4996841"/>
                <a:gd name="connsiteX1225" fmla="*/ 1525399 w 3214184"/>
                <a:gd name="connsiteY1225" fmla="*/ 1033419 h 4996841"/>
                <a:gd name="connsiteX1226" fmla="*/ 1538437 w 3214184"/>
                <a:gd name="connsiteY1226" fmla="*/ 1048938 h 4996841"/>
                <a:gd name="connsiteX1227" fmla="*/ 1540887 w 3214184"/>
                <a:gd name="connsiteY1227" fmla="*/ 1049846 h 4996841"/>
                <a:gd name="connsiteX1228" fmla="*/ 1542248 w 3214184"/>
                <a:gd name="connsiteY1228" fmla="*/ 1048484 h 4996841"/>
                <a:gd name="connsiteX1229" fmla="*/ 1543338 w 3214184"/>
                <a:gd name="connsiteY1229" fmla="*/ 1046125 h 4996841"/>
                <a:gd name="connsiteX1230" fmla="*/ 1545273 w 3214184"/>
                <a:gd name="connsiteY1230" fmla="*/ 1044038 h 4996841"/>
                <a:gd name="connsiteX1231" fmla="*/ 1541371 w 3214184"/>
                <a:gd name="connsiteY1231" fmla="*/ 1041375 h 4996841"/>
                <a:gd name="connsiteX1232" fmla="*/ 1537741 w 3214184"/>
                <a:gd name="connsiteY1232" fmla="*/ 1037866 h 4996841"/>
                <a:gd name="connsiteX1233" fmla="*/ 1536592 w 3214184"/>
                <a:gd name="connsiteY1233" fmla="*/ 1036081 h 4996841"/>
                <a:gd name="connsiteX1234" fmla="*/ 1535442 w 3214184"/>
                <a:gd name="connsiteY1234" fmla="*/ 1033510 h 4996841"/>
                <a:gd name="connsiteX1235" fmla="*/ 1535291 w 3214184"/>
                <a:gd name="connsiteY1235" fmla="*/ 1031211 h 4996841"/>
                <a:gd name="connsiteX1236" fmla="*/ 1537075 w 3214184"/>
                <a:gd name="connsiteY1236" fmla="*/ 1030213 h 4996841"/>
                <a:gd name="connsiteX1237" fmla="*/ 1537681 w 3214184"/>
                <a:gd name="connsiteY1237" fmla="*/ 1028730 h 4996841"/>
                <a:gd name="connsiteX1238" fmla="*/ 1538225 w 3214184"/>
                <a:gd name="connsiteY1238" fmla="*/ 1025554 h 4996841"/>
                <a:gd name="connsiteX1239" fmla="*/ 1538346 w 3214184"/>
                <a:gd name="connsiteY1239" fmla="*/ 1022408 h 4996841"/>
                <a:gd name="connsiteX1240" fmla="*/ 1537771 w 3214184"/>
                <a:gd name="connsiteY1240" fmla="*/ 1020925 h 4996841"/>
                <a:gd name="connsiteX1241" fmla="*/ 1533869 w 3214184"/>
                <a:gd name="connsiteY1241" fmla="*/ 1022075 h 4996841"/>
                <a:gd name="connsiteX1242" fmla="*/ 1532235 w 3214184"/>
                <a:gd name="connsiteY1242" fmla="*/ 1021379 h 4996841"/>
                <a:gd name="connsiteX1243" fmla="*/ 1530904 w 3214184"/>
                <a:gd name="connsiteY1243" fmla="*/ 1017961 h 4996841"/>
                <a:gd name="connsiteX1244" fmla="*/ 1533869 w 3214184"/>
                <a:gd name="connsiteY1244" fmla="*/ 1011487 h 4996841"/>
                <a:gd name="connsiteX1245" fmla="*/ 1535018 w 3214184"/>
                <a:gd name="connsiteY1245" fmla="*/ 1010126 h 4996841"/>
                <a:gd name="connsiteX1246" fmla="*/ 1534141 w 3214184"/>
                <a:gd name="connsiteY1246" fmla="*/ 1006768 h 4996841"/>
                <a:gd name="connsiteX1247" fmla="*/ 1533597 w 3214184"/>
                <a:gd name="connsiteY1247" fmla="*/ 1005074 h 4996841"/>
                <a:gd name="connsiteX1248" fmla="*/ 1533022 w 3214184"/>
                <a:gd name="connsiteY1248" fmla="*/ 1003985 h 4996841"/>
                <a:gd name="connsiteX1249" fmla="*/ 1532235 w 3214184"/>
                <a:gd name="connsiteY1249" fmla="*/ 1003622 h 4996841"/>
                <a:gd name="connsiteX1250" fmla="*/ 1529512 w 3214184"/>
                <a:gd name="connsiteY1250" fmla="*/ 1003985 h 4996841"/>
                <a:gd name="connsiteX1251" fmla="*/ 1528515 w 3214184"/>
                <a:gd name="connsiteY1251" fmla="*/ 1003440 h 4996841"/>
                <a:gd name="connsiteX1252" fmla="*/ 1526941 w 3214184"/>
                <a:gd name="connsiteY1252" fmla="*/ 1001232 h 4996841"/>
                <a:gd name="connsiteX1253" fmla="*/ 1526034 w 3214184"/>
                <a:gd name="connsiteY1253" fmla="*/ 1000687 h 4996841"/>
                <a:gd name="connsiteX1254" fmla="*/ 1524097 w 3214184"/>
                <a:gd name="connsiteY1254" fmla="*/ 1001232 h 4996841"/>
                <a:gd name="connsiteX1255" fmla="*/ 1520558 w 3214184"/>
                <a:gd name="connsiteY1255" fmla="*/ 1003440 h 4996841"/>
                <a:gd name="connsiteX1256" fmla="*/ 1518774 w 3214184"/>
                <a:gd name="connsiteY1256" fmla="*/ 1003985 h 4996841"/>
                <a:gd name="connsiteX1257" fmla="*/ 1517745 w 3214184"/>
                <a:gd name="connsiteY1257" fmla="*/ 1002986 h 4996841"/>
                <a:gd name="connsiteX1258" fmla="*/ 1517745 w 3214184"/>
                <a:gd name="connsiteY1258" fmla="*/ 1000869 h 4996841"/>
                <a:gd name="connsiteX1259" fmla="*/ 1518531 w 3214184"/>
                <a:gd name="connsiteY1259" fmla="*/ 998721 h 4996841"/>
                <a:gd name="connsiteX1260" fmla="*/ 1519862 w 3214184"/>
                <a:gd name="connsiteY1260" fmla="*/ 997783 h 4996841"/>
                <a:gd name="connsiteX1261" fmla="*/ 1516898 w 3214184"/>
                <a:gd name="connsiteY1261" fmla="*/ 996301 h 4996841"/>
                <a:gd name="connsiteX1262" fmla="*/ 1515506 w 3214184"/>
                <a:gd name="connsiteY1262" fmla="*/ 995121 h 4996841"/>
                <a:gd name="connsiteX1263" fmla="*/ 1514296 w 3214184"/>
                <a:gd name="connsiteY1263" fmla="*/ 993155 h 4996841"/>
                <a:gd name="connsiteX1264" fmla="*/ 1518168 w 3214184"/>
                <a:gd name="connsiteY1264" fmla="*/ 990129 h 4996841"/>
                <a:gd name="connsiteX1265" fmla="*/ 1519983 w 3214184"/>
                <a:gd name="connsiteY1265" fmla="*/ 988133 h 4996841"/>
                <a:gd name="connsiteX1266" fmla="*/ 1520558 w 3214184"/>
                <a:gd name="connsiteY1266" fmla="*/ 985259 h 4996841"/>
                <a:gd name="connsiteX1267" fmla="*/ 1519500 w 3214184"/>
                <a:gd name="connsiteY1267" fmla="*/ 983262 h 4996841"/>
                <a:gd name="connsiteX1268" fmla="*/ 1514901 w 3214184"/>
                <a:gd name="connsiteY1268" fmla="*/ 977121 h 4996841"/>
                <a:gd name="connsiteX1269" fmla="*/ 1513630 w 3214184"/>
                <a:gd name="connsiteY1269" fmla="*/ 975790 h 4996841"/>
                <a:gd name="connsiteX1270" fmla="*/ 1511785 w 3214184"/>
                <a:gd name="connsiteY1270" fmla="*/ 974610 h 4996841"/>
                <a:gd name="connsiteX1271" fmla="*/ 1509274 w 3214184"/>
                <a:gd name="connsiteY1271" fmla="*/ 969347 h 4996841"/>
                <a:gd name="connsiteX1272" fmla="*/ 1505190 w 3214184"/>
                <a:gd name="connsiteY1272" fmla="*/ 966987 h 4996841"/>
                <a:gd name="connsiteX1273" fmla="*/ 1503466 w 3214184"/>
                <a:gd name="connsiteY1273" fmla="*/ 961118 h 4996841"/>
                <a:gd name="connsiteX1274" fmla="*/ 1501197 w 3214184"/>
                <a:gd name="connsiteY1274" fmla="*/ 958819 h 4996841"/>
                <a:gd name="connsiteX1275" fmla="*/ 1501893 w 3214184"/>
                <a:gd name="connsiteY1275" fmla="*/ 961935 h 4996841"/>
                <a:gd name="connsiteX1276" fmla="*/ 1497809 w 3214184"/>
                <a:gd name="connsiteY1276" fmla="*/ 956036 h 4996841"/>
                <a:gd name="connsiteX1277" fmla="*/ 1481019 w 3214184"/>
                <a:gd name="connsiteY1277" fmla="*/ 944934 h 4996841"/>
                <a:gd name="connsiteX1278" fmla="*/ 1475756 w 3214184"/>
                <a:gd name="connsiteY1278" fmla="*/ 944631 h 4996841"/>
                <a:gd name="connsiteX1279" fmla="*/ 1474243 w 3214184"/>
                <a:gd name="connsiteY1279" fmla="*/ 944147 h 4996841"/>
                <a:gd name="connsiteX1280" fmla="*/ 1471067 w 3214184"/>
                <a:gd name="connsiteY1280" fmla="*/ 942030 h 4996841"/>
                <a:gd name="connsiteX1281" fmla="*/ 1464079 w 3214184"/>
                <a:gd name="connsiteY1281" fmla="*/ 940184 h 4996841"/>
                <a:gd name="connsiteX1282" fmla="*/ 1462990 w 3214184"/>
                <a:gd name="connsiteY1282" fmla="*/ 939277 h 4996841"/>
                <a:gd name="connsiteX1283" fmla="*/ 1462838 w 3214184"/>
                <a:gd name="connsiteY1283" fmla="*/ 937522 h 4996841"/>
                <a:gd name="connsiteX1284" fmla="*/ 1463323 w 3214184"/>
                <a:gd name="connsiteY1284" fmla="*/ 935707 h 4996841"/>
                <a:gd name="connsiteX1285" fmla="*/ 1464109 w 3214184"/>
                <a:gd name="connsiteY1285" fmla="*/ 933862 h 4996841"/>
                <a:gd name="connsiteX1286" fmla="*/ 1464654 w 3214184"/>
                <a:gd name="connsiteY1286" fmla="*/ 932016 h 4996841"/>
                <a:gd name="connsiteX1287" fmla="*/ 1463262 w 3214184"/>
                <a:gd name="connsiteY1287" fmla="*/ 931411 h 4996841"/>
                <a:gd name="connsiteX1288" fmla="*/ 1459874 w 3214184"/>
                <a:gd name="connsiteY1288" fmla="*/ 927479 h 4996841"/>
                <a:gd name="connsiteX1289" fmla="*/ 1458180 w 3214184"/>
                <a:gd name="connsiteY1289" fmla="*/ 926117 h 4996841"/>
                <a:gd name="connsiteX1290" fmla="*/ 1456607 w 3214184"/>
                <a:gd name="connsiteY1290" fmla="*/ 925664 h 4996841"/>
                <a:gd name="connsiteX1291" fmla="*/ 1445020 w 3214184"/>
                <a:gd name="connsiteY1291" fmla="*/ 925180 h 4996841"/>
                <a:gd name="connsiteX1292" fmla="*/ 1442600 w 3214184"/>
                <a:gd name="connsiteY1292" fmla="*/ 925785 h 4996841"/>
                <a:gd name="connsiteX1293" fmla="*/ 1440966 w 3214184"/>
                <a:gd name="connsiteY1293" fmla="*/ 927327 h 4996841"/>
                <a:gd name="connsiteX1294" fmla="*/ 1439333 w 3214184"/>
                <a:gd name="connsiteY1294" fmla="*/ 929385 h 4996841"/>
                <a:gd name="connsiteX1295" fmla="*/ 1437730 w 3214184"/>
                <a:gd name="connsiteY1295" fmla="*/ 930262 h 4996841"/>
                <a:gd name="connsiteX1296" fmla="*/ 1436036 w 3214184"/>
                <a:gd name="connsiteY1296" fmla="*/ 928265 h 4996841"/>
                <a:gd name="connsiteX1297" fmla="*/ 1436036 w 3214184"/>
                <a:gd name="connsiteY1297" fmla="*/ 926632 h 4996841"/>
                <a:gd name="connsiteX1298" fmla="*/ 1436610 w 3214184"/>
                <a:gd name="connsiteY1298" fmla="*/ 925119 h 4996841"/>
                <a:gd name="connsiteX1299" fmla="*/ 1436610 w 3214184"/>
                <a:gd name="connsiteY1299" fmla="*/ 923576 h 4996841"/>
                <a:gd name="connsiteX1300" fmla="*/ 1434856 w 3214184"/>
                <a:gd name="connsiteY1300" fmla="*/ 921640 h 4996841"/>
                <a:gd name="connsiteX1301" fmla="*/ 1409596 w 3214184"/>
                <a:gd name="connsiteY1301" fmla="*/ 911778 h 4996841"/>
                <a:gd name="connsiteX1302" fmla="*/ 1411532 w 3214184"/>
                <a:gd name="connsiteY1302" fmla="*/ 910598 h 4996841"/>
                <a:gd name="connsiteX1303" fmla="*/ 1411078 w 3214184"/>
                <a:gd name="connsiteY1303" fmla="*/ 908965 h 4996841"/>
                <a:gd name="connsiteX1304" fmla="*/ 1409354 w 3214184"/>
                <a:gd name="connsiteY1304" fmla="*/ 907573 h 4996841"/>
                <a:gd name="connsiteX1305" fmla="*/ 1407509 w 3214184"/>
                <a:gd name="connsiteY1305" fmla="*/ 906938 h 4996841"/>
                <a:gd name="connsiteX1306" fmla="*/ 1395650 w 3214184"/>
                <a:gd name="connsiteY1306" fmla="*/ 910447 h 4996841"/>
                <a:gd name="connsiteX1307" fmla="*/ 1378497 w 3214184"/>
                <a:gd name="connsiteY1307" fmla="*/ 910084 h 4996841"/>
                <a:gd name="connsiteX1308" fmla="*/ 1381704 w 3214184"/>
                <a:gd name="connsiteY1308" fmla="*/ 905879 h 4996841"/>
                <a:gd name="connsiteX1309" fmla="*/ 1386303 w 3214184"/>
                <a:gd name="connsiteY1309" fmla="*/ 903731 h 4996841"/>
                <a:gd name="connsiteX1310" fmla="*/ 1395105 w 3214184"/>
                <a:gd name="connsiteY1310" fmla="*/ 902370 h 4996841"/>
                <a:gd name="connsiteX1311" fmla="*/ 1410504 w 3214184"/>
                <a:gd name="connsiteY1311" fmla="*/ 903762 h 4996841"/>
                <a:gd name="connsiteX1312" fmla="*/ 1415102 w 3214184"/>
                <a:gd name="connsiteY1312" fmla="*/ 900797 h 4996841"/>
                <a:gd name="connsiteX1313" fmla="*/ 1411925 w 3214184"/>
                <a:gd name="connsiteY1313" fmla="*/ 895896 h 4996841"/>
                <a:gd name="connsiteX1314" fmla="*/ 1402789 w 3214184"/>
                <a:gd name="connsiteY1314" fmla="*/ 892417 h 4996841"/>
                <a:gd name="connsiteX1315" fmla="*/ 1399159 w 3214184"/>
                <a:gd name="connsiteY1315" fmla="*/ 889604 h 4996841"/>
                <a:gd name="connsiteX1316" fmla="*/ 1404151 w 3214184"/>
                <a:gd name="connsiteY1316" fmla="*/ 886276 h 4996841"/>
                <a:gd name="connsiteX1317" fmla="*/ 1416100 w 3214184"/>
                <a:gd name="connsiteY1317" fmla="*/ 887759 h 4996841"/>
                <a:gd name="connsiteX1318" fmla="*/ 1421242 w 3214184"/>
                <a:gd name="connsiteY1318" fmla="*/ 884885 h 4996841"/>
                <a:gd name="connsiteX1319" fmla="*/ 1418097 w 3214184"/>
                <a:gd name="connsiteY1319" fmla="*/ 880740 h 4996841"/>
                <a:gd name="connsiteX1320" fmla="*/ 1409747 w 3214184"/>
                <a:gd name="connsiteY1320" fmla="*/ 878986 h 4996841"/>
                <a:gd name="connsiteX1321" fmla="*/ 1406087 w 3214184"/>
                <a:gd name="connsiteY1321" fmla="*/ 876929 h 4996841"/>
                <a:gd name="connsiteX1322" fmla="*/ 1408386 w 3214184"/>
                <a:gd name="connsiteY1322" fmla="*/ 875295 h 4996841"/>
                <a:gd name="connsiteX1323" fmla="*/ 1410231 w 3214184"/>
                <a:gd name="connsiteY1323" fmla="*/ 874871 h 4996841"/>
                <a:gd name="connsiteX1324" fmla="*/ 1410987 w 3214184"/>
                <a:gd name="connsiteY1324" fmla="*/ 873692 h 4996841"/>
                <a:gd name="connsiteX1325" fmla="*/ 1409898 w 3214184"/>
                <a:gd name="connsiteY1325" fmla="*/ 869729 h 4996841"/>
                <a:gd name="connsiteX1326" fmla="*/ 1407811 w 3214184"/>
                <a:gd name="connsiteY1326" fmla="*/ 867309 h 4996841"/>
                <a:gd name="connsiteX1327" fmla="*/ 1405421 w 3214184"/>
                <a:gd name="connsiteY1327" fmla="*/ 868670 h 4996841"/>
                <a:gd name="connsiteX1328" fmla="*/ 1401277 w 3214184"/>
                <a:gd name="connsiteY1328" fmla="*/ 874478 h 4996841"/>
                <a:gd name="connsiteX1329" fmla="*/ 1398403 w 3214184"/>
                <a:gd name="connsiteY1329" fmla="*/ 876112 h 4996841"/>
                <a:gd name="connsiteX1330" fmla="*/ 1382914 w 3214184"/>
                <a:gd name="connsiteY1330" fmla="*/ 872300 h 4996841"/>
                <a:gd name="connsiteX1331" fmla="*/ 1380192 w 3214184"/>
                <a:gd name="connsiteY1331" fmla="*/ 870757 h 4996841"/>
                <a:gd name="connsiteX1332" fmla="*/ 1378134 w 3214184"/>
                <a:gd name="connsiteY1332" fmla="*/ 868186 h 4996841"/>
                <a:gd name="connsiteX1333" fmla="*/ 1377802 w 3214184"/>
                <a:gd name="connsiteY1333" fmla="*/ 866855 h 4996841"/>
                <a:gd name="connsiteX1334" fmla="*/ 1377802 w 3214184"/>
                <a:gd name="connsiteY1334" fmla="*/ 865615 h 4996841"/>
                <a:gd name="connsiteX1335" fmla="*/ 1377681 w 3214184"/>
                <a:gd name="connsiteY1335" fmla="*/ 864465 h 4996841"/>
                <a:gd name="connsiteX1336" fmla="*/ 1377106 w 3214184"/>
                <a:gd name="connsiteY1336" fmla="*/ 863376 h 4996841"/>
                <a:gd name="connsiteX1337" fmla="*/ 1376168 w 3214184"/>
                <a:gd name="connsiteY1337" fmla="*/ 862529 h 4996841"/>
                <a:gd name="connsiteX1338" fmla="*/ 1370209 w 3214184"/>
                <a:gd name="connsiteY1338" fmla="*/ 860109 h 4996841"/>
                <a:gd name="connsiteX1339" fmla="*/ 1367698 w 3214184"/>
                <a:gd name="connsiteY1339" fmla="*/ 859867 h 4996841"/>
                <a:gd name="connsiteX1340" fmla="*/ 1365248 w 3214184"/>
                <a:gd name="connsiteY1340" fmla="*/ 860653 h 4996841"/>
                <a:gd name="connsiteX1341" fmla="*/ 1357714 w 3214184"/>
                <a:gd name="connsiteY1341" fmla="*/ 865463 h 4996841"/>
                <a:gd name="connsiteX1342" fmla="*/ 1351937 w 3214184"/>
                <a:gd name="connsiteY1342" fmla="*/ 866310 h 4996841"/>
                <a:gd name="connsiteX1343" fmla="*/ 1346189 w 3214184"/>
                <a:gd name="connsiteY1343" fmla="*/ 864919 h 4996841"/>
                <a:gd name="connsiteX1344" fmla="*/ 1341288 w 3214184"/>
                <a:gd name="connsiteY1344" fmla="*/ 861137 h 4996841"/>
                <a:gd name="connsiteX1345" fmla="*/ 1344072 w 3214184"/>
                <a:gd name="connsiteY1345" fmla="*/ 858324 h 4996841"/>
                <a:gd name="connsiteX1346" fmla="*/ 1350092 w 3214184"/>
                <a:gd name="connsiteY1346" fmla="*/ 857144 h 4996841"/>
                <a:gd name="connsiteX1347" fmla="*/ 1354629 w 3214184"/>
                <a:gd name="connsiteY1347" fmla="*/ 854482 h 4996841"/>
                <a:gd name="connsiteX1348" fmla="*/ 1359257 w 3214184"/>
                <a:gd name="connsiteY1348" fmla="*/ 856085 h 4996841"/>
                <a:gd name="connsiteX1349" fmla="*/ 1363946 w 3214184"/>
                <a:gd name="connsiteY1349" fmla="*/ 854724 h 4996841"/>
                <a:gd name="connsiteX1350" fmla="*/ 1364310 w 3214184"/>
                <a:gd name="connsiteY1350" fmla="*/ 854603 h 4996841"/>
                <a:gd name="connsiteX1351" fmla="*/ 1366094 w 3214184"/>
                <a:gd name="connsiteY1351" fmla="*/ 854603 h 4996841"/>
                <a:gd name="connsiteX1352" fmla="*/ 1365398 w 3214184"/>
                <a:gd name="connsiteY1352" fmla="*/ 853000 h 4996841"/>
                <a:gd name="connsiteX1353" fmla="*/ 1364612 w 3214184"/>
                <a:gd name="connsiteY1353" fmla="*/ 851911 h 4996841"/>
                <a:gd name="connsiteX1354" fmla="*/ 1363675 w 3214184"/>
                <a:gd name="connsiteY1354" fmla="*/ 851366 h 4996841"/>
                <a:gd name="connsiteX1355" fmla="*/ 1362706 w 3214184"/>
                <a:gd name="connsiteY1355" fmla="*/ 851457 h 4996841"/>
                <a:gd name="connsiteX1356" fmla="*/ 1366700 w 3214184"/>
                <a:gd name="connsiteY1356" fmla="*/ 849400 h 4996841"/>
                <a:gd name="connsiteX1357" fmla="*/ 1397526 w 3214184"/>
                <a:gd name="connsiteY1357" fmla="*/ 862408 h 4996841"/>
                <a:gd name="connsiteX1358" fmla="*/ 1401307 w 3214184"/>
                <a:gd name="connsiteY1358" fmla="*/ 859383 h 4996841"/>
                <a:gd name="connsiteX1359" fmla="*/ 1399976 w 3214184"/>
                <a:gd name="connsiteY1359" fmla="*/ 858173 h 4996841"/>
                <a:gd name="connsiteX1360" fmla="*/ 1395771 w 3214184"/>
                <a:gd name="connsiteY1360" fmla="*/ 856085 h 4996841"/>
                <a:gd name="connsiteX1361" fmla="*/ 1394440 w 3214184"/>
                <a:gd name="connsiteY1361" fmla="*/ 854785 h 4996841"/>
                <a:gd name="connsiteX1362" fmla="*/ 1393835 w 3214184"/>
                <a:gd name="connsiteY1362" fmla="*/ 853786 h 4996841"/>
                <a:gd name="connsiteX1363" fmla="*/ 1392685 w 3214184"/>
                <a:gd name="connsiteY1363" fmla="*/ 850640 h 4996841"/>
                <a:gd name="connsiteX1364" fmla="*/ 1389811 w 3214184"/>
                <a:gd name="connsiteY1364" fmla="*/ 846254 h 4996841"/>
                <a:gd name="connsiteX1365" fmla="*/ 1373385 w 3214184"/>
                <a:gd name="connsiteY1365" fmla="*/ 840143 h 4996841"/>
                <a:gd name="connsiteX1366" fmla="*/ 1370269 w 3214184"/>
                <a:gd name="connsiteY1366" fmla="*/ 840143 h 4996841"/>
                <a:gd name="connsiteX1367" fmla="*/ 1369392 w 3214184"/>
                <a:gd name="connsiteY1367" fmla="*/ 840657 h 4996841"/>
                <a:gd name="connsiteX1368" fmla="*/ 1369150 w 3214184"/>
                <a:gd name="connsiteY1368" fmla="*/ 841867 h 4996841"/>
                <a:gd name="connsiteX1369" fmla="*/ 1369331 w 3214184"/>
                <a:gd name="connsiteY1369" fmla="*/ 842926 h 4996841"/>
                <a:gd name="connsiteX1370" fmla="*/ 1369573 w 3214184"/>
                <a:gd name="connsiteY1370" fmla="*/ 843289 h 4996841"/>
                <a:gd name="connsiteX1371" fmla="*/ 1368061 w 3214184"/>
                <a:gd name="connsiteY1371" fmla="*/ 844650 h 4996841"/>
                <a:gd name="connsiteX1372" fmla="*/ 1366669 w 3214184"/>
                <a:gd name="connsiteY1372" fmla="*/ 845104 h 4996841"/>
                <a:gd name="connsiteX1373" fmla="*/ 1359590 w 3214184"/>
                <a:gd name="connsiteY1373" fmla="*/ 844802 h 4996841"/>
                <a:gd name="connsiteX1374" fmla="*/ 1357957 w 3214184"/>
                <a:gd name="connsiteY1374" fmla="*/ 845709 h 4996841"/>
                <a:gd name="connsiteX1375" fmla="*/ 1356565 w 3214184"/>
                <a:gd name="connsiteY1375" fmla="*/ 848069 h 4996841"/>
                <a:gd name="connsiteX1376" fmla="*/ 1357926 w 3214184"/>
                <a:gd name="connsiteY1376" fmla="*/ 849823 h 4996841"/>
                <a:gd name="connsiteX1377" fmla="*/ 1337416 w 3214184"/>
                <a:gd name="connsiteY1377" fmla="*/ 850277 h 4996841"/>
                <a:gd name="connsiteX1378" fmla="*/ 1333756 w 3214184"/>
                <a:gd name="connsiteY1378" fmla="*/ 844892 h 4996841"/>
                <a:gd name="connsiteX1379" fmla="*/ 1341106 w 3214184"/>
                <a:gd name="connsiteY1379" fmla="*/ 843713 h 4996841"/>
                <a:gd name="connsiteX1380" fmla="*/ 1344767 w 3214184"/>
                <a:gd name="connsiteY1380" fmla="*/ 844197 h 4996841"/>
                <a:gd name="connsiteX1381" fmla="*/ 1348428 w 3214184"/>
                <a:gd name="connsiteY1381" fmla="*/ 846042 h 4996841"/>
                <a:gd name="connsiteX1382" fmla="*/ 1350818 w 3214184"/>
                <a:gd name="connsiteY1382" fmla="*/ 846344 h 4996841"/>
                <a:gd name="connsiteX1383" fmla="*/ 1353963 w 3214184"/>
                <a:gd name="connsiteY1383" fmla="*/ 844892 h 4996841"/>
                <a:gd name="connsiteX1384" fmla="*/ 1356747 w 3214184"/>
                <a:gd name="connsiteY1384" fmla="*/ 841746 h 4996841"/>
                <a:gd name="connsiteX1385" fmla="*/ 1357896 w 3214184"/>
                <a:gd name="connsiteY1385" fmla="*/ 836966 h 4996841"/>
                <a:gd name="connsiteX1386" fmla="*/ 1359469 w 3214184"/>
                <a:gd name="connsiteY1386" fmla="*/ 832640 h 4996841"/>
                <a:gd name="connsiteX1387" fmla="*/ 1363039 w 3214184"/>
                <a:gd name="connsiteY1387" fmla="*/ 831945 h 4996841"/>
                <a:gd name="connsiteX1388" fmla="*/ 1369906 w 3214184"/>
                <a:gd name="connsiteY1388" fmla="*/ 833699 h 4996841"/>
                <a:gd name="connsiteX1389" fmla="*/ 1376108 w 3214184"/>
                <a:gd name="connsiteY1389" fmla="*/ 837118 h 4996841"/>
                <a:gd name="connsiteX1390" fmla="*/ 1379314 w 3214184"/>
                <a:gd name="connsiteY1390" fmla="*/ 837541 h 4996841"/>
                <a:gd name="connsiteX1391" fmla="*/ 1379919 w 3214184"/>
                <a:gd name="connsiteY1391" fmla="*/ 833730 h 4996841"/>
                <a:gd name="connsiteX1392" fmla="*/ 1378316 w 3214184"/>
                <a:gd name="connsiteY1392" fmla="*/ 831521 h 4996841"/>
                <a:gd name="connsiteX1393" fmla="*/ 1365731 w 3214184"/>
                <a:gd name="connsiteY1393" fmla="*/ 822809 h 4996841"/>
                <a:gd name="connsiteX1394" fmla="*/ 1344737 w 3214184"/>
                <a:gd name="connsiteY1394" fmla="*/ 823111 h 4996841"/>
                <a:gd name="connsiteX1395" fmla="*/ 1324075 w 3214184"/>
                <a:gd name="connsiteY1395" fmla="*/ 811223 h 4996841"/>
                <a:gd name="connsiteX1396" fmla="*/ 1328371 w 3214184"/>
                <a:gd name="connsiteY1396" fmla="*/ 812675 h 4996841"/>
                <a:gd name="connsiteX1397" fmla="*/ 1339140 w 3214184"/>
                <a:gd name="connsiteY1397" fmla="*/ 812433 h 4996841"/>
                <a:gd name="connsiteX1398" fmla="*/ 1340713 w 3214184"/>
                <a:gd name="connsiteY1398" fmla="*/ 811223 h 4996841"/>
                <a:gd name="connsiteX1399" fmla="*/ 1339927 w 3214184"/>
                <a:gd name="connsiteY1399" fmla="*/ 808954 h 4996841"/>
                <a:gd name="connsiteX1400" fmla="*/ 1338807 w 3214184"/>
                <a:gd name="connsiteY1400" fmla="*/ 804930 h 4996841"/>
                <a:gd name="connsiteX1401" fmla="*/ 1337900 w 3214184"/>
                <a:gd name="connsiteY1401" fmla="*/ 803236 h 4996841"/>
                <a:gd name="connsiteX1402" fmla="*/ 1336297 w 3214184"/>
                <a:gd name="connsiteY1402" fmla="*/ 801935 h 4996841"/>
                <a:gd name="connsiteX1403" fmla="*/ 1317602 w 3214184"/>
                <a:gd name="connsiteY1403" fmla="*/ 798456 h 4996841"/>
                <a:gd name="connsiteX1404" fmla="*/ 1313699 w 3214184"/>
                <a:gd name="connsiteY1404" fmla="*/ 795341 h 4996841"/>
                <a:gd name="connsiteX1405" fmla="*/ 1314697 w 3214184"/>
                <a:gd name="connsiteY1405" fmla="*/ 790954 h 4996841"/>
                <a:gd name="connsiteX1406" fmla="*/ 1312308 w 3214184"/>
                <a:gd name="connsiteY1406" fmla="*/ 787808 h 4996841"/>
                <a:gd name="connsiteX1407" fmla="*/ 1306167 w 3214184"/>
                <a:gd name="connsiteY1407" fmla="*/ 783996 h 4996841"/>
                <a:gd name="connsiteX1408" fmla="*/ 1301508 w 3214184"/>
                <a:gd name="connsiteY1408" fmla="*/ 778097 h 4996841"/>
                <a:gd name="connsiteX1409" fmla="*/ 1299602 w 3214184"/>
                <a:gd name="connsiteY1409" fmla="*/ 777432 h 4996841"/>
                <a:gd name="connsiteX1410" fmla="*/ 1288892 w 3214184"/>
                <a:gd name="connsiteY1410" fmla="*/ 777432 h 4996841"/>
                <a:gd name="connsiteX1411" fmla="*/ 1288892 w 3214184"/>
                <a:gd name="connsiteY1411" fmla="*/ 775949 h 4996841"/>
                <a:gd name="connsiteX1412" fmla="*/ 1293128 w 3214184"/>
                <a:gd name="connsiteY1412" fmla="*/ 774104 h 4996841"/>
                <a:gd name="connsiteX1413" fmla="*/ 1294731 w 3214184"/>
                <a:gd name="connsiteY1413" fmla="*/ 771744 h 4996841"/>
                <a:gd name="connsiteX1414" fmla="*/ 1294429 w 3214184"/>
                <a:gd name="connsiteY1414" fmla="*/ 767781 h 4996841"/>
                <a:gd name="connsiteX1415" fmla="*/ 1295034 w 3214184"/>
                <a:gd name="connsiteY1415" fmla="*/ 767539 h 4996841"/>
                <a:gd name="connsiteX1416" fmla="*/ 1296486 w 3214184"/>
                <a:gd name="connsiteY1416" fmla="*/ 766299 h 4996841"/>
                <a:gd name="connsiteX1417" fmla="*/ 1294127 w 3214184"/>
                <a:gd name="connsiteY1417" fmla="*/ 763455 h 4996841"/>
                <a:gd name="connsiteX1418" fmla="*/ 1288621 w 3214184"/>
                <a:gd name="connsiteY1418" fmla="*/ 763183 h 4996841"/>
                <a:gd name="connsiteX1419" fmla="*/ 1286079 w 3214184"/>
                <a:gd name="connsiteY1419" fmla="*/ 761489 h 4996841"/>
                <a:gd name="connsiteX1420" fmla="*/ 1289347 w 3214184"/>
                <a:gd name="connsiteY1420" fmla="*/ 761005 h 4996841"/>
                <a:gd name="connsiteX1421" fmla="*/ 1297635 w 3214184"/>
                <a:gd name="connsiteY1421" fmla="*/ 762608 h 4996841"/>
                <a:gd name="connsiteX1422" fmla="*/ 1300297 w 3214184"/>
                <a:gd name="connsiteY1422" fmla="*/ 760672 h 4996841"/>
                <a:gd name="connsiteX1423" fmla="*/ 1302113 w 3214184"/>
                <a:gd name="connsiteY1423" fmla="*/ 756074 h 4996841"/>
                <a:gd name="connsiteX1424" fmla="*/ 1302687 w 3214184"/>
                <a:gd name="connsiteY1424" fmla="*/ 753079 h 4996841"/>
                <a:gd name="connsiteX1425" fmla="*/ 1301961 w 3214184"/>
                <a:gd name="connsiteY1425" fmla="*/ 750478 h 4996841"/>
                <a:gd name="connsiteX1426" fmla="*/ 1299965 w 3214184"/>
                <a:gd name="connsiteY1426" fmla="*/ 746938 h 4996841"/>
                <a:gd name="connsiteX1427" fmla="*/ 1297242 w 3214184"/>
                <a:gd name="connsiteY1427" fmla="*/ 743278 h 4996841"/>
                <a:gd name="connsiteX1428" fmla="*/ 1288711 w 3214184"/>
                <a:gd name="connsiteY1428" fmla="*/ 737590 h 4996841"/>
                <a:gd name="connsiteX1429" fmla="*/ 1285414 w 3214184"/>
                <a:gd name="connsiteY1429" fmla="*/ 736834 h 4996841"/>
                <a:gd name="connsiteX1430" fmla="*/ 1281663 w 3214184"/>
                <a:gd name="connsiteY1430" fmla="*/ 737076 h 4996841"/>
                <a:gd name="connsiteX1431" fmla="*/ 1278214 w 3214184"/>
                <a:gd name="connsiteY1431" fmla="*/ 736229 h 4996841"/>
                <a:gd name="connsiteX1432" fmla="*/ 1275733 w 3214184"/>
                <a:gd name="connsiteY1432" fmla="*/ 732054 h 4996841"/>
                <a:gd name="connsiteX1433" fmla="*/ 1279273 w 3214184"/>
                <a:gd name="connsiteY1433" fmla="*/ 731964 h 4996841"/>
                <a:gd name="connsiteX1434" fmla="*/ 1280967 w 3214184"/>
                <a:gd name="connsiteY1434" fmla="*/ 732448 h 4996841"/>
                <a:gd name="connsiteX1435" fmla="*/ 1282601 w 3214184"/>
                <a:gd name="connsiteY1435" fmla="*/ 733809 h 4996841"/>
                <a:gd name="connsiteX1436" fmla="*/ 1281270 w 3214184"/>
                <a:gd name="connsiteY1436" fmla="*/ 730512 h 4996841"/>
                <a:gd name="connsiteX1437" fmla="*/ 1277155 w 3214184"/>
                <a:gd name="connsiteY1437" fmla="*/ 727305 h 4996841"/>
                <a:gd name="connsiteX1438" fmla="*/ 1272920 w 3214184"/>
                <a:gd name="connsiteY1438" fmla="*/ 720831 h 4996841"/>
                <a:gd name="connsiteX1439" fmla="*/ 1270197 w 3214184"/>
                <a:gd name="connsiteY1439" fmla="*/ 718895 h 4996841"/>
                <a:gd name="connsiteX1440" fmla="*/ 1267202 w 3214184"/>
                <a:gd name="connsiteY1440" fmla="*/ 718562 h 4996841"/>
                <a:gd name="connsiteX1441" fmla="*/ 1255919 w 3214184"/>
                <a:gd name="connsiteY1441" fmla="*/ 721920 h 4996841"/>
                <a:gd name="connsiteX1442" fmla="*/ 1237798 w 3214184"/>
                <a:gd name="connsiteY1442" fmla="*/ 720831 h 4996841"/>
                <a:gd name="connsiteX1443" fmla="*/ 1238736 w 3214184"/>
                <a:gd name="connsiteY1443" fmla="*/ 715749 h 4996841"/>
                <a:gd name="connsiteX1444" fmla="*/ 1239189 w 3214184"/>
                <a:gd name="connsiteY1444" fmla="*/ 714206 h 4996841"/>
                <a:gd name="connsiteX1445" fmla="*/ 1231566 w 3214184"/>
                <a:gd name="connsiteY1445" fmla="*/ 714206 h 4996841"/>
                <a:gd name="connsiteX1446" fmla="*/ 1234229 w 3214184"/>
                <a:gd name="connsiteY1446" fmla="*/ 711332 h 4996841"/>
                <a:gd name="connsiteX1447" fmla="*/ 1237526 w 3214184"/>
                <a:gd name="connsiteY1447" fmla="*/ 710485 h 4996841"/>
                <a:gd name="connsiteX1448" fmla="*/ 1240944 w 3214184"/>
                <a:gd name="connsiteY1448" fmla="*/ 711090 h 4996841"/>
                <a:gd name="connsiteX1449" fmla="*/ 1250655 w 3214184"/>
                <a:gd name="connsiteY1449" fmla="*/ 716324 h 4996841"/>
                <a:gd name="connsiteX1450" fmla="*/ 1253983 w 3214184"/>
                <a:gd name="connsiteY1450" fmla="*/ 716838 h 4996841"/>
                <a:gd name="connsiteX1451" fmla="*/ 1265659 w 3214184"/>
                <a:gd name="connsiteY1451" fmla="*/ 714176 h 4996841"/>
                <a:gd name="connsiteX1452" fmla="*/ 1271619 w 3214184"/>
                <a:gd name="connsiteY1452" fmla="*/ 716112 h 4996841"/>
                <a:gd name="connsiteX1453" fmla="*/ 1273434 w 3214184"/>
                <a:gd name="connsiteY1453" fmla="*/ 715477 h 4996841"/>
                <a:gd name="connsiteX1454" fmla="*/ 1276490 w 3214184"/>
                <a:gd name="connsiteY1454" fmla="*/ 713480 h 4996841"/>
                <a:gd name="connsiteX1455" fmla="*/ 1279242 w 3214184"/>
                <a:gd name="connsiteY1455" fmla="*/ 712633 h 4996841"/>
                <a:gd name="connsiteX1456" fmla="*/ 1284991 w 3214184"/>
                <a:gd name="connsiteY1456" fmla="*/ 712573 h 4996841"/>
                <a:gd name="connsiteX1457" fmla="*/ 1286140 w 3214184"/>
                <a:gd name="connsiteY1457" fmla="*/ 713178 h 4996841"/>
                <a:gd name="connsiteX1458" fmla="*/ 1290163 w 3214184"/>
                <a:gd name="connsiteY1458" fmla="*/ 717413 h 4996841"/>
                <a:gd name="connsiteX1459" fmla="*/ 1292220 w 3214184"/>
                <a:gd name="connsiteY1459" fmla="*/ 718441 h 4996841"/>
                <a:gd name="connsiteX1460" fmla="*/ 1310462 w 3214184"/>
                <a:gd name="connsiteY1460" fmla="*/ 718925 h 4996841"/>
                <a:gd name="connsiteX1461" fmla="*/ 1320808 w 3214184"/>
                <a:gd name="connsiteY1461" fmla="*/ 726912 h 4996841"/>
                <a:gd name="connsiteX1462" fmla="*/ 1324227 w 3214184"/>
                <a:gd name="connsiteY1462" fmla="*/ 728394 h 4996841"/>
                <a:gd name="connsiteX1463" fmla="*/ 1327735 w 3214184"/>
                <a:gd name="connsiteY1463" fmla="*/ 728908 h 4996841"/>
                <a:gd name="connsiteX1464" fmla="*/ 1340078 w 3214184"/>
                <a:gd name="connsiteY1464" fmla="*/ 726760 h 4996841"/>
                <a:gd name="connsiteX1465" fmla="*/ 1343981 w 3214184"/>
                <a:gd name="connsiteY1465" fmla="*/ 728908 h 4996841"/>
                <a:gd name="connsiteX1466" fmla="*/ 1340350 w 3214184"/>
                <a:gd name="connsiteY1466" fmla="*/ 731510 h 4996841"/>
                <a:gd name="connsiteX1467" fmla="*/ 1332425 w 3214184"/>
                <a:gd name="connsiteY1467" fmla="*/ 732750 h 4996841"/>
                <a:gd name="connsiteX1468" fmla="*/ 1328764 w 3214184"/>
                <a:gd name="connsiteY1468" fmla="*/ 735412 h 4996841"/>
                <a:gd name="connsiteX1469" fmla="*/ 1327252 w 3214184"/>
                <a:gd name="connsiteY1469" fmla="*/ 738831 h 4996841"/>
                <a:gd name="connsiteX1470" fmla="*/ 1326858 w 3214184"/>
                <a:gd name="connsiteY1470" fmla="*/ 743217 h 4996841"/>
                <a:gd name="connsiteX1471" fmla="*/ 1327554 w 3214184"/>
                <a:gd name="connsiteY1471" fmla="*/ 747997 h 4996841"/>
                <a:gd name="connsiteX1472" fmla="*/ 1329157 w 3214184"/>
                <a:gd name="connsiteY1472" fmla="*/ 752474 h 4996841"/>
                <a:gd name="connsiteX1473" fmla="*/ 1331396 w 3214184"/>
                <a:gd name="connsiteY1473" fmla="*/ 756074 h 4996841"/>
                <a:gd name="connsiteX1474" fmla="*/ 1357321 w 3214184"/>
                <a:gd name="connsiteY1474" fmla="*/ 783966 h 4996841"/>
                <a:gd name="connsiteX1475" fmla="*/ 1395801 w 3214184"/>
                <a:gd name="connsiteY1475" fmla="*/ 813945 h 4996841"/>
                <a:gd name="connsiteX1476" fmla="*/ 1399220 w 3214184"/>
                <a:gd name="connsiteY1476" fmla="*/ 815427 h 4996841"/>
                <a:gd name="connsiteX1477" fmla="*/ 1403304 w 3214184"/>
                <a:gd name="connsiteY1477" fmla="*/ 814580 h 4996841"/>
                <a:gd name="connsiteX1478" fmla="*/ 1401609 w 3214184"/>
                <a:gd name="connsiteY1478" fmla="*/ 811858 h 4996841"/>
                <a:gd name="connsiteX1479" fmla="*/ 1397738 w 3214184"/>
                <a:gd name="connsiteY1479" fmla="*/ 807986 h 4996841"/>
                <a:gd name="connsiteX1480" fmla="*/ 1396376 w 3214184"/>
                <a:gd name="connsiteY1480" fmla="*/ 804991 h 4996841"/>
                <a:gd name="connsiteX1481" fmla="*/ 1398464 w 3214184"/>
                <a:gd name="connsiteY1481" fmla="*/ 806231 h 4996841"/>
                <a:gd name="connsiteX1482" fmla="*/ 1402547 w 3214184"/>
                <a:gd name="connsiteY1482" fmla="*/ 810859 h 4996841"/>
                <a:gd name="connsiteX1483" fmla="*/ 1404695 w 3214184"/>
                <a:gd name="connsiteY1483" fmla="*/ 811223 h 4996841"/>
                <a:gd name="connsiteX1484" fmla="*/ 1404695 w 3214184"/>
                <a:gd name="connsiteY1484" fmla="*/ 809770 h 4996841"/>
                <a:gd name="connsiteX1485" fmla="*/ 1403334 w 3214184"/>
                <a:gd name="connsiteY1485" fmla="*/ 808560 h 4996841"/>
                <a:gd name="connsiteX1486" fmla="*/ 1402063 w 3214184"/>
                <a:gd name="connsiteY1486" fmla="*/ 806655 h 4996841"/>
                <a:gd name="connsiteX1487" fmla="*/ 1400914 w 3214184"/>
                <a:gd name="connsiteY1487" fmla="*/ 804355 h 4996841"/>
                <a:gd name="connsiteX1488" fmla="*/ 1399885 w 3214184"/>
                <a:gd name="connsiteY1488" fmla="*/ 801754 h 4996841"/>
                <a:gd name="connsiteX1489" fmla="*/ 1402396 w 3214184"/>
                <a:gd name="connsiteY1489" fmla="*/ 803357 h 4996841"/>
                <a:gd name="connsiteX1490" fmla="*/ 1407509 w 3214184"/>
                <a:gd name="connsiteY1490" fmla="*/ 808167 h 4996841"/>
                <a:gd name="connsiteX1491" fmla="*/ 1410171 w 3214184"/>
                <a:gd name="connsiteY1491" fmla="*/ 809801 h 4996841"/>
                <a:gd name="connsiteX1492" fmla="*/ 1402668 w 3214184"/>
                <a:gd name="connsiteY1492" fmla="*/ 802238 h 4996841"/>
                <a:gd name="connsiteX1493" fmla="*/ 1399462 w 3214184"/>
                <a:gd name="connsiteY1493" fmla="*/ 797125 h 4996841"/>
                <a:gd name="connsiteX1494" fmla="*/ 1399855 w 3214184"/>
                <a:gd name="connsiteY1494" fmla="*/ 790410 h 4996841"/>
                <a:gd name="connsiteX1495" fmla="*/ 1401640 w 3214184"/>
                <a:gd name="connsiteY1495" fmla="*/ 793979 h 4996841"/>
                <a:gd name="connsiteX1496" fmla="*/ 1403667 w 3214184"/>
                <a:gd name="connsiteY1496" fmla="*/ 796551 h 4996841"/>
                <a:gd name="connsiteX1497" fmla="*/ 1408114 w 3214184"/>
                <a:gd name="connsiteY1497" fmla="*/ 800029 h 4996841"/>
                <a:gd name="connsiteX1498" fmla="*/ 1406662 w 3214184"/>
                <a:gd name="connsiteY1498" fmla="*/ 795341 h 4996841"/>
                <a:gd name="connsiteX1499" fmla="*/ 1406298 w 3214184"/>
                <a:gd name="connsiteY1499" fmla="*/ 793072 h 4996841"/>
                <a:gd name="connsiteX1500" fmla="*/ 1406753 w 3214184"/>
                <a:gd name="connsiteY1500" fmla="*/ 790410 h 4996841"/>
                <a:gd name="connsiteX1501" fmla="*/ 1409626 w 3214184"/>
                <a:gd name="connsiteY1501" fmla="*/ 794372 h 4996841"/>
                <a:gd name="connsiteX1502" fmla="*/ 1410534 w 3214184"/>
                <a:gd name="connsiteY1502" fmla="*/ 796188 h 4996841"/>
                <a:gd name="connsiteX1503" fmla="*/ 1411744 w 3214184"/>
                <a:gd name="connsiteY1503" fmla="*/ 797367 h 4996841"/>
                <a:gd name="connsiteX1504" fmla="*/ 1414587 w 3214184"/>
                <a:gd name="connsiteY1504" fmla="*/ 796339 h 4996841"/>
                <a:gd name="connsiteX1505" fmla="*/ 1416070 w 3214184"/>
                <a:gd name="connsiteY1505" fmla="*/ 797670 h 4996841"/>
                <a:gd name="connsiteX1506" fmla="*/ 1418550 w 3214184"/>
                <a:gd name="connsiteY1506" fmla="*/ 800998 h 4996841"/>
                <a:gd name="connsiteX1507" fmla="*/ 1424056 w 3214184"/>
                <a:gd name="connsiteY1507" fmla="*/ 805475 h 4996841"/>
                <a:gd name="connsiteX1508" fmla="*/ 1426355 w 3214184"/>
                <a:gd name="connsiteY1508" fmla="*/ 809075 h 4996841"/>
                <a:gd name="connsiteX1509" fmla="*/ 1429108 w 3214184"/>
                <a:gd name="connsiteY1509" fmla="*/ 818362 h 4996841"/>
                <a:gd name="connsiteX1510" fmla="*/ 1430954 w 3214184"/>
                <a:gd name="connsiteY1510" fmla="*/ 822113 h 4996841"/>
                <a:gd name="connsiteX1511" fmla="*/ 1433585 w 3214184"/>
                <a:gd name="connsiteY1511" fmla="*/ 822567 h 4996841"/>
                <a:gd name="connsiteX1512" fmla="*/ 1434523 w 3214184"/>
                <a:gd name="connsiteY1512" fmla="*/ 820963 h 4996841"/>
                <a:gd name="connsiteX1513" fmla="*/ 1434523 w 3214184"/>
                <a:gd name="connsiteY1513" fmla="*/ 818967 h 4996841"/>
                <a:gd name="connsiteX1514" fmla="*/ 1434675 w 3214184"/>
                <a:gd name="connsiteY1514" fmla="*/ 817515 h 4996841"/>
                <a:gd name="connsiteX1515" fmla="*/ 1436308 w 3214184"/>
                <a:gd name="connsiteY1515" fmla="*/ 817787 h 4996841"/>
                <a:gd name="connsiteX1516" fmla="*/ 1437306 w 3214184"/>
                <a:gd name="connsiteY1516" fmla="*/ 818816 h 4996841"/>
                <a:gd name="connsiteX1517" fmla="*/ 1439484 w 3214184"/>
                <a:gd name="connsiteY1517" fmla="*/ 822415 h 4996841"/>
                <a:gd name="connsiteX1518" fmla="*/ 1440604 w 3214184"/>
                <a:gd name="connsiteY1518" fmla="*/ 823747 h 4996841"/>
                <a:gd name="connsiteX1519" fmla="*/ 1442449 w 3214184"/>
                <a:gd name="connsiteY1519" fmla="*/ 824624 h 4996841"/>
                <a:gd name="connsiteX1520" fmla="*/ 1448741 w 3214184"/>
                <a:gd name="connsiteY1520" fmla="*/ 824170 h 4996841"/>
                <a:gd name="connsiteX1521" fmla="*/ 1449286 w 3214184"/>
                <a:gd name="connsiteY1521" fmla="*/ 823565 h 4996841"/>
                <a:gd name="connsiteX1522" fmla="*/ 1449588 w 3214184"/>
                <a:gd name="connsiteY1522" fmla="*/ 821447 h 4996841"/>
                <a:gd name="connsiteX1523" fmla="*/ 1450163 w 3214184"/>
                <a:gd name="connsiteY1523" fmla="*/ 820994 h 4996841"/>
                <a:gd name="connsiteX1524" fmla="*/ 1450738 w 3214184"/>
                <a:gd name="connsiteY1524" fmla="*/ 821326 h 4996841"/>
                <a:gd name="connsiteX1525" fmla="*/ 1451645 w 3214184"/>
                <a:gd name="connsiteY1525" fmla="*/ 822537 h 4996841"/>
                <a:gd name="connsiteX1526" fmla="*/ 1452190 w 3214184"/>
                <a:gd name="connsiteY1526" fmla="*/ 822537 h 4996841"/>
                <a:gd name="connsiteX1527" fmla="*/ 1454731 w 3214184"/>
                <a:gd name="connsiteY1527" fmla="*/ 820631 h 4996841"/>
                <a:gd name="connsiteX1528" fmla="*/ 1456879 w 3214184"/>
                <a:gd name="connsiteY1528" fmla="*/ 817969 h 4996841"/>
                <a:gd name="connsiteX1529" fmla="*/ 1458815 w 3214184"/>
                <a:gd name="connsiteY1529" fmla="*/ 814459 h 4996841"/>
                <a:gd name="connsiteX1530" fmla="*/ 1460569 w 3214184"/>
                <a:gd name="connsiteY1530" fmla="*/ 809801 h 4996841"/>
                <a:gd name="connsiteX1531" fmla="*/ 1461145 w 3214184"/>
                <a:gd name="connsiteY1531" fmla="*/ 806987 h 4996841"/>
                <a:gd name="connsiteX1532" fmla="*/ 1461477 w 3214184"/>
                <a:gd name="connsiteY1532" fmla="*/ 804718 h 4996841"/>
                <a:gd name="connsiteX1533" fmla="*/ 1462022 w 3214184"/>
                <a:gd name="connsiteY1533" fmla="*/ 803781 h 4996841"/>
                <a:gd name="connsiteX1534" fmla="*/ 1463262 w 3214184"/>
                <a:gd name="connsiteY1534" fmla="*/ 804991 h 4996841"/>
                <a:gd name="connsiteX1535" fmla="*/ 1463535 w 3214184"/>
                <a:gd name="connsiteY1535" fmla="*/ 806201 h 4996841"/>
                <a:gd name="connsiteX1536" fmla="*/ 1463837 w 3214184"/>
                <a:gd name="connsiteY1536" fmla="*/ 808470 h 4996841"/>
                <a:gd name="connsiteX1537" fmla="*/ 1464049 w 3214184"/>
                <a:gd name="connsiteY1537" fmla="*/ 810980 h 4996841"/>
                <a:gd name="connsiteX1538" fmla="*/ 1464049 w 3214184"/>
                <a:gd name="connsiteY1538" fmla="*/ 812886 h 4996841"/>
                <a:gd name="connsiteX1539" fmla="*/ 1462959 w 3214184"/>
                <a:gd name="connsiteY1539" fmla="*/ 817515 h 4996841"/>
                <a:gd name="connsiteX1540" fmla="*/ 1461114 w 3214184"/>
                <a:gd name="connsiteY1540" fmla="*/ 821508 h 4996841"/>
                <a:gd name="connsiteX1541" fmla="*/ 1457091 w 3214184"/>
                <a:gd name="connsiteY1541" fmla="*/ 827528 h 4996841"/>
                <a:gd name="connsiteX1542" fmla="*/ 1459602 w 3214184"/>
                <a:gd name="connsiteY1542" fmla="*/ 828375 h 4996841"/>
                <a:gd name="connsiteX1543" fmla="*/ 1460842 w 3214184"/>
                <a:gd name="connsiteY1543" fmla="*/ 828496 h 4996841"/>
                <a:gd name="connsiteX1544" fmla="*/ 1462112 w 3214184"/>
                <a:gd name="connsiteY1544" fmla="*/ 827921 h 4996841"/>
                <a:gd name="connsiteX1545" fmla="*/ 1464805 w 3214184"/>
                <a:gd name="connsiteY1545" fmla="*/ 824745 h 4996841"/>
                <a:gd name="connsiteX1546" fmla="*/ 1465410 w 3214184"/>
                <a:gd name="connsiteY1546" fmla="*/ 824200 h 4996841"/>
                <a:gd name="connsiteX1547" fmla="*/ 1466317 w 3214184"/>
                <a:gd name="connsiteY1547" fmla="*/ 824684 h 4996841"/>
                <a:gd name="connsiteX1548" fmla="*/ 1468103 w 3214184"/>
                <a:gd name="connsiteY1548" fmla="*/ 826983 h 4996841"/>
                <a:gd name="connsiteX1549" fmla="*/ 1469222 w 3214184"/>
                <a:gd name="connsiteY1549" fmla="*/ 827498 h 4996841"/>
                <a:gd name="connsiteX1550" fmla="*/ 1476422 w 3214184"/>
                <a:gd name="connsiteY1550" fmla="*/ 827498 h 4996841"/>
                <a:gd name="connsiteX1551" fmla="*/ 1495147 w 3214184"/>
                <a:gd name="connsiteY1551" fmla="*/ 833669 h 4996841"/>
                <a:gd name="connsiteX1552" fmla="*/ 1497779 w 3214184"/>
                <a:gd name="connsiteY1552" fmla="*/ 832308 h 4996841"/>
                <a:gd name="connsiteX1553" fmla="*/ 1497083 w 3214184"/>
                <a:gd name="connsiteY1553" fmla="*/ 830704 h 4996841"/>
                <a:gd name="connsiteX1554" fmla="*/ 1498686 w 3214184"/>
                <a:gd name="connsiteY1554" fmla="*/ 829978 h 4996841"/>
                <a:gd name="connsiteX1555" fmla="*/ 1500350 w 3214184"/>
                <a:gd name="connsiteY1555" fmla="*/ 831037 h 4996841"/>
                <a:gd name="connsiteX1556" fmla="*/ 1500683 w 3214184"/>
                <a:gd name="connsiteY1556" fmla="*/ 833155 h 4996841"/>
                <a:gd name="connsiteX1557" fmla="*/ 1498444 w 3214184"/>
                <a:gd name="connsiteY1557" fmla="*/ 835484 h 4996841"/>
                <a:gd name="connsiteX1558" fmla="*/ 1495631 w 3214184"/>
                <a:gd name="connsiteY1558" fmla="*/ 835847 h 4996841"/>
                <a:gd name="connsiteX1559" fmla="*/ 1490125 w 3214184"/>
                <a:gd name="connsiteY1559" fmla="*/ 833578 h 4996841"/>
                <a:gd name="connsiteX1560" fmla="*/ 1487403 w 3214184"/>
                <a:gd name="connsiteY1560" fmla="*/ 833730 h 4996841"/>
                <a:gd name="connsiteX1561" fmla="*/ 1483621 w 3214184"/>
                <a:gd name="connsiteY1561" fmla="*/ 837450 h 4996841"/>
                <a:gd name="connsiteX1562" fmla="*/ 1484801 w 3214184"/>
                <a:gd name="connsiteY1562" fmla="*/ 841746 h 4996841"/>
                <a:gd name="connsiteX1563" fmla="*/ 1487796 w 3214184"/>
                <a:gd name="connsiteY1563" fmla="*/ 846223 h 4996841"/>
                <a:gd name="connsiteX1564" fmla="*/ 1491487 w 3214184"/>
                <a:gd name="connsiteY1564" fmla="*/ 856690 h 4996841"/>
                <a:gd name="connsiteX1565" fmla="*/ 1496085 w 3214184"/>
                <a:gd name="connsiteY1565" fmla="*/ 858959 h 4996841"/>
                <a:gd name="connsiteX1566" fmla="*/ 1501197 w 3214184"/>
                <a:gd name="connsiteY1566" fmla="*/ 858838 h 4996841"/>
                <a:gd name="connsiteX1567" fmla="*/ 1504616 w 3214184"/>
                <a:gd name="connsiteY1567" fmla="*/ 857749 h 4996841"/>
                <a:gd name="connsiteX1568" fmla="*/ 1512814 w 3214184"/>
                <a:gd name="connsiteY1568" fmla="*/ 852758 h 4996841"/>
                <a:gd name="connsiteX1569" fmla="*/ 1520467 w 3214184"/>
                <a:gd name="connsiteY1569" fmla="*/ 845709 h 4996841"/>
                <a:gd name="connsiteX1570" fmla="*/ 1528605 w 3214184"/>
                <a:gd name="connsiteY1570" fmla="*/ 841292 h 4996841"/>
                <a:gd name="connsiteX1571" fmla="*/ 1537136 w 3214184"/>
                <a:gd name="connsiteY1571" fmla="*/ 844499 h 4996841"/>
                <a:gd name="connsiteX1572" fmla="*/ 1566692 w 3214184"/>
                <a:gd name="connsiteY1572" fmla="*/ 872028 h 4996841"/>
                <a:gd name="connsiteX1573" fmla="*/ 1571108 w 3214184"/>
                <a:gd name="connsiteY1573" fmla="*/ 874841 h 4996841"/>
                <a:gd name="connsiteX1574" fmla="*/ 1580033 w 3214184"/>
                <a:gd name="connsiteY1574" fmla="*/ 877685 h 4996841"/>
                <a:gd name="connsiteX1575" fmla="*/ 1586688 w 3214184"/>
                <a:gd name="connsiteY1575" fmla="*/ 886700 h 4996841"/>
                <a:gd name="connsiteX1576" fmla="*/ 1604506 w 3214184"/>
                <a:gd name="connsiteY1576" fmla="*/ 893809 h 4996841"/>
                <a:gd name="connsiteX1577" fmla="*/ 1615911 w 3214184"/>
                <a:gd name="connsiteY1577" fmla="*/ 893748 h 4996841"/>
                <a:gd name="connsiteX1578" fmla="*/ 1625924 w 3214184"/>
                <a:gd name="connsiteY1578" fmla="*/ 899799 h 4996841"/>
                <a:gd name="connsiteX1579" fmla="*/ 1651335 w 3214184"/>
                <a:gd name="connsiteY1579" fmla="*/ 904457 h 4996841"/>
                <a:gd name="connsiteX1580" fmla="*/ 1676686 w 3214184"/>
                <a:gd name="connsiteY1580" fmla="*/ 909086 h 4996841"/>
                <a:gd name="connsiteX1581" fmla="*/ 1689936 w 3214184"/>
                <a:gd name="connsiteY1581" fmla="*/ 915106 h 4996841"/>
                <a:gd name="connsiteX1582" fmla="*/ 1701704 w 3214184"/>
                <a:gd name="connsiteY1582" fmla="*/ 913866 h 4996841"/>
                <a:gd name="connsiteX1583" fmla="*/ 1712685 w 3214184"/>
                <a:gd name="connsiteY1583" fmla="*/ 916709 h 4996841"/>
                <a:gd name="connsiteX1584" fmla="*/ 1724423 w 3214184"/>
                <a:gd name="connsiteY1584" fmla="*/ 914924 h 4996841"/>
                <a:gd name="connsiteX1585" fmla="*/ 1732712 w 3214184"/>
                <a:gd name="connsiteY1585" fmla="*/ 917738 h 4996841"/>
                <a:gd name="connsiteX1586" fmla="*/ 1738338 w 3214184"/>
                <a:gd name="connsiteY1586" fmla="*/ 917314 h 4996841"/>
                <a:gd name="connsiteX1587" fmla="*/ 1777151 w 3214184"/>
                <a:gd name="connsiteY1587" fmla="*/ 929899 h 4996841"/>
                <a:gd name="connsiteX1588" fmla="*/ 1785924 w 3214184"/>
                <a:gd name="connsiteY1588" fmla="*/ 935858 h 4996841"/>
                <a:gd name="connsiteX1589" fmla="*/ 1793789 w 3214184"/>
                <a:gd name="connsiteY1589" fmla="*/ 938551 h 4996841"/>
                <a:gd name="connsiteX1590" fmla="*/ 1804650 w 3214184"/>
                <a:gd name="connsiteY1590" fmla="*/ 949532 h 4996841"/>
                <a:gd name="connsiteX1591" fmla="*/ 1815631 w 3214184"/>
                <a:gd name="connsiteY1591" fmla="*/ 954493 h 4996841"/>
                <a:gd name="connsiteX1592" fmla="*/ 1832360 w 3214184"/>
                <a:gd name="connsiteY1592" fmla="*/ 957004 h 4996841"/>
                <a:gd name="connsiteX1593" fmla="*/ 1842978 w 3214184"/>
                <a:gd name="connsiteY1593" fmla="*/ 962359 h 4996841"/>
                <a:gd name="connsiteX1594" fmla="*/ 1874560 w 3214184"/>
                <a:gd name="connsiteY1594" fmla="*/ 966231 h 4996841"/>
                <a:gd name="connsiteX1595" fmla="*/ 1906082 w 3214184"/>
                <a:gd name="connsiteY1595" fmla="*/ 970073 h 4996841"/>
                <a:gd name="connsiteX1596" fmla="*/ 1944351 w 3214184"/>
                <a:gd name="connsiteY1596" fmla="*/ 959364 h 4996841"/>
                <a:gd name="connsiteX1597" fmla="*/ 1945924 w 3214184"/>
                <a:gd name="connsiteY1597" fmla="*/ 958063 h 4996841"/>
                <a:gd name="connsiteX1598" fmla="*/ 1948102 w 3214184"/>
                <a:gd name="connsiteY1598" fmla="*/ 957246 h 4996841"/>
                <a:gd name="connsiteX1599" fmla="*/ 1957359 w 3214184"/>
                <a:gd name="connsiteY1599" fmla="*/ 958940 h 4996841"/>
                <a:gd name="connsiteX1600" fmla="*/ 1985462 w 3214184"/>
                <a:gd name="connsiteY1600" fmla="*/ 951892 h 4996841"/>
                <a:gd name="connsiteX1601" fmla="*/ 1989576 w 3214184"/>
                <a:gd name="connsiteY1601" fmla="*/ 949472 h 4996841"/>
                <a:gd name="connsiteX1602" fmla="*/ 1997714 w 3214184"/>
                <a:gd name="connsiteY1602" fmla="*/ 941636 h 4996841"/>
                <a:gd name="connsiteX1603" fmla="*/ 2021794 w 3214184"/>
                <a:gd name="connsiteY1603" fmla="*/ 935344 h 4996841"/>
                <a:gd name="connsiteX1604" fmla="*/ 2028510 w 3214184"/>
                <a:gd name="connsiteY1604" fmla="*/ 931200 h 4996841"/>
                <a:gd name="connsiteX1605" fmla="*/ 2032594 w 3214184"/>
                <a:gd name="connsiteY1605" fmla="*/ 929929 h 4996841"/>
                <a:gd name="connsiteX1606" fmla="*/ 2036345 w 3214184"/>
                <a:gd name="connsiteY1606" fmla="*/ 926601 h 4996841"/>
                <a:gd name="connsiteX1607" fmla="*/ 2060093 w 3214184"/>
                <a:gd name="connsiteY1607" fmla="*/ 916558 h 4996841"/>
                <a:gd name="connsiteX1608" fmla="*/ 2067474 w 3214184"/>
                <a:gd name="connsiteY1608" fmla="*/ 907241 h 4996841"/>
                <a:gd name="connsiteX1609" fmla="*/ 2082569 w 3214184"/>
                <a:gd name="connsiteY1609" fmla="*/ 895079 h 4996841"/>
                <a:gd name="connsiteX1610" fmla="*/ 2091796 w 3214184"/>
                <a:gd name="connsiteY1610" fmla="*/ 892327 h 4996841"/>
                <a:gd name="connsiteX1611" fmla="*/ 2096243 w 3214184"/>
                <a:gd name="connsiteY1611" fmla="*/ 889664 h 4996841"/>
                <a:gd name="connsiteX1612" fmla="*/ 2102536 w 3214184"/>
                <a:gd name="connsiteY1612" fmla="*/ 881587 h 4996841"/>
                <a:gd name="connsiteX1613" fmla="*/ 2108465 w 3214184"/>
                <a:gd name="connsiteY1613" fmla="*/ 878018 h 4996841"/>
                <a:gd name="connsiteX1614" fmla="*/ 2109705 w 3214184"/>
                <a:gd name="connsiteY1614" fmla="*/ 875355 h 4996841"/>
                <a:gd name="connsiteX1615" fmla="*/ 2112125 w 3214184"/>
                <a:gd name="connsiteY1615" fmla="*/ 868549 h 4996841"/>
                <a:gd name="connsiteX1616" fmla="*/ 2115332 w 3214184"/>
                <a:gd name="connsiteY1616" fmla="*/ 866189 h 4996841"/>
                <a:gd name="connsiteX1617" fmla="*/ 2118932 w 3214184"/>
                <a:gd name="connsiteY1617" fmla="*/ 864858 h 4996841"/>
                <a:gd name="connsiteX1618" fmla="*/ 2122501 w 3214184"/>
                <a:gd name="connsiteY1618" fmla="*/ 861137 h 4996841"/>
                <a:gd name="connsiteX1619" fmla="*/ 2123923 w 3214184"/>
                <a:gd name="connsiteY1619" fmla="*/ 857991 h 4996841"/>
                <a:gd name="connsiteX1620" fmla="*/ 2123923 w 3214184"/>
                <a:gd name="connsiteY1620" fmla="*/ 856327 h 4996841"/>
                <a:gd name="connsiteX1621" fmla="*/ 2123590 w 3214184"/>
                <a:gd name="connsiteY1621" fmla="*/ 854633 h 4996841"/>
                <a:gd name="connsiteX1622" fmla="*/ 2123832 w 3214184"/>
                <a:gd name="connsiteY1622" fmla="*/ 851487 h 4996841"/>
                <a:gd name="connsiteX1623" fmla="*/ 2124891 w 3214184"/>
                <a:gd name="connsiteY1623" fmla="*/ 848190 h 4996841"/>
                <a:gd name="connsiteX1624" fmla="*/ 2126494 w 3214184"/>
                <a:gd name="connsiteY1624" fmla="*/ 845134 h 4996841"/>
                <a:gd name="connsiteX1625" fmla="*/ 2128310 w 3214184"/>
                <a:gd name="connsiteY1625" fmla="*/ 842865 h 4996841"/>
                <a:gd name="connsiteX1626" fmla="*/ 2131577 w 3214184"/>
                <a:gd name="connsiteY1626" fmla="*/ 841202 h 4996841"/>
                <a:gd name="connsiteX1627" fmla="*/ 2133513 w 3214184"/>
                <a:gd name="connsiteY1627" fmla="*/ 839356 h 4996841"/>
                <a:gd name="connsiteX1628" fmla="*/ 2135358 w 3214184"/>
                <a:gd name="connsiteY1628" fmla="*/ 836997 h 4996841"/>
                <a:gd name="connsiteX1629" fmla="*/ 2138111 w 3214184"/>
                <a:gd name="connsiteY1629" fmla="*/ 832338 h 4996841"/>
                <a:gd name="connsiteX1630" fmla="*/ 2143859 w 3214184"/>
                <a:gd name="connsiteY1630" fmla="*/ 827588 h 4996841"/>
                <a:gd name="connsiteX1631" fmla="*/ 2156292 w 3214184"/>
                <a:gd name="connsiteY1631" fmla="*/ 810617 h 4996841"/>
                <a:gd name="connsiteX1632" fmla="*/ 2166759 w 3214184"/>
                <a:gd name="connsiteY1632" fmla="*/ 800362 h 4996841"/>
                <a:gd name="connsiteX1633" fmla="*/ 2170056 w 3214184"/>
                <a:gd name="connsiteY1633" fmla="*/ 795461 h 4996841"/>
                <a:gd name="connsiteX1634" fmla="*/ 2179374 w 3214184"/>
                <a:gd name="connsiteY1634" fmla="*/ 773559 h 4996841"/>
                <a:gd name="connsiteX1635" fmla="*/ 2182822 w 3214184"/>
                <a:gd name="connsiteY1635" fmla="*/ 762427 h 4996841"/>
                <a:gd name="connsiteX1636" fmla="*/ 2182822 w 3214184"/>
                <a:gd name="connsiteY1636" fmla="*/ 759553 h 4996841"/>
                <a:gd name="connsiteX1637" fmla="*/ 2181431 w 3214184"/>
                <a:gd name="connsiteY1637" fmla="*/ 757042 h 4996841"/>
                <a:gd name="connsiteX1638" fmla="*/ 2179797 w 3214184"/>
                <a:gd name="connsiteY1638" fmla="*/ 754925 h 4996841"/>
                <a:gd name="connsiteX1639" fmla="*/ 2179041 w 3214184"/>
                <a:gd name="connsiteY1639" fmla="*/ 753291 h 4996841"/>
                <a:gd name="connsiteX1640" fmla="*/ 2180312 w 3214184"/>
                <a:gd name="connsiteY1640" fmla="*/ 750084 h 4996841"/>
                <a:gd name="connsiteX1641" fmla="*/ 2182702 w 3214184"/>
                <a:gd name="connsiteY1641" fmla="*/ 750084 h 4996841"/>
                <a:gd name="connsiteX1642" fmla="*/ 2185333 w 3214184"/>
                <a:gd name="connsiteY1642" fmla="*/ 750992 h 4996841"/>
                <a:gd name="connsiteX1643" fmla="*/ 2187300 w 3214184"/>
                <a:gd name="connsiteY1643" fmla="*/ 750236 h 4996841"/>
                <a:gd name="connsiteX1644" fmla="*/ 2188359 w 3214184"/>
                <a:gd name="connsiteY1644" fmla="*/ 747331 h 4996841"/>
                <a:gd name="connsiteX1645" fmla="*/ 2187996 w 3214184"/>
                <a:gd name="connsiteY1645" fmla="*/ 745395 h 4996841"/>
                <a:gd name="connsiteX1646" fmla="*/ 2187088 w 3214184"/>
                <a:gd name="connsiteY1646" fmla="*/ 743248 h 4996841"/>
                <a:gd name="connsiteX1647" fmla="*/ 2186604 w 3214184"/>
                <a:gd name="connsiteY1647" fmla="*/ 739617 h 4996841"/>
                <a:gd name="connsiteX1648" fmla="*/ 2186604 w 3214184"/>
                <a:gd name="connsiteY1648" fmla="*/ 729876 h 4996841"/>
                <a:gd name="connsiteX1649" fmla="*/ 2187421 w 3214184"/>
                <a:gd name="connsiteY1649" fmla="*/ 727880 h 4996841"/>
                <a:gd name="connsiteX1650" fmla="*/ 2189145 w 3214184"/>
                <a:gd name="connsiteY1650" fmla="*/ 726428 h 4996841"/>
                <a:gd name="connsiteX1651" fmla="*/ 2190839 w 3214184"/>
                <a:gd name="connsiteY1651" fmla="*/ 724492 h 4996841"/>
                <a:gd name="connsiteX1652" fmla="*/ 2191414 w 3214184"/>
                <a:gd name="connsiteY1652" fmla="*/ 720922 h 4996841"/>
                <a:gd name="connsiteX1653" fmla="*/ 2190476 w 3214184"/>
                <a:gd name="connsiteY1653" fmla="*/ 717927 h 4996841"/>
                <a:gd name="connsiteX1654" fmla="*/ 2186907 w 3214184"/>
                <a:gd name="connsiteY1654" fmla="*/ 715204 h 4996841"/>
                <a:gd name="connsiteX1655" fmla="*/ 2185908 w 3214184"/>
                <a:gd name="connsiteY1655" fmla="*/ 712663 h 4996841"/>
                <a:gd name="connsiteX1656" fmla="*/ 2186181 w 3214184"/>
                <a:gd name="connsiteY1656" fmla="*/ 709910 h 4996841"/>
                <a:gd name="connsiteX1657" fmla="*/ 2188147 w 3214184"/>
                <a:gd name="connsiteY1657" fmla="*/ 705312 h 4996841"/>
                <a:gd name="connsiteX1658" fmla="*/ 2188692 w 3214184"/>
                <a:gd name="connsiteY1658" fmla="*/ 702136 h 4996841"/>
                <a:gd name="connsiteX1659" fmla="*/ 2187935 w 3214184"/>
                <a:gd name="connsiteY1659" fmla="*/ 699716 h 4996841"/>
                <a:gd name="connsiteX1660" fmla="*/ 2186302 w 3214184"/>
                <a:gd name="connsiteY1660" fmla="*/ 697326 h 4996841"/>
                <a:gd name="connsiteX1661" fmla="*/ 2184456 w 3214184"/>
                <a:gd name="connsiteY1661" fmla="*/ 695511 h 4996841"/>
                <a:gd name="connsiteX1662" fmla="*/ 2183095 w 3214184"/>
                <a:gd name="connsiteY1662" fmla="*/ 694724 h 4996841"/>
                <a:gd name="connsiteX1663" fmla="*/ 2180856 w 3214184"/>
                <a:gd name="connsiteY1663" fmla="*/ 695813 h 4996841"/>
                <a:gd name="connsiteX1664" fmla="*/ 2178708 w 3214184"/>
                <a:gd name="connsiteY1664" fmla="*/ 698173 h 4996841"/>
                <a:gd name="connsiteX1665" fmla="*/ 2176561 w 3214184"/>
                <a:gd name="connsiteY1665" fmla="*/ 699837 h 4996841"/>
                <a:gd name="connsiteX1666" fmla="*/ 2166214 w 3214184"/>
                <a:gd name="connsiteY1666" fmla="*/ 694603 h 4996841"/>
                <a:gd name="connsiteX1667" fmla="*/ 2163038 w 3214184"/>
                <a:gd name="connsiteY1667" fmla="*/ 690156 h 4996841"/>
                <a:gd name="connsiteX1668" fmla="*/ 2164127 w 3214184"/>
                <a:gd name="connsiteY1668" fmla="*/ 682382 h 4996841"/>
                <a:gd name="connsiteX1669" fmla="*/ 2165488 w 3214184"/>
                <a:gd name="connsiteY1669" fmla="*/ 676876 h 4996841"/>
                <a:gd name="connsiteX1670" fmla="*/ 2165852 w 3214184"/>
                <a:gd name="connsiteY1670" fmla="*/ 670523 h 4996841"/>
                <a:gd name="connsiteX1671" fmla="*/ 2165852 w 3214184"/>
                <a:gd name="connsiteY1671" fmla="*/ 658513 h 4996841"/>
                <a:gd name="connsiteX1672" fmla="*/ 2166094 w 3214184"/>
                <a:gd name="connsiteY1672" fmla="*/ 656456 h 4996841"/>
                <a:gd name="connsiteX1673" fmla="*/ 2167001 w 3214184"/>
                <a:gd name="connsiteY1673" fmla="*/ 652251 h 4996841"/>
                <a:gd name="connsiteX1674" fmla="*/ 2167213 w 3214184"/>
                <a:gd name="connsiteY1674" fmla="*/ 649408 h 4996841"/>
                <a:gd name="connsiteX1675" fmla="*/ 2166729 w 3214184"/>
                <a:gd name="connsiteY1675" fmla="*/ 649166 h 4996841"/>
                <a:gd name="connsiteX1676" fmla="*/ 2163764 w 3214184"/>
                <a:gd name="connsiteY1676" fmla="*/ 643720 h 4996841"/>
                <a:gd name="connsiteX1677" fmla="*/ 2160890 w 3214184"/>
                <a:gd name="connsiteY1677" fmla="*/ 640604 h 4996841"/>
                <a:gd name="connsiteX1678" fmla="*/ 2158168 w 3214184"/>
                <a:gd name="connsiteY1678" fmla="*/ 639062 h 4996841"/>
                <a:gd name="connsiteX1679" fmla="*/ 2152027 w 3214184"/>
                <a:gd name="connsiteY1679" fmla="*/ 638759 h 4996841"/>
                <a:gd name="connsiteX1680" fmla="*/ 2152450 w 3214184"/>
                <a:gd name="connsiteY1680" fmla="*/ 636006 h 4996841"/>
                <a:gd name="connsiteX1681" fmla="*/ 2152601 w 3214184"/>
                <a:gd name="connsiteY1681" fmla="*/ 633253 h 4996841"/>
                <a:gd name="connsiteX1682" fmla="*/ 2152722 w 3214184"/>
                <a:gd name="connsiteY1682" fmla="*/ 627082 h 4996841"/>
                <a:gd name="connsiteX1683" fmla="*/ 2152874 w 3214184"/>
                <a:gd name="connsiteY1683" fmla="*/ 626023 h 4996841"/>
                <a:gd name="connsiteX1684" fmla="*/ 2153176 w 3214184"/>
                <a:gd name="connsiteY1684" fmla="*/ 625025 h 4996841"/>
                <a:gd name="connsiteX1685" fmla="*/ 2153418 w 3214184"/>
                <a:gd name="connsiteY1685" fmla="*/ 623845 h 4996841"/>
                <a:gd name="connsiteX1686" fmla="*/ 2153418 w 3214184"/>
                <a:gd name="connsiteY1686" fmla="*/ 622242 h 4996841"/>
                <a:gd name="connsiteX1687" fmla="*/ 2152843 w 3214184"/>
                <a:gd name="connsiteY1687" fmla="*/ 620275 h 4996841"/>
                <a:gd name="connsiteX1688" fmla="*/ 2151058 w 3214184"/>
                <a:gd name="connsiteY1688" fmla="*/ 617523 h 4996841"/>
                <a:gd name="connsiteX1689" fmla="*/ 2151058 w 3214184"/>
                <a:gd name="connsiteY1689" fmla="*/ 615526 h 4996841"/>
                <a:gd name="connsiteX1690" fmla="*/ 2152874 w 3214184"/>
                <a:gd name="connsiteY1690" fmla="*/ 610867 h 4996841"/>
                <a:gd name="connsiteX1691" fmla="*/ 2155385 w 3214184"/>
                <a:gd name="connsiteY1691" fmla="*/ 607086 h 4996841"/>
                <a:gd name="connsiteX1692" fmla="*/ 2157351 w 3214184"/>
                <a:gd name="connsiteY1692" fmla="*/ 602094 h 4996841"/>
                <a:gd name="connsiteX1693" fmla="*/ 2157502 w 3214184"/>
                <a:gd name="connsiteY1693" fmla="*/ 593836 h 4996841"/>
                <a:gd name="connsiteX1694" fmla="*/ 2156050 w 3214184"/>
                <a:gd name="connsiteY1694" fmla="*/ 587816 h 4996841"/>
                <a:gd name="connsiteX1695" fmla="*/ 2153690 w 3214184"/>
                <a:gd name="connsiteY1695" fmla="*/ 582915 h 4996841"/>
                <a:gd name="connsiteX1696" fmla="*/ 2148578 w 3214184"/>
                <a:gd name="connsiteY1696" fmla="*/ 576290 h 4996841"/>
                <a:gd name="connsiteX1697" fmla="*/ 2144312 w 3214184"/>
                <a:gd name="connsiteY1697" fmla="*/ 573991 h 4996841"/>
                <a:gd name="connsiteX1698" fmla="*/ 2136114 w 3214184"/>
                <a:gd name="connsiteY1698" fmla="*/ 576411 h 4996841"/>
                <a:gd name="connsiteX1699" fmla="*/ 2131970 w 3214184"/>
                <a:gd name="connsiteY1699" fmla="*/ 575534 h 4996841"/>
                <a:gd name="connsiteX1700" fmla="*/ 2125133 w 3214184"/>
                <a:gd name="connsiteY1700" fmla="*/ 567154 h 4996841"/>
                <a:gd name="connsiteX1701" fmla="*/ 2121896 w 3214184"/>
                <a:gd name="connsiteY1701" fmla="*/ 564704 h 4996841"/>
                <a:gd name="connsiteX1702" fmla="*/ 2120293 w 3214184"/>
                <a:gd name="connsiteY1702" fmla="*/ 562586 h 4996841"/>
                <a:gd name="connsiteX1703" fmla="*/ 2119537 w 3214184"/>
                <a:gd name="connsiteY1703" fmla="*/ 559682 h 4996841"/>
                <a:gd name="connsiteX1704" fmla="*/ 2118901 w 3214184"/>
                <a:gd name="connsiteY1704" fmla="*/ 555477 h 4996841"/>
                <a:gd name="connsiteX1705" fmla="*/ 2117298 w 3214184"/>
                <a:gd name="connsiteY1705" fmla="*/ 554418 h 4996841"/>
                <a:gd name="connsiteX1706" fmla="*/ 2113002 w 3214184"/>
                <a:gd name="connsiteY1706" fmla="*/ 555507 h 4996841"/>
                <a:gd name="connsiteX1707" fmla="*/ 2110491 w 3214184"/>
                <a:gd name="connsiteY1707" fmla="*/ 555144 h 4996841"/>
                <a:gd name="connsiteX1708" fmla="*/ 2109191 w 3214184"/>
                <a:gd name="connsiteY1708" fmla="*/ 555295 h 4996841"/>
                <a:gd name="connsiteX1709" fmla="*/ 2108192 w 3214184"/>
                <a:gd name="connsiteY1709" fmla="*/ 556294 h 4996841"/>
                <a:gd name="connsiteX1710" fmla="*/ 2107830 w 3214184"/>
                <a:gd name="connsiteY1710" fmla="*/ 557988 h 4996841"/>
                <a:gd name="connsiteX1711" fmla="*/ 2108162 w 3214184"/>
                <a:gd name="connsiteY1711" fmla="*/ 559319 h 4996841"/>
                <a:gd name="connsiteX1712" fmla="*/ 2108586 w 3214184"/>
                <a:gd name="connsiteY1712" fmla="*/ 560650 h 4996841"/>
                <a:gd name="connsiteX1713" fmla="*/ 2108586 w 3214184"/>
                <a:gd name="connsiteY1713" fmla="*/ 562193 h 4996841"/>
                <a:gd name="connsiteX1714" fmla="*/ 2105591 w 3214184"/>
                <a:gd name="connsiteY1714" fmla="*/ 569090 h 4996841"/>
                <a:gd name="connsiteX1715" fmla="*/ 2102081 w 3214184"/>
                <a:gd name="connsiteY1715" fmla="*/ 570179 h 4996841"/>
                <a:gd name="connsiteX1716" fmla="*/ 2098391 w 3214184"/>
                <a:gd name="connsiteY1716" fmla="*/ 567487 h 4996841"/>
                <a:gd name="connsiteX1717" fmla="*/ 2090193 w 3214184"/>
                <a:gd name="connsiteY1717" fmla="*/ 558139 h 4996841"/>
                <a:gd name="connsiteX1718" fmla="*/ 2083779 w 3214184"/>
                <a:gd name="connsiteY1718" fmla="*/ 547006 h 4996841"/>
                <a:gd name="connsiteX1719" fmla="*/ 2083779 w 3214184"/>
                <a:gd name="connsiteY1719" fmla="*/ 545464 h 4996841"/>
                <a:gd name="connsiteX1720" fmla="*/ 2089043 w 3214184"/>
                <a:gd name="connsiteY1720" fmla="*/ 546008 h 4996841"/>
                <a:gd name="connsiteX1721" fmla="*/ 2092038 w 3214184"/>
                <a:gd name="connsiteY1721" fmla="*/ 545070 h 4996841"/>
                <a:gd name="connsiteX1722" fmla="*/ 2093490 w 3214184"/>
                <a:gd name="connsiteY1722" fmla="*/ 542015 h 4996841"/>
                <a:gd name="connsiteX1723" fmla="*/ 2092764 w 3214184"/>
                <a:gd name="connsiteY1723" fmla="*/ 539625 h 4996841"/>
                <a:gd name="connsiteX1724" fmla="*/ 2087894 w 3214184"/>
                <a:gd name="connsiteY1724" fmla="*/ 532819 h 4996841"/>
                <a:gd name="connsiteX1725" fmla="*/ 2086865 w 3214184"/>
                <a:gd name="connsiteY1725" fmla="*/ 531941 h 4996841"/>
                <a:gd name="connsiteX1726" fmla="*/ 2085625 w 3214184"/>
                <a:gd name="connsiteY1726" fmla="*/ 531639 h 4996841"/>
                <a:gd name="connsiteX1727" fmla="*/ 2084354 w 3214184"/>
                <a:gd name="connsiteY1727" fmla="*/ 531790 h 4996841"/>
                <a:gd name="connsiteX1728" fmla="*/ 2081964 w 3214184"/>
                <a:gd name="connsiteY1728" fmla="*/ 533030 h 4996841"/>
                <a:gd name="connsiteX1729" fmla="*/ 2081540 w 3214184"/>
                <a:gd name="connsiteY1729" fmla="*/ 532425 h 4996841"/>
                <a:gd name="connsiteX1730" fmla="*/ 2081420 w 3214184"/>
                <a:gd name="connsiteY1730" fmla="*/ 531215 h 4996841"/>
                <a:gd name="connsiteX1731" fmla="*/ 2080966 w 3214184"/>
                <a:gd name="connsiteY1731" fmla="*/ 530126 h 4996841"/>
                <a:gd name="connsiteX1732" fmla="*/ 2066354 w 3214184"/>
                <a:gd name="connsiteY1732" fmla="*/ 519266 h 4996841"/>
                <a:gd name="connsiteX1733" fmla="*/ 2063390 w 3214184"/>
                <a:gd name="connsiteY1733" fmla="*/ 515847 h 4996841"/>
                <a:gd name="connsiteX1734" fmla="*/ 2059094 w 3214184"/>
                <a:gd name="connsiteY1734" fmla="*/ 508285 h 4996841"/>
                <a:gd name="connsiteX1735" fmla="*/ 2057249 w 3214184"/>
                <a:gd name="connsiteY1735" fmla="*/ 506409 h 4996841"/>
                <a:gd name="connsiteX1736" fmla="*/ 2055313 w 3214184"/>
                <a:gd name="connsiteY1736" fmla="*/ 505259 h 4996841"/>
                <a:gd name="connsiteX1737" fmla="*/ 2053407 w 3214184"/>
                <a:gd name="connsiteY1737" fmla="*/ 504866 h 4996841"/>
                <a:gd name="connsiteX1738" fmla="*/ 2051834 w 3214184"/>
                <a:gd name="connsiteY1738" fmla="*/ 503989 h 4996841"/>
                <a:gd name="connsiteX1739" fmla="*/ 2050382 w 3214184"/>
                <a:gd name="connsiteY1739" fmla="*/ 501750 h 4996841"/>
                <a:gd name="connsiteX1740" fmla="*/ 2045814 w 3214184"/>
                <a:gd name="connsiteY1740" fmla="*/ 492191 h 4996841"/>
                <a:gd name="connsiteX1741" fmla="*/ 2044332 w 3214184"/>
                <a:gd name="connsiteY1741" fmla="*/ 487804 h 4996841"/>
                <a:gd name="connsiteX1742" fmla="*/ 2043726 w 3214184"/>
                <a:gd name="connsiteY1742" fmla="*/ 483872 h 4996841"/>
                <a:gd name="connsiteX1743" fmla="*/ 2043454 w 3214184"/>
                <a:gd name="connsiteY1743" fmla="*/ 480665 h 4996841"/>
                <a:gd name="connsiteX1744" fmla="*/ 2042638 w 3214184"/>
                <a:gd name="connsiteY1744" fmla="*/ 478457 h 4996841"/>
                <a:gd name="connsiteX1745" fmla="*/ 2038372 w 3214184"/>
                <a:gd name="connsiteY1745" fmla="*/ 476823 h 4996841"/>
                <a:gd name="connsiteX1746" fmla="*/ 2030628 w 3214184"/>
                <a:gd name="connsiteY1746" fmla="*/ 468020 h 4996841"/>
                <a:gd name="connsiteX1747" fmla="*/ 2028238 w 3214184"/>
                <a:gd name="connsiteY1747" fmla="*/ 466719 h 4996841"/>
                <a:gd name="connsiteX1748" fmla="*/ 2023428 w 3214184"/>
                <a:gd name="connsiteY1748" fmla="*/ 465872 h 4996841"/>
                <a:gd name="connsiteX1749" fmla="*/ 2022218 w 3214184"/>
                <a:gd name="connsiteY1749" fmla="*/ 466961 h 4996841"/>
                <a:gd name="connsiteX1750" fmla="*/ 2023367 w 3214184"/>
                <a:gd name="connsiteY1750" fmla="*/ 469472 h 4996841"/>
                <a:gd name="connsiteX1751" fmla="*/ 2029538 w 3214184"/>
                <a:gd name="connsiteY1751" fmla="*/ 477277 h 4996841"/>
                <a:gd name="connsiteX1752" fmla="*/ 2030719 w 3214184"/>
                <a:gd name="connsiteY1752" fmla="*/ 479515 h 4996841"/>
                <a:gd name="connsiteX1753" fmla="*/ 2035468 w 3214184"/>
                <a:gd name="connsiteY1753" fmla="*/ 491283 h 4996841"/>
                <a:gd name="connsiteX1754" fmla="*/ 2037222 w 3214184"/>
                <a:gd name="connsiteY1754" fmla="*/ 494581 h 4996841"/>
                <a:gd name="connsiteX1755" fmla="*/ 2037495 w 3214184"/>
                <a:gd name="connsiteY1755" fmla="*/ 494671 h 4996841"/>
                <a:gd name="connsiteX1756" fmla="*/ 2037253 w 3214184"/>
                <a:gd name="connsiteY1756" fmla="*/ 497334 h 4996841"/>
                <a:gd name="connsiteX1757" fmla="*/ 2036345 w 3214184"/>
                <a:gd name="connsiteY1757" fmla="*/ 498332 h 4996841"/>
                <a:gd name="connsiteX1758" fmla="*/ 2035166 w 3214184"/>
                <a:gd name="connsiteY1758" fmla="*/ 498181 h 4996841"/>
                <a:gd name="connsiteX1759" fmla="*/ 2034137 w 3214184"/>
                <a:gd name="connsiteY1759" fmla="*/ 497334 h 4996841"/>
                <a:gd name="connsiteX1760" fmla="*/ 2031354 w 3214184"/>
                <a:gd name="connsiteY1760" fmla="*/ 495821 h 4996841"/>
                <a:gd name="connsiteX1761" fmla="*/ 2025152 w 3214184"/>
                <a:gd name="connsiteY1761" fmla="*/ 496971 h 4996841"/>
                <a:gd name="connsiteX1762" fmla="*/ 2019979 w 3214184"/>
                <a:gd name="connsiteY1762" fmla="*/ 493673 h 4996841"/>
                <a:gd name="connsiteX1763" fmla="*/ 2012023 w 3214184"/>
                <a:gd name="connsiteY1763" fmla="*/ 493189 h 4996841"/>
                <a:gd name="connsiteX1764" fmla="*/ 2003220 w 3214184"/>
                <a:gd name="connsiteY1764" fmla="*/ 490073 h 4996841"/>
                <a:gd name="connsiteX1765" fmla="*/ 1986915 w 3214184"/>
                <a:gd name="connsiteY1765" fmla="*/ 471771 h 4996841"/>
                <a:gd name="connsiteX1766" fmla="*/ 1976296 w 3214184"/>
                <a:gd name="connsiteY1766" fmla="*/ 466659 h 4996841"/>
                <a:gd name="connsiteX1767" fmla="*/ 1954334 w 3214184"/>
                <a:gd name="connsiteY1767" fmla="*/ 446481 h 4996841"/>
                <a:gd name="connsiteX1768" fmla="*/ 1946165 w 3214184"/>
                <a:gd name="connsiteY1768" fmla="*/ 442730 h 4996841"/>
                <a:gd name="connsiteX1769" fmla="*/ 1943806 w 3214184"/>
                <a:gd name="connsiteY1769" fmla="*/ 440068 h 4996841"/>
                <a:gd name="connsiteX1770" fmla="*/ 1945954 w 3214184"/>
                <a:gd name="connsiteY1770" fmla="*/ 437527 h 4996841"/>
                <a:gd name="connsiteX1771" fmla="*/ 1945379 w 3214184"/>
                <a:gd name="connsiteY1771" fmla="*/ 434380 h 4996841"/>
                <a:gd name="connsiteX1772" fmla="*/ 1943322 w 3214184"/>
                <a:gd name="connsiteY1772" fmla="*/ 431506 h 4996841"/>
                <a:gd name="connsiteX1773" fmla="*/ 1940962 w 3214184"/>
                <a:gd name="connsiteY1773" fmla="*/ 429812 h 4996841"/>
                <a:gd name="connsiteX1774" fmla="*/ 1930012 w 3214184"/>
                <a:gd name="connsiteY1774" fmla="*/ 427120 h 4996841"/>
                <a:gd name="connsiteX1775" fmla="*/ 1926562 w 3214184"/>
                <a:gd name="connsiteY1775" fmla="*/ 424851 h 4996841"/>
                <a:gd name="connsiteX1776" fmla="*/ 1916852 w 3214184"/>
                <a:gd name="connsiteY1776" fmla="*/ 414384 h 4996841"/>
                <a:gd name="connsiteX1777" fmla="*/ 1914462 w 3214184"/>
                <a:gd name="connsiteY1777" fmla="*/ 412993 h 4996841"/>
                <a:gd name="connsiteX1778" fmla="*/ 1911709 w 3214184"/>
                <a:gd name="connsiteY1778" fmla="*/ 412418 h 4996841"/>
                <a:gd name="connsiteX1779" fmla="*/ 1910318 w 3214184"/>
                <a:gd name="connsiteY1779" fmla="*/ 413749 h 4996841"/>
                <a:gd name="connsiteX1780" fmla="*/ 1912072 w 3214184"/>
                <a:gd name="connsiteY1780" fmla="*/ 417984 h 4996841"/>
                <a:gd name="connsiteX1781" fmla="*/ 1909410 w 3214184"/>
                <a:gd name="connsiteY1781" fmla="*/ 419285 h 4996841"/>
                <a:gd name="connsiteX1782" fmla="*/ 1904177 w 3214184"/>
                <a:gd name="connsiteY1782" fmla="*/ 414777 h 4996841"/>
                <a:gd name="connsiteX1783" fmla="*/ 1901696 w 3214184"/>
                <a:gd name="connsiteY1783" fmla="*/ 415261 h 4996841"/>
                <a:gd name="connsiteX1784" fmla="*/ 1901484 w 3214184"/>
                <a:gd name="connsiteY1784" fmla="*/ 417863 h 4996841"/>
                <a:gd name="connsiteX1785" fmla="*/ 1903753 w 3214184"/>
                <a:gd name="connsiteY1785" fmla="*/ 420404 h 4996841"/>
                <a:gd name="connsiteX1786" fmla="*/ 1911135 w 3214184"/>
                <a:gd name="connsiteY1786" fmla="*/ 426273 h 4996841"/>
                <a:gd name="connsiteX1787" fmla="*/ 1921027 w 3214184"/>
                <a:gd name="connsiteY1787" fmla="*/ 431325 h 4996841"/>
                <a:gd name="connsiteX1788" fmla="*/ 1927198 w 3214184"/>
                <a:gd name="connsiteY1788" fmla="*/ 436619 h 4996841"/>
                <a:gd name="connsiteX1789" fmla="*/ 1922206 w 3214184"/>
                <a:gd name="connsiteY1789" fmla="*/ 436377 h 4996841"/>
                <a:gd name="connsiteX1790" fmla="*/ 1899971 w 3214184"/>
                <a:gd name="connsiteY1790" fmla="*/ 423732 h 4996841"/>
                <a:gd name="connsiteX1791" fmla="*/ 1897552 w 3214184"/>
                <a:gd name="connsiteY1791" fmla="*/ 423127 h 4996841"/>
                <a:gd name="connsiteX1792" fmla="*/ 1896765 w 3214184"/>
                <a:gd name="connsiteY1792" fmla="*/ 422522 h 4996841"/>
                <a:gd name="connsiteX1793" fmla="*/ 1895615 w 3214184"/>
                <a:gd name="connsiteY1793" fmla="*/ 420102 h 4996841"/>
                <a:gd name="connsiteX1794" fmla="*/ 1894798 w 3214184"/>
                <a:gd name="connsiteY1794" fmla="*/ 419527 h 4996841"/>
                <a:gd name="connsiteX1795" fmla="*/ 1893891 w 3214184"/>
                <a:gd name="connsiteY1795" fmla="*/ 420283 h 4996841"/>
                <a:gd name="connsiteX1796" fmla="*/ 1893558 w 3214184"/>
                <a:gd name="connsiteY1796" fmla="*/ 421977 h 4996841"/>
                <a:gd name="connsiteX1797" fmla="*/ 1893346 w 3214184"/>
                <a:gd name="connsiteY1797" fmla="*/ 423762 h 4996841"/>
                <a:gd name="connsiteX1798" fmla="*/ 1892772 w 3214184"/>
                <a:gd name="connsiteY1798" fmla="*/ 424821 h 4996841"/>
                <a:gd name="connsiteX1799" fmla="*/ 1889263 w 3214184"/>
                <a:gd name="connsiteY1799" fmla="*/ 423460 h 4996841"/>
                <a:gd name="connsiteX1800" fmla="*/ 1889504 w 3214184"/>
                <a:gd name="connsiteY1800" fmla="*/ 409332 h 4996841"/>
                <a:gd name="connsiteX1801" fmla="*/ 1885148 w 3214184"/>
                <a:gd name="connsiteY1801" fmla="*/ 404431 h 4996841"/>
                <a:gd name="connsiteX1802" fmla="*/ 1883333 w 3214184"/>
                <a:gd name="connsiteY1802" fmla="*/ 398563 h 4996841"/>
                <a:gd name="connsiteX1803" fmla="*/ 1882063 w 3214184"/>
                <a:gd name="connsiteY1803" fmla="*/ 397201 h 4996841"/>
                <a:gd name="connsiteX1804" fmla="*/ 1872019 w 3214184"/>
                <a:gd name="connsiteY1804" fmla="*/ 393753 h 4996841"/>
                <a:gd name="connsiteX1805" fmla="*/ 1871323 w 3214184"/>
                <a:gd name="connsiteY1805" fmla="*/ 392906 h 4996841"/>
                <a:gd name="connsiteX1806" fmla="*/ 1871323 w 3214184"/>
                <a:gd name="connsiteY1806" fmla="*/ 389275 h 4996841"/>
                <a:gd name="connsiteX1807" fmla="*/ 1870961 w 3214184"/>
                <a:gd name="connsiteY1807" fmla="*/ 388428 h 4996841"/>
                <a:gd name="connsiteX1808" fmla="*/ 1870295 w 3214184"/>
                <a:gd name="connsiteY1808" fmla="*/ 388005 h 4996841"/>
                <a:gd name="connsiteX1809" fmla="*/ 1867905 w 3214184"/>
                <a:gd name="connsiteY1809" fmla="*/ 385131 h 4996841"/>
                <a:gd name="connsiteX1810" fmla="*/ 1865182 w 3214184"/>
                <a:gd name="connsiteY1810" fmla="*/ 383981 h 4996841"/>
                <a:gd name="connsiteX1811" fmla="*/ 1859344 w 3214184"/>
                <a:gd name="connsiteY1811" fmla="*/ 383709 h 4996841"/>
                <a:gd name="connsiteX1812" fmla="*/ 1856863 w 3214184"/>
                <a:gd name="connsiteY1812" fmla="*/ 381501 h 4996841"/>
                <a:gd name="connsiteX1813" fmla="*/ 1856167 w 3214184"/>
                <a:gd name="connsiteY1813" fmla="*/ 379746 h 4996841"/>
                <a:gd name="connsiteX1814" fmla="*/ 1854927 w 3214184"/>
                <a:gd name="connsiteY1814" fmla="*/ 374936 h 4996841"/>
                <a:gd name="connsiteX1815" fmla="*/ 1854141 w 3214184"/>
                <a:gd name="connsiteY1815" fmla="*/ 372849 h 4996841"/>
                <a:gd name="connsiteX1816" fmla="*/ 1852537 w 3214184"/>
                <a:gd name="connsiteY1816" fmla="*/ 370247 h 4996841"/>
                <a:gd name="connsiteX1817" fmla="*/ 1849180 w 3214184"/>
                <a:gd name="connsiteY1817" fmla="*/ 366194 h 4996841"/>
                <a:gd name="connsiteX1818" fmla="*/ 1844762 w 3214184"/>
                <a:gd name="connsiteY1818" fmla="*/ 358419 h 4996841"/>
                <a:gd name="connsiteX1819" fmla="*/ 1831210 w 3214184"/>
                <a:gd name="connsiteY1819" fmla="*/ 343203 h 4996841"/>
                <a:gd name="connsiteX1820" fmla="*/ 1822982 w 3214184"/>
                <a:gd name="connsiteY1820" fmla="*/ 336850 h 4996841"/>
                <a:gd name="connsiteX1821" fmla="*/ 1819926 w 3214184"/>
                <a:gd name="connsiteY1821" fmla="*/ 332070 h 4996841"/>
                <a:gd name="connsiteX1822" fmla="*/ 1817990 w 3214184"/>
                <a:gd name="connsiteY1822" fmla="*/ 329801 h 4996841"/>
                <a:gd name="connsiteX1823" fmla="*/ 1808612 w 3214184"/>
                <a:gd name="connsiteY1823" fmla="*/ 327079 h 4996841"/>
                <a:gd name="connsiteX1824" fmla="*/ 1807704 w 3214184"/>
                <a:gd name="connsiteY1824" fmla="*/ 324689 h 4996841"/>
                <a:gd name="connsiteX1825" fmla="*/ 1806888 w 3214184"/>
                <a:gd name="connsiteY1825" fmla="*/ 324144 h 4996841"/>
                <a:gd name="connsiteX1826" fmla="*/ 1802320 w 3214184"/>
                <a:gd name="connsiteY1826" fmla="*/ 324144 h 4996841"/>
                <a:gd name="connsiteX1827" fmla="*/ 1799991 w 3214184"/>
                <a:gd name="connsiteY1827" fmla="*/ 322904 h 4996841"/>
                <a:gd name="connsiteX1828" fmla="*/ 1796209 w 3214184"/>
                <a:gd name="connsiteY1828" fmla="*/ 322420 h 4996841"/>
                <a:gd name="connsiteX1829" fmla="*/ 1795211 w 3214184"/>
                <a:gd name="connsiteY1829" fmla="*/ 321845 h 4996841"/>
                <a:gd name="connsiteX1830" fmla="*/ 1793365 w 3214184"/>
                <a:gd name="connsiteY1830" fmla="*/ 319455 h 4996841"/>
                <a:gd name="connsiteX1831" fmla="*/ 1790855 w 3214184"/>
                <a:gd name="connsiteY1831" fmla="*/ 317761 h 4996841"/>
                <a:gd name="connsiteX1832" fmla="*/ 1787013 w 3214184"/>
                <a:gd name="connsiteY1832" fmla="*/ 312104 h 4996841"/>
                <a:gd name="connsiteX1833" fmla="*/ 1785288 w 3214184"/>
                <a:gd name="connsiteY1833" fmla="*/ 310168 h 4996841"/>
                <a:gd name="connsiteX1834" fmla="*/ 1780630 w 3214184"/>
                <a:gd name="connsiteY1834" fmla="*/ 307748 h 4996841"/>
                <a:gd name="connsiteX1835" fmla="*/ 1775820 w 3214184"/>
                <a:gd name="connsiteY1835" fmla="*/ 306689 h 4996841"/>
                <a:gd name="connsiteX1836" fmla="*/ 1773914 w 3214184"/>
                <a:gd name="connsiteY1836" fmla="*/ 305479 h 4996841"/>
                <a:gd name="connsiteX1837" fmla="*/ 1772915 w 3214184"/>
                <a:gd name="connsiteY1837" fmla="*/ 302575 h 4996841"/>
                <a:gd name="connsiteX1838" fmla="*/ 1772039 w 3214184"/>
                <a:gd name="connsiteY1838" fmla="*/ 299096 h 4996841"/>
                <a:gd name="connsiteX1839" fmla="*/ 1770587 w 3214184"/>
                <a:gd name="connsiteY1839" fmla="*/ 296071 h 4996841"/>
                <a:gd name="connsiteX1840" fmla="*/ 1768741 w 3214184"/>
                <a:gd name="connsiteY1840" fmla="*/ 294770 h 4996841"/>
                <a:gd name="connsiteX1841" fmla="*/ 1759121 w 3214184"/>
                <a:gd name="connsiteY1841" fmla="*/ 292108 h 4996841"/>
                <a:gd name="connsiteX1842" fmla="*/ 1753888 w 3214184"/>
                <a:gd name="connsiteY1842" fmla="*/ 288629 h 4996841"/>
                <a:gd name="connsiteX1843" fmla="*/ 1752405 w 3214184"/>
                <a:gd name="connsiteY1843" fmla="*/ 286572 h 4996841"/>
                <a:gd name="connsiteX1844" fmla="*/ 1750711 w 3214184"/>
                <a:gd name="connsiteY1844" fmla="*/ 283456 h 4996841"/>
                <a:gd name="connsiteX1845" fmla="*/ 1733588 w 3214184"/>
                <a:gd name="connsiteY1845" fmla="*/ 270387 h 4996841"/>
                <a:gd name="connsiteX1846" fmla="*/ 1728325 w 3214184"/>
                <a:gd name="connsiteY1846" fmla="*/ 269208 h 4996841"/>
                <a:gd name="connsiteX1847" fmla="*/ 1725784 w 3214184"/>
                <a:gd name="connsiteY1847" fmla="*/ 267967 h 4996841"/>
                <a:gd name="connsiteX1848" fmla="*/ 1724846 w 3214184"/>
                <a:gd name="connsiteY1848" fmla="*/ 267060 h 4996841"/>
                <a:gd name="connsiteX1849" fmla="*/ 1724302 w 3214184"/>
                <a:gd name="connsiteY1849" fmla="*/ 266182 h 4996841"/>
                <a:gd name="connsiteX1850" fmla="*/ 1723424 w 3214184"/>
                <a:gd name="connsiteY1850" fmla="*/ 263581 h 4996841"/>
                <a:gd name="connsiteX1851" fmla="*/ 1722184 w 3214184"/>
                <a:gd name="connsiteY1851" fmla="*/ 261524 h 4996841"/>
                <a:gd name="connsiteX1852" fmla="*/ 1720913 w 3214184"/>
                <a:gd name="connsiteY1852" fmla="*/ 261161 h 4996841"/>
                <a:gd name="connsiteX1853" fmla="*/ 1719613 w 3214184"/>
                <a:gd name="connsiteY1853" fmla="*/ 261312 h 4996841"/>
                <a:gd name="connsiteX1854" fmla="*/ 1718221 w 3214184"/>
                <a:gd name="connsiteY1854" fmla="*/ 260949 h 4996841"/>
                <a:gd name="connsiteX1855" fmla="*/ 1701008 w 3214184"/>
                <a:gd name="connsiteY1855" fmla="*/ 248606 h 4996841"/>
                <a:gd name="connsiteX1856" fmla="*/ 1680316 w 3214184"/>
                <a:gd name="connsiteY1856" fmla="*/ 241376 h 4996841"/>
                <a:gd name="connsiteX1857" fmla="*/ 1675506 w 3214184"/>
                <a:gd name="connsiteY1857" fmla="*/ 236112 h 4996841"/>
                <a:gd name="connsiteX1858" fmla="*/ 1676414 w 3214184"/>
                <a:gd name="connsiteY1858" fmla="*/ 230849 h 4996841"/>
                <a:gd name="connsiteX1859" fmla="*/ 1674024 w 3214184"/>
                <a:gd name="connsiteY1859" fmla="*/ 227582 h 4996841"/>
                <a:gd name="connsiteX1860" fmla="*/ 1658596 w 3214184"/>
                <a:gd name="connsiteY1860" fmla="*/ 221925 h 4996841"/>
                <a:gd name="connsiteX1861" fmla="*/ 1655721 w 3214184"/>
                <a:gd name="connsiteY1861" fmla="*/ 223225 h 4996841"/>
                <a:gd name="connsiteX1862" fmla="*/ 1654390 w 3214184"/>
                <a:gd name="connsiteY1862" fmla="*/ 223135 h 4996841"/>
                <a:gd name="connsiteX1863" fmla="*/ 1653090 w 3214184"/>
                <a:gd name="connsiteY1863" fmla="*/ 221017 h 4996841"/>
                <a:gd name="connsiteX1864" fmla="*/ 1651033 w 3214184"/>
                <a:gd name="connsiteY1864" fmla="*/ 216752 h 4996841"/>
                <a:gd name="connsiteX1865" fmla="*/ 1648431 w 3214184"/>
                <a:gd name="connsiteY1865" fmla="*/ 213061 h 4996841"/>
                <a:gd name="connsiteX1866" fmla="*/ 1645588 w 3214184"/>
                <a:gd name="connsiteY1866" fmla="*/ 210459 h 4996841"/>
                <a:gd name="connsiteX1867" fmla="*/ 1641231 w 3214184"/>
                <a:gd name="connsiteY1867" fmla="*/ 209007 h 4996841"/>
                <a:gd name="connsiteX1868" fmla="*/ 1636209 w 3214184"/>
                <a:gd name="connsiteY1868" fmla="*/ 205740 h 4996841"/>
                <a:gd name="connsiteX1869" fmla="*/ 1629736 w 3214184"/>
                <a:gd name="connsiteY1869" fmla="*/ 205347 h 4996841"/>
                <a:gd name="connsiteX1870" fmla="*/ 1581485 w 3214184"/>
                <a:gd name="connsiteY1870" fmla="*/ 184534 h 4996841"/>
                <a:gd name="connsiteX1871" fmla="*/ 1575706 w 3214184"/>
                <a:gd name="connsiteY1871" fmla="*/ 185744 h 4996841"/>
                <a:gd name="connsiteX1872" fmla="*/ 1566601 w 3214184"/>
                <a:gd name="connsiteY1872" fmla="*/ 183505 h 4996841"/>
                <a:gd name="connsiteX1873" fmla="*/ 1563092 w 3214184"/>
                <a:gd name="connsiteY1873" fmla="*/ 186107 h 4996841"/>
                <a:gd name="connsiteX1874" fmla="*/ 1565935 w 3214184"/>
                <a:gd name="connsiteY1874" fmla="*/ 189344 h 4996841"/>
                <a:gd name="connsiteX1875" fmla="*/ 1573105 w 3214184"/>
                <a:gd name="connsiteY1875" fmla="*/ 194910 h 4996841"/>
                <a:gd name="connsiteX1876" fmla="*/ 1574829 w 3214184"/>
                <a:gd name="connsiteY1876" fmla="*/ 200355 h 4996841"/>
                <a:gd name="connsiteX1877" fmla="*/ 1572742 w 3214184"/>
                <a:gd name="connsiteY1877" fmla="*/ 201233 h 4996841"/>
                <a:gd name="connsiteX1878" fmla="*/ 1571138 w 3214184"/>
                <a:gd name="connsiteY1878" fmla="*/ 203169 h 4996841"/>
                <a:gd name="connsiteX1879" fmla="*/ 1569656 w 3214184"/>
                <a:gd name="connsiteY1879" fmla="*/ 205468 h 4996841"/>
                <a:gd name="connsiteX1880" fmla="*/ 1567962 w 3214184"/>
                <a:gd name="connsiteY1880" fmla="*/ 207464 h 4996841"/>
                <a:gd name="connsiteX1881" fmla="*/ 1566570 w 3214184"/>
                <a:gd name="connsiteY1881" fmla="*/ 208644 h 4996841"/>
                <a:gd name="connsiteX1882" fmla="*/ 1565300 w 3214184"/>
                <a:gd name="connsiteY1882" fmla="*/ 209279 h 4996841"/>
                <a:gd name="connsiteX1883" fmla="*/ 1564030 w 3214184"/>
                <a:gd name="connsiteY1883" fmla="*/ 208826 h 4996841"/>
                <a:gd name="connsiteX1884" fmla="*/ 1562759 w 3214184"/>
                <a:gd name="connsiteY1884" fmla="*/ 206587 h 4996841"/>
                <a:gd name="connsiteX1885" fmla="*/ 1562638 w 3214184"/>
                <a:gd name="connsiteY1885" fmla="*/ 205256 h 4996841"/>
                <a:gd name="connsiteX1886" fmla="*/ 1562880 w 3214184"/>
                <a:gd name="connsiteY1886" fmla="*/ 203804 h 4996841"/>
                <a:gd name="connsiteX1887" fmla="*/ 1563001 w 3214184"/>
                <a:gd name="connsiteY1887" fmla="*/ 202170 h 4996841"/>
                <a:gd name="connsiteX1888" fmla="*/ 1562426 w 3214184"/>
                <a:gd name="connsiteY1888" fmla="*/ 200325 h 4996841"/>
                <a:gd name="connsiteX1889" fmla="*/ 1560157 w 3214184"/>
                <a:gd name="connsiteY1889" fmla="*/ 198328 h 4996841"/>
                <a:gd name="connsiteX1890" fmla="*/ 1557011 w 3214184"/>
                <a:gd name="connsiteY1890" fmla="*/ 197572 h 4996841"/>
                <a:gd name="connsiteX1891" fmla="*/ 1551324 w 3214184"/>
                <a:gd name="connsiteY1891" fmla="*/ 198601 h 4996841"/>
                <a:gd name="connsiteX1892" fmla="*/ 1549418 w 3214184"/>
                <a:gd name="connsiteY1892" fmla="*/ 200658 h 4996841"/>
                <a:gd name="connsiteX1893" fmla="*/ 1547422 w 3214184"/>
                <a:gd name="connsiteY1893" fmla="*/ 203804 h 4996841"/>
                <a:gd name="connsiteX1894" fmla="*/ 1545485 w 3214184"/>
                <a:gd name="connsiteY1894" fmla="*/ 206103 h 4996841"/>
                <a:gd name="connsiteX1895" fmla="*/ 1543761 w 3214184"/>
                <a:gd name="connsiteY1895" fmla="*/ 205679 h 4996841"/>
                <a:gd name="connsiteX1896" fmla="*/ 1544306 w 3214184"/>
                <a:gd name="connsiteY1896" fmla="*/ 203259 h 4996841"/>
                <a:gd name="connsiteX1897" fmla="*/ 1545788 w 3214184"/>
                <a:gd name="connsiteY1897" fmla="*/ 198480 h 4996841"/>
                <a:gd name="connsiteX1898" fmla="*/ 1546484 w 3214184"/>
                <a:gd name="connsiteY1898" fmla="*/ 196786 h 4996841"/>
                <a:gd name="connsiteX1899" fmla="*/ 1514206 w 3214184"/>
                <a:gd name="connsiteY1899" fmla="*/ 191431 h 4996841"/>
                <a:gd name="connsiteX1900" fmla="*/ 1512874 w 3214184"/>
                <a:gd name="connsiteY1900" fmla="*/ 190766 h 4996841"/>
                <a:gd name="connsiteX1901" fmla="*/ 1508579 w 3214184"/>
                <a:gd name="connsiteY1901" fmla="*/ 186107 h 4996841"/>
                <a:gd name="connsiteX1902" fmla="*/ 1506431 w 3214184"/>
                <a:gd name="connsiteY1902" fmla="*/ 185532 h 4996841"/>
                <a:gd name="connsiteX1903" fmla="*/ 1502165 w 3214184"/>
                <a:gd name="connsiteY1903" fmla="*/ 186319 h 4996841"/>
                <a:gd name="connsiteX1904" fmla="*/ 1492576 w 3214184"/>
                <a:gd name="connsiteY1904" fmla="*/ 182507 h 4996841"/>
                <a:gd name="connsiteX1905" fmla="*/ 1489248 w 3214184"/>
                <a:gd name="connsiteY1905" fmla="*/ 180147 h 4996841"/>
                <a:gd name="connsiteX1906" fmla="*/ 1489914 w 3214184"/>
                <a:gd name="connsiteY1906" fmla="*/ 175368 h 4996841"/>
                <a:gd name="connsiteX1907" fmla="*/ 1461356 w 3214184"/>
                <a:gd name="connsiteY1907" fmla="*/ 171707 h 4996841"/>
                <a:gd name="connsiteX1908" fmla="*/ 1432738 w 3214184"/>
                <a:gd name="connsiteY1908" fmla="*/ 168047 h 4996841"/>
                <a:gd name="connsiteX1909" fmla="*/ 1433555 w 3214184"/>
                <a:gd name="connsiteY1909" fmla="*/ 171858 h 4996841"/>
                <a:gd name="connsiteX1910" fmla="*/ 1434130 w 3214184"/>
                <a:gd name="connsiteY1910" fmla="*/ 173704 h 4996841"/>
                <a:gd name="connsiteX1911" fmla="*/ 1434826 w 3214184"/>
                <a:gd name="connsiteY1911" fmla="*/ 175368 h 4996841"/>
                <a:gd name="connsiteX1912" fmla="*/ 1433192 w 3214184"/>
                <a:gd name="connsiteY1912" fmla="*/ 176366 h 4996841"/>
                <a:gd name="connsiteX1913" fmla="*/ 1431104 w 3214184"/>
                <a:gd name="connsiteY1913" fmla="*/ 176215 h 4996841"/>
                <a:gd name="connsiteX1914" fmla="*/ 1428896 w 3214184"/>
                <a:gd name="connsiteY1914" fmla="*/ 175277 h 4996841"/>
                <a:gd name="connsiteX1915" fmla="*/ 1427051 w 3214184"/>
                <a:gd name="connsiteY1915" fmla="*/ 173946 h 4996841"/>
                <a:gd name="connsiteX1916" fmla="*/ 1425387 w 3214184"/>
                <a:gd name="connsiteY1916" fmla="*/ 173734 h 4996841"/>
                <a:gd name="connsiteX1917" fmla="*/ 1421485 w 3214184"/>
                <a:gd name="connsiteY1917" fmla="*/ 176487 h 4996841"/>
                <a:gd name="connsiteX1918" fmla="*/ 1419670 w 3214184"/>
                <a:gd name="connsiteY1918" fmla="*/ 177152 h 4996841"/>
                <a:gd name="connsiteX1919" fmla="*/ 1420728 w 3214184"/>
                <a:gd name="connsiteY1919" fmla="*/ 175761 h 4996841"/>
                <a:gd name="connsiteX1920" fmla="*/ 1421333 w 3214184"/>
                <a:gd name="connsiteY1920" fmla="*/ 174158 h 4996841"/>
                <a:gd name="connsiteX1921" fmla="*/ 1421454 w 3214184"/>
                <a:gd name="connsiteY1921" fmla="*/ 172252 h 4996841"/>
                <a:gd name="connsiteX1922" fmla="*/ 1421001 w 3214184"/>
                <a:gd name="connsiteY1922" fmla="*/ 169983 h 4996841"/>
                <a:gd name="connsiteX1923" fmla="*/ 1419851 w 3214184"/>
                <a:gd name="connsiteY1923" fmla="*/ 168591 h 4996841"/>
                <a:gd name="connsiteX1924" fmla="*/ 1409384 w 3214184"/>
                <a:gd name="connsiteY1924" fmla="*/ 170981 h 4996841"/>
                <a:gd name="connsiteX1925" fmla="*/ 1406571 w 3214184"/>
                <a:gd name="connsiteY1925" fmla="*/ 173099 h 4996841"/>
                <a:gd name="connsiteX1926" fmla="*/ 1404484 w 3214184"/>
                <a:gd name="connsiteY1926" fmla="*/ 177152 h 4996841"/>
                <a:gd name="connsiteX1927" fmla="*/ 1403758 w 3214184"/>
                <a:gd name="connsiteY1927" fmla="*/ 180057 h 4996841"/>
                <a:gd name="connsiteX1928" fmla="*/ 1403606 w 3214184"/>
                <a:gd name="connsiteY1928" fmla="*/ 181993 h 4996841"/>
                <a:gd name="connsiteX1929" fmla="*/ 1403818 w 3214184"/>
                <a:gd name="connsiteY1929" fmla="*/ 186077 h 4996841"/>
                <a:gd name="connsiteX1930" fmla="*/ 1404060 w 3214184"/>
                <a:gd name="connsiteY1930" fmla="*/ 185351 h 4996841"/>
                <a:gd name="connsiteX1931" fmla="*/ 1404514 w 3214184"/>
                <a:gd name="connsiteY1931" fmla="*/ 186500 h 4996841"/>
                <a:gd name="connsiteX1932" fmla="*/ 1404967 w 3214184"/>
                <a:gd name="connsiteY1932" fmla="*/ 188345 h 4996841"/>
                <a:gd name="connsiteX1933" fmla="*/ 1405210 w 3214184"/>
                <a:gd name="connsiteY1933" fmla="*/ 189646 h 4996841"/>
                <a:gd name="connsiteX1934" fmla="*/ 1404998 w 3214184"/>
                <a:gd name="connsiteY1934" fmla="*/ 190433 h 4996841"/>
                <a:gd name="connsiteX1935" fmla="*/ 1403999 w 3214184"/>
                <a:gd name="connsiteY1935" fmla="*/ 192369 h 4996841"/>
                <a:gd name="connsiteX1936" fmla="*/ 1403788 w 3214184"/>
                <a:gd name="connsiteY1936" fmla="*/ 193216 h 4996841"/>
                <a:gd name="connsiteX1937" fmla="*/ 1404846 w 3214184"/>
                <a:gd name="connsiteY1937" fmla="*/ 200991 h 4996841"/>
                <a:gd name="connsiteX1938" fmla="*/ 1404937 w 3214184"/>
                <a:gd name="connsiteY1938" fmla="*/ 204560 h 4996841"/>
                <a:gd name="connsiteX1939" fmla="*/ 1403788 w 3214184"/>
                <a:gd name="connsiteY1939" fmla="*/ 207464 h 4996841"/>
                <a:gd name="connsiteX1940" fmla="*/ 1403576 w 3214184"/>
                <a:gd name="connsiteY1940" fmla="*/ 209007 h 4996841"/>
                <a:gd name="connsiteX1941" fmla="*/ 1394561 w 3214184"/>
                <a:gd name="connsiteY1941" fmla="*/ 216994 h 4996841"/>
                <a:gd name="connsiteX1942" fmla="*/ 1392806 w 3214184"/>
                <a:gd name="connsiteY1942" fmla="*/ 219686 h 4996841"/>
                <a:gd name="connsiteX1943" fmla="*/ 1392050 w 3214184"/>
                <a:gd name="connsiteY1943" fmla="*/ 222651 h 4996841"/>
                <a:gd name="connsiteX1944" fmla="*/ 1389902 w 3214184"/>
                <a:gd name="connsiteY1944" fmla="*/ 229124 h 4996841"/>
                <a:gd name="connsiteX1945" fmla="*/ 1384881 w 3214184"/>
                <a:gd name="connsiteY1945" fmla="*/ 230939 h 4996841"/>
                <a:gd name="connsiteX1946" fmla="*/ 1379133 w 3214184"/>
                <a:gd name="connsiteY1946" fmla="*/ 231272 h 4996841"/>
                <a:gd name="connsiteX1947" fmla="*/ 1369664 w 3214184"/>
                <a:gd name="connsiteY1947" fmla="*/ 236536 h 4996841"/>
                <a:gd name="connsiteX1948" fmla="*/ 1358320 w 3214184"/>
                <a:gd name="connsiteY1948" fmla="*/ 236717 h 4996841"/>
                <a:gd name="connsiteX1949" fmla="*/ 1353449 w 3214184"/>
                <a:gd name="connsiteY1949" fmla="*/ 241255 h 4996841"/>
                <a:gd name="connsiteX1950" fmla="*/ 1351816 w 3214184"/>
                <a:gd name="connsiteY1950" fmla="*/ 247305 h 4996841"/>
                <a:gd name="connsiteX1951" fmla="*/ 1350999 w 3214184"/>
                <a:gd name="connsiteY1951" fmla="*/ 262008 h 4996841"/>
                <a:gd name="connsiteX1952" fmla="*/ 1349366 w 3214184"/>
                <a:gd name="connsiteY1952" fmla="*/ 267876 h 4996841"/>
                <a:gd name="connsiteX1953" fmla="*/ 1348246 w 3214184"/>
                <a:gd name="connsiteY1953" fmla="*/ 262461 h 4996841"/>
                <a:gd name="connsiteX1954" fmla="*/ 1348125 w 3214184"/>
                <a:gd name="connsiteY1954" fmla="*/ 254233 h 4996841"/>
                <a:gd name="connsiteX1955" fmla="*/ 1348669 w 3214184"/>
                <a:gd name="connsiteY1955" fmla="*/ 246156 h 4996841"/>
                <a:gd name="connsiteX1956" fmla="*/ 1349366 w 3214184"/>
                <a:gd name="connsiteY1956" fmla="*/ 241225 h 4996841"/>
                <a:gd name="connsiteX1957" fmla="*/ 1353117 w 3214184"/>
                <a:gd name="connsiteY1957" fmla="*/ 234600 h 4996841"/>
                <a:gd name="connsiteX1958" fmla="*/ 1357926 w 3214184"/>
                <a:gd name="connsiteY1958" fmla="*/ 232361 h 4996841"/>
                <a:gd name="connsiteX1959" fmla="*/ 1363069 w 3214184"/>
                <a:gd name="connsiteY1959" fmla="*/ 231665 h 4996841"/>
                <a:gd name="connsiteX1960" fmla="*/ 1370390 w 3214184"/>
                <a:gd name="connsiteY1960" fmla="*/ 228187 h 4996841"/>
                <a:gd name="connsiteX1961" fmla="*/ 1376108 w 3214184"/>
                <a:gd name="connsiteY1961" fmla="*/ 227007 h 4996841"/>
                <a:gd name="connsiteX1962" fmla="*/ 1378951 w 3214184"/>
                <a:gd name="connsiteY1962" fmla="*/ 225313 h 4996841"/>
                <a:gd name="connsiteX1963" fmla="*/ 1386574 w 3214184"/>
                <a:gd name="connsiteY1963" fmla="*/ 217175 h 4996841"/>
                <a:gd name="connsiteX1964" fmla="*/ 1398524 w 3214184"/>
                <a:gd name="connsiteY1964" fmla="*/ 208432 h 4996841"/>
                <a:gd name="connsiteX1965" fmla="*/ 1401791 w 3214184"/>
                <a:gd name="connsiteY1965" fmla="*/ 202080 h 4996841"/>
                <a:gd name="connsiteX1966" fmla="*/ 1398494 w 3214184"/>
                <a:gd name="connsiteY1966" fmla="*/ 197693 h 4996841"/>
                <a:gd name="connsiteX1967" fmla="*/ 1394924 w 3214184"/>
                <a:gd name="connsiteY1967" fmla="*/ 198631 h 4996841"/>
                <a:gd name="connsiteX1968" fmla="*/ 1391294 w 3214184"/>
                <a:gd name="connsiteY1968" fmla="*/ 201323 h 4996841"/>
                <a:gd name="connsiteX1969" fmla="*/ 1387906 w 3214184"/>
                <a:gd name="connsiteY1969" fmla="*/ 202080 h 4996841"/>
                <a:gd name="connsiteX1970" fmla="*/ 1387906 w 3214184"/>
                <a:gd name="connsiteY1970" fmla="*/ 196574 h 4996841"/>
                <a:gd name="connsiteX1971" fmla="*/ 1384457 w 3214184"/>
                <a:gd name="connsiteY1971" fmla="*/ 195243 h 4996841"/>
                <a:gd name="connsiteX1972" fmla="*/ 1376894 w 3214184"/>
                <a:gd name="connsiteY1972" fmla="*/ 196725 h 4996841"/>
                <a:gd name="connsiteX1973" fmla="*/ 1378800 w 3214184"/>
                <a:gd name="connsiteY1973" fmla="*/ 193458 h 4996841"/>
                <a:gd name="connsiteX1974" fmla="*/ 1381159 w 3214184"/>
                <a:gd name="connsiteY1974" fmla="*/ 192127 h 4996841"/>
                <a:gd name="connsiteX1975" fmla="*/ 1385939 w 3214184"/>
                <a:gd name="connsiteY1975" fmla="*/ 191371 h 4996841"/>
                <a:gd name="connsiteX1976" fmla="*/ 1394954 w 3214184"/>
                <a:gd name="connsiteY1976" fmla="*/ 186016 h 4996841"/>
                <a:gd name="connsiteX1977" fmla="*/ 1392111 w 3214184"/>
                <a:gd name="connsiteY1977" fmla="*/ 181206 h 4996841"/>
                <a:gd name="connsiteX1978" fmla="*/ 1387089 w 3214184"/>
                <a:gd name="connsiteY1978" fmla="*/ 180450 h 4996841"/>
                <a:gd name="connsiteX1979" fmla="*/ 1377650 w 3214184"/>
                <a:gd name="connsiteY1979" fmla="*/ 182416 h 4996841"/>
                <a:gd name="connsiteX1980" fmla="*/ 1376985 w 3214184"/>
                <a:gd name="connsiteY1980" fmla="*/ 183777 h 4996841"/>
                <a:gd name="connsiteX1981" fmla="*/ 1375079 w 3214184"/>
                <a:gd name="connsiteY1981" fmla="*/ 185109 h 4996841"/>
                <a:gd name="connsiteX1982" fmla="*/ 1372689 w 3214184"/>
                <a:gd name="connsiteY1982" fmla="*/ 185986 h 4996841"/>
                <a:gd name="connsiteX1983" fmla="*/ 1370723 w 3214184"/>
                <a:gd name="connsiteY1983" fmla="*/ 185986 h 4996841"/>
                <a:gd name="connsiteX1984" fmla="*/ 1373325 w 3214184"/>
                <a:gd name="connsiteY1984" fmla="*/ 180541 h 4996841"/>
                <a:gd name="connsiteX1985" fmla="*/ 1381735 w 3214184"/>
                <a:gd name="connsiteY1985" fmla="*/ 178998 h 4996841"/>
                <a:gd name="connsiteX1986" fmla="*/ 1384911 w 3214184"/>
                <a:gd name="connsiteY1986" fmla="*/ 176245 h 4996841"/>
                <a:gd name="connsiteX1987" fmla="*/ 1387785 w 3214184"/>
                <a:gd name="connsiteY1987" fmla="*/ 170981 h 4996841"/>
                <a:gd name="connsiteX1988" fmla="*/ 1393956 w 3214184"/>
                <a:gd name="connsiteY1988" fmla="*/ 163025 h 4996841"/>
                <a:gd name="connsiteX1989" fmla="*/ 1397012 w 3214184"/>
                <a:gd name="connsiteY1989" fmla="*/ 157277 h 4996841"/>
                <a:gd name="connsiteX1990" fmla="*/ 1390749 w 3214184"/>
                <a:gd name="connsiteY1990" fmla="*/ 159062 h 4996841"/>
                <a:gd name="connsiteX1991" fmla="*/ 1388693 w 3214184"/>
                <a:gd name="connsiteY1991" fmla="*/ 159062 h 4996841"/>
                <a:gd name="connsiteX1992" fmla="*/ 1391415 w 3214184"/>
                <a:gd name="connsiteY1992" fmla="*/ 155250 h 4996841"/>
                <a:gd name="connsiteX1993" fmla="*/ 1394803 w 3214184"/>
                <a:gd name="connsiteY1993" fmla="*/ 153617 h 4996841"/>
                <a:gd name="connsiteX1994" fmla="*/ 1397919 w 3214184"/>
                <a:gd name="connsiteY1994" fmla="*/ 151045 h 4996841"/>
                <a:gd name="connsiteX1995" fmla="*/ 1399764 w 3214184"/>
                <a:gd name="connsiteY1995" fmla="*/ 144541 h 4996841"/>
                <a:gd name="connsiteX1996" fmla="*/ 1397162 w 3214184"/>
                <a:gd name="connsiteY1996" fmla="*/ 143543 h 4996841"/>
                <a:gd name="connsiteX1997" fmla="*/ 1392141 w 3214184"/>
                <a:gd name="connsiteY1997" fmla="*/ 139580 h 4996841"/>
                <a:gd name="connsiteX1998" fmla="*/ 1389388 w 3214184"/>
                <a:gd name="connsiteY1998" fmla="*/ 139308 h 4996841"/>
                <a:gd name="connsiteX1999" fmla="*/ 1385153 w 3214184"/>
                <a:gd name="connsiteY1999" fmla="*/ 142454 h 4996841"/>
                <a:gd name="connsiteX2000" fmla="*/ 1383519 w 3214184"/>
                <a:gd name="connsiteY2000" fmla="*/ 142908 h 4996841"/>
                <a:gd name="connsiteX2001" fmla="*/ 1382218 w 3214184"/>
                <a:gd name="connsiteY2001" fmla="*/ 141970 h 4996841"/>
                <a:gd name="connsiteX2002" fmla="*/ 1380192 w 3214184"/>
                <a:gd name="connsiteY2002" fmla="*/ 138340 h 4996841"/>
                <a:gd name="connsiteX2003" fmla="*/ 1379042 w 3214184"/>
                <a:gd name="connsiteY2003" fmla="*/ 138521 h 4996841"/>
                <a:gd name="connsiteX2004" fmla="*/ 1376652 w 3214184"/>
                <a:gd name="connsiteY2004" fmla="*/ 140578 h 4996841"/>
                <a:gd name="connsiteX2005" fmla="*/ 1345977 w 3214184"/>
                <a:gd name="connsiteY2005" fmla="*/ 153738 h 4996841"/>
                <a:gd name="connsiteX2006" fmla="*/ 1344011 w 3214184"/>
                <a:gd name="connsiteY2006" fmla="*/ 155371 h 4996841"/>
                <a:gd name="connsiteX2007" fmla="*/ 1342347 w 3214184"/>
                <a:gd name="connsiteY2007" fmla="*/ 157943 h 4996841"/>
                <a:gd name="connsiteX2008" fmla="*/ 1339383 w 3214184"/>
                <a:gd name="connsiteY2008" fmla="*/ 165475 h 4996841"/>
                <a:gd name="connsiteX2009" fmla="*/ 1337688 w 3214184"/>
                <a:gd name="connsiteY2009" fmla="*/ 171647 h 4996841"/>
                <a:gd name="connsiteX2010" fmla="*/ 1336538 w 3214184"/>
                <a:gd name="connsiteY2010" fmla="*/ 174339 h 4996841"/>
                <a:gd name="connsiteX2011" fmla="*/ 1335934 w 3214184"/>
                <a:gd name="connsiteY2011" fmla="*/ 175126 h 4996841"/>
                <a:gd name="connsiteX2012" fmla="*/ 1335298 w 3214184"/>
                <a:gd name="connsiteY2012" fmla="*/ 175126 h 4996841"/>
                <a:gd name="connsiteX2013" fmla="*/ 1334240 w 3214184"/>
                <a:gd name="connsiteY2013" fmla="*/ 175398 h 4996841"/>
                <a:gd name="connsiteX2014" fmla="*/ 1333332 w 3214184"/>
                <a:gd name="connsiteY2014" fmla="*/ 175156 h 4996841"/>
                <a:gd name="connsiteX2015" fmla="*/ 1332455 w 3214184"/>
                <a:gd name="connsiteY2015" fmla="*/ 175337 h 4996841"/>
                <a:gd name="connsiteX2016" fmla="*/ 1330368 w 3214184"/>
                <a:gd name="connsiteY2016" fmla="*/ 177334 h 4996841"/>
                <a:gd name="connsiteX2017" fmla="*/ 1329278 w 3214184"/>
                <a:gd name="connsiteY2017" fmla="*/ 177909 h 4996841"/>
                <a:gd name="connsiteX2018" fmla="*/ 1328250 w 3214184"/>
                <a:gd name="connsiteY2018" fmla="*/ 177909 h 4996841"/>
                <a:gd name="connsiteX2019" fmla="*/ 1327312 w 3214184"/>
                <a:gd name="connsiteY2019" fmla="*/ 177152 h 4996841"/>
                <a:gd name="connsiteX2020" fmla="*/ 1328916 w 3214184"/>
                <a:gd name="connsiteY2020" fmla="*/ 173220 h 4996841"/>
                <a:gd name="connsiteX2021" fmla="*/ 1330730 w 3214184"/>
                <a:gd name="connsiteY2021" fmla="*/ 169983 h 4996841"/>
                <a:gd name="connsiteX2022" fmla="*/ 1333151 w 3214184"/>
                <a:gd name="connsiteY2022" fmla="*/ 161119 h 4996841"/>
                <a:gd name="connsiteX2023" fmla="*/ 1355567 w 3214184"/>
                <a:gd name="connsiteY2023" fmla="*/ 131957 h 4996841"/>
                <a:gd name="connsiteX2024" fmla="*/ 1345826 w 3214184"/>
                <a:gd name="connsiteY2024" fmla="*/ 132320 h 4996841"/>
                <a:gd name="connsiteX2025" fmla="*/ 1336267 w 3214184"/>
                <a:gd name="connsiteY2025" fmla="*/ 135678 h 4996841"/>
                <a:gd name="connsiteX2026" fmla="*/ 1323833 w 3214184"/>
                <a:gd name="connsiteY2026" fmla="*/ 148293 h 4996841"/>
                <a:gd name="connsiteX2027" fmla="*/ 1326132 w 3214184"/>
                <a:gd name="connsiteY2027" fmla="*/ 140760 h 4996841"/>
                <a:gd name="connsiteX2028" fmla="*/ 1329581 w 3214184"/>
                <a:gd name="connsiteY2028" fmla="*/ 136373 h 4996841"/>
                <a:gd name="connsiteX2029" fmla="*/ 1336871 w 3214184"/>
                <a:gd name="connsiteY2029" fmla="*/ 130323 h 4996841"/>
                <a:gd name="connsiteX2030" fmla="*/ 1334724 w 3214184"/>
                <a:gd name="connsiteY2030" fmla="*/ 127964 h 4996841"/>
                <a:gd name="connsiteX2031" fmla="*/ 1331729 w 3214184"/>
                <a:gd name="connsiteY2031" fmla="*/ 127510 h 4996841"/>
                <a:gd name="connsiteX2032" fmla="*/ 1325921 w 3214184"/>
                <a:gd name="connsiteY2032" fmla="*/ 128357 h 4996841"/>
                <a:gd name="connsiteX2033" fmla="*/ 1315544 w 3214184"/>
                <a:gd name="connsiteY2033" fmla="*/ 124908 h 4996841"/>
                <a:gd name="connsiteX2034" fmla="*/ 1313275 w 3214184"/>
                <a:gd name="connsiteY2034" fmla="*/ 125090 h 4996841"/>
                <a:gd name="connsiteX2035" fmla="*/ 1311188 w 3214184"/>
                <a:gd name="connsiteY2035" fmla="*/ 126148 h 4996841"/>
                <a:gd name="connsiteX2036" fmla="*/ 1307164 w 3214184"/>
                <a:gd name="connsiteY2036" fmla="*/ 129779 h 4996841"/>
                <a:gd name="connsiteX2037" fmla="*/ 1305682 w 3214184"/>
                <a:gd name="connsiteY2037" fmla="*/ 129325 h 4996841"/>
                <a:gd name="connsiteX2038" fmla="*/ 1302355 w 3214184"/>
                <a:gd name="connsiteY2038" fmla="*/ 123940 h 4996841"/>
                <a:gd name="connsiteX2039" fmla="*/ 1300418 w 3214184"/>
                <a:gd name="connsiteY2039" fmla="*/ 123063 h 4996841"/>
                <a:gd name="connsiteX2040" fmla="*/ 1300207 w 3214184"/>
                <a:gd name="connsiteY2040" fmla="*/ 123698 h 4996841"/>
                <a:gd name="connsiteX2041" fmla="*/ 1299783 w 3214184"/>
                <a:gd name="connsiteY2041" fmla="*/ 126542 h 4996841"/>
                <a:gd name="connsiteX2042" fmla="*/ 1299783 w 3214184"/>
                <a:gd name="connsiteY2042" fmla="*/ 127480 h 4996841"/>
                <a:gd name="connsiteX2043" fmla="*/ 1299511 w 3214184"/>
                <a:gd name="connsiteY2043" fmla="*/ 128417 h 4996841"/>
                <a:gd name="connsiteX2044" fmla="*/ 1298936 w 3214184"/>
                <a:gd name="connsiteY2044" fmla="*/ 128478 h 4996841"/>
                <a:gd name="connsiteX2045" fmla="*/ 1296395 w 3214184"/>
                <a:gd name="connsiteY2045" fmla="*/ 128206 h 4996841"/>
                <a:gd name="connsiteX2046" fmla="*/ 1293642 w 3214184"/>
                <a:gd name="connsiteY2046" fmla="*/ 126723 h 4996841"/>
                <a:gd name="connsiteX2047" fmla="*/ 1292160 w 3214184"/>
                <a:gd name="connsiteY2047" fmla="*/ 127449 h 4996841"/>
                <a:gd name="connsiteX2048" fmla="*/ 1291494 w 3214184"/>
                <a:gd name="connsiteY2048" fmla="*/ 128478 h 4996841"/>
                <a:gd name="connsiteX2049" fmla="*/ 1289740 w 3214184"/>
                <a:gd name="connsiteY2049" fmla="*/ 132864 h 4996841"/>
                <a:gd name="connsiteX2050" fmla="*/ 1288711 w 3214184"/>
                <a:gd name="connsiteY2050" fmla="*/ 134921 h 4996841"/>
                <a:gd name="connsiteX2051" fmla="*/ 1287683 w 3214184"/>
                <a:gd name="connsiteY2051" fmla="*/ 135405 h 4996841"/>
                <a:gd name="connsiteX2052" fmla="*/ 1286594 w 3214184"/>
                <a:gd name="connsiteY2052" fmla="*/ 135345 h 4996841"/>
                <a:gd name="connsiteX2053" fmla="*/ 1285262 w 3214184"/>
                <a:gd name="connsiteY2053" fmla="*/ 135647 h 4996841"/>
                <a:gd name="connsiteX2054" fmla="*/ 1275552 w 3214184"/>
                <a:gd name="connsiteY2054" fmla="*/ 143876 h 4996841"/>
                <a:gd name="connsiteX2055" fmla="*/ 1270379 w 3214184"/>
                <a:gd name="connsiteY2055" fmla="*/ 146084 h 4996841"/>
                <a:gd name="connsiteX2056" fmla="*/ 1265902 w 3214184"/>
                <a:gd name="connsiteY2056" fmla="*/ 142878 h 4996841"/>
                <a:gd name="connsiteX2057" fmla="*/ 1270439 w 3214184"/>
                <a:gd name="connsiteY2057" fmla="*/ 142242 h 4996841"/>
                <a:gd name="connsiteX2058" fmla="*/ 1278910 w 3214184"/>
                <a:gd name="connsiteY2058" fmla="*/ 135587 h 4996841"/>
                <a:gd name="connsiteX2059" fmla="*/ 1283175 w 3214184"/>
                <a:gd name="connsiteY2059" fmla="*/ 133923 h 4996841"/>
                <a:gd name="connsiteX2060" fmla="*/ 1284809 w 3214184"/>
                <a:gd name="connsiteY2060" fmla="*/ 132743 h 4996841"/>
                <a:gd name="connsiteX2061" fmla="*/ 1287350 w 3214184"/>
                <a:gd name="connsiteY2061" fmla="*/ 127026 h 4996841"/>
                <a:gd name="connsiteX2062" fmla="*/ 1288681 w 3214184"/>
                <a:gd name="connsiteY2062" fmla="*/ 124908 h 4996841"/>
                <a:gd name="connsiteX2063" fmla="*/ 1290859 w 3214184"/>
                <a:gd name="connsiteY2063" fmla="*/ 124454 h 4996841"/>
                <a:gd name="connsiteX2064" fmla="*/ 1293158 w 3214184"/>
                <a:gd name="connsiteY2064" fmla="*/ 125090 h 4996841"/>
                <a:gd name="connsiteX2065" fmla="*/ 1295306 w 3214184"/>
                <a:gd name="connsiteY2065" fmla="*/ 124727 h 4996841"/>
                <a:gd name="connsiteX2066" fmla="*/ 1296909 w 3214184"/>
                <a:gd name="connsiteY2066" fmla="*/ 121127 h 4996841"/>
                <a:gd name="connsiteX2067" fmla="*/ 1288742 w 3214184"/>
                <a:gd name="connsiteY2067" fmla="*/ 116075 h 4996841"/>
                <a:gd name="connsiteX2068" fmla="*/ 1285867 w 3214184"/>
                <a:gd name="connsiteY2068" fmla="*/ 115893 h 4996841"/>
                <a:gd name="connsiteX2069" fmla="*/ 1286684 w 3214184"/>
                <a:gd name="connsiteY2069" fmla="*/ 113745 h 4996841"/>
                <a:gd name="connsiteX2070" fmla="*/ 1289437 w 3214184"/>
                <a:gd name="connsiteY2070" fmla="*/ 109752 h 4996841"/>
                <a:gd name="connsiteX2071" fmla="*/ 1290042 w 3214184"/>
                <a:gd name="connsiteY2071" fmla="*/ 108663 h 4996841"/>
                <a:gd name="connsiteX2072" fmla="*/ 1289498 w 3214184"/>
                <a:gd name="connsiteY2072" fmla="*/ 106001 h 4996841"/>
                <a:gd name="connsiteX2073" fmla="*/ 1288136 w 3214184"/>
                <a:gd name="connsiteY2073" fmla="*/ 104307 h 4996841"/>
                <a:gd name="connsiteX2074" fmla="*/ 1286533 w 3214184"/>
                <a:gd name="connsiteY2074" fmla="*/ 103369 h 4996841"/>
                <a:gd name="connsiteX2075" fmla="*/ 1285202 w 3214184"/>
                <a:gd name="connsiteY2075" fmla="*/ 103067 h 4996841"/>
                <a:gd name="connsiteX2076" fmla="*/ 1275370 w 3214184"/>
                <a:gd name="connsiteY2076" fmla="*/ 105971 h 4996841"/>
                <a:gd name="connsiteX2077" fmla="*/ 1272073 w 3214184"/>
                <a:gd name="connsiteY2077" fmla="*/ 105033 h 4996841"/>
                <a:gd name="connsiteX2078" fmla="*/ 1265781 w 3214184"/>
                <a:gd name="connsiteY2078" fmla="*/ 101252 h 4996841"/>
                <a:gd name="connsiteX2079" fmla="*/ 1259761 w 3214184"/>
                <a:gd name="connsiteY2079" fmla="*/ 99648 h 4996841"/>
                <a:gd name="connsiteX2080" fmla="*/ 1253892 w 3214184"/>
                <a:gd name="connsiteY2080" fmla="*/ 101615 h 4996841"/>
                <a:gd name="connsiteX2081" fmla="*/ 1247963 w 3214184"/>
                <a:gd name="connsiteY2081" fmla="*/ 108663 h 4996841"/>
                <a:gd name="connsiteX2082" fmla="*/ 1247963 w 3214184"/>
                <a:gd name="connsiteY2082" fmla="*/ 104428 h 4996841"/>
                <a:gd name="connsiteX2083" fmla="*/ 1249566 w 3214184"/>
                <a:gd name="connsiteY2083" fmla="*/ 101161 h 4996841"/>
                <a:gd name="connsiteX2084" fmla="*/ 1251593 w 3214184"/>
                <a:gd name="connsiteY2084" fmla="*/ 98015 h 4996841"/>
                <a:gd name="connsiteX2085" fmla="*/ 1252803 w 3214184"/>
                <a:gd name="connsiteY2085" fmla="*/ 93991 h 4996841"/>
                <a:gd name="connsiteX2086" fmla="*/ 1252016 w 3214184"/>
                <a:gd name="connsiteY2086" fmla="*/ 89453 h 4996841"/>
                <a:gd name="connsiteX2087" fmla="*/ 1249263 w 3214184"/>
                <a:gd name="connsiteY2087" fmla="*/ 87941 h 4996841"/>
                <a:gd name="connsiteX2088" fmla="*/ 1245936 w 3214184"/>
                <a:gd name="connsiteY2088" fmla="*/ 87154 h 4996841"/>
                <a:gd name="connsiteX2089" fmla="*/ 1243183 w 3214184"/>
                <a:gd name="connsiteY2089" fmla="*/ 84765 h 4996841"/>
                <a:gd name="connsiteX2090" fmla="*/ 1252410 w 3214184"/>
                <a:gd name="connsiteY2090" fmla="*/ 83373 h 4996841"/>
                <a:gd name="connsiteX2091" fmla="*/ 1256614 w 3214184"/>
                <a:gd name="connsiteY2091" fmla="*/ 79501 h 4996841"/>
                <a:gd name="connsiteX2092" fmla="*/ 1258369 w 3214184"/>
                <a:gd name="connsiteY2092" fmla="*/ 70304 h 4996841"/>
                <a:gd name="connsiteX2093" fmla="*/ 1258097 w 3214184"/>
                <a:gd name="connsiteY2093" fmla="*/ 66765 h 4996841"/>
                <a:gd name="connsiteX2094" fmla="*/ 1257522 w 3214184"/>
                <a:gd name="connsiteY2094" fmla="*/ 63256 h 4996841"/>
                <a:gd name="connsiteX2095" fmla="*/ 1257219 w 3214184"/>
                <a:gd name="connsiteY2095" fmla="*/ 60261 h 4996841"/>
                <a:gd name="connsiteX2096" fmla="*/ 1257643 w 3214184"/>
                <a:gd name="connsiteY2096" fmla="*/ 58446 h 4996841"/>
                <a:gd name="connsiteX2097" fmla="*/ 1259488 w 3214184"/>
                <a:gd name="connsiteY2097" fmla="*/ 57599 h 4996841"/>
                <a:gd name="connsiteX2098" fmla="*/ 1261273 w 3214184"/>
                <a:gd name="connsiteY2098" fmla="*/ 58809 h 4996841"/>
                <a:gd name="connsiteX2099" fmla="*/ 1262755 w 3214184"/>
                <a:gd name="connsiteY2099" fmla="*/ 61501 h 4996841"/>
                <a:gd name="connsiteX2100" fmla="*/ 1263905 w 3214184"/>
                <a:gd name="connsiteY2100" fmla="*/ 64920 h 4996841"/>
                <a:gd name="connsiteX2101" fmla="*/ 1264571 w 3214184"/>
                <a:gd name="connsiteY2101" fmla="*/ 68640 h 4996841"/>
                <a:gd name="connsiteX2102" fmla="*/ 1264571 w 3214184"/>
                <a:gd name="connsiteY2102" fmla="*/ 71242 h 4996841"/>
                <a:gd name="connsiteX2103" fmla="*/ 1264207 w 3214184"/>
                <a:gd name="connsiteY2103" fmla="*/ 73814 h 4996841"/>
                <a:gd name="connsiteX2104" fmla="*/ 1263935 w 3214184"/>
                <a:gd name="connsiteY2104" fmla="*/ 77474 h 4996841"/>
                <a:gd name="connsiteX2105" fmla="*/ 1263603 w 3214184"/>
                <a:gd name="connsiteY2105" fmla="*/ 78805 h 4996841"/>
                <a:gd name="connsiteX2106" fmla="*/ 1262998 w 3214184"/>
                <a:gd name="connsiteY2106" fmla="*/ 79955 h 4996841"/>
                <a:gd name="connsiteX2107" fmla="*/ 1262544 w 3214184"/>
                <a:gd name="connsiteY2107" fmla="*/ 81165 h 4996841"/>
                <a:gd name="connsiteX2108" fmla="*/ 1262544 w 3214184"/>
                <a:gd name="connsiteY2108" fmla="*/ 82949 h 4996841"/>
                <a:gd name="connsiteX2109" fmla="*/ 1263542 w 3214184"/>
                <a:gd name="connsiteY2109" fmla="*/ 84583 h 4996841"/>
                <a:gd name="connsiteX2110" fmla="*/ 1265388 w 3214184"/>
                <a:gd name="connsiteY2110" fmla="*/ 85067 h 4996841"/>
                <a:gd name="connsiteX2111" fmla="*/ 1268654 w 3214184"/>
                <a:gd name="connsiteY2111" fmla="*/ 84765 h 4996841"/>
                <a:gd name="connsiteX2112" fmla="*/ 1283750 w 3214184"/>
                <a:gd name="connsiteY2112" fmla="*/ 88516 h 4996841"/>
                <a:gd name="connsiteX2113" fmla="*/ 1288560 w 3214184"/>
                <a:gd name="connsiteY2113" fmla="*/ 86217 h 4996841"/>
                <a:gd name="connsiteX2114" fmla="*/ 1290466 w 3214184"/>
                <a:gd name="connsiteY2114" fmla="*/ 85884 h 4996841"/>
                <a:gd name="connsiteX2115" fmla="*/ 1296970 w 3214184"/>
                <a:gd name="connsiteY2115" fmla="*/ 90391 h 4996841"/>
                <a:gd name="connsiteX2116" fmla="*/ 1334179 w 3214184"/>
                <a:gd name="connsiteY2116" fmla="*/ 103853 h 4996841"/>
                <a:gd name="connsiteX2117" fmla="*/ 1350697 w 3214184"/>
                <a:gd name="connsiteY2117" fmla="*/ 94505 h 4996841"/>
                <a:gd name="connsiteX2118" fmla="*/ 1354660 w 3214184"/>
                <a:gd name="connsiteY2118" fmla="*/ 90785 h 4996841"/>
                <a:gd name="connsiteX2119" fmla="*/ 1357866 w 3214184"/>
                <a:gd name="connsiteY2119" fmla="*/ 86186 h 4996841"/>
                <a:gd name="connsiteX2120" fmla="*/ 1358531 w 3214184"/>
                <a:gd name="connsiteY2120" fmla="*/ 84825 h 4996841"/>
                <a:gd name="connsiteX2121" fmla="*/ 1359107 w 3214184"/>
                <a:gd name="connsiteY2121" fmla="*/ 82980 h 4996841"/>
                <a:gd name="connsiteX2122" fmla="*/ 1358985 w 3214184"/>
                <a:gd name="connsiteY2122" fmla="*/ 81921 h 4996841"/>
                <a:gd name="connsiteX2123" fmla="*/ 1358652 w 3214184"/>
                <a:gd name="connsiteY2123" fmla="*/ 80378 h 4996841"/>
                <a:gd name="connsiteX2124" fmla="*/ 1358441 w 3214184"/>
                <a:gd name="connsiteY2124" fmla="*/ 78593 h 4996841"/>
                <a:gd name="connsiteX2125" fmla="*/ 1358773 w 3214184"/>
                <a:gd name="connsiteY2125" fmla="*/ 76687 h 4996841"/>
                <a:gd name="connsiteX2126" fmla="*/ 1358864 w 3214184"/>
                <a:gd name="connsiteY2126" fmla="*/ 74842 h 4996841"/>
                <a:gd name="connsiteX2127" fmla="*/ 1360044 w 3214184"/>
                <a:gd name="connsiteY2127" fmla="*/ 65797 h 4996841"/>
                <a:gd name="connsiteX2128" fmla="*/ 1360498 w 3214184"/>
                <a:gd name="connsiteY2128" fmla="*/ 64950 h 4996841"/>
                <a:gd name="connsiteX2129" fmla="*/ 1359227 w 3214184"/>
                <a:gd name="connsiteY2129" fmla="*/ 60775 h 4996841"/>
                <a:gd name="connsiteX2130" fmla="*/ 1357321 w 3214184"/>
                <a:gd name="connsiteY2130" fmla="*/ 59565 h 4996841"/>
                <a:gd name="connsiteX2131" fmla="*/ 1355265 w 3214184"/>
                <a:gd name="connsiteY2131" fmla="*/ 60321 h 4996841"/>
                <a:gd name="connsiteX2132" fmla="*/ 1353570 w 3214184"/>
                <a:gd name="connsiteY2132" fmla="*/ 62015 h 4996841"/>
                <a:gd name="connsiteX2133" fmla="*/ 1352058 w 3214184"/>
                <a:gd name="connsiteY2133" fmla="*/ 61864 h 4996841"/>
                <a:gd name="connsiteX2134" fmla="*/ 1347702 w 3214184"/>
                <a:gd name="connsiteY2134" fmla="*/ 56903 h 4996841"/>
                <a:gd name="connsiteX2135" fmla="*/ 1339019 w 3214184"/>
                <a:gd name="connsiteY2135" fmla="*/ 51185 h 4996841"/>
                <a:gd name="connsiteX2136" fmla="*/ 1319689 w 3214184"/>
                <a:gd name="connsiteY2136" fmla="*/ 48009 h 4996841"/>
                <a:gd name="connsiteX2137" fmla="*/ 1309373 w 3214184"/>
                <a:gd name="connsiteY2137" fmla="*/ 50459 h 4996841"/>
                <a:gd name="connsiteX2138" fmla="*/ 1299148 w 3214184"/>
                <a:gd name="connsiteY2138" fmla="*/ 44954 h 4996841"/>
                <a:gd name="connsiteX2139" fmla="*/ 1297514 w 3214184"/>
                <a:gd name="connsiteY2139" fmla="*/ 42866 h 4996841"/>
                <a:gd name="connsiteX2140" fmla="*/ 1297182 w 3214184"/>
                <a:gd name="connsiteY2140" fmla="*/ 40204 h 4996841"/>
                <a:gd name="connsiteX2141" fmla="*/ 1299148 w 3214184"/>
                <a:gd name="connsiteY2141" fmla="*/ 37149 h 4996841"/>
                <a:gd name="connsiteX2142" fmla="*/ 1295639 w 3214184"/>
                <a:gd name="connsiteY2142" fmla="*/ 32157 h 4996841"/>
                <a:gd name="connsiteX2143" fmla="*/ 1286533 w 3214184"/>
                <a:gd name="connsiteY2143" fmla="*/ 25865 h 4996841"/>
                <a:gd name="connsiteX2144" fmla="*/ 1282510 w 3214184"/>
                <a:gd name="connsiteY2144" fmla="*/ 24473 h 4996841"/>
                <a:gd name="connsiteX2145" fmla="*/ 1273374 w 3214184"/>
                <a:gd name="connsiteY2145" fmla="*/ 25351 h 4996841"/>
                <a:gd name="connsiteX2146" fmla="*/ 1270832 w 3214184"/>
                <a:gd name="connsiteY2146" fmla="*/ 23505 h 4996841"/>
                <a:gd name="connsiteX2147" fmla="*/ 1251986 w 3214184"/>
                <a:gd name="connsiteY2147" fmla="*/ 1785 h 4996841"/>
                <a:gd name="connsiteX2148" fmla="*/ 1244938 w 3214184"/>
                <a:gd name="connsiteY2148" fmla="*/ 0 h 4996841"/>
                <a:gd name="connsiteX2149" fmla="*/ 1242729 w 3214184"/>
                <a:gd name="connsiteY2149" fmla="*/ 121 h 4996841"/>
                <a:gd name="connsiteX2150" fmla="*/ 1240702 w 3214184"/>
                <a:gd name="connsiteY2150" fmla="*/ 1452 h 4996841"/>
                <a:gd name="connsiteX2151" fmla="*/ 1238766 w 3214184"/>
                <a:gd name="connsiteY2151" fmla="*/ 5022 h 4996841"/>
                <a:gd name="connsiteX2152" fmla="*/ 1237768 w 3214184"/>
                <a:gd name="connsiteY2152" fmla="*/ 9227 h 4996841"/>
                <a:gd name="connsiteX2153" fmla="*/ 1238252 w 3214184"/>
                <a:gd name="connsiteY2153" fmla="*/ 11889 h 4996841"/>
                <a:gd name="connsiteX2154" fmla="*/ 1243969 w 3214184"/>
                <a:gd name="connsiteY2154" fmla="*/ 17879 h 4996841"/>
                <a:gd name="connsiteX2155" fmla="*/ 1244574 w 3214184"/>
                <a:gd name="connsiteY2155" fmla="*/ 18816 h 4996841"/>
                <a:gd name="connsiteX2156" fmla="*/ 1244726 w 3214184"/>
                <a:gd name="connsiteY2156" fmla="*/ 20299 h 4996841"/>
                <a:gd name="connsiteX2157" fmla="*/ 1244483 w 3214184"/>
                <a:gd name="connsiteY2157" fmla="*/ 24685 h 4996841"/>
                <a:gd name="connsiteX2158" fmla="*/ 1244574 w 3214184"/>
                <a:gd name="connsiteY2158" fmla="*/ 26198 h 4996841"/>
                <a:gd name="connsiteX2159" fmla="*/ 1246087 w 3214184"/>
                <a:gd name="connsiteY2159" fmla="*/ 28769 h 4996841"/>
                <a:gd name="connsiteX2160" fmla="*/ 1251532 w 3214184"/>
                <a:gd name="connsiteY2160" fmla="*/ 34608 h 4996841"/>
                <a:gd name="connsiteX2161" fmla="*/ 1255676 w 3214184"/>
                <a:gd name="connsiteY2161" fmla="*/ 41656 h 4996841"/>
                <a:gd name="connsiteX2162" fmla="*/ 1256343 w 3214184"/>
                <a:gd name="connsiteY2162" fmla="*/ 43774 h 4996841"/>
                <a:gd name="connsiteX2163" fmla="*/ 1256463 w 3214184"/>
                <a:gd name="connsiteY2163" fmla="*/ 45740 h 4996841"/>
                <a:gd name="connsiteX2164" fmla="*/ 1256675 w 3214184"/>
                <a:gd name="connsiteY2164" fmla="*/ 47192 h 4996841"/>
                <a:gd name="connsiteX2165" fmla="*/ 1256433 w 3214184"/>
                <a:gd name="connsiteY2165" fmla="*/ 48039 h 4996841"/>
                <a:gd name="connsiteX2166" fmla="*/ 1254164 w 3214184"/>
                <a:gd name="connsiteY2166" fmla="*/ 48886 h 4996841"/>
                <a:gd name="connsiteX2167" fmla="*/ 1253257 w 3214184"/>
                <a:gd name="connsiteY2167" fmla="*/ 50096 h 4996841"/>
                <a:gd name="connsiteX2168" fmla="*/ 1252621 w 3214184"/>
                <a:gd name="connsiteY2168" fmla="*/ 51397 h 4996841"/>
                <a:gd name="connsiteX2169" fmla="*/ 1252167 w 3214184"/>
                <a:gd name="connsiteY2169" fmla="*/ 52032 h 4996841"/>
                <a:gd name="connsiteX2170" fmla="*/ 1249354 w 3214184"/>
                <a:gd name="connsiteY2170" fmla="*/ 50701 h 4996841"/>
                <a:gd name="connsiteX2171" fmla="*/ 1242820 w 3214184"/>
                <a:gd name="connsiteY2171" fmla="*/ 41414 h 4996841"/>
                <a:gd name="connsiteX2172" fmla="*/ 1237072 w 3214184"/>
                <a:gd name="connsiteY2172" fmla="*/ 38056 h 4996841"/>
                <a:gd name="connsiteX2173" fmla="*/ 1233169 w 3214184"/>
                <a:gd name="connsiteY2173" fmla="*/ 32853 h 4996841"/>
                <a:gd name="connsiteX2174" fmla="*/ 1231203 w 3214184"/>
                <a:gd name="connsiteY2174" fmla="*/ 31703 h 4996841"/>
                <a:gd name="connsiteX2175" fmla="*/ 1221704 w 3214184"/>
                <a:gd name="connsiteY2175" fmla="*/ 31371 h 4996841"/>
                <a:gd name="connsiteX2176" fmla="*/ 1219103 w 3214184"/>
                <a:gd name="connsiteY2176" fmla="*/ 33670 h 4996841"/>
                <a:gd name="connsiteX2177" fmla="*/ 1217378 w 3214184"/>
                <a:gd name="connsiteY2177" fmla="*/ 38510 h 4996841"/>
                <a:gd name="connsiteX2178" fmla="*/ 1217166 w 3214184"/>
                <a:gd name="connsiteY2178" fmla="*/ 43562 h 4996841"/>
                <a:gd name="connsiteX2179" fmla="*/ 1217953 w 3214184"/>
                <a:gd name="connsiteY2179" fmla="*/ 48675 h 4996841"/>
                <a:gd name="connsiteX2180" fmla="*/ 1219103 w 3214184"/>
                <a:gd name="connsiteY2180" fmla="*/ 53817 h 4996841"/>
                <a:gd name="connsiteX2181" fmla="*/ 1216169 w 3214184"/>
                <a:gd name="connsiteY2181" fmla="*/ 60775 h 4996841"/>
                <a:gd name="connsiteX2182" fmla="*/ 1216380 w 3214184"/>
                <a:gd name="connsiteY2182" fmla="*/ 62832 h 4996841"/>
                <a:gd name="connsiteX2183" fmla="*/ 1218407 w 3214184"/>
                <a:gd name="connsiteY2183" fmla="*/ 65797 h 4996841"/>
                <a:gd name="connsiteX2184" fmla="*/ 1223580 w 3214184"/>
                <a:gd name="connsiteY2184" fmla="*/ 68973 h 4996841"/>
                <a:gd name="connsiteX2185" fmla="*/ 1226091 w 3214184"/>
                <a:gd name="connsiteY2185" fmla="*/ 71393 h 4996841"/>
                <a:gd name="connsiteX2186" fmla="*/ 1227422 w 3214184"/>
                <a:gd name="connsiteY2186" fmla="*/ 75871 h 4996841"/>
                <a:gd name="connsiteX2187" fmla="*/ 1201890 w 3214184"/>
                <a:gd name="connsiteY2187" fmla="*/ 72089 h 4996841"/>
                <a:gd name="connsiteX2188" fmla="*/ 1200437 w 3214184"/>
                <a:gd name="connsiteY2188" fmla="*/ 73087 h 4996841"/>
                <a:gd name="connsiteX2189" fmla="*/ 1199288 w 3214184"/>
                <a:gd name="connsiteY2189" fmla="*/ 74600 h 4996841"/>
                <a:gd name="connsiteX2190" fmla="*/ 1198229 w 3214184"/>
                <a:gd name="connsiteY2190" fmla="*/ 75659 h 4996841"/>
                <a:gd name="connsiteX2191" fmla="*/ 1193903 w 3214184"/>
                <a:gd name="connsiteY2191" fmla="*/ 73239 h 4996841"/>
                <a:gd name="connsiteX2192" fmla="*/ 1191362 w 3214184"/>
                <a:gd name="connsiteY2192" fmla="*/ 75598 h 4996841"/>
                <a:gd name="connsiteX2193" fmla="*/ 1181440 w 3214184"/>
                <a:gd name="connsiteY2193" fmla="*/ 92085 h 4996841"/>
                <a:gd name="connsiteX2194" fmla="*/ 1178656 w 3214184"/>
                <a:gd name="connsiteY2194" fmla="*/ 95262 h 4996841"/>
                <a:gd name="connsiteX2195" fmla="*/ 1175722 w 3214184"/>
                <a:gd name="connsiteY2195" fmla="*/ 95897 h 4996841"/>
                <a:gd name="connsiteX2196" fmla="*/ 1180774 w 3214184"/>
                <a:gd name="connsiteY2196" fmla="*/ 89030 h 4996841"/>
                <a:gd name="connsiteX2197" fmla="*/ 1182227 w 3214184"/>
                <a:gd name="connsiteY2197" fmla="*/ 85793 h 4996841"/>
                <a:gd name="connsiteX2198" fmla="*/ 1182498 w 3214184"/>
                <a:gd name="connsiteY2198" fmla="*/ 84008 h 4996841"/>
                <a:gd name="connsiteX2199" fmla="*/ 1182619 w 3214184"/>
                <a:gd name="connsiteY2199" fmla="*/ 81921 h 4996841"/>
                <a:gd name="connsiteX2200" fmla="*/ 1182862 w 3214184"/>
                <a:gd name="connsiteY2200" fmla="*/ 80227 h 4996841"/>
                <a:gd name="connsiteX2201" fmla="*/ 1183618 w 3214184"/>
                <a:gd name="connsiteY2201" fmla="*/ 79501 h 4996841"/>
                <a:gd name="connsiteX2202" fmla="*/ 1184616 w 3214184"/>
                <a:gd name="connsiteY2202" fmla="*/ 79017 h 4996841"/>
                <a:gd name="connsiteX2203" fmla="*/ 1185523 w 3214184"/>
                <a:gd name="connsiteY2203" fmla="*/ 77655 h 4996841"/>
                <a:gd name="connsiteX2204" fmla="*/ 1186249 w 3214184"/>
                <a:gd name="connsiteY2204" fmla="*/ 75871 h 4996841"/>
                <a:gd name="connsiteX2205" fmla="*/ 1186704 w 3214184"/>
                <a:gd name="connsiteY2205" fmla="*/ 74056 h 4996841"/>
                <a:gd name="connsiteX2206" fmla="*/ 1186975 w 3214184"/>
                <a:gd name="connsiteY2206" fmla="*/ 68368 h 4996841"/>
                <a:gd name="connsiteX2207" fmla="*/ 1185614 w 3214184"/>
                <a:gd name="connsiteY2207" fmla="*/ 66281 h 4996841"/>
                <a:gd name="connsiteX2208" fmla="*/ 1183345 w 3214184"/>
                <a:gd name="connsiteY2208" fmla="*/ 65525 h 4996841"/>
                <a:gd name="connsiteX2209" fmla="*/ 1181167 w 3214184"/>
                <a:gd name="connsiteY2209" fmla="*/ 63921 h 4996841"/>
                <a:gd name="connsiteX2210" fmla="*/ 1176811 w 3214184"/>
                <a:gd name="connsiteY2210" fmla="*/ 58567 h 4996841"/>
                <a:gd name="connsiteX2211" fmla="*/ 1174331 w 3214184"/>
                <a:gd name="connsiteY2211" fmla="*/ 56449 h 4996841"/>
                <a:gd name="connsiteX2212" fmla="*/ 1172153 w 3214184"/>
                <a:gd name="connsiteY2212" fmla="*/ 55602 h 4996841"/>
                <a:gd name="connsiteX2213" fmla="*/ 1170912 w 3214184"/>
                <a:gd name="connsiteY2213" fmla="*/ 55935 h 4996841"/>
                <a:gd name="connsiteX2214" fmla="*/ 1168583 w 3214184"/>
                <a:gd name="connsiteY2214" fmla="*/ 57296 h 4996841"/>
                <a:gd name="connsiteX2215" fmla="*/ 1167373 w 3214184"/>
                <a:gd name="connsiteY2215" fmla="*/ 57599 h 4996841"/>
                <a:gd name="connsiteX2216" fmla="*/ 1165890 w 3214184"/>
                <a:gd name="connsiteY2216" fmla="*/ 57145 h 4996841"/>
                <a:gd name="connsiteX2217" fmla="*/ 1162472 w 3214184"/>
                <a:gd name="connsiteY2217" fmla="*/ 53757 h 4996841"/>
                <a:gd name="connsiteX2218" fmla="*/ 1159205 w 3214184"/>
                <a:gd name="connsiteY2218" fmla="*/ 52305 h 4996841"/>
                <a:gd name="connsiteX2219" fmla="*/ 1149040 w 3214184"/>
                <a:gd name="connsiteY2219" fmla="*/ 51942 h 4996841"/>
                <a:gd name="connsiteX2220" fmla="*/ 1129831 w 3214184"/>
                <a:gd name="connsiteY2220" fmla="*/ 44258 h 4996841"/>
                <a:gd name="connsiteX2221" fmla="*/ 1130133 w 3214184"/>
                <a:gd name="connsiteY2221" fmla="*/ 54876 h 4996841"/>
                <a:gd name="connsiteX2222" fmla="*/ 1132523 w 3214184"/>
                <a:gd name="connsiteY2222" fmla="*/ 59474 h 4996841"/>
                <a:gd name="connsiteX2223" fmla="*/ 1133461 w 3214184"/>
                <a:gd name="connsiteY2223" fmla="*/ 62530 h 4996841"/>
                <a:gd name="connsiteX2224" fmla="*/ 1133975 w 3214184"/>
                <a:gd name="connsiteY2224" fmla="*/ 67188 h 4996841"/>
                <a:gd name="connsiteX2225" fmla="*/ 1133854 w 3214184"/>
                <a:gd name="connsiteY2225" fmla="*/ 69760 h 4996841"/>
                <a:gd name="connsiteX2226" fmla="*/ 1134126 w 3214184"/>
                <a:gd name="connsiteY2226" fmla="*/ 71908 h 4996841"/>
                <a:gd name="connsiteX2227" fmla="*/ 1135851 w 3214184"/>
                <a:gd name="connsiteY2227" fmla="*/ 75477 h 4996841"/>
                <a:gd name="connsiteX2228" fmla="*/ 1138513 w 3214184"/>
                <a:gd name="connsiteY2228" fmla="*/ 79985 h 4996841"/>
                <a:gd name="connsiteX2229" fmla="*/ 1138815 w 3214184"/>
                <a:gd name="connsiteY2229" fmla="*/ 100526 h 4996841"/>
                <a:gd name="connsiteX2230" fmla="*/ 1138452 w 3214184"/>
                <a:gd name="connsiteY2230" fmla="*/ 104882 h 4996841"/>
                <a:gd name="connsiteX2231" fmla="*/ 1135548 w 3214184"/>
                <a:gd name="connsiteY2231" fmla="*/ 113927 h 4996841"/>
                <a:gd name="connsiteX2232" fmla="*/ 1131010 w 3214184"/>
                <a:gd name="connsiteY2232" fmla="*/ 118404 h 4996841"/>
                <a:gd name="connsiteX2233" fmla="*/ 1121179 w 3214184"/>
                <a:gd name="connsiteY2233" fmla="*/ 119947 h 4996841"/>
                <a:gd name="connsiteX2234" fmla="*/ 1096675 w 3214184"/>
                <a:gd name="connsiteY2234" fmla="*/ 116044 h 4996841"/>
                <a:gd name="connsiteX2235" fmla="*/ 1093529 w 3214184"/>
                <a:gd name="connsiteY2235" fmla="*/ 113957 h 4996841"/>
                <a:gd name="connsiteX2236" fmla="*/ 1074743 w 3214184"/>
                <a:gd name="connsiteY2236" fmla="*/ 93779 h 4996841"/>
                <a:gd name="connsiteX2237" fmla="*/ 1068360 w 3214184"/>
                <a:gd name="connsiteY2237" fmla="*/ 89242 h 4996841"/>
                <a:gd name="connsiteX2238" fmla="*/ 1063883 w 3214184"/>
                <a:gd name="connsiteY2238" fmla="*/ 88183 h 4996841"/>
                <a:gd name="connsiteX2239" fmla="*/ 1059345 w 3214184"/>
                <a:gd name="connsiteY2239" fmla="*/ 88546 h 4996841"/>
                <a:gd name="connsiteX2240" fmla="*/ 1057106 w 3214184"/>
                <a:gd name="connsiteY2240" fmla="*/ 89998 h 4996841"/>
                <a:gd name="connsiteX2241" fmla="*/ 1057893 w 3214184"/>
                <a:gd name="connsiteY2241" fmla="*/ 92146 h 4996841"/>
                <a:gd name="connsiteX2242" fmla="*/ 1060071 w 3214184"/>
                <a:gd name="connsiteY2242" fmla="*/ 94233 h 4996841"/>
                <a:gd name="connsiteX2243" fmla="*/ 1066121 w 3214184"/>
                <a:gd name="connsiteY2243" fmla="*/ 96835 h 4996841"/>
                <a:gd name="connsiteX2244" fmla="*/ 1067271 w 3214184"/>
                <a:gd name="connsiteY2244" fmla="*/ 99073 h 4996841"/>
                <a:gd name="connsiteX2245" fmla="*/ 1068148 w 3214184"/>
                <a:gd name="connsiteY2245" fmla="*/ 103914 h 4996841"/>
                <a:gd name="connsiteX2246" fmla="*/ 1068420 w 3214184"/>
                <a:gd name="connsiteY2246" fmla="*/ 110206 h 4996841"/>
                <a:gd name="connsiteX2247" fmla="*/ 1067725 w 3214184"/>
                <a:gd name="connsiteY2247" fmla="*/ 114834 h 4996841"/>
                <a:gd name="connsiteX2248" fmla="*/ 1066333 w 3214184"/>
                <a:gd name="connsiteY2248" fmla="*/ 118162 h 4996841"/>
                <a:gd name="connsiteX2249" fmla="*/ 1064487 w 3214184"/>
                <a:gd name="connsiteY2249" fmla="*/ 120552 h 4996841"/>
                <a:gd name="connsiteX2250" fmla="*/ 1061644 w 3214184"/>
                <a:gd name="connsiteY2250" fmla="*/ 122518 h 4996841"/>
                <a:gd name="connsiteX2251" fmla="*/ 1060706 w 3214184"/>
                <a:gd name="connsiteY2251" fmla="*/ 124031 h 4996841"/>
                <a:gd name="connsiteX2252" fmla="*/ 1059708 w 3214184"/>
                <a:gd name="connsiteY2252" fmla="*/ 127994 h 4996841"/>
                <a:gd name="connsiteX2253" fmla="*/ 1059345 w 3214184"/>
                <a:gd name="connsiteY2253" fmla="*/ 131745 h 4996841"/>
                <a:gd name="connsiteX2254" fmla="*/ 1059345 w 3214184"/>
                <a:gd name="connsiteY2254" fmla="*/ 135012 h 4996841"/>
                <a:gd name="connsiteX2255" fmla="*/ 1058921 w 3214184"/>
                <a:gd name="connsiteY2255" fmla="*/ 138037 h 4996841"/>
                <a:gd name="connsiteX2256" fmla="*/ 1057530 w 3214184"/>
                <a:gd name="connsiteY2256" fmla="*/ 140941 h 4996841"/>
                <a:gd name="connsiteX2257" fmla="*/ 1045308 w 3214184"/>
                <a:gd name="connsiteY2257" fmla="*/ 153405 h 4996841"/>
                <a:gd name="connsiteX2258" fmla="*/ 1041799 w 3214184"/>
                <a:gd name="connsiteY2258" fmla="*/ 158941 h 4996841"/>
                <a:gd name="connsiteX2259" fmla="*/ 1039893 w 3214184"/>
                <a:gd name="connsiteY2259" fmla="*/ 161028 h 4996841"/>
                <a:gd name="connsiteX2260" fmla="*/ 1035113 w 3214184"/>
                <a:gd name="connsiteY2260" fmla="*/ 162964 h 4996841"/>
                <a:gd name="connsiteX2261" fmla="*/ 1020079 w 3214184"/>
                <a:gd name="connsiteY2261" fmla="*/ 163237 h 4996841"/>
                <a:gd name="connsiteX2262" fmla="*/ 1017779 w 3214184"/>
                <a:gd name="connsiteY2262" fmla="*/ 164719 h 4996841"/>
                <a:gd name="connsiteX2263" fmla="*/ 1011064 w 3214184"/>
                <a:gd name="connsiteY2263" fmla="*/ 171677 h 4996841"/>
                <a:gd name="connsiteX2264" fmla="*/ 1005255 w 3214184"/>
                <a:gd name="connsiteY2264" fmla="*/ 174248 h 4996841"/>
                <a:gd name="connsiteX2265" fmla="*/ 988163 w 3214184"/>
                <a:gd name="connsiteY2265" fmla="*/ 175126 h 4996841"/>
                <a:gd name="connsiteX2266" fmla="*/ 982355 w 3214184"/>
                <a:gd name="connsiteY2266" fmla="*/ 177788 h 4996841"/>
                <a:gd name="connsiteX2267" fmla="*/ 978120 w 3214184"/>
                <a:gd name="connsiteY2267" fmla="*/ 184140 h 4996841"/>
                <a:gd name="connsiteX2268" fmla="*/ 977303 w 3214184"/>
                <a:gd name="connsiteY2268" fmla="*/ 188013 h 4996841"/>
                <a:gd name="connsiteX2269" fmla="*/ 976214 w 3214184"/>
                <a:gd name="connsiteY2269" fmla="*/ 195243 h 4996841"/>
                <a:gd name="connsiteX2270" fmla="*/ 975397 w 3214184"/>
                <a:gd name="connsiteY2270" fmla="*/ 197481 h 4996841"/>
                <a:gd name="connsiteX2271" fmla="*/ 975186 w 3214184"/>
                <a:gd name="connsiteY2271" fmla="*/ 199599 h 4996841"/>
                <a:gd name="connsiteX2272" fmla="*/ 975186 w 3214184"/>
                <a:gd name="connsiteY2272" fmla="*/ 201807 h 4996841"/>
                <a:gd name="connsiteX2273" fmla="*/ 974852 w 3214184"/>
                <a:gd name="connsiteY2273" fmla="*/ 204106 h 4996841"/>
                <a:gd name="connsiteX2274" fmla="*/ 974066 w 3214184"/>
                <a:gd name="connsiteY2274" fmla="*/ 206496 h 4996841"/>
                <a:gd name="connsiteX2275" fmla="*/ 972251 w 3214184"/>
                <a:gd name="connsiteY2275" fmla="*/ 210641 h 4996841"/>
                <a:gd name="connsiteX2276" fmla="*/ 971464 w 3214184"/>
                <a:gd name="connsiteY2276" fmla="*/ 213031 h 4996841"/>
                <a:gd name="connsiteX2277" fmla="*/ 969680 w 3214184"/>
                <a:gd name="connsiteY2277" fmla="*/ 222378 h 4996841"/>
                <a:gd name="connsiteX2278" fmla="*/ 968621 w 3214184"/>
                <a:gd name="connsiteY2278" fmla="*/ 226432 h 4996841"/>
                <a:gd name="connsiteX2279" fmla="*/ 966654 w 3214184"/>
                <a:gd name="connsiteY2279" fmla="*/ 230758 h 4996841"/>
                <a:gd name="connsiteX2280" fmla="*/ 961845 w 3214184"/>
                <a:gd name="connsiteY2280" fmla="*/ 238291 h 4996841"/>
                <a:gd name="connsiteX2281" fmla="*/ 956520 w 3214184"/>
                <a:gd name="connsiteY2281" fmla="*/ 244129 h 4996841"/>
                <a:gd name="connsiteX2282" fmla="*/ 950924 w 3214184"/>
                <a:gd name="connsiteY2282" fmla="*/ 247275 h 4996841"/>
                <a:gd name="connsiteX2283" fmla="*/ 945237 w 3214184"/>
                <a:gd name="connsiteY2283" fmla="*/ 246700 h 4996841"/>
                <a:gd name="connsiteX2284" fmla="*/ 941788 w 3214184"/>
                <a:gd name="connsiteY2284" fmla="*/ 247396 h 4996841"/>
                <a:gd name="connsiteX2285" fmla="*/ 939821 w 3214184"/>
                <a:gd name="connsiteY2285" fmla="*/ 249211 h 4996841"/>
                <a:gd name="connsiteX2286" fmla="*/ 927691 w 3214184"/>
                <a:gd name="connsiteY2286" fmla="*/ 260223 h 4996841"/>
                <a:gd name="connsiteX2287" fmla="*/ 915590 w 3214184"/>
                <a:gd name="connsiteY2287" fmla="*/ 264458 h 4996841"/>
                <a:gd name="connsiteX2288" fmla="*/ 889725 w 3214184"/>
                <a:gd name="connsiteY2288" fmla="*/ 281974 h 4996841"/>
                <a:gd name="connsiteX2289" fmla="*/ 885066 w 3214184"/>
                <a:gd name="connsiteY2289" fmla="*/ 282337 h 4996841"/>
                <a:gd name="connsiteX2290" fmla="*/ 885369 w 3214184"/>
                <a:gd name="connsiteY2290" fmla="*/ 287116 h 4996841"/>
                <a:gd name="connsiteX2291" fmla="*/ 886760 w 3214184"/>
                <a:gd name="connsiteY2291" fmla="*/ 289536 h 4996841"/>
                <a:gd name="connsiteX2292" fmla="*/ 888545 w 3214184"/>
                <a:gd name="connsiteY2292" fmla="*/ 290747 h 4996841"/>
                <a:gd name="connsiteX2293" fmla="*/ 908783 w 3214184"/>
                <a:gd name="connsiteY2293" fmla="*/ 289264 h 4996841"/>
                <a:gd name="connsiteX2294" fmla="*/ 917103 w 3214184"/>
                <a:gd name="connsiteY2294" fmla="*/ 290958 h 4996841"/>
                <a:gd name="connsiteX2295" fmla="*/ 924484 w 3214184"/>
                <a:gd name="connsiteY2295" fmla="*/ 298521 h 4996841"/>
                <a:gd name="connsiteX2296" fmla="*/ 919008 w 3214184"/>
                <a:gd name="connsiteY2296" fmla="*/ 317761 h 4996841"/>
                <a:gd name="connsiteX2297" fmla="*/ 915923 w 3214184"/>
                <a:gd name="connsiteY2297" fmla="*/ 325989 h 4996841"/>
                <a:gd name="connsiteX2298" fmla="*/ 890119 w 3214184"/>
                <a:gd name="connsiteY2298" fmla="*/ 373121 h 4996841"/>
                <a:gd name="connsiteX2299" fmla="*/ 888878 w 3214184"/>
                <a:gd name="connsiteY2299" fmla="*/ 376358 h 4996841"/>
                <a:gd name="connsiteX2300" fmla="*/ 888878 w 3214184"/>
                <a:gd name="connsiteY2300" fmla="*/ 380109 h 4996841"/>
                <a:gd name="connsiteX2301" fmla="*/ 890239 w 3214184"/>
                <a:gd name="connsiteY2301" fmla="*/ 386129 h 4996841"/>
                <a:gd name="connsiteX2302" fmla="*/ 892206 w 3214184"/>
                <a:gd name="connsiteY2302" fmla="*/ 393299 h 4996841"/>
                <a:gd name="connsiteX2303" fmla="*/ 910598 w 3214184"/>
                <a:gd name="connsiteY2303" fmla="*/ 458128 h 4996841"/>
                <a:gd name="connsiteX2304" fmla="*/ 913261 w 3214184"/>
                <a:gd name="connsiteY2304" fmla="*/ 463331 h 4996841"/>
                <a:gd name="connsiteX2305" fmla="*/ 916981 w 3214184"/>
                <a:gd name="connsiteY2305" fmla="*/ 465933 h 4996841"/>
                <a:gd name="connsiteX2306" fmla="*/ 945751 w 3214184"/>
                <a:gd name="connsiteY2306" fmla="*/ 477216 h 4996841"/>
                <a:gd name="connsiteX2307" fmla="*/ 974489 w 3214184"/>
                <a:gd name="connsiteY2307" fmla="*/ 488500 h 4996841"/>
                <a:gd name="connsiteX2308" fmla="*/ 977757 w 3214184"/>
                <a:gd name="connsiteY2308" fmla="*/ 490739 h 4996841"/>
                <a:gd name="connsiteX2309" fmla="*/ 980691 w 3214184"/>
                <a:gd name="connsiteY2309" fmla="*/ 494702 h 4996841"/>
                <a:gd name="connsiteX2310" fmla="*/ 989010 w 3214184"/>
                <a:gd name="connsiteY2310" fmla="*/ 510916 h 4996841"/>
                <a:gd name="connsiteX2311" fmla="*/ 992883 w 3214184"/>
                <a:gd name="connsiteY2311" fmla="*/ 518479 h 4996841"/>
                <a:gd name="connsiteX2312" fmla="*/ 1010005 w 3214184"/>
                <a:gd name="connsiteY2312" fmla="*/ 552119 h 4996841"/>
                <a:gd name="connsiteX2313" fmla="*/ 1016297 w 3214184"/>
                <a:gd name="connsiteY2313" fmla="*/ 559742 h 4996841"/>
                <a:gd name="connsiteX2314" fmla="*/ 1046064 w 3214184"/>
                <a:gd name="connsiteY2314" fmla="*/ 585759 h 4996841"/>
                <a:gd name="connsiteX2315" fmla="*/ 1043886 w 3214184"/>
                <a:gd name="connsiteY2315" fmla="*/ 589026 h 4996841"/>
                <a:gd name="connsiteX2316" fmla="*/ 1042858 w 3214184"/>
                <a:gd name="connsiteY2316" fmla="*/ 591537 h 4996841"/>
                <a:gd name="connsiteX2317" fmla="*/ 1042434 w 3214184"/>
                <a:gd name="connsiteY2317" fmla="*/ 594683 h 4996841"/>
                <a:gd name="connsiteX2318" fmla="*/ 1041527 w 3214184"/>
                <a:gd name="connsiteY2318" fmla="*/ 610413 h 4996841"/>
                <a:gd name="connsiteX2319" fmla="*/ 1041073 w 3214184"/>
                <a:gd name="connsiteY2319" fmla="*/ 613560 h 4996841"/>
                <a:gd name="connsiteX2320" fmla="*/ 1038411 w 3214184"/>
                <a:gd name="connsiteY2320" fmla="*/ 624541 h 4996841"/>
                <a:gd name="connsiteX2321" fmla="*/ 1036687 w 3214184"/>
                <a:gd name="connsiteY2321" fmla="*/ 628927 h 4996841"/>
                <a:gd name="connsiteX2322" fmla="*/ 996785 w 3214184"/>
                <a:gd name="connsiteY2322" fmla="*/ 679508 h 4996841"/>
                <a:gd name="connsiteX2323" fmla="*/ 995635 w 3214184"/>
                <a:gd name="connsiteY2323" fmla="*/ 681898 h 4996841"/>
                <a:gd name="connsiteX2324" fmla="*/ 994486 w 3214184"/>
                <a:gd name="connsiteY2324" fmla="*/ 686163 h 4996841"/>
                <a:gd name="connsiteX2325" fmla="*/ 993850 w 3214184"/>
                <a:gd name="connsiteY2325" fmla="*/ 687918 h 4996841"/>
                <a:gd name="connsiteX2326" fmla="*/ 992852 w 3214184"/>
                <a:gd name="connsiteY2326" fmla="*/ 689400 h 4996841"/>
                <a:gd name="connsiteX2327" fmla="*/ 987649 w 3214184"/>
                <a:gd name="connsiteY2327" fmla="*/ 695148 h 4996841"/>
                <a:gd name="connsiteX2328" fmla="*/ 954524 w 3214184"/>
                <a:gd name="connsiteY2328" fmla="*/ 752565 h 4996841"/>
                <a:gd name="connsiteX2329" fmla="*/ 954493 w 3214184"/>
                <a:gd name="connsiteY2329" fmla="*/ 752565 h 4996841"/>
                <a:gd name="connsiteX2330" fmla="*/ 949623 w 3214184"/>
                <a:gd name="connsiteY2330" fmla="*/ 772289 h 4996841"/>
                <a:gd name="connsiteX2331" fmla="*/ 953404 w 3214184"/>
                <a:gd name="connsiteY2331" fmla="*/ 788836 h 4996841"/>
                <a:gd name="connsiteX2332" fmla="*/ 976879 w 3214184"/>
                <a:gd name="connsiteY2332" fmla="*/ 825743 h 4996841"/>
                <a:gd name="connsiteX2333" fmla="*/ 980903 w 3214184"/>
                <a:gd name="connsiteY2333" fmla="*/ 838237 h 4996841"/>
                <a:gd name="connsiteX2334" fmla="*/ 981084 w 3214184"/>
                <a:gd name="connsiteY2334" fmla="*/ 838691 h 4996841"/>
                <a:gd name="connsiteX2335" fmla="*/ 983928 w 3214184"/>
                <a:gd name="connsiteY2335" fmla="*/ 843198 h 4996841"/>
                <a:gd name="connsiteX2336" fmla="*/ 984261 w 3214184"/>
                <a:gd name="connsiteY2336" fmla="*/ 845255 h 4996841"/>
                <a:gd name="connsiteX2337" fmla="*/ 984351 w 3214184"/>
                <a:gd name="connsiteY2337" fmla="*/ 847554 h 4996841"/>
                <a:gd name="connsiteX2338" fmla="*/ 984836 w 3214184"/>
                <a:gd name="connsiteY2338" fmla="*/ 849975 h 4996841"/>
                <a:gd name="connsiteX2339" fmla="*/ 985652 w 3214184"/>
                <a:gd name="connsiteY2339" fmla="*/ 851759 h 4996841"/>
                <a:gd name="connsiteX2340" fmla="*/ 997208 w 3214184"/>
                <a:gd name="connsiteY2340" fmla="*/ 869729 h 4996841"/>
                <a:gd name="connsiteX2341" fmla="*/ 998207 w 3214184"/>
                <a:gd name="connsiteY2341" fmla="*/ 873692 h 4996841"/>
                <a:gd name="connsiteX2342" fmla="*/ 999387 w 3214184"/>
                <a:gd name="connsiteY2342" fmla="*/ 883433 h 4996841"/>
                <a:gd name="connsiteX2343" fmla="*/ 999961 w 3214184"/>
                <a:gd name="connsiteY2343" fmla="*/ 887849 h 4996841"/>
                <a:gd name="connsiteX2344" fmla="*/ 1001776 w 3214184"/>
                <a:gd name="connsiteY2344" fmla="*/ 895836 h 4996841"/>
                <a:gd name="connsiteX2345" fmla="*/ 1004136 w 3214184"/>
                <a:gd name="connsiteY2345" fmla="*/ 903308 h 4996841"/>
                <a:gd name="connsiteX2346" fmla="*/ 1009944 w 3214184"/>
                <a:gd name="connsiteY2346" fmla="*/ 916679 h 4996841"/>
                <a:gd name="connsiteX2347" fmla="*/ 1024193 w 3214184"/>
                <a:gd name="connsiteY2347" fmla="*/ 941213 h 4996841"/>
                <a:gd name="connsiteX2348" fmla="*/ 1032542 w 3214184"/>
                <a:gd name="connsiteY2348" fmla="*/ 952043 h 4996841"/>
                <a:gd name="connsiteX2349" fmla="*/ 1035053 w 3214184"/>
                <a:gd name="connsiteY2349" fmla="*/ 957881 h 4996841"/>
                <a:gd name="connsiteX2350" fmla="*/ 1037110 w 3214184"/>
                <a:gd name="connsiteY2350" fmla="*/ 966866 h 4996841"/>
                <a:gd name="connsiteX2351" fmla="*/ 1039954 w 3214184"/>
                <a:gd name="connsiteY2351" fmla="*/ 984472 h 4996841"/>
                <a:gd name="connsiteX2352" fmla="*/ 1040892 w 3214184"/>
                <a:gd name="connsiteY2352" fmla="*/ 988466 h 4996841"/>
                <a:gd name="connsiteX2353" fmla="*/ 1044885 w 3214184"/>
                <a:gd name="connsiteY2353" fmla="*/ 998055 h 4996841"/>
                <a:gd name="connsiteX2354" fmla="*/ 1046064 w 3214184"/>
                <a:gd name="connsiteY2354" fmla="*/ 1001655 h 4996841"/>
                <a:gd name="connsiteX2355" fmla="*/ 1049029 w 3214184"/>
                <a:gd name="connsiteY2355" fmla="*/ 1013060 h 4996841"/>
                <a:gd name="connsiteX2356" fmla="*/ 1052659 w 3214184"/>
                <a:gd name="connsiteY2356" fmla="*/ 1022680 h 4996841"/>
                <a:gd name="connsiteX2357" fmla="*/ 1053476 w 3214184"/>
                <a:gd name="connsiteY2357" fmla="*/ 1026764 h 4996841"/>
                <a:gd name="connsiteX2358" fmla="*/ 1056320 w 3214184"/>
                <a:gd name="connsiteY2358" fmla="*/ 1047637 h 4996841"/>
                <a:gd name="connsiteX2359" fmla="*/ 1056774 w 3214184"/>
                <a:gd name="connsiteY2359" fmla="*/ 1053204 h 4996841"/>
                <a:gd name="connsiteX2360" fmla="*/ 1056531 w 3214184"/>
                <a:gd name="connsiteY2360" fmla="*/ 1058104 h 4996841"/>
                <a:gd name="connsiteX2361" fmla="*/ 1054959 w 3214184"/>
                <a:gd name="connsiteY2361" fmla="*/ 1060162 h 4996841"/>
                <a:gd name="connsiteX2362" fmla="*/ 1051570 w 3214184"/>
                <a:gd name="connsiteY2362" fmla="*/ 1058982 h 4996841"/>
                <a:gd name="connsiteX2363" fmla="*/ 1045369 w 3214184"/>
                <a:gd name="connsiteY2363" fmla="*/ 1055261 h 4996841"/>
                <a:gd name="connsiteX2364" fmla="*/ 1021319 w 3214184"/>
                <a:gd name="connsiteY2364" fmla="*/ 1062007 h 4996841"/>
                <a:gd name="connsiteX2365" fmla="*/ 1015148 w 3214184"/>
                <a:gd name="connsiteY2365" fmla="*/ 1066212 h 4996841"/>
                <a:gd name="connsiteX2366" fmla="*/ 1018112 w 3214184"/>
                <a:gd name="connsiteY2366" fmla="*/ 1070840 h 4996841"/>
                <a:gd name="connsiteX2367" fmla="*/ 1025614 w 3214184"/>
                <a:gd name="connsiteY2367" fmla="*/ 1076195 h 4996841"/>
                <a:gd name="connsiteX2368" fmla="*/ 1028821 w 3214184"/>
                <a:gd name="connsiteY2368" fmla="*/ 1080672 h 4996841"/>
                <a:gd name="connsiteX2369" fmla="*/ 1027551 w 3214184"/>
                <a:gd name="connsiteY2369" fmla="*/ 1083546 h 4996841"/>
                <a:gd name="connsiteX2370" fmla="*/ 1019443 w 3214184"/>
                <a:gd name="connsiteY2370" fmla="*/ 1092591 h 4996841"/>
                <a:gd name="connsiteX2371" fmla="*/ 1018082 w 3214184"/>
                <a:gd name="connsiteY2371" fmla="*/ 1095858 h 4996841"/>
                <a:gd name="connsiteX2372" fmla="*/ 1017538 w 3214184"/>
                <a:gd name="connsiteY2372" fmla="*/ 1097068 h 4996841"/>
                <a:gd name="connsiteX2373" fmla="*/ 1017538 w 3214184"/>
                <a:gd name="connsiteY2373" fmla="*/ 1097068 h 4996841"/>
                <a:gd name="connsiteX2374" fmla="*/ 1016721 w 3214184"/>
                <a:gd name="connsiteY2374" fmla="*/ 1105357 h 4996841"/>
                <a:gd name="connsiteX2375" fmla="*/ 1017961 w 3214184"/>
                <a:gd name="connsiteY2375" fmla="*/ 1125081 h 4996841"/>
                <a:gd name="connsiteX2376" fmla="*/ 1016872 w 3214184"/>
                <a:gd name="connsiteY2376" fmla="*/ 1133158 h 4996841"/>
                <a:gd name="connsiteX2377" fmla="*/ 1006344 w 3214184"/>
                <a:gd name="connsiteY2377" fmla="*/ 1146348 h 4996841"/>
                <a:gd name="connsiteX2378" fmla="*/ 1002805 w 3214184"/>
                <a:gd name="connsiteY2378" fmla="*/ 1153880 h 4996841"/>
                <a:gd name="connsiteX2379" fmla="*/ 1007494 w 3214184"/>
                <a:gd name="connsiteY2379" fmla="*/ 1158327 h 4996841"/>
                <a:gd name="connsiteX2380" fmla="*/ 1021621 w 3214184"/>
                <a:gd name="connsiteY2380" fmla="*/ 1157874 h 4996841"/>
                <a:gd name="connsiteX2381" fmla="*/ 1028277 w 3214184"/>
                <a:gd name="connsiteY2381" fmla="*/ 1160596 h 4996841"/>
                <a:gd name="connsiteX2382" fmla="*/ 1028882 w 3214184"/>
                <a:gd name="connsiteY2382" fmla="*/ 1169006 h 4996841"/>
                <a:gd name="connsiteX2383" fmla="*/ 1027883 w 3214184"/>
                <a:gd name="connsiteY2383" fmla="*/ 1170821 h 4996841"/>
                <a:gd name="connsiteX2384" fmla="*/ 1026734 w 3214184"/>
                <a:gd name="connsiteY2384" fmla="*/ 1172213 h 4996841"/>
                <a:gd name="connsiteX2385" fmla="*/ 1025826 w 3214184"/>
                <a:gd name="connsiteY2385" fmla="*/ 1173725 h 4996841"/>
                <a:gd name="connsiteX2386" fmla="*/ 1025736 w 3214184"/>
                <a:gd name="connsiteY2386" fmla="*/ 1175934 h 4996841"/>
                <a:gd name="connsiteX2387" fmla="*/ 1026976 w 3214184"/>
                <a:gd name="connsiteY2387" fmla="*/ 1177870 h 4996841"/>
                <a:gd name="connsiteX2388" fmla="*/ 1028761 w 3214184"/>
                <a:gd name="connsiteY2388" fmla="*/ 1178233 h 4996841"/>
                <a:gd name="connsiteX2389" fmla="*/ 1029941 w 3214184"/>
                <a:gd name="connsiteY2389" fmla="*/ 1178959 h 4996841"/>
                <a:gd name="connsiteX2390" fmla="*/ 1029487 w 3214184"/>
                <a:gd name="connsiteY2390" fmla="*/ 1181924 h 4996841"/>
                <a:gd name="connsiteX2391" fmla="*/ 1026976 w 3214184"/>
                <a:gd name="connsiteY2391" fmla="*/ 1185100 h 4996841"/>
                <a:gd name="connsiteX2392" fmla="*/ 1011608 w 3214184"/>
                <a:gd name="connsiteY2392" fmla="*/ 1188549 h 4996841"/>
                <a:gd name="connsiteX2393" fmla="*/ 1007524 w 3214184"/>
                <a:gd name="connsiteY2393" fmla="*/ 1191997 h 4996841"/>
                <a:gd name="connsiteX2394" fmla="*/ 1004590 w 3214184"/>
                <a:gd name="connsiteY2394" fmla="*/ 1198108 h 4996841"/>
                <a:gd name="connsiteX2395" fmla="*/ 1003561 w 3214184"/>
                <a:gd name="connsiteY2395" fmla="*/ 1207516 h 4996841"/>
                <a:gd name="connsiteX2396" fmla="*/ 1008129 w 3214184"/>
                <a:gd name="connsiteY2396" fmla="*/ 1225939 h 4996841"/>
                <a:gd name="connsiteX2397" fmla="*/ 1014633 w 3214184"/>
                <a:gd name="connsiteY2397" fmla="*/ 1240793 h 4996841"/>
                <a:gd name="connsiteX2398" fmla="*/ 1022861 w 3214184"/>
                <a:gd name="connsiteY2398" fmla="*/ 1250231 h 4996841"/>
                <a:gd name="connsiteX2399" fmla="*/ 1032693 w 3214184"/>
                <a:gd name="connsiteY2399" fmla="*/ 1252591 h 4996841"/>
                <a:gd name="connsiteX2400" fmla="*/ 1051298 w 3214184"/>
                <a:gd name="connsiteY2400" fmla="*/ 1252742 h 4996841"/>
                <a:gd name="connsiteX2401" fmla="*/ 1055231 w 3214184"/>
                <a:gd name="connsiteY2401" fmla="*/ 1254648 h 4996841"/>
                <a:gd name="connsiteX2402" fmla="*/ 1056925 w 3214184"/>
                <a:gd name="connsiteY2402" fmla="*/ 1256282 h 4996841"/>
                <a:gd name="connsiteX2403" fmla="*/ 1057076 w 3214184"/>
                <a:gd name="connsiteY2403" fmla="*/ 1257643 h 4996841"/>
                <a:gd name="connsiteX2404" fmla="*/ 1056531 w 3214184"/>
                <a:gd name="connsiteY2404" fmla="*/ 1259246 h 4996841"/>
                <a:gd name="connsiteX2405" fmla="*/ 1056108 w 3214184"/>
                <a:gd name="connsiteY2405" fmla="*/ 1261364 h 4996841"/>
                <a:gd name="connsiteX2406" fmla="*/ 1055896 w 3214184"/>
                <a:gd name="connsiteY2406" fmla="*/ 1264117 h 4996841"/>
                <a:gd name="connsiteX2407" fmla="*/ 1055685 w 3214184"/>
                <a:gd name="connsiteY2407" fmla="*/ 1265448 h 4996841"/>
                <a:gd name="connsiteX2408" fmla="*/ 1055926 w 3214184"/>
                <a:gd name="connsiteY2408" fmla="*/ 1266658 h 4996841"/>
                <a:gd name="connsiteX2409" fmla="*/ 1057076 w 3214184"/>
                <a:gd name="connsiteY2409" fmla="*/ 1269078 h 4996841"/>
                <a:gd name="connsiteX2410" fmla="*/ 1058135 w 3214184"/>
                <a:gd name="connsiteY2410" fmla="*/ 1270712 h 4996841"/>
                <a:gd name="connsiteX2411" fmla="*/ 1062098 w 3214184"/>
                <a:gd name="connsiteY2411" fmla="*/ 1274947 h 4996841"/>
                <a:gd name="connsiteX2412" fmla="*/ 1063822 w 3214184"/>
                <a:gd name="connsiteY2412" fmla="*/ 1279121 h 4996841"/>
                <a:gd name="connsiteX2413" fmla="*/ 1063126 w 3214184"/>
                <a:gd name="connsiteY2413" fmla="*/ 1283357 h 4996841"/>
                <a:gd name="connsiteX2414" fmla="*/ 1061069 w 3214184"/>
                <a:gd name="connsiteY2414" fmla="*/ 1286957 h 4996841"/>
                <a:gd name="connsiteX2415" fmla="*/ 1058649 w 3214184"/>
                <a:gd name="connsiteY2415" fmla="*/ 1289256 h 4996841"/>
                <a:gd name="connsiteX2416" fmla="*/ 1041496 w 3214184"/>
                <a:gd name="connsiteY2416" fmla="*/ 1297182 h 4996841"/>
                <a:gd name="connsiteX2417" fmla="*/ 1040801 w 3214184"/>
                <a:gd name="connsiteY2417" fmla="*/ 1298029 h 4996841"/>
                <a:gd name="connsiteX2418" fmla="*/ 1040377 w 3214184"/>
                <a:gd name="connsiteY2418" fmla="*/ 1299269 h 4996841"/>
                <a:gd name="connsiteX2419" fmla="*/ 1040801 w 3214184"/>
                <a:gd name="connsiteY2419" fmla="*/ 1299904 h 4996841"/>
                <a:gd name="connsiteX2420" fmla="*/ 1041406 w 3214184"/>
                <a:gd name="connsiteY2420" fmla="*/ 1300237 h 4996841"/>
                <a:gd name="connsiteX2421" fmla="*/ 1041769 w 3214184"/>
                <a:gd name="connsiteY2421" fmla="*/ 1300570 h 4996841"/>
                <a:gd name="connsiteX2422" fmla="*/ 1041890 w 3214184"/>
                <a:gd name="connsiteY2422" fmla="*/ 1304321 h 4996841"/>
                <a:gd name="connsiteX2423" fmla="*/ 1042253 w 3214184"/>
                <a:gd name="connsiteY2423" fmla="*/ 1306287 h 4996841"/>
                <a:gd name="connsiteX2424" fmla="*/ 1043009 w 3214184"/>
                <a:gd name="connsiteY2424" fmla="*/ 1308344 h 4996841"/>
                <a:gd name="connsiteX2425" fmla="*/ 1042797 w 3214184"/>
                <a:gd name="connsiteY2425" fmla="*/ 1308949 h 4996841"/>
                <a:gd name="connsiteX2426" fmla="*/ 1042797 w 3214184"/>
                <a:gd name="connsiteY2426" fmla="*/ 1310159 h 4996841"/>
                <a:gd name="connsiteX2427" fmla="*/ 1043009 w 3214184"/>
                <a:gd name="connsiteY2427" fmla="*/ 1310764 h 4996841"/>
                <a:gd name="connsiteX2428" fmla="*/ 1044068 w 3214184"/>
                <a:gd name="connsiteY2428" fmla="*/ 1311248 h 4996841"/>
                <a:gd name="connsiteX2429" fmla="*/ 1044280 w 3214184"/>
                <a:gd name="connsiteY2429" fmla="*/ 1311793 h 4996841"/>
                <a:gd name="connsiteX2430" fmla="*/ 1043947 w 3214184"/>
                <a:gd name="connsiteY2430" fmla="*/ 1313185 h 4996841"/>
                <a:gd name="connsiteX2431" fmla="*/ 1048515 w 3214184"/>
                <a:gd name="connsiteY2431" fmla="*/ 1315907 h 4996841"/>
                <a:gd name="connsiteX2432" fmla="*/ 1052024 w 3214184"/>
                <a:gd name="connsiteY2432" fmla="*/ 1320112 h 4996841"/>
                <a:gd name="connsiteX2433" fmla="*/ 1051237 w 3214184"/>
                <a:gd name="connsiteY2433" fmla="*/ 1325134 h 4996841"/>
                <a:gd name="connsiteX2434" fmla="*/ 1049059 w 3214184"/>
                <a:gd name="connsiteY2434" fmla="*/ 1330579 h 4996841"/>
                <a:gd name="connsiteX2435" fmla="*/ 1048182 w 3214184"/>
                <a:gd name="connsiteY2435" fmla="*/ 1336145 h 4996841"/>
                <a:gd name="connsiteX2436" fmla="*/ 1050239 w 3214184"/>
                <a:gd name="connsiteY2436" fmla="*/ 1340199 h 4996841"/>
                <a:gd name="connsiteX2437" fmla="*/ 1054262 w 3214184"/>
                <a:gd name="connsiteY2437" fmla="*/ 1343799 h 4996841"/>
                <a:gd name="connsiteX2438" fmla="*/ 1061462 w 3214184"/>
                <a:gd name="connsiteY2438" fmla="*/ 1347943 h 4996841"/>
                <a:gd name="connsiteX2439" fmla="*/ 1077223 w 3214184"/>
                <a:gd name="connsiteY2439" fmla="*/ 1353147 h 4996841"/>
                <a:gd name="connsiteX2440" fmla="*/ 1082155 w 3214184"/>
                <a:gd name="connsiteY2440" fmla="*/ 1356747 h 4996841"/>
                <a:gd name="connsiteX2441" fmla="*/ 1085089 w 3214184"/>
                <a:gd name="connsiteY2441" fmla="*/ 1360498 h 4996841"/>
                <a:gd name="connsiteX2442" fmla="*/ 1087327 w 3214184"/>
                <a:gd name="connsiteY2442" fmla="*/ 1364430 h 4996841"/>
                <a:gd name="connsiteX2443" fmla="*/ 1089778 w 3214184"/>
                <a:gd name="connsiteY2443" fmla="*/ 1367395 h 4996841"/>
                <a:gd name="connsiteX2444" fmla="*/ 1095556 w 3214184"/>
                <a:gd name="connsiteY2444" fmla="*/ 1368877 h 4996841"/>
                <a:gd name="connsiteX2445" fmla="*/ 1098853 w 3214184"/>
                <a:gd name="connsiteY2445" fmla="*/ 1370814 h 4996841"/>
                <a:gd name="connsiteX2446" fmla="*/ 1101122 w 3214184"/>
                <a:gd name="connsiteY2446" fmla="*/ 1374020 h 4996841"/>
                <a:gd name="connsiteX2447" fmla="*/ 1100305 w 3214184"/>
                <a:gd name="connsiteY2447" fmla="*/ 1378407 h 4996841"/>
                <a:gd name="connsiteX2448" fmla="*/ 1098490 w 3214184"/>
                <a:gd name="connsiteY2448" fmla="*/ 1382612 h 4996841"/>
                <a:gd name="connsiteX2449" fmla="*/ 1098490 w 3214184"/>
                <a:gd name="connsiteY2449" fmla="*/ 1386121 h 4996841"/>
                <a:gd name="connsiteX2450" fmla="*/ 1099731 w 3214184"/>
                <a:gd name="connsiteY2450" fmla="*/ 1389569 h 4996841"/>
                <a:gd name="connsiteX2451" fmla="*/ 1101515 w 3214184"/>
                <a:gd name="connsiteY2451" fmla="*/ 1393593 h 4996841"/>
                <a:gd name="connsiteX2452" fmla="*/ 1103935 w 3214184"/>
                <a:gd name="connsiteY2452" fmla="*/ 1402638 h 4996841"/>
                <a:gd name="connsiteX2453" fmla="*/ 1103361 w 3214184"/>
                <a:gd name="connsiteY2453" fmla="*/ 1409717 h 4996841"/>
                <a:gd name="connsiteX2454" fmla="*/ 1100517 w 3214184"/>
                <a:gd name="connsiteY2454" fmla="*/ 1415918 h 4996841"/>
                <a:gd name="connsiteX2455" fmla="*/ 1096191 w 3214184"/>
                <a:gd name="connsiteY2455" fmla="*/ 1422271 h 4996841"/>
                <a:gd name="connsiteX2456" fmla="*/ 1096191 w 3214184"/>
                <a:gd name="connsiteY2456" fmla="*/ 1422271 h 4996841"/>
                <a:gd name="connsiteX2457" fmla="*/ 1078010 w 3214184"/>
                <a:gd name="connsiteY2457" fmla="*/ 1442388 h 4996841"/>
                <a:gd name="connsiteX2458" fmla="*/ 1071657 w 3214184"/>
                <a:gd name="connsiteY2458" fmla="*/ 1456092 h 4996841"/>
                <a:gd name="connsiteX2459" fmla="*/ 1065184 w 3214184"/>
                <a:gd name="connsiteY2459" fmla="*/ 1464079 h 4996841"/>
                <a:gd name="connsiteX2460" fmla="*/ 1050088 w 3214184"/>
                <a:gd name="connsiteY2460" fmla="*/ 1470099 h 4996841"/>
                <a:gd name="connsiteX2461" fmla="*/ 1044764 w 3214184"/>
                <a:gd name="connsiteY2461" fmla="*/ 1473578 h 4996841"/>
                <a:gd name="connsiteX2462" fmla="*/ 1043009 w 3214184"/>
                <a:gd name="connsiteY2462" fmla="*/ 1474757 h 4996841"/>
                <a:gd name="connsiteX2463" fmla="*/ 1045066 w 3214184"/>
                <a:gd name="connsiteY2463" fmla="*/ 1480203 h 4996841"/>
                <a:gd name="connsiteX2464" fmla="*/ 1069298 w 3214184"/>
                <a:gd name="connsiteY2464" fmla="*/ 1508034 h 4996841"/>
                <a:gd name="connsiteX2465" fmla="*/ 1083213 w 3214184"/>
                <a:gd name="connsiteY2465" fmla="*/ 1518259 h 4996841"/>
                <a:gd name="connsiteX2466" fmla="*/ 1089354 w 3214184"/>
                <a:gd name="connsiteY2466" fmla="*/ 1526760 h 4996841"/>
                <a:gd name="connsiteX2467" fmla="*/ 1091321 w 3214184"/>
                <a:gd name="connsiteY2467" fmla="*/ 1530632 h 4996841"/>
                <a:gd name="connsiteX2468" fmla="*/ 1094073 w 3214184"/>
                <a:gd name="connsiteY2468" fmla="*/ 1532870 h 4996841"/>
                <a:gd name="connsiteX2469" fmla="*/ 1127532 w 3214184"/>
                <a:gd name="connsiteY2469" fmla="*/ 1550749 h 4996841"/>
                <a:gd name="connsiteX2470" fmla="*/ 1143020 w 3214184"/>
                <a:gd name="connsiteY2470" fmla="*/ 1568567 h 4996841"/>
                <a:gd name="connsiteX2471" fmla="*/ 1163440 w 3214184"/>
                <a:gd name="connsiteY2471" fmla="*/ 1581727 h 4996841"/>
                <a:gd name="connsiteX2472" fmla="*/ 1166072 w 3214184"/>
                <a:gd name="connsiteY2472" fmla="*/ 1584298 h 4996841"/>
                <a:gd name="connsiteX2473" fmla="*/ 1168250 w 3214184"/>
                <a:gd name="connsiteY2473" fmla="*/ 1587716 h 4996841"/>
                <a:gd name="connsiteX2474" fmla="*/ 1169006 w 3214184"/>
                <a:gd name="connsiteY2474" fmla="*/ 1591891 h 4996841"/>
                <a:gd name="connsiteX2475" fmla="*/ 1169127 w 3214184"/>
                <a:gd name="connsiteY2475" fmla="*/ 1595672 h 4996841"/>
                <a:gd name="connsiteX2476" fmla="*/ 1169793 w 3214184"/>
                <a:gd name="connsiteY2476" fmla="*/ 1600089 h 4996841"/>
                <a:gd name="connsiteX2477" fmla="*/ 1170791 w 3214184"/>
                <a:gd name="connsiteY2477" fmla="*/ 1604234 h 4996841"/>
                <a:gd name="connsiteX2478" fmla="*/ 1172031 w 3214184"/>
                <a:gd name="connsiteY2478" fmla="*/ 1607259 h 4996841"/>
                <a:gd name="connsiteX2479" fmla="*/ 1174633 w 3214184"/>
                <a:gd name="connsiteY2479" fmla="*/ 1610526 h 4996841"/>
                <a:gd name="connsiteX2480" fmla="*/ 1180986 w 3214184"/>
                <a:gd name="connsiteY2480" fmla="*/ 1615124 h 4996841"/>
                <a:gd name="connsiteX2481" fmla="*/ 1183860 w 3214184"/>
                <a:gd name="connsiteY2481" fmla="*/ 1618028 h 4996841"/>
                <a:gd name="connsiteX2482" fmla="*/ 1190334 w 3214184"/>
                <a:gd name="connsiteY2482" fmla="*/ 1627436 h 4996841"/>
                <a:gd name="connsiteX2483" fmla="*/ 1192724 w 3214184"/>
                <a:gd name="connsiteY2483" fmla="*/ 1629524 h 4996841"/>
                <a:gd name="connsiteX2484" fmla="*/ 1193964 w 3214184"/>
                <a:gd name="connsiteY2484" fmla="*/ 1630613 h 4996841"/>
                <a:gd name="connsiteX2485" fmla="*/ 1196475 w 3214184"/>
                <a:gd name="connsiteY2485" fmla="*/ 1634273 h 4996841"/>
                <a:gd name="connsiteX2486" fmla="*/ 1197866 w 3214184"/>
                <a:gd name="connsiteY2486" fmla="*/ 1639356 h 4996841"/>
                <a:gd name="connsiteX2487" fmla="*/ 1199500 w 3214184"/>
                <a:gd name="connsiteY2487" fmla="*/ 1644165 h 4996841"/>
                <a:gd name="connsiteX2488" fmla="*/ 1202918 w 3214184"/>
                <a:gd name="connsiteY2488" fmla="*/ 1646918 h 4996841"/>
                <a:gd name="connsiteX2489" fmla="*/ 1193933 w 3214184"/>
                <a:gd name="connsiteY2489" fmla="*/ 1663103 h 4996841"/>
                <a:gd name="connsiteX2490" fmla="*/ 1189970 w 3214184"/>
                <a:gd name="connsiteY2490" fmla="*/ 1670666 h 4996841"/>
                <a:gd name="connsiteX2491" fmla="*/ 1186885 w 3214184"/>
                <a:gd name="connsiteY2491" fmla="*/ 1679197 h 4996841"/>
                <a:gd name="connsiteX2492" fmla="*/ 1182166 w 3214184"/>
                <a:gd name="connsiteY2492" fmla="*/ 1698376 h 4996841"/>
                <a:gd name="connsiteX2493" fmla="*/ 1180532 w 3214184"/>
                <a:gd name="connsiteY2493" fmla="*/ 1702853 h 4996841"/>
                <a:gd name="connsiteX2494" fmla="*/ 1176055 w 3214184"/>
                <a:gd name="connsiteY2494" fmla="*/ 1709569 h 4996841"/>
                <a:gd name="connsiteX2495" fmla="*/ 1174209 w 3214184"/>
                <a:gd name="connsiteY2495" fmla="*/ 1714198 h 4996841"/>
                <a:gd name="connsiteX2496" fmla="*/ 1171789 w 3214184"/>
                <a:gd name="connsiteY2496" fmla="*/ 1723848 h 4996841"/>
                <a:gd name="connsiteX2497" fmla="*/ 1170126 w 3214184"/>
                <a:gd name="connsiteY2497" fmla="*/ 1728143 h 4996841"/>
                <a:gd name="connsiteX2498" fmla="*/ 1167978 w 3214184"/>
                <a:gd name="connsiteY2498" fmla="*/ 1730503 h 4996841"/>
                <a:gd name="connsiteX2499" fmla="*/ 1167887 w 3214184"/>
                <a:gd name="connsiteY2499" fmla="*/ 1730503 h 4996841"/>
                <a:gd name="connsiteX2500" fmla="*/ 1162533 w 3214184"/>
                <a:gd name="connsiteY2500" fmla="*/ 1733649 h 4996841"/>
                <a:gd name="connsiteX2501" fmla="*/ 1160960 w 3214184"/>
                <a:gd name="connsiteY2501" fmla="*/ 1735343 h 4996841"/>
                <a:gd name="connsiteX2502" fmla="*/ 1159840 w 3214184"/>
                <a:gd name="connsiteY2502" fmla="*/ 1737552 h 4996841"/>
                <a:gd name="connsiteX2503" fmla="*/ 1157995 w 3214184"/>
                <a:gd name="connsiteY2503" fmla="*/ 1741878 h 4996841"/>
                <a:gd name="connsiteX2504" fmla="*/ 1143626 w 3214184"/>
                <a:gd name="connsiteY2504" fmla="*/ 1757064 h 4996841"/>
                <a:gd name="connsiteX2505" fmla="*/ 1142264 w 3214184"/>
                <a:gd name="connsiteY2505" fmla="*/ 1759151 h 4996841"/>
                <a:gd name="connsiteX2506" fmla="*/ 1139693 w 3214184"/>
                <a:gd name="connsiteY2506" fmla="*/ 1765867 h 4996841"/>
                <a:gd name="connsiteX2507" fmla="*/ 1138089 w 3214184"/>
                <a:gd name="connsiteY2507" fmla="*/ 1768378 h 4996841"/>
                <a:gd name="connsiteX2508" fmla="*/ 1136244 w 3214184"/>
                <a:gd name="connsiteY2508" fmla="*/ 1770193 h 4996841"/>
                <a:gd name="connsiteX2509" fmla="*/ 1124778 w 3214184"/>
                <a:gd name="connsiteY2509" fmla="*/ 1778119 h 4996841"/>
                <a:gd name="connsiteX2510" fmla="*/ 1115733 w 3214184"/>
                <a:gd name="connsiteY2510" fmla="*/ 1786619 h 4996841"/>
                <a:gd name="connsiteX2511" fmla="*/ 1111892 w 3214184"/>
                <a:gd name="connsiteY2511" fmla="*/ 1788707 h 4996841"/>
                <a:gd name="connsiteX2512" fmla="*/ 1110077 w 3214184"/>
                <a:gd name="connsiteY2512" fmla="*/ 1790098 h 4996841"/>
                <a:gd name="connsiteX2513" fmla="*/ 1108806 w 3214184"/>
                <a:gd name="connsiteY2513" fmla="*/ 1791853 h 4996841"/>
                <a:gd name="connsiteX2514" fmla="*/ 1106023 w 3214184"/>
                <a:gd name="connsiteY2514" fmla="*/ 1798327 h 4996841"/>
                <a:gd name="connsiteX2515" fmla="*/ 1093287 w 3214184"/>
                <a:gd name="connsiteY2515" fmla="*/ 1814844 h 4996841"/>
                <a:gd name="connsiteX2516" fmla="*/ 1079129 w 3214184"/>
                <a:gd name="connsiteY2516" fmla="*/ 1829818 h 4996841"/>
                <a:gd name="connsiteX2517" fmla="*/ 1079099 w 3214184"/>
                <a:gd name="connsiteY2517" fmla="*/ 1829818 h 4996841"/>
                <a:gd name="connsiteX2518" fmla="*/ 1059587 w 3214184"/>
                <a:gd name="connsiteY2518" fmla="*/ 1857589 h 4996841"/>
                <a:gd name="connsiteX2519" fmla="*/ 1042676 w 3214184"/>
                <a:gd name="connsiteY2519" fmla="*/ 1881518 h 4996841"/>
                <a:gd name="connsiteX2520" fmla="*/ 1029063 w 3214184"/>
                <a:gd name="connsiteY2520" fmla="*/ 1894768 h 4996841"/>
                <a:gd name="connsiteX2521" fmla="*/ 1027006 w 3214184"/>
                <a:gd name="connsiteY2521" fmla="*/ 1897794 h 4996841"/>
                <a:gd name="connsiteX2522" fmla="*/ 1024616 w 3214184"/>
                <a:gd name="connsiteY2522" fmla="*/ 1904570 h 4996841"/>
                <a:gd name="connsiteX2523" fmla="*/ 1022710 w 3214184"/>
                <a:gd name="connsiteY2523" fmla="*/ 1907776 h 4996841"/>
                <a:gd name="connsiteX2524" fmla="*/ 1008220 w 3214184"/>
                <a:gd name="connsiteY2524" fmla="*/ 1923689 h 4996841"/>
                <a:gd name="connsiteX2525" fmla="*/ 1005074 w 3214184"/>
                <a:gd name="connsiteY2525" fmla="*/ 1925988 h 4996841"/>
                <a:gd name="connsiteX2526" fmla="*/ 998570 w 3214184"/>
                <a:gd name="connsiteY2526" fmla="*/ 1928741 h 4996841"/>
                <a:gd name="connsiteX2527" fmla="*/ 996301 w 3214184"/>
                <a:gd name="connsiteY2527" fmla="*/ 1930647 h 4996841"/>
                <a:gd name="connsiteX2528" fmla="*/ 994486 w 3214184"/>
                <a:gd name="connsiteY2528" fmla="*/ 1933702 h 4996841"/>
                <a:gd name="connsiteX2529" fmla="*/ 992671 w 3214184"/>
                <a:gd name="connsiteY2529" fmla="*/ 1938451 h 4996841"/>
                <a:gd name="connsiteX2530" fmla="*/ 990916 w 3214184"/>
                <a:gd name="connsiteY2530" fmla="*/ 1942505 h 4996841"/>
                <a:gd name="connsiteX2531" fmla="*/ 976335 w 3214184"/>
                <a:gd name="connsiteY2531" fmla="*/ 1957056 h 4996841"/>
                <a:gd name="connsiteX2532" fmla="*/ 973370 w 3214184"/>
                <a:gd name="connsiteY2532" fmla="*/ 1961352 h 4996841"/>
                <a:gd name="connsiteX2533" fmla="*/ 972190 w 3214184"/>
                <a:gd name="connsiteY2533" fmla="*/ 1963590 h 4996841"/>
                <a:gd name="connsiteX2534" fmla="*/ 970678 w 3214184"/>
                <a:gd name="connsiteY2534" fmla="*/ 1966313 h 4996841"/>
                <a:gd name="connsiteX2535" fmla="*/ 964749 w 3214184"/>
                <a:gd name="connsiteY2535" fmla="*/ 1974874 h 4996841"/>
                <a:gd name="connsiteX2536" fmla="*/ 957367 w 3214184"/>
                <a:gd name="connsiteY2536" fmla="*/ 1981136 h 4996841"/>
                <a:gd name="connsiteX2537" fmla="*/ 942332 w 3214184"/>
                <a:gd name="connsiteY2537" fmla="*/ 1989849 h 4996841"/>
                <a:gd name="connsiteX2538" fmla="*/ 936857 w 3214184"/>
                <a:gd name="connsiteY2538" fmla="*/ 1993721 h 4996841"/>
                <a:gd name="connsiteX2539" fmla="*/ 929748 w 3214184"/>
                <a:gd name="connsiteY2539" fmla="*/ 2000467 h 4996841"/>
                <a:gd name="connsiteX2540" fmla="*/ 923909 w 3214184"/>
                <a:gd name="connsiteY2540" fmla="*/ 2003492 h 4996841"/>
                <a:gd name="connsiteX2541" fmla="*/ 922306 w 3214184"/>
                <a:gd name="connsiteY2541" fmla="*/ 2005398 h 4996841"/>
                <a:gd name="connsiteX2542" fmla="*/ 919130 w 3214184"/>
                <a:gd name="connsiteY2542" fmla="*/ 2010268 h 4996841"/>
                <a:gd name="connsiteX2543" fmla="*/ 912988 w 3214184"/>
                <a:gd name="connsiteY2543" fmla="*/ 2016742 h 4996841"/>
                <a:gd name="connsiteX2544" fmla="*/ 911143 w 3214184"/>
                <a:gd name="connsiteY2544" fmla="*/ 2019616 h 4996841"/>
                <a:gd name="connsiteX2545" fmla="*/ 909449 w 3214184"/>
                <a:gd name="connsiteY2545" fmla="*/ 2023518 h 4996841"/>
                <a:gd name="connsiteX2546" fmla="*/ 909449 w 3214184"/>
                <a:gd name="connsiteY2546" fmla="*/ 2023518 h 4996841"/>
                <a:gd name="connsiteX2547" fmla="*/ 905486 w 3214184"/>
                <a:gd name="connsiteY2547" fmla="*/ 2029236 h 4996841"/>
                <a:gd name="connsiteX2548" fmla="*/ 896592 w 3214184"/>
                <a:gd name="connsiteY2548" fmla="*/ 2031475 h 4996841"/>
                <a:gd name="connsiteX2549" fmla="*/ 892024 w 3214184"/>
                <a:gd name="connsiteY2549" fmla="*/ 2034651 h 4996841"/>
                <a:gd name="connsiteX2550" fmla="*/ 877443 w 3214184"/>
                <a:gd name="connsiteY2550" fmla="*/ 2048748 h 4996841"/>
                <a:gd name="connsiteX2551" fmla="*/ 868186 w 3214184"/>
                <a:gd name="connsiteY2551" fmla="*/ 2061605 h 4996841"/>
                <a:gd name="connsiteX2552" fmla="*/ 858566 w 3214184"/>
                <a:gd name="connsiteY2552" fmla="*/ 2068018 h 4996841"/>
                <a:gd name="connsiteX2553" fmla="*/ 844045 w 3214184"/>
                <a:gd name="connsiteY2553" fmla="*/ 2085715 h 4996841"/>
                <a:gd name="connsiteX2554" fmla="*/ 841746 w 3214184"/>
                <a:gd name="connsiteY2554" fmla="*/ 2088468 h 4996841"/>
                <a:gd name="connsiteX2555" fmla="*/ 832913 w 3214184"/>
                <a:gd name="connsiteY2555" fmla="*/ 2096999 h 4996841"/>
                <a:gd name="connsiteX2556" fmla="*/ 824352 w 3214184"/>
                <a:gd name="connsiteY2556" fmla="*/ 2106649 h 4996841"/>
                <a:gd name="connsiteX2557" fmla="*/ 823444 w 3214184"/>
                <a:gd name="connsiteY2557" fmla="*/ 2109463 h 4996841"/>
                <a:gd name="connsiteX2558" fmla="*/ 822960 w 3214184"/>
                <a:gd name="connsiteY2558" fmla="*/ 2110370 h 4996841"/>
                <a:gd name="connsiteX2559" fmla="*/ 825229 w 3214184"/>
                <a:gd name="connsiteY2559" fmla="*/ 2111308 h 4996841"/>
                <a:gd name="connsiteX2560" fmla="*/ 826742 w 3214184"/>
                <a:gd name="connsiteY2560" fmla="*/ 2109009 h 4996841"/>
                <a:gd name="connsiteX2561" fmla="*/ 828133 w 3214184"/>
                <a:gd name="connsiteY2561" fmla="*/ 2105742 h 4996841"/>
                <a:gd name="connsiteX2562" fmla="*/ 829888 w 3214184"/>
                <a:gd name="connsiteY2562" fmla="*/ 2103957 h 4996841"/>
                <a:gd name="connsiteX2563" fmla="*/ 830674 w 3214184"/>
                <a:gd name="connsiteY2563" fmla="*/ 2109009 h 4996841"/>
                <a:gd name="connsiteX2564" fmla="*/ 833639 w 3214184"/>
                <a:gd name="connsiteY2564" fmla="*/ 2111278 h 4996841"/>
                <a:gd name="connsiteX2565" fmla="*/ 847131 w 3214184"/>
                <a:gd name="connsiteY2565" fmla="*/ 2111762 h 4996841"/>
                <a:gd name="connsiteX2566" fmla="*/ 848825 w 3214184"/>
                <a:gd name="connsiteY2566" fmla="*/ 2111308 h 4996841"/>
                <a:gd name="connsiteX2567" fmla="*/ 851699 w 3214184"/>
                <a:gd name="connsiteY2567" fmla="*/ 2109554 h 4996841"/>
                <a:gd name="connsiteX2568" fmla="*/ 853333 w 3214184"/>
                <a:gd name="connsiteY2568" fmla="*/ 2109221 h 4996841"/>
                <a:gd name="connsiteX2569" fmla="*/ 854361 w 3214184"/>
                <a:gd name="connsiteY2569" fmla="*/ 2109402 h 4996841"/>
                <a:gd name="connsiteX2570" fmla="*/ 856388 w 3214184"/>
                <a:gd name="connsiteY2570" fmla="*/ 2110189 h 4996841"/>
                <a:gd name="connsiteX2571" fmla="*/ 857447 w 3214184"/>
                <a:gd name="connsiteY2571" fmla="*/ 2110340 h 4996841"/>
                <a:gd name="connsiteX2572" fmla="*/ 858445 w 3214184"/>
                <a:gd name="connsiteY2572" fmla="*/ 2109765 h 4996841"/>
                <a:gd name="connsiteX2573" fmla="*/ 858778 w 3214184"/>
                <a:gd name="connsiteY2573" fmla="*/ 2108495 h 4996841"/>
                <a:gd name="connsiteX2574" fmla="*/ 858929 w 3214184"/>
                <a:gd name="connsiteY2574" fmla="*/ 2107194 h 4996841"/>
                <a:gd name="connsiteX2575" fmla="*/ 859595 w 3214184"/>
                <a:gd name="connsiteY2575" fmla="*/ 2106619 h 4996841"/>
                <a:gd name="connsiteX2576" fmla="*/ 860623 w 3214184"/>
                <a:gd name="connsiteY2576" fmla="*/ 2106801 h 4996841"/>
                <a:gd name="connsiteX2577" fmla="*/ 862589 w 3214184"/>
                <a:gd name="connsiteY2577" fmla="*/ 2107587 h 4996841"/>
                <a:gd name="connsiteX2578" fmla="*/ 864828 w 3214184"/>
                <a:gd name="connsiteY2578" fmla="*/ 2107769 h 4996841"/>
                <a:gd name="connsiteX2579" fmla="*/ 865373 w 3214184"/>
                <a:gd name="connsiteY2579" fmla="*/ 2107617 h 4996841"/>
                <a:gd name="connsiteX2580" fmla="*/ 867339 w 3214184"/>
                <a:gd name="connsiteY2580" fmla="*/ 2105318 h 4996841"/>
                <a:gd name="connsiteX2581" fmla="*/ 869850 w 3214184"/>
                <a:gd name="connsiteY2581" fmla="*/ 2101537 h 4996841"/>
                <a:gd name="connsiteX2582" fmla="*/ 871877 w 3214184"/>
                <a:gd name="connsiteY2582" fmla="*/ 2099329 h 4996841"/>
                <a:gd name="connsiteX2583" fmla="*/ 872119 w 3214184"/>
                <a:gd name="connsiteY2583" fmla="*/ 2098693 h 4996841"/>
                <a:gd name="connsiteX2584" fmla="*/ 872482 w 3214184"/>
                <a:gd name="connsiteY2584" fmla="*/ 2098088 h 4996841"/>
                <a:gd name="connsiteX2585" fmla="*/ 873359 w 3214184"/>
                <a:gd name="connsiteY2585" fmla="*/ 2097483 h 4996841"/>
                <a:gd name="connsiteX2586" fmla="*/ 874569 w 3214184"/>
                <a:gd name="connsiteY2586" fmla="*/ 2097241 h 4996841"/>
                <a:gd name="connsiteX2587" fmla="*/ 875840 w 3214184"/>
                <a:gd name="connsiteY2587" fmla="*/ 2097483 h 4996841"/>
                <a:gd name="connsiteX2588" fmla="*/ 877110 w 3214184"/>
                <a:gd name="connsiteY2588" fmla="*/ 2098088 h 4996841"/>
                <a:gd name="connsiteX2589" fmla="*/ 878230 w 3214184"/>
                <a:gd name="connsiteY2589" fmla="*/ 2098875 h 4996841"/>
                <a:gd name="connsiteX2590" fmla="*/ 878048 w 3214184"/>
                <a:gd name="connsiteY2590" fmla="*/ 2097272 h 4996841"/>
                <a:gd name="connsiteX2591" fmla="*/ 877625 w 3214184"/>
                <a:gd name="connsiteY2591" fmla="*/ 2095910 h 4996841"/>
                <a:gd name="connsiteX2592" fmla="*/ 876959 w 3214184"/>
                <a:gd name="connsiteY2592" fmla="*/ 2094730 h 4996841"/>
                <a:gd name="connsiteX2593" fmla="*/ 876021 w 3214184"/>
                <a:gd name="connsiteY2593" fmla="*/ 2093732 h 4996841"/>
                <a:gd name="connsiteX2594" fmla="*/ 878048 w 3214184"/>
                <a:gd name="connsiteY2594" fmla="*/ 2092522 h 4996841"/>
                <a:gd name="connsiteX2595" fmla="*/ 880317 w 3214184"/>
                <a:gd name="connsiteY2595" fmla="*/ 2093309 h 4996841"/>
                <a:gd name="connsiteX2596" fmla="*/ 882223 w 3214184"/>
                <a:gd name="connsiteY2596" fmla="*/ 2093157 h 4996841"/>
                <a:gd name="connsiteX2597" fmla="*/ 882949 w 3214184"/>
                <a:gd name="connsiteY2597" fmla="*/ 2089013 h 4996841"/>
                <a:gd name="connsiteX2598" fmla="*/ 883977 w 3214184"/>
                <a:gd name="connsiteY2598" fmla="*/ 2085413 h 4996841"/>
                <a:gd name="connsiteX2599" fmla="*/ 886337 w 3214184"/>
                <a:gd name="connsiteY2599" fmla="*/ 2084203 h 4996841"/>
                <a:gd name="connsiteX2600" fmla="*/ 891601 w 3214184"/>
                <a:gd name="connsiteY2600" fmla="*/ 2084536 h 4996841"/>
                <a:gd name="connsiteX2601" fmla="*/ 892750 w 3214184"/>
                <a:gd name="connsiteY2601" fmla="*/ 2084112 h 4996841"/>
                <a:gd name="connsiteX2602" fmla="*/ 894807 w 3214184"/>
                <a:gd name="connsiteY2602" fmla="*/ 2082267 h 4996841"/>
                <a:gd name="connsiteX2603" fmla="*/ 896078 w 3214184"/>
                <a:gd name="connsiteY2603" fmla="*/ 2081843 h 4996841"/>
                <a:gd name="connsiteX2604" fmla="*/ 901372 w 3214184"/>
                <a:gd name="connsiteY2604" fmla="*/ 2082115 h 4996841"/>
                <a:gd name="connsiteX2605" fmla="*/ 902612 w 3214184"/>
                <a:gd name="connsiteY2605" fmla="*/ 2081269 h 4996841"/>
                <a:gd name="connsiteX2606" fmla="*/ 904337 w 3214184"/>
                <a:gd name="connsiteY2606" fmla="*/ 2078818 h 4996841"/>
                <a:gd name="connsiteX2607" fmla="*/ 907846 w 3214184"/>
                <a:gd name="connsiteY2607" fmla="*/ 2075702 h 4996841"/>
                <a:gd name="connsiteX2608" fmla="*/ 909540 w 3214184"/>
                <a:gd name="connsiteY2608" fmla="*/ 2073494 h 4996841"/>
                <a:gd name="connsiteX2609" fmla="*/ 913110 w 3214184"/>
                <a:gd name="connsiteY2609" fmla="*/ 2071558 h 4996841"/>
                <a:gd name="connsiteX2610" fmla="*/ 916286 w 3214184"/>
                <a:gd name="connsiteY2610" fmla="*/ 2074825 h 4996841"/>
                <a:gd name="connsiteX2611" fmla="*/ 917556 w 3214184"/>
                <a:gd name="connsiteY2611" fmla="*/ 2080179 h 4996841"/>
                <a:gd name="connsiteX2612" fmla="*/ 915378 w 3214184"/>
                <a:gd name="connsiteY2612" fmla="*/ 2084536 h 4996841"/>
                <a:gd name="connsiteX2613" fmla="*/ 913745 w 3214184"/>
                <a:gd name="connsiteY2613" fmla="*/ 2084112 h 4996841"/>
                <a:gd name="connsiteX2614" fmla="*/ 911567 w 3214184"/>
                <a:gd name="connsiteY2614" fmla="*/ 2082751 h 4996841"/>
                <a:gd name="connsiteX2615" fmla="*/ 909540 w 3214184"/>
                <a:gd name="connsiteY2615" fmla="*/ 2082267 h 4996841"/>
                <a:gd name="connsiteX2616" fmla="*/ 908511 w 3214184"/>
                <a:gd name="connsiteY2616" fmla="*/ 2084536 h 4996841"/>
                <a:gd name="connsiteX2617" fmla="*/ 908965 w 3214184"/>
                <a:gd name="connsiteY2617" fmla="*/ 2087198 h 4996841"/>
                <a:gd name="connsiteX2618" fmla="*/ 911748 w 3214184"/>
                <a:gd name="connsiteY2618" fmla="*/ 2092250 h 4996841"/>
                <a:gd name="connsiteX2619" fmla="*/ 912625 w 3214184"/>
                <a:gd name="connsiteY2619" fmla="*/ 2094851 h 4996841"/>
                <a:gd name="connsiteX2620" fmla="*/ 910447 w 3214184"/>
                <a:gd name="connsiteY2620" fmla="*/ 2095003 h 4996841"/>
                <a:gd name="connsiteX2621" fmla="*/ 909872 w 3214184"/>
                <a:gd name="connsiteY2621" fmla="*/ 2098845 h 4996841"/>
                <a:gd name="connsiteX2622" fmla="*/ 910357 w 3214184"/>
                <a:gd name="connsiteY2622" fmla="*/ 2101870 h 4996841"/>
                <a:gd name="connsiteX2623" fmla="*/ 910115 w 3214184"/>
                <a:gd name="connsiteY2623" fmla="*/ 2106196 h 4996841"/>
                <a:gd name="connsiteX2624" fmla="*/ 910205 w 3214184"/>
                <a:gd name="connsiteY2624" fmla="*/ 2110007 h 4996841"/>
                <a:gd name="connsiteX2625" fmla="*/ 912716 w 3214184"/>
                <a:gd name="connsiteY2625" fmla="*/ 2113123 h 4996841"/>
                <a:gd name="connsiteX2626" fmla="*/ 913987 w 3214184"/>
                <a:gd name="connsiteY2626" fmla="*/ 2116572 h 4996841"/>
                <a:gd name="connsiteX2627" fmla="*/ 914803 w 3214184"/>
                <a:gd name="connsiteY2627" fmla="*/ 2120595 h 4996841"/>
                <a:gd name="connsiteX2628" fmla="*/ 914380 w 3214184"/>
                <a:gd name="connsiteY2628" fmla="*/ 2123802 h 4996841"/>
                <a:gd name="connsiteX2629" fmla="*/ 912414 w 3214184"/>
                <a:gd name="connsiteY2629" fmla="*/ 2124800 h 4996841"/>
                <a:gd name="connsiteX2630" fmla="*/ 909994 w 3214184"/>
                <a:gd name="connsiteY2630" fmla="*/ 2123288 h 4996841"/>
                <a:gd name="connsiteX2631" fmla="*/ 905698 w 3214184"/>
                <a:gd name="connsiteY2631" fmla="*/ 2118629 h 4996841"/>
                <a:gd name="connsiteX2632" fmla="*/ 898377 w 3214184"/>
                <a:gd name="connsiteY2632" fmla="*/ 2114575 h 4996841"/>
                <a:gd name="connsiteX2633" fmla="*/ 896411 w 3214184"/>
                <a:gd name="connsiteY2633" fmla="*/ 2112337 h 4996841"/>
                <a:gd name="connsiteX2634" fmla="*/ 895776 w 3214184"/>
                <a:gd name="connsiteY2634" fmla="*/ 2110522 h 4996841"/>
                <a:gd name="connsiteX2635" fmla="*/ 895291 w 3214184"/>
                <a:gd name="connsiteY2635" fmla="*/ 2106861 h 4996841"/>
                <a:gd name="connsiteX2636" fmla="*/ 894716 w 3214184"/>
                <a:gd name="connsiteY2636" fmla="*/ 2105318 h 4996841"/>
                <a:gd name="connsiteX2637" fmla="*/ 893355 w 3214184"/>
                <a:gd name="connsiteY2637" fmla="*/ 2104411 h 4996841"/>
                <a:gd name="connsiteX2638" fmla="*/ 891298 w 3214184"/>
                <a:gd name="connsiteY2638" fmla="*/ 2104108 h 4996841"/>
                <a:gd name="connsiteX2639" fmla="*/ 889241 w 3214184"/>
                <a:gd name="connsiteY2639" fmla="*/ 2104411 h 4996841"/>
                <a:gd name="connsiteX2640" fmla="*/ 887819 w 3214184"/>
                <a:gd name="connsiteY2640" fmla="*/ 2105318 h 4996841"/>
                <a:gd name="connsiteX2641" fmla="*/ 889332 w 3214184"/>
                <a:gd name="connsiteY2641" fmla="*/ 2109160 h 4996841"/>
                <a:gd name="connsiteX2642" fmla="*/ 895745 w 3214184"/>
                <a:gd name="connsiteY2642" fmla="*/ 2118659 h 4996841"/>
                <a:gd name="connsiteX2643" fmla="*/ 904730 w 3214184"/>
                <a:gd name="connsiteY2643" fmla="*/ 2137294 h 4996841"/>
                <a:gd name="connsiteX2644" fmla="*/ 905728 w 3214184"/>
                <a:gd name="connsiteY2644" fmla="*/ 2138686 h 4996841"/>
                <a:gd name="connsiteX2645" fmla="*/ 907180 w 3214184"/>
                <a:gd name="connsiteY2645" fmla="*/ 2139896 h 4996841"/>
                <a:gd name="connsiteX2646" fmla="*/ 913473 w 3214184"/>
                <a:gd name="connsiteY2646" fmla="*/ 2142407 h 4996841"/>
                <a:gd name="connsiteX2647" fmla="*/ 915106 w 3214184"/>
                <a:gd name="connsiteY2647" fmla="*/ 2144403 h 4996841"/>
                <a:gd name="connsiteX2648" fmla="*/ 916498 w 3214184"/>
                <a:gd name="connsiteY2648" fmla="*/ 2145613 h 4996841"/>
                <a:gd name="connsiteX2649" fmla="*/ 918767 w 3214184"/>
                <a:gd name="connsiteY2649" fmla="*/ 2146127 h 4996841"/>
                <a:gd name="connsiteX2650" fmla="*/ 922911 w 3214184"/>
                <a:gd name="connsiteY2650" fmla="*/ 2146249 h 4996841"/>
                <a:gd name="connsiteX2651" fmla="*/ 923607 w 3214184"/>
                <a:gd name="connsiteY2651" fmla="*/ 2145008 h 4996841"/>
                <a:gd name="connsiteX2652" fmla="*/ 923698 w 3214184"/>
                <a:gd name="connsiteY2652" fmla="*/ 2142649 h 4996841"/>
                <a:gd name="connsiteX2653" fmla="*/ 924121 w 3214184"/>
                <a:gd name="connsiteY2653" fmla="*/ 2141136 h 4996841"/>
                <a:gd name="connsiteX2654" fmla="*/ 925754 w 3214184"/>
                <a:gd name="connsiteY2654" fmla="*/ 2142528 h 4996841"/>
                <a:gd name="connsiteX2655" fmla="*/ 927267 w 3214184"/>
                <a:gd name="connsiteY2655" fmla="*/ 2146127 h 4996841"/>
                <a:gd name="connsiteX2656" fmla="*/ 928507 w 3214184"/>
                <a:gd name="connsiteY2656" fmla="*/ 2150817 h 4996841"/>
                <a:gd name="connsiteX2657" fmla="*/ 930202 w 3214184"/>
                <a:gd name="connsiteY2657" fmla="*/ 2154840 h 4996841"/>
                <a:gd name="connsiteX2658" fmla="*/ 932954 w 3214184"/>
                <a:gd name="connsiteY2658" fmla="*/ 2156534 h 4996841"/>
                <a:gd name="connsiteX2659" fmla="*/ 936464 w 3214184"/>
                <a:gd name="connsiteY2659" fmla="*/ 2157714 h 4996841"/>
                <a:gd name="connsiteX2660" fmla="*/ 938944 w 3214184"/>
                <a:gd name="connsiteY2660" fmla="*/ 2160739 h 4996841"/>
                <a:gd name="connsiteX2661" fmla="*/ 942937 w 3214184"/>
                <a:gd name="connsiteY2661" fmla="*/ 2169391 h 4996841"/>
                <a:gd name="connsiteX2662" fmla="*/ 945811 w 3214184"/>
                <a:gd name="connsiteY2662" fmla="*/ 2173203 h 4996841"/>
                <a:gd name="connsiteX2663" fmla="*/ 949502 w 3214184"/>
                <a:gd name="connsiteY2663" fmla="*/ 2175502 h 4996841"/>
                <a:gd name="connsiteX2664" fmla="*/ 953586 w 3214184"/>
                <a:gd name="connsiteY2664" fmla="*/ 2176682 h 4996841"/>
                <a:gd name="connsiteX2665" fmla="*/ 970103 w 3214184"/>
                <a:gd name="connsiteY2665" fmla="*/ 2176863 h 4996841"/>
                <a:gd name="connsiteX2666" fmla="*/ 986318 w 3214184"/>
                <a:gd name="connsiteY2666" fmla="*/ 2178376 h 4996841"/>
                <a:gd name="connsiteX2667" fmla="*/ 986348 w 3214184"/>
                <a:gd name="connsiteY2667" fmla="*/ 2178376 h 4996841"/>
                <a:gd name="connsiteX2668" fmla="*/ 990432 w 3214184"/>
                <a:gd name="connsiteY2668" fmla="*/ 2176712 h 4996841"/>
                <a:gd name="connsiteX2669" fmla="*/ 997178 w 3214184"/>
                <a:gd name="connsiteY2669" fmla="*/ 2172446 h 4996841"/>
                <a:gd name="connsiteX2670" fmla="*/ 1014845 w 3214184"/>
                <a:gd name="connsiteY2670" fmla="*/ 2172507 h 4996841"/>
                <a:gd name="connsiteX2671" fmla="*/ 1029759 w 3214184"/>
                <a:gd name="connsiteY2671" fmla="*/ 2178708 h 4996841"/>
                <a:gd name="connsiteX2672" fmla="*/ 1033329 w 3214184"/>
                <a:gd name="connsiteY2672" fmla="*/ 2181915 h 4996841"/>
                <a:gd name="connsiteX2673" fmla="*/ 1034841 w 3214184"/>
                <a:gd name="connsiteY2673" fmla="*/ 2184910 h 4996841"/>
                <a:gd name="connsiteX2674" fmla="*/ 1034750 w 3214184"/>
                <a:gd name="connsiteY2674" fmla="*/ 2186876 h 4996841"/>
                <a:gd name="connsiteX2675" fmla="*/ 1034146 w 3214184"/>
                <a:gd name="connsiteY2675" fmla="*/ 2188661 h 4996841"/>
                <a:gd name="connsiteX2676" fmla="*/ 1033934 w 3214184"/>
                <a:gd name="connsiteY2676" fmla="*/ 2190900 h 4996841"/>
                <a:gd name="connsiteX2677" fmla="*/ 1034629 w 3214184"/>
                <a:gd name="connsiteY2677" fmla="*/ 2193441 h 4996841"/>
                <a:gd name="connsiteX2678" fmla="*/ 1035900 w 3214184"/>
                <a:gd name="connsiteY2678" fmla="*/ 2195800 h 4996841"/>
                <a:gd name="connsiteX2679" fmla="*/ 1037231 w 3214184"/>
                <a:gd name="connsiteY2679" fmla="*/ 2197313 h 4996841"/>
                <a:gd name="connsiteX2680" fmla="*/ 1038108 w 3214184"/>
                <a:gd name="connsiteY2680" fmla="*/ 2197313 h 4996841"/>
                <a:gd name="connsiteX2681" fmla="*/ 1039712 w 3214184"/>
                <a:gd name="connsiteY2681" fmla="*/ 2204180 h 4996841"/>
                <a:gd name="connsiteX2682" fmla="*/ 1045036 w 3214184"/>
                <a:gd name="connsiteY2682" fmla="*/ 2207477 h 4996841"/>
                <a:gd name="connsiteX2683" fmla="*/ 1066061 w 3214184"/>
                <a:gd name="connsiteY2683" fmla="*/ 2209474 h 4996841"/>
                <a:gd name="connsiteX2684" fmla="*/ 1068541 w 3214184"/>
                <a:gd name="connsiteY2684" fmla="*/ 2211259 h 4996841"/>
                <a:gd name="connsiteX2685" fmla="*/ 1069691 w 3214184"/>
                <a:gd name="connsiteY2685" fmla="*/ 2214314 h 4996841"/>
                <a:gd name="connsiteX2686" fmla="*/ 1068662 w 3214184"/>
                <a:gd name="connsiteY2686" fmla="*/ 2215918 h 4996841"/>
                <a:gd name="connsiteX2687" fmla="*/ 1066938 w 3214184"/>
                <a:gd name="connsiteY2687" fmla="*/ 2217400 h 4996841"/>
                <a:gd name="connsiteX2688" fmla="*/ 1065758 w 3214184"/>
                <a:gd name="connsiteY2688" fmla="*/ 2220123 h 4996841"/>
                <a:gd name="connsiteX2689" fmla="*/ 1067513 w 3214184"/>
                <a:gd name="connsiteY2689" fmla="*/ 2222028 h 4996841"/>
                <a:gd name="connsiteX2690" fmla="*/ 1066696 w 3214184"/>
                <a:gd name="connsiteY2690" fmla="*/ 2226808 h 4996841"/>
                <a:gd name="connsiteX2691" fmla="*/ 1064336 w 3214184"/>
                <a:gd name="connsiteY2691" fmla="*/ 2231739 h 4996841"/>
                <a:gd name="connsiteX2692" fmla="*/ 1061251 w 3214184"/>
                <a:gd name="connsiteY2692" fmla="*/ 2233978 h 4996841"/>
                <a:gd name="connsiteX2693" fmla="*/ 1056531 w 3214184"/>
                <a:gd name="connsiteY2693" fmla="*/ 2233615 h 4996841"/>
                <a:gd name="connsiteX2694" fmla="*/ 1031120 w 3214184"/>
                <a:gd name="connsiteY2694" fmla="*/ 2224872 h 4996841"/>
                <a:gd name="connsiteX2695" fmla="*/ 1025221 w 3214184"/>
                <a:gd name="connsiteY2695" fmla="*/ 2220788 h 4996841"/>
                <a:gd name="connsiteX2696" fmla="*/ 994546 w 3214184"/>
                <a:gd name="connsiteY2696" fmla="*/ 2215555 h 4996841"/>
                <a:gd name="connsiteX2697" fmla="*/ 971071 w 3214184"/>
                <a:gd name="connsiteY2697" fmla="*/ 2210049 h 4996841"/>
                <a:gd name="connsiteX2698" fmla="*/ 960544 w 3214184"/>
                <a:gd name="connsiteY2698" fmla="*/ 2209232 h 4996841"/>
                <a:gd name="connsiteX2699" fmla="*/ 956369 w 3214184"/>
                <a:gd name="connsiteY2699" fmla="*/ 2210745 h 4996841"/>
                <a:gd name="connsiteX2700" fmla="*/ 953283 w 3214184"/>
                <a:gd name="connsiteY2700" fmla="*/ 2213437 h 4996841"/>
                <a:gd name="connsiteX2701" fmla="*/ 948413 w 3214184"/>
                <a:gd name="connsiteY2701" fmla="*/ 2220183 h 4996841"/>
                <a:gd name="connsiteX2702" fmla="*/ 945690 w 3214184"/>
                <a:gd name="connsiteY2702" fmla="*/ 2222694 h 4996841"/>
                <a:gd name="connsiteX2703" fmla="*/ 944904 w 3214184"/>
                <a:gd name="connsiteY2703" fmla="*/ 2222936 h 4996841"/>
                <a:gd name="connsiteX2704" fmla="*/ 942272 w 3214184"/>
                <a:gd name="connsiteY2704" fmla="*/ 2222694 h 4996841"/>
                <a:gd name="connsiteX2705" fmla="*/ 947324 w 3214184"/>
                <a:gd name="connsiteY2705" fmla="*/ 2227988 h 4996841"/>
                <a:gd name="connsiteX2706" fmla="*/ 947687 w 3214184"/>
                <a:gd name="connsiteY2706" fmla="*/ 2230650 h 4996841"/>
                <a:gd name="connsiteX2707" fmla="*/ 945327 w 3214184"/>
                <a:gd name="connsiteY2707" fmla="*/ 2236035 h 4996841"/>
                <a:gd name="connsiteX2708" fmla="*/ 941818 w 3214184"/>
                <a:gd name="connsiteY2708" fmla="*/ 2240875 h 4996841"/>
                <a:gd name="connsiteX2709" fmla="*/ 940820 w 3214184"/>
                <a:gd name="connsiteY2709" fmla="*/ 2241571 h 4996841"/>
                <a:gd name="connsiteX2710" fmla="*/ 940033 w 3214184"/>
                <a:gd name="connsiteY2710" fmla="*/ 2241813 h 4996841"/>
                <a:gd name="connsiteX2711" fmla="*/ 937311 w 3214184"/>
                <a:gd name="connsiteY2711" fmla="*/ 2243598 h 4996841"/>
                <a:gd name="connsiteX2712" fmla="*/ 936040 w 3214184"/>
                <a:gd name="connsiteY2712" fmla="*/ 2244082 h 4996841"/>
                <a:gd name="connsiteX2713" fmla="*/ 933650 w 3214184"/>
                <a:gd name="connsiteY2713" fmla="*/ 2243204 h 4996841"/>
                <a:gd name="connsiteX2714" fmla="*/ 932500 w 3214184"/>
                <a:gd name="connsiteY2714" fmla="*/ 2243567 h 4996841"/>
                <a:gd name="connsiteX2715" fmla="*/ 928659 w 3214184"/>
                <a:gd name="connsiteY2715" fmla="*/ 2248408 h 4996841"/>
                <a:gd name="connsiteX2716" fmla="*/ 927328 w 3214184"/>
                <a:gd name="connsiteY2716" fmla="*/ 2249103 h 4996841"/>
                <a:gd name="connsiteX2717" fmla="*/ 925482 w 3214184"/>
                <a:gd name="connsiteY2717" fmla="*/ 2248619 h 4996841"/>
                <a:gd name="connsiteX2718" fmla="*/ 922518 w 3214184"/>
                <a:gd name="connsiteY2718" fmla="*/ 2246774 h 4996841"/>
                <a:gd name="connsiteX2719" fmla="*/ 920703 w 3214184"/>
                <a:gd name="connsiteY2719" fmla="*/ 2246774 h 4996841"/>
                <a:gd name="connsiteX2720" fmla="*/ 917405 w 3214184"/>
                <a:gd name="connsiteY2720" fmla="*/ 2248680 h 4996841"/>
                <a:gd name="connsiteX2721" fmla="*/ 915802 w 3214184"/>
                <a:gd name="connsiteY2721" fmla="*/ 2249043 h 4996841"/>
                <a:gd name="connsiteX2722" fmla="*/ 913866 w 3214184"/>
                <a:gd name="connsiteY2722" fmla="*/ 2247984 h 4996841"/>
                <a:gd name="connsiteX2723" fmla="*/ 913321 w 3214184"/>
                <a:gd name="connsiteY2723" fmla="*/ 2247198 h 4996841"/>
                <a:gd name="connsiteX2724" fmla="*/ 912323 w 3214184"/>
                <a:gd name="connsiteY2724" fmla="*/ 2245050 h 4996841"/>
                <a:gd name="connsiteX2725" fmla="*/ 911778 w 3214184"/>
                <a:gd name="connsiteY2725" fmla="*/ 2244203 h 4996841"/>
                <a:gd name="connsiteX2726" fmla="*/ 910780 w 3214184"/>
                <a:gd name="connsiteY2726" fmla="*/ 2243537 h 4996841"/>
                <a:gd name="connsiteX2727" fmla="*/ 908662 w 3214184"/>
                <a:gd name="connsiteY2727" fmla="*/ 2242962 h 4996841"/>
                <a:gd name="connsiteX2728" fmla="*/ 905849 w 3214184"/>
                <a:gd name="connsiteY2728" fmla="*/ 2241329 h 4996841"/>
                <a:gd name="connsiteX2729" fmla="*/ 902037 w 3214184"/>
                <a:gd name="connsiteY2729" fmla="*/ 2240391 h 4996841"/>
                <a:gd name="connsiteX2730" fmla="*/ 899103 w 3214184"/>
                <a:gd name="connsiteY2730" fmla="*/ 2236791 h 4996841"/>
                <a:gd name="connsiteX2731" fmla="*/ 897379 w 3214184"/>
                <a:gd name="connsiteY2731" fmla="*/ 2235702 h 4996841"/>
                <a:gd name="connsiteX2732" fmla="*/ 895533 w 3214184"/>
                <a:gd name="connsiteY2732" fmla="*/ 2235218 h 4996841"/>
                <a:gd name="connsiteX2733" fmla="*/ 893839 w 3214184"/>
                <a:gd name="connsiteY2733" fmla="*/ 2235460 h 4996841"/>
                <a:gd name="connsiteX2734" fmla="*/ 891359 w 3214184"/>
                <a:gd name="connsiteY2734" fmla="*/ 2237154 h 4996841"/>
                <a:gd name="connsiteX2735" fmla="*/ 888636 w 3214184"/>
                <a:gd name="connsiteY2735" fmla="*/ 2240210 h 4996841"/>
                <a:gd name="connsiteX2736" fmla="*/ 886458 w 3214184"/>
                <a:gd name="connsiteY2736" fmla="*/ 2244172 h 4996841"/>
                <a:gd name="connsiteX2737" fmla="*/ 885581 w 3214184"/>
                <a:gd name="connsiteY2737" fmla="*/ 2248559 h 4996841"/>
                <a:gd name="connsiteX2738" fmla="*/ 885823 w 3214184"/>
                <a:gd name="connsiteY2738" fmla="*/ 2258512 h 4996841"/>
                <a:gd name="connsiteX2739" fmla="*/ 885490 w 3214184"/>
                <a:gd name="connsiteY2739" fmla="*/ 2263443 h 4996841"/>
                <a:gd name="connsiteX2740" fmla="*/ 884159 w 3214184"/>
                <a:gd name="connsiteY2740" fmla="*/ 2268132 h 4996841"/>
                <a:gd name="connsiteX2741" fmla="*/ 881194 w 3214184"/>
                <a:gd name="connsiteY2741" fmla="*/ 2271157 h 4996841"/>
                <a:gd name="connsiteX2742" fmla="*/ 877201 w 3214184"/>
                <a:gd name="connsiteY2742" fmla="*/ 2270824 h 4996841"/>
                <a:gd name="connsiteX2743" fmla="*/ 865978 w 3214184"/>
                <a:gd name="connsiteY2743" fmla="*/ 2266619 h 4996841"/>
                <a:gd name="connsiteX2744" fmla="*/ 864495 w 3214184"/>
                <a:gd name="connsiteY2744" fmla="*/ 2262959 h 4996841"/>
                <a:gd name="connsiteX2745" fmla="*/ 863558 w 3214184"/>
                <a:gd name="connsiteY2745" fmla="*/ 2258421 h 4996841"/>
                <a:gd name="connsiteX2746" fmla="*/ 862075 w 3214184"/>
                <a:gd name="connsiteY2746" fmla="*/ 2254246 h 4996841"/>
                <a:gd name="connsiteX2747" fmla="*/ 859504 w 3214184"/>
                <a:gd name="connsiteY2747" fmla="*/ 2251040 h 4996841"/>
                <a:gd name="connsiteX2748" fmla="*/ 855874 w 3214184"/>
                <a:gd name="connsiteY2748" fmla="*/ 2248075 h 4996841"/>
                <a:gd name="connsiteX2749" fmla="*/ 852153 w 3214184"/>
                <a:gd name="connsiteY2749" fmla="*/ 2246744 h 4996841"/>
                <a:gd name="connsiteX2750" fmla="*/ 849309 w 3214184"/>
                <a:gd name="connsiteY2750" fmla="*/ 2248559 h 4996841"/>
                <a:gd name="connsiteX2751" fmla="*/ 844076 w 3214184"/>
                <a:gd name="connsiteY2751" fmla="*/ 2254307 h 4996841"/>
                <a:gd name="connsiteX2752" fmla="*/ 843864 w 3214184"/>
                <a:gd name="connsiteY2752" fmla="*/ 2257060 h 4996841"/>
                <a:gd name="connsiteX2753" fmla="*/ 842926 w 3214184"/>
                <a:gd name="connsiteY2753" fmla="*/ 2262142 h 4996841"/>
                <a:gd name="connsiteX2754" fmla="*/ 842714 w 3214184"/>
                <a:gd name="connsiteY2754" fmla="*/ 2264380 h 4996841"/>
                <a:gd name="connsiteX2755" fmla="*/ 843410 w 3214184"/>
                <a:gd name="connsiteY2755" fmla="*/ 2268404 h 4996841"/>
                <a:gd name="connsiteX2756" fmla="*/ 844983 w 3214184"/>
                <a:gd name="connsiteY2756" fmla="*/ 2272397 h 4996841"/>
                <a:gd name="connsiteX2757" fmla="*/ 848613 w 3214184"/>
                <a:gd name="connsiteY2757" fmla="*/ 2278750 h 4996841"/>
                <a:gd name="connsiteX2758" fmla="*/ 850701 w 3214184"/>
                <a:gd name="connsiteY2758" fmla="*/ 2287311 h 4996841"/>
                <a:gd name="connsiteX2759" fmla="*/ 848976 w 3214184"/>
                <a:gd name="connsiteY2759" fmla="*/ 2296447 h 4996841"/>
                <a:gd name="connsiteX2760" fmla="*/ 845316 w 3214184"/>
                <a:gd name="connsiteY2760" fmla="*/ 2304857 h 4996841"/>
                <a:gd name="connsiteX2761" fmla="*/ 847282 w 3214184"/>
                <a:gd name="connsiteY2761" fmla="*/ 2308275 h 4996841"/>
                <a:gd name="connsiteX2762" fmla="*/ 851820 w 3214184"/>
                <a:gd name="connsiteY2762" fmla="*/ 2310484 h 4996841"/>
                <a:gd name="connsiteX2763" fmla="*/ 853968 w 3214184"/>
                <a:gd name="connsiteY2763" fmla="*/ 2312601 h 4996841"/>
                <a:gd name="connsiteX2764" fmla="*/ 856328 w 3214184"/>
                <a:gd name="connsiteY2764" fmla="*/ 2318016 h 4996841"/>
                <a:gd name="connsiteX2765" fmla="*/ 857265 w 3214184"/>
                <a:gd name="connsiteY2765" fmla="*/ 2319680 h 4996841"/>
                <a:gd name="connsiteX2766" fmla="*/ 858475 w 3214184"/>
                <a:gd name="connsiteY2766" fmla="*/ 2320951 h 4996841"/>
                <a:gd name="connsiteX2767" fmla="*/ 861077 w 3214184"/>
                <a:gd name="connsiteY2767" fmla="*/ 2323008 h 4996841"/>
                <a:gd name="connsiteX2768" fmla="*/ 862196 w 3214184"/>
                <a:gd name="connsiteY2768" fmla="*/ 2324309 h 4996841"/>
                <a:gd name="connsiteX2769" fmla="*/ 861743 w 3214184"/>
                <a:gd name="connsiteY2769" fmla="*/ 2327727 h 4996841"/>
                <a:gd name="connsiteX2770" fmla="*/ 859262 w 3214184"/>
                <a:gd name="connsiteY2770" fmla="*/ 2326275 h 4996841"/>
                <a:gd name="connsiteX2771" fmla="*/ 854845 w 3214184"/>
                <a:gd name="connsiteY2771" fmla="*/ 2329633 h 4996841"/>
                <a:gd name="connsiteX2772" fmla="*/ 846677 w 3214184"/>
                <a:gd name="connsiteY2772" fmla="*/ 2330268 h 4996841"/>
                <a:gd name="connsiteX2773" fmla="*/ 843471 w 3214184"/>
                <a:gd name="connsiteY2773" fmla="*/ 2331750 h 4996841"/>
                <a:gd name="connsiteX2774" fmla="*/ 850761 w 3214184"/>
                <a:gd name="connsiteY2774" fmla="*/ 2334443 h 4996841"/>
                <a:gd name="connsiteX2775" fmla="*/ 853151 w 3214184"/>
                <a:gd name="connsiteY2775" fmla="*/ 2334322 h 4996841"/>
                <a:gd name="connsiteX2776" fmla="*/ 851124 w 3214184"/>
                <a:gd name="connsiteY2776" fmla="*/ 2336893 h 4996841"/>
                <a:gd name="connsiteX2777" fmla="*/ 839357 w 3214184"/>
                <a:gd name="connsiteY2777" fmla="*/ 2336651 h 4996841"/>
                <a:gd name="connsiteX2778" fmla="*/ 833760 w 3214184"/>
                <a:gd name="connsiteY2778" fmla="*/ 2339555 h 4996841"/>
                <a:gd name="connsiteX2779" fmla="*/ 831582 w 3214184"/>
                <a:gd name="connsiteY2779" fmla="*/ 2342248 h 4996841"/>
                <a:gd name="connsiteX2780" fmla="*/ 832459 w 3214184"/>
                <a:gd name="connsiteY2780" fmla="*/ 2345424 h 4996841"/>
                <a:gd name="connsiteX2781" fmla="*/ 830705 w 3214184"/>
                <a:gd name="connsiteY2781" fmla="*/ 2349327 h 4996841"/>
                <a:gd name="connsiteX2782" fmla="*/ 827589 w 3214184"/>
                <a:gd name="connsiteY2782" fmla="*/ 2362879 h 4996841"/>
                <a:gd name="connsiteX2783" fmla="*/ 821750 w 3214184"/>
                <a:gd name="connsiteY2783" fmla="*/ 2378035 h 4996841"/>
                <a:gd name="connsiteX2784" fmla="*/ 820026 w 3214184"/>
                <a:gd name="connsiteY2784" fmla="*/ 2381847 h 4996841"/>
                <a:gd name="connsiteX2785" fmla="*/ 815730 w 3214184"/>
                <a:gd name="connsiteY2785" fmla="*/ 2389319 h 4996841"/>
                <a:gd name="connsiteX2786" fmla="*/ 814580 w 3214184"/>
                <a:gd name="connsiteY2786" fmla="*/ 2393342 h 4996841"/>
                <a:gd name="connsiteX2787" fmla="*/ 812856 w 3214184"/>
                <a:gd name="connsiteY2787" fmla="*/ 2396004 h 4996841"/>
                <a:gd name="connsiteX2788" fmla="*/ 812705 w 3214184"/>
                <a:gd name="connsiteY2788" fmla="*/ 2396216 h 4996841"/>
                <a:gd name="connsiteX2789" fmla="*/ 803781 w 3214184"/>
                <a:gd name="connsiteY2789" fmla="*/ 2403598 h 4996841"/>
                <a:gd name="connsiteX2790" fmla="*/ 790924 w 3214184"/>
                <a:gd name="connsiteY2790" fmla="*/ 2414216 h 4996841"/>
                <a:gd name="connsiteX2791" fmla="*/ 787747 w 3214184"/>
                <a:gd name="connsiteY2791" fmla="*/ 2424320 h 4996841"/>
                <a:gd name="connsiteX2792" fmla="*/ 784178 w 3214184"/>
                <a:gd name="connsiteY2792" fmla="*/ 2435725 h 4996841"/>
                <a:gd name="connsiteX2793" fmla="*/ 785993 w 3214184"/>
                <a:gd name="connsiteY2793" fmla="*/ 2443832 h 4996841"/>
                <a:gd name="connsiteX2794" fmla="*/ 788050 w 3214184"/>
                <a:gd name="connsiteY2794" fmla="*/ 2452877 h 4996841"/>
                <a:gd name="connsiteX2795" fmla="*/ 793041 w 3214184"/>
                <a:gd name="connsiteY2795" fmla="*/ 2474840 h 4996841"/>
                <a:gd name="connsiteX2796" fmla="*/ 798698 w 3214184"/>
                <a:gd name="connsiteY2796" fmla="*/ 2499464 h 4996841"/>
                <a:gd name="connsiteX2797" fmla="*/ 792618 w 3214184"/>
                <a:gd name="connsiteY2797" fmla="*/ 2512805 h 4996841"/>
                <a:gd name="connsiteX2798" fmla="*/ 791468 w 3214184"/>
                <a:gd name="connsiteY2798" fmla="*/ 2521790 h 4996841"/>
                <a:gd name="connsiteX2799" fmla="*/ 792739 w 3214184"/>
                <a:gd name="connsiteY2799" fmla="*/ 2530049 h 4996841"/>
                <a:gd name="connsiteX2800" fmla="*/ 795159 w 3214184"/>
                <a:gd name="connsiteY2800" fmla="*/ 2534798 h 4996841"/>
                <a:gd name="connsiteX2801" fmla="*/ 797216 w 3214184"/>
                <a:gd name="connsiteY2801" fmla="*/ 2538822 h 4996841"/>
                <a:gd name="connsiteX2802" fmla="*/ 801210 w 3214184"/>
                <a:gd name="connsiteY2802" fmla="*/ 2546868 h 4996841"/>
                <a:gd name="connsiteX2803" fmla="*/ 806322 w 3214184"/>
                <a:gd name="connsiteY2803" fmla="*/ 2553433 h 4996841"/>
                <a:gd name="connsiteX2804" fmla="*/ 806957 w 3214184"/>
                <a:gd name="connsiteY2804" fmla="*/ 2558545 h 4996841"/>
                <a:gd name="connsiteX2805" fmla="*/ 806292 w 3214184"/>
                <a:gd name="connsiteY2805" fmla="*/ 2563083 h 4996841"/>
                <a:gd name="connsiteX2806" fmla="*/ 806473 w 3214184"/>
                <a:gd name="connsiteY2806" fmla="*/ 2568135 h 4996841"/>
                <a:gd name="connsiteX2807" fmla="*/ 808349 w 3214184"/>
                <a:gd name="connsiteY2807" fmla="*/ 2568861 h 4996841"/>
                <a:gd name="connsiteX2808" fmla="*/ 810194 w 3214184"/>
                <a:gd name="connsiteY2808" fmla="*/ 2570253 h 4996841"/>
                <a:gd name="connsiteX2809" fmla="*/ 810860 w 3214184"/>
                <a:gd name="connsiteY2809" fmla="*/ 2574488 h 4996841"/>
                <a:gd name="connsiteX2810" fmla="*/ 810345 w 3214184"/>
                <a:gd name="connsiteY2810" fmla="*/ 2576726 h 4996841"/>
                <a:gd name="connsiteX2811" fmla="*/ 809619 w 3214184"/>
                <a:gd name="connsiteY2811" fmla="*/ 2578632 h 4996841"/>
                <a:gd name="connsiteX2812" fmla="*/ 809256 w 3214184"/>
                <a:gd name="connsiteY2812" fmla="*/ 2580629 h 4996841"/>
                <a:gd name="connsiteX2813" fmla="*/ 809801 w 3214184"/>
                <a:gd name="connsiteY2813" fmla="*/ 2583079 h 4996841"/>
                <a:gd name="connsiteX2814" fmla="*/ 810618 w 3214184"/>
                <a:gd name="connsiteY2814" fmla="*/ 2584017 h 4996841"/>
                <a:gd name="connsiteX2815" fmla="*/ 820843 w 3214184"/>
                <a:gd name="connsiteY2815" fmla="*/ 2587889 h 4996841"/>
                <a:gd name="connsiteX2816" fmla="*/ 822506 w 3214184"/>
                <a:gd name="connsiteY2816" fmla="*/ 2589583 h 4996841"/>
                <a:gd name="connsiteX2817" fmla="*/ 823353 w 3214184"/>
                <a:gd name="connsiteY2817" fmla="*/ 2593032 h 4996841"/>
                <a:gd name="connsiteX2818" fmla="*/ 822083 w 3214184"/>
                <a:gd name="connsiteY2818" fmla="*/ 2595392 h 4996841"/>
                <a:gd name="connsiteX2819" fmla="*/ 819723 w 3214184"/>
                <a:gd name="connsiteY2819" fmla="*/ 2596934 h 4996841"/>
                <a:gd name="connsiteX2820" fmla="*/ 813431 w 3214184"/>
                <a:gd name="connsiteY2820" fmla="*/ 2599324 h 4996841"/>
                <a:gd name="connsiteX2821" fmla="*/ 798910 w 3214184"/>
                <a:gd name="connsiteY2821" fmla="*/ 2601381 h 4996841"/>
                <a:gd name="connsiteX2822" fmla="*/ 797005 w 3214184"/>
                <a:gd name="connsiteY2822" fmla="*/ 2601654 h 4996841"/>
                <a:gd name="connsiteX2823" fmla="*/ 795673 w 3214184"/>
                <a:gd name="connsiteY2823" fmla="*/ 2602380 h 4996841"/>
                <a:gd name="connsiteX2824" fmla="*/ 796490 w 3214184"/>
                <a:gd name="connsiteY2824" fmla="*/ 2602803 h 4996841"/>
                <a:gd name="connsiteX2825" fmla="*/ 798638 w 3214184"/>
                <a:gd name="connsiteY2825" fmla="*/ 2604588 h 4996841"/>
                <a:gd name="connsiteX2826" fmla="*/ 795825 w 3214184"/>
                <a:gd name="connsiteY2826" fmla="*/ 2605889 h 4996841"/>
                <a:gd name="connsiteX2827" fmla="*/ 794433 w 3214184"/>
                <a:gd name="connsiteY2827" fmla="*/ 2606917 h 4996841"/>
                <a:gd name="connsiteX2828" fmla="*/ 793435 w 3214184"/>
                <a:gd name="connsiteY2828" fmla="*/ 2608430 h 4996841"/>
                <a:gd name="connsiteX2829" fmla="*/ 792981 w 3214184"/>
                <a:gd name="connsiteY2829" fmla="*/ 2611395 h 4996841"/>
                <a:gd name="connsiteX2830" fmla="*/ 794100 w 3214184"/>
                <a:gd name="connsiteY2830" fmla="*/ 2616295 h 4996841"/>
                <a:gd name="connsiteX2831" fmla="*/ 793979 w 3214184"/>
                <a:gd name="connsiteY2831" fmla="*/ 2618504 h 4996841"/>
                <a:gd name="connsiteX2832" fmla="*/ 792225 w 3214184"/>
                <a:gd name="connsiteY2832" fmla="*/ 2620258 h 4996841"/>
                <a:gd name="connsiteX2833" fmla="*/ 783936 w 3214184"/>
                <a:gd name="connsiteY2833" fmla="*/ 2622951 h 4996841"/>
                <a:gd name="connsiteX2834" fmla="*/ 782302 w 3214184"/>
                <a:gd name="connsiteY2834" fmla="*/ 2624463 h 4996841"/>
                <a:gd name="connsiteX2835" fmla="*/ 781606 w 3214184"/>
                <a:gd name="connsiteY2835" fmla="*/ 2625492 h 4996841"/>
                <a:gd name="connsiteX2836" fmla="*/ 781123 w 3214184"/>
                <a:gd name="connsiteY2836" fmla="*/ 2626853 h 4996841"/>
                <a:gd name="connsiteX2837" fmla="*/ 780880 w 3214184"/>
                <a:gd name="connsiteY2837" fmla="*/ 2628547 h 4996841"/>
                <a:gd name="connsiteX2838" fmla="*/ 780971 w 3214184"/>
                <a:gd name="connsiteY2838" fmla="*/ 2629364 h 4996841"/>
                <a:gd name="connsiteX2839" fmla="*/ 781183 w 3214184"/>
                <a:gd name="connsiteY2839" fmla="*/ 2630090 h 4996841"/>
                <a:gd name="connsiteX2840" fmla="*/ 781455 w 3214184"/>
                <a:gd name="connsiteY2840" fmla="*/ 2632359 h 4996841"/>
                <a:gd name="connsiteX2841" fmla="*/ 781697 w 3214184"/>
                <a:gd name="connsiteY2841" fmla="*/ 2632934 h 4996841"/>
                <a:gd name="connsiteX2842" fmla="*/ 781849 w 3214184"/>
                <a:gd name="connsiteY2842" fmla="*/ 2633539 h 4996841"/>
                <a:gd name="connsiteX2843" fmla="*/ 781637 w 3214184"/>
                <a:gd name="connsiteY2843" fmla="*/ 2637108 h 4996841"/>
                <a:gd name="connsiteX2844" fmla="*/ 781364 w 3214184"/>
                <a:gd name="connsiteY2844" fmla="*/ 2637865 h 4996841"/>
                <a:gd name="connsiteX2845" fmla="*/ 780608 w 3214184"/>
                <a:gd name="connsiteY2845" fmla="*/ 2638712 h 4996841"/>
                <a:gd name="connsiteX2846" fmla="*/ 779368 w 3214184"/>
                <a:gd name="connsiteY2846" fmla="*/ 2639286 h 4996841"/>
                <a:gd name="connsiteX2847" fmla="*/ 778007 w 3214184"/>
                <a:gd name="connsiteY2847" fmla="*/ 2639377 h 4996841"/>
                <a:gd name="connsiteX2848" fmla="*/ 776766 w 3214184"/>
                <a:gd name="connsiteY2848" fmla="*/ 2639801 h 4996841"/>
                <a:gd name="connsiteX2849" fmla="*/ 775889 w 3214184"/>
                <a:gd name="connsiteY2849" fmla="*/ 2641283 h 4996841"/>
                <a:gd name="connsiteX2850" fmla="*/ 775889 w 3214184"/>
                <a:gd name="connsiteY2850" fmla="*/ 2643431 h 4996841"/>
                <a:gd name="connsiteX2851" fmla="*/ 776615 w 3214184"/>
                <a:gd name="connsiteY2851" fmla="*/ 2646305 h 4996841"/>
                <a:gd name="connsiteX2852" fmla="*/ 777553 w 3214184"/>
                <a:gd name="connsiteY2852" fmla="*/ 2649027 h 4996841"/>
                <a:gd name="connsiteX2853" fmla="*/ 778370 w 3214184"/>
                <a:gd name="connsiteY2853" fmla="*/ 2650812 h 4996841"/>
                <a:gd name="connsiteX2854" fmla="*/ 795976 w 3214184"/>
                <a:gd name="connsiteY2854" fmla="*/ 2650661 h 4996841"/>
                <a:gd name="connsiteX2855" fmla="*/ 795431 w 3214184"/>
                <a:gd name="connsiteY2855" fmla="*/ 2656953 h 4996841"/>
                <a:gd name="connsiteX2856" fmla="*/ 795734 w 3214184"/>
                <a:gd name="connsiteY2856" fmla="*/ 2661007 h 4996841"/>
                <a:gd name="connsiteX2857" fmla="*/ 794675 w 3214184"/>
                <a:gd name="connsiteY2857" fmla="*/ 2664516 h 4996841"/>
                <a:gd name="connsiteX2858" fmla="*/ 794312 w 3214184"/>
                <a:gd name="connsiteY2858" fmla="*/ 2667511 h 4996841"/>
                <a:gd name="connsiteX2859" fmla="*/ 796823 w 3214184"/>
                <a:gd name="connsiteY2859" fmla="*/ 2670052 h 4996841"/>
                <a:gd name="connsiteX2860" fmla="*/ 807320 w 3214184"/>
                <a:gd name="connsiteY2860" fmla="*/ 2674650 h 4996841"/>
                <a:gd name="connsiteX2861" fmla="*/ 812705 w 3214184"/>
                <a:gd name="connsiteY2861" fmla="*/ 2680247 h 4996841"/>
                <a:gd name="connsiteX2862" fmla="*/ 814066 w 3214184"/>
                <a:gd name="connsiteY2862" fmla="*/ 2681638 h 4996841"/>
                <a:gd name="connsiteX2863" fmla="*/ 824261 w 3214184"/>
                <a:gd name="connsiteY2863" fmla="*/ 2687507 h 4996841"/>
                <a:gd name="connsiteX2864" fmla="*/ 826106 w 3214184"/>
                <a:gd name="connsiteY2864" fmla="*/ 2689020 h 4996841"/>
                <a:gd name="connsiteX2865" fmla="*/ 827377 w 3214184"/>
                <a:gd name="connsiteY2865" fmla="*/ 2691470 h 4996841"/>
                <a:gd name="connsiteX2866" fmla="*/ 827952 w 3214184"/>
                <a:gd name="connsiteY2866" fmla="*/ 2695463 h 4996841"/>
                <a:gd name="connsiteX2867" fmla="*/ 827468 w 3214184"/>
                <a:gd name="connsiteY2867" fmla="*/ 2705053 h 4996841"/>
                <a:gd name="connsiteX2868" fmla="*/ 826742 w 3214184"/>
                <a:gd name="connsiteY2868" fmla="*/ 2710287 h 4996841"/>
                <a:gd name="connsiteX2869" fmla="*/ 825804 w 3214184"/>
                <a:gd name="connsiteY2869" fmla="*/ 2713947 h 4996841"/>
                <a:gd name="connsiteX2870" fmla="*/ 822749 w 3214184"/>
                <a:gd name="connsiteY2870" fmla="*/ 2716609 h 4996841"/>
                <a:gd name="connsiteX2871" fmla="*/ 813401 w 3214184"/>
                <a:gd name="connsiteY2871" fmla="*/ 2720814 h 4996841"/>
                <a:gd name="connsiteX2872" fmla="*/ 811495 w 3214184"/>
                <a:gd name="connsiteY2872" fmla="*/ 2723385 h 4996841"/>
                <a:gd name="connsiteX2873" fmla="*/ 812887 w 3214184"/>
                <a:gd name="connsiteY2873" fmla="*/ 2726501 h 4996841"/>
                <a:gd name="connsiteX2874" fmla="*/ 815488 w 3214184"/>
                <a:gd name="connsiteY2874" fmla="*/ 2727742 h 4996841"/>
                <a:gd name="connsiteX2875" fmla="*/ 817848 w 3214184"/>
                <a:gd name="connsiteY2875" fmla="*/ 2729436 h 4996841"/>
                <a:gd name="connsiteX2876" fmla="*/ 818392 w 3214184"/>
                <a:gd name="connsiteY2876" fmla="*/ 2733792 h 4996841"/>
                <a:gd name="connsiteX2877" fmla="*/ 817908 w 3214184"/>
                <a:gd name="connsiteY2877" fmla="*/ 2735637 h 4996841"/>
                <a:gd name="connsiteX2878" fmla="*/ 816275 w 3214184"/>
                <a:gd name="connsiteY2878" fmla="*/ 2739298 h 4996841"/>
                <a:gd name="connsiteX2879" fmla="*/ 815669 w 3214184"/>
                <a:gd name="connsiteY2879" fmla="*/ 2741143 h 4996841"/>
                <a:gd name="connsiteX2880" fmla="*/ 815428 w 3214184"/>
                <a:gd name="connsiteY2880" fmla="*/ 2742898 h 4996841"/>
                <a:gd name="connsiteX2881" fmla="*/ 815186 w 3214184"/>
                <a:gd name="connsiteY2881" fmla="*/ 2746255 h 4996841"/>
                <a:gd name="connsiteX2882" fmla="*/ 814853 w 3214184"/>
                <a:gd name="connsiteY2882" fmla="*/ 2748192 h 4996841"/>
                <a:gd name="connsiteX2883" fmla="*/ 808197 w 3214184"/>
                <a:gd name="connsiteY2883" fmla="*/ 2761411 h 4996841"/>
                <a:gd name="connsiteX2884" fmla="*/ 806141 w 3214184"/>
                <a:gd name="connsiteY2884" fmla="*/ 2767371 h 4996841"/>
                <a:gd name="connsiteX2885" fmla="*/ 807744 w 3214184"/>
                <a:gd name="connsiteY2885" fmla="*/ 2767734 h 4996841"/>
                <a:gd name="connsiteX2886" fmla="*/ 809438 w 3214184"/>
                <a:gd name="connsiteY2886" fmla="*/ 2768157 h 4996841"/>
                <a:gd name="connsiteX2887" fmla="*/ 817787 w 3214184"/>
                <a:gd name="connsiteY2887" fmla="*/ 2763832 h 4996841"/>
                <a:gd name="connsiteX2888" fmla="*/ 822023 w 3214184"/>
                <a:gd name="connsiteY2888" fmla="*/ 2762773 h 4996841"/>
                <a:gd name="connsiteX2889" fmla="*/ 826500 w 3214184"/>
                <a:gd name="connsiteY2889" fmla="*/ 2763952 h 4996841"/>
                <a:gd name="connsiteX2890" fmla="*/ 828647 w 3214184"/>
                <a:gd name="connsiteY2890" fmla="*/ 2765616 h 4996841"/>
                <a:gd name="connsiteX2891" fmla="*/ 832611 w 3214184"/>
                <a:gd name="connsiteY2891" fmla="*/ 2769791 h 4996841"/>
                <a:gd name="connsiteX2892" fmla="*/ 834819 w 3214184"/>
                <a:gd name="connsiteY2892" fmla="*/ 2771395 h 4996841"/>
                <a:gd name="connsiteX2893" fmla="*/ 835363 w 3214184"/>
                <a:gd name="connsiteY2893" fmla="*/ 2773814 h 4996841"/>
                <a:gd name="connsiteX2894" fmla="*/ 833488 w 3214184"/>
                <a:gd name="connsiteY2894" fmla="*/ 2777687 h 4996841"/>
                <a:gd name="connsiteX2895" fmla="*/ 831098 w 3214184"/>
                <a:gd name="connsiteY2895" fmla="*/ 2781680 h 4996841"/>
                <a:gd name="connsiteX2896" fmla="*/ 830039 w 3214184"/>
                <a:gd name="connsiteY2896" fmla="*/ 2784493 h 4996841"/>
                <a:gd name="connsiteX2897" fmla="*/ 831763 w 3214184"/>
                <a:gd name="connsiteY2897" fmla="*/ 2787397 h 4996841"/>
                <a:gd name="connsiteX2898" fmla="*/ 841625 w 3214184"/>
                <a:gd name="connsiteY2898" fmla="*/ 2793871 h 4996841"/>
                <a:gd name="connsiteX2899" fmla="*/ 842654 w 3214184"/>
                <a:gd name="connsiteY2899" fmla="*/ 2796745 h 4996841"/>
                <a:gd name="connsiteX2900" fmla="*/ 842745 w 3214184"/>
                <a:gd name="connsiteY2900" fmla="*/ 2804278 h 4996841"/>
                <a:gd name="connsiteX2901" fmla="*/ 843289 w 3214184"/>
                <a:gd name="connsiteY2901" fmla="*/ 2807847 h 4996841"/>
                <a:gd name="connsiteX2902" fmla="*/ 844651 w 3214184"/>
                <a:gd name="connsiteY2902" fmla="*/ 2810570 h 4996841"/>
                <a:gd name="connsiteX2903" fmla="*/ 846405 w 3214184"/>
                <a:gd name="connsiteY2903" fmla="*/ 2812385 h 4996841"/>
                <a:gd name="connsiteX2904" fmla="*/ 854482 w 3214184"/>
                <a:gd name="connsiteY2904" fmla="*/ 2816015 h 4996841"/>
                <a:gd name="connsiteX2905" fmla="*/ 856267 w 3214184"/>
                <a:gd name="connsiteY2905" fmla="*/ 2817255 h 4996841"/>
                <a:gd name="connsiteX2906" fmla="*/ 856872 w 3214184"/>
                <a:gd name="connsiteY2906" fmla="*/ 2819222 h 4996841"/>
                <a:gd name="connsiteX2907" fmla="*/ 856176 w 3214184"/>
                <a:gd name="connsiteY2907" fmla="*/ 2820704 h 4996841"/>
                <a:gd name="connsiteX2908" fmla="*/ 853544 w 3214184"/>
                <a:gd name="connsiteY2908" fmla="*/ 2822973 h 4996841"/>
                <a:gd name="connsiteX2909" fmla="*/ 852909 w 3214184"/>
                <a:gd name="connsiteY2909" fmla="*/ 2824970 h 4996841"/>
                <a:gd name="connsiteX2910" fmla="*/ 853242 w 3214184"/>
                <a:gd name="connsiteY2910" fmla="*/ 2826573 h 4996841"/>
                <a:gd name="connsiteX2911" fmla="*/ 854059 w 3214184"/>
                <a:gd name="connsiteY2911" fmla="*/ 2828086 h 4996841"/>
                <a:gd name="connsiteX2912" fmla="*/ 859292 w 3214184"/>
                <a:gd name="connsiteY2912" fmla="*/ 2834227 h 4996841"/>
                <a:gd name="connsiteX2913" fmla="*/ 860079 w 3214184"/>
                <a:gd name="connsiteY2913" fmla="*/ 2835618 h 4996841"/>
                <a:gd name="connsiteX2914" fmla="*/ 860442 w 3214184"/>
                <a:gd name="connsiteY2914" fmla="*/ 2837403 h 4996841"/>
                <a:gd name="connsiteX2915" fmla="*/ 860079 w 3214184"/>
                <a:gd name="connsiteY2915" fmla="*/ 2843151 h 4996841"/>
                <a:gd name="connsiteX2916" fmla="*/ 860351 w 3214184"/>
                <a:gd name="connsiteY2916" fmla="*/ 2846993 h 4996841"/>
                <a:gd name="connsiteX2917" fmla="*/ 861077 w 3214184"/>
                <a:gd name="connsiteY2917" fmla="*/ 2850351 h 4996841"/>
                <a:gd name="connsiteX2918" fmla="*/ 865161 w 3214184"/>
                <a:gd name="connsiteY2918" fmla="*/ 2861725 h 4996841"/>
                <a:gd name="connsiteX2919" fmla="*/ 865373 w 3214184"/>
                <a:gd name="connsiteY2919" fmla="*/ 2863510 h 4996841"/>
                <a:gd name="connsiteX2920" fmla="*/ 865221 w 3214184"/>
                <a:gd name="connsiteY2920" fmla="*/ 2865961 h 4996841"/>
                <a:gd name="connsiteX2921" fmla="*/ 864647 w 3214184"/>
                <a:gd name="connsiteY2921" fmla="*/ 2867261 h 4996841"/>
                <a:gd name="connsiteX2922" fmla="*/ 863830 w 3214184"/>
                <a:gd name="connsiteY2922" fmla="*/ 2868350 h 4996841"/>
                <a:gd name="connsiteX2923" fmla="*/ 863013 w 3214184"/>
                <a:gd name="connsiteY2923" fmla="*/ 2870105 h 4996841"/>
                <a:gd name="connsiteX2924" fmla="*/ 862106 w 3214184"/>
                <a:gd name="connsiteY2924" fmla="*/ 2874037 h 4996841"/>
                <a:gd name="connsiteX2925" fmla="*/ 861531 w 3214184"/>
                <a:gd name="connsiteY2925" fmla="*/ 2877940 h 4996841"/>
                <a:gd name="connsiteX2926" fmla="*/ 860593 w 3214184"/>
                <a:gd name="connsiteY2926" fmla="*/ 2881600 h 4996841"/>
                <a:gd name="connsiteX2927" fmla="*/ 858536 w 3214184"/>
                <a:gd name="connsiteY2927" fmla="*/ 2884807 h 4996841"/>
                <a:gd name="connsiteX2928" fmla="*/ 860593 w 3214184"/>
                <a:gd name="connsiteY2928" fmla="*/ 2887651 h 4996841"/>
                <a:gd name="connsiteX2929" fmla="*/ 867581 w 3214184"/>
                <a:gd name="connsiteY2929" fmla="*/ 2894699 h 4996841"/>
                <a:gd name="connsiteX2930" fmla="*/ 870667 w 3214184"/>
                <a:gd name="connsiteY2930" fmla="*/ 2898753 h 4996841"/>
                <a:gd name="connsiteX2931" fmla="*/ 872724 w 3214184"/>
                <a:gd name="connsiteY2931" fmla="*/ 2900689 h 4996841"/>
                <a:gd name="connsiteX2932" fmla="*/ 874872 w 3214184"/>
                <a:gd name="connsiteY2932" fmla="*/ 2901324 h 4996841"/>
                <a:gd name="connsiteX2933" fmla="*/ 877141 w 3214184"/>
                <a:gd name="connsiteY2933" fmla="*/ 2900084 h 4996841"/>
                <a:gd name="connsiteX2934" fmla="*/ 880438 w 3214184"/>
                <a:gd name="connsiteY2934" fmla="*/ 2895304 h 4996841"/>
                <a:gd name="connsiteX2935" fmla="*/ 882798 w 3214184"/>
                <a:gd name="connsiteY2935" fmla="*/ 2893701 h 4996841"/>
                <a:gd name="connsiteX2936" fmla="*/ 897681 w 3214184"/>
                <a:gd name="connsiteY2936" fmla="*/ 2892188 h 4996841"/>
                <a:gd name="connsiteX2937" fmla="*/ 903429 w 3214184"/>
                <a:gd name="connsiteY2937" fmla="*/ 2893096 h 4996841"/>
                <a:gd name="connsiteX2938" fmla="*/ 905063 w 3214184"/>
                <a:gd name="connsiteY2938" fmla="*/ 2893731 h 4996841"/>
                <a:gd name="connsiteX2939" fmla="*/ 906030 w 3214184"/>
                <a:gd name="connsiteY2939" fmla="*/ 2894639 h 4996841"/>
                <a:gd name="connsiteX2940" fmla="*/ 907664 w 3214184"/>
                <a:gd name="connsiteY2940" fmla="*/ 2897482 h 4996841"/>
                <a:gd name="connsiteX2941" fmla="*/ 911173 w 3214184"/>
                <a:gd name="connsiteY2941" fmla="*/ 2902141 h 4996841"/>
                <a:gd name="connsiteX2942" fmla="*/ 912051 w 3214184"/>
                <a:gd name="connsiteY2942" fmla="*/ 2903835 h 4996841"/>
                <a:gd name="connsiteX2943" fmla="*/ 912988 w 3214184"/>
                <a:gd name="connsiteY2943" fmla="*/ 2907707 h 4996841"/>
                <a:gd name="connsiteX2944" fmla="*/ 913563 w 3214184"/>
                <a:gd name="connsiteY2944" fmla="*/ 2911640 h 4996841"/>
                <a:gd name="connsiteX2945" fmla="*/ 914622 w 3214184"/>
                <a:gd name="connsiteY2945" fmla="*/ 2914968 h 4996841"/>
                <a:gd name="connsiteX2946" fmla="*/ 917224 w 3214184"/>
                <a:gd name="connsiteY2946" fmla="*/ 2917115 h 4996841"/>
                <a:gd name="connsiteX2947" fmla="*/ 924968 w 3214184"/>
                <a:gd name="connsiteY2947" fmla="*/ 2919173 h 4996841"/>
                <a:gd name="connsiteX2948" fmla="*/ 927177 w 3214184"/>
                <a:gd name="connsiteY2948" fmla="*/ 2918628 h 4996841"/>
                <a:gd name="connsiteX2949" fmla="*/ 927388 w 3214184"/>
                <a:gd name="connsiteY2949" fmla="*/ 2914756 h 4996841"/>
                <a:gd name="connsiteX2950" fmla="*/ 930081 w 3214184"/>
                <a:gd name="connsiteY2950" fmla="*/ 2912215 h 4996841"/>
                <a:gd name="connsiteX2951" fmla="*/ 936373 w 3214184"/>
                <a:gd name="connsiteY2951" fmla="*/ 2909643 h 4996841"/>
                <a:gd name="connsiteX2952" fmla="*/ 936373 w 3214184"/>
                <a:gd name="connsiteY2952" fmla="*/ 2909643 h 4996841"/>
                <a:gd name="connsiteX2953" fmla="*/ 942272 w 3214184"/>
                <a:gd name="connsiteY2953" fmla="*/ 2906074 h 4996841"/>
                <a:gd name="connsiteX2954" fmla="*/ 947293 w 3214184"/>
                <a:gd name="connsiteY2954" fmla="*/ 2904319 h 4996841"/>
                <a:gd name="connsiteX2955" fmla="*/ 953132 w 3214184"/>
                <a:gd name="connsiteY2955" fmla="*/ 2904471 h 4996841"/>
                <a:gd name="connsiteX2956" fmla="*/ 958819 w 3214184"/>
                <a:gd name="connsiteY2956" fmla="*/ 2906316 h 4996841"/>
                <a:gd name="connsiteX2957" fmla="*/ 963629 w 3214184"/>
                <a:gd name="connsiteY2957" fmla="*/ 2909613 h 4996841"/>
                <a:gd name="connsiteX2958" fmla="*/ 966776 w 3214184"/>
                <a:gd name="connsiteY2958" fmla="*/ 2911882 h 4996841"/>
                <a:gd name="connsiteX2959" fmla="*/ 982204 w 3214184"/>
                <a:gd name="connsiteY2959" fmla="*/ 2915906 h 4996841"/>
                <a:gd name="connsiteX2960" fmla="*/ 984019 w 3214184"/>
                <a:gd name="connsiteY2960" fmla="*/ 2916934 h 4996841"/>
                <a:gd name="connsiteX2961" fmla="*/ 985803 w 3214184"/>
                <a:gd name="connsiteY2961" fmla="*/ 2918568 h 4996841"/>
                <a:gd name="connsiteX2962" fmla="*/ 987649 w 3214184"/>
                <a:gd name="connsiteY2962" fmla="*/ 2920837 h 4996841"/>
                <a:gd name="connsiteX2963" fmla="*/ 988587 w 3214184"/>
                <a:gd name="connsiteY2963" fmla="*/ 2922349 h 4996841"/>
                <a:gd name="connsiteX2964" fmla="*/ 988919 w 3214184"/>
                <a:gd name="connsiteY2964" fmla="*/ 2923680 h 4996841"/>
                <a:gd name="connsiteX2965" fmla="*/ 988526 w 3214184"/>
                <a:gd name="connsiteY2965" fmla="*/ 2924739 h 4996841"/>
                <a:gd name="connsiteX2966" fmla="*/ 987830 w 3214184"/>
                <a:gd name="connsiteY2966" fmla="*/ 2924890 h 4996841"/>
                <a:gd name="connsiteX2967" fmla="*/ 987014 w 3214184"/>
                <a:gd name="connsiteY2967" fmla="*/ 2924830 h 4996841"/>
                <a:gd name="connsiteX2968" fmla="*/ 986197 w 3214184"/>
                <a:gd name="connsiteY2968" fmla="*/ 2925162 h 4996841"/>
                <a:gd name="connsiteX2969" fmla="*/ 985259 w 3214184"/>
                <a:gd name="connsiteY2969" fmla="*/ 2925858 h 4996841"/>
                <a:gd name="connsiteX2970" fmla="*/ 984442 w 3214184"/>
                <a:gd name="connsiteY2970" fmla="*/ 2926161 h 4996841"/>
                <a:gd name="connsiteX2971" fmla="*/ 983656 w 3214184"/>
                <a:gd name="connsiteY2971" fmla="*/ 2926766 h 4996841"/>
                <a:gd name="connsiteX2972" fmla="*/ 982869 w 3214184"/>
                <a:gd name="connsiteY2972" fmla="*/ 2928127 h 4996841"/>
                <a:gd name="connsiteX2973" fmla="*/ 982536 w 3214184"/>
                <a:gd name="connsiteY2973" fmla="*/ 2929579 h 4996841"/>
                <a:gd name="connsiteX2974" fmla="*/ 981992 w 3214184"/>
                <a:gd name="connsiteY2974" fmla="*/ 2933603 h 4996841"/>
                <a:gd name="connsiteX2975" fmla="*/ 981629 w 3214184"/>
                <a:gd name="connsiteY2975" fmla="*/ 2935357 h 4996841"/>
                <a:gd name="connsiteX2976" fmla="*/ 979239 w 3214184"/>
                <a:gd name="connsiteY2976" fmla="*/ 2940863 h 4996841"/>
                <a:gd name="connsiteX2977" fmla="*/ 978785 w 3214184"/>
                <a:gd name="connsiteY2977" fmla="*/ 2943465 h 4996841"/>
                <a:gd name="connsiteX2978" fmla="*/ 979481 w 3214184"/>
                <a:gd name="connsiteY2978" fmla="*/ 2946913 h 4996841"/>
                <a:gd name="connsiteX2979" fmla="*/ 980752 w 3214184"/>
                <a:gd name="connsiteY2979" fmla="*/ 2949303 h 4996841"/>
                <a:gd name="connsiteX2980" fmla="*/ 985774 w 3214184"/>
                <a:gd name="connsiteY2980" fmla="*/ 2953206 h 4996841"/>
                <a:gd name="connsiteX2981" fmla="*/ 990583 w 3214184"/>
                <a:gd name="connsiteY2981" fmla="*/ 2959830 h 4996841"/>
                <a:gd name="connsiteX2982" fmla="*/ 992610 w 3214184"/>
                <a:gd name="connsiteY2982" fmla="*/ 2960859 h 4996841"/>
                <a:gd name="connsiteX2983" fmla="*/ 995333 w 3214184"/>
                <a:gd name="connsiteY2983" fmla="*/ 2960133 h 4996841"/>
                <a:gd name="connsiteX2984" fmla="*/ 1003108 w 3214184"/>
                <a:gd name="connsiteY2984" fmla="*/ 2951511 h 4996841"/>
                <a:gd name="connsiteX2985" fmla="*/ 1013030 w 3214184"/>
                <a:gd name="connsiteY2985" fmla="*/ 2946157 h 4996841"/>
                <a:gd name="connsiteX2986" fmla="*/ 1015752 w 3214184"/>
                <a:gd name="connsiteY2986" fmla="*/ 2945612 h 4996841"/>
                <a:gd name="connsiteX2987" fmla="*/ 1022650 w 3214184"/>
                <a:gd name="connsiteY2987" fmla="*/ 2947276 h 4996841"/>
                <a:gd name="connsiteX2988" fmla="*/ 1025282 w 3214184"/>
                <a:gd name="connsiteY2988" fmla="*/ 2945975 h 4996841"/>
                <a:gd name="connsiteX2989" fmla="*/ 1029184 w 3214184"/>
                <a:gd name="connsiteY2989" fmla="*/ 2939229 h 4996841"/>
                <a:gd name="connsiteX2990" fmla="*/ 1031665 w 3214184"/>
                <a:gd name="connsiteY2990" fmla="*/ 2936265 h 4996841"/>
                <a:gd name="connsiteX2991" fmla="*/ 1035537 w 3214184"/>
                <a:gd name="connsiteY2991" fmla="*/ 2934177 h 4996841"/>
                <a:gd name="connsiteX2992" fmla="*/ 1039560 w 3214184"/>
                <a:gd name="connsiteY2992" fmla="*/ 2933330 h 4996841"/>
                <a:gd name="connsiteX2993" fmla="*/ 1043645 w 3214184"/>
                <a:gd name="connsiteY2993" fmla="*/ 2933572 h 4996841"/>
                <a:gd name="connsiteX2994" fmla="*/ 1055503 w 3214184"/>
                <a:gd name="connsiteY2994" fmla="*/ 2937656 h 4996841"/>
                <a:gd name="connsiteX2995" fmla="*/ 1058135 w 3214184"/>
                <a:gd name="connsiteY2995" fmla="*/ 2936870 h 4996841"/>
                <a:gd name="connsiteX2996" fmla="*/ 1062672 w 3214184"/>
                <a:gd name="connsiteY2996" fmla="*/ 2932846 h 4996841"/>
                <a:gd name="connsiteX2997" fmla="*/ 1064972 w 3214184"/>
                <a:gd name="connsiteY2997" fmla="*/ 2931757 h 4996841"/>
                <a:gd name="connsiteX2998" fmla="*/ 1066756 w 3214184"/>
                <a:gd name="connsiteY2998" fmla="*/ 2932211 h 4996841"/>
                <a:gd name="connsiteX2999" fmla="*/ 1070175 w 3214184"/>
                <a:gd name="connsiteY2999" fmla="*/ 2935085 h 4996841"/>
                <a:gd name="connsiteX3000" fmla="*/ 1072111 w 3214184"/>
                <a:gd name="connsiteY3000" fmla="*/ 2936235 h 4996841"/>
                <a:gd name="connsiteX3001" fmla="*/ 1092047 w 3214184"/>
                <a:gd name="connsiteY3001" fmla="*/ 2942376 h 4996841"/>
                <a:gd name="connsiteX3002" fmla="*/ 1092924 w 3214184"/>
                <a:gd name="connsiteY3002" fmla="*/ 2943313 h 4996841"/>
                <a:gd name="connsiteX3003" fmla="*/ 1092924 w 3214184"/>
                <a:gd name="connsiteY3003" fmla="*/ 2944705 h 4996841"/>
                <a:gd name="connsiteX3004" fmla="*/ 1092349 w 3214184"/>
                <a:gd name="connsiteY3004" fmla="*/ 2946036 h 4996841"/>
                <a:gd name="connsiteX3005" fmla="*/ 1092107 w 3214184"/>
                <a:gd name="connsiteY3005" fmla="*/ 2947427 h 4996841"/>
                <a:gd name="connsiteX3006" fmla="*/ 1093257 w 3214184"/>
                <a:gd name="connsiteY3006" fmla="*/ 2948819 h 4996841"/>
                <a:gd name="connsiteX3007" fmla="*/ 1102181 w 3214184"/>
                <a:gd name="connsiteY3007" fmla="*/ 2952843 h 4996841"/>
                <a:gd name="connsiteX3008" fmla="*/ 1103240 w 3214184"/>
                <a:gd name="connsiteY3008" fmla="*/ 2953629 h 4996841"/>
                <a:gd name="connsiteX3009" fmla="*/ 1103966 w 3214184"/>
                <a:gd name="connsiteY3009" fmla="*/ 2954688 h 4996841"/>
                <a:gd name="connsiteX3010" fmla="*/ 1104389 w 3214184"/>
                <a:gd name="connsiteY3010" fmla="*/ 2956745 h 4996841"/>
                <a:gd name="connsiteX3011" fmla="*/ 1104057 w 3214184"/>
                <a:gd name="connsiteY3011" fmla="*/ 2958258 h 4996841"/>
                <a:gd name="connsiteX3012" fmla="*/ 1103602 w 3214184"/>
                <a:gd name="connsiteY3012" fmla="*/ 2959589 h 4996841"/>
                <a:gd name="connsiteX3013" fmla="*/ 1103602 w 3214184"/>
                <a:gd name="connsiteY3013" fmla="*/ 2961101 h 4996841"/>
                <a:gd name="connsiteX3014" fmla="*/ 1104873 w 3214184"/>
                <a:gd name="connsiteY3014" fmla="*/ 2963370 h 4996841"/>
                <a:gd name="connsiteX3015" fmla="*/ 1106900 w 3214184"/>
                <a:gd name="connsiteY3015" fmla="*/ 2964671 h 4996841"/>
                <a:gd name="connsiteX3016" fmla="*/ 1109169 w 3214184"/>
                <a:gd name="connsiteY3016" fmla="*/ 2965155 h 4996841"/>
                <a:gd name="connsiteX3017" fmla="*/ 1113283 w 3214184"/>
                <a:gd name="connsiteY3017" fmla="*/ 2964852 h 4996841"/>
                <a:gd name="connsiteX3018" fmla="*/ 1114645 w 3214184"/>
                <a:gd name="connsiteY3018" fmla="*/ 2965548 h 4996841"/>
                <a:gd name="connsiteX3019" fmla="*/ 1115643 w 3214184"/>
                <a:gd name="connsiteY3019" fmla="*/ 2967151 h 4996841"/>
                <a:gd name="connsiteX3020" fmla="*/ 1116641 w 3214184"/>
                <a:gd name="connsiteY3020" fmla="*/ 2969723 h 4996841"/>
                <a:gd name="connsiteX3021" fmla="*/ 1119575 w 3214184"/>
                <a:gd name="connsiteY3021" fmla="*/ 2975017 h 4996841"/>
                <a:gd name="connsiteX3022" fmla="*/ 1122450 w 3214184"/>
                <a:gd name="connsiteY3022" fmla="*/ 2975471 h 4996841"/>
                <a:gd name="connsiteX3023" fmla="*/ 1125777 w 3214184"/>
                <a:gd name="connsiteY3023" fmla="*/ 2973686 h 4996841"/>
                <a:gd name="connsiteX3024" fmla="*/ 1130193 w 3214184"/>
                <a:gd name="connsiteY3024" fmla="*/ 2972294 h 4996841"/>
                <a:gd name="connsiteX3025" fmla="*/ 1134066 w 3214184"/>
                <a:gd name="connsiteY3025" fmla="*/ 2973988 h 4996841"/>
                <a:gd name="connsiteX3026" fmla="*/ 1136153 w 3214184"/>
                <a:gd name="connsiteY3026" fmla="*/ 2977709 h 4996841"/>
                <a:gd name="connsiteX3027" fmla="*/ 1136728 w 3214184"/>
                <a:gd name="connsiteY3027" fmla="*/ 2978738 h 4996841"/>
                <a:gd name="connsiteX3028" fmla="*/ 1137424 w 3214184"/>
                <a:gd name="connsiteY3028" fmla="*/ 2984788 h 4996841"/>
                <a:gd name="connsiteX3029" fmla="*/ 1135397 w 3214184"/>
                <a:gd name="connsiteY3029" fmla="*/ 2990536 h 4996841"/>
                <a:gd name="connsiteX3030" fmla="*/ 1136879 w 3214184"/>
                <a:gd name="connsiteY3030" fmla="*/ 2991474 h 4996841"/>
                <a:gd name="connsiteX3031" fmla="*/ 1137363 w 3214184"/>
                <a:gd name="connsiteY3031" fmla="*/ 2991655 h 4996841"/>
                <a:gd name="connsiteX3032" fmla="*/ 1136759 w 3214184"/>
                <a:gd name="connsiteY3032" fmla="*/ 2993712 h 4996841"/>
                <a:gd name="connsiteX3033" fmla="*/ 1134157 w 3214184"/>
                <a:gd name="connsiteY3033" fmla="*/ 2995618 h 4996841"/>
                <a:gd name="connsiteX3034" fmla="*/ 1133552 w 3214184"/>
                <a:gd name="connsiteY3034" fmla="*/ 2998341 h 4996841"/>
                <a:gd name="connsiteX3035" fmla="*/ 1134338 w 3214184"/>
                <a:gd name="connsiteY3035" fmla="*/ 3001245 h 4996841"/>
                <a:gd name="connsiteX3036" fmla="*/ 1136002 w 3214184"/>
                <a:gd name="connsiteY3036" fmla="*/ 3003302 h 4996841"/>
                <a:gd name="connsiteX3037" fmla="*/ 1137303 w 3214184"/>
                <a:gd name="connsiteY3037" fmla="*/ 3005450 h 4996841"/>
                <a:gd name="connsiteX3038" fmla="*/ 1137303 w 3214184"/>
                <a:gd name="connsiteY3038" fmla="*/ 3008687 h 4996841"/>
                <a:gd name="connsiteX3039" fmla="*/ 1136033 w 3214184"/>
                <a:gd name="connsiteY3039" fmla="*/ 3010623 h 4996841"/>
                <a:gd name="connsiteX3040" fmla="*/ 1129982 w 3214184"/>
                <a:gd name="connsiteY3040" fmla="*/ 3014646 h 4996841"/>
                <a:gd name="connsiteX3041" fmla="*/ 1126533 w 3214184"/>
                <a:gd name="connsiteY3041" fmla="*/ 3019244 h 4996841"/>
                <a:gd name="connsiteX3042" fmla="*/ 1125081 w 3214184"/>
                <a:gd name="connsiteY3042" fmla="*/ 3022269 h 4996841"/>
                <a:gd name="connsiteX3043" fmla="*/ 1124839 w 3214184"/>
                <a:gd name="connsiteY3043" fmla="*/ 3025325 h 4996841"/>
                <a:gd name="connsiteX3044" fmla="*/ 1125777 w 3214184"/>
                <a:gd name="connsiteY3044" fmla="*/ 3027382 h 4996841"/>
                <a:gd name="connsiteX3045" fmla="*/ 1127562 w 3214184"/>
                <a:gd name="connsiteY3045" fmla="*/ 3028743 h 4996841"/>
                <a:gd name="connsiteX3046" fmla="*/ 1131101 w 3214184"/>
                <a:gd name="connsiteY3046" fmla="*/ 3030528 h 4996841"/>
                <a:gd name="connsiteX3047" fmla="*/ 1132432 w 3214184"/>
                <a:gd name="connsiteY3047" fmla="*/ 3032464 h 4996841"/>
                <a:gd name="connsiteX3048" fmla="*/ 1134126 w 3214184"/>
                <a:gd name="connsiteY3048" fmla="*/ 3038454 h 4996841"/>
                <a:gd name="connsiteX3049" fmla="*/ 1135578 w 3214184"/>
                <a:gd name="connsiteY3049" fmla="*/ 3040451 h 4996841"/>
                <a:gd name="connsiteX3050" fmla="*/ 1140237 w 3214184"/>
                <a:gd name="connsiteY3050" fmla="*/ 3043808 h 4996841"/>
                <a:gd name="connsiteX3051" fmla="*/ 1141508 w 3214184"/>
                <a:gd name="connsiteY3051" fmla="*/ 3045261 h 4996841"/>
                <a:gd name="connsiteX3052" fmla="*/ 1141659 w 3214184"/>
                <a:gd name="connsiteY3052" fmla="*/ 3045896 h 4996841"/>
                <a:gd name="connsiteX3053" fmla="*/ 1141205 w 3214184"/>
                <a:gd name="connsiteY3053" fmla="*/ 3047348 h 4996841"/>
                <a:gd name="connsiteX3054" fmla="*/ 1141357 w 3214184"/>
                <a:gd name="connsiteY3054" fmla="*/ 3048195 h 4996841"/>
                <a:gd name="connsiteX3055" fmla="*/ 1141719 w 3214184"/>
                <a:gd name="connsiteY3055" fmla="*/ 3048467 h 4996841"/>
                <a:gd name="connsiteX3056" fmla="*/ 1142748 w 3214184"/>
                <a:gd name="connsiteY3056" fmla="*/ 3048770 h 4996841"/>
                <a:gd name="connsiteX3057" fmla="*/ 1142990 w 3214184"/>
                <a:gd name="connsiteY3057" fmla="*/ 3048982 h 4996841"/>
                <a:gd name="connsiteX3058" fmla="*/ 1143444 w 3214184"/>
                <a:gd name="connsiteY3058" fmla="*/ 3049859 h 4996841"/>
                <a:gd name="connsiteX3059" fmla="*/ 1143897 w 3214184"/>
                <a:gd name="connsiteY3059" fmla="*/ 3050403 h 4996841"/>
                <a:gd name="connsiteX3060" fmla="*/ 1144049 w 3214184"/>
                <a:gd name="connsiteY3060" fmla="*/ 3051190 h 4996841"/>
                <a:gd name="connsiteX3061" fmla="*/ 1143565 w 3214184"/>
                <a:gd name="connsiteY3061" fmla="*/ 3052884 h 4996841"/>
                <a:gd name="connsiteX3062" fmla="*/ 1142779 w 3214184"/>
                <a:gd name="connsiteY3062" fmla="*/ 3053973 h 4996841"/>
                <a:gd name="connsiteX3063" fmla="*/ 1142536 w 3214184"/>
                <a:gd name="connsiteY3063" fmla="*/ 3055123 h 4996841"/>
                <a:gd name="connsiteX3064" fmla="*/ 1142839 w 3214184"/>
                <a:gd name="connsiteY3064" fmla="*/ 3056333 h 4996841"/>
                <a:gd name="connsiteX3065" fmla="*/ 1143565 w 3214184"/>
                <a:gd name="connsiteY3065" fmla="*/ 3057573 h 4996841"/>
                <a:gd name="connsiteX3066" fmla="*/ 1144926 w 3214184"/>
                <a:gd name="connsiteY3066" fmla="*/ 3060689 h 4996841"/>
                <a:gd name="connsiteX3067" fmla="*/ 1146166 w 3214184"/>
                <a:gd name="connsiteY3067" fmla="*/ 3064652 h 4996841"/>
                <a:gd name="connsiteX3068" fmla="*/ 1146075 w 3214184"/>
                <a:gd name="connsiteY3068" fmla="*/ 3067798 h 4996841"/>
                <a:gd name="connsiteX3069" fmla="*/ 1143565 w 3214184"/>
                <a:gd name="connsiteY3069" fmla="*/ 3068494 h 4996841"/>
                <a:gd name="connsiteX3070" fmla="*/ 1138815 w 3214184"/>
                <a:gd name="connsiteY3070" fmla="*/ 3067344 h 4996841"/>
                <a:gd name="connsiteX3071" fmla="*/ 1136759 w 3214184"/>
                <a:gd name="connsiteY3071" fmla="*/ 3067526 h 4996841"/>
                <a:gd name="connsiteX3072" fmla="*/ 1136093 w 3214184"/>
                <a:gd name="connsiteY3072" fmla="*/ 3069462 h 4996841"/>
                <a:gd name="connsiteX3073" fmla="*/ 1137121 w 3214184"/>
                <a:gd name="connsiteY3073" fmla="*/ 3072124 h 4996841"/>
                <a:gd name="connsiteX3074" fmla="*/ 1138603 w 3214184"/>
                <a:gd name="connsiteY3074" fmla="*/ 3073879 h 4996841"/>
                <a:gd name="connsiteX3075" fmla="*/ 1139058 w 3214184"/>
                <a:gd name="connsiteY3075" fmla="*/ 3075815 h 4996841"/>
                <a:gd name="connsiteX3076" fmla="*/ 1137151 w 3214184"/>
                <a:gd name="connsiteY3076" fmla="*/ 3078930 h 4996841"/>
                <a:gd name="connsiteX3077" fmla="*/ 1135366 w 3214184"/>
                <a:gd name="connsiteY3077" fmla="*/ 3080141 h 4996841"/>
                <a:gd name="connsiteX3078" fmla="*/ 1129226 w 3214184"/>
                <a:gd name="connsiteY3078" fmla="*/ 3081320 h 4996841"/>
                <a:gd name="connsiteX3079" fmla="*/ 1126836 w 3214184"/>
                <a:gd name="connsiteY3079" fmla="*/ 3083105 h 4996841"/>
                <a:gd name="connsiteX3080" fmla="*/ 1127078 w 3214184"/>
                <a:gd name="connsiteY3080" fmla="*/ 3084769 h 4996841"/>
                <a:gd name="connsiteX3081" fmla="*/ 1128076 w 3214184"/>
                <a:gd name="connsiteY3081" fmla="*/ 3087189 h 4996841"/>
                <a:gd name="connsiteX3082" fmla="*/ 1127955 w 3214184"/>
                <a:gd name="connsiteY3082" fmla="*/ 3091243 h 4996841"/>
                <a:gd name="connsiteX3083" fmla="*/ 1126382 w 3214184"/>
                <a:gd name="connsiteY3083" fmla="*/ 3093784 h 4996841"/>
                <a:gd name="connsiteX3084" fmla="*/ 1124113 w 3214184"/>
                <a:gd name="connsiteY3084" fmla="*/ 3096023 h 4996841"/>
                <a:gd name="connsiteX3085" fmla="*/ 1122086 w 3214184"/>
                <a:gd name="connsiteY3085" fmla="*/ 3098866 h 4996841"/>
                <a:gd name="connsiteX3086" fmla="*/ 1121542 w 3214184"/>
                <a:gd name="connsiteY3086" fmla="*/ 3103343 h 4996841"/>
                <a:gd name="connsiteX3087" fmla="*/ 1122359 w 3214184"/>
                <a:gd name="connsiteY3087" fmla="*/ 3105915 h 4996841"/>
                <a:gd name="connsiteX3088" fmla="*/ 1123871 w 3214184"/>
                <a:gd name="connsiteY3088" fmla="*/ 3106974 h 4996841"/>
                <a:gd name="connsiteX3089" fmla="*/ 1128015 w 3214184"/>
                <a:gd name="connsiteY3089" fmla="*/ 3108305 h 4996841"/>
                <a:gd name="connsiteX3090" fmla="*/ 1143444 w 3214184"/>
                <a:gd name="connsiteY3090" fmla="*/ 3118802 h 4996841"/>
                <a:gd name="connsiteX3091" fmla="*/ 1144926 w 3214184"/>
                <a:gd name="connsiteY3091" fmla="*/ 3121313 h 4996841"/>
                <a:gd name="connsiteX3092" fmla="*/ 1145289 w 3214184"/>
                <a:gd name="connsiteY3092" fmla="*/ 3124278 h 4996841"/>
                <a:gd name="connsiteX3093" fmla="*/ 1147528 w 3214184"/>
                <a:gd name="connsiteY3093" fmla="*/ 3123945 h 4996841"/>
                <a:gd name="connsiteX3094" fmla="*/ 1155968 w 3214184"/>
                <a:gd name="connsiteY3094" fmla="*/ 3124761 h 4996841"/>
                <a:gd name="connsiteX3095" fmla="*/ 1158358 w 3214184"/>
                <a:gd name="connsiteY3095" fmla="*/ 3129239 h 4996841"/>
                <a:gd name="connsiteX3096" fmla="*/ 1162321 w 3214184"/>
                <a:gd name="connsiteY3096" fmla="*/ 3132233 h 4996841"/>
                <a:gd name="connsiteX3097" fmla="*/ 1159447 w 3214184"/>
                <a:gd name="connsiteY3097" fmla="*/ 3138405 h 4996841"/>
                <a:gd name="connsiteX3098" fmla="*/ 1154425 w 3214184"/>
                <a:gd name="connsiteY3098" fmla="*/ 3145907 h 4996841"/>
                <a:gd name="connsiteX3099" fmla="*/ 1151915 w 3214184"/>
                <a:gd name="connsiteY3099" fmla="*/ 3152835 h 4996841"/>
                <a:gd name="connsiteX3100" fmla="*/ 1154849 w 3214184"/>
                <a:gd name="connsiteY3100" fmla="*/ 3154892 h 4996841"/>
                <a:gd name="connsiteX3101" fmla="*/ 1162351 w 3214184"/>
                <a:gd name="connsiteY3101" fmla="*/ 3156858 h 4996841"/>
                <a:gd name="connsiteX3102" fmla="*/ 1163470 w 3214184"/>
                <a:gd name="connsiteY3102" fmla="*/ 3159006 h 4996841"/>
                <a:gd name="connsiteX3103" fmla="*/ 1163470 w 3214184"/>
                <a:gd name="connsiteY3103" fmla="*/ 3159006 h 4996841"/>
                <a:gd name="connsiteX3104" fmla="*/ 1166465 w 3214184"/>
                <a:gd name="connsiteY3104" fmla="*/ 3159883 h 4996841"/>
                <a:gd name="connsiteX3105" fmla="*/ 1168099 w 3214184"/>
                <a:gd name="connsiteY3105" fmla="*/ 3163030 h 4996841"/>
                <a:gd name="connsiteX3106" fmla="*/ 1170458 w 3214184"/>
                <a:gd name="connsiteY3106" fmla="*/ 3171167 h 4996841"/>
                <a:gd name="connsiteX3107" fmla="*/ 1171789 w 3214184"/>
                <a:gd name="connsiteY3107" fmla="*/ 3173133 h 4996841"/>
                <a:gd name="connsiteX3108" fmla="*/ 1173060 w 3214184"/>
                <a:gd name="connsiteY3108" fmla="*/ 3174374 h 4996841"/>
                <a:gd name="connsiteX3109" fmla="*/ 1174088 w 3214184"/>
                <a:gd name="connsiteY3109" fmla="*/ 3175826 h 4996841"/>
                <a:gd name="connsiteX3110" fmla="*/ 1174845 w 3214184"/>
                <a:gd name="connsiteY3110" fmla="*/ 3178397 h 4996841"/>
                <a:gd name="connsiteX3111" fmla="*/ 1175571 w 3214184"/>
                <a:gd name="connsiteY3111" fmla="*/ 3187684 h 4996841"/>
                <a:gd name="connsiteX3112" fmla="*/ 1176630 w 3214184"/>
                <a:gd name="connsiteY3112" fmla="*/ 3192162 h 4996841"/>
                <a:gd name="connsiteX3113" fmla="*/ 1178112 w 3214184"/>
                <a:gd name="connsiteY3113" fmla="*/ 3194552 h 4996841"/>
                <a:gd name="connsiteX3114" fmla="*/ 1193782 w 3214184"/>
                <a:gd name="connsiteY3114" fmla="*/ 3206017 h 4996841"/>
                <a:gd name="connsiteX3115" fmla="*/ 1196384 w 3214184"/>
                <a:gd name="connsiteY3115" fmla="*/ 3208013 h 4996841"/>
                <a:gd name="connsiteX3116" fmla="*/ 1198865 w 3214184"/>
                <a:gd name="connsiteY3116" fmla="*/ 3209042 h 4996841"/>
                <a:gd name="connsiteX3117" fmla="*/ 1204129 w 3214184"/>
                <a:gd name="connsiteY3117" fmla="*/ 3210282 h 4996841"/>
                <a:gd name="connsiteX3118" fmla="*/ 1212568 w 3214184"/>
                <a:gd name="connsiteY3118" fmla="*/ 3214639 h 4996841"/>
                <a:gd name="connsiteX3119" fmla="*/ 1215654 w 3214184"/>
                <a:gd name="connsiteY3119" fmla="*/ 3215244 h 4996841"/>
                <a:gd name="connsiteX3120" fmla="*/ 1218498 w 3214184"/>
                <a:gd name="connsiteY3120" fmla="*/ 3215334 h 4996841"/>
                <a:gd name="connsiteX3121" fmla="*/ 1219617 w 3214184"/>
                <a:gd name="connsiteY3121" fmla="*/ 3215879 h 4996841"/>
                <a:gd name="connsiteX3122" fmla="*/ 1220737 w 3214184"/>
                <a:gd name="connsiteY3122" fmla="*/ 3217089 h 4996841"/>
                <a:gd name="connsiteX3123" fmla="*/ 1221523 w 3214184"/>
                <a:gd name="connsiteY3123" fmla="*/ 3218904 h 4996841"/>
                <a:gd name="connsiteX3124" fmla="*/ 1222219 w 3214184"/>
                <a:gd name="connsiteY3124" fmla="*/ 3221203 h 4996841"/>
                <a:gd name="connsiteX3125" fmla="*/ 1223096 w 3214184"/>
                <a:gd name="connsiteY3125" fmla="*/ 3223018 h 4996841"/>
                <a:gd name="connsiteX3126" fmla="*/ 1224336 w 3214184"/>
                <a:gd name="connsiteY3126" fmla="*/ 3223472 h 4996841"/>
                <a:gd name="connsiteX3127" fmla="*/ 1226847 w 3214184"/>
                <a:gd name="connsiteY3127" fmla="*/ 3221868 h 4996841"/>
                <a:gd name="connsiteX3128" fmla="*/ 1227392 w 3214184"/>
                <a:gd name="connsiteY3128" fmla="*/ 3221687 h 4996841"/>
                <a:gd name="connsiteX3129" fmla="*/ 1228269 w 3214184"/>
                <a:gd name="connsiteY3129" fmla="*/ 3222262 h 4996841"/>
                <a:gd name="connsiteX3130" fmla="*/ 1228420 w 3214184"/>
                <a:gd name="connsiteY3130" fmla="*/ 3222806 h 4996841"/>
                <a:gd name="connsiteX3131" fmla="*/ 1228420 w 3214184"/>
                <a:gd name="connsiteY3131" fmla="*/ 3223532 h 4996841"/>
                <a:gd name="connsiteX3132" fmla="*/ 1230689 w 3214184"/>
                <a:gd name="connsiteY3132" fmla="*/ 3231912 h 4996841"/>
                <a:gd name="connsiteX3133" fmla="*/ 1230175 w 3214184"/>
                <a:gd name="connsiteY3133" fmla="*/ 3233122 h 4996841"/>
                <a:gd name="connsiteX3134" fmla="*/ 1229993 w 3214184"/>
                <a:gd name="connsiteY3134" fmla="*/ 3234272 h 4996841"/>
                <a:gd name="connsiteX3135" fmla="*/ 1229993 w 3214184"/>
                <a:gd name="connsiteY3135" fmla="*/ 3235452 h 4996841"/>
                <a:gd name="connsiteX3136" fmla="*/ 1229842 w 3214184"/>
                <a:gd name="connsiteY3136" fmla="*/ 3236661 h 4996841"/>
                <a:gd name="connsiteX3137" fmla="*/ 1228692 w 3214184"/>
                <a:gd name="connsiteY3137" fmla="*/ 3240110 h 4996841"/>
                <a:gd name="connsiteX3138" fmla="*/ 1227059 w 3214184"/>
                <a:gd name="connsiteY3138" fmla="*/ 3249125 h 4996841"/>
                <a:gd name="connsiteX3139" fmla="*/ 1225274 w 3214184"/>
                <a:gd name="connsiteY3139" fmla="*/ 3253118 h 4996841"/>
                <a:gd name="connsiteX3140" fmla="*/ 1221372 w 3214184"/>
                <a:gd name="connsiteY3140" fmla="*/ 3259017 h 4996841"/>
                <a:gd name="connsiteX3141" fmla="*/ 1220464 w 3214184"/>
                <a:gd name="connsiteY3141" fmla="*/ 3262890 h 4996841"/>
                <a:gd name="connsiteX3142" fmla="*/ 1224729 w 3214184"/>
                <a:gd name="connsiteY3142" fmla="*/ 3262980 h 4996841"/>
                <a:gd name="connsiteX3143" fmla="*/ 1233381 w 3214184"/>
                <a:gd name="connsiteY3143" fmla="*/ 3265673 h 4996841"/>
                <a:gd name="connsiteX3144" fmla="*/ 1254527 w 3214184"/>
                <a:gd name="connsiteY3144" fmla="*/ 3260590 h 4996841"/>
                <a:gd name="connsiteX3145" fmla="*/ 1256796 w 3214184"/>
                <a:gd name="connsiteY3145" fmla="*/ 3261014 h 4996841"/>
                <a:gd name="connsiteX3146" fmla="*/ 1262725 w 3214184"/>
                <a:gd name="connsiteY3146" fmla="*/ 3264947 h 4996841"/>
                <a:gd name="connsiteX3147" fmla="*/ 1275370 w 3214184"/>
                <a:gd name="connsiteY3147" fmla="*/ 3268214 h 4996841"/>
                <a:gd name="connsiteX3148" fmla="*/ 1278910 w 3214184"/>
                <a:gd name="connsiteY3148" fmla="*/ 3270634 h 4996841"/>
                <a:gd name="connsiteX3149" fmla="*/ 1282116 w 3214184"/>
                <a:gd name="connsiteY3149" fmla="*/ 3274657 h 4996841"/>
                <a:gd name="connsiteX3150" fmla="*/ 1283569 w 3214184"/>
                <a:gd name="connsiteY3150" fmla="*/ 3275504 h 4996841"/>
                <a:gd name="connsiteX3151" fmla="*/ 1288590 w 3214184"/>
                <a:gd name="connsiteY3151" fmla="*/ 3275262 h 4996841"/>
                <a:gd name="connsiteX3152" fmla="*/ 1290647 w 3214184"/>
                <a:gd name="connsiteY3152" fmla="*/ 3275565 h 4996841"/>
                <a:gd name="connsiteX3153" fmla="*/ 1292584 w 3214184"/>
                <a:gd name="connsiteY3153" fmla="*/ 3276654 h 4996841"/>
                <a:gd name="connsiteX3154" fmla="*/ 1294519 w 3214184"/>
                <a:gd name="connsiteY3154" fmla="*/ 3278983 h 4996841"/>
                <a:gd name="connsiteX3155" fmla="*/ 1295276 w 3214184"/>
                <a:gd name="connsiteY3155" fmla="*/ 3280133 h 4996841"/>
                <a:gd name="connsiteX3156" fmla="*/ 1295488 w 3214184"/>
                <a:gd name="connsiteY3156" fmla="*/ 3281313 h 4996841"/>
                <a:gd name="connsiteX3157" fmla="*/ 1295276 w 3214184"/>
                <a:gd name="connsiteY3157" fmla="*/ 3282492 h 4996841"/>
                <a:gd name="connsiteX3158" fmla="*/ 1294519 w 3214184"/>
                <a:gd name="connsiteY3158" fmla="*/ 3283642 h 4996841"/>
                <a:gd name="connsiteX3159" fmla="*/ 1287017 w 3214184"/>
                <a:gd name="connsiteY3159" fmla="*/ 3287242 h 4996841"/>
                <a:gd name="connsiteX3160" fmla="*/ 1286321 w 3214184"/>
                <a:gd name="connsiteY3160" fmla="*/ 3287847 h 4996841"/>
                <a:gd name="connsiteX3161" fmla="*/ 1286200 w 3214184"/>
                <a:gd name="connsiteY3161" fmla="*/ 3289087 h 4996841"/>
                <a:gd name="connsiteX3162" fmla="*/ 1286533 w 3214184"/>
                <a:gd name="connsiteY3162" fmla="*/ 3291810 h 4996841"/>
                <a:gd name="connsiteX3163" fmla="*/ 1287562 w 3214184"/>
                <a:gd name="connsiteY3163" fmla="*/ 3296106 h 4996841"/>
                <a:gd name="connsiteX3164" fmla="*/ 1289377 w 3214184"/>
                <a:gd name="connsiteY3164" fmla="*/ 3299343 h 4996841"/>
                <a:gd name="connsiteX3165" fmla="*/ 1291737 w 3214184"/>
                <a:gd name="connsiteY3165" fmla="*/ 3301732 h 4996841"/>
                <a:gd name="connsiteX3166" fmla="*/ 1294519 w 3214184"/>
                <a:gd name="connsiteY3166" fmla="*/ 3303396 h 4996841"/>
                <a:gd name="connsiteX3167" fmla="*/ 1299571 w 3214184"/>
                <a:gd name="connsiteY3167" fmla="*/ 3305605 h 4996841"/>
                <a:gd name="connsiteX3168" fmla="*/ 1301931 w 3214184"/>
                <a:gd name="connsiteY3168" fmla="*/ 3307269 h 4996841"/>
                <a:gd name="connsiteX3169" fmla="*/ 1303504 w 3214184"/>
                <a:gd name="connsiteY3169" fmla="*/ 3310112 h 4996841"/>
                <a:gd name="connsiteX3170" fmla="*/ 1304200 w 3214184"/>
                <a:gd name="connsiteY3170" fmla="*/ 3311110 h 4996841"/>
                <a:gd name="connsiteX3171" fmla="*/ 1304986 w 3214184"/>
                <a:gd name="connsiteY3171" fmla="*/ 3311413 h 4996841"/>
                <a:gd name="connsiteX3172" fmla="*/ 1305803 w 3214184"/>
                <a:gd name="connsiteY3172" fmla="*/ 3311080 h 4996841"/>
                <a:gd name="connsiteX3173" fmla="*/ 1306590 w 3214184"/>
                <a:gd name="connsiteY3173" fmla="*/ 3310142 h 4996841"/>
                <a:gd name="connsiteX3174" fmla="*/ 1308375 w 3214184"/>
                <a:gd name="connsiteY3174" fmla="*/ 3309870 h 4996841"/>
                <a:gd name="connsiteX3175" fmla="*/ 1310129 w 3214184"/>
                <a:gd name="connsiteY3175" fmla="*/ 3310082 h 4996841"/>
                <a:gd name="connsiteX3176" fmla="*/ 1311611 w 3214184"/>
                <a:gd name="connsiteY3176" fmla="*/ 3310868 h 4996841"/>
                <a:gd name="connsiteX3177" fmla="*/ 1311309 w 3214184"/>
                <a:gd name="connsiteY3177" fmla="*/ 3312169 h 4996841"/>
                <a:gd name="connsiteX3178" fmla="*/ 1310735 w 3214184"/>
                <a:gd name="connsiteY3178" fmla="*/ 3313772 h 4996841"/>
                <a:gd name="connsiteX3179" fmla="*/ 1311218 w 3214184"/>
                <a:gd name="connsiteY3179" fmla="*/ 3315527 h 4996841"/>
                <a:gd name="connsiteX3180" fmla="*/ 1312368 w 3214184"/>
                <a:gd name="connsiteY3180" fmla="*/ 3315860 h 4996841"/>
                <a:gd name="connsiteX3181" fmla="*/ 1315423 w 3214184"/>
                <a:gd name="connsiteY3181" fmla="*/ 3314831 h 4996841"/>
                <a:gd name="connsiteX3182" fmla="*/ 1316694 w 3214184"/>
                <a:gd name="connsiteY3182" fmla="*/ 3314831 h 4996841"/>
                <a:gd name="connsiteX3183" fmla="*/ 1318539 w 3214184"/>
                <a:gd name="connsiteY3183" fmla="*/ 3318340 h 4996841"/>
                <a:gd name="connsiteX3184" fmla="*/ 1318388 w 3214184"/>
                <a:gd name="connsiteY3184" fmla="*/ 3319641 h 4996841"/>
                <a:gd name="connsiteX3185" fmla="*/ 1317026 w 3214184"/>
                <a:gd name="connsiteY3185" fmla="*/ 3329685 h 4996841"/>
                <a:gd name="connsiteX3186" fmla="*/ 1318358 w 3214184"/>
                <a:gd name="connsiteY3186" fmla="*/ 3334585 h 4996841"/>
                <a:gd name="connsiteX3187" fmla="*/ 1316391 w 3214184"/>
                <a:gd name="connsiteY3187" fmla="*/ 3335977 h 4996841"/>
                <a:gd name="connsiteX3188" fmla="*/ 1314788 w 3214184"/>
                <a:gd name="connsiteY3188" fmla="*/ 3335826 h 4996841"/>
                <a:gd name="connsiteX3189" fmla="*/ 1313275 w 3214184"/>
                <a:gd name="connsiteY3189" fmla="*/ 3335100 h 4996841"/>
                <a:gd name="connsiteX3190" fmla="*/ 1311581 w 3214184"/>
                <a:gd name="connsiteY3190" fmla="*/ 3334767 h 4996841"/>
                <a:gd name="connsiteX3191" fmla="*/ 1304533 w 3214184"/>
                <a:gd name="connsiteY3191" fmla="*/ 3336219 h 4996841"/>
                <a:gd name="connsiteX3192" fmla="*/ 1304865 w 3214184"/>
                <a:gd name="connsiteY3192" fmla="*/ 3336703 h 4996841"/>
                <a:gd name="connsiteX3193" fmla="*/ 1305712 w 3214184"/>
                <a:gd name="connsiteY3193" fmla="*/ 3338155 h 4996841"/>
                <a:gd name="connsiteX3194" fmla="*/ 1306136 w 3214184"/>
                <a:gd name="connsiteY3194" fmla="*/ 3338699 h 4996841"/>
                <a:gd name="connsiteX3195" fmla="*/ 1303413 w 3214184"/>
                <a:gd name="connsiteY3195" fmla="*/ 3340182 h 4996841"/>
                <a:gd name="connsiteX3196" fmla="*/ 1300207 w 3214184"/>
                <a:gd name="connsiteY3196" fmla="*/ 3340757 h 4996841"/>
                <a:gd name="connsiteX3197" fmla="*/ 1297031 w 3214184"/>
                <a:gd name="connsiteY3197" fmla="*/ 3340454 h 4996841"/>
                <a:gd name="connsiteX3198" fmla="*/ 1294519 w 3214184"/>
                <a:gd name="connsiteY3198" fmla="*/ 3339214 h 4996841"/>
                <a:gd name="connsiteX3199" fmla="*/ 1291918 w 3214184"/>
                <a:gd name="connsiteY3199" fmla="*/ 3339940 h 4996841"/>
                <a:gd name="connsiteX3200" fmla="*/ 1291132 w 3214184"/>
                <a:gd name="connsiteY3200" fmla="*/ 3341755 h 4996841"/>
                <a:gd name="connsiteX3201" fmla="*/ 1292039 w 3214184"/>
                <a:gd name="connsiteY3201" fmla="*/ 3343449 h 4996841"/>
                <a:gd name="connsiteX3202" fmla="*/ 1294338 w 3214184"/>
                <a:gd name="connsiteY3202" fmla="*/ 3343873 h 4996841"/>
                <a:gd name="connsiteX3203" fmla="*/ 1293340 w 3214184"/>
                <a:gd name="connsiteY3203" fmla="*/ 3346898 h 4996841"/>
                <a:gd name="connsiteX3204" fmla="*/ 1291978 w 3214184"/>
                <a:gd name="connsiteY3204" fmla="*/ 3349772 h 4996841"/>
                <a:gd name="connsiteX3205" fmla="*/ 1288772 w 3214184"/>
                <a:gd name="connsiteY3205" fmla="*/ 3354763 h 4996841"/>
                <a:gd name="connsiteX3206" fmla="*/ 1286926 w 3214184"/>
                <a:gd name="connsiteY3206" fmla="*/ 3356578 h 4996841"/>
                <a:gd name="connsiteX3207" fmla="*/ 1285262 w 3214184"/>
                <a:gd name="connsiteY3207" fmla="*/ 3357334 h 4996841"/>
                <a:gd name="connsiteX3208" fmla="*/ 1281602 w 3214184"/>
                <a:gd name="connsiteY3208" fmla="*/ 3358423 h 4996841"/>
                <a:gd name="connsiteX3209" fmla="*/ 1278365 w 3214184"/>
                <a:gd name="connsiteY3209" fmla="*/ 3361146 h 4996841"/>
                <a:gd name="connsiteX3210" fmla="*/ 1275855 w 3214184"/>
                <a:gd name="connsiteY3210" fmla="*/ 3364504 h 4996841"/>
                <a:gd name="connsiteX3211" fmla="*/ 1273101 w 3214184"/>
                <a:gd name="connsiteY3211" fmla="*/ 3367015 h 4996841"/>
                <a:gd name="connsiteX3212" fmla="*/ 1267838 w 3214184"/>
                <a:gd name="connsiteY3212" fmla="*/ 3366894 h 4996841"/>
                <a:gd name="connsiteX3213" fmla="*/ 1267354 w 3214184"/>
                <a:gd name="connsiteY3213" fmla="*/ 3367469 h 4996841"/>
                <a:gd name="connsiteX3214" fmla="*/ 1267202 w 3214184"/>
                <a:gd name="connsiteY3214" fmla="*/ 3368316 h 4996841"/>
                <a:gd name="connsiteX3215" fmla="*/ 1266960 w 3214184"/>
                <a:gd name="connsiteY3215" fmla="*/ 3368921 h 4996841"/>
                <a:gd name="connsiteX3216" fmla="*/ 1266960 w 3214184"/>
                <a:gd name="connsiteY3216" fmla="*/ 3369344 h 4996841"/>
                <a:gd name="connsiteX3217" fmla="*/ 1267021 w 3214184"/>
                <a:gd name="connsiteY3217" fmla="*/ 3370071 h 4996841"/>
                <a:gd name="connsiteX3218" fmla="*/ 1266900 w 3214184"/>
                <a:gd name="connsiteY3218" fmla="*/ 3370797 h 4996841"/>
                <a:gd name="connsiteX3219" fmla="*/ 1266446 w 3214184"/>
                <a:gd name="connsiteY3219" fmla="*/ 3371250 h 4996841"/>
                <a:gd name="connsiteX3220" fmla="*/ 1266083 w 3214184"/>
                <a:gd name="connsiteY3220" fmla="*/ 3371250 h 4996841"/>
                <a:gd name="connsiteX3221" fmla="*/ 1265176 w 3214184"/>
                <a:gd name="connsiteY3221" fmla="*/ 3370978 h 4996841"/>
                <a:gd name="connsiteX3222" fmla="*/ 1261515 w 3214184"/>
                <a:gd name="connsiteY3222" fmla="*/ 3371401 h 4996841"/>
                <a:gd name="connsiteX3223" fmla="*/ 1258913 w 3214184"/>
                <a:gd name="connsiteY3223" fmla="*/ 3373307 h 4996841"/>
                <a:gd name="connsiteX3224" fmla="*/ 1258006 w 3214184"/>
                <a:gd name="connsiteY3224" fmla="*/ 3373761 h 4996841"/>
                <a:gd name="connsiteX3225" fmla="*/ 1254497 w 3214184"/>
                <a:gd name="connsiteY3225" fmla="*/ 3373640 h 4996841"/>
                <a:gd name="connsiteX3226" fmla="*/ 1247176 w 3214184"/>
                <a:gd name="connsiteY3226" fmla="*/ 3370857 h 4996841"/>
                <a:gd name="connsiteX3227" fmla="*/ 1244242 w 3214184"/>
                <a:gd name="connsiteY3227" fmla="*/ 3371129 h 4996841"/>
                <a:gd name="connsiteX3228" fmla="*/ 1241610 w 3214184"/>
                <a:gd name="connsiteY3228" fmla="*/ 3372369 h 4996841"/>
                <a:gd name="connsiteX3229" fmla="*/ 1239220 w 3214184"/>
                <a:gd name="connsiteY3229" fmla="*/ 3372642 h 4996841"/>
                <a:gd name="connsiteX3230" fmla="*/ 1236830 w 3214184"/>
                <a:gd name="connsiteY3230" fmla="*/ 3372067 h 4996841"/>
                <a:gd name="connsiteX3231" fmla="*/ 1231627 w 3214184"/>
                <a:gd name="connsiteY3231" fmla="*/ 3369254 h 4996841"/>
                <a:gd name="connsiteX3232" fmla="*/ 1230296 w 3214184"/>
                <a:gd name="connsiteY3232" fmla="*/ 3368951 h 4996841"/>
                <a:gd name="connsiteX3233" fmla="*/ 1226726 w 3214184"/>
                <a:gd name="connsiteY3233" fmla="*/ 3369284 h 4996841"/>
                <a:gd name="connsiteX3234" fmla="*/ 1225667 w 3214184"/>
                <a:gd name="connsiteY3234" fmla="*/ 3368921 h 4996841"/>
                <a:gd name="connsiteX3235" fmla="*/ 1224064 w 3214184"/>
                <a:gd name="connsiteY3235" fmla="*/ 3366531 h 4996841"/>
                <a:gd name="connsiteX3236" fmla="*/ 1223005 w 3214184"/>
                <a:gd name="connsiteY3236" fmla="*/ 3360178 h 4996841"/>
                <a:gd name="connsiteX3237" fmla="*/ 1221644 w 3214184"/>
                <a:gd name="connsiteY3237" fmla="*/ 3357486 h 4996841"/>
                <a:gd name="connsiteX3238" fmla="*/ 1219889 w 3214184"/>
                <a:gd name="connsiteY3238" fmla="*/ 3356578 h 4996841"/>
                <a:gd name="connsiteX3239" fmla="*/ 1215443 w 3214184"/>
                <a:gd name="connsiteY3239" fmla="*/ 3356578 h 4996841"/>
                <a:gd name="connsiteX3240" fmla="*/ 1213476 w 3214184"/>
                <a:gd name="connsiteY3240" fmla="*/ 3356155 h 4996841"/>
                <a:gd name="connsiteX3241" fmla="*/ 1207395 w 3214184"/>
                <a:gd name="connsiteY3241" fmla="*/ 3353916 h 4996841"/>
                <a:gd name="connsiteX3242" fmla="*/ 1205338 w 3214184"/>
                <a:gd name="connsiteY3242" fmla="*/ 3353765 h 4996841"/>
                <a:gd name="connsiteX3243" fmla="*/ 1203312 w 3214184"/>
                <a:gd name="connsiteY3243" fmla="*/ 3354340 h 4996841"/>
                <a:gd name="connsiteX3244" fmla="*/ 1199530 w 3214184"/>
                <a:gd name="connsiteY3244" fmla="*/ 3356245 h 4996841"/>
                <a:gd name="connsiteX3245" fmla="*/ 1197110 w 3214184"/>
                <a:gd name="connsiteY3245" fmla="*/ 3356367 h 4996841"/>
                <a:gd name="connsiteX3246" fmla="*/ 1192300 w 3214184"/>
                <a:gd name="connsiteY3246" fmla="*/ 3355459 h 4996841"/>
                <a:gd name="connsiteX3247" fmla="*/ 1187490 w 3214184"/>
                <a:gd name="connsiteY3247" fmla="*/ 3355459 h 4996841"/>
                <a:gd name="connsiteX3248" fmla="*/ 1183709 w 3214184"/>
                <a:gd name="connsiteY3248" fmla="*/ 3358242 h 4996841"/>
                <a:gd name="connsiteX3249" fmla="*/ 1181803 w 3214184"/>
                <a:gd name="connsiteY3249" fmla="*/ 3365654 h 4996841"/>
                <a:gd name="connsiteX3250" fmla="*/ 1181924 w 3214184"/>
                <a:gd name="connsiteY3250" fmla="*/ 3367590 h 4996841"/>
                <a:gd name="connsiteX3251" fmla="*/ 1181984 w 3214184"/>
                <a:gd name="connsiteY3251" fmla="*/ 3367771 h 4996841"/>
                <a:gd name="connsiteX3252" fmla="*/ 1182347 w 3214184"/>
                <a:gd name="connsiteY3252" fmla="*/ 3369374 h 4996841"/>
                <a:gd name="connsiteX3253" fmla="*/ 1182559 w 3214184"/>
                <a:gd name="connsiteY3253" fmla="*/ 3371038 h 4996841"/>
                <a:gd name="connsiteX3254" fmla="*/ 1182196 w 3214184"/>
                <a:gd name="connsiteY3254" fmla="*/ 3372581 h 4996841"/>
                <a:gd name="connsiteX3255" fmla="*/ 1181258 w 3214184"/>
                <a:gd name="connsiteY3255" fmla="*/ 3373610 h 4996841"/>
                <a:gd name="connsiteX3256" fmla="*/ 1178777 w 3214184"/>
                <a:gd name="connsiteY3256" fmla="*/ 3374033 h 4996841"/>
                <a:gd name="connsiteX3257" fmla="*/ 1177749 w 3214184"/>
                <a:gd name="connsiteY3257" fmla="*/ 3374487 h 4996841"/>
                <a:gd name="connsiteX3258" fmla="*/ 1172727 w 3214184"/>
                <a:gd name="connsiteY3258" fmla="*/ 3381868 h 4996841"/>
                <a:gd name="connsiteX3259" fmla="*/ 1170458 w 3214184"/>
                <a:gd name="connsiteY3259" fmla="*/ 3384016 h 4996841"/>
                <a:gd name="connsiteX3260" fmla="*/ 1178082 w 3214184"/>
                <a:gd name="connsiteY3260" fmla="*/ 3389734 h 4996841"/>
                <a:gd name="connsiteX3261" fmla="*/ 1179715 w 3214184"/>
                <a:gd name="connsiteY3261" fmla="*/ 3392638 h 4996841"/>
                <a:gd name="connsiteX3262" fmla="*/ 1182438 w 3214184"/>
                <a:gd name="connsiteY3262" fmla="*/ 3400201 h 4996841"/>
                <a:gd name="connsiteX3263" fmla="*/ 1184676 w 3214184"/>
                <a:gd name="connsiteY3263" fmla="*/ 3403347 h 4996841"/>
                <a:gd name="connsiteX3264" fmla="*/ 1187671 w 3214184"/>
                <a:gd name="connsiteY3264" fmla="*/ 3406069 h 4996841"/>
                <a:gd name="connsiteX3265" fmla="*/ 1190999 w 3214184"/>
                <a:gd name="connsiteY3265" fmla="*/ 3408066 h 4996841"/>
                <a:gd name="connsiteX3266" fmla="*/ 1193964 w 3214184"/>
                <a:gd name="connsiteY3266" fmla="*/ 3409004 h 4996841"/>
                <a:gd name="connsiteX3267" fmla="*/ 1196445 w 3214184"/>
                <a:gd name="connsiteY3267" fmla="*/ 3409307 h 4996841"/>
                <a:gd name="connsiteX3268" fmla="*/ 1197231 w 3214184"/>
                <a:gd name="connsiteY3268" fmla="*/ 3410517 h 4996841"/>
                <a:gd name="connsiteX3269" fmla="*/ 1197473 w 3214184"/>
                <a:gd name="connsiteY3269" fmla="*/ 3412452 h 4996841"/>
                <a:gd name="connsiteX3270" fmla="*/ 1198350 w 3214184"/>
                <a:gd name="connsiteY3270" fmla="*/ 3415024 h 4996841"/>
                <a:gd name="connsiteX3271" fmla="*/ 1199802 w 3214184"/>
                <a:gd name="connsiteY3271" fmla="*/ 3416809 h 4996841"/>
                <a:gd name="connsiteX3272" fmla="*/ 1201043 w 3214184"/>
                <a:gd name="connsiteY3272" fmla="*/ 3417595 h 4996841"/>
                <a:gd name="connsiteX3273" fmla="*/ 1202071 w 3214184"/>
                <a:gd name="connsiteY3273" fmla="*/ 3418775 h 4996841"/>
                <a:gd name="connsiteX3274" fmla="*/ 1202979 w 3214184"/>
                <a:gd name="connsiteY3274" fmla="*/ 3421770 h 4996841"/>
                <a:gd name="connsiteX3275" fmla="*/ 1202979 w 3214184"/>
                <a:gd name="connsiteY3275" fmla="*/ 3428214 h 4996841"/>
                <a:gd name="connsiteX3276" fmla="*/ 1200801 w 3214184"/>
                <a:gd name="connsiteY3276" fmla="*/ 3431209 h 4996841"/>
                <a:gd name="connsiteX3277" fmla="*/ 1194024 w 3214184"/>
                <a:gd name="connsiteY3277" fmla="*/ 3434718 h 4996841"/>
                <a:gd name="connsiteX3278" fmla="*/ 1195174 w 3214184"/>
                <a:gd name="connsiteY3278" fmla="*/ 3437077 h 4996841"/>
                <a:gd name="connsiteX3279" fmla="*/ 1199621 w 3214184"/>
                <a:gd name="connsiteY3279" fmla="*/ 3442644 h 4996841"/>
                <a:gd name="connsiteX3280" fmla="*/ 1202616 w 3214184"/>
                <a:gd name="connsiteY3280" fmla="*/ 3448784 h 4996841"/>
                <a:gd name="connsiteX3281" fmla="*/ 1203947 w 3214184"/>
                <a:gd name="connsiteY3281" fmla="*/ 3450690 h 4996841"/>
                <a:gd name="connsiteX3282" fmla="*/ 1207577 w 3214184"/>
                <a:gd name="connsiteY3282" fmla="*/ 3453595 h 4996841"/>
                <a:gd name="connsiteX3283" fmla="*/ 1208938 w 3214184"/>
                <a:gd name="connsiteY3283" fmla="*/ 3455198 h 4996841"/>
                <a:gd name="connsiteX3284" fmla="*/ 1208485 w 3214184"/>
                <a:gd name="connsiteY3284" fmla="*/ 3456710 h 4996841"/>
                <a:gd name="connsiteX3285" fmla="*/ 1207123 w 3214184"/>
                <a:gd name="connsiteY3285" fmla="*/ 3457013 h 4996841"/>
                <a:gd name="connsiteX3286" fmla="*/ 1203462 w 3214184"/>
                <a:gd name="connsiteY3286" fmla="*/ 3456227 h 4996841"/>
                <a:gd name="connsiteX3287" fmla="*/ 1201980 w 3214184"/>
                <a:gd name="connsiteY3287" fmla="*/ 3456347 h 4996841"/>
                <a:gd name="connsiteX3288" fmla="*/ 1202374 w 3214184"/>
                <a:gd name="connsiteY3288" fmla="*/ 3456862 h 4996841"/>
                <a:gd name="connsiteX3289" fmla="*/ 1203614 w 3214184"/>
                <a:gd name="connsiteY3289" fmla="*/ 3458707 h 4996841"/>
                <a:gd name="connsiteX3290" fmla="*/ 1201860 w 3214184"/>
                <a:gd name="connsiteY3290" fmla="*/ 3459463 h 4996841"/>
                <a:gd name="connsiteX3291" fmla="*/ 1201073 w 3214184"/>
                <a:gd name="connsiteY3291" fmla="*/ 3460673 h 4996841"/>
                <a:gd name="connsiteX3292" fmla="*/ 1201315 w 3214184"/>
                <a:gd name="connsiteY3292" fmla="*/ 3462156 h 4996841"/>
                <a:gd name="connsiteX3293" fmla="*/ 1202586 w 3214184"/>
                <a:gd name="connsiteY3293" fmla="*/ 3463608 h 4996841"/>
                <a:gd name="connsiteX3294" fmla="*/ 1204794 w 3214184"/>
                <a:gd name="connsiteY3294" fmla="*/ 3465120 h 4996841"/>
                <a:gd name="connsiteX3295" fmla="*/ 1204945 w 3214184"/>
                <a:gd name="connsiteY3295" fmla="*/ 3468841 h 4996841"/>
                <a:gd name="connsiteX3296" fmla="*/ 1204340 w 3214184"/>
                <a:gd name="connsiteY3296" fmla="*/ 3473379 h 4996841"/>
                <a:gd name="connsiteX3297" fmla="*/ 1204279 w 3214184"/>
                <a:gd name="connsiteY3297" fmla="*/ 3477251 h 4996841"/>
                <a:gd name="connsiteX3298" fmla="*/ 1205066 w 3214184"/>
                <a:gd name="connsiteY3298" fmla="*/ 3478885 h 4996841"/>
                <a:gd name="connsiteX3299" fmla="*/ 1206095 w 3214184"/>
                <a:gd name="connsiteY3299" fmla="*/ 3480185 h 4996841"/>
                <a:gd name="connsiteX3300" fmla="*/ 1206851 w 3214184"/>
                <a:gd name="connsiteY3300" fmla="*/ 3481849 h 4996841"/>
                <a:gd name="connsiteX3301" fmla="*/ 1206851 w 3214184"/>
                <a:gd name="connsiteY3301" fmla="*/ 3484572 h 4996841"/>
                <a:gd name="connsiteX3302" fmla="*/ 1206307 w 3214184"/>
                <a:gd name="connsiteY3302" fmla="*/ 3486629 h 4996841"/>
                <a:gd name="connsiteX3303" fmla="*/ 1205247 w 3214184"/>
                <a:gd name="connsiteY3303" fmla="*/ 3488474 h 4996841"/>
                <a:gd name="connsiteX3304" fmla="*/ 1203977 w 3214184"/>
                <a:gd name="connsiteY3304" fmla="*/ 3489987 h 4996841"/>
                <a:gd name="connsiteX3305" fmla="*/ 1202736 w 3214184"/>
                <a:gd name="connsiteY3305" fmla="*/ 3491076 h 4996841"/>
                <a:gd name="connsiteX3306" fmla="*/ 1205731 w 3214184"/>
                <a:gd name="connsiteY3306" fmla="*/ 3495160 h 4996841"/>
                <a:gd name="connsiteX3307" fmla="*/ 1207425 w 3214184"/>
                <a:gd name="connsiteY3307" fmla="*/ 3496824 h 4996841"/>
                <a:gd name="connsiteX3308" fmla="*/ 1209211 w 3214184"/>
                <a:gd name="connsiteY3308" fmla="*/ 3498125 h 4996841"/>
                <a:gd name="connsiteX3309" fmla="*/ 1210935 w 3214184"/>
                <a:gd name="connsiteY3309" fmla="*/ 3498639 h 4996841"/>
                <a:gd name="connsiteX3310" fmla="*/ 1214444 w 3214184"/>
                <a:gd name="connsiteY3310" fmla="*/ 3499214 h 4996841"/>
                <a:gd name="connsiteX3311" fmla="*/ 1216047 w 3214184"/>
                <a:gd name="connsiteY3311" fmla="*/ 3500091 h 4996841"/>
                <a:gd name="connsiteX3312" fmla="*/ 1214988 w 3214184"/>
                <a:gd name="connsiteY3312" fmla="*/ 3501331 h 4996841"/>
                <a:gd name="connsiteX3313" fmla="*/ 1214293 w 3214184"/>
                <a:gd name="connsiteY3313" fmla="*/ 3503267 h 4996841"/>
                <a:gd name="connsiteX3314" fmla="*/ 1214050 w 3214184"/>
                <a:gd name="connsiteY3314" fmla="*/ 3505476 h 4996841"/>
                <a:gd name="connsiteX3315" fmla="*/ 1214383 w 3214184"/>
                <a:gd name="connsiteY3315" fmla="*/ 3507593 h 4996841"/>
                <a:gd name="connsiteX3316" fmla="*/ 1215079 w 3214184"/>
                <a:gd name="connsiteY3316" fmla="*/ 3509136 h 4996841"/>
                <a:gd name="connsiteX3317" fmla="*/ 1216017 w 3214184"/>
                <a:gd name="connsiteY3317" fmla="*/ 3510044 h 4996841"/>
                <a:gd name="connsiteX3318" fmla="*/ 1221069 w 3214184"/>
                <a:gd name="connsiteY3318" fmla="*/ 3513311 h 4996841"/>
                <a:gd name="connsiteX3319" fmla="*/ 1222430 w 3214184"/>
                <a:gd name="connsiteY3319" fmla="*/ 3515428 h 4996841"/>
                <a:gd name="connsiteX3320" fmla="*/ 1222793 w 3214184"/>
                <a:gd name="connsiteY3320" fmla="*/ 3518393 h 4996841"/>
                <a:gd name="connsiteX3321" fmla="*/ 1222581 w 3214184"/>
                <a:gd name="connsiteY3321" fmla="*/ 3522810 h 4996841"/>
                <a:gd name="connsiteX3322" fmla="*/ 1228753 w 3214184"/>
                <a:gd name="connsiteY3322" fmla="*/ 3522326 h 4996841"/>
                <a:gd name="connsiteX3323" fmla="*/ 1232081 w 3214184"/>
                <a:gd name="connsiteY3323" fmla="*/ 3522931 h 4996841"/>
                <a:gd name="connsiteX3324" fmla="*/ 1234440 w 3214184"/>
                <a:gd name="connsiteY3324" fmla="*/ 3524988 h 4996841"/>
                <a:gd name="connsiteX3325" fmla="*/ 1234985 w 3214184"/>
                <a:gd name="connsiteY3325" fmla="*/ 3527438 h 4996841"/>
                <a:gd name="connsiteX3326" fmla="*/ 1234985 w 3214184"/>
                <a:gd name="connsiteY3326" fmla="*/ 3530191 h 4996841"/>
                <a:gd name="connsiteX3327" fmla="*/ 1235438 w 3214184"/>
                <a:gd name="connsiteY3327" fmla="*/ 3532490 h 4996841"/>
                <a:gd name="connsiteX3328" fmla="*/ 1237284 w 3214184"/>
                <a:gd name="connsiteY3328" fmla="*/ 3533549 h 4996841"/>
                <a:gd name="connsiteX3329" fmla="*/ 1238948 w 3214184"/>
                <a:gd name="connsiteY3329" fmla="*/ 3533247 h 4996841"/>
                <a:gd name="connsiteX3330" fmla="*/ 1244332 w 3214184"/>
                <a:gd name="connsiteY3330" fmla="*/ 3530736 h 4996841"/>
                <a:gd name="connsiteX3331" fmla="*/ 1247993 w 3214184"/>
                <a:gd name="connsiteY3331" fmla="*/ 3530433 h 4996841"/>
                <a:gd name="connsiteX3332" fmla="*/ 1254043 w 3214184"/>
                <a:gd name="connsiteY3332" fmla="*/ 3531916 h 4996841"/>
                <a:gd name="connsiteX3333" fmla="*/ 1255888 w 3214184"/>
                <a:gd name="connsiteY3333" fmla="*/ 3531795 h 4996841"/>
                <a:gd name="connsiteX3334" fmla="*/ 1269713 w 3214184"/>
                <a:gd name="connsiteY3334" fmla="*/ 3525775 h 4996841"/>
                <a:gd name="connsiteX3335" fmla="*/ 1274191 w 3214184"/>
                <a:gd name="connsiteY3335" fmla="*/ 3522477 h 4996841"/>
                <a:gd name="connsiteX3336" fmla="*/ 1277125 w 3214184"/>
                <a:gd name="connsiteY3336" fmla="*/ 3516669 h 4996841"/>
                <a:gd name="connsiteX3337" fmla="*/ 1278365 w 3214184"/>
                <a:gd name="connsiteY3337" fmla="*/ 3507624 h 4996841"/>
                <a:gd name="connsiteX3338" fmla="*/ 1279303 w 3214184"/>
                <a:gd name="connsiteY3338" fmla="*/ 3504931 h 4996841"/>
                <a:gd name="connsiteX3339" fmla="*/ 1280241 w 3214184"/>
                <a:gd name="connsiteY3339" fmla="*/ 3503993 h 4996841"/>
                <a:gd name="connsiteX3340" fmla="*/ 1281481 w 3214184"/>
                <a:gd name="connsiteY3340" fmla="*/ 3503298 h 4996841"/>
                <a:gd name="connsiteX3341" fmla="*/ 1282601 w 3214184"/>
                <a:gd name="connsiteY3341" fmla="*/ 3502390 h 4996841"/>
                <a:gd name="connsiteX3342" fmla="*/ 1283175 w 3214184"/>
                <a:gd name="connsiteY3342" fmla="*/ 3500696 h 4996841"/>
                <a:gd name="connsiteX3343" fmla="*/ 1282813 w 3214184"/>
                <a:gd name="connsiteY3343" fmla="*/ 3499425 h 4996841"/>
                <a:gd name="connsiteX3344" fmla="*/ 1280937 w 3214184"/>
                <a:gd name="connsiteY3344" fmla="*/ 3496310 h 4996841"/>
                <a:gd name="connsiteX3345" fmla="*/ 1280453 w 3214184"/>
                <a:gd name="connsiteY3345" fmla="*/ 3494676 h 4996841"/>
                <a:gd name="connsiteX3346" fmla="*/ 1281844 w 3214184"/>
                <a:gd name="connsiteY3346" fmla="*/ 3489473 h 4996841"/>
                <a:gd name="connsiteX3347" fmla="*/ 1285958 w 3214184"/>
                <a:gd name="connsiteY3347" fmla="*/ 3488686 h 4996841"/>
                <a:gd name="connsiteX3348" fmla="*/ 1294641 w 3214184"/>
                <a:gd name="connsiteY3348" fmla="*/ 3491651 h 4996841"/>
                <a:gd name="connsiteX3349" fmla="*/ 1299451 w 3214184"/>
                <a:gd name="connsiteY3349" fmla="*/ 3490290 h 4996841"/>
                <a:gd name="connsiteX3350" fmla="*/ 1319265 w 3214184"/>
                <a:gd name="connsiteY3350" fmla="*/ 3500000 h 4996841"/>
                <a:gd name="connsiteX3351" fmla="*/ 1322320 w 3214184"/>
                <a:gd name="connsiteY3351" fmla="*/ 3500000 h 4996841"/>
                <a:gd name="connsiteX3352" fmla="*/ 1328280 w 3214184"/>
                <a:gd name="connsiteY3352" fmla="*/ 3498488 h 4996841"/>
                <a:gd name="connsiteX3353" fmla="*/ 1331244 w 3214184"/>
                <a:gd name="connsiteY3353" fmla="*/ 3498488 h 4996841"/>
                <a:gd name="connsiteX3354" fmla="*/ 1332939 w 3214184"/>
                <a:gd name="connsiteY3354" fmla="*/ 3499214 h 4996841"/>
                <a:gd name="connsiteX3355" fmla="*/ 1335934 w 3214184"/>
                <a:gd name="connsiteY3355" fmla="*/ 3501483 h 4996841"/>
                <a:gd name="connsiteX3356" fmla="*/ 1337749 w 3214184"/>
                <a:gd name="connsiteY3356" fmla="*/ 3501664 h 4996841"/>
                <a:gd name="connsiteX3357" fmla="*/ 1339564 w 3214184"/>
                <a:gd name="connsiteY3357" fmla="*/ 3500787 h 4996841"/>
                <a:gd name="connsiteX3358" fmla="*/ 1349940 w 3214184"/>
                <a:gd name="connsiteY3358" fmla="*/ 3492196 h 4996841"/>
                <a:gd name="connsiteX3359" fmla="*/ 1351785 w 3214184"/>
                <a:gd name="connsiteY3359" fmla="*/ 3491409 h 4996841"/>
                <a:gd name="connsiteX3360" fmla="*/ 1352693 w 3214184"/>
                <a:gd name="connsiteY3360" fmla="*/ 3491499 h 4996841"/>
                <a:gd name="connsiteX3361" fmla="*/ 1353994 w 3214184"/>
                <a:gd name="connsiteY3361" fmla="*/ 3492135 h 4996841"/>
                <a:gd name="connsiteX3362" fmla="*/ 1354901 w 3214184"/>
                <a:gd name="connsiteY3362" fmla="*/ 3491953 h 4996841"/>
                <a:gd name="connsiteX3363" fmla="*/ 1355688 w 3214184"/>
                <a:gd name="connsiteY3363" fmla="*/ 3491167 h 4996841"/>
                <a:gd name="connsiteX3364" fmla="*/ 1356898 w 3214184"/>
                <a:gd name="connsiteY3364" fmla="*/ 3489049 h 4996841"/>
                <a:gd name="connsiteX3365" fmla="*/ 1357896 w 3214184"/>
                <a:gd name="connsiteY3365" fmla="*/ 3488505 h 4996841"/>
                <a:gd name="connsiteX3366" fmla="*/ 1359833 w 3214184"/>
                <a:gd name="connsiteY3366" fmla="*/ 3487809 h 4996841"/>
                <a:gd name="connsiteX3367" fmla="*/ 1361103 w 3214184"/>
                <a:gd name="connsiteY3367" fmla="*/ 3486659 h 4996841"/>
                <a:gd name="connsiteX3368" fmla="*/ 1363705 w 3214184"/>
                <a:gd name="connsiteY3368" fmla="*/ 3483664 h 4996841"/>
                <a:gd name="connsiteX3369" fmla="*/ 1365338 w 3214184"/>
                <a:gd name="connsiteY3369" fmla="*/ 3482575 h 4996841"/>
                <a:gd name="connsiteX3370" fmla="*/ 1366700 w 3214184"/>
                <a:gd name="connsiteY3370" fmla="*/ 3482334 h 4996841"/>
                <a:gd name="connsiteX3371" fmla="*/ 1376531 w 3214184"/>
                <a:gd name="connsiteY3371" fmla="*/ 3484088 h 4996841"/>
                <a:gd name="connsiteX3372" fmla="*/ 1383035 w 3214184"/>
                <a:gd name="connsiteY3372" fmla="*/ 3484088 h 4996841"/>
                <a:gd name="connsiteX3373" fmla="*/ 1384760 w 3214184"/>
                <a:gd name="connsiteY3373" fmla="*/ 3484390 h 4996841"/>
                <a:gd name="connsiteX3374" fmla="*/ 1387240 w 3214184"/>
                <a:gd name="connsiteY3374" fmla="*/ 3486054 h 4996841"/>
                <a:gd name="connsiteX3375" fmla="*/ 1387543 w 3214184"/>
                <a:gd name="connsiteY3375" fmla="*/ 3486236 h 4996841"/>
                <a:gd name="connsiteX3376" fmla="*/ 1389146 w 3214184"/>
                <a:gd name="connsiteY3376" fmla="*/ 3486962 h 4996841"/>
                <a:gd name="connsiteX3377" fmla="*/ 1390961 w 3214184"/>
                <a:gd name="connsiteY3377" fmla="*/ 3486841 h 4996841"/>
                <a:gd name="connsiteX3378" fmla="*/ 1392383 w 3214184"/>
                <a:gd name="connsiteY3378" fmla="*/ 3485903 h 4996841"/>
                <a:gd name="connsiteX3379" fmla="*/ 1393744 w 3214184"/>
                <a:gd name="connsiteY3379" fmla="*/ 3484753 h 4996841"/>
                <a:gd name="connsiteX3380" fmla="*/ 1395257 w 3214184"/>
                <a:gd name="connsiteY3380" fmla="*/ 3483997 h 4996841"/>
                <a:gd name="connsiteX3381" fmla="*/ 1397162 w 3214184"/>
                <a:gd name="connsiteY3381" fmla="*/ 3486539 h 4996841"/>
                <a:gd name="connsiteX3382" fmla="*/ 1396527 w 3214184"/>
                <a:gd name="connsiteY3382" fmla="*/ 3492286 h 4996841"/>
                <a:gd name="connsiteX3383" fmla="*/ 1398252 w 3214184"/>
                <a:gd name="connsiteY3383" fmla="*/ 3494646 h 4996841"/>
                <a:gd name="connsiteX3384" fmla="*/ 1400399 w 3214184"/>
                <a:gd name="connsiteY3384" fmla="*/ 3494434 h 4996841"/>
                <a:gd name="connsiteX3385" fmla="*/ 1407327 w 3214184"/>
                <a:gd name="connsiteY3385" fmla="*/ 3488111 h 4996841"/>
                <a:gd name="connsiteX3386" fmla="*/ 1416130 w 3214184"/>
                <a:gd name="connsiteY3386" fmla="*/ 3484330 h 4996841"/>
                <a:gd name="connsiteX3387" fmla="*/ 1420728 w 3214184"/>
                <a:gd name="connsiteY3387" fmla="*/ 3483543 h 4996841"/>
                <a:gd name="connsiteX3388" fmla="*/ 1425296 w 3214184"/>
                <a:gd name="connsiteY3388" fmla="*/ 3483695 h 4996841"/>
                <a:gd name="connsiteX3389" fmla="*/ 1427807 w 3214184"/>
                <a:gd name="connsiteY3389" fmla="*/ 3484542 h 4996841"/>
                <a:gd name="connsiteX3390" fmla="*/ 1428926 w 3214184"/>
                <a:gd name="connsiteY3390" fmla="*/ 3485994 h 4996841"/>
                <a:gd name="connsiteX3391" fmla="*/ 1429804 w 3214184"/>
                <a:gd name="connsiteY3391" fmla="*/ 3488081 h 4996841"/>
                <a:gd name="connsiteX3392" fmla="*/ 1431377 w 3214184"/>
                <a:gd name="connsiteY3392" fmla="*/ 3490743 h 4996841"/>
                <a:gd name="connsiteX3393" fmla="*/ 1433343 w 3214184"/>
                <a:gd name="connsiteY3393" fmla="*/ 3492498 h 4996841"/>
                <a:gd name="connsiteX3394" fmla="*/ 1437579 w 3214184"/>
                <a:gd name="connsiteY3394" fmla="*/ 3494948 h 4996841"/>
                <a:gd name="connsiteX3395" fmla="*/ 1439424 w 3214184"/>
                <a:gd name="connsiteY3395" fmla="*/ 3497399 h 4996841"/>
                <a:gd name="connsiteX3396" fmla="*/ 1441935 w 3214184"/>
                <a:gd name="connsiteY3396" fmla="*/ 3502511 h 4996841"/>
                <a:gd name="connsiteX3397" fmla="*/ 1443296 w 3214184"/>
                <a:gd name="connsiteY3397" fmla="*/ 3504175 h 4996841"/>
                <a:gd name="connsiteX3398" fmla="*/ 1449770 w 3214184"/>
                <a:gd name="connsiteY3398" fmla="*/ 3508198 h 4996841"/>
                <a:gd name="connsiteX3399" fmla="*/ 1451464 w 3214184"/>
                <a:gd name="connsiteY3399" fmla="*/ 3509953 h 4996841"/>
                <a:gd name="connsiteX3400" fmla="*/ 1453188 w 3214184"/>
                <a:gd name="connsiteY3400" fmla="*/ 3512373 h 4996841"/>
                <a:gd name="connsiteX3401" fmla="*/ 1454126 w 3214184"/>
                <a:gd name="connsiteY3401" fmla="*/ 3514158 h 4996841"/>
                <a:gd name="connsiteX3402" fmla="*/ 1454701 w 3214184"/>
                <a:gd name="connsiteY3402" fmla="*/ 3515580 h 4996841"/>
                <a:gd name="connsiteX3403" fmla="*/ 1454943 w 3214184"/>
                <a:gd name="connsiteY3403" fmla="*/ 3517032 h 4996841"/>
                <a:gd name="connsiteX3404" fmla="*/ 1454943 w 3214184"/>
                <a:gd name="connsiteY3404" fmla="*/ 3518695 h 4996841"/>
                <a:gd name="connsiteX3405" fmla="*/ 1453249 w 3214184"/>
                <a:gd name="connsiteY3405" fmla="*/ 3522054 h 4996841"/>
                <a:gd name="connsiteX3406" fmla="*/ 1453249 w 3214184"/>
                <a:gd name="connsiteY3406" fmla="*/ 3522900 h 4996841"/>
                <a:gd name="connsiteX3407" fmla="*/ 1453582 w 3214184"/>
                <a:gd name="connsiteY3407" fmla="*/ 3525472 h 4996841"/>
                <a:gd name="connsiteX3408" fmla="*/ 1453823 w 3214184"/>
                <a:gd name="connsiteY3408" fmla="*/ 3530433 h 4996841"/>
                <a:gd name="connsiteX3409" fmla="*/ 1454399 w 3214184"/>
                <a:gd name="connsiteY3409" fmla="*/ 3533307 h 4996841"/>
                <a:gd name="connsiteX3410" fmla="*/ 1455639 w 3214184"/>
                <a:gd name="connsiteY3410" fmla="*/ 3535909 h 4996841"/>
                <a:gd name="connsiteX3411" fmla="*/ 1457726 w 3214184"/>
                <a:gd name="connsiteY3411" fmla="*/ 3539085 h 4996841"/>
                <a:gd name="connsiteX3412" fmla="*/ 1457998 w 3214184"/>
                <a:gd name="connsiteY3412" fmla="*/ 3541657 h 4996841"/>
                <a:gd name="connsiteX3413" fmla="*/ 1457242 w 3214184"/>
                <a:gd name="connsiteY3413" fmla="*/ 3543865 h 4996841"/>
                <a:gd name="connsiteX3414" fmla="*/ 1457151 w 3214184"/>
                <a:gd name="connsiteY3414" fmla="*/ 3545196 h 4996841"/>
                <a:gd name="connsiteX3415" fmla="*/ 1462203 w 3214184"/>
                <a:gd name="connsiteY3415" fmla="*/ 3545196 h 4996841"/>
                <a:gd name="connsiteX3416" fmla="*/ 1464230 w 3214184"/>
                <a:gd name="connsiteY3416" fmla="*/ 3546618 h 4996841"/>
                <a:gd name="connsiteX3417" fmla="*/ 1467981 w 3214184"/>
                <a:gd name="connsiteY3417" fmla="*/ 3551095 h 4996841"/>
                <a:gd name="connsiteX3418" fmla="*/ 1468556 w 3214184"/>
                <a:gd name="connsiteY3418" fmla="*/ 3551639 h 4996841"/>
                <a:gd name="connsiteX3419" fmla="*/ 1469887 w 3214184"/>
                <a:gd name="connsiteY3419" fmla="*/ 3552456 h 4996841"/>
                <a:gd name="connsiteX3420" fmla="*/ 1470522 w 3214184"/>
                <a:gd name="connsiteY3420" fmla="*/ 3553061 h 4996841"/>
                <a:gd name="connsiteX3421" fmla="*/ 1470764 w 3214184"/>
                <a:gd name="connsiteY3421" fmla="*/ 3553787 h 4996841"/>
                <a:gd name="connsiteX3422" fmla="*/ 1471128 w 3214184"/>
                <a:gd name="connsiteY3422" fmla="*/ 3555844 h 4996841"/>
                <a:gd name="connsiteX3423" fmla="*/ 1471128 w 3214184"/>
                <a:gd name="connsiteY3423" fmla="*/ 3556207 h 4996841"/>
                <a:gd name="connsiteX3424" fmla="*/ 1472277 w 3214184"/>
                <a:gd name="connsiteY3424" fmla="*/ 3556631 h 4996841"/>
                <a:gd name="connsiteX3425" fmla="*/ 1474153 w 3214184"/>
                <a:gd name="connsiteY3425" fmla="*/ 3555753 h 4996841"/>
                <a:gd name="connsiteX3426" fmla="*/ 1475332 w 3214184"/>
                <a:gd name="connsiteY3426" fmla="*/ 3555753 h 4996841"/>
                <a:gd name="connsiteX3427" fmla="*/ 1477087 w 3214184"/>
                <a:gd name="connsiteY3427" fmla="*/ 3556843 h 4996841"/>
                <a:gd name="connsiteX3428" fmla="*/ 1480414 w 3214184"/>
                <a:gd name="connsiteY3428" fmla="*/ 3560321 h 4996841"/>
                <a:gd name="connsiteX3429" fmla="*/ 1482381 w 3214184"/>
                <a:gd name="connsiteY3429" fmla="*/ 3561653 h 4996841"/>
                <a:gd name="connsiteX3430" fmla="*/ 1484801 w 3214184"/>
                <a:gd name="connsiteY3430" fmla="*/ 3563891 h 4996841"/>
                <a:gd name="connsiteX3431" fmla="*/ 1486253 w 3214184"/>
                <a:gd name="connsiteY3431" fmla="*/ 3565252 h 4996841"/>
                <a:gd name="connsiteX3432" fmla="*/ 1488976 w 3214184"/>
                <a:gd name="connsiteY3432" fmla="*/ 3571243 h 4996841"/>
                <a:gd name="connsiteX3433" fmla="*/ 1489127 w 3214184"/>
                <a:gd name="connsiteY3433" fmla="*/ 3577383 h 4996841"/>
                <a:gd name="connsiteX3434" fmla="*/ 1485285 w 3214184"/>
                <a:gd name="connsiteY3434" fmla="*/ 3581558 h 4996841"/>
                <a:gd name="connsiteX3435" fmla="*/ 1483349 w 3214184"/>
                <a:gd name="connsiteY3435" fmla="*/ 3581982 h 4996841"/>
                <a:gd name="connsiteX3436" fmla="*/ 1477450 w 3214184"/>
                <a:gd name="connsiteY3436" fmla="*/ 3581891 h 4996841"/>
                <a:gd name="connsiteX3437" fmla="*/ 1460297 w 3214184"/>
                <a:gd name="connsiteY3437" fmla="*/ 3585672 h 4996841"/>
                <a:gd name="connsiteX3438" fmla="*/ 1456395 w 3214184"/>
                <a:gd name="connsiteY3438" fmla="*/ 3587790 h 4996841"/>
                <a:gd name="connsiteX3439" fmla="*/ 1455457 w 3214184"/>
                <a:gd name="connsiteY3439" fmla="*/ 3591269 h 4996841"/>
                <a:gd name="connsiteX3440" fmla="*/ 1456577 w 3214184"/>
                <a:gd name="connsiteY3440" fmla="*/ 3592751 h 4996841"/>
                <a:gd name="connsiteX3441" fmla="*/ 1460116 w 3214184"/>
                <a:gd name="connsiteY3441" fmla="*/ 3593659 h 4996841"/>
                <a:gd name="connsiteX3442" fmla="*/ 1461568 w 3214184"/>
                <a:gd name="connsiteY3442" fmla="*/ 3594536 h 4996841"/>
                <a:gd name="connsiteX3443" fmla="*/ 1462022 w 3214184"/>
                <a:gd name="connsiteY3443" fmla="*/ 3595625 h 4996841"/>
                <a:gd name="connsiteX3444" fmla="*/ 1462445 w 3214184"/>
                <a:gd name="connsiteY3444" fmla="*/ 3598680 h 4996841"/>
                <a:gd name="connsiteX3445" fmla="*/ 1462868 w 3214184"/>
                <a:gd name="connsiteY3445" fmla="*/ 3600042 h 4996841"/>
                <a:gd name="connsiteX3446" fmla="*/ 1463625 w 3214184"/>
                <a:gd name="connsiteY3446" fmla="*/ 3601221 h 4996841"/>
                <a:gd name="connsiteX3447" fmla="*/ 1467860 w 3214184"/>
                <a:gd name="connsiteY3447" fmla="*/ 3605699 h 4996841"/>
                <a:gd name="connsiteX3448" fmla="*/ 1469191 w 3214184"/>
                <a:gd name="connsiteY3448" fmla="*/ 3607786 h 4996841"/>
                <a:gd name="connsiteX3449" fmla="*/ 1470008 w 3214184"/>
                <a:gd name="connsiteY3449" fmla="*/ 3610357 h 4996841"/>
                <a:gd name="connsiteX3450" fmla="*/ 1470250 w 3214184"/>
                <a:gd name="connsiteY3450" fmla="*/ 3613624 h 4996841"/>
                <a:gd name="connsiteX3451" fmla="*/ 1470008 w 3214184"/>
                <a:gd name="connsiteY3451" fmla="*/ 3615167 h 4996841"/>
                <a:gd name="connsiteX3452" fmla="*/ 1469131 w 3214184"/>
                <a:gd name="connsiteY3452" fmla="*/ 3617769 h 4996841"/>
                <a:gd name="connsiteX3453" fmla="*/ 1468859 w 3214184"/>
                <a:gd name="connsiteY3453" fmla="*/ 3619221 h 4996841"/>
                <a:gd name="connsiteX3454" fmla="*/ 1468979 w 3214184"/>
                <a:gd name="connsiteY3454" fmla="*/ 3620734 h 4996841"/>
                <a:gd name="connsiteX3455" fmla="*/ 1469343 w 3214184"/>
                <a:gd name="connsiteY3455" fmla="*/ 3622004 h 4996841"/>
                <a:gd name="connsiteX3456" fmla="*/ 1469585 w 3214184"/>
                <a:gd name="connsiteY3456" fmla="*/ 3623305 h 4996841"/>
                <a:gd name="connsiteX3457" fmla="*/ 1469343 w 3214184"/>
                <a:gd name="connsiteY3457" fmla="*/ 3624818 h 4996841"/>
                <a:gd name="connsiteX3458" fmla="*/ 1468526 w 3214184"/>
                <a:gd name="connsiteY3458" fmla="*/ 3625635 h 4996841"/>
                <a:gd name="connsiteX3459" fmla="*/ 1466317 w 3214184"/>
                <a:gd name="connsiteY3459" fmla="*/ 3626088 h 4996841"/>
                <a:gd name="connsiteX3460" fmla="*/ 1465803 w 3214184"/>
                <a:gd name="connsiteY3460" fmla="*/ 3626996 h 4996841"/>
                <a:gd name="connsiteX3461" fmla="*/ 1466227 w 3214184"/>
                <a:gd name="connsiteY3461" fmla="*/ 3628206 h 4996841"/>
                <a:gd name="connsiteX3462" fmla="*/ 1467195 w 3214184"/>
                <a:gd name="connsiteY3462" fmla="*/ 3629446 h 4996841"/>
                <a:gd name="connsiteX3463" fmla="*/ 1469222 w 3214184"/>
                <a:gd name="connsiteY3463" fmla="*/ 3631201 h 4996841"/>
                <a:gd name="connsiteX3464" fmla="*/ 1470704 w 3214184"/>
                <a:gd name="connsiteY3464" fmla="*/ 3632108 h 4996841"/>
                <a:gd name="connsiteX3465" fmla="*/ 1472398 w 3214184"/>
                <a:gd name="connsiteY3465" fmla="*/ 3632744 h 4996841"/>
                <a:gd name="connsiteX3466" fmla="*/ 1474123 w 3214184"/>
                <a:gd name="connsiteY3466" fmla="*/ 3633046 h 4996841"/>
                <a:gd name="connsiteX3467" fmla="*/ 1475695 w 3214184"/>
                <a:gd name="connsiteY3467" fmla="*/ 3633046 h 4996841"/>
                <a:gd name="connsiteX3468" fmla="*/ 1477722 w 3214184"/>
                <a:gd name="connsiteY3468" fmla="*/ 3631987 h 4996841"/>
                <a:gd name="connsiteX3469" fmla="*/ 1478600 w 3214184"/>
                <a:gd name="connsiteY3469" fmla="*/ 3636979 h 4996841"/>
                <a:gd name="connsiteX3470" fmla="*/ 1476089 w 3214184"/>
                <a:gd name="connsiteY3470" fmla="*/ 3641910 h 4996841"/>
                <a:gd name="connsiteX3471" fmla="*/ 1472095 w 3214184"/>
                <a:gd name="connsiteY3471" fmla="*/ 3645933 h 4996841"/>
                <a:gd name="connsiteX3472" fmla="*/ 1466257 w 3214184"/>
                <a:gd name="connsiteY3472" fmla="*/ 3649654 h 4996841"/>
                <a:gd name="connsiteX3473" fmla="*/ 1473487 w 3214184"/>
                <a:gd name="connsiteY3473" fmla="*/ 3652528 h 4996841"/>
                <a:gd name="connsiteX3474" fmla="*/ 1475877 w 3214184"/>
                <a:gd name="connsiteY3474" fmla="*/ 3652982 h 4996841"/>
                <a:gd name="connsiteX3475" fmla="*/ 1477692 w 3214184"/>
                <a:gd name="connsiteY3475" fmla="*/ 3652225 h 4996841"/>
                <a:gd name="connsiteX3476" fmla="*/ 1481443 w 3214184"/>
                <a:gd name="connsiteY3476" fmla="*/ 3649321 h 4996841"/>
                <a:gd name="connsiteX3477" fmla="*/ 1484952 w 3214184"/>
                <a:gd name="connsiteY3477" fmla="*/ 3648474 h 4996841"/>
                <a:gd name="connsiteX3478" fmla="*/ 1488703 w 3214184"/>
                <a:gd name="connsiteY3478" fmla="*/ 3649049 h 4996841"/>
                <a:gd name="connsiteX3479" fmla="*/ 1495903 w 3214184"/>
                <a:gd name="connsiteY3479" fmla="*/ 3651439 h 4996841"/>
                <a:gd name="connsiteX3480" fmla="*/ 1499231 w 3214184"/>
                <a:gd name="connsiteY3480" fmla="*/ 3652528 h 4996841"/>
                <a:gd name="connsiteX3481" fmla="*/ 1505735 w 3214184"/>
                <a:gd name="connsiteY3481" fmla="*/ 3651469 h 4996841"/>
                <a:gd name="connsiteX3482" fmla="*/ 1508730 w 3214184"/>
                <a:gd name="connsiteY3482" fmla="*/ 3651862 h 4996841"/>
                <a:gd name="connsiteX3483" fmla="*/ 1510182 w 3214184"/>
                <a:gd name="connsiteY3483" fmla="*/ 3653224 h 4996841"/>
                <a:gd name="connsiteX3484" fmla="*/ 1510787 w 3214184"/>
                <a:gd name="connsiteY3484" fmla="*/ 3655220 h 4996841"/>
                <a:gd name="connsiteX3485" fmla="*/ 1511240 w 3214184"/>
                <a:gd name="connsiteY3485" fmla="*/ 3657519 h 4996841"/>
                <a:gd name="connsiteX3486" fmla="*/ 1512239 w 3214184"/>
                <a:gd name="connsiteY3486" fmla="*/ 3659728 h 4996841"/>
                <a:gd name="connsiteX3487" fmla="*/ 1513721 w 3214184"/>
                <a:gd name="connsiteY3487" fmla="*/ 3661059 h 4996841"/>
                <a:gd name="connsiteX3488" fmla="*/ 1515446 w 3214184"/>
                <a:gd name="connsiteY3488" fmla="*/ 3661633 h 4996841"/>
                <a:gd name="connsiteX3489" fmla="*/ 1522797 w 3214184"/>
                <a:gd name="connsiteY3489" fmla="*/ 3662087 h 4996841"/>
                <a:gd name="connsiteX3490" fmla="*/ 1529785 w 3214184"/>
                <a:gd name="connsiteY3490" fmla="*/ 3660605 h 4996841"/>
                <a:gd name="connsiteX3491" fmla="*/ 1538013 w 3214184"/>
                <a:gd name="connsiteY3491" fmla="*/ 3657399 h 4996841"/>
                <a:gd name="connsiteX3492" fmla="*/ 1542702 w 3214184"/>
                <a:gd name="connsiteY3492" fmla="*/ 3654797 h 4996841"/>
                <a:gd name="connsiteX3493" fmla="*/ 1544306 w 3214184"/>
                <a:gd name="connsiteY3493" fmla="*/ 3654646 h 4996841"/>
                <a:gd name="connsiteX3494" fmla="*/ 1546151 w 3214184"/>
                <a:gd name="connsiteY3494" fmla="*/ 3655493 h 4996841"/>
                <a:gd name="connsiteX3495" fmla="*/ 1548057 w 3214184"/>
                <a:gd name="connsiteY3495" fmla="*/ 3656642 h 4996841"/>
                <a:gd name="connsiteX3496" fmla="*/ 1550023 w 3214184"/>
                <a:gd name="connsiteY3496" fmla="*/ 3656249 h 4996841"/>
                <a:gd name="connsiteX3497" fmla="*/ 1552050 w 3214184"/>
                <a:gd name="connsiteY3497" fmla="*/ 3655402 h 4996841"/>
                <a:gd name="connsiteX3498" fmla="*/ 1554107 w 3214184"/>
                <a:gd name="connsiteY3498" fmla="*/ 3655099 h 4996841"/>
                <a:gd name="connsiteX3499" fmla="*/ 1556043 w 3214184"/>
                <a:gd name="connsiteY3499" fmla="*/ 3655765 h 4996841"/>
                <a:gd name="connsiteX3500" fmla="*/ 1557314 w 3214184"/>
                <a:gd name="connsiteY3500" fmla="*/ 3657247 h 4996841"/>
                <a:gd name="connsiteX3501" fmla="*/ 1558101 w 3214184"/>
                <a:gd name="connsiteY3501" fmla="*/ 3659365 h 4996841"/>
                <a:gd name="connsiteX3502" fmla="*/ 1560611 w 3214184"/>
                <a:gd name="connsiteY3502" fmla="*/ 3672887 h 4996841"/>
                <a:gd name="connsiteX3503" fmla="*/ 1562578 w 3214184"/>
                <a:gd name="connsiteY3503" fmla="*/ 3677697 h 4996841"/>
                <a:gd name="connsiteX3504" fmla="*/ 1565512 w 3214184"/>
                <a:gd name="connsiteY3504" fmla="*/ 3680359 h 4996841"/>
                <a:gd name="connsiteX3505" fmla="*/ 1568870 w 3214184"/>
                <a:gd name="connsiteY3505" fmla="*/ 3680601 h 4996841"/>
                <a:gd name="connsiteX3506" fmla="*/ 1575706 w 3214184"/>
                <a:gd name="connsiteY3506" fmla="*/ 3679149 h 4996841"/>
                <a:gd name="connsiteX3507" fmla="*/ 1579216 w 3214184"/>
                <a:gd name="connsiteY3507" fmla="*/ 3679391 h 4996841"/>
                <a:gd name="connsiteX3508" fmla="*/ 1581182 w 3214184"/>
                <a:gd name="connsiteY3508" fmla="*/ 3679996 h 4996841"/>
                <a:gd name="connsiteX3509" fmla="*/ 1582997 w 3214184"/>
                <a:gd name="connsiteY3509" fmla="*/ 3680934 h 4996841"/>
                <a:gd name="connsiteX3510" fmla="*/ 1583874 w 3214184"/>
                <a:gd name="connsiteY3510" fmla="*/ 3682568 h 4996841"/>
                <a:gd name="connsiteX3511" fmla="*/ 1583058 w 3214184"/>
                <a:gd name="connsiteY3511" fmla="*/ 3685109 h 4996841"/>
                <a:gd name="connsiteX3512" fmla="*/ 1581605 w 3214184"/>
                <a:gd name="connsiteY3512" fmla="*/ 3686319 h 4996841"/>
                <a:gd name="connsiteX3513" fmla="*/ 1576130 w 3214184"/>
                <a:gd name="connsiteY3513" fmla="*/ 3687408 h 4996841"/>
                <a:gd name="connsiteX3514" fmla="*/ 1576523 w 3214184"/>
                <a:gd name="connsiteY3514" fmla="*/ 3689041 h 4996841"/>
                <a:gd name="connsiteX3515" fmla="*/ 1576523 w 3214184"/>
                <a:gd name="connsiteY3515" fmla="*/ 3693034 h 4996841"/>
                <a:gd name="connsiteX3516" fmla="*/ 1576765 w 3214184"/>
                <a:gd name="connsiteY3516" fmla="*/ 3694517 h 4996841"/>
                <a:gd name="connsiteX3517" fmla="*/ 1577673 w 3214184"/>
                <a:gd name="connsiteY3517" fmla="*/ 3695485 h 4996841"/>
                <a:gd name="connsiteX3518" fmla="*/ 1580033 w 3214184"/>
                <a:gd name="connsiteY3518" fmla="*/ 3695969 h 4996841"/>
                <a:gd name="connsiteX3519" fmla="*/ 1581273 w 3214184"/>
                <a:gd name="connsiteY3519" fmla="*/ 3696725 h 4996841"/>
                <a:gd name="connsiteX3520" fmla="*/ 1582513 w 3214184"/>
                <a:gd name="connsiteY3520" fmla="*/ 3698662 h 4996841"/>
                <a:gd name="connsiteX3521" fmla="*/ 1582634 w 3214184"/>
                <a:gd name="connsiteY3521" fmla="*/ 3700355 h 4996841"/>
                <a:gd name="connsiteX3522" fmla="*/ 1582392 w 3214184"/>
                <a:gd name="connsiteY3522" fmla="*/ 3702170 h 4996841"/>
                <a:gd name="connsiteX3523" fmla="*/ 1582513 w 3214184"/>
                <a:gd name="connsiteY3523" fmla="*/ 3704409 h 4996841"/>
                <a:gd name="connsiteX3524" fmla="*/ 1583209 w 3214184"/>
                <a:gd name="connsiteY3524" fmla="*/ 3706254 h 4996841"/>
                <a:gd name="connsiteX3525" fmla="*/ 1585266 w 3214184"/>
                <a:gd name="connsiteY3525" fmla="*/ 3708856 h 4996841"/>
                <a:gd name="connsiteX3526" fmla="*/ 1586143 w 3214184"/>
                <a:gd name="connsiteY3526" fmla="*/ 3710641 h 4996841"/>
                <a:gd name="connsiteX3527" fmla="*/ 1586355 w 3214184"/>
                <a:gd name="connsiteY3527" fmla="*/ 3712728 h 4996841"/>
                <a:gd name="connsiteX3528" fmla="*/ 1586113 w 3214184"/>
                <a:gd name="connsiteY3528" fmla="*/ 3714483 h 4996841"/>
                <a:gd name="connsiteX3529" fmla="*/ 1586325 w 3214184"/>
                <a:gd name="connsiteY3529" fmla="*/ 3715996 h 4996841"/>
                <a:gd name="connsiteX3530" fmla="*/ 1587716 w 3214184"/>
                <a:gd name="connsiteY3530" fmla="*/ 3717296 h 4996841"/>
                <a:gd name="connsiteX3531" fmla="*/ 1590227 w 3214184"/>
                <a:gd name="connsiteY3531" fmla="*/ 3718688 h 4996841"/>
                <a:gd name="connsiteX3532" fmla="*/ 1591347 w 3214184"/>
                <a:gd name="connsiteY3532" fmla="*/ 3719686 h 4996841"/>
                <a:gd name="connsiteX3533" fmla="*/ 1592284 w 3214184"/>
                <a:gd name="connsiteY3533" fmla="*/ 3721138 h 4996841"/>
                <a:gd name="connsiteX3534" fmla="*/ 1593162 w 3214184"/>
                <a:gd name="connsiteY3534" fmla="*/ 3725192 h 4996841"/>
                <a:gd name="connsiteX3535" fmla="*/ 1592829 w 3214184"/>
                <a:gd name="connsiteY3535" fmla="*/ 3728822 h 4996841"/>
                <a:gd name="connsiteX3536" fmla="*/ 1592980 w 3214184"/>
                <a:gd name="connsiteY3536" fmla="*/ 3732059 h 4996841"/>
                <a:gd name="connsiteX3537" fmla="*/ 1595309 w 3214184"/>
                <a:gd name="connsiteY3537" fmla="*/ 3734812 h 4996841"/>
                <a:gd name="connsiteX3538" fmla="*/ 1587535 w 3214184"/>
                <a:gd name="connsiteY3538" fmla="*/ 3738018 h 4996841"/>
                <a:gd name="connsiteX3539" fmla="*/ 1586023 w 3214184"/>
                <a:gd name="connsiteY3539" fmla="*/ 3739713 h 4996841"/>
                <a:gd name="connsiteX3540" fmla="*/ 1586143 w 3214184"/>
                <a:gd name="connsiteY3540" fmla="*/ 3741558 h 4996841"/>
                <a:gd name="connsiteX3541" fmla="*/ 1590953 w 3214184"/>
                <a:gd name="connsiteY3541" fmla="*/ 3759225 h 4996841"/>
                <a:gd name="connsiteX3542" fmla="*/ 1593040 w 3214184"/>
                <a:gd name="connsiteY3542" fmla="*/ 3762794 h 4996841"/>
                <a:gd name="connsiteX3543" fmla="*/ 1596459 w 3214184"/>
                <a:gd name="connsiteY3543" fmla="*/ 3764125 h 4996841"/>
                <a:gd name="connsiteX3544" fmla="*/ 1598637 w 3214184"/>
                <a:gd name="connsiteY3544" fmla="*/ 3764488 h 4996841"/>
                <a:gd name="connsiteX3545" fmla="*/ 1600724 w 3214184"/>
                <a:gd name="connsiteY3545" fmla="*/ 3765184 h 4996841"/>
                <a:gd name="connsiteX3546" fmla="*/ 1602540 w 3214184"/>
                <a:gd name="connsiteY3546" fmla="*/ 3766546 h 4996841"/>
                <a:gd name="connsiteX3547" fmla="*/ 1603931 w 3214184"/>
                <a:gd name="connsiteY3547" fmla="*/ 3768996 h 4996841"/>
                <a:gd name="connsiteX3548" fmla="*/ 1604657 w 3214184"/>
                <a:gd name="connsiteY3548" fmla="*/ 3772415 h 4996841"/>
                <a:gd name="connsiteX3549" fmla="*/ 1604839 w 3214184"/>
                <a:gd name="connsiteY3549" fmla="*/ 3774986 h 4996841"/>
                <a:gd name="connsiteX3550" fmla="*/ 1605504 w 3214184"/>
                <a:gd name="connsiteY3550" fmla="*/ 3777224 h 4996841"/>
                <a:gd name="connsiteX3551" fmla="*/ 1607682 w 3214184"/>
                <a:gd name="connsiteY3551" fmla="*/ 3779524 h 4996841"/>
                <a:gd name="connsiteX3552" fmla="*/ 1609648 w 3214184"/>
                <a:gd name="connsiteY3552" fmla="*/ 3780764 h 4996841"/>
                <a:gd name="connsiteX3553" fmla="*/ 1611676 w 3214184"/>
                <a:gd name="connsiteY3553" fmla="*/ 3781762 h 4996841"/>
                <a:gd name="connsiteX3554" fmla="*/ 1613733 w 3214184"/>
                <a:gd name="connsiteY3554" fmla="*/ 3782337 h 4996841"/>
                <a:gd name="connsiteX3555" fmla="*/ 1615880 w 3214184"/>
                <a:gd name="connsiteY3555" fmla="*/ 3782458 h 4996841"/>
                <a:gd name="connsiteX3556" fmla="*/ 1617787 w 3214184"/>
                <a:gd name="connsiteY3556" fmla="*/ 3781883 h 4996841"/>
                <a:gd name="connsiteX3557" fmla="*/ 1618240 w 3214184"/>
                <a:gd name="connsiteY3557" fmla="*/ 3781732 h 4996841"/>
                <a:gd name="connsiteX3558" fmla="*/ 1619601 w 3214184"/>
                <a:gd name="connsiteY3558" fmla="*/ 3780250 h 4996841"/>
                <a:gd name="connsiteX3559" fmla="*/ 1620721 w 3214184"/>
                <a:gd name="connsiteY3559" fmla="*/ 3778344 h 4996841"/>
                <a:gd name="connsiteX3560" fmla="*/ 1622355 w 3214184"/>
                <a:gd name="connsiteY3560" fmla="*/ 3776438 h 4996841"/>
                <a:gd name="connsiteX3561" fmla="*/ 1623231 w 3214184"/>
                <a:gd name="connsiteY3561" fmla="*/ 3776105 h 4996841"/>
                <a:gd name="connsiteX3562" fmla="*/ 1625168 w 3214184"/>
                <a:gd name="connsiteY3562" fmla="*/ 3776014 h 4996841"/>
                <a:gd name="connsiteX3563" fmla="*/ 1626075 w 3214184"/>
                <a:gd name="connsiteY3563" fmla="*/ 3775682 h 4996841"/>
                <a:gd name="connsiteX3564" fmla="*/ 1627194 w 3214184"/>
                <a:gd name="connsiteY3564" fmla="*/ 3774593 h 4996841"/>
                <a:gd name="connsiteX3565" fmla="*/ 1629221 w 3214184"/>
                <a:gd name="connsiteY3565" fmla="*/ 3772021 h 4996841"/>
                <a:gd name="connsiteX3566" fmla="*/ 1630613 w 3214184"/>
                <a:gd name="connsiteY3566" fmla="*/ 3771023 h 4996841"/>
                <a:gd name="connsiteX3567" fmla="*/ 1632428 w 3214184"/>
                <a:gd name="connsiteY3567" fmla="*/ 3770418 h 4996841"/>
                <a:gd name="connsiteX3568" fmla="*/ 1641927 w 3214184"/>
                <a:gd name="connsiteY3568" fmla="*/ 3769389 h 4996841"/>
                <a:gd name="connsiteX3569" fmla="*/ 1659413 w 3214184"/>
                <a:gd name="connsiteY3569" fmla="*/ 3770720 h 4996841"/>
                <a:gd name="connsiteX3570" fmla="*/ 1662165 w 3214184"/>
                <a:gd name="connsiteY3570" fmla="*/ 3772081 h 4996841"/>
                <a:gd name="connsiteX3571" fmla="*/ 1662952 w 3214184"/>
                <a:gd name="connsiteY3571" fmla="*/ 3774804 h 4996841"/>
                <a:gd name="connsiteX3572" fmla="*/ 1665826 w 3214184"/>
                <a:gd name="connsiteY3572" fmla="*/ 3776135 h 4996841"/>
                <a:gd name="connsiteX3573" fmla="*/ 1675839 w 3214184"/>
                <a:gd name="connsiteY3573" fmla="*/ 3790958 h 4996841"/>
                <a:gd name="connsiteX3574" fmla="*/ 1678138 w 3214184"/>
                <a:gd name="connsiteY3574" fmla="*/ 3792017 h 4996841"/>
                <a:gd name="connsiteX3575" fmla="*/ 1680558 w 3214184"/>
                <a:gd name="connsiteY3575" fmla="*/ 3791896 h 4996841"/>
                <a:gd name="connsiteX3576" fmla="*/ 1682948 w 3214184"/>
                <a:gd name="connsiteY3576" fmla="*/ 3790898 h 4996841"/>
                <a:gd name="connsiteX3577" fmla="*/ 1685126 w 3214184"/>
                <a:gd name="connsiteY3577" fmla="*/ 3789446 h 4996841"/>
                <a:gd name="connsiteX3578" fmla="*/ 1687092 w 3214184"/>
                <a:gd name="connsiteY3578" fmla="*/ 3787631 h 4996841"/>
                <a:gd name="connsiteX3579" fmla="*/ 1687788 w 3214184"/>
                <a:gd name="connsiteY3579" fmla="*/ 3787298 h 4996841"/>
                <a:gd name="connsiteX3580" fmla="*/ 1689028 w 3214184"/>
                <a:gd name="connsiteY3580" fmla="*/ 3787298 h 4996841"/>
                <a:gd name="connsiteX3581" fmla="*/ 1690027 w 3214184"/>
                <a:gd name="connsiteY3581" fmla="*/ 3787600 h 4996841"/>
                <a:gd name="connsiteX3582" fmla="*/ 1692084 w 3214184"/>
                <a:gd name="connsiteY3582" fmla="*/ 3788689 h 4996841"/>
                <a:gd name="connsiteX3583" fmla="*/ 1694292 w 3214184"/>
                <a:gd name="connsiteY3583" fmla="*/ 3789143 h 4996841"/>
                <a:gd name="connsiteX3584" fmla="*/ 1697075 w 3214184"/>
                <a:gd name="connsiteY3584" fmla="*/ 3790989 h 4996841"/>
                <a:gd name="connsiteX3585" fmla="*/ 1700252 w 3214184"/>
                <a:gd name="connsiteY3585" fmla="*/ 3791624 h 4996841"/>
                <a:gd name="connsiteX3586" fmla="*/ 1701159 w 3214184"/>
                <a:gd name="connsiteY3586" fmla="*/ 3791957 h 4996841"/>
                <a:gd name="connsiteX3587" fmla="*/ 1702732 w 3214184"/>
                <a:gd name="connsiteY3587" fmla="*/ 3792894 h 4996841"/>
                <a:gd name="connsiteX3588" fmla="*/ 1702974 w 3214184"/>
                <a:gd name="connsiteY3588" fmla="*/ 3793227 h 4996841"/>
                <a:gd name="connsiteX3589" fmla="*/ 1702702 w 3214184"/>
                <a:gd name="connsiteY3589" fmla="*/ 3793832 h 4996841"/>
                <a:gd name="connsiteX3590" fmla="*/ 1702491 w 3214184"/>
                <a:gd name="connsiteY3590" fmla="*/ 3797039 h 4996841"/>
                <a:gd name="connsiteX3591" fmla="*/ 1702248 w 3214184"/>
                <a:gd name="connsiteY3591" fmla="*/ 3798431 h 4996841"/>
                <a:gd name="connsiteX3592" fmla="*/ 1702581 w 3214184"/>
                <a:gd name="connsiteY3592" fmla="*/ 3799701 h 4996841"/>
                <a:gd name="connsiteX3593" fmla="*/ 1704064 w 3214184"/>
                <a:gd name="connsiteY3593" fmla="*/ 3800851 h 4996841"/>
                <a:gd name="connsiteX3594" fmla="*/ 1706211 w 3214184"/>
                <a:gd name="connsiteY3594" fmla="*/ 3801607 h 4996841"/>
                <a:gd name="connsiteX3595" fmla="*/ 1708601 w 3214184"/>
                <a:gd name="connsiteY3595" fmla="*/ 3801940 h 4996841"/>
                <a:gd name="connsiteX3596" fmla="*/ 1710870 w 3214184"/>
                <a:gd name="connsiteY3596" fmla="*/ 3801667 h 4996841"/>
                <a:gd name="connsiteX3597" fmla="*/ 1712776 w 3214184"/>
                <a:gd name="connsiteY3597" fmla="*/ 3800578 h 4996841"/>
                <a:gd name="connsiteX3598" fmla="*/ 1713653 w 3214184"/>
                <a:gd name="connsiteY3598" fmla="*/ 3799368 h 4996841"/>
                <a:gd name="connsiteX3599" fmla="*/ 1715257 w 3214184"/>
                <a:gd name="connsiteY3599" fmla="*/ 3796252 h 4996841"/>
                <a:gd name="connsiteX3600" fmla="*/ 1716194 w 3214184"/>
                <a:gd name="connsiteY3600" fmla="*/ 3794921 h 4996841"/>
                <a:gd name="connsiteX3601" fmla="*/ 1717465 w 3214184"/>
                <a:gd name="connsiteY3601" fmla="*/ 3793832 h 4996841"/>
                <a:gd name="connsiteX3602" fmla="*/ 1734164 w 3214184"/>
                <a:gd name="connsiteY3602" fmla="*/ 3784696 h 4996841"/>
                <a:gd name="connsiteX3603" fmla="*/ 1740758 w 3214184"/>
                <a:gd name="connsiteY3603" fmla="*/ 3782458 h 4996841"/>
                <a:gd name="connsiteX3604" fmla="*/ 1747444 w 3214184"/>
                <a:gd name="connsiteY3604" fmla="*/ 3782034 h 4996841"/>
                <a:gd name="connsiteX3605" fmla="*/ 1754644 w 3214184"/>
                <a:gd name="connsiteY3605" fmla="*/ 3783032 h 4996841"/>
                <a:gd name="connsiteX3606" fmla="*/ 1769255 w 3214184"/>
                <a:gd name="connsiteY3606" fmla="*/ 3779130 h 4996841"/>
                <a:gd name="connsiteX3607" fmla="*/ 1772220 w 3214184"/>
                <a:gd name="connsiteY3607" fmla="*/ 3777012 h 4996841"/>
                <a:gd name="connsiteX3608" fmla="*/ 1778119 w 3214184"/>
                <a:gd name="connsiteY3608" fmla="*/ 3771446 h 4996841"/>
                <a:gd name="connsiteX3609" fmla="*/ 1781114 w 3214184"/>
                <a:gd name="connsiteY3609" fmla="*/ 3770357 h 4996841"/>
                <a:gd name="connsiteX3610" fmla="*/ 1791187 w 3214184"/>
                <a:gd name="connsiteY3610" fmla="*/ 3769056 h 4996841"/>
                <a:gd name="connsiteX3611" fmla="*/ 1793215 w 3214184"/>
                <a:gd name="connsiteY3611" fmla="*/ 3770055 h 4996841"/>
                <a:gd name="connsiteX3612" fmla="*/ 1794727 w 3214184"/>
                <a:gd name="connsiteY3612" fmla="*/ 3773806 h 4996841"/>
                <a:gd name="connsiteX3613" fmla="*/ 1796088 w 3214184"/>
                <a:gd name="connsiteY3613" fmla="*/ 3778555 h 4996841"/>
                <a:gd name="connsiteX3614" fmla="*/ 1797722 w 3214184"/>
                <a:gd name="connsiteY3614" fmla="*/ 3782367 h 4996841"/>
                <a:gd name="connsiteX3615" fmla="*/ 1806586 w 3214184"/>
                <a:gd name="connsiteY3615" fmla="*/ 3786360 h 4996841"/>
                <a:gd name="connsiteX3616" fmla="*/ 1809702 w 3214184"/>
                <a:gd name="connsiteY3616" fmla="*/ 3789476 h 4996841"/>
                <a:gd name="connsiteX3617" fmla="*/ 1809944 w 3214184"/>
                <a:gd name="connsiteY3617" fmla="*/ 3795526 h 4996841"/>
                <a:gd name="connsiteX3618" fmla="*/ 1808915 w 3214184"/>
                <a:gd name="connsiteY3618" fmla="*/ 3798975 h 4996841"/>
                <a:gd name="connsiteX3619" fmla="*/ 1808642 w 3214184"/>
                <a:gd name="connsiteY3619" fmla="*/ 3800488 h 4996841"/>
                <a:gd name="connsiteX3620" fmla="*/ 1808794 w 3214184"/>
                <a:gd name="connsiteY3620" fmla="*/ 3802091 h 4996841"/>
                <a:gd name="connsiteX3621" fmla="*/ 1809490 w 3214184"/>
                <a:gd name="connsiteY3621" fmla="*/ 3803059 h 4996841"/>
                <a:gd name="connsiteX3622" fmla="*/ 1812998 w 3214184"/>
                <a:gd name="connsiteY3622" fmla="*/ 3806357 h 4996841"/>
                <a:gd name="connsiteX3623" fmla="*/ 1822619 w 3214184"/>
                <a:gd name="connsiteY3623" fmla="*/ 3820061 h 4996841"/>
                <a:gd name="connsiteX3624" fmla="*/ 1826249 w 3214184"/>
                <a:gd name="connsiteY3624" fmla="*/ 3822420 h 4996841"/>
                <a:gd name="connsiteX3625" fmla="*/ 1834235 w 3214184"/>
                <a:gd name="connsiteY3625" fmla="*/ 3825808 h 4996841"/>
                <a:gd name="connsiteX3626" fmla="*/ 1838138 w 3214184"/>
                <a:gd name="connsiteY3626" fmla="*/ 3828107 h 4996841"/>
                <a:gd name="connsiteX3627" fmla="*/ 1841556 w 3214184"/>
                <a:gd name="connsiteY3627" fmla="*/ 3830951 h 4996841"/>
                <a:gd name="connsiteX3628" fmla="*/ 1844642 w 3214184"/>
                <a:gd name="connsiteY3628" fmla="*/ 3834551 h 4996841"/>
                <a:gd name="connsiteX3629" fmla="*/ 1847909 w 3214184"/>
                <a:gd name="connsiteY3629" fmla="*/ 3839814 h 4996841"/>
                <a:gd name="connsiteX3630" fmla="*/ 1848030 w 3214184"/>
                <a:gd name="connsiteY3630" fmla="*/ 3840087 h 4996841"/>
                <a:gd name="connsiteX3631" fmla="*/ 1849542 w 3214184"/>
                <a:gd name="connsiteY3631" fmla="*/ 3842689 h 4996841"/>
                <a:gd name="connsiteX3632" fmla="*/ 1849633 w 3214184"/>
                <a:gd name="connsiteY3632" fmla="*/ 3844927 h 4996841"/>
                <a:gd name="connsiteX3633" fmla="*/ 1850087 w 3214184"/>
                <a:gd name="connsiteY3633" fmla="*/ 3845804 h 4996841"/>
                <a:gd name="connsiteX3634" fmla="*/ 1852356 w 3214184"/>
                <a:gd name="connsiteY3634" fmla="*/ 3844473 h 4996841"/>
                <a:gd name="connsiteX3635" fmla="*/ 1856773 w 3214184"/>
                <a:gd name="connsiteY3635" fmla="*/ 3841872 h 4996841"/>
                <a:gd name="connsiteX3636" fmla="*/ 1858013 w 3214184"/>
                <a:gd name="connsiteY3636" fmla="*/ 3841509 h 4996841"/>
                <a:gd name="connsiteX3637" fmla="*/ 1859132 w 3214184"/>
                <a:gd name="connsiteY3637" fmla="*/ 3841751 h 4996841"/>
                <a:gd name="connsiteX3638" fmla="*/ 1860978 w 3214184"/>
                <a:gd name="connsiteY3638" fmla="*/ 3842840 h 4996841"/>
                <a:gd name="connsiteX3639" fmla="*/ 1862037 w 3214184"/>
                <a:gd name="connsiteY3639" fmla="*/ 3843021 h 4996841"/>
                <a:gd name="connsiteX3640" fmla="*/ 1866786 w 3214184"/>
                <a:gd name="connsiteY3640" fmla="*/ 3839966 h 4996841"/>
                <a:gd name="connsiteX3641" fmla="*/ 1867331 w 3214184"/>
                <a:gd name="connsiteY3641" fmla="*/ 3833704 h 4996841"/>
                <a:gd name="connsiteX3642" fmla="*/ 1866605 w 3214184"/>
                <a:gd name="connsiteY3642" fmla="*/ 3827079 h 4996841"/>
                <a:gd name="connsiteX3643" fmla="*/ 1867602 w 3214184"/>
                <a:gd name="connsiteY3643" fmla="*/ 3822813 h 4996841"/>
                <a:gd name="connsiteX3644" fmla="*/ 1869206 w 3214184"/>
                <a:gd name="connsiteY3644" fmla="*/ 3822450 h 4996841"/>
                <a:gd name="connsiteX3645" fmla="*/ 1875680 w 3214184"/>
                <a:gd name="connsiteY3645" fmla="*/ 3822965 h 4996841"/>
                <a:gd name="connsiteX3646" fmla="*/ 1878402 w 3214184"/>
                <a:gd name="connsiteY3646" fmla="*/ 3822480 h 4996841"/>
                <a:gd name="connsiteX3647" fmla="*/ 1880308 w 3214184"/>
                <a:gd name="connsiteY3647" fmla="*/ 3822783 h 4996841"/>
                <a:gd name="connsiteX3648" fmla="*/ 1881761 w 3214184"/>
                <a:gd name="connsiteY3648" fmla="*/ 3824326 h 4996841"/>
                <a:gd name="connsiteX3649" fmla="*/ 1884756 w 3214184"/>
                <a:gd name="connsiteY3649" fmla="*/ 3832584 h 4996841"/>
                <a:gd name="connsiteX3650" fmla="*/ 1885935 w 3214184"/>
                <a:gd name="connsiteY3650" fmla="*/ 3834248 h 4996841"/>
                <a:gd name="connsiteX3651" fmla="*/ 1887992 w 3214184"/>
                <a:gd name="connsiteY3651" fmla="*/ 3835035 h 4996841"/>
                <a:gd name="connsiteX3652" fmla="*/ 1892408 w 3214184"/>
                <a:gd name="connsiteY3652" fmla="*/ 3835489 h 4996841"/>
                <a:gd name="connsiteX3653" fmla="*/ 1894194 w 3214184"/>
                <a:gd name="connsiteY3653" fmla="*/ 3836124 h 4996841"/>
                <a:gd name="connsiteX3654" fmla="*/ 1896553 w 3214184"/>
                <a:gd name="connsiteY3654" fmla="*/ 3837636 h 4996841"/>
                <a:gd name="connsiteX3655" fmla="*/ 1900214 w 3214184"/>
                <a:gd name="connsiteY3655" fmla="*/ 3838877 h 4996841"/>
                <a:gd name="connsiteX3656" fmla="*/ 1907534 w 3214184"/>
                <a:gd name="connsiteY3656" fmla="*/ 3837636 h 4996841"/>
                <a:gd name="connsiteX3657" fmla="*/ 1912466 w 3214184"/>
                <a:gd name="connsiteY3657" fmla="*/ 3838514 h 4996841"/>
                <a:gd name="connsiteX3658" fmla="*/ 1913404 w 3214184"/>
                <a:gd name="connsiteY3658" fmla="*/ 3838151 h 4996841"/>
                <a:gd name="connsiteX3659" fmla="*/ 1914311 w 3214184"/>
                <a:gd name="connsiteY3659" fmla="*/ 3837576 h 4996841"/>
                <a:gd name="connsiteX3660" fmla="*/ 1916761 w 3214184"/>
                <a:gd name="connsiteY3660" fmla="*/ 3836820 h 4996841"/>
                <a:gd name="connsiteX3661" fmla="*/ 1917003 w 3214184"/>
                <a:gd name="connsiteY3661" fmla="*/ 3836426 h 4996841"/>
                <a:gd name="connsiteX3662" fmla="*/ 1917003 w 3214184"/>
                <a:gd name="connsiteY3662" fmla="*/ 3836820 h 4996841"/>
                <a:gd name="connsiteX3663" fmla="*/ 1917820 w 3214184"/>
                <a:gd name="connsiteY3663" fmla="*/ 3839633 h 4996841"/>
                <a:gd name="connsiteX3664" fmla="*/ 1918062 w 3214184"/>
                <a:gd name="connsiteY3664" fmla="*/ 3841932 h 4996841"/>
                <a:gd name="connsiteX3665" fmla="*/ 1918607 w 3214184"/>
                <a:gd name="connsiteY3665" fmla="*/ 3843172 h 4996841"/>
                <a:gd name="connsiteX3666" fmla="*/ 1919272 w 3214184"/>
                <a:gd name="connsiteY3666" fmla="*/ 3843808 h 4996841"/>
                <a:gd name="connsiteX3667" fmla="*/ 1925353 w 3214184"/>
                <a:gd name="connsiteY3667" fmla="*/ 3847861 h 4996841"/>
                <a:gd name="connsiteX3668" fmla="*/ 1935850 w 3214184"/>
                <a:gd name="connsiteY3668" fmla="*/ 3850705 h 4996841"/>
                <a:gd name="connsiteX3669" fmla="*/ 1939298 w 3214184"/>
                <a:gd name="connsiteY3669" fmla="*/ 3853609 h 4996841"/>
                <a:gd name="connsiteX3670" fmla="*/ 1941718 w 3214184"/>
                <a:gd name="connsiteY3670" fmla="*/ 3857148 h 4996841"/>
                <a:gd name="connsiteX3671" fmla="*/ 1944381 w 3214184"/>
                <a:gd name="connsiteY3671" fmla="*/ 3859599 h 4996841"/>
                <a:gd name="connsiteX3672" fmla="*/ 1953940 w 3214184"/>
                <a:gd name="connsiteY3672" fmla="*/ 3859085 h 4996841"/>
                <a:gd name="connsiteX3673" fmla="*/ 1955665 w 3214184"/>
                <a:gd name="connsiteY3673" fmla="*/ 3858601 h 4996841"/>
                <a:gd name="connsiteX3674" fmla="*/ 1957540 w 3214184"/>
                <a:gd name="connsiteY3674" fmla="*/ 3857088 h 4996841"/>
                <a:gd name="connsiteX3675" fmla="*/ 1960747 w 3214184"/>
                <a:gd name="connsiteY3675" fmla="*/ 3852732 h 4996841"/>
                <a:gd name="connsiteX3676" fmla="*/ 1962471 w 3214184"/>
                <a:gd name="connsiteY3676" fmla="*/ 3850917 h 4996841"/>
                <a:gd name="connsiteX3677" fmla="*/ 1966344 w 3214184"/>
                <a:gd name="connsiteY3677" fmla="*/ 3849586 h 4996841"/>
                <a:gd name="connsiteX3678" fmla="*/ 1968884 w 3214184"/>
                <a:gd name="connsiteY3678" fmla="*/ 3851582 h 4996841"/>
                <a:gd name="connsiteX3679" fmla="*/ 1969036 w 3214184"/>
                <a:gd name="connsiteY3679" fmla="*/ 3851734 h 4996841"/>
                <a:gd name="connsiteX3680" fmla="*/ 1974632 w 3214184"/>
                <a:gd name="connsiteY3680" fmla="*/ 3865105 h 4996841"/>
                <a:gd name="connsiteX3681" fmla="*/ 1976901 w 3214184"/>
                <a:gd name="connsiteY3681" fmla="*/ 3868009 h 4996841"/>
                <a:gd name="connsiteX3682" fmla="*/ 1979836 w 3214184"/>
                <a:gd name="connsiteY3682" fmla="*/ 3869824 h 4996841"/>
                <a:gd name="connsiteX3683" fmla="*/ 1983617 w 3214184"/>
                <a:gd name="connsiteY3683" fmla="*/ 3870611 h 4996841"/>
                <a:gd name="connsiteX3684" fmla="*/ 1987610 w 3214184"/>
                <a:gd name="connsiteY3684" fmla="*/ 3869824 h 4996841"/>
                <a:gd name="connsiteX3685" fmla="*/ 1991512 w 3214184"/>
                <a:gd name="connsiteY3685" fmla="*/ 3868070 h 4996841"/>
                <a:gd name="connsiteX3686" fmla="*/ 1995294 w 3214184"/>
                <a:gd name="connsiteY3686" fmla="*/ 3867313 h 4996841"/>
                <a:gd name="connsiteX3687" fmla="*/ 1998955 w 3214184"/>
                <a:gd name="connsiteY3687" fmla="*/ 3869582 h 4996841"/>
                <a:gd name="connsiteX3688" fmla="*/ 2000890 w 3214184"/>
                <a:gd name="connsiteY3688" fmla="*/ 3870368 h 4996841"/>
                <a:gd name="connsiteX3689" fmla="*/ 2006729 w 3214184"/>
                <a:gd name="connsiteY3689" fmla="*/ 3870943 h 4996841"/>
                <a:gd name="connsiteX3690" fmla="*/ 2008030 w 3214184"/>
                <a:gd name="connsiteY3690" fmla="*/ 3872456 h 4996841"/>
                <a:gd name="connsiteX3691" fmla="*/ 2009149 w 3214184"/>
                <a:gd name="connsiteY3691" fmla="*/ 3875662 h 4996841"/>
                <a:gd name="connsiteX3692" fmla="*/ 2010752 w 3214184"/>
                <a:gd name="connsiteY3692" fmla="*/ 3881773 h 4996841"/>
                <a:gd name="connsiteX3693" fmla="*/ 2013294 w 3214184"/>
                <a:gd name="connsiteY3693" fmla="*/ 3886704 h 4996841"/>
                <a:gd name="connsiteX3694" fmla="*/ 2016380 w 3214184"/>
                <a:gd name="connsiteY3694" fmla="*/ 3888671 h 4996841"/>
                <a:gd name="connsiteX3695" fmla="*/ 2019919 w 3214184"/>
                <a:gd name="connsiteY3695" fmla="*/ 3889578 h 4996841"/>
                <a:gd name="connsiteX3696" fmla="*/ 2024002 w 3214184"/>
                <a:gd name="connsiteY3696" fmla="*/ 3891363 h 4996841"/>
                <a:gd name="connsiteX3697" fmla="*/ 2029236 w 3214184"/>
                <a:gd name="connsiteY3697" fmla="*/ 3895992 h 4996841"/>
                <a:gd name="connsiteX3698" fmla="*/ 2031293 w 3214184"/>
                <a:gd name="connsiteY3698" fmla="*/ 3896869 h 4996841"/>
                <a:gd name="connsiteX3699" fmla="*/ 2034016 w 3214184"/>
                <a:gd name="connsiteY3699" fmla="*/ 3896990 h 4996841"/>
                <a:gd name="connsiteX3700" fmla="*/ 2037101 w 3214184"/>
                <a:gd name="connsiteY3700" fmla="*/ 3896415 h 4996841"/>
                <a:gd name="connsiteX3701" fmla="*/ 2040157 w 3214184"/>
                <a:gd name="connsiteY3701" fmla="*/ 3895326 h 4996841"/>
                <a:gd name="connsiteX3702" fmla="*/ 2042698 w 3214184"/>
                <a:gd name="connsiteY3702" fmla="*/ 3893934 h 4996841"/>
                <a:gd name="connsiteX3703" fmla="*/ 2048658 w 3214184"/>
                <a:gd name="connsiteY3703" fmla="*/ 3888277 h 4996841"/>
                <a:gd name="connsiteX3704" fmla="*/ 2051048 w 3214184"/>
                <a:gd name="connsiteY3704" fmla="*/ 3887491 h 4996841"/>
                <a:gd name="connsiteX3705" fmla="*/ 2053014 w 3214184"/>
                <a:gd name="connsiteY3705" fmla="*/ 3887491 h 4996841"/>
                <a:gd name="connsiteX3706" fmla="*/ 2062845 w 3214184"/>
                <a:gd name="connsiteY3706" fmla="*/ 3890002 h 4996841"/>
                <a:gd name="connsiteX3707" fmla="*/ 2063178 w 3214184"/>
                <a:gd name="connsiteY3707" fmla="*/ 3890335 h 4996841"/>
                <a:gd name="connsiteX3708" fmla="*/ 2064418 w 3214184"/>
                <a:gd name="connsiteY3708" fmla="*/ 3891544 h 4996841"/>
                <a:gd name="connsiteX3709" fmla="*/ 2063904 w 3214184"/>
                <a:gd name="connsiteY3709" fmla="*/ 3894509 h 4996841"/>
                <a:gd name="connsiteX3710" fmla="*/ 2062392 w 3214184"/>
                <a:gd name="connsiteY3710" fmla="*/ 3896475 h 4996841"/>
                <a:gd name="connsiteX3711" fmla="*/ 2058489 w 3214184"/>
                <a:gd name="connsiteY3711" fmla="*/ 3898563 h 4996841"/>
                <a:gd name="connsiteX3712" fmla="*/ 2056704 w 3214184"/>
                <a:gd name="connsiteY3712" fmla="*/ 3900106 h 4996841"/>
                <a:gd name="connsiteX3713" fmla="*/ 2054768 w 3214184"/>
                <a:gd name="connsiteY3713" fmla="*/ 3904734 h 4996841"/>
                <a:gd name="connsiteX3714" fmla="*/ 2055343 w 3214184"/>
                <a:gd name="connsiteY3714" fmla="*/ 3909242 h 4996841"/>
                <a:gd name="connsiteX3715" fmla="*/ 2057491 w 3214184"/>
                <a:gd name="connsiteY3715" fmla="*/ 3913447 h 4996841"/>
                <a:gd name="connsiteX3716" fmla="*/ 2061424 w 3214184"/>
                <a:gd name="connsiteY3716" fmla="*/ 3919164 h 4996841"/>
                <a:gd name="connsiteX3717" fmla="*/ 2066113 w 3214184"/>
                <a:gd name="connsiteY3717" fmla="*/ 3924246 h 4996841"/>
                <a:gd name="connsiteX3718" fmla="*/ 2067262 w 3214184"/>
                <a:gd name="connsiteY3718" fmla="*/ 3926515 h 4996841"/>
                <a:gd name="connsiteX3719" fmla="*/ 2067020 w 3214184"/>
                <a:gd name="connsiteY3719" fmla="*/ 3929056 h 4996841"/>
                <a:gd name="connsiteX3720" fmla="*/ 2065568 w 3214184"/>
                <a:gd name="connsiteY3720" fmla="*/ 3933866 h 4996841"/>
                <a:gd name="connsiteX3721" fmla="*/ 2065478 w 3214184"/>
                <a:gd name="connsiteY3721" fmla="*/ 3938979 h 4996841"/>
                <a:gd name="connsiteX3722" fmla="*/ 2064691 w 3214184"/>
                <a:gd name="connsiteY3722" fmla="*/ 3940310 h 4996841"/>
                <a:gd name="connsiteX3723" fmla="*/ 2062301 w 3214184"/>
                <a:gd name="connsiteY3723" fmla="*/ 3941520 h 4996841"/>
                <a:gd name="connsiteX3724" fmla="*/ 2060334 w 3214184"/>
                <a:gd name="connsiteY3724" fmla="*/ 3943002 h 4996841"/>
                <a:gd name="connsiteX3725" fmla="*/ 2057007 w 3214184"/>
                <a:gd name="connsiteY3725" fmla="*/ 3947903 h 4996841"/>
                <a:gd name="connsiteX3726" fmla="*/ 2055070 w 3214184"/>
                <a:gd name="connsiteY3726" fmla="*/ 3949869 h 4996841"/>
                <a:gd name="connsiteX3727" fmla="*/ 2049141 w 3214184"/>
                <a:gd name="connsiteY3727" fmla="*/ 3953651 h 4996841"/>
                <a:gd name="connsiteX3728" fmla="*/ 2046389 w 3214184"/>
                <a:gd name="connsiteY3728" fmla="*/ 3956101 h 4996841"/>
                <a:gd name="connsiteX3729" fmla="*/ 2044241 w 3214184"/>
                <a:gd name="connsiteY3729" fmla="*/ 3959459 h 4996841"/>
                <a:gd name="connsiteX3730" fmla="*/ 2043787 w 3214184"/>
                <a:gd name="connsiteY3730" fmla="*/ 3961425 h 4996841"/>
                <a:gd name="connsiteX3731" fmla="*/ 2043485 w 3214184"/>
                <a:gd name="connsiteY3731" fmla="*/ 3965449 h 4996841"/>
                <a:gd name="connsiteX3732" fmla="*/ 2043030 w 3214184"/>
                <a:gd name="connsiteY3732" fmla="*/ 3966871 h 4996841"/>
                <a:gd name="connsiteX3733" fmla="*/ 2041851 w 3214184"/>
                <a:gd name="connsiteY3733" fmla="*/ 3967597 h 4996841"/>
                <a:gd name="connsiteX3734" fmla="*/ 2040248 w 3214184"/>
                <a:gd name="connsiteY3734" fmla="*/ 3967748 h 4996841"/>
                <a:gd name="connsiteX3735" fmla="*/ 2037313 w 3214184"/>
                <a:gd name="connsiteY3735" fmla="*/ 3967264 h 4996841"/>
                <a:gd name="connsiteX3736" fmla="*/ 2034228 w 3214184"/>
                <a:gd name="connsiteY3736" fmla="*/ 3967264 h 4996841"/>
                <a:gd name="connsiteX3737" fmla="*/ 2025908 w 3214184"/>
                <a:gd name="connsiteY3737" fmla="*/ 3969926 h 4996841"/>
                <a:gd name="connsiteX3738" fmla="*/ 2020796 w 3214184"/>
                <a:gd name="connsiteY3738" fmla="*/ 3969623 h 4996841"/>
                <a:gd name="connsiteX3739" fmla="*/ 2019102 w 3214184"/>
                <a:gd name="connsiteY3739" fmla="*/ 3970773 h 4996841"/>
                <a:gd name="connsiteX3740" fmla="*/ 2018376 w 3214184"/>
                <a:gd name="connsiteY3740" fmla="*/ 3977852 h 4996841"/>
                <a:gd name="connsiteX3741" fmla="*/ 2019737 w 3214184"/>
                <a:gd name="connsiteY3741" fmla="*/ 3979607 h 4996841"/>
                <a:gd name="connsiteX3742" fmla="*/ 2021794 w 3214184"/>
                <a:gd name="connsiteY3742" fmla="*/ 3980847 h 4996841"/>
                <a:gd name="connsiteX3743" fmla="*/ 2023609 w 3214184"/>
                <a:gd name="connsiteY3743" fmla="*/ 3982511 h 4996841"/>
                <a:gd name="connsiteX3744" fmla="*/ 2024970 w 3214184"/>
                <a:gd name="connsiteY3744" fmla="*/ 3985052 h 4996841"/>
                <a:gd name="connsiteX3745" fmla="*/ 2025787 w 3214184"/>
                <a:gd name="connsiteY3745" fmla="*/ 3986958 h 4996841"/>
                <a:gd name="connsiteX3746" fmla="*/ 2026907 w 3214184"/>
                <a:gd name="connsiteY3746" fmla="*/ 3988349 h 4996841"/>
                <a:gd name="connsiteX3747" fmla="*/ 2029296 w 3214184"/>
                <a:gd name="connsiteY3747" fmla="*/ 3989347 h 4996841"/>
                <a:gd name="connsiteX3748" fmla="*/ 2037283 w 3214184"/>
                <a:gd name="connsiteY3748" fmla="*/ 3991011 h 4996841"/>
                <a:gd name="connsiteX3749" fmla="*/ 2040792 w 3214184"/>
                <a:gd name="connsiteY3749" fmla="*/ 3990558 h 4996841"/>
                <a:gd name="connsiteX3750" fmla="*/ 2041972 w 3214184"/>
                <a:gd name="connsiteY3750" fmla="*/ 3990739 h 4996841"/>
                <a:gd name="connsiteX3751" fmla="*/ 2043000 w 3214184"/>
                <a:gd name="connsiteY3751" fmla="*/ 3991586 h 4996841"/>
                <a:gd name="connsiteX3752" fmla="*/ 2044937 w 3214184"/>
                <a:gd name="connsiteY3752" fmla="*/ 3993855 h 4996841"/>
                <a:gd name="connsiteX3753" fmla="*/ 2046207 w 3214184"/>
                <a:gd name="connsiteY3753" fmla="*/ 3994339 h 4996841"/>
                <a:gd name="connsiteX3754" fmla="*/ 2048415 w 3214184"/>
                <a:gd name="connsiteY3754" fmla="*/ 3993280 h 4996841"/>
                <a:gd name="connsiteX3755" fmla="*/ 2050170 w 3214184"/>
                <a:gd name="connsiteY3755" fmla="*/ 3991132 h 4996841"/>
                <a:gd name="connsiteX3756" fmla="*/ 2052076 w 3214184"/>
                <a:gd name="connsiteY3756" fmla="*/ 3989438 h 4996841"/>
                <a:gd name="connsiteX3757" fmla="*/ 2054617 w 3214184"/>
                <a:gd name="connsiteY3757" fmla="*/ 3989741 h 4996841"/>
                <a:gd name="connsiteX3758" fmla="*/ 2056583 w 3214184"/>
                <a:gd name="connsiteY3758" fmla="*/ 3992040 h 4996841"/>
                <a:gd name="connsiteX3759" fmla="*/ 2056463 w 3214184"/>
                <a:gd name="connsiteY3759" fmla="*/ 3994763 h 4996841"/>
                <a:gd name="connsiteX3760" fmla="*/ 2055070 w 3214184"/>
                <a:gd name="connsiteY3760" fmla="*/ 3997546 h 4996841"/>
                <a:gd name="connsiteX3761" fmla="*/ 2053135 w 3214184"/>
                <a:gd name="connsiteY3761" fmla="*/ 3999935 h 4996841"/>
                <a:gd name="connsiteX3762" fmla="*/ 2048688 w 3214184"/>
                <a:gd name="connsiteY3762" fmla="*/ 4003203 h 4996841"/>
                <a:gd name="connsiteX3763" fmla="*/ 2044604 w 3214184"/>
                <a:gd name="connsiteY3763" fmla="*/ 4003656 h 4996841"/>
                <a:gd name="connsiteX3764" fmla="*/ 2033502 w 3214184"/>
                <a:gd name="connsiteY3764" fmla="*/ 3999603 h 4996841"/>
                <a:gd name="connsiteX3765" fmla="*/ 2031172 w 3214184"/>
                <a:gd name="connsiteY3765" fmla="*/ 3999663 h 4996841"/>
                <a:gd name="connsiteX3766" fmla="*/ 2028994 w 3214184"/>
                <a:gd name="connsiteY3766" fmla="*/ 4000692 h 4996841"/>
                <a:gd name="connsiteX3767" fmla="*/ 2026968 w 3214184"/>
                <a:gd name="connsiteY3767" fmla="*/ 4002779 h 4996841"/>
                <a:gd name="connsiteX3768" fmla="*/ 2026151 w 3214184"/>
                <a:gd name="connsiteY3768" fmla="*/ 4004322 h 4996841"/>
                <a:gd name="connsiteX3769" fmla="*/ 2025455 w 3214184"/>
                <a:gd name="connsiteY3769" fmla="*/ 4005865 h 4996841"/>
                <a:gd name="connsiteX3770" fmla="*/ 2024638 w 3214184"/>
                <a:gd name="connsiteY3770" fmla="*/ 4007166 h 4996841"/>
                <a:gd name="connsiteX3771" fmla="*/ 2022157 w 3214184"/>
                <a:gd name="connsiteY3771" fmla="*/ 4008103 h 4996841"/>
                <a:gd name="connsiteX3772" fmla="*/ 2021280 w 3214184"/>
                <a:gd name="connsiteY3772" fmla="*/ 4009253 h 4996841"/>
                <a:gd name="connsiteX3773" fmla="*/ 2015139 w 3214184"/>
                <a:gd name="connsiteY3773" fmla="*/ 4028130 h 4996841"/>
                <a:gd name="connsiteX3774" fmla="*/ 2014111 w 3214184"/>
                <a:gd name="connsiteY3774" fmla="*/ 4031609 h 4996841"/>
                <a:gd name="connsiteX3775" fmla="*/ 2017982 w 3214184"/>
                <a:gd name="connsiteY3775" fmla="*/ 4031367 h 4996841"/>
                <a:gd name="connsiteX3776" fmla="*/ 2019949 w 3214184"/>
                <a:gd name="connsiteY3776" fmla="*/ 4030610 h 4996841"/>
                <a:gd name="connsiteX3777" fmla="*/ 2031959 w 3214184"/>
                <a:gd name="connsiteY3777" fmla="*/ 4032002 h 4996841"/>
                <a:gd name="connsiteX3778" fmla="*/ 2034590 w 3214184"/>
                <a:gd name="connsiteY3778" fmla="*/ 4033454 h 4996841"/>
                <a:gd name="connsiteX3779" fmla="*/ 2036557 w 3214184"/>
                <a:gd name="connsiteY3779" fmla="*/ 4035874 h 4996841"/>
                <a:gd name="connsiteX3780" fmla="*/ 2037344 w 3214184"/>
                <a:gd name="connsiteY3780" fmla="*/ 4039504 h 4996841"/>
                <a:gd name="connsiteX3781" fmla="*/ 2037434 w 3214184"/>
                <a:gd name="connsiteY3781" fmla="*/ 4040533 h 4996841"/>
                <a:gd name="connsiteX3782" fmla="*/ 2037676 w 3214184"/>
                <a:gd name="connsiteY3782" fmla="*/ 4041319 h 4996841"/>
                <a:gd name="connsiteX3783" fmla="*/ 2037918 w 3214184"/>
                <a:gd name="connsiteY3783" fmla="*/ 4041894 h 4996841"/>
                <a:gd name="connsiteX3784" fmla="*/ 2038009 w 3214184"/>
                <a:gd name="connsiteY3784" fmla="*/ 4042318 h 4996841"/>
                <a:gd name="connsiteX3785" fmla="*/ 2037615 w 3214184"/>
                <a:gd name="connsiteY3785" fmla="*/ 4043498 h 4996841"/>
                <a:gd name="connsiteX3786" fmla="*/ 2036678 w 3214184"/>
                <a:gd name="connsiteY3786" fmla="*/ 4043800 h 4996841"/>
                <a:gd name="connsiteX3787" fmla="*/ 2035740 w 3214184"/>
                <a:gd name="connsiteY3787" fmla="*/ 4043709 h 4996841"/>
                <a:gd name="connsiteX3788" fmla="*/ 2035287 w 3214184"/>
                <a:gd name="connsiteY3788" fmla="*/ 4043830 h 4996841"/>
                <a:gd name="connsiteX3789" fmla="*/ 2035589 w 3214184"/>
                <a:gd name="connsiteY3789" fmla="*/ 4045978 h 4996841"/>
                <a:gd name="connsiteX3790" fmla="*/ 2036527 w 3214184"/>
                <a:gd name="connsiteY3790" fmla="*/ 4047128 h 4996841"/>
                <a:gd name="connsiteX3791" fmla="*/ 2037586 w 3214184"/>
                <a:gd name="connsiteY3791" fmla="*/ 4047884 h 4996841"/>
                <a:gd name="connsiteX3792" fmla="*/ 2040701 w 3214184"/>
                <a:gd name="connsiteY3792" fmla="*/ 4054297 h 4996841"/>
                <a:gd name="connsiteX3793" fmla="*/ 2041760 w 3214184"/>
                <a:gd name="connsiteY3793" fmla="*/ 4057867 h 4996841"/>
                <a:gd name="connsiteX3794" fmla="*/ 2042547 w 3214184"/>
                <a:gd name="connsiteY3794" fmla="*/ 4059773 h 4996841"/>
                <a:gd name="connsiteX3795" fmla="*/ 2043515 w 3214184"/>
                <a:gd name="connsiteY3795" fmla="*/ 4060983 h 4996841"/>
                <a:gd name="connsiteX3796" fmla="*/ 2041216 w 3214184"/>
                <a:gd name="connsiteY3796" fmla="*/ 4063040 h 4996841"/>
                <a:gd name="connsiteX3797" fmla="*/ 2039491 w 3214184"/>
                <a:gd name="connsiteY3797" fmla="*/ 4065127 h 4996841"/>
                <a:gd name="connsiteX3798" fmla="*/ 2032624 w 3214184"/>
                <a:gd name="connsiteY3798" fmla="*/ 4070421 h 4996841"/>
                <a:gd name="connsiteX3799" fmla="*/ 2039582 w 3214184"/>
                <a:gd name="connsiteY3799" fmla="*/ 4074445 h 4996841"/>
                <a:gd name="connsiteX3800" fmla="*/ 2041639 w 3214184"/>
                <a:gd name="connsiteY3800" fmla="*/ 4074203 h 4996841"/>
                <a:gd name="connsiteX3801" fmla="*/ 2046872 w 3214184"/>
                <a:gd name="connsiteY3801" fmla="*/ 4072448 h 4996841"/>
                <a:gd name="connsiteX3802" fmla="*/ 2049020 w 3214184"/>
                <a:gd name="connsiteY3802" fmla="*/ 4072902 h 4996841"/>
                <a:gd name="connsiteX3803" fmla="*/ 2050472 w 3214184"/>
                <a:gd name="connsiteY3803" fmla="*/ 4075262 h 4996841"/>
                <a:gd name="connsiteX3804" fmla="*/ 2050231 w 3214184"/>
                <a:gd name="connsiteY3804" fmla="*/ 4077954 h 4996841"/>
                <a:gd name="connsiteX3805" fmla="*/ 2048960 w 3214184"/>
                <a:gd name="connsiteY3805" fmla="*/ 4080495 h 4996841"/>
                <a:gd name="connsiteX3806" fmla="*/ 2047236 w 3214184"/>
                <a:gd name="connsiteY3806" fmla="*/ 4082340 h 4996841"/>
                <a:gd name="connsiteX3807" fmla="*/ 2042365 w 3214184"/>
                <a:gd name="connsiteY3807" fmla="*/ 4085698 h 4996841"/>
                <a:gd name="connsiteX3808" fmla="*/ 2040490 w 3214184"/>
                <a:gd name="connsiteY3808" fmla="*/ 4087755 h 4996841"/>
                <a:gd name="connsiteX3809" fmla="*/ 2035437 w 3214184"/>
                <a:gd name="connsiteY3809" fmla="*/ 4096498 h 4996841"/>
                <a:gd name="connsiteX3810" fmla="*/ 2034197 w 3214184"/>
                <a:gd name="connsiteY3810" fmla="*/ 4099221 h 4996841"/>
                <a:gd name="connsiteX3811" fmla="*/ 2033985 w 3214184"/>
                <a:gd name="connsiteY3811" fmla="*/ 4102397 h 4996841"/>
                <a:gd name="connsiteX3812" fmla="*/ 2035558 w 3214184"/>
                <a:gd name="connsiteY3812" fmla="*/ 4106723 h 4996841"/>
                <a:gd name="connsiteX3813" fmla="*/ 2035377 w 3214184"/>
                <a:gd name="connsiteY3813" fmla="*/ 4108024 h 4996841"/>
                <a:gd name="connsiteX3814" fmla="*/ 2035135 w 3214184"/>
                <a:gd name="connsiteY3814" fmla="*/ 4108205 h 4996841"/>
                <a:gd name="connsiteX3815" fmla="*/ 2034440 w 3214184"/>
                <a:gd name="connsiteY3815" fmla="*/ 4108054 h 4996841"/>
                <a:gd name="connsiteX3816" fmla="*/ 2028964 w 3214184"/>
                <a:gd name="connsiteY3816" fmla="*/ 4108992 h 4996841"/>
                <a:gd name="connsiteX3817" fmla="*/ 2027844 w 3214184"/>
                <a:gd name="connsiteY3817" fmla="*/ 4109688 h 4996841"/>
                <a:gd name="connsiteX3818" fmla="*/ 2027027 w 3214184"/>
                <a:gd name="connsiteY3818" fmla="*/ 4110988 h 4996841"/>
                <a:gd name="connsiteX3819" fmla="*/ 2027239 w 3214184"/>
                <a:gd name="connsiteY3819" fmla="*/ 4111714 h 4996841"/>
                <a:gd name="connsiteX3820" fmla="*/ 2028056 w 3214184"/>
                <a:gd name="connsiteY3820" fmla="*/ 4112501 h 4996841"/>
                <a:gd name="connsiteX3821" fmla="*/ 2029085 w 3214184"/>
                <a:gd name="connsiteY3821" fmla="*/ 4113983 h 4996841"/>
                <a:gd name="connsiteX3822" fmla="*/ 2030476 w 3214184"/>
                <a:gd name="connsiteY3822" fmla="*/ 4117008 h 4996841"/>
                <a:gd name="connsiteX3823" fmla="*/ 2030688 w 3214184"/>
                <a:gd name="connsiteY3823" fmla="*/ 4118370 h 4996841"/>
                <a:gd name="connsiteX3824" fmla="*/ 2030446 w 3214184"/>
                <a:gd name="connsiteY3824" fmla="*/ 4120548 h 4996841"/>
                <a:gd name="connsiteX3825" fmla="*/ 2030113 w 3214184"/>
                <a:gd name="connsiteY3825" fmla="*/ 4121637 h 4996841"/>
                <a:gd name="connsiteX3826" fmla="*/ 2029055 w 3214184"/>
                <a:gd name="connsiteY3826" fmla="*/ 4123754 h 4996841"/>
                <a:gd name="connsiteX3827" fmla="*/ 2028752 w 3214184"/>
                <a:gd name="connsiteY3827" fmla="*/ 4124934 h 4996841"/>
                <a:gd name="connsiteX3828" fmla="*/ 2028752 w 3214184"/>
                <a:gd name="connsiteY3828" fmla="*/ 4125963 h 4996841"/>
                <a:gd name="connsiteX3829" fmla="*/ 2029236 w 3214184"/>
                <a:gd name="connsiteY3829" fmla="*/ 4127808 h 4996841"/>
                <a:gd name="connsiteX3830" fmla="*/ 2029326 w 3214184"/>
                <a:gd name="connsiteY3830" fmla="*/ 4128685 h 4996841"/>
                <a:gd name="connsiteX3831" fmla="*/ 2028631 w 3214184"/>
                <a:gd name="connsiteY3831" fmla="*/ 4132618 h 4996841"/>
                <a:gd name="connsiteX3832" fmla="*/ 2026937 w 3214184"/>
                <a:gd name="connsiteY3832" fmla="*/ 4136067 h 4996841"/>
                <a:gd name="connsiteX3833" fmla="*/ 2024426 w 3214184"/>
                <a:gd name="connsiteY3833" fmla="*/ 4138427 h 4996841"/>
                <a:gd name="connsiteX3834" fmla="*/ 2021098 w 3214184"/>
                <a:gd name="connsiteY3834" fmla="*/ 4139032 h 4996841"/>
                <a:gd name="connsiteX3835" fmla="*/ 2011025 w 3214184"/>
                <a:gd name="connsiteY3835" fmla="*/ 4136581 h 4996841"/>
                <a:gd name="connsiteX3836" fmla="*/ 2007939 w 3214184"/>
                <a:gd name="connsiteY3836" fmla="*/ 4136400 h 4996841"/>
                <a:gd name="connsiteX3837" fmla="*/ 2001859 w 3214184"/>
                <a:gd name="connsiteY3837" fmla="*/ 4137489 h 4996841"/>
                <a:gd name="connsiteX3838" fmla="*/ 1998894 w 3214184"/>
                <a:gd name="connsiteY3838" fmla="*/ 4137035 h 4996841"/>
                <a:gd name="connsiteX3839" fmla="*/ 1996595 w 3214184"/>
                <a:gd name="connsiteY3839" fmla="*/ 4136309 h 4996841"/>
                <a:gd name="connsiteX3840" fmla="*/ 1992268 w 3214184"/>
                <a:gd name="connsiteY3840" fmla="*/ 4137458 h 4996841"/>
                <a:gd name="connsiteX3841" fmla="*/ 1990000 w 3214184"/>
                <a:gd name="connsiteY3841" fmla="*/ 4137519 h 4996841"/>
                <a:gd name="connsiteX3842" fmla="*/ 1988185 w 3214184"/>
                <a:gd name="connsiteY3842" fmla="*/ 4136732 h 4996841"/>
                <a:gd name="connsiteX3843" fmla="*/ 1984796 w 3214184"/>
                <a:gd name="connsiteY3843" fmla="*/ 4134615 h 4996841"/>
                <a:gd name="connsiteX3844" fmla="*/ 1982740 w 3214184"/>
                <a:gd name="connsiteY3844" fmla="*/ 4134312 h 4996841"/>
                <a:gd name="connsiteX3845" fmla="*/ 1968037 w 3214184"/>
                <a:gd name="connsiteY3845" fmla="*/ 4135522 h 4996841"/>
                <a:gd name="connsiteX3846" fmla="*/ 1963954 w 3214184"/>
                <a:gd name="connsiteY3846" fmla="*/ 4136551 h 4996841"/>
                <a:gd name="connsiteX3847" fmla="*/ 1961987 w 3214184"/>
                <a:gd name="connsiteY3847" fmla="*/ 4136702 h 4996841"/>
                <a:gd name="connsiteX3848" fmla="*/ 1959930 w 3214184"/>
                <a:gd name="connsiteY3848" fmla="*/ 4136218 h 4996841"/>
                <a:gd name="connsiteX3849" fmla="*/ 1954515 w 3214184"/>
                <a:gd name="connsiteY3849" fmla="*/ 4132800 h 4996841"/>
                <a:gd name="connsiteX3850" fmla="*/ 1954213 w 3214184"/>
                <a:gd name="connsiteY3850" fmla="*/ 4132800 h 4996841"/>
                <a:gd name="connsiteX3851" fmla="*/ 1938210 w 3214184"/>
                <a:gd name="connsiteY3851" fmla="*/ 4132195 h 4996841"/>
                <a:gd name="connsiteX3852" fmla="*/ 1933551 w 3214184"/>
                <a:gd name="connsiteY3852" fmla="*/ 4134010 h 4996841"/>
                <a:gd name="connsiteX3853" fmla="*/ 1930042 w 3214184"/>
                <a:gd name="connsiteY3853" fmla="*/ 4137882 h 4996841"/>
                <a:gd name="connsiteX3854" fmla="*/ 1927531 w 3214184"/>
                <a:gd name="connsiteY3854" fmla="*/ 4143267 h 4996841"/>
                <a:gd name="connsiteX3855" fmla="*/ 1925715 w 3214184"/>
                <a:gd name="connsiteY3855" fmla="*/ 4149559 h 4996841"/>
                <a:gd name="connsiteX3856" fmla="*/ 1924899 w 3214184"/>
                <a:gd name="connsiteY3856" fmla="*/ 4155307 h 4996841"/>
                <a:gd name="connsiteX3857" fmla="*/ 1923810 w 3214184"/>
                <a:gd name="connsiteY3857" fmla="*/ 4157515 h 4996841"/>
                <a:gd name="connsiteX3858" fmla="*/ 1921662 w 3214184"/>
                <a:gd name="connsiteY3858" fmla="*/ 4157697 h 4996841"/>
                <a:gd name="connsiteX3859" fmla="*/ 1918122 w 3214184"/>
                <a:gd name="connsiteY3859" fmla="*/ 4156396 h 4996841"/>
                <a:gd name="connsiteX3860" fmla="*/ 1916550 w 3214184"/>
                <a:gd name="connsiteY3860" fmla="*/ 4156668 h 4996841"/>
                <a:gd name="connsiteX3861" fmla="*/ 1914674 w 3214184"/>
                <a:gd name="connsiteY3861" fmla="*/ 4157999 h 4996841"/>
                <a:gd name="connsiteX3862" fmla="*/ 1910923 w 3214184"/>
                <a:gd name="connsiteY3862" fmla="*/ 4161902 h 4996841"/>
                <a:gd name="connsiteX3863" fmla="*/ 1909017 w 3214184"/>
                <a:gd name="connsiteY3863" fmla="*/ 4163384 h 4996841"/>
                <a:gd name="connsiteX3864" fmla="*/ 1906476 w 3214184"/>
                <a:gd name="connsiteY3864" fmla="*/ 4164443 h 4996841"/>
                <a:gd name="connsiteX3865" fmla="*/ 1885451 w 3214184"/>
                <a:gd name="connsiteY3865" fmla="*/ 4167105 h 4996841"/>
                <a:gd name="connsiteX3866" fmla="*/ 1882032 w 3214184"/>
                <a:gd name="connsiteY3866" fmla="*/ 4169253 h 4996841"/>
                <a:gd name="connsiteX3867" fmla="*/ 1879431 w 3214184"/>
                <a:gd name="connsiteY3867" fmla="*/ 4173155 h 4996841"/>
                <a:gd name="connsiteX3868" fmla="*/ 1877495 w 3214184"/>
                <a:gd name="connsiteY3868" fmla="*/ 4177935 h 4996841"/>
                <a:gd name="connsiteX3869" fmla="*/ 1876103 w 3214184"/>
                <a:gd name="connsiteY3869" fmla="*/ 4182745 h 4996841"/>
                <a:gd name="connsiteX3870" fmla="*/ 1876436 w 3214184"/>
                <a:gd name="connsiteY3870" fmla="*/ 4192456 h 4996841"/>
                <a:gd name="connsiteX3871" fmla="*/ 1875891 w 3214184"/>
                <a:gd name="connsiteY3871" fmla="*/ 4196358 h 4996841"/>
                <a:gd name="connsiteX3872" fmla="*/ 1873381 w 3214184"/>
                <a:gd name="connsiteY3872" fmla="*/ 4200563 h 4996841"/>
                <a:gd name="connsiteX3873" fmla="*/ 1870386 w 3214184"/>
                <a:gd name="connsiteY3873" fmla="*/ 4204344 h 4996841"/>
                <a:gd name="connsiteX3874" fmla="*/ 1869115 w 3214184"/>
                <a:gd name="connsiteY3874" fmla="*/ 4206734 h 4996841"/>
                <a:gd name="connsiteX3875" fmla="*/ 1868904 w 3214184"/>
                <a:gd name="connsiteY3875" fmla="*/ 4208943 h 4996841"/>
                <a:gd name="connsiteX3876" fmla="*/ 1870144 w 3214184"/>
                <a:gd name="connsiteY3876" fmla="*/ 4210334 h 4996841"/>
                <a:gd name="connsiteX3877" fmla="*/ 1872110 w 3214184"/>
                <a:gd name="connsiteY3877" fmla="*/ 4210546 h 4996841"/>
                <a:gd name="connsiteX3878" fmla="*/ 1875861 w 3214184"/>
                <a:gd name="connsiteY3878" fmla="*/ 4210032 h 4996841"/>
                <a:gd name="connsiteX3879" fmla="*/ 1877676 w 3214184"/>
                <a:gd name="connsiteY3879" fmla="*/ 4210153 h 4996841"/>
                <a:gd name="connsiteX3880" fmla="*/ 1879280 w 3214184"/>
                <a:gd name="connsiteY3880" fmla="*/ 4210849 h 4996841"/>
                <a:gd name="connsiteX3881" fmla="*/ 1880218 w 3214184"/>
                <a:gd name="connsiteY3881" fmla="*/ 4212331 h 4996841"/>
                <a:gd name="connsiteX3882" fmla="*/ 1879945 w 3214184"/>
                <a:gd name="connsiteY3882" fmla="*/ 4215054 h 4996841"/>
                <a:gd name="connsiteX3883" fmla="*/ 1878584 w 3214184"/>
                <a:gd name="connsiteY3883" fmla="*/ 4217111 h 4996841"/>
                <a:gd name="connsiteX3884" fmla="*/ 1876497 w 3214184"/>
                <a:gd name="connsiteY3884" fmla="*/ 4218411 h 4996841"/>
                <a:gd name="connsiteX3885" fmla="*/ 1874228 w 3214184"/>
                <a:gd name="connsiteY3885" fmla="*/ 4219440 h 4996841"/>
                <a:gd name="connsiteX3886" fmla="*/ 1872352 w 3214184"/>
                <a:gd name="connsiteY3886" fmla="*/ 4220650 h 4996841"/>
                <a:gd name="connsiteX3887" fmla="*/ 1870416 w 3214184"/>
                <a:gd name="connsiteY3887" fmla="*/ 4223766 h 4996841"/>
                <a:gd name="connsiteX3888" fmla="*/ 1869750 w 3214184"/>
                <a:gd name="connsiteY3888" fmla="*/ 4227820 h 4996841"/>
                <a:gd name="connsiteX3889" fmla="*/ 1870204 w 3214184"/>
                <a:gd name="connsiteY3889" fmla="*/ 4232115 h 4996841"/>
                <a:gd name="connsiteX3890" fmla="*/ 1871747 w 3214184"/>
                <a:gd name="connsiteY3890" fmla="*/ 4235867 h 4996841"/>
                <a:gd name="connsiteX3891" fmla="*/ 1872504 w 3214184"/>
                <a:gd name="connsiteY3891" fmla="*/ 4235171 h 4996841"/>
                <a:gd name="connsiteX3892" fmla="*/ 1876648 w 3214184"/>
                <a:gd name="connsiteY3892" fmla="*/ 4233719 h 4996841"/>
                <a:gd name="connsiteX3893" fmla="*/ 1893014 w 3214184"/>
                <a:gd name="connsiteY3893" fmla="*/ 4231722 h 4996841"/>
                <a:gd name="connsiteX3894" fmla="*/ 1895101 w 3214184"/>
                <a:gd name="connsiteY3894" fmla="*/ 4230814 h 4996841"/>
                <a:gd name="connsiteX3895" fmla="*/ 1896039 w 3214184"/>
                <a:gd name="connsiteY3895" fmla="*/ 4229151 h 4996841"/>
                <a:gd name="connsiteX3896" fmla="*/ 1896493 w 3214184"/>
                <a:gd name="connsiteY3896" fmla="*/ 4227910 h 4996841"/>
                <a:gd name="connsiteX3897" fmla="*/ 1897552 w 3214184"/>
                <a:gd name="connsiteY3897" fmla="*/ 4226882 h 4996841"/>
                <a:gd name="connsiteX3898" fmla="*/ 1898792 w 3214184"/>
                <a:gd name="connsiteY3898" fmla="*/ 4226156 h 4996841"/>
                <a:gd name="connsiteX3899" fmla="*/ 1899730 w 3214184"/>
                <a:gd name="connsiteY3899" fmla="*/ 4225883 h 4996841"/>
                <a:gd name="connsiteX3900" fmla="*/ 1900274 w 3214184"/>
                <a:gd name="connsiteY3900" fmla="*/ 4225188 h 4996841"/>
                <a:gd name="connsiteX3901" fmla="*/ 1902180 w 3214184"/>
                <a:gd name="connsiteY3901" fmla="*/ 4221225 h 4996841"/>
                <a:gd name="connsiteX3902" fmla="*/ 1905629 w 3214184"/>
                <a:gd name="connsiteY3902" fmla="*/ 4218653 h 4996841"/>
                <a:gd name="connsiteX3903" fmla="*/ 1909743 w 3214184"/>
                <a:gd name="connsiteY3903" fmla="*/ 4217111 h 4996841"/>
                <a:gd name="connsiteX3904" fmla="*/ 1925927 w 3214184"/>
                <a:gd name="connsiteY3904" fmla="*/ 4214691 h 4996841"/>
                <a:gd name="connsiteX3905" fmla="*/ 1927773 w 3214184"/>
                <a:gd name="connsiteY3905" fmla="*/ 4214812 h 4996841"/>
                <a:gd name="connsiteX3906" fmla="*/ 1928710 w 3214184"/>
                <a:gd name="connsiteY3906" fmla="*/ 4214691 h 4996841"/>
                <a:gd name="connsiteX3907" fmla="*/ 1929376 w 3214184"/>
                <a:gd name="connsiteY3907" fmla="*/ 4214206 h 4996841"/>
                <a:gd name="connsiteX3908" fmla="*/ 1930616 w 3214184"/>
                <a:gd name="connsiteY3908" fmla="*/ 4211756 h 4996841"/>
                <a:gd name="connsiteX3909" fmla="*/ 1931494 w 3214184"/>
                <a:gd name="connsiteY3909" fmla="*/ 4210818 h 4996841"/>
                <a:gd name="connsiteX3910" fmla="*/ 1932522 w 3214184"/>
                <a:gd name="connsiteY3910" fmla="*/ 4211000 h 4996841"/>
                <a:gd name="connsiteX3911" fmla="*/ 1932522 w 3214184"/>
                <a:gd name="connsiteY3911" fmla="*/ 4212361 h 4996841"/>
                <a:gd name="connsiteX3912" fmla="*/ 1931191 w 3214184"/>
                <a:gd name="connsiteY3912" fmla="*/ 4214206 h 4996841"/>
                <a:gd name="connsiteX3913" fmla="*/ 1929376 w 3214184"/>
                <a:gd name="connsiteY3913" fmla="*/ 4215870 h 4996841"/>
                <a:gd name="connsiteX3914" fmla="*/ 1927984 w 3214184"/>
                <a:gd name="connsiteY3914" fmla="*/ 4216536 h 4996841"/>
                <a:gd name="connsiteX3915" fmla="*/ 1909592 w 3214184"/>
                <a:gd name="connsiteY3915" fmla="*/ 4218684 h 4996841"/>
                <a:gd name="connsiteX3916" fmla="*/ 1906294 w 3214184"/>
                <a:gd name="connsiteY3916" fmla="*/ 4220226 h 4996841"/>
                <a:gd name="connsiteX3917" fmla="*/ 1905356 w 3214184"/>
                <a:gd name="connsiteY3917" fmla="*/ 4221437 h 4996841"/>
                <a:gd name="connsiteX3918" fmla="*/ 1903390 w 3214184"/>
                <a:gd name="connsiteY3918" fmla="*/ 4225097 h 4996841"/>
                <a:gd name="connsiteX3919" fmla="*/ 1902513 w 3214184"/>
                <a:gd name="connsiteY3919" fmla="*/ 4225853 h 4996841"/>
                <a:gd name="connsiteX3920" fmla="*/ 1901242 w 3214184"/>
                <a:gd name="connsiteY3920" fmla="*/ 4226519 h 4996841"/>
                <a:gd name="connsiteX3921" fmla="*/ 1899730 w 3214184"/>
                <a:gd name="connsiteY3921" fmla="*/ 4229574 h 4996841"/>
                <a:gd name="connsiteX3922" fmla="*/ 1898096 w 3214184"/>
                <a:gd name="connsiteY3922" fmla="*/ 4230451 h 4996841"/>
                <a:gd name="connsiteX3923" fmla="*/ 1899578 w 3214184"/>
                <a:gd name="connsiteY3923" fmla="*/ 4232418 h 4996841"/>
                <a:gd name="connsiteX3924" fmla="*/ 1902059 w 3214184"/>
                <a:gd name="connsiteY3924" fmla="*/ 4233628 h 4996841"/>
                <a:gd name="connsiteX3925" fmla="*/ 1904812 w 3214184"/>
                <a:gd name="connsiteY3925" fmla="*/ 4234203 h 4996841"/>
                <a:gd name="connsiteX3926" fmla="*/ 1907172 w 3214184"/>
                <a:gd name="connsiteY3926" fmla="*/ 4234203 h 4996841"/>
                <a:gd name="connsiteX3927" fmla="*/ 1907172 w 3214184"/>
                <a:gd name="connsiteY3927" fmla="*/ 4233265 h 4996841"/>
                <a:gd name="connsiteX3928" fmla="*/ 1906506 w 3214184"/>
                <a:gd name="connsiteY3928" fmla="*/ 4232841 h 4996841"/>
                <a:gd name="connsiteX3929" fmla="*/ 1906203 w 3214184"/>
                <a:gd name="connsiteY3929" fmla="*/ 4232418 h 4996841"/>
                <a:gd name="connsiteX3930" fmla="*/ 1905992 w 3214184"/>
                <a:gd name="connsiteY3930" fmla="*/ 4231994 h 4996841"/>
                <a:gd name="connsiteX3931" fmla="*/ 1905629 w 3214184"/>
                <a:gd name="connsiteY3931" fmla="*/ 4231389 h 4996841"/>
                <a:gd name="connsiteX3932" fmla="*/ 1912919 w 3214184"/>
                <a:gd name="connsiteY3932" fmla="*/ 4231389 h 4996841"/>
                <a:gd name="connsiteX3933" fmla="*/ 1914886 w 3214184"/>
                <a:gd name="connsiteY3933" fmla="*/ 4231087 h 4996841"/>
                <a:gd name="connsiteX3934" fmla="*/ 1918667 w 3214184"/>
                <a:gd name="connsiteY3934" fmla="*/ 4229786 h 4996841"/>
                <a:gd name="connsiteX3935" fmla="*/ 1922328 w 3214184"/>
                <a:gd name="connsiteY3935" fmla="*/ 4229272 h 4996841"/>
                <a:gd name="connsiteX3936" fmla="*/ 1927682 w 3214184"/>
                <a:gd name="connsiteY3936" fmla="*/ 4227608 h 4996841"/>
                <a:gd name="connsiteX3937" fmla="*/ 1933369 w 3214184"/>
                <a:gd name="connsiteY3937" fmla="*/ 4227789 h 4996841"/>
                <a:gd name="connsiteX3938" fmla="*/ 1935275 w 3214184"/>
                <a:gd name="connsiteY3938" fmla="*/ 4227608 h 4996841"/>
                <a:gd name="connsiteX3939" fmla="*/ 1936667 w 3214184"/>
                <a:gd name="connsiteY3939" fmla="*/ 4226942 h 4996841"/>
                <a:gd name="connsiteX3940" fmla="*/ 1937876 w 3214184"/>
                <a:gd name="connsiteY3940" fmla="*/ 4226005 h 4996841"/>
                <a:gd name="connsiteX3941" fmla="*/ 1939178 w 3214184"/>
                <a:gd name="connsiteY3941" fmla="*/ 4225218 h 4996841"/>
                <a:gd name="connsiteX3942" fmla="*/ 1943716 w 3214184"/>
                <a:gd name="connsiteY3942" fmla="*/ 4224734 h 4996841"/>
                <a:gd name="connsiteX3943" fmla="*/ 1944320 w 3214184"/>
                <a:gd name="connsiteY3943" fmla="*/ 4224099 h 4996841"/>
                <a:gd name="connsiteX3944" fmla="*/ 1943957 w 3214184"/>
                <a:gd name="connsiteY3944" fmla="*/ 4222556 h 4996841"/>
                <a:gd name="connsiteX3945" fmla="*/ 1943625 w 3214184"/>
                <a:gd name="connsiteY3945" fmla="*/ 4219773 h 4996841"/>
                <a:gd name="connsiteX3946" fmla="*/ 1945016 w 3214184"/>
                <a:gd name="connsiteY3946" fmla="*/ 4215538 h 4996841"/>
                <a:gd name="connsiteX3947" fmla="*/ 1948253 w 3214184"/>
                <a:gd name="connsiteY3947" fmla="*/ 4214963 h 4996841"/>
                <a:gd name="connsiteX3948" fmla="*/ 1951914 w 3214184"/>
                <a:gd name="connsiteY3948" fmla="*/ 4215295 h 4996841"/>
                <a:gd name="connsiteX3949" fmla="*/ 1954636 w 3214184"/>
                <a:gd name="connsiteY3949" fmla="*/ 4213692 h 4996841"/>
                <a:gd name="connsiteX3950" fmla="*/ 1955422 w 3214184"/>
                <a:gd name="connsiteY3950" fmla="*/ 4213602 h 4996841"/>
                <a:gd name="connsiteX3951" fmla="*/ 1957934 w 3214184"/>
                <a:gd name="connsiteY3951" fmla="*/ 4211544 h 4996841"/>
                <a:gd name="connsiteX3952" fmla="*/ 1959476 w 3214184"/>
                <a:gd name="connsiteY3952" fmla="*/ 4210909 h 4996841"/>
                <a:gd name="connsiteX3953" fmla="*/ 1960868 w 3214184"/>
                <a:gd name="connsiteY3953" fmla="*/ 4211302 h 4996841"/>
                <a:gd name="connsiteX3954" fmla="*/ 1962683 w 3214184"/>
                <a:gd name="connsiteY3954" fmla="*/ 4212180 h 4996841"/>
                <a:gd name="connsiteX3955" fmla="*/ 1964589 w 3214184"/>
                <a:gd name="connsiteY3955" fmla="*/ 4212694 h 4996841"/>
                <a:gd name="connsiteX3956" fmla="*/ 1966344 w 3214184"/>
                <a:gd name="connsiteY3956" fmla="*/ 4211817 h 4996841"/>
                <a:gd name="connsiteX3957" fmla="*/ 1969308 w 3214184"/>
                <a:gd name="connsiteY3957" fmla="*/ 4213299 h 4996841"/>
                <a:gd name="connsiteX3958" fmla="*/ 1973452 w 3214184"/>
                <a:gd name="connsiteY3958" fmla="*/ 4213541 h 4996841"/>
                <a:gd name="connsiteX3959" fmla="*/ 1977143 w 3214184"/>
                <a:gd name="connsiteY3959" fmla="*/ 4214418 h 4996841"/>
                <a:gd name="connsiteX3960" fmla="*/ 1978746 w 3214184"/>
                <a:gd name="connsiteY3960" fmla="*/ 4217897 h 4996841"/>
                <a:gd name="connsiteX3961" fmla="*/ 1978928 w 3214184"/>
                <a:gd name="connsiteY3961" fmla="*/ 4221951 h 4996841"/>
                <a:gd name="connsiteX3962" fmla="*/ 1978746 w 3214184"/>
                <a:gd name="connsiteY3962" fmla="*/ 4223040 h 4996841"/>
                <a:gd name="connsiteX3963" fmla="*/ 1978050 w 3214184"/>
                <a:gd name="connsiteY3963" fmla="*/ 4223796 h 4996841"/>
                <a:gd name="connsiteX3964" fmla="*/ 1977143 w 3214184"/>
                <a:gd name="connsiteY3964" fmla="*/ 4223796 h 4996841"/>
                <a:gd name="connsiteX3965" fmla="*/ 1976327 w 3214184"/>
                <a:gd name="connsiteY3965" fmla="*/ 4224068 h 4996841"/>
                <a:gd name="connsiteX3966" fmla="*/ 1975994 w 3214184"/>
                <a:gd name="connsiteY3966" fmla="*/ 4225369 h 4996841"/>
                <a:gd name="connsiteX3967" fmla="*/ 1975660 w 3214184"/>
                <a:gd name="connsiteY3967" fmla="*/ 4229725 h 4996841"/>
                <a:gd name="connsiteX3968" fmla="*/ 1976206 w 3214184"/>
                <a:gd name="connsiteY3968" fmla="*/ 4230814 h 4996841"/>
                <a:gd name="connsiteX3969" fmla="*/ 1978050 w 3214184"/>
                <a:gd name="connsiteY3969" fmla="*/ 4231420 h 4996841"/>
                <a:gd name="connsiteX3970" fmla="*/ 1976932 w 3214184"/>
                <a:gd name="connsiteY3970" fmla="*/ 4235201 h 4996841"/>
                <a:gd name="connsiteX3971" fmla="*/ 1977203 w 3214184"/>
                <a:gd name="connsiteY3971" fmla="*/ 4236714 h 4996841"/>
                <a:gd name="connsiteX3972" fmla="*/ 1978716 w 3214184"/>
                <a:gd name="connsiteY3972" fmla="*/ 4237893 h 4996841"/>
                <a:gd name="connsiteX3973" fmla="*/ 1981378 w 3214184"/>
                <a:gd name="connsiteY3973" fmla="*/ 4234596 h 4996841"/>
                <a:gd name="connsiteX3974" fmla="*/ 1983678 w 3214184"/>
                <a:gd name="connsiteY3974" fmla="*/ 4232388 h 4996841"/>
                <a:gd name="connsiteX3975" fmla="*/ 1986188 w 3214184"/>
                <a:gd name="connsiteY3975" fmla="*/ 4232025 h 4996841"/>
                <a:gd name="connsiteX3976" fmla="*/ 1989607 w 3214184"/>
                <a:gd name="connsiteY3976" fmla="*/ 4234172 h 4996841"/>
                <a:gd name="connsiteX3977" fmla="*/ 1987550 w 3214184"/>
                <a:gd name="connsiteY3977" fmla="*/ 4235382 h 4996841"/>
                <a:gd name="connsiteX3978" fmla="*/ 1983223 w 3214184"/>
                <a:gd name="connsiteY3978" fmla="*/ 4236411 h 4996841"/>
                <a:gd name="connsiteX3979" fmla="*/ 1981045 w 3214184"/>
                <a:gd name="connsiteY3979" fmla="*/ 4238317 h 4996841"/>
                <a:gd name="connsiteX3980" fmla="*/ 1980350 w 3214184"/>
                <a:gd name="connsiteY3980" fmla="*/ 4240435 h 4996841"/>
                <a:gd name="connsiteX3981" fmla="*/ 1979654 w 3214184"/>
                <a:gd name="connsiteY3981" fmla="*/ 4246122 h 4996841"/>
                <a:gd name="connsiteX3982" fmla="*/ 1978686 w 3214184"/>
                <a:gd name="connsiteY3982" fmla="*/ 4248088 h 4996841"/>
                <a:gd name="connsiteX3983" fmla="*/ 1976871 w 3214184"/>
                <a:gd name="connsiteY3983" fmla="*/ 4248602 h 4996841"/>
                <a:gd name="connsiteX3984" fmla="*/ 1965920 w 3214184"/>
                <a:gd name="connsiteY3984" fmla="*/ 4246213 h 4996841"/>
                <a:gd name="connsiteX3985" fmla="*/ 1965254 w 3214184"/>
                <a:gd name="connsiteY3985" fmla="*/ 4246545 h 4996841"/>
                <a:gd name="connsiteX3986" fmla="*/ 1964346 w 3214184"/>
                <a:gd name="connsiteY3986" fmla="*/ 4247211 h 4996841"/>
                <a:gd name="connsiteX3987" fmla="*/ 1963228 w 3214184"/>
                <a:gd name="connsiteY3987" fmla="*/ 4247907 h 4996841"/>
                <a:gd name="connsiteX3988" fmla="*/ 1962078 w 3214184"/>
                <a:gd name="connsiteY3988" fmla="*/ 4248058 h 4996841"/>
                <a:gd name="connsiteX3989" fmla="*/ 1961050 w 3214184"/>
                <a:gd name="connsiteY3989" fmla="*/ 4247483 h 4996841"/>
                <a:gd name="connsiteX3990" fmla="*/ 1960293 w 3214184"/>
                <a:gd name="connsiteY3990" fmla="*/ 4245819 h 4996841"/>
                <a:gd name="connsiteX3991" fmla="*/ 1959355 w 3214184"/>
                <a:gd name="connsiteY3991" fmla="*/ 4245244 h 4996841"/>
                <a:gd name="connsiteX3992" fmla="*/ 1958024 w 3214184"/>
                <a:gd name="connsiteY3992" fmla="*/ 4245366 h 4996841"/>
                <a:gd name="connsiteX3993" fmla="*/ 1957238 w 3214184"/>
                <a:gd name="connsiteY3993" fmla="*/ 4246001 h 4996841"/>
                <a:gd name="connsiteX3994" fmla="*/ 1956542 w 3214184"/>
                <a:gd name="connsiteY3994" fmla="*/ 4246787 h 4996841"/>
                <a:gd name="connsiteX3995" fmla="*/ 1954122 w 3214184"/>
                <a:gd name="connsiteY3995" fmla="*/ 4247876 h 4996841"/>
                <a:gd name="connsiteX3996" fmla="*/ 1949584 w 3214184"/>
                <a:gd name="connsiteY3996" fmla="*/ 4252716 h 4996841"/>
                <a:gd name="connsiteX3997" fmla="*/ 1946165 w 3214184"/>
                <a:gd name="connsiteY3997" fmla="*/ 4255621 h 4996841"/>
                <a:gd name="connsiteX3998" fmla="*/ 1944139 w 3214184"/>
                <a:gd name="connsiteY3998" fmla="*/ 4256831 h 4996841"/>
                <a:gd name="connsiteX3999" fmla="*/ 1942354 w 3214184"/>
                <a:gd name="connsiteY3999" fmla="*/ 4257315 h 4996841"/>
                <a:gd name="connsiteX4000" fmla="*/ 1938482 w 3214184"/>
                <a:gd name="connsiteY4000" fmla="*/ 4256982 h 4996841"/>
                <a:gd name="connsiteX4001" fmla="*/ 1936909 w 3214184"/>
                <a:gd name="connsiteY4001" fmla="*/ 4257436 h 4996841"/>
                <a:gd name="connsiteX4002" fmla="*/ 1935094 w 3214184"/>
                <a:gd name="connsiteY4002" fmla="*/ 4259069 h 4996841"/>
                <a:gd name="connsiteX4003" fmla="*/ 1932341 w 3214184"/>
                <a:gd name="connsiteY4003" fmla="*/ 4262669 h 4996841"/>
                <a:gd name="connsiteX4004" fmla="*/ 1930707 w 3214184"/>
                <a:gd name="connsiteY4004" fmla="*/ 4264121 h 4996841"/>
                <a:gd name="connsiteX4005" fmla="*/ 1926926 w 3214184"/>
                <a:gd name="connsiteY4005" fmla="*/ 4265029 h 4996841"/>
                <a:gd name="connsiteX4006" fmla="*/ 1921420 w 3214184"/>
                <a:gd name="connsiteY4006" fmla="*/ 4267570 h 4996841"/>
                <a:gd name="connsiteX4007" fmla="*/ 1919363 w 3214184"/>
                <a:gd name="connsiteY4007" fmla="*/ 4268145 h 4996841"/>
                <a:gd name="connsiteX4008" fmla="*/ 1911135 w 3214184"/>
                <a:gd name="connsiteY4008" fmla="*/ 4268720 h 4996841"/>
                <a:gd name="connsiteX4009" fmla="*/ 1907505 w 3214184"/>
                <a:gd name="connsiteY4009" fmla="*/ 4269960 h 4996841"/>
                <a:gd name="connsiteX4010" fmla="*/ 1905477 w 3214184"/>
                <a:gd name="connsiteY4010" fmla="*/ 4270232 h 4996841"/>
                <a:gd name="connsiteX4011" fmla="*/ 1897582 w 3214184"/>
                <a:gd name="connsiteY4011" fmla="*/ 4268417 h 4996841"/>
                <a:gd name="connsiteX4012" fmla="*/ 1895888 w 3214184"/>
                <a:gd name="connsiteY4012" fmla="*/ 4269022 h 4996841"/>
                <a:gd name="connsiteX4013" fmla="*/ 1893619 w 3214184"/>
                <a:gd name="connsiteY4013" fmla="*/ 4270474 h 4996841"/>
                <a:gd name="connsiteX4014" fmla="*/ 1891562 w 3214184"/>
                <a:gd name="connsiteY4014" fmla="*/ 4272289 h 4996841"/>
                <a:gd name="connsiteX4015" fmla="*/ 1890382 w 3214184"/>
                <a:gd name="connsiteY4015" fmla="*/ 4273953 h 4996841"/>
                <a:gd name="connsiteX4016" fmla="*/ 1890261 w 3214184"/>
                <a:gd name="connsiteY4016" fmla="*/ 4275224 h 4996841"/>
                <a:gd name="connsiteX4017" fmla="*/ 1890564 w 3214184"/>
                <a:gd name="connsiteY4017" fmla="*/ 4278188 h 4996841"/>
                <a:gd name="connsiteX4018" fmla="*/ 1890412 w 3214184"/>
                <a:gd name="connsiteY4018" fmla="*/ 4279489 h 4996841"/>
                <a:gd name="connsiteX4019" fmla="*/ 1889747 w 3214184"/>
                <a:gd name="connsiteY4019" fmla="*/ 4280185 h 4996841"/>
                <a:gd name="connsiteX4020" fmla="*/ 1887387 w 3214184"/>
                <a:gd name="connsiteY4020" fmla="*/ 4281849 h 4996841"/>
                <a:gd name="connsiteX4021" fmla="*/ 1886903 w 3214184"/>
                <a:gd name="connsiteY4021" fmla="*/ 4282787 h 4996841"/>
                <a:gd name="connsiteX4022" fmla="*/ 1887024 w 3214184"/>
                <a:gd name="connsiteY4022" fmla="*/ 4284329 h 4996841"/>
                <a:gd name="connsiteX4023" fmla="*/ 1887508 w 3214184"/>
                <a:gd name="connsiteY4023" fmla="*/ 4286296 h 4996841"/>
                <a:gd name="connsiteX4024" fmla="*/ 1887871 w 3214184"/>
                <a:gd name="connsiteY4024" fmla="*/ 4289139 h 4996841"/>
                <a:gd name="connsiteX4025" fmla="*/ 1888446 w 3214184"/>
                <a:gd name="connsiteY4025" fmla="*/ 4288383 h 4996841"/>
                <a:gd name="connsiteX4026" fmla="*/ 1888930 w 3214184"/>
                <a:gd name="connsiteY4026" fmla="*/ 4286810 h 4996841"/>
                <a:gd name="connsiteX4027" fmla="*/ 1889021 w 3214184"/>
                <a:gd name="connsiteY4027" fmla="*/ 4286023 h 4996841"/>
                <a:gd name="connsiteX4028" fmla="*/ 1892893 w 3214184"/>
                <a:gd name="connsiteY4028" fmla="*/ 4284239 h 4996841"/>
                <a:gd name="connsiteX4029" fmla="*/ 1897158 w 3214184"/>
                <a:gd name="connsiteY4029" fmla="*/ 4284420 h 4996841"/>
                <a:gd name="connsiteX4030" fmla="*/ 1901484 w 3214184"/>
                <a:gd name="connsiteY4030" fmla="*/ 4285903 h 4996841"/>
                <a:gd name="connsiteX4031" fmla="*/ 1905477 w 3214184"/>
                <a:gd name="connsiteY4031" fmla="*/ 4287959 h 4996841"/>
                <a:gd name="connsiteX4032" fmla="*/ 1906838 w 3214184"/>
                <a:gd name="connsiteY4032" fmla="*/ 4288958 h 4996841"/>
                <a:gd name="connsiteX4033" fmla="*/ 1908775 w 3214184"/>
                <a:gd name="connsiteY4033" fmla="*/ 4290863 h 4996841"/>
                <a:gd name="connsiteX4034" fmla="*/ 1910015 w 3214184"/>
                <a:gd name="connsiteY4034" fmla="*/ 4293284 h 4996841"/>
                <a:gd name="connsiteX4035" fmla="*/ 1909350 w 3214184"/>
                <a:gd name="connsiteY4035" fmla="*/ 4295794 h 4996841"/>
                <a:gd name="connsiteX4036" fmla="*/ 1907746 w 3214184"/>
                <a:gd name="connsiteY4036" fmla="*/ 4296521 h 4996841"/>
                <a:gd name="connsiteX4037" fmla="*/ 1896341 w 3214184"/>
                <a:gd name="connsiteY4037" fmla="*/ 4297428 h 4996841"/>
                <a:gd name="connsiteX4038" fmla="*/ 1881397 w 3214184"/>
                <a:gd name="connsiteY4038" fmla="*/ 4293496 h 4996841"/>
                <a:gd name="connsiteX4039" fmla="*/ 1880702 w 3214184"/>
                <a:gd name="connsiteY4039" fmla="*/ 4292588 h 4996841"/>
                <a:gd name="connsiteX4040" fmla="*/ 1879007 w 3214184"/>
                <a:gd name="connsiteY4040" fmla="*/ 4289472 h 4996841"/>
                <a:gd name="connsiteX4041" fmla="*/ 1878916 w 3214184"/>
                <a:gd name="connsiteY4041" fmla="*/ 4288837 h 4996841"/>
                <a:gd name="connsiteX4042" fmla="*/ 1877979 w 3214184"/>
                <a:gd name="connsiteY4042" fmla="*/ 4286870 h 4996841"/>
                <a:gd name="connsiteX4043" fmla="*/ 1877162 w 3214184"/>
                <a:gd name="connsiteY4043" fmla="*/ 4285963 h 4996841"/>
                <a:gd name="connsiteX4044" fmla="*/ 1876134 w 3214184"/>
                <a:gd name="connsiteY4044" fmla="*/ 4286538 h 4996841"/>
                <a:gd name="connsiteX4045" fmla="*/ 1873048 w 3214184"/>
                <a:gd name="connsiteY4045" fmla="*/ 4289744 h 4996841"/>
                <a:gd name="connsiteX4046" fmla="*/ 1871354 w 3214184"/>
                <a:gd name="connsiteY4046" fmla="*/ 4290834 h 4996841"/>
                <a:gd name="connsiteX4047" fmla="*/ 1869388 w 3214184"/>
                <a:gd name="connsiteY4047" fmla="*/ 4291378 h 4996841"/>
                <a:gd name="connsiteX4048" fmla="*/ 1864486 w 3214184"/>
                <a:gd name="connsiteY4048" fmla="*/ 4291560 h 4996841"/>
                <a:gd name="connsiteX4049" fmla="*/ 1862218 w 3214184"/>
                <a:gd name="connsiteY4049" fmla="*/ 4292134 h 4996841"/>
                <a:gd name="connsiteX4050" fmla="*/ 1860252 w 3214184"/>
                <a:gd name="connsiteY4050" fmla="*/ 4293526 h 4996841"/>
                <a:gd name="connsiteX4051" fmla="*/ 1856924 w 3214184"/>
                <a:gd name="connsiteY4051" fmla="*/ 4297580 h 4996841"/>
                <a:gd name="connsiteX4052" fmla="*/ 1853536 w 3214184"/>
                <a:gd name="connsiteY4052" fmla="*/ 4299818 h 4996841"/>
                <a:gd name="connsiteX4053" fmla="*/ 1848030 w 3214184"/>
                <a:gd name="connsiteY4053" fmla="*/ 4301422 h 4996841"/>
                <a:gd name="connsiteX4054" fmla="*/ 1842252 w 3214184"/>
                <a:gd name="connsiteY4054" fmla="*/ 4301694 h 4996841"/>
                <a:gd name="connsiteX4055" fmla="*/ 1837896 w 3214184"/>
                <a:gd name="connsiteY4055" fmla="*/ 4299879 h 4996841"/>
                <a:gd name="connsiteX4056" fmla="*/ 1834961 w 3214184"/>
                <a:gd name="connsiteY4056" fmla="*/ 4300756 h 4996841"/>
                <a:gd name="connsiteX4057" fmla="*/ 1830726 w 3214184"/>
                <a:gd name="connsiteY4057" fmla="*/ 4298487 h 4996841"/>
                <a:gd name="connsiteX4058" fmla="*/ 1826491 w 3214184"/>
                <a:gd name="connsiteY4058" fmla="*/ 4295280 h 4996841"/>
                <a:gd name="connsiteX4059" fmla="*/ 1823406 w 3214184"/>
                <a:gd name="connsiteY4059" fmla="*/ 4293526 h 4996841"/>
                <a:gd name="connsiteX4060" fmla="*/ 1823315 w 3214184"/>
                <a:gd name="connsiteY4060" fmla="*/ 4293859 h 4996841"/>
                <a:gd name="connsiteX4061" fmla="*/ 1823315 w 3214184"/>
                <a:gd name="connsiteY4061" fmla="*/ 4294191 h 4996841"/>
                <a:gd name="connsiteX4062" fmla="*/ 1823194 w 3214184"/>
                <a:gd name="connsiteY4062" fmla="*/ 4294433 h 4996841"/>
                <a:gd name="connsiteX4063" fmla="*/ 1822740 w 3214184"/>
                <a:gd name="connsiteY4063" fmla="*/ 4294342 h 4996841"/>
                <a:gd name="connsiteX4064" fmla="*/ 1822740 w 3214184"/>
                <a:gd name="connsiteY4064" fmla="*/ 4295371 h 4996841"/>
                <a:gd name="connsiteX4065" fmla="*/ 1825160 w 3214184"/>
                <a:gd name="connsiteY4065" fmla="*/ 4297610 h 4996841"/>
                <a:gd name="connsiteX4066" fmla="*/ 1826431 w 3214184"/>
                <a:gd name="connsiteY4066" fmla="*/ 4301391 h 4996841"/>
                <a:gd name="connsiteX4067" fmla="*/ 1827338 w 3214184"/>
                <a:gd name="connsiteY4067" fmla="*/ 4305566 h 4996841"/>
                <a:gd name="connsiteX4068" fmla="*/ 1829879 w 3214184"/>
                <a:gd name="connsiteY4068" fmla="*/ 4312010 h 4996841"/>
                <a:gd name="connsiteX4069" fmla="*/ 1830999 w 3214184"/>
                <a:gd name="connsiteY4069" fmla="*/ 4316426 h 4996841"/>
                <a:gd name="connsiteX4070" fmla="*/ 1832420 w 3214184"/>
                <a:gd name="connsiteY4070" fmla="*/ 4320359 h 4996841"/>
                <a:gd name="connsiteX4071" fmla="*/ 1834780 w 3214184"/>
                <a:gd name="connsiteY4071" fmla="*/ 4322023 h 4996841"/>
                <a:gd name="connsiteX4072" fmla="*/ 1836020 w 3214184"/>
                <a:gd name="connsiteY4072" fmla="*/ 4323263 h 4996841"/>
                <a:gd name="connsiteX4073" fmla="*/ 1840255 w 3214184"/>
                <a:gd name="connsiteY4073" fmla="*/ 4329101 h 4996841"/>
                <a:gd name="connsiteX4074" fmla="*/ 1846881 w 3214184"/>
                <a:gd name="connsiteY4074" fmla="*/ 4335696 h 4996841"/>
                <a:gd name="connsiteX4075" fmla="*/ 1849361 w 3214184"/>
                <a:gd name="connsiteY4075" fmla="*/ 4336694 h 4996841"/>
                <a:gd name="connsiteX4076" fmla="*/ 1851720 w 3214184"/>
                <a:gd name="connsiteY4076" fmla="*/ 4334849 h 4996841"/>
                <a:gd name="connsiteX4077" fmla="*/ 1850843 w 3214184"/>
                <a:gd name="connsiteY4077" fmla="*/ 4334275 h 4996841"/>
                <a:gd name="connsiteX4078" fmla="*/ 1847607 w 3214184"/>
                <a:gd name="connsiteY4078" fmla="*/ 4332974 h 4996841"/>
                <a:gd name="connsiteX4079" fmla="*/ 1847274 w 3214184"/>
                <a:gd name="connsiteY4079" fmla="*/ 4331370 h 4996841"/>
                <a:gd name="connsiteX4080" fmla="*/ 1847848 w 3214184"/>
                <a:gd name="connsiteY4080" fmla="*/ 4330523 h 4996841"/>
                <a:gd name="connsiteX4081" fmla="*/ 1848877 w 3214184"/>
                <a:gd name="connsiteY4081" fmla="*/ 4330221 h 4996841"/>
                <a:gd name="connsiteX4082" fmla="*/ 1856652 w 3214184"/>
                <a:gd name="connsiteY4082" fmla="*/ 4330372 h 4996841"/>
                <a:gd name="connsiteX4083" fmla="*/ 1858618 w 3214184"/>
                <a:gd name="connsiteY4083" fmla="*/ 4331037 h 4996841"/>
                <a:gd name="connsiteX4084" fmla="*/ 1862157 w 3214184"/>
                <a:gd name="connsiteY4084" fmla="*/ 4333579 h 4996841"/>
                <a:gd name="connsiteX4085" fmla="*/ 1871656 w 3214184"/>
                <a:gd name="connsiteY4085" fmla="*/ 4343168 h 4996841"/>
                <a:gd name="connsiteX4086" fmla="*/ 1875196 w 3214184"/>
                <a:gd name="connsiteY4086" fmla="*/ 4345528 h 4996841"/>
                <a:gd name="connsiteX4087" fmla="*/ 1877102 w 3214184"/>
                <a:gd name="connsiteY4087" fmla="*/ 4347373 h 4996841"/>
                <a:gd name="connsiteX4088" fmla="*/ 1877919 w 3214184"/>
                <a:gd name="connsiteY4088" fmla="*/ 4349884 h 4996841"/>
                <a:gd name="connsiteX4089" fmla="*/ 1878493 w 3214184"/>
                <a:gd name="connsiteY4089" fmla="*/ 4353000 h 4996841"/>
                <a:gd name="connsiteX4090" fmla="*/ 1880006 w 3214184"/>
                <a:gd name="connsiteY4090" fmla="*/ 4354815 h 4996841"/>
                <a:gd name="connsiteX4091" fmla="*/ 1905810 w 3214184"/>
                <a:gd name="connsiteY4091" fmla="*/ 4368610 h 4996841"/>
                <a:gd name="connsiteX4092" fmla="*/ 1907202 w 3214184"/>
                <a:gd name="connsiteY4092" fmla="*/ 4370001 h 4996841"/>
                <a:gd name="connsiteX4093" fmla="*/ 1907746 w 3214184"/>
                <a:gd name="connsiteY4093" fmla="*/ 4372331 h 4996841"/>
                <a:gd name="connsiteX4094" fmla="*/ 1907505 w 3214184"/>
                <a:gd name="connsiteY4094" fmla="*/ 4375386 h 4996841"/>
                <a:gd name="connsiteX4095" fmla="*/ 1906808 w 3214184"/>
                <a:gd name="connsiteY4095" fmla="*/ 4378200 h 4996841"/>
                <a:gd name="connsiteX4096" fmla="*/ 1906143 w 3214184"/>
                <a:gd name="connsiteY4096" fmla="*/ 4379591 h 4996841"/>
                <a:gd name="connsiteX4097" fmla="*/ 1905115 w 3214184"/>
                <a:gd name="connsiteY4097" fmla="*/ 4379772 h 4996841"/>
                <a:gd name="connsiteX4098" fmla="*/ 1904056 w 3214184"/>
                <a:gd name="connsiteY4098" fmla="*/ 4379470 h 4996841"/>
                <a:gd name="connsiteX4099" fmla="*/ 1902694 w 3214184"/>
                <a:gd name="connsiteY4099" fmla="*/ 4378744 h 4996841"/>
                <a:gd name="connsiteX4100" fmla="*/ 1901514 w 3214184"/>
                <a:gd name="connsiteY4100" fmla="*/ 4378895 h 4996841"/>
                <a:gd name="connsiteX4101" fmla="*/ 1899366 w 3214184"/>
                <a:gd name="connsiteY4101" fmla="*/ 4379440 h 4996841"/>
                <a:gd name="connsiteX4102" fmla="*/ 1898308 w 3214184"/>
                <a:gd name="connsiteY4102" fmla="*/ 4379591 h 4996841"/>
                <a:gd name="connsiteX4103" fmla="*/ 1894677 w 3214184"/>
                <a:gd name="connsiteY4103" fmla="*/ 4379349 h 4996841"/>
                <a:gd name="connsiteX4104" fmla="*/ 1892832 w 3214184"/>
                <a:gd name="connsiteY4104" fmla="*/ 4378835 h 4996841"/>
                <a:gd name="connsiteX4105" fmla="*/ 1890987 w 3214184"/>
                <a:gd name="connsiteY4105" fmla="*/ 4377776 h 4996841"/>
                <a:gd name="connsiteX4106" fmla="*/ 1885512 w 3214184"/>
                <a:gd name="connsiteY4106" fmla="*/ 4372966 h 4996841"/>
                <a:gd name="connsiteX4107" fmla="*/ 1881972 w 3214184"/>
                <a:gd name="connsiteY4107" fmla="*/ 4371484 h 4996841"/>
                <a:gd name="connsiteX4108" fmla="*/ 1877193 w 3214184"/>
                <a:gd name="connsiteY4108" fmla="*/ 4365887 h 4996841"/>
                <a:gd name="connsiteX4109" fmla="*/ 1874833 w 3214184"/>
                <a:gd name="connsiteY4109" fmla="*/ 4365101 h 4996841"/>
                <a:gd name="connsiteX4110" fmla="*/ 1872685 w 3214184"/>
                <a:gd name="connsiteY4110" fmla="*/ 4365554 h 4996841"/>
                <a:gd name="connsiteX4111" fmla="*/ 1870628 w 3214184"/>
                <a:gd name="connsiteY4111" fmla="*/ 4366432 h 4996841"/>
                <a:gd name="connsiteX4112" fmla="*/ 1868571 w 3214184"/>
                <a:gd name="connsiteY4112" fmla="*/ 4366885 h 4996841"/>
                <a:gd name="connsiteX4113" fmla="*/ 1866635 w 3214184"/>
                <a:gd name="connsiteY4113" fmla="*/ 4367914 h 4996841"/>
                <a:gd name="connsiteX4114" fmla="*/ 1866090 w 3214184"/>
                <a:gd name="connsiteY4114" fmla="*/ 4370395 h 4996841"/>
                <a:gd name="connsiteX4115" fmla="*/ 1866181 w 3214184"/>
                <a:gd name="connsiteY4115" fmla="*/ 4375991 h 4996841"/>
                <a:gd name="connsiteX4116" fmla="*/ 1865515 w 3214184"/>
                <a:gd name="connsiteY4116" fmla="*/ 4377625 h 4996841"/>
                <a:gd name="connsiteX4117" fmla="*/ 1864577 w 3214184"/>
                <a:gd name="connsiteY4117" fmla="*/ 4378623 h 4996841"/>
                <a:gd name="connsiteX4118" fmla="*/ 1863760 w 3214184"/>
                <a:gd name="connsiteY4118" fmla="*/ 4379984 h 4996841"/>
                <a:gd name="connsiteX4119" fmla="*/ 1863034 w 3214184"/>
                <a:gd name="connsiteY4119" fmla="*/ 4385278 h 4996841"/>
                <a:gd name="connsiteX4120" fmla="*/ 1862006 w 3214184"/>
                <a:gd name="connsiteY4120" fmla="*/ 4387789 h 4996841"/>
                <a:gd name="connsiteX4121" fmla="*/ 1860735 w 3214184"/>
                <a:gd name="connsiteY4121" fmla="*/ 4389725 h 4996841"/>
                <a:gd name="connsiteX4122" fmla="*/ 1859616 w 3214184"/>
                <a:gd name="connsiteY4122" fmla="*/ 4390512 h 4996841"/>
                <a:gd name="connsiteX4123" fmla="*/ 1859526 w 3214184"/>
                <a:gd name="connsiteY4123" fmla="*/ 4391903 h 4996841"/>
                <a:gd name="connsiteX4124" fmla="*/ 1857257 w 3214184"/>
                <a:gd name="connsiteY4124" fmla="*/ 4399678 h 4996841"/>
                <a:gd name="connsiteX4125" fmla="*/ 1854836 w 3214184"/>
                <a:gd name="connsiteY4125" fmla="*/ 4403248 h 4996841"/>
                <a:gd name="connsiteX4126" fmla="*/ 1854534 w 3214184"/>
                <a:gd name="connsiteY4126" fmla="*/ 4405093 h 4996841"/>
                <a:gd name="connsiteX4127" fmla="*/ 1855865 w 3214184"/>
                <a:gd name="connsiteY4127" fmla="*/ 4406999 h 4996841"/>
                <a:gd name="connsiteX4128" fmla="*/ 1853808 w 3214184"/>
                <a:gd name="connsiteY4128" fmla="*/ 4408360 h 4996841"/>
                <a:gd name="connsiteX4129" fmla="*/ 1851267 w 3214184"/>
                <a:gd name="connsiteY4129" fmla="*/ 4408058 h 4996841"/>
                <a:gd name="connsiteX4130" fmla="*/ 1849966 w 3214184"/>
                <a:gd name="connsiteY4130" fmla="*/ 4406212 h 4996841"/>
                <a:gd name="connsiteX4131" fmla="*/ 1851358 w 3214184"/>
                <a:gd name="connsiteY4131" fmla="*/ 4402885 h 4996841"/>
                <a:gd name="connsiteX4132" fmla="*/ 1855321 w 3214184"/>
                <a:gd name="connsiteY4132" fmla="*/ 4398680 h 4996841"/>
                <a:gd name="connsiteX4133" fmla="*/ 1857166 w 3214184"/>
                <a:gd name="connsiteY4133" fmla="*/ 4396108 h 4996841"/>
                <a:gd name="connsiteX4134" fmla="*/ 1857952 w 3214184"/>
                <a:gd name="connsiteY4134" fmla="*/ 4393325 h 4996841"/>
                <a:gd name="connsiteX4135" fmla="*/ 1857952 w 3214184"/>
                <a:gd name="connsiteY4135" fmla="*/ 4391117 h 4996841"/>
                <a:gd name="connsiteX4136" fmla="*/ 1857710 w 3214184"/>
                <a:gd name="connsiteY4136" fmla="*/ 4390330 h 4996841"/>
                <a:gd name="connsiteX4137" fmla="*/ 1856228 w 3214184"/>
                <a:gd name="connsiteY4137" fmla="*/ 4390512 h 4996841"/>
                <a:gd name="connsiteX4138" fmla="*/ 1854504 w 3214184"/>
                <a:gd name="connsiteY4138" fmla="*/ 4390149 h 4996841"/>
                <a:gd name="connsiteX4139" fmla="*/ 1854050 w 3214184"/>
                <a:gd name="connsiteY4139" fmla="*/ 4389151 h 4996841"/>
                <a:gd name="connsiteX4140" fmla="*/ 1854444 w 3214184"/>
                <a:gd name="connsiteY4140" fmla="*/ 4386458 h 4996841"/>
                <a:gd name="connsiteX4141" fmla="*/ 1854988 w 3214184"/>
                <a:gd name="connsiteY4141" fmla="*/ 4384946 h 4996841"/>
                <a:gd name="connsiteX4142" fmla="*/ 1857136 w 3214184"/>
                <a:gd name="connsiteY4142" fmla="*/ 4382132 h 4996841"/>
                <a:gd name="connsiteX4143" fmla="*/ 1857287 w 3214184"/>
                <a:gd name="connsiteY4143" fmla="*/ 4380620 h 4996841"/>
                <a:gd name="connsiteX4144" fmla="*/ 1856500 w 3214184"/>
                <a:gd name="connsiteY4144" fmla="*/ 4379621 h 4996841"/>
                <a:gd name="connsiteX4145" fmla="*/ 1855350 w 3214184"/>
                <a:gd name="connsiteY4145" fmla="*/ 4379621 h 4996841"/>
                <a:gd name="connsiteX4146" fmla="*/ 1853082 w 3214184"/>
                <a:gd name="connsiteY4146" fmla="*/ 4380620 h 4996841"/>
                <a:gd name="connsiteX4147" fmla="*/ 1853838 w 3214184"/>
                <a:gd name="connsiteY4147" fmla="*/ 4379470 h 4996841"/>
                <a:gd name="connsiteX4148" fmla="*/ 1854565 w 3214184"/>
                <a:gd name="connsiteY4148" fmla="*/ 4378835 h 4996841"/>
                <a:gd name="connsiteX4149" fmla="*/ 1858678 w 3214184"/>
                <a:gd name="connsiteY4149" fmla="*/ 4376899 h 4996841"/>
                <a:gd name="connsiteX4150" fmla="*/ 1859616 w 3214184"/>
                <a:gd name="connsiteY4150" fmla="*/ 4376294 h 4996841"/>
                <a:gd name="connsiteX4151" fmla="*/ 1859012 w 3214184"/>
                <a:gd name="connsiteY4151" fmla="*/ 4375991 h 4996841"/>
                <a:gd name="connsiteX4152" fmla="*/ 1853627 w 3214184"/>
                <a:gd name="connsiteY4152" fmla="*/ 4376445 h 4996841"/>
                <a:gd name="connsiteX4153" fmla="*/ 1847002 w 3214184"/>
                <a:gd name="connsiteY4153" fmla="*/ 4378653 h 4996841"/>
                <a:gd name="connsiteX4154" fmla="*/ 1843795 w 3214184"/>
                <a:gd name="connsiteY4154" fmla="*/ 4381285 h 4996841"/>
                <a:gd name="connsiteX4155" fmla="*/ 1841647 w 3214184"/>
                <a:gd name="connsiteY4155" fmla="*/ 4385097 h 4996841"/>
                <a:gd name="connsiteX4156" fmla="*/ 1839953 w 3214184"/>
                <a:gd name="connsiteY4156" fmla="*/ 4390512 h 4996841"/>
                <a:gd name="connsiteX4157" fmla="*/ 1837230 w 3214184"/>
                <a:gd name="connsiteY4157" fmla="*/ 4405063 h 4996841"/>
                <a:gd name="connsiteX4158" fmla="*/ 1835838 w 3214184"/>
                <a:gd name="connsiteY4158" fmla="*/ 4409691 h 4996841"/>
                <a:gd name="connsiteX4159" fmla="*/ 1834024 w 3214184"/>
                <a:gd name="connsiteY4159" fmla="*/ 4414108 h 4996841"/>
                <a:gd name="connsiteX4160" fmla="*/ 1832662 w 3214184"/>
                <a:gd name="connsiteY4160" fmla="*/ 4416679 h 4996841"/>
                <a:gd name="connsiteX4161" fmla="*/ 1831361 w 3214184"/>
                <a:gd name="connsiteY4161" fmla="*/ 4417829 h 4996841"/>
                <a:gd name="connsiteX4162" fmla="*/ 1829788 w 3214184"/>
                <a:gd name="connsiteY4162" fmla="*/ 4418253 h 4996841"/>
                <a:gd name="connsiteX4163" fmla="*/ 1826037 w 3214184"/>
                <a:gd name="connsiteY4163" fmla="*/ 4420461 h 4996841"/>
                <a:gd name="connsiteX4164" fmla="*/ 1817022 w 3214184"/>
                <a:gd name="connsiteY4164" fmla="*/ 4427479 h 4996841"/>
                <a:gd name="connsiteX4165" fmla="*/ 1816296 w 3214184"/>
                <a:gd name="connsiteY4165" fmla="*/ 4427872 h 4996841"/>
                <a:gd name="connsiteX4166" fmla="*/ 1816296 w 3214184"/>
                <a:gd name="connsiteY4166" fmla="*/ 4428538 h 4996841"/>
                <a:gd name="connsiteX4167" fmla="*/ 1817234 w 3214184"/>
                <a:gd name="connsiteY4167" fmla="*/ 4430474 h 4996841"/>
                <a:gd name="connsiteX4168" fmla="*/ 1818112 w 3214184"/>
                <a:gd name="connsiteY4168" fmla="*/ 4431412 h 4996841"/>
                <a:gd name="connsiteX4169" fmla="*/ 1819049 w 3214184"/>
                <a:gd name="connsiteY4169" fmla="*/ 4431805 h 4996841"/>
                <a:gd name="connsiteX4170" fmla="*/ 1819715 w 3214184"/>
                <a:gd name="connsiteY4170" fmla="*/ 4432410 h 4996841"/>
                <a:gd name="connsiteX4171" fmla="*/ 1819926 w 3214184"/>
                <a:gd name="connsiteY4171" fmla="*/ 4434104 h 4996841"/>
                <a:gd name="connsiteX4172" fmla="*/ 1819473 w 3214184"/>
                <a:gd name="connsiteY4172" fmla="*/ 4433832 h 4996841"/>
                <a:gd name="connsiteX4173" fmla="*/ 1817869 w 3214184"/>
                <a:gd name="connsiteY4173" fmla="*/ 4433257 h 4996841"/>
                <a:gd name="connsiteX4174" fmla="*/ 1817536 w 3214184"/>
                <a:gd name="connsiteY4174" fmla="*/ 4435526 h 4996841"/>
                <a:gd name="connsiteX4175" fmla="*/ 1816720 w 3214184"/>
                <a:gd name="connsiteY4175" fmla="*/ 4435677 h 4996841"/>
                <a:gd name="connsiteX4176" fmla="*/ 1814905 w 3214184"/>
                <a:gd name="connsiteY4176" fmla="*/ 4433772 h 4996841"/>
                <a:gd name="connsiteX4177" fmla="*/ 1813846 w 3214184"/>
                <a:gd name="connsiteY4177" fmla="*/ 4432259 h 4996841"/>
                <a:gd name="connsiteX4178" fmla="*/ 1811093 w 3214184"/>
                <a:gd name="connsiteY4178" fmla="*/ 4431351 h 4996841"/>
                <a:gd name="connsiteX4179" fmla="*/ 1812757 w 3214184"/>
                <a:gd name="connsiteY4179" fmla="*/ 4430474 h 4996841"/>
                <a:gd name="connsiteX4180" fmla="*/ 1813120 w 3214184"/>
                <a:gd name="connsiteY4180" fmla="*/ 4428931 h 4996841"/>
                <a:gd name="connsiteX4181" fmla="*/ 1812303 w 3214184"/>
                <a:gd name="connsiteY4181" fmla="*/ 4427933 h 4996841"/>
                <a:gd name="connsiteX4182" fmla="*/ 1810397 w 3214184"/>
                <a:gd name="connsiteY4182" fmla="*/ 4428659 h 4996841"/>
                <a:gd name="connsiteX4183" fmla="*/ 1809732 w 3214184"/>
                <a:gd name="connsiteY4183" fmla="*/ 4429960 h 4996841"/>
                <a:gd name="connsiteX4184" fmla="*/ 1809097 w 3214184"/>
                <a:gd name="connsiteY4184" fmla="*/ 4432259 h 4996841"/>
                <a:gd name="connsiteX4185" fmla="*/ 1808310 w 3214184"/>
                <a:gd name="connsiteY4185" fmla="*/ 4436857 h 4996841"/>
                <a:gd name="connsiteX4186" fmla="*/ 1808189 w 3214184"/>
                <a:gd name="connsiteY4186" fmla="*/ 4441183 h 4996841"/>
                <a:gd name="connsiteX4187" fmla="*/ 1808976 w 3214184"/>
                <a:gd name="connsiteY4187" fmla="*/ 4448988 h 4996841"/>
                <a:gd name="connsiteX4188" fmla="*/ 1808976 w 3214184"/>
                <a:gd name="connsiteY4188" fmla="*/ 4453162 h 4996841"/>
                <a:gd name="connsiteX4189" fmla="*/ 1808219 w 3214184"/>
                <a:gd name="connsiteY4189" fmla="*/ 4457579 h 4996841"/>
                <a:gd name="connsiteX4190" fmla="*/ 1808219 w 3214184"/>
                <a:gd name="connsiteY4190" fmla="*/ 4459031 h 4996841"/>
                <a:gd name="connsiteX4191" fmla="*/ 1809006 w 3214184"/>
                <a:gd name="connsiteY4191" fmla="*/ 4460362 h 4996841"/>
                <a:gd name="connsiteX4192" fmla="*/ 1810397 w 3214184"/>
                <a:gd name="connsiteY4192" fmla="*/ 4461240 h 4996841"/>
                <a:gd name="connsiteX4193" fmla="*/ 1811516 w 3214184"/>
                <a:gd name="connsiteY4193" fmla="*/ 4460907 h 4996841"/>
                <a:gd name="connsiteX4194" fmla="*/ 1812394 w 3214184"/>
                <a:gd name="connsiteY4194" fmla="*/ 4459636 h 4996841"/>
                <a:gd name="connsiteX4195" fmla="*/ 1813725 w 3214184"/>
                <a:gd name="connsiteY4195" fmla="*/ 4456006 h 4996841"/>
                <a:gd name="connsiteX4196" fmla="*/ 1813846 w 3214184"/>
                <a:gd name="connsiteY4196" fmla="*/ 4449593 h 4996841"/>
                <a:gd name="connsiteX4197" fmla="*/ 1814058 w 3214184"/>
                <a:gd name="connsiteY4197" fmla="*/ 4449532 h 4996841"/>
                <a:gd name="connsiteX4198" fmla="*/ 1814511 w 3214184"/>
                <a:gd name="connsiteY4198" fmla="*/ 4449654 h 4996841"/>
                <a:gd name="connsiteX4199" fmla="*/ 1814965 w 3214184"/>
                <a:gd name="connsiteY4199" fmla="*/ 4449654 h 4996841"/>
                <a:gd name="connsiteX4200" fmla="*/ 1815117 w 3214184"/>
                <a:gd name="connsiteY4200" fmla="*/ 4449109 h 4996841"/>
                <a:gd name="connsiteX4201" fmla="*/ 1815026 w 3214184"/>
                <a:gd name="connsiteY4201" fmla="*/ 4448504 h 4996841"/>
                <a:gd name="connsiteX4202" fmla="*/ 1814784 w 3214184"/>
                <a:gd name="connsiteY4202" fmla="*/ 4448050 h 4996841"/>
                <a:gd name="connsiteX4203" fmla="*/ 1814541 w 3214184"/>
                <a:gd name="connsiteY4203" fmla="*/ 4447778 h 4996841"/>
                <a:gd name="connsiteX4204" fmla="*/ 1814451 w 3214184"/>
                <a:gd name="connsiteY4204" fmla="*/ 4447778 h 4996841"/>
                <a:gd name="connsiteX4205" fmla="*/ 1814300 w 3214184"/>
                <a:gd name="connsiteY4205" fmla="*/ 4446598 h 4996841"/>
                <a:gd name="connsiteX4206" fmla="*/ 1813967 w 3214184"/>
                <a:gd name="connsiteY4206" fmla="*/ 4445600 h 4996841"/>
                <a:gd name="connsiteX4207" fmla="*/ 1813544 w 3214184"/>
                <a:gd name="connsiteY4207" fmla="*/ 4444813 h 4996841"/>
                <a:gd name="connsiteX4208" fmla="*/ 1813120 w 3214184"/>
                <a:gd name="connsiteY4208" fmla="*/ 4444208 h 4996841"/>
                <a:gd name="connsiteX4209" fmla="*/ 1813120 w 3214184"/>
                <a:gd name="connsiteY4209" fmla="*/ 4443180 h 4996841"/>
                <a:gd name="connsiteX4210" fmla="*/ 1813906 w 3214184"/>
                <a:gd name="connsiteY4210" fmla="*/ 4443059 h 4996841"/>
                <a:gd name="connsiteX4211" fmla="*/ 1815873 w 3214184"/>
                <a:gd name="connsiteY4211" fmla="*/ 4442393 h 4996841"/>
                <a:gd name="connsiteX4212" fmla="*/ 1815873 w 3214184"/>
                <a:gd name="connsiteY4212" fmla="*/ 4441395 h 4996841"/>
                <a:gd name="connsiteX4213" fmla="*/ 1813241 w 3214184"/>
                <a:gd name="connsiteY4213" fmla="*/ 4440820 h 4996841"/>
                <a:gd name="connsiteX4214" fmla="*/ 1811910 w 3214184"/>
                <a:gd name="connsiteY4214" fmla="*/ 4438854 h 4996841"/>
                <a:gd name="connsiteX4215" fmla="*/ 1811910 w 3214184"/>
                <a:gd name="connsiteY4215" fmla="*/ 4436827 h 4996841"/>
                <a:gd name="connsiteX4216" fmla="*/ 1813089 w 3214184"/>
                <a:gd name="connsiteY4216" fmla="*/ 4435919 h 4996841"/>
                <a:gd name="connsiteX4217" fmla="*/ 1813846 w 3214184"/>
                <a:gd name="connsiteY4217" fmla="*/ 4436524 h 4996841"/>
                <a:gd name="connsiteX4218" fmla="*/ 1814541 w 3214184"/>
                <a:gd name="connsiteY4218" fmla="*/ 4438975 h 4996841"/>
                <a:gd name="connsiteX4219" fmla="*/ 1815449 w 3214184"/>
                <a:gd name="connsiteY4219" fmla="*/ 4439519 h 4996841"/>
                <a:gd name="connsiteX4220" fmla="*/ 1816478 w 3214184"/>
                <a:gd name="connsiteY4220" fmla="*/ 4439792 h 4996841"/>
                <a:gd name="connsiteX4221" fmla="*/ 1817718 w 3214184"/>
                <a:gd name="connsiteY4221" fmla="*/ 4440427 h 4996841"/>
                <a:gd name="connsiteX4222" fmla="*/ 1818868 w 3214184"/>
                <a:gd name="connsiteY4222" fmla="*/ 4441183 h 4996841"/>
                <a:gd name="connsiteX4223" fmla="*/ 1819594 w 3214184"/>
                <a:gd name="connsiteY4223" fmla="*/ 4441909 h 4996841"/>
                <a:gd name="connsiteX4224" fmla="*/ 1819896 w 3214184"/>
                <a:gd name="connsiteY4224" fmla="*/ 4444480 h 4996841"/>
                <a:gd name="connsiteX4225" fmla="*/ 1818323 w 3214184"/>
                <a:gd name="connsiteY4225" fmla="*/ 4450984 h 4996841"/>
                <a:gd name="connsiteX4226" fmla="*/ 1818202 w 3214184"/>
                <a:gd name="connsiteY4226" fmla="*/ 4452285 h 4996841"/>
                <a:gd name="connsiteX4227" fmla="*/ 1819594 w 3214184"/>
                <a:gd name="connsiteY4227" fmla="*/ 4452890 h 4996841"/>
                <a:gd name="connsiteX4228" fmla="*/ 1822468 w 3214184"/>
                <a:gd name="connsiteY4228" fmla="*/ 4455764 h 4996841"/>
                <a:gd name="connsiteX4229" fmla="*/ 1824071 w 3214184"/>
                <a:gd name="connsiteY4229" fmla="*/ 4456702 h 4996841"/>
                <a:gd name="connsiteX4230" fmla="*/ 1824071 w 3214184"/>
                <a:gd name="connsiteY4230" fmla="*/ 4457640 h 4996841"/>
                <a:gd name="connsiteX4231" fmla="*/ 1823012 w 3214184"/>
                <a:gd name="connsiteY4231" fmla="*/ 4457216 h 4996841"/>
                <a:gd name="connsiteX4232" fmla="*/ 1821137 w 3214184"/>
                <a:gd name="connsiteY4232" fmla="*/ 4456157 h 4996841"/>
                <a:gd name="connsiteX4233" fmla="*/ 1819896 w 3214184"/>
                <a:gd name="connsiteY4233" fmla="*/ 4455794 h 4996841"/>
                <a:gd name="connsiteX4234" fmla="*/ 1820380 w 3214184"/>
                <a:gd name="connsiteY4234" fmla="*/ 4458487 h 4996841"/>
                <a:gd name="connsiteX4235" fmla="*/ 1821378 w 3214184"/>
                <a:gd name="connsiteY4235" fmla="*/ 4459818 h 4996841"/>
                <a:gd name="connsiteX4236" fmla="*/ 1821984 w 3214184"/>
                <a:gd name="connsiteY4236" fmla="*/ 4461421 h 4996841"/>
                <a:gd name="connsiteX4237" fmla="*/ 1821318 w 3214184"/>
                <a:gd name="connsiteY4237" fmla="*/ 4464779 h 4996841"/>
                <a:gd name="connsiteX4238" fmla="*/ 1822589 w 3214184"/>
                <a:gd name="connsiteY4238" fmla="*/ 4464507 h 4996841"/>
                <a:gd name="connsiteX4239" fmla="*/ 1824373 w 3214184"/>
                <a:gd name="connsiteY4239" fmla="*/ 4463448 h 4996841"/>
                <a:gd name="connsiteX4240" fmla="*/ 1825493 w 3214184"/>
                <a:gd name="connsiteY4240" fmla="*/ 4463024 h 4996841"/>
                <a:gd name="connsiteX4241" fmla="*/ 1825493 w 3214184"/>
                <a:gd name="connsiteY4241" fmla="*/ 4463932 h 4996841"/>
                <a:gd name="connsiteX4242" fmla="*/ 1824403 w 3214184"/>
                <a:gd name="connsiteY4242" fmla="*/ 4464113 h 4996841"/>
                <a:gd name="connsiteX4243" fmla="*/ 1824041 w 3214184"/>
                <a:gd name="connsiteY4243" fmla="*/ 4464688 h 4996841"/>
                <a:gd name="connsiteX4244" fmla="*/ 1823889 w 3214184"/>
                <a:gd name="connsiteY4244" fmla="*/ 4465596 h 4996841"/>
                <a:gd name="connsiteX4245" fmla="*/ 1823406 w 3214184"/>
                <a:gd name="connsiteY4245" fmla="*/ 4466625 h 4996841"/>
                <a:gd name="connsiteX4246" fmla="*/ 1821711 w 3214184"/>
                <a:gd name="connsiteY4246" fmla="*/ 4468984 h 4996841"/>
                <a:gd name="connsiteX4247" fmla="*/ 1821348 w 3214184"/>
                <a:gd name="connsiteY4247" fmla="*/ 4468863 h 4996841"/>
                <a:gd name="connsiteX4248" fmla="*/ 1821197 w 3214184"/>
                <a:gd name="connsiteY4248" fmla="*/ 4469287 h 4996841"/>
                <a:gd name="connsiteX4249" fmla="*/ 1820290 w 3214184"/>
                <a:gd name="connsiteY4249" fmla="*/ 4469740 h 4996841"/>
                <a:gd name="connsiteX4250" fmla="*/ 1819926 w 3214184"/>
                <a:gd name="connsiteY4250" fmla="*/ 4470224 h 4996841"/>
                <a:gd name="connsiteX4251" fmla="*/ 1819624 w 3214184"/>
                <a:gd name="connsiteY4251" fmla="*/ 4471313 h 4996841"/>
                <a:gd name="connsiteX4252" fmla="*/ 1819835 w 3214184"/>
                <a:gd name="connsiteY4252" fmla="*/ 4471495 h 4996841"/>
                <a:gd name="connsiteX4253" fmla="*/ 1820290 w 3214184"/>
                <a:gd name="connsiteY4253" fmla="*/ 4471495 h 4996841"/>
                <a:gd name="connsiteX4254" fmla="*/ 1820713 w 3214184"/>
                <a:gd name="connsiteY4254" fmla="*/ 4471979 h 4996841"/>
                <a:gd name="connsiteX4255" fmla="*/ 1821076 w 3214184"/>
                <a:gd name="connsiteY4255" fmla="*/ 4472675 h 4996841"/>
                <a:gd name="connsiteX4256" fmla="*/ 1822589 w 3214184"/>
                <a:gd name="connsiteY4256" fmla="*/ 4474429 h 4996841"/>
                <a:gd name="connsiteX4257" fmla="*/ 1823496 w 3214184"/>
                <a:gd name="connsiteY4257" fmla="*/ 4475034 h 4996841"/>
                <a:gd name="connsiteX4258" fmla="*/ 1823284 w 3214184"/>
                <a:gd name="connsiteY4258" fmla="*/ 4475639 h 4996841"/>
                <a:gd name="connsiteX4259" fmla="*/ 1822589 w 3214184"/>
                <a:gd name="connsiteY4259" fmla="*/ 4476244 h 4996841"/>
                <a:gd name="connsiteX4260" fmla="*/ 1821711 w 3214184"/>
                <a:gd name="connsiteY4260" fmla="*/ 4476517 h 4996841"/>
                <a:gd name="connsiteX4261" fmla="*/ 1820622 w 3214184"/>
                <a:gd name="connsiteY4261" fmla="*/ 4476426 h 4996841"/>
                <a:gd name="connsiteX4262" fmla="*/ 1816720 w 3214184"/>
                <a:gd name="connsiteY4262" fmla="*/ 4475216 h 4996841"/>
                <a:gd name="connsiteX4263" fmla="*/ 1816236 w 3214184"/>
                <a:gd name="connsiteY4263" fmla="*/ 4474944 h 4996841"/>
                <a:gd name="connsiteX4264" fmla="*/ 1815782 w 3214184"/>
                <a:gd name="connsiteY4264" fmla="*/ 4474823 h 4996841"/>
                <a:gd name="connsiteX4265" fmla="*/ 1814753 w 3214184"/>
                <a:gd name="connsiteY4265" fmla="*/ 4474823 h 4996841"/>
                <a:gd name="connsiteX4266" fmla="*/ 1814360 w 3214184"/>
                <a:gd name="connsiteY4266" fmla="*/ 4474399 h 4996841"/>
                <a:gd name="connsiteX4267" fmla="*/ 1813815 w 3214184"/>
                <a:gd name="connsiteY4267" fmla="*/ 4473612 h 4996841"/>
                <a:gd name="connsiteX4268" fmla="*/ 1813392 w 3214184"/>
                <a:gd name="connsiteY4268" fmla="*/ 4472675 h 4996841"/>
                <a:gd name="connsiteX4269" fmla="*/ 1813089 w 3214184"/>
                <a:gd name="connsiteY4269" fmla="*/ 4471979 h 4996841"/>
                <a:gd name="connsiteX4270" fmla="*/ 1811940 w 3214184"/>
                <a:gd name="connsiteY4270" fmla="*/ 4474550 h 4996841"/>
                <a:gd name="connsiteX4271" fmla="*/ 1810488 w 3214184"/>
                <a:gd name="connsiteY4271" fmla="*/ 4476819 h 4996841"/>
                <a:gd name="connsiteX4272" fmla="*/ 1808642 w 3214184"/>
                <a:gd name="connsiteY4272" fmla="*/ 4477787 h 4996841"/>
                <a:gd name="connsiteX4273" fmla="*/ 1806222 w 3214184"/>
                <a:gd name="connsiteY4273" fmla="*/ 4476456 h 4996841"/>
                <a:gd name="connsiteX4274" fmla="*/ 1808461 w 3214184"/>
                <a:gd name="connsiteY4274" fmla="*/ 4476002 h 4996841"/>
                <a:gd name="connsiteX4275" fmla="*/ 1809671 w 3214184"/>
                <a:gd name="connsiteY4275" fmla="*/ 4475518 h 4996841"/>
                <a:gd name="connsiteX4276" fmla="*/ 1810367 w 3214184"/>
                <a:gd name="connsiteY4276" fmla="*/ 4474762 h 4996841"/>
                <a:gd name="connsiteX4277" fmla="*/ 1810367 w 3214184"/>
                <a:gd name="connsiteY4277" fmla="*/ 4473461 h 4996841"/>
                <a:gd name="connsiteX4278" fmla="*/ 1809671 w 3214184"/>
                <a:gd name="connsiteY4278" fmla="*/ 4472282 h 4996841"/>
                <a:gd name="connsiteX4279" fmla="*/ 1808764 w 3214184"/>
                <a:gd name="connsiteY4279" fmla="*/ 4471404 h 4996841"/>
                <a:gd name="connsiteX4280" fmla="*/ 1807977 w 3214184"/>
                <a:gd name="connsiteY4280" fmla="*/ 4471071 h 4996841"/>
                <a:gd name="connsiteX4281" fmla="*/ 1806948 w 3214184"/>
                <a:gd name="connsiteY4281" fmla="*/ 4470920 h 4996841"/>
                <a:gd name="connsiteX4282" fmla="*/ 1804922 w 3214184"/>
                <a:gd name="connsiteY4282" fmla="*/ 4470315 h 4996841"/>
                <a:gd name="connsiteX4283" fmla="*/ 1803803 w 3214184"/>
                <a:gd name="connsiteY4283" fmla="*/ 4470164 h 4996841"/>
                <a:gd name="connsiteX4284" fmla="*/ 1803197 w 3214184"/>
                <a:gd name="connsiteY4284" fmla="*/ 4470436 h 4996841"/>
                <a:gd name="connsiteX4285" fmla="*/ 1801080 w 3214184"/>
                <a:gd name="connsiteY4285" fmla="*/ 4471616 h 4996841"/>
                <a:gd name="connsiteX4286" fmla="*/ 1799961 w 3214184"/>
                <a:gd name="connsiteY4286" fmla="*/ 4471949 h 4996841"/>
                <a:gd name="connsiteX4287" fmla="*/ 1801413 w 3214184"/>
                <a:gd name="connsiteY4287" fmla="*/ 4468470 h 4996841"/>
                <a:gd name="connsiteX4288" fmla="*/ 1801413 w 3214184"/>
                <a:gd name="connsiteY4288" fmla="*/ 4467290 h 4996841"/>
                <a:gd name="connsiteX4289" fmla="*/ 1799961 w 3214184"/>
                <a:gd name="connsiteY4289" fmla="*/ 4468379 h 4996841"/>
                <a:gd name="connsiteX4290" fmla="*/ 1795483 w 3214184"/>
                <a:gd name="connsiteY4290" fmla="*/ 4471071 h 4996841"/>
                <a:gd name="connsiteX4291" fmla="*/ 1794152 w 3214184"/>
                <a:gd name="connsiteY4291" fmla="*/ 4472433 h 4996841"/>
                <a:gd name="connsiteX4292" fmla="*/ 1792579 w 3214184"/>
                <a:gd name="connsiteY4292" fmla="*/ 4473461 h 4996841"/>
                <a:gd name="connsiteX4293" fmla="*/ 1788797 w 3214184"/>
                <a:gd name="connsiteY4293" fmla="*/ 4474097 h 4996841"/>
                <a:gd name="connsiteX4294" fmla="*/ 1787527 w 3214184"/>
                <a:gd name="connsiteY4294" fmla="*/ 4475549 h 4996841"/>
                <a:gd name="connsiteX4295" fmla="*/ 1786469 w 3214184"/>
                <a:gd name="connsiteY4295" fmla="*/ 4473492 h 4996841"/>
                <a:gd name="connsiteX4296" fmla="*/ 1784169 w 3214184"/>
                <a:gd name="connsiteY4296" fmla="*/ 4472735 h 4996841"/>
                <a:gd name="connsiteX4297" fmla="*/ 1765202 w 3214184"/>
                <a:gd name="connsiteY4297" fmla="*/ 4472977 h 4996841"/>
                <a:gd name="connsiteX4298" fmla="*/ 1764596 w 3214184"/>
                <a:gd name="connsiteY4298" fmla="*/ 4473703 h 4996841"/>
                <a:gd name="connsiteX4299" fmla="*/ 1765534 w 3214184"/>
                <a:gd name="connsiteY4299" fmla="*/ 4475549 h 4996841"/>
                <a:gd name="connsiteX4300" fmla="*/ 1766684 w 3214184"/>
                <a:gd name="connsiteY4300" fmla="*/ 4476396 h 4996841"/>
                <a:gd name="connsiteX4301" fmla="*/ 1768076 w 3214184"/>
                <a:gd name="connsiteY4301" fmla="*/ 4476577 h 4996841"/>
                <a:gd name="connsiteX4302" fmla="*/ 1771010 w 3214184"/>
                <a:gd name="connsiteY4302" fmla="*/ 4476456 h 4996841"/>
                <a:gd name="connsiteX4303" fmla="*/ 1776818 w 3214184"/>
                <a:gd name="connsiteY4303" fmla="*/ 4477182 h 4996841"/>
                <a:gd name="connsiteX4304" fmla="*/ 1779662 w 3214184"/>
                <a:gd name="connsiteY4304" fmla="*/ 4478211 h 4996841"/>
                <a:gd name="connsiteX4305" fmla="*/ 1781295 w 3214184"/>
                <a:gd name="connsiteY4305" fmla="*/ 4480147 h 4996841"/>
                <a:gd name="connsiteX4306" fmla="*/ 1774791 w 3214184"/>
                <a:gd name="connsiteY4306" fmla="*/ 4479421 h 4996841"/>
                <a:gd name="connsiteX4307" fmla="*/ 1773884 w 3214184"/>
                <a:gd name="connsiteY4307" fmla="*/ 4480570 h 4996841"/>
                <a:gd name="connsiteX4308" fmla="*/ 1773006 w 3214184"/>
                <a:gd name="connsiteY4308" fmla="*/ 4482264 h 4996841"/>
                <a:gd name="connsiteX4309" fmla="*/ 1770798 w 3214184"/>
                <a:gd name="connsiteY4309" fmla="*/ 4482809 h 4996841"/>
                <a:gd name="connsiteX4310" fmla="*/ 1766230 w 3214184"/>
                <a:gd name="connsiteY4310" fmla="*/ 4482809 h 4996841"/>
                <a:gd name="connsiteX4311" fmla="*/ 1760513 w 3214184"/>
                <a:gd name="connsiteY4311" fmla="*/ 4484352 h 4996841"/>
                <a:gd name="connsiteX4312" fmla="*/ 1758244 w 3214184"/>
                <a:gd name="connsiteY4312" fmla="*/ 4484624 h 4996841"/>
                <a:gd name="connsiteX4313" fmla="*/ 1757094 w 3214184"/>
                <a:gd name="connsiteY4313" fmla="*/ 4484443 h 4996841"/>
                <a:gd name="connsiteX4314" fmla="*/ 1756338 w 3214184"/>
                <a:gd name="connsiteY4314" fmla="*/ 4483868 h 4996841"/>
                <a:gd name="connsiteX4315" fmla="*/ 1755914 w 3214184"/>
                <a:gd name="connsiteY4315" fmla="*/ 4482870 h 4996841"/>
                <a:gd name="connsiteX4316" fmla="*/ 1755793 w 3214184"/>
                <a:gd name="connsiteY4316" fmla="*/ 4481478 h 4996841"/>
                <a:gd name="connsiteX4317" fmla="*/ 1756368 w 3214184"/>
                <a:gd name="connsiteY4317" fmla="*/ 4480903 h 4996841"/>
                <a:gd name="connsiteX4318" fmla="*/ 1759000 w 3214184"/>
                <a:gd name="connsiteY4318" fmla="*/ 4480570 h 4996841"/>
                <a:gd name="connsiteX4319" fmla="*/ 1759938 w 3214184"/>
                <a:gd name="connsiteY4319" fmla="*/ 4480147 h 4996841"/>
                <a:gd name="connsiteX4320" fmla="*/ 1759938 w 3214184"/>
                <a:gd name="connsiteY4320" fmla="*/ 4479512 h 4996841"/>
                <a:gd name="connsiteX4321" fmla="*/ 1760361 w 3214184"/>
                <a:gd name="connsiteY4321" fmla="*/ 4476033 h 4996841"/>
                <a:gd name="connsiteX4322" fmla="*/ 1760604 w 3214184"/>
                <a:gd name="connsiteY4322" fmla="*/ 4474792 h 4996841"/>
                <a:gd name="connsiteX4323" fmla="*/ 1761178 w 3214184"/>
                <a:gd name="connsiteY4323" fmla="*/ 4474490 h 4996841"/>
                <a:gd name="connsiteX4324" fmla="*/ 1762418 w 3214184"/>
                <a:gd name="connsiteY4324" fmla="*/ 4473159 h 4996841"/>
                <a:gd name="connsiteX4325" fmla="*/ 1763205 w 3214184"/>
                <a:gd name="connsiteY4325" fmla="*/ 4471767 h 4996841"/>
                <a:gd name="connsiteX4326" fmla="*/ 1762418 w 3214184"/>
                <a:gd name="connsiteY4326" fmla="*/ 4471132 h 4996841"/>
                <a:gd name="connsiteX4327" fmla="*/ 1760119 w 3214184"/>
                <a:gd name="connsiteY4327" fmla="*/ 4470859 h 4996841"/>
                <a:gd name="connsiteX4328" fmla="*/ 1755884 w 3214184"/>
                <a:gd name="connsiteY4328" fmla="*/ 4469377 h 4996841"/>
                <a:gd name="connsiteX4329" fmla="*/ 1738641 w 3214184"/>
                <a:gd name="connsiteY4329" fmla="*/ 4459394 h 4996841"/>
                <a:gd name="connsiteX4330" fmla="*/ 1736916 w 3214184"/>
                <a:gd name="connsiteY4330" fmla="*/ 4459122 h 4996841"/>
                <a:gd name="connsiteX4331" fmla="*/ 1735343 w 3214184"/>
                <a:gd name="connsiteY4331" fmla="*/ 4459122 h 4996841"/>
                <a:gd name="connsiteX4332" fmla="*/ 1733861 w 3214184"/>
                <a:gd name="connsiteY4332" fmla="*/ 4458819 h 4996841"/>
                <a:gd name="connsiteX4333" fmla="*/ 1732409 w 3214184"/>
                <a:gd name="connsiteY4333" fmla="*/ 4457640 h 4996841"/>
                <a:gd name="connsiteX4334" fmla="*/ 1719492 w 3214184"/>
                <a:gd name="connsiteY4334" fmla="*/ 4464507 h 4996841"/>
                <a:gd name="connsiteX4335" fmla="*/ 1717132 w 3214184"/>
                <a:gd name="connsiteY4335" fmla="*/ 4467774 h 4996841"/>
                <a:gd name="connsiteX4336" fmla="*/ 1715619 w 3214184"/>
                <a:gd name="connsiteY4336" fmla="*/ 4471132 h 4996841"/>
                <a:gd name="connsiteX4337" fmla="*/ 1715771 w 3214184"/>
                <a:gd name="connsiteY4337" fmla="*/ 4472977 h 4996841"/>
                <a:gd name="connsiteX4338" fmla="*/ 1717737 w 3214184"/>
                <a:gd name="connsiteY4338" fmla="*/ 4472282 h 4996841"/>
                <a:gd name="connsiteX4339" fmla="*/ 1721760 w 3214184"/>
                <a:gd name="connsiteY4339" fmla="*/ 4467018 h 4996841"/>
                <a:gd name="connsiteX4340" fmla="*/ 1723727 w 3214184"/>
                <a:gd name="connsiteY4340" fmla="*/ 4465747 h 4996841"/>
                <a:gd name="connsiteX4341" fmla="*/ 1724907 w 3214184"/>
                <a:gd name="connsiteY4341" fmla="*/ 4465414 h 4996841"/>
                <a:gd name="connsiteX4342" fmla="*/ 1725966 w 3214184"/>
                <a:gd name="connsiteY4342" fmla="*/ 4464930 h 4996841"/>
                <a:gd name="connsiteX4343" fmla="*/ 1727115 w 3214184"/>
                <a:gd name="connsiteY4343" fmla="*/ 4464930 h 4996841"/>
                <a:gd name="connsiteX4344" fmla="*/ 1729596 w 3214184"/>
                <a:gd name="connsiteY4344" fmla="*/ 4467169 h 4996841"/>
                <a:gd name="connsiteX4345" fmla="*/ 1730745 w 3214184"/>
                <a:gd name="connsiteY4345" fmla="*/ 4467592 h 4996841"/>
                <a:gd name="connsiteX4346" fmla="*/ 1733740 w 3214184"/>
                <a:gd name="connsiteY4346" fmla="*/ 4467592 h 4996841"/>
                <a:gd name="connsiteX4347" fmla="*/ 1733740 w 3214184"/>
                <a:gd name="connsiteY4347" fmla="*/ 4468470 h 4996841"/>
                <a:gd name="connsiteX4348" fmla="*/ 1731834 w 3214184"/>
                <a:gd name="connsiteY4348" fmla="*/ 4469044 h 4996841"/>
                <a:gd name="connsiteX4349" fmla="*/ 1730896 w 3214184"/>
                <a:gd name="connsiteY4349" fmla="*/ 4469589 h 4996841"/>
                <a:gd name="connsiteX4350" fmla="*/ 1730201 w 3214184"/>
                <a:gd name="connsiteY4350" fmla="*/ 4470285 h 4996841"/>
                <a:gd name="connsiteX4351" fmla="*/ 1729958 w 3214184"/>
                <a:gd name="connsiteY4351" fmla="*/ 4471646 h 4996841"/>
                <a:gd name="connsiteX4352" fmla="*/ 1730201 w 3214184"/>
                <a:gd name="connsiteY4352" fmla="*/ 4473159 h 4996841"/>
                <a:gd name="connsiteX4353" fmla="*/ 1730201 w 3214184"/>
                <a:gd name="connsiteY4353" fmla="*/ 4474338 h 4996841"/>
                <a:gd name="connsiteX4354" fmla="*/ 1729202 w 3214184"/>
                <a:gd name="connsiteY4354" fmla="*/ 4474853 h 4996841"/>
                <a:gd name="connsiteX4355" fmla="*/ 1728416 w 3214184"/>
                <a:gd name="connsiteY4355" fmla="*/ 4473219 h 4996841"/>
                <a:gd name="connsiteX4356" fmla="*/ 1727659 w 3214184"/>
                <a:gd name="connsiteY4356" fmla="*/ 4470103 h 4996841"/>
                <a:gd name="connsiteX4357" fmla="*/ 1726510 w 3214184"/>
                <a:gd name="connsiteY4357" fmla="*/ 4467986 h 4996841"/>
                <a:gd name="connsiteX4358" fmla="*/ 1724755 w 3214184"/>
                <a:gd name="connsiteY4358" fmla="*/ 4469377 h 4996841"/>
                <a:gd name="connsiteX4359" fmla="*/ 1724755 w 3214184"/>
                <a:gd name="connsiteY4359" fmla="*/ 4471132 h 4996841"/>
                <a:gd name="connsiteX4360" fmla="*/ 1725572 w 3214184"/>
                <a:gd name="connsiteY4360" fmla="*/ 4473885 h 4996841"/>
                <a:gd name="connsiteX4361" fmla="*/ 1726722 w 3214184"/>
                <a:gd name="connsiteY4361" fmla="*/ 4476396 h 4996841"/>
                <a:gd name="connsiteX4362" fmla="*/ 1727841 w 3214184"/>
                <a:gd name="connsiteY4362" fmla="*/ 4477545 h 4996841"/>
                <a:gd name="connsiteX4363" fmla="*/ 1743360 w 3214184"/>
                <a:gd name="connsiteY4363" fmla="*/ 4474338 h 4996841"/>
                <a:gd name="connsiteX4364" fmla="*/ 1743784 w 3214184"/>
                <a:gd name="connsiteY4364" fmla="*/ 4473855 h 4996841"/>
                <a:gd name="connsiteX4365" fmla="*/ 1744782 w 3214184"/>
                <a:gd name="connsiteY4365" fmla="*/ 4474157 h 4996841"/>
                <a:gd name="connsiteX4366" fmla="*/ 1745689 w 3214184"/>
                <a:gd name="connsiteY4366" fmla="*/ 4475004 h 4996841"/>
                <a:gd name="connsiteX4367" fmla="*/ 1746143 w 3214184"/>
                <a:gd name="connsiteY4367" fmla="*/ 4476153 h 4996841"/>
                <a:gd name="connsiteX4368" fmla="*/ 1745901 w 3214184"/>
                <a:gd name="connsiteY4368" fmla="*/ 4477757 h 4996841"/>
                <a:gd name="connsiteX4369" fmla="*/ 1745236 w 3214184"/>
                <a:gd name="connsiteY4369" fmla="*/ 4478816 h 4996841"/>
                <a:gd name="connsiteX4370" fmla="*/ 1744358 w 3214184"/>
                <a:gd name="connsiteY4370" fmla="*/ 4479572 h 4996841"/>
                <a:gd name="connsiteX4371" fmla="*/ 1742574 w 3214184"/>
                <a:gd name="connsiteY4371" fmla="*/ 4480752 h 4996841"/>
                <a:gd name="connsiteX4372" fmla="*/ 1736523 w 3214184"/>
                <a:gd name="connsiteY4372" fmla="*/ 4483656 h 4996841"/>
                <a:gd name="connsiteX4373" fmla="*/ 1734466 w 3214184"/>
                <a:gd name="connsiteY4373" fmla="*/ 4484140 h 4996841"/>
                <a:gd name="connsiteX4374" fmla="*/ 1733074 w 3214184"/>
                <a:gd name="connsiteY4374" fmla="*/ 4485350 h 4996841"/>
                <a:gd name="connsiteX4375" fmla="*/ 1731955 w 3214184"/>
                <a:gd name="connsiteY4375" fmla="*/ 4485652 h 4996841"/>
                <a:gd name="connsiteX4376" fmla="*/ 1728567 w 3214184"/>
                <a:gd name="connsiteY4376" fmla="*/ 4485471 h 4996841"/>
                <a:gd name="connsiteX4377" fmla="*/ 1727509 w 3214184"/>
                <a:gd name="connsiteY4377" fmla="*/ 4485652 h 4996841"/>
                <a:gd name="connsiteX4378" fmla="*/ 1725421 w 3214184"/>
                <a:gd name="connsiteY4378" fmla="*/ 4486530 h 4996841"/>
                <a:gd name="connsiteX4379" fmla="*/ 1721882 w 3214184"/>
                <a:gd name="connsiteY4379" fmla="*/ 4488829 h 4996841"/>
                <a:gd name="connsiteX4380" fmla="*/ 1719582 w 3214184"/>
                <a:gd name="connsiteY4380" fmla="*/ 4489283 h 4996841"/>
                <a:gd name="connsiteX4381" fmla="*/ 1708329 w 3214184"/>
                <a:gd name="connsiteY4381" fmla="*/ 4489010 h 4996841"/>
                <a:gd name="connsiteX4382" fmla="*/ 1707452 w 3214184"/>
                <a:gd name="connsiteY4382" fmla="*/ 4489283 h 4996841"/>
                <a:gd name="connsiteX4383" fmla="*/ 1706544 w 3214184"/>
                <a:gd name="connsiteY4383" fmla="*/ 4490432 h 4996841"/>
                <a:gd name="connsiteX4384" fmla="*/ 1706635 w 3214184"/>
                <a:gd name="connsiteY4384" fmla="*/ 4491340 h 4996841"/>
                <a:gd name="connsiteX4385" fmla="*/ 1707118 w 3214184"/>
                <a:gd name="connsiteY4385" fmla="*/ 4492247 h 4996841"/>
                <a:gd name="connsiteX4386" fmla="*/ 1707452 w 3214184"/>
                <a:gd name="connsiteY4386" fmla="*/ 4493276 h 4996841"/>
                <a:gd name="connsiteX4387" fmla="*/ 1708147 w 3214184"/>
                <a:gd name="connsiteY4387" fmla="*/ 4494244 h 4996841"/>
                <a:gd name="connsiteX4388" fmla="*/ 1712988 w 3214184"/>
                <a:gd name="connsiteY4388" fmla="*/ 4499024 h 4996841"/>
                <a:gd name="connsiteX4389" fmla="*/ 1719038 w 3214184"/>
                <a:gd name="connsiteY4389" fmla="*/ 4502260 h 4996841"/>
                <a:gd name="connsiteX4390" fmla="*/ 1720853 w 3214184"/>
                <a:gd name="connsiteY4390" fmla="*/ 4502594 h 4996841"/>
                <a:gd name="connsiteX4391" fmla="*/ 1723031 w 3214184"/>
                <a:gd name="connsiteY4391" fmla="*/ 4502321 h 4996841"/>
                <a:gd name="connsiteX4392" fmla="*/ 1726782 w 3214184"/>
                <a:gd name="connsiteY4392" fmla="*/ 4501081 h 4996841"/>
                <a:gd name="connsiteX4393" fmla="*/ 1728840 w 3214184"/>
                <a:gd name="connsiteY4393" fmla="*/ 4500808 h 4996841"/>
                <a:gd name="connsiteX4394" fmla="*/ 1732953 w 3214184"/>
                <a:gd name="connsiteY4394" fmla="*/ 4501534 h 4996841"/>
                <a:gd name="connsiteX4395" fmla="*/ 1744026 w 3214184"/>
                <a:gd name="connsiteY4395" fmla="*/ 4507252 h 4996841"/>
                <a:gd name="connsiteX4396" fmla="*/ 1752556 w 3214184"/>
                <a:gd name="connsiteY4396" fmla="*/ 4509551 h 4996841"/>
                <a:gd name="connsiteX4397" fmla="*/ 1755914 w 3214184"/>
                <a:gd name="connsiteY4397" fmla="*/ 4511820 h 4996841"/>
                <a:gd name="connsiteX4398" fmla="*/ 1759696 w 3214184"/>
                <a:gd name="connsiteY4398" fmla="*/ 4513151 h 4996841"/>
                <a:gd name="connsiteX4399" fmla="*/ 1761148 w 3214184"/>
                <a:gd name="connsiteY4399" fmla="*/ 4514543 h 4996841"/>
                <a:gd name="connsiteX4400" fmla="*/ 1762630 w 3214184"/>
                <a:gd name="connsiteY4400" fmla="*/ 4515269 h 4996841"/>
                <a:gd name="connsiteX4401" fmla="*/ 1764355 w 3214184"/>
                <a:gd name="connsiteY4401" fmla="*/ 4515844 h 4996841"/>
                <a:gd name="connsiteX4402" fmla="*/ 1765716 w 3214184"/>
                <a:gd name="connsiteY4402" fmla="*/ 4516055 h 4996841"/>
                <a:gd name="connsiteX4403" fmla="*/ 1768348 w 3214184"/>
                <a:gd name="connsiteY4403" fmla="*/ 4516963 h 4996841"/>
                <a:gd name="connsiteX4404" fmla="*/ 1777938 w 3214184"/>
                <a:gd name="connsiteY4404" fmla="*/ 4525131 h 4996841"/>
                <a:gd name="connsiteX4405" fmla="*/ 1779843 w 3214184"/>
                <a:gd name="connsiteY4405" fmla="*/ 4527551 h 4996841"/>
                <a:gd name="connsiteX4406" fmla="*/ 1780358 w 3214184"/>
                <a:gd name="connsiteY4406" fmla="*/ 4529971 h 4996841"/>
                <a:gd name="connsiteX4407" fmla="*/ 1778482 w 3214184"/>
                <a:gd name="connsiteY4407" fmla="*/ 4532058 h 4996841"/>
                <a:gd name="connsiteX4408" fmla="*/ 1778482 w 3214184"/>
                <a:gd name="connsiteY4408" fmla="*/ 4532996 h 4996841"/>
                <a:gd name="connsiteX4409" fmla="*/ 1781023 w 3214184"/>
                <a:gd name="connsiteY4409" fmla="*/ 4535810 h 4996841"/>
                <a:gd name="connsiteX4410" fmla="*/ 1784411 w 3214184"/>
                <a:gd name="connsiteY4410" fmla="*/ 4544612 h 4996841"/>
                <a:gd name="connsiteX4411" fmla="*/ 1786438 w 3214184"/>
                <a:gd name="connsiteY4411" fmla="*/ 4548636 h 4996841"/>
                <a:gd name="connsiteX4412" fmla="*/ 1787921 w 3214184"/>
                <a:gd name="connsiteY4412" fmla="*/ 4550088 h 4996841"/>
                <a:gd name="connsiteX4413" fmla="*/ 1792972 w 3214184"/>
                <a:gd name="connsiteY4413" fmla="*/ 4552659 h 4996841"/>
                <a:gd name="connsiteX4414" fmla="*/ 1794485 w 3214184"/>
                <a:gd name="connsiteY4414" fmla="*/ 4554323 h 4996841"/>
                <a:gd name="connsiteX4415" fmla="*/ 1795725 w 3214184"/>
                <a:gd name="connsiteY4415" fmla="*/ 4556138 h 4996841"/>
                <a:gd name="connsiteX4416" fmla="*/ 1797177 w 3214184"/>
                <a:gd name="connsiteY4416" fmla="*/ 4557802 h 4996841"/>
                <a:gd name="connsiteX4417" fmla="*/ 1799235 w 3214184"/>
                <a:gd name="connsiteY4417" fmla="*/ 4558952 h 4996841"/>
                <a:gd name="connsiteX4418" fmla="*/ 1800263 w 3214184"/>
                <a:gd name="connsiteY4418" fmla="*/ 4558044 h 4996841"/>
                <a:gd name="connsiteX4419" fmla="*/ 1801594 w 3214184"/>
                <a:gd name="connsiteY4419" fmla="*/ 4558468 h 4996841"/>
                <a:gd name="connsiteX4420" fmla="*/ 1802986 w 3214184"/>
                <a:gd name="connsiteY4420" fmla="*/ 4559285 h 4996841"/>
                <a:gd name="connsiteX4421" fmla="*/ 1806343 w 3214184"/>
                <a:gd name="connsiteY4421" fmla="*/ 4560494 h 4996841"/>
                <a:gd name="connsiteX4422" fmla="*/ 1807130 w 3214184"/>
                <a:gd name="connsiteY4422" fmla="*/ 4560646 h 4996841"/>
                <a:gd name="connsiteX4423" fmla="*/ 1807795 w 3214184"/>
                <a:gd name="connsiteY4423" fmla="*/ 4560374 h 4996841"/>
                <a:gd name="connsiteX4424" fmla="*/ 1809580 w 3214184"/>
                <a:gd name="connsiteY4424" fmla="*/ 4558922 h 4996841"/>
                <a:gd name="connsiteX4425" fmla="*/ 1812666 w 3214184"/>
                <a:gd name="connsiteY4425" fmla="*/ 4558831 h 4996841"/>
                <a:gd name="connsiteX4426" fmla="*/ 1815479 w 3214184"/>
                <a:gd name="connsiteY4426" fmla="*/ 4559768 h 4996841"/>
                <a:gd name="connsiteX4427" fmla="*/ 1820592 w 3214184"/>
                <a:gd name="connsiteY4427" fmla="*/ 4562400 h 4996841"/>
                <a:gd name="connsiteX4428" fmla="*/ 1823224 w 3214184"/>
                <a:gd name="connsiteY4428" fmla="*/ 4563157 h 4996841"/>
                <a:gd name="connsiteX4429" fmla="*/ 1826521 w 3214184"/>
                <a:gd name="connsiteY4429" fmla="*/ 4563610 h 4996841"/>
                <a:gd name="connsiteX4430" fmla="*/ 1829607 w 3214184"/>
                <a:gd name="connsiteY4430" fmla="*/ 4563217 h 4996841"/>
                <a:gd name="connsiteX4431" fmla="*/ 1831634 w 3214184"/>
                <a:gd name="connsiteY4431" fmla="*/ 4561554 h 4996841"/>
                <a:gd name="connsiteX4432" fmla="*/ 1831876 w 3214184"/>
                <a:gd name="connsiteY4432" fmla="*/ 4558922 h 4996841"/>
                <a:gd name="connsiteX4433" fmla="*/ 1830514 w 3214184"/>
                <a:gd name="connsiteY4433" fmla="*/ 4556532 h 4996841"/>
                <a:gd name="connsiteX4434" fmla="*/ 1828669 w 3214184"/>
                <a:gd name="connsiteY4434" fmla="*/ 4554021 h 4996841"/>
                <a:gd name="connsiteX4435" fmla="*/ 1827428 w 3214184"/>
                <a:gd name="connsiteY4435" fmla="*/ 4550905 h 4996841"/>
                <a:gd name="connsiteX4436" fmla="*/ 1829607 w 3214184"/>
                <a:gd name="connsiteY4436" fmla="*/ 4551812 h 4996841"/>
                <a:gd name="connsiteX4437" fmla="*/ 1834054 w 3214184"/>
                <a:gd name="connsiteY4437" fmla="*/ 4554656 h 4996841"/>
                <a:gd name="connsiteX4438" fmla="*/ 1836111 w 3214184"/>
                <a:gd name="connsiteY4438" fmla="*/ 4555231 h 4996841"/>
                <a:gd name="connsiteX4439" fmla="*/ 1837140 w 3214184"/>
                <a:gd name="connsiteY4439" fmla="*/ 4556138 h 4996841"/>
                <a:gd name="connsiteX4440" fmla="*/ 1842978 w 3214184"/>
                <a:gd name="connsiteY4440" fmla="*/ 4562733 h 4996841"/>
                <a:gd name="connsiteX4441" fmla="*/ 1843310 w 3214184"/>
                <a:gd name="connsiteY4441" fmla="*/ 4563308 h 4996841"/>
                <a:gd name="connsiteX4442" fmla="*/ 1843220 w 3214184"/>
                <a:gd name="connsiteY4442" fmla="*/ 4564155 h 4996841"/>
                <a:gd name="connsiteX4443" fmla="*/ 1842736 w 3214184"/>
                <a:gd name="connsiteY4443" fmla="*/ 4564911 h 4996841"/>
                <a:gd name="connsiteX4444" fmla="*/ 1842161 w 3214184"/>
                <a:gd name="connsiteY4444" fmla="*/ 4565547 h 4996841"/>
                <a:gd name="connsiteX4445" fmla="*/ 1841949 w 3214184"/>
                <a:gd name="connsiteY4445" fmla="*/ 4565970 h 4996841"/>
                <a:gd name="connsiteX4446" fmla="*/ 1842494 w 3214184"/>
                <a:gd name="connsiteY4446" fmla="*/ 4566999 h 4996841"/>
                <a:gd name="connsiteX4447" fmla="*/ 1844127 w 3214184"/>
                <a:gd name="connsiteY4447" fmla="*/ 4568148 h 4996841"/>
                <a:gd name="connsiteX4448" fmla="*/ 1848151 w 3214184"/>
                <a:gd name="connsiteY4448" fmla="*/ 4572414 h 4996841"/>
                <a:gd name="connsiteX4449" fmla="*/ 1849724 w 3214184"/>
                <a:gd name="connsiteY4449" fmla="*/ 4573503 h 4996841"/>
                <a:gd name="connsiteX4450" fmla="*/ 1850934 w 3214184"/>
                <a:gd name="connsiteY4450" fmla="*/ 4573926 h 4996841"/>
                <a:gd name="connsiteX4451" fmla="*/ 1854262 w 3214184"/>
                <a:gd name="connsiteY4451" fmla="*/ 4572807 h 4996841"/>
                <a:gd name="connsiteX4452" fmla="*/ 1855381 w 3214184"/>
                <a:gd name="connsiteY4452" fmla="*/ 4573079 h 4996841"/>
                <a:gd name="connsiteX4453" fmla="*/ 1856047 w 3214184"/>
                <a:gd name="connsiteY4453" fmla="*/ 4577587 h 4996841"/>
                <a:gd name="connsiteX4454" fmla="*/ 1856924 w 3214184"/>
                <a:gd name="connsiteY4454" fmla="*/ 4578676 h 4996841"/>
                <a:gd name="connsiteX4455" fmla="*/ 1860615 w 3214184"/>
                <a:gd name="connsiteY4455" fmla="*/ 4581096 h 4996841"/>
                <a:gd name="connsiteX4456" fmla="*/ 1863095 w 3214184"/>
                <a:gd name="connsiteY4456" fmla="*/ 4584605 h 4996841"/>
                <a:gd name="connsiteX4457" fmla="*/ 1865122 w 3214184"/>
                <a:gd name="connsiteY4457" fmla="*/ 4588901 h 4996841"/>
                <a:gd name="connsiteX4458" fmla="*/ 1867633 w 3214184"/>
                <a:gd name="connsiteY4458" fmla="*/ 4592864 h 4996841"/>
                <a:gd name="connsiteX4459" fmla="*/ 1871626 w 3214184"/>
                <a:gd name="connsiteY4459" fmla="*/ 4595284 h 4996841"/>
                <a:gd name="connsiteX4460" fmla="*/ 1878795 w 3214184"/>
                <a:gd name="connsiteY4460" fmla="*/ 4595556 h 4996841"/>
                <a:gd name="connsiteX4461" fmla="*/ 1879854 w 3214184"/>
                <a:gd name="connsiteY4461" fmla="*/ 4596524 h 4996841"/>
                <a:gd name="connsiteX4462" fmla="*/ 1880914 w 3214184"/>
                <a:gd name="connsiteY4462" fmla="*/ 4598006 h 4996841"/>
                <a:gd name="connsiteX4463" fmla="*/ 1909652 w 3214184"/>
                <a:gd name="connsiteY4463" fmla="*/ 4602453 h 4996841"/>
                <a:gd name="connsiteX4464" fmla="*/ 1919907 w 3214184"/>
                <a:gd name="connsiteY4464" fmla="*/ 4607536 h 4996841"/>
                <a:gd name="connsiteX4465" fmla="*/ 1924203 w 3214184"/>
                <a:gd name="connsiteY4465" fmla="*/ 4608927 h 4996841"/>
                <a:gd name="connsiteX4466" fmla="*/ 1926079 w 3214184"/>
                <a:gd name="connsiteY4466" fmla="*/ 4609956 h 4996841"/>
                <a:gd name="connsiteX4467" fmla="*/ 1927803 w 3214184"/>
                <a:gd name="connsiteY4467" fmla="*/ 4611529 h 4996841"/>
                <a:gd name="connsiteX4468" fmla="*/ 1935880 w 3214184"/>
                <a:gd name="connsiteY4468" fmla="*/ 4621421 h 4996841"/>
                <a:gd name="connsiteX4469" fmla="*/ 1937696 w 3214184"/>
                <a:gd name="connsiteY4469" fmla="*/ 4622873 h 4996841"/>
                <a:gd name="connsiteX4470" fmla="*/ 1939540 w 3214184"/>
                <a:gd name="connsiteY4470" fmla="*/ 4623478 h 4996841"/>
                <a:gd name="connsiteX4471" fmla="*/ 1944078 w 3214184"/>
                <a:gd name="connsiteY4471" fmla="*/ 4624113 h 4996841"/>
                <a:gd name="connsiteX4472" fmla="*/ 1946377 w 3214184"/>
                <a:gd name="connsiteY4472" fmla="*/ 4624960 h 4996841"/>
                <a:gd name="connsiteX4473" fmla="*/ 1948193 w 3214184"/>
                <a:gd name="connsiteY4473" fmla="*/ 4626110 h 4996841"/>
                <a:gd name="connsiteX4474" fmla="*/ 1949251 w 3214184"/>
                <a:gd name="connsiteY4474" fmla="*/ 4627744 h 4996841"/>
                <a:gd name="connsiteX4475" fmla="*/ 1951550 w 3214184"/>
                <a:gd name="connsiteY4475" fmla="*/ 4632281 h 4996841"/>
                <a:gd name="connsiteX4476" fmla="*/ 1952670 w 3214184"/>
                <a:gd name="connsiteY4476" fmla="*/ 4633219 h 4996841"/>
                <a:gd name="connsiteX4477" fmla="*/ 1954908 w 3214184"/>
                <a:gd name="connsiteY4477" fmla="*/ 4633824 h 4996841"/>
                <a:gd name="connsiteX4478" fmla="*/ 1956572 w 3214184"/>
                <a:gd name="connsiteY4478" fmla="*/ 4635367 h 4996841"/>
                <a:gd name="connsiteX4479" fmla="*/ 1959295 w 3214184"/>
                <a:gd name="connsiteY4479" fmla="*/ 4639300 h 4996841"/>
                <a:gd name="connsiteX4480" fmla="*/ 1962138 w 3214184"/>
                <a:gd name="connsiteY4480" fmla="*/ 4642113 h 4996841"/>
                <a:gd name="connsiteX4481" fmla="*/ 1983587 w 3214184"/>
                <a:gd name="connsiteY4481" fmla="*/ 4658449 h 4996841"/>
                <a:gd name="connsiteX4482" fmla="*/ 1989849 w 3214184"/>
                <a:gd name="connsiteY4482" fmla="*/ 4664953 h 4996841"/>
                <a:gd name="connsiteX4483" fmla="*/ 1996474 w 3214184"/>
                <a:gd name="connsiteY4483" fmla="*/ 4674452 h 4996841"/>
                <a:gd name="connsiteX4484" fmla="*/ 2008211 w 3214184"/>
                <a:gd name="connsiteY4484" fmla="*/ 4684949 h 4996841"/>
                <a:gd name="connsiteX4485" fmla="*/ 2012688 w 3214184"/>
                <a:gd name="connsiteY4485" fmla="*/ 4690576 h 4996841"/>
                <a:gd name="connsiteX4486" fmla="*/ 2014261 w 3214184"/>
                <a:gd name="connsiteY4486" fmla="*/ 4691786 h 4996841"/>
                <a:gd name="connsiteX4487" fmla="*/ 2018346 w 3214184"/>
                <a:gd name="connsiteY4487" fmla="*/ 4693329 h 4996841"/>
                <a:gd name="connsiteX4488" fmla="*/ 2019949 w 3214184"/>
                <a:gd name="connsiteY4488" fmla="*/ 4694478 h 4996841"/>
                <a:gd name="connsiteX4489" fmla="*/ 2020705 w 3214184"/>
                <a:gd name="connsiteY4489" fmla="*/ 4695719 h 4996841"/>
                <a:gd name="connsiteX4490" fmla="*/ 2021522 w 3214184"/>
                <a:gd name="connsiteY4490" fmla="*/ 4698472 h 4996841"/>
                <a:gd name="connsiteX4491" fmla="*/ 2022097 w 3214184"/>
                <a:gd name="connsiteY4491" fmla="*/ 4699681 h 4996841"/>
                <a:gd name="connsiteX4492" fmla="*/ 2022702 w 3214184"/>
                <a:gd name="connsiteY4492" fmla="*/ 4700317 h 4996841"/>
                <a:gd name="connsiteX4493" fmla="*/ 2024366 w 3214184"/>
                <a:gd name="connsiteY4493" fmla="*/ 4701224 h 4996841"/>
                <a:gd name="connsiteX4494" fmla="*/ 2026574 w 3214184"/>
                <a:gd name="connsiteY4494" fmla="*/ 4703191 h 4996841"/>
                <a:gd name="connsiteX4495" fmla="*/ 2035680 w 3214184"/>
                <a:gd name="connsiteY4495" fmla="*/ 4707698 h 4996841"/>
                <a:gd name="connsiteX4496" fmla="*/ 2037767 w 3214184"/>
                <a:gd name="connsiteY4496" fmla="*/ 4709483 h 4996841"/>
                <a:gd name="connsiteX4497" fmla="*/ 2039249 w 3214184"/>
                <a:gd name="connsiteY4497" fmla="*/ 4711903 h 4996841"/>
                <a:gd name="connsiteX4498" fmla="*/ 2040581 w 3214184"/>
                <a:gd name="connsiteY4498" fmla="*/ 4715473 h 4996841"/>
                <a:gd name="connsiteX4499" fmla="*/ 2042063 w 3214184"/>
                <a:gd name="connsiteY4499" fmla="*/ 4718316 h 4996841"/>
                <a:gd name="connsiteX4500" fmla="*/ 2044362 w 3214184"/>
                <a:gd name="connsiteY4500" fmla="*/ 4720827 h 4996841"/>
                <a:gd name="connsiteX4501" fmla="*/ 2047327 w 3214184"/>
                <a:gd name="connsiteY4501" fmla="*/ 4722612 h 4996841"/>
                <a:gd name="connsiteX4502" fmla="*/ 2049626 w 3214184"/>
                <a:gd name="connsiteY4502" fmla="*/ 4723066 h 4996841"/>
                <a:gd name="connsiteX4503" fmla="*/ 2049656 w 3214184"/>
                <a:gd name="connsiteY4503" fmla="*/ 4723066 h 4996841"/>
                <a:gd name="connsiteX4504" fmla="*/ 2050200 w 3214184"/>
                <a:gd name="connsiteY4504" fmla="*/ 4720857 h 4996841"/>
                <a:gd name="connsiteX4505" fmla="*/ 2057037 w 3214184"/>
                <a:gd name="connsiteY4505" fmla="*/ 4704492 h 4996841"/>
                <a:gd name="connsiteX4506" fmla="*/ 2058398 w 3214184"/>
                <a:gd name="connsiteY4506" fmla="*/ 4702434 h 4996841"/>
                <a:gd name="connsiteX4507" fmla="*/ 2060788 w 3214184"/>
                <a:gd name="connsiteY4507" fmla="*/ 4700952 h 4996841"/>
                <a:gd name="connsiteX4508" fmla="*/ 2067625 w 3214184"/>
                <a:gd name="connsiteY4508" fmla="*/ 4699288 h 4996841"/>
                <a:gd name="connsiteX4509" fmla="*/ 2074553 w 3214184"/>
                <a:gd name="connsiteY4509" fmla="*/ 4699288 h 4996841"/>
                <a:gd name="connsiteX4510" fmla="*/ 2099359 w 3214184"/>
                <a:gd name="connsiteY4510" fmla="*/ 4707849 h 4996841"/>
                <a:gd name="connsiteX4511" fmla="*/ 2103383 w 3214184"/>
                <a:gd name="connsiteY4511" fmla="*/ 4708303 h 4996841"/>
                <a:gd name="connsiteX4512" fmla="*/ 2106528 w 3214184"/>
                <a:gd name="connsiteY4512" fmla="*/ 4707517 h 4996841"/>
                <a:gd name="connsiteX4513" fmla="*/ 2113033 w 3214184"/>
                <a:gd name="connsiteY4513" fmla="*/ 4704401 h 4996841"/>
                <a:gd name="connsiteX4514" fmla="*/ 2116693 w 3214184"/>
                <a:gd name="connsiteY4514" fmla="*/ 4703977 h 4996841"/>
                <a:gd name="connsiteX4515" fmla="*/ 2119627 w 3214184"/>
                <a:gd name="connsiteY4515" fmla="*/ 4705369 h 4996841"/>
                <a:gd name="connsiteX4516" fmla="*/ 2120535 w 3214184"/>
                <a:gd name="connsiteY4516" fmla="*/ 4705974 h 4996841"/>
                <a:gd name="connsiteX4517" fmla="*/ 2125587 w 3214184"/>
                <a:gd name="connsiteY4517" fmla="*/ 4709543 h 4996841"/>
                <a:gd name="connsiteX4518" fmla="*/ 2135873 w 3214184"/>
                <a:gd name="connsiteY4518" fmla="*/ 4712841 h 4996841"/>
                <a:gd name="connsiteX4519" fmla="*/ 2139109 w 3214184"/>
                <a:gd name="connsiteY4519" fmla="*/ 4714595 h 4996841"/>
                <a:gd name="connsiteX4520" fmla="*/ 2152904 w 3214184"/>
                <a:gd name="connsiteY4520" fmla="*/ 4724790 h 4996841"/>
                <a:gd name="connsiteX4521" fmla="*/ 2155990 w 3214184"/>
                <a:gd name="connsiteY4521" fmla="*/ 4725516 h 4996841"/>
                <a:gd name="connsiteX4522" fmla="*/ 2166457 w 3214184"/>
                <a:gd name="connsiteY4522" fmla="*/ 4724245 h 4996841"/>
                <a:gd name="connsiteX4523" fmla="*/ 2169906 w 3214184"/>
                <a:gd name="connsiteY4523" fmla="*/ 4724911 h 4996841"/>
                <a:gd name="connsiteX4524" fmla="*/ 2173142 w 3214184"/>
                <a:gd name="connsiteY4524" fmla="*/ 4726394 h 4996841"/>
                <a:gd name="connsiteX4525" fmla="*/ 2176228 w 3214184"/>
                <a:gd name="connsiteY4525" fmla="*/ 4728753 h 4996841"/>
                <a:gd name="connsiteX4526" fmla="*/ 2179737 w 3214184"/>
                <a:gd name="connsiteY4526" fmla="*/ 4730145 h 4996841"/>
                <a:gd name="connsiteX4527" fmla="*/ 2186937 w 3214184"/>
                <a:gd name="connsiteY4527" fmla="*/ 4728844 h 4996841"/>
                <a:gd name="connsiteX4528" fmla="*/ 2190022 w 3214184"/>
                <a:gd name="connsiteY4528" fmla="*/ 4729933 h 4996841"/>
                <a:gd name="connsiteX4529" fmla="*/ 2190930 w 3214184"/>
                <a:gd name="connsiteY4529" fmla="*/ 4731173 h 4996841"/>
                <a:gd name="connsiteX4530" fmla="*/ 2192322 w 3214184"/>
                <a:gd name="connsiteY4530" fmla="*/ 4734138 h 4996841"/>
                <a:gd name="connsiteX4531" fmla="*/ 2193260 w 3214184"/>
                <a:gd name="connsiteY4531" fmla="*/ 4735469 h 4996841"/>
                <a:gd name="connsiteX4532" fmla="*/ 2194712 w 3214184"/>
                <a:gd name="connsiteY4532" fmla="*/ 4736497 h 4996841"/>
                <a:gd name="connsiteX4533" fmla="*/ 2199975 w 3214184"/>
                <a:gd name="connsiteY4533" fmla="*/ 4738010 h 4996841"/>
                <a:gd name="connsiteX4534" fmla="*/ 2202607 w 3214184"/>
                <a:gd name="connsiteY4534" fmla="*/ 4739462 h 4996841"/>
                <a:gd name="connsiteX4535" fmla="*/ 2207084 w 3214184"/>
                <a:gd name="connsiteY4535" fmla="*/ 4743697 h 4996841"/>
                <a:gd name="connsiteX4536" fmla="*/ 2209807 w 3214184"/>
                <a:gd name="connsiteY4536" fmla="*/ 4745089 h 4996841"/>
                <a:gd name="connsiteX4537" fmla="*/ 2213467 w 3214184"/>
                <a:gd name="connsiteY4537" fmla="*/ 4745361 h 4996841"/>
                <a:gd name="connsiteX4538" fmla="*/ 2220849 w 3214184"/>
                <a:gd name="connsiteY4538" fmla="*/ 4744454 h 4996841"/>
                <a:gd name="connsiteX4539" fmla="*/ 2224509 w 3214184"/>
                <a:gd name="connsiteY4539" fmla="*/ 4744847 h 4996841"/>
                <a:gd name="connsiteX4540" fmla="*/ 2231044 w 3214184"/>
                <a:gd name="connsiteY4540" fmla="*/ 4746571 h 4996841"/>
                <a:gd name="connsiteX4541" fmla="*/ 2234220 w 3214184"/>
                <a:gd name="connsiteY4541" fmla="*/ 4746874 h 4996841"/>
                <a:gd name="connsiteX4542" fmla="*/ 2241268 w 3214184"/>
                <a:gd name="connsiteY4542" fmla="*/ 4746118 h 4996841"/>
                <a:gd name="connsiteX4543" fmla="*/ 2244172 w 3214184"/>
                <a:gd name="connsiteY4543" fmla="*/ 4746269 h 4996841"/>
                <a:gd name="connsiteX4544" fmla="*/ 2247107 w 3214184"/>
                <a:gd name="connsiteY4544" fmla="*/ 4747025 h 4996841"/>
                <a:gd name="connsiteX4545" fmla="*/ 2250283 w 3214184"/>
                <a:gd name="connsiteY4545" fmla="*/ 4748477 h 4996841"/>
                <a:gd name="connsiteX4546" fmla="*/ 2253460 w 3214184"/>
                <a:gd name="connsiteY4546" fmla="*/ 4749324 h 4996841"/>
                <a:gd name="connsiteX4547" fmla="*/ 2256666 w 3214184"/>
                <a:gd name="connsiteY4547" fmla="*/ 4749506 h 4996841"/>
                <a:gd name="connsiteX4548" fmla="*/ 2259934 w 3214184"/>
                <a:gd name="connsiteY4548" fmla="*/ 4748900 h 4996841"/>
                <a:gd name="connsiteX4549" fmla="*/ 2267859 w 3214184"/>
                <a:gd name="connsiteY4549" fmla="*/ 4744847 h 4996841"/>
                <a:gd name="connsiteX4550" fmla="*/ 2268404 w 3214184"/>
                <a:gd name="connsiteY4550" fmla="*/ 4744544 h 4996841"/>
                <a:gd name="connsiteX4551" fmla="*/ 2271006 w 3214184"/>
                <a:gd name="connsiteY4551" fmla="*/ 4743818 h 4996841"/>
                <a:gd name="connsiteX4552" fmla="*/ 2288007 w 3214184"/>
                <a:gd name="connsiteY4552" fmla="*/ 4742457 h 4996841"/>
                <a:gd name="connsiteX4553" fmla="*/ 2288823 w 3214184"/>
                <a:gd name="connsiteY4553" fmla="*/ 4742578 h 4996841"/>
                <a:gd name="connsiteX4554" fmla="*/ 2294874 w 3214184"/>
                <a:gd name="connsiteY4554" fmla="*/ 4743365 h 4996841"/>
                <a:gd name="connsiteX4555" fmla="*/ 2300592 w 3214184"/>
                <a:gd name="connsiteY4555" fmla="*/ 4746934 h 4996841"/>
                <a:gd name="connsiteX4556" fmla="*/ 2303253 w 3214184"/>
                <a:gd name="connsiteY4556" fmla="*/ 4749354 h 4996841"/>
                <a:gd name="connsiteX4557" fmla="*/ 2306127 w 3214184"/>
                <a:gd name="connsiteY4557" fmla="*/ 4751441 h 4996841"/>
                <a:gd name="connsiteX4558" fmla="*/ 2312268 w 3214184"/>
                <a:gd name="connsiteY4558" fmla="*/ 4754618 h 4996841"/>
                <a:gd name="connsiteX4559" fmla="*/ 2314205 w 3214184"/>
                <a:gd name="connsiteY4559" fmla="*/ 4754981 h 4996841"/>
                <a:gd name="connsiteX4560" fmla="*/ 2315657 w 3214184"/>
                <a:gd name="connsiteY4560" fmla="*/ 4754437 h 4996841"/>
                <a:gd name="connsiteX4561" fmla="*/ 2318379 w 3214184"/>
                <a:gd name="connsiteY4561" fmla="*/ 4752077 h 4996841"/>
                <a:gd name="connsiteX4562" fmla="*/ 2320104 w 3214184"/>
                <a:gd name="connsiteY4562" fmla="*/ 4751321 h 4996841"/>
                <a:gd name="connsiteX4563" fmla="*/ 2323280 w 3214184"/>
                <a:gd name="connsiteY4563" fmla="*/ 4751260 h 4996841"/>
                <a:gd name="connsiteX4564" fmla="*/ 2327969 w 3214184"/>
                <a:gd name="connsiteY4564" fmla="*/ 4749929 h 4996841"/>
                <a:gd name="connsiteX4565" fmla="*/ 2331962 w 3214184"/>
                <a:gd name="connsiteY4565" fmla="*/ 4749989 h 4996841"/>
                <a:gd name="connsiteX4566" fmla="*/ 2335834 w 3214184"/>
                <a:gd name="connsiteY4566" fmla="*/ 4750927 h 4996841"/>
                <a:gd name="connsiteX4567" fmla="*/ 2338647 w 3214184"/>
                <a:gd name="connsiteY4567" fmla="*/ 4752621 h 4996841"/>
                <a:gd name="connsiteX4568" fmla="*/ 2341492 w 3214184"/>
                <a:gd name="connsiteY4568" fmla="*/ 4755072 h 4996841"/>
                <a:gd name="connsiteX4569" fmla="*/ 2344426 w 3214184"/>
                <a:gd name="connsiteY4569" fmla="*/ 4756857 h 4996841"/>
                <a:gd name="connsiteX4570" fmla="*/ 2352987 w 3214184"/>
                <a:gd name="connsiteY4570" fmla="*/ 4759761 h 4996841"/>
                <a:gd name="connsiteX4571" fmla="*/ 2352987 w 3214184"/>
                <a:gd name="connsiteY4571" fmla="*/ 4761455 h 4996841"/>
                <a:gd name="connsiteX4572" fmla="*/ 2352261 w 3214184"/>
                <a:gd name="connsiteY4572" fmla="*/ 4763542 h 4996841"/>
                <a:gd name="connsiteX4573" fmla="*/ 2351959 w 3214184"/>
                <a:gd name="connsiteY4573" fmla="*/ 4765599 h 4996841"/>
                <a:gd name="connsiteX4574" fmla="*/ 2352866 w 3214184"/>
                <a:gd name="connsiteY4574" fmla="*/ 4766900 h 4996841"/>
                <a:gd name="connsiteX4575" fmla="*/ 2357857 w 3214184"/>
                <a:gd name="connsiteY4575" fmla="*/ 4770107 h 4996841"/>
                <a:gd name="connsiteX4576" fmla="*/ 2368657 w 3214184"/>
                <a:gd name="connsiteY4576" fmla="*/ 4779515 h 4996841"/>
                <a:gd name="connsiteX4577" fmla="*/ 2370623 w 3214184"/>
                <a:gd name="connsiteY4577" fmla="*/ 4780513 h 4996841"/>
                <a:gd name="connsiteX4578" fmla="*/ 2372560 w 3214184"/>
                <a:gd name="connsiteY4578" fmla="*/ 4781512 h 4996841"/>
                <a:gd name="connsiteX4579" fmla="*/ 2391860 w 3214184"/>
                <a:gd name="connsiteY4579" fmla="*/ 4786564 h 4996841"/>
                <a:gd name="connsiteX4580" fmla="*/ 2401299 w 3214184"/>
                <a:gd name="connsiteY4580" fmla="*/ 4788984 h 4996841"/>
                <a:gd name="connsiteX4581" fmla="*/ 2405080 w 3214184"/>
                <a:gd name="connsiteY4581" fmla="*/ 4789891 h 4996841"/>
                <a:gd name="connsiteX4582" fmla="*/ 2412007 w 3214184"/>
                <a:gd name="connsiteY4582" fmla="*/ 4793007 h 4996841"/>
                <a:gd name="connsiteX4583" fmla="*/ 2413701 w 3214184"/>
                <a:gd name="connsiteY4583" fmla="*/ 4794368 h 4996841"/>
                <a:gd name="connsiteX4584" fmla="*/ 2417876 w 3214184"/>
                <a:gd name="connsiteY4584" fmla="*/ 4798906 h 4996841"/>
                <a:gd name="connsiteX4585" fmla="*/ 2419782 w 3214184"/>
                <a:gd name="connsiteY4585" fmla="*/ 4799995 h 4996841"/>
                <a:gd name="connsiteX4586" fmla="*/ 2429130 w 3214184"/>
                <a:gd name="connsiteY4586" fmla="*/ 4802113 h 4996841"/>
                <a:gd name="connsiteX4587" fmla="*/ 2431792 w 3214184"/>
                <a:gd name="connsiteY4587" fmla="*/ 4803323 h 4996841"/>
                <a:gd name="connsiteX4588" fmla="*/ 2433607 w 3214184"/>
                <a:gd name="connsiteY4588" fmla="*/ 4804200 h 4996841"/>
                <a:gd name="connsiteX4589" fmla="*/ 2434756 w 3214184"/>
                <a:gd name="connsiteY4589" fmla="*/ 4807860 h 4996841"/>
                <a:gd name="connsiteX4590" fmla="*/ 2432397 w 3214184"/>
                <a:gd name="connsiteY4590" fmla="*/ 4810886 h 4996841"/>
                <a:gd name="connsiteX4591" fmla="*/ 2428888 w 3214184"/>
                <a:gd name="connsiteY4591" fmla="*/ 4813185 h 4996841"/>
                <a:gd name="connsiteX4592" fmla="*/ 2426044 w 3214184"/>
                <a:gd name="connsiteY4592" fmla="*/ 4815726 h 4996841"/>
                <a:gd name="connsiteX4593" fmla="*/ 2425741 w 3214184"/>
                <a:gd name="connsiteY4593" fmla="*/ 4819447 h 4996841"/>
                <a:gd name="connsiteX4594" fmla="*/ 2428586 w 3214184"/>
                <a:gd name="connsiteY4594" fmla="*/ 4822714 h 4996841"/>
                <a:gd name="connsiteX4595" fmla="*/ 2433093 w 3214184"/>
                <a:gd name="connsiteY4595" fmla="*/ 4823864 h 4996841"/>
                <a:gd name="connsiteX4596" fmla="*/ 2438024 w 3214184"/>
                <a:gd name="connsiteY4596" fmla="*/ 4824196 h 4996841"/>
                <a:gd name="connsiteX4597" fmla="*/ 2442108 w 3214184"/>
                <a:gd name="connsiteY4597" fmla="*/ 4825195 h 4996841"/>
                <a:gd name="connsiteX4598" fmla="*/ 2444377 w 3214184"/>
                <a:gd name="connsiteY4598" fmla="*/ 4826798 h 4996841"/>
                <a:gd name="connsiteX4599" fmla="*/ 2445647 w 3214184"/>
                <a:gd name="connsiteY4599" fmla="*/ 4827706 h 4996841"/>
                <a:gd name="connsiteX4600" fmla="*/ 2447553 w 3214184"/>
                <a:gd name="connsiteY4600" fmla="*/ 4828583 h 4996841"/>
                <a:gd name="connsiteX4601" fmla="*/ 2449429 w 3214184"/>
                <a:gd name="connsiteY4601" fmla="*/ 4828310 h 4996841"/>
                <a:gd name="connsiteX4602" fmla="*/ 2450911 w 3214184"/>
                <a:gd name="connsiteY4602" fmla="*/ 4827100 h 4996841"/>
                <a:gd name="connsiteX4603" fmla="*/ 2453422 w 3214184"/>
                <a:gd name="connsiteY4603" fmla="*/ 4823924 h 4996841"/>
                <a:gd name="connsiteX4604" fmla="*/ 2454783 w 3214184"/>
                <a:gd name="connsiteY4604" fmla="*/ 4822563 h 4996841"/>
                <a:gd name="connsiteX4605" fmla="*/ 2459139 w 3214184"/>
                <a:gd name="connsiteY4605" fmla="*/ 4820657 h 4996841"/>
                <a:gd name="connsiteX4606" fmla="*/ 2468759 w 3214184"/>
                <a:gd name="connsiteY4606" fmla="*/ 4820234 h 4996841"/>
                <a:gd name="connsiteX4607" fmla="*/ 2472299 w 3214184"/>
                <a:gd name="connsiteY4607" fmla="*/ 4819265 h 4996841"/>
                <a:gd name="connsiteX4608" fmla="*/ 2473448 w 3214184"/>
                <a:gd name="connsiteY4608" fmla="*/ 4818963 h 4996841"/>
                <a:gd name="connsiteX4609" fmla="*/ 2474900 w 3214184"/>
                <a:gd name="connsiteY4609" fmla="*/ 4817632 h 4996841"/>
                <a:gd name="connsiteX4610" fmla="*/ 2476746 w 3214184"/>
                <a:gd name="connsiteY4610" fmla="*/ 4815847 h 4996841"/>
                <a:gd name="connsiteX4611" fmla="*/ 2478651 w 3214184"/>
                <a:gd name="connsiteY4611" fmla="*/ 4812338 h 4996841"/>
                <a:gd name="connsiteX4612" fmla="*/ 2480981 w 3214184"/>
                <a:gd name="connsiteY4612" fmla="*/ 4809766 h 4996841"/>
                <a:gd name="connsiteX4613" fmla="*/ 2489905 w 3214184"/>
                <a:gd name="connsiteY4613" fmla="*/ 4809585 h 4996841"/>
                <a:gd name="connsiteX4614" fmla="*/ 2493989 w 3214184"/>
                <a:gd name="connsiteY4614" fmla="*/ 4808375 h 4996841"/>
                <a:gd name="connsiteX4615" fmla="*/ 2501824 w 3214184"/>
                <a:gd name="connsiteY4615" fmla="*/ 4804503 h 4996841"/>
                <a:gd name="connsiteX4616" fmla="*/ 2504759 w 3214184"/>
                <a:gd name="connsiteY4616" fmla="*/ 4803746 h 4996841"/>
                <a:gd name="connsiteX4617" fmla="*/ 2509810 w 3214184"/>
                <a:gd name="connsiteY4617" fmla="*/ 4803414 h 4996841"/>
                <a:gd name="connsiteX4618" fmla="*/ 2514075 w 3214184"/>
                <a:gd name="connsiteY4618" fmla="*/ 4803898 h 4996841"/>
                <a:gd name="connsiteX4619" fmla="*/ 2517857 w 3214184"/>
                <a:gd name="connsiteY4619" fmla="*/ 4805047 h 4996841"/>
                <a:gd name="connsiteX4620" fmla="*/ 2518220 w 3214184"/>
                <a:gd name="connsiteY4620" fmla="*/ 4805108 h 4996841"/>
                <a:gd name="connsiteX4621" fmla="*/ 2521971 w 3214184"/>
                <a:gd name="connsiteY4621" fmla="*/ 4807104 h 4996841"/>
                <a:gd name="connsiteX4622" fmla="*/ 2523545 w 3214184"/>
                <a:gd name="connsiteY4622" fmla="*/ 4808284 h 4996841"/>
                <a:gd name="connsiteX4623" fmla="*/ 2526509 w 3214184"/>
                <a:gd name="connsiteY4623" fmla="*/ 4811188 h 4996841"/>
                <a:gd name="connsiteX4624" fmla="*/ 2527719 w 3214184"/>
                <a:gd name="connsiteY4624" fmla="*/ 4812852 h 4996841"/>
                <a:gd name="connsiteX4625" fmla="*/ 2530200 w 3214184"/>
                <a:gd name="connsiteY4625" fmla="*/ 4820203 h 4996841"/>
                <a:gd name="connsiteX4626" fmla="*/ 2531470 w 3214184"/>
                <a:gd name="connsiteY4626" fmla="*/ 4821383 h 4996841"/>
                <a:gd name="connsiteX4627" fmla="*/ 2532347 w 3214184"/>
                <a:gd name="connsiteY4627" fmla="*/ 4820506 h 4996841"/>
                <a:gd name="connsiteX4628" fmla="*/ 2533981 w 3214184"/>
                <a:gd name="connsiteY4628" fmla="*/ 4813608 h 4996841"/>
                <a:gd name="connsiteX4629" fmla="*/ 2536915 w 3214184"/>
                <a:gd name="connsiteY4629" fmla="*/ 4807770 h 4996841"/>
                <a:gd name="connsiteX4630" fmla="*/ 2537520 w 3214184"/>
                <a:gd name="connsiteY4630" fmla="*/ 4805773 h 4996841"/>
                <a:gd name="connsiteX4631" fmla="*/ 2540092 w 3214184"/>
                <a:gd name="connsiteY4631" fmla="*/ 4802597 h 4996841"/>
                <a:gd name="connsiteX4632" fmla="*/ 2544509 w 3214184"/>
                <a:gd name="connsiteY4632" fmla="*/ 4803383 h 4996841"/>
                <a:gd name="connsiteX4633" fmla="*/ 2555490 w 3214184"/>
                <a:gd name="connsiteY4633" fmla="*/ 4810644 h 4996841"/>
                <a:gd name="connsiteX4634" fmla="*/ 2557244 w 3214184"/>
                <a:gd name="connsiteY4634" fmla="*/ 4811430 h 4996841"/>
                <a:gd name="connsiteX4635" fmla="*/ 2559090 w 3214184"/>
                <a:gd name="connsiteY4635" fmla="*/ 4811824 h 4996841"/>
                <a:gd name="connsiteX4636" fmla="*/ 2560995 w 3214184"/>
                <a:gd name="connsiteY4636" fmla="*/ 4811491 h 4996841"/>
                <a:gd name="connsiteX4637" fmla="*/ 2561903 w 3214184"/>
                <a:gd name="connsiteY4637" fmla="*/ 4811098 h 4996841"/>
                <a:gd name="connsiteX4638" fmla="*/ 2564687 w 3214184"/>
                <a:gd name="connsiteY4638" fmla="*/ 4809948 h 4996841"/>
                <a:gd name="connsiteX4639" fmla="*/ 2566623 w 3214184"/>
                <a:gd name="connsiteY4639" fmla="*/ 4809736 h 4996841"/>
                <a:gd name="connsiteX4640" fmla="*/ 2569860 w 3214184"/>
                <a:gd name="connsiteY4640" fmla="*/ 4810886 h 4996841"/>
                <a:gd name="connsiteX4641" fmla="*/ 2572794 w 3214184"/>
                <a:gd name="connsiteY4641" fmla="*/ 4813185 h 4996841"/>
                <a:gd name="connsiteX4642" fmla="*/ 2582656 w 3214184"/>
                <a:gd name="connsiteY4642" fmla="*/ 4824287 h 4996841"/>
                <a:gd name="connsiteX4643" fmla="*/ 2583775 w 3214184"/>
                <a:gd name="connsiteY4643" fmla="*/ 4825981 h 4996841"/>
                <a:gd name="connsiteX4644" fmla="*/ 2584561 w 3214184"/>
                <a:gd name="connsiteY4644" fmla="*/ 4827615 h 4996841"/>
                <a:gd name="connsiteX4645" fmla="*/ 2585711 w 3214184"/>
                <a:gd name="connsiteY4645" fmla="*/ 4829884 h 4996841"/>
                <a:gd name="connsiteX4646" fmla="*/ 2586709 w 3214184"/>
                <a:gd name="connsiteY4646" fmla="*/ 4831336 h 4996841"/>
                <a:gd name="connsiteX4647" fmla="*/ 2590098 w 3214184"/>
                <a:gd name="connsiteY4647" fmla="*/ 4832637 h 4996841"/>
                <a:gd name="connsiteX4648" fmla="*/ 2594333 w 3214184"/>
                <a:gd name="connsiteY4648" fmla="*/ 4832062 h 4996841"/>
                <a:gd name="connsiteX4649" fmla="*/ 2602471 w 3214184"/>
                <a:gd name="connsiteY4649" fmla="*/ 4829823 h 4996841"/>
                <a:gd name="connsiteX4650" fmla="*/ 2608279 w 3214184"/>
                <a:gd name="connsiteY4650" fmla="*/ 4829944 h 4996841"/>
                <a:gd name="connsiteX4651" fmla="*/ 2616719 w 3214184"/>
                <a:gd name="connsiteY4651" fmla="*/ 4831305 h 4996841"/>
                <a:gd name="connsiteX4652" fmla="*/ 2624523 w 3214184"/>
                <a:gd name="connsiteY4652" fmla="*/ 4834179 h 4996841"/>
                <a:gd name="connsiteX4653" fmla="*/ 2628638 w 3214184"/>
                <a:gd name="connsiteY4653" fmla="*/ 4838687 h 4996841"/>
                <a:gd name="connsiteX4654" fmla="*/ 2628638 w 3214184"/>
                <a:gd name="connsiteY4654" fmla="*/ 4838808 h 4996841"/>
                <a:gd name="connsiteX4655" fmla="*/ 2628365 w 3214184"/>
                <a:gd name="connsiteY4655" fmla="*/ 4841682 h 4996841"/>
                <a:gd name="connsiteX4656" fmla="*/ 2616810 w 3214184"/>
                <a:gd name="connsiteY4656" fmla="*/ 4869543 h 4996841"/>
                <a:gd name="connsiteX4657" fmla="*/ 2617808 w 3214184"/>
                <a:gd name="connsiteY4657" fmla="*/ 4872417 h 4996841"/>
                <a:gd name="connsiteX4658" fmla="*/ 2620863 w 3214184"/>
                <a:gd name="connsiteY4658" fmla="*/ 4874232 h 4996841"/>
                <a:gd name="connsiteX4659" fmla="*/ 2624887 w 3214184"/>
                <a:gd name="connsiteY4659" fmla="*/ 4875987 h 4996841"/>
                <a:gd name="connsiteX4660" fmla="*/ 2635928 w 3214184"/>
                <a:gd name="connsiteY4660" fmla="*/ 4883096 h 4996841"/>
                <a:gd name="connsiteX4661" fmla="*/ 2642977 w 3214184"/>
                <a:gd name="connsiteY4661" fmla="*/ 4884760 h 4996841"/>
                <a:gd name="connsiteX4662" fmla="*/ 2644369 w 3214184"/>
                <a:gd name="connsiteY4662" fmla="*/ 4886030 h 4996841"/>
                <a:gd name="connsiteX4663" fmla="*/ 2647212 w 3214184"/>
                <a:gd name="connsiteY4663" fmla="*/ 4892504 h 4996841"/>
                <a:gd name="connsiteX4664" fmla="*/ 2648271 w 3214184"/>
                <a:gd name="connsiteY4664" fmla="*/ 4893896 h 4996841"/>
                <a:gd name="connsiteX4665" fmla="*/ 2649632 w 3214184"/>
                <a:gd name="connsiteY4665" fmla="*/ 4894561 h 4996841"/>
                <a:gd name="connsiteX4666" fmla="*/ 2651539 w 3214184"/>
                <a:gd name="connsiteY4666" fmla="*/ 4894682 h 4996841"/>
                <a:gd name="connsiteX4667" fmla="*/ 2652234 w 3214184"/>
                <a:gd name="connsiteY4667" fmla="*/ 4894410 h 4996841"/>
                <a:gd name="connsiteX4668" fmla="*/ 2653535 w 3214184"/>
                <a:gd name="connsiteY4668" fmla="*/ 4893412 h 4996841"/>
                <a:gd name="connsiteX4669" fmla="*/ 2654412 w 3214184"/>
                <a:gd name="connsiteY4669" fmla="*/ 4893230 h 4996841"/>
                <a:gd name="connsiteX4670" fmla="*/ 2655078 w 3214184"/>
                <a:gd name="connsiteY4670" fmla="*/ 4893533 h 4996841"/>
                <a:gd name="connsiteX4671" fmla="*/ 2656772 w 3214184"/>
                <a:gd name="connsiteY4671" fmla="*/ 4894894 h 4996841"/>
                <a:gd name="connsiteX4672" fmla="*/ 2657589 w 3214184"/>
                <a:gd name="connsiteY4672" fmla="*/ 4895317 h 4996841"/>
                <a:gd name="connsiteX4673" fmla="*/ 2659403 w 3214184"/>
                <a:gd name="connsiteY4673" fmla="*/ 4895196 h 4996841"/>
                <a:gd name="connsiteX4674" fmla="*/ 2660795 w 3214184"/>
                <a:gd name="connsiteY4674" fmla="*/ 4894864 h 4996841"/>
                <a:gd name="connsiteX4675" fmla="*/ 2661793 w 3214184"/>
                <a:gd name="connsiteY4675" fmla="*/ 4895499 h 4996841"/>
                <a:gd name="connsiteX4676" fmla="*/ 2662459 w 3214184"/>
                <a:gd name="connsiteY4676" fmla="*/ 4898191 h 4996841"/>
                <a:gd name="connsiteX4677" fmla="*/ 2664879 w 3214184"/>
                <a:gd name="connsiteY4677" fmla="*/ 4899250 h 4996841"/>
                <a:gd name="connsiteX4678" fmla="*/ 2667965 w 3214184"/>
                <a:gd name="connsiteY4678" fmla="*/ 4899311 h 4996841"/>
                <a:gd name="connsiteX4679" fmla="*/ 2673894 w 3214184"/>
                <a:gd name="connsiteY4679" fmla="*/ 4898161 h 4996841"/>
                <a:gd name="connsiteX4680" fmla="*/ 2673985 w 3214184"/>
                <a:gd name="connsiteY4680" fmla="*/ 4898161 h 4996841"/>
                <a:gd name="connsiteX4681" fmla="*/ 2674802 w 3214184"/>
                <a:gd name="connsiteY4681" fmla="*/ 4897949 h 4996841"/>
                <a:gd name="connsiteX4682" fmla="*/ 2675679 w 3214184"/>
                <a:gd name="connsiteY4682" fmla="*/ 4897859 h 4996841"/>
                <a:gd name="connsiteX4683" fmla="*/ 2676496 w 3214184"/>
                <a:gd name="connsiteY4683" fmla="*/ 4897949 h 4996841"/>
                <a:gd name="connsiteX4684" fmla="*/ 2677494 w 3214184"/>
                <a:gd name="connsiteY4684" fmla="*/ 4898161 h 4996841"/>
                <a:gd name="connsiteX4685" fmla="*/ 2680126 w 3214184"/>
                <a:gd name="connsiteY4685" fmla="*/ 4900127 h 4996841"/>
                <a:gd name="connsiteX4686" fmla="*/ 2684543 w 3214184"/>
                <a:gd name="connsiteY4686" fmla="*/ 4904968 h 4996841"/>
                <a:gd name="connsiteX4687" fmla="*/ 2687416 w 3214184"/>
                <a:gd name="connsiteY4687" fmla="*/ 4906178 h 4996841"/>
                <a:gd name="connsiteX4688" fmla="*/ 2693376 w 3214184"/>
                <a:gd name="connsiteY4688" fmla="*/ 4906631 h 4996841"/>
                <a:gd name="connsiteX4689" fmla="*/ 2695857 w 3214184"/>
                <a:gd name="connsiteY4689" fmla="*/ 4907872 h 4996841"/>
                <a:gd name="connsiteX4690" fmla="*/ 2698277 w 3214184"/>
                <a:gd name="connsiteY4690" fmla="*/ 4910927 h 4996841"/>
                <a:gd name="connsiteX4691" fmla="*/ 2700455 w 3214184"/>
                <a:gd name="connsiteY4691" fmla="*/ 4911472 h 4996841"/>
                <a:gd name="connsiteX4692" fmla="*/ 2703177 w 3214184"/>
                <a:gd name="connsiteY4692" fmla="*/ 4911351 h 4996841"/>
                <a:gd name="connsiteX4693" fmla="*/ 2707836 w 3214184"/>
                <a:gd name="connsiteY4693" fmla="*/ 4911925 h 4996841"/>
                <a:gd name="connsiteX4694" fmla="*/ 2709651 w 3214184"/>
                <a:gd name="connsiteY4694" fmla="*/ 4912954 h 4996841"/>
                <a:gd name="connsiteX4695" fmla="*/ 2710196 w 3214184"/>
                <a:gd name="connsiteY4695" fmla="*/ 4915253 h 4996841"/>
                <a:gd name="connsiteX4696" fmla="*/ 2709742 w 3214184"/>
                <a:gd name="connsiteY4696" fmla="*/ 4920305 h 4996841"/>
                <a:gd name="connsiteX4697" fmla="*/ 2710287 w 3214184"/>
                <a:gd name="connsiteY4697" fmla="*/ 4922423 h 4996841"/>
                <a:gd name="connsiteX4698" fmla="*/ 2712102 w 3214184"/>
                <a:gd name="connsiteY4698" fmla="*/ 4923784 h 4996841"/>
                <a:gd name="connsiteX4699" fmla="*/ 2714007 w 3214184"/>
                <a:gd name="connsiteY4699" fmla="*/ 4923784 h 4996841"/>
                <a:gd name="connsiteX4700" fmla="*/ 2715793 w 3214184"/>
                <a:gd name="connsiteY4700" fmla="*/ 4922725 h 4996841"/>
                <a:gd name="connsiteX4701" fmla="*/ 2719029 w 3214184"/>
                <a:gd name="connsiteY4701" fmla="*/ 4920063 h 4996841"/>
                <a:gd name="connsiteX4702" fmla="*/ 2721087 w 3214184"/>
                <a:gd name="connsiteY4702" fmla="*/ 4919428 h 4996841"/>
                <a:gd name="connsiteX4703" fmla="*/ 2725170 w 3214184"/>
                <a:gd name="connsiteY4703" fmla="*/ 4918641 h 4996841"/>
                <a:gd name="connsiteX4704" fmla="*/ 2726350 w 3214184"/>
                <a:gd name="connsiteY4704" fmla="*/ 4917794 h 4996841"/>
                <a:gd name="connsiteX4705" fmla="*/ 2726955 w 3214184"/>
                <a:gd name="connsiteY4705" fmla="*/ 4917341 h 4996841"/>
                <a:gd name="connsiteX4706" fmla="*/ 2728680 w 3214184"/>
                <a:gd name="connsiteY4706" fmla="*/ 4915737 h 4996841"/>
                <a:gd name="connsiteX4707" fmla="*/ 2729497 w 3214184"/>
                <a:gd name="connsiteY4707" fmla="*/ 4915737 h 4996841"/>
                <a:gd name="connsiteX4708" fmla="*/ 2729889 w 3214184"/>
                <a:gd name="connsiteY4708" fmla="*/ 4917129 h 4996841"/>
                <a:gd name="connsiteX4709" fmla="*/ 2730797 w 3214184"/>
                <a:gd name="connsiteY4709" fmla="*/ 4921969 h 4996841"/>
                <a:gd name="connsiteX4710" fmla="*/ 2731341 w 3214184"/>
                <a:gd name="connsiteY4710" fmla="*/ 4923663 h 4996841"/>
                <a:gd name="connsiteX4711" fmla="*/ 2732340 w 3214184"/>
                <a:gd name="connsiteY4711" fmla="*/ 4925115 h 4996841"/>
                <a:gd name="connsiteX4712" fmla="*/ 2738965 w 3214184"/>
                <a:gd name="connsiteY4712" fmla="*/ 4930712 h 4996841"/>
                <a:gd name="connsiteX4713" fmla="*/ 2740689 w 3214184"/>
                <a:gd name="connsiteY4713" fmla="*/ 4931680 h 4996841"/>
                <a:gd name="connsiteX4714" fmla="*/ 2741960 w 3214184"/>
                <a:gd name="connsiteY4714" fmla="*/ 4932012 h 4996841"/>
                <a:gd name="connsiteX4715" fmla="*/ 2744562 w 3214184"/>
                <a:gd name="connsiteY4715" fmla="*/ 4932315 h 4996841"/>
                <a:gd name="connsiteX4716" fmla="*/ 2745711 w 3214184"/>
                <a:gd name="connsiteY4716" fmla="*/ 4932860 h 4996841"/>
                <a:gd name="connsiteX4717" fmla="*/ 2746195 w 3214184"/>
                <a:gd name="connsiteY4717" fmla="*/ 4933586 h 4996841"/>
                <a:gd name="connsiteX4718" fmla="*/ 2746740 w 3214184"/>
                <a:gd name="connsiteY4718" fmla="*/ 4935854 h 4996841"/>
                <a:gd name="connsiteX4719" fmla="*/ 2747102 w 3214184"/>
                <a:gd name="connsiteY4719" fmla="*/ 4936792 h 4996841"/>
                <a:gd name="connsiteX4720" fmla="*/ 2748464 w 3214184"/>
                <a:gd name="connsiteY4720" fmla="*/ 4938456 h 4996841"/>
                <a:gd name="connsiteX4721" fmla="*/ 2753486 w 3214184"/>
                <a:gd name="connsiteY4721" fmla="*/ 4942389 h 4996841"/>
                <a:gd name="connsiteX4722" fmla="*/ 2755967 w 3214184"/>
                <a:gd name="connsiteY4722" fmla="*/ 4946110 h 4996841"/>
                <a:gd name="connsiteX4723" fmla="*/ 2756873 w 3214184"/>
                <a:gd name="connsiteY4723" fmla="*/ 4949831 h 4996841"/>
                <a:gd name="connsiteX4724" fmla="*/ 2758326 w 3214184"/>
                <a:gd name="connsiteY4724" fmla="*/ 4952099 h 4996841"/>
                <a:gd name="connsiteX4725" fmla="*/ 2758447 w 3214184"/>
                <a:gd name="connsiteY4725" fmla="*/ 4952099 h 4996841"/>
                <a:gd name="connsiteX4726" fmla="*/ 2762561 w 3214184"/>
                <a:gd name="connsiteY4726" fmla="*/ 4951585 h 4996841"/>
                <a:gd name="connsiteX4727" fmla="*/ 2764497 w 3214184"/>
                <a:gd name="connsiteY4727" fmla="*/ 4950859 h 4996841"/>
                <a:gd name="connsiteX4728" fmla="*/ 2766403 w 3214184"/>
                <a:gd name="connsiteY4728" fmla="*/ 4950526 h 4996841"/>
                <a:gd name="connsiteX4729" fmla="*/ 2768218 w 3214184"/>
                <a:gd name="connsiteY4729" fmla="*/ 4950980 h 4996841"/>
                <a:gd name="connsiteX4730" fmla="*/ 2769851 w 3214184"/>
                <a:gd name="connsiteY4730" fmla="*/ 4952674 h 4996841"/>
                <a:gd name="connsiteX4731" fmla="*/ 2770547 w 3214184"/>
                <a:gd name="connsiteY4731" fmla="*/ 4954792 h 4996841"/>
                <a:gd name="connsiteX4732" fmla="*/ 2770911 w 3214184"/>
                <a:gd name="connsiteY4732" fmla="*/ 4956879 h 4996841"/>
                <a:gd name="connsiteX4733" fmla="*/ 2771606 w 3214184"/>
                <a:gd name="connsiteY4733" fmla="*/ 4958694 h 4996841"/>
                <a:gd name="connsiteX4734" fmla="*/ 2773361 w 3214184"/>
                <a:gd name="connsiteY4734" fmla="*/ 4959904 h 4996841"/>
                <a:gd name="connsiteX4735" fmla="*/ 2773603 w 3214184"/>
                <a:gd name="connsiteY4735" fmla="*/ 4960116 h 4996841"/>
                <a:gd name="connsiteX4736" fmla="*/ 2774389 w 3214184"/>
                <a:gd name="connsiteY4736" fmla="*/ 4960872 h 4996841"/>
                <a:gd name="connsiteX4737" fmla="*/ 2774843 w 3214184"/>
                <a:gd name="connsiteY4737" fmla="*/ 4961961 h 4996841"/>
                <a:gd name="connsiteX4738" fmla="*/ 2775206 w 3214184"/>
                <a:gd name="connsiteY4738" fmla="*/ 4963141 h 4996841"/>
                <a:gd name="connsiteX4739" fmla="*/ 2775750 w 3214184"/>
                <a:gd name="connsiteY4739" fmla="*/ 4964381 h 4996841"/>
                <a:gd name="connsiteX4740" fmla="*/ 2778866 w 3214184"/>
                <a:gd name="connsiteY4740" fmla="*/ 4967981 h 4996841"/>
                <a:gd name="connsiteX4741" fmla="*/ 2779623 w 3214184"/>
                <a:gd name="connsiteY4741" fmla="*/ 4969464 h 4996841"/>
                <a:gd name="connsiteX4742" fmla="*/ 2779986 w 3214184"/>
                <a:gd name="connsiteY4742" fmla="*/ 4972459 h 4996841"/>
                <a:gd name="connsiteX4743" fmla="*/ 2779835 w 3214184"/>
                <a:gd name="connsiteY4743" fmla="*/ 4978902 h 4996841"/>
                <a:gd name="connsiteX4744" fmla="*/ 2780833 w 3214184"/>
                <a:gd name="connsiteY4744" fmla="*/ 4981716 h 4996841"/>
                <a:gd name="connsiteX4745" fmla="*/ 2782617 w 3214184"/>
                <a:gd name="connsiteY4745" fmla="*/ 4983349 h 4996841"/>
                <a:gd name="connsiteX4746" fmla="*/ 2790271 w 3214184"/>
                <a:gd name="connsiteY4746" fmla="*/ 4987645 h 4996841"/>
                <a:gd name="connsiteX4747" fmla="*/ 2792540 w 3214184"/>
                <a:gd name="connsiteY4747" fmla="*/ 4988401 h 4996841"/>
                <a:gd name="connsiteX4748" fmla="*/ 2793417 w 3214184"/>
                <a:gd name="connsiteY4748" fmla="*/ 4988704 h 4996841"/>
                <a:gd name="connsiteX4749" fmla="*/ 2803824 w 3214184"/>
                <a:gd name="connsiteY4749" fmla="*/ 4989611 h 4996841"/>
                <a:gd name="connsiteX4750" fmla="*/ 2806002 w 3214184"/>
                <a:gd name="connsiteY4750" fmla="*/ 4990337 h 4996841"/>
                <a:gd name="connsiteX4751" fmla="*/ 2808846 w 3214184"/>
                <a:gd name="connsiteY4751" fmla="*/ 4993967 h 4996841"/>
                <a:gd name="connsiteX4752" fmla="*/ 2810691 w 3214184"/>
                <a:gd name="connsiteY4752" fmla="*/ 4995299 h 4996841"/>
                <a:gd name="connsiteX4753" fmla="*/ 2812749 w 3214184"/>
                <a:gd name="connsiteY4753" fmla="*/ 4995299 h 4996841"/>
                <a:gd name="connsiteX4754" fmla="*/ 2816288 w 3214184"/>
                <a:gd name="connsiteY4754" fmla="*/ 4993151 h 4996841"/>
                <a:gd name="connsiteX4755" fmla="*/ 2818223 w 3214184"/>
                <a:gd name="connsiteY4755" fmla="*/ 4992425 h 4996841"/>
                <a:gd name="connsiteX4756" fmla="*/ 2820281 w 3214184"/>
                <a:gd name="connsiteY4756" fmla="*/ 4992636 h 4996841"/>
                <a:gd name="connsiteX4757" fmla="*/ 2825515 w 3214184"/>
                <a:gd name="connsiteY4757" fmla="*/ 4995087 h 4996841"/>
                <a:gd name="connsiteX4758" fmla="*/ 2828540 w 3214184"/>
                <a:gd name="connsiteY4758" fmla="*/ 4996478 h 4996841"/>
                <a:gd name="connsiteX4759" fmla="*/ 2830475 w 3214184"/>
                <a:gd name="connsiteY4759" fmla="*/ 4996841 h 4996841"/>
                <a:gd name="connsiteX4760" fmla="*/ 2837464 w 3214184"/>
                <a:gd name="connsiteY4760" fmla="*/ 4996267 h 4996841"/>
                <a:gd name="connsiteX4761" fmla="*/ 2839037 w 3214184"/>
                <a:gd name="connsiteY4761" fmla="*/ 4996145 h 4996841"/>
                <a:gd name="connsiteX4762" fmla="*/ 2843272 w 3214184"/>
                <a:gd name="connsiteY4762" fmla="*/ 4994936 h 4996841"/>
                <a:gd name="connsiteX4763" fmla="*/ 2845631 w 3214184"/>
                <a:gd name="connsiteY4763" fmla="*/ 4993574 h 4996841"/>
                <a:gd name="connsiteX4764" fmla="*/ 2846085 w 3214184"/>
                <a:gd name="connsiteY4764" fmla="*/ 4992364 h 4996841"/>
                <a:gd name="connsiteX4765" fmla="*/ 2845601 w 3214184"/>
                <a:gd name="connsiteY4765" fmla="*/ 4990821 h 4996841"/>
                <a:gd name="connsiteX4766" fmla="*/ 2845117 w 3214184"/>
                <a:gd name="connsiteY4766" fmla="*/ 4988280 h 4996841"/>
                <a:gd name="connsiteX4767" fmla="*/ 2845450 w 3214184"/>
                <a:gd name="connsiteY4767" fmla="*/ 4985739 h 4996841"/>
                <a:gd name="connsiteX4768" fmla="*/ 2846388 w 3214184"/>
                <a:gd name="connsiteY4768" fmla="*/ 4984529 h 4996841"/>
                <a:gd name="connsiteX4769" fmla="*/ 2847719 w 3214184"/>
                <a:gd name="connsiteY4769" fmla="*/ 4983652 h 4996841"/>
                <a:gd name="connsiteX4770" fmla="*/ 2849201 w 3214184"/>
                <a:gd name="connsiteY4770" fmla="*/ 4982018 h 4996841"/>
                <a:gd name="connsiteX4771" fmla="*/ 2850078 w 3214184"/>
                <a:gd name="connsiteY4771" fmla="*/ 4979780 h 4996841"/>
                <a:gd name="connsiteX4772" fmla="*/ 2850533 w 3214184"/>
                <a:gd name="connsiteY4772" fmla="*/ 4977843 h 4996841"/>
                <a:gd name="connsiteX4773" fmla="*/ 2851591 w 3214184"/>
                <a:gd name="connsiteY4773" fmla="*/ 4976815 h 4996841"/>
                <a:gd name="connsiteX4774" fmla="*/ 2854193 w 3214184"/>
                <a:gd name="connsiteY4774" fmla="*/ 4977208 h 4996841"/>
                <a:gd name="connsiteX4775" fmla="*/ 2856462 w 3214184"/>
                <a:gd name="connsiteY4775" fmla="*/ 4976028 h 4996841"/>
                <a:gd name="connsiteX4776" fmla="*/ 2859789 w 3214184"/>
                <a:gd name="connsiteY4776" fmla="*/ 4967225 h 4996841"/>
                <a:gd name="connsiteX4777" fmla="*/ 2861665 w 3214184"/>
                <a:gd name="connsiteY4777" fmla="*/ 4963807 h 4996841"/>
                <a:gd name="connsiteX4778" fmla="*/ 2864992 w 3214184"/>
                <a:gd name="connsiteY4778" fmla="*/ 4961931 h 4996841"/>
                <a:gd name="connsiteX4779" fmla="*/ 2876609 w 3214184"/>
                <a:gd name="connsiteY4779" fmla="*/ 4959844 h 4996841"/>
                <a:gd name="connsiteX4780" fmla="*/ 2879573 w 3214184"/>
                <a:gd name="connsiteY4780" fmla="*/ 4958361 h 4996841"/>
                <a:gd name="connsiteX4781" fmla="*/ 2884837 w 3214184"/>
                <a:gd name="connsiteY4781" fmla="*/ 4954156 h 4996841"/>
                <a:gd name="connsiteX4782" fmla="*/ 2893520 w 3214184"/>
                <a:gd name="connsiteY4782" fmla="*/ 4949165 h 4996841"/>
                <a:gd name="connsiteX4783" fmla="*/ 2895819 w 3214184"/>
                <a:gd name="connsiteY4783" fmla="*/ 4946866 h 4996841"/>
                <a:gd name="connsiteX4784" fmla="*/ 2897876 w 3214184"/>
                <a:gd name="connsiteY4784" fmla="*/ 4943326 h 4996841"/>
                <a:gd name="connsiteX4785" fmla="*/ 2902111 w 3214184"/>
                <a:gd name="connsiteY4785" fmla="*/ 4932617 h 4996841"/>
                <a:gd name="connsiteX4786" fmla="*/ 2902777 w 3214184"/>
                <a:gd name="connsiteY4786" fmla="*/ 4931771 h 4996841"/>
                <a:gd name="connsiteX4787" fmla="*/ 2909704 w 3214184"/>
                <a:gd name="connsiteY4787" fmla="*/ 4923542 h 4996841"/>
                <a:gd name="connsiteX4788" fmla="*/ 2914514 w 3214184"/>
                <a:gd name="connsiteY4788" fmla="*/ 4916372 h 4996841"/>
                <a:gd name="connsiteX4789" fmla="*/ 2911912 w 3214184"/>
                <a:gd name="connsiteY4789" fmla="*/ 4912621 h 4996841"/>
                <a:gd name="connsiteX4790" fmla="*/ 2907586 w 3214184"/>
                <a:gd name="connsiteY4790" fmla="*/ 4910413 h 4996841"/>
                <a:gd name="connsiteX4791" fmla="*/ 2902806 w 3214184"/>
                <a:gd name="connsiteY4791" fmla="*/ 4909505 h 4996841"/>
                <a:gd name="connsiteX4792" fmla="*/ 2898148 w 3214184"/>
                <a:gd name="connsiteY4792" fmla="*/ 4907720 h 4996841"/>
                <a:gd name="connsiteX4793" fmla="*/ 2895184 w 3214184"/>
                <a:gd name="connsiteY4793" fmla="*/ 4904998 h 4996841"/>
                <a:gd name="connsiteX4794" fmla="*/ 2888952 w 3214184"/>
                <a:gd name="connsiteY4794" fmla="*/ 4892383 h 4996841"/>
                <a:gd name="connsiteX4795" fmla="*/ 2888014 w 3214184"/>
                <a:gd name="connsiteY4795" fmla="*/ 4889691 h 4996841"/>
                <a:gd name="connsiteX4796" fmla="*/ 2887591 w 3214184"/>
                <a:gd name="connsiteY4796" fmla="*/ 4886998 h 4996841"/>
                <a:gd name="connsiteX4797" fmla="*/ 2886834 w 3214184"/>
                <a:gd name="connsiteY4797" fmla="*/ 4884427 h 4996841"/>
                <a:gd name="connsiteX4798" fmla="*/ 2885019 w 3214184"/>
                <a:gd name="connsiteY4798" fmla="*/ 4882158 h 4996841"/>
                <a:gd name="connsiteX4799" fmla="*/ 2881359 w 3214184"/>
                <a:gd name="connsiteY4799" fmla="*/ 4878982 h 4996841"/>
                <a:gd name="connsiteX4800" fmla="*/ 2878605 w 3214184"/>
                <a:gd name="connsiteY4800" fmla="*/ 4875412 h 4996841"/>
                <a:gd name="connsiteX4801" fmla="*/ 2865869 w 3214184"/>
                <a:gd name="connsiteY4801" fmla="*/ 4853631 h 4996841"/>
                <a:gd name="connsiteX4802" fmla="*/ 2864146 w 3214184"/>
                <a:gd name="connsiteY4802" fmla="*/ 4852028 h 4996841"/>
                <a:gd name="connsiteX4803" fmla="*/ 2858579 w 3214184"/>
                <a:gd name="connsiteY4803" fmla="*/ 4848246 h 4996841"/>
                <a:gd name="connsiteX4804" fmla="*/ 2855493 w 3214184"/>
                <a:gd name="connsiteY4804" fmla="*/ 4844918 h 4996841"/>
                <a:gd name="connsiteX4805" fmla="*/ 2850018 w 3214184"/>
                <a:gd name="connsiteY4805" fmla="*/ 4837235 h 4996841"/>
                <a:gd name="connsiteX4806" fmla="*/ 2842909 w 3214184"/>
                <a:gd name="connsiteY4806" fmla="*/ 4824287 h 4996841"/>
                <a:gd name="connsiteX4807" fmla="*/ 2839854 w 3214184"/>
                <a:gd name="connsiteY4807" fmla="*/ 4821746 h 4996841"/>
                <a:gd name="connsiteX4808" fmla="*/ 2831232 w 3214184"/>
                <a:gd name="connsiteY4808" fmla="*/ 4817783 h 4996841"/>
                <a:gd name="connsiteX4809" fmla="*/ 2828781 w 3214184"/>
                <a:gd name="connsiteY4809" fmla="*/ 4814486 h 4996841"/>
                <a:gd name="connsiteX4810" fmla="*/ 2827571 w 3214184"/>
                <a:gd name="connsiteY4810" fmla="*/ 4810250 h 4996841"/>
                <a:gd name="connsiteX4811" fmla="*/ 2827571 w 3214184"/>
                <a:gd name="connsiteY4811" fmla="*/ 4805289 h 4996841"/>
                <a:gd name="connsiteX4812" fmla="*/ 2827693 w 3214184"/>
                <a:gd name="connsiteY4812" fmla="*/ 4803898 h 4996841"/>
                <a:gd name="connsiteX4813" fmla="*/ 2828146 w 3214184"/>
                <a:gd name="connsiteY4813" fmla="*/ 4802657 h 4996841"/>
                <a:gd name="connsiteX4814" fmla="*/ 2827541 w 3214184"/>
                <a:gd name="connsiteY4814" fmla="*/ 4802657 h 4996841"/>
                <a:gd name="connsiteX4815" fmla="*/ 2827662 w 3214184"/>
                <a:gd name="connsiteY4815" fmla="*/ 4800600 h 4996841"/>
                <a:gd name="connsiteX4816" fmla="*/ 2826997 w 3214184"/>
                <a:gd name="connsiteY4816" fmla="*/ 4794490 h 4996841"/>
                <a:gd name="connsiteX4817" fmla="*/ 2827148 w 3214184"/>
                <a:gd name="connsiteY4817" fmla="*/ 4793189 h 4996841"/>
                <a:gd name="connsiteX4818" fmla="*/ 2826785 w 3214184"/>
                <a:gd name="connsiteY4818" fmla="*/ 4792493 h 4996841"/>
                <a:gd name="connsiteX4819" fmla="*/ 2826180 w 3214184"/>
                <a:gd name="connsiteY4819" fmla="*/ 4789468 h 4996841"/>
                <a:gd name="connsiteX4820" fmla="*/ 2825817 w 3214184"/>
                <a:gd name="connsiteY4820" fmla="*/ 4788772 h 4996841"/>
                <a:gd name="connsiteX4821" fmla="*/ 2818133 w 3214184"/>
                <a:gd name="connsiteY4821" fmla="*/ 4783992 h 4996841"/>
                <a:gd name="connsiteX4822" fmla="*/ 2816530 w 3214184"/>
                <a:gd name="connsiteY4822" fmla="*/ 4782449 h 4996841"/>
                <a:gd name="connsiteX4823" fmla="*/ 2815864 w 3214184"/>
                <a:gd name="connsiteY4823" fmla="*/ 4780664 h 4996841"/>
                <a:gd name="connsiteX4824" fmla="*/ 2814957 w 3214184"/>
                <a:gd name="connsiteY4824" fmla="*/ 4779273 h 4996841"/>
                <a:gd name="connsiteX4825" fmla="*/ 2808937 w 3214184"/>
                <a:gd name="connsiteY4825" fmla="*/ 4776792 h 4996841"/>
                <a:gd name="connsiteX4826" fmla="*/ 2802070 w 3214184"/>
                <a:gd name="connsiteY4826" fmla="*/ 4769411 h 4996841"/>
                <a:gd name="connsiteX4827" fmla="*/ 2801162 w 3214184"/>
                <a:gd name="connsiteY4827" fmla="*/ 4761848 h 4996841"/>
                <a:gd name="connsiteX4828" fmla="*/ 2801374 w 3214184"/>
                <a:gd name="connsiteY4828" fmla="*/ 4759428 h 4996841"/>
                <a:gd name="connsiteX4829" fmla="*/ 2801827 w 3214184"/>
                <a:gd name="connsiteY4829" fmla="*/ 4758853 h 4996841"/>
                <a:gd name="connsiteX4830" fmla="*/ 2803522 w 3214184"/>
                <a:gd name="connsiteY4830" fmla="*/ 4757159 h 4996841"/>
                <a:gd name="connsiteX4831" fmla="*/ 2804157 w 3214184"/>
                <a:gd name="connsiteY4831" fmla="*/ 4755979 h 4996841"/>
                <a:gd name="connsiteX4832" fmla="*/ 2804157 w 3214184"/>
                <a:gd name="connsiteY4832" fmla="*/ 4754618 h 4996841"/>
                <a:gd name="connsiteX4833" fmla="*/ 2803793 w 3214184"/>
                <a:gd name="connsiteY4833" fmla="*/ 4753257 h 4996841"/>
                <a:gd name="connsiteX4834" fmla="*/ 2803703 w 3214184"/>
                <a:gd name="connsiteY4834" fmla="*/ 4751865 h 4996841"/>
                <a:gd name="connsiteX4835" fmla="*/ 2804489 w 3214184"/>
                <a:gd name="connsiteY4835" fmla="*/ 4750352 h 4996841"/>
                <a:gd name="connsiteX4836" fmla="*/ 2804731 w 3214184"/>
                <a:gd name="connsiteY4836" fmla="*/ 4749263 h 4996841"/>
                <a:gd name="connsiteX4837" fmla="*/ 2804036 w 3214184"/>
                <a:gd name="connsiteY4837" fmla="*/ 4746511 h 4996841"/>
                <a:gd name="connsiteX4838" fmla="*/ 2804489 w 3214184"/>
                <a:gd name="connsiteY4838" fmla="*/ 4745180 h 4996841"/>
                <a:gd name="connsiteX4839" fmla="*/ 2806547 w 3214184"/>
                <a:gd name="connsiteY4839" fmla="*/ 4742306 h 4996841"/>
                <a:gd name="connsiteX4840" fmla="*/ 2807666 w 3214184"/>
                <a:gd name="connsiteY4840" fmla="*/ 4741307 h 4996841"/>
                <a:gd name="connsiteX4841" fmla="*/ 2810873 w 3214184"/>
                <a:gd name="connsiteY4841" fmla="*/ 4739492 h 4996841"/>
                <a:gd name="connsiteX4842" fmla="*/ 2812476 w 3214184"/>
                <a:gd name="connsiteY4842" fmla="*/ 4738161 h 4996841"/>
                <a:gd name="connsiteX4843" fmla="*/ 2813414 w 3214184"/>
                <a:gd name="connsiteY4843" fmla="*/ 4735650 h 4996841"/>
                <a:gd name="connsiteX4844" fmla="*/ 2814019 w 3214184"/>
                <a:gd name="connsiteY4844" fmla="*/ 4735045 h 4996841"/>
                <a:gd name="connsiteX4845" fmla="*/ 2814503 w 3214184"/>
                <a:gd name="connsiteY4845" fmla="*/ 4734168 h 4996841"/>
                <a:gd name="connsiteX4846" fmla="*/ 2814503 w 3214184"/>
                <a:gd name="connsiteY4846" fmla="*/ 4732565 h 4996841"/>
                <a:gd name="connsiteX4847" fmla="*/ 2814231 w 3214184"/>
                <a:gd name="connsiteY4847" fmla="*/ 4731415 h 4996841"/>
                <a:gd name="connsiteX4848" fmla="*/ 2813686 w 3214184"/>
                <a:gd name="connsiteY4848" fmla="*/ 4730326 h 4996841"/>
                <a:gd name="connsiteX4849" fmla="*/ 2812990 w 3214184"/>
                <a:gd name="connsiteY4849" fmla="*/ 4729842 h 4996841"/>
                <a:gd name="connsiteX4850" fmla="*/ 2811356 w 3214184"/>
                <a:gd name="connsiteY4850" fmla="*/ 4730871 h 4996841"/>
                <a:gd name="connsiteX4851" fmla="*/ 2809360 w 3214184"/>
                <a:gd name="connsiteY4851" fmla="*/ 4731476 h 4996841"/>
                <a:gd name="connsiteX4852" fmla="*/ 2806849 w 3214184"/>
                <a:gd name="connsiteY4852" fmla="*/ 4735136 h 4996841"/>
                <a:gd name="connsiteX4853" fmla="*/ 2805245 w 3214184"/>
                <a:gd name="connsiteY4853" fmla="*/ 4734561 h 4996841"/>
                <a:gd name="connsiteX4854" fmla="*/ 2804580 w 3214184"/>
                <a:gd name="connsiteY4854" fmla="*/ 4732716 h 4996841"/>
                <a:gd name="connsiteX4855" fmla="*/ 2804731 w 3214184"/>
                <a:gd name="connsiteY4855" fmla="*/ 4730356 h 4996841"/>
                <a:gd name="connsiteX4856" fmla="*/ 2805548 w 3214184"/>
                <a:gd name="connsiteY4856" fmla="*/ 4728209 h 4996841"/>
                <a:gd name="connsiteX4857" fmla="*/ 2804187 w 3214184"/>
                <a:gd name="connsiteY4857" fmla="*/ 4724004 h 4996841"/>
                <a:gd name="connsiteX4858" fmla="*/ 2804066 w 3214184"/>
                <a:gd name="connsiteY4858" fmla="*/ 4718619 h 4996841"/>
                <a:gd name="connsiteX4859" fmla="*/ 2804974 w 3214184"/>
                <a:gd name="connsiteY4859" fmla="*/ 4713416 h 4996841"/>
                <a:gd name="connsiteX4860" fmla="*/ 2807847 w 3214184"/>
                <a:gd name="connsiteY4860" fmla="*/ 4706155 h 4996841"/>
                <a:gd name="connsiteX4861" fmla="*/ 2810268 w 3214184"/>
                <a:gd name="connsiteY4861" fmla="*/ 4692451 h 4996841"/>
                <a:gd name="connsiteX4862" fmla="*/ 2816076 w 3214184"/>
                <a:gd name="connsiteY4862" fmla="*/ 4674845 h 4996841"/>
                <a:gd name="connsiteX4863" fmla="*/ 2820371 w 3214184"/>
                <a:gd name="connsiteY4863" fmla="*/ 4666617 h 4996841"/>
                <a:gd name="connsiteX4864" fmla="*/ 2826180 w 3214184"/>
                <a:gd name="connsiteY4864" fmla="*/ 4660899 h 4996841"/>
                <a:gd name="connsiteX4865" fmla="*/ 2823790 w 3214184"/>
                <a:gd name="connsiteY4865" fmla="*/ 4659114 h 4996841"/>
                <a:gd name="connsiteX4866" fmla="*/ 2821279 w 3214184"/>
                <a:gd name="connsiteY4866" fmla="*/ 4658055 h 4996841"/>
                <a:gd name="connsiteX4867" fmla="*/ 2818526 w 3214184"/>
                <a:gd name="connsiteY4867" fmla="*/ 4657602 h 4996841"/>
                <a:gd name="connsiteX4868" fmla="*/ 2815531 w 3214184"/>
                <a:gd name="connsiteY4868" fmla="*/ 4657481 h 4996841"/>
                <a:gd name="connsiteX4869" fmla="*/ 2814775 w 3214184"/>
                <a:gd name="connsiteY4869" fmla="*/ 4657874 h 4996841"/>
                <a:gd name="connsiteX4870" fmla="*/ 2811387 w 3214184"/>
                <a:gd name="connsiteY4870" fmla="*/ 4660536 h 4996841"/>
                <a:gd name="connsiteX4871" fmla="*/ 2810359 w 3214184"/>
                <a:gd name="connsiteY4871" fmla="*/ 4662140 h 4996841"/>
                <a:gd name="connsiteX4872" fmla="*/ 2810056 w 3214184"/>
                <a:gd name="connsiteY4872" fmla="*/ 4663470 h 4996841"/>
                <a:gd name="connsiteX4873" fmla="*/ 2810268 w 3214184"/>
                <a:gd name="connsiteY4873" fmla="*/ 4666345 h 4996841"/>
                <a:gd name="connsiteX4874" fmla="*/ 2809995 w 3214184"/>
                <a:gd name="connsiteY4874" fmla="*/ 4669884 h 4996841"/>
                <a:gd name="connsiteX4875" fmla="*/ 2809299 w 3214184"/>
                <a:gd name="connsiteY4875" fmla="*/ 4673544 h 4996841"/>
                <a:gd name="connsiteX4876" fmla="*/ 2808150 w 3214184"/>
                <a:gd name="connsiteY4876" fmla="*/ 4677023 h 4996841"/>
                <a:gd name="connsiteX4877" fmla="*/ 2806547 w 3214184"/>
                <a:gd name="connsiteY4877" fmla="*/ 4679837 h 4996841"/>
                <a:gd name="connsiteX4878" fmla="*/ 2806153 w 3214184"/>
                <a:gd name="connsiteY4878" fmla="*/ 4681319 h 4996841"/>
                <a:gd name="connsiteX4879" fmla="*/ 2806638 w 3214184"/>
                <a:gd name="connsiteY4879" fmla="*/ 4685070 h 4996841"/>
                <a:gd name="connsiteX4880" fmla="*/ 2805881 w 3214184"/>
                <a:gd name="connsiteY4880" fmla="*/ 4686885 h 4996841"/>
                <a:gd name="connsiteX4881" fmla="*/ 2804762 w 3214184"/>
                <a:gd name="connsiteY4881" fmla="*/ 4688216 h 4996841"/>
                <a:gd name="connsiteX4882" fmla="*/ 2804005 w 3214184"/>
                <a:gd name="connsiteY4882" fmla="*/ 4689245 h 4996841"/>
                <a:gd name="connsiteX4883" fmla="*/ 2803643 w 3214184"/>
                <a:gd name="connsiteY4883" fmla="*/ 4690425 h 4996841"/>
                <a:gd name="connsiteX4884" fmla="*/ 2803431 w 3214184"/>
                <a:gd name="connsiteY4884" fmla="*/ 4692240 h 4996841"/>
                <a:gd name="connsiteX4885" fmla="*/ 2803279 w 3214184"/>
                <a:gd name="connsiteY4885" fmla="*/ 4696868 h 4996841"/>
                <a:gd name="connsiteX4886" fmla="*/ 2802372 w 3214184"/>
                <a:gd name="connsiteY4886" fmla="*/ 4702132 h 4996841"/>
                <a:gd name="connsiteX4887" fmla="*/ 2800678 w 3214184"/>
                <a:gd name="connsiteY4887" fmla="*/ 4706458 h 4996841"/>
                <a:gd name="connsiteX4888" fmla="*/ 2798258 w 3214184"/>
                <a:gd name="connsiteY4888" fmla="*/ 4708273 h 4996841"/>
                <a:gd name="connsiteX4889" fmla="*/ 2796231 w 3214184"/>
                <a:gd name="connsiteY4889" fmla="*/ 4707335 h 4996841"/>
                <a:gd name="connsiteX4890" fmla="*/ 2796231 w 3214184"/>
                <a:gd name="connsiteY4890" fmla="*/ 4705278 h 4996841"/>
                <a:gd name="connsiteX4891" fmla="*/ 2796321 w 3214184"/>
                <a:gd name="connsiteY4891" fmla="*/ 4703191 h 4996841"/>
                <a:gd name="connsiteX4892" fmla="*/ 2794809 w 3214184"/>
                <a:gd name="connsiteY4892" fmla="*/ 4702253 h 4996841"/>
                <a:gd name="connsiteX4893" fmla="*/ 2793781 w 3214184"/>
                <a:gd name="connsiteY4893" fmla="*/ 4701164 h 4996841"/>
                <a:gd name="connsiteX4894" fmla="*/ 2792964 w 3214184"/>
                <a:gd name="connsiteY4894" fmla="*/ 4698623 h 4996841"/>
                <a:gd name="connsiteX4895" fmla="*/ 2792479 w 3214184"/>
                <a:gd name="connsiteY4895" fmla="*/ 4695658 h 4996841"/>
                <a:gd name="connsiteX4896" fmla="*/ 2792389 w 3214184"/>
                <a:gd name="connsiteY4896" fmla="*/ 4693389 h 4996841"/>
                <a:gd name="connsiteX4897" fmla="*/ 2793115 w 3214184"/>
                <a:gd name="connsiteY4897" fmla="*/ 4693389 h 4996841"/>
                <a:gd name="connsiteX4898" fmla="*/ 2793478 w 3214184"/>
                <a:gd name="connsiteY4898" fmla="*/ 4693934 h 4996841"/>
                <a:gd name="connsiteX4899" fmla="*/ 2795172 w 3214184"/>
                <a:gd name="connsiteY4899" fmla="*/ 4695234 h 4996841"/>
                <a:gd name="connsiteX4900" fmla="*/ 2796624 w 3214184"/>
                <a:gd name="connsiteY4900" fmla="*/ 4691362 h 4996841"/>
                <a:gd name="connsiteX4901" fmla="*/ 2798590 w 3214184"/>
                <a:gd name="connsiteY4901" fmla="*/ 4687309 h 4996841"/>
                <a:gd name="connsiteX4902" fmla="*/ 2799286 w 3214184"/>
                <a:gd name="connsiteY4902" fmla="*/ 4686673 h 4996841"/>
                <a:gd name="connsiteX4903" fmla="*/ 2800163 w 3214184"/>
                <a:gd name="connsiteY4903" fmla="*/ 4686220 h 4996841"/>
                <a:gd name="connsiteX4904" fmla="*/ 2800950 w 3214184"/>
                <a:gd name="connsiteY4904" fmla="*/ 4685615 h 4996841"/>
                <a:gd name="connsiteX4905" fmla="*/ 2801374 w 3214184"/>
                <a:gd name="connsiteY4905" fmla="*/ 4684737 h 4996841"/>
                <a:gd name="connsiteX4906" fmla="*/ 2799225 w 3214184"/>
                <a:gd name="connsiteY4906" fmla="*/ 4681228 h 4996841"/>
                <a:gd name="connsiteX4907" fmla="*/ 2800315 w 3214184"/>
                <a:gd name="connsiteY4907" fmla="*/ 4678385 h 4996841"/>
                <a:gd name="connsiteX4908" fmla="*/ 2800889 w 3214184"/>
                <a:gd name="connsiteY4908" fmla="*/ 4677447 h 4996841"/>
                <a:gd name="connsiteX4909" fmla="*/ 2801767 w 3214184"/>
                <a:gd name="connsiteY4909" fmla="*/ 4676388 h 4996841"/>
                <a:gd name="connsiteX4910" fmla="*/ 2802826 w 3214184"/>
                <a:gd name="connsiteY4910" fmla="*/ 4675662 h 4996841"/>
                <a:gd name="connsiteX4911" fmla="*/ 2805457 w 3214184"/>
                <a:gd name="connsiteY4911" fmla="*/ 4675057 h 4996841"/>
                <a:gd name="connsiteX4912" fmla="*/ 2806244 w 3214184"/>
                <a:gd name="connsiteY4912" fmla="*/ 4674270 h 4996841"/>
                <a:gd name="connsiteX4913" fmla="*/ 2806244 w 3214184"/>
                <a:gd name="connsiteY4913" fmla="*/ 4672969 h 4996841"/>
                <a:gd name="connsiteX4914" fmla="*/ 2804853 w 3214184"/>
                <a:gd name="connsiteY4914" fmla="*/ 4668553 h 4996841"/>
                <a:gd name="connsiteX4915" fmla="*/ 2804187 w 3214184"/>
                <a:gd name="connsiteY4915" fmla="*/ 4667373 h 4996841"/>
                <a:gd name="connsiteX4916" fmla="*/ 2802705 w 3214184"/>
                <a:gd name="connsiteY4916" fmla="*/ 4667222 h 4996841"/>
                <a:gd name="connsiteX4917" fmla="*/ 2801101 w 3214184"/>
                <a:gd name="connsiteY4917" fmla="*/ 4667615 h 4996841"/>
                <a:gd name="connsiteX4918" fmla="*/ 2800042 w 3214184"/>
                <a:gd name="connsiteY4918" fmla="*/ 4668099 h 4996841"/>
                <a:gd name="connsiteX4919" fmla="*/ 2800406 w 3214184"/>
                <a:gd name="connsiteY4919" fmla="*/ 4666737 h 4996841"/>
                <a:gd name="connsiteX4920" fmla="*/ 2801858 w 3214184"/>
                <a:gd name="connsiteY4920" fmla="*/ 4663924 h 4996841"/>
                <a:gd name="connsiteX4921" fmla="*/ 2802100 w 3214184"/>
                <a:gd name="connsiteY4921" fmla="*/ 4662866 h 4996841"/>
                <a:gd name="connsiteX4922" fmla="*/ 2801435 w 3214184"/>
                <a:gd name="connsiteY4922" fmla="*/ 4661474 h 4996841"/>
                <a:gd name="connsiteX4923" fmla="*/ 2799135 w 3214184"/>
                <a:gd name="connsiteY4923" fmla="*/ 4660839 h 4996841"/>
                <a:gd name="connsiteX4924" fmla="*/ 2798651 w 3214184"/>
                <a:gd name="connsiteY4924" fmla="*/ 4659780 h 4996841"/>
                <a:gd name="connsiteX4925" fmla="*/ 2798197 w 3214184"/>
                <a:gd name="connsiteY4925" fmla="*/ 4656755 h 4996841"/>
                <a:gd name="connsiteX4926" fmla="*/ 2797108 w 3214184"/>
                <a:gd name="connsiteY4926" fmla="*/ 4654456 h 4996841"/>
                <a:gd name="connsiteX4927" fmla="*/ 2794567 w 3214184"/>
                <a:gd name="connsiteY4927" fmla="*/ 4650553 h 4996841"/>
                <a:gd name="connsiteX4928" fmla="*/ 2791632 w 3214184"/>
                <a:gd name="connsiteY4928" fmla="*/ 4642325 h 4996841"/>
                <a:gd name="connsiteX4929" fmla="*/ 2790665 w 3214184"/>
                <a:gd name="connsiteY4929" fmla="*/ 4640933 h 4996841"/>
                <a:gd name="connsiteX4930" fmla="*/ 2789183 w 3214184"/>
                <a:gd name="connsiteY4930" fmla="*/ 4639904 h 4996841"/>
                <a:gd name="connsiteX4931" fmla="*/ 2787367 w 3214184"/>
                <a:gd name="connsiteY4931" fmla="*/ 4637515 h 4996841"/>
                <a:gd name="connsiteX4932" fmla="*/ 2784736 w 3214184"/>
                <a:gd name="connsiteY4932" fmla="*/ 4633038 h 4996841"/>
                <a:gd name="connsiteX4933" fmla="*/ 2782255 w 3214184"/>
                <a:gd name="connsiteY4933" fmla="*/ 4623296 h 4996841"/>
                <a:gd name="connsiteX4934" fmla="*/ 2780318 w 3214184"/>
                <a:gd name="connsiteY4934" fmla="*/ 4617700 h 4996841"/>
                <a:gd name="connsiteX4935" fmla="*/ 2777899 w 3214184"/>
                <a:gd name="connsiteY4935" fmla="*/ 4615310 h 4996841"/>
                <a:gd name="connsiteX4936" fmla="*/ 2776749 w 3214184"/>
                <a:gd name="connsiteY4936" fmla="*/ 4615794 h 4996841"/>
                <a:gd name="connsiteX4937" fmla="*/ 2774783 w 3214184"/>
                <a:gd name="connsiteY4937" fmla="*/ 4618154 h 4996841"/>
                <a:gd name="connsiteX4938" fmla="*/ 2773724 w 3214184"/>
                <a:gd name="connsiteY4938" fmla="*/ 4618880 h 4996841"/>
                <a:gd name="connsiteX4939" fmla="*/ 2772363 w 3214184"/>
                <a:gd name="connsiteY4939" fmla="*/ 4618880 h 4996841"/>
                <a:gd name="connsiteX4940" fmla="*/ 2770306 w 3214184"/>
                <a:gd name="connsiteY4940" fmla="*/ 4617428 h 4996841"/>
                <a:gd name="connsiteX4941" fmla="*/ 2769277 w 3214184"/>
                <a:gd name="connsiteY4941" fmla="*/ 4617035 h 4996841"/>
                <a:gd name="connsiteX4942" fmla="*/ 2767916 w 3214184"/>
                <a:gd name="connsiteY4942" fmla="*/ 4616309 h 4996841"/>
                <a:gd name="connsiteX4943" fmla="*/ 2766161 w 3214184"/>
                <a:gd name="connsiteY4943" fmla="*/ 4614614 h 4996841"/>
                <a:gd name="connsiteX4944" fmla="*/ 2764557 w 3214184"/>
                <a:gd name="connsiteY4944" fmla="*/ 4612618 h 4996841"/>
                <a:gd name="connsiteX4945" fmla="*/ 2763499 w 3214184"/>
                <a:gd name="connsiteY4945" fmla="*/ 4610954 h 4996841"/>
                <a:gd name="connsiteX4946" fmla="*/ 2762591 w 3214184"/>
                <a:gd name="connsiteY4946" fmla="*/ 4608383 h 4996841"/>
                <a:gd name="connsiteX4947" fmla="*/ 2761200 w 3214184"/>
                <a:gd name="connsiteY4947" fmla="*/ 4602817 h 4996841"/>
                <a:gd name="connsiteX4948" fmla="*/ 2760080 w 3214184"/>
                <a:gd name="connsiteY4948" fmla="*/ 4600427 h 4996841"/>
                <a:gd name="connsiteX4949" fmla="*/ 2758175 w 3214184"/>
                <a:gd name="connsiteY4949" fmla="*/ 4598672 h 4996841"/>
                <a:gd name="connsiteX4950" fmla="*/ 2755876 w 3214184"/>
                <a:gd name="connsiteY4950" fmla="*/ 4597674 h 4996841"/>
                <a:gd name="connsiteX4951" fmla="*/ 2740720 w 3214184"/>
                <a:gd name="connsiteY4951" fmla="*/ 4593771 h 4996841"/>
                <a:gd name="connsiteX4952" fmla="*/ 2739509 w 3214184"/>
                <a:gd name="connsiteY4952" fmla="*/ 4593771 h 4996841"/>
                <a:gd name="connsiteX4953" fmla="*/ 2737240 w 3214184"/>
                <a:gd name="connsiteY4953" fmla="*/ 4594134 h 4996841"/>
                <a:gd name="connsiteX4954" fmla="*/ 2732763 w 3214184"/>
                <a:gd name="connsiteY4954" fmla="*/ 4594134 h 4996841"/>
                <a:gd name="connsiteX4955" fmla="*/ 2731372 w 3214184"/>
                <a:gd name="connsiteY4955" fmla="*/ 4593378 h 4996841"/>
                <a:gd name="connsiteX4956" fmla="*/ 2728861 w 3214184"/>
                <a:gd name="connsiteY4956" fmla="*/ 4591532 h 4996841"/>
                <a:gd name="connsiteX4957" fmla="*/ 2726562 w 3214184"/>
                <a:gd name="connsiteY4957" fmla="*/ 4589324 h 4996841"/>
                <a:gd name="connsiteX4958" fmla="*/ 2725533 w 3214184"/>
                <a:gd name="connsiteY4958" fmla="*/ 4587479 h 4996841"/>
                <a:gd name="connsiteX4959" fmla="*/ 2725200 w 3214184"/>
                <a:gd name="connsiteY4959" fmla="*/ 4584877 h 4996841"/>
                <a:gd name="connsiteX4960" fmla="*/ 2723748 w 3214184"/>
                <a:gd name="connsiteY4960" fmla="*/ 4579644 h 4996841"/>
                <a:gd name="connsiteX4961" fmla="*/ 2723416 w 3214184"/>
                <a:gd name="connsiteY4961" fmla="*/ 4576830 h 4996841"/>
                <a:gd name="connsiteX4962" fmla="*/ 2723869 w 3214184"/>
                <a:gd name="connsiteY4962" fmla="*/ 4575620 h 4996841"/>
                <a:gd name="connsiteX4963" fmla="*/ 2724868 w 3214184"/>
                <a:gd name="connsiteY4963" fmla="*/ 4574955 h 4996841"/>
                <a:gd name="connsiteX4964" fmla="*/ 2726138 w 3214184"/>
                <a:gd name="connsiteY4964" fmla="*/ 4574683 h 4996841"/>
                <a:gd name="connsiteX4965" fmla="*/ 2727258 w 3214184"/>
                <a:gd name="connsiteY4965" fmla="*/ 4574683 h 4996841"/>
                <a:gd name="connsiteX4966" fmla="*/ 2727742 w 3214184"/>
                <a:gd name="connsiteY4966" fmla="*/ 4574108 h 4996841"/>
                <a:gd name="connsiteX4967" fmla="*/ 2727319 w 3214184"/>
                <a:gd name="connsiteY4967" fmla="*/ 4573019 h 4996841"/>
                <a:gd name="connsiteX4968" fmla="*/ 2726592 w 3214184"/>
                <a:gd name="connsiteY4968" fmla="*/ 4571930 h 4996841"/>
                <a:gd name="connsiteX4969" fmla="*/ 2726169 w 3214184"/>
                <a:gd name="connsiteY4969" fmla="*/ 4571506 h 4996841"/>
                <a:gd name="connsiteX4970" fmla="*/ 2727046 w 3214184"/>
                <a:gd name="connsiteY4970" fmla="*/ 4562521 h 4996841"/>
                <a:gd name="connsiteX4971" fmla="*/ 2727621 w 3214184"/>
                <a:gd name="connsiteY4971" fmla="*/ 4560404 h 4996841"/>
                <a:gd name="connsiteX4972" fmla="*/ 2730041 w 3214184"/>
                <a:gd name="connsiteY4972" fmla="*/ 4560555 h 4996841"/>
                <a:gd name="connsiteX4973" fmla="*/ 2732067 w 3214184"/>
                <a:gd name="connsiteY4973" fmla="*/ 4556986 h 4996841"/>
                <a:gd name="connsiteX4974" fmla="*/ 2734609 w 3214184"/>
                <a:gd name="connsiteY4974" fmla="*/ 4553809 h 4996841"/>
                <a:gd name="connsiteX4975" fmla="*/ 2738602 w 3214184"/>
                <a:gd name="connsiteY4975" fmla="*/ 4555049 h 4996841"/>
                <a:gd name="connsiteX4976" fmla="*/ 2739842 w 3214184"/>
                <a:gd name="connsiteY4976" fmla="*/ 4553355 h 4996841"/>
                <a:gd name="connsiteX4977" fmla="*/ 2740961 w 3214184"/>
                <a:gd name="connsiteY4977" fmla="*/ 4551298 h 4996841"/>
                <a:gd name="connsiteX4978" fmla="*/ 2742323 w 3214184"/>
                <a:gd name="connsiteY4978" fmla="*/ 4549332 h 4996841"/>
                <a:gd name="connsiteX4979" fmla="*/ 2744350 w 3214184"/>
                <a:gd name="connsiteY4979" fmla="*/ 4547850 h 4996841"/>
                <a:gd name="connsiteX4980" fmla="*/ 2747980 w 3214184"/>
                <a:gd name="connsiteY4980" fmla="*/ 4545248 h 4996841"/>
                <a:gd name="connsiteX4981" fmla="*/ 2749916 w 3214184"/>
                <a:gd name="connsiteY4981" fmla="*/ 4544855 h 4996841"/>
                <a:gd name="connsiteX4982" fmla="*/ 2751761 w 3214184"/>
                <a:gd name="connsiteY4982" fmla="*/ 4546095 h 4996841"/>
                <a:gd name="connsiteX4983" fmla="*/ 2752760 w 3214184"/>
                <a:gd name="connsiteY4983" fmla="*/ 4543675 h 4996841"/>
                <a:gd name="connsiteX4984" fmla="*/ 2755967 w 3214184"/>
                <a:gd name="connsiteY4984" fmla="*/ 4539289 h 4996841"/>
                <a:gd name="connsiteX4985" fmla="*/ 2756632 w 3214184"/>
                <a:gd name="connsiteY4985" fmla="*/ 4537685 h 4996841"/>
                <a:gd name="connsiteX4986" fmla="*/ 2755997 w 3214184"/>
                <a:gd name="connsiteY4986" fmla="*/ 4535325 h 4996841"/>
                <a:gd name="connsiteX4987" fmla="*/ 2754817 w 3214184"/>
                <a:gd name="connsiteY4987" fmla="*/ 4532452 h 4996841"/>
                <a:gd name="connsiteX4988" fmla="*/ 2754000 w 3214184"/>
                <a:gd name="connsiteY4988" fmla="*/ 4529427 h 4996841"/>
                <a:gd name="connsiteX4989" fmla="*/ 2754545 w 3214184"/>
                <a:gd name="connsiteY4989" fmla="*/ 4526552 h 4996841"/>
                <a:gd name="connsiteX4990" fmla="*/ 2755997 w 3214184"/>
                <a:gd name="connsiteY4990" fmla="*/ 4525766 h 4996841"/>
                <a:gd name="connsiteX4991" fmla="*/ 2756814 w 3214184"/>
                <a:gd name="connsiteY4991" fmla="*/ 4528277 h 4996841"/>
                <a:gd name="connsiteX4992" fmla="*/ 2757297 w 3214184"/>
                <a:gd name="connsiteY4992" fmla="*/ 4534024 h 4996841"/>
                <a:gd name="connsiteX4993" fmla="*/ 2758023 w 3214184"/>
                <a:gd name="connsiteY4993" fmla="*/ 4535991 h 4996841"/>
                <a:gd name="connsiteX4994" fmla="*/ 2761563 w 3214184"/>
                <a:gd name="connsiteY4994" fmla="*/ 4541224 h 4996841"/>
                <a:gd name="connsiteX4995" fmla="*/ 2762803 w 3214184"/>
                <a:gd name="connsiteY4995" fmla="*/ 4543523 h 4996841"/>
                <a:gd name="connsiteX4996" fmla="*/ 2763499 w 3214184"/>
                <a:gd name="connsiteY4996" fmla="*/ 4543523 h 4996841"/>
                <a:gd name="connsiteX4997" fmla="*/ 2763560 w 3214184"/>
                <a:gd name="connsiteY4997" fmla="*/ 4541557 h 4996841"/>
                <a:gd name="connsiteX4998" fmla="*/ 2764104 w 3214184"/>
                <a:gd name="connsiteY4998" fmla="*/ 4539318 h 4996841"/>
                <a:gd name="connsiteX4999" fmla="*/ 2766857 w 3214184"/>
                <a:gd name="connsiteY4999" fmla="*/ 4532542 h 4996841"/>
                <a:gd name="connsiteX5000" fmla="*/ 2765495 w 3214184"/>
                <a:gd name="connsiteY5000" fmla="*/ 4522499 h 4996841"/>
                <a:gd name="connsiteX5001" fmla="*/ 2765495 w 3214184"/>
                <a:gd name="connsiteY5001" fmla="*/ 4521198 h 4996841"/>
                <a:gd name="connsiteX5002" fmla="*/ 2766796 w 3214184"/>
                <a:gd name="connsiteY5002" fmla="*/ 4520926 h 4996841"/>
                <a:gd name="connsiteX5003" fmla="*/ 2768309 w 3214184"/>
                <a:gd name="connsiteY5003" fmla="*/ 4521984 h 4996841"/>
                <a:gd name="connsiteX5004" fmla="*/ 2769640 w 3214184"/>
                <a:gd name="connsiteY5004" fmla="*/ 4523527 h 4996841"/>
                <a:gd name="connsiteX5005" fmla="*/ 2770245 w 3214184"/>
                <a:gd name="connsiteY5005" fmla="*/ 4524737 h 4996841"/>
                <a:gd name="connsiteX5006" fmla="*/ 2771183 w 3214184"/>
                <a:gd name="connsiteY5006" fmla="*/ 4522196 h 4996841"/>
                <a:gd name="connsiteX5007" fmla="*/ 2772241 w 3214184"/>
                <a:gd name="connsiteY5007" fmla="*/ 4519806 h 4996841"/>
                <a:gd name="connsiteX5008" fmla="*/ 2773724 w 3214184"/>
                <a:gd name="connsiteY5008" fmla="*/ 4518505 h 4996841"/>
                <a:gd name="connsiteX5009" fmla="*/ 2775811 w 3214184"/>
                <a:gd name="connsiteY5009" fmla="*/ 4519383 h 4996841"/>
                <a:gd name="connsiteX5010" fmla="*/ 2776840 w 3214184"/>
                <a:gd name="connsiteY5010" fmla="*/ 4516721 h 4996841"/>
                <a:gd name="connsiteX5011" fmla="*/ 2778504 w 3214184"/>
                <a:gd name="connsiteY5011" fmla="*/ 4511124 h 4996841"/>
                <a:gd name="connsiteX5012" fmla="*/ 2780773 w 3214184"/>
                <a:gd name="connsiteY5012" fmla="*/ 4506950 h 4996841"/>
                <a:gd name="connsiteX5013" fmla="*/ 2781831 w 3214184"/>
                <a:gd name="connsiteY5013" fmla="*/ 4504378 h 4996841"/>
                <a:gd name="connsiteX5014" fmla="*/ 2783253 w 3214184"/>
                <a:gd name="connsiteY5014" fmla="*/ 4499689 h 4996841"/>
                <a:gd name="connsiteX5015" fmla="*/ 2784372 w 3214184"/>
                <a:gd name="connsiteY5015" fmla="*/ 4493790 h 4996841"/>
                <a:gd name="connsiteX5016" fmla="*/ 2785431 w 3214184"/>
                <a:gd name="connsiteY5016" fmla="*/ 4490977 h 4996841"/>
                <a:gd name="connsiteX5017" fmla="*/ 2787216 w 3214184"/>
                <a:gd name="connsiteY5017" fmla="*/ 4489767 h 4996841"/>
                <a:gd name="connsiteX5018" fmla="*/ 2789545 w 3214184"/>
                <a:gd name="connsiteY5018" fmla="*/ 4490342 h 4996841"/>
                <a:gd name="connsiteX5019" fmla="*/ 2791391 w 3214184"/>
                <a:gd name="connsiteY5019" fmla="*/ 4491279 h 4996841"/>
                <a:gd name="connsiteX5020" fmla="*/ 2792782 w 3214184"/>
                <a:gd name="connsiteY5020" fmla="*/ 4491219 h 4996841"/>
                <a:gd name="connsiteX5021" fmla="*/ 2793690 w 3214184"/>
                <a:gd name="connsiteY5021" fmla="*/ 4488980 h 4996841"/>
                <a:gd name="connsiteX5022" fmla="*/ 2793690 w 3214184"/>
                <a:gd name="connsiteY5022" fmla="*/ 4478574 h 4996841"/>
                <a:gd name="connsiteX5023" fmla="*/ 2794143 w 3214184"/>
                <a:gd name="connsiteY5023" fmla="*/ 4476305 h 4996841"/>
                <a:gd name="connsiteX5024" fmla="*/ 2795293 w 3214184"/>
                <a:gd name="connsiteY5024" fmla="*/ 4473612 h 4996841"/>
                <a:gd name="connsiteX5025" fmla="*/ 2798107 w 3214184"/>
                <a:gd name="connsiteY5025" fmla="*/ 4468651 h 4996841"/>
                <a:gd name="connsiteX5026" fmla="*/ 2798288 w 3214184"/>
                <a:gd name="connsiteY5026" fmla="*/ 4467865 h 4996841"/>
                <a:gd name="connsiteX5027" fmla="*/ 2798530 w 3214184"/>
                <a:gd name="connsiteY5027" fmla="*/ 4467411 h 4996841"/>
                <a:gd name="connsiteX5028" fmla="*/ 2799014 w 3214184"/>
                <a:gd name="connsiteY5028" fmla="*/ 4467108 h 4996841"/>
                <a:gd name="connsiteX5029" fmla="*/ 2800587 w 3214184"/>
                <a:gd name="connsiteY5029" fmla="*/ 4466413 h 4996841"/>
                <a:gd name="connsiteX5030" fmla="*/ 2801192 w 3214184"/>
                <a:gd name="connsiteY5030" fmla="*/ 4465505 h 4996841"/>
                <a:gd name="connsiteX5031" fmla="*/ 2801767 w 3214184"/>
                <a:gd name="connsiteY5031" fmla="*/ 4464295 h 4996841"/>
                <a:gd name="connsiteX5032" fmla="*/ 2801676 w 3214184"/>
                <a:gd name="connsiteY5032" fmla="*/ 4463267 h 4996841"/>
                <a:gd name="connsiteX5033" fmla="*/ 2800254 w 3214184"/>
                <a:gd name="connsiteY5033" fmla="*/ 4462813 h 4996841"/>
                <a:gd name="connsiteX5034" fmla="*/ 2795263 w 3214184"/>
                <a:gd name="connsiteY5034" fmla="*/ 4462420 h 4996841"/>
                <a:gd name="connsiteX5035" fmla="*/ 2793872 w 3214184"/>
                <a:gd name="connsiteY5035" fmla="*/ 4461633 h 4996841"/>
                <a:gd name="connsiteX5036" fmla="*/ 2795112 w 3214184"/>
                <a:gd name="connsiteY5036" fmla="*/ 4460151 h 4996841"/>
                <a:gd name="connsiteX5037" fmla="*/ 2797653 w 3214184"/>
                <a:gd name="connsiteY5037" fmla="*/ 4459576 h 4996841"/>
                <a:gd name="connsiteX5038" fmla="*/ 2803552 w 3214184"/>
                <a:gd name="connsiteY5038" fmla="*/ 4460151 h 4996841"/>
                <a:gd name="connsiteX5039" fmla="*/ 2805488 w 3214184"/>
                <a:gd name="connsiteY5039" fmla="*/ 4459182 h 4996841"/>
                <a:gd name="connsiteX5040" fmla="*/ 2805700 w 3214184"/>
                <a:gd name="connsiteY5040" fmla="*/ 4458124 h 4996841"/>
                <a:gd name="connsiteX5041" fmla="*/ 2805457 w 3214184"/>
                <a:gd name="connsiteY5041" fmla="*/ 4455008 h 4996841"/>
                <a:gd name="connsiteX5042" fmla="*/ 2805457 w 3214184"/>
                <a:gd name="connsiteY5042" fmla="*/ 4453768 h 4996841"/>
                <a:gd name="connsiteX5043" fmla="*/ 2806002 w 3214184"/>
                <a:gd name="connsiteY5043" fmla="*/ 4452527 h 4996841"/>
                <a:gd name="connsiteX5044" fmla="*/ 2809299 w 3214184"/>
                <a:gd name="connsiteY5044" fmla="*/ 4449169 h 4996841"/>
                <a:gd name="connsiteX5045" fmla="*/ 2809723 w 3214184"/>
                <a:gd name="connsiteY5045" fmla="*/ 4449169 h 4996841"/>
                <a:gd name="connsiteX5046" fmla="*/ 2809511 w 3214184"/>
                <a:gd name="connsiteY5046" fmla="*/ 4448988 h 4996841"/>
                <a:gd name="connsiteX5047" fmla="*/ 2808483 w 3214184"/>
                <a:gd name="connsiteY5047" fmla="*/ 4446719 h 4996841"/>
                <a:gd name="connsiteX5048" fmla="*/ 2805851 w 3214184"/>
                <a:gd name="connsiteY5048" fmla="*/ 4442393 h 4996841"/>
                <a:gd name="connsiteX5049" fmla="*/ 2805488 w 3214184"/>
                <a:gd name="connsiteY5049" fmla="*/ 4441395 h 4996841"/>
                <a:gd name="connsiteX5050" fmla="*/ 2805155 w 3214184"/>
                <a:gd name="connsiteY5050" fmla="*/ 4440487 h 4996841"/>
                <a:gd name="connsiteX5051" fmla="*/ 2805276 w 3214184"/>
                <a:gd name="connsiteY5051" fmla="*/ 4438732 h 4996841"/>
                <a:gd name="connsiteX5052" fmla="*/ 2806788 w 3214184"/>
                <a:gd name="connsiteY5052" fmla="*/ 4437583 h 4996841"/>
                <a:gd name="connsiteX5053" fmla="*/ 2806788 w 3214184"/>
                <a:gd name="connsiteY5053" fmla="*/ 4440578 h 4996841"/>
                <a:gd name="connsiteX5054" fmla="*/ 2808241 w 3214184"/>
                <a:gd name="connsiteY5054" fmla="*/ 4443452 h 4996841"/>
                <a:gd name="connsiteX5055" fmla="*/ 2810086 w 3214184"/>
                <a:gd name="connsiteY5055" fmla="*/ 4445086 h 4996841"/>
                <a:gd name="connsiteX5056" fmla="*/ 2810994 w 3214184"/>
                <a:gd name="connsiteY5056" fmla="*/ 4444360 h 4996841"/>
                <a:gd name="connsiteX5057" fmla="*/ 2811296 w 3214184"/>
                <a:gd name="connsiteY5057" fmla="*/ 4443936 h 4996841"/>
                <a:gd name="connsiteX5058" fmla="*/ 2812688 w 3214184"/>
                <a:gd name="connsiteY5058" fmla="*/ 4442877 h 4996841"/>
                <a:gd name="connsiteX5059" fmla="*/ 2813081 w 3214184"/>
                <a:gd name="connsiteY5059" fmla="*/ 4442151 h 4996841"/>
                <a:gd name="connsiteX5060" fmla="*/ 2813081 w 3214184"/>
                <a:gd name="connsiteY5060" fmla="*/ 4441122 h 4996841"/>
                <a:gd name="connsiteX5061" fmla="*/ 2812869 w 3214184"/>
                <a:gd name="connsiteY5061" fmla="*/ 4440215 h 4996841"/>
                <a:gd name="connsiteX5062" fmla="*/ 2811841 w 3214184"/>
                <a:gd name="connsiteY5062" fmla="*/ 4436948 h 4996841"/>
                <a:gd name="connsiteX5063" fmla="*/ 2811145 w 3214184"/>
                <a:gd name="connsiteY5063" fmla="*/ 4435344 h 4996841"/>
                <a:gd name="connsiteX5064" fmla="*/ 2810691 w 3214184"/>
                <a:gd name="connsiteY5064" fmla="*/ 4433983 h 4996841"/>
                <a:gd name="connsiteX5065" fmla="*/ 2810963 w 3214184"/>
                <a:gd name="connsiteY5065" fmla="*/ 4433045 h 4996841"/>
                <a:gd name="connsiteX5066" fmla="*/ 2809330 w 3214184"/>
                <a:gd name="connsiteY5066" fmla="*/ 4430928 h 4996841"/>
                <a:gd name="connsiteX5067" fmla="*/ 2807364 w 3214184"/>
                <a:gd name="connsiteY5067" fmla="*/ 4430202 h 4996841"/>
                <a:gd name="connsiteX5068" fmla="*/ 2802705 w 3214184"/>
                <a:gd name="connsiteY5068" fmla="*/ 4429445 h 4996841"/>
                <a:gd name="connsiteX5069" fmla="*/ 2802130 w 3214184"/>
                <a:gd name="connsiteY5069" fmla="*/ 4428931 h 4996841"/>
                <a:gd name="connsiteX5070" fmla="*/ 2801192 w 3214184"/>
                <a:gd name="connsiteY5070" fmla="*/ 4427237 h 4996841"/>
                <a:gd name="connsiteX5071" fmla="*/ 2800618 w 3214184"/>
                <a:gd name="connsiteY5071" fmla="*/ 4426662 h 4996841"/>
                <a:gd name="connsiteX5072" fmla="*/ 2800163 w 3214184"/>
                <a:gd name="connsiteY5072" fmla="*/ 4426662 h 4996841"/>
                <a:gd name="connsiteX5073" fmla="*/ 2798954 w 3214184"/>
                <a:gd name="connsiteY5073" fmla="*/ 4426814 h 4996841"/>
                <a:gd name="connsiteX5074" fmla="*/ 2798560 w 3214184"/>
                <a:gd name="connsiteY5074" fmla="*/ 4426662 h 4996841"/>
                <a:gd name="connsiteX5075" fmla="*/ 2797773 w 3214184"/>
                <a:gd name="connsiteY5075" fmla="*/ 4425785 h 4996841"/>
                <a:gd name="connsiteX5076" fmla="*/ 2797199 w 3214184"/>
                <a:gd name="connsiteY5076" fmla="*/ 4424787 h 4996841"/>
                <a:gd name="connsiteX5077" fmla="*/ 2797047 w 3214184"/>
                <a:gd name="connsiteY5077" fmla="*/ 4424121 h 4996841"/>
                <a:gd name="connsiteX5078" fmla="*/ 2797138 w 3214184"/>
                <a:gd name="connsiteY5078" fmla="*/ 4422487 h 4996841"/>
                <a:gd name="connsiteX5079" fmla="*/ 2796897 w 3214184"/>
                <a:gd name="connsiteY5079" fmla="*/ 4421731 h 4996841"/>
                <a:gd name="connsiteX5080" fmla="*/ 2794113 w 3214184"/>
                <a:gd name="connsiteY5080" fmla="*/ 4419039 h 4996841"/>
                <a:gd name="connsiteX5081" fmla="*/ 2793751 w 3214184"/>
                <a:gd name="connsiteY5081" fmla="*/ 4418131 h 4996841"/>
                <a:gd name="connsiteX5082" fmla="*/ 2794295 w 3214184"/>
                <a:gd name="connsiteY5082" fmla="*/ 4416921 h 4996841"/>
                <a:gd name="connsiteX5083" fmla="*/ 2795505 w 3214184"/>
                <a:gd name="connsiteY5083" fmla="*/ 4416558 h 4996841"/>
                <a:gd name="connsiteX5084" fmla="*/ 2796745 w 3214184"/>
                <a:gd name="connsiteY5084" fmla="*/ 4416740 h 4996841"/>
                <a:gd name="connsiteX5085" fmla="*/ 2797290 w 3214184"/>
                <a:gd name="connsiteY5085" fmla="*/ 4417193 h 4996841"/>
                <a:gd name="connsiteX5086" fmla="*/ 2798409 w 3214184"/>
                <a:gd name="connsiteY5086" fmla="*/ 4418948 h 4996841"/>
                <a:gd name="connsiteX5087" fmla="*/ 2804005 w 3214184"/>
                <a:gd name="connsiteY5087" fmla="*/ 4419523 h 4996841"/>
                <a:gd name="connsiteX5088" fmla="*/ 2806274 w 3214184"/>
                <a:gd name="connsiteY5088" fmla="*/ 4421278 h 4996841"/>
                <a:gd name="connsiteX5089" fmla="*/ 2802251 w 3214184"/>
                <a:gd name="connsiteY5089" fmla="*/ 4421217 h 4996841"/>
                <a:gd name="connsiteX5090" fmla="*/ 2801435 w 3214184"/>
                <a:gd name="connsiteY5090" fmla="*/ 4421278 h 4996841"/>
                <a:gd name="connsiteX5091" fmla="*/ 2800557 w 3214184"/>
                <a:gd name="connsiteY5091" fmla="*/ 4422004 h 4996841"/>
                <a:gd name="connsiteX5092" fmla="*/ 2799498 w 3214184"/>
                <a:gd name="connsiteY5092" fmla="*/ 4423184 h 4996841"/>
                <a:gd name="connsiteX5093" fmla="*/ 2799166 w 3214184"/>
                <a:gd name="connsiteY5093" fmla="*/ 4424333 h 4996841"/>
                <a:gd name="connsiteX5094" fmla="*/ 2801555 w 3214184"/>
                <a:gd name="connsiteY5094" fmla="*/ 4425240 h 4996841"/>
                <a:gd name="connsiteX5095" fmla="*/ 2803219 w 3214184"/>
                <a:gd name="connsiteY5095" fmla="*/ 4427086 h 4996841"/>
                <a:gd name="connsiteX5096" fmla="*/ 2804187 w 3214184"/>
                <a:gd name="connsiteY5096" fmla="*/ 4427691 h 4996841"/>
                <a:gd name="connsiteX5097" fmla="*/ 2808876 w 3214184"/>
                <a:gd name="connsiteY5097" fmla="*/ 4427509 h 4996841"/>
                <a:gd name="connsiteX5098" fmla="*/ 2810025 w 3214184"/>
                <a:gd name="connsiteY5098" fmla="*/ 4428115 h 4996841"/>
                <a:gd name="connsiteX5099" fmla="*/ 2814593 w 3214184"/>
                <a:gd name="connsiteY5099" fmla="*/ 4433409 h 4996841"/>
                <a:gd name="connsiteX5100" fmla="*/ 2815894 w 3214184"/>
                <a:gd name="connsiteY5100" fmla="*/ 4435707 h 4996841"/>
                <a:gd name="connsiteX5101" fmla="*/ 2817497 w 3214184"/>
                <a:gd name="connsiteY5101" fmla="*/ 4440699 h 4996841"/>
                <a:gd name="connsiteX5102" fmla="*/ 2818799 w 3214184"/>
                <a:gd name="connsiteY5102" fmla="*/ 4442181 h 4996841"/>
                <a:gd name="connsiteX5103" fmla="*/ 2821400 w 3214184"/>
                <a:gd name="connsiteY5103" fmla="*/ 4442181 h 4996841"/>
                <a:gd name="connsiteX5104" fmla="*/ 2820462 w 3214184"/>
                <a:gd name="connsiteY5104" fmla="*/ 4439519 h 4996841"/>
                <a:gd name="connsiteX5105" fmla="*/ 2820583 w 3214184"/>
                <a:gd name="connsiteY5105" fmla="*/ 4437825 h 4996841"/>
                <a:gd name="connsiteX5106" fmla="*/ 2822156 w 3214184"/>
                <a:gd name="connsiteY5106" fmla="*/ 4433923 h 4996841"/>
                <a:gd name="connsiteX5107" fmla="*/ 2818375 w 3214184"/>
                <a:gd name="connsiteY5107" fmla="*/ 4432743 h 4996841"/>
                <a:gd name="connsiteX5108" fmla="*/ 2816893 w 3214184"/>
                <a:gd name="connsiteY5108" fmla="*/ 4431654 h 4996841"/>
                <a:gd name="connsiteX5109" fmla="*/ 2817256 w 3214184"/>
                <a:gd name="connsiteY5109" fmla="*/ 4429506 h 4996841"/>
                <a:gd name="connsiteX5110" fmla="*/ 2816893 w 3214184"/>
                <a:gd name="connsiteY5110" fmla="*/ 4428931 h 4996841"/>
                <a:gd name="connsiteX5111" fmla="*/ 2816650 w 3214184"/>
                <a:gd name="connsiteY5111" fmla="*/ 4428356 h 4996841"/>
                <a:gd name="connsiteX5112" fmla="*/ 2816802 w 3214184"/>
                <a:gd name="connsiteY5112" fmla="*/ 4427872 h 4996841"/>
                <a:gd name="connsiteX5113" fmla="*/ 2817619 w 3214184"/>
                <a:gd name="connsiteY5113" fmla="*/ 4427691 h 4996841"/>
                <a:gd name="connsiteX5114" fmla="*/ 2818557 w 3214184"/>
                <a:gd name="connsiteY5114" fmla="*/ 4427298 h 4996841"/>
                <a:gd name="connsiteX5115" fmla="*/ 2818557 w 3214184"/>
                <a:gd name="connsiteY5115" fmla="*/ 4426360 h 4996841"/>
                <a:gd name="connsiteX5116" fmla="*/ 2818284 w 3214184"/>
                <a:gd name="connsiteY5116" fmla="*/ 4425150 h 4996841"/>
                <a:gd name="connsiteX5117" fmla="*/ 2818284 w 3214184"/>
                <a:gd name="connsiteY5117" fmla="*/ 4423940 h 4996841"/>
                <a:gd name="connsiteX5118" fmla="*/ 2818617 w 3214184"/>
                <a:gd name="connsiteY5118" fmla="*/ 4422397 h 4996841"/>
                <a:gd name="connsiteX5119" fmla="*/ 2818073 w 3214184"/>
                <a:gd name="connsiteY5119" fmla="*/ 4421852 h 4996841"/>
                <a:gd name="connsiteX5120" fmla="*/ 2817256 w 3214184"/>
                <a:gd name="connsiteY5120" fmla="*/ 4421701 h 4996841"/>
                <a:gd name="connsiteX5121" fmla="*/ 2816681 w 3214184"/>
                <a:gd name="connsiteY5121" fmla="*/ 4421278 h 4996841"/>
                <a:gd name="connsiteX5122" fmla="*/ 2816469 w 3214184"/>
                <a:gd name="connsiteY5122" fmla="*/ 4421096 h 4996841"/>
                <a:gd name="connsiteX5123" fmla="*/ 2815107 w 3214184"/>
                <a:gd name="connsiteY5123" fmla="*/ 4418192 h 4996841"/>
                <a:gd name="connsiteX5124" fmla="*/ 2815229 w 3214184"/>
                <a:gd name="connsiteY5124" fmla="*/ 4417708 h 4996841"/>
                <a:gd name="connsiteX5125" fmla="*/ 2813777 w 3214184"/>
                <a:gd name="connsiteY5125" fmla="*/ 4417708 h 4996841"/>
                <a:gd name="connsiteX5126" fmla="*/ 2812446 w 3214184"/>
                <a:gd name="connsiteY5126" fmla="*/ 4418162 h 4996841"/>
                <a:gd name="connsiteX5127" fmla="*/ 2811447 w 3214184"/>
                <a:gd name="connsiteY5127" fmla="*/ 4417859 h 4996841"/>
                <a:gd name="connsiteX5128" fmla="*/ 2811024 w 3214184"/>
                <a:gd name="connsiteY5128" fmla="*/ 4415409 h 4996841"/>
                <a:gd name="connsiteX5129" fmla="*/ 2811932 w 3214184"/>
                <a:gd name="connsiteY5129" fmla="*/ 4414168 h 4996841"/>
                <a:gd name="connsiteX5130" fmla="*/ 2813989 w 3214184"/>
                <a:gd name="connsiteY5130" fmla="*/ 4414229 h 4996841"/>
                <a:gd name="connsiteX5131" fmla="*/ 2816288 w 3214184"/>
                <a:gd name="connsiteY5131" fmla="*/ 4415015 h 4996841"/>
                <a:gd name="connsiteX5132" fmla="*/ 2817891 w 3214184"/>
                <a:gd name="connsiteY5132" fmla="*/ 4415802 h 4996841"/>
                <a:gd name="connsiteX5133" fmla="*/ 2819252 w 3214184"/>
                <a:gd name="connsiteY5133" fmla="*/ 4416891 h 4996841"/>
                <a:gd name="connsiteX5134" fmla="*/ 2820311 w 3214184"/>
                <a:gd name="connsiteY5134" fmla="*/ 4418192 h 4996841"/>
                <a:gd name="connsiteX5135" fmla="*/ 2820795 w 3214184"/>
                <a:gd name="connsiteY5135" fmla="*/ 4419099 h 4996841"/>
                <a:gd name="connsiteX5136" fmla="*/ 2821218 w 3214184"/>
                <a:gd name="connsiteY5136" fmla="*/ 4420915 h 4996841"/>
                <a:gd name="connsiteX5137" fmla="*/ 2821703 w 3214184"/>
                <a:gd name="connsiteY5137" fmla="*/ 4421792 h 4996841"/>
                <a:gd name="connsiteX5138" fmla="*/ 2822489 w 3214184"/>
                <a:gd name="connsiteY5138" fmla="*/ 4422639 h 4996841"/>
                <a:gd name="connsiteX5139" fmla="*/ 2823094 w 3214184"/>
                <a:gd name="connsiteY5139" fmla="*/ 4422850 h 4996841"/>
                <a:gd name="connsiteX5140" fmla="*/ 2823790 w 3214184"/>
                <a:gd name="connsiteY5140" fmla="*/ 4422850 h 4996841"/>
                <a:gd name="connsiteX5141" fmla="*/ 2824698 w 3214184"/>
                <a:gd name="connsiteY5141" fmla="*/ 4423123 h 4996841"/>
                <a:gd name="connsiteX5142" fmla="*/ 2825181 w 3214184"/>
                <a:gd name="connsiteY5142" fmla="*/ 4423123 h 4996841"/>
                <a:gd name="connsiteX5143" fmla="*/ 2825575 w 3214184"/>
                <a:gd name="connsiteY5143" fmla="*/ 4422821 h 4996841"/>
                <a:gd name="connsiteX5144" fmla="*/ 2825938 w 3214184"/>
                <a:gd name="connsiteY5144" fmla="*/ 4422487 h 4996841"/>
                <a:gd name="connsiteX5145" fmla="*/ 2826421 w 3214184"/>
                <a:gd name="connsiteY5145" fmla="*/ 4422306 h 4996841"/>
                <a:gd name="connsiteX5146" fmla="*/ 2826906 w 3214184"/>
                <a:gd name="connsiteY5146" fmla="*/ 4422578 h 4996841"/>
                <a:gd name="connsiteX5147" fmla="*/ 2827602 w 3214184"/>
                <a:gd name="connsiteY5147" fmla="*/ 4423728 h 4996841"/>
                <a:gd name="connsiteX5148" fmla="*/ 2828055 w 3214184"/>
                <a:gd name="connsiteY5148" fmla="*/ 4424061 h 4996841"/>
                <a:gd name="connsiteX5149" fmla="*/ 2831111 w 3214184"/>
                <a:gd name="connsiteY5149" fmla="*/ 4424847 h 4996841"/>
                <a:gd name="connsiteX5150" fmla="*/ 2832442 w 3214184"/>
                <a:gd name="connsiteY5150" fmla="*/ 4425997 h 4996841"/>
                <a:gd name="connsiteX5151" fmla="*/ 2833017 w 3214184"/>
                <a:gd name="connsiteY5151" fmla="*/ 4428144 h 4996841"/>
                <a:gd name="connsiteX5152" fmla="*/ 2833682 w 3214184"/>
                <a:gd name="connsiteY5152" fmla="*/ 4429930 h 4996841"/>
                <a:gd name="connsiteX5153" fmla="*/ 2837826 w 3214184"/>
                <a:gd name="connsiteY5153" fmla="*/ 4435768 h 4996841"/>
                <a:gd name="connsiteX5154" fmla="*/ 2838946 w 3214184"/>
                <a:gd name="connsiteY5154" fmla="*/ 4434981 h 4996841"/>
                <a:gd name="connsiteX5155" fmla="*/ 2839884 w 3214184"/>
                <a:gd name="connsiteY5155" fmla="*/ 4433953 h 4996841"/>
                <a:gd name="connsiteX5156" fmla="*/ 2840671 w 3214184"/>
                <a:gd name="connsiteY5156" fmla="*/ 4432712 h 4996841"/>
                <a:gd name="connsiteX5157" fmla="*/ 2841245 w 3214184"/>
                <a:gd name="connsiteY5157" fmla="*/ 4431260 h 4996841"/>
                <a:gd name="connsiteX5158" fmla="*/ 2839551 w 3214184"/>
                <a:gd name="connsiteY5158" fmla="*/ 4430323 h 4996841"/>
                <a:gd name="connsiteX5159" fmla="*/ 2839460 w 3214184"/>
                <a:gd name="connsiteY5159" fmla="*/ 4428961 h 4996841"/>
                <a:gd name="connsiteX5160" fmla="*/ 2840580 w 3214184"/>
                <a:gd name="connsiteY5160" fmla="*/ 4426299 h 4996841"/>
                <a:gd name="connsiteX5161" fmla="*/ 2840580 w 3214184"/>
                <a:gd name="connsiteY5161" fmla="*/ 4422730 h 4996841"/>
                <a:gd name="connsiteX5162" fmla="*/ 2840912 w 3214184"/>
                <a:gd name="connsiteY5162" fmla="*/ 4421368 h 4996841"/>
                <a:gd name="connsiteX5163" fmla="*/ 2841941 w 3214184"/>
                <a:gd name="connsiteY5163" fmla="*/ 4420461 h 4996841"/>
                <a:gd name="connsiteX5164" fmla="*/ 2843635 w 3214184"/>
                <a:gd name="connsiteY5164" fmla="*/ 4420642 h 4996841"/>
                <a:gd name="connsiteX5165" fmla="*/ 2844633 w 3214184"/>
                <a:gd name="connsiteY5165" fmla="*/ 4422276 h 4996841"/>
                <a:gd name="connsiteX5166" fmla="*/ 2845239 w 3214184"/>
                <a:gd name="connsiteY5166" fmla="*/ 4423970 h 4996841"/>
                <a:gd name="connsiteX5167" fmla="*/ 2845722 w 3214184"/>
                <a:gd name="connsiteY5167" fmla="*/ 4424454 h 4996841"/>
                <a:gd name="connsiteX5168" fmla="*/ 2848021 w 3214184"/>
                <a:gd name="connsiteY5168" fmla="*/ 4421610 h 4996841"/>
                <a:gd name="connsiteX5169" fmla="*/ 2849110 w 3214184"/>
                <a:gd name="connsiteY5169" fmla="*/ 4420733 h 4996841"/>
                <a:gd name="connsiteX5170" fmla="*/ 2851168 w 3214184"/>
                <a:gd name="connsiteY5170" fmla="*/ 4420188 h 4996841"/>
                <a:gd name="connsiteX5171" fmla="*/ 2851651 w 3214184"/>
                <a:gd name="connsiteY5171" fmla="*/ 4419765 h 4996841"/>
                <a:gd name="connsiteX5172" fmla="*/ 2852226 w 3214184"/>
                <a:gd name="connsiteY5172" fmla="*/ 4419432 h 4996841"/>
                <a:gd name="connsiteX5173" fmla="*/ 2852982 w 3214184"/>
                <a:gd name="connsiteY5173" fmla="*/ 4419432 h 4996841"/>
                <a:gd name="connsiteX5174" fmla="*/ 2853708 w 3214184"/>
                <a:gd name="connsiteY5174" fmla="*/ 4419856 h 4996841"/>
                <a:gd name="connsiteX5175" fmla="*/ 2854344 w 3214184"/>
                <a:gd name="connsiteY5175" fmla="*/ 4420461 h 4996841"/>
                <a:gd name="connsiteX5176" fmla="*/ 2854767 w 3214184"/>
                <a:gd name="connsiteY5176" fmla="*/ 4420975 h 4996841"/>
                <a:gd name="connsiteX5177" fmla="*/ 2855101 w 3214184"/>
                <a:gd name="connsiteY5177" fmla="*/ 4421278 h 4996841"/>
                <a:gd name="connsiteX5178" fmla="*/ 2856159 w 3214184"/>
                <a:gd name="connsiteY5178" fmla="*/ 4422941 h 4996841"/>
                <a:gd name="connsiteX5179" fmla="*/ 2856915 w 3214184"/>
                <a:gd name="connsiteY5179" fmla="*/ 4423516 h 4996841"/>
                <a:gd name="connsiteX5180" fmla="*/ 2857459 w 3214184"/>
                <a:gd name="connsiteY5180" fmla="*/ 4421883 h 4996841"/>
                <a:gd name="connsiteX5181" fmla="*/ 2858065 w 3214184"/>
                <a:gd name="connsiteY5181" fmla="*/ 4421126 h 4996841"/>
                <a:gd name="connsiteX5182" fmla="*/ 2858761 w 3214184"/>
                <a:gd name="connsiteY5182" fmla="*/ 4420612 h 4996841"/>
                <a:gd name="connsiteX5183" fmla="*/ 2860606 w 3214184"/>
                <a:gd name="connsiteY5183" fmla="*/ 4419886 h 4996841"/>
                <a:gd name="connsiteX5184" fmla="*/ 2862542 w 3214184"/>
                <a:gd name="connsiteY5184" fmla="*/ 4417496 h 4996841"/>
                <a:gd name="connsiteX5185" fmla="*/ 2864055 w 3214184"/>
                <a:gd name="connsiteY5185" fmla="*/ 4416770 h 4996841"/>
                <a:gd name="connsiteX5186" fmla="*/ 2865325 w 3214184"/>
                <a:gd name="connsiteY5186" fmla="*/ 4417103 h 4996841"/>
                <a:gd name="connsiteX5187" fmla="*/ 2869560 w 3214184"/>
                <a:gd name="connsiteY5187" fmla="*/ 4420400 h 4996841"/>
                <a:gd name="connsiteX5188" fmla="*/ 2870983 w 3214184"/>
                <a:gd name="connsiteY5188" fmla="*/ 4417859 h 4996841"/>
                <a:gd name="connsiteX5189" fmla="*/ 2874189 w 3214184"/>
                <a:gd name="connsiteY5189" fmla="*/ 4418313 h 4996841"/>
                <a:gd name="connsiteX5190" fmla="*/ 2877819 w 3214184"/>
                <a:gd name="connsiteY5190" fmla="*/ 4420279 h 4996841"/>
                <a:gd name="connsiteX5191" fmla="*/ 2880542 w 3214184"/>
                <a:gd name="connsiteY5191" fmla="*/ 4422246 h 4996841"/>
                <a:gd name="connsiteX5192" fmla="*/ 2880451 w 3214184"/>
                <a:gd name="connsiteY5192" fmla="*/ 4420279 h 4996841"/>
                <a:gd name="connsiteX5193" fmla="*/ 2879846 w 3214184"/>
                <a:gd name="connsiteY5193" fmla="*/ 4419039 h 4996841"/>
                <a:gd name="connsiteX5194" fmla="*/ 2879029 w 3214184"/>
                <a:gd name="connsiteY5194" fmla="*/ 4418010 h 4996841"/>
                <a:gd name="connsiteX5195" fmla="*/ 2878545 w 3214184"/>
                <a:gd name="connsiteY5195" fmla="*/ 4416770 h 4996841"/>
                <a:gd name="connsiteX5196" fmla="*/ 2878333 w 3214184"/>
                <a:gd name="connsiteY5196" fmla="*/ 4414955 h 4996841"/>
                <a:gd name="connsiteX5197" fmla="*/ 2878696 w 3214184"/>
                <a:gd name="connsiteY5197" fmla="*/ 4414531 h 4996841"/>
                <a:gd name="connsiteX5198" fmla="*/ 2879634 w 3214184"/>
                <a:gd name="connsiteY5198" fmla="*/ 4414531 h 4996841"/>
                <a:gd name="connsiteX5199" fmla="*/ 2881237 w 3214184"/>
                <a:gd name="connsiteY5199" fmla="*/ 4414078 h 4996841"/>
                <a:gd name="connsiteX5200" fmla="*/ 2883264 w 3214184"/>
                <a:gd name="connsiteY5200" fmla="*/ 4413049 h 4996841"/>
                <a:gd name="connsiteX5201" fmla="*/ 2884020 w 3214184"/>
                <a:gd name="connsiteY5201" fmla="*/ 4412172 h 4996841"/>
                <a:gd name="connsiteX5202" fmla="*/ 2884686 w 3214184"/>
                <a:gd name="connsiteY5202" fmla="*/ 4410357 h 4996841"/>
                <a:gd name="connsiteX5203" fmla="*/ 2884837 w 3214184"/>
                <a:gd name="connsiteY5203" fmla="*/ 4408360 h 4996841"/>
                <a:gd name="connsiteX5204" fmla="*/ 2884746 w 3214184"/>
                <a:gd name="connsiteY5204" fmla="*/ 4406666 h 4996841"/>
                <a:gd name="connsiteX5205" fmla="*/ 2885170 w 3214184"/>
                <a:gd name="connsiteY5205" fmla="*/ 4405426 h 4996841"/>
                <a:gd name="connsiteX5206" fmla="*/ 2886774 w 3214184"/>
                <a:gd name="connsiteY5206" fmla="*/ 4404972 h 4996841"/>
                <a:gd name="connsiteX5207" fmla="*/ 2896272 w 3214184"/>
                <a:gd name="connsiteY5207" fmla="*/ 4405698 h 4996841"/>
                <a:gd name="connsiteX5208" fmla="*/ 2897755 w 3214184"/>
                <a:gd name="connsiteY5208" fmla="*/ 4404549 h 4996841"/>
                <a:gd name="connsiteX5209" fmla="*/ 2897089 w 3214184"/>
                <a:gd name="connsiteY5209" fmla="*/ 4403490 h 4996841"/>
                <a:gd name="connsiteX5210" fmla="*/ 2893761 w 3214184"/>
                <a:gd name="connsiteY5210" fmla="*/ 4403157 h 4996841"/>
                <a:gd name="connsiteX5211" fmla="*/ 2892612 w 3214184"/>
                <a:gd name="connsiteY5211" fmla="*/ 4402734 h 4996841"/>
                <a:gd name="connsiteX5212" fmla="*/ 2892037 w 3214184"/>
                <a:gd name="connsiteY5212" fmla="*/ 4401191 h 4996841"/>
                <a:gd name="connsiteX5213" fmla="*/ 2892854 w 3214184"/>
                <a:gd name="connsiteY5213" fmla="*/ 4400283 h 4996841"/>
                <a:gd name="connsiteX5214" fmla="*/ 2894306 w 3214184"/>
                <a:gd name="connsiteY5214" fmla="*/ 4400283 h 4996841"/>
                <a:gd name="connsiteX5215" fmla="*/ 2895698 w 3214184"/>
                <a:gd name="connsiteY5215" fmla="*/ 4401342 h 4996841"/>
                <a:gd name="connsiteX5216" fmla="*/ 2896484 w 3214184"/>
                <a:gd name="connsiteY5216" fmla="*/ 4399890 h 4996841"/>
                <a:gd name="connsiteX5217" fmla="*/ 2899842 w 3214184"/>
                <a:gd name="connsiteY5217" fmla="*/ 4395050 h 4996841"/>
                <a:gd name="connsiteX5218" fmla="*/ 2902111 w 3214184"/>
                <a:gd name="connsiteY5218" fmla="*/ 4392841 h 4996841"/>
                <a:gd name="connsiteX5219" fmla="*/ 2902927 w 3214184"/>
                <a:gd name="connsiteY5219" fmla="*/ 4391783 h 4996841"/>
                <a:gd name="connsiteX5220" fmla="*/ 2903926 w 3214184"/>
                <a:gd name="connsiteY5220" fmla="*/ 4391661 h 4996841"/>
                <a:gd name="connsiteX5221" fmla="*/ 2905711 w 3214184"/>
                <a:gd name="connsiteY5221" fmla="*/ 4391813 h 4996841"/>
                <a:gd name="connsiteX5222" fmla="*/ 2907405 w 3214184"/>
                <a:gd name="connsiteY5222" fmla="*/ 4391722 h 4996841"/>
                <a:gd name="connsiteX5223" fmla="*/ 2908131 w 3214184"/>
                <a:gd name="connsiteY5223" fmla="*/ 4390814 h 4996841"/>
                <a:gd name="connsiteX5224" fmla="*/ 2908676 w 3214184"/>
                <a:gd name="connsiteY5224" fmla="*/ 4389997 h 4996841"/>
                <a:gd name="connsiteX5225" fmla="*/ 2911973 w 3214184"/>
                <a:gd name="connsiteY5225" fmla="*/ 4388152 h 4996841"/>
                <a:gd name="connsiteX5226" fmla="*/ 2913818 w 3214184"/>
                <a:gd name="connsiteY5226" fmla="*/ 4387698 h 4996841"/>
                <a:gd name="connsiteX5227" fmla="*/ 2915875 w 3214184"/>
                <a:gd name="connsiteY5227" fmla="*/ 4389393 h 4996841"/>
                <a:gd name="connsiteX5228" fmla="*/ 2918507 w 3214184"/>
                <a:gd name="connsiteY5228" fmla="*/ 4393174 h 4996841"/>
                <a:gd name="connsiteX5229" fmla="*/ 2918749 w 3214184"/>
                <a:gd name="connsiteY5229" fmla="*/ 4393779 h 4996841"/>
                <a:gd name="connsiteX5230" fmla="*/ 2919173 w 3214184"/>
                <a:gd name="connsiteY5230" fmla="*/ 4395443 h 4996841"/>
                <a:gd name="connsiteX5231" fmla="*/ 2919535 w 3214184"/>
                <a:gd name="connsiteY5231" fmla="*/ 4395806 h 4996841"/>
                <a:gd name="connsiteX5232" fmla="*/ 2920201 w 3214184"/>
                <a:gd name="connsiteY5232" fmla="*/ 4395897 h 4996841"/>
                <a:gd name="connsiteX5233" fmla="*/ 2920867 w 3214184"/>
                <a:gd name="connsiteY5233" fmla="*/ 4396078 h 4996841"/>
                <a:gd name="connsiteX5234" fmla="*/ 2921472 w 3214184"/>
                <a:gd name="connsiteY5234" fmla="*/ 4396411 h 4996841"/>
                <a:gd name="connsiteX5235" fmla="*/ 2922016 w 3214184"/>
                <a:gd name="connsiteY5235" fmla="*/ 4396774 h 4996841"/>
                <a:gd name="connsiteX5236" fmla="*/ 2924467 w 3214184"/>
                <a:gd name="connsiteY5236" fmla="*/ 4399012 h 4996841"/>
                <a:gd name="connsiteX5237" fmla="*/ 2925828 w 3214184"/>
                <a:gd name="connsiteY5237" fmla="*/ 4399618 h 4996841"/>
                <a:gd name="connsiteX5238" fmla="*/ 2927553 w 3214184"/>
                <a:gd name="connsiteY5238" fmla="*/ 4399496 h 4996841"/>
                <a:gd name="connsiteX5239" fmla="*/ 2925646 w 3214184"/>
                <a:gd name="connsiteY5239" fmla="*/ 4401191 h 4996841"/>
                <a:gd name="connsiteX5240" fmla="*/ 2925193 w 3214184"/>
                <a:gd name="connsiteY5240" fmla="*/ 4403883 h 4996841"/>
                <a:gd name="connsiteX5241" fmla="*/ 2926070 w 3214184"/>
                <a:gd name="connsiteY5241" fmla="*/ 4406605 h 4996841"/>
                <a:gd name="connsiteX5242" fmla="*/ 2928218 w 3214184"/>
                <a:gd name="connsiteY5242" fmla="*/ 4408481 h 4996841"/>
                <a:gd name="connsiteX5243" fmla="*/ 2928067 w 3214184"/>
                <a:gd name="connsiteY5243" fmla="*/ 4406091 h 4996841"/>
                <a:gd name="connsiteX5244" fmla="*/ 2928732 w 3214184"/>
                <a:gd name="connsiteY5244" fmla="*/ 4405214 h 4996841"/>
                <a:gd name="connsiteX5245" fmla="*/ 2930940 w 3214184"/>
                <a:gd name="connsiteY5245" fmla="*/ 4404881 h 4996841"/>
                <a:gd name="connsiteX5246" fmla="*/ 2933149 w 3214184"/>
                <a:gd name="connsiteY5246" fmla="*/ 4403369 h 4996841"/>
                <a:gd name="connsiteX5247" fmla="*/ 2933965 w 3214184"/>
                <a:gd name="connsiteY5247" fmla="*/ 4403611 h 4996841"/>
                <a:gd name="connsiteX5248" fmla="*/ 2935751 w 3214184"/>
                <a:gd name="connsiteY5248" fmla="*/ 4404912 h 4996841"/>
                <a:gd name="connsiteX5249" fmla="*/ 2934843 w 3214184"/>
                <a:gd name="connsiteY5249" fmla="*/ 4402612 h 4996841"/>
                <a:gd name="connsiteX5250" fmla="*/ 2932242 w 3214184"/>
                <a:gd name="connsiteY5250" fmla="*/ 4398680 h 4996841"/>
                <a:gd name="connsiteX5251" fmla="*/ 2932242 w 3214184"/>
                <a:gd name="connsiteY5251" fmla="*/ 4396774 h 4996841"/>
                <a:gd name="connsiteX5252" fmla="*/ 2931455 w 3214184"/>
                <a:gd name="connsiteY5252" fmla="*/ 4396169 h 4996841"/>
                <a:gd name="connsiteX5253" fmla="*/ 2930789 w 3214184"/>
                <a:gd name="connsiteY5253" fmla="*/ 4395171 h 4996841"/>
                <a:gd name="connsiteX5254" fmla="*/ 2930669 w 3214184"/>
                <a:gd name="connsiteY5254" fmla="*/ 4393991 h 4996841"/>
                <a:gd name="connsiteX5255" fmla="*/ 2931757 w 3214184"/>
                <a:gd name="connsiteY5255" fmla="*/ 4391540 h 4996841"/>
                <a:gd name="connsiteX5256" fmla="*/ 2932090 w 3214184"/>
                <a:gd name="connsiteY5256" fmla="*/ 4389877 h 4996841"/>
                <a:gd name="connsiteX5257" fmla="*/ 2931787 w 3214184"/>
                <a:gd name="connsiteY5257" fmla="*/ 4388364 h 4996841"/>
                <a:gd name="connsiteX5258" fmla="*/ 2930608 w 3214184"/>
                <a:gd name="connsiteY5258" fmla="*/ 4387729 h 4996841"/>
                <a:gd name="connsiteX5259" fmla="*/ 2926463 w 3214184"/>
                <a:gd name="connsiteY5259" fmla="*/ 4387456 h 4996841"/>
                <a:gd name="connsiteX5260" fmla="*/ 2924346 w 3214184"/>
                <a:gd name="connsiteY5260" fmla="*/ 4387910 h 4996841"/>
                <a:gd name="connsiteX5261" fmla="*/ 2922016 w 3214184"/>
                <a:gd name="connsiteY5261" fmla="*/ 4389514 h 4996841"/>
                <a:gd name="connsiteX5262" fmla="*/ 2921684 w 3214184"/>
                <a:gd name="connsiteY5262" fmla="*/ 4389060 h 4996841"/>
                <a:gd name="connsiteX5263" fmla="*/ 2921472 w 3214184"/>
                <a:gd name="connsiteY5263" fmla="*/ 4388697 h 4996841"/>
                <a:gd name="connsiteX5264" fmla="*/ 2921260 w 3214184"/>
                <a:gd name="connsiteY5264" fmla="*/ 4387759 h 4996841"/>
                <a:gd name="connsiteX5265" fmla="*/ 2923741 w 3214184"/>
                <a:gd name="connsiteY5265" fmla="*/ 4385944 h 4996841"/>
                <a:gd name="connsiteX5266" fmla="*/ 2925193 w 3214184"/>
                <a:gd name="connsiteY5266" fmla="*/ 4385218 h 4996841"/>
                <a:gd name="connsiteX5267" fmla="*/ 2926463 w 3214184"/>
                <a:gd name="connsiteY5267" fmla="*/ 4384915 h 4996841"/>
                <a:gd name="connsiteX5268" fmla="*/ 2927583 w 3214184"/>
                <a:gd name="connsiteY5268" fmla="*/ 4384250 h 4996841"/>
                <a:gd name="connsiteX5269" fmla="*/ 2928762 w 3214184"/>
                <a:gd name="connsiteY5269" fmla="*/ 4382737 h 4996841"/>
                <a:gd name="connsiteX5270" fmla="*/ 2929458 w 3214184"/>
                <a:gd name="connsiteY5270" fmla="*/ 4381195 h 4996841"/>
                <a:gd name="connsiteX5271" fmla="*/ 2929217 w 3214184"/>
                <a:gd name="connsiteY5271" fmla="*/ 4380498 h 4996841"/>
                <a:gd name="connsiteX5272" fmla="*/ 2928520 w 3214184"/>
                <a:gd name="connsiteY5272" fmla="*/ 4379712 h 4996841"/>
                <a:gd name="connsiteX5273" fmla="*/ 2925405 w 3214184"/>
                <a:gd name="connsiteY5273" fmla="*/ 4374963 h 4996841"/>
                <a:gd name="connsiteX5274" fmla="*/ 2923923 w 3214184"/>
                <a:gd name="connsiteY5274" fmla="*/ 4374176 h 4996841"/>
                <a:gd name="connsiteX5275" fmla="*/ 2920716 w 3214184"/>
                <a:gd name="connsiteY5275" fmla="*/ 4373117 h 4996841"/>
                <a:gd name="connsiteX5276" fmla="*/ 2919233 w 3214184"/>
                <a:gd name="connsiteY5276" fmla="*/ 4372240 h 4996841"/>
                <a:gd name="connsiteX5277" fmla="*/ 2921986 w 3214184"/>
                <a:gd name="connsiteY5277" fmla="*/ 4372240 h 4996841"/>
                <a:gd name="connsiteX5278" fmla="*/ 2922985 w 3214184"/>
                <a:gd name="connsiteY5278" fmla="*/ 4371877 h 4996841"/>
                <a:gd name="connsiteX5279" fmla="*/ 2923136 w 3214184"/>
                <a:gd name="connsiteY5279" fmla="*/ 4371121 h 4996841"/>
                <a:gd name="connsiteX5280" fmla="*/ 2923136 w 3214184"/>
                <a:gd name="connsiteY5280" fmla="*/ 4370213 h 4996841"/>
                <a:gd name="connsiteX5281" fmla="*/ 2923347 w 3214184"/>
                <a:gd name="connsiteY5281" fmla="*/ 4369487 h 4996841"/>
                <a:gd name="connsiteX5282" fmla="*/ 2924406 w 3214184"/>
                <a:gd name="connsiteY5282" fmla="*/ 4367823 h 4996841"/>
                <a:gd name="connsiteX5283" fmla="*/ 2925102 w 3214184"/>
                <a:gd name="connsiteY5283" fmla="*/ 4367521 h 4996841"/>
                <a:gd name="connsiteX5284" fmla="*/ 2926131 w 3214184"/>
                <a:gd name="connsiteY5284" fmla="*/ 4368519 h 4996841"/>
                <a:gd name="connsiteX5285" fmla="*/ 2926736 w 3214184"/>
                <a:gd name="connsiteY5285" fmla="*/ 4368519 h 4996841"/>
                <a:gd name="connsiteX5286" fmla="*/ 2927976 w 3214184"/>
                <a:gd name="connsiteY5286" fmla="*/ 4366583 h 4996841"/>
                <a:gd name="connsiteX5287" fmla="*/ 2931304 w 3214184"/>
                <a:gd name="connsiteY5287" fmla="*/ 4368035 h 4996841"/>
                <a:gd name="connsiteX5288" fmla="*/ 2934752 w 3214184"/>
                <a:gd name="connsiteY5288" fmla="*/ 4371000 h 4996841"/>
                <a:gd name="connsiteX5289" fmla="*/ 2936355 w 3214184"/>
                <a:gd name="connsiteY5289" fmla="*/ 4373601 h 4996841"/>
                <a:gd name="connsiteX5290" fmla="*/ 2936719 w 3214184"/>
                <a:gd name="connsiteY5290" fmla="*/ 4375265 h 4996841"/>
                <a:gd name="connsiteX5291" fmla="*/ 2937445 w 3214184"/>
                <a:gd name="connsiteY5291" fmla="*/ 4376324 h 4996841"/>
                <a:gd name="connsiteX5292" fmla="*/ 2938382 w 3214184"/>
                <a:gd name="connsiteY5292" fmla="*/ 4376324 h 4996841"/>
                <a:gd name="connsiteX5293" fmla="*/ 2939138 w 3214184"/>
                <a:gd name="connsiteY5293" fmla="*/ 4374963 h 4996841"/>
                <a:gd name="connsiteX5294" fmla="*/ 2939350 w 3214184"/>
                <a:gd name="connsiteY5294" fmla="*/ 4372179 h 4996841"/>
                <a:gd name="connsiteX5295" fmla="*/ 2938624 w 3214184"/>
                <a:gd name="connsiteY5295" fmla="*/ 4370062 h 4996841"/>
                <a:gd name="connsiteX5296" fmla="*/ 2935751 w 3214184"/>
                <a:gd name="connsiteY5296" fmla="*/ 4366765 h 4996841"/>
                <a:gd name="connsiteX5297" fmla="*/ 2938473 w 3214184"/>
                <a:gd name="connsiteY5297" fmla="*/ 4367248 h 4996841"/>
                <a:gd name="connsiteX5298" fmla="*/ 2939864 w 3214184"/>
                <a:gd name="connsiteY5298" fmla="*/ 4369517 h 4996841"/>
                <a:gd name="connsiteX5299" fmla="*/ 2940923 w 3214184"/>
                <a:gd name="connsiteY5299" fmla="*/ 4372210 h 4996841"/>
                <a:gd name="connsiteX5300" fmla="*/ 2942618 w 3214184"/>
                <a:gd name="connsiteY5300" fmla="*/ 4374025 h 4996841"/>
                <a:gd name="connsiteX5301" fmla="*/ 2944070 w 3214184"/>
                <a:gd name="connsiteY5301" fmla="*/ 4373420 h 4996841"/>
                <a:gd name="connsiteX5302" fmla="*/ 2943465 w 3214184"/>
                <a:gd name="connsiteY5302" fmla="*/ 4370546 h 4996841"/>
                <a:gd name="connsiteX5303" fmla="*/ 2941740 w 3214184"/>
                <a:gd name="connsiteY5303" fmla="*/ 4367128 h 4996841"/>
                <a:gd name="connsiteX5304" fmla="*/ 2939835 w 3214184"/>
                <a:gd name="connsiteY5304" fmla="*/ 4364919 h 4996841"/>
                <a:gd name="connsiteX5305" fmla="*/ 2940561 w 3214184"/>
                <a:gd name="connsiteY5305" fmla="*/ 4363921 h 4996841"/>
                <a:gd name="connsiteX5306" fmla="*/ 2941952 w 3214184"/>
                <a:gd name="connsiteY5306" fmla="*/ 4365010 h 4996841"/>
                <a:gd name="connsiteX5307" fmla="*/ 2944039 w 3214184"/>
                <a:gd name="connsiteY5307" fmla="*/ 4368126 h 4996841"/>
                <a:gd name="connsiteX5308" fmla="*/ 2945370 w 3214184"/>
                <a:gd name="connsiteY5308" fmla="*/ 4369457 h 4996841"/>
                <a:gd name="connsiteX5309" fmla="*/ 2945370 w 3214184"/>
                <a:gd name="connsiteY5309" fmla="*/ 4367521 h 4996841"/>
                <a:gd name="connsiteX5310" fmla="*/ 2944826 w 3214184"/>
                <a:gd name="connsiteY5310" fmla="*/ 4364798 h 4996841"/>
                <a:gd name="connsiteX5311" fmla="*/ 2944644 w 3214184"/>
                <a:gd name="connsiteY5311" fmla="*/ 4363013 h 4996841"/>
                <a:gd name="connsiteX5312" fmla="*/ 2946551 w 3214184"/>
                <a:gd name="connsiteY5312" fmla="*/ 4364042 h 4996841"/>
                <a:gd name="connsiteX5313" fmla="*/ 2948124 w 3214184"/>
                <a:gd name="connsiteY5313" fmla="*/ 4366250 h 4996841"/>
                <a:gd name="connsiteX5314" fmla="*/ 2949121 w 3214184"/>
                <a:gd name="connsiteY5314" fmla="*/ 4368973 h 4996841"/>
                <a:gd name="connsiteX5315" fmla="*/ 2949485 w 3214184"/>
                <a:gd name="connsiteY5315" fmla="*/ 4371696 h 4996841"/>
                <a:gd name="connsiteX5316" fmla="*/ 2949847 w 3214184"/>
                <a:gd name="connsiteY5316" fmla="*/ 4372452 h 4996841"/>
                <a:gd name="connsiteX5317" fmla="*/ 2950755 w 3214184"/>
                <a:gd name="connsiteY5317" fmla="*/ 4371937 h 4996841"/>
                <a:gd name="connsiteX5318" fmla="*/ 2951693 w 3214184"/>
                <a:gd name="connsiteY5318" fmla="*/ 4370727 h 4996841"/>
                <a:gd name="connsiteX5319" fmla="*/ 2952237 w 3214184"/>
                <a:gd name="connsiteY5319" fmla="*/ 4369487 h 4996841"/>
                <a:gd name="connsiteX5320" fmla="*/ 2951935 w 3214184"/>
                <a:gd name="connsiteY5320" fmla="*/ 4368852 h 4996841"/>
                <a:gd name="connsiteX5321" fmla="*/ 2950181 w 3214184"/>
                <a:gd name="connsiteY5321" fmla="*/ 4365796 h 4996841"/>
                <a:gd name="connsiteX5322" fmla="*/ 2950181 w 3214184"/>
                <a:gd name="connsiteY5322" fmla="*/ 4364950 h 4996841"/>
                <a:gd name="connsiteX5323" fmla="*/ 2952268 w 3214184"/>
                <a:gd name="connsiteY5323" fmla="*/ 4363921 h 4996841"/>
                <a:gd name="connsiteX5324" fmla="*/ 2956110 w 3214184"/>
                <a:gd name="connsiteY5324" fmla="*/ 4360926 h 4996841"/>
                <a:gd name="connsiteX5325" fmla="*/ 2958772 w 3214184"/>
                <a:gd name="connsiteY5325" fmla="*/ 4360321 h 4996841"/>
                <a:gd name="connsiteX5326" fmla="*/ 2959468 w 3214184"/>
                <a:gd name="connsiteY5326" fmla="*/ 4359807 h 4996841"/>
                <a:gd name="connsiteX5327" fmla="*/ 2960043 w 3214184"/>
                <a:gd name="connsiteY5327" fmla="*/ 4358718 h 4996841"/>
                <a:gd name="connsiteX5328" fmla="*/ 2960950 w 3214184"/>
                <a:gd name="connsiteY5328" fmla="*/ 4357750 h 4996841"/>
                <a:gd name="connsiteX5329" fmla="*/ 2962644 w 3214184"/>
                <a:gd name="connsiteY5329" fmla="*/ 4357629 h 4996841"/>
                <a:gd name="connsiteX5330" fmla="*/ 2963673 w 3214184"/>
                <a:gd name="connsiteY5330" fmla="*/ 4358294 h 4996841"/>
                <a:gd name="connsiteX5331" fmla="*/ 2965155 w 3214184"/>
                <a:gd name="connsiteY5331" fmla="*/ 4360986 h 4996841"/>
                <a:gd name="connsiteX5332" fmla="*/ 2966063 w 3214184"/>
                <a:gd name="connsiteY5332" fmla="*/ 4362227 h 4996841"/>
                <a:gd name="connsiteX5333" fmla="*/ 2968241 w 3214184"/>
                <a:gd name="connsiteY5333" fmla="*/ 4363709 h 4996841"/>
                <a:gd name="connsiteX5334" fmla="*/ 2968724 w 3214184"/>
                <a:gd name="connsiteY5334" fmla="*/ 4362711 h 4996841"/>
                <a:gd name="connsiteX5335" fmla="*/ 2967968 w 3214184"/>
                <a:gd name="connsiteY5335" fmla="*/ 4354391 h 4996841"/>
                <a:gd name="connsiteX5336" fmla="*/ 2967242 w 3214184"/>
                <a:gd name="connsiteY5336" fmla="*/ 4351790 h 4996841"/>
                <a:gd name="connsiteX5337" fmla="*/ 2965608 w 3214184"/>
                <a:gd name="connsiteY5337" fmla="*/ 4350398 h 4996841"/>
                <a:gd name="connsiteX5338" fmla="*/ 2962644 w 3214184"/>
                <a:gd name="connsiteY5338" fmla="*/ 4350338 h 4996841"/>
                <a:gd name="connsiteX5339" fmla="*/ 2963370 w 3214184"/>
                <a:gd name="connsiteY5339" fmla="*/ 4348734 h 4996841"/>
                <a:gd name="connsiteX5340" fmla="*/ 2963854 w 3214184"/>
                <a:gd name="connsiteY5340" fmla="*/ 4348130 h 4996841"/>
                <a:gd name="connsiteX5341" fmla="*/ 2964671 w 3214184"/>
                <a:gd name="connsiteY5341" fmla="*/ 4347585 h 4996841"/>
                <a:gd name="connsiteX5342" fmla="*/ 2964338 w 3214184"/>
                <a:gd name="connsiteY5342" fmla="*/ 4345740 h 4996841"/>
                <a:gd name="connsiteX5343" fmla="*/ 2965578 w 3214184"/>
                <a:gd name="connsiteY5343" fmla="*/ 4344651 h 4996841"/>
                <a:gd name="connsiteX5344" fmla="*/ 2968755 w 3214184"/>
                <a:gd name="connsiteY5344" fmla="*/ 4343138 h 4996841"/>
                <a:gd name="connsiteX5345" fmla="*/ 2970600 w 3214184"/>
                <a:gd name="connsiteY5345" fmla="*/ 4339962 h 4996841"/>
                <a:gd name="connsiteX5346" fmla="*/ 2971780 w 3214184"/>
                <a:gd name="connsiteY5346" fmla="*/ 4339115 h 4996841"/>
                <a:gd name="connsiteX5347" fmla="*/ 2973595 w 3214184"/>
                <a:gd name="connsiteY5347" fmla="*/ 4340204 h 4996841"/>
                <a:gd name="connsiteX5348" fmla="*/ 2970963 w 3214184"/>
                <a:gd name="connsiteY5348" fmla="*/ 4342563 h 4996841"/>
                <a:gd name="connsiteX5349" fmla="*/ 2972748 w 3214184"/>
                <a:gd name="connsiteY5349" fmla="*/ 4344983 h 4996841"/>
                <a:gd name="connsiteX5350" fmla="*/ 2976590 w 3214184"/>
                <a:gd name="connsiteY5350" fmla="*/ 4346829 h 4996841"/>
                <a:gd name="connsiteX5351" fmla="*/ 2980159 w 3214184"/>
                <a:gd name="connsiteY5351" fmla="*/ 4347585 h 4996841"/>
                <a:gd name="connsiteX5352" fmla="*/ 2981763 w 3214184"/>
                <a:gd name="connsiteY5352" fmla="*/ 4348220 h 4996841"/>
                <a:gd name="connsiteX5353" fmla="*/ 2983397 w 3214184"/>
                <a:gd name="connsiteY5353" fmla="*/ 4349551 h 4996841"/>
                <a:gd name="connsiteX5354" fmla="*/ 2985030 w 3214184"/>
                <a:gd name="connsiteY5354" fmla="*/ 4350580 h 4996841"/>
                <a:gd name="connsiteX5355" fmla="*/ 2986664 w 3214184"/>
                <a:gd name="connsiteY5355" fmla="*/ 4350308 h 4996841"/>
                <a:gd name="connsiteX5356" fmla="*/ 2987451 w 3214184"/>
                <a:gd name="connsiteY5356" fmla="*/ 4348795 h 4996841"/>
                <a:gd name="connsiteX5357" fmla="*/ 2986422 w 3214184"/>
                <a:gd name="connsiteY5357" fmla="*/ 4347252 h 4996841"/>
                <a:gd name="connsiteX5358" fmla="*/ 2983215 w 3214184"/>
                <a:gd name="connsiteY5358" fmla="*/ 4344802 h 4996841"/>
                <a:gd name="connsiteX5359" fmla="*/ 2979524 w 3214184"/>
                <a:gd name="connsiteY5359" fmla="*/ 4340173 h 4996841"/>
                <a:gd name="connsiteX5360" fmla="*/ 2960012 w 3214184"/>
                <a:gd name="connsiteY5360" fmla="*/ 4329858 h 4996841"/>
                <a:gd name="connsiteX5361" fmla="*/ 2952631 w 3214184"/>
                <a:gd name="connsiteY5361" fmla="*/ 4324443 h 4996841"/>
                <a:gd name="connsiteX5362" fmla="*/ 2948395 w 3214184"/>
                <a:gd name="connsiteY5362" fmla="*/ 4320540 h 4996841"/>
                <a:gd name="connsiteX5363" fmla="*/ 2946308 w 3214184"/>
                <a:gd name="connsiteY5363" fmla="*/ 4319482 h 4996841"/>
                <a:gd name="connsiteX5364" fmla="*/ 2943465 w 3214184"/>
                <a:gd name="connsiteY5364" fmla="*/ 4319482 h 4996841"/>
                <a:gd name="connsiteX5365" fmla="*/ 2940984 w 3214184"/>
                <a:gd name="connsiteY5365" fmla="*/ 4319966 h 4996841"/>
                <a:gd name="connsiteX5366" fmla="*/ 2938503 w 3214184"/>
                <a:gd name="connsiteY5366" fmla="*/ 4319875 h 4996841"/>
                <a:gd name="connsiteX5367" fmla="*/ 2932362 w 3214184"/>
                <a:gd name="connsiteY5367" fmla="*/ 4315337 h 4996841"/>
                <a:gd name="connsiteX5368" fmla="*/ 2929761 w 3214184"/>
                <a:gd name="connsiteY5368" fmla="*/ 4312524 h 4996841"/>
                <a:gd name="connsiteX5369" fmla="*/ 2926948 w 3214184"/>
                <a:gd name="connsiteY5369" fmla="*/ 4310315 h 4996841"/>
                <a:gd name="connsiteX5370" fmla="*/ 2922924 w 3214184"/>
                <a:gd name="connsiteY5370" fmla="*/ 4309408 h 4996841"/>
                <a:gd name="connsiteX5371" fmla="*/ 2913697 w 3214184"/>
                <a:gd name="connsiteY5371" fmla="*/ 4309257 h 4996841"/>
                <a:gd name="connsiteX5372" fmla="*/ 2910279 w 3214184"/>
                <a:gd name="connsiteY5372" fmla="*/ 4307956 h 4996841"/>
                <a:gd name="connsiteX5373" fmla="*/ 2912668 w 3214184"/>
                <a:gd name="connsiteY5373" fmla="*/ 4304810 h 4996841"/>
                <a:gd name="connsiteX5374" fmla="*/ 2911035 w 3214184"/>
                <a:gd name="connsiteY5374" fmla="*/ 4303751 h 4996841"/>
                <a:gd name="connsiteX5375" fmla="*/ 2910551 w 3214184"/>
                <a:gd name="connsiteY5375" fmla="*/ 4301845 h 4996841"/>
                <a:gd name="connsiteX5376" fmla="*/ 2910309 w 3214184"/>
                <a:gd name="connsiteY5376" fmla="*/ 4299879 h 4996841"/>
                <a:gd name="connsiteX5377" fmla="*/ 2909371 w 3214184"/>
                <a:gd name="connsiteY5377" fmla="*/ 4298517 h 4996841"/>
                <a:gd name="connsiteX5378" fmla="*/ 2905711 w 3214184"/>
                <a:gd name="connsiteY5378" fmla="*/ 4296430 h 4996841"/>
                <a:gd name="connsiteX5379" fmla="*/ 2903744 w 3214184"/>
                <a:gd name="connsiteY5379" fmla="*/ 4295674 h 4996841"/>
                <a:gd name="connsiteX5380" fmla="*/ 2901839 w 3214184"/>
                <a:gd name="connsiteY5380" fmla="*/ 4295492 h 4996841"/>
                <a:gd name="connsiteX5381" fmla="*/ 2904259 w 3214184"/>
                <a:gd name="connsiteY5381" fmla="*/ 4292406 h 4996841"/>
                <a:gd name="connsiteX5382" fmla="*/ 2906921 w 3214184"/>
                <a:gd name="connsiteY5382" fmla="*/ 4285781 h 4996841"/>
                <a:gd name="connsiteX5383" fmla="*/ 2912033 w 3214184"/>
                <a:gd name="connsiteY5383" fmla="*/ 4281879 h 4996841"/>
                <a:gd name="connsiteX5384" fmla="*/ 2918235 w 3214184"/>
                <a:gd name="connsiteY5384" fmla="*/ 4280699 h 4996841"/>
                <a:gd name="connsiteX5385" fmla="*/ 2924073 w 3214184"/>
                <a:gd name="connsiteY5385" fmla="*/ 4282363 h 4996841"/>
                <a:gd name="connsiteX5386" fmla="*/ 2926161 w 3214184"/>
                <a:gd name="connsiteY5386" fmla="*/ 4284117 h 4996841"/>
                <a:gd name="connsiteX5387" fmla="*/ 2927674 w 3214184"/>
                <a:gd name="connsiteY5387" fmla="*/ 4286296 h 4996841"/>
                <a:gd name="connsiteX5388" fmla="*/ 2930396 w 3214184"/>
                <a:gd name="connsiteY5388" fmla="*/ 4291469 h 4996841"/>
                <a:gd name="connsiteX5389" fmla="*/ 2932877 w 3214184"/>
                <a:gd name="connsiteY5389" fmla="*/ 4292497 h 4996841"/>
                <a:gd name="connsiteX5390" fmla="*/ 2948274 w 3214184"/>
                <a:gd name="connsiteY5390" fmla="*/ 4289835 h 4996841"/>
                <a:gd name="connsiteX5391" fmla="*/ 2951390 w 3214184"/>
                <a:gd name="connsiteY5391" fmla="*/ 4287475 h 4996841"/>
                <a:gd name="connsiteX5392" fmla="*/ 2957229 w 3214184"/>
                <a:gd name="connsiteY5392" fmla="*/ 4280850 h 4996841"/>
                <a:gd name="connsiteX5393" fmla="*/ 2926161 w 3214184"/>
                <a:gd name="connsiteY5393" fmla="*/ 4235988 h 4996841"/>
                <a:gd name="connsiteX5394" fmla="*/ 2910975 w 3214184"/>
                <a:gd name="connsiteY5394" fmla="*/ 4199474 h 4996841"/>
                <a:gd name="connsiteX5395" fmla="*/ 2909916 w 3214184"/>
                <a:gd name="connsiteY5395" fmla="*/ 4196207 h 4996841"/>
                <a:gd name="connsiteX5396" fmla="*/ 2908857 w 3214184"/>
                <a:gd name="connsiteY5396" fmla="*/ 4193908 h 4996841"/>
                <a:gd name="connsiteX5397" fmla="*/ 2907374 w 3214184"/>
                <a:gd name="connsiteY5397" fmla="*/ 4192970 h 4996841"/>
                <a:gd name="connsiteX5398" fmla="*/ 2903623 w 3214184"/>
                <a:gd name="connsiteY5398" fmla="*/ 4192546 h 4996841"/>
                <a:gd name="connsiteX5399" fmla="*/ 2900054 w 3214184"/>
                <a:gd name="connsiteY5399" fmla="*/ 4191336 h 4996841"/>
                <a:gd name="connsiteX5400" fmla="*/ 2897392 w 3214184"/>
                <a:gd name="connsiteY5400" fmla="*/ 4189068 h 4996841"/>
                <a:gd name="connsiteX5401" fmla="*/ 2892370 w 3214184"/>
                <a:gd name="connsiteY5401" fmla="*/ 4182654 h 4996841"/>
                <a:gd name="connsiteX5402" fmla="*/ 2892339 w 3214184"/>
                <a:gd name="connsiteY5402" fmla="*/ 4182654 h 4996841"/>
                <a:gd name="connsiteX5403" fmla="*/ 2873584 w 3214184"/>
                <a:gd name="connsiteY5403" fmla="*/ 4152493 h 4996841"/>
                <a:gd name="connsiteX5404" fmla="*/ 2867352 w 3214184"/>
                <a:gd name="connsiteY5404" fmla="*/ 4147593 h 4996841"/>
                <a:gd name="connsiteX5405" fmla="*/ 2860515 w 3214184"/>
                <a:gd name="connsiteY5405" fmla="*/ 4144689 h 4996841"/>
                <a:gd name="connsiteX5406" fmla="*/ 2820795 w 3214184"/>
                <a:gd name="connsiteY5406" fmla="*/ 4145293 h 4996841"/>
                <a:gd name="connsiteX5407" fmla="*/ 2799225 w 3214184"/>
                <a:gd name="connsiteY5407" fmla="*/ 4135825 h 4996841"/>
                <a:gd name="connsiteX5408" fmla="*/ 2796867 w 3214184"/>
                <a:gd name="connsiteY5408" fmla="*/ 4135643 h 4996841"/>
                <a:gd name="connsiteX5409" fmla="*/ 2795051 w 3214184"/>
                <a:gd name="connsiteY5409" fmla="*/ 4136854 h 4996841"/>
                <a:gd name="connsiteX5410" fmla="*/ 2794507 w 3214184"/>
                <a:gd name="connsiteY5410" fmla="*/ 4138941 h 4996841"/>
                <a:gd name="connsiteX5411" fmla="*/ 2794598 w 3214184"/>
                <a:gd name="connsiteY5411" fmla="*/ 4147199 h 4996841"/>
                <a:gd name="connsiteX5412" fmla="*/ 2793931 w 3214184"/>
                <a:gd name="connsiteY5412" fmla="*/ 4153552 h 4996841"/>
                <a:gd name="connsiteX5413" fmla="*/ 2793085 w 3214184"/>
                <a:gd name="connsiteY5413" fmla="*/ 4156244 h 4996841"/>
                <a:gd name="connsiteX5414" fmla="*/ 2791603 w 3214184"/>
                <a:gd name="connsiteY5414" fmla="*/ 4156577 h 4996841"/>
                <a:gd name="connsiteX5415" fmla="*/ 2772937 w 3214184"/>
                <a:gd name="connsiteY5415" fmla="*/ 4144598 h 4996841"/>
                <a:gd name="connsiteX5416" fmla="*/ 2769519 w 3214184"/>
                <a:gd name="connsiteY5416" fmla="*/ 4141512 h 4996841"/>
                <a:gd name="connsiteX5417" fmla="*/ 2767825 w 3214184"/>
                <a:gd name="connsiteY5417" fmla="*/ 4139395 h 4996841"/>
                <a:gd name="connsiteX5418" fmla="*/ 2767431 w 3214184"/>
                <a:gd name="connsiteY5418" fmla="*/ 4137821 h 4996841"/>
                <a:gd name="connsiteX5419" fmla="*/ 2767976 w 3214184"/>
                <a:gd name="connsiteY5419" fmla="*/ 4136128 h 4996841"/>
                <a:gd name="connsiteX5420" fmla="*/ 2769337 w 3214184"/>
                <a:gd name="connsiteY5420" fmla="*/ 4133738 h 4996841"/>
                <a:gd name="connsiteX5421" fmla="*/ 2770003 w 3214184"/>
                <a:gd name="connsiteY5421" fmla="*/ 4132860 h 4996841"/>
                <a:gd name="connsiteX5422" fmla="*/ 2770699 w 3214184"/>
                <a:gd name="connsiteY5422" fmla="*/ 4132407 h 4996841"/>
                <a:gd name="connsiteX5423" fmla="*/ 2771183 w 3214184"/>
                <a:gd name="connsiteY5423" fmla="*/ 4131832 h 4996841"/>
                <a:gd name="connsiteX5424" fmla="*/ 2771334 w 3214184"/>
                <a:gd name="connsiteY5424" fmla="*/ 4130682 h 4996841"/>
                <a:gd name="connsiteX5425" fmla="*/ 2771001 w 3214184"/>
                <a:gd name="connsiteY5425" fmla="*/ 4129835 h 4996841"/>
                <a:gd name="connsiteX5426" fmla="*/ 2767613 w 3214184"/>
                <a:gd name="connsiteY5426" fmla="*/ 4124602 h 4996841"/>
                <a:gd name="connsiteX5427" fmla="*/ 2760535 w 3214184"/>
                <a:gd name="connsiteY5427" fmla="*/ 4116464 h 4996841"/>
                <a:gd name="connsiteX5428" fmla="*/ 2759839 w 3214184"/>
                <a:gd name="connsiteY5428" fmla="*/ 4114861 h 4996841"/>
                <a:gd name="connsiteX5429" fmla="*/ 2761230 w 3214184"/>
                <a:gd name="connsiteY5429" fmla="*/ 4113711 h 4996841"/>
                <a:gd name="connsiteX5430" fmla="*/ 2769156 w 3214184"/>
                <a:gd name="connsiteY5430" fmla="*/ 4109173 h 4996841"/>
                <a:gd name="connsiteX5431" fmla="*/ 2773270 w 3214184"/>
                <a:gd name="connsiteY5431" fmla="*/ 4105816 h 4996841"/>
                <a:gd name="connsiteX5432" fmla="*/ 2774662 w 3214184"/>
                <a:gd name="connsiteY5432" fmla="*/ 4103063 h 4996841"/>
                <a:gd name="connsiteX5433" fmla="*/ 2772846 w 3214184"/>
                <a:gd name="connsiteY5433" fmla="*/ 4101369 h 4996841"/>
                <a:gd name="connsiteX5434" fmla="*/ 2767371 w 3214184"/>
                <a:gd name="connsiteY5434" fmla="*/ 4100794 h 4996841"/>
                <a:gd name="connsiteX5435" fmla="*/ 2765768 w 3214184"/>
                <a:gd name="connsiteY5435" fmla="*/ 4099009 h 4996841"/>
                <a:gd name="connsiteX5436" fmla="*/ 2765768 w 3214184"/>
                <a:gd name="connsiteY5436" fmla="*/ 4096498 h 4996841"/>
                <a:gd name="connsiteX5437" fmla="*/ 2766555 w 3214184"/>
                <a:gd name="connsiteY5437" fmla="*/ 4094138 h 4996841"/>
                <a:gd name="connsiteX5438" fmla="*/ 2767038 w 3214184"/>
                <a:gd name="connsiteY5438" fmla="*/ 4091688 h 4996841"/>
                <a:gd name="connsiteX5439" fmla="*/ 2766312 w 3214184"/>
                <a:gd name="connsiteY5439" fmla="*/ 4088935 h 4996841"/>
                <a:gd name="connsiteX5440" fmla="*/ 2765647 w 3214184"/>
                <a:gd name="connsiteY5440" fmla="*/ 4088058 h 4996841"/>
                <a:gd name="connsiteX5441" fmla="*/ 2763408 w 3214184"/>
                <a:gd name="connsiteY5441" fmla="*/ 4085850 h 4996841"/>
                <a:gd name="connsiteX5442" fmla="*/ 2762924 w 3214184"/>
                <a:gd name="connsiteY5442" fmla="*/ 4084609 h 4996841"/>
                <a:gd name="connsiteX5443" fmla="*/ 2763560 w 3214184"/>
                <a:gd name="connsiteY5443" fmla="*/ 4083671 h 4996841"/>
                <a:gd name="connsiteX5444" fmla="*/ 2764618 w 3214184"/>
                <a:gd name="connsiteY5444" fmla="*/ 4082915 h 4996841"/>
                <a:gd name="connsiteX5445" fmla="*/ 2765283 w 3214184"/>
                <a:gd name="connsiteY5445" fmla="*/ 4082189 h 4996841"/>
                <a:gd name="connsiteX5446" fmla="*/ 2766645 w 3214184"/>
                <a:gd name="connsiteY5446" fmla="*/ 4079587 h 4996841"/>
                <a:gd name="connsiteX5447" fmla="*/ 2766645 w 3214184"/>
                <a:gd name="connsiteY5447" fmla="*/ 4079467 h 4996841"/>
                <a:gd name="connsiteX5448" fmla="*/ 2766585 w 3214184"/>
                <a:gd name="connsiteY5448" fmla="*/ 4078256 h 4996841"/>
                <a:gd name="connsiteX5449" fmla="*/ 2765314 w 3214184"/>
                <a:gd name="connsiteY5449" fmla="*/ 4076260 h 4996841"/>
                <a:gd name="connsiteX5450" fmla="*/ 2763227 w 3214184"/>
                <a:gd name="connsiteY5450" fmla="*/ 4074899 h 4996841"/>
                <a:gd name="connsiteX5451" fmla="*/ 2753274 w 3214184"/>
                <a:gd name="connsiteY5451" fmla="*/ 4072327 h 4996841"/>
                <a:gd name="connsiteX5452" fmla="*/ 2728135 w 3214184"/>
                <a:gd name="connsiteY5452" fmla="*/ 4064220 h 4996841"/>
                <a:gd name="connsiteX5453" fmla="*/ 2702996 w 3214184"/>
                <a:gd name="connsiteY5453" fmla="*/ 4056143 h 4996841"/>
                <a:gd name="connsiteX5454" fmla="*/ 2702875 w 3214184"/>
                <a:gd name="connsiteY5454" fmla="*/ 4056143 h 4996841"/>
                <a:gd name="connsiteX5455" fmla="*/ 2702875 w 3214184"/>
                <a:gd name="connsiteY5455" fmla="*/ 4056022 h 4996841"/>
                <a:gd name="connsiteX5456" fmla="*/ 2702996 w 3214184"/>
                <a:gd name="connsiteY5456" fmla="*/ 4055901 h 4996841"/>
                <a:gd name="connsiteX5457" fmla="*/ 2717154 w 3214184"/>
                <a:gd name="connsiteY5457" fmla="*/ 4019992 h 4996841"/>
                <a:gd name="connsiteX5458" fmla="*/ 2730615 w 3214184"/>
                <a:gd name="connsiteY5458" fmla="*/ 3985717 h 4996841"/>
                <a:gd name="connsiteX5459" fmla="*/ 2733036 w 3214184"/>
                <a:gd name="connsiteY5459" fmla="*/ 3982601 h 4996841"/>
                <a:gd name="connsiteX5460" fmla="*/ 2736514 w 3214184"/>
                <a:gd name="connsiteY5460" fmla="*/ 3980151 h 4996841"/>
                <a:gd name="connsiteX5461" fmla="*/ 2744077 w 3214184"/>
                <a:gd name="connsiteY5461" fmla="*/ 3976370 h 4996841"/>
                <a:gd name="connsiteX5462" fmla="*/ 2746376 w 3214184"/>
                <a:gd name="connsiteY5462" fmla="*/ 3974615 h 4996841"/>
                <a:gd name="connsiteX5463" fmla="*/ 2748313 w 3214184"/>
                <a:gd name="connsiteY5463" fmla="*/ 3973072 h 4996841"/>
                <a:gd name="connsiteX5464" fmla="*/ 2753243 w 3214184"/>
                <a:gd name="connsiteY5464" fmla="*/ 3966961 h 4996841"/>
                <a:gd name="connsiteX5465" fmla="*/ 2757449 w 3214184"/>
                <a:gd name="connsiteY5465" fmla="*/ 3960003 h 4996841"/>
                <a:gd name="connsiteX5466" fmla="*/ 2759354 w 3214184"/>
                <a:gd name="connsiteY5466" fmla="*/ 3952441 h 4996841"/>
                <a:gd name="connsiteX5467" fmla="*/ 2758205 w 3214184"/>
                <a:gd name="connsiteY5467" fmla="*/ 3945241 h 4996841"/>
                <a:gd name="connsiteX5468" fmla="*/ 2753274 w 3214184"/>
                <a:gd name="connsiteY5468" fmla="*/ 3939190 h 4996841"/>
                <a:gd name="connsiteX5469" fmla="*/ 2738330 w 3214184"/>
                <a:gd name="connsiteY5469" fmla="*/ 3928693 h 4996841"/>
                <a:gd name="connsiteX5470" fmla="*/ 2732733 w 3214184"/>
                <a:gd name="connsiteY5470" fmla="*/ 3926697 h 4996841"/>
                <a:gd name="connsiteX5471" fmla="*/ 2738995 w 3214184"/>
                <a:gd name="connsiteY5471" fmla="*/ 3892059 h 4996841"/>
                <a:gd name="connsiteX5472" fmla="*/ 2745288 w 3214184"/>
                <a:gd name="connsiteY5472" fmla="*/ 3857239 h 4996841"/>
                <a:gd name="connsiteX5473" fmla="*/ 2747557 w 3214184"/>
                <a:gd name="connsiteY5473" fmla="*/ 3851371 h 4996841"/>
                <a:gd name="connsiteX5474" fmla="*/ 2751187 w 3214184"/>
                <a:gd name="connsiteY5474" fmla="*/ 3848073 h 4996841"/>
                <a:gd name="connsiteX5475" fmla="*/ 2773210 w 3214184"/>
                <a:gd name="connsiteY5475" fmla="*/ 3839028 h 4996841"/>
                <a:gd name="connsiteX5476" fmla="*/ 2780077 w 3214184"/>
                <a:gd name="connsiteY5476" fmla="*/ 3832554 h 4996841"/>
                <a:gd name="connsiteX5477" fmla="*/ 2786399 w 3214184"/>
                <a:gd name="connsiteY5477" fmla="*/ 3825021 h 4996841"/>
                <a:gd name="connsiteX5478" fmla="*/ 2788426 w 3214184"/>
                <a:gd name="connsiteY5478" fmla="*/ 3820968 h 4996841"/>
                <a:gd name="connsiteX5479" fmla="*/ 2788305 w 3214184"/>
                <a:gd name="connsiteY5479" fmla="*/ 3815734 h 4996841"/>
                <a:gd name="connsiteX5480" fmla="*/ 2782829 w 3214184"/>
                <a:gd name="connsiteY5480" fmla="*/ 3808656 h 4996841"/>
                <a:gd name="connsiteX5481" fmla="*/ 2782013 w 3214184"/>
                <a:gd name="connsiteY5481" fmla="*/ 3804632 h 4996841"/>
                <a:gd name="connsiteX5482" fmla="*/ 2783163 w 3214184"/>
                <a:gd name="connsiteY5482" fmla="*/ 3802666 h 4996841"/>
                <a:gd name="connsiteX5483" fmla="*/ 2786823 w 3214184"/>
                <a:gd name="connsiteY5483" fmla="*/ 3799429 h 4996841"/>
                <a:gd name="connsiteX5484" fmla="*/ 2787821 w 3214184"/>
                <a:gd name="connsiteY5484" fmla="*/ 3797221 h 4996841"/>
                <a:gd name="connsiteX5485" fmla="*/ 2787276 w 3214184"/>
                <a:gd name="connsiteY5485" fmla="*/ 3795012 h 4996841"/>
                <a:gd name="connsiteX5486" fmla="*/ 2785885 w 3214184"/>
                <a:gd name="connsiteY5486" fmla="*/ 3793469 h 4996841"/>
                <a:gd name="connsiteX5487" fmla="*/ 2785007 w 3214184"/>
                <a:gd name="connsiteY5487" fmla="*/ 3791715 h 4996841"/>
                <a:gd name="connsiteX5488" fmla="*/ 2786127 w 3214184"/>
                <a:gd name="connsiteY5488" fmla="*/ 3788901 h 4996841"/>
                <a:gd name="connsiteX5489" fmla="*/ 2787851 w 3214184"/>
                <a:gd name="connsiteY5489" fmla="*/ 3787540 h 4996841"/>
                <a:gd name="connsiteX5490" fmla="*/ 2794809 w 3214184"/>
                <a:gd name="connsiteY5490" fmla="*/ 3784818 h 4996841"/>
                <a:gd name="connsiteX5491" fmla="*/ 2796261 w 3214184"/>
                <a:gd name="connsiteY5491" fmla="*/ 3783214 h 4996841"/>
                <a:gd name="connsiteX5492" fmla="*/ 2799105 w 3214184"/>
                <a:gd name="connsiteY5492" fmla="*/ 3777103 h 4996841"/>
                <a:gd name="connsiteX5493" fmla="*/ 2799559 w 3214184"/>
                <a:gd name="connsiteY5493" fmla="*/ 3776105 h 4996841"/>
                <a:gd name="connsiteX5494" fmla="*/ 2802644 w 3214184"/>
                <a:gd name="connsiteY5494" fmla="*/ 3771961 h 4996841"/>
                <a:gd name="connsiteX5495" fmla="*/ 2806849 w 3214184"/>
                <a:gd name="connsiteY5495" fmla="*/ 3768300 h 4996841"/>
                <a:gd name="connsiteX5496" fmla="*/ 2811417 w 3214184"/>
                <a:gd name="connsiteY5496" fmla="*/ 3766061 h 4996841"/>
                <a:gd name="connsiteX5497" fmla="*/ 2815683 w 3214184"/>
                <a:gd name="connsiteY5497" fmla="*/ 3766061 h 4996841"/>
                <a:gd name="connsiteX5498" fmla="*/ 2818223 w 3214184"/>
                <a:gd name="connsiteY5498" fmla="*/ 3767756 h 4996841"/>
                <a:gd name="connsiteX5499" fmla="*/ 2824789 w 3214184"/>
                <a:gd name="connsiteY5499" fmla="*/ 3775621 h 4996841"/>
                <a:gd name="connsiteX5500" fmla="*/ 2829326 w 3214184"/>
                <a:gd name="connsiteY5500" fmla="*/ 3777981 h 4996841"/>
                <a:gd name="connsiteX5501" fmla="*/ 2830748 w 3214184"/>
                <a:gd name="connsiteY5501" fmla="*/ 3779433 h 4996841"/>
                <a:gd name="connsiteX5502" fmla="*/ 2831867 w 3214184"/>
                <a:gd name="connsiteY5502" fmla="*/ 3781339 h 4996841"/>
                <a:gd name="connsiteX5503" fmla="*/ 2832563 w 3214184"/>
                <a:gd name="connsiteY5503" fmla="*/ 3782791 h 4996841"/>
                <a:gd name="connsiteX5504" fmla="*/ 2833501 w 3214184"/>
                <a:gd name="connsiteY5504" fmla="*/ 3783849 h 4996841"/>
                <a:gd name="connsiteX5505" fmla="*/ 2835437 w 3214184"/>
                <a:gd name="connsiteY5505" fmla="*/ 3784575 h 4996841"/>
                <a:gd name="connsiteX5506" fmla="*/ 2836677 w 3214184"/>
                <a:gd name="connsiteY5506" fmla="*/ 3785301 h 4996841"/>
                <a:gd name="connsiteX5507" fmla="*/ 2841366 w 3214184"/>
                <a:gd name="connsiteY5507" fmla="*/ 3790353 h 4996841"/>
                <a:gd name="connsiteX5508" fmla="*/ 2843302 w 3214184"/>
                <a:gd name="connsiteY5508" fmla="*/ 3793046 h 4996841"/>
                <a:gd name="connsiteX5509" fmla="*/ 2847295 w 3214184"/>
                <a:gd name="connsiteY5509" fmla="*/ 3796313 h 4996841"/>
                <a:gd name="connsiteX5510" fmla="*/ 2851319 w 3214184"/>
                <a:gd name="connsiteY5510" fmla="*/ 3801910 h 4996841"/>
                <a:gd name="connsiteX5511" fmla="*/ 2855312 w 3214184"/>
                <a:gd name="connsiteY5511" fmla="*/ 3805237 h 4996841"/>
                <a:gd name="connsiteX5512" fmla="*/ 2856007 w 3214184"/>
                <a:gd name="connsiteY5512" fmla="*/ 3806992 h 4996841"/>
                <a:gd name="connsiteX5513" fmla="*/ 2856492 w 3214184"/>
                <a:gd name="connsiteY5513" fmla="*/ 3808988 h 4996841"/>
                <a:gd name="connsiteX5514" fmla="*/ 2857188 w 3214184"/>
                <a:gd name="connsiteY5514" fmla="*/ 3810985 h 4996841"/>
                <a:gd name="connsiteX5515" fmla="*/ 2858458 w 3214184"/>
                <a:gd name="connsiteY5515" fmla="*/ 3812528 h 4996841"/>
                <a:gd name="connsiteX5516" fmla="*/ 2863479 w 3214184"/>
                <a:gd name="connsiteY5516" fmla="*/ 3816279 h 4996841"/>
                <a:gd name="connsiteX5517" fmla="*/ 2865658 w 3214184"/>
                <a:gd name="connsiteY5517" fmla="*/ 3820090 h 4996841"/>
                <a:gd name="connsiteX5518" fmla="*/ 2866595 w 3214184"/>
                <a:gd name="connsiteY5518" fmla="*/ 3824114 h 4996841"/>
                <a:gd name="connsiteX5519" fmla="*/ 2867261 w 3214184"/>
                <a:gd name="connsiteY5519" fmla="*/ 3828259 h 4996841"/>
                <a:gd name="connsiteX5520" fmla="*/ 2868593 w 3214184"/>
                <a:gd name="connsiteY5520" fmla="*/ 3832433 h 4996841"/>
                <a:gd name="connsiteX5521" fmla="*/ 2869258 w 3214184"/>
                <a:gd name="connsiteY5521" fmla="*/ 3833764 h 4996841"/>
                <a:gd name="connsiteX5522" fmla="*/ 2870286 w 3214184"/>
                <a:gd name="connsiteY5522" fmla="*/ 3836638 h 4996841"/>
                <a:gd name="connsiteX5523" fmla="*/ 2870983 w 3214184"/>
                <a:gd name="connsiteY5523" fmla="*/ 3837878 h 4996841"/>
                <a:gd name="connsiteX5524" fmla="*/ 2872162 w 3214184"/>
                <a:gd name="connsiteY5524" fmla="*/ 3839088 h 4996841"/>
                <a:gd name="connsiteX5525" fmla="*/ 2876125 w 3214184"/>
                <a:gd name="connsiteY5525" fmla="*/ 3842144 h 4996841"/>
                <a:gd name="connsiteX5526" fmla="*/ 2878091 w 3214184"/>
                <a:gd name="connsiteY5526" fmla="*/ 3845532 h 4996841"/>
                <a:gd name="connsiteX5527" fmla="*/ 2878817 w 3214184"/>
                <a:gd name="connsiteY5527" fmla="*/ 3848709 h 4996841"/>
                <a:gd name="connsiteX5528" fmla="*/ 2880028 w 3214184"/>
                <a:gd name="connsiteY5528" fmla="*/ 3850796 h 4996841"/>
                <a:gd name="connsiteX5529" fmla="*/ 2883537 w 3214184"/>
                <a:gd name="connsiteY5529" fmla="*/ 3851068 h 4996841"/>
                <a:gd name="connsiteX5530" fmla="*/ 2886410 w 3214184"/>
                <a:gd name="connsiteY5530" fmla="*/ 3850554 h 4996841"/>
                <a:gd name="connsiteX5531" fmla="*/ 2887348 w 3214184"/>
                <a:gd name="connsiteY5531" fmla="*/ 3851008 h 4996841"/>
                <a:gd name="connsiteX5532" fmla="*/ 2892128 w 3214184"/>
                <a:gd name="connsiteY5532" fmla="*/ 3855243 h 4996841"/>
                <a:gd name="connsiteX5533" fmla="*/ 2897967 w 3214184"/>
                <a:gd name="connsiteY5533" fmla="*/ 3858419 h 4996841"/>
                <a:gd name="connsiteX5534" fmla="*/ 2899207 w 3214184"/>
                <a:gd name="connsiteY5534" fmla="*/ 3858722 h 4996841"/>
                <a:gd name="connsiteX5535" fmla="*/ 2900508 w 3214184"/>
                <a:gd name="connsiteY5535" fmla="*/ 3857935 h 4996841"/>
                <a:gd name="connsiteX5536" fmla="*/ 2902806 w 3214184"/>
                <a:gd name="connsiteY5536" fmla="*/ 3854970 h 4996841"/>
                <a:gd name="connsiteX5537" fmla="*/ 2904168 w 3214184"/>
                <a:gd name="connsiteY5537" fmla="*/ 3853912 h 4996841"/>
                <a:gd name="connsiteX5538" fmla="*/ 2924709 w 3214184"/>
                <a:gd name="connsiteY5538" fmla="*/ 3846409 h 4996841"/>
                <a:gd name="connsiteX5539" fmla="*/ 2934873 w 3214184"/>
                <a:gd name="connsiteY5539" fmla="*/ 3840994 h 4996841"/>
                <a:gd name="connsiteX5540" fmla="*/ 2942678 w 3214184"/>
                <a:gd name="connsiteY5540" fmla="*/ 3832433 h 4996841"/>
                <a:gd name="connsiteX5541" fmla="*/ 2944282 w 3214184"/>
                <a:gd name="connsiteY5541" fmla="*/ 3829983 h 4996841"/>
                <a:gd name="connsiteX5542" fmla="*/ 2945038 w 3214184"/>
                <a:gd name="connsiteY5542" fmla="*/ 3828591 h 4996841"/>
                <a:gd name="connsiteX5543" fmla="*/ 2945038 w 3214184"/>
                <a:gd name="connsiteY5543" fmla="*/ 3827079 h 4996841"/>
                <a:gd name="connsiteX5544" fmla="*/ 2943888 w 3214184"/>
                <a:gd name="connsiteY5544" fmla="*/ 3821391 h 4996841"/>
                <a:gd name="connsiteX5545" fmla="*/ 2943011 w 3214184"/>
                <a:gd name="connsiteY5545" fmla="*/ 3819032 h 4996841"/>
                <a:gd name="connsiteX5546" fmla="*/ 2941649 w 3214184"/>
                <a:gd name="connsiteY5546" fmla="*/ 3817428 h 4996841"/>
                <a:gd name="connsiteX5547" fmla="*/ 2934691 w 3214184"/>
                <a:gd name="connsiteY5547" fmla="*/ 3815371 h 4996841"/>
                <a:gd name="connsiteX5548" fmla="*/ 2934541 w 3214184"/>
                <a:gd name="connsiteY5548" fmla="*/ 3811620 h 4996841"/>
                <a:gd name="connsiteX5549" fmla="*/ 2935327 w 3214184"/>
                <a:gd name="connsiteY5549" fmla="*/ 3806508 h 4996841"/>
                <a:gd name="connsiteX5550" fmla="*/ 2933512 w 3214184"/>
                <a:gd name="connsiteY5550" fmla="*/ 3801002 h 4996841"/>
                <a:gd name="connsiteX5551" fmla="*/ 2929276 w 3214184"/>
                <a:gd name="connsiteY5551" fmla="*/ 3793167 h 4996841"/>
                <a:gd name="connsiteX5552" fmla="*/ 2926524 w 3214184"/>
                <a:gd name="connsiteY5552" fmla="*/ 3783154 h 4996841"/>
                <a:gd name="connsiteX5553" fmla="*/ 2923801 w 3214184"/>
                <a:gd name="connsiteY5553" fmla="*/ 3762280 h 4996841"/>
                <a:gd name="connsiteX5554" fmla="*/ 2924225 w 3214184"/>
                <a:gd name="connsiteY5554" fmla="*/ 3752116 h 4996841"/>
                <a:gd name="connsiteX5555" fmla="*/ 2923741 w 3214184"/>
                <a:gd name="connsiteY5555" fmla="*/ 3747608 h 4996841"/>
                <a:gd name="connsiteX5556" fmla="*/ 2921230 w 3214184"/>
                <a:gd name="connsiteY5556" fmla="*/ 3744402 h 4996841"/>
                <a:gd name="connsiteX5557" fmla="*/ 2916087 w 3214184"/>
                <a:gd name="connsiteY5557" fmla="*/ 3743494 h 4996841"/>
                <a:gd name="connsiteX5558" fmla="*/ 2913606 w 3214184"/>
                <a:gd name="connsiteY5558" fmla="*/ 3742163 h 4996841"/>
                <a:gd name="connsiteX5559" fmla="*/ 2913123 w 3214184"/>
                <a:gd name="connsiteY5559" fmla="*/ 3739319 h 4996841"/>
                <a:gd name="connsiteX5560" fmla="*/ 2914726 w 3214184"/>
                <a:gd name="connsiteY5560" fmla="*/ 3737444 h 4996841"/>
                <a:gd name="connsiteX5561" fmla="*/ 2917236 w 3214184"/>
                <a:gd name="connsiteY5561" fmla="*/ 3737655 h 4996841"/>
                <a:gd name="connsiteX5562" fmla="*/ 2930366 w 3214184"/>
                <a:gd name="connsiteY5562" fmla="*/ 3745007 h 4996841"/>
                <a:gd name="connsiteX5563" fmla="*/ 2935055 w 3214184"/>
                <a:gd name="connsiteY5563" fmla="*/ 3746005 h 4996841"/>
                <a:gd name="connsiteX5564" fmla="*/ 2939502 w 3214184"/>
                <a:gd name="connsiteY5564" fmla="*/ 3745218 h 4996841"/>
                <a:gd name="connsiteX5565" fmla="*/ 2957865 w 3214184"/>
                <a:gd name="connsiteY5565" fmla="*/ 3732482 h 4996841"/>
                <a:gd name="connsiteX5566" fmla="*/ 2966879 w 3214184"/>
                <a:gd name="connsiteY5566" fmla="*/ 3721653 h 4996841"/>
                <a:gd name="connsiteX5567" fmla="*/ 2971084 w 3214184"/>
                <a:gd name="connsiteY5567" fmla="*/ 3718174 h 4996841"/>
                <a:gd name="connsiteX5568" fmla="*/ 2985121 w 3214184"/>
                <a:gd name="connsiteY5568" fmla="*/ 3714967 h 4996841"/>
                <a:gd name="connsiteX5569" fmla="*/ 2993773 w 3214184"/>
                <a:gd name="connsiteY5569" fmla="*/ 3711609 h 4996841"/>
                <a:gd name="connsiteX5570" fmla="*/ 2997675 w 3214184"/>
                <a:gd name="connsiteY5570" fmla="*/ 3708463 h 4996841"/>
                <a:gd name="connsiteX5571" fmla="*/ 2999248 w 3214184"/>
                <a:gd name="connsiteY5571" fmla="*/ 3703532 h 4996841"/>
                <a:gd name="connsiteX5572" fmla="*/ 2997403 w 3214184"/>
                <a:gd name="connsiteY5572" fmla="*/ 3698903 h 4996841"/>
                <a:gd name="connsiteX5573" fmla="*/ 2993985 w 3214184"/>
                <a:gd name="connsiteY5573" fmla="*/ 3695122 h 4996841"/>
                <a:gd name="connsiteX5574" fmla="*/ 2991564 w 3214184"/>
                <a:gd name="connsiteY5574" fmla="*/ 3691492 h 4996841"/>
                <a:gd name="connsiteX5575" fmla="*/ 2992775 w 3214184"/>
                <a:gd name="connsiteY5575" fmla="*/ 3687317 h 4996841"/>
                <a:gd name="connsiteX5576" fmla="*/ 2995194 w 3214184"/>
                <a:gd name="connsiteY5576" fmla="*/ 3683384 h 4996841"/>
                <a:gd name="connsiteX5577" fmla="*/ 2996132 w 3214184"/>
                <a:gd name="connsiteY5577" fmla="*/ 3681237 h 4996841"/>
                <a:gd name="connsiteX5578" fmla="*/ 2996949 w 3214184"/>
                <a:gd name="connsiteY5578" fmla="*/ 3676396 h 4996841"/>
                <a:gd name="connsiteX5579" fmla="*/ 2997948 w 3214184"/>
                <a:gd name="connsiteY5579" fmla="*/ 3673674 h 4996841"/>
                <a:gd name="connsiteX5580" fmla="*/ 2999188 w 3214184"/>
                <a:gd name="connsiteY5580" fmla="*/ 3671284 h 4996841"/>
                <a:gd name="connsiteX5581" fmla="*/ 3000549 w 3214184"/>
                <a:gd name="connsiteY5581" fmla="*/ 3669741 h 4996841"/>
                <a:gd name="connsiteX5582" fmla="*/ 3002939 w 3214184"/>
                <a:gd name="connsiteY5582" fmla="*/ 3669166 h 4996841"/>
                <a:gd name="connsiteX5583" fmla="*/ 3010926 w 3214184"/>
                <a:gd name="connsiteY5583" fmla="*/ 3671435 h 4996841"/>
                <a:gd name="connsiteX5584" fmla="*/ 3035006 w 3214184"/>
                <a:gd name="connsiteY5584" fmla="*/ 3671254 h 4996841"/>
                <a:gd name="connsiteX5585" fmla="*/ 3036730 w 3214184"/>
                <a:gd name="connsiteY5585" fmla="*/ 3670165 h 4996841"/>
                <a:gd name="connsiteX5586" fmla="*/ 3041419 w 3214184"/>
                <a:gd name="connsiteY5586" fmla="*/ 3664114 h 4996841"/>
                <a:gd name="connsiteX5587" fmla="*/ 3055909 w 3214184"/>
                <a:gd name="connsiteY5587" fmla="*/ 3652437 h 4996841"/>
                <a:gd name="connsiteX5588" fmla="*/ 3060144 w 3214184"/>
                <a:gd name="connsiteY5588" fmla="*/ 3650501 h 4996841"/>
                <a:gd name="connsiteX5589" fmla="*/ 3078144 w 3214184"/>
                <a:gd name="connsiteY5589" fmla="*/ 3647143 h 4996841"/>
                <a:gd name="connsiteX5590" fmla="*/ 3090003 w 3214184"/>
                <a:gd name="connsiteY5590" fmla="*/ 3641577 h 4996841"/>
                <a:gd name="connsiteX5591" fmla="*/ 3091697 w 3214184"/>
                <a:gd name="connsiteY5591" fmla="*/ 3640216 h 4996841"/>
                <a:gd name="connsiteX5592" fmla="*/ 3092362 w 3214184"/>
                <a:gd name="connsiteY5592" fmla="*/ 3638794 h 4996841"/>
                <a:gd name="connsiteX5593" fmla="*/ 3092241 w 3214184"/>
                <a:gd name="connsiteY5593" fmla="*/ 3636949 h 4996841"/>
                <a:gd name="connsiteX5594" fmla="*/ 3091545 w 3214184"/>
                <a:gd name="connsiteY5594" fmla="*/ 3634347 h 4996841"/>
                <a:gd name="connsiteX5595" fmla="*/ 3091273 w 3214184"/>
                <a:gd name="connsiteY5595" fmla="*/ 3631503 h 4996841"/>
                <a:gd name="connsiteX5596" fmla="*/ 3092181 w 3214184"/>
                <a:gd name="connsiteY5596" fmla="*/ 3630142 h 4996841"/>
                <a:gd name="connsiteX5597" fmla="*/ 3093693 w 3214184"/>
                <a:gd name="connsiteY5597" fmla="*/ 3629234 h 4996841"/>
                <a:gd name="connsiteX5598" fmla="*/ 3095145 w 3214184"/>
                <a:gd name="connsiteY5598" fmla="*/ 3627782 h 4996841"/>
                <a:gd name="connsiteX5599" fmla="*/ 3094813 w 3214184"/>
                <a:gd name="connsiteY5599" fmla="*/ 3627208 h 4996841"/>
                <a:gd name="connsiteX5600" fmla="*/ 3093996 w 3214184"/>
                <a:gd name="connsiteY5600" fmla="*/ 3626330 h 4996841"/>
                <a:gd name="connsiteX5601" fmla="*/ 3093512 w 3214184"/>
                <a:gd name="connsiteY5601" fmla="*/ 3625392 h 4996841"/>
                <a:gd name="connsiteX5602" fmla="*/ 3094298 w 3214184"/>
                <a:gd name="connsiteY5602" fmla="*/ 3624515 h 4996841"/>
                <a:gd name="connsiteX5603" fmla="*/ 3095539 w 3214184"/>
                <a:gd name="connsiteY5603" fmla="*/ 3624212 h 4996841"/>
                <a:gd name="connsiteX5604" fmla="*/ 3101498 w 3214184"/>
                <a:gd name="connsiteY5604" fmla="*/ 3623940 h 4996841"/>
                <a:gd name="connsiteX5605" fmla="*/ 3103343 w 3214184"/>
                <a:gd name="connsiteY5605" fmla="*/ 3623335 h 4996841"/>
                <a:gd name="connsiteX5606" fmla="*/ 3104705 w 3214184"/>
                <a:gd name="connsiteY5606" fmla="*/ 3622004 h 4996841"/>
                <a:gd name="connsiteX5607" fmla="*/ 3105521 w 3214184"/>
                <a:gd name="connsiteY5607" fmla="*/ 3619342 h 4996841"/>
                <a:gd name="connsiteX5608" fmla="*/ 3107881 w 3214184"/>
                <a:gd name="connsiteY5608" fmla="*/ 3619009 h 4996841"/>
                <a:gd name="connsiteX5609" fmla="*/ 3109484 w 3214184"/>
                <a:gd name="connsiteY5609" fmla="*/ 3618465 h 4996841"/>
                <a:gd name="connsiteX5610" fmla="*/ 3110362 w 3214184"/>
                <a:gd name="connsiteY5610" fmla="*/ 3616952 h 4996841"/>
                <a:gd name="connsiteX5611" fmla="*/ 3110815 w 3214184"/>
                <a:gd name="connsiteY5611" fmla="*/ 3613564 h 4996841"/>
                <a:gd name="connsiteX5612" fmla="*/ 3109878 w 3214184"/>
                <a:gd name="connsiteY5612" fmla="*/ 3604912 h 4996841"/>
                <a:gd name="connsiteX5613" fmla="*/ 3110210 w 3214184"/>
                <a:gd name="connsiteY5613" fmla="*/ 3602764 h 4996841"/>
                <a:gd name="connsiteX5614" fmla="*/ 3111995 w 3214184"/>
                <a:gd name="connsiteY5614" fmla="*/ 3600980 h 4996841"/>
                <a:gd name="connsiteX5615" fmla="*/ 3113871 w 3214184"/>
                <a:gd name="connsiteY5615" fmla="*/ 3600495 h 4996841"/>
                <a:gd name="connsiteX5616" fmla="*/ 3115263 w 3214184"/>
                <a:gd name="connsiteY5616" fmla="*/ 3599346 h 4996841"/>
                <a:gd name="connsiteX5617" fmla="*/ 3115474 w 3214184"/>
                <a:gd name="connsiteY5617" fmla="*/ 3595625 h 4996841"/>
                <a:gd name="connsiteX5618" fmla="*/ 3115898 w 3214184"/>
                <a:gd name="connsiteY5618" fmla="*/ 3592358 h 4996841"/>
                <a:gd name="connsiteX5619" fmla="*/ 3117713 w 3214184"/>
                <a:gd name="connsiteY5619" fmla="*/ 3592448 h 4996841"/>
                <a:gd name="connsiteX5620" fmla="*/ 3121676 w 3214184"/>
                <a:gd name="connsiteY5620" fmla="*/ 3595201 h 4996841"/>
                <a:gd name="connsiteX5621" fmla="*/ 3126365 w 3214184"/>
                <a:gd name="connsiteY5621" fmla="*/ 3595292 h 4996841"/>
                <a:gd name="connsiteX5622" fmla="*/ 3127242 w 3214184"/>
                <a:gd name="connsiteY5622" fmla="*/ 3595927 h 4996841"/>
                <a:gd name="connsiteX5623" fmla="*/ 3125306 w 3214184"/>
                <a:gd name="connsiteY5623" fmla="*/ 3598439 h 4996841"/>
                <a:gd name="connsiteX5624" fmla="*/ 3123672 w 3214184"/>
                <a:gd name="connsiteY5624" fmla="*/ 3601161 h 4996841"/>
                <a:gd name="connsiteX5625" fmla="*/ 3124913 w 3214184"/>
                <a:gd name="connsiteY5625" fmla="*/ 3602462 h 4996841"/>
                <a:gd name="connsiteX5626" fmla="*/ 3127454 w 3214184"/>
                <a:gd name="connsiteY5626" fmla="*/ 3602764 h 4996841"/>
                <a:gd name="connsiteX5627" fmla="*/ 3129844 w 3214184"/>
                <a:gd name="connsiteY5627" fmla="*/ 3602462 h 4996841"/>
                <a:gd name="connsiteX5628" fmla="*/ 3134290 w 3214184"/>
                <a:gd name="connsiteY5628" fmla="*/ 3600798 h 4996841"/>
                <a:gd name="connsiteX5629" fmla="*/ 3136953 w 3214184"/>
                <a:gd name="connsiteY5629" fmla="*/ 3598045 h 4996841"/>
                <a:gd name="connsiteX5630" fmla="*/ 3137316 w 3214184"/>
                <a:gd name="connsiteY5630" fmla="*/ 3593749 h 4996841"/>
                <a:gd name="connsiteX5631" fmla="*/ 3132597 w 3214184"/>
                <a:gd name="connsiteY5631" fmla="*/ 3581407 h 4996841"/>
                <a:gd name="connsiteX5632" fmla="*/ 3132264 w 3214184"/>
                <a:gd name="connsiteY5632" fmla="*/ 3576446 h 4996841"/>
                <a:gd name="connsiteX5633" fmla="*/ 3134563 w 3214184"/>
                <a:gd name="connsiteY5633" fmla="*/ 3573874 h 4996841"/>
                <a:gd name="connsiteX5634" fmla="*/ 3139948 w 3214184"/>
                <a:gd name="connsiteY5634" fmla="*/ 3574903 h 4996841"/>
                <a:gd name="connsiteX5635" fmla="*/ 3141793 w 3214184"/>
                <a:gd name="connsiteY5635" fmla="*/ 3575962 h 4996841"/>
                <a:gd name="connsiteX5636" fmla="*/ 3143638 w 3214184"/>
                <a:gd name="connsiteY5636" fmla="*/ 3577504 h 4996841"/>
                <a:gd name="connsiteX5637" fmla="*/ 3145242 w 3214184"/>
                <a:gd name="connsiteY5637" fmla="*/ 3579471 h 4996841"/>
                <a:gd name="connsiteX5638" fmla="*/ 3146301 w 3214184"/>
                <a:gd name="connsiteY5638" fmla="*/ 3581891 h 4996841"/>
                <a:gd name="connsiteX5639" fmla="*/ 3147994 w 3214184"/>
                <a:gd name="connsiteY5639" fmla="*/ 3584674 h 4996841"/>
                <a:gd name="connsiteX5640" fmla="*/ 3150475 w 3214184"/>
                <a:gd name="connsiteY5640" fmla="*/ 3585763 h 4996841"/>
                <a:gd name="connsiteX5641" fmla="*/ 3175040 w 3214184"/>
                <a:gd name="connsiteY5641" fmla="*/ 3587276 h 4996841"/>
                <a:gd name="connsiteX5642" fmla="*/ 3177097 w 3214184"/>
                <a:gd name="connsiteY5642" fmla="*/ 3586580 h 4996841"/>
                <a:gd name="connsiteX5643" fmla="*/ 3179365 w 3214184"/>
                <a:gd name="connsiteY5643" fmla="*/ 3585430 h 4996841"/>
                <a:gd name="connsiteX5644" fmla="*/ 3181513 w 3214184"/>
                <a:gd name="connsiteY5644" fmla="*/ 3584916 h 4996841"/>
                <a:gd name="connsiteX5645" fmla="*/ 3183329 w 3214184"/>
                <a:gd name="connsiteY5645" fmla="*/ 3585945 h 4996841"/>
                <a:gd name="connsiteX5646" fmla="*/ 3185748 w 3214184"/>
                <a:gd name="connsiteY5646" fmla="*/ 3589968 h 4996841"/>
                <a:gd name="connsiteX5647" fmla="*/ 3186989 w 3214184"/>
                <a:gd name="connsiteY5647" fmla="*/ 3591269 h 4996841"/>
                <a:gd name="connsiteX5648" fmla="*/ 3189015 w 3214184"/>
                <a:gd name="connsiteY5648" fmla="*/ 3592146 h 4996841"/>
                <a:gd name="connsiteX5649" fmla="*/ 3193462 w 3214184"/>
                <a:gd name="connsiteY5649" fmla="*/ 3592267 h 4996841"/>
                <a:gd name="connsiteX5650" fmla="*/ 3195399 w 3214184"/>
                <a:gd name="connsiteY5650" fmla="*/ 3593265 h 4996841"/>
                <a:gd name="connsiteX5651" fmla="*/ 3196427 w 3214184"/>
                <a:gd name="connsiteY5651" fmla="*/ 3596230 h 4996841"/>
                <a:gd name="connsiteX5652" fmla="*/ 3196336 w 3214184"/>
                <a:gd name="connsiteY5652" fmla="*/ 3599588 h 4996841"/>
                <a:gd name="connsiteX5653" fmla="*/ 3195519 w 3214184"/>
                <a:gd name="connsiteY5653" fmla="*/ 3601887 h 4996841"/>
                <a:gd name="connsiteX5654" fmla="*/ 3194128 w 3214184"/>
                <a:gd name="connsiteY5654" fmla="*/ 3603370 h 4996841"/>
                <a:gd name="connsiteX5655" fmla="*/ 3192162 w 3214184"/>
                <a:gd name="connsiteY5655" fmla="*/ 3604337 h 4996841"/>
                <a:gd name="connsiteX5656" fmla="*/ 3182330 w 3214184"/>
                <a:gd name="connsiteY5656" fmla="*/ 3606001 h 4996841"/>
                <a:gd name="connsiteX5657" fmla="*/ 3181846 w 3214184"/>
                <a:gd name="connsiteY5657" fmla="*/ 3607181 h 4996841"/>
                <a:gd name="connsiteX5658" fmla="*/ 3182965 w 3214184"/>
                <a:gd name="connsiteY5658" fmla="*/ 3609390 h 4996841"/>
                <a:gd name="connsiteX5659" fmla="*/ 3184569 w 3214184"/>
                <a:gd name="connsiteY5659" fmla="*/ 3611779 h 4996841"/>
                <a:gd name="connsiteX5660" fmla="*/ 3185507 w 3214184"/>
                <a:gd name="connsiteY5660" fmla="*/ 3613595 h 4996841"/>
                <a:gd name="connsiteX5661" fmla="*/ 3185507 w 3214184"/>
                <a:gd name="connsiteY5661" fmla="*/ 3613595 h 4996841"/>
                <a:gd name="connsiteX5662" fmla="*/ 3188653 w 3214184"/>
                <a:gd name="connsiteY5662" fmla="*/ 3616710 h 4996841"/>
                <a:gd name="connsiteX5663" fmla="*/ 3196216 w 3214184"/>
                <a:gd name="connsiteY5663" fmla="*/ 3617406 h 4996841"/>
                <a:gd name="connsiteX5664" fmla="*/ 3204505 w 3214184"/>
                <a:gd name="connsiteY5664" fmla="*/ 3616196 h 4996841"/>
                <a:gd name="connsiteX5665" fmla="*/ 3209858 w 3214184"/>
                <a:gd name="connsiteY5665" fmla="*/ 3613624 h 4996841"/>
                <a:gd name="connsiteX5666" fmla="*/ 3211583 w 3214184"/>
                <a:gd name="connsiteY5666" fmla="*/ 3611265 h 4996841"/>
                <a:gd name="connsiteX5667" fmla="*/ 3212854 w 3214184"/>
                <a:gd name="connsiteY5667" fmla="*/ 3608966 h 4996841"/>
                <a:gd name="connsiteX5668" fmla="*/ 3213398 w 3214184"/>
                <a:gd name="connsiteY5668" fmla="*/ 3608421 h 4996841"/>
                <a:gd name="connsiteX5669" fmla="*/ 3213398 w 3214184"/>
                <a:gd name="connsiteY5669" fmla="*/ 400801 h 4996841"/>
                <a:gd name="connsiteX5670" fmla="*/ 3209405 w 3214184"/>
                <a:gd name="connsiteY5670" fmla="*/ 403100 h 4996841"/>
                <a:gd name="connsiteX5671" fmla="*/ 3212400 w 3214184"/>
                <a:gd name="connsiteY5671" fmla="*/ 395053 h 4996841"/>
                <a:gd name="connsiteX5672" fmla="*/ 3214185 w 3214184"/>
                <a:gd name="connsiteY5672" fmla="*/ 395810 h 4996841"/>
                <a:gd name="connsiteX5673" fmla="*/ 3214185 w 3214184"/>
                <a:gd name="connsiteY5673" fmla="*/ 390546 h 4996841"/>
                <a:gd name="connsiteX5674" fmla="*/ 3212400 w 3214184"/>
                <a:gd name="connsiteY5674" fmla="*/ 395053 h 4996841"/>
                <a:gd name="connsiteX5675" fmla="*/ 1285717 w 3214184"/>
                <a:gd name="connsiteY5675" fmla="*/ 718804 h 4996841"/>
                <a:gd name="connsiteX5676" fmla="*/ 1284446 w 3214184"/>
                <a:gd name="connsiteY5676" fmla="*/ 717715 h 4996841"/>
                <a:gd name="connsiteX5677" fmla="*/ 1282722 w 3214184"/>
                <a:gd name="connsiteY5677" fmla="*/ 717171 h 4996841"/>
                <a:gd name="connsiteX5678" fmla="*/ 1281239 w 3214184"/>
                <a:gd name="connsiteY5678" fmla="*/ 717897 h 4996841"/>
                <a:gd name="connsiteX5679" fmla="*/ 1280876 w 3214184"/>
                <a:gd name="connsiteY5679" fmla="*/ 720559 h 4996841"/>
                <a:gd name="connsiteX5680" fmla="*/ 1281511 w 3214184"/>
                <a:gd name="connsiteY5680" fmla="*/ 722495 h 4996841"/>
                <a:gd name="connsiteX5681" fmla="*/ 1282661 w 3214184"/>
                <a:gd name="connsiteY5681" fmla="*/ 723342 h 4996841"/>
                <a:gd name="connsiteX5682" fmla="*/ 1283871 w 3214184"/>
                <a:gd name="connsiteY5682" fmla="*/ 723796 h 4996841"/>
                <a:gd name="connsiteX5683" fmla="*/ 1286503 w 3214184"/>
                <a:gd name="connsiteY5683" fmla="*/ 726428 h 4996841"/>
                <a:gd name="connsiteX5684" fmla="*/ 1287864 w 3214184"/>
                <a:gd name="connsiteY5684" fmla="*/ 724824 h 4996841"/>
                <a:gd name="connsiteX5685" fmla="*/ 1287864 w 3214184"/>
                <a:gd name="connsiteY5685" fmla="*/ 721648 h 4996841"/>
                <a:gd name="connsiteX5686" fmla="*/ 1285777 w 3214184"/>
                <a:gd name="connsiteY5686" fmla="*/ 718835 h 4996841"/>
                <a:gd name="connsiteX5687" fmla="*/ 2097998 w 3214184"/>
                <a:gd name="connsiteY5687" fmla="*/ 1296970 h 4996841"/>
                <a:gd name="connsiteX5688" fmla="*/ 2097665 w 3214184"/>
                <a:gd name="connsiteY5688" fmla="*/ 1296123 h 4996841"/>
                <a:gd name="connsiteX5689" fmla="*/ 2097151 w 3214184"/>
                <a:gd name="connsiteY5689" fmla="*/ 1294277 h 4996841"/>
                <a:gd name="connsiteX5690" fmla="*/ 2096908 w 3214184"/>
                <a:gd name="connsiteY5690" fmla="*/ 1292190 h 4996841"/>
                <a:gd name="connsiteX5691" fmla="*/ 2095305 w 3214184"/>
                <a:gd name="connsiteY5691" fmla="*/ 1289498 h 4996841"/>
                <a:gd name="connsiteX5692" fmla="*/ 2091887 w 3214184"/>
                <a:gd name="connsiteY5692" fmla="*/ 1288197 h 4996841"/>
                <a:gd name="connsiteX5693" fmla="*/ 2087228 w 3214184"/>
                <a:gd name="connsiteY5693" fmla="*/ 1287864 h 4996841"/>
                <a:gd name="connsiteX5694" fmla="*/ 2082297 w 3214184"/>
                <a:gd name="connsiteY5694" fmla="*/ 1284567 h 4996841"/>
                <a:gd name="connsiteX5695" fmla="*/ 2078879 w 3214184"/>
                <a:gd name="connsiteY5695" fmla="*/ 1280059 h 4996841"/>
                <a:gd name="connsiteX5696" fmla="*/ 2078395 w 3214184"/>
                <a:gd name="connsiteY5696" fmla="*/ 1275219 h 4996841"/>
                <a:gd name="connsiteX5697" fmla="*/ 2077396 w 3214184"/>
                <a:gd name="connsiteY5697" fmla="*/ 1273011 h 4996841"/>
                <a:gd name="connsiteX5698" fmla="*/ 2074885 w 3214184"/>
                <a:gd name="connsiteY5698" fmla="*/ 1270621 h 4996841"/>
                <a:gd name="connsiteX5699" fmla="*/ 2070862 w 3214184"/>
                <a:gd name="connsiteY5699" fmla="*/ 1268836 h 4996841"/>
                <a:gd name="connsiteX5700" fmla="*/ 2067020 w 3214184"/>
                <a:gd name="connsiteY5700" fmla="*/ 1268564 h 4996841"/>
                <a:gd name="connsiteX5701" fmla="*/ 2060002 w 3214184"/>
                <a:gd name="connsiteY5701" fmla="*/ 1270621 h 4996841"/>
                <a:gd name="connsiteX5702" fmla="*/ 2056251 w 3214184"/>
                <a:gd name="connsiteY5702" fmla="*/ 1270379 h 4996841"/>
                <a:gd name="connsiteX5703" fmla="*/ 2053588 w 3214184"/>
                <a:gd name="connsiteY5703" fmla="*/ 1268382 h 4996841"/>
                <a:gd name="connsiteX5704" fmla="*/ 2051925 w 3214184"/>
                <a:gd name="connsiteY5704" fmla="*/ 1266718 h 4996841"/>
                <a:gd name="connsiteX5705" fmla="*/ 2050261 w 3214184"/>
                <a:gd name="connsiteY5705" fmla="*/ 1266446 h 4996841"/>
                <a:gd name="connsiteX5706" fmla="*/ 2042365 w 3214184"/>
                <a:gd name="connsiteY5706" fmla="*/ 1268352 h 4996841"/>
                <a:gd name="connsiteX5707" fmla="*/ 2037313 w 3214184"/>
                <a:gd name="connsiteY5707" fmla="*/ 1270772 h 4996841"/>
                <a:gd name="connsiteX5708" fmla="*/ 2035044 w 3214184"/>
                <a:gd name="connsiteY5708" fmla="*/ 1272829 h 4996841"/>
                <a:gd name="connsiteX5709" fmla="*/ 2034228 w 3214184"/>
                <a:gd name="connsiteY5709" fmla="*/ 1274977 h 4996841"/>
                <a:gd name="connsiteX5710" fmla="*/ 2035831 w 3214184"/>
                <a:gd name="connsiteY5710" fmla="*/ 1274614 h 4996841"/>
                <a:gd name="connsiteX5711" fmla="*/ 2037283 w 3214184"/>
                <a:gd name="connsiteY5711" fmla="*/ 1274190 h 4996841"/>
                <a:gd name="connsiteX5712" fmla="*/ 2038917 w 3214184"/>
                <a:gd name="connsiteY5712" fmla="*/ 1274069 h 4996841"/>
                <a:gd name="connsiteX5713" fmla="*/ 2043847 w 3214184"/>
                <a:gd name="connsiteY5713" fmla="*/ 1277700 h 4996841"/>
                <a:gd name="connsiteX5714" fmla="*/ 2045693 w 3214184"/>
                <a:gd name="connsiteY5714" fmla="*/ 1278637 h 4996841"/>
                <a:gd name="connsiteX5715" fmla="*/ 2054042 w 3214184"/>
                <a:gd name="connsiteY5715" fmla="*/ 1279515 h 4996841"/>
                <a:gd name="connsiteX5716" fmla="*/ 2057370 w 3214184"/>
                <a:gd name="connsiteY5716" fmla="*/ 1280846 h 4996841"/>
                <a:gd name="connsiteX5717" fmla="*/ 2058852 w 3214184"/>
                <a:gd name="connsiteY5717" fmla="*/ 1281844 h 4996841"/>
                <a:gd name="connsiteX5718" fmla="*/ 2063057 w 3214184"/>
                <a:gd name="connsiteY5718" fmla="*/ 1285656 h 4996841"/>
                <a:gd name="connsiteX5719" fmla="*/ 2065023 w 3214184"/>
                <a:gd name="connsiteY5719" fmla="*/ 1289195 h 4996841"/>
                <a:gd name="connsiteX5720" fmla="*/ 2066627 w 3214184"/>
                <a:gd name="connsiteY5720" fmla="*/ 1294005 h 4996841"/>
                <a:gd name="connsiteX5721" fmla="*/ 2071498 w 3214184"/>
                <a:gd name="connsiteY5721" fmla="*/ 1297786 h 4996841"/>
                <a:gd name="connsiteX5722" fmla="*/ 2085655 w 3214184"/>
                <a:gd name="connsiteY5722" fmla="*/ 1297786 h 4996841"/>
                <a:gd name="connsiteX5723" fmla="*/ 2095699 w 3214184"/>
                <a:gd name="connsiteY5723" fmla="*/ 1299934 h 4996841"/>
                <a:gd name="connsiteX5724" fmla="*/ 2097937 w 3214184"/>
                <a:gd name="connsiteY5724" fmla="*/ 1299027 h 4996841"/>
                <a:gd name="connsiteX5725" fmla="*/ 2098300 w 3214184"/>
                <a:gd name="connsiteY5725" fmla="*/ 1297817 h 4996841"/>
                <a:gd name="connsiteX5726" fmla="*/ 2097968 w 3214184"/>
                <a:gd name="connsiteY5726" fmla="*/ 1296940 h 4996841"/>
                <a:gd name="connsiteX5727" fmla="*/ 1651789 w 3214184"/>
                <a:gd name="connsiteY5727" fmla="*/ 1195325 h 4996841"/>
                <a:gd name="connsiteX5728" fmla="*/ 1650670 w 3214184"/>
                <a:gd name="connsiteY5728" fmla="*/ 1193994 h 4996841"/>
                <a:gd name="connsiteX5729" fmla="*/ 1650065 w 3214184"/>
                <a:gd name="connsiteY5729" fmla="*/ 1193540 h 4996841"/>
                <a:gd name="connsiteX5730" fmla="*/ 1648945 w 3214184"/>
                <a:gd name="connsiteY5730" fmla="*/ 1193238 h 4996841"/>
                <a:gd name="connsiteX5731" fmla="*/ 1646767 w 3214184"/>
                <a:gd name="connsiteY5731" fmla="*/ 1193056 h 4996841"/>
                <a:gd name="connsiteX5732" fmla="*/ 1645709 w 3214184"/>
                <a:gd name="connsiteY5732" fmla="*/ 1193177 h 4996841"/>
                <a:gd name="connsiteX5733" fmla="*/ 1644922 w 3214184"/>
                <a:gd name="connsiteY5733" fmla="*/ 1193419 h 4996841"/>
                <a:gd name="connsiteX5734" fmla="*/ 1642078 w 3214184"/>
                <a:gd name="connsiteY5734" fmla="*/ 1193510 h 4996841"/>
                <a:gd name="connsiteX5735" fmla="*/ 1639265 w 3214184"/>
                <a:gd name="connsiteY5735" fmla="*/ 1195022 h 4996841"/>
                <a:gd name="connsiteX5736" fmla="*/ 1638478 w 3214184"/>
                <a:gd name="connsiteY5736" fmla="*/ 1196414 h 4996841"/>
                <a:gd name="connsiteX5737" fmla="*/ 1639113 w 3214184"/>
                <a:gd name="connsiteY5737" fmla="*/ 1198169 h 4996841"/>
                <a:gd name="connsiteX5738" fmla="*/ 1639325 w 3214184"/>
                <a:gd name="connsiteY5738" fmla="*/ 1199530 h 4996841"/>
                <a:gd name="connsiteX5739" fmla="*/ 1639960 w 3214184"/>
                <a:gd name="connsiteY5739" fmla="*/ 1200589 h 4996841"/>
                <a:gd name="connsiteX5740" fmla="*/ 1641412 w 3214184"/>
                <a:gd name="connsiteY5740" fmla="*/ 1200710 h 4996841"/>
                <a:gd name="connsiteX5741" fmla="*/ 1645043 w 3214184"/>
                <a:gd name="connsiteY5741" fmla="*/ 1199772 h 4996841"/>
                <a:gd name="connsiteX5742" fmla="*/ 1649944 w 3214184"/>
                <a:gd name="connsiteY5742" fmla="*/ 1199590 h 4996841"/>
                <a:gd name="connsiteX5743" fmla="*/ 1651184 w 3214184"/>
                <a:gd name="connsiteY5743" fmla="*/ 1199016 h 4996841"/>
                <a:gd name="connsiteX5744" fmla="*/ 1652000 w 3214184"/>
                <a:gd name="connsiteY5744" fmla="*/ 1197352 h 4996841"/>
                <a:gd name="connsiteX5745" fmla="*/ 1651819 w 3214184"/>
                <a:gd name="connsiteY5745" fmla="*/ 1195385 h 4996841"/>
                <a:gd name="connsiteX5746" fmla="*/ 1674508 w 3214184"/>
                <a:gd name="connsiteY5746" fmla="*/ 1170368 h 4996841"/>
                <a:gd name="connsiteX5747" fmla="*/ 1670666 w 3214184"/>
                <a:gd name="connsiteY5747" fmla="*/ 1170610 h 4996841"/>
                <a:gd name="connsiteX5748" fmla="*/ 1668639 w 3214184"/>
                <a:gd name="connsiteY5748" fmla="*/ 1171245 h 4996841"/>
                <a:gd name="connsiteX5749" fmla="*/ 1656327 w 3214184"/>
                <a:gd name="connsiteY5749" fmla="*/ 1170791 h 4996841"/>
                <a:gd name="connsiteX5750" fmla="*/ 1655238 w 3214184"/>
                <a:gd name="connsiteY5750" fmla="*/ 1170489 h 4996841"/>
                <a:gd name="connsiteX5751" fmla="*/ 1654905 w 3214184"/>
                <a:gd name="connsiteY5751" fmla="*/ 1169762 h 4996841"/>
                <a:gd name="connsiteX5752" fmla="*/ 1654330 w 3214184"/>
                <a:gd name="connsiteY5752" fmla="*/ 1168946 h 4996841"/>
                <a:gd name="connsiteX5753" fmla="*/ 1652999 w 3214184"/>
                <a:gd name="connsiteY5753" fmla="*/ 1168038 h 4996841"/>
                <a:gd name="connsiteX5754" fmla="*/ 1651698 w 3214184"/>
                <a:gd name="connsiteY5754" fmla="*/ 1166344 h 4996841"/>
                <a:gd name="connsiteX5755" fmla="*/ 1650246 w 3214184"/>
                <a:gd name="connsiteY5755" fmla="*/ 1164983 h 4996841"/>
                <a:gd name="connsiteX5756" fmla="*/ 1649066 w 3214184"/>
                <a:gd name="connsiteY5756" fmla="*/ 1164831 h 4996841"/>
                <a:gd name="connsiteX5757" fmla="*/ 1648340 w 3214184"/>
                <a:gd name="connsiteY5757" fmla="*/ 1165043 h 4996841"/>
                <a:gd name="connsiteX5758" fmla="*/ 1648582 w 3214184"/>
                <a:gd name="connsiteY5758" fmla="*/ 1163773 h 4996841"/>
                <a:gd name="connsiteX5759" fmla="*/ 1648370 w 3214184"/>
                <a:gd name="connsiteY5759" fmla="*/ 1163349 h 4996841"/>
                <a:gd name="connsiteX5760" fmla="*/ 1645980 w 3214184"/>
                <a:gd name="connsiteY5760" fmla="*/ 1163984 h 4996841"/>
                <a:gd name="connsiteX5761" fmla="*/ 1644287 w 3214184"/>
                <a:gd name="connsiteY5761" fmla="*/ 1165618 h 4996841"/>
                <a:gd name="connsiteX5762" fmla="*/ 1643621 w 3214184"/>
                <a:gd name="connsiteY5762" fmla="*/ 1168431 h 4996841"/>
                <a:gd name="connsiteX5763" fmla="*/ 1643531 w 3214184"/>
                <a:gd name="connsiteY5763" fmla="*/ 1171426 h 4996841"/>
                <a:gd name="connsiteX5764" fmla="*/ 1644468 w 3214184"/>
                <a:gd name="connsiteY5764" fmla="*/ 1173241 h 4996841"/>
                <a:gd name="connsiteX5765" fmla="*/ 1651789 w 3214184"/>
                <a:gd name="connsiteY5765" fmla="*/ 1176236 h 4996841"/>
                <a:gd name="connsiteX5766" fmla="*/ 1652424 w 3214184"/>
                <a:gd name="connsiteY5766" fmla="*/ 1176690 h 4996841"/>
                <a:gd name="connsiteX5767" fmla="*/ 1654028 w 3214184"/>
                <a:gd name="connsiteY5767" fmla="*/ 1177537 h 4996841"/>
                <a:gd name="connsiteX5768" fmla="*/ 1655964 w 3214184"/>
                <a:gd name="connsiteY5768" fmla="*/ 1177900 h 4996841"/>
                <a:gd name="connsiteX5769" fmla="*/ 1656750 w 3214184"/>
                <a:gd name="connsiteY5769" fmla="*/ 1177416 h 4996841"/>
                <a:gd name="connsiteX5770" fmla="*/ 1656962 w 3214184"/>
                <a:gd name="connsiteY5770" fmla="*/ 1176569 h 4996841"/>
                <a:gd name="connsiteX5771" fmla="*/ 1659170 w 3214184"/>
                <a:gd name="connsiteY5771" fmla="*/ 1176720 h 4996841"/>
                <a:gd name="connsiteX5772" fmla="*/ 1663073 w 3214184"/>
                <a:gd name="connsiteY5772" fmla="*/ 1175178 h 4996841"/>
                <a:gd name="connsiteX5773" fmla="*/ 1669607 w 3214184"/>
                <a:gd name="connsiteY5773" fmla="*/ 1174875 h 4996841"/>
                <a:gd name="connsiteX5774" fmla="*/ 1673056 w 3214184"/>
                <a:gd name="connsiteY5774" fmla="*/ 1173362 h 4996841"/>
                <a:gd name="connsiteX5775" fmla="*/ 1675536 w 3214184"/>
                <a:gd name="connsiteY5775" fmla="*/ 1171457 h 4996841"/>
                <a:gd name="connsiteX5776" fmla="*/ 1674417 w 3214184"/>
                <a:gd name="connsiteY5776" fmla="*/ 1170398 h 4996841"/>
                <a:gd name="connsiteX5777" fmla="*/ 1652515 w 3214184"/>
                <a:gd name="connsiteY5777" fmla="*/ 1340955 h 4996841"/>
                <a:gd name="connsiteX5778" fmla="*/ 1645890 w 3214184"/>
                <a:gd name="connsiteY5778" fmla="*/ 1336478 h 4996841"/>
                <a:gd name="connsiteX5779" fmla="*/ 1643681 w 3214184"/>
                <a:gd name="connsiteY5779" fmla="*/ 1334088 h 4996841"/>
                <a:gd name="connsiteX5780" fmla="*/ 1641171 w 3214184"/>
                <a:gd name="connsiteY5780" fmla="*/ 1332243 h 4996841"/>
                <a:gd name="connsiteX5781" fmla="*/ 1637631 w 3214184"/>
                <a:gd name="connsiteY5781" fmla="*/ 1332485 h 4996841"/>
                <a:gd name="connsiteX5782" fmla="*/ 1634909 w 3214184"/>
                <a:gd name="connsiteY5782" fmla="*/ 1334481 h 4996841"/>
                <a:gd name="connsiteX5783" fmla="*/ 1634909 w 3214184"/>
                <a:gd name="connsiteY5783" fmla="*/ 1337900 h 4996841"/>
                <a:gd name="connsiteX5784" fmla="*/ 1636209 w 3214184"/>
                <a:gd name="connsiteY5784" fmla="*/ 1339382 h 4996841"/>
                <a:gd name="connsiteX5785" fmla="*/ 1639174 w 3214184"/>
                <a:gd name="connsiteY5785" fmla="*/ 1340683 h 4996841"/>
                <a:gd name="connsiteX5786" fmla="*/ 1644650 w 3214184"/>
                <a:gd name="connsiteY5786" fmla="*/ 1348125 h 4996841"/>
                <a:gd name="connsiteX5787" fmla="*/ 1646858 w 3214184"/>
                <a:gd name="connsiteY5787" fmla="*/ 1349637 h 4996841"/>
                <a:gd name="connsiteX5788" fmla="*/ 1649944 w 3214184"/>
                <a:gd name="connsiteY5788" fmla="*/ 1349486 h 4996841"/>
                <a:gd name="connsiteX5789" fmla="*/ 1652696 w 3214184"/>
                <a:gd name="connsiteY5789" fmla="*/ 1347550 h 4996841"/>
                <a:gd name="connsiteX5790" fmla="*/ 1653846 w 3214184"/>
                <a:gd name="connsiteY5790" fmla="*/ 1343708 h 4996841"/>
                <a:gd name="connsiteX5791" fmla="*/ 1652485 w 3214184"/>
                <a:gd name="connsiteY5791" fmla="*/ 1340986 h 4996841"/>
                <a:gd name="connsiteX5792" fmla="*/ 325536 w 3214184"/>
                <a:gd name="connsiteY5792" fmla="*/ 3098171 h 4996841"/>
                <a:gd name="connsiteX5793" fmla="*/ 324023 w 3214184"/>
                <a:gd name="connsiteY5793" fmla="*/ 3091697 h 4996841"/>
                <a:gd name="connsiteX5794" fmla="*/ 323207 w 3214184"/>
                <a:gd name="connsiteY5794" fmla="*/ 3089639 h 4996841"/>
                <a:gd name="connsiteX5795" fmla="*/ 321966 w 3214184"/>
                <a:gd name="connsiteY5795" fmla="*/ 3088309 h 4996841"/>
                <a:gd name="connsiteX5796" fmla="*/ 315946 w 3214184"/>
                <a:gd name="connsiteY5796" fmla="*/ 3085707 h 4996841"/>
                <a:gd name="connsiteX5797" fmla="*/ 315129 w 3214184"/>
                <a:gd name="connsiteY5797" fmla="*/ 3084467 h 4996841"/>
                <a:gd name="connsiteX5798" fmla="*/ 316249 w 3214184"/>
                <a:gd name="connsiteY5798" fmla="*/ 3082319 h 4996841"/>
                <a:gd name="connsiteX5799" fmla="*/ 314918 w 3214184"/>
                <a:gd name="connsiteY5799" fmla="*/ 3081835 h 4996841"/>
                <a:gd name="connsiteX5800" fmla="*/ 313919 w 3214184"/>
                <a:gd name="connsiteY5800" fmla="*/ 3080836 h 4996841"/>
                <a:gd name="connsiteX5801" fmla="*/ 313223 w 3214184"/>
                <a:gd name="connsiteY5801" fmla="*/ 3079747 h 4996841"/>
                <a:gd name="connsiteX5802" fmla="*/ 312558 w 3214184"/>
                <a:gd name="connsiteY5802" fmla="*/ 3079051 h 4996841"/>
                <a:gd name="connsiteX5803" fmla="*/ 311620 w 3214184"/>
                <a:gd name="connsiteY5803" fmla="*/ 3078779 h 4996841"/>
                <a:gd name="connsiteX5804" fmla="*/ 305933 w 3214184"/>
                <a:gd name="connsiteY5804" fmla="*/ 3078779 h 4996841"/>
                <a:gd name="connsiteX5805" fmla="*/ 304299 w 3214184"/>
                <a:gd name="connsiteY5805" fmla="*/ 3077993 h 4996841"/>
                <a:gd name="connsiteX5806" fmla="*/ 303120 w 3214184"/>
                <a:gd name="connsiteY5806" fmla="*/ 3076057 h 4996841"/>
                <a:gd name="connsiteX5807" fmla="*/ 301819 w 3214184"/>
                <a:gd name="connsiteY5807" fmla="*/ 3072457 h 4996841"/>
                <a:gd name="connsiteX5808" fmla="*/ 300125 w 3214184"/>
                <a:gd name="connsiteY5808" fmla="*/ 3065136 h 4996841"/>
                <a:gd name="connsiteX5809" fmla="*/ 299005 w 3214184"/>
                <a:gd name="connsiteY5809" fmla="*/ 3061929 h 4996841"/>
                <a:gd name="connsiteX5810" fmla="*/ 298067 w 3214184"/>
                <a:gd name="connsiteY5810" fmla="*/ 3060901 h 4996841"/>
                <a:gd name="connsiteX5811" fmla="*/ 297493 w 3214184"/>
                <a:gd name="connsiteY5811" fmla="*/ 3060296 h 4996841"/>
                <a:gd name="connsiteX5812" fmla="*/ 295012 w 3214184"/>
                <a:gd name="connsiteY5812" fmla="*/ 3058995 h 4996841"/>
                <a:gd name="connsiteX5813" fmla="*/ 284485 w 3214184"/>
                <a:gd name="connsiteY5813" fmla="*/ 3061869 h 4996841"/>
                <a:gd name="connsiteX5814" fmla="*/ 267725 w 3214184"/>
                <a:gd name="connsiteY5814" fmla="*/ 3059963 h 4996841"/>
                <a:gd name="connsiteX5815" fmla="*/ 265880 w 3214184"/>
                <a:gd name="connsiteY5815" fmla="*/ 3059781 h 4996841"/>
                <a:gd name="connsiteX5816" fmla="*/ 254929 w 3214184"/>
                <a:gd name="connsiteY5816" fmla="*/ 3062383 h 4996841"/>
                <a:gd name="connsiteX5817" fmla="*/ 253659 w 3214184"/>
                <a:gd name="connsiteY5817" fmla="*/ 3063593 h 4996841"/>
                <a:gd name="connsiteX5818" fmla="*/ 252509 w 3214184"/>
                <a:gd name="connsiteY5818" fmla="*/ 3065075 h 4996841"/>
                <a:gd name="connsiteX5819" fmla="*/ 250664 w 3214184"/>
                <a:gd name="connsiteY5819" fmla="*/ 3066346 h 4996841"/>
                <a:gd name="connsiteX5820" fmla="*/ 248334 w 3214184"/>
                <a:gd name="connsiteY5820" fmla="*/ 3066588 h 4996841"/>
                <a:gd name="connsiteX5821" fmla="*/ 245672 w 3214184"/>
                <a:gd name="connsiteY5821" fmla="*/ 3065801 h 4996841"/>
                <a:gd name="connsiteX5822" fmla="*/ 243403 w 3214184"/>
                <a:gd name="connsiteY5822" fmla="*/ 3064017 h 4996841"/>
                <a:gd name="connsiteX5823" fmla="*/ 242496 w 3214184"/>
                <a:gd name="connsiteY5823" fmla="*/ 3061354 h 4996841"/>
                <a:gd name="connsiteX5824" fmla="*/ 242496 w 3214184"/>
                <a:gd name="connsiteY5824" fmla="*/ 3058692 h 4996841"/>
                <a:gd name="connsiteX5825" fmla="*/ 242163 w 3214184"/>
                <a:gd name="connsiteY5825" fmla="*/ 3056908 h 4996841"/>
                <a:gd name="connsiteX5826" fmla="*/ 240983 w 3214184"/>
                <a:gd name="connsiteY5826" fmla="*/ 3056060 h 4996841"/>
                <a:gd name="connsiteX5827" fmla="*/ 238381 w 3214184"/>
                <a:gd name="connsiteY5827" fmla="*/ 3056333 h 4996841"/>
                <a:gd name="connsiteX5828" fmla="*/ 235750 w 3214184"/>
                <a:gd name="connsiteY5828" fmla="*/ 3058178 h 4996841"/>
                <a:gd name="connsiteX5829" fmla="*/ 234872 w 3214184"/>
                <a:gd name="connsiteY5829" fmla="*/ 3058511 h 4996841"/>
                <a:gd name="connsiteX5830" fmla="*/ 233874 w 3214184"/>
                <a:gd name="connsiteY5830" fmla="*/ 3058178 h 4996841"/>
                <a:gd name="connsiteX5831" fmla="*/ 231394 w 3214184"/>
                <a:gd name="connsiteY5831" fmla="*/ 3056665 h 4996841"/>
                <a:gd name="connsiteX5832" fmla="*/ 227854 w 3214184"/>
                <a:gd name="connsiteY5832" fmla="*/ 3055819 h 4996841"/>
                <a:gd name="connsiteX5833" fmla="*/ 225888 w 3214184"/>
                <a:gd name="connsiteY5833" fmla="*/ 3054639 h 4996841"/>
                <a:gd name="connsiteX5834" fmla="*/ 222469 w 3214184"/>
                <a:gd name="connsiteY5834" fmla="*/ 3051886 h 4996841"/>
                <a:gd name="connsiteX5835" fmla="*/ 215512 w 3214184"/>
                <a:gd name="connsiteY5835" fmla="*/ 3050494 h 4996841"/>
                <a:gd name="connsiteX5836" fmla="*/ 213787 w 3214184"/>
                <a:gd name="connsiteY5836" fmla="*/ 3049163 h 4996841"/>
                <a:gd name="connsiteX5837" fmla="*/ 212063 w 3214184"/>
                <a:gd name="connsiteY5837" fmla="*/ 3047046 h 4996841"/>
                <a:gd name="connsiteX5838" fmla="*/ 204984 w 3214184"/>
                <a:gd name="connsiteY5838" fmla="*/ 3041933 h 4996841"/>
                <a:gd name="connsiteX5839" fmla="*/ 200870 w 3214184"/>
                <a:gd name="connsiteY5839" fmla="*/ 3040088 h 4996841"/>
                <a:gd name="connsiteX5840" fmla="*/ 190705 w 3214184"/>
                <a:gd name="connsiteY5840" fmla="*/ 3039755 h 4996841"/>
                <a:gd name="connsiteX5841" fmla="*/ 187045 w 3214184"/>
                <a:gd name="connsiteY5841" fmla="*/ 3037062 h 4996841"/>
                <a:gd name="connsiteX5842" fmla="*/ 180783 w 3214184"/>
                <a:gd name="connsiteY5842" fmla="*/ 3027140 h 4996841"/>
                <a:gd name="connsiteX5843" fmla="*/ 177697 w 3214184"/>
                <a:gd name="connsiteY5843" fmla="*/ 3024296 h 4996841"/>
                <a:gd name="connsiteX5844" fmla="*/ 175186 w 3214184"/>
                <a:gd name="connsiteY5844" fmla="*/ 3024629 h 4996841"/>
                <a:gd name="connsiteX5845" fmla="*/ 166928 w 3214184"/>
                <a:gd name="connsiteY5845" fmla="*/ 3030952 h 4996841"/>
                <a:gd name="connsiteX5846" fmla="*/ 167412 w 3214184"/>
                <a:gd name="connsiteY5846" fmla="*/ 3031738 h 4996841"/>
                <a:gd name="connsiteX5847" fmla="*/ 167502 w 3214184"/>
                <a:gd name="connsiteY5847" fmla="*/ 3033553 h 4996841"/>
                <a:gd name="connsiteX5848" fmla="*/ 167291 w 3214184"/>
                <a:gd name="connsiteY5848" fmla="*/ 3035550 h 4996841"/>
                <a:gd name="connsiteX5849" fmla="*/ 166928 w 3214184"/>
                <a:gd name="connsiteY5849" fmla="*/ 3036911 h 4996841"/>
                <a:gd name="connsiteX5850" fmla="*/ 166080 w 3214184"/>
                <a:gd name="connsiteY5850" fmla="*/ 3038000 h 4996841"/>
                <a:gd name="connsiteX5851" fmla="*/ 165052 w 3214184"/>
                <a:gd name="connsiteY5851" fmla="*/ 3038575 h 4996841"/>
                <a:gd name="connsiteX5852" fmla="*/ 163872 w 3214184"/>
                <a:gd name="connsiteY5852" fmla="*/ 3038726 h 4996841"/>
                <a:gd name="connsiteX5853" fmla="*/ 162481 w 3214184"/>
                <a:gd name="connsiteY5853" fmla="*/ 3038575 h 4996841"/>
                <a:gd name="connsiteX5854" fmla="*/ 161845 w 3214184"/>
                <a:gd name="connsiteY5854" fmla="*/ 3037970 h 4996841"/>
                <a:gd name="connsiteX5855" fmla="*/ 161180 w 3214184"/>
                <a:gd name="connsiteY5855" fmla="*/ 3036941 h 4996841"/>
                <a:gd name="connsiteX5856" fmla="*/ 160303 w 3214184"/>
                <a:gd name="connsiteY5856" fmla="*/ 3036488 h 4996841"/>
                <a:gd name="connsiteX5857" fmla="*/ 159002 w 3214184"/>
                <a:gd name="connsiteY5857" fmla="*/ 3037486 h 4996841"/>
                <a:gd name="connsiteX5858" fmla="*/ 158457 w 3214184"/>
                <a:gd name="connsiteY5858" fmla="*/ 3038545 h 4996841"/>
                <a:gd name="connsiteX5859" fmla="*/ 158245 w 3214184"/>
                <a:gd name="connsiteY5859" fmla="*/ 3039906 h 4996841"/>
                <a:gd name="connsiteX5860" fmla="*/ 158245 w 3214184"/>
                <a:gd name="connsiteY5860" fmla="*/ 3043506 h 4996841"/>
                <a:gd name="connsiteX5861" fmla="*/ 158457 w 3214184"/>
                <a:gd name="connsiteY5861" fmla="*/ 3043930 h 4996841"/>
                <a:gd name="connsiteX5862" fmla="*/ 159274 w 3214184"/>
                <a:gd name="connsiteY5862" fmla="*/ 3047378 h 4996841"/>
                <a:gd name="connsiteX5863" fmla="*/ 159274 w 3214184"/>
                <a:gd name="connsiteY5863" fmla="*/ 3047983 h 4996841"/>
                <a:gd name="connsiteX5864" fmla="*/ 159637 w 3214184"/>
                <a:gd name="connsiteY5864" fmla="*/ 3049284 h 4996841"/>
                <a:gd name="connsiteX5865" fmla="*/ 162057 w 3214184"/>
                <a:gd name="connsiteY5865" fmla="*/ 3069038 h 4996841"/>
                <a:gd name="connsiteX5866" fmla="*/ 163781 w 3214184"/>
                <a:gd name="connsiteY5866" fmla="*/ 3074272 h 4996841"/>
                <a:gd name="connsiteX5867" fmla="*/ 164477 w 3214184"/>
                <a:gd name="connsiteY5867" fmla="*/ 3077418 h 4996841"/>
                <a:gd name="connsiteX5868" fmla="*/ 163146 w 3214184"/>
                <a:gd name="connsiteY5868" fmla="*/ 3081018 h 4996841"/>
                <a:gd name="connsiteX5869" fmla="*/ 159123 w 3214184"/>
                <a:gd name="connsiteY5869" fmla="*/ 3082954 h 4996841"/>
                <a:gd name="connsiteX5870" fmla="*/ 150652 w 3214184"/>
                <a:gd name="connsiteY5870" fmla="*/ 3085102 h 4996841"/>
                <a:gd name="connsiteX5871" fmla="*/ 150108 w 3214184"/>
                <a:gd name="connsiteY5871" fmla="*/ 3085677 h 4996841"/>
                <a:gd name="connsiteX5872" fmla="*/ 149745 w 3214184"/>
                <a:gd name="connsiteY5872" fmla="*/ 3086403 h 4996841"/>
                <a:gd name="connsiteX5873" fmla="*/ 149109 w 3214184"/>
                <a:gd name="connsiteY5873" fmla="*/ 3087008 h 4996841"/>
                <a:gd name="connsiteX5874" fmla="*/ 147930 w 3214184"/>
                <a:gd name="connsiteY5874" fmla="*/ 3087310 h 4996841"/>
                <a:gd name="connsiteX5875" fmla="*/ 147657 w 3214184"/>
                <a:gd name="connsiteY5875" fmla="*/ 3086735 h 4996841"/>
                <a:gd name="connsiteX5876" fmla="*/ 146659 w 3214184"/>
                <a:gd name="connsiteY5876" fmla="*/ 3085646 h 4996841"/>
                <a:gd name="connsiteX5877" fmla="*/ 145600 w 3214184"/>
                <a:gd name="connsiteY5877" fmla="*/ 3084951 h 4996841"/>
                <a:gd name="connsiteX5878" fmla="*/ 145116 w 3214184"/>
                <a:gd name="connsiteY5878" fmla="*/ 3085586 h 4996841"/>
                <a:gd name="connsiteX5879" fmla="*/ 143967 w 3214184"/>
                <a:gd name="connsiteY5879" fmla="*/ 3086614 h 4996841"/>
                <a:gd name="connsiteX5880" fmla="*/ 136888 w 3214184"/>
                <a:gd name="connsiteY5880" fmla="*/ 3087310 h 4996841"/>
                <a:gd name="connsiteX5881" fmla="*/ 125967 w 3214184"/>
                <a:gd name="connsiteY5881" fmla="*/ 3085465 h 4996841"/>
                <a:gd name="connsiteX5882" fmla="*/ 120401 w 3214184"/>
                <a:gd name="connsiteY5882" fmla="*/ 3080715 h 4996841"/>
                <a:gd name="connsiteX5883" fmla="*/ 116196 w 3214184"/>
                <a:gd name="connsiteY5883" fmla="*/ 3079626 h 4996841"/>
                <a:gd name="connsiteX5884" fmla="*/ 97410 w 3214184"/>
                <a:gd name="connsiteY5884" fmla="*/ 3081018 h 4996841"/>
                <a:gd name="connsiteX5885" fmla="*/ 95534 w 3214184"/>
                <a:gd name="connsiteY5885" fmla="*/ 3080715 h 4996841"/>
                <a:gd name="connsiteX5886" fmla="*/ 94748 w 3214184"/>
                <a:gd name="connsiteY5886" fmla="*/ 3080080 h 4996841"/>
                <a:gd name="connsiteX5887" fmla="*/ 93840 w 3214184"/>
                <a:gd name="connsiteY5887" fmla="*/ 3078900 h 4996841"/>
                <a:gd name="connsiteX5888" fmla="*/ 93084 w 3214184"/>
                <a:gd name="connsiteY5888" fmla="*/ 3077690 h 4996841"/>
                <a:gd name="connsiteX5889" fmla="*/ 92751 w 3214184"/>
                <a:gd name="connsiteY5889" fmla="*/ 3076904 h 4996841"/>
                <a:gd name="connsiteX5890" fmla="*/ 92993 w 3214184"/>
                <a:gd name="connsiteY5890" fmla="*/ 3075452 h 4996841"/>
                <a:gd name="connsiteX5891" fmla="*/ 93659 w 3214184"/>
                <a:gd name="connsiteY5891" fmla="*/ 3074968 h 4996841"/>
                <a:gd name="connsiteX5892" fmla="*/ 94566 w 3214184"/>
                <a:gd name="connsiteY5892" fmla="*/ 3074726 h 4996841"/>
                <a:gd name="connsiteX5893" fmla="*/ 95504 w 3214184"/>
                <a:gd name="connsiteY5893" fmla="*/ 3074120 h 4996841"/>
                <a:gd name="connsiteX5894" fmla="*/ 108542 w 3214184"/>
                <a:gd name="connsiteY5894" fmla="*/ 3063018 h 4996841"/>
                <a:gd name="connsiteX5895" fmla="*/ 117134 w 3214184"/>
                <a:gd name="connsiteY5895" fmla="*/ 3052703 h 4996841"/>
                <a:gd name="connsiteX5896" fmla="*/ 122186 w 3214184"/>
                <a:gd name="connsiteY5896" fmla="*/ 3048074 h 4996841"/>
                <a:gd name="connsiteX5897" fmla="*/ 123305 w 3214184"/>
                <a:gd name="connsiteY5897" fmla="*/ 3046622 h 4996841"/>
                <a:gd name="connsiteX5898" fmla="*/ 125150 w 3214184"/>
                <a:gd name="connsiteY5898" fmla="*/ 3043022 h 4996841"/>
                <a:gd name="connsiteX5899" fmla="*/ 125906 w 3214184"/>
                <a:gd name="connsiteY5899" fmla="*/ 3041842 h 4996841"/>
                <a:gd name="connsiteX5900" fmla="*/ 127540 w 3214184"/>
                <a:gd name="connsiteY5900" fmla="*/ 3040178 h 4996841"/>
                <a:gd name="connsiteX5901" fmla="*/ 128236 w 3214184"/>
                <a:gd name="connsiteY5901" fmla="*/ 3039150 h 4996841"/>
                <a:gd name="connsiteX5902" fmla="*/ 128690 w 3214184"/>
                <a:gd name="connsiteY5902" fmla="*/ 3037849 h 4996841"/>
                <a:gd name="connsiteX5903" fmla="*/ 128932 w 3214184"/>
                <a:gd name="connsiteY5903" fmla="*/ 3036790 h 4996841"/>
                <a:gd name="connsiteX5904" fmla="*/ 129385 w 3214184"/>
                <a:gd name="connsiteY5904" fmla="*/ 3036185 h 4996841"/>
                <a:gd name="connsiteX5905" fmla="*/ 130414 w 3214184"/>
                <a:gd name="connsiteY5905" fmla="*/ 3035792 h 4996841"/>
                <a:gd name="connsiteX5906" fmla="*/ 130202 w 3214184"/>
                <a:gd name="connsiteY5906" fmla="*/ 3034612 h 4996841"/>
                <a:gd name="connsiteX5907" fmla="*/ 131140 w 3214184"/>
                <a:gd name="connsiteY5907" fmla="*/ 3033432 h 4996841"/>
                <a:gd name="connsiteX5908" fmla="*/ 133560 w 3214184"/>
                <a:gd name="connsiteY5908" fmla="*/ 3032676 h 4996841"/>
                <a:gd name="connsiteX5909" fmla="*/ 134226 w 3214184"/>
                <a:gd name="connsiteY5909" fmla="*/ 3031587 h 4996841"/>
                <a:gd name="connsiteX5910" fmla="*/ 134226 w 3214184"/>
                <a:gd name="connsiteY5910" fmla="*/ 3031466 h 4996841"/>
                <a:gd name="connsiteX5911" fmla="*/ 133984 w 3214184"/>
                <a:gd name="connsiteY5911" fmla="*/ 3030891 h 4996841"/>
                <a:gd name="connsiteX5912" fmla="*/ 135042 w 3214184"/>
                <a:gd name="connsiteY5912" fmla="*/ 3029953 h 4996841"/>
                <a:gd name="connsiteX5913" fmla="*/ 138824 w 3214184"/>
                <a:gd name="connsiteY5913" fmla="*/ 3027382 h 4996841"/>
                <a:gd name="connsiteX5914" fmla="*/ 138824 w 3214184"/>
                <a:gd name="connsiteY5914" fmla="*/ 3026959 h 4996841"/>
                <a:gd name="connsiteX5915" fmla="*/ 132290 w 3214184"/>
                <a:gd name="connsiteY5915" fmla="*/ 3025416 h 4996841"/>
                <a:gd name="connsiteX5916" fmla="*/ 122035 w 3214184"/>
                <a:gd name="connsiteY5916" fmla="*/ 3041903 h 4996841"/>
                <a:gd name="connsiteX5917" fmla="*/ 120583 w 3214184"/>
                <a:gd name="connsiteY5917" fmla="*/ 3042659 h 4996841"/>
                <a:gd name="connsiteX5918" fmla="*/ 103037 w 3214184"/>
                <a:gd name="connsiteY5918" fmla="*/ 3063260 h 4996841"/>
                <a:gd name="connsiteX5919" fmla="*/ 87790 w 3214184"/>
                <a:gd name="connsiteY5919" fmla="*/ 3075028 h 4996841"/>
                <a:gd name="connsiteX5920" fmla="*/ 80166 w 3214184"/>
                <a:gd name="connsiteY5920" fmla="*/ 3078900 h 4996841"/>
                <a:gd name="connsiteX5921" fmla="*/ 76022 w 3214184"/>
                <a:gd name="connsiteY5921" fmla="*/ 3079777 h 4996841"/>
                <a:gd name="connsiteX5922" fmla="*/ 59928 w 3214184"/>
                <a:gd name="connsiteY5922" fmla="*/ 3077811 h 4996841"/>
                <a:gd name="connsiteX5923" fmla="*/ 53666 w 3214184"/>
                <a:gd name="connsiteY5923" fmla="*/ 3078870 h 4996841"/>
                <a:gd name="connsiteX5924" fmla="*/ 46799 w 3214184"/>
                <a:gd name="connsiteY5924" fmla="*/ 3078447 h 4996841"/>
                <a:gd name="connsiteX5925" fmla="*/ 42655 w 3214184"/>
                <a:gd name="connsiteY5925" fmla="*/ 3079475 h 4996841"/>
                <a:gd name="connsiteX5926" fmla="*/ 41414 w 3214184"/>
                <a:gd name="connsiteY5926" fmla="*/ 3078991 h 4996841"/>
                <a:gd name="connsiteX5927" fmla="*/ 38813 w 3214184"/>
                <a:gd name="connsiteY5927" fmla="*/ 3076268 h 4996841"/>
                <a:gd name="connsiteX5928" fmla="*/ 36907 w 3214184"/>
                <a:gd name="connsiteY5928" fmla="*/ 3076843 h 4996841"/>
                <a:gd name="connsiteX5929" fmla="*/ 34880 w 3214184"/>
                <a:gd name="connsiteY5929" fmla="*/ 3078900 h 4996841"/>
                <a:gd name="connsiteX5930" fmla="*/ 33247 w 3214184"/>
                <a:gd name="connsiteY5930" fmla="*/ 3081714 h 4996841"/>
                <a:gd name="connsiteX5931" fmla="*/ 32641 w 3214184"/>
                <a:gd name="connsiteY5931" fmla="*/ 3084527 h 4996841"/>
                <a:gd name="connsiteX5932" fmla="*/ 31250 w 3214184"/>
                <a:gd name="connsiteY5932" fmla="*/ 3088913 h 4996841"/>
                <a:gd name="connsiteX5933" fmla="*/ 31401 w 3214184"/>
                <a:gd name="connsiteY5933" fmla="*/ 3091001 h 4996841"/>
                <a:gd name="connsiteX5934" fmla="*/ 31764 w 3214184"/>
                <a:gd name="connsiteY5934" fmla="*/ 3092544 h 4996841"/>
                <a:gd name="connsiteX5935" fmla="*/ 34426 w 3214184"/>
                <a:gd name="connsiteY5935" fmla="*/ 3100681 h 4996841"/>
                <a:gd name="connsiteX5936" fmla="*/ 35092 w 3214184"/>
                <a:gd name="connsiteY5936" fmla="*/ 3103797 h 4996841"/>
                <a:gd name="connsiteX5937" fmla="*/ 35394 w 3214184"/>
                <a:gd name="connsiteY5937" fmla="*/ 3107579 h 4996841"/>
                <a:gd name="connsiteX5938" fmla="*/ 34850 w 3214184"/>
                <a:gd name="connsiteY5938" fmla="*/ 3110211 h 4996841"/>
                <a:gd name="connsiteX5939" fmla="*/ 32218 w 3214184"/>
                <a:gd name="connsiteY5939" fmla="*/ 3116200 h 4996841"/>
                <a:gd name="connsiteX5940" fmla="*/ 30705 w 3214184"/>
                <a:gd name="connsiteY5940" fmla="*/ 3118923 h 4996841"/>
                <a:gd name="connsiteX5941" fmla="*/ 29768 w 3214184"/>
                <a:gd name="connsiteY5941" fmla="*/ 3120133 h 4996841"/>
                <a:gd name="connsiteX5942" fmla="*/ 29193 w 3214184"/>
                <a:gd name="connsiteY5942" fmla="*/ 3121313 h 4996841"/>
                <a:gd name="connsiteX5943" fmla="*/ 29102 w 3214184"/>
                <a:gd name="connsiteY5943" fmla="*/ 3122039 h 4996841"/>
                <a:gd name="connsiteX5944" fmla="*/ 29314 w 3214184"/>
                <a:gd name="connsiteY5944" fmla="*/ 3123854 h 4996841"/>
                <a:gd name="connsiteX5945" fmla="*/ 29193 w 3214184"/>
                <a:gd name="connsiteY5945" fmla="*/ 3124580 h 4996841"/>
                <a:gd name="connsiteX5946" fmla="*/ 28830 w 3214184"/>
                <a:gd name="connsiteY5946" fmla="*/ 3125367 h 4996841"/>
                <a:gd name="connsiteX5947" fmla="*/ 28467 w 3214184"/>
                <a:gd name="connsiteY5947" fmla="*/ 3125548 h 4996841"/>
                <a:gd name="connsiteX5948" fmla="*/ 28073 w 3214184"/>
                <a:gd name="connsiteY5948" fmla="*/ 3125669 h 4996841"/>
                <a:gd name="connsiteX5949" fmla="*/ 27529 w 3214184"/>
                <a:gd name="connsiteY5949" fmla="*/ 3126304 h 4996841"/>
                <a:gd name="connsiteX5950" fmla="*/ 22356 w 3214184"/>
                <a:gd name="connsiteY5950" fmla="*/ 3135592 h 4996841"/>
                <a:gd name="connsiteX5951" fmla="*/ 12524 w 3214184"/>
                <a:gd name="connsiteY5951" fmla="*/ 3147117 h 4996841"/>
                <a:gd name="connsiteX5952" fmla="*/ 1694 w 3214184"/>
                <a:gd name="connsiteY5952" fmla="*/ 3156253 h 4996841"/>
                <a:gd name="connsiteX5953" fmla="*/ 1694 w 3214184"/>
                <a:gd name="connsiteY5953" fmla="*/ 3157433 h 4996841"/>
                <a:gd name="connsiteX5954" fmla="*/ 0 w 3214184"/>
                <a:gd name="connsiteY5954" fmla="*/ 3158129 h 4996841"/>
                <a:gd name="connsiteX5955" fmla="*/ 2148 w 3214184"/>
                <a:gd name="connsiteY5955" fmla="*/ 3159732 h 4996841"/>
                <a:gd name="connsiteX5956" fmla="*/ 7140 w 3214184"/>
                <a:gd name="connsiteY5956" fmla="*/ 3161336 h 4996841"/>
                <a:gd name="connsiteX5957" fmla="*/ 14944 w 3214184"/>
                <a:gd name="connsiteY5957" fmla="*/ 3161759 h 4996841"/>
                <a:gd name="connsiteX5958" fmla="*/ 35727 w 3214184"/>
                <a:gd name="connsiteY5958" fmla="*/ 3162757 h 4996841"/>
                <a:gd name="connsiteX5959" fmla="*/ 74721 w 3214184"/>
                <a:gd name="connsiteY5959" fmla="*/ 3164693 h 4996841"/>
                <a:gd name="connsiteX5960" fmla="*/ 132834 w 3214184"/>
                <a:gd name="connsiteY5960" fmla="*/ 3167537 h 4996841"/>
                <a:gd name="connsiteX5961" fmla="*/ 168803 w 3214184"/>
                <a:gd name="connsiteY5961" fmla="*/ 3169291 h 4996841"/>
                <a:gd name="connsiteX5962" fmla="*/ 212426 w 3214184"/>
                <a:gd name="connsiteY5962" fmla="*/ 3171439 h 4996841"/>
                <a:gd name="connsiteX5963" fmla="*/ 268391 w 3214184"/>
                <a:gd name="connsiteY5963" fmla="*/ 3174162 h 4996841"/>
                <a:gd name="connsiteX5964" fmla="*/ 291866 w 3214184"/>
                <a:gd name="connsiteY5964" fmla="*/ 3175342 h 4996841"/>
                <a:gd name="connsiteX5965" fmla="*/ 310804 w 3214184"/>
                <a:gd name="connsiteY5965" fmla="*/ 3176249 h 4996841"/>
                <a:gd name="connsiteX5966" fmla="*/ 317731 w 3214184"/>
                <a:gd name="connsiteY5966" fmla="*/ 3174132 h 4996841"/>
                <a:gd name="connsiteX5967" fmla="*/ 311681 w 3214184"/>
                <a:gd name="connsiteY5967" fmla="*/ 3164209 h 4996841"/>
                <a:gd name="connsiteX5968" fmla="*/ 309018 w 3214184"/>
                <a:gd name="connsiteY5968" fmla="*/ 3158764 h 4996841"/>
                <a:gd name="connsiteX5969" fmla="*/ 308444 w 3214184"/>
                <a:gd name="connsiteY5969" fmla="*/ 3152563 h 4996841"/>
                <a:gd name="connsiteX5970" fmla="*/ 309140 w 3214184"/>
                <a:gd name="connsiteY5970" fmla="*/ 3140220 h 4996841"/>
                <a:gd name="connsiteX5971" fmla="*/ 311348 w 3214184"/>
                <a:gd name="connsiteY5971" fmla="*/ 3132597 h 4996841"/>
                <a:gd name="connsiteX5972" fmla="*/ 311802 w 3214184"/>
                <a:gd name="connsiteY5972" fmla="*/ 3129723 h 4996841"/>
                <a:gd name="connsiteX5973" fmla="*/ 311681 w 3214184"/>
                <a:gd name="connsiteY5973" fmla="*/ 3127968 h 4996841"/>
                <a:gd name="connsiteX5974" fmla="*/ 311076 w 3214184"/>
                <a:gd name="connsiteY5974" fmla="*/ 3124338 h 4996841"/>
                <a:gd name="connsiteX5975" fmla="*/ 311076 w 3214184"/>
                <a:gd name="connsiteY5975" fmla="*/ 3122704 h 4996841"/>
                <a:gd name="connsiteX5976" fmla="*/ 311499 w 3214184"/>
                <a:gd name="connsiteY5976" fmla="*/ 3121555 h 4996841"/>
                <a:gd name="connsiteX5977" fmla="*/ 313708 w 3214184"/>
                <a:gd name="connsiteY5977" fmla="*/ 3118560 h 4996841"/>
                <a:gd name="connsiteX5978" fmla="*/ 313708 w 3214184"/>
                <a:gd name="connsiteY5978" fmla="*/ 3117925 h 4996841"/>
                <a:gd name="connsiteX5979" fmla="*/ 313496 w 3214184"/>
                <a:gd name="connsiteY5979" fmla="*/ 3117199 h 4996841"/>
                <a:gd name="connsiteX5980" fmla="*/ 313254 w 3214184"/>
                <a:gd name="connsiteY5980" fmla="*/ 3116442 h 4996841"/>
                <a:gd name="connsiteX5981" fmla="*/ 313496 w 3214184"/>
                <a:gd name="connsiteY5981" fmla="*/ 3115686 h 4996841"/>
                <a:gd name="connsiteX5982" fmla="*/ 313829 w 3214184"/>
                <a:gd name="connsiteY5982" fmla="*/ 3115414 h 4996841"/>
                <a:gd name="connsiteX5983" fmla="*/ 314645 w 3214184"/>
                <a:gd name="connsiteY5983" fmla="*/ 3115172 h 4996841"/>
                <a:gd name="connsiteX5984" fmla="*/ 315704 w 3214184"/>
                <a:gd name="connsiteY5984" fmla="*/ 3114325 h 4996841"/>
                <a:gd name="connsiteX5985" fmla="*/ 317489 w 3214184"/>
                <a:gd name="connsiteY5985" fmla="*/ 3113447 h 4996841"/>
                <a:gd name="connsiteX5986" fmla="*/ 318306 w 3214184"/>
                <a:gd name="connsiteY5986" fmla="*/ 3112570 h 4996841"/>
                <a:gd name="connsiteX5987" fmla="*/ 319697 w 3214184"/>
                <a:gd name="connsiteY5987" fmla="*/ 3110422 h 4996841"/>
                <a:gd name="connsiteX5988" fmla="*/ 322813 w 3214184"/>
                <a:gd name="connsiteY5988" fmla="*/ 3108305 h 4996841"/>
                <a:gd name="connsiteX5989" fmla="*/ 324326 w 3214184"/>
                <a:gd name="connsiteY5989" fmla="*/ 3106792 h 4996841"/>
                <a:gd name="connsiteX5990" fmla="*/ 325596 w 3214184"/>
                <a:gd name="connsiteY5990" fmla="*/ 3103979 h 4996841"/>
                <a:gd name="connsiteX5991" fmla="*/ 325869 w 3214184"/>
                <a:gd name="connsiteY5991" fmla="*/ 3101135 h 4996841"/>
                <a:gd name="connsiteX5992" fmla="*/ 325445 w 3214184"/>
                <a:gd name="connsiteY5992" fmla="*/ 3098171 h 4996841"/>
                <a:gd name="connsiteX5993" fmla="*/ 2320376 w 3214184"/>
                <a:gd name="connsiteY5993" fmla="*/ 820358 h 4996841"/>
                <a:gd name="connsiteX5994" fmla="*/ 2320043 w 3214184"/>
                <a:gd name="connsiteY5994" fmla="*/ 815367 h 4996841"/>
                <a:gd name="connsiteX5995" fmla="*/ 2318107 w 3214184"/>
                <a:gd name="connsiteY5995" fmla="*/ 810890 h 4996841"/>
                <a:gd name="connsiteX5996" fmla="*/ 2316534 w 3214184"/>
                <a:gd name="connsiteY5996" fmla="*/ 807774 h 4996841"/>
                <a:gd name="connsiteX5997" fmla="*/ 2311966 w 3214184"/>
                <a:gd name="connsiteY5997" fmla="*/ 804325 h 4996841"/>
                <a:gd name="connsiteX5998" fmla="*/ 2307247 w 3214184"/>
                <a:gd name="connsiteY5998" fmla="*/ 803236 h 4996841"/>
                <a:gd name="connsiteX5999" fmla="*/ 2303919 w 3214184"/>
                <a:gd name="connsiteY5999" fmla="*/ 802510 h 4996841"/>
                <a:gd name="connsiteX6000" fmla="*/ 2298897 w 3214184"/>
                <a:gd name="connsiteY6000" fmla="*/ 803539 h 4996841"/>
                <a:gd name="connsiteX6001" fmla="*/ 2296054 w 3214184"/>
                <a:gd name="connsiteY6001" fmla="*/ 808621 h 4996841"/>
                <a:gd name="connsiteX6002" fmla="*/ 2297566 w 3214184"/>
                <a:gd name="connsiteY6002" fmla="*/ 813885 h 4996841"/>
                <a:gd name="connsiteX6003" fmla="*/ 2301771 w 3214184"/>
                <a:gd name="connsiteY6003" fmla="*/ 819088 h 4996841"/>
                <a:gd name="connsiteX6004" fmla="*/ 2311754 w 3214184"/>
                <a:gd name="connsiteY6004" fmla="*/ 825834 h 4996841"/>
                <a:gd name="connsiteX6005" fmla="*/ 2317895 w 3214184"/>
                <a:gd name="connsiteY6005" fmla="*/ 828738 h 4996841"/>
                <a:gd name="connsiteX6006" fmla="*/ 2320376 w 3214184"/>
                <a:gd name="connsiteY6006" fmla="*/ 828587 h 4996841"/>
                <a:gd name="connsiteX6007" fmla="*/ 2321647 w 3214184"/>
                <a:gd name="connsiteY6007" fmla="*/ 825017 h 4996841"/>
                <a:gd name="connsiteX6008" fmla="*/ 2320376 w 3214184"/>
                <a:gd name="connsiteY6008" fmla="*/ 820358 h 4996841"/>
                <a:gd name="connsiteX6009" fmla="*/ 1469826 w 3214184"/>
                <a:gd name="connsiteY6009" fmla="*/ 149593 h 4996841"/>
                <a:gd name="connsiteX6010" fmla="*/ 1460328 w 3214184"/>
                <a:gd name="connsiteY6010" fmla="*/ 150168 h 4996841"/>
                <a:gd name="connsiteX6011" fmla="*/ 1451161 w 3214184"/>
                <a:gd name="connsiteY6011" fmla="*/ 153345 h 4996841"/>
                <a:gd name="connsiteX6012" fmla="*/ 1447955 w 3214184"/>
                <a:gd name="connsiteY6012" fmla="*/ 154797 h 4996841"/>
                <a:gd name="connsiteX6013" fmla="*/ 1446351 w 3214184"/>
                <a:gd name="connsiteY6013" fmla="*/ 156551 h 4996841"/>
                <a:gd name="connsiteX6014" fmla="*/ 1445686 w 3214184"/>
                <a:gd name="connsiteY6014" fmla="*/ 159667 h 4996841"/>
                <a:gd name="connsiteX6015" fmla="*/ 1446563 w 3214184"/>
                <a:gd name="connsiteY6015" fmla="*/ 161422 h 4996841"/>
                <a:gd name="connsiteX6016" fmla="*/ 1450798 w 3214184"/>
                <a:gd name="connsiteY6016" fmla="*/ 163812 h 4996841"/>
                <a:gd name="connsiteX6017" fmla="*/ 1486465 w 3214184"/>
                <a:gd name="connsiteY6017" fmla="*/ 167079 h 4996841"/>
                <a:gd name="connsiteX6018" fmla="*/ 1489097 w 3214184"/>
                <a:gd name="connsiteY6018" fmla="*/ 164175 h 4996841"/>
                <a:gd name="connsiteX6019" fmla="*/ 1469887 w 3214184"/>
                <a:gd name="connsiteY6019" fmla="*/ 149684 h 4996841"/>
                <a:gd name="connsiteX6020" fmla="*/ 746273 w 3214184"/>
                <a:gd name="connsiteY6020" fmla="*/ 2202516 h 4996841"/>
                <a:gd name="connsiteX6021" fmla="*/ 745940 w 3214184"/>
                <a:gd name="connsiteY6021" fmla="*/ 2201609 h 4996841"/>
                <a:gd name="connsiteX6022" fmla="*/ 745486 w 3214184"/>
                <a:gd name="connsiteY6022" fmla="*/ 2200550 h 4996841"/>
                <a:gd name="connsiteX6023" fmla="*/ 744488 w 3214184"/>
                <a:gd name="connsiteY6023" fmla="*/ 2198735 h 4996841"/>
                <a:gd name="connsiteX6024" fmla="*/ 743429 w 3214184"/>
                <a:gd name="connsiteY6024" fmla="*/ 2197132 h 4996841"/>
                <a:gd name="connsiteX6025" fmla="*/ 742401 w 3214184"/>
                <a:gd name="connsiteY6025" fmla="*/ 2195347 h 4996841"/>
                <a:gd name="connsiteX6026" fmla="*/ 741342 w 3214184"/>
                <a:gd name="connsiteY6026" fmla="*/ 2193047 h 4996841"/>
                <a:gd name="connsiteX6027" fmla="*/ 740101 w 3214184"/>
                <a:gd name="connsiteY6027" fmla="*/ 2190990 h 4996841"/>
                <a:gd name="connsiteX6028" fmla="*/ 738710 w 3214184"/>
                <a:gd name="connsiteY6028" fmla="*/ 2190990 h 4996841"/>
                <a:gd name="connsiteX6029" fmla="*/ 738135 w 3214184"/>
                <a:gd name="connsiteY6029" fmla="*/ 2192503 h 4996841"/>
                <a:gd name="connsiteX6030" fmla="*/ 739920 w 3214184"/>
                <a:gd name="connsiteY6030" fmla="*/ 2198372 h 4996841"/>
                <a:gd name="connsiteX6031" fmla="*/ 740162 w 3214184"/>
                <a:gd name="connsiteY6031" fmla="*/ 2200671 h 4996841"/>
                <a:gd name="connsiteX6032" fmla="*/ 740434 w 3214184"/>
                <a:gd name="connsiteY6032" fmla="*/ 2201306 h 4996841"/>
                <a:gd name="connsiteX6033" fmla="*/ 741372 w 3214184"/>
                <a:gd name="connsiteY6033" fmla="*/ 2204634 h 4996841"/>
                <a:gd name="connsiteX6034" fmla="*/ 742159 w 3214184"/>
                <a:gd name="connsiteY6034" fmla="*/ 2206116 h 4996841"/>
                <a:gd name="connsiteX6035" fmla="*/ 743308 w 3214184"/>
                <a:gd name="connsiteY6035" fmla="*/ 2206751 h 4996841"/>
                <a:gd name="connsiteX6036" fmla="*/ 744548 w 3214184"/>
                <a:gd name="connsiteY6036" fmla="*/ 2206842 h 4996841"/>
                <a:gd name="connsiteX6037" fmla="*/ 745789 w 3214184"/>
                <a:gd name="connsiteY6037" fmla="*/ 2206146 h 4996841"/>
                <a:gd name="connsiteX6038" fmla="*/ 746484 w 3214184"/>
                <a:gd name="connsiteY6038" fmla="*/ 2204452 h 4996841"/>
                <a:gd name="connsiteX6039" fmla="*/ 746273 w 3214184"/>
                <a:gd name="connsiteY6039" fmla="*/ 2202486 h 4996841"/>
                <a:gd name="connsiteX6040" fmla="*/ 2964792 w 3214184"/>
                <a:gd name="connsiteY6040" fmla="*/ 338937 h 4996841"/>
                <a:gd name="connsiteX6041" fmla="*/ 2962402 w 3214184"/>
                <a:gd name="connsiteY6041" fmla="*/ 338302 h 4996841"/>
                <a:gd name="connsiteX6042" fmla="*/ 2938564 w 3214184"/>
                <a:gd name="connsiteY6042" fmla="*/ 333704 h 4996841"/>
                <a:gd name="connsiteX6043" fmla="*/ 2933905 w 3214184"/>
                <a:gd name="connsiteY6043" fmla="*/ 333704 h 4996841"/>
                <a:gd name="connsiteX6044" fmla="*/ 2933905 w 3214184"/>
                <a:gd name="connsiteY6044" fmla="*/ 335246 h 4996841"/>
                <a:gd name="connsiteX6045" fmla="*/ 2969571 w 3214184"/>
                <a:gd name="connsiteY6045" fmla="*/ 342204 h 4996841"/>
                <a:gd name="connsiteX6046" fmla="*/ 2969965 w 3214184"/>
                <a:gd name="connsiteY6046" fmla="*/ 341024 h 4996841"/>
                <a:gd name="connsiteX6047" fmla="*/ 2964792 w 3214184"/>
                <a:gd name="connsiteY6047" fmla="*/ 338907 h 4996841"/>
                <a:gd name="connsiteX6048" fmla="*/ 3188894 w 3214184"/>
                <a:gd name="connsiteY6048" fmla="*/ 384708 h 4996841"/>
                <a:gd name="connsiteX6049" fmla="*/ 3176007 w 3214184"/>
                <a:gd name="connsiteY6049" fmla="*/ 383195 h 4996841"/>
                <a:gd name="connsiteX6050" fmla="*/ 3145847 w 3214184"/>
                <a:gd name="connsiteY6050" fmla="*/ 401618 h 4996841"/>
                <a:gd name="connsiteX6051" fmla="*/ 3140855 w 3214184"/>
                <a:gd name="connsiteY6051" fmla="*/ 407426 h 4996841"/>
                <a:gd name="connsiteX6052" fmla="*/ 3139736 w 3214184"/>
                <a:gd name="connsiteY6052" fmla="*/ 409211 h 4996841"/>
                <a:gd name="connsiteX6053" fmla="*/ 3138738 w 3214184"/>
                <a:gd name="connsiteY6053" fmla="*/ 411359 h 4996841"/>
                <a:gd name="connsiteX6054" fmla="*/ 3137830 w 3214184"/>
                <a:gd name="connsiteY6054" fmla="*/ 413930 h 4996841"/>
                <a:gd name="connsiteX6055" fmla="*/ 3141763 w 3214184"/>
                <a:gd name="connsiteY6055" fmla="*/ 413416 h 4996841"/>
                <a:gd name="connsiteX6056" fmla="*/ 3143578 w 3214184"/>
                <a:gd name="connsiteY6056" fmla="*/ 412539 h 4996841"/>
                <a:gd name="connsiteX6057" fmla="*/ 3145545 w 3214184"/>
                <a:gd name="connsiteY6057" fmla="*/ 411026 h 4996841"/>
                <a:gd name="connsiteX6058" fmla="*/ 3147723 w 3214184"/>
                <a:gd name="connsiteY6058" fmla="*/ 410119 h 4996841"/>
                <a:gd name="connsiteX6059" fmla="*/ 3152381 w 3214184"/>
                <a:gd name="connsiteY6059" fmla="*/ 409665 h 4996841"/>
                <a:gd name="connsiteX6060" fmla="*/ 3158552 w 3214184"/>
                <a:gd name="connsiteY6060" fmla="*/ 402374 h 4996841"/>
                <a:gd name="connsiteX6061" fmla="*/ 3168475 w 3214184"/>
                <a:gd name="connsiteY6061" fmla="*/ 402374 h 4996841"/>
                <a:gd name="connsiteX6062" fmla="*/ 3176038 w 3214184"/>
                <a:gd name="connsiteY6062" fmla="*/ 394388 h 4996841"/>
                <a:gd name="connsiteX6063" fmla="*/ 3204928 w 3214184"/>
                <a:gd name="connsiteY6063" fmla="*/ 390153 h 4996841"/>
                <a:gd name="connsiteX6064" fmla="*/ 3208800 w 3214184"/>
                <a:gd name="connsiteY6064" fmla="*/ 386432 h 4996841"/>
                <a:gd name="connsiteX6065" fmla="*/ 3188834 w 3214184"/>
                <a:gd name="connsiteY6065" fmla="*/ 384738 h 4996841"/>
                <a:gd name="connsiteX6066" fmla="*/ 3017278 w 3214184"/>
                <a:gd name="connsiteY6066" fmla="*/ 302091 h 4996841"/>
                <a:gd name="connsiteX6067" fmla="*/ 3015765 w 3214184"/>
                <a:gd name="connsiteY6067" fmla="*/ 302363 h 4996841"/>
                <a:gd name="connsiteX6068" fmla="*/ 3014858 w 3214184"/>
                <a:gd name="connsiteY6068" fmla="*/ 302938 h 4996841"/>
                <a:gd name="connsiteX6069" fmla="*/ 3013134 w 3214184"/>
                <a:gd name="connsiteY6069" fmla="*/ 304481 h 4996841"/>
                <a:gd name="connsiteX6070" fmla="*/ 3006963 w 3214184"/>
                <a:gd name="connsiteY6070" fmla="*/ 309260 h 4996841"/>
                <a:gd name="connsiteX6071" fmla="*/ 3007719 w 3214184"/>
                <a:gd name="connsiteY6071" fmla="*/ 311015 h 4996841"/>
                <a:gd name="connsiteX6072" fmla="*/ 3012892 w 3214184"/>
                <a:gd name="connsiteY6072" fmla="*/ 308595 h 4996841"/>
                <a:gd name="connsiteX6073" fmla="*/ 3016976 w 3214184"/>
                <a:gd name="connsiteY6073" fmla="*/ 305116 h 4996841"/>
                <a:gd name="connsiteX6074" fmla="*/ 3017702 w 3214184"/>
                <a:gd name="connsiteY6074" fmla="*/ 303573 h 4996841"/>
                <a:gd name="connsiteX6075" fmla="*/ 3017278 w 3214184"/>
                <a:gd name="connsiteY6075" fmla="*/ 302121 h 4996841"/>
                <a:gd name="connsiteX6076" fmla="*/ 3067496 w 3214184"/>
                <a:gd name="connsiteY6076" fmla="*/ 265154 h 4996841"/>
                <a:gd name="connsiteX6077" fmla="*/ 3066437 w 3214184"/>
                <a:gd name="connsiteY6077" fmla="*/ 266001 h 4996841"/>
                <a:gd name="connsiteX6078" fmla="*/ 3065408 w 3214184"/>
                <a:gd name="connsiteY6078" fmla="*/ 267604 h 4996841"/>
                <a:gd name="connsiteX6079" fmla="*/ 3063139 w 3214184"/>
                <a:gd name="connsiteY6079" fmla="*/ 269994 h 4996841"/>
                <a:gd name="connsiteX6080" fmla="*/ 3058148 w 3214184"/>
                <a:gd name="connsiteY6080" fmla="*/ 273352 h 4996841"/>
                <a:gd name="connsiteX6081" fmla="*/ 3058511 w 3214184"/>
                <a:gd name="connsiteY6081" fmla="*/ 273775 h 4996841"/>
                <a:gd name="connsiteX6082" fmla="*/ 3065106 w 3214184"/>
                <a:gd name="connsiteY6082" fmla="*/ 270599 h 4996841"/>
                <a:gd name="connsiteX6083" fmla="*/ 3067949 w 3214184"/>
                <a:gd name="connsiteY6083" fmla="*/ 267937 h 4996841"/>
                <a:gd name="connsiteX6084" fmla="*/ 3068948 w 3214184"/>
                <a:gd name="connsiteY6084" fmla="*/ 265335 h 4996841"/>
                <a:gd name="connsiteX6085" fmla="*/ 3067496 w 3214184"/>
                <a:gd name="connsiteY6085" fmla="*/ 265184 h 4996841"/>
                <a:gd name="connsiteX6086" fmla="*/ 3085858 w 3214184"/>
                <a:gd name="connsiteY6086" fmla="*/ 206103 h 4996841"/>
                <a:gd name="connsiteX6087" fmla="*/ 3080413 w 3214184"/>
                <a:gd name="connsiteY6087" fmla="*/ 196332 h 4996841"/>
                <a:gd name="connsiteX6088" fmla="*/ 3074604 w 3214184"/>
                <a:gd name="connsiteY6088" fmla="*/ 188164 h 4996841"/>
                <a:gd name="connsiteX6089" fmla="*/ 3060477 w 3214184"/>
                <a:gd name="connsiteY6089" fmla="*/ 177969 h 4996841"/>
                <a:gd name="connsiteX6090" fmla="*/ 3027352 w 3214184"/>
                <a:gd name="connsiteY6090" fmla="*/ 152255 h 4996841"/>
                <a:gd name="connsiteX6091" fmla="*/ 2984788 w 3214184"/>
                <a:gd name="connsiteY6091" fmla="*/ 123244 h 4996841"/>
                <a:gd name="connsiteX6092" fmla="*/ 2966002 w 3214184"/>
                <a:gd name="connsiteY6092" fmla="*/ 120824 h 4996841"/>
                <a:gd name="connsiteX6093" fmla="*/ 2948003 w 3214184"/>
                <a:gd name="connsiteY6093" fmla="*/ 123244 h 4996841"/>
                <a:gd name="connsiteX6094" fmla="*/ 2937929 w 3214184"/>
                <a:gd name="connsiteY6094" fmla="*/ 127117 h 4996841"/>
                <a:gd name="connsiteX6095" fmla="*/ 2913727 w 3214184"/>
                <a:gd name="connsiteY6095" fmla="*/ 146447 h 4996841"/>
                <a:gd name="connsiteX6096" fmla="*/ 2908191 w 3214184"/>
                <a:gd name="connsiteY6096" fmla="*/ 154403 h 4996841"/>
                <a:gd name="connsiteX6097" fmla="*/ 2901809 w 3214184"/>
                <a:gd name="connsiteY6097" fmla="*/ 159092 h 4996841"/>
                <a:gd name="connsiteX6098" fmla="*/ 2900205 w 3214184"/>
                <a:gd name="connsiteY6098" fmla="*/ 161482 h 4996841"/>
                <a:gd name="connsiteX6099" fmla="*/ 2897241 w 3214184"/>
                <a:gd name="connsiteY6099" fmla="*/ 167623 h 4996841"/>
                <a:gd name="connsiteX6100" fmla="*/ 2890434 w 3214184"/>
                <a:gd name="connsiteY6100" fmla="*/ 177999 h 4996841"/>
                <a:gd name="connsiteX6101" fmla="*/ 2887409 w 3214184"/>
                <a:gd name="connsiteY6101" fmla="*/ 184019 h 4996841"/>
                <a:gd name="connsiteX6102" fmla="*/ 2885775 w 3214184"/>
                <a:gd name="connsiteY6102" fmla="*/ 189404 h 4996841"/>
                <a:gd name="connsiteX6103" fmla="*/ 2884202 w 3214184"/>
                <a:gd name="connsiteY6103" fmla="*/ 197118 h 4996841"/>
                <a:gd name="connsiteX6104" fmla="*/ 2883294 w 3214184"/>
                <a:gd name="connsiteY6104" fmla="*/ 204742 h 4996841"/>
                <a:gd name="connsiteX6105" fmla="*/ 2883658 w 3214184"/>
                <a:gd name="connsiteY6105" fmla="*/ 209884 h 4996841"/>
                <a:gd name="connsiteX6106" fmla="*/ 2883658 w 3214184"/>
                <a:gd name="connsiteY6106" fmla="*/ 211639 h 4996841"/>
                <a:gd name="connsiteX6107" fmla="*/ 2883809 w 3214184"/>
                <a:gd name="connsiteY6107" fmla="*/ 220019 h 4996841"/>
                <a:gd name="connsiteX6108" fmla="*/ 2883929 w 3214184"/>
                <a:gd name="connsiteY6108" fmla="*/ 221562 h 4996841"/>
                <a:gd name="connsiteX6109" fmla="*/ 2883203 w 3214184"/>
                <a:gd name="connsiteY6109" fmla="*/ 224919 h 4996841"/>
                <a:gd name="connsiteX6110" fmla="*/ 2880845 w 3214184"/>
                <a:gd name="connsiteY6110" fmla="*/ 230607 h 4996841"/>
                <a:gd name="connsiteX6111" fmla="*/ 2878908 w 3214184"/>
                <a:gd name="connsiteY6111" fmla="*/ 237050 h 4996841"/>
                <a:gd name="connsiteX6112" fmla="*/ 2878696 w 3214184"/>
                <a:gd name="connsiteY6112" fmla="*/ 238079 h 4996841"/>
                <a:gd name="connsiteX6113" fmla="*/ 2878605 w 3214184"/>
                <a:gd name="connsiteY6113" fmla="*/ 239289 h 4996841"/>
                <a:gd name="connsiteX6114" fmla="*/ 2878485 w 3214184"/>
                <a:gd name="connsiteY6114" fmla="*/ 241981 h 4996841"/>
                <a:gd name="connsiteX6115" fmla="*/ 2879059 w 3214184"/>
                <a:gd name="connsiteY6115" fmla="*/ 242889 h 4996841"/>
                <a:gd name="connsiteX6116" fmla="*/ 2882538 w 3214184"/>
                <a:gd name="connsiteY6116" fmla="*/ 244553 h 4996841"/>
                <a:gd name="connsiteX6117" fmla="*/ 2879059 w 3214184"/>
                <a:gd name="connsiteY6117" fmla="*/ 250724 h 4996841"/>
                <a:gd name="connsiteX6118" fmla="*/ 2878485 w 3214184"/>
                <a:gd name="connsiteY6118" fmla="*/ 252539 h 4996841"/>
                <a:gd name="connsiteX6119" fmla="*/ 2878364 w 3214184"/>
                <a:gd name="connsiteY6119" fmla="*/ 254082 h 4996841"/>
                <a:gd name="connsiteX6120" fmla="*/ 2878121 w 3214184"/>
                <a:gd name="connsiteY6120" fmla="*/ 254808 h 4996841"/>
                <a:gd name="connsiteX6121" fmla="*/ 2878121 w 3214184"/>
                <a:gd name="connsiteY6121" fmla="*/ 255504 h 4996841"/>
                <a:gd name="connsiteX6122" fmla="*/ 2878485 w 3214184"/>
                <a:gd name="connsiteY6122" fmla="*/ 257046 h 4996841"/>
                <a:gd name="connsiteX6123" fmla="*/ 2879422 w 3214184"/>
                <a:gd name="connsiteY6123" fmla="*/ 258377 h 4996841"/>
                <a:gd name="connsiteX6124" fmla="*/ 2880360 w 3214184"/>
                <a:gd name="connsiteY6124" fmla="*/ 258045 h 4996841"/>
                <a:gd name="connsiteX6125" fmla="*/ 2881177 w 3214184"/>
                <a:gd name="connsiteY6125" fmla="*/ 257167 h 4996841"/>
                <a:gd name="connsiteX6126" fmla="*/ 2881873 w 3214184"/>
                <a:gd name="connsiteY6126" fmla="*/ 257046 h 4996841"/>
                <a:gd name="connsiteX6127" fmla="*/ 2883476 w 3214184"/>
                <a:gd name="connsiteY6127" fmla="*/ 260344 h 4996841"/>
                <a:gd name="connsiteX6128" fmla="*/ 2882568 w 3214184"/>
                <a:gd name="connsiteY6128" fmla="*/ 262552 h 4996841"/>
                <a:gd name="connsiteX6129" fmla="*/ 2880754 w 3214184"/>
                <a:gd name="connsiteY6129" fmla="*/ 265275 h 4996841"/>
                <a:gd name="connsiteX6130" fmla="*/ 2879755 w 3214184"/>
                <a:gd name="connsiteY6130" fmla="*/ 270357 h 4996841"/>
                <a:gd name="connsiteX6131" fmla="*/ 2879332 w 3214184"/>
                <a:gd name="connsiteY6131" fmla="*/ 275318 h 4996841"/>
                <a:gd name="connsiteX6132" fmla="*/ 2878726 w 3214184"/>
                <a:gd name="connsiteY6132" fmla="*/ 279342 h 4996841"/>
                <a:gd name="connsiteX6133" fmla="*/ 2878817 w 3214184"/>
                <a:gd name="connsiteY6133" fmla="*/ 282821 h 4996841"/>
                <a:gd name="connsiteX6134" fmla="*/ 2880481 w 3214184"/>
                <a:gd name="connsiteY6134" fmla="*/ 286239 h 4996841"/>
                <a:gd name="connsiteX6135" fmla="*/ 2881359 w 3214184"/>
                <a:gd name="connsiteY6135" fmla="*/ 285997 h 4996841"/>
                <a:gd name="connsiteX6136" fmla="*/ 2883870 w 3214184"/>
                <a:gd name="connsiteY6136" fmla="*/ 282700 h 4996841"/>
                <a:gd name="connsiteX6137" fmla="*/ 2885322 w 3214184"/>
                <a:gd name="connsiteY6137" fmla="*/ 281822 h 4996841"/>
                <a:gd name="connsiteX6138" fmla="*/ 2886350 w 3214184"/>
                <a:gd name="connsiteY6138" fmla="*/ 282458 h 4996841"/>
                <a:gd name="connsiteX6139" fmla="*/ 2888649 w 3214184"/>
                <a:gd name="connsiteY6139" fmla="*/ 285150 h 4996841"/>
                <a:gd name="connsiteX6140" fmla="*/ 2890161 w 3214184"/>
                <a:gd name="connsiteY6140" fmla="*/ 285332 h 4996841"/>
                <a:gd name="connsiteX6141" fmla="*/ 2889223 w 3214184"/>
                <a:gd name="connsiteY6141" fmla="*/ 286874 h 4996841"/>
                <a:gd name="connsiteX6142" fmla="*/ 2886017 w 3214184"/>
                <a:gd name="connsiteY6142" fmla="*/ 290444 h 4996841"/>
                <a:gd name="connsiteX6143" fmla="*/ 2889678 w 3214184"/>
                <a:gd name="connsiteY6143" fmla="*/ 295073 h 4996841"/>
                <a:gd name="connsiteX6144" fmla="*/ 2890857 w 3214184"/>
                <a:gd name="connsiteY6144" fmla="*/ 295678 h 4996841"/>
                <a:gd name="connsiteX6145" fmla="*/ 2892128 w 3214184"/>
                <a:gd name="connsiteY6145" fmla="*/ 296827 h 4996841"/>
                <a:gd name="connsiteX6146" fmla="*/ 2894427 w 3214184"/>
                <a:gd name="connsiteY6146" fmla="*/ 301758 h 4996841"/>
                <a:gd name="connsiteX6147" fmla="*/ 2895667 w 3214184"/>
                <a:gd name="connsiteY6147" fmla="*/ 302847 h 4996841"/>
                <a:gd name="connsiteX6148" fmla="*/ 2898511 w 3214184"/>
                <a:gd name="connsiteY6148" fmla="*/ 304027 h 4996841"/>
                <a:gd name="connsiteX6149" fmla="*/ 2908100 w 3214184"/>
                <a:gd name="connsiteY6149" fmla="*/ 313344 h 4996841"/>
                <a:gd name="connsiteX6150" fmla="*/ 2913365 w 3214184"/>
                <a:gd name="connsiteY6150" fmla="*/ 321724 h 4996841"/>
                <a:gd name="connsiteX6151" fmla="*/ 2916329 w 3214184"/>
                <a:gd name="connsiteY6151" fmla="*/ 325021 h 4996841"/>
                <a:gd name="connsiteX6152" fmla="*/ 2925767 w 3214184"/>
                <a:gd name="connsiteY6152" fmla="*/ 324114 h 4996841"/>
                <a:gd name="connsiteX6153" fmla="*/ 2927098 w 3214184"/>
                <a:gd name="connsiteY6153" fmla="*/ 322148 h 4996841"/>
                <a:gd name="connsiteX6154" fmla="*/ 2928006 w 3214184"/>
                <a:gd name="connsiteY6154" fmla="*/ 319183 h 4996841"/>
                <a:gd name="connsiteX6155" fmla="*/ 2929247 w 3214184"/>
                <a:gd name="connsiteY6155" fmla="*/ 318306 h 4996841"/>
                <a:gd name="connsiteX6156" fmla="*/ 2930699 w 3214184"/>
                <a:gd name="connsiteY6156" fmla="*/ 318941 h 4996841"/>
                <a:gd name="connsiteX6157" fmla="*/ 2932302 w 3214184"/>
                <a:gd name="connsiteY6157" fmla="*/ 320453 h 4996841"/>
                <a:gd name="connsiteX6158" fmla="*/ 2933330 w 3214184"/>
                <a:gd name="connsiteY6158" fmla="*/ 321966 h 4996841"/>
                <a:gd name="connsiteX6159" fmla="*/ 2934147 w 3214184"/>
                <a:gd name="connsiteY6159" fmla="*/ 323479 h 4996841"/>
                <a:gd name="connsiteX6160" fmla="*/ 2935206 w 3214184"/>
                <a:gd name="connsiteY6160" fmla="*/ 324719 h 4996841"/>
                <a:gd name="connsiteX6161" fmla="*/ 2937021 w 3214184"/>
                <a:gd name="connsiteY6161" fmla="*/ 325354 h 4996841"/>
                <a:gd name="connsiteX6162" fmla="*/ 2982428 w 3214184"/>
                <a:gd name="connsiteY6162" fmla="*/ 312437 h 4996841"/>
                <a:gd name="connsiteX6163" fmla="*/ 2988903 w 3214184"/>
                <a:gd name="connsiteY6163" fmla="*/ 306296 h 4996841"/>
                <a:gd name="connsiteX6164" fmla="*/ 2988116 w 3214184"/>
                <a:gd name="connsiteY6164" fmla="*/ 304390 h 4996841"/>
                <a:gd name="connsiteX6165" fmla="*/ 2990747 w 3214184"/>
                <a:gd name="connsiteY6165" fmla="*/ 303210 h 4996841"/>
                <a:gd name="connsiteX6166" fmla="*/ 2999793 w 3214184"/>
                <a:gd name="connsiteY6166" fmla="*/ 304390 h 4996841"/>
                <a:gd name="connsiteX6167" fmla="*/ 3011621 w 3214184"/>
                <a:gd name="connsiteY6167" fmla="*/ 298219 h 4996841"/>
                <a:gd name="connsiteX6168" fmla="*/ 3017792 w 3214184"/>
                <a:gd name="connsiteY6168" fmla="*/ 290414 h 4996841"/>
                <a:gd name="connsiteX6169" fmla="*/ 3022028 w 3214184"/>
                <a:gd name="connsiteY6169" fmla="*/ 288115 h 4996841"/>
                <a:gd name="connsiteX6170" fmla="*/ 3026384 w 3214184"/>
                <a:gd name="connsiteY6170" fmla="*/ 287056 h 4996841"/>
                <a:gd name="connsiteX6171" fmla="*/ 3029803 w 3214184"/>
                <a:gd name="connsiteY6171" fmla="*/ 284242 h 4996841"/>
                <a:gd name="connsiteX6172" fmla="*/ 3040541 w 3214184"/>
                <a:gd name="connsiteY6172" fmla="*/ 264851 h 4996841"/>
                <a:gd name="connsiteX6173" fmla="*/ 3047167 w 3214184"/>
                <a:gd name="connsiteY6173" fmla="*/ 260162 h 4996841"/>
                <a:gd name="connsiteX6174" fmla="*/ 3048800 w 3214184"/>
                <a:gd name="connsiteY6174" fmla="*/ 257016 h 4996841"/>
                <a:gd name="connsiteX6175" fmla="*/ 3049103 w 3214184"/>
                <a:gd name="connsiteY6175" fmla="*/ 253295 h 4996841"/>
                <a:gd name="connsiteX6176" fmla="*/ 3047469 w 3214184"/>
                <a:gd name="connsiteY6176" fmla="*/ 252569 h 4996841"/>
                <a:gd name="connsiteX6177" fmla="*/ 3043295 w 3214184"/>
                <a:gd name="connsiteY6177" fmla="*/ 253477 h 4996841"/>
                <a:gd name="connsiteX6178" fmla="*/ 3045109 w 3214184"/>
                <a:gd name="connsiteY6178" fmla="*/ 249272 h 4996841"/>
                <a:gd name="connsiteX6179" fmla="*/ 3053459 w 3214184"/>
                <a:gd name="connsiteY6179" fmla="*/ 236566 h 4996841"/>
                <a:gd name="connsiteX6180" fmla="*/ 3056332 w 3214184"/>
                <a:gd name="connsiteY6180" fmla="*/ 233874 h 4996841"/>
                <a:gd name="connsiteX6181" fmla="*/ 3060356 w 3214184"/>
                <a:gd name="connsiteY6181" fmla="*/ 232210 h 4996841"/>
                <a:gd name="connsiteX6182" fmla="*/ 3071398 w 3214184"/>
                <a:gd name="connsiteY6182" fmla="*/ 219172 h 4996841"/>
                <a:gd name="connsiteX6183" fmla="*/ 3076147 w 3214184"/>
                <a:gd name="connsiteY6183" fmla="*/ 216116 h 4996841"/>
                <a:gd name="connsiteX6184" fmla="*/ 3078991 w 3214184"/>
                <a:gd name="connsiteY6184" fmla="*/ 215118 h 4996841"/>
                <a:gd name="connsiteX6185" fmla="*/ 3080504 w 3214184"/>
                <a:gd name="connsiteY6185" fmla="*/ 215965 h 4996841"/>
                <a:gd name="connsiteX6186" fmla="*/ 3080171 w 3214184"/>
                <a:gd name="connsiteY6186" fmla="*/ 218506 h 4996841"/>
                <a:gd name="connsiteX6187" fmla="*/ 3077055 w 3214184"/>
                <a:gd name="connsiteY6187" fmla="*/ 228550 h 4996841"/>
                <a:gd name="connsiteX6188" fmla="*/ 3072033 w 3214184"/>
                <a:gd name="connsiteY6188" fmla="*/ 239501 h 4996841"/>
                <a:gd name="connsiteX6189" fmla="*/ 3070430 w 3214184"/>
                <a:gd name="connsiteY6189" fmla="*/ 245823 h 4996841"/>
                <a:gd name="connsiteX6190" fmla="*/ 3071488 w 3214184"/>
                <a:gd name="connsiteY6190" fmla="*/ 251541 h 4996841"/>
                <a:gd name="connsiteX6191" fmla="*/ 3070612 w 3214184"/>
                <a:gd name="connsiteY6191" fmla="*/ 252751 h 4996841"/>
                <a:gd name="connsiteX6192" fmla="*/ 3070157 w 3214184"/>
                <a:gd name="connsiteY6192" fmla="*/ 253991 h 4996841"/>
                <a:gd name="connsiteX6193" fmla="*/ 3069431 w 3214184"/>
                <a:gd name="connsiteY6193" fmla="*/ 256986 h 4996841"/>
                <a:gd name="connsiteX6194" fmla="*/ 3075028 w 3214184"/>
                <a:gd name="connsiteY6194" fmla="*/ 252872 h 4996841"/>
                <a:gd name="connsiteX6195" fmla="*/ 3082924 w 3214184"/>
                <a:gd name="connsiteY6195" fmla="*/ 241255 h 4996841"/>
                <a:gd name="connsiteX6196" fmla="*/ 3089398 w 3214184"/>
                <a:gd name="connsiteY6196" fmla="*/ 227461 h 4996841"/>
                <a:gd name="connsiteX6197" fmla="*/ 3090517 w 3214184"/>
                <a:gd name="connsiteY6197" fmla="*/ 216903 h 4996841"/>
                <a:gd name="connsiteX6198" fmla="*/ 3085798 w 3214184"/>
                <a:gd name="connsiteY6198" fmla="*/ 206103 h 4996841"/>
                <a:gd name="connsiteX6199" fmla="*/ 3040391 w 3214184"/>
                <a:gd name="connsiteY6199" fmla="*/ 281006 h 4996841"/>
                <a:gd name="connsiteX6200" fmla="*/ 3039392 w 3214184"/>
                <a:gd name="connsiteY6200" fmla="*/ 281792 h 4996841"/>
                <a:gd name="connsiteX6201" fmla="*/ 3036760 w 3214184"/>
                <a:gd name="connsiteY6201" fmla="*/ 284363 h 4996841"/>
                <a:gd name="connsiteX6202" fmla="*/ 3033251 w 3214184"/>
                <a:gd name="connsiteY6202" fmla="*/ 286723 h 4996841"/>
                <a:gd name="connsiteX6203" fmla="*/ 3033099 w 3214184"/>
                <a:gd name="connsiteY6203" fmla="*/ 287479 h 4996841"/>
                <a:gd name="connsiteX6204" fmla="*/ 3034642 w 3214184"/>
                <a:gd name="connsiteY6204" fmla="*/ 287389 h 4996841"/>
                <a:gd name="connsiteX6205" fmla="*/ 3036155 w 3214184"/>
                <a:gd name="connsiteY6205" fmla="*/ 286632 h 4996841"/>
                <a:gd name="connsiteX6206" fmla="*/ 3041933 w 3214184"/>
                <a:gd name="connsiteY6206" fmla="*/ 281520 h 4996841"/>
                <a:gd name="connsiteX6207" fmla="*/ 3042175 w 3214184"/>
                <a:gd name="connsiteY6207" fmla="*/ 280038 h 4996841"/>
                <a:gd name="connsiteX6208" fmla="*/ 3040360 w 3214184"/>
                <a:gd name="connsiteY6208" fmla="*/ 280975 h 499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Lst>
              <a:rect l="l" t="t" r="r" b="b"/>
              <a:pathLst>
                <a:path w="3214184" h="4996841">
                  <a:moveTo>
                    <a:pt x="916225" y="2155082"/>
                  </a:moveTo>
                  <a:lnTo>
                    <a:pt x="915862" y="2154628"/>
                  </a:lnTo>
                  <a:lnTo>
                    <a:pt x="912988" y="2153781"/>
                  </a:lnTo>
                  <a:lnTo>
                    <a:pt x="906817" y="2148064"/>
                  </a:lnTo>
                  <a:lnTo>
                    <a:pt x="905879" y="2146702"/>
                  </a:lnTo>
                  <a:lnTo>
                    <a:pt x="904941" y="2146037"/>
                  </a:lnTo>
                  <a:lnTo>
                    <a:pt x="904034" y="2146491"/>
                  </a:lnTo>
                  <a:lnTo>
                    <a:pt x="903338" y="2146218"/>
                  </a:lnTo>
                  <a:lnTo>
                    <a:pt x="902673" y="2144555"/>
                  </a:lnTo>
                  <a:lnTo>
                    <a:pt x="902219" y="2144464"/>
                  </a:lnTo>
                  <a:lnTo>
                    <a:pt x="901523" y="2145613"/>
                  </a:lnTo>
                  <a:lnTo>
                    <a:pt x="900283" y="2145401"/>
                  </a:lnTo>
                  <a:lnTo>
                    <a:pt x="899164" y="2144615"/>
                  </a:lnTo>
                  <a:lnTo>
                    <a:pt x="898770" y="2144887"/>
                  </a:lnTo>
                  <a:lnTo>
                    <a:pt x="899164" y="2145976"/>
                  </a:lnTo>
                  <a:lnTo>
                    <a:pt x="899284" y="2147307"/>
                  </a:lnTo>
                  <a:lnTo>
                    <a:pt x="898952" y="2148760"/>
                  </a:lnTo>
                  <a:lnTo>
                    <a:pt x="899043" y="2150817"/>
                  </a:lnTo>
                  <a:lnTo>
                    <a:pt x="899738" y="2153237"/>
                  </a:lnTo>
                  <a:lnTo>
                    <a:pt x="901553" y="2155173"/>
                  </a:lnTo>
                  <a:lnTo>
                    <a:pt x="907059" y="2159317"/>
                  </a:lnTo>
                  <a:lnTo>
                    <a:pt x="909358" y="2160164"/>
                  </a:lnTo>
                  <a:lnTo>
                    <a:pt x="910538" y="2160406"/>
                  </a:lnTo>
                  <a:lnTo>
                    <a:pt x="911899" y="2160406"/>
                  </a:lnTo>
                  <a:lnTo>
                    <a:pt x="914138" y="2161042"/>
                  </a:lnTo>
                  <a:lnTo>
                    <a:pt x="914592" y="2160437"/>
                  </a:lnTo>
                  <a:lnTo>
                    <a:pt x="914501" y="2158954"/>
                  </a:lnTo>
                  <a:lnTo>
                    <a:pt x="914985" y="2157502"/>
                  </a:lnTo>
                  <a:lnTo>
                    <a:pt x="916255" y="2156655"/>
                  </a:lnTo>
                  <a:lnTo>
                    <a:pt x="916830" y="2156080"/>
                  </a:lnTo>
                  <a:lnTo>
                    <a:pt x="916195" y="2155143"/>
                  </a:lnTo>
                  <a:close/>
                  <a:moveTo>
                    <a:pt x="1025221" y="2211259"/>
                  </a:moveTo>
                  <a:lnTo>
                    <a:pt x="1024525" y="2210351"/>
                  </a:lnTo>
                  <a:lnTo>
                    <a:pt x="1024132" y="2210019"/>
                  </a:lnTo>
                  <a:lnTo>
                    <a:pt x="1016721" y="2205360"/>
                  </a:lnTo>
                  <a:lnTo>
                    <a:pt x="1012183" y="2204271"/>
                  </a:lnTo>
                  <a:lnTo>
                    <a:pt x="1011033" y="2204725"/>
                  </a:lnTo>
                  <a:lnTo>
                    <a:pt x="1015238" y="2207538"/>
                  </a:lnTo>
                  <a:lnTo>
                    <a:pt x="1016993" y="2208294"/>
                  </a:lnTo>
                  <a:lnTo>
                    <a:pt x="1018233" y="2209172"/>
                  </a:lnTo>
                  <a:lnTo>
                    <a:pt x="1018717" y="2210109"/>
                  </a:lnTo>
                  <a:lnTo>
                    <a:pt x="1024072" y="2214042"/>
                  </a:lnTo>
                  <a:lnTo>
                    <a:pt x="1024616" y="2213346"/>
                  </a:lnTo>
                  <a:lnTo>
                    <a:pt x="1025040" y="2212469"/>
                  </a:lnTo>
                  <a:lnTo>
                    <a:pt x="1025463" y="2212106"/>
                  </a:lnTo>
                  <a:lnTo>
                    <a:pt x="1025251" y="2211259"/>
                  </a:lnTo>
                  <a:close/>
                  <a:moveTo>
                    <a:pt x="907755" y="2094125"/>
                  </a:moveTo>
                  <a:lnTo>
                    <a:pt x="906968" y="2092068"/>
                  </a:lnTo>
                  <a:lnTo>
                    <a:pt x="906424" y="2090011"/>
                  </a:lnTo>
                  <a:lnTo>
                    <a:pt x="905063" y="2088952"/>
                  </a:lnTo>
                  <a:lnTo>
                    <a:pt x="903489" y="2088680"/>
                  </a:lnTo>
                  <a:lnTo>
                    <a:pt x="902128" y="2089285"/>
                  </a:lnTo>
                  <a:lnTo>
                    <a:pt x="900676" y="2091857"/>
                  </a:lnTo>
                  <a:lnTo>
                    <a:pt x="900222" y="2095154"/>
                  </a:lnTo>
                  <a:lnTo>
                    <a:pt x="900767" y="2098451"/>
                  </a:lnTo>
                  <a:lnTo>
                    <a:pt x="902128" y="2101114"/>
                  </a:lnTo>
                  <a:lnTo>
                    <a:pt x="904548" y="2101840"/>
                  </a:lnTo>
                  <a:lnTo>
                    <a:pt x="908088" y="2097181"/>
                  </a:lnTo>
                  <a:lnTo>
                    <a:pt x="907725" y="2094125"/>
                  </a:lnTo>
                  <a:close/>
                  <a:moveTo>
                    <a:pt x="896774" y="2147398"/>
                  </a:moveTo>
                  <a:lnTo>
                    <a:pt x="896290" y="2146642"/>
                  </a:lnTo>
                  <a:lnTo>
                    <a:pt x="895957" y="2145916"/>
                  </a:lnTo>
                  <a:lnTo>
                    <a:pt x="895866" y="2144978"/>
                  </a:lnTo>
                  <a:lnTo>
                    <a:pt x="894928" y="2143617"/>
                  </a:lnTo>
                  <a:lnTo>
                    <a:pt x="893083" y="2142134"/>
                  </a:lnTo>
                  <a:lnTo>
                    <a:pt x="891086" y="2141378"/>
                  </a:lnTo>
                  <a:lnTo>
                    <a:pt x="890028" y="2141227"/>
                  </a:lnTo>
                  <a:lnTo>
                    <a:pt x="887366" y="2141378"/>
                  </a:lnTo>
                  <a:lnTo>
                    <a:pt x="887123" y="2142376"/>
                  </a:lnTo>
                  <a:lnTo>
                    <a:pt x="888818" y="2145432"/>
                  </a:lnTo>
                  <a:lnTo>
                    <a:pt x="889725" y="2146279"/>
                  </a:lnTo>
                  <a:lnTo>
                    <a:pt x="890723" y="2146642"/>
                  </a:lnTo>
                  <a:lnTo>
                    <a:pt x="891389" y="2147277"/>
                  </a:lnTo>
                  <a:lnTo>
                    <a:pt x="891722" y="2148064"/>
                  </a:lnTo>
                  <a:lnTo>
                    <a:pt x="892962" y="2149758"/>
                  </a:lnTo>
                  <a:lnTo>
                    <a:pt x="895019" y="2151603"/>
                  </a:lnTo>
                  <a:lnTo>
                    <a:pt x="896502" y="2151270"/>
                  </a:lnTo>
                  <a:lnTo>
                    <a:pt x="896985" y="2149032"/>
                  </a:lnTo>
                  <a:lnTo>
                    <a:pt x="897076" y="2147822"/>
                  </a:lnTo>
                  <a:lnTo>
                    <a:pt x="896834" y="2147368"/>
                  </a:lnTo>
                  <a:close/>
                  <a:moveTo>
                    <a:pt x="1633366" y="1194054"/>
                  </a:moveTo>
                  <a:lnTo>
                    <a:pt x="1629736" y="1192421"/>
                  </a:lnTo>
                  <a:lnTo>
                    <a:pt x="1627558" y="1190182"/>
                  </a:lnTo>
                  <a:lnTo>
                    <a:pt x="1627316" y="1189396"/>
                  </a:lnTo>
                  <a:lnTo>
                    <a:pt x="1627920" y="1187853"/>
                  </a:lnTo>
                  <a:lnTo>
                    <a:pt x="1628375" y="1183376"/>
                  </a:lnTo>
                  <a:lnTo>
                    <a:pt x="1628828" y="1180229"/>
                  </a:lnTo>
                  <a:lnTo>
                    <a:pt x="1629948" y="1181591"/>
                  </a:lnTo>
                  <a:lnTo>
                    <a:pt x="1630915" y="1184344"/>
                  </a:lnTo>
                  <a:lnTo>
                    <a:pt x="1631127" y="1185523"/>
                  </a:lnTo>
                  <a:lnTo>
                    <a:pt x="1633547" y="1190364"/>
                  </a:lnTo>
                  <a:lnTo>
                    <a:pt x="1634818" y="1191271"/>
                  </a:lnTo>
                  <a:lnTo>
                    <a:pt x="1635937" y="1188670"/>
                  </a:lnTo>
                  <a:lnTo>
                    <a:pt x="1635604" y="1187823"/>
                  </a:lnTo>
                  <a:lnTo>
                    <a:pt x="1632276" y="1178051"/>
                  </a:lnTo>
                  <a:lnTo>
                    <a:pt x="1630764" y="1171457"/>
                  </a:lnTo>
                  <a:lnTo>
                    <a:pt x="1627890" y="1169067"/>
                  </a:lnTo>
                  <a:lnTo>
                    <a:pt x="1622505" y="1167373"/>
                  </a:lnTo>
                  <a:lnTo>
                    <a:pt x="1617787" y="1167705"/>
                  </a:lnTo>
                  <a:lnTo>
                    <a:pt x="1615518" y="1168462"/>
                  </a:lnTo>
                  <a:lnTo>
                    <a:pt x="1614156" y="1171517"/>
                  </a:lnTo>
                  <a:lnTo>
                    <a:pt x="1609286" y="1171396"/>
                  </a:lnTo>
                  <a:lnTo>
                    <a:pt x="1604960" y="1172455"/>
                  </a:lnTo>
                  <a:lnTo>
                    <a:pt x="1601450" y="1173604"/>
                  </a:lnTo>
                  <a:lnTo>
                    <a:pt x="1599636" y="1178687"/>
                  </a:lnTo>
                  <a:lnTo>
                    <a:pt x="1599545" y="1184374"/>
                  </a:lnTo>
                  <a:lnTo>
                    <a:pt x="1601753" y="1189123"/>
                  </a:lnTo>
                  <a:lnTo>
                    <a:pt x="1605383" y="1193903"/>
                  </a:lnTo>
                  <a:lnTo>
                    <a:pt x="1609407" y="1197019"/>
                  </a:lnTo>
                  <a:lnTo>
                    <a:pt x="1614307" y="1197866"/>
                  </a:lnTo>
                  <a:lnTo>
                    <a:pt x="1617998" y="1197957"/>
                  </a:lnTo>
                  <a:lnTo>
                    <a:pt x="1620327" y="1199197"/>
                  </a:lnTo>
                  <a:lnTo>
                    <a:pt x="1621447" y="1199621"/>
                  </a:lnTo>
                  <a:lnTo>
                    <a:pt x="1621356" y="1202343"/>
                  </a:lnTo>
                  <a:lnTo>
                    <a:pt x="1621447" y="1205187"/>
                  </a:lnTo>
                  <a:lnTo>
                    <a:pt x="1622112" y="1208575"/>
                  </a:lnTo>
                  <a:lnTo>
                    <a:pt x="1622112" y="1211328"/>
                  </a:lnTo>
                  <a:lnTo>
                    <a:pt x="1623595" y="1213778"/>
                  </a:lnTo>
                  <a:lnTo>
                    <a:pt x="1625561" y="1213294"/>
                  </a:lnTo>
                  <a:lnTo>
                    <a:pt x="1629342" y="1210178"/>
                  </a:lnTo>
                  <a:lnTo>
                    <a:pt x="1631550" y="1208908"/>
                  </a:lnTo>
                  <a:lnTo>
                    <a:pt x="1632821" y="1207456"/>
                  </a:lnTo>
                  <a:lnTo>
                    <a:pt x="1634001" y="1205459"/>
                  </a:lnTo>
                  <a:lnTo>
                    <a:pt x="1634999" y="1204400"/>
                  </a:lnTo>
                  <a:lnTo>
                    <a:pt x="1635604" y="1202646"/>
                  </a:lnTo>
                  <a:lnTo>
                    <a:pt x="1635847" y="1198501"/>
                  </a:lnTo>
                  <a:lnTo>
                    <a:pt x="1635060" y="1195506"/>
                  </a:lnTo>
                  <a:lnTo>
                    <a:pt x="1633305" y="1194054"/>
                  </a:lnTo>
                  <a:close/>
                  <a:moveTo>
                    <a:pt x="2856583" y="4453768"/>
                  </a:moveTo>
                  <a:lnTo>
                    <a:pt x="2856583" y="4446840"/>
                  </a:lnTo>
                  <a:lnTo>
                    <a:pt x="2855705" y="4444843"/>
                  </a:lnTo>
                  <a:lnTo>
                    <a:pt x="2855131" y="4442937"/>
                  </a:lnTo>
                  <a:lnTo>
                    <a:pt x="2855131" y="4441092"/>
                  </a:lnTo>
                  <a:lnTo>
                    <a:pt x="2854646" y="4438551"/>
                  </a:lnTo>
                  <a:lnTo>
                    <a:pt x="2853497" y="4435556"/>
                  </a:lnTo>
                  <a:lnTo>
                    <a:pt x="2852832" y="4433166"/>
                  </a:lnTo>
                  <a:lnTo>
                    <a:pt x="2853073" y="4431109"/>
                  </a:lnTo>
                  <a:lnTo>
                    <a:pt x="2852529" y="4429718"/>
                  </a:lnTo>
                  <a:lnTo>
                    <a:pt x="2851470" y="4430444"/>
                  </a:lnTo>
                  <a:lnTo>
                    <a:pt x="2850593" y="4431563"/>
                  </a:lnTo>
                  <a:lnTo>
                    <a:pt x="2849595" y="4431684"/>
                  </a:lnTo>
                  <a:lnTo>
                    <a:pt x="2848566" y="4432017"/>
                  </a:lnTo>
                  <a:lnTo>
                    <a:pt x="2848233" y="4433318"/>
                  </a:lnTo>
                  <a:lnTo>
                    <a:pt x="2848475" y="4435133"/>
                  </a:lnTo>
                  <a:lnTo>
                    <a:pt x="2848384" y="4436978"/>
                  </a:lnTo>
                  <a:lnTo>
                    <a:pt x="2848384" y="4439095"/>
                  </a:lnTo>
                  <a:lnTo>
                    <a:pt x="2848535" y="4440306"/>
                  </a:lnTo>
                  <a:lnTo>
                    <a:pt x="2849564" y="4445055"/>
                  </a:lnTo>
                  <a:lnTo>
                    <a:pt x="2851168" y="4449593"/>
                  </a:lnTo>
                  <a:lnTo>
                    <a:pt x="2852771" y="4452709"/>
                  </a:lnTo>
                  <a:lnTo>
                    <a:pt x="2854858" y="4455401"/>
                  </a:lnTo>
                  <a:lnTo>
                    <a:pt x="2855191" y="4455734"/>
                  </a:lnTo>
                  <a:lnTo>
                    <a:pt x="2855857" y="4456309"/>
                  </a:lnTo>
                  <a:lnTo>
                    <a:pt x="2856522" y="4456369"/>
                  </a:lnTo>
                  <a:lnTo>
                    <a:pt x="2856733" y="4455946"/>
                  </a:lnTo>
                  <a:lnTo>
                    <a:pt x="2856733" y="4455613"/>
                  </a:lnTo>
                  <a:lnTo>
                    <a:pt x="2856522" y="4453737"/>
                  </a:lnTo>
                  <a:close/>
                  <a:moveTo>
                    <a:pt x="2843000" y="4645229"/>
                  </a:moveTo>
                  <a:lnTo>
                    <a:pt x="2841880" y="4644594"/>
                  </a:lnTo>
                  <a:lnTo>
                    <a:pt x="2840640" y="4644442"/>
                  </a:lnTo>
                  <a:lnTo>
                    <a:pt x="2838099" y="4644594"/>
                  </a:lnTo>
                  <a:lnTo>
                    <a:pt x="2834801" y="4645198"/>
                  </a:lnTo>
                  <a:lnTo>
                    <a:pt x="2823246" y="4644957"/>
                  </a:lnTo>
                  <a:lnTo>
                    <a:pt x="2820401" y="4646893"/>
                  </a:lnTo>
                  <a:lnTo>
                    <a:pt x="2819464" y="4649313"/>
                  </a:lnTo>
                  <a:lnTo>
                    <a:pt x="2819948" y="4650553"/>
                  </a:lnTo>
                  <a:lnTo>
                    <a:pt x="2820947" y="4651612"/>
                  </a:lnTo>
                  <a:lnTo>
                    <a:pt x="2822277" y="4651763"/>
                  </a:lnTo>
                  <a:lnTo>
                    <a:pt x="2824032" y="4650765"/>
                  </a:lnTo>
                  <a:lnTo>
                    <a:pt x="2824728" y="4650704"/>
                  </a:lnTo>
                  <a:lnTo>
                    <a:pt x="2825091" y="4652217"/>
                  </a:lnTo>
                  <a:lnTo>
                    <a:pt x="2826119" y="4652610"/>
                  </a:lnTo>
                  <a:lnTo>
                    <a:pt x="2827693" y="4652731"/>
                  </a:lnTo>
                  <a:lnTo>
                    <a:pt x="2831353" y="4653881"/>
                  </a:lnTo>
                  <a:lnTo>
                    <a:pt x="2833047" y="4653699"/>
                  </a:lnTo>
                  <a:lnTo>
                    <a:pt x="2843514" y="4646621"/>
                  </a:lnTo>
                  <a:lnTo>
                    <a:pt x="2843514" y="4645622"/>
                  </a:lnTo>
                  <a:lnTo>
                    <a:pt x="2843000" y="4645229"/>
                  </a:lnTo>
                  <a:close/>
                  <a:moveTo>
                    <a:pt x="833367" y="2208778"/>
                  </a:moveTo>
                  <a:lnTo>
                    <a:pt x="832701" y="2207387"/>
                  </a:lnTo>
                  <a:lnTo>
                    <a:pt x="831128" y="2206903"/>
                  </a:lnTo>
                  <a:lnTo>
                    <a:pt x="828284" y="2204543"/>
                  </a:lnTo>
                  <a:lnTo>
                    <a:pt x="826197" y="2203757"/>
                  </a:lnTo>
                  <a:lnTo>
                    <a:pt x="825138" y="2205693"/>
                  </a:lnTo>
                  <a:lnTo>
                    <a:pt x="824987" y="2207629"/>
                  </a:lnTo>
                  <a:lnTo>
                    <a:pt x="824442" y="2209565"/>
                  </a:lnTo>
                  <a:lnTo>
                    <a:pt x="824654" y="2211410"/>
                  </a:lnTo>
                  <a:lnTo>
                    <a:pt x="826257" y="2212620"/>
                  </a:lnTo>
                  <a:lnTo>
                    <a:pt x="831612" y="2210412"/>
                  </a:lnTo>
                  <a:lnTo>
                    <a:pt x="833457" y="2210351"/>
                  </a:lnTo>
                  <a:lnTo>
                    <a:pt x="833367" y="2208809"/>
                  </a:lnTo>
                  <a:close/>
                  <a:moveTo>
                    <a:pt x="2092643" y="1281088"/>
                  </a:moveTo>
                  <a:lnTo>
                    <a:pt x="2092340" y="1278789"/>
                  </a:lnTo>
                  <a:lnTo>
                    <a:pt x="2092189" y="1268231"/>
                  </a:lnTo>
                  <a:lnTo>
                    <a:pt x="2090858" y="1262937"/>
                  </a:lnTo>
                  <a:lnTo>
                    <a:pt x="2088438" y="1258097"/>
                  </a:lnTo>
                  <a:lnTo>
                    <a:pt x="2085443" y="1254981"/>
                  </a:lnTo>
                  <a:lnTo>
                    <a:pt x="2074250" y="1252470"/>
                  </a:lnTo>
                  <a:lnTo>
                    <a:pt x="2063027" y="1253075"/>
                  </a:lnTo>
                  <a:lnTo>
                    <a:pt x="2056946" y="1255646"/>
                  </a:lnTo>
                  <a:lnTo>
                    <a:pt x="2055434" y="1257552"/>
                  </a:lnTo>
                  <a:lnTo>
                    <a:pt x="2059518" y="1258308"/>
                  </a:lnTo>
                  <a:lnTo>
                    <a:pt x="2066506" y="1263239"/>
                  </a:lnTo>
                  <a:lnTo>
                    <a:pt x="2069561" y="1264601"/>
                  </a:lnTo>
                  <a:lnTo>
                    <a:pt x="2072193" y="1266385"/>
                  </a:lnTo>
                  <a:lnTo>
                    <a:pt x="2077306" y="1270923"/>
                  </a:lnTo>
                  <a:lnTo>
                    <a:pt x="2080634" y="1276459"/>
                  </a:lnTo>
                  <a:lnTo>
                    <a:pt x="2082600" y="1281390"/>
                  </a:lnTo>
                  <a:lnTo>
                    <a:pt x="2084656" y="1284143"/>
                  </a:lnTo>
                  <a:lnTo>
                    <a:pt x="2089073" y="1286230"/>
                  </a:lnTo>
                  <a:lnTo>
                    <a:pt x="2091736" y="1285989"/>
                  </a:lnTo>
                  <a:lnTo>
                    <a:pt x="2092854" y="1283115"/>
                  </a:lnTo>
                  <a:lnTo>
                    <a:pt x="2092704" y="1281118"/>
                  </a:lnTo>
                  <a:close/>
                  <a:moveTo>
                    <a:pt x="2050502" y="1261243"/>
                  </a:moveTo>
                  <a:lnTo>
                    <a:pt x="2046782" y="1261576"/>
                  </a:lnTo>
                  <a:lnTo>
                    <a:pt x="2046207" y="1264601"/>
                  </a:lnTo>
                  <a:lnTo>
                    <a:pt x="2049898" y="1264268"/>
                  </a:lnTo>
                  <a:lnTo>
                    <a:pt x="2052045" y="1262574"/>
                  </a:lnTo>
                  <a:lnTo>
                    <a:pt x="2050472" y="1261243"/>
                  </a:lnTo>
                  <a:close/>
                  <a:moveTo>
                    <a:pt x="3210161" y="403131"/>
                  </a:moveTo>
                  <a:lnTo>
                    <a:pt x="3208225" y="403221"/>
                  </a:lnTo>
                  <a:lnTo>
                    <a:pt x="3203688" y="400196"/>
                  </a:lnTo>
                  <a:lnTo>
                    <a:pt x="3201328" y="400983"/>
                  </a:lnTo>
                  <a:lnTo>
                    <a:pt x="3192615" y="408364"/>
                  </a:lnTo>
                  <a:lnTo>
                    <a:pt x="3178579" y="413567"/>
                  </a:lnTo>
                  <a:lnTo>
                    <a:pt x="3173708" y="413930"/>
                  </a:lnTo>
                  <a:lnTo>
                    <a:pt x="3171348" y="414868"/>
                  </a:lnTo>
                  <a:lnTo>
                    <a:pt x="3166902" y="419345"/>
                  </a:lnTo>
                  <a:lnTo>
                    <a:pt x="3164663" y="420949"/>
                  </a:lnTo>
                  <a:lnTo>
                    <a:pt x="3153864" y="423641"/>
                  </a:lnTo>
                  <a:lnTo>
                    <a:pt x="3148237" y="423339"/>
                  </a:lnTo>
                  <a:lnTo>
                    <a:pt x="3143366" y="420949"/>
                  </a:lnTo>
                  <a:lnTo>
                    <a:pt x="3138193" y="414535"/>
                  </a:lnTo>
                  <a:lnTo>
                    <a:pt x="3136499" y="413930"/>
                  </a:lnTo>
                  <a:lnTo>
                    <a:pt x="3134593" y="415927"/>
                  </a:lnTo>
                  <a:lnTo>
                    <a:pt x="3131084" y="422824"/>
                  </a:lnTo>
                  <a:lnTo>
                    <a:pt x="3127756" y="425547"/>
                  </a:lnTo>
                  <a:lnTo>
                    <a:pt x="3122644" y="433685"/>
                  </a:lnTo>
                  <a:lnTo>
                    <a:pt x="3101831" y="453651"/>
                  </a:lnTo>
                  <a:lnTo>
                    <a:pt x="3093512" y="456827"/>
                  </a:lnTo>
                  <a:lnTo>
                    <a:pt x="3084860" y="463845"/>
                  </a:lnTo>
                  <a:lnTo>
                    <a:pt x="3078265" y="466538"/>
                  </a:lnTo>
                  <a:lnTo>
                    <a:pt x="3068010" y="477549"/>
                  </a:lnTo>
                  <a:lnTo>
                    <a:pt x="3064712" y="482904"/>
                  </a:lnTo>
                  <a:lnTo>
                    <a:pt x="3062958" y="486564"/>
                  </a:lnTo>
                  <a:lnTo>
                    <a:pt x="3058178" y="494036"/>
                  </a:lnTo>
                  <a:lnTo>
                    <a:pt x="3042629" y="504382"/>
                  </a:lnTo>
                  <a:lnTo>
                    <a:pt x="3046168" y="498574"/>
                  </a:lnTo>
                  <a:lnTo>
                    <a:pt x="3056332" y="493189"/>
                  </a:lnTo>
                  <a:lnTo>
                    <a:pt x="3059872" y="485778"/>
                  </a:lnTo>
                  <a:lnTo>
                    <a:pt x="3055335" y="486655"/>
                  </a:lnTo>
                  <a:lnTo>
                    <a:pt x="3037425" y="499300"/>
                  </a:lnTo>
                  <a:lnTo>
                    <a:pt x="3023298" y="513095"/>
                  </a:lnTo>
                  <a:lnTo>
                    <a:pt x="3008807" y="519447"/>
                  </a:lnTo>
                  <a:lnTo>
                    <a:pt x="2989568" y="532970"/>
                  </a:lnTo>
                  <a:lnTo>
                    <a:pt x="2975229" y="538869"/>
                  </a:lnTo>
                  <a:lnTo>
                    <a:pt x="2970843" y="542196"/>
                  </a:lnTo>
                  <a:lnTo>
                    <a:pt x="2954446" y="545101"/>
                  </a:lnTo>
                  <a:lnTo>
                    <a:pt x="2941619" y="541591"/>
                  </a:lnTo>
                  <a:lnTo>
                    <a:pt x="2936900" y="538234"/>
                  </a:lnTo>
                  <a:lnTo>
                    <a:pt x="2924134" y="524318"/>
                  </a:lnTo>
                  <a:lnTo>
                    <a:pt x="2919535" y="522231"/>
                  </a:lnTo>
                  <a:lnTo>
                    <a:pt x="2915784" y="524590"/>
                  </a:lnTo>
                  <a:lnTo>
                    <a:pt x="2936658" y="549911"/>
                  </a:lnTo>
                  <a:lnTo>
                    <a:pt x="2937081" y="560105"/>
                  </a:lnTo>
                  <a:lnTo>
                    <a:pt x="2937868" y="563917"/>
                  </a:lnTo>
                  <a:lnTo>
                    <a:pt x="2936960" y="566428"/>
                  </a:lnTo>
                  <a:lnTo>
                    <a:pt x="2935448" y="568697"/>
                  </a:lnTo>
                  <a:lnTo>
                    <a:pt x="2934420" y="571752"/>
                  </a:lnTo>
                  <a:lnTo>
                    <a:pt x="2935115" y="575322"/>
                  </a:lnTo>
                  <a:lnTo>
                    <a:pt x="2937717" y="575443"/>
                  </a:lnTo>
                  <a:lnTo>
                    <a:pt x="2943344" y="573446"/>
                  </a:lnTo>
                  <a:lnTo>
                    <a:pt x="2945582" y="574989"/>
                  </a:lnTo>
                  <a:lnTo>
                    <a:pt x="2949606" y="580676"/>
                  </a:lnTo>
                  <a:lnTo>
                    <a:pt x="2951633" y="581977"/>
                  </a:lnTo>
                  <a:lnTo>
                    <a:pt x="2954597" y="582824"/>
                  </a:lnTo>
                  <a:lnTo>
                    <a:pt x="2963400" y="588481"/>
                  </a:lnTo>
                  <a:lnTo>
                    <a:pt x="2963068" y="589479"/>
                  </a:lnTo>
                  <a:lnTo>
                    <a:pt x="2962281" y="592474"/>
                  </a:lnTo>
                  <a:lnTo>
                    <a:pt x="2961948" y="593503"/>
                  </a:lnTo>
                  <a:lnTo>
                    <a:pt x="2963551" y="593503"/>
                  </a:lnTo>
                  <a:lnTo>
                    <a:pt x="2965185" y="594229"/>
                  </a:lnTo>
                  <a:lnTo>
                    <a:pt x="2968180" y="596800"/>
                  </a:lnTo>
                  <a:lnTo>
                    <a:pt x="2965125" y="598736"/>
                  </a:lnTo>
                  <a:lnTo>
                    <a:pt x="2961040" y="598131"/>
                  </a:lnTo>
                  <a:lnTo>
                    <a:pt x="2956836" y="596014"/>
                  </a:lnTo>
                  <a:lnTo>
                    <a:pt x="2953629" y="593503"/>
                  </a:lnTo>
                  <a:lnTo>
                    <a:pt x="2957078" y="590175"/>
                  </a:lnTo>
                  <a:lnTo>
                    <a:pt x="2949878" y="585063"/>
                  </a:lnTo>
                  <a:lnTo>
                    <a:pt x="2927401" y="583550"/>
                  </a:lnTo>
                  <a:lnTo>
                    <a:pt x="2928400" y="582461"/>
                  </a:lnTo>
                  <a:lnTo>
                    <a:pt x="2929428" y="581886"/>
                  </a:lnTo>
                  <a:lnTo>
                    <a:pt x="2930457" y="581765"/>
                  </a:lnTo>
                  <a:lnTo>
                    <a:pt x="2931606" y="582038"/>
                  </a:lnTo>
                  <a:lnTo>
                    <a:pt x="2927189" y="578226"/>
                  </a:lnTo>
                  <a:lnTo>
                    <a:pt x="2922833" y="579134"/>
                  </a:lnTo>
                  <a:lnTo>
                    <a:pt x="2910037" y="589933"/>
                  </a:lnTo>
                  <a:lnTo>
                    <a:pt x="2905711" y="590811"/>
                  </a:lnTo>
                  <a:lnTo>
                    <a:pt x="2901445" y="589752"/>
                  </a:lnTo>
                  <a:lnTo>
                    <a:pt x="2892975" y="584912"/>
                  </a:lnTo>
                  <a:lnTo>
                    <a:pt x="2887711" y="584488"/>
                  </a:lnTo>
                  <a:lnTo>
                    <a:pt x="2882568" y="586333"/>
                  </a:lnTo>
                  <a:lnTo>
                    <a:pt x="2878908" y="591113"/>
                  </a:lnTo>
                  <a:lnTo>
                    <a:pt x="2877395" y="593805"/>
                  </a:lnTo>
                  <a:lnTo>
                    <a:pt x="2871678" y="599402"/>
                  </a:lnTo>
                  <a:lnTo>
                    <a:pt x="2868047" y="605755"/>
                  </a:lnTo>
                  <a:lnTo>
                    <a:pt x="2866203" y="608296"/>
                  </a:lnTo>
                  <a:lnTo>
                    <a:pt x="2864025" y="608750"/>
                  </a:lnTo>
                  <a:lnTo>
                    <a:pt x="2864357" y="605301"/>
                  </a:lnTo>
                  <a:lnTo>
                    <a:pt x="2864902" y="602125"/>
                  </a:lnTo>
                  <a:lnTo>
                    <a:pt x="2865719" y="599281"/>
                  </a:lnTo>
                  <a:lnTo>
                    <a:pt x="2866838" y="596831"/>
                  </a:lnTo>
                  <a:lnTo>
                    <a:pt x="2862088" y="593805"/>
                  </a:lnTo>
                  <a:lnTo>
                    <a:pt x="2857671" y="594138"/>
                  </a:lnTo>
                  <a:lnTo>
                    <a:pt x="2841275" y="606239"/>
                  </a:lnTo>
                  <a:lnTo>
                    <a:pt x="2838129" y="610988"/>
                  </a:lnTo>
                  <a:lnTo>
                    <a:pt x="2839158" y="616101"/>
                  </a:lnTo>
                  <a:lnTo>
                    <a:pt x="2848778" y="633405"/>
                  </a:lnTo>
                  <a:lnTo>
                    <a:pt x="2850956" y="638941"/>
                  </a:lnTo>
                  <a:lnTo>
                    <a:pt x="2851530" y="644144"/>
                  </a:lnTo>
                  <a:lnTo>
                    <a:pt x="2850411" y="649196"/>
                  </a:lnTo>
                  <a:lnTo>
                    <a:pt x="2847447" y="654278"/>
                  </a:lnTo>
                  <a:lnTo>
                    <a:pt x="2835951" y="664322"/>
                  </a:lnTo>
                  <a:lnTo>
                    <a:pt x="2833652" y="669767"/>
                  </a:lnTo>
                  <a:lnTo>
                    <a:pt x="2833864" y="670099"/>
                  </a:lnTo>
                  <a:lnTo>
                    <a:pt x="2834257" y="674849"/>
                  </a:lnTo>
                  <a:lnTo>
                    <a:pt x="2834257" y="679780"/>
                  </a:lnTo>
                  <a:lnTo>
                    <a:pt x="2835377" y="685165"/>
                  </a:lnTo>
                  <a:lnTo>
                    <a:pt x="2835739" y="687978"/>
                  </a:lnTo>
                  <a:lnTo>
                    <a:pt x="2835316" y="690489"/>
                  </a:lnTo>
                  <a:lnTo>
                    <a:pt x="2833984" y="693060"/>
                  </a:lnTo>
                  <a:lnTo>
                    <a:pt x="2826059" y="701712"/>
                  </a:lnTo>
                  <a:lnTo>
                    <a:pt x="2825484" y="703679"/>
                  </a:lnTo>
                  <a:lnTo>
                    <a:pt x="2826029" y="707581"/>
                  </a:lnTo>
                  <a:lnTo>
                    <a:pt x="2826785" y="709547"/>
                  </a:lnTo>
                  <a:lnTo>
                    <a:pt x="2830173" y="715840"/>
                  </a:lnTo>
                  <a:lnTo>
                    <a:pt x="2831201" y="719107"/>
                  </a:lnTo>
                  <a:lnTo>
                    <a:pt x="2831565" y="721618"/>
                  </a:lnTo>
                  <a:lnTo>
                    <a:pt x="2831444" y="734807"/>
                  </a:lnTo>
                  <a:lnTo>
                    <a:pt x="2830809" y="743127"/>
                  </a:lnTo>
                  <a:lnTo>
                    <a:pt x="2829114" y="750175"/>
                  </a:lnTo>
                  <a:lnTo>
                    <a:pt x="2825998" y="753140"/>
                  </a:lnTo>
                  <a:lnTo>
                    <a:pt x="2824032" y="754229"/>
                  </a:lnTo>
                  <a:lnTo>
                    <a:pt x="2818889" y="760128"/>
                  </a:lnTo>
                  <a:lnTo>
                    <a:pt x="2817195" y="763123"/>
                  </a:lnTo>
                  <a:lnTo>
                    <a:pt x="2815955" y="766571"/>
                  </a:lnTo>
                  <a:lnTo>
                    <a:pt x="2815592" y="769445"/>
                  </a:lnTo>
                  <a:lnTo>
                    <a:pt x="2815985" y="772349"/>
                  </a:lnTo>
                  <a:lnTo>
                    <a:pt x="2817165" y="775828"/>
                  </a:lnTo>
                  <a:lnTo>
                    <a:pt x="2815501" y="779519"/>
                  </a:lnTo>
                  <a:lnTo>
                    <a:pt x="2814593" y="781122"/>
                  </a:lnTo>
                  <a:lnTo>
                    <a:pt x="2813655" y="782453"/>
                  </a:lnTo>
                  <a:lnTo>
                    <a:pt x="2814079" y="776010"/>
                  </a:lnTo>
                  <a:lnTo>
                    <a:pt x="2812355" y="772864"/>
                  </a:lnTo>
                  <a:lnTo>
                    <a:pt x="2802130" y="767600"/>
                  </a:lnTo>
                  <a:lnTo>
                    <a:pt x="2797320" y="767116"/>
                  </a:lnTo>
                  <a:lnTo>
                    <a:pt x="2758537" y="783542"/>
                  </a:lnTo>
                  <a:lnTo>
                    <a:pt x="2754272" y="782605"/>
                  </a:lnTo>
                  <a:lnTo>
                    <a:pt x="2748736" y="786991"/>
                  </a:lnTo>
                  <a:lnTo>
                    <a:pt x="2738783" y="786991"/>
                  </a:lnTo>
                  <a:lnTo>
                    <a:pt x="2714159" y="793919"/>
                  </a:lnTo>
                  <a:lnTo>
                    <a:pt x="2710952" y="796823"/>
                  </a:lnTo>
                  <a:lnTo>
                    <a:pt x="2704659" y="804809"/>
                  </a:lnTo>
                  <a:lnTo>
                    <a:pt x="2700546" y="808076"/>
                  </a:lnTo>
                  <a:lnTo>
                    <a:pt x="2696401" y="810164"/>
                  </a:lnTo>
                  <a:lnTo>
                    <a:pt x="2693648" y="809710"/>
                  </a:lnTo>
                  <a:lnTo>
                    <a:pt x="2695614" y="808833"/>
                  </a:lnTo>
                  <a:lnTo>
                    <a:pt x="2703874" y="801209"/>
                  </a:lnTo>
                  <a:lnTo>
                    <a:pt x="2705809" y="798396"/>
                  </a:lnTo>
                  <a:lnTo>
                    <a:pt x="2709137" y="791166"/>
                  </a:lnTo>
                  <a:lnTo>
                    <a:pt x="2711073" y="789835"/>
                  </a:lnTo>
                  <a:lnTo>
                    <a:pt x="2713735" y="789835"/>
                  </a:lnTo>
                  <a:lnTo>
                    <a:pt x="2715702" y="788655"/>
                  </a:lnTo>
                  <a:lnTo>
                    <a:pt x="2715611" y="783875"/>
                  </a:lnTo>
                  <a:lnTo>
                    <a:pt x="2713645" y="780366"/>
                  </a:lnTo>
                  <a:lnTo>
                    <a:pt x="2710559" y="779035"/>
                  </a:lnTo>
                  <a:lnTo>
                    <a:pt x="2704630" y="779035"/>
                  </a:lnTo>
                  <a:lnTo>
                    <a:pt x="2685752" y="788080"/>
                  </a:lnTo>
                  <a:lnTo>
                    <a:pt x="2659615" y="790228"/>
                  </a:lnTo>
                  <a:lnTo>
                    <a:pt x="2658012" y="789623"/>
                  </a:lnTo>
                  <a:lnTo>
                    <a:pt x="2656772" y="788080"/>
                  </a:lnTo>
                  <a:lnTo>
                    <a:pt x="2654261" y="783875"/>
                  </a:lnTo>
                  <a:lnTo>
                    <a:pt x="2651871" y="781879"/>
                  </a:lnTo>
                  <a:lnTo>
                    <a:pt x="2640678" y="777038"/>
                  </a:lnTo>
                  <a:lnTo>
                    <a:pt x="2637804" y="774195"/>
                  </a:lnTo>
                  <a:lnTo>
                    <a:pt x="2635747" y="769597"/>
                  </a:lnTo>
                  <a:lnTo>
                    <a:pt x="2635021" y="762215"/>
                  </a:lnTo>
                  <a:lnTo>
                    <a:pt x="2633811" y="757950"/>
                  </a:lnTo>
                  <a:lnTo>
                    <a:pt x="2621831" y="735533"/>
                  </a:lnTo>
                  <a:lnTo>
                    <a:pt x="2619896" y="730572"/>
                  </a:lnTo>
                  <a:lnTo>
                    <a:pt x="2619079" y="724764"/>
                  </a:lnTo>
                  <a:lnTo>
                    <a:pt x="2614602" y="712754"/>
                  </a:lnTo>
                  <a:lnTo>
                    <a:pt x="2606131" y="706159"/>
                  </a:lnTo>
                  <a:lnTo>
                    <a:pt x="2596057" y="703104"/>
                  </a:lnTo>
                  <a:lnTo>
                    <a:pt x="2585983" y="700048"/>
                  </a:lnTo>
                  <a:lnTo>
                    <a:pt x="2577211" y="694785"/>
                  </a:lnTo>
                  <a:lnTo>
                    <a:pt x="2570827" y="689793"/>
                  </a:lnTo>
                  <a:lnTo>
                    <a:pt x="2560421" y="682775"/>
                  </a:lnTo>
                  <a:lnTo>
                    <a:pt x="2550015" y="673941"/>
                  </a:lnTo>
                  <a:lnTo>
                    <a:pt x="2547292" y="666560"/>
                  </a:lnTo>
                  <a:lnTo>
                    <a:pt x="2546051" y="661629"/>
                  </a:lnTo>
                  <a:lnTo>
                    <a:pt x="2546294" y="657485"/>
                  </a:lnTo>
                  <a:lnTo>
                    <a:pt x="2547080" y="653552"/>
                  </a:lnTo>
                  <a:lnTo>
                    <a:pt x="2547564" y="649498"/>
                  </a:lnTo>
                  <a:lnTo>
                    <a:pt x="2546687" y="645021"/>
                  </a:lnTo>
                  <a:lnTo>
                    <a:pt x="2551497" y="632890"/>
                  </a:lnTo>
                  <a:lnTo>
                    <a:pt x="2557668" y="622998"/>
                  </a:lnTo>
                  <a:lnTo>
                    <a:pt x="2564566" y="615435"/>
                  </a:lnTo>
                  <a:lnTo>
                    <a:pt x="2571524" y="610323"/>
                  </a:lnTo>
                  <a:lnTo>
                    <a:pt x="2581113" y="610171"/>
                  </a:lnTo>
                  <a:lnTo>
                    <a:pt x="2586498" y="608417"/>
                  </a:lnTo>
                  <a:lnTo>
                    <a:pt x="2588797" y="602820"/>
                  </a:lnTo>
                  <a:lnTo>
                    <a:pt x="2589008" y="600067"/>
                  </a:lnTo>
                  <a:lnTo>
                    <a:pt x="2589916" y="594350"/>
                  </a:lnTo>
                  <a:lnTo>
                    <a:pt x="2590128" y="591204"/>
                  </a:lnTo>
                  <a:lnTo>
                    <a:pt x="2589704" y="585849"/>
                  </a:lnTo>
                  <a:lnTo>
                    <a:pt x="2588585" y="585123"/>
                  </a:lnTo>
                  <a:lnTo>
                    <a:pt x="2587073" y="585547"/>
                  </a:lnTo>
                  <a:lnTo>
                    <a:pt x="2585287" y="583641"/>
                  </a:lnTo>
                  <a:lnTo>
                    <a:pt x="2585983" y="579043"/>
                  </a:lnTo>
                  <a:lnTo>
                    <a:pt x="2590067" y="574717"/>
                  </a:lnTo>
                  <a:lnTo>
                    <a:pt x="2599929" y="574898"/>
                  </a:lnTo>
                  <a:lnTo>
                    <a:pt x="2617112" y="571026"/>
                  </a:lnTo>
                  <a:lnTo>
                    <a:pt x="2655834" y="565611"/>
                  </a:lnTo>
                  <a:lnTo>
                    <a:pt x="2676737" y="557171"/>
                  </a:lnTo>
                  <a:lnTo>
                    <a:pt x="2693195" y="553027"/>
                  </a:lnTo>
                  <a:lnTo>
                    <a:pt x="2700062" y="553329"/>
                  </a:lnTo>
                  <a:lnTo>
                    <a:pt x="2704750" y="553057"/>
                  </a:lnTo>
                  <a:lnTo>
                    <a:pt x="2706566" y="553692"/>
                  </a:lnTo>
                  <a:lnTo>
                    <a:pt x="2713039" y="555326"/>
                  </a:lnTo>
                  <a:lnTo>
                    <a:pt x="2721934" y="555870"/>
                  </a:lnTo>
                  <a:lnTo>
                    <a:pt x="2725685" y="553662"/>
                  </a:lnTo>
                  <a:lnTo>
                    <a:pt x="2728075" y="546704"/>
                  </a:lnTo>
                  <a:lnTo>
                    <a:pt x="2726955" y="539625"/>
                  </a:lnTo>
                  <a:lnTo>
                    <a:pt x="2726290" y="537477"/>
                  </a:lnTo>
                  <a:lnTo>
                    <a:pt x="2726138" y="535208"/>
                  </a:lnTo>
                  <a:lnTo>
                    <a:pt x="2723718" y="529461"/>
                  </a:lnTo>
                  <a:lnTo>
                    <a:pt x="2721813" y="523955"/>
                  </a:lnTo>
                  <a:lnTo>
                    <a:pt x="2720905" y="522321"/>
                  </a:lnTo>
                  <a:lnTo>
                    <a:pt x="2720572" y="520385"/>
                  </a:lnTo>
                  <a:lnTo>
                    <a:pt x="2720330" y="518298"/>
                  </a:lnTo>
                  <a:lnTo>
                    <a:pt x="2719725" y="516331"/>
                  </a:lnTo>
                  <a:lnTo>
                    <a:pt x="2717577" y="513367"/>
                  </a:lnTo>
                  <a:lnTo>
                    <a:pt x="2715490" y="511552"/>
                  </a:lnTo>
                  <a:lnTo>
                    <a:pt x="2713433" y="509132"/>
                  </a:lnTo>
                  <a:lnTo>
                    <a:pt x="2711527" y="504503"/>
                  </a:lnTo>
                  <a:lnTo>
                    <a:pt x="2710650" y="500934"/>
                  </a:lnTo>
                  <a:lnTo>
                    <a:pt x="2710287" y="497636"/>
                  </a:lnTo>
                  <a:lnTo>
                    <a:pt x="2710075" y="489317"/>
                  </a:lnTo>
                  <a:lnTo>
                    <a:pt x="2710256" y="486806"/>
                  </a:lnTo>
                  <a:lnTo>
                    <a:pt x="2710559" y="485445"/>
                  </a:lnTo>
                  <a:lnTo>
                    <a:pt x="2710559" y="484114"/>
                  </a:lnTo>
                  <a:lnTo>
                    <a:pt x="2709803" y="481694"/>
                  </a:lnTo>
                  <a:lnTo>
                    <a:pt x="2708321" y="480362"/>
                  </a:lnTo>
                  <a:lnTo>
                    <a:pt x="2701846" y="480816"/>
                  </a:lnTo>
                  <a:lnTo>
                    <a:pt x="2704630" y="480090"/>
                  </a:lnTo>
                  <a:lnTo>
                    <a:pt x="2707715" y="478457"/>
                  </a:lnTo>
                  <a:lnTo>
                    <a:pt x="2709227" y="475643"/>
                  </a:lnTo>
                  <a:lnTo>
                    <a:pt x="2701816" y="466296"/>
                  </a:lnTo>
                  <a:lnTo>
                    <a:pt x="2697823" y="461032"/>
                  </a:lnTo>
                  <a:lnTo>
                    <a:pt x="2695221" y="459580"/>
                  </a:lnTo>
                  <a:lnTo>
                    <a:pt x="2692227" y="456282"/>
                  </a:lnTo>
                  <a:lnTo>
                    <a:pt x="2690744" y="455284"/>
                  </a:lnTo>
                  <a:lnTo>
                    <a:pt x="2685238" y="456282"/>
                  </a:lnTo>
                  <a:lnTo>
                    <a:pt x="2683212" y="455284"/>
                  </a:lnTo>
                  <a:lnTo>
                    <a:pt x="2677797" y="449083"/>
                  </a:lnTo>
                  <a:lnTo>
                    <a:pt x="2671989" y="441610"/>
                  </a:lnTo>
                  <a:lnTo>
                    <a:pt x="2663457" y="431234"/>
                  </a:lnTo>
                  <a:lnTo>
                    <a:pt x="2659888" y="428996"/>
                  </a:lnTo>
                  <a:lnTo>
                    <a:pt x="2658375" y="427846"/>
                  </a:lnTo>
                  <a:lnTo>
                    <a:pt x="2657710" y="425698"/>
                  </a:lnTo>
                  <a:lnTo>
                    <a:pt x="2657437" y="420132"/>
                  </a:lnTo>
                  <a:lnTo>
                    <a:pt x="2657044" y="417591"/>
                  </a:lnTo>
                  <a:lnTo>
                    <a:pt x="2656046" y="415685"/>
                  </a:lnTo>
                  <a:lnTo>
                    <a:pt x="2653565" y="413114"/>
                  </a:lnTo>
                  <a:lnTo>
                    <a:pt x="2652536" y="411480"/>
                  </a:lnTo>
                  <a:lnTo>
                    <a:pt x="2651992" y="409544"/>
                  </a:lnTo>
                  <a:lnTo>
                    <a:pt x="2650993" y="404764"/>
                  </a:lnTo>
                  <a:lnTo>
                    <a:pt x="2650449" y="402768"/>
                  </a:lnTo>
                  <a:lnTo>
                    <a:pt x="2649753" y="397171"/>
                  </a:lnTo>
                  <a:lnTo>
                    <a:pt x="2644187" y="394721"/>
                  </a:lnTo>
                  <a:lnTo>
                    <a:pt x="2613300" y="380049"/>
                  </a:lnTo>
                  <a:lnTo>
                    <a:pt x="2585560" y="372183"/>
                  </a:lnTo>
                  <a:lnTo>
                    <a:pt x="2551104" y="370368"/>
                  </a:lnTo>
                  <a:lnTo>
                    <a:pt x="2505454" y="369975"/>
                  </a:lnTo>
                  <a:lnTo>
                    <a:pt x="2478167" y="374210"/>
                  </a:lnTo>
                  <a:lnTo>
                    <a:pt x="2452575" y="370641"/>
                  </a:lnTo>
                  <a:lnTo>
                    <a:pt x="2440565" y="361444"/>
                  </a:lnTo>
                  <a:lnTo>
                    <a:pt x="2436239" y="360113"/>
                  </a:lnTo>
                  <a:lnTo>
                    <a:pt x="2434212" y="358873"/>
                  </a:lnTo>
                  <a:lnTo>
                    <a:pt x="2432639" y="356725"/>
                  </a:lnTo>
                  <a:lnTo>
                    <a:pt x="2428645" y="354154"/>
                  </a:lnTo>
                  <a:lnTo>
                    <a:pt x="2423019" y="352157"/>
                  </a:lnTo>
                  <a:lnTo>
                    <a:pt x="2417725" y="348527"/>
                  </a:lnTo>
                  <a:lnTo>
                    <a:pt x="2415577" y="347891"/>
                  </a:lnTo>
                  <a:lnTo>
                    <a:pt x="2401540" y="340813"/>
                  </a:lnTo>
                  <a:lnTo>
                    <a:pt x="2391073" y="341085"/>
                  </a:lnTo>
                  <a:lnTo>
                    <a:pt x="2385386" y="341448"/>
                  </a:lnTo>
                  <a:lnTo>
                    <a:pt x="2381030" y="343566"/>
                  </a:lnTo>
                  <a:lnTo>
                    <a:pt x="2382845" y="349283"/>
                  </a:lnTo>
                  <a:lnTo>
                    <a:pt x="2386263" y="354880"/>
                  </a:lnTo>
                  <a:lnTo>
                    <a:pt x="2428253" y="389971"/>
                  </a:lnTo>
                  <a:lnTo>
                    <a:pt x="2470241" y="424851"/>
                  </a:lnTo>
                  <a:lnTo>
                    <a:pt x="2477048" y="434713"/>
                  </a:lnTo>
                  <a:lnTo>
                    <a:pt x="2478591" y="439553"/>
                  </a:lnTo>
                  <a:lnTo>
                    <a:pt x="2478712" y="444999"/>
                  </a:lnTo>
                  <a:lnTo>
                    <a:pt x="2477895" y="450867"/>
                  </a:lnTo>
                  <a:lnTo>
                    <a:pt x="2475112" y="465630"/>
                  </a:lnTo>
                  <a:lnTo>
                    <a:pt x="2474900" y="467990"/>
                  </a:lnTo>
                  <a:lnTo>
                    <a:pt x="2474900" y="472164"/>
                  </a:lnTo>
                  <a:lnTo>
                    <a:pt x="2474598" y="474554"/>
                  </a:lnTo>
                  <a:lnTo>
                    <a:pt x="2472904" y="480816"/>
                  </a:lnTo>
                  <a:lnTo>
                    <a:pt x="2471723" y="487230"/>
                  </a:lnTo>
                  <a:lnTo>
                    <a:pt x="2471270" y="494641"/>
                  </a:lnTo>
                  <a:lnTo>
                    <a:pt x="2472329" y="499572"/>
                  </a:lnTo>
                  <a:lnTo>
                    <a:pt x="2475626" y="498665"/>
                  </a:lnTo>
                  <a:lnTo>
                    <a:pt x="2479952" y="494974"/>
                  </a:lnTo>
                  <a:lnTo>
                    <a:pt x="2485095" y="492221"/>
                  </a:lnTo>
                  <a:lnTo>
                    <a:pt x="2490329" y="491072"/>
                  </a:lnTo>
                  <a:lnTo>
                    <a:pt x="2494897" y="492312"/>
                  </a:lnTo>
                  <a:lnTo>
                    <a:pt x="2495562" y="492796"/>
                  </a:lnTo>
                  <a:lnTo>
                    <a:pt x="2487817" y="494339"/>
                  </a:lnTo>
                  <a:lnTo>
                    <a:pt x="2470453" y="505471"/>
                  </a:lnTo>
                  <a:lnTo>
                    <a:pt x="2468033" y="509676"/>
                  </a:lnTo>
                  <a:lnTo>
                    <a:pt x="2470060" y="510916"/>
                  </a:lnTo>
                  <a:lnTo>
                    <a:pt x="2473872" y="509737"/>
                  </a:lnTo>
                  <a:lnTo>
                    <a:pt x="2475687" y="511189"/>
                  </a:lnTo>
                  <a:lnTo>
                    <a:pt x="2473842" y="512641"/>
                  </a:lnTo>
                  <a:lnTo>
                    <a:pt x="2469727" y="513004"/>
                  </a:lnTo>
                  <a:lnTo>
                    <a:pt x="2468033" y="514547"/>
                  </a:lnTo>
                  <a:lnTo>
                    <a:pt x="2466672" y="524651"/>
                  </a:lnTo>
                  <a:lnTo>
                    <a:pt x="2469092" y="526859"/>
                  </a:lnTo>
                  <a:lnTo>
                    <a:pt x="2477744" y="523713"/>
                  </a:lnTo>
                  <a:lnTo>
                    <a:pt x="2481162" y="526466"/>
                  </a:lnTo>
                  <a:lnTo>
                    <a:pt x="2479407" y="528372"/>
                  </a:lnTo>
                  <a:lnTo>
                    <a:pt x="2476111" y="533121"/>
                  </a:lnTo>
                  <a:lnTo>
                    <a:pt x="2474295" y="534906"/>
                  </a:lnTo>
                  <a:lnTo>
                    <a:pt x="2471905" y="535723"/>
                  </a:lnTo>
                  <a:lnTo>
                    <a:pt x="2463919" y="534906"/>
                  </a:lnTo>
                  <a:lnTo>
                    <a:pt x="2462921" y="536751"/>
                  </a:lnTo>
                  <a:lnTo>
                    <a:pt x="2462588" y="540956"/>
                  </a:lnTo>
                  <a:lnTo>
                    <a:pt x="2462678" y="545252"/>
                  </a:lnTo>
                  <a:lnTo>
                    <a:pt x="2462890" y="547490"/>
                  </a:lnTo>
                  <a:lnTo>
                    <a:pt x="2464131" y="549608"/>
                  </a:lnTo>
                  <a:lnTo>
                    <a:pt x="2465522" y="551423"/>
                  </a:lnTo>
                  <a:lnTo>
                    <a:pt x="2466702" y="553571"/>
                  </a:lnTo>
                  <a:lnTo>
                    <a:pt x="2467398" y="556687"/>
                  </a:lnTo>
                  <a:lnTo>
                    <a:pt x="2467277" y="559561"/>
                  </a:lnTo>
                  <a:lnTo>
                    <a:pt x="2466702" y="563009"/>
                  </a:lnTo>
                  <a:lnTo>
                    <a:pt x="2465976" y="566277"/>
                  </a:lnTo>
                  <a:lnTo>
                    <a:pt x="2465311" y="568515"/>
                  </a:lnTo>
                  <a:lnTo>
                    <a:pt x="2462346" y="574838"/>
                  </a:lnTo>
                  <a:lnTo>
                    <a:pt x="2461135" y="578559"/>
                  </a:lnTo>
                  <a:lnTo>
                    <a:pt x="2461832" y="580223"/>
                  </a:lnTo>
                  <a:lnTo>
                    <a:pt x="2466490" y="579497"/>
                  </a:lnTo>
                  <a:lnTo>
                    <a:pt x="2468548" y="580374"/>
                  </a:lnTo>
                  <a:lnTo>
                    <a:pt x="2469425" y="583580"/>
                  </a:lnTo>
                  <a:lnTo>
                    <a:pt x="2468698" y="587090"/>
                  </a:lnTo>
                  <a:lnTo>
                    <a:pt x="2467035" y="589207"/>
                  </a:lnTo>
                  <a:lnTo>
                    <a:pt x="2465189" y="590145"/>
                  </a:lnTo>
                  <a:lnTo>
                    <a:pt x="2463919" y="590145"/>
                  </a:lnTo>
                  <a:lnTo>
                    <a:pt x="2463919" y="589510"/>
                  </a:lnTo>
                  <a:lnTo>
                    <a:pt x="2463586" y="587997"/>
                  </a:lnTo>
                  <a:lnTo>
                    <a:pt x="2463102" y="586303"/>
                  </a:lnTo>
                  <a:lnTo>
                    <a:pt x="2462558" y="585214"/>
                  </a:lnTo>
                  <a:lnTo>
                    <a:pt x="2461741" y="585063"/>
                  </a:lnTo>
                  <a:lnTo>
                    <a:pt x="2459139" y="586122"/>
                  </a:lnTo>
                  <a:lnTo>
                    <a:pt x="2458353" y="586848"/>
                  </a:lnTo>
                  <a:lnTo>
                    <a:pt x="2457475" y="589207"/>
                  </a:lnTo>
                  <a:lnTo>
                    <a:pt x="2456568" y="592807"/>
                  </a:lnTo>
                  <a:lnTo>
                    <a:pt x="2456810" y="595923"/>
                  </a:lnTo>
                  <a:lnTo>
                    <a:pt x="2456387" y="600461"/>
                  </a:lnTo>
                  <a:lnTo>
                    <a:pt x="2456508" y="602427"/>
                  </a:lnTo>
                  <a:lnTo>
                    <a:pt x="2454420" y="612229"/>
                  </a:lnTo>
                  <a:lnTo>
                    <a:pt x="2440262" y="648440"/>
                  </a:lnTo>
                  <a:lnTo>
                    <a:pt x="2433304" y="668375"/>
                  </a:lnTo>
                  <a:lnTo>
                    <a:pt x="2430643" y="684136"/>
                  </a:lnTo>
                  <a:lnTo>
                    <a:pt x="2430521" y="693575"/>
                  </a:lnTo>
                  <a:lnTo>
                    <a:pt x="2430158" y="697659"/>
                  </a:lnTo>
                  <a:lnTo>
                    <a:pt x="2431520" y="701622"/>
                  </a:lnTo>
                  <a:lnTo>
                    <a:pt x="2435543" y="708095"/>
                  </a:lnTo>
                  <a:lnTo>
                    <a:pt x="2440746" y="709547"/>
                  </a:lnTo>
                  <a:lnTo>
                    <a:pt x="2445799" y="711998"/>
                  </a:lnTo>
                  <a:lnTo>
                    <a:pt x="2449095" y="711393"/>
                  </a:lnTo>
                  <a:lnTo>
                    <a:pt x="2452847" y="711514"/>
                  </a:lnTo>
                  <a:lnTo>
                    <a:pt x="2458141" y="710485"/>
                  </a:lnTo>
                  <a:lnTo>
                    <a:pt x="2463737" y="712573"/>
                  </a:lnTo>
                  <a:lnTo>
                    <a:pt x="2469334" y="716293"/>
                  </a:lnTo>
                  <a:lnTo>
                    <a:pt x="2471694" y="718441"/>
                  </a:lnTo>
                  <a:lnTo>
                    <a:pt x="2474900" y="720650"/>
                  </a:lnTo>
                  <a:lnTo>
                    <a:pt x="2479015" y="724976"/>
                  </a:lnTo>
                  <a:lnTo>
                    <a:pt x="2480769" y="727940"/>
                  </a:lnTo>
                  <a:lnTo>
                    <a:pt x="2483008" y="729453"/>
                  </a:lnTo>
                  <a:lnTo>
                    <a:pt x="2492143" y="725520"/>
                  </a:lnTo>
                  <a:lnTo>
                    <a:pt x="2490238" y="728545"/>
                  </a:lnTo>
                  <a:lnTo>
                    <a:pt x="2487939" y="730360"/>
                  </a:lnTo>
                  <a:lnTo>
                    <a:pt x="2485821" y="732599"/>
                  </a:lnTo>
                  <a:lnTo>
                    <a:pt x="2484551" y="736985"/>
                  </a:lnTo>
                  <a:lnTo>
                    <a:pt x="2491690" y="743005"/>
                  </a:lnTo>
                  <a:lnTo>
                    <a:pt x="2495350" y="747422"/>
                  </a:lnTo>
                  <a:lnTo>
                    <a:pt x="2496953" y="751476"/>
                  </a:lnTo>
                  <a:lnTo>
                    <a:pt x="2497649" y="754441"/>
                  </a:lnTo>
                  <a:lnTo>
                    <a:pt x="2502520" y="761247"/>
                  </a:lnTo>
                  <a:lnTo>
                    <a:pt x="2503185" y="763970"/>
                  </a:lnTo>
                  <a:lnTo>
                    <a:pt x="2503548" y="766783"/>
                  </a:lnTo>
                  <a:lnTo>
                    <a:pt x="2504365" y="768840"/>
                  </a:lnTo>
                  <a:lnTo>
                    <a:pt x="2506634" y="769324"/>
                  </a:lnTo>
                  <a:lnTo>
                    <a:pt x="2503518" y="772864"/>
                  </a:lnTo>
                  <a:lnTo>
                    <a:pt x="2502611" y="775405"/>
                  </a:lnTo>
                  <a:lnTo>
                    <a:pt x="2503216" y="786991"/>
                  </a:lnTo>
                  <a:lnTo>
                    <a:pt x="2501038" y="792799"/>
                  </a:lnTo>
                  <a:lnTo>
                    <a:pt x="2492023" y="796278"/>
                  </a:lnTo>
                  <a:lnTo>
                    <a:pt x="2490752" y="801572"/>
                  </a:lnTo>
                  <a:lnTo>
                    <a:pt x="2492476" y="805898"/>
                  </a:lnTo>
                  <a:lnTo>
                    <a:pt x="2497861" y="813068"/>
                  </a:lnTo>
                  <a:lnTo>
                    <a:pt x="2499555" y="820631"/>
                  </a:lnTo>
                  <a:lnTo>
                    <a:pt x="2500826" y="823051"/>
                  </a:lnTo>
                  <a:lnTo>
                    <a:pt x="2503216" y="826409"/>
                  </a:lnTo>
                  <a:lnTo>
                    <a:pt x="2505363" y="827165"/>
                  </a:lnTo>
                  <a:lnTo>
                    <a:pt x="2507632" y="826227"/>
                  </a:lnTo>
                  <a:lnTo>
                    <a:pt x="2509598" y="825985"/>
                  </a:lnTo>
                  <a:lnTo>
                    <a:pt x="2510839" y="828738"/>
                  </a:lnTo>
                  <a:lnTo>
                    <a:pt x="2501945" y="831309"/>
                  </a:lnTo>
                  <a:lnTo>
                    <a:pt x="2497467" y="833911"/>
                  </a:lnTo>
                  <a:lnTo>
                    <a:pt x="2493898" y="839054"/>
                  </a:lnTo>
                  <a:lnTo>
                    <a:pt x="2492960" y="843652"/>
                  </a:lnTo>
                  <a:lnTo>
                    <a:pt x="2492173" y="856963"/>
                  </a:lnTo>
                  <a:lnTo>
                    <a:pt x="2491478" y="862257"/>
                  </a:lnTo>
                  <a:lnTo>
                    <a:pt x="2490419" y="865524"/>
                  </a:lnTo>
                  <a:lnTo>
                    <a:pt x="2489209" y="867490"/>
                  </a:lnTo>
                  <a:lnTo>
                    <a:pt x="2478803" y="878108"/>
                  </a:lnTo>
                  <a:lnTo>
                    <a:pt x="2477925" y="879712"/>
                  </a:lnTo>
                  <a:lnTo>
                    <a:pt x="2476111" y="887396"/>
                  </a:lnTo>
                  <a:lnTo>
                    <a:pt x="2475324" y="890058"/>
                  </a:lnTo>
                  <a:lnTo>
                    <a:pt x="2470847" y="896834"/>
                  </a:lnTo>
                  <a:lnTo>
                    <a:pt x="2469455" y="900494"/>
                  </a:lnTo>
                  <a:lnTo>
                    <a:pt x="2466641" y="910145"/>
                  </a:lnTo>
                  <a:lnTo>
                    <a:pt x="2463828" y="922397"/>
                  </a:lnTo>
                  <a:lnTo>
                    <a:pt x="2462134" y="935072"/>
                  </a:lnTo>
                  <a:lnTo>
                    <a:pt x="2462558" y="946083"/>
                  </a:lnTo>
                  <a:lnTo>
                    <a:pt x="2464131" y="950016"/>
                  </a:lnTo>
                  <a:lnTo>
                    <a:pt x="2469062" y="958456"/>
                  </a:lnTo>
                  <a:lnTo>
                    <a:pt x="2470090" y="962480"/>
                  </a:lnTo>
                  <a:lnTo>
                    <a:pt x="2469334" y="968984"/>
                  </a:lnTo>
                  <a:lnTo>
                    <a:pt x="2466551" y="979209"/>
                  </a:lnTo>
                  <a:lnTo>
                    <a:pt x="2466672" y="985017"/>
                  </a:lnTo>
                  <a:lnTo>
                    <a:pt x="2468819" y="991219"/>
                  </a:lnTo>
                  <a:lnTo>
                    <a:pt x="2471633" y="997057"/>
                  </a:lnTo>
                  <a:lnTo>
                    <a:pt x="2473357" y="1003833"/>
                  </a:lnTo>
                  <a:lnTo>
                    <a:pt x="2472238" y="1013000"/>
                  </a:lnTo>
                  <a:lnTo>
                    <a:pt x="2470967" y="1008220"/>
                  </a:lnTo>
                  <a:lnTo>
                    <a:pt x="2462981" y="991551"/>
                  </a:lnTo>
                  <a:lnTo>
                    <a:pt x="2458262" y="983686"/>
                  </a:lnTo>
                  <a:lnTo>
                    <a:pt x="2456991" y="978785"/>
                  </a:lnTo>
                  <a:lnTo>
                    <a:pt x="2456991" y="975518"/>
                  </a:lnTo>
                  <a:lnTo>
                    <a:pt x="2457536" y="973884"/>
                  </a:lnTo>
                  <a:lnTo>
                    <a:pt x="2458353" y="972402"/>
                  </a:lnTo>
                  <a:lnTo>
                    <a:pt x="2459139" y="969437"/>
                  </a:lnTo>
                  <a:lnTo>
                    <a:pt x="2459412" y="965686"/>
                  </a:lnTo>
                  <a:lnTo>
                    <a:pt x="2458746" y="963750"/>
                  </a:lnTo>
                  <a:lnTo>
                    <a:pt x="2452907" y="957397"/>
                  </a:lnTo>
                  <a:lnTo>
                    <a:pt x="2448824" y="950228"/>
                  </a:lnTo>
                  <a:lnTo>
                    <a:pt x="2443257" y="946023"/>
                  </a:lnTo>
                  <a:lnTo>
                    <a:pt x="2439294" y="940729"/>
                  </a:lnTo>
                  <a:lnTo>
                    <a:pt x="2437691" y="939791"/>
                  </a:lnTo>
                  <a:lnTo>
                    <a:pt x="2429917" y="941727"/>
                  </a:lnTo>
                  <a:lnTo>
                    <a:pt x="2425439" y="939731"/>
                  </a:lnTo>
                  <a:lnTo>
                    <a:pt x="2423201" y="940517"/>
                  </a:lnTo>
                  <a:lnTo>
                    <a:pt x="2421113" y="942483"/>
                  </a:lnTo>
                  <a:lnTo>
                    <a:pt x="2419510" y="945206"/>
                  </a:lnTo>
                  <a:lnTo>
                    <a:pt x="2417513" y="947596"/>
                  </a:lnTo>
                  <a:lnTo>
                    <a:pt x="2412280" y="947959"/>
                  </a:lnTo>
                  <a:lnTo>
                    <a:pt x="2409920" y="948715"/>
                  </a:lnTo>
                  <a:lnTo>
                    <a:pt x="2405836" y="951105"/>
                  </a:lnTo>
                  <a:lnTo>
                    <a:pt x="2401752" y="952285"/>
                  </a:lnTo>
                  <a:lnTo>
                    <a:pt x="2400179" y="953223"/>
                  </a:lnTo>
                  <a:lnTo>
                    <a:pt x="2394885" y="959938"/>
                  </a:lnTo>
                  <a:lnTo>
                    <a:pt x="2391951" y="965807"/>
                  </a:lnTo>
                  <a:lnTo>
                    <a:pt x="2394885" y="968106"/>
                  </a:lnTo>
                  <a:lnTo>
                    <a:pt x="2403900" y="970194"/>
                  </a:lnTo>
                  <a:lnTo>
                    <a:pt x="2405987" y="973975"/>
                  </a:lnTo>
                  <a:lnTo>
                    <a:pt x="2406411" y="977999"/>
                  </a:lnTo>
                  <a:lnTo>
                    <a:pt x="2405291" y="988072"/>
                  </a:lnTo>
                  <a:lnTo>
                    <a:pt x="2403507" y="982052"/>
                  </a:lnTo>
                  <a:lnTo>
                    <a:pt x="2401359" y="977091"/>
                  </a:lnTo>
                  <a:lnTo>
                    <a:pt x="2398848" y="973763"/>
                  </a:lnTo>
                  <a:lnTo>
                    <a:pt x="2395611" y="972553"/>
                  </a:lnTo>
                  <a:lnTo>
                    <a:pt x="2391255" y="973733"/>
                  </a:lnTo>
                  <a:lnTo>
                    <a:pt x="2388986" y="972795"/>
                  </a:lnTo>
                  <a:lnTo>
                    <a:pt x="2387957" y="968681"/>
                  </a:lnTo>
                  <a:lnTo>
                    <a:pt x="2387262" y="966927"/>
                  </a:lnTo>
                  <a:lnTo>
                    <a:pt x="2382482" y="961663"/>
                  </a:lnTo>
                  <a:lnTo>
                    <a:pt x="2383844" y="959001"/>
                  </a:lnTo>
                  <a:lnTo>
                    <a:pt x="2386203" y="957912"/>
                  </a:lnTo>
                  <a:lnTo>
                    <a:pt x="2390831" y="956853"/>
                  </a:lnTo>
                  <a:lnTo>
                    <a:pt x="2392677" y="955492"/>
                  </a:lnTo>
                  <a:lnTo>
                    <a:pt x="2394371" y="953797"/>
                  </a:lnTo>
                  <a:lnTo>
                    <a:pt x="2395884" y="951498"/>
                  </a:lnTo>
                  <a:lnTo>
                    <a:pt x="2397366" y="948352"/>
                  </a:lnTo>
                  <a:lnTo>
                    <a:pt x="2400482" y="943421"/>
                  </a:lnTo>
                  <a:lnTo>
                    <a:pt x="2404596" y="940154"/>
                  </a:lnTo>
                  <a:lnTo>
                    <a:pt x="2420447" y="932500"/>
                  </a:lnTo>
                  <a:lnTo>
                    <a:pt x="2423170" y="928023"/>
                  </a:lnTo>
                  <a:lnTo>
                    <a:pt x="2422233" y="921580"/>
                  </a:lnTo>
                  <a:lnTo>
                    <a:pt x="2419389" y="917072"/>
                  </a:lnTo>
                  <a:lnTo>
                    <a:pt x="2409406" y="908118"/>
                  </a:lnTo>
                  <a:lnTo>
                    <a:pt x="2404868" y="906635"/>
                  </a:lnTo>
                  <a:lnTo>
                    <a:pt x="2394371" y="906151"/>
                  </a:lnTo>
                  <a:lnTo>
                    <a:pt x="2390469" y="902703"/>
                  </a:lnTo>
                  <a:lnTo>
                    <a:pt x="2388774" y="898135"/>
                  </a:lnTo>
                  <a:lnTo>
                    <a:pt x="2386234" y="888243"/>
                  </a:lnTo>
                  <a:lnTo>
                    <a:pt x="2383874" y="884522"/>
                  </a:lnTo>
                  <a:lnTo>
                    <a:pt x="2378882" y="882011"/>
                  </a:lnTo>
                  <a:lnTo>
                    <a:pt x="2366237" y="885066"/>
                  </a:lnTo>
                  <a:lnTo>
                    <a:pt x="2347602" y="886216"/>
                  </a:lnTo>
                  <a:lnTo>
                    <a:pt x="2328241" y="891631"/>
                  </a:lnTo>
                  <a:lnTo>
                    <a:pt x="2308064" y="893930"/>
                  </a:lnTo>
                  <a:lnTo>
                    <a:pt x="2310695" y="890148"/>
                  </a:lnTo>
                  <a:lnTo>
                    <a:pt x="2319257" y="884552"/>
                  </a:lnTo>
                  <a:lnTo>
                    <a:pt x="2319378" y="880498"/>
                  </a:lnTo>
                  <a:lnTo>
                    <a:pt x="2317744" y="878350"/>
                  </a:lnTo>
                  <a:lnTo>
                    <a:pt x="2289580" y="864737"/>
                  </a:lnTo>
                  <a:lnTo>
                    <a:pt x="2273032" y="859897"/>
                  </a:lnTo>
                  <a:lnTo>
                    <a:pt x="2268555" y="861258"/>
                  </a:lnTo>
                  <a:lnTo>
                    <a:pt x="2264925" y="866250"/>
                  </a:lnTo>
                  <a:lnTo>
                    <a:pt x="2254912" y="887668"/>
                  </a:lnTo>
                  <a:lnTo>
                    <a:pt x="2238485" y="914410"/>
                  </a:lnTo>
                  <a:lnTo>
                    <a:pt x="2217854" y="938248"/>
                  </a:lnTo>
                  <a:lnTo>
                    <a:pt x="2216885" y="939095"/>
                  </a:lnTo>
                  <a:lnTo>
                    <a:pt x="2216432" y="940426"/>
                  </a:lnTo>
                  <a:lnTo>
                    <a:pt x="2216976" y="942816"/>
                  </a:lnTo>
                  <a:lnTo>
                    <a:pt x="2214950" y="944571"/>
                  </a:lnTo>
                  <a:lnTo>
                    <a:pt x="2208022" y="947535"/>
                  </a:lnTo>
                  <a:lnTo>
                    <a:pt x="2202123" y="953102"/>
                  </a:lnTo>
                  <a:lnTo>
                    <a:pt x="2200429" y="953949"/>
                  </a:lnTo>
                  <a:lnTo>
                    <a:pt x="2198916" y="955129"/>
                  </a:lnTo>
                  <a:lnTo>
                    <a:pt x="2195952" y="960513"/>
                  </a:lnTo>
                  <a:lnTo>
                    <a:pt x="2194257" y="961723"/>
                  </a:lnTo>
                  <a:lnTo>
                    <a:pt x="2192473" y="962570"/>
                  </a:lnTo>
                  <a:lnTo>
                    <a:pt x="2186634" y="967985"/>
                  </a:lnTo>
                  <a:lnTo>
                    <a:pt x="2162796" y="975337"/>
                  </a:lnTo>
                  <a:lnTo>
                    <a:pt x="2153993" y="980540"/>
                  </a:lnTo>
                  <a:lnTo>
                    <a:pt x="2131637" y="984200"/>
                  </a:lnTo>
                  <a:lnTo>
                    <a:pt x="2122986" y="988587"/>
                  </a:lnTo>
                  <a:lnTo>
                    <a:pt x="2115543" y="997602"/>
                  </a:lnTo>
                  <a:lnTo>
                    <a:pt x="2098996" y="1024737"/>
                  </a:lnTo>
                  <a:lnTo>
                    <a:pt x="2079696" y="1043372"/>
                  </a:lnTo>
                  <a:lnTo>
                    <a:pt x="2058247" y="1057288"/>
                  </a:lnTo>
                  <a:lnTo>
                    <a:pt x="2049474" y="1059980"/>
                  </a:lnTo>
                  <a:lnTo>
                    <a:pt x="2034106" y="1070992"/>
                  </a:lnTo>
                  <a:lnTo>
                    <a:pt x="2026301" y="1083304"/>
                  </a:lnTo>
                  <a:lnTo>
                    <a:pt x="2025243" y="1086269"/>
                  </a:lnTo>
                  <a:lnTo>
                    <a:pt x="2024426" y="1089475"/>
                  </a:lnTo>
                  <a:lnTo>
                    <a:pt x="2023186" y="1096040"/>
                  </a:lnTo>
                  <a:lnTo>
                    <a:pt x="2022430" y="1101697"/>
                  </a:lnTo>
                  <a:lnTo>
                    <a:pt x="2022309" y="1106597"/>
                  </a:lnTo>
                  <a:lnTo>
                    <a:pt x="2022550" y="1116792"/>
                  </a:lnTo>
                  <a:lnTo>
                    <a:pt x="2023458" y="1121602"/>
                  </a:lnTo>
                  <a:lnTo>
                    <a:pt x="2025485" y="1126866"/>
                  </a:lnTo>
                  <a:lnTo>
                    <a:pt x="2029478" y="1134399"/>
                  </a:lnTo>
                  <a:lnTo>
                    <a:pt x="2038705" y="1144503"/>
                  </a:lnTo>
                  <a:lnTo>
                    <a:pt x="2063027" y="1189063"/>
                  </a:lnTo>
                  <a:lnTo>
                    <a:pt x="2065266" y="1191755"/>
                  </a:lnTo>
                  <a:lnTo>
                    <a:pt x="2075854" y="1197352"/>
                  </a:lnTo>
                  <a:lnTo>
                    <a:pt x="2079060" y="1200740"/>
                  </a:lnTo>
                  <a:lnTo>
                    <a:pt x="2079938" y="1202827"/>
                  </a:lnTo>
                  <a:lnTo>
                    <a:pt x="2080845" y="1207214"/>
                  </a:lnTo>
                  <a:lnTo>
                    <a:pt x="2081510" y="1209029"/>
                  </a:lnTo>
                  <a:lnTo>
                    <a:pt x="2082751" y="1210965"/>
                  </a:lnTo>
                  <a:lnTo>
                    <a:pt x="2086714" y="1215714"/>
                  </a:lnTo>
                  <a:lnTo>
                    <a:pt x="2088438" y="1218830"/>
                  </a:lnTo>
                  <a:lnTo>
                    <a:pt x="2089648" y="1222400"/>
                  </a:lnTo>
                  <a:lnTo>
                    <a:pt x="2094186" y="1243213"/>
                  </a:lnTo>
                  <a:lnTo>
                    <a:pt x="2095578" y="1247115"/>
                  </a:lnTo>
                  <a:lnTo>
                    <a:pt x="2097877" y="1249536"/>
                  </a:lnTo>
                  <a:lnTo>
                    <a:pt x="2101143" y="1251804"/>
                  </a:lnTo>
                  <a:lnTo>
                    <a:pt x="2103685" y="1254678"/>
                  </a:lnTo>
                  <a:lnTo>
                    <a:pt x="2103988" y="1259095"/>
                  </a:lnTo>
                  <a:lnTo>
                    <a:pt x="2102021" y="1256735"/>
                  </a:lnTo>
                  <a:lnTo>
                    <a:pt x="2099541" y="1255707"/>
                  </a:lnTo>
                  <a:lnTo>
                    <a:pt x="2097090" y="1255979"/>
                  </a:lnTo>
                  <a:lnTo>
                    <a:pt x="2093369" y="1258793"/>
                  </a:lnTo>
                  <a:lnTo>
                    <a:pt x="2093097" y="1259942"/>
                  </a:lnTo>
                  <a:lnTo>
                    <a:pt x="2093006" y="1262786"/>
                  </a:lnTo>
                  <a:lnTo>
                    <a:pt x="2093097" y="1264419"/>
                  </a:lnTo>
                  <a:lnTo>
                    <a:pt x="2093369" y="1266083"/>
                  </a:lnTo>
                  <a:lnTo>
                    <a:pt x="2093914" y="1267414"/>
                  </a:lnTo>
                  <a:lnTo>
                    <a:pt x="2094670" y="1267989"/>
                  </a:lnTo>
                  <a:lnTo>
                    <a:pt x="2096061" y="1270893"/>
                  </a:lnTo>
                  <a:lnTo>
                    <a:pt x="2099177" y="1284506"/>
                  </a:lnTo>
                  <a:lnTo>
                    <a:pt x="2101143" y="1288802"/>
                  </a:lnTo>
                  <a:lnTo>
                    <a:pt x="2102293" y="1290617"/>
                  </a:lnTo>
                  <a:lnTo>
                    <a:pt x="2103655" y="1293763"/>
                  </a:lnTo>
                  <a:lnTo>
                    <a:pt x="2104804" y="1297121"/>
                  </a:lnTo>
                  <a:lnTo>
                    <a:pt x="2105288" y="1301205"/>
                  </a:lnTo>
                  <a:lnTo>
                    <a:pt x="2103655" y="1304986"/>
                  </a:lnTo>
                  <a:lnTo>
                    <a:pt x="2099903" y="1305349"/>
                  </a:lnTo>
                  <a:lnTo>
                    <a:pt x="2092008" y="1302990"/>
                  </a:lnTo>
                  <a:lnTo>
                    <a:pt x="2089255" y="1300993"/>
                  </a:lnTo>
                  <a:lnTo>
                    <a:pt x="2087772" y="1300539"/>
                  </a:lnTo>
                  <a:lnTo>
                    <a:pt x="2073191" y="1301901"/>
                  </a:lnTo>
                  <a:lnTo>
                    <a:pt x="2069894" y="1301265"/>
                  </a:lnTo>
                  <a:lnTo>
                    <a:pt x="2067051" y="1298240"/>
                  </a:lnTo>
                  <a:lnTo>
                    <a:pt x="2062754" y="1292099"/>
                  </a:lnTo>
                  <a:lnTo>
                    <a:pt x="2057945" y="1287622"/>
                  </a:lnTo>
                  <a:lnTo>
                    <a:pt x="2040490" y="1277246"/>
                  </a:lnTo>
                  <a:lnTo>
                    <a:pt x="2036527" y="1275945"/>
                  </a:lnTo>
                  <a:lnTo>
                    <a:pt x="2033592" y="1276822"/>
                  </a:lnTo>
                  <a:lnTo>
                    <a:pt x="2032442" y="1279545"/>
                  </a:lnTo>
                  <a:lnTo>
                    <a:pt x="2030628" y="1289104"/>
                  </a:lnTo>
                  <a:lnTo>
                    <a:pt x="2030083" y="1293037"/>
                  </a:lnTo>
                  <a:lnTo>
                    <a:pt x="2033411" y="1291555"/>
                  </a:lnTo>
                  <a:lnTo>
                    <a:pt x="2037827" y="1288348"/>
                  </a:lnTo>
                  <a:lnTo>
                    <a:pt x="2041821" y="1287108"/>
                  </a:lnTo>
                  <a:lnTo>
                    <a:pt x="2043878" y="1291736"/>
                  </a:lnTo>
                  <a:lnTo>
                    <a:pt x="2041578" y="1291615"/>
                  </a:lnTo>
                  <a:lnTo>
                    <a:pt x="2035740" y="1293612"/>
                  </a:lnTo>
                  <a:lnTo>
                    <a:pt x="2033592" y="1295306"/>
                  </a:lnTo>
                  <a:lnTo>
                    <a:pt x="2028117" y="1296365"/>
                  </a:lnTo>
                  <a:lnTo>
                    <a:pt x="2026090" y="1297454"/>
                  </a:lnTo>
                  <a:lnTo>
                    <a:pt x="2027421" y="1300509"/>
                  </a:lnTo>
                  <a:lnTo>
                    <a:pt x="2025031" y="1301901"/>
                  </a:lnTo>
                  <a:lnTo>
                    <a:pt x="2007939" y="1304109"/>
                  </a:lnTo>
                  <a:lnTo>
                    <a:pt x="1995657" y="1296274"/>
                  </a:lnTo>
                  <a:lnTo>
                    <a:pt x="1989607" y="1290829"/>
                  </a:lnTo>
                  <a:lnTo>
                    <a:pt x="1985311" y="1287471"/>
                  </a:lnTo>
                  <a:lnTo>
                    <a:pt x="1984192" y="1283810"/>
                  </a:lnTo>
                  <a:lnTo>
                    <a:pt x="1981409" y="1282358"/>
                  </a:lnTo>
                  <a:lnTo>
                    <a:pt x="1975933" y="1282540"/>
                  </a:lnTo>
                  <a:lnTo>
                    <a:pt x="1965224" y="1278910"/>
                  </a:lnTo>
                  <a:lnTo>
                    <a:pt x="1955090" y="1271286"/>
                  </a:lnTo>
                  <a:lnTo>
                    <a:pt x="1943080" y="1263633"/>
                  </a:lnTo>
                  <a:lnTo>
                    <a:pt x="1938149" y="1261818"/>
                  </a:lnTo>
                  <a:lnTo>
                    <a:pt x="1932462" y="1261515"/>
                  </a:lnTo>
                  <a:lnTo>
                    <a:pt x="1924566" y="1260365"/>
                  </a:lnTo>
                  <a:lnTo>
                    <a:pt x="1913070" y="1255828"/>
                  </a:lnTo>
                  <a:lnTo>
                    <a:pt x="1901787" y="1251683"/>
                  </a:lnTo>
                  <a:lnTo>
                    <a:pt x="1896976" y="1246783"/>
                  </a:lnTo>
                  <a:lnTo>
                    <a:pt x="1895374" y="1245119"/>
                  </a:lnTo>
                  <a:lnTo>
                    <a:pt x="1892469" y="1244998"/>
                  </a:lnTo>
                  <a:lnTo>
                    <a:pt x="1892197" y="1248507"/>
                  </a:lnTo>
                  <a:lnTo>
                    <a:pt x="1893135" y="1250443"/>
                  </a:lnTo>
                  <a:lnTo>
                    <a:pt x="1898913" y="1255707"/>
                  </a:lnTo>
                  <a:lnTo>
                    <a:pt x="1899821" y="1256040"/>
                  </a:lnTo>
                  <a:lnTo>
                    <a:pt x="1897884" y="1261273"/>
                  </a:lnTo>
                  <a:lnTo>
                    <a:pt x="1894677" y="1261394"/>
                  </a:lnTo>
                  <a:lnTo>
                    <a:pt x="1888143" y="1257401"/>
                  </a:lnTo>
                  <a:lnTo>
                    <a:pt x="1884483" y="1258036"/>
                  </a:lnTo>
                  <a:lnTo>
                    <a:pt x="1877979" y="1263693"/>
                  </a:lnTo>
                  <a:lnTo>
                    <a:pt x="1874651" y="1265054"/>
                  </a:lnTo>
                  <a:lnTo>
                    <a:pt x="1870991" y="1265054"/>
                  </a:lnTo>
                  <a:lnTo>
                    <a:pt x="1869085" y="1265659"/>
                  </a:lnTo>
                  <a:lnTo>
                    <a:pt x="1867814" y="1267142"/>
                  </a:lnTo>
                  <a:lnTo>
                    <a:pt x="1867149" y="1269834"/>
                  </a:lnTo>
                  <a:lnTo>
                    <a:pt x="1867391" y="1274069"/>
                  </a:lnTo>
                  <a:lnTo>
                    <a:pt x="1866725" y="1276762"/>
                  </a:lnTo>
                  <a:lnTo>
                    <a:pt x="1865394" y="1278153"/>
                  </a:lnTo>
                  <a:lnTo>
                    <a:pt x="1861401" y="1279454"/>
                  </a:lnTo>
                  <a:lnTo>
                    <a:pt x="1859798" y="1280452"/>
                  </a:lnTo>
                  <a:lnTo>
                    <a:pt x="1858285" y="1281935"/>
                  </a:lnTo>
                  <a:lnTo>
                    <a:pt x="1856652" y="1282873"/>
                  </a:lnTo>
                  <a:lnTo>
                    <a:pt x="1855200" y="1282389"/>
                  </a:lnTo>
                  <a:lnTo>
                    <a:pt x="1854322" y="1279726"/>
                  </a:lnTo>
                  <a:lnTo>
                    <a:pt x="1859707" y="1276610"/>
                  </a:lnTo>
                  <a:lnTo>
                    <a:pt x="1861190" y="1275279"/>
                  </a:lnTo>
                  <a:lnTo>
                    <a:pt x="1862763" y="1273041"/>
                  </a:lnTo>
                  <a:lnTo>
                    <a:pt x="1862974" y="1271559"/>
                  </a:lnTo>
                  <a:lnTo>
                    <a:pt x="1862097" y="1270076"/>
                  </a:lnTo>
                  <a:lnTo>
                    <a:pt x="1854897" y="1261213"/>
                  </a:lnTo>
                  <a:lnTo>
                    <a:pt x="1853989" y="1257219"/>
                  </a:lnTo>
                  <a:lnTo>
                    <a:pt x="1857045" y="1253045"/>
                  </a:lnTo>
                  <a:lnTo>
                    <a:pt x="1859192" y="1252107"/>
                  </a:lnTo>
                  <a:lnTo>
                    <a:pt x="1866725" y="1251411"/>
                  </a:lnTo>
                  <a:lnTo>
                    <a:pt x="1874954" y="1253045"/>
                  </a:lnTo>
                  <a:lnTo>
                    <a:pt x="1876648" y="1252258"/>
                  </a:lnTo>
                  <a:lnTo>
                    <a:pt x="1879945" y="1248114"/>
                  </a:lnTo>
                  <a:lnTo>
                    <a:pt x="1883394" y="1249657"/>
                  </a:lnTo>
                  <a:lnTo>
                    <a:pt x="1887055" y="1253105"/>
                  </a:lnTo>
                  <a:lnTo>
                    <a:pt x="1890866" y="1254497"/>
                  </a:lnTo>
                  <a:lnTo>
                    <a:pt x="1890200" y="1251925"/>
                  </a:lnTo>
                  <a:lnTo>
                    <a:pt x="1887992" y="1249384"/>
                  </a:lnTo>
                  <a:lnTo>
                    <a:pt x="1887387" y="1246964"/>
                  </a:lnTo>
                  <a:lnTo>
                    <a:pt x="1887871" y="1243667"/>
                  </a:lnTo>
                  <a:lnTo>
                    <a:pt x="1889081" y="1239250"/>
                  </a:lnTo>
                  <a:lnTo>
                    <a:pt x="1886358" y="1237556"/>
                  </a:lnTo>
                  <a:lnTo>
                    <a:pt x="1876194" y="1238857"/>
                  </a:lnTo>
                  <a:lnTo>
                    <a:pt x="1864820" y="1239371"/>
                  </a:lnTo>
                  <a:lnTo>
                    <a:pt x="1855018" y="1237284"/>
                  </a:lnTo>
                  <a:lnTo>
                    <a:pt x="1829667" y="1222702"/>
                  </a:lnTo>
                  <a:lnTo>
                    <a:pt x="1821984" y="1214383"/>
                  </a:lnTo>
                  <a:lnTo>
                    <a:pt x="1820592" y="1210330"/>
                  </a:lnTo>
                  <a:lnTo>
                    <a:pt x="1821711" y="1205792"/>
                  </a:lnTo>
                  <a:lnTo>
                    <a:pt x="1820773" y="1201587"/>
                  </a:lnTo>
                  <a:lnTo>
                    <a:pt x="1817446" y="1197564"/>
                  </a:lnTo>
                  <a:lnTo>
                    <a:pt x="1812242" y="1196081"/>
                  </a:lnTo>
                  <a:lnTo>
                    <a:pt x="1806586" y="1194841"/>
                  </a:lnTo>
                  <a:lnTo>
                    <a:pt x="1800051" y="1190091"/>
                  </a:lnTo>
                  <a:lnTo>
                    <a:pt x="1789796" y="1183013"/>
                  </a:lnTo>
                  <a:lnTo>
                    <a:pt x="1782354" y="1180441"/>
                  </a:lnTo>
                  <a:lnTo>
                    <a:pt x="1771615" y="1174603"/>
                  </a:lnTo>
                  <a:lnTo>
                    <a:pt x="1762691" y="1170821"/>
                  </a:lnTo>
                  <a:lnTo>
                    <a:pt x="1755854" y="1168522"/>
                  </a:lnTo>
                  <a:lnTo>
                    <a:pt x="1750499" y="1167373"/>
                  </a:lnTo>
                  <a:lnTo>
                    <a:pt x="1747565" y="1168885"/>
                  </a:lnTo>
                  <a:lnTo>
                    <a:pt x="1744661" y="1170368"/>
                  </a:lnTo>
                  <a:lnTo>
                    <a:pt x="1739669" y="1172273"/>
                  </a:lnTo>
                  <a:lnTo>
                    <a:pt x="1731592" y="1173060"/>
                  </a:lnTo>
                  <a:lnTo>
                    <a:pt x="1731380" y="1176539"/>
                  </a:lnTo>
                  <a:lnTo>
                    <a:pt x="1735978" y="1180562"/>
                  </a:lnTo>
                  <a:lnTo>
                    <a:pt x="1736342" y="1188700"/>
                  </a:lnTo>
                  <a:lnTo>
                    <a:pt x="1735857" y="1191211"/>
                  </a:lnTo>
                  <a:lnTo>
                    <a:pt x="1732560" y="1198532"/>
                  </a:lnTo>
                  <a:lnTo>
                    <a:pt x="1732076" y="1200921"/>
                  </a:lnTo>
                  <a:lnTo>
                    <a:pt x="1729868" y="1206790"/>
                  </a:lnTo>
                  <a:lnTo>
                    <a:pt x="1731018" y="1210693"/>
                  </a:lnTo>
                  <a:lnTo>
                    <a:pt x="1730322" y="1214323"/>
                  </a:lnTo>
                  <a:lnTo>
                    <a:pt x="1725754" y="1216289"/>
                  </a:lnTo>
                  <a:lnTo>
                    <a:pt x="1719038" y="1218649"/>
                  </a:lnTo>
                  <a:lnTo>
                    <a:pt x="1714984" y="1221160"/>
                  </a:lnTo>
                  <a:lnTo>
                    <a:pt x="1712564" y="1226302"/>
                  </a:lnTo>
                  <a:lnTo>
                    <a:pt x="1706302" y="1226726"/>
                  </a:lnTo>
                  <a:lnTo>
                    <a:pt x="1703126" y="1221129"/>
                  </a:lnTo>
                  <a:lnTo>
                    <a:pt x="1695956" y="1219798"/>
                  </a:lnTo>
                  <a:lnTo>
                    <a:pt x="1693324" y="1223519"/>
                  </a:lnTo>
                  <a:lnTo>
                    <a:pt x="1695351" y="1229963"/>
                  </a:lnTo>
                  <a:lnTo>
                    <a:pt x="1696682" y="1234743"/>
                  </a:lnTo>
                  <a:lnTo>
                    <a:pt x="1698860" y="1237919"/>
                  </a:lnTo>
                  <a:lnTo>
                    <a:pt x="1706665" y="1242578"/>
                  </a:lnTo>
                  <a:lnTo>
                    <a:pt x="1704940" y="1243788"/>
                  </a:lnTo>
                  <a:lnTo>
                    <a:pt x="1699798" y="1241216"/>
                  </a:lnTo>
                  <a:lnTo>
                    <a:pt x="1700796" y="1243515"/>
                  </a:lnTo>
                  <a:lnTo>
                    <a:pt x="1701401" y="1248507"/>
                  </a:lnTo>
                  <a:lnTo>
                    <a:pt x="1702218" y="1250776"/>
                  </a:lnTo>
                  <a:lnTo>
                    <a:pt x="1701039" y="1255737"/>
                  </a:lnTo>
                  <a:lnTo>
                    <a:pt x="1703458" y="1259307"/>
                  </a:lnTo>
                  <a:lnTo>
                    <a:pt x="1705395" y="1266930"/>
                  </a:lnTo>
                  <a:lnTo>
                    <a:pt x="1713865" y="1266597"/>
                  </a:lnTo>
                  <a:lnTo>
                    <a:pt x="1719008" y="1269018"/>
                  </a:lnTo>
                  <a:lnTo>
                    <a:pt x="1723938" y="1274826"/>
                  </a:lnTo>
                  <a:lnTo>
                    <a:pt x="1727932" y="1283810"/>
                  </a:lnTo>
                  <a:lnTo>
                    <a:pt x="1733044" y="1293824"/>
                  </a:lnTo>
                  <a:lnTo>
                    <a:pt x="1755279" y="1325920"/>
                  </a:lnTo>
                  <a:lnTo>
                    <a:pt x="1761904" y="1336448"/>
                  </a:lnTo>
                  <a:lnTo>
                    <a:pt x="1778482" y="1345554"/>
                  </a:lnTo>
                  <a:lnTo>
                    <a:pt x="1783836" y="1348064"/>
                  </a:lnTo>
                  <a:lnTo>
                    <a:pt x="1788404" y="1343890"/>
                  </a:lnTo>
                  <a:lnTo>
                    <a:pt x="1797298" y="1339231"/>
                  </a:lnTo>
                  <a:lnTo>
                    <a:pt x="1801504" y="1338203"/>
                  </a:lnTo>
                  <a:lnTo>
                    <a:pt x="1805738" y="1338535"/>
                  </a:lnTo>
                  <a:lnTo>
                    <a:pt x="1810185" y="1340078"/>
                  </a:lnTo>
                  <a:lnTo>
                    <a:pt x="1813059" y="1340229"/>
                  </a:lnTo>
                  <a:lnTo>
                    <a:pt x="1815238" y="1338081"/>
                  </a:lnTo>
                  <a:lnTo>
                    <a:pt x="1815600" y="1332787"/>
                  </a:lnTo>
                  <a:lnTo>
                    <a:pt x="1818807" y="1328704"/>
                  </a:lnTo>
                  <a:lnTo>
                    <a:pt x="1825009" y="1326404"/>
                  </a:lnTo>
                  <a:lnTo>
                    <a:pt x="1827731" y="1328068"/>
                  </a:lnTo>
                  <a:lnTo>
                    <a:pt x="1830817" y="1330004"/>
                  </a:lnTo>
                  <a:lnTo>
                    <a:pt x="1830091" y="1331487"/>
                  </a:lnTo>
                  <a:lnTo>
                    <a:pt x="1829849" y="1340229"/>
                  </a:lnTo>
                  <a:lnTo>
                    <a:pt x="1833448" y="1344253"/>
                  </a:lnTo>
                  <a:lnTo>
                    <a:pt x="1845943" y="1343043"/>
                  </a:lnTo>
                  <a:lnTo>
                    <a:pt x="1844642" y="1344041"/>
                  </a:lnTo>
                  <a:lnTo>
                    <a:pt x="1843250" y="1344616"/>
                  </a:lnTo>
                  <a:lnTo>
                    <a:pt x="1842010" y="1345523"/>
                  </a:lnTo>
                  <a:lnTo>
                    <a:pt x="1841132" y="1347580"/>
                  </a:lnTo>
                  <a:lnTo>
                    <a:pt x="1842736" y="1348458"/>
                  </a:lnTo>
                  <a:lnTo>
                    <a:pt x="1845277" y="1351332"/>
                  </a:lnTo>
                  <a:lnTo>
                    <a:pt x="1850571" y="1353147"/>
                  </a:lnTo>
                  <a:lnTo>
                    <a:pt x="1852296" y="1354931"/>
                  </a:lnTo>
                  <a:lnTo>
                    <a:pt x="1852931" y="1357775"/>
                  </a:lnTo>
                  <a:lnTo>
                    <a:pt x="1850843" y="1362010"/>
                  </a:lnTo>
                  <a:lnTo>
                    <a:pt x="1842554" y="1365762"/>
                  </a:lnTo>
                  <a:lnTo>
                    <a:pt x="1840406" y="1369543"/>
                  </a:lnTo>
                  <a:lnTo>
                    <a:pt x="1841647" y="1373718"/>
                  </a:lnTo>
                  <a:lnTo>
                    <a:pt x="1844853" y="1377590"/>
                  </a:lnTo>
                  <a:lnTo>
                    <a:pt x="1850783" y="1382581"/>
                  </a:lnTo>
                  <a:lnTo>
                    <a:pt x="1853294" y="1385606"/>
                  </a:lnTo>
                  <a:lnTo>
                    <a:pt x="1854867" y="1389025"/>
                  </a:lnTo>
                  <a:lnTo>
                    <a:pt x="1858951" y="1407932"/>
                  </a:lnTo>
                  <a:lnTo>
                    <a:pt x="1859162" y="1413014"/>
                  </a:lnTo>
                  <a:lnTo>
                    <a:pt x="1857710" y="1416735"/>
                  </a:lnTo>
                  <a:lnTo>
                    <a:pt x="1850450" y="1429774"/>
                  </a:lnTo>
                  <a:lnTo>
                    <a:pt x="1848726" y="1431861"/>
                  </a:lnTo>
                  <a:lnTo>
                    <a:pt x="1844642" y="1433010"/>
                  </a:lnTo>
                  <a:lnTo>
                    <a:pt x="1836898" y="1438062"/>
                  </a:lnTo>
                  <a:lnTo>
                    <a:pt x="1833025" y="1441088"/>
                  </a:lnTo>
                  <a:lnTo>
                    <a:pt x="1822044" y="1440331"/>
                  </a:lnTo>
                  <a:lnTo>
                    <a:pt x="1815782" y="1441814"/>
                  </a:lnTo>
                  <a:lnTo>
                    <a:pt x="1811456" y="1445444"/>
                  </a:lnTo>
                  <a:lnTo>
                    <a:pt x="1811093" y="1450526"/>
                  </a:lnTo>
                  <a:lnTo>
                    <a:pt x="1811970" y="1453884"/>
                  </a:lnTo>
                  <a:lnTo>
                    <a:pt x="1810911" y="1459238"/>
                  </a:lnTo>
                  <a:lnTo>
                    <a:pt x="1803409" y="1462294"/>
                  </a:lnTo>
                  <a:lnTo>
                    <a:pt x="1793698" y="1464109"/>
                  </a:lnTo>
                  <a:lnTo>
                    <a:pt x="1778906" y="1458664"/>
                  </a:lnTo>
                  <a:lnTo>
                    <a:pt x="1777726" y="1457817"/>
                  </a:lnTo>
                  <a:lnTo>
                    <a:pt x="1777121" y="1456788"/>
                  </a:lnTo>
                  <a:lnTo>
                    <a:pt x="1775971" y="1454066"/>
                  </a:lnTo>
                  <a:lnTo>
                    <a:pt x="1775275" y="1453491"/>
                  </a:lnTo>
                  <a:lnTo>
                    <a:pt x="1774458" y="1452553"/>
                  </a:lnTo>
                  <a:lnTo>
                    <a:pt x="1771161" y="1445625"/>
                  </a:lnTo>
                  <a:lnTo>
                    <a:pt x="1769225" y="1443417"/>
                  </a:lnTo>
                  <a:lnTo>
                    <a:pt x="1766714" y="1442509"/>
                  </a:lnTo>
                  <a:lnTo>
                    <a:pt x="1750832" y="1442025"/>
                  </a:lnTo>
                  <a:lnTo>
                    <a:pt x="1748866" y="1440543"/>
                  </a:lnTo>
                  <a:lnTo>
                    <a:pt x="1745175" y="1435763"/>
                  </a:lnTo>
                  <a:lnTo>
                    <a:pt x="1743269" y="1434735"/>
                  </a:lnTo>
                  <a:lnTo>
                    <a:pt x="1741333" y="1435431"/>
                  </a:lnTo>
                  <a:lnTo>
                    <a:pt x="1737430" y="1438486"/>
                  </a:lnTo>
                  <a:lnTo>
                    <a:pt x="1735374" y="1439152"/>
                  </a:lnTo>
                  <a:lnTo>
                    <a:pt x="1733407" y="1438486"/>
                  </a:lnTo>
                  <a:lnTo>
                    <a:pt x="1730443" y="1434916"/>
                  </a:lnTo>
                  <a:lnTo>
                    <a:pt x="1728779" y="1433404"/>
                  </a:lnTo>
                  <a:lnTo>
                    <a:pt x="1726389" y="1433041"/>
                  </a:lnTo>
                  <a:lnTo>
                    <a:pt x="1719855" y="1436308"/>
                  </a:lnTo>
                  <a:lnTo>
                    <a:pt x="1717918" y="1435552"/>
                  </a:lnTo>
                  <a:lnTo>
                    <a:pt x="1714379" y="1431377"/>
                  </a:lnTo>
                  <a:lnTo>
                    <a:pt x="1713260" y="1430439"/>
                  </a:lnTo>
                  <a:lnTo>
                    <a:pt x="1711415" y="1429834"/>
                  </a:lnTo>
                  <a:lnTo>
                    <a:pt x="1707300" y="1426990"/>
                  </a:lnTo>
                  <a:lnTo>
                    <a:pt x="1705243" y="1426113"/>
                  </a:lnTo>
                  <a:lnTo>
                    <a:pt x="1700070" y="1426597"/>
                  </a:lnTo>
                  <a:lnTo>
                    <a:pt x="1697408" y="1426204"/>
                  </a:lnTo>
                  <a:lnTo>
                    <a:pt x="1695381" y="1423996"/>
                  </a:lnTo>
                  <a:lnTo>
                    <a:pt x="1691358" y="1421303"/>
                  </a:lnTo>
                  <a:lnTo>
                    <a:pt x="1685852" y="1420033"/>
                  </a:lnTo>
                  <a:lnTo>
                    <a:pt x="1678531" y="1418369"/>
                  </a:lnTo>
                  <a:lnTo>
                    <a:pt x="1675718" y="1415313"/>
                  </a:lnTo>
                  <a:lnTo>
                    <a:pt x="1676414" y="1412863"/>
                  </a:lnTo>
                  <a:lnTo>
                    <a:pt x="1677744" y="1410655"/>
                  </a:lnTo>
                  <a:lnTo>
                    <a:pt x="1675204" y="1406843"/>
                  </a:lnTo>
                  <a:lnTo>
                    <a:pt x="1671513" y="1404544"/>
                  </a:lnTo>
                  <a:lnTo>
                    <a:pt x="1670272" y="1398584"/>
                  </a:lnTo>
                  <a:lnTo>
                    <a:pt x="1671724" y="1396315"/>
                  </a:lnTo>
                  <a:lnTo>
                    <a:pt x="1672844" y="1394047"/>
                  </a:lnTo>
                  <a:lnTo>
                    <a:pt x="1672027" y="1391627"/>
                  </a:lnTo>
                  <a:lnTo>
                    <a:pt x="1667943" y="1387875"/>
                  </a:lnTo>
                  <a:lnTo>
                    <a:pt x="1665433" y="1383822"/>
                  </a:lnTo>
                  <a:lnTo>
                    <a:pt x="1661409" y="1379284"/>
                  </a:lnTo>
                  <a:lnTo>
                    <a:pt x="1658081" y="1376561"/>
                  </a:lnTo>
                  <a:lnTo>
                    <a:pt x="1655207" y="1374262"/>
                  </a:lnTo>
                  <a:lnTo>
                    <a:pt x="1651819" y="1376924"/>
                  </a:lnTo>
                  <a:lnTo>
                    <a:pt x="1649762" y="1379586"/>
                  </a:lnTo>
                  <a:lnTo>
                    <a:pt x="1646858" y="1378376"/>
                  </a:lnTo>
                  <a:lnTo>
                    <a:pt x="1645920" y="1376380"/>
                  </a:lnTo>
                  <a:lnTo>
                    <a:pt x="1644922" y="1371842"/>
                  </a:lnTo>
                  <a:lnTo>
                    <a:pt x="1644105" y="1369694"/>
                  </a:lnTo>
                  <a:lnTo>
                    <a:pt x="1642532" y="1368061"/>
                  </a:lnTo>
                  <a:lnTo>
                    <a:pt x="1639204" y="1366155"/>
                  </a:lnTo>
                  <a:lnTo>
                    <a:pt x="1637873" y="1363735"/>
                  </a:lnTo>
                  <a:lnTo>
                    <a:pt x="1638569" y="1357775"/>
                  </a:lnTo>
                  <a:lnTo>
                    <a:pt x="1635121" y="1352088"/>
                  </a:lnTo>
                  <a:lnTo>
                    <a:pt x="1630159" y="1347883"/>
                  </a:lnTo>
                  <a:lnTo>
                    <a:pt x="1621538" y="1344162"/>
                  </a:lnTo>
                  <a:lnTo>
                    <a:pt x="1612795" y="1338989"/>
                  </a:lnTo>
                  <a:lnTo>
                    <a:pt x="1607168" y="1333090"/>
                  </a:lnTo>
                  <a:lnTo>
                    <a:pt x="1605474" y="1334149"/>
                  </a:lnTo>
                  <a:lnTo>
                    <a:pt x="1606230" y="1336690"/>
                  </a:lnTo>
                  <a:lnTo>
                    <a:pt x="1607834" y="1339564"/>
                  </a:lnTo>
                  <a:lnTo>
                    <a:pt x="1608862" y="1341863"/>
                  </a:lnTo>
                  <a:lnTo>
                    <a:pt x="1610768" y="1348216"/>
                  </a:lnTo>
                  <a:lnTo>
                    <a:pt x="1607834" y="1352088"/>
                  </a:lnTo>
                  <a:lnTo>
                    <a:pt x="1602540" y="1352269"/>
                  </a:lnTo>
                  <a:lnTo>
                    <a:pt x="1595491" y="1355597"/>
                  </a:lnTo>
                  <a:lnTo>
                    <a:pt x="1589834" y="1359681"/>
                  </a:lnTo>
                  <a:lnTo>
                    <a:pt x="1583663" y="1357684"/>
                  </a:lnTo>
                  <a:lnTo>
                    <a:pt x="1581605" y="1353842"/>
                  </a:lnTo>
                  <a:lnTo>
                    <a:pt x="1581817" y="1350727"/>
                  </a:lnTo>
                  <a:lnTo>
                    <a:pt x="1579306" y="1347671"/>
                  </a:lnTo>
                  <a:lnTo>
                    <a:pt x="1580910" y="1343617"/>
                  </a:lnTo>
                  <a:lnTo>
                    <a:pt x="1579458" y="1341409"/>
                  </a:lnTo>
                  <a:lnTo>
                    <a:pt x="1576735" y="1340471"/>
                  </a:lnTo>
                  <a:lnTo>
                    <a:pt x="1564786" y="1339685"/>
                  </a:lnTo>
                  <a:lnTo>
                    <a:pt x="1562002" y="1337446"/>
                  </a:lnTo>
                  <a:lnTo>
                    <a:pt x="1560732" y="1335147"/>
                  </a:lnTo>
                  <a:lnTo>
                    <a:pt x="1554319" y="1332122"/>
                  </a:lnTo>
                  <a:lnTo>
                    <a:pt x="1549962" y="1330488"/>
                  </a:lnTo>
                  <a:lnTo>
                    <a:pt x="1544064" y="1324317"/>
                  </a:lnTo>
                  <a:lnTo>
                    <a:pt x="1548298" y="1320082"/>
                  </a:lnTo>
                  <a:lnTo>
                    <a:pt x="1549448" y="1315332"/>
                  </a:lnTo>
                  <a:lnTo>
                    <a:pt x="1545637" y="1313094"/>
                  </a:lnTo>
                  <a:lnTo>
                    <a:pt x="1541281" y="1308768"/>
                  </a:lnTo>
                  <a:lnTo>
                    <a:pt x="1539677" y="1307981"/>
                  </a:lnTo>
                  <a:lnTo>
                    <a:pt x="1533415" y="1307981"/>
                  </a:lnTo>
                  <a:lnTo>
                    <a:pt x="1531721" y="1307255"/>
                  </a:lnTo>
                  <a:lnTo>
                    <a:pt x="1528605" y="1304079"/>
                  </a:lnTo>
                  <a:lnTo>
                    <a:pt x="1526881" y="1303625"/>
                  </a:lnTo>
                  <a:lnTo>
                    <a:pt x="1525731" y="1301931"/>
                  </a:lnTo>
                  <a:lnTo>
                    <a:pt x="1522736" y="1302052"/>
                  </a:lnTo>
                  <a:lnTo>
                    <a:pt x="1524218" y="1301114"/>
                  </a:lnTo>
                  <a:lnTo>
                    <a:pt x="1528998" y="1302052"/>
                  </a:lnTo>
                  <a:lnTo>
                    <a:pt x="1529543" y="1301356"/>
                  </a:lnTo>
                  <a:lnTo>
                    <a:pt x="1533173" y="1301175"/>
                  </a:lnTo>
                  <a:lnTo>
                    <a:pt x="1537196" y="1296516"/>
                  </a:lnTo>
                  <a:lnTo>
                    <a:pt x="1541522" y="1294368"/>
                  </a:lnTo>
                  <a:lnTo>
                    <a:pt x="1546332" y="1289982"/>
                  </a:lnTo>
                  <a:lnTo>
                    <a:pt x="1545909" y="1287138"/>
                  </a:lnTo>
                  <a:lnTo>
                    <a:pt x="1542158" y="1284627"/>
                  </a:lnTo>
                  <a:lnTo>
                    <a:pt x="1539798" y="1279061"/>
                  </a:lnTo>
                  <a:lnTo>
                    <a:pt x="1531690" y="1271377"/>
                  </a:lnTo>
                  <a:lnTo>
                    <a:pt x="1532024" y="1269895"/>
                  </a:lnTo>
                  <a:lnTo>
                    <a:pt x="1533959" y="1267807"/>
                  </a:lnTo>
                  <a:lnTo>
                    <a:pt x="1536592" y="1267021"/>
                  </a:lnTo>
                  <a:lnTo>
                    <a:pt x="1541371" y="1266083"/>
                  </a:lnTo>
                  <a:lnTo>
                    <a:pt x="1545576" y="1264994"/>
                  </a:lnTo>
                  <a:lnTo>
                    <a:pt x="1549479" y="1261606"/>
                  </a:lnTo>
                  <a:lnTo>
                    <a:pt x="1546120" y="1255646"/>
                  </a:lnTo>
                  <a:lnTo>
                    <a:pt x="1543459" y="1255646"/>
                  </a:lnTo>
                  <a:lnTo>
                    <a:pt x="1541613" y="1256675"/>
                  </a:lnTo>
                  <a:lnTo>
                    <a:pt x="1536743" y="1258671"/>
                  </a:lnTo>
                  <a:lnTo>
                    <a:pt x="1529876" y="1258187"/>
                  </a:lnTo>
                  <a:lnTo>
                    <a:pt x="1529664" y="1259276"/>
                  </a:lnTo>
                  <a:lnTo>
                    <a:pt x="1528272" y="1258702"/>
                  </a:lnTo>
                  <a:lnTo>
                    <a:pt x="1524158" y="1254799"/>
                  </a:lnTo>
                  <a:lnTo>
                    <a:pt x="1526941" y="1252682"/>
                  </a:lnTo>
                  <a:lnTo>
                    <a:pt x="1532961" y="1250594"/>
                  </a:lnTo>
                  <a:lnTo>
                    <a:pt x="1535744" y="1248749"/>
                  </a:lnTo>
                  <a:lnTo>
                    <a:pt x="1539768" y="1243546"/>
                  </a:lnTo>
                  <a:lnTo>
                    <a:pt x="1541704" y="1240037"/>
                  </a:lnTo>
                  <a:lnTo>
                    <a:pt x="1542733" y="1236739"/>
                  </a:lnTo>
                  <a:lnTo>
                    <a:pt x="1541159" y="1236406"/>
                  </a:lnTo>
                  <a:lnTo>
                    <a:pt x="1539405" y="1234954"/>
                  </a:lnTo>
                  <a:lnTo>
                    <a:pt x="1537710" y="1232958"/>
                  </a:lnTo>
                  <a:lnTo>
                    <a:pt x="1536531" y="1230901"/>
                  </a:lnTo>
                  <a:lnTo>
                    <a:pt x="1536198" y="1229812"/>
                  </a:lnTo>
                  <a:lnTo>
                    <a:pt x="1535896" y="1227240"/>
                  </a:lnTo>
                  <a:lnTo>
                    <a:pt x="1535472" y="1225153"/>
                  </a:lnTo>
                  <a:lnTo>
                    <a:pt x="1535775" y="1224245"/>
                  </a:lnTo>
                  <a:lnTo>
                    <a:pt x="1535775" y="1223670"/>
                  </a:lnTo>
                  <a:lnTo>
                    <a:pt x="1534746" y="1223489"/>
                  </a:lnTo>
                  <a:lnTo>
                    <a:pt x="1533294" y="1223640"/>
                  </a:lnTo>
                  <a:lnTo>
                    <a:pt x="1532598" y="1223459"/>
                  </a:lnTo>
                  <a:lnTo>
                    <a:pt x="1532054" y="1222733"/>
                  </a:lnTo>
                  <a:lnTo>
                    <a:pt x="1529210" y="1216864"/>
                  </a:lnTo>
                  <a:lnTo>
                    <a:pt x="1526246" y="1212931"/>
                  </a:lnTo>
                  <a:lnTo>
                    <a:pt x="1522827" y="1210662"/>
                  </a:lnTo>
                  <a:lnTo>
                    <a:pt x="1518592" y="1209936"/>
                  </a:lnTo>
                  <a:lnTo>
                    <a:pt x="1520286" y="1206185"/>
                  </a:lnTo>
                  <a:lnTo>
                    <a:pt x="1522888" y="1204340"/>
                  </a:lnTo>
                  <a:lnTo>
                    <a:pt x="1525761" y="1203039"/>
                  </a:lnTo>
                  <a:lnTo>
                    <a:pt x="1528303" y="1200952"/>
                  </a:lnTo>
                  <a:lnTo>
                    <a:pt x="1530027" y="1196142"/>
                  </a:lnTo>
                  <a:lnTo>
                    <a:pt x="1527365" y="1194478"/>
                  </a:lnTo>
                  <a:lnTo>
                    <a:pt x="1523856" y="1193601"/>
                  </a:lnTo>
                  <a:lnTo>
                    <a:pt x="1523069" y="1191241"/>
                  </a:lnTo>
                  <a:lnTo>
                    <a:pt x="1525035" y="1186643"/>
                  </a:lnTo>
                  <a:lnTo>
                    <a:pt x="1525792" y="1183648"/>
                  </a:lnTo>
                  <a:lnTo>
                    <a:pt x="1525005" y="1181984"/>
                  </a:lnTo>
                  <a:lnTo>
                    <a:pt x="1516444" y="1180502"/>
                  </a:lnTo>
                  <a:lnTo>
                    <a:pt x="1514629" y="1177809"/>
                  </a:lnTo>
                  <a:lnTo>
                    <a:pt x="1515778" y="1172304"/>
                  </a:lnTo>
                  <a:lnTo>
                    <a:pt x="1511997" y="1169581"/>
                  </a:lnTo>
                  <a:lnTo>
                    <a:pt x="1511029" y="1167796"/>
                  </a:lnTo>
                  <a:lnTo>
                    <a:pt x="1513056" y="1166586"/>
                  </a:lnTo>
                  <a:lnTo>
                    <a:pt x="1515143" y="1166465"/>
                  </a:lnTo>
                  <a:lnTo>
                    <a:pt x="1516595" y="1165527"/>
                  </a:lnTo>
                  <a:lnTo>
                    <a:pt x="1516595" y="1161625"/>
                  </a:lnTo>
                  <a:lnTo>
                    <a:pt x="1516293" y="1161867"/>
                  </a:lnTo>
                  <a:lnTo>
                    <a:pt x="1513056" y="1156331"/>
                  </a:lnTo>
                  <a:lnTo>
                    <a:pt x="1511725" y="1155605"/>
                  </a:lnTo>
                  <a:lnTo>
                    <a:pt x="1508912" y="1155756"/>
                  </a:lnTo>
                  <a:lnTo>
                    <a:pt x="1512330" y="1152580"/>
                  </a:lnTo>
                  <a:lnTo>
                    <a:pt x="1509819" y="1149615"/>
                  </a:lnTo>
                  <a:lnTo>
                    <a:pt x="1503557" y="1149615"/>
                  </a:lnTo>
                  <a:lnTo>
                    <a:pt x="1500652" y="1148223"/>
                  </a:lnTo>
                  <a:lnTo>
                    <a:pt x="1501802" y="1144956"/>
                  </a:lnTo>
                  <a:lnTo>
                    <a:pt x="1500925" y="1144321"/>
                  </a:lnTo>
                  <a:lnTo>
                    <a:pt x="1497839" y="1145077"/>
                  </a:lnTo>
                  <a:lnTo>
                    <a:pt x="1496145" y="1143746"/>
                  </a:lnTo>
                  <a:lnTo>
                    <a:pt x="1495268" y="1141992"/>
                  </a:lnTo>
                  <a:lnTo>
                    <a:pt x="1494330" y="1135972"/>
                  </a:lnTo>
                  <a:lnTo>
                    <a:pt x="1496175" y="1132704"/>
                  </a:lnTo>
                  <a:lnTo>
                    <a:pt x="1495964" y="1128681"/>
                  </a:lnTo>
                  <a:lnTo>
                    <a:pt x="1494451" y="1125263"/>
                  </a:lnTo>
                  <a:lnTo>
                    <a:pt x="1492304" y="1123811"/>
                  </a:lnTo>
                  <a:lnTo>
                    <a:pt x="1477722" y="1120664"/>
                  </a:lnTo>
                  <a:lnTo>
                    <a:pt x="1479810" y="1117881"/>
                  </a:lnTo>
                  <a:lnTo>
                    <a:pt x="1484952" y="1119122"/>
                  </a:lnTo>
                  <a:lnTo>
                    <a:pt x="1487433" y="1117730"/>
                  </a:lnTo>
                  <a:lnTo>
                    <a:pt x="1485860" y="1115673"/>
                  </a:lnTo>
                  <a:lnTo>
                    <a:pt x="1485194" y="1114463"/>
                  </a:lnTo>
                  <a:lnTo>
                    <a:pt x="1484650" y="1113162"/>
                  </a:lnTo>
                  <a:lnTo>
                    <a:pt x="1486495" y="1114100"/>
                  </a:lnTo>
                  <a:lnTo>
                    <a:pt x="1488219" y="1113374"/>
                  </a:lnTo>
                  <a:lnTo>
                    <a:pt x="1489732" y="1112285"/>
                  </a:lnTo>
                  <a:lnTo>
                    <a:pt x="1490851" y="1112285"/>
                  </a:lnTo>
                  <a:lnTo>
                    <a:pt x="1492727" y="1114039"/>
                  </a:lnTo>
                  <a:lnTo>
                    <a:pt x="1494905" y="1115219"/>
                  </a:lnTo>
                  <a:lnTo>
                    <a:pt x="1497174" y="1115522"/>
                  </a:lnTo>
                  <a:lnTo>
                    <a:pt x="1499200" y="1114675"/>
                  </a:lnTo>
                  <a:lnTo>
                    <a:pt x="1497295" y="1108171"/>
                  </a:lnTo>
                  <a:lnTo>
                    <a:pt x="1499200" y="1104934"/>
                  </a:lnTo>
                  <a:lnTo>
                    <a:pt x="1502952" y="1104450"/>
                  </a:lnTo>
                  <a:lnTo>
                    <a:pt x="1511755" y="1107475"/>
                  </a:lnTo>
                  <a:lnTo>
                    <a:pt x="1514689" y="1107233"/>
                  </a:lnTo>
                  <a:lnTo>
                    <a:pt x="1516414" y="1105418"/>
                  </a:lnTo>
                  <a:lnTo>
                    <a:pt x="1516505" y="1101969"/>
                  </a:lnTo>
                  <a:lnTo>
                    <a:pt x="1515113" y="1099609"/>
                  </a:lnTo>
                  <a:lnTo>
                    <a:pt x="1513177" y="1098248"/>
                  </a:lnTo>
                  <a:lnTo>
                    <a:pt x="1511574" y="1097794"/>
                  </a:lnTo>
                  <a:lnTo>
                    <a:pt x="1514538" y="1093892"/>
                  </a:lnTo>
                  <a:lnTo>
                    <a:pt x="1518955" y="1090413"/>
                  </a:lnTo>
                  <a:lnTo>
                    <a:pt x="1522343" y="1085270"/>
                  </a:lnTo>
                  <a:lnTo>
                    <a:pt x="1521980" y="1076437"/>
                  </a:lnTo>
                  <a:lnTo>
                    <a:pt x="1524944" y="1075166"/>
                  </a:lnTo>
                  <a:lnTo>
                    <a:pt x="1526004" y="1073472"/>
                  </a:lnTo>
                  <a:lnTo>
                    <a:pt x="1525550" y="1070568"/>
                  </a:lnTo>
                  <a:lnTo>
                    <a:pt x="1523614" y="1064004"/>
                  </a:lnTo>
                  <a:lnTo>
                    <a:pt x="1522706" y="1060071"/>
                  </a:lnTo>
                  <a:lnTo>
                    <a:pt x="1522283" y="1058830"/>
                  </a:lnTo>
                  <a:lnTo>
                    <a:pt x="1521043" y="1057227"/>
                  </a:lnTo>
                  <a:lnTo>
                    <a:pt x="1518562" y="1055321"/>
                  </a:lnTo>
                  <a:lnTo>
                    <a:pt x="1517745" y="1053355"/>
                  </a:lnTo>
                  <a:lnTo>
                    <a:pt x="1521496" y="1051812"/>
                  </a:lnTo>
                  <a:lnTo>
                    <a:pt x="1523371" y="1050027"/>
                  </a:lnTo>
                  <a:lnTo>
                    <a:pt x="1524007" y="1047274"/>
                  </a:lnTo>
                  <a:lnTo>
                    <a:pt x="1522978" y="1045732"/>
                  </a:lnTo>
                  <a:lnTo>
                    <a:pt x="1518743" y="1045580"/>
                  </a:lnTo>
                  <a:lnTo>
                    <a:pt x="1517140" y="1044068"/>
                  </a:lnTo>
                  <a:lnTo>
                    <a:pt x="1517472" y="1043312"/>
                  </a:lnTo>
                  <a:lnTo>
                    <a:pt x="1516686" y="1035265"/>
                  </a:lnTo>
                  <a:lnTo>
                    <a:pt x="1516444" y="1034811"/>
                  </a:lnTo>
                  <a:lnTo>
                    <a:pt x="1516444" y="1032542"/>
                  </a:lnTo>
                  <a:lnTo>
                    <a:pt x="1517140" y="1025584"/>
                  </a:lnTo>
                  <a:lnTo>
                    <a:pt x="1518743" y="1028397"/>
                  </a:lnTo>
                  <a:lnTo>
                    <a:pt x="1525399" y="1033419"/>
                  </a:lnTo>
                  <a:lnTo>
                    <a:pt x="1538437" y="1048938"/>
                  </a:lnTo>
                  <a:lnTo>
                    <a:pt x="1540887" y="1049846"/>
                  </a:lnTo>
                  <a:lnTo>
                    <a:pt x="1542248" y="1048484"/>
                  </a:lnTo>
                  <a:lnTo>
                    <a:pt x="1543338" y="1046125"/>
                  </a:lnTo>
                  <a:lnTo>
                    <a:pt x="1545273" y="1044038"/>
                  </a:lnTo>
                  <a:lnTo>
                    <a:pt x="1541371" y="1041375"/>
                  </a:lnTo>
                  <a:lnTo>
                    <a:pt x="1537741" y="1037866"/>
                  </a:lnTo>
                  <a:lnTo>
                    <a:pt x="1536592" y="1036081"/>
                  </a:lnTo>
                  <a:lnTo>
                    <a:pt x="1535442" y="1033510"/>
                  </a:lnTo>
                  <a:lnTo>
                    <a:pt x="1535291" y="1031211"/>
                  </a:lnTo>
                  <a:lnTo>
                    <a:pt x="1537075" y="1030213"/>
                  </a:lnTo>
                  <a:lnTo>
                    <a:pt x="1537681" y="1028730"/>
                  </a:lnTo>
                  <a:lnTo>
                    <a:pt x="1538225" y="1025554"/>
                  </a:lnTo>
                  <a:lnTo>
                    <a:pt x="1538346" y="1022408"/>
                  </a:lnTo>
                  <a:lnTo>
                    <a:pt x="1537771" y="1020925"/>
                  </a:lnTo>
                  <a:lnTo>
                    <a:pt x="1533869" y="1022075"/>
                  </a:lnTo>
                  <a:lnTo>
                    <a:pt x="1532235" y="1021379"/>
                  </a:lnTo>
                  <a:lnTo>
                    <a:pt x="1530904" y="1017961"/>
                  </a:lnTo>
                  <a:lnTo>
                    <a:pt x="1533869" y="1011487"/>
                  </a:lnTo>
                  <a:lnTo>
                    <a:pt x="1535018" y="1010126"/>
                  </a:lnTo>
                  <a:lnTo>
                    <a:pt x="1534141" y="1006768"/>
                  </a:lnTo>
                  <a:lnTo>
                    <a:pt x="1533597" y="1005074"/>
                  </a:lnTo>
                  <a:lnTo>
                    <a:pt x="1533022" y="1003985"/>
                  </a:lnTo>
                  <a:lnTo>
                    <a:pt x="1532235" y="1003622"/>
                  </a:lnTo>
                  <a:lnTo>
                    <a:pt x="1529512" y="1003985"/>
                  </a:lnTo>
                  <a:lnTo>
                    <a:pt x="1528515" y="1003440"/>
                  </a:lnTo>
                  <a:lnTo>
                    <a:pt x="1526941" y="1001232"/>
                  </a:lnTo>
                  <a:lnTo>
                    <a:pt x="1526034" y="1000687"/>
                  </a:lnTo>
                  <a:lnTo>
                    <a:pt x="1524097" y="1001232"/>
                  </a:lnTo>
                  <a:lnTo>
                    <a:pt x="1520558" y="1003440"/>
                  </a:lnTo>
                  <a:lnTo>
                    <a:pt x="1518774" y="1003985"/>
                  </a:lnTo>
                  <a:lnTo>
                    <a:pt x="1517745" y="1002986"/>
                  </a:lnTo>
                  <a:lnTo>
                    <a:pt x="1517745" y="1000869"/>
                  </a:lnTo>
                  <a:lnTo>
                    <a:pt x="1518531" y="998721"/>
                  </a:lnTo>
                  <a:lnTo>
                    <a:pt x="1519862" y="997783"/>
                  </a:lnTo>
                  <a:lnTo>
                    <a:pt x="1516898" y="996301"/>
                  </a:lnTo>
                  <a:lnTo>
                    <a:pt x="1515506" y="995121"/>
                  </a:lnTo>
                  <a:lnTo>
                    <a:pt x="1514296" y="993155"/>
                  </a:lnTo>
                  <a:lnTo>
                    <a:pt x="1518168" y="990129"/>
                  </a:lnTo>
                  <a:lnTo>
                    <a:pt x="1519983" y="988133"/>
                  </a:lnTo>
                  <a:lnTo>
                    <a:pt x="1520558" y="985259"/>
                  </a:lnTo>
                  <a:lnTo>
                    <a:pt x="1519500" y="983262"/>
                  </a:lnTo>
                  <a:lnTo>
                    <a:pt x="1514901" y="977121"/>
                  </a:lnTo>
                  <a:lnTo>
                    <a:pt x="1513630" y="975790"/>
                  </a:lnTo>
                  <a:lnTo>
                    <a:pt x="1511785" y="974610"/>
                  </a:lnTo>
                  <a:lnTo>
                    <a:pt x="1509274" y="969347"/>
                  </a:lnTo>
                  <a:lnTo>
                    <a:pt x="1505190" y="966987"/>
                  </a:lnTo>
                  <a:lnTo>
                    <a:pt x="1503466" y="961118"/>
                  </a:lnTo>
                  <a:lnTo>
                    <a:pt x="1501197" y="958819"/>
                  </a:lnTo>
                  <a:lnTo>
                    <a:pt x="1501893" y="961935"/>
                  </a:lnTo>
                  <a:lnTo>
                    <a:pt x="1497809" y="956036"/>
                  </a:lnTo>
                  <a:lnTo>
                    <a:pt x="1481019" y="944934"/>
                  </a:lnTo>
                  <a:lnTo>
                    <a:pt x="1475756" y="944631"/>
                  </a:lnTo>
                  <a:lnTo>
                    <a:pt x="1474243" y="944147"/>
                  </a:lnTo>
                  <a:lnTo>
                    <a:pt x="1471067" y="942030"/>
                  </a:lnTo>
                  <a:lnTo>
                    <a:pt x="1464079" y="940184"/>
                  </a:lnTo>
                  <a:lnTo>
                    <a:pt x="1462990" y="939277"/>
                  </a:lnTo>
                  <a:lnTo>
                    <a:pt x="1462838" y="937522"/>
                  </a:lnTo>
                  <a:lnTo>
                    <a:pt x="1463323" y="935707"/>
                  </a:lnTo>
                  <a:lnTo>
                    <a:pt x="1464109" y="933862"/>
                  </a:lnTo>
                  <a:lnTo>
                    <a:pt x="1464654" y="932016"/>
                  </a:lnTo>
                  <a:lnTo>
                    <a:pt x="1463262" y="931411"/>
                  </a:lnTo>
                  <a:lnTo>
                    <a:pt x="1459874" y="927479"/>
                  </a:lnTo>
                  <a:lnTo>
                    <a:pt x="1458180" y="926117"/>
                  </a:lnTo>
                  <a:lnTo>
                    <a:pt x="1456607" y="925664"/>
                  </a:lnTo>
                  <a:lnTo>
                    <a:pt x="1445020" y="925180"/>
                  </a:lnTo>
                  <a:lnTo>
                    <a:pt x="1442600" y="925785"/>
                  </a:lnTo>
                  <a:lnTo>
                    <a:pt x="1440966" y="927327"/>
                  </a:lnTo>
                  <a:lnTo>
                    <a:pt x="1439333" y="929385"/>
                  </a:lnTo>
                  <a:lnTo>
                    <a:pt x="1437730" y="930262"/>
                  </a:lnTo>
                  <a:lnTo>
                    <a:pt x="1436036" y="928265"/>
                  </a:lnTo>
                  <a:lnTo>
                    <a:pt x="1436036" y="926632"/>
                  </a:lnTo>
                  <a:lnTo>
                    <a:pt x="1436610" y="925119"/>
                  </a:lnTo>
                  <a:lnTo>
                    <a:pt x="1436610" y="923576"/>
                  </a:lnTo>
                  <a:lnTo>
                    <a:pt x="1434856" y="921640"/>
                  </a:lnTo>
                  <a:lnTo>
                    <a:pt x="1409596" y="911778"/>
                  </a:lnTo>
                  <a:lnTo>
                    <a:pt x="1411532" y="910598"/>
                  </a:lnTo>
                  <a:lnTo>
                    <a:pt x="1411078" y="908965"/>
                  </a:lnTo>
                  <a:lnTo>
                    <a:pt x="1409354" y="907573"/>
                  </a:lnTo>
                  <a:lnTo>
                    <a:pt x="1407509" y="906938"/>
                  </a:lnTo>
                  <a:lnTo>
                    <a:pt x="1395650" y="910447"/>
                  </a:lnTo>
                  <a:lnTo>
                    <a:pt x="1378497" y="910084"/>
                  </a:lnTo>
                  <a:lnTo>
                    <a:pt x="1381704" y="905879"/>
                  </a:lnTo>
                  <a:lnTo>
                    <a:pt x="1386303" y="903731"/>
                  </a:lnTo>
                  <a:lnTo>
                    <a:pt x="1395105" y="902370"/>
                  </a:lnTo>
                  <a:lnTo>
                    <a:pt x="1410504" y="903762"/>
                  </a:lnTo>
                  <a:lnTo>
                    <a:pt x="1415102" y="900797"/>
                  </a:lnTo>
                  <a:lnTo>
                    <a:pt x="1411925" y="895896"/>
                  </a:lnTo>
                  <a:lnTo>
                    <a:pt x="1402789" y="892417"/>
                  </a:lnTo>
                  <a:lnTo>
                    <a:pt x="1399159" y="889604"/>
                  </a:lnTo>
                  <a:lnTo>
                    <a:pt x="1404151" y="886276"/>
                  </a:lnTo>
                  <a:lnTo>
                    <a:pt x="1416100" y="887759"/>
                  </a:lnTo>
                  <a:lnTo>
                    <a:pt x="1421242" y="884885"/>
                  </a:lnTo>
                  <a:lnTo>
                    <a:pt x="1418097" y="880740"/>
                  </a:lnTo>
                  <a:lnTo>
                    <a:pt x="1409747" y="878986"/>
                  </a:lnTo>
                  <a:lnTo>
                    <a:pt x="1406087" y="876929"/>
                  </a:lnTo>
                  <a:lnTo>
                    <a:pt x="1408386" y="875295"/>
                  </a:lnTo>
                  <a:lnTo>
                    <a:pt x="1410231" y="874871"/>
                  </a:lnTo>
                  <a:lnTo>
                    <a:pt x="1410987" y="873692"/>
                  </a:lnTo>
                  <a:lnTo>
                    <a:pt x="1409898" y="869729"/>
                  </a:lnTo>
                  <a:lnTo>
                    <a:pt x="1407811" y="867309"/>
                  </a:lnTo>
                  <a:lnTo>
                    <a:pt x="1405421" y="868670"/>
                  </a:lnTo>
                  <a:lnTo>
                    <a:pt x="1401277" y="874478"/>
                  </a:lnTo>
                  <a:lnTo>
                    <a:pt x="1398403" y="876112"/>
                  </a:lnTo>
                  <a:lnTo>
                    <a:pt x="1382914" y="872300"/>
                  </a:lnTo>
                  <a:lnTo>
                    <a:pt x="1380192" y="870757"/>
                  </a:lnTo>
                  <a:lnTo>
                    <a:pt x="1378134" y="868186"/>
                  </a:lnTo>
                  <a:lnTo>
                    <a:pt x="1377802" y="866855"/>
                  </a:lnTo>
                  <a:lnTo>
                    <a:pt x="1377802" y="865615"/>
                  </a:lnTo>
                  <a:lnTo>
                    <a:pt x="1377681" y="864465"/>
                  </a:lnTo>
                  <a:lnTo>
                    <a:pt x="1377106" y="863376"/>
                  </a:lnTo>
                  <a:lnTo>
                    <a:pt x="1376168" y="862529"/>
                  </a:lnTo>
                  <a:lnTo>
                    <a:pt x="1370209" y="860109"/>
                  </a:lnTo>
                  <a:lnTo>
                    <a:pt x="1367698" y="859867"/>
                  </a:lnTo>
                  <a:lnTo>
                    <a:pt x="1365248" y="860653"/>
                  </a:lnTo>
                  <a:lnTo>
                    <a:pt x="1357714" y="865463"/>
                  </a:lnTo>
                  <a:lnTo>
                    <a:pt x="1351937" y="866310"/>
                  </a:lnTo>
                  <a:lnTo>
                    <a:pt x="1346189" y="864919"/>
                  </a:lnTo>
                  <a:lnTo>
                    <a:pt x="1341288" y="861137"/>
                  </a:lnTo>
                  <a:lnTo>
                    <a:pt x="1344072" y="858324"/>
                  </a:lnTo>
                  <a:lnTo>
                    <a:pt x="1350092" y="857144"/>
                  </a:lnTo>
                  <a:lnTo>
                    <a:pt x="1354629" y="854482"/>
                  </a:lnTo>
                  <a:lnTo>
                    <a:pt x="1359257" y="856085"/>
                  </a:lnTo>
                  <a:lnTo>
                    <a:pt x="1363946" y="854724"/>
                  </a:lnTo>
                  <a:lnTo>
                    <a:pt x="1364310" y="854603"/>
                  </a:lnTo>
                  <a:lnTo>
                    <a:pt x="1366094" y="854603"/>
                  </a:lnTo>
                  <a:lnTo>
                    <a:pt x="1365398" y="853000"/>
                  </a:lnTo>
                  <a:lnTo>
                    <a:pt x="1364612" y="851911"/>
                  </a:lnTo>
                  <a:lnTo>
                    <a:pt x="1363675" y="851366"/>
                  </a:lnTo>
                  <a:lnTo>
                    <a:pt x="1362706" y="851457"/>
                  </a:lnTo>
                  <a:lnTo>
                    <a:pt x="1366700" y="849400"/>
                  </a:lnTo>
                  <a:lnTo>
                    <a:pt x="1397526" y="862408"/>
                  </a:lnTo>
                  <a:lnTo>
                    <a:pt x="1401307" y="859383"/>
                  </a:lnTo>
                  <a:lnTo>
                    <a:pt x="1399976" y="858173"/>
                  </a:lnTo>
                  <a:lnTo>
                    <a:pt x="1395771" y="856085"/>
                  </a:lnTo>
                  <a:lnTo>
                    <a:pt x="1394440" y="854785"/>
                  </a:lnTo>
                  <a:lnTo>
                    <a:pt x="1393835" y="853786"/>
                  </a:lnTo>
                  <a:lnTo>
                    <a:pt x="1392685" y="850640"/>
                  </a:lnTo>
                  <a:lnTo>
                    <a:pt x="1389811" y="846254"/>
                  </a:lnTo>
                  <a:lnTo>
                    <a:pt x="1373385" y="840143"/>
                  </a:lnTo>
                  <a:lnTo>
                    <a:pt x="1370269" y="840143"/>
                  </a:lnTo>
                  <a:lnTo>
                    <a:pt x="1369392" y="840657"/>
                  </a:lnTo>
                  <a:lnTo>
                    <a:pt x="1369150" y="841867"/>
                  </a:lnTo>
                  <a:lnTo>
                    <a:pt x="1369331" y="842926"/>
                  </a:lnTo>
                  <a:lnTo>
                    <a:pt x="1369573" y="843289"/>
                  </a:lnTo>
                  <a:lnTo>
                    <a:pt x="1368061" y="844650"/>
                  </a:lnTo>
                  <a:lnTo>
                    <a:pt x="1366669" y="845104"/>
                  </a:lnTo>
                  <a:lnTo>
                    <a:pt x="1359590" y="844802"/>
                  </a:lnTo>
                  <a:lnTo>
                    <a:pt x="1357957" y="845709"/>
                  </a:lnTo>
                  <a:lnTo>
                    <a:pt x="1356565" y="848069"/>
                  </a:lnTo>
                  <a:lnTo>
                    <a:pt x="1357926" y="849823"/>
                  </a:lnTo>
                  <a:lnTo>
                    <a:pt x="1337416" y="850277"/>
                  </a:lnTo>
                  <a:lnTo>
                    <a:pt x="1333756" y="844892"/>
                  </a:lnTo>
                  <a:lnTo>
                    <a:pt x="1341106" y="843713"/>
                  </a:lnTo>
                  <a:lnTo>
                    <a:pt x="1344767" y="844197"/>
                  </a:lnTo>
                  <a:lnTo>
                    <a:pt x="1348428" y="846042"/>
                  </a:lnTo>
                  <a:lnTo>
                    <a:pt x="1350818" y="846344"/>
                  </a:lnTo>
                  <a:lnTo>
                    <a:pt x="1353963" y="844892"/>
                  </a:lnTo>
                  <a:lnTo>
                    <a:pt x="1356747" y="841746"/>
                  </a:lnTo>
                  <a:lnTo>
                    <a:pt x="1357896" y="836966"/>
                  </a:lnTo>
                  <a:lnTo>
                    <a:pt x="1359469" y="832640"/>
                  </a:lnTo>
                  <a:lnTo>
                    <a:pt x="1363039" y="831945"/>
                  </a:lnTo>
                  <a:lnTo>
                    <a:pt x="1369906" y="833699"/>
                  </a:lnTo>
                  <a:lnTo>
                    <a:pt x="1376108" y="837118"/>
                  </a:lnTo>
                  <a:lnTo>
                    <a:pt x="1379314" y="837541"/>
                  </a:lnTo>
                  <a:lnTo>
                    <a:pt x="1379919" y="833730"/>
                  </a:lnTo>
                  <a:lnTo>
                    <a:pt x="1378316" y="831521"/>
                  </a:lnTo>
                  <a:lnTo>
                    <a:pt x="1365731" y="822809"/>
                  </a:lnTo>
                  <a:lnTo>
                    <a:pt x="1344737" y="823111"/>
                  </a:lnTo>
                  <a:lnTo>
                    <a:pt x="1324075" y="811223"/>
                  </a:lnTo>
                  <a:lnTo>
                    <a:pt x="1328371" y="812675"/>
                  </a:lnTo>
                  <a:lnTo>
                    <a:pt x="1339140" y="812433"/>
                  </a:lnTo>
                  <a:lnTo>
                    <a:pt x="1340713" y="811223"/>
                  </a:lnTo>
                  <a:lnTo>
                    <a:pt x="1339927" y="808954"/>
                  </a:lnTo>
                  <a:lnTo>
                    <a:pt x="1338807" y="804930"/>
                  </a:lnTo>
                  <a:lnTo>
                    <a:pt x="1337900" y="803236"/>
                  </a:lnTo>
                  <a:lnTo>
                    <a:pt x="1336297" y="801935"/>
                  </a:lnTo>
                  <a:lnTo>
                    <a:pt x="1317602" y="798456"/>
                  </a:lnTo>
                  <a:lnTo>
                    <a:pt x="1313699" y="795341"/>
                  </a:lnTo>
                  <a:lnTo>
                    <a:pt x="1314697" y="790954"/>
                  </a:lnTo>
                  <a:lnTo>
                    <a:pt x="1312308" y="787808"/>
                  </a:lnTo>
                  <a:lnTo>
                    <a:pt x="1306167" y="783996"/>
                  </a:lnTo>
                  <a:lnTo>
                    <a:pt x="1301508" y="778097"/>
                  </a:lnTo>
                  <a:lnTo>
                    <a:pt x="1299602" y="777432"/>
                  </a:lnTo>
                  <a:lnTo>
                    <a:pt x="1288892" y="777432"/>
                  </a:lnTo>
                  <a:lnTo>
                    <a:pt x="1288892" y="775949"/>
                  </a:lnTo>
                  <a:lnTo>
                    <a:pt x="1293128" y="774104"/>
                  </a:lnTo>
                  <a:lnTo>
                    <a:pt x="1294731" y="771744"/>
                  </a:lnTo>
                  <a:lnTo>
                    <a:pt x="1294429" y="767781"/>
                  </a:lnTo>
                  <a:lnTo>
                    <a:pt x="1295034" y="767539"/>
                  </a:lnTo>
                  <a:lnTo>
                    <a:pt x="1296486" y="766299"/>
                  </a:lnTo>
                  <a:lnTo>
                    <a:pt x="1294127" y="763455"/>
                  </a:lnTo>
                  <a:lnTo>
                    <a:pt x="1288621" y="763183"/>
                  </a:lnTo>
                  <a:lnTo>
                    <a:pt x="1286079" y="761489"/>
                  </a:lnTo>
                  <a:lnTo>
                    <a:pt x="1289347" y="761005"/>
                  </a:lnTo>
                  <a:lnTo>
                    <a:pt x="1297635" y="762608"/>
                  </a:lnTo>
                  <a:lnTo>
                    <a:pt x="1300297" y="760672"/>
                  </a:lnTo>
                  <a:lnTo>
                    <a:pt x="1302113" y="756074"/>
                  </a:lnTo>
                  <a:lnTo>
                    <a:pt x="1302687" y="753079"/>
                  </a:lnTo>
                  <a:lnTo>
                    <a:pt x="1301961" y="750478"/>
                  </a:lnTo>
                  <a:lnTo>
                    <a:pt x="1299965" y="746938"/>
                  </a:lnTo>
                  <a:lnTo>
                    <a:pt x="1297242" y="743278"/>
                  </a:lnTo>
                  <a:lnTo>
                    <a:pt x="1288711" y="737590"/>
                  </a:lnTo>
                  <a:lnTo>
                    <a:pt x="1285414" y="736834"/>
                  </a:lnTo>
                  <a:lnTo>
                    <a:pt x="1281663" y="737076"/>
                  </a:lnTo>
                  <a:lnTo>
                    <a:pt x="1278214" y="736229"/>
                  </a:lnTo>
                  <a:lnTo>
                    <a:pt x="1275733" y="732054"/>
                  </a:lnTo>
                  <a:lnTo>
                    <a:pt x="1279273" y="731964"/>
                  </a:lnTo>
                  <a:lnTo>
                    <a:pt x="1280967" y="732448"/>
                  </a:lnTo>
                  <a:lnTo>
                    <a:pt x="1282601" y="733809"/>
                  </a:lnTo>
                  <a:lnTo>
                    <a:pt x="1281270" y="730512"/>
                  </a:lnTo>
                  <a:lnTo>
                    <a:pt x="1277155" y="727305"/>
                  </a:lnTo>
                  <a:lnTo>
                    <a:pt x="1272920" y="720831"/>
                  </a:lnTo>
                  <a:lnTo>
                    <a:pt x="1270197" y="718895"/>
                  </a:lnTo>
                  <a:lnTo>
                    <a:pt x="1267202" y="718562"/>
                  </a:lnTo>
                  <a:lnTo>
                    <a:pt x="1255919" y="721920"/>
                  </a:lnTo>
                  <a:lnTo>
                    <a:pt x="1237798" y="720831"/>
                  </a:lnTo>
                  <a:lnTo>
                    <a:pt x="1238736" y="715749"/>
                  </a:lnTo>
                  <a:lnTo>
                    <a:pt x="1239189" y="714206"/>
                  </a:lnTo>
                  <a:lnTo>
                    <a:pt x="1231566" y="714206"/>
                  </a:lnTo>
                  <a:lnTo>
                    <a:pt x="1234229" y="711332"/>
                  </a:lnTo>
                  <a:lnTo>
                    <a:pt x="1237526" y="710485"/>
                  </a:lnTo>
                  <a:lnTo>
                    <a:pt x="1240944" y="711090"/>
                  </a:lnTo>
                  <a:lnTo>
                    <a:pt x="1250655" y="716324"/>
                  </a:lnTo>
                  <a:lnTo>
                    <a:pt x="1253983" y="716838"/>
                  </a:lnTo>
                  <a:lnTo>
                    <a:pt x="1265659" y="714176"/>
                  </a:lnTo>
                  <a:lnTo>
                    <a:pt x="1271619" y="716112"/>
                  </a:lnTo>
                  <a:lnTo>
                    <a:pt x="1273434" y="715477"/>
                  </a:lnTo>
                  <a:lnTo>
                    <a:pt x="1276490" y="713480"/>
                  </a:lnTo>
                  <a:lnTo>
                    <a:pt x="1279242" y="712633"/>
                  </a:lnTo>
                  <a:lnTo>
                    <a:pt x="1284991" y="712573"/>
                  </a:lnTo>
                  <a:lnTo>
                    <a:pt x="1286140" y="713178"/>
                  </a:lnTo>
                  <a:lnTo>
                    <a:pt x="1290163" y="717413"/>
                  </a:lnTo>
                  <a:lnTo>
                    <a:pt x="1292220" y="718441"/>
                  </a:lnTo>
                  <a:lnTo>
                    <a:pt x="1310462" y="718925"/>
                  </a:lnTo>
                  <a:lnTo>
                    <a:pt x="1320808" y="726912"/>
                  </a:lnTo>
                  <a:lnTo>
                    <a:pt x="1324227" y="728394"/>
                  </a:lnTo>
                  <a:lnTo>
                    <a:pt x="1327735" y="728908"/>
                  </a:lnTo>
                  <a:lnTo>
                    <a:pt x="1340078" y="726760"/>
                  </a:lnTo>
                  <a:lnTo>
                    <a:pt x="1343981" y="728908"/>
                  </a:lnTo>
                  <a:lnTo>
                    <a:pt x="1340350" y="731510"/>
                  </a:lnTo>
                  <a:lnTo>
                    <a:pt x="1332425" y="732750"/>
                  </a:lnTo>
                  <a:lnTo>
                    <a:pt x="1328764" y="735412"/>
                  </a:lnTo>
                  <a:lnTo>
                    <a:pt x="1327252" y="738831"/>
                  </a:lnTo>
                  <a:lnTo>
                    <a:pt x="1326858" y="743217"/>
                  </a:lnTo>
                  <a:lnTo>
                    <a:pt x="1327554" y="747997"/>
                  </a:lnTo>
                  <a:lnTo>
                    <a:pt x="1329157" y="752474"/>
                  </a:lnTo>
                  <a:lnTo>
                    <a:pt x="1331396" y="756074"/>
                  </a:lnTo>
                  <a:lnTo>
                    <a:pt x="1357321" y="783966"/>
                  </a:lnTo>
                  <a:lnTo>
                    <a:pt x="1395801" y="813945"/>
                  </a:lnTo>
                  <a:lnTo>
                    <a:pt x="1399220" y="815427"/>
                  </a:lnTo>
                  <a:lnTo>
                    <a:pt x="1403304" y="814580"/>
                  </a:lnTo>
                  <a:lnTo>
                    <a:pt x="1401609" y="811858"/>
                  </a:lnTo>
                  <a:lnTo>
                    <a:pt x="1397738" y="807986"/>
                  </a:lnTo>
                  <a:lnTo>
                    <a:pt x="1396376" y="804991"/>
                  </a:lnTo>
                  <a:lnTo>
                    <a:pt x="1398464" y="806231"/>
                  </a:lnTo>
                  <a:lnTo>
                    <a:pt x="1402547" y="810859"/>
                  </a:lnTo>
                  <a:lnTo>
                    <a:pt x="1404695" y="811223"/>
                  </a:lnTo>
                  <a:lnTo>
                    <a:pt x="1404695" y="809770"/>
                  </a:lnTo>
                  <a:lnTo>
                    <a:pt x="1403334" y="808560"/>
                  </a:lnTo>
                  <a:lnTo>
                    <a:pt x="1402063" y="806655"/>
                  </a:lnTo>
                  <a:lnTo>
                    <a:pt x="1400914" y="804355"/>
                  </a:lnTo>
                  <a:lnTo>
                    <a:pt x="1399885" y="801754"/>
                  </a:lnTo>
                  <a:lnTo>
                    <a:pt x="1402396" y="803357"/>
                  </a:lnTo>
                  <a:lnTo>
                    <a:pt x="1407509" y="808167"/>
                  </a:lnTo>
                  <a:lnTo>
                    <a:pt x="1410171" y="809801"/>
                  </a:lnTo>
                  <a:lnTo>
                    <a:pt x="1402668" y="802238"/>
                  </a:lnTo>
                  <a:lnTo>
                    <a:pt x="1399462" y="797125"/>
                  </a:lnTo>
                  <a:lnTo>
                    <a:pt x="1399855" y="790410"/>
                  </a:lnTo>
                  <a:lnTo>
                    <a:pt x="1401640" y="793979"/>
                  </a:lnTo>
                  <a:lnTo>
                    <a:pt x="1403667" y="796551"/>
                  </a:lnTo>
                  <a:lnTo>
                    <a:pt x="1408114" y="800029"/>
                  </a:lnTo>
                  <a:lnTo>
                    <a:pt x="1406662" y="795341"/>
                  </a:lnTo>
                  <a:lnTo>
                    <a:pt x="1406298" y="793072"/>
                  </a:lnTo>
                  <a:lnTo>
                    <a:pt x="1406753" y="790410"/>
                  </a:lnTo>
                  <a:lnTo>
                    <a:pt x="1409626" y="794372"/>
                  </a:lnTo>
                  <a:lnTo>
                    <a:pt x="1410534" y="796188"/>
                  </a:lnTo>
                  <a:lnTo>
                    <a:pt x="1411744" y="797367"/>
                  </a:lnTo>
                  <a:lnTo>
                    <a:pt x="1414587" y="796339"/>
                  </a:lnTo>
                  <a:lnTo>
                    <a:pt x="1416070" y="797670"/>
                  </a:lnTo>
                  <a:lnTo>
                    <a:pt x="1418550" y="800998"/>
                  </a:lnTo>
                  <a:lnTo>
                    <a:pt x="1424056" y="805475"/>
                  </a:lnTo>
                  <a:lnTo>
                    <a:pt x="1426355" y="809075"/>
                  </a:lnTo>
                  <a:lnTo>
                    <a:pt x="1429108" y="818362"/>
                  </a:lnTo>
                  <a:lnTo>
                    <a:pt x="1430954" y="822113"/>
                  </a:lnTo>
                  <a:lnTo>
                    <a:pt x="1433585" y="822567"/>
                  </a:lnTo>
                  <a:lnTo>
                    <a:pt x="1434523" y="820963"/>
                  </a:lnTo>
                  <a:lnTo>
                    <a:pt x="1434523" y="818967"/>
                  </a:lnTo>
                  <a:lnTo>
                    <a:pt x="1434675" y="817515"/>
                  </a:lnTo>
                  <a:lnTo>
                    <a:pt x="1436308" y="817787"/>
                  </a:lnTo>
                  <a:lnTo>
                    <a:pt x="1437306" y="818816"/>
                  </a:lnTo>
                  <a:lnTo>
                    <a:pt x="1439484" y="822415"/>
                  </a:lnTo>
                  <a:lnTo>
                    <a:pt x="1440604" y="823747"/>
                  </a:lnTo>
                  <a:lnTo>
                    <a:pt x="1442449" y="824624"/>
                  </a:lnTo>
                  <a:lnTo>
                    <a:pt x="1448741" y="824170"/>
                  </a:lnTo>
                  <a:lnTo>
                    <a:pt x="1449286" y="823565"/>
                  </a:lnTo>
                  <a:lnTo>
                    <a:pt x="1449588" y="821447"/>
                  </a:lnTo>
                  <a:lnTo>
                    <a:pt x="1450163" y="820994"/>
                  </a:lnTo>
                  <a:lnTo>
                    <a:pt x="1450738" y="821326"/>
                  </a:lnTo>
                  <a:lnTo>
                    <a:pt x="1451645" y="822537"/>
                  </a:lnTo>
                  <a:lnTo>
                    <a:pt x="1452190" y="822537"/>
                  </a:lnTo>
                  <a:lnTo>
                    <a:pt x="1454731" y="820631"/>
                  </a:lnTo>
                  <a:lnTo>
                    <a:pt x="1456879" y="817969"/>
                  </a:lnTo>
                  <a:lnTo>
                    <a:pt x="1458815" y="814459"/>
                  </a:lnTo>
                  <a:lnTo>
                    <a:pt x="1460569" y="809801"/>
                  </a:lnTo>
                  <a:lnTo>
                    <a:pt x="1461145" y="806987"/>
                  </a:lnTo>
                  <a:lnTo>
                    <a:pt x="1461477" y="804718"/>
                  </a:lnTo>
                  <a:lnTo>
                    <a:pt x="1462022" y="803781"/>
                  </a:lnTo>
                  <a:lnTo>
                    <a:pt x="1463262" y="804991"/>
                  </a:lnTo>
                  <a:lnTo>
                    <a:pt x="1463535" y="806201"/>
                  </a:lnTo>
                  <a:lnTo>
                    <a:pt x="1463837" y="808470"/>
                  </a:lnTo>
                  <a:lnTo>
                    <a:pt x="1464049" y="810980"/>
                  </a:lnTo>
                  <a:lnTo>
                    <a:pt x="1464049" y="812886"/>
                  </a:lnTo>
                  <a:lnTo>
                    <a:pt x="1462959" y="817515"/>
                  </a:lnTo>
                  <a:lnTo>
                    <a:pt x="1461114" y="821508"/>
                  </a:lnTo>
                  <a:lnTo>
                    <a:pt x="1457091" y="827528"/>
                  </a:lnTo>
                  <a:lnTo>
                    <a:pt x="1459602" y="828375"/>
                  </a:lnTo>
                  <a:lnTo>
                    <a:pt x="1460842" y="828496"/>
                  </a:lnTo>
                  <a:lnTo>
                    <a:pt x="1462112" y="827921"/>
                  </a:lnTo>
                  <a:lnTo>
                    <a:pt x="1464805" y="824745"/>
                  </a:lnTo>
                  <a:lnTo>
                    <a:pt x="1465410" y="824200"/>
                  </a:lnTo>
                  <a:lnTo>
                    <a:pt x="1466317" y="824684"/>
                  </a:lnTo>
                  <a:lnTo>
                    <a:pt x="1468103" y="826983"/>
                  </a:lnTo>
                  <a:lnTo>
                    <a:pt x="1469222" y="827498"/>
                  </a:lnTo>
                  <a:lnTo>
                    <a:pt x="1476422" y="827498"/>
                  </a:lnTo>
                  <a:lnTo>
                    <a:pt x="1495147" y="833669"/>
                  </a:lnTo>
                  <a:lnTo>
                    <a:pt x="1497779" y="832308"/>
                  </a:lnTo>
                  <a:lnTo>
                    <a:pt x="1497083" y="830704"/>
                  </a:lnTo>
                  <a:lnTo>
                    <a:pt x="1498686" y="829978"/>
                  </a:lnTo>
                  <a:lnTo>
                    <a:pt x="1500350" y="831037"/>
                  </a:lnTo>
                  <a:lnTo>
                    <a:pt x="1500683" y="833155"/>
                  </a:lnTo>
                  <a:lnTo>
                    <a:pt x="1498444" y="835484"/>
                  </a:lnTo>
                  <a:lnTo>
                    <a:pt x="1495631" y="835847"/>
                  </a:lnTo>
                  <a:lnTo>
                    <a:pt x="1490125" y="833578"/>
                  </a:lnTo>
                  <a:lnTo>
                    <a:pt x="1487403" y="833730"/>
                  </a:lnTo>
                  <a:lnTo>
                    <a:pt x="1483621" y="837450"/>
                  </a:lnTo>
                  <a:lnTo>
                    <a:pt x="1484801" y="841746"/>
                  </a:lnTo>
                  <a:lnTo>
                    <a:pt x="1487796" y="846223"/>
                  </a:lnTo>
                  <a:lnTo>
                    <a:pt x="1491487" y="856690"/>
                  </a:lnTo>
                  <a:lnTo>
                    <a:pt x="1496085" y="858959"/>
                  </a:lnTo>
                  <a:lnTo>
                    <a:pt x="1501197" y="858838"/>
                  </a:lnTo>
                  <a:lnTo>
                    <a:pt x="1504616" y="857749"/>
                  </a:lnTo>
                  <a:lnTo>
                    <a:pt x="1512814" y="852758"/>
                  </a:lnTo>
                  <a:lnTo>
                    <a:pt x="1520467" y="845709"/>
                  </a:lnTo>
                  <a:lnTo>
                    <a:pt x="1528605" y="841292"/>
                  </a:lnTo>
                  <a:lnTo>
                    <a:pt x="1537136" y="844499"/>
                  </a:lnTo>
                  <a:lnTo>
                    <a:pt x="1566692" y="872028"/>
                  </a:lnTo>
                  <a:lnTo>
                    <a:pt x="1571108" y="874841"/>
                  </a:lnTo>
                  <a:lnTo>
                    <a:pt x="1580033" y="877685"/>
                  </a:lnTo>
                  <a:lnTo>
                    <a:pt x="1586688" y="886700"/>
                  </a:lnTo>
                  <a:lnTo>
                    <a:pt x="1604506" y="893809"/>
                  </a:lnTo>
                  <a:lnTo>
                    <a:pt x="1615911" y="893748"/>
                  </a:lnTo>
                  <a:lnTo>
                    <a:pt x="1625924" y="899799"/>
                  </a:lnTo>
                  <a:lnTo>
                    <a:pt x="1651335" y="904457"/>
                  </a:lnTo>
                  <a:lnTo>
                    <a:pt x="1676686" y="909086"/>
                  </a:lnTo>
                  <a:lnTo>
                    <a:pt x="1689936" y="915106"/>
                  </a:lnTo>
                  <a:lnTo>
                    <a:pt x="1701704" y="913866"/>
                  </a:lnTo>
                  <a:lnTo>
                    <a:pt x="1712685" y="916709"/>
                  </a:lnTo>
                  <a:lnTo>
                    <a:pt x="1724423" y="914924"/>
                  </a:lnTo>
                  <a:lnTo>
                    <a:pt x="1732712" y="917738"/>
                  </a:lnTo>
                  <a:lnTo>
                    <a:pt x="1738338" y="917314"/>
                  </a:lnTo>
                  <a:lnTo>
                    <a:pt x="1777151" y="929899"/>
                  </a:lnTo>
                  <a:lnTo>
                    <a:pt x="1785924" y="935858"/>
                  </a:lnTo>
                  <a:lnTo>
                    <a:pt x="1793789" y="938551"/>
                  </a:lnTo>
                  <a:lnTo>
                    <a:pt x="1804650" y="949532"/>
                  </a:lnTo>
                  <a:lnTo>
                    <a:pt x="1815631" y="954493"/>
                  </a:lnTo>
                  <a:lnTo>
                    <a:pt x="1832360" y="957004"/>
                  </a:lnTo>
                  <a:lnTo>
                    <a:pt x="1842978" y="962359"/>
                  </a:lnTo>
                  <a:lnTo>
                    <a:pt x="1874560" y="966231"/>
                  </a:lnTo>
                  <a:lnTo>
                    <a:pt x="1906082" y="970073"/>
                  </a:lnTo>
                  <a:lnTo>
                    <a:pt x="1944351" y="959364"/>
                  </a:lnTo>
                  <a:lnTo>
                    <a:pt x="1945924" y="958063"/>
                  </a:lnTo>
                  <a:lnTo>
                    <a:pt x="1948102" y="957246"/>
                  </a:lnTo>
                  <a:lnTo>
                    <a:pt x="1957359" y="958940"/>
                  </a:lnTo>
                  <a:lnTo>
                    <a:pt x="1985462" y="951892"/>
                  </a:lnTo>
                  <a:lnTo>
                    <a:pt x="1989576" y="949472"/>
                  </a:lnTo>
                  <a:lnTo>
                    <a:pt x="1997714" y="941636"/>
                  </a:lnTo>
                  <a:lnTo>
                    <a:pt x="2021794" y="935344"/>
                  </a:lnTo>
                  <a:lnTo>
                    <a:pt x="2028510" y="931200"/>
                  </a:lnTo>
                  <a:lnTo>
                    <a:pt x="2032594" y="929929"/>
                  </a:lnTo>
                  <a:lnTo>
                    <a:pt x="2036345" y="926601"/>
                  </a:lnTo>
                  <a:lnTo>
                    <a:pt x="2060093" y="916558"/>
                  </a:lnTo>
                  <a:lnTo>
                    <a:pt x="2067474" y="907241"/>
                  </a:lnTo>
                  <a:lnTo>
                    <a:pt x="2082569" y="895079"/>
                  </a:lnTo>
                  <a:lnTo>
                    <a:pt x="2091796" y="892327"/>
                  </a:lnTo>
                  <a:lnTo>
                    <a:pt x="2096243" y="889664"/>
                  </a:lnTo>
                  <a:lnTo>
                    <a:pt x="2102536" y="881587"/>
                  </a:lnTo>
                  <a:lnTo>
                    <a:pt x="2108465" y="878018"/>
                  </a:lnTo>
                  <a:lnTo>
                    <a:pt x="2109705" y="875355"/>
                  </a:lnTo>
                  <a:lnTo>
                    <a:pt x="2112125" y="868549"/>
                  </a:lnTo>
                  <a:lnTo>
                    <a:pt x="2115332" y="866189"/>
                  </a:lnTo>
                  <a:lnTo>
                    <a:pt x="2118932" y="864858"/>
                  </a:lnTo>
                  <a:lnTo>
                    <a:pt x="2122501" y="861137"/>
                  </a:lnTo>
                  <a:lnTo>
                    <a:pt x="2123923" y="857991"/>
                  </a:lnTo>
                  <a:lnTo>
                    <a:pt x="2123923" y="856327"/>
                  </a:lnTo>
                  <a:lnTo>
                    <a:pt x="2123590" y="854633"/>
                  </a:lnTo>
                  <a:lnTo>
                    <a:pt x="2123832" y="851487"/>
                  </a:lnTo>
                  <a:lnTo>
                    <a:pt x="2124891" y="848190"/>
                  </a:lnTo>
                  <a:lnTo>
                    <a:pt x="2126494" y="845134"/>
                  </a:lnTo>
                  <a:lnTo>
                    <a:pt x="2128310" y="842865"/>
                  </a:lnTo>
                  <a:lnTo>
                    <a:pt x="2131577" y="841202"/>
                  </a:lnTo>
                  <a:lnTo>
                    <a:pt x="2133513" y="839356"/>
                  </a:lnTo>
                  <a:lnTo>
                    <a:pt x="2135358" y="836997"/>
                  </a:lnTo>
                  <a:lnTo>
                    <a:pt x="2138111" y="832338"/>
                  </a:lnTo>
                  <a:lnTo>
                    <a:pt x="2143859" y="827588"/>
                  </a:lnTo>
                  <a:lnTo>
                    <a:pt x="2156292" y="810617"/>
                  </a:lnTo>
                  <a:lnTo>
                    <a:pt x="2166759" y="800362"/>
                  </a:lnTo>
                  <a:lnTo>
                    <a:pt x="2170056" y="795461"/>
                  </a:lnTo>
                  <a:lnTo>
                    <a:pt x="2179374" y="773559"/>
                  </a:lnTo>
                  <a:lnTo>
                    <a:pt x="2182822" y="762427"/>
                  </a:lnTo>
                  <a:lnTo>
                    <a:pt x="2182822" y="759553"/>
                  </a:lnTo>
                  <a:lnTo>
                    <a:pt x="2181431" y="757042"/>
                  </a:lnTo>
                  <a:lnTo>
                    <a:pt x="2179797" y="754925"/>
                  </a:lnTo>
                  <a:lnTo>
                    <a:pt x="2179041" y="753291"/>
                  </a:lnTo>
                  <a:lnTo>
                    <a:pt x="2180312" y="750084"/>
                  </a:lnTo>
                  <a:lnTo>
                    <a:pt x="2182702" y="750084"/>
                  </a:lnTo>
                  <a:lnTo>
                    <a:pt x="2185333" y="750992"/>
                  </a:lnTo>
                  <a:lnTo>
                    <a:pt x="2187300" y="750236"/>
                  </a:lnTo>
                  <a:lnTo>
                    <a:pt x="2188359" y="747331"/>
                  </a:lnTo>
                  <a:lnTo>
                    <a:pt x="2187996" y="745395"/>
                  </a:lnTo>
                  <a:lnTo>
                    <a:pt x="2187088" y="743248"/>
                  </a:lnTo>
                  <a:lnTo>
                    <a:pt x="2186604" y="739617"/>
                  </a:lnTo>
                  <a:lnTo>
                    <a:pt x="2186604" y="729876"/>
                  </a:lnTo>
                  <a:lnTo>
                    <a:pt x="2187421" y="727880"/>
                  </a:lnTo>
                  <a:lnTo>
                    <a:pt x="2189145" y="726428"/>
                  </a:lnTo>
                  <a:lnTo>
                    <a:pt x="2190839" y="724492"/>
                  </a:lnTo>
                  <a:lnTo>
                    <a:pt x="2191414" y="720922"/>
                  </a:lnTo>
                  <a:lnTo>
                    <a:pt x="2190476" y="717927"/>
                  </a:lnTo>
                  <a:lnTo>
                    <a:pt x="2186907" y="715204"/>
                  </a:lnTo>
                  <a:lnTo>
                    <a:pt x="2185908" y="712663"/>
                  </a:lnTo>
                  <a:lnTo>
                    <a:pt x="2186181" y="709910"/>
                  </a:lnTo>
                  <a:lnTo>
                    <a:pt x="2188147" y="705312"/>
                  </a:lnTo>
                  <a:lnTo>
                    <a:pt x="2188692" y="702136"/>
                  </a:lnTo>
                  <a:lnTo>
                    <a:pt x="2187935" y="699716"/>
                  </a:lnTo>
                  <a:lnTo>
                    <a:pt x="2186302" y="697326"/>
                  </a:lnTo>
                  <a:lnTo>
                    <a:pt x="2184456" y="695511"/>
                  </a:lnTo>
                  <a:lnTo>
                    <a:pt x="2183095" y="694724"/>
                  </a:lnTo>
                  <a:lnTo>
                    <a:pt x="2180856" y="695813"/>
                  </a:lnTo>
                  <a:lnTo>
                    <a:pt x="2178708" y="698173"/>
                  </a:lnTo>
                  <a:lnTo>
                    <a:pt x="2176561" y="699837"/>
                  </a:lnTo>
                  <a:lnTo>
                    <a:pt x="2166214" y="694603"/>
                  </a:lnTo>
                  <a:lnTo>
                    <a:pt x="2163038" y="690156"/>
                  </a:lnTo>
                  <a:lnTo>
                    <a:pt x="2164127" y="682382"/>
                  </a:lnTo>
                  <a:lnTo>
                    <a:pt x="2165488" y="676876"/>
                  </a:lnTo>
                  <a:lnTo>
                    <a:pt x="2165852" y="670523"/>
                  </a:lnTo>
                  <a:lnTo>
                    <a:pt x="2165852" y="658513"/>
                  </a:lnTo>
                  <a:lnTo>
                    <a:pt x="2166094" y="656456"/>
                  </a:lnTo>
                  <a:lnTo>
                    <a:pt x="2167001" y="652251"/>
                  </a:lnTo>
                  <a:lnTo>
                    <a:pt x="2167213" y="649408"/>
                  </a:lnTo>
                  <a:lnTo>
                    <a:pt x="2166729" y="649166"/>
                  </a:lnTo>
                  <a:lnTo>
                    <a:pt x="2163764" y="643720"/>
                  </a:lnTo>
                  <a:lnTo>
                    <a:pt x="2160890" y="640604"/>
                  </a:lnTo>
                  <a:lnTo>
                    <a:pt x="2158168" y="639062"/>
                  </a:lnTo>
                  <a:lnTo>
                    <a:pt x="2152027" y="638759"/>
                  </a:lnTo>
                  <a:lnTo>
                    <a:pt x="2152450" y="636006"/>
                  </a:lnTo>
                  <a:lnTo>
                    <a:pt x="2152601" y="633253"/>
                  </a:lnTo>
                  <a:lnTo>
                    <a:pt x="2152722" y="627082"/>
                  </a:lnTo>
                  <a:lnTo>
                    <a:pt x="2152874" y="626023"/>
                  </a:lnTo>
                  <a:lnTo>
                    <a:pt x="2153176" y="625025"/>
                  </a:lnTo>
                  <a:lnTo>
                    <a:pt x="2153418" y="623845"/>
                  </a:lnTo>
                  <a:lnTo>
                    <a:pt x="2153418" y="622242"/>
                  </a:lnTo>
                  <a:lnTo>
                    <a:pt x="2152843" y="620275"/>
                  </a:lnTo>
                  <a:lnTo>
                    <a:pt x="2151058" y="617523"/>
                  </a:lnTo>
                  <a:lnTo>
                    <a:pt x="2151058" y="615526"/>
                  </a:lnTo>
                  <a:lnTo>
                    <a:pt x="2152874" y="610867"/>
                  </a:lnTo>
                  <a:lnTo>
                    <a:pt x="2155385" y="607086"/>
                  </a:lnTo>
                  <a:lnTo>
                    <a:pt x="2157351" y="602094"/>
                  </a:lnTo>
                  <a:lnTo>
                    <a:pt x="2157502" y="593836"/>
                  </a:lnTo>
                  <a:lnTo>
                    <a:pt x="2156050" y="587816"/>
                  </a:lnTo>
                  <a:lnTo>
                    <a:pt x="2153690" y="582915"/>
                  </a:lnTo>
                  <a:lnTo>
                    <a:pt x="2148578" y="576290"/>
                  </a:lnTo>
                  <a:lnTo>
                    <a:pt x="2144312" y="573991"/>
                  </a:lnTo>
                  <a:lnTo>
                    <a:pt x="2136114" y="576411"/>
                  </a:lnTo>
                  <a:lnTo>
                    <a:pt x="2131970" y="575534"/>
                  </a:lnTo>
                  <a:lnTo>
                    <a:pt x="2125133" y="567154"/>
                  </a:lnTo>
                  <a:lnTo>
                    <a:pt x="2121896" y="564704"/>
                  </a:lnTo>
                  <a:lnTo>
                    <a:pt x="2120293" y="562586"/>
                  </a:lnTo>
                  <a:lnTo>
                    <a:pt x="2119537" y="559682"/>
                  </a:lnTo>
                  <a:lnTo>
                    <a:pt x="2118901" y="555477"/>
                  </a:lnTo>
                  <a:lnTo>
                    <a:pt x="2117298" y="554418"/>
                  </a:lnTo>
                  <a:lnTo>
                    <a:pt x="2113002" y="555507"/>
                  </a:lnTo>
                  <a:lnTo>
                    <a:pt x="2110491" y="555144"/>
                  </a:lnTo>
                  <a:lnTo>
                    <a:pt x="2109191" y="555295"/>
                  </a:lnTo>
                  <a:lnTo>
                    <a:pt x="2108192" y="556294"/>
                  </a:lnTo>
                  <a:lnTo>
                    <a:pt x="2107830" y="557988"/>
                  </a:lnTo>
                  <a:lnTo>
                    <a:pt x="2108162" y="559319"/>
                  </a:lnTo>
                  <a:lnTo>
                    <a:pt x="2108586" y="560650"/>
                  </a:lnTo>
                  <a:lnTo>
                    <a:pt x="2108586" y="562193"/>
                  </a:lnTo>
                  <a:lnTo>
                    <a:pt x="2105591" y="569090"/>
                  </a:lnTo>
                  <a:lnTo>
                    <a:pt x="2102081" y="570179"/>
                  </a:lnTo>
                  <a:lnTo>
                    <a:pt x="2098391" y="567487"/>
                  </a:lnTo>
                  <a:lnTo>
                    <a:pt x="2090193" y="558139"/>
                  </a:lnTo>
                  <a:lnTo>
                    <a:pt x="2083779" y="547006"/>
                  </a:lnTo>
                  <a:lnTo>
                    <a:pt x="2083779" y="545464"/>
                  </a:lnTo>
                  <a:lnTo>
                    <a:pt x="2089043" y="546008"/>
                  </a:lnTo>
                  <a:lnTo>
                    <a:pt x="2092038" y="545070"/>
                  </a:lnTo>
                  <a:lnTo>
                    <a:pt x="2093490" y="542015"/>
                  </a:lnTo>
                  <a:lnTo>
                    <a:pt x="2092764" y="539625"/>
                  </a:lnTo>
                  <a:lnTo>
                    <a:pt x="2087894" y="532819"/>
                  </a:lnTo>
                  <a:lnTo>
                    <a:pt x="2086865" y="531941"/>
                  </a:lnTo>
                  <a:lnTo>
                    <a:pt x="2085625" y="531639"/>
                  </a:lnTo>
                  <a:lnTo>
                    <a:pt x="2084354" y="531790"/>
                  </a:lnTo>
                  <a:lnTo>
                    <a:pt x="2081964" y="533030"/>
                  </a:lnTo>
                  <a:lnTo>
                    <a:pt x="2081540" y="532425"/>
                  </a:lnTo>
                  <a:lnTo>
                    <a:pt x="2081420" y="531215"/>
                  </a:lnTo>
                  <a:lnTo>
                    <a:pt x="2080966" y="530126"/>
                  </a:lnTo>
                  <a:lnTo>
                    <a:pt x="2066354" y="519266"/>
                  </a:lnTo>
                  <a:lnTo>
                    <a:pt x="2063390" y="515847"/>
                  </a:lnTo>
                  <a:lnTo>
                    <a:pt x="2059094" y="508285"/>
                  </a:lnTo>
                  <a:lnTo>
                    <a:pt x="2057249" y="506409"/>
                  </a:lnTo>
                  <a:lnTo>
                    <a:pt x="2055313" y="505259"/>
                  </a:lnTo>
                  <a:lnTo>
                    <a:pt x="2053407" y="504866"/>
                  </a:lnTo>
                  <a:lnTo>
                    <a:pt x="2051834" y="503989"/>
                  </a:lnTo>
                  <a:lnTo>
                    <a:pt x="2050382" y="501750"/>
                  </a:lnTo>
                  <a:lnTo>
                    <a:pt x="2045814" y="492191"/>
                  </a:lnTo>
                  <a:lnTo>
                    <a:pt x="2044332" y="487804"/>
                  </a:lnTo>
                  <a:lnTo>
                    <a:pt x="2043726" y="483872"/>
                  </a:lnTo>
                  <a:lnTo>
                    <a:pt x="2043454" y="480665"/>
                  </a:lnTo>
                  <a:lnTo>
                    <a:pt x="2042638" y="478457"/>
                  </a:lnTo>
                  <a:lnTo>
                    <a:pt x="2038372" y="476823"/>
                  </a:lnTo>
                  <a:lnTo>
                    <a:pt x="2030628" y="468020"/>
                  </a:lnTo>
                  <a:lnTo>
                    <a:pt x="2028238" y="466719"/>
                  </a:lnTo>
                  <a:lnTo>
                    <a:pt x="2023428" y="465872"/>
                  </a:lnTo>
                  <a:lnTo>
                    <a:pt x="2022218" y="466961"/>
                  </a:lnTo>
                  <a:lnTo>
                    <a:pt x="2023367" y="469472"/>
                  </a:lnTo>
                  <a:lnTo>
                    <a:pt x="2029538" y="477277"/>
                  </a:lnTo>
                  <a:lnTo>
                    <a:pt x="2030719" y="479515"/>
                  </a:lnTo>
                  <a:lnTo>
                    <a:pt x="2035468" y="491283"/>
                  </a:lnTo>
                  <a:lnTo>
                    <a:pt x="2037222" y="494581"/>
                  </a:lnTo>
                  <a:lnTo>
                    <a:pt x="2037495" y="494671"/>
                  </a:lnTo>
                  <a:lnTo>
                    <a:pt x="2037253" y="497334"/>
                  </a:lnTo>
                  <a:lnTo>
                    <a:pt x="2036345" y="498332"/>
                  </a:lnTo>
                  <a:lnTo>
                    <a:pt x="2035166" y="498181"/>
                  </a:lnTo>
                  <a:lnTo>
                    <a:pt x="2034137" y="497334"/>
                  </a:lnTo>
                  <a:lnTo>
                    <a:pt x="2031354" y="495821"/>
                  </a:lnTo>
                  <a:lnTo>
                    <a:pt x="2025152" y="496971"/>
                  </a:lnTo>
                  <a:lnTo>
                    <a:pt x="2019979" y="493673"/>
                  </a:lnTo>
                  <a:lnTo>
                    <a:pt x="2012023" y="493189"/>
                  </a:lnTo>
                  <a:lnTo>
                    <a:pt x="2003220" y="490073"/>
                  </a:lnTo>
                  <a:lnTo>
                    <a:pt x="1986915" y="471771"/>
                  </a:lnTo>
                  <a:lnTo>
                    <a:pt x="1976296" y="466659"/>
                  </a:lnTo>
                  <a:lnTo>
                    <a:pt x="1954334" y="446481"/>
                  </a:lnTo>
                  <a:lnTo>
                    <a:pt x="1946165" y="442730"/>
                  </a:lnTo>
                  <a:lnTo>
                    <a:pt x="1943806" y="440068"/>
                  </a:lnTo>
                  <a:lnTo>
                    <a:pt x="1945954" y="437527"/>
                  </a:lnTo>
                  <a:lnTo>
                    <a:pt x="1945379" y="434380"/>
                  </a:lnTo>
                  <a:lnTo>
                    <a:pt x="1943322" y="431506"/>
                  </a:lnTo>
                  <a:lnTo>
                    <a:pt x="1940962" y="429812"/>
                  </a:lnTo>
                  <a:lnTo>
                    <a:pt x="1930012" y="427120"/>
                  </a:lnTo>
                  <a:lnTo>
                    <a:pt x="1926562" y="424851"/>
                  </a:lnTo>
                  <a:lnTo>
                    <a:pt x="1916852" y="414384"/>
                  </a:lnTo>
                  <a:lnTo>
                    <a:pt x="1914462" y="412993"/>
                  </a:lnTo>
                  <a:lnTo>
                    <a:pt x="1911709" y="412418"/>
                  </a:lnTo>
                  <a:lnTo>
                    <a:pt x="1910318" y="413749"/>
                  </a:lnTo>
                  <a:lnTo>
                    <a:pt x="1912072" y="417984"/>
                  </a:lnTo>
                  <a:lnTo>
                    <a:pt x="1909410" y="419285"/>
                  </a:lnTo>
                  <a:lnTo>
                    <a:pt x="1904177" y="414777"/>
                  </a:lnTo>
                  <a:lnTo>
                    <a:pt x="1901696" y="415261"/>
                  </a:lnTo>
                  <a:lnTo>
                    <a:pt x="1901484" y="417863"/>
                  </a:lnTo>
                  <a:lnTo>
                    <a:pt x="1903753" y="420404"/>
                  </a:lnTo>
                  <a:lnTo>
                    <a:pt x="1911135" y="426273"/>
                  </a:lnTo>
                  <a:lnTo>
                    <a:pt x="1921027" y="431325"/>
                  </a:lnTo>
                  <a:lnTo>
                    <a:pt x="1927198" y="436619"/>
                  </a:lnTo>
                  <a:lnTo>
                    <a:pt x="1922206" y="436377"/>
                  </a:lnTo>
                  <a:lnTo>
                    <a:pt x="1899971" y="423732"/>
                  </a:lnTo>
                  <a:lnTo>
                    <a:pt x="1897552" y="423127"/>
                  </a:lnTo>
                  <a:lnTo>
                    <a:pt x="1896765" y="422522"/>
                  </a:lnTo>
                  <a:lnTo>
                    <a:pt x="1895615" y="420102"/>
                  </a:lnTo>
                  <a:lnTo>
                    <a:pt x="1894798" y="419527"/>
                  </a:lnTo>
                  <a:lnTo>
                    <a:pt x="1893891" y="420283"/>
                  </a:lnTo>
                  <a:lnTo>
                    <a:pt x="1893558" y="421977"/>
                  </a:lnTo>
                  <a:lnTo>
                    <a:pt x="1893346" y="423762"/>
                  </a:lnTo>
                  <a:lnTo>
                    <a:pt x="1892772" y="424821"/>
                  </a:lnTo>
                  <a:lnTo>
                    <a:pt x="1889263" y="423460"/>
                  </a:lnTo>
                  <a:lnTo>
                    <a:pt x="1889504" y="409332"/>
                  </a:lnTo>
                  <a:lnTo>
                    <a:pt x="1885148" y="404431"/>
                  </a:lnTo>
                  <a:lnTo>
                    <a:pt x="1883333" y="398563"/>
                  </a:lnTo>
                  <a:lnTo>
                    <a:pt x="1882063" y="397201"/>
                  </a:lnTo>
                  <a:lnTo>
                    <a:pt x="1872019" y="393753"/>
                  </a:lnTo>
                  <a:lnTo>
                    <a:pt x="1871323" y="392906"/>
                  </a:lnTo>
                  <a:lnTo>
                    <a:pt x="1871323" y="389275"/>
                  </a:lnTo>
                  <a:lnTo>
                    <a:pt x="1870961" y="388428"/>
                  </a:lnTo>
                  <a:lnTo>
                    <a:pt x="1870295" y="388005"/>
                  </a:lnTo>
                  <a:lnTo>
                    <a:pt x="1867905" y="385131"/>
                  </a:lnTo>
                  <a:lnTo>
                    <a:pt x="1865182" y="383981"/>
                  </a:lnTo>
                  <a:lnTo>
                    <a:pt x="1859344" y="383709"/>
                  </a:lnTo>
                  <a:lnTo>
                    <a:pt x="1856863" y="381501"/>
                  </a:lnTo>
                  <a:lnTo>
                    <a:pt x="1856167" y="379746"/>
                  </a:lnTo>
                  <a:lnTo>
                    <a:pt x="1854927" y="374936"/>
                  </a:lnTo>
                  <a:lnTo>
                    <a:pt x="1854141" y="372849"/>
                  </a:lnTo>
                  <a:lnTo>
                    <a:pt x="1852537" y="370247"/>
                  </a:lnTo>
                  <a:lnTo>
                    <a:pt x="1849180" y="366194"/>
                  </a:lnTo>
                  <a:lnTo>
                    <a:pt x="1844762" y="358419"/>
                  </a:lnTo>
                  <a:lnTo>
                    <a:pt x="1831210" y="343203"/>
                  </a:lnTo>
                  <a:lnTo>
                    <a:pt x="1822982" y="336850"/>
                  </a:lnTo>
                  <a:lnTo>
                    <a:pt x="1819926" y="332070"/>
                  </a:lnTo>
                  <a:lnTo>
                    <a:pt x="1817990" y="329801"/>
                  </a:lnTo>
                  <a:lnTo>
                    <a:pt x="1808612" y="327079"/>
                  </a:lnTo>
                  <a:lnTo>
                    <a:pt x="1807704" y="324689"/>
                  </a:lnTo>
                  <a:lnTo>
                    <a:pt x="1806888" y="324144"/>
                  </a:lnTo>
                  <a:lnTo>
                    <a:pt x="1802320" y="324144"/>
                  </a:lnTo>
                  <a:lnTo>
                    <a:pt x="1799991" y="322904"/>
                  </a:lnTo>
                  <a:lnTo>
                    <a:pt x="1796209" y="322420"/>
                  </a:lnTo>
                  <a:lnTo>
                    <a:pt x="1795211" y="321845"/>
                  </a:lnTo>
                  <a:lnTo>
                    <a:pt x="1793365" y="319455"/>
                  </a:lnTo>
                  <a:lnTo>
                    <a:pt x="1790855" y="317761"/>
                  </a:lnTo>
                  <a:lnTo>
                    <a:pt x="1787013" y="312104"/>
                  </a:lnTo>
                  <a:lnTo>
                    <a:pt x="1785288" y="310168"/>
                  </a:lnTo>
                  <a:lnTo>
                    <a:pt x="1780630" y="307748"/>
                  </a:lnTo>
                  <a:lnTo>
                    <a:pt x="1775820" y="306689"/>
                  </a:lnTo>
                  <a:lnTo>
                    <a:pt x="1773914" y="305479"/>
                  </a:lnTo>
                  <a:lnTo>
                    <a:pt x="1772915" y="302575"/>
                  </a:lnTo>
                  <a:lnTo>
                    <a:pt x="1772039" y="299096"/>
                  </a:lnTo>
                  <a:lnTo>
                    <a:pt x="1770587" y="296071"/>
                  </a:lnTo>
                  <a:lnTo>
                    <a:pt x="1768741" y="294770"/>
                  </a:lnTo>
                  <a:lnTo>
                    <a:pt x="1759121" y="292108"/>
                  </a:lnTo>
                  <a:lnTo>
                    <a:pt x="1753888" y="288629"/>
                  </a:lnTo>
                  <a:lnTo>
                    <a:pt x="1752405" y="286572"/>
                  </a:lnTo>
                  <a:lnTo>
                    <a:pt x="1750711" y="283456"/>
                  </a:lnTo>
                  <a:lnTo>
                    <a:pt x="1733588" y="270387"/>
                  </a:lnTo>
                  <a:lnTo>
                    <a:pt x="1728325" y="269208"/>
                  </a:lnTo>
                  <a:lnTo>
                    <a:pt x="1725784" y="267967"/>
                  </a:lnTo>
                  <a:lnTo>
                    <a:pt x="1724846" y="267060"/>
                  </a:lnTo>
                  <a:lnTo>
                    <a:pt x="1724302" y="266182"/>
                  </a:lnTo>
                  <a:lnTo>
                    <a:pt x="1723424" y="263581"/>
                  </a:lnTo>
                  <a:lnTo>
                    <a:pt x="1722184" y="261524"/>
                  </a:lnTo>
                  <a:lnTo>
                    <a:pt x="1720913" y="261161"/>
                  </a:lnTo>
                  <a:lnTo>
                    <a:pt x="1719613" y="261312"/>
                  </a:lnTo>
                  <a:lnTo>
                    <a:pt x="1718221" y="260949"/>
                  </a:lnTo>
                  <a:lnTo>
                    <a:pt x="1701008" y="248606"/>
                  </a:lnTo>
                  <a:lnTo>
                    <a:pt x="1680316" y="241376"/>
                  </a:lnTo>
                  <a:lnTo>
                    <a:pt x="1675506" y="236112"/>
                  </a:lnTo>
                  <a:lnTo>
                    <a:pt x="1676414" y="230849"/>
                  </a:lnTo>
                  <a:lnTo>
                    <a:pt x="1674024" y="227582"/>
                  </a:lnTo>
                  <a:lnTo>
                    <a:pt x="1658596" y="221925"/>
                  </a:lnTo>
                  <a:lnTo>
                    <a:pt x="1655721" y="223225"/>
                  </a:lnTo>
                  <a:lnTo>
                    <a:pt x="1654390" y="223135"/>
                  </a:lnTo>
                  <a:lnTo>
                    <a:pt x="1653090" y="221017"/>
                  </a:lnTo>
                  <a:lnTo>
                    <a:pt x="1651033" y="216752"/>
                  </a:lnTo>
                  <a:lnTo>
                    <a:pt x="1648431" y="213061"/>
                  </a:lnTo>
                  <a:lnTo>
                    <a:pt x="1645588" y="210459"/>
                  </a:lnTo>
                  <a:lnTo>
                    <a:pt x="1641231" y="209007"/>
                  </a:lnTo>
                  <a:lnTo>
                    <a:pt x="1636209" y="205740"/>
                  </a:lnTo>
                  <a:lnTo>
                    <a:pt x="1629736" y="205347"/>
                  </a:lnTo>
                  <a:lnTo>
                    <a:pt x="1581485" y="184534"/>
                  </a:lnTo>
                  <a:lnTo>
                    <a:pt x="1575706" y="185744"/>
                  </a:lnTo>
                  <a:lnTo>
                    <a:pt x="1566601" y="183505"/>
                  </a:lnTo>
                  <a:lnTo>
                    <a:pt x="1563092" y="186107"/>
                  </a:lnTo>
                  <a:lnTo>
                    <a:pt x="1565935" y="189344"/>
                  </a:lnTo>
                  <a:lnTo>
                    <a:pt x="1573105" y="194910"/>
                  </a:lnTo>
                  <a:lnTo>
                    <a:pt x="1574829" y="200355"/>
                  </a:lnTo>
                  <a:lnTo>
                    <a:pt x="1572742" y="201233"/>
                  </a:lnTo>
                  <a:lnTo>
                    <a:pt x="1571138" y="203169"/>
                  </a:lnTo>
                  <a:lnTo>
                    <a:pt x="1569656" y="205468"/>
                  </a:lnTo>
                  <a:lnTo>
                    <a:pt x="1567962" y="207464"/>
                  </a:lnTo>
                  <a:lnTo>
                    <a:pt x="1566570" y="208644"/>
                  </a:lnTo>
                  <a:lnTo>
                    <a:pt x="1565300" y="209279"/>
                  </a:lnTo>
                  <a:lnTo>
                    <a:pt x="1564030" y="208826"/>
                  </a:lnTo>
                  <a:lnTo>
                    <a:pt x="1562759" y="206587"/>
                  </a:lnTo>
                  <a:lnTo>
                    <a:pt x="1562638" y="205256"/>
                  </a:lnTo>
                  <a:lnTo>
                    <a:pt x="1562880" y="203804"/>
                  </a:lnTo>
                  <a:lnTo>
                    <a:pt x="1563001" y="202170"/>
                  </a:lnTo>
                  <a:lnTo>
                    <a:pt x="1562426" y="200325"/>
                  </a:lnTo>
                  <a:lnTo>
                    <a:pt x="1560157" y="198328"/>
                  </a:lnTo>
                  <a:lnTo>
                    <a:pt x="1557011" y="197572"/>
                  </a:lnTo>
                  <a:lnTo>
                    <a:pt x="1551324" y="198601"/>
                  </a:lnTo>
                  <a:lnTo>
                    <a:pt x="1549418" y="200658"/>
                  </a:lnTo>
                  <a:lnTo>
                    <a:pt x="1547422" y="203804"/>
                  </a:lnTo>
                  <a:lnTo>
                    <a:pt x="1545485" y="206103"/>
                  </a:lnTo>
                  <a:lnTo>
                    <a:pt x="1543761" y="205679"/>
                  </a:lnTo>
                  <a:lnTo>
                    <a:pt x="1544306" y="203259"/>
                  </a:lnTo>
                  <a:lnTo>
                    <a:pt x="1545788" y="198480"/>
                  </a:lnTo>
                  <a:lnTo>
                    <a:pt x="1546484" y="196786"/>
                  </a:lnTo>
                  <a:lnTo>
                    <a:pt x="1514206" y="191431"/>
                  </a:lnTo>
                  <a:lnTo>
                    <a:pt x="1512874" y="190766"/>
                  </a:lnTo>
                  <a:lnTo>
                    <a:pt x="1508579" y="186107"/>
                  </a:lnTo>
                  <a:lnTo>
                    <a:pt x="1506431" y="185532"/>
                  </a:lnTo>
                  <a:lnTo>
                    <a:pt x="1502165" y="186319"/>
                  </a:lnTo>
                  <a:lnTo>
                    <a:pt x="1492576" y="182507"/>
                  </a:lnTo>
                  <a:lnTo>
                    <a:pt x="1489248" y="180147"/>
                  </a:lnTo>
                  <a:lnTo>
                    <a:pt x="1489914" y="175368"/>
                  </a:lnTo>
                  <a:lnTo>
                    <a:pt x="1461356" y="171707"/>
                  </a:lnTo>
                  <a:lnTo>
                    <a:pt x="1432738" y="168047"/>
                  </a:lnTo>
                  <a:lnTo>
                    <a:pt x="1433555" y="171858"/>
                  </a:lnTo>
                  <a:lnTo>
                    <a:pt x="1434130" y="173704"/>
                  </a:lnTo>
                  <a:lnTo>
                    <a:pt x="1434826" y="175368"/>
                  </a:lnTo>
                  <a:lnTo>
                    <a:pt x="1433192" y="176366"/>
                  </a:lnTo>
                  <a:lnTo>
                    <a:pt x="1431104" y="176215"/>
                  </a:lnTo>
                  <a:lnTo>
                    <a:pt x="1428896" y="175277"/>
                  </a:lnTo>
                  <a:lnTo>
                    <a:pt x="1427051" y="173946"/>
                  </a:lnTo>
                  <a:lnTo>
                    <a:pt x="1425387" y="173734"/>
                  </a:lnTo>
                  <a:lnTo>
                    <a:pt x="1421485" y="176487"/>
                  </a:lnTo>
                  <a:lnTo>
                    <a:pt x="1419670" y="177152"/>
                  </a:lnTo>
                  <a:lnTo>
                    <a:pt x="1420728" y="175761"/>
                  </a:lnTo>
                  <a:lnTo>
                    <a:pt x="1421333" y="174158"/>
                  </a:lnTo>
                  <a:lnTo>
                    <a:pt x="1421454" y="172252"/>
                  </a:lnTo>
                  <a:lnTo>
                    <a:pt x="1421001" y="169983"/>
                  </a:lnTo>
                  <a:lnTo>
                    <a:pt x="1419851" y="168591"/>
                  </a:lnTo>
                  <a:lnTo>
                    <a:pt x="1409384" y="170981"/>
                  </a:lnTo>
                  <a:lnTo>
                    <a:pt x="1406571" y="173099"/>
                  </a:lnTo>
                  <a:lnTo>
                    <a:pt x="1404484" y="177152"/>
                  </a:lnTo>
                  <a:lnTo>
                    <a:pt x="1403758" y="180057"/>
                  </a:lnTo>
                  <a:lnTo>
                    <a:pt x="1403606" y="181993"/>
                  </a:lnTo>
                  <a:lnTo>
                    <a:pt x="1403818" y="186077"/>
                  </a:lnTo>
                  <a:lnTo>
                    <a:pt x="1404060" y="185351"/>
                  </a:lnTo>
                  <a:lnTo>
                    <a:pt x="1404514" y="186500"/>
                  </a:lnTo>
                  <a:lnTo>
                    <a:pt x="1404967" y="188345"/>
                  </a:lnTo>
                  <a:lnTo>
                    <a:pt x="1405210" y="189646"/>
                  </a:lnTo>
                  <a:lnTo>
                    <a:pt x="1404998" y="190433"/>
                  </a:lnTo>
                  <a:lnTo>
                    <a:pt x="1403999" y="192369"/>
                  </a:lnTo>
                  <a:lnTo>
                    <a:pt x="1403788" y="193216"/>
                  </a:lnTo>
                  <a:lnTo>
                    <a:pt x="1404846" y="200991"/>
                  </a:lnTo>
                  <a:lnTo>
                    <a:pt x="1404937" y="204560"/>
                  </a:lnTo>
                  <a:lnTo>
                    <a:pt x="1403788" y="207464"/>
                  </a:lnTo>
                  <a:lnTo>
                    <a:pt x="1403576" y="209007"/>
                  </a:lnTo>
                  <a:lnTo>
                    <a:pt x="1394561" y="216994"/>
                  </a:lnTo>
                  <a:lnTo>
                    <a:pt x="1392806" y="219686"/>
                  </a:lnTo>
                  <a:lnTo>
                    <a:pt x="1392050" y="222651"/>
                  </a:lnTo>
                  <a:lnTo>
                    <a:pt x="1389902" y="229124"/>
                  </a:lnTo>
                  <a:lnTo>
                    <a:pt x="1384881" y="230939"/>
                  </a:lnTo>
                  <a:lnTo>
                    <a:pt x="1379133" y="231272"/>
                  </a:lnTo>
                  <a:lnTo>
                    <a:pt x="1369664" y="236536"/>
                  </a:lnTo>
                  <a:lnTo>
                    <a:pt x="1358320" y="236717"/>
                  </a:lnTo>
                  <a:lnTo>
                    <a:pt x="1353449" y="241255"/>
                  </a:lnTo>
                  <a:lnTo>
                    <a:pt x="1351816" y="247305"/>
                  </a:lnTo>
                  <a:lnTo>
                    <a:pt x="1350999" y="262008"/>
                  </a:lnTo>
                  <a:lnTo>
                    <a:pt x="1349366" y="267876"/>
                  </a:lnTo>
                  <a:lnTo>
                    <a:pt x="1348246" y="262461"/>
                  </a:lnTo>
                  <a:lnTo>
                    <a:pt x="1348125" y="254233"/>
                  </a:lnTo>
                  <a:lnTo>
                    <a:pt x="1348669" y="246156"/>
                  </a:lnTo>
                  <a:lnTo>
                    <a:pt x="1349366" y="241225"/>
                  </a:lnTo>
                  <a:lnTo>
                    <a:pt x="1353117" y="234600"/>
                  </a:lnTo>
                  <a:lnTo>
                    <a:pt x="1357926" y="232361"/>
                  </a:lnTo>
                  <a:lnTo>
                    <a:pt x="1363069" y="231665"/>
                  </a:lnTo>
                  <a:lnTo>
                    <a:pt x="1370390" y="228187"/>
                  </a:lnTo>
                  <a:lnTo>
                    <a:pt x="1376108" y="227007"/>
                  </a:lnTo>
                  <a:lnTo>
                    <a:pt x="1378951" y="225313"/>
                  </a:lnTo>
                  <a:lnTo>
                    <a:pt x="1386574" y="217175"/>
                  </a:lnTo>
                  <a:lnTo>
                    <a:pt x="1398524" y="208432"/>
                  </a:lnTo>
                  <a:lnTo>
                    <a:pt x="1401791" y="202080"/>
                  </a:lnTo>
                  <a:lnTo>
                    <a:pt x="1398494" y="197693"/>
                  </a:lnTo>
                  <a:lnTo>
                    <a:pt x="1394924" y="198631"/>
                  </a:lnTo>
                  <a:lnTo>
                    <a:pt x="1391294" y="201323"/>
                  </a:lnTo>
                  <a:lnTo>
                    <a:pt x="1387906" y="202080"/>
                  </a:lnTo>
                  <a:lnTo>
                    <a:pt x="1387906" y="196574"/>
                  </a:lnTo>
                  <a:lnTo>
                    <a:pt x="1384457" y="195243"/>
                  </a:lnTo>
                  <a:lnTo>
                    <a:pt x="1376894" y="196725"/>
                  </a:lnTo>
                  <a:lnTo>
                    <a:pt x="1378800" y="193458"/>
                  </a:lnTo>
                  <a:lnTo>
                    <a:pt x="1381159" y="192127"/>
                  </a:lnTo>
                  <a:lnTo>
                    <a:pt x="1385939" y="191371"/>
                  </a:lnTo>
                  <a:lnTo>
                    <a:pt x="1394954" y="186016"/>
                  </a:lnTo>
                  <a:lnTo>
                    <a:pt x="1392111" y="181206"/>
                  </a:lnTo>
                  <a:lnTo>
                    <a:pt x="1387089" y="180450"/>
                  </a:lnTo>
                  <a:lnTo>
                    <a:pt x="1377650" y="182416"/>
                  </a:lnTo>
                  <a:lnTo>
                    <a:pt x="1376985" y="183777"/>
                  </a:lnTo>
                  <a:lnTo>
                    <a:pt x="1375079" y="185109"/>
                  </a:lnTo>
                  <a:lnTo>
                    <a:pt x="1372689" y="185986"/>
                  </a:lnTo>
                  <a:lnTo>
                    <a:pt x="1370723" y="185986"/>
                  </a:lnTo>
                  <a:lnTo>
                    <a:pt x="1373325" y="180541"/>
                  </a:lnTo>
                  <a:lnTo>
                    <a:pt x="1381735" y="178998"/>
                  </a:lnTo>
                  <a:lnTo>
                    <a:pt x="1384911" y="176245"/>
                  </a:lnTo>
                  <a:lnTo>
                    <a:pt x="1387785" y="170981"/>
                  </a:lnTo>
                  <a:lnTo>
                    <a:pt x="1393956" y="163025"/>
                  </a:lnTo>
                  <a:lnTo>
                    <a:pt x="1397012" y="157277"/>
                  </a:lnTo>
                  <a:lnTo>
                    <a:pt x="1390749" y="159062"/>
                  </a:lnTo>
                  <a:lnTo>
                    <a:pt x="1388693" y="159062"/>
                  </a:lnTo>
                  <a:lnTo>
                    <a:pt x="1391415" y="155250"/>
                  </a:lnTo>
                  <a:lnTo>
                    <a:pt x="1394803" y="153617"/>
                  </a:lnTo>
                  <a:lnTo>
                    <a:pt x="1397919" y="151045"/>
                  </a:lnTo>
                  <a:lnTo>
                    <a:pt x="1399764" y="144541"/>
                  </a:lnTo>
                  <a:lnTo>
                    <a:pt x="1397162" y="143543"/>
                  </a:lnTo>
                  <a:lnTo>
                    <a:pt x="1392141" y="139580"/>
                  </a:lnTo>
                  <a:lnTo>
                    <a:pt x="1389388" y="139308"/>
                  </a:lnTo>
                  <a:lnTo>
                    <a:pt x="1385153" y="142454"/>
                  </a:lnTo>
                  <a:lnTo>
                    <a:pt x="1383519" y="142908"/>
                  </a:lnTo>
                  <a:lnTo>
                    <a:pt x="1382218" y="141970"/>
                  </a:lnTo>
                  <a:lnTo>
                    <a:pt x="1380192" y="138340"/>
                  </a:lnTo>
                  <a:lnTo>
                    <a:pt x="1379042" y="138521"/>
                  </a:lnTo>
                  <a:lnTo>
                    <a:pt x="1376652" y="140578"/>
                  </a:lnTo>
                  <a:lnTo>
                    <a:pt x="1345977" y="153738"/>
                  </a:lnTo>
                  <a:lnTo>
                    <a:pt x="1344011" y="155371"/>
                  </a:lnTo>
                  <a:lnTo>
                    <a:pt x="1342347" y="157943"/>
                  </a:lnTo>
                  <a:lnTo>
                    <a:pt x="1339383" y="165475"/>
                  </a:lnTo>
                  <a:lnTo>
                    <a:pt x="1337688" y="171647"/>
                  </a:lnTo>
                  <a:lnTo>
                    <a:pt x="1336538" y="174339"/>
                  </a:lnTo>
                  <a:lnTo>
                    <a:pt x="1335934" y="175126"/>
                  </a:lnTo>
                  <a:lnTo>
                    <a:pt x="1335298" y="175126"/>
                  </a:lnTo>
                  <a:lnTo>
                    <a:pt x="1334240" y="175398"/>
                  </a:lnTo>
                  <a:lnTo>
                    <a:pt x="1333332" y="175156"/>
                  </a:lnTo>
                  <a:lnTo>
                    <a:pt x="1332455" y="175337"/>
                  </a:lnTo>
                  <a:lnTo>
                    <a:pt x="1330368" y="177334"/>
                  </a:lnTo>
                  <a:lnTo>
                    <a:pt x="1329278" y="177909"/>
                  </a:lnTo>
                  <a:lnTo>
                    <a:pt x="1328250" y="177909"/>
                  </a:lnTo>
                  <a:lnTo>
                    <a:pt x="1327312" y="177152"/>
                  </a:lnTo>
                  <a:lnTo>
                    <a:pt x="1328916" y="173220"/>
                  </a:lnTo>
                  <a:lnTo>
                    <a:pt x="1330730" y="169983"/>
                  </a:lnTo>
                  <a:lnTo>
                    <a:pt x="1333151" y="161119"/>
                  </a:lnTo>
                  <a:lnTo>
                    <a:pt x="1355567" y="131957"/>
                  </a:lnTo>
                  <a:lnTo>
                    <a:pt x="1345826" y="132320"/>
                  </a:lnTo>
                  <a:lnTo>
                    <a:pt x="1336267" y="135678"/>
                  </a:lnTo>
                  <a:lnTo>
                    <a:pt x="1323833" y="148293"/>
                  </a:lnTo>
                  <a:lnTo>
                    <a:pt x="1326132" y="140760"/>
                  </a:lnTo>
                  <a:lnTo>
                    <a:pt x="1329581" y="136373"/>
                  </a:lnTo>
                  <a:lnTo>
                    <a:pt x="1336871" y="130323"/>
                  </a:lnTo>
                  <a:lnTo>
                    <a:pt x="1334724" y="127964"/>
                  </a:lnTo>
                  <a:lnTo>
                    <a:pt x="1331729" y="127510"/>
                  </a:lnTo>
                  <a:lnTo>
                    <a:pt x="1325921" y="128357"/>
                  </a:lnTo>
                  <a:lnTo>
                    <a:pt x="1315544" y="124908"/>
                  </a:lnTo>
                  <a:lnTo>
                    <a:pt x="1313275" y="125090"/>
                  </a:lnTo>
                  <a:lnTo>
                    <a:pt x="1311188" y="126148"/>
                  </a:lnTo>
                  <a:lnTo>
                    <a:pt x="1307164" y="129779"/>
                  </a:lnTo>
                  <a:lnTo>
                    <a:pt x="1305682" y="129325"/>
                  </a:lnTo>
                  <a:lnTo>
                    <a:pt x="1302355" y="123940"/>
                  </a:lnTo>
                  <a:lnTo>
                    <a:pt x="1300418" y="123063"/>
                  </a:lnTo>
                  <a:lnTo>
                    <a:pt x="1300207" y="123698"/>
                  </a:lnTo>
                  <a:lnTo>
                    <a:pt x="1299783" y="126542"/>
                  </a:lnTo>
                  <a:lnTo>
                    <a:pt x="1299783" y="127480"/>
                  </a:lnTo>
                  <a:lnTo>
                    <a:pt x="1299511" y="128417"/>
                  </a:lnTo>
                  <a:lnTo>
                    <a:pt x="1298936" y="128478"/>
                  </a:lnTo>
                  <a:lnTo>
                    <a:pt x="1296395" y="128206"/>
                  </a:lnTo>
                  <a:lnTo>
                    <a:pt x="1293642" y="126723"/>
                  </a:lnTo>
                  <a:lnTo>
                    <a:pt x="1292160" y="127449"/>
                  </a:lnTo>
                  <a:lnTo>
                    <a:pt x="1291494" y="128478"/>
                  </a:lnTo>
                  <a:lnTo>
                    <a:pt x="1289740" y="132864"/>
                  </a:lnTo>
                  <a:lnTo>
                    <a:pt x="1288711" y="134921"/>
                  </a:lnTo>
                  <a:lnTo>
                    <a:pt x="1287683" y="135405"/>
                  </a:lnTo>
                  <a:lnTo>
                    <a:pt x="1286594" y="135345"/>
                  </a:lnTo>
                  <a:lnTo>
                    <a:pt x="1285262" y="135647"/>
                  </a:lnTo>
                  <a:lnTo>
                    <a:pt x="1275552" y="143876"/>
                  </a:lnTo>
                  <a:lnTo>
                    <a:pt x="1270379" y="146084"/>
                  </a:lnTo>
                  <a:lnTo>
                    <a:pt x="1265902" y="142878"/>
                  </a:lnTo>
                  <a:lnTo>
                    <a:pt x="1270439" y="142242"/>
                  </a:lnTo>
                  <a:lnTo>
                    <a:pt x="1278910" y="135587"/>
                  </a:lnTo>
                  <a:lnTo>
                    <a:pt x="1283175" y="133923"/>
                  </a:lnTo>
                  <a:lnTo>
                    <a:pt x="1284809" y="132743"/>
                  </a:lnTo>
                  <a:lnTo>
                    <a:pt x="1287350" y="127026"/>
                  </a:lnTo>
                  <a:lnTo>
                    <a:pt x="1288681" y="124908"/>
                  </a:lnTo>
                  <a:lnTo>
                    <a:pt x="1290859" y="124454"/>
                  </a:lnTo>
                  <a:lnTo>
                    <a:pt x="1293158" y="125090"/>
                  </a:lnTo>
                  <a:lnTo>
                    <a:pt x="1295306" y="124727"/>
                  </a:lnTo>
                  <a:lnTo>
                    <a:pt x="1296909" y="121127"/>
                  </a:lnTo>
                  <a:lnTo>
                    <a:pt x="1288742" y="116075"/>
                  </a:lnTo>
                  <a:lnTo>
                    <a:pt x="1285867" y="115893"/>
                  </a:lnTo>
                  <a:lnTo>
                    <a:pt x="1286684" y="113745"/>
                  </a:lnTo>
                  <a:lnTo>
                    <a:pt x="1289437" y="109752"/>
                  </a:lnTo>
                  <a:lnTo>
                    <a:pt x="1290042" y="108663"/>
                  </a:lnTo>
                  <a:lnTo>
                    <a:pt x="1289498" y="106001"/>
                  </a:lnTo>
                  <a:lnTo>
                    <a:pt x="1288136" y="104307"/>
                  </a:lnTo>
                  <a:lnTo>
                    <a:pt x="1286533" y="103369"/>
                  </a:lnTo>
                  <a:lnTo>
                    <a:pt x="1285202" y="103067"/>
                  </a:lnTo>
                  <a:lnTo>
                    <a:pt x="1275370" y="105971"/>
                  </a:lnTo>
                  <a:lnTo>
                    <a:pt x="1272073" y="105033"/>
                  </a:lnTo>
                  <a:lnTo>
                    <a:pt x="1265781" y="101252"/>
                  </a:lnTo>
                  <a:lnTo>
                    <a:pt x="1259761" y="99648"/>
                  </a:lnTo>
                  <a:lnTo>
                    <a:pt x="1253892" y="101615"/>
                  </a:lnTo>
                  <a:lnTo>
                    <a:pt x="1247963" y="108663"/>
                  </a:lnTo>
                  <a:lnTo>
                    <a:pt x="1247963" y="104428"/>
                  </a:lnTo>
                  <a:lnTo>
                    <a:pt x="1249566" y="101161"/>
                  </a:lnTo>
                  <a:lnTo>
                    <a:pt x="1251593" y="98015"/>
                  </a:lnTo>
                  <a:lnTo>
                    <a:pt x="1252803" y="93991"/>
                  </a:lnTo>
                  <a:lnTo>
                    <a:pt x="1252016" y="89453"/>
                  </a:lnTo>
                  <a:lnTo>
                    <a:pt x="1249263" y="87941"/>
                  </a:lnTo>
                  <a:lnTo>
                    <a:pt x="1245936" y="87154"/>
                  </a:lnTo>
                  <a:lnTo>
                    <a:pt x="1243183" y="84765"/>
                  </a:lnTo>
                  <a:lnTo>
                    <a:pt x="1252410" y="83373"/>
                  </a:lnTo>
                  <a:lnTo>
                    <a:pt x="1256614" y="79501"/>
                  </a:lnTo>
                  <a:lnTo>
                    <a:pt x="1258369" y="70304"/>
                  </a:lnTo>
                  <a:lnTo>
                    <a:pt x="1258097" y="66765"/>
                  </a:lnTo>
                  <a:lnTo>
                    <a:pt x="1257522" y="63256"/>
                  </a:lnTo>
                  <a:lnTo>
                    <a:pt x="1257219" y="60261"/>
                  </a:lnTo>
                  <a:lnTo>
                    <a:pt x="1257643" y="58446"/>
                  </a:lnTo>
                  <a:lnTo>
                    <a:pt x="1259488" y="57599"/>
                  </a:lnTo>
                  <a:lnTo>
                    <a:pt x="1261273" y="58809"/>
                  </a:lnTo>
                  <a:lnTo>
                    <a:pt x="1262755" y="61501"/>
                  </a:lnTo>
                  <a:lnTo>
                    <a:pt x="1263905" y="64920"/>
                  </a:lnTo>
                  <a:lnTo>
                    <a:pt x="1264571" y="68640"/>
                  </a:lnTo>
                  <a:lnTo>
                    <a:pt x="1264571" y="71242"/>
                  </a:lnTo>
                  <a:lnTo>
                    <a:pt x="1264207" y="73814"/>
                  </a:lnTo>
                  <a:lnTo>
                    <a:pt x="1263935" y="77474"/>
                  </a:lnTo>
                  <a:lnTo>
                    <a:pt x="1263603" y="78805"/>
                  </a:lnTo>
                  <a:lnTo>
                    <a:pt x="1262998" y="79955"/>
                  </a:lnTo>
                  <a:lnTo>
                    <a:pt x="1262544" y="81165"/>
                  </a:lnTo>
                  <a:lnTo>
                    <a:pt x="1262544" y="82949"/>
                  </a:lnTo>
                  <a:lnTo>
                    <a:pt x="1263542" y="84583"/>
                  </a:lnTo>
                  <a:lnTo>
                    <a:pt x="1265388" y="85067"/>
                  </a:lnTo>
                  <a:lnTo>
                    <a:pt x="1268654" y="84765"/>
                  </a:lnTo>
                  <a:lnTo>
                    <a:pt x="1283750" y="88516"/>
                  </a:lnTo>
                  <a:lnTo>
                    <a:pt x="1288560" y="86217"/>
                  </a:lnTo>
                  <a:lnTo>
                    <a:pt x="1290466" y="85884"/>
                  </a:lnTo>
                  <a:lnTo>
                    <a:pt x="1296970" y="90391"/>
                  </a:lnTo>
                  <a:lnTo>
                    <a:pt x="1334179" y="103853"/>
                  </a:lnTo>
                  <a:lnTo>
                    <a:pt x="1350697" y="94505"/>
                  </a:lnTo>
                  <a:lnTo>
                    <a:pt x="1354660" y="90785"/>
                  </a:lnTo>
                  <a:lnTo>
                    <a:pt x="1357866" y="86186"/>
                  </a:lnTo>
                  <a:lnTo>
                    <a:pt x="1358531" y="84825"/>
                  </a:lnTo>
                  <a:lnTo>
                    <a:pt x="1359107" y="82980"/>
                  </a:lnTo>
                  <a:lnTo>
                    <a:pt x="1358985" y="81921"/>
                  </a:lnTo>
                  <a:lnTo>
                    <a:pt x="1358652" y="80378"/>
                  </a:lnTo>
                  <a:lnTo>
                    <a:pt x="1358441" y="78593"/>
                  </a:lnTo>
                  <a:lnTo>
                    <a:pt x="1358773" y="76687"/>
                  </a:lnTo>
                  <a:lnTo>
                    <a:pt x="1358864" y="74842"/>
                  </a:lnTo>
                  <a:lnTo>
                    <a:pt x="1360044" y="65797"/>
                  </a:lnTo>
                  <a:lnTo>
                    <a:pt x="1360498" y="64950"/>
                  </a:lnTo>
                  <a:lnTo>
                    <a:pt x="1359227" y="60775"/>
                  </a:lnTo>
                  <a:lnTo>
                    <a:pt x="1357321" y="59565"/>
                  </a:lnTo>
                  <a:lnTo>
                    <a:pt x="1355265" y="60321"/>
                  </a:lnTo>
                  <a:lnTo>
                    <a:pt x="1353570" y="62015"/>
                  </a:lnTo>
                  <a:lnTo>
                    <a:pt x="1352058" y="61864"/>
                  </a:lnTo>
                  <a:lnTo>
                    <a:pt x="1347702" y="56903"/>
                  </a:lnTo>
                  <a:lnTo>
                    <a:pt x="1339019" y="51185"/>
                  </a:lnTo>
                  <a:lnTo>
                    <a:pt x="1319689" y="48009"/>
                  </a:lnTo>
                  <a:lnTo>
                    <a:pt x="1309373" y="50459"/>
                  </a:lnTo>
                  <a:lnTo>
                    <a:pt x="1299148" y="44954"/>
                  </a:lnTo>
                  <a:lnTo>
                    <a:pt x="1297514" y="42866"/>
                  </a:lnTo>
                  <a:lnTo>
                    <a:pt x="1297182" y="40204"/>
                  </a:lnTo>
                  <a:lnTo>
                    <a:pt x="1299148" y="37149"/>
                  </a:lnTo>
                  <a:lnTo>
                    <a:pt x="1295639" y="32157"/>
                  </a:lnTo>
                  <a:lnTo>
                    <a:pt x="1286533" y="25865"/>
                  </a:lnTo>
                  <a:lnTo>
                    <a:pt x="1282510" y="24473"/>
                  </a:lnTo>
                  <a:lnTo>
                    <a:pt x="1273374" y="25351"/>
                  </a:lnTo>
                  <a:lnTo>
                    <a:pt x="1270832" y="23505"/>
                  </a:lnTo>
                  <a:lnTo>
                    <a:pt x="1251986" y="1785"/>
                  </a:lnTo>
                  <a:lnTo>
                    <a:pt x="1244938" y="0"/>
                  </a:lnTo>
                  <a:lnTo>
                    <a:pt x="1242729" y="121"/>
                  </a:lnTo>
                  <a:lnTo>
                    <a:pt x="1240702" y="1452"/>
                  </a:lnTo>
                  <a:lnTo>
                    <a:pt x="1238766" y="5022"/>
                  </a:lnTo>
                  <a:lnTo>
                    <a:pt x="1237768" y="9227"/>
                  </a:lnTo>
                  <a:lnTo>
                    <a:pt x="1238252" y="11889"/>
                  </a:lnTo>
                  <a:lnTo>
                    <a:pt x="1243969" y="17879"/>
                  </a:lnTo>
                  <a:lnTo>
                    <a:pt x="1244574" y="18816"/>
                  </a:lnTo>
                  <a:lnTo>
                    <a:pt x="1244726" y="20299"/>
                  </a:lnTo>
                  <a:lnTo>
                    <a:pt x="1244483" y="24685"/>
                  </a:lnTo>
                  <a:lnTo>
                    <a:pt x="1244574" y="26198"/>
                  </a:lnTo>
                  <a:lnTo>
                    <a:pt x="1246087" y="28769"/>
                  </a:lnTo>
                  <a:lnTo>
                    <a:pt x="1251532" y="34608"/>
                  </a:lnTo>
                  <a:lnTo>
                    <a:pt x="1255676" y="41656"/>
                  </a:lnTo>
                  <a:lnTo>
                    <a:pt x="1256343" y="43774"/>
                  </a:lnTo>
                  <a:lnTo>
                    <a:pt x="1256463" y="45740"/>
                  </a:lnTo>
                  <a:lnTo>
                    <a:pt x="1256675" y="47192"/>
                  </a:lnTo>
                  <a:lnTo>
                    <a:pt x="1256433" y="48039"/>
                  </a:lnTo>
                  <a:lnTo>
                    <a:pt x="1254164" y="48886"/>
                  </a:lnTo>
                  <a:lnTo>
                    <a:pt x="1253257" y="50096"/>
                  </a:lnTo>
                  <a:lnTo>
                    <a:pt x="1252621" y="51397"/>
                  </a:lnTo>
                  <a:lnTo>
                    <a:pt x="1252167" y="52032"/>
                  </a:lnTo>
                  <a:lnTo>
                    <a:pt x="1249354" y="50701"/>
                  </a:lnTo>
                  <a:lnTo>
                    <a:pt x="1242820" y="41414"/>
                  </a:lnTo>
                  <a:lnTo>
                    <a:pt x="1237072" y="38056"/>
                  </a:lnTo>
                  <a:lnTo>
                    <a:pt x="1233169" y="32853"/>
                  </a:lnTo>
                  <a:lnTo>
                    <a:pt x="1231203" y="31703"/>
                  </a:lnTo>
                  <a:lnTo>
                    <a:pt x="1221704" y="31371"/>
                  </a:lnTo>
                  <a:lnTo>
                    <a:pt x="1219103" y="33670"/>
                  </a:lnTo>
                  <a:lnTo>
                    <a:pt x="1217378" y="38510"/>
                  </a:lnTo>
                  <a:lnTo>
                    <a:pt x="1217166" y="43562"/>
                  </a:lnTo>
                  <a:lnTo>
                    <a:pt x="1217953" y="48675"/>
                  </a:lnTo>
                  <a:lnTo>
                    <a:pt x="1219103" y="53817"/>
                  </a:lnTo>
                  <a:lnTo>
                    <a:pt x="1216169" y="60775"/>
                  </a:lnTo>
                  <a:lnTo>
                    <a:pt x="1216380" y="62832"/>
                  </a:lnTo>
                  <a:lnTo>
                    <a:pt x="1218407" y="65797"/>
                  </a:lnTo>
                  <a:lnTo>
                    <a:pt x="1223580" y="68973"/>
                  </a:lnTo>
                  <a:lnTo>
                    <a:pt x="1226091" y="71393"/>
                  </a:lnTo>
                  <a:lnTo>
                    <a:pt x="1227422" y="75871"/>
                  </a:lnTo>
                  <a:lnTo>
                    <a:pt x="1201890" y="72089"/>
                  </a:lnTo>
                  <a:lnTo>
                    <a:pt x="1200437" y="73087"/>
                  </a:lnTo>
                  <a:lnTo>
                    <a:pt x="1199288" y="74600"/>
                  </a:lnTo>
                  <a:lnTo>
                    <a:pt x="1198229" y="75659"/>
                  </a:lnTo>
                  <a:lnTo>
                    <a:pt x="1193903" y="73239"/>
                  </a:lnTo>
                  <a:lnTo>
                    <a:pt x="1191362" y="75598"/>
                  </a:lnTo>
                  <a:lnTo>
                    <a:pt x="1181440" y="92085"/>
                  </a:lnTo>
                  <a:lnTo>
                    <a:pt x="1178656" y="95262"/>
                  </a:lnTo>
                  <a:lnTo>
                    <a:pt x="1175722" y="95897"/>
                  </a:lnTo>
                  <a:lnTo>
                    <a:pt x="1180774" y="89030"/>
                  </a:lnTo>
                  <a:lnTo>
                    <a:pt x="1182227" y="85793"/>
                  </a:lnTo>
                  <a:lnTo>
                    <a:pt x="1182498" y="84008"/>
                  </a:lnTo>
                  <a:lnTo>
                    <a:pt x="1182619" y="81921"/>
                  </a:lnTo>
                  <a:lnTo>
                    <a:pt x="1182862" y="80227"/>
                  </a:lnTo>
                  <a:lnTo>
                    <a:pt x="1183618" y="79501"/>
                  </a:lnTo>
                  <a:lnTo>
                    <a:pt x="1184616" y="79017"/>
                  </a:lnTo>
                  <a:lnTo>
                    <a:pt x="1185523" y="77655"/>
                  </a:lnTo>
                  <a:lnTo>
                    <a:pt x="1186249" y="75871"/>
                  </a:lnTo>
                  <a:lnTo>
                    <a:pt x="1186704" y="74056"/>
                  </a:lnTo>
                  <a:lnTo>
                    <a:pt x="1186975" y="68368"/>
                  </a:lnTo>
                  <a:lnTo>
                    <a:pt x="1185614" y="66281"/>
                  </a:lnTo>
                  <a:lnTo>
                    <a:pt x="1183345" y="65525"/>
                  </a:lnTo>
                  <a:lnTo>
                    <a:pt x="1181167" y="63921"/>
                  </a:lnTo>
                  <a:lnTo>
                    <a:pt x="1176811" y="58567"/>
                  </a:lnTo>
                  <a:lnTo>
                    <a:pt x="1174331" y="56449"/>
                  </a:lnTo>
                  <a:lnTo>
                    <a:pt x="1172153" y="55602"/>
                  </a:lnTo>
                  <a:lnTo>
                    <a:pt x="1170912" y="55935"/>
                  </a:lnTo>
                  <a:lnTo>
                    <a:pt x="1168583" y="57296"/>
                  </a:lnTo>
                  <a:lnTo>
                    <a:pt x="1167373" y="57599"/>
                  </a:lnTo>
                  <a:lnTo>
                    <a:pt x="1165890" y="57145"/>
                  </a:lnTo>
                  <a:lnTo>
                    <a:pt x="1162472" y="53757"/>
                  </a:lnTo>
                  <a:lnTo>
                    <a:pt x="1159205" y="52305"/>
                  </a:lnTo>
                  <a:lnTo>
                    <a:pt x="1149040" y="51942"/>
                  </a:lnTo>
                  <a:lnTo>
                    <a:pt x="1129831" y="44258"/>
                  </a:lnTo>
                  <a:lnTo>
                    <a:pt x="1130133" y="54876"/>
                  </a:lnTo>
                  <a:lnTo>
                    <a:pt x="1132523" y="59474"/>
                  </a:lnTo>
                  <a:lnTo>
                    <a:pt x="1133461" y="62530"/>
                  </a:lnTo>
                  <a:lnTo>
                    <a:pt x="1133975" y="67188"/>
                  </a:lnTo>
                  <a:lnTo>
                    <a:pt x="1133854" y="69760"/>
                  </a:lnTo>
                  <a:lnTo>
                    <a:pt x="1134126" y="71908"/>
                  </a:lnTo>
                  <a:lnTo>
                    <a:pt x="1135851" y="75477"/>
                  </a:lnTo>
                  <a:lnTo>
                    <a:pt x="1138513" y="79985"/>
                  </a:lnTo>
                  <a:lnTo>
                    <a:pt x="1138815" y="100526"/>
                  </a:lnTo>
                  <a:lnTo>
                    <a:pt x="1138452" y="104882"/>
                  </a:lnTo>
                  <a:lnTo>
                    <a:pt x="1135548" y="113927"/>
                  </a:lnTo>
                  <a:lnTo>
                    <a:pt x="1131010" y="118404"/>
                  </a:lnTo>
                  <a:lnTo>
                    <a:pt x="1121179" y="119947"/>
                  </a:lnTo>
                  <a:lnTo>
                    <a:pt x="1096675" y="116044"/>
                  </a:lnTo>
                  <a:lnTo>
                    <a:pt x="1093529" y="113957"/>
                  </a:lnTo>
                  <a:lnTo>
                    <a:pt x="1074743" y="93779"/>
                  </a:lnTo>
                  <a:lnTo>
                    <a:pt x="1068360" y="89242"/>
                  </a:lnTo>
                  <a:lnTo>
                    <a:pt x="1063883" y="88183"/>
                  </a:lnTo>
                  <a:lnTo>
                    <a:pt x="1059345" y="88546"/>
                  </a:lnTo>
                  <a:lnTo>
                    <a:pt x="1057106" y="89998"/>
                  </a:lnTo>
                  <a:lnTo>
                    <a:pt x="1057893" y="92146"/>
                  </a:lnTo>
                  <a:lnTo>
                    <a:pt x="1060071" y="94233"/>
                  </a:lnTo>
                  <a:lnTo>
                    <a:pt x="1066121" y="96835"/>
                  </a:lnTo>
                  <a:lnTo>
                    <a:pt x="1067271" y="99073"/>
                  </a:lnTo>
                  <a:lnTo>
                    <a:pt x="1068148" y="103914"/>
                  </a:lnTo>
                  <a:lnTo>
                    <a:pt x="1068420" y="110206"/>
                  </a:lnTo>
                  <a:lnTo>
                    <a:pt x="1067725" y="114834"/>
                  </a:lnTo>
                  <a:lnTo>
                    <a:pt x="1066333" y="118162"/>
                  </a:lnTo>
                  <a:lnTo>
                    <a:pt x="1064487" y="120552"/>
                  </a:lnTo>
                  <a:lnTo>
                    <a:pt x="1061644" y="122518"/>
                  </a:lnTo>
                  <a:lnTo>
                    <a:pt x="1060706" y="124031"/>
                  </a:lnTo>
                  <a:lnTo>
                    <a:pt x="1059708" y="127994"/>
                  </a:lnTo>
                  <a:lnTo>
                    <a:pt x="1059345" y="131745"/>
                  </a:lnTo>
                  <a:lnTo>
                    <a:pt x="1059345" y="135012"/>
                  </a:lnTo>
                  <a:lnTo>
                    <a:pt x="1058921" y="138037"/>
                  </a:lnTo>
                  <a:lnTo>
                    <a:pt x="1057530" y="140941"/>
                  </a:lnTo>
                  <a:lnTo>
                    <a:pt x="1045308" y="153405"/>
                  </a:lnTo>
                  <a:lnTo>
                    <a:pt x="1041799" y="158941"/>
                  </a:lnTo>
                  <a:lnTo>
                    <a:pt x="1039893" y="161028"/>
                  </a:lnTo>
                  <a:lnTo>
                    <a:pt x="1035113" y="162964"/>
                  </a:lnTo>
                  <a:lnTo>
                    <a:pt x="1020079" y="163237"/>
                  </a:lnTo>
                  <a:lnTo>
                    <a:pt x="1017779" y="164719"/>
                  </a:lnTo>
                  <a:lnTo>
                    <a:pt x="1011064" y="171677"/>
                  </a:lnTo>
                  <a:lnTo>
                    <a:pt x="1005255" y="174248"/>
                  </a:lnTo>
                  <a:lnTo>
                    <a:pt x="988163" y="175126"/>
                  </a:lnTo>
                  <a:lnTo>
                    <a:pt x="982355" y="177788"/>
                  </a:lnTo>
                  <a:lnTo>
                    <a:pt x="978120" y="184140"/>
                  </a:lnTo>
                  <a:lnTo>
                    <a:pt x="977303" y="188013"/>
                  </a:lnTo>
                  <a:lnTo>
                    <a:pt x="976214" y="195243"/>
                  </a:lnTo>
                  <a:lnTo>
                    <a:pt x="975397" y="197481"/>
                  </a:lnTo>
                  <a:lnTo>
                    <a:pt x="975186" y="199599"/>
                  </a:lnTo>
                  <a:lnTo>
                    <a:pt x="975186" y="201807"/>
                  </a:lnTo>
                  <a:lnTo>
                    <a:pt x="974852" y="204106"/>
                  </a:lnTo>
                  <a:lnTo>
                    <a:pt x="974066" y="206496"/>
                  </a:lnTo>
                  <a:lnTo>
                    <a:pt x="972251" y="210641"/>
                  </a:lnTo>
                  <a:lnTo>
                    <a:pt x="971464" y="213031"/>
                  </a:lnTo>
                  <a:lnTo>
                    <a:pt x="969680" y="222378"/>
                  </a:lnTo>
                  <a:lnTo>
                    <a:pt x="968621" y="226432"/>
                  </a:lnTo>
                  <a:lnTo>
                    <a:pt x="966654" y="230758"/>
                  </a:lnTo>
                  <a:lnTo>
                    <a:pt x="961845" y="238291"/>
                  </a:lnTo>
                  <a:lnTo>
                    <a:pt x="956520" y="244129"/>
                  </a:lnTo>
                  <a:lnTo>
                    <a:pt x="950924" y="247275"/>
                  </a:lnTo>
                  <a:lnTo>
                    <a:pt x="945237" y="246700"/>
                  </a:lnTo>
                  <a:lnTo>
                    <a:pt x="941788" y="247396"/>
                  </a:lnTo>
                  <a:lnTo>
                    <a:pt x="939821" y="249211"/>
                  </a:lnTo>
                  <a:lnTo>
                    <a:pt x="927691" y="260223"/>
                  </a:lnTo>
                  <a:lnTo>
                    <a:pt x="915590" y="264458"/>
                  </a:lnTo>
                  <a:lnTo>
                    <a:pt x="889725" y="281974"/>
                  </a:lnTo>
                  <a:lnTo>
                    <a:pt x="885066" y="282337"/>
                  </a:lnTo>
                  <a:lnTo>
                    <a:pt x="885369" y="287116"/>
                  </a:lnTo>
                  <a:lnTo>
                    <a:pt x="886760" y="289536"/>
                  </a:lnTo>
                  <a:lnTo>
                    <a:pt x="888545" y="290747"/>
                  </a:lnTo>
                  <a:lnTo>
                    <a:pt x="908783" y="289264"/>
                  </a:lnTo>
                  <a:lnTo>
                    <a:pt x="917103" y="290958"/>
                  </a:lnTo>
                  <a:lnTo>
                    <a:pt x="924484" y="298521"/>
                  </a:lnTo>
                  <a:lnTo>
                    <a:pt x="919008" y="317761"/>
                  </a:lnTo>
                  <a:lnTo>
                    <a:pt x="915923" y="325989"/>
                  </a:lnTo>
                  <a:lnTo>
                    <a:pt x="890119" y="373121"/>
                  </a:lnTo>
                  <a:lnTo>
                    <a:pt x="888878" y="376358"/>
                  </a:lnTo>
                  <a:lnTo>
                    <a:pt x="888878" y="380109"/>
                  </a:lnTo>
                  <a:lnTo>
                    <a:pt x="890239" y="386129"/>
                  </a:lnTo>
                  <a:lnTo>
                    <a:pt x="892206" y="393299"/>
                  </a:lnTo>
                  <a:lnTo>
                    <a:pt x="910598" y="458128"/>
                  </a:lnTo>
                  <a:lnTo>
                    <a:pt x="913261" y="463331"/>
                  </a:lnTo>
                  <a:lnTo>
                    <a:pt x="916981" y="465933"/>
                  </a:lnTo>
                  <a:lnTo>
                    <a:pt x="945751" y="477216"/>
                  </a:lnTo>
                  <a:lnTo>
                    <a:pt x="974489" y="488500"/>
                  </a:lnTo>
                  <a:lnTo>
                    <a:pt x="977757" y="490739"/>
                  </a:lnTo>
                  <a:lnTo>
                    <a:pt x="980691" y="494702"/>
                  </a:lnTo>
                  <a:lnTo>
                    <a:pt x="989010" y="510916"/>
                  </a:lnTo>
                  <a:lnTo>
                    <a:pt x="992883" y="518479"/>
                  </a:lnTo>
                  <a:lnTo>
                    <a:pt x="1010005" y="552119"/>
                  </a:lnTo>
                  <a:lnTo>
                    <a:pt x="1016297" y="559742"/>
                  </a:lnTo>
                  <a:lnTo>
                    <a:pt x="1046064" y="585759"/>
                  </a:lnTo>
                  <a:lnTo>
                    <a:pt x="1043886" y="589026"/>
                  </a:lnTo>
                  <a:lnTo>
                    <a:pt x="1042858" y="591537"/>
                  </a:lnTo>
                  <a:lnTo>
                    <a:pt x="1042434" y="594683"/>
                  </a:lnTo>
                  <a:lnTo>
                    <a:pt x="1041527" y="610413"/>
                  </a:lnTo>
                  <a:lnTo>
                    <a:pt x="1041073" y="613560"/>
                  </a:lnTo>
                  <a:lnTo>
                    <a:pt x="1038411" y="624541"/>
                  </a:lnTo>
                  <a:lnTo>
                    <a:pt x="1036687" y="628927"/>
                  </a:lnTo>
                  <a:lnTo>
                    <a:pt x="996785" y="679508"/>
                  </a:lnTo>
                  <a:lnTo>
                    <a:pt x="995635" y="681898"/>
                  </a:lnTo>
                  <a:lnTo>
                    <a:pt x="994486" y="686163"/>
                  </a:lnTo>
                  <a:lnTo>
                    <a:pt x="993850" y="687918"/>
                  </a:lnTo>
                  <a:lnTo>
                    <a:pt x="992852" y="689400"/>
                  </a:lnTo>
                  <a:lnTo>
                    <a:pt x="987649" y="695148"/>
                  </a:lnTo>
                  <a:lnTo>
                    <a:pt x="954524" y="752565"/>
                  </a:lnTo>
                  <a:lnTo>
                    <a:pt x="954493" y="752565"/>
                  </a:lnTo>
                  <a:lnTo>
                    <a:pt x="949623" y="772289"/>
                  </a:lnTo>
                  <a:lnTo>
                    <a:pt x="953404" y="788836"/>
                  </a:lnTo>
                  <a:lnTo>
                    <a:pt x="976879" y="825743"/>
                  </a:lnTo>
                  <a:lnTo>
                    <a:pt x="980903" y="838237"/>
                  </a:lnTo>
                  <a:lnTo>
                    <a:pt x="981084" y="838691"/>
                  </a:lnTo>
                  <a:lnTo>
                    <a:pt x="983928" y="843198"/>
                  </a:lnTo>
                  <a:lnTo>
                    <a:pt x="984261" y="845255"/>
                  </a:lnTo>
                  <a:lnTo>
                    <a:pt x="984351" y="847554"/>
                  </a:lnTo>
                  <a:lnTo>
                    <a:pt x="984836" y="849975"/>
                  </a:lnTo>
                  <a:lnTo>
                    <a:pt x="985652" y="851759"/>
                  </a:lnTo>
                  <a:lnTo>
                    <a:pt x="997208" y="869729"/>
                  </a:lnTo>
                  <a:lnTo>
                    <a:pt x="998207" y="873692"/>
                  </a:lnTo>
                  <a:lnTo>
                    <a:pt x="999387" y="883433"/>
                  </a:lnTo>
                  <a:lnTo>
                    <a:pt x="999961" y="887849"/>
                  </a:lnTo>
                  <a:lnTo>
                    <a:pt x="1001776" y="895836"/>
                  </a:lnTo>
                  <a:lnTo>
                    <a:pt x="1004136" y="903308"/>
                  </a:lnTo>
                  <a:lnTo>
                    <a:pt x="1009944" y="916679"/>
                  </a:lnTo>
                  <a:lnTo>
                    <a:pt x="1024193" y="941213"/>
                  </a:lnTo>
                  <a:lnTo>
                    <a:pt x="1032542" y="952043"/>
                  </a:lnTo>
                  <a:lnTo>
                    <a:pt x="1035053" y="957881"/>
                  </a:lnTo>
                  <a:lnTo>
                    <a:pt x="1037110" y="966866"/>
                  </a:lnTo>
                  <a:lnTo>
                    <a:pt x="1039954" y="984472"/>
                  </a:lnTo>
                  <a:lnTo>
                    <a:pt x="1040892" y="988466"/>
                  </a:lnTo>
                  <a:lnTo>
                    <a:pt x="1044885" y="998055"/>
                  </a:lnTo>
                  <a:lnTo>
                    <a:pt x="1046064" y="1001655"/>
                  </a:lnTo>
                  <a:lnTo>
                    <a:pt x="1049029" y="1013060"/>
                  </a:lnTo>
                  <a:lnTo>
                    <a:pt x="1052659" y="1022680"/>
                  </a:lnTo>
                  <a:lnTo>
                    <a:pt x="1053476" y="1026764"/>
                  </a:lnTo>
                  <a:lnTo>
                    <a:pt x="1056320" y="1047637"/>
                  </a:lnTo>
                  <a:lnTo>
                    <a:pt x="1056774" y="1053204"/>
                  </a:lnTo>
                  <a:lnTo>
                    <a:pt x="1056531" y="1058104"/>
                  </a:lnTo>
                  <a:lnTo>
                    <a:pt x="1054959" y="1060162"/>
                  </a:lnTo>
                  <a:lnTo>
                    <a:pt x="1051570" y="1058982"/>
                  </a:lnTo>
                  <a:lnTo>
                    <a:pt x="1045369" y="1055261"/>
                  </a:lnTo>
                  <a:lnTo>
                    <a:pt x="1021319" y="1062007"/>
                  </a:lnTo>
                  <a:lnTo>
                    <a:pt x="1015148" y="1066212"/>
                  </a:lnTo>
                  <a:lnTo>
                    <a:pt x="1018112" y="1070840"/>
                  </a:lnTo>
                  <a:lnTo>
                    <a:pt x="1025614" y="1076195"/>
                  </a:lnTo>
                  <a:lnTo>
                    <a:pt x="1028821" y="1080672"/>
                  </a:lnTo>
                  <a:lnTo>
                    <a:pt x="1027551" y="1083546"/>
                  </a:lnTo>
                  <a:lnTo>
                    <a:pt x="1019443" y="1092591"/>
                  </a:lnTo>
                  <a:lnTo>
                    <a:pt x="1018082" y="1095858"/>
                  </a:lnTo>
                  <a:lnTo>
                    <a:pt x="1017538" y="1097068"/>
                  </a:lnTo>
                  <a:lnTo>
                    <a:pt x="1017538" y="1097068"/>
                  </a:lnTo>
                  <a:lnTo>
                    <a:pt x="1016721" y="1105357"/>
                  </a:lnTo>
                  <a:lnTo>
                    <a:pt x="1017961" y="1125081"/>
                  </a:lnTo>
                  <a:lnTo>
                    <a:pt x="1016872" y="1133158"/>
                  </a:lnTo>
                  <a:lnTo>
                    <a:pt x="1006344" y="1146348"/>
                  </a:lnTo>
                  <a:lnTo>
                    <a:pt x="1002805" y="1153880"/>
                  </a:lnTo>
                  <a:lnTo>
                    <a:pt x="1007494" y="1158327"/>
                  </a:lnTo>
                  <a:lnTo>
                    <a:pt x="1021621" y="1157874"/>
                  </a:lnTo>
                  <a:lnTo>
                    <a:pt x="1028277" y="1160596"/>
                  </a:lnTo>
                  <a:lnTo>
                    <a:pt x="1028882" y="1169006"/>
                  </a:lnTo>
                  <a:lnTo>
                    <a:pt x="1027883" y="1170821"/>
                  </a:lnTo>
                  <a:lnTo>
                    <a:pt x="1026734" y="1172213"/>
                  </a:lnTo>
                  <a:lnTo>
                    <a:pt x="1025826" y="1173725"/>
                  </a:lnTo>
                  <a:lnTo>
                    <a:pt x="1025736" y="1175934"/>
                  </a:lnTo>
                  <a:lnTo>
                    <a:pt x="1026976" y="1177870"/>
                  </a:lnTo>
                  <a:lnTo>
                    <a:pt x="1028761" y="1178233"/>
                  </a:lnTo>
                  <a:lnTo>
                    <a:pt x="1029941" y="1178959"/>
                  </a:lnTo>
                  <a:lnTo>
                    <a:pt x="1029487" y="1181924"/>
                  </a:lnTo>
                  <a:lnTo>
                    <a:pt x="1026976" y="1185100"/>
                  </a:lnTo>
                  <a:lnTo>
                    <a:pt x="1011608" y="1188549"/>
                  </a:lnTo>
                  <a:lnTo>
                    <a:pt x="1007524" y="1191997"/>
                  </a:lnTo>
                  <a:lnTo>
                    <a:pt x="1004590" y="1198108"/>
                  </a:lnTo>
                  <a:lnTo>
                    <a:pt x="1003561" y="1207516"/>
                  </a:lnTo>
                  <a:lnTo>
                    <a:pt x="1008129" y="1225939"/>
                  </a:lnTo>
                  <a:lnTo>
                    <a:pt x="1014633" y="1240793"/>
                  </a:lnTo>
                  <a:lnTo>
                    <a:pt x="1022861" y="1250231"/>
                  </a:lnTo>
                  <a:lnTo>
                    <a:pt x="1032693" y="1252591"/>
                  </a:lnTo>
                  <a:lnTo>
                    <a:pt x="1051298" y="1252742"/>
                  </a:lnTo>
                  <a:lnTo>
                    <a:pt x="1055231" y="1254648"/>
                  </a:lnTo>
                  <a:lnTo>
                    <a:pt x="1056925" y="1256282"/>
                  </a:lnTo>
                  <a:lnTo>
                    <a:pt x="1057076" y="1257643"/>
                  </a:lnTo>
                  <a:lnTo>
                    <a:pt x="1056531" y="1259246"/>
                  </a:lnTo>
                  <a:lnTo>
                    <a:pt x="1056108" y="1261364"/>
                  </a:lnTo>
                  <a:lnTo>
                    <a:pt x="1055896" y="1264117"/>
                  </a:lnTo>
                  <a:lnTo>
                    <a:pt x="1055685" y="1265448"/>
                  </a:lnTo>
                  <a:lnTo>
                    <a:pt x="1055926" y="1266658"/>
                  </a:lnTo>
                  <a:lnTo>
                    <a:pt x="1057076" y="1269078"/>
                  </a:lnTo>
                  <a:lnTo>
                    <a:pt x="1058135" y="1270712"/>
                  </a:lnTo>
                  <a:lnTo>
                    <a:pt x="1062098" y="1274947"/>
                  </a:lnTo>
                  <a:lnTo>
                    <a:pt x="1063822" y="1279121"/>
                  </a:lnTo>
                  <a:lnTo>
                    <a:pt x="1063126" y="1283357"/>
                  </a:lnTo>
                  <a:lnTo>
                    <a:pt x="1061069" y="1286957"/>
                  </a:lnTo>
                  <a:lnTo>
                    <a:pt x="1058649" y="1289256"/>
                  </a:lnTo>
                  <a:lnTo>
                    <a:pt x="1041496" y="1297182"/>
                  </a:lnTo>
                  <a:lnTo>
                    <a:pt x="1040801" y="1298029"/>
                  </a:lnTo>
                  <a:lnTo>
                    <a:pt x="1040377" y="1299269"/>
                  </a:lnTo>
                  <a:lnTo>
                    <a:pt x="1040801" y="1299904"/>
                  </a:lnTo>
                  <a:lnTo>
                    <a:pt x="1041406" y="1300237"/>
                  </a:lnTo>
                  <a:lnTo>
                    <a:pt x="1041769" y="1300570"/>
                  </a:lnTo>
                  <a:lnTo>
                    <a:pt x="1041890" y="1304321"/>
                  </a:lnTo>
                  <a:lnTo>
                    <a:pt x="1042253" y="1306287"/>
                  </a:lnTo>
                  <a:lnTo>
                    <a:pt x="1043009" y="1308344"/>
                  </a:lnTo>
                  <a:lnTo>
                    <a:pt x="1042797" y="1308949"/>
                  </a:lnTo>
                  <a:lnTo>
                    <a:pt x="1042797" y="1310159"/>
                  </a:lnTo>
                  <a:lnTo>
                    <a:pt x="1043009" y="1310764"/>
                  </a:lnTo>
                  <a:lnTo>
                    <a:pt x="1044068" y="1311248"/>
                  </a:lnTo>
                  <a:lnTo>
                    <a:pt x="1044280" y="1311793"/>
                  </a:lnTo>
                  <a:lnTo>
                    <a:pt x="1043947" y="1313185"/>
                  </a:lnTo>
                  <a:lnTo>
                    <a:pt x="1048515" y="1315907"/>
                  </a:lnTo>
                  <a:lnTo>
                    <a:pt x="1052024" y="1320112"/>
                  </a:lnTo>
                  <a:lnTo>
                    <a:pt x="1051237" y="1325134"/>
                  </a:lnTo>
                  <a:lnTo>
                    <a:pt x="1049059" y="1330579"/>
                  </a:lnTo>
                  <a:lnTo>
                    <a:pt x="1048182" y="1336145"/>
                  </a:lnTo>
                  <a:lnTo>
                    <a:pt x="1050239" y="1340199"/>
                  </a:lnTo>
                  <a:lnTo>
                    <a:pt x="1054262" y="1343799"/>
                  </a:lnTo>
                  <a:lnTo>
                    <a:pt x="1061462" y="1347943"/>
                  </a:lnTo>
                  <a:lnTo>
                    <a:pt x="1077223" y="1353147"/>
                  </a:lnTo>
                  <a:lnTo>
                    <a:pt x="1082155" y="1356747"/>
                  </a:lnTo>
                  <a:lnTo>
                    <a:pt x="1085089" y="1360498"/>
                  </a:lnTo>
                  <a:lnTo>
                    <a:pt x="1087327" y="1364430"/>
                  </a:lnTo>
                  <a:lnTo>
                    <a:pt x="1089778" y="1367395"/>
                  </a:lnTo>
                  <a:lnTo>
                    <a:pt x="1095556" y="1368877"/>
                  </a:lnTo>
                  <a:lnTo>
                    <a:pt x="1098853" y="1370814"/>
                  </a:lnTo>
                  <a:lnTo>
                    <a:pt x="1101122" y="1374020"/>
                  </a:lnTo>
                  <a:lnTo>
                    <a:pt x="1100305" y="1378407"/>
                  </a:lnTo>
                  <a:lnTo>
                    <a:pt x="1098490" y="1382612"/>
                  </a:lnTo>
                  <a:lnTo>
                    <a:pt x="1098490" y="1386121"/>
                  </a:lnTo>
                  <a:lnTo>
                    <a:pt x="1099731" y="1389569"/>
                  </a:lnTo>
                  <a:lnTo>
                    <a:pt x="1101515" y="1393593"/>
                  </a:lnTo>
                  <a:lnTo>
                    <a:pt x="1103935" y="1402638"/>
                  </a:lnTo>
                  <a:lnTo>
                    <a:pt x="1103361" y="1409717"/>
                  </a:lnTo>
                  <a:lnTo>
                    <a:pt x="1100517" y="1415918"/>
                  </a:lnTo>
                  <a:lnTo>
                    <a:pt x="1096191" y="1422271"/>
                  </a:lnTo>
                  <a:lnTo>
                    <a:pt x="1096191" y="1422271"/>
                  </a:lnTo>
                  <a:lnTo>
                    <a:pt x="1078010" y="1442388"/>
                  </a:lnTo>
                  <a:lnTo>
                    <a:pt x="1071657" y="1456092"/>
                  </a:lnTo>
                  <a:lnTo>
                    <a:pt x="1065184" y="1464079"/>
                  </a:lnTo>
                  <a:lnTo>
                    <a:pt x="1050088" y="1470099"/>
                  </a:lnTo>
                  <a:lnTo>
                    <a:pt x="1044764" y="1473578"/>
                  </a:lnTo>
                  <a:lnTo>
                    <a:pt x="1043009" y="1474757"/>
                  </a:lnTo>
                  <a:lnTo>
                    <a:pt x="1045066" y="1480203"/>
                  </a:lnTo>
                  <a:lnTo>
                    <a:pt x="1069298" y="1508034"/>
                  </a:lnTo>
                  <a:lnTo>
                    <a:pt x="1083213" y="1518259"/>
                  </a:lnTo>
                  <a:lnTo>
                    <a:pt x="1089354" y="1526760"/>
                  </a:lnTo>
                  <a:lnTo>
                    <a:pt x="1091321" y="1530632"/>
                  </a:lnTo>
                  <a:lnTo>
                    <a:pt x="1094073" y="1532870"/>
                  </a:lnTo>
                  <a:lnTo>
                    <a:pt x="1127532" y="1550749"/>
                  </a:lnTo>
                  <a:lnTo>
                    <a:pt x="1143020" y="1568567"/>
                  </a:lnTo>
                  <a:lnTo>
                    <a:pt x="1163440" y="1581727"/>
                  </a:lnTo>
                  <a:lnTo>
                    <a:pt x="1166072" y="1584298"/>
                  </a:lnTo>
                  <a:lnTo>
                    <a:pt x="1168250" y="1587716"/>
                  </a:lnTo>
                  <a:lnTo>
                    <a:pt x="1169006" y="1591891"/>
                  </a:lnTo>
                  <a:lnTo>
                    <a:pt x="1169127" y="1595672"/>
                  </a:lnTo>
                  <a:lnTo>
                    <a:pt x="1169793" y="1600089"/>
                  </a:lnTo>
                  <a:lnTo>
                    <a:pt x="1170791" y="1604234"/>
                  </a:lnTo>
                  <a:lnTo>
                    <a:pt x="1172031" y="1607259"/>
                  </a:lnTo>
                  <a:lnTo>
                    <a:pt x="1174633" y="1610526"/>
                  </a:lnTo>
                  <a:lnTo>
                    <a:pt x="1180986" y="1615124"/>
                  </a:lnTo>
                  <a:lnTo>
                    <a:pt x="1183860" y="1618028"/>
                  </a:lnTo>
                  <a:lnTo>
                    <a:pt x="1190334" y="1627436"/>
                  </a:lnTo>
                  <a:lnTo>
                    <a:pt x="1192724" y="1629524"/>
                  </a:lnTo>
                  <a:lnTo>
                    <a:pt x="1193964" y="1630613"/>
                  </a:lnTo>
                  <a:lnTo>
                    <a:pt x="1196475" y="1634273"/>
                  </a:lnTo>
                  <a:lnTo>
                    <a:pt x="1197866" y="1639356"/>
                  </a:lnTo>
                  <a:lnTo>
                    <a:pt x="1199500" y="1644165"/>
                  </a:lnTo>
                  <a:lnTo>
                    <a:pt x="1202918" y="1646918"/>
                  </a:lnTo>
                  <a:lnTo>
                    <a:pt x="1193933" y="1663103"/>
                  </a:lnTo>
                  <a:lnTo>
                    <a:pt x="1189970" y="1670666"/>
                  </a:lnTo>
                  <a:lnTo>
                    <a:pt x="1186885" y="1679197"/>
                  </a:lnTo>
                  <a:lnTo>
                    <a:pt x="1182166" y="1698376"/>
                  </a:lnTo>
                  <a:lnTo>
                    <a:pt x="1180532" y="1702853"/>
                  </a:lnTo>
                  <a:lnTo>
                    <a:pt x="1176055" y="1709569"/>
                  </a:lnTo>
                  <a:lnTo>
                    <a:pt x="1174209" y="1714198"/>
                  </a:lnTo>
                  <a:lnTo>
                    <a:pt x="1171789" y="1723848"/>
                  </a:lnTo>
                  <a:lnTo>
                    <a:pt x="1170126" y="1728143"/>
                  </a:lnTo>
                  <a:lnTo>
                    <a:pt x="1167978" y="1730503"/>
                  </a:lnTo>
                  <a:lnTo>
                    <a:pt x="1167887" y="1730503"/>
                  </a:lnTo>
                  <a:lnTo>
                    <a:pt x="1162533" y="1733649"/>
                  </a:lnTo>
                  <a:lnTo>
                    <a:pt x="1160960" y="1735343"/>
                  </a:lnTo>
                  <a:lnTo>
                    <a:pt x="1159840" y="1737552"/>
                  </a:lnTo>
                  <a:lnTo>
                    <a:pt x="1157995" y="1741878"/>
                  </a:lnTo>
                  <a:lnTo>
                    <a:pt x="1143626" y="1757064"/>
                  </a:lnTo>
                  <a:lnTo>
                    <a:pt x="1142264" y="1759151"/>
                  </a:lnTo>
                  <a:lnTo>
                    <a:pt x="1139693" y="1765867"/>
                  </a:lnTo>
                  <a:lnTo>
                    <a:pt x="1138089" y="1768378"/>
                  </a:lnTo>
                  <a:lnTo>
                    <a:pt x="1136244" y="1770193"/>
                  </a:lnTo>
                  <a:lnTo>
                    <a:pt x="1124778" y="1778119"/>
                  </a:lnTo>
                  <a:lnTo>
                    <a:pt x="1115733" y="1786619"/>
                  </a:lnTo>
                  <a:lnTo>
                    <a:pt x="1111892" y="1788707"/>
                  </a:lnTo>
                  <a:lnTo>
                    <a:pt x="1110077" y="1790098"/>
                  </a:lnTo>
                  <a:lnTo>
                    <a:pt x="1108806" y="1791853"/>
                  </a:lnTo>
                  <a:lnTo>
                    <a:pt x="1106023" y="1798327"/>
                  </a:lnTo>
                  <a:lnTo>
                    <a:pt x="1093287" y="1814844"/>
                  </a:lnTo>
                  <a:lnTo>
                    <a:pt x="1079129" y="1829818"/>
                  </a:lnTo>
                  <a:lnTo>
                    <a:pt x="1079099" y="1829818"/>
                  </a:lnTo>
                  <a:lnTo>
                    <a:pt x="1059587" y="1857589"/>
                  </a:lnTo>
                  <a:lnTo>
                    <a:pt x="1042676" y="1881518"/>
                  </a:lnTo>
                  <a:lnTo>
                    <a:pt x="1029063" y="1894768"/>
                  </a:lnTo>
                  <a:lnTo>
                    <a:pt x="1027006" y="1897794"/>
                  </a:lnTo>
                  <a:lnTo>
                    <a:pt x="1024616" y="1904570"/>
                  </a:lnTo>
                  <a:lnTo>
                    <a:pt x="1022710" y="1907776"/>
                  </a:lnTo>
                  <a:lnTo>
                    <a:pt x="1008220" y="1923689"/>
                  </a:lnTo>
                  <a:lnTo>
                    <a:pt x="1005074" y="1925988"/>
                  </a:lnTo>
                  <a:lnTo>
                    <a:pt x="998570" y="1928741"/>
                  </a:lnTo>
                  <a:lnTo>
                    <a:pt x="996301" y="1930647"/>
                  </a:lnTo>
                  <a:lnTo>
                    <a:pt x="994486" y="1933702"/>
                  </a:lnTo>
                  <a:lnTo>
                    <a:pt x="992671" y="1938451"/>
                  </a:lnTo>
                  <a:lnTo>
                    <a:pt x="990916" y="1942505"/>
                  </a:lnTo>
                  <a:lnTo>
                    <a:pt x="976335" y="1957056"/>
                  </a:lnTo>
                  <a:lnTo>
                    <a:pt x="973370" y="1961352"/>
                  </a:lnTo>
                  <a:lnTo>
                    <a:pt x="972190" y="1963590"/>
                  </a:lnTo>
                  <a:lnTo>
                    <a:pt x="970678" y="1966313"/>
                  </a:lnTo>
                  <a:lnTo>
                    <a:pt x="964749" y="1974874"/>
                  </a:lnTo>
                  <a:lnTo>
                    <a:pt x="957367" y="1981136"/>
                  </a:lnTo>
                  <a:lnTo>
                    <a:pt x="942332" y="1989849"/>
                  </a:lnTo>
                  <a:lnTo>
                    <a:pt x="936857" y="1993721"/>
                  </a:lnTo>
                  <a:lnTo>
                    <a:pt x="929748" y="2000467"/>
                  </a:lnTo>
                  <a:lnTo>
                    <a:pt x="923909" y="2003492"/>
                  </a:lnTo>
                  <a:lnTo>
                    <a:pt x="922306" y="2005398"/>
                  </a:lnTo>
                  <a:lnTo>
                    <a:pt x="919130" y="2010268"/>
                  </a:lnTo>
                  <a:lnTo>
                    <a:pt x="912988" y="2016742"/>
                  </a:lnTo>
                  <a:lnTo>
                    <a:pt x="911143" y="2019616"/>
                  </a:lnTo>
                  <a:lnTo>
                    <a:pt x="909449" y="2023518"/>
                  </a:lnTo>
                  <a:lnTo>
                    <a:pt x="909449" y="2023518"/>
                  </a:lnTo>
                  <a:lnTo>
                    <a:pt x="905486" y="2029236"/>
                  </a:lnTo>
                  <a:lnTo>
                    <a:pt x="896592" y="2031475"/>
                  </a:lnTo>
                  <a:lnTo>
                    <a:pt x="892024" y="2034651"/>
                  </a:lnTo>
                  <a:lnTo>
                    <a:pt x="877443" y="2048748"/>
                  </a:lnTo>
                  <a:lnTo>
                    <a:pt x="868186" y="2061605"/>
                  </a:lnTo>
                  <a:lnTo>
                    <a:pt x="858566" y="2068018"/>
                  </a:lnTo>
                  <a:lnTo>
                    <a:pt x="844045" y="2085715"/>
                  </a:lnTo>
                  <a:lnTo>
                    <a:pt x="841746" y="2088468"/>
                  </a:lnTo>
                  <a:lnTo>
                    <a:pt x="832913" y="2096999"/>
                  </a:lnTo>
                  <a:lnTo>
                    <a:pt x="824352" y="2106649"/>
                  </a:lnTo>
                  <a:lnTo>
                    <a:pt x="823444" y="2109463"/>
                  </a:lnTo>
                  <a:lnTo>
                    <a:pt x="822960" y="2110370"/>
                  </a:lnTo>
                  <a:lnTo>
                    <a:pt x="825229" y="2111308"/>
                  </a:lnTo>
                  <a:lnTo>
                    <a:pt x="826742" y="2109009"/>
                  </a:lnTo>
                  <a:lnTo>
                    <a:pt x="828133" y="2105742"/>
                  </a:lnTo>
                  <a:lnTo>
                    <a:pt x="829888" y="2103957"/>
                  </a:lnTo>
                  <a:lnTo>
                    <a:pt x="830674" y="2109009"/>
                  </a:lnTo>
                  <a:lnTo>
                    <a:pt x="833639" y="2111278"/>
                  </a:lnTo>
                  <a:lnTo>
                    <a:pt x="847131" y="2111762"/>
                  </a:lnTo>
                  <a:lnTo>
                    <a:pt x="848825" y="2111308"/>
                  </a:lnTo>
                  <a:lnTo>
                    <a:pt x="851699" y="2109554"/>
                  </a:lnTo>
                  <a:lnTo>
                    <a:pt x="853333" y="2109221"/>
                  </a:lnTo>
                  <a:lnTo>
                    <a:pt x="854361" y="2109402"/>
                  </a:lnTo>
                  <a:lnTo>
                    <a:pt x="856388" y="2110189"/>
                  </a:lnTo>
                  <a:lnTo>
                    <a:pt x="857447" y="2110340"/>
                  </a:lnTo>
                  <a:lnTo>
                    <a:pt x="858445" y="2109765"/>
                  </a:lnTo>
                  <a:lnTo>
                    <a:pt x="858778" y="2108495"/>
                  </a:lnTo>
                  <a:lnTo>
                    <a:pt x="858929" y="2107194"/>
                  </a:lnTo>
                  <a:lnTo>
                    <a:pt x="859595" y="2106619"/>
                  </a:lnTo>
                  <a:lnTo>
                    <a:pt x="860623" y="2106801"/>
                  </a:lnTo>
                  <a:lnTo>
                    <a:pt x="862589" y="2107587"/>
                  </a:lnTo>
                  <a:lnTo>
                    <a:pt x="864828" y="2107769"/>
                  </a:lnTo>
                  <a:lnTo>
                    <a:pt x="865373" y="2107617"/>
                  </a:lnTo>
                  <a:lnTo>
                    <a:pt x="867339" y="2105318"/>
                  </a:lnTo>
                  <a:lnTo>
                    <a:pt x="869850" y="2101537"/>
                  </a:lnTo>
                  <a:lnTo>
                    <a:pt x="871877" y="2099329"/>
                  </a:lnTo>
                  <a:lnTo>
                    <a:pt x="872119" y="2098693"/>
                  </a:lnTo>
                  <a:lnTo>
                    <a:pt x="872482" y="2098088"/>
                  </a:lnTo>
                  <a:lnTo>
                    <a:pt x="873359" y="2097483"/>
                  </a:lnTo>
                  <a:lnTo>
                    <a:pt x="874569" y="2097241"/>
                  </a:lnTo>
                  <a:lnTo>
                    <a:pt x="875840" y="2097483"/>
                  </a:lnTo>
                  <a:lnTo>
                    <a:pt x="877110" y="2098088"/>
                  </a:lnTo>
                  <a:lnTo>
                    <a:pt x="878230" y="2098875"/>
                  </a:lnTo>
                  <a:lnTo>
                    <a:pt x="878048" y="2097272"/>
                  </a:lnTo>
                  <a:lnTo>
                    <a:pt x="877625" y="2095910"/>
                  </a:lnTo>
                  <a:lnTo>
                    <a:pt x="876959" y="2094730"/>
                  </a:lnTo>
                  <a:lnTo>
                    <a:pt x="876021" y="2093732"/>
                  </a:lnTo>
                  <a:lnTo>
                    <a:pt x="878048" y="2092522"/>
                  </a:lnTo>
                  <a:lnTo>
                    <a:pt x="880317" y="2093309"/>
                  </a:lnTo>
                  <a:lnTo>
                    <a:pt x="882223" y="2093157"/>
                  </a:lnTo>
                  <a:lnTo>
                    <a:pt x="882949" y="2089013"/>
                  </a:lnTo>
                  <a:lnTo>
                    <a:pt x="883977" y="2085413"/>
                  </a:lnTo>
                  <a:lnTo>
                    <a:pt x="886337" y="2084203"/>
                  </a:lnTo>
                  <a:lnTo>
                    <a:pt x="891601" y="2084536"/>
                  </a:lnTo>
                  <a:lnTo>
                    <a:pt x="892750" y="2084112"/>
                  </a:lnTo>
                  <a:lnTo>
                    <a:pt x="894807" y="2082267"/>
                  </a:lnTo>
                  <a:lnTo>
                    <a:pt x="896078" y="2081843"/>
                  </a:lnTo>
                  <a:lnTo>
                    <a:pt x="901372" y="2082115"/>
                  </a:lnTo>
                  <a:lnTo>
                    <a:pt x="902612" y="2081269"/>
                  </a:lnTo>
                  <a:lnTo>
                    <a:pt x="904337" y="2078818"/>
                  </a:lnTo>
                  <a:lnTo>
                    <a:pt x="907846" y="2075702"/>
                  </a:lnTo>
                  <a:lnTo>
                    <a:pt x="909540" y="2073494"/>
                  </a:lnTo>
                  <a:lnTo>
                    <a:pt x="913110" y="2071558"/>
                  </a:lnTo>
                  <a:lnTo>
                    <a:pt x="916286" y="2074825"/>
                  </a:lnTo>
                  <a:lnTo>
                    <a:pt x="917556" y="2080179"/>
                  </a:lnTo>
                  <a:lnTo>
                    <a:pt x="915378" y="2084536"/>
                  </a:lnTo>
                  <a:lnTo>
                    <a:pt x="913745" y="2084112"/>
                  </a:lnTo>
                  <a:lnTo>
                    <a:pt x="911567" y="2082751"/>
                  </a:lnTo>
                  <a:lnTo>
                    <a:pt x="909540" y="2082267"/>
                  </a:lnTo>
                  <a:lnTo>
                    <a:pt x="908511" y="2084536"/>
                  </a:lnTo>
                  <a:lnTo>
                    <a:pt x="908965" y="2087198"/>
                  </a:lnTo>
                  <a:lnTo>
                    <a:pt x="911748" y="2092250"/>
                  </a:lnTo>
                  <a:lnTo>
                    <a:pt x="912625" y="2094851"/>
                  </a:lnTo>
                  <a:lnTo>
                    <a:pt x="910447" y="2095003"/>
                  </a:lnTo>
                  <a:lnTo>
                    <a:pt x="909872" y="2098845"/>
                  </a:lnTo>
                  <a:lnTo>
                    <a:pt x="910357" y="2101870"/>
                  </a:lnTo>
                  <a:lnTo>
                    <a:pt x="910115" y="2106196"/>
                  </a:lnTo>
                  <a:lnTo>
                    <a:pt x="910205" y="2110007"/>
                  </a:lnTo>
                  <a:lnTo>
                    <a:pt x="912716" y="2113123"/>
                  </a:lnTo>
                  <a:lnTo>
                    <a:pt x="913987" y="2116572"/>
                  </a:lnTo>
                  <a:lnTo>
                    <a:pt x="914803" y="2120595"/>
                  </a:lnTo>
                  <a:lnTo>
                    <a:pt x="914380" y="2123802"/>
                  </a:lnTo>
                  <a:lnTo>
                    <a:pt x="912414" y="2124800"/>
                  </a:lnTo>
                  <a:lnTo>
                    <a:pt x="909994" y="2123288"/>
                  </a:lnTo>
                  <a:lnTo>
                    <a:pt x="905698" y="2118629"/>
                  </a:lnTo>
                  <a:lnTo>
                    <a:pt x="898377" y="2114575"/>
                  </a:lnTo>
                  <a:lnTo>
                    <a:pt x="896411" y="2112337"/>
                  </a:lnTo>
                  <a:lnTo>
                    <a:pt x="895776" y="2110522"/>
                  </a:lnTo>
                  <a:lnTo>
                    <a:pt x="895291" y="2106861"/>
                  </a:lnTo>
                  <a:lnTo>
                    <a:pt x="894716" y="2105318"/>
                  </a:lnTo>
                  <a:lnTo>
                    <a:pt x="893355" y="2104411"/>
                  </a:lnTo>
                  <a:lnTo>
                    <a:pt x="891298" y="2104108"/>
                  </a:lnTo>
                  <a:lnTo>
                    <a:pt x="889241" y="2104411"/>
                  </a:lnTo>
                  <a:lnTo>
                    <a:pt x="887819" y="2105318"/>
                  </a:lnTo>
                  <a:lnTo>
                    <a:pt x="889332" y="2109160"/>
                  </a:lnTo>
                  <a:lnTo>
                    <a:pt x="895745" y="2118659"/>
                  </a:lnTo>
                  <a:lnTo>
                    <a:pt x="904730" y="2137294"/>
                  </a:lnTo>
                  <a:lnTo>
                    <a:pt x="905728" y="2138686"/>
                  </a:lnTo>
                  <a:lnTo>
                    <a:pt x="907180" y="2139896"/>
                  </a:lnTo>
                  <a:lnTo>
                    <a:pt x="913473" y="2142407"/>
                  </a:lnTo>
                  <a:lnTo>
                    <a:pt x="915106" y="2144403"/>
                  </a:lnTo>
                  <a:lnTo>
                    <a:pt x="916498" y="2145613"/>
                  </a:lnTo>
                  <a:lnTo>
                    <a:pt x="918767" y="2146127"/>
                  </a:lnTo>
                  <a:lnTo>
                    <a:pt x="922911" y="2146249"/>
                  </a:lnTo>
                  <a:lnTo>
                    <a:pt x="923607" y="2145008"/>
                  </a:lnTo>
                  <a:lnTo>
                    <a:pt x="923698" y="2142649"/>
                  </a:lnTo>
                  <a:lnTo>
                    <a:pt x="924121" y="2141136"/>
                  </a:lnTo>
                  <a:lnTo>
                    <a:pt x="925754" y="2142528"/>
                  </a:lnTo>
                  <a:lnTo>
                    <a:pt x="927267" y="2146127"/>
                  </a:lnTo>
                  <a:lnTo>
                    <a:pt x="928507" y="2150817"/>
                  </a:lnTo>
                  <a:lnTo>
                    <a:pt x="930202" y="2154840"/>
                  </a:lnTo>
                  <a:lnTo>
                    <a:pt x="932954" y="2156534"/>
                  </a:lnTo>
                  <a:lnTo>
                    <a:pt x="936464" y="2157714"/>
                  </a:lnTo>
                  <a:lnTo>
                    <a:pt x="938944" y="2160739"/>
                  </a:lnTo>
                  <a:lnTo>
                    <a:pt x="942937" y="2169391"/>
                  </a:lnTo>
                  <a:lnTo>
                    <a:pt x="945811" y="2173203"/>
                  </a:lnTo>
                  <a:lnTo>
                    <a:pt x="949502" y="2175502"/>
                  </a:lnTo>
                  <a:lnTo>
                    <a:pt x="953586" y="2176682"/>
                  </a:lnTo>
                  <a:lnTo>
                    <a:pt x="970103" y="2176863"/>
                  </a:lnTo>
                  <a:lnTo>
                    <a:pt x="986318" y="2178376"/>
                  </a:lnTo>
                  <a:lnTo>
                    <a:pt x="986348" y="2178376"/>
                  </a:lnTo>
                  <a:lnTo>
                    <a:pt x="990432" y="2176712"/>
                  </a:lnTo>
                  <a:lnTo>
                    <a:pt x="997178" y="2172446"/>
                  </a:lnTo>
                  <a:lnTo>
                    <a:pt x="1014845" y="2172507"/>
                  </a:lnTo>
                  <a:lnTo>
                    <a:pt x="1029759" y="2178708"/>
                  </a:lnTo>
                  <a:lnTo>
                    <a:pt x="1033329" y="2181915"/>
                  </a:lnTo>
                  <a:lnTo>
                    <a:pt x="1034841" y="2184910"/>
                  </a:lnTo>
                  <a:lnTo>
                    <a:pt x="1034750" y="2186876"/>
                  </a:lnTo>
                  <a:lnTo>
                    <a:pt x="1034146" y="2188661"/>
                  </a:lnTo>
                  <a:lnTo>
                    <a:pt x="1033934" y="2190900"/>
                  </a:lnTo>
                  <a:lnTo>
                    <a:pt x="1034629" y="2193441"/>
                  </a:lnTo>
                  <a:lnTo>
                    <a:pt x="1035900" y="2195800"/>
                  </a:lnTo>
                  <a:lnTo>
                    <a:pt x="1037231" y="2197313"/>
                  </a:lnTo>
                  <a:lnTo>
                    <a:pt x="1038108" y="2197313"/>
                  </a:lnTo>
                  <a:lnTo>
                    <a:pt x="1039712" y="2204180"/>
                  </a:lnTo>
                  <a:lnTo>
                    <a:pt x="1045036" y="2207477"/>
                  </a:lnTo>
                  <a:lnTo>
                    <a:pt x="1066061" y="2209474"/>
                  </a:lnTo>
                  <a:lnTo>
                    <a:pt x="1068541" y="2211259"/>
                  </a:lnTo>
                  <a:lnTo>
                    <a:pt x="1069691" y="2214314"/>
                  </a:lnTo>
                  <a:lnTo>
                    <a:pt x="1068662" y="2215918"/>
                  </a:lnTo>
                  <a:lnTo>
                    <a:pt x="1066938" y="2217400"/>
                  </a:lnTo>
                  <a:lnTo>
                    <a:pt x="1065758" y="2220123"/>
                  </a:lnTo>
                  <a:lnTo>
                    <a:pt x="1067513" y="2222028"/>
                  </a:lnTo>
                  <a:lnTo>
                    <a:pt x="1066696" y="2226808"/>
                  </a:lnTo>
                  <a:lnTo>
                    <a:pt x="1064336" y="2231739"/>
                  </a:lnTo>
                  <a:lnTo>
                    <a:pt x="1061251" y="2233978"/>
                  </a:lnTo>
                  <a:lnTo>
                    <a:pt x="1056531" y="2233615"/>
                  </a:lnTo>
                  <a:lnTo>
                    <a:pt x="1031120" y="2224872"/>
                  </a:lnTo>
                  <a:lnTo>
                    <a:pt x="1025221" y="2220788"/>
                  </a:lnTo>
                  <a:lnTo>
                    <a:pt x="994546" y="2215555"/>
                  </a:lnTo>
                  <a:lnTo>
                    <a:pt x="971071" y="2210049"/>
                  </a:lnTo>
                  <a:lnTo>
                    <a:pt x="960544" y="2209232"/>
                  </a:lnTo>
                  <a:lnTo>
                    <a:pt x="956369" y="2210745"/>
                  </a:lnTo>
                  <a:lnTo>
                    <a:pt x="953283" y="2213437"/>
                  </a:lnTo>
                  <a:lnTo>
                    <a:pt x="948413" y="2220183"/>
                  </a:lnTo>
                  <a:lnTo>
                    <a:pt x="945690" y="2222694"/>
                  </a:lnTo>
                  <a:lnTo>
                    <a:pt x="944904" y="2222936"/>
                  </a:lnTo>
                  <a:lnTo>
                    <a:pt x="942272" y="2222694"/>
                  </a:lnTo>
                  <a:lnTo>
                    <a:pt x="947324" y="2227988"/>
                  </a:lnTo>
                  <a:lnTo>
                    <a:pt x="947687" y="2230650"/>
                  </a:lnTo>
                  <a:lnTo>
                    <a:pt x="945327" y="2236035"/>
                  </a:lnTo>
                  <a:lnTo>
                    <a:pt x="941818" y="2240875"/>
                  </a:lnTo>
                  <a:lnTo>
                    <a:pt x="940820" y="2241571"/>
                  </a:lnTo>
                  <a:lnTo>
                    <a:pt x="940033" y="2241813"/>
                  </a:lnTo>
                  <a:lnTo>
                    <a:pt x="937311" y="2243598"/>
                  </a:lnTo>
                  <a:lnTo>
                    <a:pt x="936040" y="2244082"/>
                  </a:lnTo>
                  <a:lnTo>
                    <a:pt x="933650" y="2243204"/>
                  </a:lnTo>
                  <a:lnTo>
                    <a:pt x="932500" y="2243567"/>
                  </a:lnTo>
                  <a:lnTo>
                    <a:pt x="928659" y="2248408"/>
                  </a:lnTo>
                  <a:lnTo>
                    <a:pt x="927328" y="2249103"/>
                  </a:lnTo>
                  <a:lnTo>
                    <a:pt x="925482" y="2248619"/>
                  </a:lnTo>
                  <a:lnTo>
                    <a:pt x="922518" y="2246774"/>
                  </a:lnTo>
                  <a:lnTo>
                    <a:pt x="920703" y="2246774"/>
                  </a:lnTo>
                  <a:lnTo>
                    <a:pt x="917405" y="2248680"/>
                  </a:lnTo>
                  <a:lnTo>
                    <a:pt x="915802" y="2249043"/>
                  </a:lnTo>
                  <a:lnTo>
                    <a:pt x="913866" y="2247984"/>
                  </a:lnTo>
                  <a:lnTo>
                    <a:pt x="913321" y="2247198"/>
                  </a:lnTo>
                  <a:lnTo>
                    <a:pt x="912323" y="2245050"/>
                  </a:lnTo>
                  <a:lnTo>
                    <a:pt x="911778" y="2244203"/>
                  </a:lnTo>
                  <a:lnTo>
                    <a:pt x="910780" y="2243537"/>
                  </a:lnTo>
                  <a:lnTo>
                    <a:pt x="908662" y="2242962"/>
                  </a:lnTo>
                  <a:lnTo>
                    <a:pt x="905849" y="2241329"/>
                  </a:lnTo>
                  <a:lnTo>
                    <a:pt x="902037" y="2240391"/>
                  </a:lnTo>
                  <a:lnTo>
                    <a:pt x="899103" y="2236791"/>
                  </a:lnTo>
                  <a:lnTo>
                    <a:pt x="897379" y="2235702"/>
                  </a:lnTo>
                  <a:lnTo>
                    <a:pt x="895533" y="2235218"/>
                  </a:lnTo>
                  <a:lnTo>
                    <a:pt x="893839" y="2235460"/>
                  </a:lnTo>
                  <a:lnTo>
                    <a:pt x="891359" y="2237154"/>
                  </a:lnTo>
                  <a:lnTo>
                    <a:pt x="888636" y="2240210"/>
                  </a:lnTo>
                  <a:lnTo>
                    <a:pt x="886458" y="2244172"/>
                  </a:lnTo>
                  <a:lnTo>
                    <a:pt x="885581" y="2248559"/>
                  </a:lnTo>
                  <a:lnTo>
                    <a:pt x="885823" y="2258512"/>
                  </a:lnTo>
                  <a:lnTo>
                    <a:pt x="885490" y="2263443"/>
                  </a:lnTo>
                  <a:lnTo>
                    <a:pt x="884159" y="2268132"/>
                  </a:lnTo>
                  <a:lnTo>
                    <a:pt x="881194" y="2271157"/>
                  </a:lnTo>
                  <a:lnTo>
                    <a:pt x="877201" y="2270824"/>
                  </a:lnTo>
                  <a:lnTo>
                    <a:pt x="865978" y="2266619"/>
                  </a:lnTo>
                  <a:lnTo>
                    <a:pt x="864495" y="2262959"/>
                  </a:lnTo>
                  <a:lnTo>
                    <a:pt x="863558" y="2258421"/>
                  </a:lnTo>
                  <a:lnTo>
                    <a:pt x="862075" y="2254246"/>
                  </a:lnTo>
                  <a:lnTo>
                    <a:pt x="859504" y="2251040"/>
                  </a:lnTo>
                  <a:lnTo>
                    <a:pt x="855874" y="2248075"/>
                  </a:lnTo>
                  <a:lnTo>
                    <a:pt x="852153" y="2246744"/>
                  </a:lnTo>
                  <a:lnTo>
                    <a:pt x="849309" y="2248559"/>
                  </a:lnTo>
                  <a:lnTo>
                    <a:pt x="844076" y="2254307"/>
                  </a:lnTo>
                  <a:lnTo>
                    <a:pt x="843864" y="2257060"/>
                  </a:lnTo>
                  <a:lnTo>
                    <a:pt x="842926" y="2262142"/>
                  </a:lnTo>
                  <a:lnTo>
                    <a:pt x="842714" y="2264380"/>
                  </a:lnTo>
                  <a:lnTo>
                    <a:pt x="843410" y="2268404"/>
                  </a:lnTo>
                  <a:lnTo>
                    <a:pt x="844983" y="2272397"/>
                  </a:lnTo>
                  <a:lnTo>
                    <a:pt x="848613" y="2278750"/>
                  </a:lnTo>
                  <a:lnTo>
                    <a:pt x="850701" y="2287311"/>
                  </a:lnTo>
                  <a:lnTo>
                    <a:pt x="848976" y="2296447"/>
                  </a:lnTo>
                  <a:lnTo>
                    <a:pt x="845316" y="2304857"/>
                  </a:lnTo>
                  <a:lnTo>
                    <a:pt x="847282" y="2308275"/>
                  </a:lnTo>
                  <a:lnTo>
                    <a:pt x="851820" y="2310484"/>
                  </a:lnTo>
                  <a:lnTo>
                    <a:pt x="853968" y="2312601"/>
                  </a:lnTo>
                  <a:lnTo>
                    <a:pt x="856328" y="2318016"/>
                  </a:lnTo>
                  <a:lnTo>
                    <a:pt x="857265" y="2319680"/>
                  </a:lnTo>
                  <a:lnTo>
                    <a:pt x="858475" y="2320951"/>
                  </a:lnTo>
                  <a:lnTo>
                    <a:pt x="861077" y="2323008"/>
                  </a:lnTo>
                  <a:lnTo>
                    <a:pt x="862196" y="2324309"/>
                  </a:lnTo>
                  <a:lnTo>
                    <a:pt x="861743" y="2327727"/>
                  </a:lnTo>
                  <a:lnTo>
                    <a:pt x="859262" y="2326275"/>
                  </a:lnTo>
                  <a:lnTo>
                    <a:pt x="854845" y="2329633"/>
                  </a:lnTo>
                  <a:lnTo>
                    <a:pt x="846677" y="2330268"/>
                  </a:lnTo>
                  <a:lnTo>
                    <a:pt x="843471" y="2331750"/>
                  </a:lnTo>
                  <a:lnTo>
                    <a:pt x="850761" y="2334443"/>
                  </a:lnTo>
                  <a:lnTo>
                    <a:pt x="853151" y="2334322"/>
                  </a:lnTo>
                  <a:lnTo>
                    <a:pt x="851124" y="2336893"/>
                  </a:lnTo>
                  <a:lnTo>
                    <a:pt x="839357" y="2336651"/>
                  </a:lnTo>
                  <a:lnTo>
                    <a:pt x="833760" y="2339555"/>
                  </a:lnTo>
                  <a:lnTo>
                    <a:pt x="831582" y="2342248"/>
                  </a:lnTo>
                  <a:lnTo>
                    <a:pt x="832459" y="2345424"/>
                  </a:lnTo>
                  <a:lnTo>
                    <a:pt x="830705" y="2349327"/>
                  </a:lnTo>
                  <a:lnTo>
                    <a:pt x="827589" y="2362879"/>
                  </a:lnTo>
                  <a:lnTo>
                    <a:pt x="821750" y="2378035"/>
                  </a:lnTo>
                  <a:lnTo>
                    <a:pt x="820026" y="2381847"/>
                  </a:lnTo>
                  <a:lnTo>
                    <a:pt x="815730" y="2389319"/>
                  </a:lnTo>
                  <a:lnTo>
                    <a:pt x="814580" y="2393342"/>
                  </a:lnTo>
                  <a:lnTo>
                    <a:pt x="812856" y="2396004"/>
                  </a:lnTo>
                  <a:lnTo>
                    <a:pt x="812705" y="2396216"/>
                  </a:lnTo>
                  <a:lnTo>
                    <a:pt x="803781" y="2403598"/>
                  </a:lnTo>
                  <a:lnTo>
                    <a:pt x="790924" y="2414216"/>
                  </a:lnTo>
                  <a:lnTo>
                    <a:pt x="787747" y="2424320"/>
                  </a:lnTo>
                  <a:lnTo>
                    <a:pt x="784178" y="2435725"/>
                  </a:lnTo>
                  <a:lnTo>
                    <a:pt x="785993" y="2443832"/>
                  </a:lnTo>
                  <a:lnTo>
                    <a:pt x="788050" y="2452877"/>
                  </a:lnTo>
                  <a:lnTo>
                    <a:pt x="793041" y="2474840"/>
                  </a:lnTo>
                  <a:lnTo>
                    <a:pt x="798698" y="2499464"/>
                  </a:lnTo>
                  <a:lnTo>
                    <a:pt x="792618" y="2512805"/>
                  </a:lnTo>
                  <a:lnTo>
                    <a:pt x="791468" y="2521790"/>
                  </a:lnTo>
                  <a:lnTo>
                    <a:pt x="792739" y="2530049"/>
                  </a:lnTo>
                  <a:lnTo>
                    <a:pt x="795159" y="2534798"/>
                  </a:lnTo>
                  <a:lnTo>
                    <a:pt x="797216" y="2538822"/>
                  </a:lnTo>
                  <a:lnTo>
                    <a:pt x="801210" y="2546868"/>
                  </a:lnTo>
                  <a:lnTo>
                    <a:pt x="806322" y="2553433"/>
                  </a:lnTo>
                  <a:lnTo>
                    <a:pt x="806957" y="2558545"/>
                  </a:lnTo>
                  <a:lnTo>
                    <a:pt x="806292" y="2563083"/>
                  </a:lnTo>
                  <a:lnTo>
                    <a:pt x="806473" y="2568135"/>
                  </a:lnTo>
                  <a:lnTo>
                    <a:pt x="808349" y="2568861"/>
                  </a:lnTo>
                  <a:lnTo>
                    <a:pt x="810194" y="2570253"/>
                  </a:lnTo>
                  <a:lnTo>
                    <a:pt x="810860" y="2574488"/>
                  </a:lnTo>
                  <a:lnTo>
                    <a:pt x="810345" y="2576726"/>
                  </a:lnTo>
                  <a:lnTo>
                    <a:pt x="809619" y="2578632"/>
                  </a:lnTo>
                  <a:lnTo>
                    <a:pt x="809256" y="2580629"/>
                  </a:lnTo>
                  <a:lnTo>
                    <a:pt x="809801" y="2583079"/>
                  </a:lnTo>
                  <a:lnTo>
                    <a:pt x="810618" y="2584017"/>
                  </a:lnTo>
                  <a:lnTo>
                    <a:pt x="820843" y="2587889"/>
                  </a:lnTo>
                  <a:lnTo>
                    <a:pt x="822506" y="2589583"/>
                  </a:lnTo>
                  <a:lnTo>
                    <a:pt x="823353" y="2593032"/>
                  </a:lnTo>
                  <a:lnTo>
                    <a:pt x="822083" y="2595392"/>
                  </a:lnTo>
                  <a:lnTo>
                    <a:pt x="819723" y="2596934"/>
                  </a:lnTo>
                  <a:lnTo>
                    <a:pt x="813431" y="2599324"/>
                  </a:lnTo>
                  <a:lnTo>
                    <a:pt x="798910" y="2601381"/>
                  </a:lnTo>
                  <a:lnTo>
                    <a:pt x="797005" y="2601654"/>
                  </a:lnTo>
                  <a:lnTo>
                    <a:pt x="795673" y="2602380"/>
                  </a:lnTo>
                  <a:lnTo>
                    <a:pt x="796490" y="2602803"/>
                  </a:lnTo>
                  <a:lnTo>
                    <a:pt x="798638" y="2604588"/>
                  </a:lnTo>
                  <a:lnTo>
                    <a:pt x="795825" y="2605889"/>
                  </a:lnTo>
                  <a:lnTo>
                    <a:pt x="794433" y="2606917"/>
                  </a:lnTo>
                  <a:lnTo>
                    <a:pt x="793435" y="2608430"/>
                  </a:lnTo>
                  <a:lnTo>
                    <a:pt x="792981" y="2611395"/>
                  </a:lnTo>
                  <a:lnTo>
                    <a:pt x="794100" y="2616295"/>
                  </a:lnTo>
                  <a:lnTo>
                    <a:pt x="793979" y="2618504"/>
                  </a:lnTo>
                  <a:lnTo>
                    <a:pt x="792225" y="2620258"/>
                  </a:lnTo>
                  <a:lnTo>
                    <a:pt x="783936" y="2622951"/>
                  </a:lnTo>
                  <a:lnTo>
                    <a:pt x="782302" y="2624463"/>
                  </a:lnTo>
                  <a:lnTo>
                    <a:pt x="781606" y="2625492"/>
                  </a:lnTo>
                  <a:lnTo>
                    <a:pt x="781123" y="2626853"/>
                  </a:lnTo>
                  <a:lnTo>
                    <a:pt x="780880" y="2628547"/>
                  </a:lnTo>
                  <a:lnTo>
                    <a:pt x="780971" y="2629364"/>
                  </a:lnTo>
                  <a:lnTo>
                    <a:pt x="781183" y="2630090"/>
                  </a:lnTo>
                  <a:lnTo>
                    <a:pt x="781455" y="2632359"/>
                  </a:lnTo>
                  <a:lnTo>
                    <a:pt x="781697" y="2632934"/>
                  </a:lnTo>
                  <a:lnTo>
                    <a:pt x="781849" y="2633539"/>
                  </a:lnTo>
                  <a:lnTo>
                    <a:pt x="781637" y="2637108"/>
                  </a:lnTo>
                  <a:lnTo>
                    <a:pt x="781364" y="2637865"/>
                  </a:lnTo>
                  <a:lnTo>
                    <a:pt x="780608" y="2638712"/>
                  </a:lnTo>
                  <a:lnTo>
                    <a:pt x="779368" y="2639286"/>
                  </a:lnTo>
                  <a:lnTo>
                    <a:pt x="778007" y="2639377"/>
                  </a:lnTo>
                  <a:lnTo>
                    <a:pt x="776766" y="2639801"/>
                  </a:lnTo>
                  <a:lnTo>
                    <a:pt x="775889" y="2641283"/>
                  </a:lnTo>
                  <a:lnTo>
                    <a:pt x="775889" y="2643431"/>
                  </a:lnTo>
                  <a:lnTo>
                    <a:pt x="776615" y="2646305"/>
                  </a:lnTo>
                  <a:lnTo>
                    <a:pt x="777553" y="2649027"/>
                  </a:lnTo>
                  <a:lnTo>
                    <a:pt x="778370" y="2650812"/>
                  </a:lnTo>
                  <a:lnTo>
                    <a:pt x="795976" y="2650661"/>
                  </a:lnTo>
                  <a:lnTo>
                    <a:pt x="795431" y="2656953"/>
                  </a:lnTo>
                  <a:lnTo>
                    <a:pt x="795734" y="2661007"/>
                  </a:lnTo>
                  <a:lnTo>
                    <a:pt x="794675" y="2664516"/>
                  </a:lnTo>
                  <a:lnTo>
                    <a:pt x="794312" y="2667511"/>
                  </a:lnTo>
                  <a:lnTo>
                    <a:pt x="796823" y="2670052"/>
                  </a:lnTo>
                  <a:lnTo>
                    <a:pt x="807320" y="2674650"/>
                  </a:lnTo>
                  <a:lnTo>
                    <a:pt x="812705" y="2680247"/>
                  </a:lnTo>
                  <a:lnTo>
                    <a:pt x="814066" y="2681638"/>
                  </a:lnTo>
                  <a:lnTo>
                    <a:pt x="824261" y="2687507"/>
                  </a:lnTo>
                  <a:lnTo>
                    <a:pt x="826106" y="2689020"/>
                  </a:lnTo>
                  <a:lnTo>
                    <a:pt x="827377" y="2691470"/>
                  </a:lnTo>
                  <a:lnTo>
                    <a:pt x="827952" y="2695463"/>
                  </a:lnTo>
                  <a:lnTo>
                    <a:pt x="827468" y="2705053"/>
                  </a:lnTo>
                  <a:lnTo>
                    <a:pt x="826742" y="2710287"/>
                  </a:lnTo>
                  <a:lnTo>
                    <a:pt x="825804" y="2713947"/>
                  </a:lnTo>
                  <a:lnTo>
                    <a:pt x="822749" y="2716609"/>
                  </a:lnTo>
                  <a:lnTo>
                    <a:pt x="813401" y="2720814"/>
                  </a:lnTo>
                  <a:lnTo>
                    <a:pt x="811495" y="2723385"/>
                  </a:lnTo>
                  <a:lnTo>
                    <a:pt x="812887" y="2726501"/>
                  </a:lnTo>
                  <a:lnTo>
                    <a:pt x="815488" y="2727742"/>
                  </a:lnTo>
                  <a:lnTo>
                    <a:pt x="817848" y="2729436"/>
                  </a:lnTo>
                  <a:lnTo>
                    <a:pt x="818392" y="2733792"/>
                  </a:lnTo>
                  <a:lnTo>
                    <a:pt x="817908" y="2735637"/>
                  </a:lnTo>
                  <a:lnTo>
                    <a:pt x="816275" y="2739298"/>
                  </a:lnTo>
                  <a:lnTo>
                    <a:pt x="815669" y="2741143"/>
                  </a:lnTo>
                  <a:lnTo>
                    <a:pt x="815428" y="2742898"/>
                  </a:lnTo>
                  <a:lnTo>
                    <a:pt x="815186" y="2746255"/>
                  </a:lnTo>
                  <a:lnTo>
                    <a:pt x="814853" y="2748192"/>
                  </a:lnTo>
                  <a:lnTo>
                    <a:pt x="808197" y="2761411"/>
                  </a:lnTo>
                  <a:lnTo>
                    <a:pt x="806141" y="2767371"/>
                  </a:lnTo>
                  <a:lnTo>
                    <a:pt x="807744" y="2767734"/>
                  </a:lnTo>
                  <a:lnTo>
                    <a:pt x="809438" y="2768157"/>
                  </a:lnTo>
                  <a:lnTo>
                    <a:pt x="817787" y="2763832"/>
                  </a:lnTo>
                  <a:lnTo>
                    <a:pt x="822023" y="2762773"/>
                  </a:lnTo>
                  <a:lnTo>
                    <a:pt x="826500" y="2763952"/>
                  </a:lnTo>
                  <a:lnTo>
                    <a:pt x="828647" y="2765616"/>
                  </a:lnTo>
                  <a:lnTo>
                    <a:pt x="832611" y="2769791"/>
                  </a:lnTo>
                  <a:lnTo>
                    <a:pt x="834819" y="2771395"/>
                  </a:lnTo>
                  <a:lnTo>
                    <a:pt x="835363" y="2773814"/>
                  </a:lnTo>
                  <a:lnTo>
                    <a:pt x="833488" y="2777687"/>
                  </a:lnTo>
                  <a:lnTo>
                    <a:pt x="831098" y="2781680"/>
                  </a:lnTo>
                  <a:lnTo>
                    <a:pt x="830039" y="2784493"/>
                  </a:lnTo>
                  <a:lnTo>
                    <a:pt x="831763" y="2787397"/>
                  </a:lnTo>
                  <a:lnTo>
                    <a:pt x="841625" y="2793871"/>
                  </a:lnTo>
                  <a:lnTo>
                    <a:pt x="842654" y="2796745"/>
                  </a:lnTo>
                  <a:lnTo>
                    <a:pt x="842745" y="2804278"/>
                  </a:lnTo>
                  <a:lnTo>
                    <a:pt x="843289" y="2807847"/>
                  </a:lnTo>
                  <a:lnTo>
                    <a:pt x="844651" y="2810570"/>
                  </a:lnTo>
                  <a:lnTo>
                    <a:pt x="846405" y="2812385"/>
                  </a:lnTo>
                  <a:lnTo>
                    <a:pt x="854482" y="2816015"/>
                  </a:lnTo>
                  <a:lnTo>
                    <a:pt x="856267" y="2817255"/>
                  </a:lnTo>
                  <a:lnTo>
                    <a:pt x="856872" y="2819222"/>
                  </a:lnTo>
                  <a:lnTo>
                    <a:pt x="856176" y="2820704"/>
                  </a:lnTo>
                  <a:lnTo>
                    <a:pt x="853544" y="2822973"/>
                  </a:lnTo>
                  <a:lnTo>
                    <a:pt x="852909" y="2824970"/>
                  </a:lnTo>
                  <a:lnTo>
                    <a:pt x="853242" y="2826573"/>
                  </a:lnTo>
                  <a:lnTo>
                    <a:pt x="854059" y="2828086"/>
                  </a:lnTo>
                  <a:lnTo>
                    <a:pt x="859292" y="2834227"/>
                  </a:lnTo>
                  <a:lnTo>
                    <a:pt x="860079" y="2835618"/>
                  </a:lnTo>
                  <a:lnTo>
                    <a:pt x="860442" y="2837403"/>
                  </a:lnTo>
                  <a:lnTo>
                    <a:pt x="860079" y="2843151"/>
                  </a:lnTo>
                  <a:lnTo>
                    <a:pt x="860351" y="2846993"/>
                  </a:lnTo>
                  <a:lnTo>
                    <a:pt x="861077" y="2850351"/>
                  </a:lnTo>
                  <a:lnTo>
                    <a:pt x="865161" y="2861725"/>
                  </a:lnTo>
                  <a:lnTo>
                    <a:pt x="865373" y="2863510"/>
                  </a:lnTo>
                  <a:lnTo>
                    <a:pt x="865221" y="2865961"/>
                  </a:lnTo>
                  <a:lnTo>
                    <a:pt x="864647" y="2867261"/>
                  </a:lnTo>
                  <a:lnTo>
                    <a:pt x="863830" y="2868350"/>
                  </a:lnTo>
                  <a:lnTo>
                    <a:pt x="863013" y="2870105"/>
                  </a:lnTo>
                  <a:lnTo>
                    <a:pt x="862106" y="2874037"/>
                  </a:lnTo>
                  <a:lnTo>
                    <a:pt x="861531" y="2877940"/>
                  </a:lnTo>
                  <a:lnTo>
                    <a:pt x="860593" y="2881600"/>
                  </a:lnTo>
                  <a:lnTo>
                    <a:pt x="858536" y="2884807"/>
                  </a:lnTo>
                  <a:lnTo>
                    <a:pt x="860593" y="2887651"/>
                  </a:lnTo>
                  <a:lnTo>
                    <a:pt x="867581" y="2894699"/>
                  </a:lnTo>
                  <a:lnTo>
                    <a:pt x="870667" y="2898753"/>
                  </a:lnTo>
                  <a:lnTo>
                    <a:pt x="872724" y="2900689"/>
                  </a:lnTo>
                  <a:lnTo>
                    <a:pt x="874872" y="2901324"/>
                  </a:lnTo>
                  <a:lnTo>
                    <a:pt x="877141" y="2900084"/>
                  </a:lnTo>
                  <a:lnTo>
                    <a:pt x="880438" y="2895304"/>
                  </a:lnTo>
                  <a:lnTo>
                    <a:pt x="882798" y="2893701"/>
                  </a:lnTo>
                  <a:lnTo>
                    <a:pt x="897681" y="2892188"/>
                  </a:lnTo>
                  <a:lnTo>
                    <a:pt x="903429" y="2893096"/>
                  </a:lnTo>
                  <a:lnTo>
                    <a:pt x="905063" y="2893731"/>
                  </a:lnTo>
                  <a:lnTo>
                    <a:pt x="906030" y="2894639"/>
                  </a:lnTo>
                  <a:lnTo>
                    <a:pt x="907664" y="2897482"/>
                  </a:lnTo>
                  <a:lnTo>
                    <a:pt x="911173" y="2902141"/>
                  </a:lnTo>
                  <a:lnTo>
                    <a:pt x="912051" y="2903835"/>
                  </a:lnTo>
                  <a:lnTo>
                    <a:pt x="912988" y="2907707"/>
                  </a:lnTo>
                  <a:lnTo>
                    <a:pt x="913563" y="2911640"/>
                  </a:lnTo>
                  <a:lnTo>
                    <a:pt x="914622" y="2914968"/>
                  </a:lnTo>
                  <a:lnTo>
                    <a:pt x="917224" y="2917115"/>
                  </a:lnTo>
                  <a:lnTo>
                    <a:pt x="924968" y="2919173"/>
                  </a:lnTo>
                  <a:lnTo>
                    <a:pt x="927177" y="2918628"/>
                  </a:lnTo>
                  <a:lnTo>
                    <a:pt x="927388" y="2914756"/>
                  </a:lnTo>
                  <a:lnTo>
                    <a:pt x="930081" y="2912215"/>
                  </a:lnTo>
                  <a:lnTo>
                    <a:pt x="936373" y="2909643"/>
                  </a:lnTo>
                  <a:lnTo>
                    <a:pt x="936373" y="2909643"/>
                  </a:lnTo>
                  <a:lnTo>
                    <a:pt x="942272" y="2906074"/>
                  </a:lnTo>
                  <a:lnTo>
                    <a:pt x="947293" y="2904319"/>
                  </a:lnTo>
                  <a:lnTo>
                    <a:pt x="953132" y="2904471"/>
                  </a:lnTo>
                  <a:lnTo>
                    <a:pt x="958819" y="2906316"/>
                  </a:lnTo>
                  <a:lnTo>
                    <a:pt x="963629" y="2909613"/>
                  </a:lnTo>
                  <a:lnTo>
                    <a:pt x="966776" y="2911882"/>
                  </a:lnTo>
                  <a:lnTo>
                    <a:pt x="982204" y="2915906"/>
                  </a:lnTo>
                  <a:lnTo>
                    <a:pt x="984019" y="2916934"/>
                  </a:lnTo>
                  <a:lnTo>
                    <a:pt x="985803" y="2918568"/>
                  </a:lnTo>
                  <a:lnTo>
                    <a:pt x="987649" y="2920837"/>
                  </a:lnTo>
                  <a:lnTo>
                    <a:pt x="988587" y="2922349"/>
                  </a:lnTo>
                  <a:lnTo>
                    <a:pt x="988919" y="2923680"/>
                  </a:lnTo>
                  <a:lnTo>
                    <a:pt x="988526" y="2924739"/>
                  </a:lnTo>
                  <a:lnTo>
                    <a:pt x="987830" y="2924890"/>
                  </a:lnTo>
                  <a:lnTo>
                    <a:pt x="987014" y="2924830"/>
                  </a:lnTo>
                  <a:lnTo>
                    <a:pt x="986197" y="2925162"/>
                  </a:lnTo>
                  <a:lnTo>
                    <a:pt x="985259" y="2925858"/>
                  </a:lnTo>
                  <a:lnTo>
                    <a:pt x="984442" y="2926161"/>
                  </a:lnTo>
                  <a:lnTo>
                    <a:pt x="983656" y="2926766"/>
                  </a:lnTo>
                  <a:lnTo>
                    <a:pt x="982869" y="2928127"/>
                  </a:lnTo>
                  <a:lnTo>
                    <a:pt x="982536" y="2929579"/>
                  </a:lnTo>
                  <a:lnTo>
                    <a:pt x="981992" y="2933603"/>
                  </a:lnTo>
                  <a:lnTo>
                    <a:pt x="981629" y="2935357"/>
                  </a:lnTo>
                  <a:lnTo>
                    <a:pt x="979239" y="2940863"/>
                  </a:lnTo>
                  <a:lnTo>
                    <a:pt x="978785" y="2943465"/>
                  </a:lnTo>
                  <a:lnTo>
                    <a:pt x="979481" y="2946913"/>
                  </a:lnTo>
                  <a:lnTo>
                    <a:pt x="980752" y="2949303"/>
                  </a:lnTo>
                  <a:lnTo>
                    <a:pt x="985774" y="2953206"/>
                  </a:lnTo>
                  <a:lnTo>
                    <a:pt x="990583" y="2959830"/>
                  </a:lnTo>
                  <a:lnTo>
                    <a:pt x="992610" y="2960859"/>
                  </a:lnTo>
                  <a:lnTo>
                    <a:pt x="995333" y="2960133"/>
                  </a:lnTo>
                  <a:lnTo>
                    <a:pt x="1003108" y="2951511"/>
                  </a:lnTo>
                  <a:lnTo>
                    <a:pt x="1013030" y="2946157"/>
                  </a:lnTo>
                  <a:lnTo>
                    <a:pt x="1015752" y="2945612"/>
                  </a:lnTo>
                  <a:lnTo>
                    <a:pt x="1022650" y="2947276"/>
                  </a:lnTo>
                  <a:lnTo>
                    <a:pt x="1025282" y="2945975"/>
                  </a:lnTo>
                  <a:lnTo>
                    <a:pt x="1029184" y="2939229"/>
                  </a:lnTo>
                  <a:lnTo>
                    <a:pt x="1031665" y="2936265"/>
                  </a:lnTo>
                  <a:lnTo>
                    <a:pt x="1035537" y="2934177"/>
                  </a:lnTo>
                  <a:lnTo>
                    <a:pt x="1039560" y="2933330"/>
                  </a:lnTo>
                  <a:lnTo>
                    <a:pt x="1043645" y="2933572"/>
                  </a:lnTo>
                  <a:lnTo>
                    <a:pt x="1055503" y="2937656"/>
                  </a:lnTo>
                  <a:lnTo>
                    <a:pt x="1058135" y="2936870"/>
                  </a:lnTo>
                  <a:lnTo>
                    <a:pt x="1062672" y="2932846"/>
                  </a:lnTo>
                  <a:lnTo>
                    <a:pt x="1064972" y="2931757"/>
                  </a:lnTo>
                  <a:lnTo>
                    <a:pt x="1066756" y="2932211"/>
                  </a:lnTo>
                  <a:lnTo>
                    <a:pt x="1070175" y="2935085"/>
                  </a:lnTo>
                  <a:lnTo>
                    <a:pt x="1072111" y="2936235"/>
                  </a:lnTo>
                  <a:lnTo>
                    <a:pt x="1092047" y="2942376"/>
                  </a:lnTo>
                  <a:lnTo>
                    <a:pt x="1092924" y="2943313"/>
                  </a:lnTo>
                  <a:lnTo>
                    <a:pt x="1092924" y="2944705"/>
                  </a:lnTo>
                  <a:lnTo>
                    <a:pt x="1092349" y="2946036"/>
                  </a:lnTo>
                  <a:lnTo>
                    <a:pt x="1092107" y="2947427"/>
                  </a:lnTo>
                  <a:lnTo>
                    <a:pt x="1093257" y="2948819"/>
                  </a:lnTo>
                  <a:lnTo>
                    <a:pt x="1102181" y="2952843"/>
                  </a:lnTo>
                  <a:lnTo>
                    <a:pt x="1103240" y="2953629"/>
                  </a:lnTo>
                  <a:lnTo>
                    <a:pt x="1103966" y="2954688"/>
                  </a:lnTo>
                  <a:lnTo>
                    <a:pt x="1104389" y="2956745"/>
                  </a:lnTo>
                  <a:lnTo>
                    <a:pt x="1104057" y="2958258"/>
                  </a:lnTo>
                  <a:lnTo>
                    <a:pt x="1103602" y="2959589"/>
                  </a:lnTo>
                  <a:lnTo>
                    <a:pt x="1103602" y="2961101"/>
                  </a:lnTo>
                  <a:lnTo>
                    <a:pt x="1104873" y="2963370"/>
                  </a:lnTo>
                  <a:lnTo>
                    <a:pt x="1106900" y="2964671"/>
                  </a:lnTo>
                  <a:lnTo>
                    <a:pt x="1109169" y="2965155"/>
                  </a:lnTo>
                  <a:lnTo>
                    <a:pt x="1113283" y="2964852"/>
                  </a:lnTo>
                  <a:lnTo>
                    <a:pt x="1114645" y="2965548"/>
                  </a:lnTo>
                  <a:lnTo>
                    <a:pt x="1115643" y="2967151"/>
                  </a:lnTo>
                  <a:lnTo>
                    <a:pt x="1116641" y="2969723"/>
                  </a:lnTo>
                  <a:lnTo>
                    <a:pt x="1119575" y="2975017"/>
                  </a:lnTo>
                  <a:lnTo>
                    <a:pt x="1122450" y="2975471"/>
                  </a:lnTo>
                  <a:lnTo>
                    <a:pt x="1125777" y="2973686"/>
                  </a:lnTo>
                  <a:lnTo>
                    <a:pt x="1130193" y="2972294"/>
                  </a:lnTo>
                  <a:lnTo>
                    <a:pt x="1134066" y="2973988"/>
                  </a:lnTo>
                  <a:lnTo>
                    <a:pt x="1136153" y="2977709"/>
                  </a:lnTo>
                  <a:lnTo>
                    <a:pt x="1136728" y="2978738"/>
                  </a:lnTo>
                  <a:lnTo>
                    <a:pt x="1137424" y="2984788"/>
                  </a:lnTo>
                  <a:lnTo>
                    <a:pt x="1135397" y="2990536"/>
                  </a:lnTo>
                  <a:lnTo>
                    <a:pt x="1136879" y="2991474"/>
                  </a:lnTo>
                  <a:lnTo>
                    <a:pt x="1137363" y="2991655"/>
                  </a:lnTo>
                  <a:lnTo>
                    <a:pt x="1136759" y="2993712"/>
                  </a:lnTo>
                  <a:lnTo>
                    <a:pt x="1134157" y="2995618"/>
                  </a:lnTo>
                  <a:lnTo>
                    <a:pt x="1133552" y="2998341"/>
                  </a:lnTo>
                  <a:lnTo>
                    <a:pt x="1134338" y="3001245"/>
                  </a:lnTo>
                  <a:lnTo>
                    <a:pt x="1136002" y="3003302"/>
                  </a:lnTo>
                  <a:lnTo>
                    <a:pt x="1137303" y="3005450"/>
                  </a:lnTo>
                  <a:lnTo>
                    <a:pt x="1137303" y="3008687"/>
                  </a:lnTo>
                  <a:lnTo>
                    <a:pt x="1136033" y="3010623"/>
                  </a:lnTo>
                  <a:lnTo>
                    <a:pt x="1129982" y="3014646"/>
                  </a:lnTo>
                  <a:lnTo>
                    <a:pt x="1126533" y="3019244"/>
                  </a:lnTo>
                  <a:lnTo>
                    <a:pt x="1125081" y="3022269"/>
                  </a:lnTo>
                  <a:lnTo>
                    <a:pt x="1124839" y="3025325"/>
                  </a:lnTo>
                  <a:lnTo>
                    <a:pt x="1125777" y="3027382"/>
                  </a:lnTo>
                  <a:lnTo>
                    <a:pt x="1127562" y="3028743"/>
                  </a:lnTo>
                  <a:lnTo>
                    <a:pt x="1131101" y="3030528"/>
                  </a:lnTo>
                  <a:lnTo>
                    <a:pt x="1132432" y="3032464"/>
                  </a:lnTo>
                  <a:lnTo>
                    <a:pt x="1134126" y="3038454"/>
                  </a:lnTo>
                  <a:lnTo>
                    <a:pt x="1135578" y="3040451"/>
                  </a:lnTo>
                  <a:lnTo>
                    <a:pt x="1140237" y="3043808"/>
                  </a:lnTo>
                  <a:lnTo>
                    <a:pt x="1141508" y="3045261"/>
                  </a:lnTo>
                  <a:lnTo>
                    <a:pt x="1141659" y="3045896"/>
                  </a:lnTo>
                  <a:lnTo>
                    <a:pt x="1141205" y="3047348"/>
                  </a:lnTo>
                  <a:lnTo>
                    <a:pt x="1141357" y="3048195"/>
                  </a:lnTo>
                  <a:lnTo>
                    <a:pt x="1141719" y="3048467"/>
                  </a:lnTo>
                  <a:lnTo>
                    <a:pt x="1142748" y="3048770"/>
                  </a:lnTo>
                  <a:lnTo>
                    <a:pt x="1142990" y="3048982"/>
                  </a:lnTo>
                  <a:lnTo>
                    <a:pt x="1143444" y="3049859"/>
                  </a:lnTo>
                  <a:lnTo>
                    <a:pt x="1143897" y="3050403"/>
                  </a:lnTo>
                  <a:lnTo>
                    <a:pt x="1144049" y="3051190"/>
                  </a:lnTo>
                  <a:lnTo>
                    <a:pt x="1143565" y="3052884"/>
                  </a:lnTo>
                  <a:lnTo>
                    <a:pt x="1142779" y="3053973"/>
                  </a:lnTo>
                  <a:lnTo>
                    <a:pt x="1142536" y="3055123"/>
                  </a:lnTo>
                  <a:lnTo>
                    <a:pt x="1142839" y="3056333"/>
                  </a:lnTo>
                  <a:lnTo>
                    <a:pt x="1143565" y="3057573"/>
                  </a:lnTo>
                  <a:lnTo>
                    <a:pt x="1144926" y="3060689"/>
                  </a:lnTo>
                  <a:lnTo>
                    <a:pt x="1146166" y="3064652"/>
                  </a:lnTo>
                  <a:lnTo>
                    <a:pt x="1146075" y="3067798"/>
                  </a:lnTo>
                  <a:lnTo>
                    <a:pt x="1143565" y="3068494"/>
                  </a:lnTo>
                  <a:lnTo>
                    <a:pt x="1138815" y="3067344"/>
                  </a:lnTo>
                  <a:lnTo>
                    <a:pt x="1136759" y="3067526"/>
                  </a:lnTo>
                  <a:lnTo>
                    <a:pt x="1136093" y="3069462"/>
                  </a:lnTo>
                  <a:lnTo>
                    <a:pt x="1137121" y="3072124"/>
                  </a:lnTo>
                  <a:lnTo>
                    <a:pt x="1138603" y="3073879"/>
                  </a:lnTo>
                  <a:lnTo>
                    <a:pt x="1139058" y="3075815"/>
                  </a:lnTo>
                  <a:lnTo>
                    <a:pt x="1137151" y="3078930"/>
                  </a:lnTo>
                  <a:lnTo>
                    <a:pt x="1135366" y="3080141"/>
                  </a:lnTo>
                  <a:lnTo>
                    <a:pt x="1129226" y="3081320"/>
                  </a:lnTo>
                  <a:lnTo>
                    <a:pt x="1126836" y="3083105"/>
                  </a:lnTo>
                  <a:lnTo>
                    <a:pt x="1127078" y="3084769"/>
                  </a:lnTo>
                  <a:lnTo>
                    <a:pt x="1128076" y="3087189"/>
                  </a:lnTo>
                  <a:lnTo>
                    <a:pt x="1127955" y="3091243"/>
                  </a:lnTo>
                  <a:lnTo>
                    <a:pt x="1126382" y="3093784"/>
                  </a:lnTo>
                  <a:lnTo>
                    <a:pt x="1124113" y="3096023"/>
                  </a:lnTo>
                  <a:lnTo>
                    <a:pt x="1122086" y="3098866"/>
                  </a:lnTo>
                  <a:lnTo>
                    <a:pt x="1121542" y="3103343"/>
                  </a:lnTo>
                  <a:lnTo>
                    <a:pt x="1122359" y="3105915"/>
                  </a:lnTo>
                  <a:lnTo>
                    <a:pt x="1123871" y="3106974"/>
                  </a:lnTo>
                  <a:lnTo>
                    <a:pt x="1128015" y="3108305"/>
                  </a:lnTo>
                  <a:lnTo>
                    <a:pt x="1143444" y="3118802"/>
                  </a:lnTo>
                  <a:lnTo>
                    <a:pt x="1144926" y="3121313"/>
                  </a:lnTo>
                  <a:lnTo>
                    <a:pt x="1145289" y="3124278"/>
                  </a:lnTo>
                  <a:lnTo>
                    <a:pt x="1147528" y="3123945"/>
                  </a:lnTo>
                  <a:lnTo>
                    <a:pt x="1155968" y="3124761"/>
                  </a:lnTo>
                  <a:lnTo>
                    <a:pt x="1158358" y="3129239"/>
                  </a:lnTo>
                  <a:lnTo>
                    <a:pt x="1162321" y="3132233"/>
                  </a:lnTo>
                  <a:lnTo>
                    <a:pt x="1159447" y="3138405"/>
                  </a:lnTo>
                  <a:lnTo>
                    <a:pt x="1154425" y="3145907"/>
                  </a:lnTo>
                  <a:lnTo>
                    <a:pt x="1151915" y="3152835"/>
                  </a:lnTo>
                  <a:lnTo>
                    <a:pt x="1154849" y="3154892"/>
                  </a:lnTo>
                  <a:lnTo>
                    <a:pt x="1162351" y="3156858"/>
                  </a:lnTo>
                  <a:lnTo>
                    <a:pt x="1163470" y="3159006"/>
                  </a:lnTo>
                  <a:lnTo>
                    <a:pt x="1163470" y="3159006"/>
                  </a:lnTo>
                  <a:lnTo>
                    <a:pt x="1166465" y="3159883"/>
                  </a:lnTo>
                  <a:lnTo>
                    <a:pt x="1168099" y="3163030"/>
                  </a:lnTo>
                  <a:lnTo>
                    <a:pt x="1170458" y="3171167"/>
                  </a:lnTo>
                  <a:lnTo>
                    <a:pt x="1171789" y="3173133"/>
                  </a:lnTo>
                  <a:lnTo>
                    <a:pt x="1173060" y="3174374"/>
                  </a:lnTo>
                  <a:lnTo>
                    <a:pt x="1174088" y="3175826"/>
                  </a:lnTo>
                  <a:lnTo>
                    <a:pt x="1174845" y="3178397"/>
                  </a:lnTo>
                  <a:lnTo>
                    <a:pt x="1175571" y="3187684"/>
                  </a:lnTo>
                  <a:lnTo>
                    <a:pt x="1176630" y="3192162"/>
                  </a:lnTo>
                  <a:lnTo>
                    <a:pt x="1178112" y="3194552"/>
                  </a:lnTo>
                  <a:lnTo>
                    <a:pt x="1193782" y="3206017"/>
                  </a:lnTo>
                  <a:lnTo>
                    <a:pt x="1196384" y="3208013"/>
                  </a:lnTo>
                  <a:lnTo>
                    <a:pt x="1198865" y="3209042"/>
                  </a:lnTo>
                  <a:lnTo>
                    <a:pt x="1204129" y="3210282"/>
                  </a:lnTo>
                  <a:lnTo>
                    <a:pt x="1212568" y="3214639"/>
                  </a:lnTo>
                  <a:lnTo>
                    <a:pt x="1215654" y="3215244"/>
                  </a:lnTo>
                  <a:lnTo>
                    <a:pt x="1218498" y="3215334"/>
                  </a:lnTo>
                  <a:lnTo>
                    <a:pt x="1219617" y="3215879"/>
                  </a:lnTo>
                  <a:lnTo>
                    <a:pt x="1220737" y="3217089"/>
                  </a:lnTo>
                  <a:lnTo>
                    <a:pt x="1221523" y="3218904"/>
                  </a:lnTo>
                  <a:lnTo>
                    <a:pt x="1222219" y="3221203"/>
                  </a:lnTo>
                  <a:lnTo>
                    <a:pt x="1223096" y="3223018"/>
                  </a:lnTo>
                  <a:lnTo>
                    <a:pt x="1224336" y="3223472"/>
                  </a:lnTo>
                  <a:lnTo>
                    <a:pt x="1226847" y="3221868"/>
                  </a:lnTo>
                  <a:lnTo>
                    <a:pt x="1227392" y="3221687"/>
                  </a:lnTo>
                  <a:lnTo>
                    <a:pt x="1228269" y="3222262"/>
                  </a:lnTo>
                  <a:lnTo>
                    <a:pt x="1228420" y="3222806"/>
                  </a:lnTo>
                  <a:lnTo>
                    <a:pt x="1228420" y="3223532"/>
                  </a:lnTo>
                  <a:lnTo>
                    <a:pt x="1230689" y="3231912"/>
                  </a:lnTo>
                  <a:lnTo>
                    <a:pt x="1230175" y="3233122"/>
                  </a:lnTo>
                  <a:lnTo>
                    <a:pt x="1229993" y="3234272"/>
                  </a:lnTo>
                  <a:lnTo>
                    <a:pt x="1229993" y="3235452"/>
                  </a:lnTo>
                  <a:lnTo>
                    <a:pt x="1229842" y="3236661"/>
                  </a:lnTo>
                  <a:lnTo>
                    <a:pt x="1228692" y="3240110"/>
                  </a:lnTo>
                  <a:lnTo>
                    <a:pt x="1227059" y="3249125"/>
                  </a:lnTo>
                  <a:lnTo>
                    <a:pt x="1225274" y="3253118"/>
                  </a:lnTo>
                  <a:lnTo>
                    <a:pt x="1221372" y="3259017"/>
                  </a:lnTo>
                  <a:lnTo>
                    <a:pt x="1220464" y="3262890"/>
                  </a:lnTo>
                  <a:lnTo>
                    <a:pt x="1224729" y="3262980"/>
                  </a:lnTo>
                  <a:lnTo>
                    <a:pt x="1233381" y="3265673"/>
                  </a:lnTo>
                  <a:lnTo>
                    <a:pt x="1254527" y="3260590"/>
                  </a:lnTo>
                  <a:lnTo>
                    <a:pt x="1256796" y="3261014"/>
                  </a:lnTo>
                  <a:lnTo>
                    <a:pt x="1262725" y="3264947"/>
                  </a:lnTo>
                  <a:lnTo>
                    <a:pt x="1275370" y="3268214"/>
                  </a:lnTo>
                  <a:lnTo>
                    <a:pt x="1278910" y="3270634"/>
                  </a:lnTo>
                  <a:lnTo>
                    <a:pt x="1282116" y="3274657"/>
                  </a:lnTo>
                  <a:lnTo>
                    <a:pt x="1283569" y="3275504"/>
                  </a:lnTo>
                  <a:lnTo>
                    <a:pt x="1288590" y="3275262"/>
                  </a:lnTo>
                  <a:lnTo>
                    <a:pt x="1290647" y="3275565"/>
                  </a:lnTo>
                  <a:lnTo>
                    <a:pt x="1292584" y="3276654"/>
                  </a:lnTo>
                  <a:lnTo>
                    <a:pt x="1294519" y="3278983"/>
                  </a:lnTo>
                  <a:lnTo>
                    <a:pt x="1295276" y="3280133"/>
                  </a:lnTo>
                  <a:lnTo>
                    <a:pt x="1295488" y="3281313"/>
                  </a:lnTo>
                  <a:lnTo>
                    <a:pt x="1295276" y="3282492"/>
                  </a:lnTo>
                  <a:lnTo>
                    <a:pt x="1294519" y="3283642"/>
                  </a:lnTo>
                  <a:lnTo>
                    <a:pt x="1287017" y="3287242"/>
                  </a:lnTo>
                  <a:lnTo>
                    <a:pt x="1286321" y="3287847"/>
                  </a:lnTo>
                  <a:lnTo>
                    <a:pt x="1286200" y="3289087"/>
                  </a:lnTo>
                  <a:lnTo>
                    <a:pt x="1286533" y="3291810"/>
                  </a:lnTo>
                  <a:lnTo>
                    <a:pt x="1287562" y="3296106"/>
                  </a:lnTo>
                  <a:lnTo>
                    <a:pt x="1289377" y="3299343"/>
                  </a:lnTo>
                  <a:lnTo>
                    <a:pt x="1291737" y="3301732"/>
                  </a:lnTo>
                  <a:lnTo>
                    <a:pt x="1294519" y="3303396"/>
                  </a:lnTo>
                  <a:lnTo>
                    <a:pt x="1299571" y="3305605"/>
                  </a:lnTo>
                  <a:lnTo>
                    <a:pt x="1301931" y="3307269"/>
                  </a:lnTo>
                  <a:lnTo>
                    <a:pt x="1303504" y="3310112"/>
                  </a:lnTo>
                  <a:lnTo>
                    <a:pt x="1304200" y="3311110"/>
                  </a:lnTo>
                  <a:lnTo>
                    <a:pt x="1304986" y="3311413"/>
                  </a:lnTo>
                  <a:lnTo>
                    <a:pt x="1305803" y="3311080"/>
                  </a:lnTo>
                  <a:lnTo>
                    <a:pt x="1306590" y="3310142"/>
                  </a:lnTo>
                  <a:lnTo>
                    <a:pt x="1308375" y="3309870"/>
                  </a:lnTo>
                  <a:lnTo>
                    <a:pt x="1310129" y="3310082"/>
                  </a:lnTo>
                  <a:lnTo>
                    <a:pt x="1311611" y="3310868"/>
                  </a:lnTo>
                  <a:lnTo>
                    <a:pt x="1311309" y="3312169"/>
                  </a:lnTo>
                  <a:lnTo>
                    <a:pt x="1310735" y="3313772"/>
                  </a:lnTo>
                  <a:lnTo>
                    <a:pt x="1311218" y="3315527"/>
                  </a:lnTo>
                  <a:lnTo>
                    <a:pt x="1312368" y="3315860"/>
                  </a:lnTo>
                  <a:lnTo>
                    <a:pt x="1315423" y="3314831"/>
                  </a:lnTo>
                  <a:lnTo>
                    <a:pt x="1316694" y="3314831"/>
                  </a:lnTo>
                  <a:lnTo>
                    <a:pt x="1318539" y="3318340"/>
                  </a:lnTo>
                  <a:lnTo>
                    <a:pt x="1318388" y="3319641"/>
                  </a:lnTo>
                  <a:lnTo>
                    <a:pt x="1317026" y="3329685"/>
                  </a:lnTo>
                  <a:lnTo>
                    <a:pt x="1318358" y="3334585"/>
                  </a:lnTo>
                  <a:lnTo>
                    <a:pt x="1316391" y="3335977"/>
                  </a:lnTo>
                  <a:lnTo>
                    <a:pt x="1314788" y="3335826"/>
                  </a:lnTo>
                  <a:lnTo>
                    <a:pt x="1313275" y="3335100"/>
                  </a:lnTo>
                  <a:lnTo>
                    <a:pt x="1311581" y="3334767"/>
                  </a:lnTo>
                  <a:lnTo>
                    <a:pt x="1304533" y="3336219"/>
                  </a:lnTo>
                  <a:lnTo>
                    <a:pt x="1304865" y="3336703"/>
                  </a:lnTo>
                  <a:lnTo>
                    <a:pt x="1305712" y="3338155"/>
                  </a:lnTo>
                  <a:lnTo>
                    <a:pt x="1306136" y="3338699"/>
                  </a:lnTo>
                  <a:lnTo>
                    <a:pt x="1303413" y="3340182"/>
                  </a:lnTo>
                  <a:lnTo>
                    <a:pt x="1300207" y="3340757"/>
                  </a:lnTo>
                  <a:lnTo>
                    <a:pt x="1297031" y="3340454"/>
                  </a:lnTo>
                  <a:lnTo>
                    <a:pt x="1294519" y="3339214"/>
                  </a:lnTo>
                  <a:lnTo>
                    <a:pt x="1291918" y="3339940"/>
                  </a:lnTo>
                  <a:lnTo>
                    <a:pt x="1291132" y="3341755"/>
                  </a:lnTo>
                  <a:lnTo>
                    <a:pt x="1292039" y="3343449"/>
                  </a:lnTo>
                  <a:lnTo>
                    <a:pt x="1294338" y="3343873"/>
                  </a:lnTo>
                  <a:lnTo>
                    <a:pt x="1293340" y="3346898"/>
                  </a:lnTo>
                  <a:lnTo>
                    <a:pt x="1291978" y="3349772"/>
                  </a:lnTo>
                  <a:lnTo>
                    <a:pt x="1288772" y="3354763"/>
                  </a:lnTo>
                  <a:lnTo>
                    <a:pt x="1286926" y="3356578"/>
                  </a:lnTo>
                  <a:lnTo>
                    <a:pt x="1285262" y="3357334"/>
                  </a:lnTo>
                  <a:lnTo>
                    <a:pt x="1281602" y="3358423"/>
                  </a:lnTo>
                  <a:lnTo>
                    <a:pt x="1278365" y="3361146"/>
                  </a:lnTo>
                  <a:lnTo>
                    <a:pt x="1275855" y="3364504"/>
                  </a:lnTo>
                  <a:lnTo>
                    <a:pt x="1273101" y="3367015"/>
                  </a:lnTo>
                  <a:lnTo>
                    <a:pt x="1267838" y="3366894"/>
                  </a:lnTo>
                  <a:lnTo>
                    <a:pt x="1267354" y="3367469"/>
                  </a:lnTo>
                  <a:lnTo>
                    <a:pt x="1267202" y="3368316"/>
                  </a:lnTo>
                  <a:lnTo>
                    <a:pt x="1266960" y="3368921"/>
                  </a:lnTo>
                  <a:lnTo>
                    <a:pt x="1266960" y="3369344"/>
                  </a:lnTo>
                  <a:lnTo>
                    <a:pt x="1267021" y="3370071"/>
                  </a:lnTo>
                  <a:lnTo>
                    <a:pt x="1266900" y="3370797"/>
                  </a:lnTo>
                  <a:lnTo>
                    <a:pt x="1266446" y="3371250"/>
                  </a:lnTo>
                  <a:lnTo>
                    <a:pt x="1266083" y="3371250"/>
                  </a:lnTo>
                  <a:lnTo>
                    <a:pt x="1265176" y="3370978"/>
                  </a:lnTo>
                  <a:lnTo>
                    <a:pt x="1261515" y="3371401"/>
                  </a:lnTo>
                  <a:lnTo>
                    <a:pt x="1258913" y="3373307"/>
                  </a:lnTo>
                  <a:lnTo>
                    <a:pt x="1258006" y="3373761"/>
                  </a:lnTo>
                  <a:lnTo>
                    <a:pt x="1254497" y="3373640"/>
                  </a:lnTo>
                  <a:lnTo>
                    <a:pt x="1247176" y="3370857"/>
                  </a:lnTo>
                  <a:lnTo>
                    <a:pt x="1244242" y="3371129"/>
                  </a:lnTo>
                  <a:lnTo>
                    <a:pt x="1241610" y="3372369"/>
                  </a:lnTo>
                  <a:lnTo>
                    <a:pt x="1239220" y="3372642"/>
                  </a:lnTo>
                  <a:lnTo>
                    <a:pt x="1236830" y="3372067"/>
                  </a:lnTo>
                  <a:lnTo>
                    <a:pt x="1231627" y="3369254"/>
                  </a:lnTo>
                  <a:lnTo>
                    <a:pt x="1230296" y="3368951"/>
                  </a:lnTo>
                  <a:lnTo>
                    <a:pt x="1226726" y="3369284"/>
                  </a:lnTo>
                  <a:lnTo>
                    <a:pt x="1225667" y="3368921"/>
                  </a:lnTo>
                  <a:lnTo>
                    <a:pt x="1224064" y="3366531"/>
                  </a:lnTo>
                  <a:lnTo>
                    <a:pt x="1223005" y="3360178"/>
                  </a:lnTo>
                  <a:lnTo>
                    <a:pt x="1221644" y="3357486"/>
                  </a:lnTo>
                  <a:lnTo>
                    <a:pt x="1219889" y="3356578"/>
                  </a:lnTo>
                  <a:lnTo>
                    <a:pt x="1215443" y="3356578"/>
                  </a:lnTo>
                  <a:lnTo>
                    <a:pt x="1213476" y="3356155"/>
                  </a:lnTo>
                  <a:lnTo>
                    <a:pt x="1207395" y="3353916"/>
                  </a:lnTo>
                  <a:lnTo>
                    <a:pt x="1205338" y="3353765"/>
                  </a:lnTo>
                  <a:lnTo>
                    <a:pt x="1203312" y="3354340"/>
                  </a:lnTo>
                  <a:lnTo>
                    <a:pt x="1199530" y="3356245"/>
                  </a:lnTo>
                  <a:lnTo>
                    <a:pt x="1197110" y="3356367"/>
                  </a:lnTo>
                  <a:lnTo>
                    <a:pt x="1192300" y="3355459"/>
                  </a:lnTo>
                  <a:lnTo>
                    <a:pt x="1187490" y="3355459"/>
                  </a:lnTo>
                  <a:lnTo>
                    <a:pt x="1183709" y="3358242"/>
                  </a:lnTo>
                  <a:lnTo>
                    <a:pt x="1181803" y="3365654"/>
                  </a:lnTo>
                  <a:lnTo>
                    <a:pt x="1181924" y="3367590"/>
                  </a:lnTo>
                  <a:lnTo>
                    <a:pt x="1181984" y="3367771"/>
                  </a:lnTo>
                  <a:lnTo>
                    <a:pt x="1182347" y="3369374"/>
                  </a:lnTo>
                  <a:lnTo>
                    <a:pt x="1182559" y="3371038"/>
                  </a:lnTo>
                  <a:lnTo>
                    <a:pt x="1182196" y="3372581"/>
                  </a:lnTo>
                  <a:lnTo>
                    <a:pt x="1181258" y="3373610"/>
                  </a:lnTo>
                  <a:lnTo>
                    <a:pt x="1178777" y="3374033"/>
                  </a:lnTo>
                  <a:lnTo>
                    <a:pt x="1177749" y="3374487"/>
                  </a:lnTo>
                  <a:lnTo>
                    <a:pt x="1172727" y="3381868"/>
                  </a:lnTo>
                  <a:lnTo>
                    <a:pt x="1170458" y="3384016"/>
                  </a:lnTo>
                  <a:lnTo>
                    <a:pt x="1178082" y="3389734"/>
                  </a:lnTo>
                  <a:lnTo>
                    <a:pt x="1179715" y="3392638"/>
                  </a:lnTo>
                  <a:lnTo>
                    <a:pt x="1182438" y="3400201"/>
                  </a:lnTo>
                  <a:lnTo>
                    <a:pt x="1184676" y="3403347"/>
                  </a:lnTo>
                  <a:lnTo>
                    <a:pt x="1187671" y="3406069"/>
                  </a:lnTo>
                  <a:lnTo>
                    <a:pt x="1190999" y="3408066"/>
                  </a:lnTo>
                  <a:lnTo>
                    <a:pt x="1193964" y="3409004"/>
                  </a:lnTo>
                  <a:lnTo>
                    <a:pt x="1196445" y="3409307"/>
                  </a:lnTo>
                  <a:lnTo>
                    <a:pt x="1197231" y="3410517"/>
                  </a:lnTo>
                  <a:lnTo>
                    <a:pt x="1197473" y="3412452"/>
                  </a:lnTo>
                  <a:lnTo>
                    <a:pt x="1198350" y="3415024"/>
                  </a:lnTo>
                  <a:lnTo>
                    <a:pt x="1199802" y="3416809"/>
                  </a:lnTo>
                  <a:lnTo>
                    <a:pt x="1201043" y="3417595"/>
                  </a:lnTo>
                  <a:lnTo>
                    <a:pt x="1202071" y="3418775"/>
                  </a:lnTo>
                  <a:lnTo>
                    <a:pt x="1202979" y="3421770"/>
                  </a:lnTo>
                  <a:lnTo>
                    <a:pt x="1202979" y="3428214"/>
                  </a:lnTo>
                  <a:lnTo>
                    <a:pt x="1200801" y="3431209"/>
                  </a:lnTo>
                  <a:lnTo>
                    <a:pt x="1194024" y="3434718"/>
                  </a:lnTo>
                  <a:lnTo>
                    <a:pt x="1195174" y="3437077"/>
                  </a:lnTo>
                  <a:lnTo>
                    <a:pt x="1199621" y="3442644"/>
                  </a:lnTo>
                  <a:lnTo>
                    <a:pt x="1202616" y="3448784"/>
                  </a:lnTo>
                  <a:lnTo>
                    <a:pt x="1203947" y="3450690"/>
                  </a:lnTo>
                  <a:lnTo>
                    <a:pt x="1207577" y="3453595"/>
                  </a:lnTo>
                  <a:lnTo>
                    <a:pt x="1208938" y="3455198"/>
                  </a:lnTo>
                  <a:lnTo>
                    <a:pt x="1208485" y="3456710"/>
                  </a:lnTo>
                  <a:lnTo>
                    <a:pt x="1207123" y="3457013"/>
                  </a:lnTo>
                  <a:lnTo>
                    <a:pt x="1203462" y="3456227"/>
                  </a:lnTo>
                  <a:lnTo>
                    <a:pt x="1201980" y="3456347"/>
                  </a:lnTo>
                  <a:lnTo>
                    <a:pt x="1202374" y="3456862"/>
                  </a:lnTo>
                  <a:lnTo>
                    <a:pt x="1203614" y="3458707"/>
                  </a:lnTo>
                  <a:lnTo>
                    <a:pt x="1201860" y="3459463"/>
                  </a:lnTo>
                  <a:lnTo>
                    <a:pt x="1201073" y="3460673"/>
                  </a:lnTo>
                  <a:lnTo>
                    <a:pt x="1201315" y="3462156"/>
                  </a:lnTo>
                  <a:lnTo>
                    <a:pt x="1202586" y="3463608"/>
                  </a:lnTo>
                  <a:lnTo>
                    <a:pt x="1204794" y="3465120"/>
                  </a:lnTo>
                  <a:lnTo>
                    <a:pt x="1204945" y="3468841"/>
                  </a:lnTo>
                  <a:lnTo>
                    <a:pt x="1204340" y="3473379"/>
                  </a:lnTo>
                  <a:lnTo>
                    <a:pt x="1204279" y="3477251"/>
                  </a:lnTo>
                  <a:lnTo>
                    <a:pt x="1205066" y="3478885"/>
                  </a:lnTo>
                  <a:lnTo>
                    <a:pt x="1206095" y="3480185"/>
                  </a:lnTo>
                  <a:lnTo>
                    <a:pt x="1206851" y="3481849"/>
                  </a:lnTo>
                  <a:lnTo>
                    <a:pt x="1206851" y="3484572"/>
                  </a:lnTo>
                  <a:lnTo>
                    <a:pt x="1206307" y="3486629"/>
                  </a:lnTo>
                  <a:lnTo>
                    <a:pt x="1205247" y="3488474"/>
                  </a:lnTo>
                  <a:lnTo>
                    <a:pt x="1203977" y="3489987"/>
                  </a:lnTo>
                  <a:lnTo>
                    <a:pt x="1202736" y="3491076"/>
                  </a:lnTo>
                  <a:lnTo>
                    <a:pt x="1205731" y="3495160"/>
                  </a:lnTo>
                  <a:lnTo>
                    <a:pt x="1207425" y="3496824"/>
                  </a:lnTo>
                  <a:lnTo>
                    <a:pt x="1209211" y="3498125"/>
                  </a:lnTo>
                  <a:lnTo>
                    <a:pt x="1210935" y="3498639"/>
                  </a:lnTo>
                  <a:lnTo>
                    <a:pt x="1214444" y="3499214"/>
                  </a:lnTo>
                  <a:lnTo>
                    <a:pt x="1216047" y="3500091"/>
                  </a:lnTo>
                  <a:lnTo>
                    <a:pt x="1214988" y="3501331"/>
                  </a:lnTo>
                  <a:lnTo>
                    <a:pt x="1214293" y="3503267"/>
                  </a:lnTo>
                  <a:lnTo>
                    <a:pt x="1214050" y="3505476"/>
                  </a:lnTo>
                  <a:lnTo>
                    <a:pt x="1214383" y="3507593"/>
                  </a:lnTo>
                  <a:lnTo>
                    <a:pt x="1215079" y="3509136"/>
                  </a:lnTo>
                  <a:lnTo>
                    <a:pt x="1216017" y="3510044"/>
                  </a:lnTo>
                  <a:lnTo>
                    <a:pt x="1221069" y="3513311"/>
                  </a:lnTo>
                  <a:lnTo>
                    <a:pt x="1222430" y="3515428"/>
                  </a:lnTo>
                  <a:lnTo>
                    <a:pt x="1222793" y="3518393"/>
                  </a:lnTo>
                  <a:lnTo>
                    <a:pt x="1222581" y="3522810"/>
                  </a:lnTo>
                  <a:lnTo>
                    <a:pt x="1228753" y="3522326"/>
                  </a:lnTo>
                  <a:lnTo>
                    <a:pt x="1232081" y="3522931"/>
                  </a:lnTo>
                  <a:lnTo>
                    <a:pt x="1234440" y="3524988"/>
                  </a:lnTo>
                  <a:lnTo>
                    <a:pt x="1234985" y="3527438"/>
                  </a:lnTo>
                  <a:lnTo>
                    <a:pt x="1234985" y="3530191"/>
                  </a:lnTo>
                  <a:lnTo>
                    <a:pt x="1235438" y="3532490"/>
                  </a:lnTo>
                  <a:lnTo>
                    <a:pt x="1237284" y="3533549"/>
                  </a:lnTo>
                  <a:lnTo>
                    <a:pt x="1238948" y="3533247"/>
                  </a:lnTo>
                  <a:lnTo>
                    <a:pt x="1244332" y="3530736"/>
                  </a:lnTo>
                  <a:lnTo>
                    <a:pt x="1247993" y="3530433"/>
                  </a:lnTo>
                  <a:lnTo>
                    <a:pt x="1254043" y="3531916"/>
                  </a:lnTo>
                  <a:lnTo>
                    <a:pt x="1255888" y="3531795"/>
                  </a:lnTo>
                  <a:lnTo>
                    <a:pt x="1269713" y="3525775"/>
                  </a:lnTo>
                  <a:lnTo>
                    <a:pt x="1274191" y="3522477"/>
                  </a:lnTo>
                  <a:lnTo>
                    <a:pt x="1277125" y="3516669"/>
                  </a:lnTo>
                  <a:lnTo>
                    <a:pt x="1278365" y="3507624"/>
                  </a:lnTo>
                  <a:lnTo>
                    <a:pt x="1279303" y="3504931"/>
                  </a:lnTo>
                  <a:lnTo>
                    <a:pt x="1280241" y="3503993"/>
                  </a:lnTo>
                  <a:lnTo>
                    <a:pt x="1281481" y="3503298"/>
                  </a:lnTo>
                  <a:lnTo>
                    <a:pt x="1282601" y="3502390"/>
                  </a:lnTo>
                  <a:lnTo>
                    <a:pt x="1283175" y="3500696"/>
                  </a:lnTo>
                  <a:lnTo>
                    <a:pt x="1282813" y="3499425"/>
                  </a:lnTo>
                  <a:lnTo>
                    <a:pt x="1280937" y="3496310"/>
                  </a:lnTo>
                  <a:lnTo>
                    <a:pt x="1280453" y="3494676"/>
                  </a:lnTo>
                  <a:lnTo>
                    <a:pt x="1281844" y="3489473"/>
                  </a:lnTo>
                  <a:lnTo>
                    <a:pt x="1285958" y="3488686"/>
                  </a:lnTo>
                  <a:lnTo>
                    <a:pt x="1294641" y="3491651"/>
                  </a:lnTo>
                  <a:lnTo>
                    <a:pt x="1299451" y="3490290"/>
                  </a:lnTo>
                  <a:lnTo>
                    <a:pt x="1319265" y="3500000"/>
                  </a:lnTo>
                  <a:lnTo>
                    <a:pt x="1322320" y="3500000"/>
                  </a:lnTo>
                  <a:lnTo>
                    <a:pt x="1328280" y="3498488"/>
                  </a:lnTo>
                  <a:lnTo>
                    <a:pt x="1331244" y="3498488"/>
                  </a:lnTo>
                  <a:lnTo>
                    <a:pt x="1332939" y="3499214"/>
                  </a:lnTo>
                  <a:lnTo>
                    <a:pt x="1335934" y="3501483"/>
                  </a:lnTo>
                  <a:lnTo>
                    <a:pt x="1337749" y="3501664"/>
                  </a:lnTo>
                  <a:lnTo>
                    <a:pt x="1339564" y="3500787"/>
                  </a:lnTo>
                  <a:lnTo>
                    <a:pt x="1349940" y="3492196"/>
                  </a:lnTo>
                  <a:lnTo>
                    <a:pt x="1351785" y="3491409"/>
                  </a:lnTo>
                  <a:lnTo>
                    <a:pt x="1352693" y="3491499"/>
                  </a:lnTo>
                  <a:lnTo>
                    <a:pt x="1353994" y="3492135"/>
                  </a:lnTo>
                  <a:lnTo>
                    <a:pt x="1354901" y="3491953"/>
                  </a:lnTo>
                  <a:lnTo>
                    <a:pt x="1355688" y="3491167"/>
                  </a:lnTo>
                  <a:lnTo>
                    <a:pt x="1356898" y="3489049"/>
                  </a:lnTo>
                  <a:lnTo>
                    <a:pt x="1357896" y="3488505"/>
                  </a:lnTo>
                  <a:lnTo>
                    <a:pt x="1359833" y="3487809"/>
                  </a:lnTo>
                  <a:lnTo>
                    <a:pt x="1361103" y="3486659"/>
                  </a:lnTo>
                  <a:lnTo>
                    <a:pt x="1363705" y="3483664"/>
                  </a:lnTo>
                  <a:lnTo>
                    <a:pt x="1365338" y="3482575"/>
                  </a:lnTo>
                  <a:lnTo>
                    <a:pt x="1366700" y="3482334"/>
                  </a:lnTo>
                  <a:lnTo>
                    <a:pt x="1376531" y="3484088"/>
                  </a:lnTo>
                  <a:lnTo>
                    <a:pt x="1383035" y="3484088"/>
                  </a:lnTo>
                  <a:lnTo>
                    <a:pt x="1384760" y="3484390"/>
                  </a:lnTo>
                  <a:lnTo>
                    <a:pt x="1387240" y="3486054"/>
                  </a:lnTo>
                  <a:lnTo>
                    <a:pt x="1387543" y="3486236"/>
                  </a:lnTo>
                  <a:lnTo>
                    <a:pt x="1389146" y="3486962"/>
                  </a:lnTo>
                  <a:lnTo>
                    <a:pt x="1390961" y="3486841"/>
                  </a:lnTo>
                  <a:lnTo>
                    <a:pt x="1392383" y="3485903"/>
                  </a:lnTo>
                  <a:lnTo>
                    <a:pt x="1393744" y="3484753"/>
                  </a:lnTo>
                  <a:lnTo>
                    <a:pt x="1395257" y="3483997"/>
                  </a:lnTo>
                  <a:lnTo>
                    <a:pt x="1397162" y="3486539"/>
                  </a:lnTo>
                  <a:lnTo>
                    <a:pt x="1396527" y="3492286"/>
                  </a:lnTo>
                  <a:lnTo>
                    <a:pt x="1398252" y="3494646"/>
                  </a:lnTo>
                  <a:lnTo>
                    <a:pt x="1400399" y="3494434"/>
                  </a:lnTo>
                  <a:lnTo>
                    <a:pt x="1407327" y="3488111"/>
                  </a:lnTo>
                  <a:lnTo>
                    <a:pt x="1416130" y="3484330"/>
                  </a:lnTo>
                  <a:lnTo>
                    <a:pt x="1420728" y="3483543"/>
                  </a:lnTo>
                  <a:lnTo>
                    <a:pt x="1425296" y="3483695"/>
                  </a:lnTo>
                  <a:lnTo>
                    <a:pt x="1427807" y="3484542"/>
                  </a:lnTo>
                  <a:lnTo>
                    <a:pt x="1428926" y="3485994"/>
                  </a:lnTo>
                  <a:lnTo>
                    <a:pt x="1429804" y="3488081"/>
                  </a:lnTo>
                  <a:lnTo>
                    <a:pt x="1431377" y="3490743"/>
                  </a:lnTo>
                  <a:lnTo>
                    <a:pt x="1433343" y="3492498"/>
                  </a:lnTo>
                  <a:lnTo>
                    <a:pt x="1437579" y="3494948"/>
                  </a:lnTo>
                  <a:lnTo>
                    <a:pt x="1439424" y="3497399"/>
                  </a:lnTo>
                  <a:lnTo>
                    <a:pt x="1441935" y="3502511"/>
                  </a:lnTo>
                  <a:lnTo>
                    <a:pt x="1443296" y="3504175"/>
                  </a:lnTo>
                  <a:lnTo>
                    <a:pt x="1449770" y="3508198"/>
                  </a:lnTo>
                  <a:lnTo>
                    <a:pt x="1451464" y="3509953"/>
                  </a:lnTo>
                  <a:lnTo>
                    <a:pt x="1453188" y="3512373"/>
                  </a:lnTo>
                  <a:lnTo>
                    <a:pt x="1454126" y="3514158"/>
                  </a:lnTo>
                  <a:lnTo>
                    <a:pt x="1454701" y="3515580"/>
                  </a:lnTo>
                  <a:lnTo>
                    <a:pt x="1454943" y="3517032"/>
                  </a:lnTo>
                  <a:lnTo>
                    <a:pt x="1454943" y="3518695"/>
                  </a:lnTo>
                  <a:lnTo>
                    <a:pt x="1453249" y="3522054"/>
                  </a:lnTo>
                  <a:lnTo>
                    <a:pt x="1453249" y="3522900"/>
                  </a:lnTo>
                  <a:lnTo>
                    <a:pt x="1453582" y="3525472"/>
                  </a:lnTo>
                  <a:lnTo>
                    <a:pt x="1453823" y="3530433"/>
                  </a:lnTo>
                  <a:lnTo>
                    <a:pt x="1454399" y="3533307"/>
                  </a:lnTo>
                  <a:lnTo>
                    <a:pt x="1455639" y="3535909"/>
                  </a:lnTo>
                  <a:lnTo>
                    <a:pt x="1457726" y="3539085"/>
                  </a:lnTo>
                  <a:lnTo>
                    <a:pt x="1457998" y="3541657"/>
                  </a:lnTo>
                  <a:lnTo>
                    <a:pt x="1457242" y="3543865"/>
                  </a:lnTo>
                  <a:lnTo>
                    <a:pt x="1457151" y="3545196"/>
                  </a:lnTo>
                  <a:lnTo>
                    <a:pt x="1462203" y="3545196"/>
                  </a:lnTo>
                  <a:lnTo>
                    <a:pt x="1464230" y="3546618"/>
                  </a:lnTo>
                  <a:lnTo>
                    <a:pt x="1467981" y="3551095"/>
                  </a:lnTo>
                  <a:lnTo>
                    <a:pt x="1468556" y="3551639"/>
                  </a:lnTo>
                  <a:lnTo>
                    <a:pt x="1469887" y="3552456"/>
                  </a:lnTo>
                  <a:lnTo>
                    <a:pt x="1470522" y="3553061"/>
                  </a:lnTo>
                  <a:lnTo>
                    <a:pt x="1470764" y="3553787"/>
                  </a:lnTo>
                  <a:lnTo>
                    <a:pt x="1471128" y="3555844"/>
                  </a:lnTo>
                  <a:lnTo>
                    <a:pt x="1471128" y="3556207"/>
                  </a:lnTo>
                  <a:lnTo>
                    <a:pt x="1472277" y="3556631"/>
                  </a:lnTo>
                  <a:lnTo>
                    <a:pt x="1474153" y="3555753"/>
                  </a:lnTo>
                  <a:lnTo>
                    <a:pt x="1475332" y="3555753"/>
                  </a:lnTo>
                  <a:lnTo>
                    <a:pt x="1477087" y="3556843"/>
                  </a:lnTo>
                  <a:lnTo>
                    <a:pt x="1480414" y="3560321"/>
                  </a:lnTo>
                  <a:lnTo>
                    <a:pt x="1482381" y="3561653"/>
                  </a:lnTo>
                  <a:lnTo>
                    <a:pt x="1484801" y="3563891"/>
                  </a:lnTo>
                  <a:lnTo>
                    <a:pt x="1486253" y="3565252"/>
                  </a:lnTo>
                  <a:lnTo>
                    <a:pt x="1488976" y="3571243"/>
                  </a:lnTo>
                  <a:lnTo>
                    <a:pt x="1489127" y="3577383"/>
                  </a:lnTo>
                  <a:lnTo>
                    <a:pt x="1485285" y="3581558"/>
                  </a:lnTo>
                  <a:lnTo>
                    <a:pt x="1483349" y="3581982"/>
                  </a:lnTo>
                  <a:lnTo>
                    <a:pt x="1477450" y="3581891"/>
                  </a:lnTo>
                  <a:lnTo>
                    <a:pt x="1460297" y="3585672"/>
                  </a:lnTo>
                  <a:lnTo>
                    <a:pt x="1456395" y="3587790"/>
                  </a:lnTo>
                  <a:lnTo>
                    <a:pt x="1455457" y="3591269"/>
                  </a:lnTo>
                  <a:lnTo>
                    <a:pt x="1456577" y="3592751"/>
                  </a:lnTo>
                  <a:lnTo>
                    <a:pt x="1460116" y="3593659"/>
                  </a:lnTo>
                  <a:lnTo>
                    <a:pt x="1461568" y="3594536"/>
                  </a:lnTo>
                  <a:lnTo>
                    <a:pt x="1462022" y="3595625"/>
                  </a:lnTo>
                  <a:lnTo>
                    <a:pt x="1462445" y="3598680"/>
                  </a:lnTo>
                  <a:lnTo>
                    <a:pt x="1462868" y="3600042"/>
                  </a:lnTo>
                  <a:lnTo>
                    <a:pt x="1463625" y="3601221"/>
                  </a:lnTo>
                  <a:lnTo>
                    <a:pt x="1467860" y="3605699"/>
                  </a:lnTo>
                  <a:lnTo>
                    <a:pt x="1469191" y="3607786"/>
                  </a:lnTo>
                  <a:lnTo>
                    <a:pt x="1470008" y="3610357"/>
                  </a:lnTo>
                  <a:lnTo>
                    <a:pt x="1470250" y="3613624"/>
                  </a:lnTo>
                  <a:lnTo>
                    <a:pt x="1470008" y="3615167"/>
                  </a:lnTo>
                  <a:lnTo>
                    <a:pt x="1469131" y="3617769"/>
                  </a:lnTo>
                  <a:lnTo>
                    <a:pt x="1468859" y="3619221"/>
                  </a:lnTo>
                  <a:lnTo>
                    <a:pt x="1468979" y="3620734"/>
                  </a:lnTo>
                  <a:lnTo>
                    <a:pt x="1469343" y="3622004"/>
                  </a:lnTo>
                  <a:lnTo>
                    <a:pt x="1469585" y="3623305"/>
                  </a:lnTo>
                  <a:lnTo>
                    <a:pt x="1469343" y="3624818"/>
                  </a:lnTo>
                  <a:lnTo>
                    <a:pt x="1468526" y="3625635"/>
                  </a:lnTo>
                  <a:lnTo>
                    <a:pt x="1466317" y="3626088"/>
                  </a:lnTo>
                  <a:lnTo>
                    <a:pt x="1465803" y="3626996"/>
                  </a:lnTo>
                  <a:lnTo>
                    <a:pt x="1466227" y="3628206"/>
                  </a:lnTo>
                  <a:lnTo>
                    <a:pt x="1467195" y="3629446"/>
                  </a:lnTo>
                  <a:lnTo>
                    <a:pt x="1469222" y="3631201"/>
                  </a:lnTo>
                  <a:lnTo>
                    <a:pt x="1470704" y="3632108"/>
                  </a:lnTo>
                  <a:lnTo>
                    <a:pt x="1472398" y="3632744"/>
                  </a:lnTo>
                  <a:lnTo>
                    <a:pt x="1474123" y="3633046"/>
                  </a:lnTo>
                  <a:lnTo>
                    <a:pt x="1475695" y="3633046"/>
                  </a:lnTo>
                  <a:lnTo>
                    <a:pt x="1477722" y="3631987"/>
                  </a:lnTo>
                  <a:lnTo>
                    <a:pt x="1478600" y="3636979"/>
                  </a:lnTo>
                  <a:lnTo>
                    <a:pt x="1476089" y="3641910"/>
                  </a:lnTo>
                  <a:lnTo>
                    <a:pt x="1472095" y="3645933"/>
                  </a:lnTo>
                  <a:lnTo>
                    <a:pt x="1466257" y="3649654"/>
                  </a:lnTo>
                  <a:lnTo>
                    <a:pt x="1473487" y="3652528"/>
                  </a:lnTo>
                  <a:lnTo>
                    <a:pt x="1475877" y="3652982"/>
                  </a:lnTo>
                  <a:lnTo>
                    <a:pt x="1477692" y="3652225"/>
                  </a:lnTo>
                  <a:lnTo>
                    <a:pt x="1481443" y="3649321"/>
                  </a:lnTo>
                  <a:lnTo>
                    <a:pt x="1484952" y="3648474"/>
                  </a:lnTo>
                  <a:lnTo>
                    <a:pt x="1488703" y="3649049"/>
                  </a:lnTo>
                  <a:lnTo>
                    <a:pt x="1495903" y="3651439"/>
                  </a:lnTo>
                  <a:lnTo>
                    <a:pt x="1499231" y="3652528"/>
                  </a:lnTo>
                  <a:lnTo>
                    <a:pt x="1505735" y="3651469"/>
                  </a:lnTo>
                  <a:lnTo>
                    <a:pt x="1508730" y="3651862"/>
                  </a:lnTo>
                  <a:lnTo>
                    <a:pt x="1510182" y="3653224"/>
                  </a:lnTo>
                  <a:lnTo>
                    <a:pt x="1510787" y="3655220"/>
                  </a:lnTo>
                  <a:lnTo>
                    <a:pt x="1511240" y="3657519"/>
                  </a:lnTo>
                  <a:lnTo>
                    <a:pt x="1512239" y="3659728"/>
                  </a:lnTo>
                  <a:lnTo>
                    <a:pt x="1513721" y="3661059"/>
                  </a:lnTo>
                  <a:lnTo>
                    <a:pt x="1515446" y="3661633"/>
                  </a:lnTo>
                  <a:lnTo>
                    <a:pt x="1522797" y="3662087"/>
                  </a:lnTo>
                  <a:lnTo>
                    <a:pt x="1529785" y="3660605"/>
                  </a:lnTo>
                  <a:lnTo>
                    <a:pt x="1538013" y="3657399"/>
                  </a:lnTo>
                  <a:lnTo>
                    <a:pt x="1542702" y="3654797"/>
                  </a:lnTo>
                  <a:lnTo>
                    <a:pt x="1544306" y="3654646"/>
                  </a:lnTo>
                  <a:lnTo>
                    <a:pt x="1546151" y="3655493"/>
                  </a:lnTo>
                  <a:lnTo>
                    <a:pt x="1548057" y="3656642"/>
                  </a:lnTo>
                  <a:lnTo>
                    <a:pt x="1550023" y="3656249"/>
                  </a:lnTo>
                  <a:lnTo>
                    <a:pt x="1552050" y="3655402"/>
                  </a:lnTo>
                  <a:lnTo>
                    <a:pt x="1554107" y="3655099"/>
                  </a:lnTo>
                  <a:lnTo>
                    <a:pt x="1556043" y="3655765"/>
                  </a:lnTo>
                  <a:lnTo>
                    <a:pt x="1557314" y="3657247"/>
                  </a:lnTo>
                  <a:lnTo>
                    <a:pt x="1558101" y="3659365"/>
                  </a:lnTo>
                  <a:lnTo>
                    <a:pt x="1560611" y="3672887"/>
                  </a:lnTo>
                  <a:lnTo>
                    <a:pt x="1562578" y="3677697"/>
                  </a:lnTo>
                  <a:lnTo>
                    <a:pt x="1565512" y="3680359"/>
                  </a:lnTo>
                  <a:lnTo>
                    <a:pt x="1568870" y="3680601"/>
                  </a:lnTo>
                  <a:lnTo>
                    <a:pt x="1575706" y="3679149"/>
                  </a:lnTo>
                  <a:lnTo>
                    <a:pt x="1579216" y="3679391"/>
                  </a:lnTo>
                  <a:lnTo>
                    <a:pt x="1581182" y="3679996"/>
                  </a:lnTo>
                  <a:lnTo>
                    <a:pt x="1582997" y="3680934"/>
                  </a:lnTo>
                  <a:lnTo>
                    <a:pt x="1583874" y="3682568"/>
                  </a:lnTo>
                  <a:lnTo>
                    <a:pt x="1583058" y="3685109"/>
                  </a:lnTo>
                  <a:lnTo>
                    <a:pt x="1581605" y="3686319"/>
                  </a:lnTo>
                  <a:lnTo>
                    <a:pt x="1576130" y="3687408"/>
                  </a:lnTo>
                  <a:lnTo>
                    <a:pt x="1576523" y="3689041"/>
                  </a:lnTo>
                  <a:lnTo>
                    <a:pt x="1576523" y="3693034"/>
                  </a:lnTo>
                  <a:lnTo>
                    <a:pt x="1576765" y="3694517"/>
                  </a:lnTo>
                  <a:lnTo>
                    <a:pt x="1577673" y="3695485"/>
                  </a:lnTo>
                  <a:lnTo>
                    <a:pt x="1580033" y="3695969"/>
                  </a:lnTo>
                  <a:lnTo>
                    <a:pt x="1581273" y="3696725"/>
                  </a:lnTo>
                  <a:lnTo>
                    <a:pt x="1582513" y="3698662"/>
                  </a:lnTo>
                  <a:lnTo>
                    <a:pt x="1582634" y="3700355"/>
                  </a:lnTo>
                  <a:lnTo>
                    <a:pt x="1582392" y="3702170"/>
                  </a:lnTo>
                  <a:lnTo>
                    <a:pt x="1582513" y="3704409"/>
                  </a:lnTo>
                  <a:lnTo>
                    <a:pt x="1583209" y="3706254"/>
                  </a:lnTo>
                  <a:lnTo>
                    <a:pt x="1585266" y="3708856"/>
                  </a:lnTo>
                  <a:lnTo>
                    <a:pt x="1586143" y="3710641"/>
                  </a:lnTo>
                  <a:lnTo>
                    <a:pt x="1586355" y="3712728"/>
                  </a:lnTo>
                  <a:lnTo>
                    <a:pt x="1586113" y="3714483"/>
                  </a:lnTo>
                  <a:lnTo>
                    <a:pt x="1586325" y="3715996"/>
                  </a:lnTo>
                  <a:lnTo>
                    <a:pt x="1587716" y="3717296"/>
                  </a:lnTo>
                  <a:lnTo>
                    <a:pt x="1590227" y="3718688"/>
                  </a:lnTo>
                  <a:lnTo>
                    <a:pt x="1591347" y="3719686"/>
                  </a:lnTo>
                  <a:lnTo>
                    <a:pt x="1592284" y="3721138"/>
                  </a:lnTo>
                  <a:lnTo>
                    <a:pt x="1593162" y="3725192"/>
                  </a:lnTo>
                  <a:lnTo>
                    <a:pt x="1592829" y="3728822"/>
                  </a:lnTo>
                  <a:lnTo>
                    <a:pt x="1592980" y="3732059"/>
                  </a:lnTo>
                  <a:lnTo>
                    <a:pt x="1595309" y="3734812"/>
                  </a:lnTo>
                  <a:lnTo>
                    <a:pt x="1587535" y="3738018"/>
                  </a:lnTo>
                  <a:lnTo>
                    <a:pt x="1586023" y="3739713"/>
                  </a:lnTo>
                  <a:lnTo>
                    <a:pt x="1586143" y="3741558"/>
                  </a:lnTo>
                  <a:lnTo>
                    <a:pt x="1590953" y="3759225"/>
                  </a:lnTo>
                  <a:lnTo>
                    <a:pt x="1593040" y="3762794"/>
                  </a:lnTo>
                  <a:lnTo>
                    <a:pt x="1596459" y="3764125"/>
                  </a:lnTo>
                  <a:lnTo>
                    <a:pt x="1598637" y="3764488"/>
                  </a:lnTo>
                  <a:lnTo>
                    <a:pt x="1600724" y="3765184"/>
                  </a:lnTo>
                  <a:lnTo>
                    <a:pt x="1602540" y="3766546"/>
                  </a:lnTo>
                  <a:lnTo>
                    <a:pt x="1603931" y="3768996"/>
                  </a:lnTo>
                  <a:lnTo>
                    <a:pt x="1604657" y="3772415"/>
                  </a:lnTo>
                  <a:lnTo>
                    <a:pt x="1604839" y="3774986"/>
                  </a:lnTo>
                  <a:lnTo>
                    <a:pt x="1605504" y="3777224"/>
                  </a:lnTo>
                  <a:lnTo>
                    <a:pt x="1607682" y="3779524"/>
                  </a:lnTo>
                  <a:lnTo>
                    <a:pt x="1609648" y="3780764"/>
                  </a:lnTo>
                  <a:lnTo>
                    <a:pt x="1611676" y="3781762"/>
                  </a:lnTo>
                  <a:lnTo>
                    <a:pt x="1613733" y="3782337"/>
                  </a:lnTo>
                  <a:lnTo>
                    <a:pt x="1615880" y="3782458"/>
                  </a:lnTo>
                  <a:lnTo>
                    <a:pt x="1617787" y="3781883"/>
                  </a:lnTo>
                  <a:lnTo>
                    <a:pt x="1618240" y="3781732"/>
                  </a:lnTo>
                  <a:lnTo>
                    <a:pt x="1619601" y="3780250"/>
                  </a:lnTo>
                  <a:lnTo>
                    <a:pt x="1620721" y="3778344"/>
                  </a:lnTo>
                  <a:lnTo>
                    <a:pt x="1622355" y="3776438"/>
                  </a:lnTo>
                  <a:lnTo>
                    <a:pt x="1623231" y="3776105"/>
                  </a:lnTo>
                  <a:lnTo>
                    <a:pt x="1625168" y="3776014"/>
                  </a:lnTo>
                  <a:lnTo>
                    <a:pt x="1626075" y="3775682"/>
                  </a:lnTo>
                  <a:lnTo>
                    <a:pt x="1627194" y="3774593"/>
                  </a:lnTo>
                  <a:lnTo>
                    <a:pt x="1629221" y="3772021"/>
                  </a:lnTo>
                  <a:lnTo>
                    <a:pt x="1630613" y="3771023"/>
                  </a:lnTo>
                  <a:lnTo>
                    <a:pt x="1632428" y="3770418"/>
                  </a:lnTo>
                  <a:lnTo>
                    <a:pt x="1641927" y="3769389"/>
                  </a:lnTo>
                  <a:lnTo>
                    <a:pt x="1659413" y="3770720"/>
                  </a:lnTo>
                  <a:lnTo>
                    <a:pt x="1662165" y="3772081"/>
                  </a:lnTo>
                  <a:lnTo>
                    <a:pt x="1662952" y="3774804"/>
                  </a:lnTo>
                  <a:lnTo>
                    <a:pt x="1665826" y="3776135"/>
                  </a:lnTo>
                  <a:lnTo>
                    <a:pt x="1675839" y="3790958"/>
                  </a:lnTo>
                  <a:lnTo>
                    <a:pt x="1678138" y="3792017"/>
                  </a:lnTo>
                  <a:lnTo>
                    <a:pt x="1680558" y="3791896"/>
                  </a:lnTo>
                  <a:lnTo>
                    <a:pt x="1682948" y="3790898"/>
                  </a:lnTo>
                  <a:lnTo>
                    <a:pt x="1685126" y="3789446"/>
                  </a:lnTo>
                  <a:lnTo>
                    <a:pt x="1687092" y="3787631"/>
                  </a:lnTo>
                  <a:lnTo>
                    <a:pt x="1687788" y="3787298"/>
                  </a:lnTo>
                  <a:lnTo>
                    <a:pt x="1689028" y="3787298"/>
                  </a:lnTo>
                  <a:lnTo>
                    <a:pt x="1690027" y="3787600"/>
                  </a:lnTo>
                  <a:lnTo>
                    <a:pt x="1692084" y="3788689"/>
                  </a:lnTo>
                  <a:lnTo>
                    <a:pt x="1694292" y="3789143"/>
                  </a:lnTo>
                  <a:lnTo>
                    <a:pt x="1697075" y="3790989"/>
                  </a:lnTo>
                  <a:lnTo>
                    <a:pt x="1700252" y="3791624"/>
                  </a:lnTo>
                  <a:lnTo>
                    <a:pt x="1701159" y="3791957"/>
                  </a:lnTo>
                  <a:lnTo>
                    <a:pt x="1702732" y="3792894"/>
                  </a:lnTo>
                  <a:lnTo>
                    <a:pt x="1702974" y="3793227"/>
                  </a:lnTo>
                  <a:lnTo>
                    <a:pt x="1702702" y="3793832"/>
                  </a:lnTo>
                  <a:lnTo>
                    <a:pt x="1702491" y="3797039"/>
                  </a:lnTo>
                  <a:lnTo>
                    <a:pt x="1702248" y="3798431"/>
                  </a:lnTo>
                  <a:lnTo>
                    <a:pt x="1702581" y="3799701"/>
                  </a:lnTo>
                  <a:lnTo>
                    <a:pt x="1704064" y="3800851"/>
                  </a:lnTo>
                  <a:lnTo>
                    <a:pt x="1706211" y="3801607"/>
                  </a:lnTo>
                  <a:lnTo>
                    <a:pt x="1708601" y="3801940"/>
                  </a:lnTo>
                  <a:lnTo>
                    <a:pt x="1710870" y="3801667"/>
                  </a:lnTo>
                  <a:lnTo>
                    <a:pt x="1712776" y="3800578"/>
                  </a:lnTo>
                  <a:lnTo>
                    <a:pt x="1713653" y="3799368"/>
                  </a:lnTo>
                  <a:lnTo>
                    <a:pt x="1715257" y="3796252"/>
                  </a:lnTo>
                  <a:lnTo>
                    <a:pt x="1716194" y="3794921"/>
                  </a:lnTo>
                  <a:lnTo>
                    <a:pt x="1717465" y="3793832"/>
                  </a:lnTo>
                  <a:lnTo>
                    <a:pt x="1734164" y="3784696"/>
                  </a:lnTo>
                  <a:lnTo>
                    <a:pt x="1740758" y="3782458"/>
                  </a:lnTo>
                  <a:lnTo>
                    <a:pt x="1747444" y="3782034"/>
                  </a:lnTo>
                  <a:lnTo>
                    <a:pt x="1754644" y="3783032"/>
                  </a:lnTo>
                  <a:lnTo>
                    <a:pt x="1769255" y="3779130"/>
                  </a:lnTo>
                  <a:lnTo>
                    <a:pt x="1772220" y="3777012"/>
                  </a:lnTo>
                  <a:lnTo>
                    <a:pt x="1778119" y="3771446"/>
                  </a:lnTo>
                  <a:lnTo>
                    <a:pt x="1781114" y="3770357"/>
                  </a:lnTo>
                  <a:lnTo>
                    <a:pt x="1791187" y="3769056"/>
                  </a:lnTo>
                  <a:lnTo>
                    <a:pt x="1793215" y="3770055"/>
                  </a:lnTo>
                  <a:lnTo>
                    <a:pt x="1794727" y="3773806"/>
                  </a:lnTo>
                  <a:lnTo>
                    <a:pt x="1796088" y="3778555"/>
                  </a:lnTo>
                  <a:lnTo>
                    <a:pt x="1797722" y="3782367"/>
                  </a:lnTo>
                  <a:lnTo>
                    <a:pt x="1806586" y="3786360"/>
                  </a:lnTo>
                  <a:lnTo>
                    <a:pt x="1809702" y="3789476"/>
                  </a:lnTo>
                  <a:lnTo>
                    <a:pt x="1809944" y="3795526"/>
                  </a:lnTo>
                  <a:lnTo>
                    <a:pt x="1808915" y="3798975"/>
                  </a:lnTo>
                  <a:lnTo>
                    <a:pt x="1808642" y="3800488"/>
                  </a:lnTo>
                  <a:lnTo>
                    <a:pt x="1808794" y="3802091"/>
                  </a:lnTo>
                  <a:lnTo>
                    <a:pt x="1809490" y="3803059"/>
                  </a:lnTo>
                  <a:lnTo>
                    <a:pt x="1812998" y="3806357"/>
                  </a:lnTo>
                  <a:lnTo>
                    <a:pt x="1822619" y="3820061"/>
                  </a:lnTo>
                  <a:lnTo>
                    <a:pt x="1826249" y="3822420"/>
                  </a:lnTo>
                  <a:lnTo>
                    <a:pt x="1834235" y="3825808"/>
                  </a:lnTo>
                  <a:lnTo>
                    <a:pt x="1838138" y="3828107"/>
                  </a:lnTo>
                  <a:lnTo>
                    <a:pt x="1841556" y="3830951"/>
                  </a:lnTo>
                  <a:lnTo>
                    <a:pt x="1844642" y="3834551"/>
                  </a:lnTo>
                  <a:lnTo>
                    <a:pt x="1847909" y="3839814"/>
                  </a:lnTo>
                  <a:lnTo>
                    <a:pt x="1848030" y="3840087"/>
                  </a:lnTo>
                  <a:lnTo>
                    <a:pt x="1849542" y="3842689"/>
                  </a:lnTo>
                  <a:lnTo>
                    <a:pt x="1849633" y="3844927"/>
                  </a:lnTo>
                  <a:lnTo>
                    <a:pt x="1850087" y="3845804"/>
                  </a:lnTo>
                  <a:lnTo>
                    <a:pt x="1852356" y="3844473"/>
                  </a:lnTo>
                  <a:lnTo>
                    <a:pt x="1856773" y="3841872"/>
                  </a:lnTo>
                  <a:lnTo>
                    <a:pt x="1858013" y="3841509"/>
                  </a:lnTo>
                  <a:lnTo>
                    <a:pt x="1859132" y="3841751"/>
                  </a:lnTo>
                  <a:lnTo>
                    <a:pt x="1860978" y="3842840"/>
                  </a:lnTo>
                  <a:lnTo>
                    <a:pt x="1862037" y="3843021"/>
                  </a:lnTo>
                  <a:lnTo>
                    <a:pt x="1866786" y="3839966"/>
                  </a:lnTo>
                  <a:lnTo>
                    <a:pt x="1867331" y="3833704"/>
                  </a:lnTo>
                  <a:lnTo>
                    <a:pt x="1866605" y="3827079"/>
                  </a:lnTo>
                  <a:lnTo>
                    <a:pt x="1867602" y="3822813"/>
                  </a:lnTo>
                  <a:lnTo>
                    <a:pt x="1869206" y="3822450"/>
                  </a:lnTo>
                  <a:lnTo>
                    <a:pt x="1875680" y="3822965"/>
                  </a:lnTo>
                  <a:lnTo>
                    <a:pt x="1878402" y="3822480"/>
                  </a:lnTo>
                  <a:lnTo>
                    <a:pt x="1880308" y="3822783"/>
                  </a:lnTo>
                  <a:lnTo>
                    <a:pt x="1881761" y="3824326"/>
                  </a:lnTo>
                  <a:lnTo>
                    <a:pt x="1884756" y="3832584"/>
                  </a:lnTo>
                  <a:lnTo>
                    <a:pt x="1885935" y="3834248"/>
                  </a:lnTo>
                  <a:lnTo>
                    <a:pt x="1887992" y="3835035"/>
                  </a:lnTo>
                  <a:lnTo>
                    <a:pt x="1892408" y="3835489"/>
                  </a:lnTo>
                  <a:lnTo>
                    <a:pt x="1894194" y="3836124"/>
                  </a:lnTo>
                  <a:lnTo>
                    <a:pt x="1896553" y="3837636"/>
                  </a:lnTo>
                  <a:lnTo>
                    <a:pt x="1900214" y="3838877"/>
                  </a:lnTo>
                  <a:lnTo>
                    <a:pt x="1907534" y="3837636"/>
                  </a:lnTo>
                  <a:lnTo>
                    <a:pt x="1912466" y="3838514"/>
                  </a:lnTo>
                  <a:lnTo>
                    <a:pt x="1913404" y="3838151"/>
                  </a:lnTo>
                  <a:lnTo>
                    <a:pt x="1914311" y="3837576"/>
                  </a:lnTo>
                  <a:lnTo>
                    <a:pt x="1916761" y="3836820"/>
                  </a:lnTo>
                  <a:lnTo>
                    <a:pt x="1917003" y="3836426"/>
                  </a:lnTo>
                  <a:lnTo>
                    <a:pt x="1917003" y="3836820"/>
                  </a:lnTo>
                  <a:lnTo>
                    <a:pt x="1917820" y="3839633"/>
                  </a:lnTo>
                  <a:lnTo>
                    <a:pt x="1918062" y="3841932"/>
                  </a:lnTo>
                  <a:lnTo>
                    <a:pt x="1918607" y="3843172"/>
                  </a:lnTo>
                  <a:lnTo>
                    <a:pt x="1919272" y="3843808"/>
                  </a:lnTo>
                  <a:lnTo>
                    <a:pt x="1925353" y="3847861"/>
                  </a:lnTo>
                  <a:lnTo>
                    <a:pt x="1935850" y="3850705"/>
                  </a:lnTo>
                  <a:lnTo>
                    <a:pt x="1939298" y="3853609"/>
                  </a:lnTo>
                  <a:lnTo>
                    <a:pt x="1941718" y="3857148"/>
                  </a:lnTo>
                  <a:lnTo>
                    <a:pt x="1944381" y="3859599"/>
                  </a:lnTo>
                  <a:lnTo>
                    <a:pt x="1953940" y="3859085"/>
                  </a:lnTo>
                  <a:lnTo>
                    <a:pt x="1955665" y="3858601"/>
                  </a:lnTo>
                  <a:lnTo>
                    <a:pt x="1957540" y="3857088"/>
                  </a:lnTo>
                  <a:lnTo>
                    <a:pt x="1960747" y="3852732"/>
                  </a:lnTo>
                  <a:lnTo>
                    <a:pt x="1962471" y="3850917"/>
                  </a:lnTo>
                  <a:lnTo>
                    <a:pt x="1966344" y="3849586"/>
                  </a:lnTo>
                  <a:lnTo>
                    <a:pt x="1968884" y="3851582"/>
                  </a:lnTo>
                  <a:lnTo>
                    <a:pt x="1969036" y="3851734"/>
                  </a:lnTo>
                  <a:lnTo>
                    <a:pt x="1974632" y="3865105"/>
                  </a:lnTo>
                  <a:lnTo>
                    <a:pt x="1976901" y="3868009"/>
                  </a:lnTo>
                  <a:lnTo>
                    <a:pt x="1979836" y="3869824"/>
                  </a:lnTo>
                  <a:lnTo>
                    <a:pt x="1983617" y="3870611"/>
                  </a:lnTo>
                  <a:lnTo>
                    <a:pt x="1987610" y="3869824"/>
                  </a:lnTo>
                  <a:lnTo>
                    <a:pt x="1991512" y="3868070"/>
                  </a:lnTo>
                  <a:lnTo>
                    <a:pt x="1995294" y="3867313"/>
                  </a:lnTo>
                  <a:lnTo>
                    <a:pt x="1998955" y="3869582"/>
                  </a:lnTo>
                  <a:lnTo>
                    <a:pt x="2000890" y="3870368"/>
                  </a:lnTo>
                  <a:lnTo>
                    <a:pt x="2006729" y="3870943"/>
                  </a:lnTo>
                  <a:lnTo>
                    <a:pt x="2008030" y="3872456"/>
                  </a:lnTo>
                  <a:lnTo>
                    <a:pt x="2009149" y="3875662"/>
                  </a:lnTo>
                  <a:lnTo>
                    <a:pt x="2010752" y="3881773"/>
                  </a:lnTo>
                  <a:lnTo>
                    <a:pt x="2013294" y="3886704"/>
                  </a:lnTo>
                  <a:lnTo>
                    <a:pt x="2016380" y="3888671"/>
                  </a:lnTo>
                  <a:lnTo>
                    <a:pt x="2019919" y="3889578"/>
                  </a:lnTo>
                  <a:lnTo>
                    <a:pt x="2024002" y="3891363"/>
                  </a:lnTo>
                  <a:lnTo>
                    <a:pt x="2029236" y="3895992"/>
                  </a:lnTo>
                  <a:lnTo>
                    <a:pt x="2031293" y="3896869"/>
                  </a:lnTo>
                  <a:lnTo>
                    <a:pt x="2034016" y="3896990"/>
                  </a:lnTo>
                  <a:lnTo>
                    <a:pt x="2037101" y="3896415"/>
                  </a:lnTo>
                  <a:lnTo>
                    <a:pt x="2040157" y="3895326"/>
                  </a:lnTo>
                  <a:lnTo>
                    <a:pt x="2042698" y="3893934"/>
                  </a:lnTo>
                  <a:lnTo>
                    <a:pt x="2048658" y="3888277"/>
                  </a:lnTo>
                  <a:lnTo>
                    <a:pt x="2051048" y="3887491"/>
                  </a:lnTo>
                  <a:lnTo>
                    <a:pt x="2053014" y="3887491"/>
                  </a:lnTo>
                  <a:lnTo>
                    <a:pt x="2062845" y="3890002"/>
                  </a:lnTo>
                  <a:lnTo>
                    <a:pt x="2063178" y="3890335"/>
                  </a:lnTo>
                  <a:lnTo>
                    <a:pt x="2064418" y="3891544"/>
                  </a:lnTo>
                  <a:lnTo>
                    <a:pt x="2063904" y="3894509"/>
                  </a:lnTo>
                  <a:lnTo>
                    <a:pt x="2062392" y="3896475"/>
                  </a:lnTo>
                  <a:lnTo>
                    <a:pt x="2058489" y="3898563"/>
                  </a:lnTo>
                  <a:lnTo>
                    <a:pt x="2056704" y="3900106"/>
                  </a:lnTo>
                  <a:lnTo>
                    <a:pt x="2054768" y="3904734"/>
                  </a:lnTo>
                  <a:lnTo>
                    <a:pt x="2055343" y="3909242"/>
                  </a:lnTo>
                  <a:lnTo>
                    <a:pt x="2057491" y="3913447"/>
                  </a:lnTo>
                  <a:lnTo>
                    <a:pt x="2061424" y="3919164"/>
                  </a:lnTo>
                  <a:lnTo>
                    <a:pt x="2066113" y="3924246"/>
                  </a:lnTo>
                  <a:lnTo>
                    <a:pt x="2067262" y="3926515"/>
                  </a:lnTo>
                  <a:lnTo>
                    <a:pt x="2067020" y="3929056"/>
                  </a:lnTo>
                  <a:lnTo>
                    <a:pt x="2065568" y="3933866"/>
                  </a:lnTo>
                  <a:lnTo>
                    <a:pt x="2065478" y="3938979"/>
                  </a:lnTo>
                  <a:lnTo>
                    <a:pt x="2064691" y="3940310"/>
                  </a:lnTo>
                  <a:lnTo>
                    <a:pt x="2062301" y="3941520"/>
                  </a:lnTo>
                  <a:lnTo>
                    <a:pt x="2060334" y="3943002"/>
                  </a:lnTo>
                  <a:lnTo>
                    <a:pt x="2057007" y="3947903"/>
                  </a:lnTo>
                  <a:lnTo>
                    <a:pt x="2055070" y="3949869"/>
                  </a:lnTo>
                  <a:lnTo>
                    <a:pt x="2049141" y="3953651"/>
                  </a:lnTo>
                  <a:lnTo>
                    <a:pt x="2046389" y="3956101"/>
                  </a:lnTo>
                  <a:lnTo>
                    <a:pt x="2044241" y="3959459"/>
                  </a:lnTo>
                  <a:lnTo>
                    <a:pt x="2043787" y="3961425"/>
                  </a:lnTo>
                  <a:lnTo>
                    <a:pt x="2043485" y="3965449"/>
                  </a:lnTo>
                  <a:lnTo>
                    <a:pt x="2043030" y="3966871"/>
                  </a:lnTo>
                  <a:lnTo>
                    <a:pt x="2041851" y="3967597"/>
                  </a:lnTo>
                  <a:lnTo>
                    <a:pt x="2040248" y="3967748"/>
                  </a:lnTo>
                  <a:lnTo>
                    <a:pt x="2037313" y="3967264"/>
                  </a:lnTo>
                  <a:lnTo>
                    <a:pt x="2034228" y="3967264"/>
                  </a:lnTo>
                  <a:lnTo>
                    <a:pt x="2025908" y="3969926"/>
                  </a:lnTo>
                  <a:lnTo>
                    <a:pt x="2020796" y="3969623"/>
                  </a:lnTo>
                  <a:lnTo>
                    <a:pt x="2019102" y="3970773"/>
                  </a:lnTo>
                  <a:lnTo>
                    <a:pt x="2018376" y="3977852"/>
                  </a:lnTo>
                  <a:lnTo>
                    <a:pt x="2019737" y="3979607"/>
                  </a:lnTo>
                  <a:lnTo>
                    <a:pt x="2021794" y="3980847"/>
                  </a:lnTo>
                  <a:lnTo>
                    <a:pt x="2023609" y="3982511"/>
                  </a:lnTo>
                  <a:lnTo>
                    <a:pt x="2024970" y="3985052"/>
                  </a:lnTo>
                  <a:lnTo>
                    <a:pt x="2025787" y="3986958"/>
                  </a:lnTo>
                  <a:lnTo>
                    <a:pt x="2026907" y="3988349"/>
                  </a:lnTo>
                  <a:lnTo>
                    <a:pt x="2029296" y="3989347"/>
                  </a:lnTo>
                  <a:lnTo>
                    <a:pt x="2037283" y="3991011"/>
                  </a:lnTo>
                  <a:lnTo>
                    <a:pt x="2040792" y="3990558"/>
                  </a:lnTo>
                  <a:lnTo>
                    <a:pt x="2041972" y="3990739"/>
                  </a:lnTo>
                  <a:lnTo>
                    <a:pt x="2043000" y="3991586"/>
                  </a:lnTo>
                  <a:lnTo>
                    <a:pt x="2044937" y="3993855"/>
                  </a:lnTo>
                  <a:lnTo>
                    <a:pt x="2046207" y="3994339"/>
                  </a:lnTo>
                  <a:lnTo>
                    <a:pt x="2048415" y="3993280"/>
                  </a:lnTo>
                  <a:lnTo>
                    <a:pt x="2050170" y="3991132"/>
                  </a:lnTo>
                  <a:lnTo>
                    <a:pt x="2052076" y="3989438"/>
                  </a:lnTo>
                  <a:lnTo>
                    <a:pt x="2054617" y="3989741"/>
                  </a:lnTo>
                  <a:lnTo>
                    <a:pt x="2056583" y="3992040"/>
                  </a:lnTo>
                  <a:lnTo>
                    <a:pt x="2056463" y="3994763"/>
                  </a:lnTo>
                  <a:lnTo>
                    <a:pt x="2055070" y="3997546"/>
                  </a:lnTo>
                  <a:lnTo>
                    <a:pt x="2053135" y="3999935"/>
                  </a:lnTo>
                  <a:lnTo>
                    <a:pt x="2048688" y="4003203"/>
                  </a:lnTo>
                  <a:lnTo>
                    <a:pt x="2044604" y="4003656"/>
                  </a:lnTo>
                  <a:lnTo>
                    <a:pt x="2033502" y="3999603"/>
                  </a:lnTo>
                  <a:lnTo>
                    <a:pt x="2031172" y="3999663"/>
                  </a:lnTo>
                  <a:lnTo>
                    <a:pt x="2028994" y="4000692"/>
                  </a:lnTo>
                  <a:lnTo>
                    <a:pt x="2026968" y="4002779"/>
                  </a:lnTo>
                  <a:lnTo>
                    <a:pt x="2026151" y="4004322"/>
                  </a:lnTo>
                  <a:lnTo>
                    <a:pt x="2025455" y="4005865"/>
                  </a:lnTo>
                  <a:lnTo>
                    <a:pt x="2024638" y="4007166"/>
                  </a:lnTo>
                  <a:lnTo>
                    <a:pt x="2022157" y="4008103"/>
                  </a:lnTo>
                  <a:lnTo>
                    <a:pt x="2021280" y="4009253"/>
                  </a:lnTo>
                  <a:lnTo>
                    <a:pt x="2015139" y="4028130"/>
                  </a:lnTo>
                  <a:lnTo>
                    <a:pt x="2014111" y="4031609"/>
                  </a:lnTo>
                  <a:lnTo>
                    <a:pt x="2017982" y="4031367"/>
                  </a:lnTo>
                  <a:lnTo>
                    <a:pt x="2019949" y="4030610"/>
                  </a:lnTo>
                  <a:lnTo>
                    <a:pt x="2031959" y="4032002"/>
                  </a:lnTo>
                  <a:lnTo>
                    <a:pt x="2034590" y="4033454"/>
                  </a:lnTo>
                  <a:lnTo>
                    <a:pt x="2036557" y="4035874"/>
                  </a:lnTo>
                  <a:lnTo>
                    <a:pt x="2037344" y="4039504"/>
                  </a:lnTo>
                  <a:lnTo>
                    <a:pt x="2037434" y="4040533"/>
                  </a:lnTo>
                  <a:lnTo>
                    <a:pt x="2037676" y="4041319"/>
                  </a:lnTo>
                  <a:lnTo>
                    <a:pt x="2037918" y="4041894"/>
                  </a:lnTo>
                  <a:lnTo>
                    <a:pt x="2038009" y="4042318"/>
                  </a:lnTo>
                  <a:lnTo>
                    <a:pt x="2037615" y="4043498"/>
                  </a:lnTo>
                  <a:lnTo>
                    <a:pt x="2036678" y="4043800"/>
                  </a:lnTo>
                  <a:lnTo>
                    <a:pt x="2035740" y="4043709"/>
                  </a:lnTo>
                  <a:lnTo>
                    <a:pt x="2035287" y="4043830"/>
                  </a:lnTo>
                  <a:lnTo>
                    <a:pt x="2035589" y="4045978"/>
                  </a:lnTo>
                  <a:lnTo>
                    <a:pt x="2036527" y="4047128"/>
                  </a:lnTo>
                  <a:lnTo>
                    <a:pt x="2037586" y="4047884"/>
                  </a:lnTo>
                  <a:lnTo>
                    <a:pt x="2040701" y="4054297"/>
                  </a:lnTo>
                  <a:lnTo>
                    <a:pt x="2041760" y="4057867"/>
                  </a:lnTo>
                  <a:lnTo>
                    <a:pt x="2042547" y="4059773"/>
                  </a:lnTo>
                  <a:lnTo>
                    <a:pt x="2043515" y="4060983"/>
                  </a:lnTo>
                  <a:lnTo>
                    <a:pt x="2041216" y="4063040"/>
                  </a:lnTo>
                  <a:lnTo>
                    <a:pt x="2039491" y="4065127"/>
                  </a:lnTo>
                  <a:lnTo>
                    <a:pt x="2032624" y="4070421"/>
                  </a:lnTo>
                  <a:lnTo>
                    <a:pt x="2039582" y="4074445"/>
                  </a:lnTo>
                  <a:lnTo>
                    <a:pt x="2041639" y="4074203"/>
                  </a:lnTo>
                  <a:lnTo>
                    <a:pt x="2046872" y="4072448"/>
                  </a:lnTo>
                  <a:lnTo>
                    <a:pt x="2049020" y="4072902"/>
                  </a:lnTo>
                  <a:lnTo>
                    <a:pt x="2050472" y="4075262"/>
                  </a:lnTo>
                  <a:lnTo>
                    <a:pt x="2050231" y="4077954"/>
                  </a:lnTo>
                  <a:lnTo>
                    <a:pt x="2048960" y="4080495"/>
                  </a:lnTo>
                  <a:lnTo>
                    <a:pt x="2047236" y="4082340"/>
                  </a:lnTo>
                  <a:lnTo>
                    <a:pt x="2042365" y="4085698"/>
                  </a:lnTo>
                  <a:lnTo>
                    <a:pt x="2040490" y="4087755"/>
                  </a:lnTo>
                  <a:lnTo>
                    <a:pt x="2035437" y="4096498"/>
                  </a:lnTo>
                  <a:lnTo>
                    <a:pt x="2034197" y="4099221"/>
                  </a:lnTo>
                  <a:lnTo>
                    <a:pt x="2033985" y="4102397"/>
                  </a:lnTo>
                  <a:lnTo>
                    <a:pt x="2035558" y="4106723"/>
                  </a:lnTo>
                  <a:lnTo>
                    <a:pt x="2035377" y="4108024"/>
                  </a:lnTo>
                  <a:lnTo>
                    <a:pt x="2035135" y="4108205"/>
                  </a:lnTo>
                  <a:lnTo>
                    <a:pt x="2034440" y="4108054"/>
                  </a:lnTo>
                  <a:lnTo>
                    <a:pt x="2028964" y="4108992"/>
                  </a:lnTo>
                  <a:lnTo>
                    <a:pt x="2027844" y="4109688"/>
                  </a:lnTo>
                  <a:lnTo>
                    <a:pt x="2027027" y="4110988"/>
                  </a:lnTo>
                  <a:lnTo>
                    <a:pt x="2027239" y="4111714"/>
                  </a:lnTo>
                  <a:lnTo>
                    <a:pt x="2028056" y="4112501"/>
                  </a:lnTo>
                  <a:lnTo>
                    <a:pt x="2029085" y="4113983"/>
                  </a:lnTo>
                  <a:lnTo>
                    <a:pt x="2030476" y="4117008"/>
                  </a:lnTo>
                  <a:lnTo>
                    <a:pt x="2030688" y="4118370"/>
                  </a:lnTo>
                  <a:lnTo>
                    <a:pt x="2030446" y="4120548"/>
                  </a:lnTo>
                  <a:lnTo>
                    <a:pt x="2030113" y="4121637"/>
                  </a:lnTo>
                  <a:lnTo>
                    <a:pt x="2029055" y="4123754"/>
                  </a:lnTo>
                  <a:lnTo>
                    <a:pt x="2028752" y="4124934"/>
                  </a:lnTo>
                  <a:lnTo>
                    <a:pt x="2028752" y="4125963"/>
                  </a:lnTo>
                  <a:lnTo>
                    <a:pt x="2029236" y="4127808"/>
                  </a:lnTo>
                  <a:lnTo>
                    <a:pt x="2029326" y="4128685"/>
                  </a:lnTo>
                  <a:lnTo>
                    <a:pt x="2028631" y="4132618"/>
                  </a:lnTo>
                  <a:lnTo>
                    <a:pt x="2026937" y="4136067"/>
                  </a:lnTo>
                  <a:lnTo>
                    <a:pt x="2024426" y="4138427"/>
                  </a:lnTo>
                  <a:lnTo>
                    <a:pt x="2021098" y="4139032"/>
                  </a:lnTo>
                  <a:lnTo>
                    <a:pt x="2011025" y="4136581"/>
                  </a:lnTo>
                  <a:lnTo>
                    <a:pt x="2007939" y="4136400"/>
                  </a:lnTo>
                  <a:lnTo>
                    <a:pt x="2001859" y="4137489"/>
                  </a:lnTo>
                  <a:lnTo>
                    <a:pt x="1998894" y="4137035"/>
                  </a:lnTo>
                  <a:lnTo>
                    <a:pt x="1996595" y="4136309"/>
                  </a:lnTo>
                  <a:lnTo>
                    <a:pt x="1992268" y="4137458"/>
                  </a:lnTo>
                  <a:lnTo>
                    <a:pt x="1990000" y="4137519"/>
                  </a:lnTo>
                  <a:lnTo>
                    <a:pt x="1988185" y="4136732"/>
                  </a:lnTo>
                  <a:lnTo>
                    <a:pt x="1984796" y="4134615"/>
                  </a:lnTo>
                  <a:lnTo>
                    <a:pt x="1982740" y="4134312"/>
                  </a:lnTo>
                  <a:lnTo>
                    <a:pt x="1968037" y="4135522"/>
                  </a:lnTo>
                  <a:lnTo>
                    <a:pt x="1963954" y="4136551"/>
                  </a:lnTo>
                  <a:lnTo>
                    <a:pt x="1961987" y="4136702"/>
                  </a:lnTo>
                  <a:lnTo>
                    <a:pt x="1959930" y="4136218"/>
                  </a:lnTo>
                  <a:lnTo>
                    <a:pt x="1954515" y="4132800"/>
                  </a:lnTo>
                  <a:lnTo>
                    <a:pt x="1954213" y="4132800"/>
                  </a:lnTo>
                  <a:lnTo>
                    <a:pt x="1938210" y="4132195"/>
                  </a:lnTo>
                  <a:lnTo>
                    <a:pt x="1933551" y="4134010"/>
                  </a:lnTo>
                  <a:lnTo>
                    <a:pt x="1930042" y="4137882"/>
                  </a:lnTo>
                  <a:lnTo>
                    <a:pt x="1927531" y="4143267"/>
                  </a:lnTo>
                  <a:lnTo>
                    <a:pt x="1925715" y="4149559"/>
                  </a:lnTo>
                  <a:lnTo>
                    <a:pt x="1924899" y="4155307"/>
                  </a:lnTo>
                  <a:lnTo>
                    <a:pt x="1923810" y="4157515"/>
                  </a:lnTo>
                  <a:lnTo>
                    <a:pt x="1921662" y="4157697"/>
                  </a:lnTo>
                  <a:lnTo>
                    <a:pt x="1918122" y="4156396"/>
                  </a:lnTo>
                  <a:lnTo>
                    <a:pt x="1916550" y="4156668"/>
                  </a:lnTo>
                  <a:lnTo>
                    <a:pt x="1914674" y="4157999"/>
                  </a:lnTo>
                  <a:lnTo>
                    <a:pt x="1910923" y="4161902"/>
                  </a:lnTo>
                  <a:lnTo>
                    <a:pt x="1909017" y="4163384"/>
                  </a:lnTo>
                  <a:lnTo>
                    <a:pt x="1906476" y="4164443"/>
                  </a:lnTo>
                  <a:lnTo>
                    <a:pt x="1885451" y="4167105"/>
                  </a:lnTo>
                  <a:lnTo>
                    <a:pt x="1882032" y="4169253"/>
                  </a:lnTo>
                  <a:lnTo>
                    <a:pt x="1879431" y="4173155"/>
                  </a:lnTo>
                  <a:lnTo>
                    <a:pt x="1877495" y="4177935"/>
                  </a:lnTo>
                  <a:lnTo>
                    <a:pt x="1876103" y="4182745"/>
                  </a:lnTo>
                  <a:lnTo>
                    <a:pt x="1876436" y="4192456"/>
                  </a:lnTo>
                  <a:lnTo>
                    <a:pt x="1875891" y="4196358"/>
                  </a:lnTo>
                  <a:lnTo>
                    <a:pt x="1873381" y="4200563"/>
                  </a:lnTo>
                  <a:lnTo>
                    <a:pt x="1870386" y="4204344"/>
                  </a:lnTo>
                  <a:lnTo>
                    <a:pt x="1869115" y="4206734"/>
                  </a:lnTo>
                  <a:lnTo>
                    <a:pt x="1868904" y="4208943"/>
                  </a:lnTo>
                  <a:lnTo>
                    <a:pt x="1870144" y="4210334"/>
                  </a:lnTo>
                  <a:lnTo>
                    <a:pt x="1872110" y="4210546"/>
                  </a:lnTo>
                  <a:lnTo>
                    <a:pt x="1875861" y="4210032"/>
                  </a:lnTo>
                  <a:lnTo>
                    <a:pt x="1877676" y="4210153"/>
                  </a:lnTo>
                  <a:lnTo>
                    <a:pt x="1879280" y="4210849"/>
                  </a:lnTo>
                  <a:lnTo>
                    <a:pt x="1880218" y="4212331"/>
                  </a:lnTo>
                  <a:lnTo>
                    <a:pt x="1879945" y="4215054"/>
                  </a:lnTo>
                  <a:lnTo>
                    <a:pt x="1878584" y="4217111"/>
                  </a:lnTo>
                  <a:lnTo>
                    <a:pt x="1876497" y="4218411"/>
                  </a:lnTo>
                  <a:lnTo>
                    <a:pt x="1874228" y="4219440"/>
                  </a:lnTo>
                  <a:lnTo>
                    <a:pt x="1872352" y="4220650"/>
                  </a:lnTo>
                  <a:lnTo>
                    <a:pt x="1870416" y="4223766"/>
                  </a:lnTo>
                  <a:lnTo>
                    <a:pt x="1869750" y="4227820"/>
                  </a:lnTo>
                  <a:lnTo>
                    <a:pt x="1870204" y="4232115"/>
                  </a:lnTo>
                  <a:lnTo>
                    <a:pt x="1871747" y="4235867"/>
                  </a:lnTo>
                  <a:lnTo>
                    <a:pt x="1872504" y="4235171"/>
                  </a:lnTo>
                  <a:lnTo>
                    <a:pt x="1876648" y="4233719"/>
                  </a:lnTo>
                  <a:lnTo>
                    <a:pt x="1893014" y="4231722"/>
                  </a:lnTo>
                  <a:lnTo>
                    <a:pt x="1895101" y="4230814"/>
                  </a:lnTo>
                  <a:lnTo>
                    <a:pt x="1896039" y="4229151"/>
                  </a:lnTo>
                  <a:lnTo>
                    <a:pt x="1896493" y="4227910"/>
                  </a:lnTo>
                  <a:lnTo>
                    <a:pt x="1897552" y="4226882"/>
                  </a:lnTo>
                  <a:lnTo>
                    <a:pt x="1898792" y="4226156"/>
                  </a:lnTo>
                  <a:lnTo>
                    <a:pt x="1899730" y="4225883"/>
                  </a:lnTo>
                  <a:lnTo>
                    <a:pt x="1900274" y="4225188"/>
                  </a:lnTo>
                  <a:lnTo>
                    <a:pt x="1902180" y="4221225"/>
                  </a:lnTo>
                  <a:lnTo>
                    <a:pt x="1905629" y="4218653"/>
                  </a:lnTo>
                  <a:lnTo>
                    <a:pt x="1909743" y="4217111"/>
                  </a:lnTo>
                  <a:lnTo>
                    <a:pt x="1925927" y="4214691"/>
                  </a:lnTo>
                  <a:lnTo>
                    <a:pt x="1927773" y="4214812"/>
                  </a:lnTo>
                  <a:lnTo>
                    <a:pt x="1928710" y="4214691"/>
                  </a:lnTo>
                  <a:lnTo>
                    <a:pt x="1929376" y="4214206"/>
                  </a:lnTo>
                  <a:lnTo>
                    <a:pt x="1930616" y="4211756"/>
                  </a:lnTo>
                  <a:lnTo>
                    <a:pt x="1931494" y="4210818"/>
                  </a:lnTo>
                  <a:lnTo>
                    <a:pt x="1932522" y="4211000"/>
                  </a:lnTo>
                  <a:lnTo>
                    <a:pt x="1932522" y="4212361"/>
                  </a:lnTo>
                  <a:lnTo>
                    <a:pt x="1931191" y="4214206"/>
                  </a:lnTo>
                  <a:lnTo>
                    <a:pt x="1929376" y="4215870"/>
                  </a:lnTo>
                  <a:lnTo>
                    <a:pt x="1927984" y="4216536"/>
                  </a:lnTo>
                  <a:lnTo>
                    <a:pt x="1909592" y="4218684"/>
                  </a:lnTo>
                  <a:lnTo>
                    <a:pt x="1906294" y="4220226"/>
                  </a:lnTo>
                  <a:lnTo>
                    <a:pt x="1905356" y="4221437"/>
                  </a:lnTo>
                  <a:lnTo>
                    <a:pt x="1903390" y="4225097"/>
                  </a:lnTo>
                  <a:lnTo>
                    <a:pt x="1902513" y="4225853"/>
                  </a:lnTo>
                  <a:lnTo>
                    <a:pt x="1901242" y="4226519"/>
                  </a:lnTo>
                  <a:lnTo>
                    <a:pt x="1899730" y="4229574"/>
                  </a:lnTo>
                  <a:lnTo>
                    <a:pt x="1898096" y="4230451"/>
                  </a:lnTo>
                  <a:lnTo>
                    <a:pt x="1899578" y="4232418"/>
                  </a:lnTo>
                  <a:lnTo>
                    <a:pt x="1902059" y="4233628"/>
                  </a:lnTo>
                  <a:lnTo>
                    <a:pt x="1904812" y="4234203"/>
                  </a:lnTo>
                  <a:lnTo>
                    <a:pt x="1907172" y="4234203"/>
                  </a:lnTo>
                  <a:lnTo>
                    <a:pt x="1907172" y="4233265"/>
                  </a:lnTo>
                  <a:lnTo>
                    <a:pt x="1906506" y="4232841"/>
                  </a:lnTo>
                  <a:lnTo>
                    <a:pt x="1906203" y="4232418"/>
                  </a:lnTo>
                  <a:lnTo>
                    <a:pt x="1905992" y="4231994"/>
                  </a:lnTo>
                  <a:lnTo>
                    <a:pt x="1905629" y="4231389"/>
                  </a:lnTo>
                  <a:lnTo>
                    <a:pt x="1912919" y="4231389"/>
                  </a:lnTo>
                  <a:lnTo>
                    <a:pt x="1914886" y="4231087"/>
                  </a:lnTo>
                  <a:lnTo>
                    <a:pt x="1918667" y="4229786"/>
                  </a:lnTo>
                  <a:lnTo>
                    <a:pt x="1922328" y="4229272"/>
                  </a:lnTo>
                  <a:lnTo>
                    <a:pt x="1927682" y="4227608"/>
                  </a:lnTo>
                  <a:lnTo>
                    <a:pt x="1933369" y="4227789"/>
                  </a:lnTo>
                  <a:lnTo>
                    <a:pt x="1935275" y="4227608"/>
                  </a:lnTo>
                  <a:lnTo>
                    <a:pt x="1936667" y="4226942"/>
                  </a:lnTo>
                  <a:lnTo>
                    <a:pt x="1937876" y="4226005"/>
                  </a:lnTo>
                  <a:lnTo>
                    <a:pt x="1939178" y="4225218"/>
                  </a:lnTo>
                  <a:lnTo>
                    <a:pt x="1943716" y="4224734"/>
                  </a:lnTo>
                  <a:lnTo>
                    <a:pt x="1944320" y="4224099"/>
                  </a:lnTo>
                  <a:lnTo>
                    <a:pt x="1943957" y="4222556"/>
                  </a:lnTo>
                  <a:lnTo>
                    <a:pt x="1943625" y="4219773"/>
                  </a:lnTo>
                  <a:lnTo>
                    <a:pt x="1945016" y="4215538"/>
                  </a:lnTo>
                  <a:lnTo>
                    <a:pt x="1948253" y="4214963"/>
                  </a:lnTo>
                  <a:lnTo>
                    <a:pt x="1951914" y="4215295"/>
                  </a:lnTo>
                  <a:lnTo>
                    <a:pt x="1954636" y="4213692"/>
                  </a:lnTo>
                  <a:lnTo>
                    <a:pt x="1955422" y="4213602"/>
                  </a:lnTo>
                  <a:lnTo>
                    <a:pt x="1957934" y="4211544"/>
                  </a:lnTo>
                  <a:lnTo>
                    <a:pt x="1959476" y="4210909"/>
                  </a:lnTo>
                  <a:lnTo>
                    <a:pt x="1960868" y="4211302"/>
                  </a:lnTo>
                  <a:lnTo>
                    <a:pt x="1962683" y="4212180"/>
                  </a:lnTo>
                  <a:lnTo>
                    <a:pt x="1964589" y="4212694"/>
                  </a:lnTo>
                  <a:lnTo>
                    <a:pt x="1966344" y="4211817"/>
                  </a:lnTo>
                  <a:lnTo>
                    <a:pt x="1969308" y="4213299"/>
                  </a:lnTo>
                  <a:lnTo>
                    <a:pt x="1973452" y="4213541"/>
                  </a:lnTo>
                  <a:lnTo>
                    <a:pt x="1977143" y="4214418"/>
                  </a:lnTo>
                  <a:lnTo>
                    <a:pt x="1978746" y="4217897"/>
                  </a:lnTo>
                  <a:lnTo>
                    <a:pt x="1978928" y="4221951"/>
                  </a:lnTo>
                  <a:lnTo>
                    <a:pt x="1978746" y="4223040"/>
                  </a:lnTo>
                  <a:lnTo>
                    <a:pt x="1978050" y="4223796"/>
                  </a:lnTo>
                  <a:lnTo>
                    <a:pt x="1977143" y="4223796"/>
                  </a:lnTo>
                  <a:lnTo>
                    <a:pt x="1976327" y="4224068"/>
                  </a:lnTo>
                  <a:lnTo>
                    <a:pt x="1975994" y="4225369"/>
                  </a:lnTo>
                  <a:lnTo>
                    <a:pt x="1975660" y="4229725"/>
                  </a:lnTo>
                  <a:lnTo>
                    <a:pt x="1976206" y="4230814"/>
                  </a:lnTo>
                  <a:lnTo>
                    <a:pt x="1978050" y="4231420"/>
                  </a:lnTo>
                  <a:lnTo>
                    <a:pt x="1976932" y="4235201"/>
                  </a:lnTo>
                  <a:lnTo>
                    <a:pt x="1977203" y="4236714"/>
                  </a:lnTo>
                  <a:lnTo>
                    <a:pt x="1978716" y="4237893"/>
                  </a:lnTo>
                  <a:lnTo>
                    <a:pt x="1981378" y="4234596"/>
                  </a:lnTo>
                  <a:lnTo>
                    <a:pt x="1983678" y="4232388"/>
                  </a:lnTo>
                  <a:lnTo>
                    <a:pt x="1986188" y="4232025"/>
                  </a:lnTo>
                  <a:lnTo>
                    <a:pt x="1989607" y="4234172"/>
                  </a:lnTo>
                  <a:lnTo>
                    <a:pt x="1987550" y="4235382"/>
                  </a:lnTo>
                  <a:lnTo>
                    <a:pt x="1983223" y="4236411"/>
                  </a:lnTo>
                  <a:lnTo>
                    <a:pt x="1981045" y="4238317"/>
                  </a:lnTo>
                  <a:lnTo>
                    <a:pt x="1980350" y="4240435"/>
                  </a:lnTo>
                  <a:lnTo>
                    <a:pt x="1979654" y="4246122"/>
                  </a:lnTo>
                  <a:lnTo>
                    <a:pt x="1978686" y="4248088"/>
                  </a:lnTo>
                  <a:lnTo>
                    <a:pt x="1976871" y="4248602"/>
                  </a:lnTo>
                  <a:lnTo>
                    <a:pt x="1965920" y="4246213"/>
                  </a:lnTo>
                  <a:lnTo>
                    <a:pt x="1965254" y="4246545"/>
                  </a:lnTo>
                  <a:lnTo>
                    <a:pt x="1964346" y="4247211"/>
                  </a:lnTo>
                  <a:lnTo>
                    <a:pt x="1963228" y="4247907"/>
                  </a:lnTo>
                  <a:lnTo>
                    <a:pt x="1962078" y="4248058"/>
                  </a:lnTo>
                  <a:lnTo>
                    <a:pt x="1961050" y="4247483"/>
                  </a:lnTo>
                  <a:lnTo>
                    <a:pt x="1960293" y="4245819"/>
                  </a:lnTo>
                  <a:lnTo>
                    <a:pt x="1959355" y="4245244"/>
                  </a:lnTo>
                  <a:lnTo>
                    <a:pt x="1958024" y="4245366"/>
                  </a:lnTo>
                  <a:lnTo>
                    <a:pt x="1957238" y="4246001"/>
                  </a:lnTo>
                  <a:lnTo>
                    <a:pt x="1956542" y="4246787"/>
                  </a:lnTo>
                  <a:lnTo>
                    <a:pt x="1954122" y="4247876"/>
                  </a:lnTo>
                  <a:lnTo>
                    <a:pt x="1949584" y="4252716"/>
                  </a:lnTo>
                  <a:lnTo>
                    <a:pt x="1946165" y="4255621"/>
                  </a:lnTo>
                  <a:lnTo>
                    <a:pt x="1944139" y="4256831"/>
                  </a:lnTo>
                  <a:lnTo>
                    <a:pt x="1942354" y="4257315"/>
                  </a:lnTo>
                  <a:lnTo>
                    <a:pt x="1938482" y="4256982"/>
                  </a:lnTo>
                  <a:lnTo>
                    <a:pt x="1936909" y="4257436"/>
                  </a:lnTo>
                  <a:lnTo>
                    <a:pt x="1935094" y="4259069"/>
                  </a:lnTo>
                  <a:lnTo>
                    <a:pt x="1932341" y="4262669"/>
                  </a:lnTo>
                  <a:lnTo>
                    <a:pt x="1930707" y="4264121"/>
                  </a:lnTo>
                  <a:lnTo>
                    <a:pt x="1926926" y="4265029"/>
                  </a:lnTo>
                  <a:lnTo>
                    <a:pt x="1921420" y="4267570"/>
                  </a:lnTo>
                  <a:lnTo>
                    <a:pt x="1919363" y="4268145"/>
                  </a:lnTo>
                  <a:lnTo>
                    <a:pt x="1911135" y="4268720"/>
                  </a:lnTo>
                  <a:lnTo>
                    <a:pt x="1907505" y="4269960"/>
                  </a:lnTo>
                  <a:lnTo>
                    <a:pt x="1905477" y="4270232"/>
                  </a:lnTo>
                  <a:lnTo>
                    <a:pt x="1897582" y="4268417"/>
                  </a:lnTo>
                  <a:lnTo>
                    <a:pt x="1895888" y="4269022"/>
                  </a:lnTo>
                  <a:lnTo>
                    <a:pt x="1893619" y="4270474"/>
                  </a:lnTo>
                  <a:lnTo>
                    <a:pt x="1891562" y="4272289"/>
                  </a:lnTo>
                  <a:lnTo>
                    <a:pt x="1890382" y="4273953"/>
                  </a:lnTo>
                  <a:lnTo>
                    <a:pt x="1890261" y="4275224"/>
                  </a:lnTo>
                  <a:lnTo>
                    <a:pt x="1890564" y="4278188"/>
                  </a:lnTo>
                  <a:lnTo>
                    <a:pt x="1890412" y="4279489"/>
                  </a:lnTo>
                  <a:lnTo>
                    <a:pt x="1889747" y="4280185"/>
                  </a:lnTo>
                  <a:lnTo>
                    <a:pt x="1887387" y="4281849"/>
                  </a:lnTo>
                  <a:lnTo>
                    <a:pt x="1886903" y="4282787"/>
                  </a:lnTo>
                  <a:lnTo>
                    <a:pt x="1887024" y="4284329"/>
                  </a:lnTo>
                  <a:lnTo>
                    <a:pt x="1887508" y="4286296"/>
                  </a:lnTo>
                  <a:lnTo>
                    <a:pt x="1887871" y="4289139"/>
                  </a:lnTo>
                  <a:lnTo>
                    <a:pt x="1888446" y="4288383"/>
                  </a:lnTo>
                  <a:lnTo>
                    <a:pt x="1888930" y="4286810"/>
                  </a:lnTo>
                  <a:lnTo>
                    <a:pt x="1889021" y="4286023"/>
                  </a:lnTo>
                  <a:lnTo>
                    <a:pt x="1892893" y="4284239"/>
                  </a:lnTo>
                  <a:lnTo>
                    <a:pt x="1897158" y="4284420"/>
                  </a:lnTo>
                  <a:lnTo>
                    <a:pt x="1901484" y="4285903"/>
                  </a:lnTo>
                  <a:lnTo>
                    <a:pt x="1905477" y="4287959"/>
                  </a:lnTo>
                  <a:lnTo>
                    <a:pt x="1906838" y="4288958"/>
                  </a:lnTo>
                  <a:lnTo>
                    <a:pt x="1908775" y="4290863"/>
                  </a:lnTo>
                  <a:lnTo>
                    <a:pt x="1910015" y="4293284"/>
                  </a:lnTo>
                  <a:lnTo>
                    <a:pt x="1909350" y="4295794"/>
                  </a:lnTo>
                  <a:lnTo>
                    <a:pt x="1907746" y="4296521"/>
                  </a:lnTo>
                  <a:lnTo>
                    <a:pt x="1896341" y="4297428"/>
                  </a:lnTo>
                  <a:lnTo>
                    <a:pt x="1881397" y="4293496"/>
                  </a:lnTo>
                  <a:lnTo>
                    <a:pt x="1880702" y="4292588"/>
                  </a:lnTo>
                  <a:lnTo>
                    <a:pt x="1879007" y="4289472"/>
                  </a:lnTo>
                  <a:lnTo>
                    <a:pt x="1878916" y="4288837"/>
                  </a:lnTo>
                  <a:lnTo>
                    <a:pt x="1877979" y="4286870"/>
                  </a:lnTo>
                  <a:lnTo>
                    <a:pt x="1877162" y="4285963"/>
                  </a:lnTo>
                  <a:lnTo>
                    <a:pt x="1876134" y="4286538"/>
                  </a:lnTo>
                  <a:lnTo>
                    <a:pt x="1873048" y="4289744"/>
                  </a:lnTo>
                  <a:lnTo>
                    <a:pt x="1871354" y="4290834"/>
                  </a:lnTo>
                  <a:lnTo>
                    <a:pt x="1869388" y="4291378"/>
                  </a:lnTo>
                  <a:lnTo>
                    <a:pt x="1864486" y="4291560"/>
                  </a:lnTo>
                  <a:lnTo>
                    <a:pt x="1862218" y="4292134"/>
                  </a:lnTo>
                  <a:lnTo>
                    <a:pt x="1860252" y="4293526"/>
                  </a:lnTo>
                  <a:lnTo>
                    <a:pt x="1856924" y="4297580"/>
                  </a:lnTo>
                  <a:lnTo>
                    <a:pt x="1853536" y="4299818"/>
                  </a:lnTo>
                  <a:lnTo>
                    <a:pt x="1848030" y="4301422"/>
                  </a:lnTo>
                  <a:lnTo>
                    <a:pt x="1842252" y="4301694"/>
                  </a:lnTo>
                  <a:lnTo>
                    <a:pt x="1837896" y="4299879"/>
                  </a:lnTo>
                  <a:lnTo>
                    <a:pt x="1834961" y="4300756"/>
                  </a:lnTo>
                  <a:lnTo>
                    <a:pt x="1830726" y="4298487"/>
                  </a:lnTo>
                  <a:lnTo>
                    <a:pt x="1826491" y="4295280"/>
                  </a:lnTo>
                  <a:lnTo>
                    <a:pt x="1823406" y="4293526"/>
                  </a:lnTo>
                  <a:lnTo>
                    <a:pt x="1823315" y="4293859"/>
                  </a:lnTo>
                  <a:lnTo>
                    <a:pt x="1823315" y="4294191"/>
                  </a:lnTo>
                  <a:lnTo>
                    <a:pt x="1823194" y="4294433"/>
                  </a:lnTo>
                  <a:lnTo>
                    <a:pt x="1822740" y="4294342"/>
                  </a:lnTo>
                  <a:lnTo>
                    <a:pt x="1822740" y="4295371"/>
                  </a:lnTo>
                  <a:lnTo>
                    <a:pt x="1825160" y="4297610"/>
                  </a:lnTo>
                  <a:lnTo>
                    <a:pt x="1826431" y="4301391"/>
                  </a:lnTo>
                  <a:lnTo>
                    <a:pt x="1827338" y="4305566"/>
                  </a:lnTo>
                  <a:lnTo>
                    <a:pt x="1829879" y="4312010"/>
                  </a:lnTo>
                  <a:lnTo>
                    <a:pt x="1830999" y="4316426"/>
                  </a:lnTo>
                  <a:lnTo>
                    <a:pt x="1832420" y="4320359"/>
                  </a:lnTo>
                  <a:lnTo>
                    <a:pt x="1834780" y="4322023"/>
                  </a:lnTo>
                  <a:lnTo>
                    <a:pt x="1836020" y="4323263"/>
                  </a:lnTo>
                  <a:lnTo>
                    <a:pt x="1840255" y="4329101"/>
                  </a:lnTo>
                  <a:lnTo>
                    <a:pt x="1846881" y="4335696"/>
                  </a:lnTo>
                  <a:lnTo>
                    <a:pt x="1849361" y="4336694"/>
                  </a:lnTo>
                  <a:lnTo>
                    <a:pt x="1851720" y="4334849"/>
                  </a:lnTo>
                  <a:lnTo>
                    <a:pt x="1850843" y="4334275"/>
                  </a:lnTo>
                  <a:lnTo>
                    <a:pt x="1847607" y="4332974"/>
                  </a:lnTo>
                  <a:lnTo>
                    <a:pt x="1847274" y="4331370"/>
                  </a:lnTo>
                  <a:lnTo>
                    <a:pt x="1847848" y="4330523"/>
                  </a:lnTo>
                  <a:lnTo>
                    <a:pt x="1848877" y="4330221"/>
                  </a:lnTo>
                  <a:lnTo>
                    <a:pt x="1856652" y="4330372"/>
                  </a:lnTo>
                  <a:lnTo>
                    <a:pt x="1858618" y="4331037"/>
                  </a:lnTo>
                  <a:lnTo>
                    <a:pt x="1862157" y="4333579"/>
                  </a:lnTo>
                  <a:lnTo>
                    <a:pt x="1871656" y="4343168"/>
                  </a:lnTo>
                  <a:lnTo>
                    <a:pt x="1875196" y="4345528"/>
                  </a:lnTo>
                  <a:lnTo>
                    <a:pt x="1877102" y="4347373"/>
                  </a:lnTo>
                  <a:lnTo>
                    <a:pt x="1877919" y="4349884"/>
                  </a:lnTo>
                  <a:lnTo>
                    <a:pt x="1878493" y="4353000"/>
                  </a:lnTo>
                  <a:lnTo>
                    <a:pt x="1880006" y="4354815"/>
                  </a:lnTo>
                  <a:lnTo>
                    <a:pt x="1905810" y="4368610"/>
                  </a:lnTo>
                  <a:lnTo>
                    <a:pt x="1907202" y="4370001"/>
                  </a:lnTo>
                  <a:lnTo>
                    <a:pt x="1907746" y="4372331"/>
                  </a:lnTo>
                  <a:lnTo>
                    <a:pt x="1907505" y="4375386"/>
                  </a:lnTo>
                  <a:lnTo>
                    <a:pt x="1906808" y="4378200"/>
                  </a:lnTo>
                  <a:lnTo>
                    <a:pt x="1906143" y="4379591"/>
                  </a:lnTo>
                  <a:lnTo>
                    <a:pt x="1905115" y="4379772"/>
                  </a:lnTo>
                  <a:lnTo>
                    <a:pt x="1904056" y="4379470"/>
                  </a:lnTo>
                  <a:lnTo>
                    <a:pt x="1902694" y="4378744"/>
                  </a:lnTo>
                  <a:lnTo>
                    <a:pt x="1901514" y="4378895"/>
                  </a:lnTo>
                  <a:lnTo>
                    <a:pt x="1899366" y="4379440"/>
                  </a:lnTo>
                  <a:lnTo>
                    <a:pt x="1898308" y="4379591"/>
                  </a:lnTo>
                  <a:lnTo>
                    <a:pt x="1894677" y="4379349"/>
                  </a:lnTo>
                  <a:lnTo>
                    <a:pt x="1892832" y="4378835"/>
                  </a:lnTo>
                  <a:lnTo>
                    <a:pt x="1890987" y="4377776"/>
                  </a:lnTo>
                  <a:lnTo>
                    <a:pt x="1885512" y="4372966"/>
                  </a:lnTo>
                  <a:lnTo>
                    <a:pt x="1881972" y="4371484"/>
                  </a:lnTo>
                  <a:lnTo>
                    <a:pt x="1877193" y="4365887"/>
                  </a:lnTo>
                  <a:lnTo>
                    <a:pt x="1874833" y="4365101"/>
                  </a:lnTo>
                  <a:lnTo>
                    <a:pt x="1872685" y="4365554"/>
                  </a:lnTo>
                  <a:lnTo>
                    <a:pt x="1870628" y="4366432"/>
                  </a:lnTo>
                  <a:lnTo>
                    <a:pt x="1868571" y="4366885"/>
                  </a:lnTo>
                  <a:lnTo>
                    <a:pt x="1866635" y="4367914"/>
                  </a:lnTo>
                  <a:lnTo>
                    <a:pt x="1866090" y="4370395"/>
                  </a:lnTo>
                  <a:lnTo>
                    <a:pt x="1866181" y="4375991"/>
                  </a:lnTo>
                  <a:lnTo>
                    <a:pt x="1865515" y="4377625"/>
                  </a:lnTo>
                  <a:lnTo>
                    <a:pt x="1864577" y="4378623"/>
                  </a:lnTo>
                  <a:lnTo>
                    <a:pt x="1863760" y="4379984"/>
                  </a:lnTo>
                  <a:lnTo>
                    <a:pt x="1863034" y="4385278"/>
                  </a:lnTo>
                  <a:lnTo>
                    <a:pt x="1862006" y="4387789"/>
                  </a:lnTo>
                  <a:lnTo>
                    <a:pt x="1860735" y="4389725"/>
                  </a:lnTo>
                  <a:lnTo>
                    <a:pt x="1859616" y="4390512"/>
                  </a:lnTo>
                  <a:lnTo>
                    <a:pt x="1859526" y="4391903"/>
                  </a:lnTo>
                  <a:lnTo>
                    <a:pt x="1857257" y="4399678"/>
                  </a:lnTo>
                  <a:lnTo>
                    <a:pt x="1854836" y="4403248"/>
                  </a:lnTo>
                  <a:lnTo>
                    <a:pt x="1854534" y="4405093"/>
                  </a:lnTo>
                  <a:lnTo>
                    <a:pt x="1855865" y="4406999"/>
                  </a:lnTo>
                  <a:lnTo>
                    <a:pt x="1853808" y="4408360"/>
                  </a:lnTo>
                  <a:lnTo>
                    <a:pt x="1851267" y="4408058"/>
                  </a:lnTo>
                  <a:lnTo>
                    <a:pt x="1849966" y="4406212"/>
                  </a:lnTo>
                  <a:lnTo>
                    <a:pt x="1851358" y="4402885"/>
                  </a:lnTo>
                  <a:lnTo>
                    <a:pt x="1855321" y="4398680"/>
                  </a:lnTo>
                  <a:lnTo>
                    <a:pt x="1857166" y="4396108"/>
                  </a:lnTo>
                  <a:lnTo>
                    <a:pt x="1857952" y="4393325"/>
                  </a:lnTo>
                  <a:lnTo>
                    <a:pt x="1857952" y="4391117"/>
                  </a:lnTo>
                  <a:lnTo>
                    <a:pt x="1857710" y="4390330"/>
                  </a:lnTo>
                  <a:lnTo>
                    <a:pt x="1856228" y="4390512"/>
                  </a:lnTo>
                  <a:lnTo>
                    <a:pt x="1854504" y="4390149"/>
                  </a:lnTo>
                  <a:lnTo>
                    <a:pt x="1854050" y="4389151"/>
                  </a:lnTo>
                  <a:lnTo>
                    <a:pt x="1854444" y="4386458"/>
                  </a:lnTo>
                  <a:lnTo>
                    <a:pt x="1854988" y="4384946"/>
                  </a:lnTo>
                  <a:lnTo>
                    <a:pt x="1857136" y="4382132"/>
                  </a:lnTo>
                  <a:lnTo>
                    <a:pt x="1857287" y="4380620"/>
                  </a:lnTo>
                  <a:lnTo>
                    <a:pt x="1856500" y="4379621"/>
                  </a:lnTo>
                  <a:lnTo>
                    <a:pt x="1855350" y="4379621"/>
                  </a:lnTo>
                  <a:lnTo>
                    <a:pt x="1853082" y="4380620"/>
                  </a:lnTo>
                  <a:lnTo>
                    <a:pt x="1853838" y="4379470"/>
                  </a:lnTo>
                  <a:lnTo>
                    <a:pt x="1854565" y="4378835"/>
                  </a:lnTo>
                  <a:lnTo>
                    <a:pt x="1858678" y="4376899"/>
                  </a:lnTo>
                  <a:lnTo>
                    <a:pt x="1859616" y="4376294"/>
                  </a:lnTo>
                  <a:lnTo>
                    <a:pt x="1859012" y="4375991"/>
                  </a:lnTo>
                  <a:lnTo>
                    <a:pt x="1853627" y="4376445"/>
                  </a:lnTo>
                  <a:lnTo>
                    <a:pt x="1847002" y="4378653"/>
                  </a:lnTo>
                  <a:lnTo>
                    <a:pt x="1843795" y="4381285"/>
                  </a:lnTo>
                  <a:lnTo>
                    <a:pt x="1841647" y="4385097"/>
                  </a:lnTo>
                  <a:lnTo>
                    <a:pt x="1839953" y="4390512"/>
                  </a:lnTo>
                  <a:lnTo>
                    <a:pt x="1837230" y="4405063"/>
                  </a:lnTo>
                  <a:lnTo>
                    <a:pt x="1835838" y="4409691"/>
                  </a:lnTo>
                  <a:lnTo>
                    <a:pt x="1834024" y="4414108"/>
                  </a:lnTo>
                  <a:lnTo>
                    <a:pt x="1832662" y="4416679"/>
                  </a:lnTo>
                  <a:lnTo>
                    <a:pt x="1831361" y="4417829"/>
                  </a:lnTo>
                  <a:lnTo>
                    <a:pt x="1829788" y="4418253"/>
                  </a:lnTo>
                  <a:lnTo>
                    <a:pt x="1826037" y="4420461"/>
                  </a:lnTo>
                  <a:lnTo>
                    <a:pt x="1817022" y="4427479"/>
                  </a:lnTo>
                  <a:lnTo>
                    <a:pt x="1816296" y="4427872"/>
                  </a:lnTo>
                  <a:lnTo>
                    <a:pt x="1816296" y="4428538"/>
                  </a:lnTo>
                  <a:lnTo>
                    <a:pt x="1817234" y="4430474"/>
                  </a:lnTo>
                  <a:lnTo>
                    <a:pt x="1818112" y="4431412"/>
                  </a:lnTo>
                  <a:lnTo>
                    <a:pt x="1819049" y="4431805"/>
                  </a:lnTo>
                  <a:lnTo>
                    <a:pt x="1819715" y="4432410"/>
                  </a:lnTo>
                  <a:lnTo>
                    <a:pt x="1819926" y="4434104"/>
                  </a:lnTo>
                  <a:lnTo>
                    <a:pt x="1819473" y="4433832"/>
                  </a:lnTo>
                  <a:lnTo>
                    <a:pt x="1817869" y="4433257"/>
                  </a:lnTo>
                  <a:lnTo>
                    <a:pt x="1817536" y="4435526"/>
                  </a:lnTo>
                  <a:lnTo>
                    <a:pt x="1816720" y="4435677"/>
                  </a:lnTo>
                  <a:lnTo>
                    <a:pt x="1814905" y="4433772"/>
                  </a:lnTo>
                  <a:lnTo>
                    <a:pt x="1813846" y="4432259"/>
                  </a:lnTo>
                  <a:lnTo>
                    <a:pt x="1811093" y="4431351"/>
                  </a:lnTo>
                  <a:lnTo>
                    <a:pt x="1812757" y="4430474"/>
                  </a:lnTo>
                  <a:lnTo>
                    <a:pt x="1813120" y="4428931"/>
                  </a:lnTo>
                  <a:lnTo>
                    <a:pt x="1812303" y="4427933"/>
                  </a:lnTo>
                  <a:lnTo>
                    <a:pt x="1810397" y="4428659"/>
                  </a:lnTo>
                  <a:lnTo>
                    <a:pt x="1809732" y="4429960"/>
                  </a:lnTo>
                  <a:lnTo>
                    <a:pt x="1809097" y="4432259"/>
                  </a:lnTo>
                  <a:lnTo>
                    <a:pt x="1808310" y="4436857"/>
                  </a:lnTo>
                  <a:lnTo>
                    <a:pt x="1808189" y="4441183"/>
                  </a:lnTo>
                  <a:lnTo>
                    <a:pt x="1808976" y="4448988"/>
                  </a:lnTo>
                  <a:lnTo>
                    <a:pt x="1808976" y="4453162"/>
                  </a:lnTo>
                  <a:lnTo>
                    <a:pt x="1808219" y="4457579"/>
                  </a:lnTo>
                  <a:lnTo>
                    <a:pt x="1808219" y="4459031"/>
                  </a:lnTo>
                  <a:lnTo>
                    <a:pt x="1809006" y="4460362"/>
                  </a:lnTo>
                  <a:lnTo>
                    <a:pt x="1810397" y="4461240"/>
                  </a:lnTo>
                  <a:lnTo>
                    <a:pt x="1811516" y="4460907"/>
                  </a:lnTo>
                  <a:lnTo>
                    <a:pt x="1812394" y="4459636"/>
                  </a:lnTo>
                  <a:lnTo>
                    <a:pt x="1813725" y="4456006"/>
                  </a:lnTo>
                  <a:lnTo>
                    <a:pt x="1813846" y="4449593"/>
                  </a:lnTo>
                  <a:lnTo>
                    <a:pt x="1814058" y="4449532"/>
                  </a:lnTo>
                  <a:lnTo>
                    <a:pt x="1814511" y="4449654"/>
                  </a:lnTo>
                  <a:lnTo>
                    <a:pt x="1814965" y="4449654"/>
                  </a:lnTo>
                  <a:lnTo>
                    <a:pt x="1815117" y="4449109"/>
                  </a:lnTo>
                  <a:lnTo>
                    <a:pt x="1815026" y="4448504"/>
                  </a:lnTo>
                  <a:lnTo>
                    <a:pt x="1814784" y="4448050"/>
                  </a:lnTo>
                  <a:lnTo>
                    <a:pt x="1814541" y="4447778"/>
                  </a:lnTo>
                  <a:lnTo>
                    <a:pt x="1814451" y="4447778"/>
                  </a:lnTo>
                  <a:lnTo>
                    <a:pt x="1814300" y="4446598"/>
                  </a:lnTo>
                  <a:lnTo>
                    <a:pt x="1813967" y="4445600"/>
                  </a:lnTo>
                  <a:lnTo>
                    <a:pt x="1813544" y="4444813"/>
                  </a:lnTo>
                  <a:lnTo>
                    <a:pt x="1813120" y="4444208"/>
                  </a:lnTo>
                  <a:lnTo>
                    <a:pt x="1813120" y="4443180"/>
                  </a:lnTo>
                  <a:lnTo>
                    <a:pt x="1813906" y="4443059"/>
                  </a:lnTo>
                  <a:lnTo>
                    <a:pt x="1815873" y="4442393"/>
                  </a:lnTo>
                  <a:lnTo>
                    <a:pt x="1815873" y="4441395"/>
                  </a:lnTo>
                  <a:lnTo>
                    <a:pt x="1813241" y="4440820"/>
                  </a:lnTo>
                  <a:lnTo>
                    <a:pt x="1811910" y="4438854"/>
                  </a:lnTo>
                  <a:lnTo>
                    <a:pt x="1811910" y="4436827"/>
                  </a:lnTo>
                  <a:lnTo>
                    <a:pt x="1813089" y="4435919"/>
                  </a:lnTo>
                  <a:lnTo>
                    <a:pt x="1813846" y="4436524"/>
                  </a:lnTo>
                  <a:lnTo>
                    <a:pt x="1814541" y="4438975"/>
                  </a:lnTo>
                  <a:lnTo>
                    <a:pt x="1815449" y="4439519"/>
                  </a:lnTo>
                  <a:lnTo>
                    <a:pt x="1816478" y="4439792"/>
                  </a:lnTo>
                  <a:lnTo>
                    <a:pt x="1817718" y="4440427"/>
                  </a:lnTo>
                  <a:lnTo>
                    <a:pt x="1818868" y="4441183"/>
                  </a:lnTo>
                  <a:lnTo>
                    <a:pt x="1819594" y="4441909"/>
                  </a:lnTo>
                  <a:lnTo>
                    <a:pt x="1819896" y="4444480"/>
                  </a:lnTo>
                  <a:lnTo>
                    <a:pt x="1818323" y="4450984"/>
                  </a:lnTo>
                  <a:lnTo>
                    <a:pt x="1818202" y="4452285"/>
                  </a:lnTo>
                  <a:lnTo>
                    <a:pt x="1819594" y="4452890"/>
                  </a:lnTo>
                  <a:lnTo>
                    <a:pt x="1822468" y="4455764"/>
                  </a:lnTo>
                  <a:lnTo>
                    <a:pt x="1824071" y="4456702"/>
                  </a:lnTo>
                  <a:lnTo>
                    <a:pt x="1824071" y="4457640"/>
                  </a:lnTo>
                  <a:lnTo>
                    <a:pt x="1823012" y="4457216"/>
                  </a:lnTo>
                  <a:lnTo>
                    <a:pt x="1821137" y="4456157"/>
                  </a:lnTo>
                  <a:lnTo>
                    <a:pt x="1819896" y="4455794"/>
                  </a:lnTo>
                  <a:lnTo>
                    <a:pt x="1820380" y="4458487"/>
                  </a:lnTo>
                  <a:lnTo>
                    <a:pt x="1821378" y="4459818"/>
                  </a:lnTo>
                  <a:lnTo>
                    <a:pt x="1821984" y="4461421"/>
                  </a:lnTo>
                  <a:lnTo>
                    <a:pt x="1821318" y="4464779"/>
                  </a:lnTo>
                  <a:lnTo>
                    <a:pt x="1822589" y="4464507"/>
                  </a:lnTo>
                  <a:lnTo>
                    <a:pt x="1824373" y="4463448"/>
                  </a:lnTo>
                  <a:lnTo>
                    <a:pt x="1825493" y="4463024"/>
                  </a:lnTo>
                  <a:lnTo>
                    <a:pt x="1825493" y="4463932"/>
                  </a:lnTo>
                  <a:lnTo>
                    <a:pt x="1824403" y="4464113"/>
                  </a:lnTo>
                  <a:lnTo>
                    <a:pt x="1824041" y="4464688"/>
                  </a:lnTo>
                  <a:lnTo>
                    <a:pt x="1823889" y="4465596"/>
                  </a:lnTo>
                  <a:lnTo>
                    <a:pt x="1823406" y="4466625"/>
                  </a:lnTo>
                  <a:lnTo>
                    <a:pt x="1821711" y="4468984"/>
                  </a:lnTo>
                  <a:lnTo>
                    <a:pt x="1821348" y="4468863"/>
                  </a:lnTo>
                  <a:lnTo>
                    <a:pt x="1821197" y="4469287"/>
                  </a:lnTo>
                  <a:lnTo>
                    <a:pt x="1820290" y="4469740"/>
                  </a:lnTo>
                  <a:lnTo>
                    <a:pt x="1819926" y="4470224"/>
                  </a:lnTo>
                  <a:lnTo>
                    <a:pt x="1819624" y="4471313"/>
                  </a:lnTo>
                  <a:lnTo>
                    <a:pt x="1819835" y="4471495"/>
                  </a:lnTo>
                  <a:lnTo>
                    <a:pt x="1820290" y="4471495"/>
                  </a:lnTo>
                  <a:lnTo>
                    <a:pt x="1820713" y="4471979"/>
                  </a:lnTo>
                  <a:lnTo>
                    <a:pt x="1821076" y="4472675"/>
                  </a:lnTo>
                  <a:lnTo>
                    <a:pt x="1822589" y="4474429"/>
                  </a:lnTo>
                  <a:lnTo>
                    <a:pt x="1823496" y="4475034"/>
                  </a:lnTo>
                  <a:lnTo>
                    <a:pt x="1823284" y="4475639"/>
                  </a:lnTo>
                  <a:lnTo>
                    <a:pt x="1822589" y="4476244"/>
                  </a:lnTo>
                  <a:lnTo>
                    <a:pt x="1821711" y="4476517"/>
                  </a:lnTo>
                  <a:lnTo>
                    <a:pt x="1820622" y="4476426"/>
                  </a:lnTo>
                  <a:lnTo>
                    <a:pt x="1816720" y="4475216"/>
                  </a:lnTo>
                  <a:lnTo>
                    <a:pt x="1816236" y="4474944"/>
                  </a:lnTo>
                  <a:lnTo>
                    <a:pt x="1815782" y="4474823"/>
                  </a:lnTo>
                  <a:lnTo>
                    <a:pt x="1814753" y="4474823"/>
                  </a:lnTo>
                  <a:lnTo>
                    <a:pt x="1814360" y="4474399"/>
                  </a:lnTo>
                  <a:lnTo>
                    <a:pt x="1813815" y="4473612"/>
                  </a:lnTo>
                  <a:lnTo>
                    <a:pt x="1813392" y="4472675"/>
                  </a:lnTo>
                  <a:lnTo>
                    <a:pt x="1813089" y="4471979"/>
                  </a:lnTo>
                  <a:lnTo>
                    <a:pt x="1811940" y="4474550"/>
                  </a:lnTo>
                  <a:lnTo>
                    <a:pt x="1810488" y="4476819"/>
                  </a:lnTo>
                  <a:lnTo>
                    <a:pt x="1808642" y="4477787"/>
                  </a:lnTo>
                  <a:lnTo>
                    <a:pt x="1806222" y="4476456"/>
                  </a:lnTo>
                  <a:lnTo>
                    <a:pt x="1808461" y="4476002"/>
                  </a:lnTo>
                  <a:lnTo>
                    <a:pt x="1809671" y="4475518"/>
                  </a:lnTo>
                  <a:lnTo>
                    <a:pt x="1810367" y="4474762"/>
                  </a:lnTo>
                  <a:lnTo>
                    <a:pt x="1810367" y="4473461"/>
                  </a:lnTo>
                  <a:lnTo>
                    <a:pt x="1809671" y="4472282"/>
                  </a:lnTo>
                  <a:lnTo>
                    <a:pt x="1808764" y="4471404"/>
                  </a:lnTo>
                  <a:lnTo>
                    <a:pt x="1807977" y="4471071"/>
                  </a:lnTo>
                  <a:lnTo>
                    <a:pt x="1806948" y="4470920"/>
                  </a:lnTo>
                  <a:lnTo>
                    <a:pt x="1804922" y="4470315"/>
                  </a:lnTo>
                  <a:lnTo>
                    <a:pt x="1803803" y="4470164"/>
                  </a:lnTo>
                  <a:lnTo>
                    <a:pt x="1803197" y="4470436"/>
                  </a:lnTo>
                  <a:lnTo>
                    <a:pt x="1801080" y="4471616"/>
                  </a:lnTo>
                  <a:lnTo>
                    <a:pt x="1799961" y="4471949"/>
                  </a:lnTo>
                  <a:lnTo>
                    <a:pt x="1801413" y="4468470"/>
                  </a:lnTo>
                  <a:lnTo>
                    <a:pt x="1801413" y="4467290"/>
                  </a:lnTo>
                  <a:lnTo>
                    <a:pt x="1799961" y="4468379"/>
                  </a:lnTo>
                  <a:lnTo>
                    <a:pt x="1795483" y="4471071"/>
                  </a:lnTo>
                  <a:lnTo>
                    <a:pt x="1794152" y="4472433"/>
                  </a:lnTo>
                  <a:lnTo>
                    <a:pt x="1792579" y="4473461"/>
                  </a:lnTo>
                  <a:lnTo>
                    <a:pt x="1788797" y="4474097"/>
                  </a:lnTo>
                  <a:lnTo>
                    <a:pt x="1787527" y="4475549"/>
                  </a:lnTo>
                  <a:lnTo>
                    <a:pt x="1786469" y="4473492"/>
                  </a:lnTo>
                  <a:lnTo>
                    <a:pt x="1784169" y="4472735"/>
                  </a:lnTo>
                  <a:lnTo>
                    <a:pt x="1765202" y="4472977"/>
                  </a:lnTo>
                  <a:lnTo>
                    <a:pt x="1764596" y="4473703"/>
                  </a:lnTo>
                  <a:lnTo>
                    <a:pt x="1765534" y="4475549"/>
                  </a:lnTo>
                  <a:lnTo>
                    <a:pt x="1766684" y="4476396"/>
                  </a:lnTo>
                  <a:lnTo>
                    <a:pt x="1768076" y="4476577"/>
                  </a:lnTo>
                  <a:lnTo>
                    <a:pt x="1771010" y="4476456"/>
                  </a:lnTo>
                  <a:lnTo>
                    <a:pt x="1776818" y="4477182"/>
                  </a:lnTo>
                  <a:lnTo>
                    <a:pt x="1779662" y="4478211"/>
                  </a:lnTo>
                  <a:lnTo>
                    <a:pt x="1781295" y="4480147"/>
                  </a:lnTo>
                  <a:lnTo>
                    <a:pt x="1774791" y="4479421"/>
                  </a:lnTo>
                  <a:lnTo>
                    <a:pt x="1773884" y="4480570"/>
                  </a:lnTo>
                  <a:lnTo>
                    <a:pt x="1773006" y="4482264"/>
                  </a:lnTo>
                  <a:lnTo>
                    <a:pt x="1770798" y="4482809"/>
                  </a:lnTo>
                  <a:lnTo>
                    <a:pt x="1766230" y="4482809"/>
                  </a:lnTo>
                  <a:lnTo>
                    <a:pt x="1760513" y="4484352"/>
                  </a:lnTo>
                  <a:lnTo>
                    <a:pt x="1758244" y="4484624"/>
                  </a:lnTo>
                  <a:lnTo>
                    <a:pt x="1757094" y="4484443"/>
                  </a:lnTo>
                  <a:lnTo>
                    <a:pt x="1756338" y="4483868"/>
                  </a:lnTo>
                  <a:lnTo>
                    <a:pt x="1755914" y="4482870"/>
                  </a:lnTo>
                  <a:lnTo>
                    <a:pt x="1755793" y="4481478"/>
                  </a:lnTo>
                  <a:lnTo>
                    <a:pt x="1756368" y="4480903"/>
                  </a:lnTo>
                  <a:lnTo>
                    <a:pt x="1759000" y="4480570"/>
                  </a:lnTo>
                  <a:lnTo>
                    <a:pt x="1759938" y="4480147"/>
                  </a:lnTo>
                  <a:lnTo>
                    <a:pt x="1759938" y="4479512"/>
                  </a:lnTo>
                  <a:lnTo>
                    <a:pt x="1760361" y="4476033"/>
                  </a:lnTo>
                  <a:lnTo>
                    <a:pt x="1760604" y="4474792"/>
                  </a:lnTo>
                  <a:lnTo>
                    <a:pt x="1761178" y="4474490"/>
                  </a:lnTo>
                  <a:lnTo>
                    <a:pt x="1762418" y="4473159"/>
                  </a:lnTo>
                  <a:lnTo>
                    <a:pt x="1763205" y="4471767"/>
                  </a:lnTo>
                  <a:lnTo>
                    <a:pt x="1762418" y="4471132"/>
                  </a:lnTo>
                  <a:lnTo>
                    <a:pt x="1760119" y="4470859"/>
                  </a:lnTo>
                  <a:lnTo>
                    <a:pt x="1755884" y="4469377"/>
                  </a:lnTo>
                  <a:lnTo>
                    <a:pt x="1738641" y="4459394"/>
                  </a:lnTo>
                  <a:lnTo>
                    <a:pt x="1736916" y="4459122"/>
                  </a:lnTo>
                  <a:lnTo>
                    <a:pt x="1735343" y="4459122"/>
                  </a:lnTo>
                  <a:lnTo>
                    <a:pt x="1733861" y="4458819"/>
                  </a:lnTo>
                  <a:lnTo>
                    <a:pt x="1732409" y="4457640"/>
                  </a:lnTo>
                  <a:lnTo>
                    <a:pt x="1719492" y="4464507"/>
                  </a:lnTo>
                  <a:lnTo>
                    <a:pt x="1717132" y="4467774"/>
                  </a:lnTo>
                  <a:lnTo>
                    <a:pt x="1715619" y="4471132"/>
                  </a:lnTo>
                  <a:lnTo>
                    <a:pt x="1715771" y="4472977"/>
                  </a:lnTo>
                  <a:lnTo>
                    <a:pt x="1717737" y="4472282"/>
                  </a:lnTo>
                  <a:lnTo>
                    <a:pt x="1721760" y="4467018"/>
                  </a:lnTo>
                  <a:lnTo>
                    <a:pt x="1723727" y="4465747"/>
                  </a:lnTo>
                  <a:lnTo>
                    <a:pt x="1724907" y="4465414"/>
                  </a:lnTo>
                  <a:lnTo>
                    <a:pt x="1725966" y="4464930"/>
                  </a:lnTo>
                  <a:lnTo>
                    <a:pt x="1727115" y="4464930"/>
                  </a:lnTo>
                  <a:lnTo>
                    <a:pt x="1729596" y="4467169"/>
                  </a:lnTo>
                  <a:lnTo>
                    <a:pt x="1730745" y="4467592"/>
                  </a:lnTo>
                  <a:lnTo>
                    <a:pt x="1733740" y="4467592"/>
                  </a:lnTo>
                  <a:lnTo>
                    <a:pt x="1733740" y="4468470"/>
                  </a:lnTo>
                  <a:lnTo>
                    <a:pt x="1731834" y="4469044"/>
                  </a:lnTo>
                  <a:lnTo>
                    <a:pt x="1730896" y="4469589"/>
                  </a:lnTo>
                  <a:lnTo>
                    <a:pt x="1730201" y="4470285"/>
                  </a:lnTo>
                  <a:lnTo>
                    <a:pt x="1729958" y="4471646"/>
                  </a:lnTo>
                  <a:lnTo>
                    <a:pt x="1730201" y="4473159"/>
                  </a:lnTo>
                  <a:lnTo>
                    <a:pt x="1730201" y="4474338"/>
                  </a:lnTo>
                  <a:lnTo>
                    <a:pt x="1729202" y="4474853"/>
                  </a:lnTo>
                  <a:lnTo>
                    <a:pt x="1728416" y="4473219"/>
                  </a:lnTo>
                  <a:lnTo>
                    <a:pt x="1727659" y="4470103"/>
                  </a:lnTo>
                  <a:lnTo>
                    <a:pt x="1726510" y="4467986"/>
                  </a:lnTo>
                  <a:lnTo>
                    <a:pt x="1724755" y="4469377"/>
                  </a:lnTo>
                  <a:lnTo>
                    <a:pt x="1724755" y="4471132"/>
                  </a:lnTo>
                  <a:lnTo>
                    <a:pt x="1725572" y="4473885"/>
                  </a:lnTo>
                  <a:lnTo>
                    <a:pt x="1726722" y="4476396"/>
                  </a:lnTo>
                  <a:lnTo>
                    <a:pt x="1727841" y="4477545"/>
                  </a:lnTo>
                  <a:lnTo>
                    <a:pt x="1743360" y="4474338"/>
                  </a:lnTo>
                  <a:lnTo>
                    <a:pt x="1743784" y="4473855"/>
                  </a:lnTo>
                  <a:lnTo>
                    <a:pt x="1744782" y="4474157"/>
                  </a:lnTo>
                  <a:lnTo>
                    <a:pt x="1745689" y="4475004"/>
                  </a:lnTo>
                  <a:lnTo>
                    <a:pt x="1746143" y="4476153"/>
                  </a:lnTo>
                  <a:lnTo>
                    <a:pt x="1745901" y="4477757"/>
                  </a:lnTo>
                  <a:lnTo>
                    <a:pt x="1745236" y="4478816"/>
                  </a:lnTo>
                  <a:lnTo>
                    <a:pt x="1744358" y="4479572"/>
                  </a:lnTo>
                  <a:lnTo>
                    <a:pt x="1742574" y="4480752"/>
                  </a:lnTo>
                  <a:lnTo>
                    <a:pt x="1736523" y="4483656"/>
                  </a:lnTo>
                  <a:lnTo>
                    <a:pt x="1734466" y="4484140"/>
                  </a:lnTo>
                  <a:lnTo>
                    <a:pt x="1733074" y="4485350"/>
                  </a:lnTo>
                  <a:lnTo>
                    <a:pt x="1731955" y="4485652"/>
                  </a:lnTo>
                  <a:lnTo>
                    <a:pt x="1728567" y="4485471"/>
                  </a:lnTo>
                  <a:lnTo>
                    <a:pt x="1727509" y="4485652"/>
                  </a:lnTo>
                  <a:lnTo>
                    <a:pt x="1725421" y="4486530"/>
                  </a:lnTo>
                  <a:lnTo>
                    <a:pt x="1721882" y="4488829"/>
                  </a:lnTo>
                  <a:lnTo>
                    <a:pt x="1719582" y="4489283"/>
                  </a:lnTo>
                  <a:lnTo>
                    <a:pt x="1708329" y="4489010"/>
                  </a:lnTo>
                  <a:lnTo>
                    <a:pt x="1707452" y="4489283"/>
                  </a:lnTo>
                  <a:lnTo>
                    <a:pt x="1706544" y="4490432"/>
                  </a:lnTo>
                  <a:lnTo>
                    <a:pt x="1706635" y="4491340"/>
                  </a:lnTo>
                  <a:lnTo>
                    <a:pt x="1707118" y="4492247"/>
                  </a:lnTo>
                  <a:lnTo>
                    <a:pt x="1707452" y="4493276"/>
                  </a:lnTo>
                  <a:lnTo>
                    <a:pt x="1708147" y="4494244"/>
                  </a:lnTo>
                  <a:lnTo>
                    <a:pt x="1712988" y="4499024"/>
                  </a:lnTo>
                  <a:lnTo>
                    <a:pt x="1719038" y="4502260"/>
                  </a:lnTo>
                  <a:lnTo>
                    <a:pt x="1720853" y="4502594"/>
                  </a:lnTo>
                  <a:lnTo>
                    <a:pt x="1723031" y="4502321"/>
                  </a:lnTo>
                  <a:lnTo>
                    <a:pt x="1726782" y="4501081"/>
                  </a:lnTo>
                  <a:lnTo>
                    <a:pt x="1728840" y="4500808"/>
                  </a:lnTo>
                  <a:lnTo>
                    <a:pt x="1732953" y="4501534"/>
                  </a:lnTo>
                  <a:lnTo>
                    <a:pt x="1744026" y="4507252"/>
                  </a:lnTo>
                  <a:lnTo>
                    <a:pt x="1752556" y="4509551"/>
                  </a:lnTo>
                  <a:lnTo>
                    <a:pt x="1755914" y="4511820"/>
                  </a:lnTo>
                  <a:lnTo>
                    <a:pt x="1759696" y="4513151"/>
                  </a:lnTo>
                  <a:lnTo>
                    <a:pt x="1761148" y="4514543"/>
                  </a:lnTo>
                  <a:lnTo>
                    <a:pt x="1762630" y="4515269"/>
                  </a:lnTo>
                  <a:lnTo>
                    <a:pt x="1764355" y="4515844"/>
                  </a:lnTo>
                  <a:lnTo>
                    <a:pt x="1765716" y="4516055"/>
                  </a:lnTo>
                  <a:lnTo>
                    <a:pt x="1768348" y="4516963"/>
                  </a:lnTo>
                  <a:lnTo>
                    <a:pt x="1777938" y="4525131"/>
                  </a:lnTo>
                  <a:lnTo>
                    <a:pt x="1779843" y="4527551"/>
                  </a:lnTo>
                  <a:lnTo>
                    <a:pt x="1780358" y="4529971"/>
                  </a:lnTo>
                  <a:lnTo>
                    <a:pt x="1778482" y="4532058"/>
                  </a:lnTo>
                  <a:lnTo>
                    <a:pt x="1778482" y="4532996"/>
                  </a:lnTo>
                  <a:lnTo>
                    <a:pt x="1781023" y="4535810"/>
                  </a:lnTo>
                  <a:lnTo>
                    <a:pt x="1784411" y="4544612"/>
                  </a:lnTo>
                  <a:lnTo>
                    <a:pt x="1786438" y="4548636"/>
                  </a:lnTo>
                  <a:lnTo>
                    <a:pt x="1787921" y="4550088"/>
                  </a:lnTo>
                  <a:lnTo>
                    <a:pt x="1792972" y="4552659"/>
                  </a:lnTo>
                  <a:lnTo>
                    <a:pt x="1794485" y="4554323"/>
                  </a:lnTo>
                  <a:lnTo>
                    <a:pt x="1795725" y="4556138"/>
                  </a:lnTo>
                  <a:lnTo>
                    <a:pt x="1797177" y="4557802"/>
                  </a:lnTo>
                  <a:lnTo>
                    <a:pt x="1799235" y="4558952"/>
                  </a:lnTo>
                  <a:lnTo>
                    <a:pt x="1800263" y="4558044"/>
                  </a:lnTo>
                  <a:lnTo>
                    <a:pt x="1801594" y="4558468"/>
                  </a:lnTo>
                  <a:lnTo>
                    <a:pt x="1802986" y="4559285"/>
                  </a:lnTo>
                  <a:lnTo>
                    <a:pt x="1806343" y="4560494"/>
                  </a:lnTo>
                  <a:lnTo>
                    <a:pt x="1807130" y="4560646"/>
                  </a:lnTo>
                  <a:lnTo>
                    <a:pt x="1807795" y="4560374"/>
                  </a:lnTo>
                  <a:lnTo>
                    <a:pt x="1809580" y="4558922"/>
                  </a:lnTo>
                  <a:lnTo>
                    <a:pt x="1812666" y="4558831"/>
                  </a:lnTo>
                  <a:lnTo>
                    <a:pt x="1815479" y="4559768"/>
                  </a:lnTo>
                  <a:lnTo>
                    <a:pt x="1820592" y="4562400"/>
                  </a:lnTo>
                  <a:lnTo>
                    <a:pt x="1823224" y="4563157"/>
                  </a:lnTo>
                  <a:lnTo>
                    <a:pt x="1826521" y="4563610"/>
                  </a:lnTo>
                  <a:lnTo>
                    <a:pt x="1829607" y="4563217"/>
                  </a:lnTo>
                  <a:lnTo>
                    <a:pt x="1831634" y="4561554"/>
                  </a:lnTo>
                  <a:lnTo>
                    <a:pt x="1831876" y="4558922"/>
                  </a:lnTo>
                  <a:lnTo>
                    <a:pt x="1830514" y="4556532"/>
                  </a:lnTo>
                  <a:lnTo>
                    <a:pt x="1828669" y="4554021"/>
                  </a:lnTo>
                  <a:lnTo>
                    <a:pt x="1827428" y="4550905"/>
                  </a:lnTo>
                  <a:lnTo>
                    <a:pt x="1829607" y="4551812"/>
                  </a:lnTo>
                  <a:lnTo>
                    <a:pt x="1834054" y="4554656"/>
                  </a:lnTo>
                  <a:lnTo>
                    <a:pt x="1836111" y="4555231"/>
                  </a:lnTo>
                  <a:lnTo>
                    <a:pt x="1837140" y="4556138"/>
                  </a:lnTo>
                  <a:lnTo>
                    <a:pt x="1842978" y="4562733"/>
                  </a:lnTo>
                  <a:lnTo>
                    <a:pt x="1843310" y="4563308"/>
                  </a:lnTo>
                  <a:lnTo>
                    <a:pt x="1843220" y="4564155"/>
                  </a:lnTo>
                  <a:lnTo>
                    <a:pt x="1842736" y="4564911"/>
                  </a:lnTo>
                  <a:lnTo>
                    <a:pt x="1842161" y="4565547"/>
                  </a:lnTo>
                  <a:lnTo>
                    <a:pt x="1841949" y="4565970"/>
                  </a:lnTo>
                  <a:lnTo>
                    <a:pt x="1842494" y="4566999"/>
                  </a:lnTo>
                  <a:lnTo>
                    <a:pt x="1844127" y="4568148"/>
                  </a:lnTo>
                  <a:lnTo>
                    <a:pt x="1848151" y="4572414"/>
                  </a:lnTo>
                  <a:lnTo>
                    <a:pt x="1849724" y="4573503"/>
                  </a:lnTo>
                  <a:lnTo>
                    <a:pt x="1850934" y="4573926"/>
                  </a:lnTo>
                  <a:lnTo>
                    <a:pt x="1854262" y="4572807"/>
                  </a:lnTo>
                  <a:lnTo>
                    <a:pt x="1855381" y="4573079"/>
                  </a:lnTo>
                  <a:lnTo>
                    <a:pt x="1856047" y="4577587"/>
                  </a:lnTo>
                  <a:lnTo>
                    <a:pt x="1856924" y="4578676"/>
                  </a:lnTo>
                  <a:lnTo>
                    <a:pt x="1860615" y="4581096"/>
                  </a:lnTo>
                  <a:lnTo>
                    <a:pt x="1863095" y="4584605"/>
                  </a:lnTo>
                  <a:lnTo>
                    <a:pt x="1865122" y="4588901"/>
                  </a:lnTo>
                  <a:lnTo>
                    <a:pt x="1867633" y="4592864"/>
                  </a:lnTo>
                  <a:lnTo>
                    <a:pt x="1871626" y="4595284"/>
                  </a:lnTo>
                  <a:lnTo>
                    <a:pt x="1878795" y="4595556"/>
                  </a:lnTo>
                  <a:lnTo>
                    <a:pt x="1879854" y="4596524"/>
                  </a:lnTo>
                  <a:lnTo>
                    <a:pt x="1880914" y="4598006"/>
                  </a:lnTo>
                  <a:lnTo>
                    <a:pt x="1909652" y="4602453"/>
                  </a:lnTo>
                  <a:lnTo>
                    <a:pt x="1919907" y="4607536"/>
                  </a:lnTo>
                  <a:lnTo>
                    <a:pt x="1924203" y="4608927"/>
                  </a:lnTo>
                  <a:lnTo>
                    <a:pt x="1926079" y="4609956"/>
                  </a:lnTo>
                  <a:lnTo>
                    <a:pt x="1927803" y="4611529"/>
                  </a:lnTo>
                  <a:lnTo>
                    <a:pt x="1935880" y="4621421"/>
                  </a:lnTo>
                  <a:lnTo>
                    <a:pt x="1937696" y="4622873"/>
                  </a:lnTo>
                  <a:lnTo>
                    <a:pt x="1939540" y="4623478"/>
                  </a:lnTo>
                  <a:lnTo>
                    <a:pt x="1944078" y="4624113"/>
                  </a:lnTo>
                  <a:lnTo>
                    <a:pt x="1946377" y="4624960"/>
                  </a:lnTo>
                  <a:lnTo>
                    <a:pt x="1948193" y="4626110"/>
                  </a:lnTo>
                  <a:lnTo>
                    <a:pt x="1949251" y="4627744"/>
                  </a:lnTo>
                  <a:lnTo>
                    <a:pt x="1951550" y="4632281"/>
                  </a:lnTo>
                  <a:lnTo>
                    <a:pt x="1952670" y="4633219"/>
                  </a:lnTo>
                  <a:lnTo>
                    <a:pt x="1954908" y="4633824"/>
                  </a:lnTo>
                  <a:lnTo>
                    <a:pt x="1956572" y="4635367"/>
                  </a:lnTo>
                  <a:lnTo>
                    <a:pt x="1959295" y="4639300"/>
                  </a:lnTo>
                  <a:lnTo>
                    <a:pt x="1962138" y="4642113"/>
                  </a:lnTo>
                  <a:lnTo>
                    <a:pt x="1983587" y="4658449"/>
                  </a:lnTo>
                  <a:lnTo>
                    <a:pt x="1989849" y="4664953"/>
                  </a:lnTo>
                  <a:lnTo>
                    <a:pt x="1996474" y="4674452"/>
                  </a:lnTo>
                  <a:lnTo>
                    <a:pt x="2008211" y="4684949"/>
                  </a:lnTo>
                  <a:lnTo>
                    <a:pt x="2012688" y="4690576"/>
                  </a:lnTo>
                  <a:lnTo>
                    <a:pt x="2014261" y="4691786"/>
                  </a:lnTo>
                  <a:lnTo>
                    <a:pt x="2018346" y="4693329"/>
                  </a:lnTo>
                  <a:lnTo>
                    <a:pt x="2019949" y="4694478"/>
                  </a:lnTo>
                  <a:lnTo>
                    <a:pt x="2020705" y="4695719"/>
                  </a:lnTo>
                  <a:lnTo>
                    <a:pt x="2021522" y="4698472"/>
                  </a:lnTo>
                  <a:lnTo>
                    <a:pt x="2022097" y="4699681"/>
                  </a:lnTo>
                  <a:lnTo>
                    <a:pt x="2022702" y="4700317"/>
                  </a:lnTo>
                  <a:lnTo>
                    <a:pt x="2024366" y="4701224"/>
                  </a:lnTo>
                  <a:lnTo>
                    <a:pt x="2026574" y="4703191"/>
                  </a:lnTo>
                  <a:lnTo>
                    <a:pt x="2035680" y="4707698"/>
                  </a:lnTo>
                  <a:lnTo>
                    <a:pt x="2037767" y="4709483"/>
                  </a:lnTo>
                  <a:lnTo>
                    <a:pt x="2039249" y="4711903"/>
                  </a:lnTo>
                  <a:lnTo>
                    <a:pt x="2040581" y="4715473"/>
                  </a:lnTo>
                  <a:lnTo>
                    <a:pt x="2042063" y="4718316"/>
                  </a:lnTo>
                  <a:lnTo>
                    <a:pt x="2044362" y="4720827"/>
                  </a:lnTo>
                  <a:lnTo>
                    <a:pt x="2047327" y="4722612"/>
                  </a:lnTo>
                  <a:lnTo>
                    <a:pt x="2049626" y="4723066"/>
                  </a:lnTo>
                  <a:lnTo>
                    <a:pt x="2049656" y="4723066"/>
                  </a:lnTo>
                  <a:lnTo>
                    <a:pt x="2050200" y="4720857"/>
                  </a:lnTo>
                  <a:lnTo>
                    <a:pt x="2057037" y="4704492"/>
                  </a:lnTo>
                  <a:lnTo>
                    <a:pt x="2058398" y="4702434"/>
                  </a:lnTo>
                  <a:lnTo>
                    <a:pt x="2060788" y="4700952"/>
                  </a:lnTo>
                  <a:lnTo>
                    <a:pt x="2067625" y="4699288"/>
                  </a:lnTo>
                  <a:lnTo>
                    <a:pt x="2074553" y="4699288"/>
                  </a:lnTo>
                  <a:lnTo>
                    <a:pt x="2099359" y="4707849"/>
                  </a:lnTo>
                  <a:lnTo>
                    <a:pt x="2103383" y="4708303"/>
                  </a:lnTo>
                  <a:lnTo>
                    <a:pt x="2106528" y="4707517"/>
                  </a:lnTo>
                  <a:lnTo>
                    <a:pt x="2113033" y="4704401"/>
                  </a:lnTo>
                  <a:lnTo>
                    <a:pt x="2116693" y="4703977"/>
                  </a:lnTo>
                  <a:lnTo>
                    <a:pt x="2119627" y="4705369"/>
                  </a:lnTo>
                  <a:lnTo>
                    <a:pt x="2120535" y="4705974"/>
                  </a:lnTo>
                  <a:lnTo>
                    <a:pt x="2125587" y="4709543"/>
                  </a:lnTo>
                  <a:lnTo>
                    <a:pt x="2135873" y="4712841"/>
                  </a:lnTo>
                  <a:lnTo>
                    <a:pt x="2139109" y="4714595"/>
                  </a:lnTo>
                  <a:lnTo>
                    <a:pt x="2152904" y="4724790"/>
                  </a:lnTo>
                  <a:lnTo>
                    <a:pt x="2155990" y="4725516"/>
                  </a:lnTo>
                  <a:lnTo>
                    <a:pt x="2166457" y="4724245"/>
                  </a:lnTo>
                  <a:lnTo>
                    <a:pt x="2169906" y="4724911"/>
                  </a:lnTo>
                  <a:lnTo>
                    <a:pt x="2173142" y="4726394"/>
                  </a:lnTo>
                  <a:lnTo>
                    <a:pt x="2176228" y="4728753"/>
                  </a:lnTo>
                  <a:lnTo>
                    <a:pt x="2179737" y="4730145"/>
                  </a:lnTo>
                  <a:lnTo>
                    <a:pt x="2186937" y="4728844"/>
                  </a:lnTo>
                  <a:lnTo>
                    <a:pt x="2190022" y="4729933"/>
                  </a:lnTo>
                  <a:lnTo>
                    <a:pt x="2190930" y="4731173"/>
                  </a:lnTo>
                  <a:lnTo>
                    <a:pt x="2192322" y="4734138"/>
                  </a:lnTo>
                  <a:lnTo>
                    <a:pt x="2193260" y="4735469"/>
                  </a:lnTo>
                  <a:lnTo>
                    <a:pt x="2194712" y="4736497"/>
                  </a:lnTo>
                  <a:lnTo>
                    <a:pt x="2199975" y="4738010"/>
                  </a:lnTo>
                  <a:lnTo>
                    <a:pt x="2202607" y="4739462"/>
                  </a:lnTo>
                  <a:lnTo>
                    <a:pt x="2207084" y="4743697"/>
                  </a:lnTo>
                  <a:lnTo>
                    <a:pt x="2209807" y="4745089"/>
                  </a:lnTo>
                  <a:lnTo>
                    <a:pt x="2213467" y="4745361"/>
                  </a:lnTo>
                  <a:lnTo>
                    <a:pt x="2220849" y="4744454"/>
                  </a:lnTo>
                  <a:lnTo>
                    <a:pt x="2224509" y="4744847"/>
                  </a:lnTo>
                  <a:lnTo>
                    <a:pt x="2231044" y="4746571"/>
                  </a:lnTo>
                  <a:lnTo>
                    <a:pt x="2234220" y="4746874"/>
                  </a:lnTo>
                  <a:lnTo>
                    <a:pt x="2241268" y="4746118"/>
                  </a:lnTo>
                  <a:lnTo>
                    <a:pt x="2244172" y="4746269"/>
                  </a:lnTo>
                  <a:lnTo>
                    <a:pt x="2247107" y="4747025"/>
                  </a:lnTo>
                  <a:lnTo>
                    <a:pt x="2250283" y="4748477"/>
                  </a:lnTo>
                  <a:lnTo>
                    <a:pt x="2253460" y="4749324"/>
                  </a:lnTo>
                  <a:lnTo>
                    <a:pt x="2256666" y="4749506"/>
                  </a:lnTo>
                  <a:lnTo>
                    <a:pt x="2259934" y="4748900"/>
                  </a:lnTo>
                  <a:lnTo>
                    <a:pt x="2267859" y="4744847"/>
                  </a:lnTo>
                  <a:lnTo>
                    <a:pt x="2268404" y="4744544"/>
                  </a:lnTo>
                  <a:lnTo>
                    <a:pt x="2271006" y="4743818"/>
                  </a:lnTo>
                  <a:lnTo>
                    <a:pt x="2288007" y="4742457"/>
                  </a:lnTo>
                  <a:lnTo>
                    <a:pt x="2288823" y="4742578"/>
                  </a:lnTo>
                  <a:lnTo>
                    <a:pt x="2294874" y="4743365"/>
                  </a:lnTo>
                  <a:lnTo>
                    <a:pt x="2300592" y="4746934"/>
                  </a:lnTo>
                  <a:lnTo>
                    <a:pt x="2303253" y="4749354"/>
                  </a:lnTo>
                  <a:lnTo>
                    <a:pt x="2306127" y="4751441"/>
                  </a:lnTo>
                  <a:lnTo>
                    <a:pt x="2312268" y="4754618"/>
                  </a:lnTo>
                  <a:lnTo>
                    <a:pt x="2314205" y="4754981"/>
                  </a:lnTo>
                  <a:lnTo>
                    <a:pt x="2315657" y="4754437"/>
                  </a:lnTo>
                  <a:lnTo>
                    <a:pt x="2318379" y="4752077"/>
                  </a:lnTo>
                  <a:lnTo>
                    <a:pt x="2320104" y="4751321"/>
                  </a:lnTo>
                  <a:lnTo>
                    <a:pt x="2323280" y="4751260"/>
                  </a:lnTo>
                  <a:lnTo>
                    <a:pt x="2327969" y="4749929"/>
                  </a:lnTo>
                  <a:lnTo>
                    <a:pt x="2331962" y="4749989"/>
                  </a:lnTo>
                  <a:lnTo>
                    <a:pt x="2335834" y="4750927"/>
                  </a:lnTo>
                  <a:lnTo>
                    <a:pt x="2338647" y="4752621"/>
                  </a:lnTo>
                  <a:lnTo>
                    <a:pt x="2341492" y="4755072"/>
                  </a:lnTo>
                  <a:lnTo>
                    <a:pt x="2344426" y="4756857"/>
                  </a:lnTo>
                  <a:lnTo>
                    <a:pt x="2352987" y="4759761"/>
                  </a:lnTo>
                  <a:lnTo>
                    <a:pt x="2352987" y="4761455"/>
                  </a:lnTo>
                  <a:lnTo>
                    <a:pt x="2352261" y="4763542"/>
                  </a:lnTo>
                  <a:lnTo>
                    <a:pt x="2351959" y="4765599"/>
                  </a:lnTo>
                  <a:lnTo>
                    <a:pt x="2352866" y="4766900"/>
                  </a:lnTo>
                  <a:lnTo>
                    <a:pt x="2357857" y="4770107"/>
                  </a:lnTo>
                  <a:lnTo>
                    <a:pt x="2368657" y="4779515"/>
                  </a:lnTo>
                  <a:lnTo>
                    <a:pt x="2370623" y="4780513"/>
                  </a:lnTo>
                  <a:lnTo>
                    <a:pt x="2372560" y="4781512"/>
                  </a:lnTo>
                  <a:lnTo>
                    <a:pt x="2391860" y="4786564"/>
                  </a:lnTo>
                  <a:lnTo>
                    <a:pt x="2401299" y="4788984"/>
                  </a:lnTo>
                  <a:lnTo>
                    <a:pt x="2405080" y="4789891"/>
                  </a:lnTo>
                  <a:lnTo>
                    <a:pt x="2412007" y="4793007"/>
                  </a:lnTo>
                  <a:lnTo>
                    <a:pt x="2413701" y="4794368"/>
                  </a:lnTo>
                  <a:lnTo>
                    <a:pt x="2417876" y="4798906"/>
                  </a:lnTo>
                  <a:lnTo>
                    <a:pt x="2419782" y="4799995"/>
                  </a:lnTo>
                  <a:lnTo>
                    <a:pt x="2429130" y="4802113"/>
                  </a:lnTo>
                  <a:lnTo>
                    <a:pt x="2431792" y="4803323"/>
                  </a:lnTo>
                  <a:lnTo>
                    <a:pt x="2433607" y="4804200"/>
                  </a:lnTo>
                  <a:lnTo>
                    <a:pt x="2434756" y="4807860"/>
                  </a:lnTo>
                  <a:lnTo>
                    <a:pt x="2432397" y="4810886"/>
                  </a:lnTo>
                  <a:lnTo>
                    <a:pt x="2428888" y="4813185"/>
                  </a:lnTo>
                  <a:lnTo>
                    <a:pt x="2426044" y="4815726"/>
                  </a:lnTo>
                  <a:lnTo>
                    <a:pt x="2425741" y="4819447"/>
                  </a:lnTo>
                  <a:lnTo>
                    <a:pt x="2428586" y="4822714"/>
                  </a:lnTo>
                  <a:lnTo>
                    <a:pt x="2433093" y="4823864"/>
                  </a:lnTo>
                  <a:lnTo>
                    <a:pt x="2438024" y="4824196"/>
                  </a:lnTo>
                  <a:lnTo>
                    <a:pt x="2442108" y="4825195"/>
                  </a:lnTo>
                  <a:lnTo>
                    <a:pt x="2444377" y="4826798"/>
                  </a:lnTo>
                  <a:lnTo>
                    <a:pt x="2445647" y="4827706"/>
                  </a:lnTo>
                  <a:lnTo>
                    <a:pt x="2447553" y="4828583"/>
                  </a:lnTo>
                  <a:lnTo>
                    <a:pt x="2449429" y="4828310"/>
                  </a:lnTo>
                  <a:lnTo>
                    <a:pt x="2450911" y="4827100"/>
                  </a:lnTo>
                  <a:lnTo>
                    <a:pt x="2453422" y="4823924"/>
                  </a:lnTo>
                  <a:lnTo>
                    <a:pt x="2454783" y="4822563"/>
                  </a:lnTo>
                  <a:lnTo>
                    <a:pt x="2459139" y="4820657"/>
                  </a:lnTo>
                  <a:lnTo>
                    <a:pt x="2468759" y="4820234"/>
                  </a:lnTo>
                  <a:lnTo>
                    <a:pt x="2472299" y="4819265"/>
                  </a:lnTo>
                  <a:lnTo>
                    <a:pt x="2473448" y="4818963"/>
                  </a:lnTo>
                  <a:lnTo>
                    <a:pt x="2474900" y="4817632"/>
                  </a:lnTo>
                  <a:lnTo>
                    <a:pt x="2476746" y="4815847"/>
                  </a:lnTo>
                  <a:lnTo>
                    <a:pt x="2478651" y="4812338"/>
                  </a:lnTo>
                  <a:lnTo>
                    <a:pt x="2480981" y="4809766"/>
                  </a:lnTo>
                  <a:lnTo>
                    <a:pt x="2489905" y="4809585"/>
                  </a:lnTo>
                  <a:lnTo>
                    <a:pt x="2493989" y="4808375"/>
                  </a:lnTo>
                  <a:lnTo>
                    <a:pt x="2501824" y="4804503"/>
                  </a:lnTo>
                  <a:lnTo>
                    <a:pt x="2504759" y="4803746"/>
                  </a:lnTo>
                  <a:lnTo>
                    <a:pt x="2509810" y="4803414"/>
                  </a:lnTo>
                  <a:lnTo>
                    <a:pt x="2514075" y="4803898"/>
                  </a:lnTo>
                  <a:lnTo>
                    <a:pt x="2517857" y="4805047"/>
                  </a:lnTo>
                  <a:lnTo>
                    <a:pt x="2518220" y="4805108"/>
                  </a:lnTo>
                  <a:lnTo>
                    <a:pt x="2521971" y="4807104"/>
                  </a:lnTo>
                  <a:lnTo>
                    <a:pt x="2523545" y="4808284"/>
                  </a:lnTo>
                  <a:lnTo>
                    <a:pt x="2526509" y="4811188"/>
                  </a:lnTo>
                  <a:lnTo>
                    <a:pt x="2527719" y="4812852"/>
                  </a:lnTo>
                  <a:lnTo>
                    <a:pt x="2530200" y="4820203"/>
                  </a:lnTo>
                  <a:lnTo>
                    <a:pt x="2531470" y="4821383"/>
                  </a:lnTo>
                  <a:lnTo>
                    <a:pt x="2532347" y="4820506"/>
                  </a:lnTo>
                  <a:lnTo>
                    <a:pt x="2533981" y="4813608"/>
                  </a:lnTo>
                  <a:lnTo>
                    <a:pt x="2536915" y="4807770"/>
                  </a:lnTo>
                  <a:lnTo>
                    <a:pt x="2537520" y="4805773"/>
                  </a:lnTo>
                  <a:lnTo>
                    <a:pt x="2540092" y="4802597"/>
                  </a:lnTo>
                  <a:lnTo>
                    <a:pt x="2544509" y="4803383"/>
                  </a:lnTo>
                  <a:lnTo>
                    <a:pt x="2555490" y="4810644"/>
                  </a:lnTo>
                  <a:lnTo>
                    <a:pt x="2557244" y="4811430"/>
                  </a:lnTo>
                  <a:lnTo>
                    <a:pt x="2559090" y="4811824"/>
                  </a:lnTo>
                  <a:lnTo>
                    <a:pt x="2560995" y="4811491"/>
                  </a:lnTo>
                  <a:lnTo>
                    <a:pt x="2561903" y="4811098"/>
                  </a:lnTo>
                  <a:lnTo>
                    <a:pt x="2564687" y="4809948"/>
                  </a:lnTo>
                  <a:lnTo>
                    <a:pt x="2566623" y="4809736"/>
                  </a:lnTo>
                  <a:lnTo>
                    <a:pt x="2569860" y="4810886"/>
                  </a:lnTo>
                  <a:lnTo>
                    <a:pt x="2572794" y="4813185"/>
                  </a:lnTo>
                  <a:lnTo>
                    <a:pt x="2582656" y="4824287"/>
                  </a:lnTo>
                  <a:lnTo>
                    <a:pt x="2583775" y="4825981"/>
                  </a:lnTo>
                  <a:lnTo>
                    <a:pt x="2584561" y="4827615"/>
                  </a:lnTo>
                  <a:lnTo>
                    <a:pt x="2585711" y="4829884"/>
                  </a:lnTo>
                  <a:lnTo>
                    <a:pt x="2586709" y="4831336"/>
                  </a:lnTo>
                  <a:lnTo>
                    <a:pt x="2590098" y="4832637"/>
                  </a:lnTo>
                  <a:lnTo>
                    <a:pt x="2594333" y="4832062"/>
                  </a:lnTo>
                  <a:lnTo>
                    <a:pt x="2602471" y="4829823"/>
                  </a:lnTo>
                  <a:lnTo>
                    <a:pt x="2608279" y="4829944"/>
                  </a:lnTo>
                  <a:lnTo>
                    <a:pt x="2616719" y="4831305"/>
                  </a:lnTo>
                  <a:lnTo>
                    <a:pt x="2624523" y="4834179"/>
                  </a:lnTo>
                  <a:lnTo>
                    <a:pt x="2628638" y="4838687"/>
                  </a:lnTo>
                  <a:lnTo>
                    <a:pt x="2628638" y="4838808"/>
                  </a:lnTo>
                  <a:lnTo>
                    <a:pt x="2628365" y="4841682"/>
                  </a:lnTo>
                  <a:lnTo>
                    <a:pt x="2616810" y="4869543"/>
                  </a:lnTo>
                  <a:lnTo>
                    <a:pt x="2617808" y="4872417"/>
                  </a:lnTo>
                  <a:lnTo>
                    <a:pt x="2620863" y="4874232"/>
                  </a:lnTo>
                  <a:lnTo>
                    <a:pt x="2624887" y="4875987"/>
                  </a:lnTo>
                  <a:lnTo>
                    <a:pt x="2635928" y="4883096"/>
                  </a:lnTo>
                  <a:lnTo>
                    <a:pt x="2642977" y="4884760"/>
                  </a:lnTo>
                  <a:lnTo>
                    <a:pt x="2644369" y="4886030"/>
                  </a:lnTo>
                  <a:lnTo>
                    <a:pt x="2647212" y="4892504"/>
                  </a:lnTo>
                  <a:lnTo>
                    <a:pt x="2648271" y="4893896"/>
                  </a:lnTo>
                  <a:lnTo>
                    <a:pt x="2649632" y="4894561"/>
                  </a:lnTo>
                  <a:lnTo>
                    <a:pt x="2651539" y="4894682"/>
                  </a:lnTo>
                  <a:lnTo>
                    <a:pt x="2652234" y="4894410"/>
                  </a:lnTo>
                  <a:lnTo>
                    <a:pt x="2653535" y="4893412"/>
                  </a:lnTo>
                  <a:lnTo>
                    <a:pt x="2654412" y="4893230"/>
                  </a:lnTo>
                  <a:lnTo>
                    <a:pt x="2655078" y="4893533"/>
                  </a:lnTo>
                  <a:lnTo>
                    <a:pt x="2656772" y="4894894"/>
                  </a:lnTo>
                  <a:lnTo>
                    <a:pt x="2657589" y="4895317"/>
                  </a:lnTo>
                  <a:lnTo>
                    <a:pt x="2659403" y="4895196"/>
                  </a:lnTo>
                  <a:lnTo>
                    <a:pt x="2660795" y="4894864"/>
                  </a:lnTo>
                  <a:lnTo>
                    <a:pt x="2661793" y="4895499"/>
                  </a:lnTo>
                  <a:lnTo>
                    <a:pt x="2662459" y="4898191"/>
                  </a:lnTo>
                  <a:lnTo>
                    <a:pt x="2664879" y="4899250"/>
                  </a:lnTo>
                  <a:lnTo>
                    <a:pt x="2667965" y="4899311"/>
                  </a:lnTo>
                  <a:lnTo>
                    <a:pt x="2673894" y="4898161"/>
                  </a:lnTo>
                  <a:lnTo>
                    <a:pt x="2673985" y="4898161"/>
                  </a:lnTo>
                  <a:lnTo>
                    <a:pt x="2674802" y="4897949"/>
                  </a:lnTo>
                  <a:lnTo>
                    <a:pt x="2675679" y="4897859"/>
                  </a:lnTo>
                  <a:lnTo>
                    <a:pt x="2676496" y="4897949"/>
                  </a:lnTo>
                  <a:lnTo>
                    <a:pt x="2677494" y="4898161"/>
                  </a:lnTo>
                  <a:lnTo>
                    <a:pt x="2680126" y="4900127"/>
                  </a:lnTo>
                  <a:lnTo>
                    <a:pt x="2684543" y="4904968"/>
                  </a:lnTo>
                  <a:lnTo>
                    <a:pt x="2687416" y="4906178"/>
                  </a:lnTo>
                  <a:lnTo>
                    <a:pt x="2693376" y="4906631"/>
                  </a:lnTo>
                  <a:lnTo>
                    <a:pt x="2695857" y="4907872"/>
                  </a:lnTo>
                  <a:lnTo>
                    <a:pt x="2698277" y="4910927"/>
                  </a:lnTo>
                  <a:lnTo>
                    <a:pt x="2700455" y="4911472"/>
                  </a:lnTo>
                  <a:lnTo>
                    <a:pt x="2703177" y="4911351"/>
                  </a:lnTo>
                  <a:lnTo>
                    <a:pt x="2707836" y="4911925"/>
                  </a:lnTo>
                  <a:lnTo>
                    <a:pt x="2709651" y="4912954"/>
                  </a:lnTo>
                  <a:lnTo>
                    <a:pt x="2710196" y="4915253"/>
                  </a:lnTo>
                  <a:lnTo>
                    <a:pt x="2709742" y="4920305"/>
                  </a:lnTo>
                  <a:lnTo>
                    <a:pt x="2710287" y="4922423"/>
                  </a:lnTo>
                  <a:lnTo>
                    <a:pt x="2712102" y="4923784"/>
                  </a:lnTo>
                  <a:lnTo>
                    <a:pt x="2714007" y="4923784"/>
                  </a:lnTo>
                  <a:lnTo>
                    <a:pt x="2715793" y="4922725"/>
                  </a:lnTo>
                  <a:lnTo>
                    <a:pt x="2719029" y="4920063"/>
                  </a:lnTo>
                  <a:lnTo>
                    <a:pt x="2721087" y="4919428"/>
                  </a:lnTo>
                  <a:lnTo>
                    <a:pt x="2725170" y="4918641"/>
                  </a:lnTo>
                  <a:lnTo>
                    <a:pt x="2726350" y="4917794"/>
                  </a:lnTo>
                  <a:lnTo>
                    <a:pt x="2726955" y="4917341"/>
                  </a:lnTo>
                  <a:lnTo>
                    <a:pt x="2728680" y="4915737"/>
                  </a:lnTo>
                  <a:lnTo>
                    <a:pt x="2729497" y="4915737"/>
                  </a:lnTo>
                  <a:lnTo>
                    <a:pt x="2729889" y="4917129"/>
                  </a:lnTo>
                  <a:lnTo>
                    <a:pt x="2730797" y="4921969"/>
                  </a:lnTo>
                  <a:lnTo>
                    <a:pt x="2731341" y="4923663"/>
                  </a:lnTo>
                  <a:lnTo>
                    <a:pt x="2732340" y="4925115"/>
                  </a:lnTo>
                  <a:lnTo>
                    <a:pt x="2738965" y="4930712"/>
                  </a:lnTo>
                  <a:lnTo>
                    <a:pt x="2740689" y="4931680"/>
                  </a:lnTo>
                  <a:lnTo>
                    <a:pt x="2741960" y="4932012"/>
                  </a:lnTo>
                  <a:lnTo>
                    <a:pt x="2744562" y="4932315"/>
                  </a:lnTo>
                  <a:lnTo>
                    <a:pt x="2745711" y="4932860"/>
                  </a:lnTo>
                  <a:lnTo>
                    <a:pt x="2746195" y="4933586"/>
                  </a:lnTo>
                  <a:lnTo>
                    <a:pt x="2746740" y="4935854"/>
                  </a:lnTo>
                  <a:lnTo>
                    <a:pt x="2747102" y="4936792"/>
                  </a:lnTo>
                  <a:lnTo>
                    <a:pt x="2748464" y="4938456"/>
                  </a:lnTo>
                  <a:lnTo>
                    <a:pt x="2753486" y="4942389"/>
                  </a:lnTo>
                  <a:lnTo>
                    <a:pt x="2755967" y="4946110"/>
                  </a:lnTo>
                  <a:lnTo>
                    <a:pt x="2756873" y="4949831"/>
                  </a:lnTo>
                  <a:lnTo>
                    <a:pt x="2758326" y="4952099"/>
                  </a:lnTo>
                  <a:lnTo>
                    <a:pt x="2758447" y="4952099"/>
                  </a:lnTo>
                  <a:lnTo>
                    <a:pt x="2762561" y="4951585"/>
                  </a:lnTo>
                  <a:lnTo>
                    <a:pt x="2764497" y="4950859"/>
                  </a:lnTo>
                  <a:lnTo>
                    <a:pt x="2766403" y="4950526"/>
                  </a:lnTo>
                  <a:lnTo>
                    <a:pt x="2768218" y="4950980"/>
                  </a:lnTo>
                  <a:lnTo>
                    <a:pt x="2769851" y="4952674"/>
                  </a:lnTo>
                  <a:lnTo>
                    <a:pt x="2770547" y="4954792"/>
                  </a:lnTo>
                  <a:lnTo>
                    <a:pt x="2770911" y="4956879"/>
                  </a:lnTo>
                  <a:lnTo>
                    <a:pt x="2771606" y="4958694"/>
                  </a:lnTo>
                  <a:lnTo>
                    <a:pt x="2773361" y="4959904"/>
                  </a:lnTo>
                  <a:lnTo>
                    <a:pt x="2773603" y="4960116"/>
                  </a:lnTo>
                  <a:lnTo>
                    <a:pt x="2774389" y="4960872"/>
                  </a:lnTo>
                  <a:lnTo>
                    <a:pt x="2774843" y="4961961"/>
                  </a:lnTo>
                  <a:lnTo>
                    <a:pt x="2775206" y="4963141"/>
                  </a:lnTo>
                  <a:lnTo>
                    <a:pt x="2775750" y="4964381"/>
                  </a:lnTo>
                  <a:lnTo>
                    <a:pt x="2778866" y="4967981"/>
                  </a:lnTo>
                  <a:lnTo>
                    <a:pt x="2779623" y="4969464"/>
                  </a:lnTo>
                  <a:lnTo>
                    <a:pt x="2779986" y="4972459"/>
                  </a:lnTo>
                  <a:lnTo>
                    <a:pt x="2779835" y="4978902"/>
                  </a:lnTo>
                  <a:lnTo>
                    <a:pt x="2780833" y="4981716"/>
                  </a:lnTo>
                  <a:lnTo>
                    <a:pt x="2782617" y="4983349"/>
                  </a:lnTo>
                  <a:lnTo>
                    <a:pt x="2790271" y="4987645"/>
                  </a:lnTo>
                  <a:lnTo>
                    <a:pt x="2792540" y="4988401"/>
                  </a:lnTo>
                  <a:lnTo>
                    <a:pt x="2793417" y="4988704"/>
                  </a:lnTo>
                  <a:lnTo>
                    <a:pt x="2803824" y="4989611"/>
                  </a:lnTo>
                  <a:lnTo>
                    <a:pt x="2806002" y="4990337"/>
                  </a:lnTo>
                  <a:lnTo>
                    <a:pt x="2808846" y="4993967"/>
                  </a:lnTo>
                  <a:lnTo>
                    <a:pt x="2810691" y="4995299"/>
                  </a:lnTo>
                  <a:lnTo>
                    <a:pt x="2812749" y="4995299"/>
                  </a:lnTo>
                  <a:lnTo>
                    <a:pt x="2816288" y="4993151"/>
                  </a:lnTo>
                  <a:lnTo>
                    <a:pt x="2818223" y="4992425"/>
                  </a:lnTo>
                  <a:lnTo>
                    <a:pt x="2820281" y="4992636"/>
                  </a:lnTo>
                  <a:lnTo>
                    <a:pt x="2825515" y="4995087"/>
                  </a:lnTo>
                  <a:lnTo>
                    <a:pt x="2828540" y="4996478"/>
                  </a:lnTo>
                  <a:lnTo>
                    <a:pt x="2830475" y="4996841"/>
                  </a:lnTo>
                  <a:lnTo>
                    <a:pt x="2837464" y="4996267"/>
                  </a:lnTo>
                  <a:lnTo>
                    <a:pt x="2839037" y="4996145"/>
                  </a:lnTo>
                  <a:lnTo>
                    <a:pt x="2843272" y="4994936"/>
                  </a:lnTo>
                  <a:lnTo>
                    <a:pt x="2845631" y="4993574"/>
                  </a:lnTo>
                  <a:lnTo>
                    <a:pt x="2846085" y="4992364"/>
                  </a:lnTo>
                  <a:lnTo>
                    <a:pt x="2845601" y="4990821"/>
                  </a:lnTo>
                  <a:lnTo>
                    <a:pt x="2845117" y="4988280"/>
                  </a:lnTo>
                  <a:lnTo>
                    <a:pt x="2845450" y="4985739"/>
                  </a:lnTo>
                  <a:lnTo>
                    <a:pt x="2846388" y="4984529"/>
                  </a:lnTo>
                  <a:lnTo>
                    <a:pt x="2847719" y="4983652"/>
                  </a:lnTo>
                  <a:lnTo>
                    <a:pt x="2849201" y="4982018"/>
                  </a:lnTo>
                  <a:lnTo>
                    <a:pt x="2850078" y="4979780"/>
                  </a:lnTo>
                  <a:lnTo>
                    <a:pt x="2850533" y="4977843"/>
                  </a:lnTo>
                  <a:lnTo>
                    <a:pt x="2851591" y="4976815"/>
                  </a:lnTo>
                  <a:lnTo>
                    <a:pt x="2854193" y="4977208"/>
                  </a:lnTo>
                  <a:lnTo>
                    <a:pt x="2856462" y="4976028"/>
                  </a:lnTo>
                  <a:lnTo>
                    <a:pt x="2859789" y="4967225"/>
                  </a:lnTo>
                  <a:lnTo>
                    <a:pt x="2861665" y="4963807"/>
                  </a:lnTo>
                  <a:lnTo>
                    <a:pt x="2864992" y="4961931"/>
                  </a:lnTo>
                  <a:lnTo>
                    <a:pt x="2876609" y="4959844"/>
                  </a:lnTo>
                  <a:lnTo>
                    <a:pt x="2879573" y="4958361"/>
                  </a:lnTo>
                  <a:lnTo>
                    <a:pt x="2884837" y="4954156"/>
                  </a:lnTo>
                  <a:lnTo>
                    <a:pt x="2893520" y="4949165"/>
                  </a:lnTo>
                  <a:lnTo>
                    <a:pt x="2895819" y="4946866"/>
                  </a:lnTo>
                  <a:lnTo>
                    <a:pt x="2897876" y="4943326"/>
                  </a:lnTo>
                  <a:lnTo>
                    <a:pt x="2902111" y="4932617"/>
                  </a:lnTo>
                  <a:lnTo>
                    <a:pt x="2902777" y="4931771"/>
                  </a:lnTo>
                  <a:lnTo>
                    <a:pt x="2909704" y="4923542"/>
                  </a:lnTo>
                  <a:lnTo>
                    <a:pt x="2914514" y="4916372"/>
                  </a:lnTo>
                  <a:lnTo>
                    <a:pt x="2911912" y="4912621"/>
                  </a:lnTo>
                  <a:lnTo>
                    <a:pt x="2907586" y="4910413"/>
                  </a:lnTo>
                  <a:lnTo>
                    <a:pt x="2902806" y="4909505"/>
                  </a:lnTo>
                  <a:lnTo>
                    <a:pt x="2898148" y="4907720"/>
                  </a:lnTo>
                  <a:lnTo>
                    <a:pt x="2895184" y="4904998"/>
                  </a:lnTo>
                  <a:lnTo>
                    <a:pt x="2888952" y="4892383"/>
                  </a:lnTo>
                  <a:lnTo>
                    <a:pt x="2888014" y="4889691"/>
                  </a:lnTo>
                  <a:lnTo>
                    <a:pt x="2887591" y="4886998"/>
                  </a:lnTo>
                  <a:lnTo>
                    <a:pt x="2886834" y="4884427"/>
                  </a:lnTo>
                  <a:lnTo>
                    <a:pt x="2885019" y="4882158"/>
                  </a:lnTo>
                  <a:lnTo>
                    <a:pt x="2881359" y="4878982"/>
                  </a:lnTo>
                  <a:lnTo>
                    <a:pt x="2878605" y="4875412"/>
                  </a:lnTo>
                  <a:lnTo>
                    <a:pt x="2865869" y="4853631"/>
                  </a:lnTo>
                  <a:lnTo>
                    <a:pt x="2864146" y="4852028"/>
                  </a:lnTo>
                  <a:lnTo>
                    <a:pt x="2858579" y="4848246"/>
                  </a:lnTo>
                  <a:lnTo>
                    <a:pt x="2855493" y="4844918"/>
                  </a:lnTo>
                  <a:lnTo>
                    <a:pt x="2850018" y="4837235"/>
                  </a:lnTo>
                  <a:lnTo>
                    <a:pt x="2842909" y="4824287"/>
                  </a:lnTo>
                  <a:lnTo>
                    <a:pt x="2839854" y="4821746"/>
                  </a:lnTo>
                  <a:lnTo>
                    <a:pt x="2831232" y="4817783"/>
                  </a:lnTo>
                  <a:lnTo>
                    <a:pt x="2828781" y="4814486"/>
                  </a:lnTo>
                  <a:lnTo>
                    <a:pt x="2827571" y="4810250"/>
                  </a:lnTo>
                  <a:lnTo>
                    <a:pt x="2827571" y="4805289"/>
                  </a:lnTo>
                  <a:lnTo>
                    <a:pt x="2827693" y="4803898"/>
                  </a:lnTo>
                  <a:lnTo>
                    <a:pt x="2828146" y="4802657"/>
                  </a:lnTo>
                  <a:lnTo>
                    <a:pt x="2827541" y="4802657"/>
                  </a:lnTo>
                  <a:lnTo>
                    <a:pt x="2827662" y="4800600"/>
                  </a:lnTo>
                  <a:lnTo>
                    <a:pt x="2826997" y="4794490"/>
                  </a:lnTo>
                  <a:lnTo>
                    <a:pt x="2827148" y="4793189"/>
                  </a:lnTo>
                  <a:lnTo>
                    <a:pt x="2826785" y="4792493"/>
                  </a:lnTo>
                  <a:lnTo>
                    <a:pt x="2826180" y="4789468"/>
                  </a:lnTo>
                  <a:lnTo>
                    <a:pt x="2825817" y="4788772"/>
                  </a:lnTo>
                  <a:lnTo>
                    <a:pt x="2818133" y="4783992"/>
                  </a:lnTo>
                  <a:lnTo>
                    <a:pt x="2816530" y="4782449"/>
                  </a:lnTo>
                  <a:lnTo>
                    <a:pt x="2815864" y="4780664"/>
                  </a:lnTo>
                  <a:lnTo>
                    <a:pt x="2814957" y="4779273"/>
                  </a:lnTo>
                  <a:lnTo>
                    <a:pt x="2808937" y="4776792"/>
                  </a:lnTo>
                  <a:lnTo>
                    <a:pt x="2802070" y="4769411"/>
                  </a:lnTo>
                  <a:lnTo>
                    <a:pt x="2801162" y="4761848"/>
                  </a:lnTo>
                  <a:lnTo>
                    <a:pt x="2801374" y="4759428"/>
                  </a:lnTo>
                  <a:lnTo>
                    <a:pt x="2801827" y="4758853"/>
                  </a:lnTo>
                  <a:lnTo>
                    <a:pt x="2803522" y="4757159"/>
                  </a:lnTo>
                  <a:lnTo>
                    <a:pt x="2804157" y="4755979"/>
                  </a:lnTo>
                  <a:lnTo>
                    <a:pt x="2804157" y="4754618"/>
                  </a:lnTo>
                  <a:lnTo>
                    <a:pt x="2803793" y="4753257"/>
                  </a:lnTo>
                  <a:lnTo>
                    <a:pt x="2803703" y="4751865"/>
                  </a:lnTo>
                  <a:lnTo>
                    <a:pt x="2804489" y="4750352"/>
                  </a:lnTo>
                  <a:lnTo>
                    <a:pt x="2804731" y="4749263"/>
                  </a:lnTo>
                  <a:lnTo>
                    <a:pt x="2804036" y="4746511"/>
                  </a:lnTo>
                  <a:lnTo>
                    <a:pt x="2804489" y="4745180"/>
                  </a:lnTo>
                  <a:lnTo>
                    <a:pt x="2806547" y="4742306"/>
                  </a:lnTo>
                  <a:lnTo>
                    <a:pt x="2807666" y="4741307"/>
                  </a:lnTo>
                  <a:lnTo>
                    <a:pt x="2810873" y="4739492"/>
                  </a:lnTo>
                  <a:lnTo>
                    <a:pt x="2812476" y="4738161"/>
                  </a:lnTo>
                  <a:lnTo>
                    <a:pt x="2813414" y="4735650"/>
                  </a:lnTo>
                  <a:lnTo>
                    <a:pt x="2814019" y="4735045"/>
                  </a:lnTo>
                  <a:lnTo>
                    <a:pt x="2814503" y="4734168"/>
                  </a:lnTo>
                  <a:lnTo>
                    <a:pt x="2814503" y="4732565"/>
                  </a:lnTo>
                  <a:lnTo>
                    <a:pt x="2814231" y="4731415"/>
                  </a:lnTo>
                  <a:lnTo>
                    <a:pt x="2813686" y="4730326"/>
                  </a:lnTo>
                  <a:lnTo>
                    <a:pt x="2812990" y="4729842"/>
                  </a:lnTo>
                  <a:lnTo>
                    <a:pt x="2811356" y="4730871"/>
                  </a:lnTo>
                  <a:lnTo>
                    <a:pt x="2809360" y="4731476"/>
                  </a:lnTo>
                  <a:lnTo>
                    <a:pt x="2806849" y="4735136"/>
                  </a:lnTo>
                  <a:lnTo>
                    <a:pt x="2805245" y="4734561"/>
                  </a:lnTo>
                  <a:lnTo>
                    <a:pt x="2804580" y="4732716"/>
                  </a:lnTo>
                  <a:lnTo>
                    <a:pt x="2804731" y="4730356"/>
                  </a:lnTo>
                  <a:lnTo>
                    <a:pt x="2805548" y="4728209"/>
                  </a:lnTo>
                  <a:lnTo>
                    <a:pt x="2804187" y="4724004"/>
                  </a:lnTo>
                  <a:lnTo>
                    <a:pt x="2804066" y="4718619"/>
                  </a:lnTo>
                  <a:lnTo>
                    <a:pt x="2804974" y="4713416"/>
                  </a:lnTo>
                  <a:lnTo>
                    <a:pt x="2807847" y="4706155"/>
                  </a:lnTo>
                  <a:lnTo>
                    <a:pt x="2810268" y="4692451"/>
                  </a:lnTo>
                  <a:lnTo>
                    <a:pt x="2816076" y="4674845"/>
                  </a:lnTo>
                  <a:lnTo>
                    <a:pt x="2820371" y="4666617"/>
                  </a:lnTo>
                  <a:lnTo>
                    <a:pt x="2826180" y="4660899"/>
                  </a:lnTo>
                  <a:lnTo>
                    <a:pt x="2823790" y="4659114"/>
                  </a:lnTo>
                  <a:lnTo>
                    <a:pt x="2821279" y="4658055"/>
                  </a:lnTo>
                  <a:lnTo>
                    <a:pt x="2818526" y="4657602"/>
                  </a:lnTo>
                  <a:lnTo>
                    <a:pt x="2815531" y="4657481"/>
                  </a:lnTo>
                  <a:lnTo>
                    <a:pt x="2814775" y="4657874"/>
                  </a:lnTo>
                  <a:lnTo>
                    <a:pt x="2811387" y="4660536"/>
                  </a:lnTo>
                  <a:lnTo>
                    <a:pt x="2810359" y="4662140"/>
                  </a:lnTo>
                  <a:lnTo>
                    <a:pt x="2810056" y="4663470"/>
                  </a:lnTo>
                  <a:lnTo>
                    <a:pt x="2810268" y="4666345"/>
                  </a:lnTo>
                  <a:lnTo>
                    <a:pt x="2809995" y="4669884"/>
                  </a:lnTo>
                  <a:lnTo>
                    <a:pt x="2809299" y="4673544"/>
                  </a:lnTo>
                  <a:lnTo>
                    <a:pt x="2808150" y="4677023"/>
                  </a:lnTo>
                  <a:lnTo>
                    <a:pt x="2806547" y="4679837"/>
                  </a:lnTo>
                  <a:lnTo>
                    <a:pt x="2806153" y="4681319"/>
                  </a:lnTo>
                  <a:lnTo>
                    <a:pt x="2806638" y="4685070"/>
                  </a:lnTo>
                  <a:lnTo>
                    <a:pt x="2805881" y="4686885"/>
                  </a:lnTo>
                  <a:lnTo>
                    <a:pt x="2804762" y="4688216"/>
                  </a:lnTo>
                  <a:lnTo>
                    <a:pt x="2804005" y="4689245"/>
                  </a:lnTo>
                  <a:lnTo>
                    <a:pt x="2803643" y="4690425"/>
                  </a:lnTo>
                  <a:lnTo>
                    <a:pt x="2803431" y="4692240"/>
                  </a:lnTo>
                  <a:lnTo>
                    <a:pt x="2803279" y="4696868"/>
                  </a:lnTo>
                  <a:lnTo>
                    <a:pt x="2802372" y="4702132"/>
                  </a:lnTo>
                  <a:lnTo>
                    <a:pt x="2800678" y="4706458"/>
                  </a:lnTo>
                  <a:lnTo>
                    <a:pt x="2798258" y="4708273"/>
                  </a:lnTo>
                  <a:lnTo>
                    <a:pt x="2796231" y="4707335"/>
                  </a:lnTo>
                  <a:lnTo>
                    <a:pt x="2796231" y="4705278"/>
                  </a:lnTo>
                  <a:lnTo>
                    <a:pt x="2796321" y="4703191"/>
                  </a:lnTo>
                  <a:lnTo>
                    <a:pt x="2794809" y="4702253"/>
                  </a:lnTo>
                  <a:lnTo>
                    <a:pt x="2793781" y="4701164"/>
                  </a:lnTo>
                  <a:lnTo>
                    <a:pt x="2792964" y="4698623"/>
                  </a:lnTo>
                  <a:lnTo>
                    <a:pt x="2792479" y="4695658"/>
                  </a:lnTo>
                  <a:lnTo>
                    <a:pt x="2792389" y="4693389"/>
                  </a:lnTo>
                  <a:lnTo>
                    <a:pt x="2793115" y="4693389"/>
                  </a:lnTo>
                  <a:lnTo>
                    <a:pt x="2793478" y="4693934"/>
                  </a:lnTo>
                  <a:lnTo>
                    <a:pt x="2795172" y="4695234"/>
                  </a:lnTo>
                  <a:lnTo>
                    <a:pt x="2796624" y="4691362"/>
                  </a:lnTo>
                  <a:lnTo>
                    <a:pt x="2798590" y="4687309"/>
                  </a:lnTo>
                  <a:lnTo>
                    <a:pt x="2799286" y="4686673"/>
                  </a:lnTo>
                  <a:lnTo>
                    <a:pt x="2800163" y="4686220"/>
                  </a:lnTo>
                  <a:lnTo>
                    <a:pt x="2800950" y="4685615"/>
                  </a:lnTo>
                  <a:lnTo>
                    <a:pt x="2801374" y="4684737"/>
                  </a:lnTo>
                  <a:lnTo>
                    <a:pt x="2799225" y="4681228"/>
                  </a:lnTo>
                  <a:lnTo>
                    <a:pt x="2800315" y="4678385"/>
                  </a:lnTo>
                  <a:lnTo>
                    <a:pt x="2800889" y="4677447"/>
                  </a:lnTo>
                  <a:lnTo>
                    <a:pt x="2801767" y="4676388"/>
                  </a:lnTo>
                  <a:lnTo>
                    <a:pt x="2802826" y="4675662"/>
                  </a:lnTo>
                  <a:lnTo>
                    <a:pt x="2805457" y="4675057"/>
                  </a:lnTo>
                  <a:lnTo>
                    <a:pt x="2806244" y="4674270"/>
                  </a:lnTo>
                  <a:lnTo>
                    <a:pt x="2806244" y="4672969"/>
                  </a:lnTo>
                  <a:lnTo>
                    <a:pt x="2804853" y="4668553"/>
                  </a:lnTo>
                  <a:lnTo>
                    <a:pt x="2804187" y="4667373"/>
                  </a:lnTo>
                  <a:lnTo>
                    <a:pt x="2802705" y="4667222"/>
                  </a:lnTo>
                  <a:lnTo>
                    <a:pt x="2801101" y="4667615"/>
                  </a:lnTo>
                  <a:lnTo>
                    <a:pt x="2800042" y="4668099"/>
                  </a:lnTo>
                  <a:lnTo>
                    <a:pt x="2800406" y="4666737"/>
                  </a:lnTo>
                  <a:lnTo>
                    <a:pt x="2801858" y="4663924"/>
                  </a:lnTo>
                  <a:lnTo>
                    <a:pt x="2802100" y="4662866"/>
                  </a:lnTo>
                  <a:lnTo>
                    <a:pt x="2801435" y="4661474"/>
                  </a:lnTo>
                  <a:lnTo>
                    <a:pt x="2799135" y="4660839"/>
                  </a:lnTo>
                  <a:lnTo>
                    <a:pt x="2798651" y="4659780"/>
                  </a:lnTo>
                  <a:lnTo>
                    <a:pt x="2798197" y="4656755"/>
                  </a:lnTo>
                  <a:lnTo>
                    <a:pt x="2797108" y="4654456"/>
                  </a:lnTo>
                  <a:lnTo>
                    <a:pt x="2794567" y="4650553"/>
                  </a:lnTo>
                  <a:lnTo>
                    <a:pt x="2791632" y="4642325"/>
                  </a:lnTo>
                  <a:lnTo>
                    <a:pt x="2790665" y="4640933"/>
                  </a:lnTo>
                  <a:lnTo>
                    <a:pt x="2789183" y="4639904"/>
                  </a:lnTo>
                  <a:lnTo>
                    <a:pt x="2787367" y="4637515"/>
                  </a:lnTo>
                  <a:lnTo>
                    <a:pt x="2784736" y="4633038"/>
                  </a:lnTo>
                  <a:lnTo>
                    <a:pt x="2782255" y="4623296"/>
                  </a:lnTo>
                  <a:lnTo>
                    <a:pt x="2780318" y="4617700"/>
                  </a:lnTo>
                  <a:lnTo>
                    <a:pt x="2777899" y="4615310"/>
                  </a:lnTo>
                  <a:lnTo>
                    <a:pt x="2776749" y="4615794"/>
                  </a:lnTo>
                  <a:lnTo>
                    <a:pt x="2774783" y="4618154"/>
                  </a:lnTo>
                  <a:lnTo>
                    <a:pt x="2773724" y="4618880"/>
                  </a:lnTo>
                  <a:lnTo>
                    <a:pt x="2772363" y="4618880"/>
                  </a:lnTo>
                  <a:lnTo>
                    <a:pt x="2770306" y="4617428"/>
                  </a:lnTo>
                  <a:lnTo>
                    <a:pt x="2769277" y="4617035"/>
                  </a:lnTo>
                  <a:lnTo>
                    <a:pt x="2767916" y="4616309"/>
                  </a:lnTo>
                  <a:lnTo>
                    <a:pt x="2766161" y="4614614"/>
                  </a:lnTo>
                  <a:lnTo>
                    <a:pt x="2764557" y="4612618"/>
                  </a:lnTo>
                  <a:lnTo>
                    <a:pt x="2763499" y="4610954"/>
                  </a:lnTo>
                  <a:lnTo>
                    <a:pt x="2762591" y="4608383"/>
                  </a:lnTo>
                  <a:lnTo>
                    <a:pt x="2761200" y="4602817"/>
                  </a:lnTo>
                  <a:lnTo>
                    <a:pt x="2760080" y="4600427"/>
                  </a:lnTo>
                  <a:lnTo>
                    <a:pt x="2758175" y="4598672"/>
                  </a:lnTo>
                  <a:lnTo>
                    <a:pt x="2755876" y="4597674"/>
                  </a:lnTo>
                  <a:lnTo>
                    <a:pt x="2740720" y="4593771"/>
                  </a:lnTo>
                  <a:lnTo>
                    <a:pt x="2739509" y="4593771"/>
                  </a:lnTo>
                  <a:lnTo>
                    <a:pt x="2737240" y="4594134"/>
                  </a:lnTo>
                  <a:lnTo>
                    <a:pt x="2732763" y="4594134"/>
                  </a:lnTo>
                  <a:lnTo>
                    <a:pt x="2731372" y="4593378"/>
                  </a:lnTo>
                  <a:lnTo>
                    <a:pt x="2728861" y="4591532"/>
                  </a:lnTo>
                  <a:lnTo>
                    <a:pt x="2726562" y="4589324"/>
                  </a:lnTo>
                  <a:lnTo>
                    <a:pt x="2725533" y="4587479"/>
                  </a:lnTo>
                  <a:lnTo>
                    <a:pt x="2725200" y="4584877"/>
                  </a:lnTo>
                  <a:lnTo>
                    <a:pt x="2723748" y="4579644"/>
                  </a:lnTo>
                  <a:lnTo>
                    <a:pt x="2723416" y="4576830"/>
                  </a:lnTo>
                  <a:lnTo>
                    <a:pt x="2723869" y="4575620"/>
                  </a:lnTo>
                  <a:lnTo>
                    <a:pt x="2724868" y="4574955"/>
                  </a:lnTo>
                  <a:lnTo>
                    <a:pt x="2726138" y="4574683"/>
                  </a:lnTo>
                  <a:lnTo>
                    <a:pt x="2727258" y="4574683"/>
                  </a:lnTo>
                  <a:lnTo>
                    <a:pt x="2727742" y="4574108"/>
                  </a:lnTo>
                  <a:lnTo>
                    <a:pt x="2727319" y="4573019"/>
                  </a:lnTo>
                  <a:lnTo>
                    <a:pt x="2726592" y="4571930"/>
                  </a:lnTo>
                  <a:lnTo>
                    <a:pt x="2726169" y="4571506"/>
                  </a:lnTo>
                  <a:lnTo>
                    <a:pt x="2727046" y="4562521"/>
                  </a:lnTo>
                  <a:lnTo>
                    <a:pt x="2727621" y="4560404"/>
                  </a:lnTo>
                  <a:lnTo>
                    <a:pt x="2730041" y="4560555"/>
                  </a:lnTo>
                  <a:lnTo>
                    <a:pt x="2732067" y="4556986"/>
                  </a:lnTo>
                  <a:lnTo>
                    <a:pt x="2734609" y="4553809"/>
                  </a:lnTo>
                  <a:lnTo>
                    <a:pt x="2738602" y="4555049"/>
                  </a:lnTo>
                  <a:lnTo>
                    <a:pt x="2739842" y="4553355"/>
                  </a:lnTo>
                  <a:lnTo>
                    <a:pt x="2740961" y="4551298"/>
                  </a:lnTo>
                  <a:lnTo>
                    <a:pt x="2742323" y="4549332"/>
                  </a:lnTo>
                  <a:lnTo>
                    <a:pt x="2744350" y="4547850"/>
                  </a:lnTo>
                  <a:lnTo>
                    <a:pt x="2747980" y="4545248"/>
                  </a:lnTo>
                  <a:lnTo>
                    <a:pt x="2749916" y="4544855"/>
                  </a:lnTo>
                  <a:lnTo>
                    <a:pt x="2751761" y="4546095"/>
                  </a:lnTo>
                  <a:lnTo>
                    <a:pt x="2752760" y="4543675"/>
                  </a:lnTo>
                  <a:lnTo>
                    <a:pt x="2755967" y="4539289"/>
                  </a:lnTo>
                  <a:lnTo>
                    <a:pt x="2756632" y="4537685"/>
                  </a:lnTo>
                  <a:lnTo>
                    <a:pt x="2755997" y="4535325"/>
                  </a:lnTo>
                  <a:lnTo>
                    <a:pt x="2754817" y="4532452"/>
                  </a:lnTo>
                  <a:lnTo>
                    <a:pt x="2754000" y="4529427"/>
                  </a:lnTo>
                  <a:lnTo>
                    <a:pt x="2754545" y="4526552"/>
                  </a:lnTo>
                  <a:lnTo>
                    <a:pt x="2755997" y="4525766"/>
                  </a:lnTo>
                  <a:lnTo>
                    <a:pt x="2756814" y="4528277"/>
                  </a:lnTo>
                  <a:lnTo>
                    <a:pt x="2757297" y="4534024"/>
                  </a:lnTo>
                  <a:lnTo>
                    <a:pt x="2758023" y="4535991"/>
                  </a:lnTo>
                  <a:lnTo>
                    <a:pt x="2761563" y="4541224"/>
                  </a:lnTo>
                  <a:lnTo>
                    <a:pt x="2762803" y="4543523"/>
                  </a:lnTo>
                  <a:lnTo>
                    <a:pt x="2763499" y="4543523"/>
                  </a:lnTo>
                  <a:lnTo>
                    <a:pt x="2763560" y="4541557"/>
                  </a:lnTo>
                  <a:lnTo>
                    <a:pt x="2764104" y="4539318"/>
                  </a:lnTo>
                  <a:lnTo>
                    <a:pt x="2766857" y="4532542"/>
                  </a:lnTo>
                  <a:lnTo>
                    <a:pt x="2765495" y="4522499"/>
                  </a:lnTo>
                  <a:lnTo>
                    <a:pt x="2765495" y="4521198"/>
                  </a:lnTo>
                  <a:lnTo>
                    <a:pt x="2766796" y="4520926"/>
                  </a:lnTo>
                  <a:lnTo>
                    <a:pt x="2768309" y="4521984"/>
                  </a:lnTo>
                  <a:lnTo>
                    <a:pt x="2769640" y="4523527"/>
                  </a:lnTo>
                  <a:lnTo>
                    <a:pt x="2770245" y="4524737"/>
                  </a:lnTo>
                  <a:lnTo>
                    <a:pt x="2771183" y="4522196"/>
                  </a:lnTo>
                  <a:lnTo>
                    <a:pt x="2772241" y="4519806"/>
                  </a:lnTo>
                  <a:lnTo>
                    <a:pt x="2773724" y="4518505"/>
                  </a:lnTo>
                  <a:lnTo>
                    <a:pt x="2775811" y="4519383"/>
                  </a:lnTo>
                  <a:lnTo>
                    <a:pt x="2776840" y="4516721"/>
                  </a:lnTo>
                  <a:lnTo>
                    <a:pt x="2778504" y="4511124"/>
                  </a:lnTo>
                  <a:lnTo>
                    <a:pt x="2780773" y="4506950"/>
                  </a:lnTo>
                  <a:lnTo>
                    <a:pt x="2781831" y="4504378"/>
                  </a:lnTo>
                  <a:lnTo>
                    <a:pt x="2783253" y="4499689"/>
                  </a:lnTo>
                  <a:lnTo>
                    <a:pt x="2784372" y="4493790"/>
                  </a:lnTo>
                  <a:lnTo>
                    <a:pt x="2785431" y="4490977"/>
                  </a:lnTo>
                  <a:lnTo>
                    <a:pt x="2787216" y="4489767"/>
                  </a:lnTo>
                  <a:lnTo>
                    <a:pt x="2789545" y="4490342"/>
                  </a:lnTo>
                  <a:lnTo>
                    <a:pt x="2791391" y="4491279"/>
                  </a:lnTo>
                  <a:lnTo>
                    <a:pt x="2792782" y="4491219"/>
                  </a:lnTo>
                  <a:lnTo>
                    <a:pt x="2793690" y="4488980"/>
                  </a:lnTo>
                  <a:lnTo>
                    <a:pt x="2793690" y="4478574"/>
                  </a:lnTo>
                  <a:lnTo>
                    <a:pt x="2794143" y="4476305"/>
                  </a:lnTo>
                  <a:lnTo>
                    <a:pt x="2795293" y="4473612"/>
                  </a:lnTo>
                  <a:lnTo>
                    <a:pt x="2798107" y="4468651"/>
                  </a:lnTo>
                  <a:lnTo>
                    <a:pt x="2798288" y="4467865"/>
                  </a:lnTo>
                  <a:lnTo>
                    <a:pt x="2798530" y="4467411"/>
                  </a:lnTo>
                  <a:lnTo>
                    <a:pt x="2799014" y="4467108"/>
                  </a:lnTo>
                  <a:lnTo>
                    <a:pt x="2800587" y="4466413"/>
                  </a:lnTo>
                  <a:lnTo>
                    <a:pt x="2801192" y="4465505"/>
                  </a:lnTo>
                  <a:lnTo>
                    <a:pt x="2801767" y="4464295"/>
                  </a:lnTo>
                  <a:lnTo>
                    <a:pt x="2801676" y="4463267"/>
                  </a:lnTo>
                  <a:lnTo>
                    <a:pt x="2800254" y="4462813"/>
                  </a:lnTo>
                  <a:lnTo>
                    <a:pt x="2795263" y="4462420"/>
                  </a:lnTo>
                  <a:lnTo>
                    <a:pt x="2793872" y="4461633"/>
                  </a:lnTo>
                  <a:lnTo>
                    <a:pt x="2795112" y="4460151"/>
                  </a:lnTo>
                  <a:lnTo>
                    <a:pt x="2797653" y="4459576"/>
                  </a:lnTo>
                  <a:lnTo>
                    <a:pt x="2803552" y="4460151"/>
                  </a:lnTo>
                  <a:lnTo>
                    <a:pt x="2805488" y="4459182"/>
                  </a:lnTo>
                  <a:lnTo>
                    <a:pt x="2805700" y="4458124"/>
                  </a:lnTo>
                  <a:lnTo>
                    <a:pt x="2805457" y="4455008"/>
                  </a:lnTo>
                  <a:lnTo>
                    <a:pt x="2805457" y="4453768"/>
                  </a:lnTo>
                  <a:lnTo>
                    <a:pt x="2806002" y="4452527"/>
                  </a:lnTo>
                  <a:lnTo>
                    <a:pt x="2809299" y="4449169"/>
                  </a:lnTo>
                  <a:lnTo>
                    <a:pt x="2809723" y="4449169"/>
                  </a:lnTo>
                  <a:lnTo>
                    <a:pt x="2809511" y="4448988"/>
                  </a:lnTo>
                  <a:lnTo>
                    <a:pt x="2808483" y="4446719"/>
                  </a:lnTo>
                  <a:lnTo>
                    <a:pt x="2805851" y="4442393"/>
                  </a:lnTo>
                  <a:lnTo>
                    <a:pt x="2805488" y="4441395"/>
                  </a:lnTo>
                  <a:lnTo>
                    <a:pt x="2805155" y="4440487"/>
                  </a:lnTo>
                  <a:lnTo>
                    <a:pt x="2805276" y="4438732"/>
                  </a:lnTo>
                  <a:lnTo>
                    <a:pt x="2806788" y="4437583"/>
                  </a:lnTo>
                  <a:lnTo>
                    <a:pt x="2806788" y="4440578"/>
                  </a:lnTo>
                  <a:lnTo>
                    <a:pt x="2808241" y="4443452"/>
                  </a:lnTo>
                  <a:lnTo>
                    <a:pt x="2810086" y="4445086"/>
                  </a:lnTo>
                  <a:lnTo>
                    <a:pt x="2810994" y="4444360"/>
                  </a:lnTo>
                  <a:lnTo>
                    <a:pt x="2811296" y="4443936"/>
                  </a:lnTo>
                  <a:lnTo>
                    <a:pt x="2812688" y="4442877"/>
                  </a:lnTo>
                  <a:lnTo>
                    <a:pt x="2813081" y="4442151"/>
                  </a:lnTo>
                  <a:lnTo>
                    <a:pt x="2813081" y="4441122"/>
                  </a:lnTo>
                  <a:lnTo>
                    <a:pt x="2812869" y="4440215"/>
                  </a:lnTo>
                  <a:lnTo>
                    <a:pt x="2811841" y="4436948"/>
                  </a:lnTo>
                  <a:lnTo>
                    <a:pt x="2811145" y="4435344"/>
                  </a:lnTo>
                  <a:lnTo>
                    <a:pt x="2810691" y="4433983"/>
                  </a:lnTo>
                  <a:lnTo>
                    <a:pt x="2810963" y="4433045"/>
                  </a:lnTo>
                  <a:lnTo>
                    <a:pt x="2809330" y="4430928"/>
                  </a:lnTo>
                  <a:lnTo>
                    <a:pt x="2807364" y="4430202"/>
                  </a:lnTo>
                  <a:lnTo>
                    <a:pt x="2802705" y="4429445"/>
                  </a:lnTo>
                  <a:lnTo>
                    <a:pt x="2802130" y="4428931"/>
                  </a:lnTo>
                  <a:lnTo>
                    <a:pt x="2801192" y="4427237"/>
                  </a:lnTo>
                  <a:lnTo>
                    <a:pt x="2800618" y="4426662"/>
                  </a:lnTo>
                  <a:lnTo>
                    <a:pt x="2800163" y="4426662"/>
                  </a:lnTo>
                  <a:lnTo>
                    <a:pt x="2798954" y="4426814"/>
                  </a:lnTo>
                  <a:lnTo>
                    <a:pt x="2798560" y="4426662"/>
                  </a:lnTo>
                  <a:lnTo>
                    <a:pt x="2797773" y="4425785"/>
                  </a:lnTo>
                  <a:lnTo>
                    <a:pt x="2797199" y="4424787"/>
                  </a:lnTo>
                  <a:lnTo>
                    <a:pt x="2797047" y="4424121"/>
                  </a:lnTo>
                  <a:lnTo>
                    <a:pt x="2797138" y="4422487"/>
                  </a:lnTo>
                  <a:lnTo>
                    <a:pt x="2796897" y="4421731"/>
                  </a:lnTo>
                  <a:lnTo>
                    <a:pt x="2794113" y="4419039"/>
                  </a:lnTo>
                  <a:lnTo>
                    <a:pt x="2793751" y="4418131"/>
                  </a:lnTo>
                  <a:lnTo>
                    <a:pt x="2794295" y="4416921"/>
                  </a:lnTo>
                  <a:lnTo>
                    <a:pt x="2795505" y="4416558"/>
                  </a:lnTo>
                  <a:lnTo>
                    <a:pt x="2796745" y="4416740"/>
                  </a:lnTo>
                  <a:lnTo>
                    <a:pt x="2797290" y="4417193"/>
                  </a:lnTo>
                  <a:lnTo>
                    <a:pt x="2798409" y="4418948"/>
                  </a:lnTo>
                  <a:lnTo>
                    <a:pt x="2804005" y="4419523"/>
                  </a:lnTo>
                  <a:lnTo>
                    <a:pt x="2806274" y="4421278"/>
                  </a:lnTo>
                  <a:lnTo>
                    <a:pt x="2802251" y="4421217"/>
                  </a:lnTo>
                  <a:lnTo>
                    <a:pt x="2801435" y="4421278"/>
                  </a:lnTo>
                  <a:lnTo>
                    <a:pt x="2800557" y="4422004"/>
                  </a:lnTo>
                  <a:lnTo>
                    <a:pt x="2799498" y="4423184"/>
                  </a:lnTo>
                  <a:lnTo>
                    <a:pt x="2799166" y="4424333"/>
                  </a:lnTo>
                  <a:lnTo>
                    <a:pt x="2801555" y="4425240"/>
                  </a:lnTo>
                  <a:lnTo>
                    <a:pt x="2803219" y="4427086"/>
                  </a:lnTo>
                  <a:lnTo>
                    <a:pt x="2804187" y="4427691"/>
                  </a:lnTo>
                  <a:lnTo>
                    <a:pt x="2808876" y="4427509"/>
                  </a:lnTo>
                  <a:lnTo>
                    <a:pt x="2810025" y="4428115"/>
                  </a:lnTo>
                  <a:lnTo>
                    <a:pt x="2814593" y="4433409"/>
                  </a:lnTo>
                  <a:lnTo>
                    <a:pt x="2815894" y="4435707"/>
                  </a:lnTo>
                  <a:lnTo>
                    <a:pt x="2817497" y="4440699"/>
                  </a:lnTo>
                  <a:lnTo>
                    <a:pt x="2818799" y="4442181"/>
                  </a:lnTo>
                  <a:lnTo>
                    <a:pt x="2821400" y="4442181"/>
                  </a:lnTo>
                  <a:lnTo>
                    <a:pt x="2820462" y="4439519"/>
                  </a:lnTo>
                  <a:lnTo>
                    <a:pt x="2820583" y="4437825"/>
                  </a:lnTo>
                  <a:lnTo>
                    <a:pt x="2822156" y="4433923"/>
                  </a:lnTo>
                  <a:lnTo>
                    <a:pt x="2818375" y="4432743"/>
                  </a:lnTo>
                  <a:lnTo>
                    <a:pt x="2816893" y="4431654"/>
                  </a:lnTo>
                  <a:lnTo>
                    <a:pt x="2817256" y="4429506"/>
                  </a:lnTo>
                  <a:lnTo>
                    <a:pt x="2816893" y="4428931"/>
                  </a:lnTo>
                  <a:lnTo>
                    <a:pt x="2816650" y="4428356"/>
                  </a:lnTo>
                  <a:lnTo>
                    <a:pt x="2816802" y="4427872"/>
                  </a:lnTo>
                  <a:lnTo>
                    <a:pt x="2817619" y="4427691"/>
                  </a:lnTo>
                  <a:lnTo>
                    <a:pt x="2818557" y="4427298"/>
                  </a:lnTo>
                  <a:lnTo>
                    <a:pt x="2818557" y="4426360"/>
                  </a:lnTo>
                  <a:lnTo>
                    <a:pt x="2818284" y="4425150"/>
                  </a:lnTo>
                  <a:lnTo>
                    <a:pt x="2818284" y="4423940"/>
                  </a:lnTo>
                  <a:lnTo>
                    <a:pt x="2818617" y="4422397"/>
                  </a:lnTo>
                  <a:lnTo>
                    <a:pt x="2818073" y="4421852"/>
                  </a:lnTo>
                  <a:lnTo>
                    <a:pt x="2817256" y="4421701"/>
                  </a:lnTo>
                  <a:lnTo>
                    <a:pt x="2816681" y="4421278"/>
                  </a:lnTo>
                  <a:lnTo>
                    <a:pt x="2816469" y="4421096"/>
                  </a:lnTo>
                  <a:lnTo>
                    <a:pt x="2815107" y="4418192"/>
                  </a:lnTo>
                  <a:lnTo>
                    <a:pt x="2815229" y="4417708"/>
                  </a:lnTo>
                  <a:lnTo>
                    <a:pt x="2813777" y="4417708"/>
                  </a:lnTo>
                  <a:lnTo>
                    <a:pt x="2812446" y="4418162"/>
                  </a:lnTo>
                  <a:lnTo>
                    <a:pt x="2811447" y="4417859"/>
                  </a:lnTo>
                  <a:lnTo>
                    <a:pt x="2811024" y="4415409"/>
                  </a:lnTo>
                  <a:lnTo>
                    <a:pt x="2811932" y="4414168"/>
                  </a:lnTo>
                  <a:lnTo>
                    <a:pt x="2813989" y="4414229"/>
                  </a:lnTo>
                  <a:lnTo>
                    <a:pt x="2816288" y="4415015"/>
                  </a:lnTo>
                  <a:lnTo>
                    <a:pt x="2817891" y="4415802"/>
                  </a:lnTo>
                  <a:lnTo>
                    <a:pt x="2819252" y="4416891"/>
                  </a:lnTo>
                  <a:lnTo>
                    <a:pt x="2820311" y="4418192"/>
                  </a:lnTo>
                  <a:lnTo>
                    <a:pt x="2820795" y="4419099"/>
                  </a:lnTo>
                  <a:lnTo>
                    <a:pt x="2821218" y="4420915"/>
                  </a:lnTo>
                  <a:lnTo>
                    <a:pt x="2821703" y="4421792"/>
                  </a:lnTo>
                  <a:lnTo>
                    <a:pt x="2822489" y="4422639"/>
                  </a:lnTo>
                  <a:lnTo>
                    <a:pt x="2823094" y="4422850"/>
                  </a:lnTo>
                  <a:lnTo>
                    <a:pt x="2823790" y="4422850"/>
                  </a:lnTo>
                  <a:lnTo>
                    <a:pt x="2824698" y="4423123"/>
                  </a:lnTo>
                  <a:lnTo>
                    <a:pt x="2825181" y="4423123"/>
                  </a:lnTo>
                  <a:lnTo>
                    <a:pt x="2825575" y="4422821"/>
                  </a:lnTo>
                  <a:lnTo>
                    <a:pt x="2825938" y="4422487"/>
                  </a:lnTo>
                  <a:lnTo>
                    <a:pt x="2826421" y="4422306"/>
                  </a:lnTo>
                  <a:lnTo>
                    <a:pt x="2826906" y="4422578"/>
                  </a:lnTo>
                  <a:lnTo>
                    <a:pt x="2827602" y="4423728"/>
                  </a:lnTo>
                  <a:lnTo>
                    <a:pt x="2828055" y="4424061"/>
                  </a:lnTo>
                  <a:lnTo>
                    <a:pt x="2831111" y="4424847"/>
                  </a:lnTo>
                  <a:lnTo>
                    <a:pt x="2832442" y="4425997"/>
                  </a:lnTo>
                  <a:lnTo>
                    <a:pt x="2833017" y="4428144"/>
                  </a:lnTo>
                  <a:lnTo>
                    <a:pt x="2833682" y="4429930"/>
                  </a:lnTo>
                  <a:lnTo>
                    <a:pt x="2837826" y="4435768"/>
                  </a:lnTo>
                  <a:lnTo>
                    <a:pt x="2838946" y="4434981"/>
                  </a:lnTo>
                  <a:lnTo>
                    <a:pt x="2839884" y="4433953"/>
                  </a:lnTo>
                  <a:lnTo>
                    <a:pt x="2840671" y="4432712"/>
                  </a:lnTo>
                  <a:lnTo>
                    <a:pt x="2841245" y="4431260"/>
                  </a:lnTo>
                  <a:lnTo>
                    <a:pt x="2839551" y="4430323"/>
                  </a:lnTo>
                  <a:lnTo>
                    <a:pt x="2839460" y="4428961"/>
                  </a:lnTo>
                  <a:lnTo>
                    <a:pt x="2840580" y="4426299"/>
                  </a:lnTo>
                  <a:lnTo>
                    <a:pt x="2840580" y="4422730"/>
                  </a:lnTo>
                  <a:lnTo>
                    <a:pt x="2840912" y="4421368"/>
                  </a:lnTo>
                  <a:lnTo>
                    <a:pt x="2841941" y="4420461"/>
                  </a:lnTo>
                  <a:lnTo>
                    <a:pt x="2843635" y="4420642"/>
                  </a:lnTo>
                  <a:lnTo>
                    <a:pt x="2844633" y="4422276"/>
                  </a:lnTo>
                  <a:lnTo>
                    <a:pt x="2845239" y="4423970"/>
                  </a:lnTo>
                  <a:lnTo>
                    <a:pt x="2845722" y="4424454"/>
                  </a:lnTo>
                  <a:lnTo>
                    <a:pt x="2848021" y="4421610"/>
                  </a:lnTo>
                  <a:lnTo>
                    <a:pt x="2849110" y="4420733"/>
                  </a:lnTo>
                  <a:lnTo>
                    <a:pt x="2851168" y="4420188"/>
                  </a:lnTo>
                  <a:lnTo>
                    <a:pt x="2851651" y="4419765"/>
                  </a:lnTo>
                  <a:lnTo>
                    <a:pt x="2852226" y="4419432"/>
                  </a:lnTo>
                  <a:lnTo>
                    <a:pt x="2852982" y="4419432"/>
                  </a:lnTo>
                  <a:lnTo>
                    <a:pt x="2853708" y="4419856"/>
                  </a:lnTo>
                  <a:lnTo>
                    <a:pt x="2854344" y="4420461"/>
                  </a:lnTo>
                  <a:lnTo>
                    <a:pt x="2854767" y="4420975"/>
                  </a:lnTo>
                  <a:lnTo>
                    <a:pt x="2855101" y="4421278"/>
                  </a:lnTo>
                  <a:lnTo>
                    <a:pt x="2856159" y="4422941"/>
                  </a:lnTo>
                  <a:lnTo>
                    <a:pt x="2856915" y="4423516"/>
                  </a:lnTo>
                  <a:lnTo>
                    <a:pt x="2857459" y="4421883"/>
                  </a:lnTo>
                  <a:lnTo>
                    <a:pt x="2858065" y="4421126"/>
                  </a:lnTo>
                  <a:lnTo>
                    <a:pt x="2858761" y="4420612"/>
                  </a:lnTo>
                  <a:lnTo>
                    <a:pt x="2860606" y="4419886"/>
                  </a:lnTo>
                  <a:lnTo>
                    <a:pt x="2862542" y="4417496"/>
                  </a:lnTo>
                  <a:lnTo>
                    <a:pt x="2864055" y="4416770"/>
                  </a:lnTo>
                  <a:lnTo>
                    <a:pt x="2865325" y="4417103"/>
                  </a:lnTo>
                  <a:lnTo>
                    <a:pt x="2869560" y="4420400"/>
                  </a:lnTo>
                  <a:lnTo>
                    <a:pt x="2870983" y="4417859"/>
                  </a:lnTo>
                  <a:lnTo>
                    <a:pt x="2874189" y="4418313"/>
                  </a:lnTo>
                  <a:lnTo>
                    <a:pt x="2877819" y="4420279"/>
                  </a:lnTo>
                  <a:lnTo>
                    <a:pt x="2880542" y="4422246"/>
                  </a:lnTo>
                  <a:lnTo>
                    <a:pt x="2880451" y="4420279"/>
                  </a:lnTo>
                  <a:lnTo>
                    <a:pt x="2879846" y="4419039"/>
                  </a:lnTo>
                  <a:lnTo>
                    <a:pt x="2879029" y="4418010"/>
                  </a:lnTo>
                  <a:lnTo>
                    <a:pt x="2878545" y="4416770"/>
                  </a:lnTo>
                  <a:lnTo>
                    <a:pt x="2878333" y="4414955"/>
                  </a:lnTo>
                  <a:lnTo>
                    <a:pt x="2878696" y="4414531"/>
                  </a:lnTo>
                  <a:lnTo>
                    <a:pt x="2879634" y="4414531"/>
                  </a:lnTo>
                  <a:lnTo>
                    <a:pt x="2881237" y="4414078"/>
                  </a:lnTo>
                  <a:lnTo>
                    <a:pt x="2883264" y="4413049"/>
                  </a:lnTo>
                  <a:lnTo>
                    <a:pt x="2884020" y="4412172"/>
                  </a:lnTo>
                  <a:lnTo>
                    <a:pt x="2884686" y="4410357"/>
                  </a:lnTo>
                  <a:lnTo>
                    <a:pt x="2884837" y="4408360"/>
                  </a:lnTo>
                  <a:lnTo>
                    <a:pt x="2884746" y="4406666"/>
                  </a:lnTo>
                  <a:lnTo>
                    <a:pt x="2885170" y="4405426"/>
                  </a:lnTo>
                  <a:lnTo>
                    <a:pt x="2886774" y="4404972"/>
                  </a:lnTo>
                  <a:lnTo>
                    <a:pt x="2896272" y="4405698"/>
                  </a:lnTo>
                  <a:lnTo>
                    <a:pt x="2897755" y="4404549"/>
                  </a:lnTo>
                  <a:lnTo>
                    <a:pt x="2897089" y="4403490"/>
                  </a:lnTo>
                  <a:lnTo>
                    <a:pt x="2893761" y="4403157"/>
                  </a:lnTo>
                  <a:lnTo>
                    <a:pt x="2892612" y="4402734"/>
                  </a:lnTo>
                  <a:lnTo>
                    <a:pt x="2892037" y="4401191"/>
                  </a:lnTo>
                  <a:lnTo>
                    <a:pt x="2892854" y="4400283"/>
                  </a:lnTo>
                  <a:lnTo>
                    <a:pt x="2894306" y="4400283"/>
                  </a:lnTo>
                  <a:lnTo>
                    <a:pt x="2895698" y="4401342"/>
                  </a:lnTo>
                  <a:lnTo>
                    <a:pt x="2896484" y="4399890"/>
                  </a:lnTo>
                  <a:lnTo>
                    <a:pt x="2899842" y="4395050"/>
                  </a:lnTo>
                  <a:lnTo>
                    <a:pt x="2902111" y="4392841"/>
                  </a:lnTo>
                  <a:lnTo>
                    <a:pt x="2902927" y="4391783"/>
                  </a:lnTo>
                  <a:lnTo>
                    <a:pt x="2903926" y="4391661"/>
                  </a:lnTo>
                  <a:lnTo>
                    <a:pt x="2905711" y="4391813"/>
                  </a:lnTo>
                  <a:lnTo>
                    <a:pt x="2907405" y="4391722"/>
                  </a:lnTo>
                  <a:lnTo>
                    <a:pt x="2908131" y="4390814"/>
                  </a:lnTo>
                  <a:lnTo>
                    <a:pt x="2908676" y="4389997"/>
                  </a:lnTo>
                  <a:lnTo>
                    <a:pt x="2911973" y="4388152"/>
                  </a:lnTo>
                  <a:lnTo>
                    <a:pt x="2913818" y="4387698"/>
                  </a:lnTo>
                  <a:lnTo>
                    <a:pt x="2915875" y="4389393"/>
                  </a:lnTo>
                  <a:lnTo>
                    <a:pt x="2918507" y="4393174"/>
                  </a:lnTo>
                  <a:lnTo>
                    <a:pt x="2918749" y="4393779"/>
                  </a:lnTo>
                  <a:lnTo>
                    <a:pt x="2919173" y="4395443"/>
                  </a:lnTo>
                  <a:lnTo>
                    <a:pt x="2919535" y="4395806"/>
                  </a:lnTo>
                  <a:lnTo>
                    <a:pt x="2920201" y="4395897"/>
                  </a:lnTo>
                  <a:lnTo>
                    <a:pt x="2920867" y="4396078"/>
                  </a:lnTo>
                  <a:lnTo>
                    <a:pt x="2921472" y="4396411"/>
                  </a:lnTo>
                  <a:lnTo>
                    <a:pt x="2922016" y="4396774"/>
                  </a:lnTo>
                  <a:lnTo>
                    <a:pt x="2924467" y="4399012"/>
                  </a:lnTo>
                  <a:lnTo>
                    <a:pt x="2925828" y="4399618"/>
                  </a:lnTo>
                  <a:lnTo>
                    <a:pt x="2927553" y="4399496"/>
                  </a:lnTo>
                  <a:lnTo>
                    <a:pt x="2925646" y="4401191"/>
                  </a:lnTo>
                  <a:lnTo>
                    <a:pt x="2925193" y="4403883"/>
                  </a:lnTo>
                  <a:lnTo>
                    <a:pt x="2926070" y="4406605"/>
                  </a:lnTo>
                  <a:lnTo>
                    <a:pt x="2928218" y="4408481"/>
                  </a:lnTo>
                  <a:lnTo>
                    <a:pt x="2928067" y="4406091"/>
                  </a:lnTo>
                  <a:lnTo>
                    <a:pt x="2928732" y="4405214"/>
                  </a:lnTo>
                  <a:lnTo>
                    <a:pt x="2930940" y="4404881"/>
                  </a:lnTo>
                  <a:lnTo>
                    <a:pt x="2933149" y="4403369"/>
                  </a:lnTo>
                  <a:lnTo>
                    <a:pt x="2933965" y="4403611"/>
                  </a:lnTo>
                  <a:lnTo>
                    <a:pt x="2935751" y="4404912"/>
                  </a:lnTo>
                  <a:lnTo>
                    <a:pt x="2934843" y="4402612"/>
                  </a:lnTo>
                  <a:lnTo>
                    <a:pt x="2932242" y="4398680"/>
                  </a:lnTo>
                  <a:lnTo>
                    <a:pt x="2932242" y="4396774"/>
                  </a:lnTo>
                  <a:lnTo>
                    <a:pt x="2931455" y="4396169"/>
                  </a:lnTo>
                  <a:lnTo>
                    <a:pt x="2930789" y="4395171"/>
                  </a:lnTo>
                  <a:lnTo>
                    <a:pt x="2930669" y="4393991"/>
                  </a:lnTo>
                  <a:lnTo>
                    <a:pt x="2931757" y="4391540"/>
                  </a:lnTo>
                  <a:lnTo>
                    <a:pt x="2932090" y="4389877"/>
                  </a:lnTo>
                  <a:lnTo>
                    <a:pt x="2931787" y="4388364"/>
                  </a:lnTo>
                  <a:lnTo>
                    <a:pt x="2930608" y="4387729"/>
                  </a:lnTo>
                  <a:lnTo>
                    <a:pt x="2926463" y="4387456"/>
                  </a:lnTo>
                  <a:lnTo>
                    <a:pt x="2924346" y="4387910"/>
                  </a:lnTo>
                  <a:lnTo>
                    <a:pt x="2922016" y="4389514"/>
                  </a:lnTo>
                  <a:lnTo>
                    <a:pt x="2921684" y="4389060"/>
                  </a:lnTo>
                  <a:lnTo>
                    <a:pt x="2921472" y="4388697"/>
                  </a:lnTo>
                  <a:lnTo>
                    <a:pt x="2921260" y="4387759"/>
                  </a:lnTo>
                  <a:lnTo>
                    <a:pt x="2923741" y="4385944"/>
                  </a:lnTo>
                  <a:lnTo>
                    <a:pt x="2925193" y="4385218"/>
                  </a:lnTo>
                  <a:lnTo>
                    <a:pt x="2926463" y="4384915"/>
                  </a:lnTo>
                  <a:lnTo>
                    <a:pt x="2927583" y="4384250"/>
                  </a:lnTo>
                  <a:lnTo>
                    <a:pt x="2928762" y="4382737"/>
                  </a:lnTo>
                  <a:lnTo>
                    <a:pt x="2929458" y="4381195"/>
                  </a:lnTo>
                  <a:lnTo>
                    <a:pt x="2929217" y="4380498"/>
                  </a:lnTo>
                  <a:lnTo>
                    <a:pt x="2928520" y="4379712"/>
                  </a:lnTo>
                  <a:lnTo>
                    <a:pt x="2925405" y="4374963"/>
                  </a:lnTo>
                  <a:lnTo>
                    <a:pt x="2923923" y="4374176"/>
                  </a:lnTo>
                  <a:lnTo>
                    <a:pt x="2920716" y="4373117"/>
                  </a:lnTo>
                  <a:lnTo>
                    <a:pt x="2919233" y="4372240"/>
                  </a:lnTo>
                  <a:lnTo>
                    <a:pt x="2921986" y="4372240"/>
                  </a:lnTo>
                  <a:lnTo>
                    <a:pt x="2922985" y="4371877"/>
                  </a:lnTo>
                  <a:lnTo>
                    <a:pt x="2923136" y="4371121"/>
                  </a:lnTo>
                  <a:lnTo>
                    <a:pt x="2923136" y="4370213"/>
                  </a:lnTo>
                  <a:lnTo>
                    <a:pt x="2923347" y="4369487"/>
                  </a:lnTo>
                  <a:lnTo>
                    <a:pt x="2924406" y="4367823"/>
                  </a:lnTo>
                  <a:lnTo>
                    <a:pt x="2925102" y="4367521"/>
                  </a:lnTo>
                  <a:lnTo>
                    <a:pt x="2926131" y="4368519"/>
                  </a:lnTo>
                  <a:lnTo>
                    <a:pt x="2926736" y="4368519"/>
                  </a:lnTo>
                  <a:lnTo>
                    <a:pt x="2927976" y="4366583"/>
                  </a:lnTo>
                  <a:lnTo>
                    <a:pt x="2931304" y="4368035"/>
                  </a:lnTo>
                  <a:lnTo>
                    <a:pt x="2934752" y="4371000"/>
                  </a:lnTo>
                  <a:lnTo>
                    <a:pt x="2936355" y="4373601"/>
                  </a:lnTo>
                  <a:lnTo>
                    <a:pt x="2936719" y="4375265"/>
                  </a:lnTo>
                  <a:lnTo>
                    <a:pt x="2937445" y="4376324"/>
                  </a:lnTo>
                  <a:lnTo>
                    <a:pt x="2938382" y="4376324"/>
                  </a:lnTo>
                  <a:lnTo>
                    <a:pt x="2939138" y="4374963"/>
                  </a:lnTo>
                  <a:lnTo>
                    <a:pt x="2939350" y="4372179"/>
                  </a:lnTo>
                  <a:lnTo>
                    <a:pt x="2938624" y="4370062"/>
                  </a:lnTo>
                  <a:lnTo>
                    <a:pt x="2935751" y="4366765"/>
                  </a:lnTo>
                  <a:lnTo>
                    <a:pt x="2938473" y="4367248"/>
                  </a:lnTo>
                  <a:lnTo>
                    <a:pt x="2939864" y="4369517"/>
                  </a:lnTo>
                  <a:lnTo>
                    <a:pt x="2940923" y="4372210"/>
                  </a:lnTo>
                  <a:lnTo>
                    <a:pt x="2942618" y="4374025"/>
                  </a:lnTo>
                  <a:lnTo>
                    <a:pt x="2944070" y="4373420"/>
                  </a:lnTo>
                  <a:lnTo>
                    <a:pt x="2943465" y="4370546"/>
                  </a:lnTo>
                  <a:lnTo>
                    <a:pt x="2941740" y="4367128"/>
                  </a:lnTo>
                  <a:lnTo>
                    <a:pt x="2939835" y="4364919"/>
                  </a:lnTo>
                  <a:lnTo>
                    <a:pt x="2940561" y="4363921"/>
                  </a:lnTo>
                  <a:lnTo>
                    <a:pt x="2941952" y="4365010"/>
                  </a:lnTo>
                  <a:lnTo>
                    <a:pt x="2944039" y="4368126"/>
                  </a:lnTo>
                  <a:lnTo>
                    <a:pt x="2945370" y="4369457"/>
                  </a:lnTo>
                  <a:lnTo>
                    <a:pt x="2945370" y="4367521"/>
                  </a:lnTo>
                  <a:lnTo>
                    <a:pt x="2944826" y="4364798"/>
                  </a:lnTo>
                  <a:lnTo>
                    <a:pt x="2944644" y="4363013"/>
                  </a:lnTo>
                  <a:lnTo>
                    <a:pt x="2946551" y="4364042"/>
                  </a:lnTo>
                  <a:lnTo>
                    <a:pt x="2948124" y="4366250"/>
                  </a:lnTo>
                  <a:lnTo>
                    <a:pt x="2949121" y="4368973"/>
                  </a:lnTo>
                  <a:lnTo>
                    <a:pt x="2949485" y="4371696"/>
                  </a:lnTo>
                  <a:lnTo>
                    <a:pt x="2949847" y="4372452"/>
                  </a:lnTo>
                  <a:lnTo>
                    <a:pt x="2950755" y="4371937"/>
                  </a:lnTo>
                  <a:lnTo>
                    <a:pt x="2951693" y="4370727"/>
                  </a:lnTo>
                  <a:lnTo>
                    <a:pt x="2952237" y="4369487"/>
                  </a:lnTo>
                  <a:lnTo>
                    <a:pt x="2951935" y="4368852"/>
                  </a:lnTo>
                  <a:lnTo>
                    <a:pt x="2950181" y="4365796"/>
                  </a:lnTo>
                  <a:lnTo>
                    <a:pt x="2950181" y="4364950"/>
                  </a:lnTo>
                  <a:lnTo>
                    <a:pt x="2952268" y="4363921"/>
                  </a:lnTo>
                  <a:lnTo>
                    <a:pt x="2956110" y="4360926"/>
                  </a:lnTo>
                  <a:lnTo>
                    <a:pt x="2958772" y="4360321"/>
                  </a:lnTo>
                  <a:lnTo>
                    <a:pt x="2959468" y="4359807"/>
                  </a:lnTo>
                  <a:lnTo>
                    <a:pt x="2960043" y="4358718"/>
                  </a:lnTo>
                  <a:lnTo>
                    <a:pt x="2960950" y="4357750"/>
                  </a:lnTo>
                  <a:lnTo>
                    <a:pt x="2962644" y="4357629"/>
                  </a:lnTo>
                  <a:lnTo>
                    <a:pt x="2963673" y="4358294"/>
                  </a:lnTo>
                  <a:lnTo>
                    <a:pt x="2965155" y="4360986"/>
                  </a:lnTo>
                  <a:lnTo>
                    <a:pt x="2966063" y="4362227"/>
                  </a:lnTo>
                  <a:lnTo>
                    <a:pt x="2968241" y="4363709"/>
                  </a:lnTo>
                  <a:lnTo>
                    <a:pt x="2968724" y="4362711"/>
                  </a:lnTo>
                  <a:lnTo>
                    <a:pt x="2967968" y="4354391"/>
                  </a:lnTo>
                  <a:lnTo>
                    <a:pt x="2967242" y="4351790"/>
                  </a:lnTo>
                  <a:lnTo>
                    <a:pt x="2965608" y="4350398"/>
                  </a:lnTo>
                  <a:lnTo>
                    <a:pt x="2962644" y="4350338"/>
                  </a:lnTo>
                  <a:lnTo>
                    <a:pt x="2963370" y="4348734"/>
                  </a:lnTo>
                  <a:lnTo>
                    <a:pt x="2963854" y="4348130"/>
                  </a:lnTo>
                  <a:lnTo>
                    <a:pt x="2964671" y="4347585"/>
                  </a:lnTo>
                  <a:lnTo>
                    <a:pt x="2964338" y="4345740"/>
                  </a:lnTo>
                  <a:lnTo>
                    <a:pt x="2965578" y="4344651"/>
                  </a:lnTo>
                  <a:lnTo>
                    <a:pt x="2968755" y="4343138"/>
                  </a:lnTo>
                  <a:lnTo>
                    <a:pt x="2970600" y="4339962"/>
                  </a:lnTo>
                  <a:lnTo>
                    <a:pt x="2971780" y="4339115"/>
                  </a:lnTo>
                  <a:lnTo>
                    <a:pt x="2973595" y="4340204"/>
                  </a:lnTo>
                  <a:lnTo>
                    <a:pt x="2970963" y="4342563"/>
                  </a:lnTo>
                  <a:lnTo>
                    <a:pt x="2972748" y="4344983"/>
                  </a:lnTo>
                  <a:lnTo>
                    <a:pt x="2976590" y="4346829"/>
                  </a:lnTo>
                  <a:lnTo>
                    <a:pt x="2980159" y="4347585"/>
                  </a:lnTo>
                  <a:lnTo>
                    <a:pt x="2981763" y="4348220"/>
                  </a:lnTo>
                  <a:lnTo>
                    <a:pt x="2983397" y="4349551"/>
                  </a:lnTo>
                  <a:lnTo>
                    <a:pt x="2985030" y="4350580"/>
                  </a:lnTo>
                  <a:lnTo>
                    <a:pt x="2986664" y="4350308"/>
                  </a:lnTo>
                  <a:lnTo>
                    <a:pt x="2987451" y="4348795"/>
                  </a:lnTo>
                  <a:lnTo>
                    <a:pt x="2986422" y="4347252"/>
                  </a:lnTo>
                  <a:lnTo>
                    <a:pt x="2983215" y="4344802"/>
                  </a:lnTo>
                  <a:lnTo>
                    <a:pt x="2979524" y="4340173"/>
                  </a:lnTo>
                  <a:lnTo>
                    <a:pt x="2960012" y="4329858"/>
                  </a:lnTo>
                  <a:lnTo>
                    <a:pt x="2952631" y="4324443"/>
                  </a:lnTo>
                  <a:lnTo>
                    <a:pt x="2948395" y="4320540"/>
                  </a:lnTo>
                  <a:lnTo>
                    <a:pt x="2946308" y="4319482"/>
                  </a:lnTo>
                  <a:lnTo>
                    <a:pt x="2943465" y="4319482"/>
                  </a:lnTo>
                  <a:lnTo>
                    <a:pt x="2940984" y="4319966"/>
                  </a:lnTo>
                  <a:lnTo>
                    <a:pt x="2938503" y="4319875"/>
                  </a:lnTo>
                  <a:lnTo>
                    <a:pt x="2932362" y="4315337"/>
                  </a:lnTo>
                  <a:lnTo>
                    <a:pt x="2929761" y="4312524"/>
                  </a:lnTo>
                  <a:lnTo>
                    <a:pt x="2926948" y="4310315"/>
                  </a:lnTo>
                  <a:lnTo>
                    <a:pt x="2922924" y="4309408"/>
                  </a:lnTo>
                  <a:lnTo>
                    <a:pt x="2913697" y="4309257"/>
                  </a:lnTo>
                  <a:lnTo>
                    <a:pt x="2910279" y="4307956"/>
                  </a:lnTo>
                  <a:lnTo>
                    <a:pt x="2912668" y="4304810"/>
                  </a:lnTo>
                  <a:lnTo>
                    <a:pt x="2911035" y="4303751"/>
                  </a:lnTo>
                  <a:lnTo>
                    <a:pt x="2910551" y="4301845"/>
                  </a:lnTo>
                  <a:lnTo>
                    <a:pt x="2910309" y="4299879"/>
                  </a:lnTo>
                  <a:lnTo>
                    <a:pt x="2909371" y="4298517"/>
                  </a:lnTo>
                  <a:lnTo>
                    <a:pt x="2905711" y="4296430"/>
                  </a:lnTo>
                  <a:lnTo>
                    <a:pt x="2903744" y="4295674"/>
                  </a:lnTo>
                  <a:lnTo>
                    <a:pt x="2901839" y="4295492"/>
                  </a:lnTo>
                  <a:lnTo>
                    <a:pt x="2904259" y="4292406"/>
                  </a:lnTo>
                  <a:lnTo>
                    <a:pt x="2906921" y="4285781"/>
                  </a:lnTo>
                  <a:lnTo>
                    <a:pt x="2912033" y="4281879"/>
                  </a:lnTo>
                  <a:lnTo>
                    <a:pt x="2918235" y="4280699"/>
                  </a:lnTo>
                  <a:lnTo>
                    <a:pt x="2924073" y="4282363"/>
                  </a:lnTo>
                  <a:lnTo>
                    <a:pt x="2926161" y="4284117"/>
                  </a:lnTo>
                  <a:lnTo>
                    <a:pt x="2927674" y="4286296"/>
                  </a:lnTo>
                  <a:lnTo>
                    <a:pt x="2930396" y="4291469"/>
                  </a:lnTo>
                  <a:lnTo>
                    <a:pt x="2932877" y="4292497"/>
                  </a:lnTo>
                  <a:lnTo>
                    <a:pt x="2948274" y="4289835"/>
                  </a:lnTo>
                  <a:lnTo>
                    <a:pt x="2951390" y="4287475"/>
                  </a:lnTo>
                  <a:lnTo>
                    <a:pt x="2957229" y="4280850"/>
                  </a:lnTo>
                  <a:lnTo>
                    <a:pt x="2926161" y="4235988"/>
                  </a:lnTo>
                  <a:lnTo>
                    <a:pt x="2910975" y="4199474"/>
                  </a:lnTo>
                  <a:lnTo>
                    <a:pt x="2909916" y="4196207"/>
                  </a:lnTo>
                  <a:lnTo>
                    <a:pt x="2908857" y="4193908"/>
                  </a:lnTo>
                  <a:lnTo>
                    <a:pt x="2907374" y="4192970"/>
                  </a:lnTo>
                  <a:lnTo>
                    <a:pt x="2903623" y="4192546"/>
                  </a:lnTo>
                  <a:lnTo>
                    <a:pt x="2900054" y="4191336"/>
                  </a:lnTo>
                  <a:lnTo>
                    <a:pt x="2897392" y="4189068"/>
                  </a:lnTo>
                  <a:lnTo>
                    <a:pt x="2892370" y="4182654"/>
                  </a:lnTo>
                  <a:lnTo>
                    <a:pt x="2892339" y="4182654"/>
                  </a:lnTo>
                  <a:lnTo>
                    <a:pt x="2873584" y="4152493"/>
                  </a:lnTo>
                  <a:lnTo>
                    <a:pt x="2867352" y="4147593"/>
                  </a:lnTo>
                  <a:lnTo>
                    <a:pt x="2860515" y="4144689"/>
                  </a:lnTo>
                  <a:lnTo>
                    <a:pt x="2820795" y="4145293"/>
                  </a:lnTo>
                  <a:lnTo>
                    <a:pt x="2799225" y="4135825"/>
                  </a:lnTo>
                  <a:lnTo>
                    <a:pt x="2796867" y="4135643"/>
                  </a:lnTo>
                  <a:lnTo>
                    <a:pt x="2795051" y="4136854"/>
                  </a:lnTo>
                  <a:lnTo>
                    <a:pt x="2794507" y="4138941"/>
                  </a:lnTo>
                  <a:lnTo>
                    <a:pt x="2794598" y="4147199"/>
                  </a:lnTo>
                  <a:lnTo>
                    <a:pt x="2793931" y="4153552"/>
                  </a:lnTo>
                  <a:lnTo>
                    <a:pt x="2793085" y="4156244"/>
                  </a:lnTo>
                  <a:lnTo>
                    <a:pt x="2791603" y="4156577"/>
                  </a:lnTo>
                  <a:lnTo>
                    <a:pt x="2772937" y="4144598"/>
                  </a:lnTo>
                  <a:lnTo>
                    <a:pt x="2769519" y="4141512"/>
                  </a:lnTo>
                  <a:lnTo>
                    <a:pt x="2767825" y="4139395"/>
                  </a:lnTo>
                  <a:lnTo>
                    <a:pt x="2767431" y="4137821"/>
                  </a:lnTo>
                  <a:lnTo>
                    <a:pt x="2767976" y="4136128"/>
                  </a:lnTo>
                  <a:lnTo>
                    <a:pt x="2769337" y="4133738"/>
                  </a:lnTo>
                  <a:lnTo>
                    <a:pt x="2770003" y="4132860"/>
                  </a:lnTo>
                  <a:lnTo>
                    <a:pt x="2770699" y="4132407"/>
                  </a:lnTo>
                  <a:lnTo>
                    <a:pt x="2771183" y="4131832"/>
                  </a:lnTo>
                  <a:lnTo>
                    <a:pt x="2771334" y="4130682"/>
                  </a:lnTo>
                  <a:lnTo>
                    <a:pt x="2771001" y="4129835"/>
                  </a:lnTo>
                  <a:lnTo>
                    <a:pt x="2767613" y="4124602"/>
                  </a:lnTo>
                  <a:lnTo>
                    <a:pt x="2760535" y="4116464"/>
                  </a:lnTo>
                  <a:lnTo>
                    <a:pt x="2759839" y="4114861"/>
                  </a:lnTo>
                  <a:lnTo>
                    <a:pt x="2761230" y="4113711"/>
                  </a:lnTo>
                  <a:lnTo>
                    <a:pt x="2769156" y="4109173"/>
                  </a:lnTo>
                  <a:lnTo>
                    <a:pt x="2773270" y="4105816"/>
                  </a:lnTo>
                  <a:lnTo>
                    <a:pt x="2774662" y="4103063"/>
                  </a:lnTo>
                  <a:lnTo>
                    <a:pt x="2772846" y="4101369"/>
                  </a:lnTo>
                  <a:lnTo>
                    <a:pt x="2767371" y="4100794"/>
                  </a:lnTo>
                  <a:lnTo>
                    <a:pt x="2765768" y="4099009"/>
                  </a:lnTo>
                  <a:lnTo>
                    <a:pt x="2765768" y="4096498"/>
                  </a:lnTo>
                  <a:lnTo>
                    <a:pt x="2766555" y="4094138"/>
                  </a:lnTo>
                  <a:lnTo>
                    <a:pt x="2767038" y="4091688"/>
                  </a:lnTo>
                  <a:lnTo>
                    <a:pt x="2766312" y="4088935"/>
                  </a:lnTo>
                  <a:lnTo>
                    <a:pt x="2765647" y="4088058"/>
                  </a:lnTo>
                  <a:lnTo>
                    <a:pt x="2763408" y="4085850"/>
                  </a:lnTo>
                  <a:lnTo>
                    <a:pt x="2762924" y="4084609"/>
                  </a:lnTo>
                  <a:lnTo>
                    <a:pt x="2763560" y="4083671"/>
                  </a:lnTo>
                  <a:lnTo>
                    <a:pt x="2764618" y="4082915"/>
                  </a:lnTo>
                  <a:lnTo>
                    <a:pt x="2765283" y="4082189"/>
                  </a:lnTo>
                  <a:lnTo>
                    <a:pt x="2766645" y="4079587"/>
                  </a:lnTo>
                  <a:lnTo>
                    <a:pt x="2766645" y="4079467"/>
                  </a:lnTo>
                  <a:lnTo>
                    <a:pt x="2766585" y="4078256"/>
                  </a:lnTo>
                  <a:lnTo>
                    <a:pt x="2765314" y="4076260"/>
                  </a:lnTo>
                  <a:lnTo>
                    <a:pt x="2763227" y="4074899"/>
                  </a:lnTo>
                  <a:lnTo>
                    <a:pt x="2753274" y="4072327"/>
                  </a:lnTo>
                  <a:lnTo>
                    <a:pt x="2728135" y="4064220"/>
                  </a:lnTo>
                  <a:lnTo>
                    <a:pt x="2702996" y="4056143"/>
                  </a:lnTo>
                  <a:lnTo>
                    <a:pt x="2702875" y="4056143"/>
                  </a:lnTo>
                  <a:lnTo>
                    <a:pt x="2702875" y="4056022"/>
                  </a:lnTo>
                  <a:lnTo>
                    <a:pt x="2702996" y="4055901"/>
                  </a:lnTo>
                  <a:lnTo>
                    <a:pt x="2717154" y="4019992"/>
                  </a:lnTo>
                  <a:lnTo>
                    <a:pt x="2730615" y="3985717"/>
                  </a:lnTo>
                  <a:lnTo>
                    <a:pt x="2733036" y="3982601"/>
                  </a:lnTo>
                  <a:lnTo>
                    <a:pt x="2736514" y="3980151"/>
                  </a:lnTo>
                  <a:lnTo>
                    <a:pt x="2744077" y="3976370"/>
                  </a:lnTo>
                  <a:lnTo>
                    <a:pt x="2746376" y="3974615"/>
                  </a:lnTo>
                  <a:lnTo>
                    <a:pt x="2748313" y="3973072"/>
                  </a:lnTo>
                  <a:lnTo>
                    <a:pt x="2753243" y="3966961"/>
                  </a:lnTo>
                  <a:lnTo>
                    <a:pt x="2757449" y="3960003"/>
                  </a:lnTo>
                  <a:lnTo>
                    <a:pt x="2759354" y="3952441"/>
                  </a:lnTo>
                  <a:lnTo>
                    <a:pt x="2758205" y="3945241"/>
                  </a:lnTo>
                  <a:lnTo>
                    <a:pt x="2753274" y="3939190"/>
                  </a:lnTo>
                  <a:lnTo>
                    <a:pt x="2738330" y="3928693"/>
                  </a:lnTo>
                  <a:lnTo>
                    <a:pt x="2732733" y="3926697"/>
                  </a:lnTo>
                  <a:lnTo>
                    <a:pt x="2738995" y="3892059"/>
                  </a:lnTo>
                  <a:lnTo>
                    <a:pt x="2745288" y="3857239"/>
                  </a:lnTo>
                  <a:lnTo>
                    <a:pt x="2747557" y="3851371"/>
                  </a:lnTo>
                  <a:lnTo>
                    <a:pt x="2751187" y="3848073"/>
                  </a:lnTo>
                  <a:lnTo>
                    <a:pt x="2773210" y="3839028"/>
                  </a:lnTo>
                  <a:lnTo>
                    <a:pt x="2780077" y="3832554"/>
                  </a:lnTo>
                  <a:lnTo>
                    <a:pt x="2786399" y="3825021"/>
                  </a:lnTo>
                  <a:lnTo>
                    <a:pt x="2788426" y="3820968"/>
                  </a:lnTo>
                  <a:lnTo>
                    <a:pt x="2788305" y="3815734"/>
                  </a:lnTo>
                  <a:lnTo>
                    <a:pt x="2782829" y="3808656"/>
                  </a:lnTo>
                  <a:lnTo>
                    <a:pt x="2782013" y="3804632"/>
                  </a:lnTo>
                  <a:lnTo>
                    <a:pt x="2783163" y="3802666"/>
                  </a:lnTo>
                  <a:lnTo>
                    <a:pt x="2786823" y="3799429"/>
                  </a:lnTo>
                  <a:lnTo>
                    <a:pt x="2787821" y="3797221"/>
                  </a:lnTo>
                  <a:lnTo>
                    <a:pt x="2787276" y="3795012"/>
                  </a:lnTo>
                  <a:lnTo>
                    <a:pt x="2785885" y="3793469"/>
                  </a:lnTo>
                  <a:lnTo>
                    <a:pt x="2785007" y="3791715"/>
                  </a:lnTo>
                  <a:lnTo>
                    <a:pt x="2786127" y="3788901"/>
                  </a:lnTo>
                  <a:lnTo>
                    <a:pt x="2787851" y="3787540"/>
                  </a:lnTo>
                  <a:lnTo>
                    <a:pt x="2794809" y="3784818"/>
                  </a:lnTo>
                  <a:lnTo>
                    <a:pt x="2796261" y="3783214"/>
                  </a:lnTo>
                  <a:lnTo>
                    <a:pt x="2799105" y="3777103"/>
                  </a:lnTo>
                  <a:lnTo>
                    <a:pt x="2799559" y="3776105"/>
                  </a:lnTo>
                  <a:lnTo>
                    <a:pt x="2802644" y="3771961"/>
                  </a:lnTo>
                  <a:lnTo>
                    <a:pt x="2806849" y="3768300"/>
                  </a:lnTo>
                  <a:lnTo>
                    <a:pt x="2811417" y="3766061"/>
                  </a:lnTo>
                  <a:lnTo>
                    <a:pt x="2815683" y="3766061"/>
                  </a:lnTo>
                  <a:lnTo>
                    <a:pt x="2818223" y="3767756"/>
                  </a:lnTo>
                  <a:lnTo>
                    <a:pt x="2824789" y="3775621"/>
                  </a:lnTo>
                  <a:lnTo>
                    <a:pt x="2829326" y="3777981"/>
                  </a:lnTo>
                  <a:lnTo>
                    <a:pt x="2830748" y="3779433"/>
                  </a:lnTo>
                  <a:lnTo>
                    <a:pt x="2831867" y="3781339"/>
                  </a:lnTo>
                  <a:lnTo>
                    <a:pt x="2832563" y="3782791"/>
                  </a:lnTo>
                  <a:lnTo>
                    <a:pt x="2833501" y="3783849"/>
                  </a:lnTo>
                  <a:lnTo>
                    <a:pt x="2835437" y="3784575"/>
                  </a:lnTo>
                  <a:lnTo>
                    <a:pt x="2836677" y="3785301"/>
                  </a:lnTo>
                  <a:lnTo>
                    <a:pt x="2841366" y="3790353"/>
                  </a:lnTo>
                  <a:lnTo>
                    <a:pt x="2843302" y="3793046"/>
                  </a:lnTo>
                  <a:lnTo>
                    <a:pt x="2847295" y="3796313"/>
                  </a:lnTo>
                  <a:lnTo>
                    <a:pt x="2851319" y="3801910"/>
                  </a:lnTo>
                  <a:lnTo>
                    <a:pt x="2855312" y="3805237"/>
                  </a:lnTo>
                  <a:lnTo>
                    <a:pt x="2856007" y="3806992"/>
                  </a:lnTo>
                  <a:lnTo>
                    <a:pt x="2856492" y="3808988"/>
                  </a:lnTo>
                  <a:lnTo>
                    <a:pt x="2857188" y="3810985"/>
                  </a:lnTo>
                  <a:lnTo>
                    <a:pt x="2858458" y="3812528"/>
                  </a:lnTo>
                  <a:lnTo>
                    <a:pt x="2863479" y="3816279"/>
                  </a:lnTo>
                  <a:lnTo>
                    <a:pt x="2865658" y="3820090"/>
                  </a:lnTo>
                  <a:lnTo>
                    <a:pt x="2866595" y="3824114"/>
                  </a:lnTo>
                  <a:lnTo>
                    <a:pt x="2867261" y="3828259"/>
                  </a:lnTo>
                  <a:lnTo>
                    <a:pt x="2868593" y="3832433"/>
                  </a:lnTo>
                  <a:lnTo>
                    <a:pt x="2869258" y="3833764"/>
                  </a:lnTo>
                  <a:lnTo>
                    <a:pt x="2870286" y="3836638"/>
                  </a:lnTo>
                  <a:lnTo>
                    <a:pt x="2870983" y="3837878"/>
                  </a:lnTo>
                  <a:lnTo>
                    <a:pt x="2872162" y="3839088"/>
                  </a:lnTo>
                  <a:lnTo>
                    <a:pt x="2876125" y="3842144"/>
                  </a:lnTo>
                  <a:lnTo>
                    <a:pt x="2878091" y="3845532"/>
                  </a:lnTo>
                  <a:lnTo>
                    <a:pt x="2878817" y="3848709"/>
                  </a:lnTo>
                  <a:lnTo>
                    <a:pt x="2880028" y="3850796"/>
                  </a:lnTo>
                  <a:lnTo>
                    <a:pt x="2883537" y="3851068"/>
                  </a:lnTo>
                  <a:lnTo>
                    <a:pt x="2886410" y="3850554"/>
                  </a:lnTo>
                  <a:lnTo>
                    <a:pt x="2887348" y="3851008"/>
                  </a:lnTo>
                  <a:lnTo>
                    <a:pt x="2892128" y="3855243"/>
                  </a:lnTo>
                  <a:lnTo>
                    <a:pt x="2897967" y="3858419"/>
                  </a:lnTo>
                  <a:lnTo>
                    <a:pt x="2899207" y="3858722"/>
                  </a:lnTo>
                  <a:lnTo>
                    <a:pt x="2900508" y="3857935"/>
                  </a:lnTo>
                  <a:lnTo>
                    <a:pt x="2902806" y="3854970"/>
                  </a:lnTo>
                  <a:lnTo>
                    <a:pt x="2904168" y="3853912"/>
                  </a:lnTo>
                  <a:lnTo>
                    <a:pt x="2924709" y="3846409"/>
                  </a:lnTo>
                  <a:lnTo>
                    <a:pt x="2934873" y="3840994"/>
                  </a:lnTo>
                  <a:lnTo>
                    <a:pt x="2942678" y="3832433"/>
                  </a:lnTo>
                  <a:lnTo>
                    <a:pt x="2944282" y="3829983"/>
                  </a:lnTo>
                  <a:lnTo>
                    <a:pt x="2945038" y="3828591"/>
                  </a:lnTo>
                  <a:lnTo>
                    <a:pt x="2945038" y="3827079"/>
                  </a:lnTo>
                  <a:lnTo>
                    <a:pt x="2943888" y="3821391"/>
                  </a:lnTo>
                  <a:lnTo>
                    <a:pt x="2943011" y="3819032"/>
                  </a:lnTo>
                  <a:lnTo>
                    <a:pt x="2941649" y="3817428"/>
                  </a:lnTo>
                  <a:lnTo>
                    <a:pt x="2934691" y="3815371"/>
                  </a:lnTo>
                  <a:lnTo>
                    <a:pt x="2934541" y="3811620"/>
                  </a:lnTo>
                  <a:lnTo>
                    <a:pt x="2935327" y="3806508"/>
                  </a:lnTo>
                  <a:lnTo>
                    <a:pt x="2933512" y="3801002"/>
                  </a:lnTo>
                  <a:lnTo>
                    <a:pt x="2929276" y="3793167"/>
                  </a:lnTo>
                  <a:lnTo>
                    <a:pt x="2926524" y="3783154"/>
                  </a:lnTo>
                  <a:lnTo>
                    <a:pt x="2923801" y="3762280"/>
                  </a:lnTo>
                  <a:lnTo>
                    <a:pt x="2924225" y="3752116"/>
                  </a:lnTo>
                  <a:lnTo>
                    <a:pt x="2923741" y="3747608"/>
                  </a:lnTo>
                  <a:lnTo>
                    <a:pt x="2921230" y="3744402"/>
                  </a:lnTo>
                  <a:lnTo>
                    <a:pt x="2916087" y="3743494"/>
                  </a:lnTo>
                  <a:lnTo>
                    <a:pt x="2913606" y="3742163"/>
                  </a:lnTo>
                  <a:lnTo>
                    <a:pt x="2913123" y="3739319"/>
                  </a:lnTo>
                  <a:lnTo>
                    <a:pt x="2914726" y="3737444"/>
                  </a:lnTo>
                  <a:lnTo>
                    <a:pt x="2917236" y="3737655"/>
                  </a:lnTo>
                  <a:lnTo>
                    <a:pt x="2930366" y="3745007"/>
                  </a:lnTo>
                  <a:lnTo>
                    <a:pt x="2935055" y="3746005"/>
                  </a:lnTo>
                  <a:lnTo>
                    <a:pt x="2939502" y="3745218"/>
                  </a:lnTo>
                  <a:lnTo>
                    <a:pt x="2957865" y="3732482"/>
                  </a:lnTo>
                  <a:lnTo>
                    <a:pt x="2966879" y="3721653"/>
                  </a:lnTo>
                  <a:lnTo>
                    <a:pt x="2971084" y="3718174"/>
                  </a:lnTo>
                  <a:lnTo>
                    <a:pt x="2985121" y="3714967"/>
                  </a:lnTo>
                  <a:lnTo>
                    <a:pt x="2993773" y="3711609"/>
                  </a:lnTo>
                  <a:lnTo>
                    <a:pt x="2997675" y="3708463"/>
                  </a:lnTo>
                  <a:lnTo>
                    <a:pt x="2999248" y="3703532"/>
                  </a:lnTo>
                  <a:lnTo>
                    <a:pt x="2997403" y="3698903"/>
                  </a:lnTo>
                  <a:lnTo>
                    <a:pt x="2993985" y="3695122"/>
                  </a:lnTo>
                  <a:lnTo>
                    <a:pt x="2991564" y="3691492"/>
                  </a:lnTo>
                  <a:lnTo>
                    <a:pt x="2992775" y="3687317"/>
                  </a:lnTo>
                  <a:lnTo>
                    <a:pt x="2995194" y="3683384"/>
                  </a:lnTo>
                  <a:lnTo>
                    <a:pt x="2996132" y="3681237"/>
                  </a:lnTo>
                  <a:lnTo>
                    <a:pt x="2996949" y="3676396"/>
                  </a:lnTo>
                  <a:lnTo>
                    <a:pt x="2997948" y="3673674"/>
                  </a:lnTo>
                  <a:lnTo>
                    <a:pt x="2999188" y="3671284"/>
                  </a:lnTo>
                  <a:lnTo>
                    <a:pt x="3000549" y="3669741"/>
                  </a:lnTo>
                  <a:lnTo>
                    <a:pt x="3002939" y="3669166"/>
                  </a:lnTo>
                  <a:lnTo>
                    <a:pt x="3010926" y="3671435"/>
                  </a:lnTo>
                  <a:lnTo>
                    <a:pt x="3035006" y="3671254"/>
                  </a:lnTo>
                  <a:lnTo>
                    <a:pt x="3036730" y="3670165"/>
                  </a:lnTo>
                  <a:lnTo>
                    <a:pt x="3041419" y="3664114"/>
                  </a:lnTo>
                  <a:lnTo>
                    <a:pt x="3055909" y="3652437"/>
                  </a:lnTo>
                  <a:lnTo>
                    <a:pt x="3060144" y="3650501"/>
                  </a:lnTo>
                  <a:lnTo>
                    <a:pt x="3078144" y="3647143"/>
                  </a:lnTo>
                  <a:lnTo>
                    <a:pt x="3090003" y="3641577"/>
                  </a:lnTo>
                  <a:lnTo>
                    <a:pt x="3091697" y="3640216"/>
                  </a:lnTo>
                  <a:lnTo>
                    <a:pt x="3092362" y="3638794"/>
                  </a:lnTo>
                  <a:lnTo>
                    <a:pt x="3092241" y="3636949"/>
                  </a:lnTo>
                  <a:lnTo>
                    <a:pt x="3091545" y="3634347"/>
                  </a:lnTo>
                  <a:lnTo>
                    <a:pt x="3091273" y="3631503"/>
                  </a:lnTo>
                  <a:lnTo>
                    <a:pt x="3092181" y="3630142"/>
                  </a:lnTo>
                  <a:lnTo>
                    <a:pt x="3093693" y="3629234"/>
                  </a:lnTo>
                  <a:lnTo>
                    <a:pt x="3095145" y="3627782"/>
                  </a:lnTo>
                  <a:lnTo>
                    <a:pt x="3094813" y="3627208"/>
                  </a:lnTo>
                  <a:lnTo>
                    <a:pt x="3093996" y="3626330"/>
                  </a:lnTo>
                  <a:lnTo>
                    <a:pt x="3093512" y="3625392"/>
                  </a:lnTo>
                  <a:lnTo>
                    <a:pt x="3094298" y="3624515"/>
                  </a:lnTo>
                  <a:lnTo>
                    <a:pt x="3095539" y="3624212"/>
                  </a:lnTo>
                  <a:lnTo>
                    <a:pt x="3101498" y="3623940"/>
                  </a:lnTo>
                  <a:lnTo>
                    <a:pt x="3103343" y="3623335"/>
                  </a:lnTo>
                  <a:lnTo>
                    <a:pt x="3104705" y="3622004"/>
                  </a:lnTo>
                  <a:lnTo>
                    <a:pt x="3105521" y="3619342"/>
                  </a:lnTo>
                  <a:lnTo>
                    <a:pt x="3107881" y="3619009"/>
                  </a:lnTo>
                  <a:lnTo>
                    <a:pt x="3109484" y="3618465"/>
                  </a:lnTo>
                  <a:lnTo>
                    <a:pt x="3110362" y="3616952"/>
                  </a:lnTo>
                  <a:lnTo>
                    <a:pt x="3110815" y="3613564"/>
                  </a:lnTo>
                  <a:lnTo>
                    <a:pt x="3109878" y="3604912"/>
                  </a:lnTo>
                  <a:lnTo>
                    <a:pt x="3110210" y="3602764"/>
                  </a:lnTo>
                  <a:lnTo>
                    <a:pt x="3111995" y="3600980"/>
                  </a:lnTo>
                  <a:lnTo>
                    <a:pt x="3113871" y="3600495"/>
                  </a:lnTo>
                  <a:lnTo>
                    <a:pt x="3115263" y="3599346"/>
                  </a:lnTo>
                  <a:lnTo>
                    <a:pt x="3115474" y="3595625"/>
                  </a:lnTo>
                  <a:lnTo>
                    <a:pt x="3115898" y="3592358"/>
                  </a:lnTo>
                  <a:lnTo>
                    <a:pt x="3117713" y="3592448"/>
                  </a:lnTo>
                  <a:lnTo>
                    <a:pt x="3121676" y="3595201"/>
                  </a:lnTo>
                  <a:lnTo>
                    <a:pt x="3126365" y="3595292"/>
                  </a:lnTo>
                  <a:lnTo>
                    <a:pt x="3127242" y="3595927"/>
                  </a:lnTo>
                  <a:lnTo>
                    <a:pt x="3125306" y="3598439"/>
                  </a:lnTo>
                  <a:lnTo>
                    <a:pt x="3123672" y="3601161"/>
                  </a:lnTo>
                  <a:lnTo>
                    <a:pt x="3124913" y="3602462"/>
                  </a:lnTo>
                  <a:lnTo>
                    <a:pt x="3127454" y="3602764"/>
                  </a:lnTo>
                  <a:lnTo>
                    <a:pt x="3129844" y="3602462"/>
                  </a:lnTo>
                  <a:lnTo>
                    <a:pt x="3134290" y="3600798"/>
                  </a:lnTo>
                  <a:lnTo>
                    <a:pt x="3136953" y="3598045"/>
                  </a:lnTo>
                  <a:lnTo>
                    <a:pt x="3137316" y="3593749"/>
                  </a:lnTo>
                  <a:lnTo>
                    <a:pt x="3132597" y="3581407"/>
                  </a:lnTo>
                  <a:lnTo>
                    <a:pt x="3132264" y="3576446"/>
                  </a:lnTo>
                  <a:lnTo>
                    <a:pt x="3134563" y="3573874"/>
                  </a:lnTo>
                  <a:lnTo>
                    <a:pt x="3139948" y="3574903"/>
                  </a:lnTo>
                  <a:lnTo>
                    <a:pt x="3141793" y="3575962"/>
                  </a:lnTo>
                  <a:lnTo>
                    <a:pt x="3143638" y="3577504"/>
                  </a:lnTo>
                  <a:lnTo>
                    <a:pt x="3145242" y="3579471"/>
                  </a:lnTo>
                  <a:lnTo>
                    <a:pt x="3146301" y="3581891"/>
                  </a:lnTo>
                  <a:lnTo>
                    <a:pt x="3147994" y="3584674"/>
                  </a:lnTo>
                  <a:lnTo>
                    <a:pt x="3150475" y="3585763"/>
                  </a:lnTo>
                  <a:lnTo>
                    <a:pt x="3175040" y="3587276"/>
                  </a:lnTo>
                  <a:lnTo>
                    <a:pt x="3177097" y="3586580"/>
                  </a:lnTo>
                  <a:lnTo>
                    <a:pt x="3179365" y="3585430"/>
                  </a:lnTo>
                  <a:lnTo>
                    <a:pt x="3181513" y="3584916"/>
                  </a:lnTo>
                  <a:lnTo>
                    <a:pt x="3183329" y="3585945"/>
                  </a:lnTo>
                  <a:lnTo>
                    <a:pt x="3185748" y="3589968"/>
                  </a:lnTo>
                  <a:lnTo>
                    <a:pt x="3186989" y="3591269"/>
                  </a:lnTo>
                  <a:lnTo>
                    <a:pt x="3189015" y="3592146"/>
                  </a:lnTo>
                  <a:lnTo>
                    <a:pt x="3193462" y="3592267"/>
                  </a:lnTo>
                  <a:lnTo>
                    <a:pt x="3195399" y="3593265"/>
                  </a:lnTo>
                  <a:lnTo>
                    <a:pt x="3196427" y="3596230"/>
                  </a:lnTo>
                  <a:lnTo>
                    <a:pt x="3196336" y="3599588"/>
                  </a:lnTo>
                  <a:lnTo>
                    <a:pt x="3195519" y="3601887"/>
                  </a:lnTo>
                  <a:lnTo>
                    <a:pt x="3194128" y="3603370"/>
                  </a:lnTo>
                  <a:lnTo>
                    <a:pt x="3192162" y="3604337"/>
                  </a:lnTo>
                  <a:lnTo>
                    <a:pt x="3182330" y="3606001"/>
                  </a:lnTo>
                  <a:lnTo>
                    <a:pt x="3181846" y="3607181"/>
                  </a:lnTo>
                  <a:lnTo>
                    <a:pt x="3182965" y="3609390"/>
                  </a:lnTo>
                  <a:lnTo>
                    <a:pt x="3184569" y="3611779"/>
                  </a:lnTo>
                  <a:lnTo>
                    <a:pt x="3185507" y="3613595"/>
                  </a:lnTo>
                  <a:lnTo>
                    <a:pt x="3185507" y="3613595"/>
                  </a:lnTo>
                  <a:lnTo>
                    <a:pt x="3188653" y="3616710"/>
                  </a:lnTo>
                  <a:lnTo>
                    <a:pt x="3196216" y="3617406"/>
                  </a:lnTo>
                  <a:lnTo>
                    <a:pt x="3204505" y="3616196"/>
                  </a:lnTo>
                  <a:lnTo>
                    <a:pt x="3209858" y="3613624"/>
                  </a:lnTo>
                  <a:lnTo>
                    <a:pt x="3211583" y="3611265"/>
                  </a:lnTo>
                  <a:lnTo>
                    <a:pt x="3212854" y="3608966"/>
                  </a:lnTo>
                  <a:lnTo>
                    <a:pt x="3213398" y="3608421"/>
                  </a:lnTo>
                  <a:lnTo>
                    <a:pt x="3213398" y="400801"/>
                  </a:lnTo>
                  <a:lnTo>
                    <a:pt x="3209405" y="403100"/>
                  </a:lnTo>
                  <a:close/>
                  <a:moveTo>
                    <a:pt x="3212400" y="395053"/>
                  </a:moveTo>
                  <a:lnTo>
                    <a:pt x="3214185" y="395810"/>
                  </a:lnTo>
                  <a:lnTo>
                    <a:pt x="3214185" y="390546"/>
                  </a:lnTo>
                  <a:lnTo>
                    <a:pt x="3212400" y="395053"/>
                  </a:lnTo>
                  <a:close/>
                  <a:moveTo>
                    <a:pt x="1285717" y="718804"/>
                  </a:moveTo>
                  <a:lnTo>
                    <a:pt x="1284446" y="717715"/>
                  </a:lnTo>
                  <a:lnTo>
                    <a:pt x="1282722" y="717171"/>
                  </a:lnTo>
                  <a:lnTo>
                    <a:pt x="1281239" y="717897"/>
                  </a:lnTo>
                  <a:lnTo>
                    <a:pt x="1280876" y="720559"/>
                  </a:lnTo>
                  <a:lnTo>
                    <a:pt x="1281511" y="722495"/>
                  </a:lnTo>
                  <a:lnTo>
                    <a:pt x="1282661" y="723342"/>
                  </a:lnTo>
                  <a:lnTo>
                    <a:pt x="1283871" y="723796"/>
                  </a:lnTo>
                  <a:lnTo>
                    <a:pt x="1286503" y="726428"/>
                  </a:lnTo>
                  <a:lnTo>
                    <a:pt x="1287864" y="724824"/>
                  </a:lnTo>
                  <a:lnTo>
                    <a:pt x="1287864" y="721648"/>
                  </a:lnTo>
                  <a:lnTo>
                    <a:pt x="1285777" y="718835"/>
                  </a:lnTo>
                  <a:close/>
                  <a:moveTo>
                    <a:pt x="2097998" y="1296970"/>
                  </a:moveTo>
                  <a:lnTo>
                    <a:pt x="2097665" y="1296123"/>
                  </a:lnTo>
                  <a:lnTo>
                    <a:pt x="2097151" y="1294277"/>
                  </a:lnTo>
                  <a:lnTo>
                    <a:pt x="2096908" y="1292190"/>
                  </a:lnTo>
                  <a:lnTo>
                    <a:pt x="2095305" y="1289498"/>
                  </a:lnTo>
                  <a:lnTo>
                    <a:pt x="2091887" y="1288197"/>
                  </a:lnTo>
                  <a:lnTo>
                    <a:pt x="2087228" y="1287864"/>
                  </a:lnTo>
                  <a:lnTo>
                    <a:pt x="2082297" y="1284567"/>
                  </a:lnTo>
                  <a:lnTo>
                    <a:pt x="2078879" y="1280059"/>
                  </a:lnTo>
                  <a:lnTo>
                    <a:pt x="2078395" y="1275219"/>
                  </a:lnTo>
                  <a:lnTo>
                    <a:pt x="2077396" y="1273011"/>
                  </a:lnTo>
                  <a:lnTo>
                    <a:pt x="2074885" y="1270621"/>
                  </a:lnTo>
                  <a:lnTo>
                    <a:pt x="2070862" y="1268836"/>
                  </a:lnTo>
                  <a:lnTo>
                    <a:pt x="2067020" y="1268564"/>
                  </a:lnTo>
                  <a:lnTo>
                    <a:pt x="2060002" y="1270621"/>
                  </a:lnTo>
                  <a:lnTo>
                    <a:pt x="2056251" y="1270379"/>
                  </a:lnTo>
                  <a:lnTo>
                    <a:pt x="2053588" y="1268382"/>
                  </a:lnTo>
                  <a:lnTo>
                    <a:pt x="2051925" y="1266718"/>
                  </a:lnTo>
                  <a:lnTo>
                    <a:pt x="2050261" y="1266446"/>
                  </a:lnTo>
                  <a:lnTo>
                    <a:pt x="2042365" y="1268352"/>
                  </a:lnTo>
                  <a:lnTo>
                    <a:pt x="2037313" y="1270772"/>
                  </a:lnTo>
                  <a:lnTo>
                    <a:pt x="2035044" y="1272829"/>
                  </a:lnTo>
                  <a:lnTo>
                    <a:pt x="2034228" y="1274977"/>
                  </a:lnTo>
                  <a:lnTo>
                    <a:pt x="2035831" y="1274614"/>
                  </a:lnTo>
                  <a:lnTo>
                    <a:pt x="2037283" y="1274190"/>
                  </a:lnTo>
                  <a:lnTo>
                    <a:pt x="2038917" y="1274069"/>
                  </a:lnTo>
                  <a:lnTo>
                    <a:pt x="2043847" y="1277700"/>
                  </a:lnTo>
                  <a:lnTo>
                    <a:pt x="2045693" y="1278637"/>
                  </a:lnTo>
                  <a:lnTo>
                    <a:pt x="2054042" y="1279515"/>
                  </a:lnTo>
                  <a:lnTo>
                    <a:pt x="2057370" y="1280846"/>
                  </a:lnTo>
                  <a:lnTo>
                    <a:pt x="2058852" y="1281844"/>
                  </a:lnTo>
                  <a:lnTo>
                    <a:pt x="2063057" y="1285656"/>
                  </a:lnTo>
                  <a:lnTo>
                    <a:pt x="2065023" y="1289195"/>
                  </a:lnTo>
                  <a:lnTo>
                    <a:pt x="2066627" y="1294005"/>
                  </a:lnTo>
                  <a:lnTo>
                    <a:pt x="2071498" y="1297786"/>
                  </a:lnTo>
                  <a:lnTo>
                    <a:pt x="2085655" y="1297786"/>
                  </a:lnTo>
                  <a:lnTo>
                    <a:pt x="2095699" y="1299934"/>
                  </a:lnTo>
                  <a:lnTo>
                    <a:pt x="2097937" y="1299027"/>
                  </a:lnTo>
                  <a:lnTo>
                    <a:pt x="2098300" y="1297817"/>
                  </a:lnTo>
                  <a:lnTo>
                    <a:pt x="2097968" y="1296940"/>
                  </a:lnTo>
                  <a:close/>
                  <a:moveTo>
                    <a:pt x="1651789" y="1195325"/>
                  </a:moveTo>
                  <a:lnTo>
                    <a:pt x="1650670" y="1193994"/>
                  </a:lnTo>
                  <a:lnTo>
                    <a:pt x="1650065" y="1193540"/>
                  </a:lnTo>
                  <a:lnTo>
                    <a:pt x="1648945" y="1193238"/>
                  </a:lnTo>
                  <a:lnTo>
                    <a:pt x="1646767" y="1193056"/>
                  </a:lnTo>
                  <a:lnTo>
                    <a:pt x="1645709" y="1193177"/>
                  </a:lnTo>
                  <a:lnTo>
                    <a:pt x="1644922" y="1193419"/>
                  </a:lnTo>
                  <a:lnTo>
                    <a:pt x="1642078" y="1193510"/>
                  </a:lnTo>
                  <a:lnTo>
                    <a:pt x="1639265" y="1195022"/>
                  </a:lnTo>
                  <a:lnTo>
                    <a:pt x="1638478" y="1196414"/>
                  </a:lnTo>
                  <a:lnTo>
                    <a:pt x="1639113" y="1198169"/>
                  </a:lnTo>
                  <a:lnTo>
                    <a:pt x="1639325" y="1199530"/>
                  </a:lnTo>
                  <a:lnTo>
                    <a:pt x="1639960" y="1200589"/>
                  </a:lnTo>
                  <a:lnTo>
                    <a:pt x="1641412" y="1200710"/>
                  </a:lnTo>
                  <a:lnTo>
                    <a:pt x="1645043" y="1199772"/>
                  </a:lnTo>
                  <a:lnTo>
                    <a:pt x="1649944" y="1199590"/>
                  </a:lnTo>
                  <a:lnTo>
                    <a:pt x="1651184" y="1199016"/>
                  </a:lnTo>
                  <a:lnTo>
                    <a:pt x="1652000" y="1197352"/>
                  </a:lnTo>
                  <a:lnTo>
                    <a:pt x="1651819" y="1195385"/>
                  </a:lnTo>
                  <a:close/>
                  <a:moveTo>
                    <a:pt x="1674508" y="1170368"/>
                  </a:moveTo>
                  <a:lnTo>
                    <a:pt x="1670666" y="1170610"/>
                  </a:lnTo>
                  <a:lnTo>
                    <a:pt x="1668639" y="1171245"/>
                  </a:lnTo>
                  <a:lnTo>
                    <a:pt x="1656327" y="1170791"/>
                  </a:lnTo>
                  <a:lnTo>
                    <a:pt x="1655238" y="1170489"/>
                  </a:lnTo>
                  <a:lnTo>
                    <a:pt x="1654905" y="1169762"/>
                  </a:lnTo>
                  <a:lnTo>
                    <a:pt x="1654330" y="1168946"/>
                  </a:lnTo>
                  <a:lnTo>
                    <a:pt x="1652999" y="1168038"/>
                  </a:lnTo>
                  <a:lnTo>
                    <a:pt x="1651698" y="1166344"/>
                  </a:lnTo>
                  <a:lnTo>
                    <a:pt x="1650246" y="1164983"/>
                  </a:lnTo>
                  <a:lnTo>
                    <a:pt x="1649066" y="1164831"/>
                  </a:lnTo>
                  <a:lnTo>
                    <a:pt x="1648340" y="1165043"/>
                  </a:lnTo>
                  <a:lnTo>
                    <a:pt x="1648582" y="1163773"/>
                  </a:lnTo>
                  <a:lnTo>
                    <a:pt x="1648370" y="1163349"/>
                  </a:lnTo>
                  <a:lnTo>
                    <a:pt x="1645980" y="1163984"/>
                  </a:lnTo>
                  <a:lnTo>
                    <a:pt x="1644287" y="1165618"/>
                  </a:lnTo>
                  <a:lnTo>
                    <a:pt x="1643621" y="1168431"/>
                  </a:lnTo>
                  <a:lnTo>
                    <a:pt x="1643531" y="1171426"/>
                  </a:lnTo>
                  <a:lnTo>
                    <a:pt x="1644468" y="1173241"/>
                  </a:lnTo>
                  <a:lnTo>
                    <a:pt x="1651789" y="1176236"/>
                  </a:lnTo>
                  <a:lnTo>
                    <a:pt x="1652424" y="1176690"/>
                  </a:lnTo>
                  <a:lnTo>
                    <a:pt x="1654028" y="1177537"/>
                  </a:lnTo>
                  <a:lnTo>
                    <a:pt x="1655964" y="1177900"/>
                  </a:lnTo>
                  <a:lnTo>
                    <a:pt x="1656750" y="1177416"/>
                  </a:lnTo>
                  <a:lnTo>
                    <a:pt x="1656962" y="1176569"/>
                  </a:lnTo>
                  <a:lnTo>
                    <a:pt x="1659170" y="1176720"/>
                  </a:lnTo>
                  <a:lnTo>
                    <a:pt x="1663073" y="1175178"/>
                  </a:lnTo>
                  <a:lnTo>
                    <a:pt x="1669607" y="1174875"/>
                  </a:lnTo>
                  <a:lnTo>
                    <a:pt x="1673056" y="1173362"/>
                  </a:lnTo>
                  <a:lnTo>
                    <a:pt x="1675536" y="1171457"/>
                  </a:lnTo>
                  <a:lnTo>
                    <a:pt x="1674417" y="1170398"/>
                  </a:lnTo>
                  <a:close/>
                  <a:moveTo>
                    <a:pt x="1652515" y="1340955"/>
                  </a:moveTo>
                  <a:lnTo>
                    <a:pt x="1645890" y="1336478"/>
                  </a:lnTo>
                  <a:lnTo>
                    <a:pt x="1643681" y="1334088"/>
                  </a:lnTo>
                  <a:lnTo>
                    <a:pt x="1641171" y="1332243"/>
                  </a:lnTo>
                  <a:lnTo>
                    <a:pt x="1637631" y="1332485"/>
                  </a:lnTo>
                  <a:lnTo>
                    <a:pt x="1634909" y="1334481"/>
                  </a:lnTo>
                  <a:lnTo>
                    <a:pt x="1634909" y="1337900"/>
                  </a:lnTo>
                  <a:lnTo>
                    <a:pt x="1636209" y="1339382"/>
                  </a:lnTo>
                  <a:lnTo>
                    <a:pt x="1639174" y="1340683"/>
                  </a:lnTo>
                  <a:lnTo>
                    <a:pt x="1644650" y="1348125"/>
                  </a:lnTo>
                  <a:lnTo>
                    <a:pt x="1646858" y="1349637"/>
                  </a:lnTo>
                  <a:lnTo>
                    <a:pt x="1649944" y="1349486"/>
                  </a:lnTo>
                  <a:lnTo>
                    <a:pt x="1652696" y="1347550"/>
                  </a:lnTo>
                  <a:lnTo>
                    <a:pt x="1653846" y="1343708"/>
                  </a:lnTo>
                  <a:lnTo>
                    <a:pt x="1652485" y="1340986"/>
                  </a:lnTo>
                  <a:close/>
                  <a:moveTo>
                    <a:pt x="325536" y="3098171"/>
                  </a:moveTo>
                  <a:lnTo>
                    <a:pt x="324023" y="3091697"/>
                  </a:lnTo>
                  <a:lnTo>
                    <a:pt x="323207" y="3089639"/>
                  </a:lnTo>
                  <a:lnTo>
                    <a:pt x="321966" y="3088309"/>
                  </a:lnTo>
                  <a:lnTo>
                    <a:pt x="315946" y="3085707"/>
                  </a:lnTo>
                  <a:lnTo>
                    <a:pt x="315129" y="3084467"/>
                  </a:lnTo>
                  <a:lnTo>
                    <a:pt x="316249" y="3082319"/>
                  </a:lnTo>
                  <a:lnTo>
                    <a:pt x="314918" y="3081835"/>
                  </a:lnTo>
                  <a:lnTo>
                    <a:pt x="313919" y="3080836"/>
                  </a:lnTo>
                  <a:lnTo>
                    <a:pt x="313223" y="3079747"/>
                  </a:lnTo>
                  <a:lnTo>
                    <a:pt x="312558" y="3079051"/>
                  </a:lnTo>
                  <a:lnTo>
                    <a:pt x="311620" y="3078779"/>
                  </a:lnTo>
                  <a:lnTo>
                    <a:pt x="305933" y="3078779"/>
                  </a:lnTo>
                  <a:lnTo>
                    <a:pt x="304299" y="3077993"/>
                  </a:lnTo>
                  <a:lnTo>
                    <a:pt x="303120" y="3076057"/>
                  </a:lnTo>
                  <a:lnTo>
                    <a:pt x="301819" y="3072457"/>
                  </a:lnTo>
                  <a:lnTo>
                    <a:pt x="300125" y="3065136"/>
                  </a:lnTo>
                  <a:lnTo>
                    <a:pt x="299005" y="3061929"/>
                  </a:lnTo>
                  <a:lnTo>
                    <a:pt x="298067" y="3060901"/>
                  </a:lnTo>
                  <a:lnTo>
                    <a:pt x="297493" y="3060296"/>
                  </a:lnTo>
                  <a:lnTo>
                    <a:pt x="295012" y="3058995"/>
                  </a:lnTo>
                  <a:lnTo>
                    <a:pt x="284485" y="3061869"/>
                  </a:lnTo>
                  <a:lnTo>
                    <a:pt x="267725" y="3059963"/>
                  </a:lnTo>
                  <a:lnTo>
                    <a:pt x="265880" y="3059781"/>
                  </a:lnTo>
                  <a:lnTo>
                    <a:pt x="254929" y="3062383"/>
                  </a:lnTo>
                  <a:lnTo>
                    <a:pt x="253659" y="3063593"/>
                  </a:lnTo>
                  <a:lnTo>
                    <a:pt x="252509" y="3065075"/>
                  </a:lnTo>
                  <a:lnTo>
                    <a:pt x="250664" y="3066346"/>
                  </a:lnTo>
                  <a:lnTo>
                    <a:pt x="248334" y="3066588"/>
                  </a:lnTo>
                  <a:lnTo>
                    <a:pt x="245672" y="3065801"/>
                  </a:lnTo>
                  <a:lnTo>
                    <a:pt x="243403" y="3064017"/>
                  </a:lnTo>
                  <a:lnTo>
                    <a:pt x="242496" y="3061354"/>
                  </a:lnTo>
                  <a:lnTo>
                    <a:pt x="242496" y="3058692"/>
                  </a:lnTo>
                  <a:lnTo>
                    <a:pt x="242163" y="3056908"/>
                  </a:lnTo>
                  <a:lnTo>
                    <a:pt x="240983" y="3056060"/>
                  </a:lnTo>
                  <a:lnTo>
                    <a:pt x="238381" y="3056333"/>
                  </a:lnTo>
                  <a:lnTo>
                    <a:pt x="235750" y="3058178"/>
                  </a:lnTo>
                  <a:lnTo>
                    <a:pt x="234872" y="3058511"/>
                  </a:lnTo>
                  <a:lnTo>
                    <a:pt x="233874" y="3058178"/>
                  </a:lnTo>
                  <a:lnTo>
                    <a:pt x="231394" y="3056665"/>
                  </a:lnTo>
                  <a:lnTo>
                    <a:pt x="227854" y="3055819"/>
                  </a:lnTo>
                  <a:lnTo>
                    <a:pt x="225888" y="3054639"/>
                  </a:lnTo>
                  <a:lnTo>
                    <a:pt x="222469" y="3051886"/>
                  </a:lnTo>
                  <a:lnTo>
                    <a:pt x="215512" y="3050494"/>
                  </a:lnTo>
                  <a:lnTo>
                    <a:pt x="213787" y="3049163"/>
                  </a:lnTo>
                  <a:lnTo>
                    <a:pt x="212063" y="3047046"/>
                  </a:lnTo>
                  <a:lnTo>
                    <a:pt x="204984" y="3041933"/>
                  </a:lnTo>
                  <a:lnTo>
                    <a:pt x="200870" y="3040088"/>
                  </a:lnTo>
                  <a:lnTo>
                    <a:pt x="190705" y="3039755"/>
                  </a:lnTo>
                  <a:lnTo>
                    <a:pt x="187045" y="3037062"/>
                  </a:lnTo>
                  <a:lnTo>
                    <a:pt x="180783" y="3027140"/>
                  </a:lnTo>
                  <a:lnTo>
                    <a:pt x="177697" y="3024296"/>
                  </a:lnTo>
                  <a:lnTo>
                    <a:pt x="175186" y="3024629"/>
                  </a:lnTo>
                  <a:lnTo>
                    <a:pt x="166928" y="3030952"/>
                  </a:lnTo>
                  <a:lnTo>
                    <a:pt x="167412" y="3031738"/>
                  </a:lnTo>
                  <a:lnTo>
                    <a:pt x="167502" y="3033553"/>
                  </a:lnTo>
                  <a:lnTo>
                    <a:pt x="167291" y="3035550"/>
                  </a:lnTo>
                  <a:lnTo>
                    <a:pt x="166928" y="3036911"/>
                  </a:lnTo>
                  <a:lnTo>
                    <a:pt x="166080" y="3038000"/>
                  </a:lnTo>
                  <a:lnTo>
                    <a:pt x="165052" y="3038575"/>
                  </a:lnTo>
                  <a:lnTo>
                    <a:pt x="163872" y="3038726"/>
                  </a:lnTo>
                  <a:lnTo>
                    <a:pt x="162481" y="3038575"/>
                  </a:lnTo>
                  <a:lnTo>
                    <a:pt x="161845" y="3037970"/>
                  </a:lnTo>
                  <a:lnTo>
                    <a:pt x="161180" y="3036941"/>
                  </a:lnTo>
                  <a:lnTo>
                    <a:pt x="160303" y="3036488"/>
                  </a:lnTo>
                  <a:lnTo>
                    <a:pt x="159002" y="3037486"/>
                  </a:lnTo>
                  <a:lnTo>
                    <a:pt x="158457" y="3038545"/>
                  </a:lnTo>
                  <a:lnTo>
                    <a:pt x="158245" y="3039906"/>
                  </a:lnTo>
                  <a:lnTo>
                    <a:pt x="158245" y="3043506"/>
                  </a:lnTo>
                  <a:lnTo>
                    <a:pt x="158457" y="3043930"/>
                  </a:lnTo>
                  <a:lnTo>
                    <a:pt x="159274" y="3047378"/>
                  </a:lnTo>
                  <a:lnTo>
                    <a:pt x="159274" y="3047983"/>
                  </a:lnTo>
                  <a:lnTo>
                    <a:pt x="159637" y="3049284"/>
                  </a:lnTo>
                  <a:lnTo>
                    <a:pt x="162057" y="3069038"/>
                  </a:lnTo>
                  <a:lnTo>
                    <a:pt x="163781" y="3074272"/>
                  </a:lnTo>
                  <a:lnTo>
                    <a:pt x="164477" y="3077418"/>
                  </a:lnTo>
                  <a:lnTo>
                    <a:pt x="163146" y="3081018"/>
                  </a:lnTo>
                  <a:lnTo>
                    <a:pt x="159123" y="3082954"/>
                  </a:lnTo>
                  <a:lnTo>
                    <a:pt x="150652" y="3085102"/>
                  </a:lnTo>
                  <a:lnTo>
                    <a:pt x="150108" y="3085677"/>
                  </a:lnTo>
                  <a:lnTo>
                    <a:pt x="149745" y="3086403"/>
                  </a:lnTo>
                  <a:lnTo>
                    <a:pt x="149109" y="3087008"/>
                  </a:lnTo>
                  <a:lnTo>
                    <a:pt x="147930" y="3087310"/>
                  </a:lnTo>
                  <a:lnTo>
                    <a:pt x="147657" y="3086735"/>
                  </a:lnTo>
                  <a:lnTo>
                    <a:pt x="146659" y="3085646"/>
                  </a:lnTo>
                  <a:lnTo>
                    <a:pt x="145600" y="3084951"/>
                  </a:lnTo>
                  <a:lnTo>
                    <a:pt x="145116" y="3085586"/>
                  </a:lnTo>
                  <a:lnTo>
                    <a:pt x="143967" y="3086614"/>
                  </a:lnTo>
                  <a:lnTo>
                    <a:pt x="136888" y="3087310"/>
                  </a:lnTo>
                  <a:lnTo>
                    <a:pt x="125967" y="3085465"/>
                  </a:lnTo>
                  <a:lnTo>
                    <a:pt x="120401" y="3080715"/>
                  </a:lnTo>
                  <a:lnTo>
                    <a:pt x="116196" y="3079626"/>
                  </a:lnTo>
                  <a:lnTo>
                    <a:pt x="97410" y="3081018"/>
                  </a:lnTo>
                  <a:lnTo>
                    <a:pt x="95534" y="3080715"/>
                  </a:lnTo>
                  <a:lnTo>
                    <a:pt x="94748" y="3080080"/>
                  </a:lnTo>
                  <a:lnTo>
                    <a:pt x="93840" y="3078900"/>
                  </a:lnTo>
                  <a:lnTo>
                    <a:pt x="93084" y="3077690"/>
                  </a:lnTo>
                  <a:lnTo>
                    <a:pt x="92751" y="3076904"/>
                  </a:lnTo>
                  <a:lnTo>
                    <a:pt x="92993" y="3075452"/>
                  </a:lnTo>
                  <a:lnTo>
                    <a:pt x="93659" y="3074968"/>
                  </a:lnTo>
                  <a:lnTo>
                    <a:pt x="94566" y="3074726"/>
                  </a:lnTo>
                  <a:lnTo>
                    <a:pt x="95504" y="3074120"/>
                  </a:lnTo>
                  <a:lnTo>
                    <a:pt x="108542" y="3063018"/>
                  </a:lnTo>
                  <a:lnTo>
                    <a:pt x="117134" y="3052703"/>
                  </a:lnTo>
                  <a:lnTo>
                    <a:pt x="122186" y="3048074"/>
                  </a:lnTo>
                  <a:lnTo>
                    <a:pt x="123305" y="3046622"/>
                  </a:lnTo>
                  <a:lnTo>
                    <a:pt x="125150" y="3043022"/>
                  </a:lnTo>
                  <a:lnTo>
                    <a:pt x="125906" y="3041842"/>
                  </a:lnTo>
                  <a:lnTo>
                    <a:pt x="127540" y="3040178"/>
                  </a:lnTo>
                  <a:lnTo>
                    <a:pt x="128236" y="3039150"/>
                  </a:lnTo>
                  <a:lnTo>
                    <a:pt x="128690" y="3037849"/>
                  </a:lnTo>
                  <a:lnTo>
                    <a:pt x="128932" y="3036790"/>
                  </a:lnTo>
                  <a:lnTo>
                    <a:pt x="129385" y="3036185"/>
                  </a:lnTo>
                  <a:lnTo>
                    <a:pt x="130414" y="3035792"/>
                  </a:lnTo>
                  <a:lnTo>
                    <a:pt x="130202" y="3034612"/>
                  </a:lnTo>
                  <a:lnTo>
                    <a:pt x="131140" y="3033432"/>
                  </a:lnTo>
                  <a:lnTo>
                    <a:pt x="133560" y="3032676"/>
                  </a:lnTo>
                  <a:lnTo>
                    <a:pt x="134226" y="3031587"/>
                  </a:lnTo>
                  <a:lnTo>
                    <a:pt x="134226" y="3031466"/>
                  </a:lnTo>
                  <a:lnTo>
                    <a:pt x="133984" y="3030891"/>
                  </a:lnTo>
                  <a:lnTo>
                    <a:pt x="135042" y="3029953"/>
                  </a:lnTo>
                  <a:lnTo>
                    <a:pt x="138824" y="3027382"/>
                  </a:lnTo>
                  <a:lnTo>
                    <a:pt x="138824" y="3026959"/>
                  </a:lnTo>
                  <a:lnTo>
                    <a:pt x="132290" y="3025416"/>
                  </a:lnTo>
                  <a:lnTo>
                    <a:pt x="122035" y="3041903"/>
                  </a:lnTo>
                  <a:lnTo>
                    <a:pt x="120583" y="3042659"/>
                  </a:lnTo>
                  <a:lnTo>
                    <a:pt x="103037" y="3063260"/>
                  </a:lnTo>
                  <a:lnTo>
                    <a:pt x="87790" y="3075028"/>
                  </a:lnTo>
                  <a:lnTo>
                    <a:pt x="80166" y="3078900"/>
                  </a:lnTo>
                  <a:lnTo>
                    <a:pt x="76022" y="3079777"/>
                  </a:lnTo>
                  <a:lnTo>
                    <a:pt x="59928" y="3077811"/>
                  </a:lnTo>
                  <a:lnTo>
                    <a:pt x="53666" y="3078870"/>
                  </a:lnTo>
                  <a:lnTo>
                    <a:pt x="46799" y="3078447"/>
                  </a:lnTo>
                  <a:lnTo>
                    <a:pt x="42655" y="3079475"/>
                  </a:lnTo>
                  <a:lnTo>
                    <a:pt x="41414" y="3078991"/>
                  </a:lnTo>
                  <a:lnTo>
                    <a:pt x="38813" y="3076268"/>
                  </a:lnTo>
                  <a:lnTo>
                    <a:pt x="36907" y="3076843"/>
                  </a:lnTo>
                  <a:lnTo>
                    <a:pt x="34880" y="3078900"/>
                  </a:lnTo>
                  <a:lnTo>
                    <a:pt x="33247" y="3081714"/>
                  </a:lnTo>
                  <a:lnTo>
                    <a:pt x="32641" y="3084527"/>
                  </a:lnTo>
                  <a:lnTo>
                    <a:pt x="31250" y="3088913"/>
                  </a:lnTo>
                  <a:lnTo>
                    <a:pt x="31401" y="3091001"/>
                  </a:lnTo>
                  <a:lnTo>
                    <a:pt x="31764" y="3092544"/>
                  </a:lnTo>
                  <a:lnTo>
                    <a:pt x="34426" y="3100681"/>
                  </a:lnTo>
                  <a:lnTo>
                    <a:pt x="35092" y="3103797"/>
                  </a:lnTo>
                  <a:lnTo>
                    <a:pt x="35394" y="3107579"/>
                  </a:lnTo>
                  <a:lnTo>
                    <a:pt x="34850" y="3110211"/>
                  </a:lnTo>
                  <a:lnTo>
                    <a:pt x="32218" y="3116200"/>
                  </a:lnTo>
                  <a:lnTo>
                    <a:pt x="30705" y="3118923"/>
                  </a:lnTo>
                  <a:lnTo>
                    <a:pt x="29768" y="3120133"/>
                  </a:lnTo>
                  <a:lnTo>
                    <a:pt x="29193" y="3121313"/>
                  </a:lnTo>
                  <a:lnTo>
                    <a:pt x="29102" y="3122039"/>
                  </a:lnTo>
                  <a:lnTo>
                    <a:pt x="29314" y="3123854"/>
                  </a:lnTo>
                  <a:lnTo>
                    <a:pt x="29193" y="3124580"/>
                  </a:lnTo>
                  <a:lnTo>
                    <a:pt x="28830" y="3125367"/>
                  </a:lnTo>
                  <a:lnTo>
                    <a:pt x="28467" y="3125548"/>
                  </a:lnTo>
                  <a:lnTo>
                    <a:pt x="28073" y="3125669"/>
                  </a:lnTo>
                  <a:lnTo>
                    <a:pt x="27529" y="3126304"/>
                  </a:lnTo>
                  <a:lnTo>
                    <a:pt x="22356" y="3135592"/>
                  </a:lnTo>
                  <a:lnTo>
                    <a:pt x="12524" y="3147117"/>
                  </a:lnTo>
                  <a:lnTo>
                    <a:pt x="1694" y="3156253"/>
                  </a:lnTo>
                  <a:lnTo>
                    <a:pt x="1694" y="3157433"/>
                  </a:lnTo>
                  <a:lnTo>
                    <a:pt x="0" y="3158129"/>
                  </a:lnTo>
                  <a:lnTo>
                    <a:pt x="2148" y="3159732"/>
                  </a:lnTo>
                  <a:lnTo>
                    <a:pt x="7140" y="3161336"/>
                  </a:lnTo>
                  <a:lnTo>
                    <a:pt x="14944" y="3161759"/>
                  </a:lnTo>
                  <a:lnTo>
                    <a:pt x="35727" y="3162757"/>
                  </a:lnTo>
                  <a:lnTo>
                    <a:pt x="74721" y="3164693"/>
                  </a:lnTo>
                  <a:lnTo>
                    <a:pt x="132834" y="3167537"/>
                  </a:lnTo>
                  <a:lnTo>
                    <a:pt x="168803" y="3169291"/>
                  </a:lnTo>
                  <a:lnTo>
                    <a:pt x="212426" y="3171439"/>
                  </a:lnTo>
                  <a:lnTo>
                    <a:pt x="268391" y="3174162"/>
                  </a:lnTo>
                  <a:lnTo>
                    <a:pt x="291866" y="3175342"/>
                  </a:lnTo>
                  <a:lnTo>
                    <a:pt x="310804" y="3176249"/>
                  </a:lnTo>
                  <a:lnTo>
                    <a:pt x="317731" y="3174132"/>
                  </a:lnTo>
                  <a:lnTo>
                    <a:pt x="311681" y="3164209"/>
                  </a:lnTo>
                  <a:lnTo>
                    <a:pt x="309018" y="3158764"/>
                  </a:lnTo>
                  <a:lnTo>
                    <a:pt x="308444" y="3152563"/>
                  </a:lnTo>
                  <a:lnTo>
                    <a:pt x="309140" y="3140220"/>
                  </a:lnTo>
                  <a:lnTo>
                    <a:pt x="311348" y="3132597"/>
                  </a:lnTo>
                  <a:lnTo>
                    <a:pt x="311802" y="3129723"/>
                  </a:lnTo>
                  <a:lnTo>
                    <a:pt x="311681" y="3127968"/>
                  </a:lnTo>
                  <a:lnTo>
                    <a:pt x="311076" y="3124338"/>
                  </a:lnTo>
                  <a:lnTo>
                    <a:pt x="311076" y="3122704"/>
                  </a:lnTo>
                  <a:lnTo>
                    <a:pt x="311499" y="3121555"/>
                  </a:lnTo>
                  <a:lnTo>
                    <a:pt x="313708" y="3118560"/>
                  </a:lnTo>
                  <a:lnTo>
                    <a:pt x="313708" y="3117925"/>
                  </a:lnTo>
                  <a:lnTo>
                    <a:pt x="313496" y="3117199"/>
                  </a:lnTo>
                  <a:lnTo>
                    <a:pt x="313254" y="3116442"/>
                  </a:lnTo>
                  <a:lnTo>
                    <a:pt x="313496" y="3115686"/>
                  </a:lnTo>
                  <a:lnTo>
                    <a:pt x="313829" y="3115414"/>
                  </a:lnTo>
                  <a:lnTo>
                    <a:pt x="314645" y="3115172"/>
                  </a:lnTo>
                  <a:lnTo>
                    <a:pt x="315704" y="3114325"/>
                  </a:lnTo>
                  <a:lnTo>
                    <a:pt x="317489" y="3113447"/>
                  </a:lnTo>
                  <a:lnTo>
                    <a:pt x="318306" y="3112570"/>
                  </a:lnTo>
                  <a:lnTo>
                    <a:pt x="319697" y="3110422"/>
                  </a:lnTo>
                  <a:lnTo>
                    <a:pt x="322813" y="3108305"/>
                  </a:lnTo>
                  <a:lnTo>
                    <a:pt x="324326" y="3106792"/>
                  </a:lnTo>
                  <a:lnTo>
                    <a:pt x="325596" y="3103979"/>
                  </a:lnTo>
                  <a:lnTo>
                    <a:pt x="325869" y="3101135"/>
                  </a:lnTo>
                  <a:lnTo>
                    <a:pt x="325445" y="3098171"/>
                  </a:lnTo>
                  <a:close/>
                  <a:moveTo>
                    <a:pt x="2320376" y="820358"/>
                  </a:moveTo>
                  <a:lnTo>
                    <a:pt x="2320043" y="815367"/>
                  </a:lnTo>
                  <a:lnTo>
                    <a:pt x="2318107" y="810890"/>
                  </a:lnTo>
                  <a:lnTo>
                    <a:pt x="2316534" y="807774"/>
                  </a:lnTo>
                  <a:lnTo>
                    <a:pt x="2311966" y="804325"/>
                  </a:lnTo>
                  <a:lnTo>
                    <a:pt x="2307247" y="803236"/>
                  </a:lnTo>
                  <a:lnTo>
                    <a:pt x="2303919" y="802510"/>
                  </a:lnTo>
                  <a:lnTo>
                    <a:pt x="2298897" y="803539"/>
                  </a:lnTo>
                  <a:lnTo>
                    <a:pt x="2296054" y="808621"/>
                  </a:lnTo>
                  <a:lnTo>
                    <a:pt x="2297566" y="813885"/>
                  </a:lnTo>
                  <a:lnTo>
                    <a:pt x="2301771" y="819088"/>
                  </a:lnTo>
                  <a:lnTo>
                    <a:pt x="2311754" y="825834"/>
                  </a:lnTo>
                  <a:lnTo>
                    <a:pt x="2317895" y="828738"/>
                  </a:lnTo>
                  <a:lnTo>
                    <a:pt x="2320376" y="828587"/>
                  </a:lnTo>
                  <a:lnTo>
                    <a:pt x="2321647" y="825017"/>
                  </a:lnTo>
                  <a:lnTo>
                    <a:pt x="2320376" y="820358"/>
                  </a:lnTo>
                  <a:close/>
                  <a:moveTo>
                    <a:pt x="1469826" y="149593"/>
                  </a:moveTo>
                  <a:lnTo>
                    <a:pt x="1460328" y="150168"/>
                  </a:lnTo>
                  <a:lnTo>
                    <a:pt x="1451161" y="153345"/>
                  </a:lnTo>
                  <a:lnTo>
                    <a:pt x="1447955" y="154797"/>
                  </a:lnTo>
                  <a:lnTo>
                    <a:pt x="1446351" y="156551"/>
                  </a:lnTo>
                  <a:lnTo>
                    <a:pt x="1445686" y="159667"/>
                  </a:lnTo>
                  <a:lnTo>
                    <a:pt x="1446563" y="161422"/>
                  </a:lnTo>
                  <a:lnTo>
                    <a:pt x="1450798" y="163812"/>
                  </a:lnTo>
                  <a:lnTo>
                    <a:pt x="1486465" y="167079"/>
                  </a:lnTo>
                  <a:lnTo>
                    <a:pt x="1489097" y="164175"/>
                  </a:lnTo>
                  <a:lnTo>
                    <a:pt x="1469887" y="149684"/>
                  </a:lnTo>
                  <a:close/>
                  <a:moveTo>
                    <a:pt x="746273" y="2202516"/>
                  </a:moveTo>
                  <a:lnTo>
                    <a:pt x="745940" y="2201609"/>
                  </a:lnTo>
                  <a:lnTo>
                    <a:pt x="745486" y="2200550"/>
                  </a:lnTo>
                  <a:lnTo>
                    <a:pt x="744488" y="2198735"/>
                  </a:lnTo>
                  <a:lnTo>
                    <a:pt x="743429" y="2197132"/>
                  </a:lnTo>
                  <a:lnTo>
                    <a:pt x="742401" y="2195347"/>
                  </a:lnTo>
                  <a:lnTo>
                    <a:pt x="741342" y="2193047"/>
                  </a:lnTo>
                  <a:lnTo>
                    <a:pt x="740101" y="2190990"/>
                  </a:lnTo>
                  <a:lnTo>
                    <a:pt x="738710" y="2190990"/>
                  </a:lnTo>
                  <a:lnTo>
                    <a:pt x="738135" y="2192503"/>
                  </a:lnTo>
                  <a:lnTo>
                    <a:pt x="739920" y="2198372"/>
                  </a:lnTo>
                  <a:lnTo>
                    <a:pt x="740162" y="2200671"/>
                  </a:lnTo>
                  <a:lnTo>
                    <a:pt x="740434" y="2201306"/>
                  </a:lnTo>
                  <a:lnTo>
                    <a:pt x="741372" y="2204634"/>
                  </a:lnTo>
                  <a:lnTo>
                    <a:pt x="742159" y="2206116"/>
                  </a:lnTo>
                  <a:lnTo>
                    <a:pt x="743308" y="2206751"/>
                  </a:lnTo>
                  <a:lnTo>
                    <a:pt x="744548" y="2206842"/>
                  </a:lnTo>
                  <a:lnTo>
                    <a:pt x="745789" y="2206146"/>
                  </a:lnTo>
                  <a:lnTo>
                    <a:pt x="746484" y="2204452"/>
                  </a:lnTo>
                  <a:lnTo>
                    <a:pt x="746273" y="2202486"/>
                  </a:lnTo>
                  <a:close/>
                  <a:moveTo>
                    <a:pt x="2964792" y="338937"/>
                  </a:moveTo>
                  <a:lnTo>
                    <a:pt x="2962402" y="338302"/>
                  </a:lnTo>
                  <a:lnTo>
                    <a:pt x="2938564" y="333704"/>
                  </a:lnTo>
                  <a:lnTo>
                    <a:pt x="2933905" y="333704"/>
                  </a:lnTo>
                  <a:lnTo>
                    <a:pt x="2933905" y="335246"/>
                  </a:lnTo>
                  <a:lnTo>
                    <a:pt x="2969571" y="342204"/>
                  </a:lnTo>
                  <a:lnTo>
                    <a:pt x="2969965" y="341024"/>
                  </a:lnTo>
                  <a:lnTo>
                    <a:pt x="2964792" y="338907"/>
                  </a:lnTo>
                  <a:close/>
                  <a:moveTo>
                    <a:pt x="3188894" y="384708"/>
                  </a:moveTo>
                  <a:lnTo>
                    <a:pt x="3176007" y="383195"/>
                  </a:lnTo>
                  <a:lnTo>
                    <a:pt x="3145847" y="401618"/>
                  </a:lnTo>
                  <a:lnTo>
                    <a:pt x="3140855" y="407426"/>
                  </a:lnTo>
                  <a:lnTo>
                    <a:pt x="3139736" y="409211"/>
                  </a:lnTo>
                  <a:lnTo>
                    <a:pt x="3138738" y="411359"/>
                  </a:lnTo>
                  <a:lnTo>
                    <a:pt x="3137830" y="413930"/>
                  </a:lnTo>
                  <a:lnTo>
                    <a:pt x="3141763" y="413416"/>
                  </a:lnTo>
                  <a:lnTo>
                    <a:pt x="3143578" y="412539"/>
                  </a:lnTo>
                  <a:lnTo>
                    <a:pt x="3145545" y="411026"/>
                  </a:lnTo>
                  <a:lnTo>
                    <a:pt x="3147723" y="410119"/>
                  </a:lnTo>
                  <a:lnTo>
                    <a:pt x="3152381" y="409665"/>
                  </a:lnTo>
                  <a:lnTo>
                    <a:pt x="3158552" y="402374"/>
                  </a:lnTo>
                  <a:lnTo>
                    <a:pt x="3168475" y="402374"/>
                  </a:lnTo>
                  <a:lnTo>
                    <a:pt x="3176038" y="394388"/>
                  </a:lnTo>
                  <a:lnTo>
                    <a:pt x="3204928" y="390153"/>
                  </a:lnTo>
                  <a:lnTo>
                    <a:pt x="3208800" y="386432"/>
                  </a:lnTo>
                  <a:lnTo>
                    <a:pt x="3188834" y="384738"/>
                  </a:lnTo>
                  <a:close/>
                  <a:moveTo>
                    <a:pt x="3017278" y="302091"/>
                  </a:moveTo>
                  <a:lnTo>
                    <a:pt x="3015765" y="302363"/>
                  </a:lnTo>
                  <a:lnTo>
                    <a:pt x="3014858" y="302938"/>
                  </a:lnTo>
                  <a:lnTo>
                    <a:pt x="3013134" y="304481"/>
                  </a:lnTo>
                  <a:lnTo>
                    <a:pt x="3006963" y="309260"/>
                  </a:lnTo>
                  <a:lnTo>
                    <a:pt x="3007719" y="311015"/>
                  </a:lnTo>
                  <a:lnTo>
                    <a:pt x="3012892" y="308595"/>
                  </a:lnTo>
                  <a:lnTo>
                    <a:pt x="3016976" y="305116"/>
                  </a:lnTo>
                  <a:lnTo>
                    <a:pt x="3017702" y="303573"/>
                  </a:lnTo>
                  <a:lnTo>
                    <a:pt x="3017278" y="302121"/>
                  </a:lnTo>
                  <a:close/>
                  <a:moveTo>
                    <a:pt x="3067496" y="265154"/>
                  </a:moveTo>
                  <a:lnTo>
                    <a:pt x="3066437" y="266001"/>
                  </a:lnTo>
                  <a:lnTo>
                    <a:pt x="3065408" y="267604"/>
                  </a:lnTo>
                  <a:lnTo>
                    <a:pt x="3063139" y="269994"/>
                  </a:lnTo>
                  <a:lnTo>
                    <a:pt x="3058148" y="273352"/>
                  </a:lnTo>
                  <a:lnTo>
                    <a:pt x="3058511" y="273775"/>
                  </a:lnTo>
                  <a:lnTo>
                    <a:pt x="3065106" y="270599"/>
                  </a:lnTo>
                  <a:lnTo>
                    <a:pt x="3067949" y="267937"/>
                  </a:lnTo>
                  <a:lnTo>
                    <a:pt x="3068948" y="265335"/>
                  </a:lnTo>
                  <a:lnTo>
                    <a:pt x="3067496" y="265184"/>
                  </a:lnTo>
                  <a:close/>
                  <a:moveTo>
                    <a:pt x="3085858" y="206103"/>
                  </a:moveTo>
                  <a:lnTo>
                    <a:pt x="3080413" y="196332"/>
                  </a:lnTo>
                  <a:lnTo>
                    <a:pt x="3074604" y="188164"/>
                  </a:lnTo>
                  <a:lnTo>
                    <a:pt x="3060477" y="177969"/>
                  </a:lnTo>
                  <a:lnTo>
                    <a:pt x="3027352" y="152255"/>
                  </a:lnTo>
                  <a:lnTo>
                    <a:pt x="2984788" y="123244"/>
                  </a:lnTo>
                  <a:lnTo>
                    <a:pt x="2966002" y="120824"/>
                  </a:lnTo>
                  <a:lnTo>
                    <a:pt x="2948003" y="123244"/>
                  </a:lnTo>
                  <a:lnTo>
                    <a:pt x="2937929" y="127117"/>
                  </a:lnTo>
                  <a:lnTo>
                    <a:pt x="2913727" y="146447"/>
                  </a:lnTo>
                  <a:lnTo>
                    <a:pt x="2908191" y="154403"/>
                  </a:lnTo>
                  <a:lnTo>
                    <a:pt x="2901809" y="159092"/>
                  </a:lnTo>
                  <a:lnTo>
                    <a:pt x="2900205" y="161482"/>
                  </a:lnTo>
                  <a:lnTo>
                    <a:pt x="2897241" y="167623"/>
                  </a:lnTo>
                  <a:lnTo>
                    <a:pt x="2890434" y="177999"/>
                  </a:lnTo>
                  <a:lnTo>
                    <a:pt x="2887409" y="184019"/>
                  </a:lnTo>
                  <a:lnTo>
                    <a:pt x="2885775" y="189404"/>
                  </a:lnTo>
                  <a:lnTo>
                    <a:pt x="2884202" y="197118"/>
                  </a:lnTo>
                  <a:lnTo>
                    <a:pt x="2883294" y="204742"/>
                  </a:lnTo>
                  <a:lnTo>
                    <a:pt x="2883658" y="209884"/>
                  </a:lnTo>
                  <a:lnTo>
                    <a:pt x="2883658" y="211639"/>
                  </a:lnTo>
                  <a:lnTo>
                    <a:pt x="2883809" y="220019"/>
                  </a:lnTo>
                  <a:lnTo>
                    <a:pt x="2883929" y="221562"/>
                  </a:lnTo>
                  <a:lnTo>
                    <a:pt x="2883203" y="224919"/>
                  </a:lnTo>
                  <a:lnTo>
                    <a:pt x="2880845" y="230607"/>
                  </a:lnTo>
                  <a:lnTo>
                    <a:pt x="2878908" y="237050"/>
                  </a:lnTo>
                  <a:lnTo>
                    <a:pt x="2878696" y="238079"/>
                  </a:lnTo>
                  <a:lnTo>
                    <a:pt x="2878605" y="239289"/>
                  </a:lnTo>
                  <a:lnTo>
                    <a:pt x="2878485" y="241981"/>
                  </a:lnTo>
                  <a:lnTo>
                    <a:pt x="2879059" y="242889"/>
                  </a:lnTo>
                  <a:lnTo>
                    <a:pt x="2882538" y="244553"/>
                  </a:lnTo>
                  <a:lnTo>
                    <a:pt x="2879059" y="250724"/>
                  </a:lnTo>
                  <a:lnTo>
                    <a:pt x="2878485" y="252539"/>
                  </a:lnTo>
                  <a:lnTo>
                    <a:pt x="2878364" y="254082"/>
                  </a:lnTo>
                  <a:lnTo>
                    <a:pt x="2878121" y="254808"/>
                  </a:lnTo>
                  <a:lnTo>
                    <a:pt x="2878121" y="255504"/>
                  </a:lnTo>
                  <a:lnTo>
                    <a:pt x="2878485" y="257046"/>
                  </a:lnTo>
                  <a:lnTo>
                    <a:pt x="2879422" y="258377"/>
                  </a:lnTo>
                  <a:lnTo>
                    <a:pt x="2880360" y="258045"/>
                  </a:lnTo>
                  <a:lnTo>
                    <a:pt x="2881177" y="257167"/>
                  </a:lnTo>
                  <a:lnTo>
                    <a:pt x="2881873" y="257046"/>
                  </a:lnTo>
                  <a:lnTo>
                    <a:pt x="2883476" y="260344"/>
                  </a:lnTo>
                  <a:lnTo>
                    <a:pt x="2882568" y="262552"/>
                  </a:lnTo>
                  <a:lnTo>
                    <a:pt x="2880754" y="265275"/>
                  </a:lnTo>
                  <a:lnTo>
                    <a:pt x="2879755" y="270357"/>
                  </a:lnTo>
                  <a:lnTo>
                    <a:pt x="2879332" y="275318"/>
                  </a:lnTo>
                  <a:lnTo>
                    <a:pt x="2878726" y="279342"/>
                  </a:lnTo>
                  <a:lnTo>
                    <a:pt x="2878817" y="282821"/>
                  </a:lnTo>
                  <a:lnTo>
                    <a:pt x="2880481" y="286239"/>
                  </a:lnTo>
                  <a:lnTo>
                    <a:pt x="2881359" y="285997"/>
                  </a:lnTo>
                  <a:lnTo>
                    <a:pt x="2883870" y="282700"/>
                  </a:lnTo>
                  <a:lnTo>
                    <a:pt x="2885322" y="281822"/>
                  </a:lnTo>
                  <a:lnTo>
                    <a:pt x="2886350" y="282458"/>
                  </a:lnTo>
                  <a:lnTo>
                    <a:pt x="2888649" y="285150"/>
                  </a:lnTo>
                  <a:lnTo>
                    <a:pt x="2890161" y="285332"/>
                  </a:lnTo>
                  <a:lnTo>
                    <a:pt x="2889223" y="286874"/>
                  </a:lnTo>
                  <a:lnTo>
                    <a:pt x="2886017" y="290444"/>
                  </a:lnTo>
                  <a:lnTo>
                    <a:pt x="2889678" y="295073"/>
                  </a:lnTo>
                  <a:lnTo>
                    <a:pt x="2890857" y="295678"/>
                  </a:lnTo>
                  <a:lnTo>
                    <a:pt x="2892128" y="296827"/>
                  </a:lnTo>
                  <a:lnTo>
                    <a:pt x="2894427" y="301758"/>
                  </a:lnTo>
                  <a:lnTo>
                    <a:pt x="2895667" y="302847"/>
                  </a:lnTo>
                  <a:lnTo>
                    <a:pt x="2898511" y="304027"/>
                  </a:lnTo>
                  <a:lnTo>
                    <a:pt x="2908100" y="313344"/>
                  </a:lnTo>
                  <a:lnTo>
                    <a:pt x="2913365" y="321724"/>
                  </a:lnTo>
                  <a:lnTo>
                    <a:pt x="2916329" y="325021"/>
                  </a:lnTo>
                  <a:lnTo>
                    <a:pt x="2925767" y="324114"/>
                  </a:lnTo>
                  <a:lnTo>
                    <a:pt x="2927098" y="322148"/>
                  </a:lnTo>
                  <a:lnTo>
                    <a:pt x="2928006" y="319183"/>
                  </a:lnTo>
                  <a:lnTo>
                    <a:pt x="2929247" y="318306"/>
                  </a:lnTo>
                  <a:lnTo>
                    <a:pt x="2930699" y="318941"/>
                  </a:lnTo>
                  <a:lnTo>
                    <a:pt x="2932302" y="320453"/>
                  </a:lnTo>
                  <a:lnTo>
                    <a:pt x="2933330" y="321966"/>
                  </a:lnTo>
                  <a:lnTo>
                    <a:pt x="2934147" y="323479"/>
                  </a:lnTo>
                  <a:lnTo>
                    <a:pt x="2935206" y="324719"/>
                  </a:lnTo>
                  <a:lnTo>
                    <a:pt x="2937021" y="325354"/>
                  </a:lnTo>
                  <a:lnTo>
                    <a:pt x="2982428" y="312437"/>
                  </a:lnTo>
                  <a:lnTo>
                    <a:pt x="2988903" y="306296"/>
                  </a:lnTo>
                  <a:lnTo>
                    <a:pt x="2988116" y="304390"/>
                  </a:lnTo>
                  <a:lnTo>
                    <a:pt x="2990747" y="303210"/>
                  </a:lnTo>
                  <a:lnTo>
                    <a:pt x="2999793" y="304390"/>
                  </a:lnTo>
                  <a:lnTo>
                    <a:pt x="3011621" y="298219"/>
                  </a:lnTo>
                  <a:lnTo>
                    <a:pt x="3017792" y="290414"/>
                  </a:lnTo>
                  <a:lnTo>
                    <a:pt x="3022028" y="288115"/>
                  </a:lnTo>
                  <a:lnTo>
                    <a:pt x="3026384" y="287056"/>
                  </a:lnTo>
                  <a:lnTo>
                    <a:pt x="3029803" y="284242"/>
                  </a:lnTo>
                  <a:lnTo>
                    <a:pt x="3040541" y="264851"/>
                  </a:lnTo>
                  <a:lnTo>
                    <a:pt x="3047167" y="260162"/>
                  </a:lnTo>
                  <a:lnTo>
                    <a:pt x="3048800" y="257016"/>
                  </a:lnTo>
                  <a:lnTo>
                    <a:pt x="3049103" y="253295"/>
                  </a:lnTo>
                  <a:lnTo>
                    <a:pt x="3047469" y="252569"/>
                  </a:lnTo>
                  <a:lnTo>
                    <a:pt x="3043295" y="253477"/>
                  </a:lnTo>
                  <a:lnTo>
                    <a:pt x="3045109" y="249272"/>
                  </a:lnTo>
                  <a:lnTo>
                    <a:pt x="3053459" y="236566"/>
                  </a:lnTo>
                  <a:lnTo>
                    <a:pt x="3056332" y="233874"/>
                  </a:lnTo>
                  <a:lnTo>
                    <a:pt x="3060356" y="232210"/>
                  </a:lnTo>
                  <a:lnTo>
                    <a:pt x="3071398" y="219172"/>
                  </a:lnTo>
                  <a:lnTo>
                    <a:pt x="3076147" y="216116"/>
                  </a:lnTo>
                  <a:lnTo>
                    <a:pt x="3078991" y="215118"/>
                  </a:lnTo>
                  <a:lnTo>
                    <a:pt x="3080504" y="215965"/>
                  </a:lnTo>
                  <a:lnTo>
                    <a:pt x="3080171" y="218506"/>
                  </a:lnTo>
                  <a:lnTo>
                    <a:pt x="3077055" y="228550"/>
                  </a:lnTo>
                  <a:lnTo>
                    <a:pt x="3072033" y="239501"/>
                  </a:lnTo>
                  <a:lnTo>
                    <a:pt x="3070430" y="245823"/>
                  </a:lnTo>
                  <a:lnTo>
                    <a:pt x="3071488" y="251541"/>
                  </a:lnTo>
                  <a:lnTo>
                    <a:pt x="3070612" y="252751"/>
                  </a:lnTo>
                  <a:lnTo>
                    <a:pt x="3070157" y="253991"/>
                  </a:lnTo>
                  <a:lnTo>
                    <a:pt x="3069431" y="256986"/>
                  </a:lnTo>
                  <a:lnTo>
                    <a:pt x="3075028" y="252872"/>
                  </a:lnTo>
                  <a:lnTo>
                    <a:pt x="3082924" y="241255"/>
                  </a:lnTo>
                  <a:lnTo>
                    <a:pt x="3089398" y="227461"/>
                  </a:lnTo>
                  <a:lnTo>
                    <a:pt x="3090517" y="216903"/>
                  </a:lnTo>
                  <a:lnTo>
                    <a:pt x="3085798" y="206103"/>
                  </a:lnTo>
                  <a:close/>
                  <a:moveTo>
                    <a:pt x="3040391" y="281006"/>
                  </a:moveTo>
                  <a:lnTo>
                    <a:pt x="3039392" y="281792"/>
                  </a:lnTo>
                  <a:lnTo>
                    <a:pt x="3036760" y="284363"/>
                  </a:lnTo>
                  <a:lnTo>
                    <a:pt x="3033251" y="286723"/>
                  </a:lnTo>
                  <a:lnTo>
                    <a:pt x="3033099" y="287479"/>
                  </a:lnTo>
                  <a:lnTo>
                    <a:pt x="3034642" y="287389"/>
                  </a:lnTo>
                  <a:lnTo>
                    <a:pt x="3036155" y="286632"/>
                  </a:lnTo>
                  <a:lnTo>
                    <a:pt x="3041933" y="281520"/>
                  </a:lnTo>
                  <a:lnTo>
                    <a:pt x="3042175" y="280038"/>
                  </a:lnTo>
                  <a:lnTo>
                    <a:pt x="3040360" y="280975"/>
                  </a:lnTo>
                  <a:close/>
                </a:path>
              </a:pathLst>
            </a:custGeom>
            <a:solidFill>
              <a:srgbClr val="96A3AC"/>
            </a:solidFill>
            <a:ln w="3175" cap="rnd">
              <a:solidFill>
                <a:schemeClr val="bg1"/>
              </a:solidFill>
              <a:prstDash val="solid"/>
              <a:round/>
            </a:ln>
          </p:spPr>
          <p:txBody>
            <a:bodyPr rtlCol="0" anchor="ctr"/>
            <a:lstStyle/>
            <a:p>
              <a:endParaRPr lang="en-ID"/>
            </a:p>
          </p:txBody>
        </p:sp>
        <p:sp>
          <p:nvSpPr>
            <p:cNvPr id="22" name="Freeform: Shape 21">
              <a:extLst>
                <a:ext uri="{FF2B5EF4-FFF2-40B4-BE49-F238E27FC236}">
                  <a16:creationId xmlns:a16="http://schemas.microsoft.com/office/drawing/2014/main" id="{FEFB9686-E61A-26E1-0049-AFC0A5B67153}"/>
                </a:ext>
              </a:extLst>
            </p:cNvPr>
            <p:cNvSpPr/>
            <p:nvPr/>
          </p:nvSpPr>
          <p:spPr>
            <a:xfrm>
              <a:off x="9740214" y="4241382"/>
              <a:ext cx="739705" cy="477807"/>
            </a:xfrm>
            <a:custGeom>
              <a:avLst/>
              <a:gdLst>
                <a:gd name="connsiteX0" fmla="*/ 948352 w 951649"/>
                <a:gd name="connsiteY0" fmla="*/ 419073 h 614709"/>
                <a:gd name="connsiteX1" fmla="*/ 946598 w 951649"/>
                <a:gd name="connsiteY1" fmla="*/ 417288 h 614709"/>
                <a:gd name="connsiteX2" fmla="*/ 945509 w 951649"/>
                <a:gd name="connsiteY2" fmla="*/ 414959 h 614709"/>
                <a:gd name="connsiteX3" fmla="*/ 944026 w 951649"/>
                <a:gd name="connsiteY3" fmla="*/ 413023 h 614709"/>
                <a:gd name="connsiteX4" fmla="*/ 944026 w 951649"/>
                <a:gd name="connsiteY4" fmla="*/ 412206 h 614709"/>
                <a:gd name="connsiteX5" fmla="*/ 946658 w 951649"/>
                <a:gd name="connsiteY5" fmla="*/ 412116 h 614709"/>
                <a:gd name="connsiteX6" fmla="*/ 947535 w 951649"/>
                <a:gd name="connsiteY6" fmla="*/ 412297 h 614709"/>
                <a:gd name="connsiteX7" fmla="*/ 947535 w 951649"/>
                <a:gd name="connsiteY7" fmla="*/ 412297 h 614709"/>
                <a:gd name="connsiteX8" fmla="*/ 947535 w 951649"/>
                <a:gd name="connsiteY8" fmla="*/ 412297 h 614709"/>
                <a:gd name="connsiteX9" fmla="*/ 948080 w 951649"/>
                <a:gd name="connsiteY9" fmla="*/ 411329 h 614709"/>
                <a:gd name="connsiteX10" fmla="*/ 948292 w 951649"/>
                <a:gd name="connsiteY10" fmla="*/ 410361 h 614709"/>
                <a:gd name="connsiteX11" fmla="*/ 948141 w 951649"/>
                <a:gd name="connsiteY11" fmla="*/ 409423 h 614709"/>
                <a:gd name="connsiteX12" fmla="*/ 947566 w 951649"/>
                <a:gd name="connsiteY12" fmla="*/ 408576 h 614709"/>
                <a:gd name="connsiteX13" fmla="*/ 948897 w 951649"/>
                <a:gd name="connsiteY13" fmla="*/ 404795 h 614709"/>
                <a:gd name="connsiteX14" fmla="*/ 948352 w 951649"/>
                <a:gd name="connsiteY14" fmla="*/ 399712 h 614709"/>
                <a:gd name="connsiteX15" fmla="*/ 946689 w 951649"/>
                <a:gd name="connsiteY15" fmla="*/ 395205 h 614709"/>
                <a:gd name="connsiteX16" fmla="*/ 944450 w 951649"/>
                <a:gd name="connsiteY16" fmla="*/ 393299 h 614709"/>
                <a:gd name="connsiteX17" fmla="*/ 943240 w 951649"/>
                <a:gd name="connsiteY17" fmla="*/ 392694 h 614709"/>
                <a:gd name="connsiteX18" fmla="*/ 938551 w 951649"/>
                <a:gd name="connsiteY18" fmla="*/ 388791 h 614709"/>
                <a:gd name="connsiteX19" fmla="*/ 924575 w 951649"/>
                <a:gd name="connsiteY19" fmla="*/ 384133 h 614709"/>
                <a:gd name="connsiteX20" fmla="*/ 916830 w 951649"/>
                <a:gd name="connsiteY20" fmla="*/ 383407 h 614709"/>
                <a:gd name="connsiteX21" fmla="*/ 915832 w 951649"/>
                <a:gd name="connsiteY21" fmla="*/ 383134 h 614709"/>
                <a:gd name="connsiteX22" fmla="*/ 914743 w 951649"/>
                <a:gd name="connsiteY22" fmla="*/ 382590 h 614709"/>
                <a:gd name="connsiteX23" fmla="*/ 913654 w 951649"/>
                <a:gd name="connsiteY23" fmla="*/ 382348 h 614709"/>
                <a:gd name="connsiteX24" fmla="*/ 912716 w 951649"/>
                <a:gd name="connsiteY24" fmla="*/ 382953 h 614709"/>
                <a:gd name="connsiteX25" fmla="*/ 912111 w 951649"/>
                <a:gd name="connsiteY25" fmla="*/ 383649 h 614709"/>
                <a:gd name="connsiteX26" fmla="*/ 911355 w 951649"/>
                <a:gd name="connsiteY26" fmla="*/ 384345 h 614709"/>
                <a:gd name="connsiteX27" fmla="*/ 910477 w 951649"/>
                <a:gd name="connsiteY27" fmla="*/ 384889 h 614709"/>
                <a:gd name="connsiteX28" fmla="*/ 909600 w 951649"/>
                <a:gd name="connsiteY28" fmla="*/ 385192 h 614709"/>
                <a:gd name="connsiteX29" fmla="*/ 907482 w 951649"/>
                <a:gd name="connsiteY29" fmla="*/ 385222 h 614709"/>
                <a:gd name="connsiteX30" fmla="*/ 905849 w 951649"/>
                <a:gd name="connsiteY30" fmla="*/ 384950 h 614709"/>
                <a:gd name="connsiteX31" fmla="*/ 904215 w 951649"/>
                <a:gd name="connsiteY31" fmla="*/ 385010 h 614709"/>
                <a:gd name="connsiteX32" fmla="*/ 902037 w 951649"/>
                <a:gd name="connsiteY32" fmla="*/ 386099 h 614709"/>
                <a:gd name="connsiteX33" fmla="*/ 900525 w 951649"/>
                <a:gd name="connsiteY33" fmla="*/ 387309 h 614709"/>
                <a:gd name="connsiteX34" fmla="*/ 899647 w 951649"/>
                <a:gd name="connsiteY34" fmla="*/ 388247 h 614709"/>
                <a:gd name="connsiteX35" fmla="*/ 899284 w 951649"/>
                <a:gd name="connsiteY35" fmla="*/ 389215 h 614709"/>
                <a:gd name="connsiteX36" fmla="*/ 898770 w 951649"/>
                <a:gd name="connsiteY36" fmla="*/ 389578 h 614709"/>
                <a:gd name="connsiteX37" fmla="*/ 896350 w 951649"/>
                <a:gd name="connsiteY37" fmla="*/ 389729 h 614709"/>
                <a:gd name="connsiteX38" fmla="*/ 895503 w 951649"/>
                <a:gd name="connsiteY38" fmla="*/ 390092 h 614709"/>
                <a:gd name="connsiteX39" fmla="*/ 894051 w 951649"/>
                <a:gd name="connsiteY39" fmla="*/ 391484 h 614709"/>
                <a:gd name="connsiteX40" fmla="*/ 892326 w 951649"/>
                <a:gd name="connsiteY40" fmla="*/ 392180 h 614709"/>
                <a:gd name="connsiteX41" fmla="*/ 888243 w 951649"/>
                <a:gd name="connsiteY41" fmla="*/ 393299 h 614709"/>
                <a:gd name="connsiteX42" fmla="*/ 883070 w 951649"/>
                <a:gd name="connsiteY42" fmla="*/ 397201 h 614709"/>
                <a:gd name="connsiteX43" fmla="*/ 881678 w 951649"/>
                <a:gd name="connsiteY43" fmla="*/ 397837 h 614709"/>
                <a:gd name="connsiteX44" fmla="*/ 879470 w 951649"/>
                <a:gd name="connsiteY44" fmla="*/ 397927 h 614709"/>
                <a:gd name="connsiteX45" fmla="*/ 878593 w 951649"/>
                <a:gd name="connsiteY45" fmla="*/ 398139 h 614709"/>
                <a:gd name="connsiteX46" fmla="*/ 877867 w 951649"/>
                <a:gd name="connsiteY46" fmla="*/ 398653 h 614709"/>
                <a:gd name="connsiteX47" fmla="*/ 877261 w 951649"/>
                <a:gd name="connsiteY47" fmla="*/ 399773 h 614709"/>
                <a:gd name="connsiteX48" fmla="*/ 876929 w 951649"/>
                <a:gd name="connsiteY48" fmla="*/ 402314 h 614709"/>
                <a:gd name="connsiteX49" fmla="*/ 876475 w 951649"/>
                <a:gd name="connsiteY49" fmla="*/ 403221 h 614709"/>
                <a:gd name="connsiteX50" fmla="*/ 874176 w 951649"/>
                <a:gd name="connsiteY50" fmla="*/ 404008 h 614709"/>
                <a:gd name="connsiteX51" fmla="*/ 872179 w 951649"/>
                <a:gd name="connsiteY51" fmla="*/ 402919 h 614709"/>
                <a:gd name="connsiteX52" fmla="*/ 870546 w 951649"/>
                <a:gd name="connsiteY52" fmla="*/ 401285 h 614709"/>
                <a:gd name="connsiteX53" fmla="*/ 869245 w 951649"/>
                <a:gd name="connsiteY53" fmla="*/ 400469 h 614709"/>
                <a:gd name="connsiteX54" fmla="*/ 866945 w 951649"/>
                <a:gd name="connsiteY54" fmla="*/ 400075 h 614709"/>
                <a:gd name="connsiteX55" fmla="*/ 864284 w 951649"/>
                <a:gd name="connsiteY55" fmla="*/ 398351 h 614709"/>
                <a:gd name="connsiteX56" fmla="*/ 862741 w 951649"/>
                <a:gd name="connsiteY56" fmla="*/ 397837 h 614709"/>
                <a:gd name="connsiteX57" fmla="*/ 860079 w 951649"/>
                <a:gd name="connsiteY57" fmla="*/ 398442 h 614709"/>
                <a:gd name="connsiteX58" fmla="*/ 859958 w 951649"/>
                <a:gd name="connsiteY58" fmla="*/ 400317 h 614709"/>
                <a:gd name="connsiteX59" fmla="*/ 860109 w 951649"/>
                <a:gd name="connsiteY59" fmla="*/ 402314 h 614709"/>
                <a:gd name="connsiteX60" fmla="*/ 857235 w 951649"/>
                <a:gd name="connsiteY60" fmla="*/ 403645 h 614709"/>
                <a:gd name="connsiteX61" fmla="*/ 857054 w 951649"/>
                <a:gd name="connsiteY61" fmla="*/ 404643 h 614709"/>
                <a:gd name="connsiteX62" fmla="*/ 857356 w 951649"/>
                <a:gd name="connsiteY62" fmla="*/ 405853 h 614709"/>
                <a:gd name="connsiteX63" fmla="*/ 857810 w 951649"/>
                <a:gd name="connsiteY63" fmla="*/ 406822 h 614709"/>
                <a:gd name="connsiteX64" fmla="*/ 858506 w 951649"/>
                <a:gd name="connsiteY64" fmla="*/ 407366 h 614709"/>
                <a:gd name="connsiteX65" fmla="*/ 861379 w 951649"/>
                <a:gd name="connsiteY65" fmla="*/ 408576 h 614709"/>
                <a:gd name="connsiteX66" fmla="*/ 860230 w 951649"/>
                <a:gd name="connsiteY66" fmla="*/ 409786 h 614709"/>
                <a:gd name="connsiteX67" fmla="*/ 858959 w 951649"/>
                <a:gd name="connsiteY67" fmla="*/ 410300 h 614709"/>
                <a:gd name="connsiteX68" fmla="*/ 855813 w 951649"/>
                <a:gd name="connsiteY68" fmla="*/ 410391 h 614709"/>
                <a:gd name="connsiteX69" fmla="*/ 852062 w 951649"/>
                <a:gd name="connsiteY69" fmla="*/ 410845 h 614709"/>
                <a:gd name="connsiteX70" fmla="*/ 838660 w 951649"/>
                <a:gd name="connsiteY70" fmla="*/ 408062 h 614709"/>
                <a:gd name="connsiteX71" fmla="*/ 830341 w 951649"/>
                <a:gd name="connsiteY71" fmla="*/ 404038 h 614709"/>
                <a:gd name="connsiteX72" fmla="*/ 821387 w 951649"/>
                <a:gd name="connsiteY72" fmla="*/ 401921 h 614709"/>
                <a:gd name="connsiteX73" fmla="*/ 817878 w 951649"/>
                <a:gd name="connsiteY73" fmla="*/ 400045 h 614709"/>
                <a:gd name="connsiteX74" fmla="*/ 816154 w 951649"/>
                <a:gd name="connsiteY74" fmla="*/ 399622 h 614709"/>
                <a:gd name="connsiteX75" fmla="*/ 813824 w 951649"/>
                <a:gd name="connsiteY75" fmla="*/ 398260 h 614709"/>
                <a:gd name="connsiteX76" fmla="*/ 811858 w 951649"/>
                <a:gd name="connsiteY76" fmla="*/ 394993 h 614709"/>
                <a:gd name="connsiteX77" fmla="*/ 808893 w 951649"/>
                <a:gd name="connsiteY77" fmla="*/ 387884 h 614709"/>
                <a:gd name="connsiteX78" fmla="*/ 809438 w 951649"/>
                <a:gd name="connsiteY78" fmla="*/ 385283 h 614709"/>
                <a:gd name="connsiteX79" fmla="*/ 807441 w 951649"/>
                <a:gd name="connsiteY79" fmla="*/ 382802 h 614709"/>
                <a:gd name="connsiteX80" fmla="*/ 804507 w 951649"/>
                <a:gd name="connsiteY80" fmla="*/ 381289 h 614709"/>
                <a:gd name="connsiteX81" fmla="*/ 802238 w 951649"/>
                <a:gd name="connsiteY81" fmla="*/ 381501 h 614709"/>
                <a:gd name="connsiteX82" fmla="*/ 802026 w 951649"/>
                <a:gd name="connsiteY82" fmla="*/ 381531 h 614709"/>
                <a:gd name="connsiteX83" fmla="*/ 800665 w 951649"/>
                <a:gd name="connsiteY83" fmla="*/ 379989 h 614709"/>
                <a:gd name="connsiteX84" fmla="*/ 798003 w 951649"/>
                <a:gd name="connsiteY84" fmla="*/ 377024 h 614709"/>
                <a:gd name="connsiteX85" fmla="*/ 797307 w 951649"/>
                <a:gd name="connsiteY85" fmla="*/ 375662 h 614709"/>
                <a:gd name="connsiteX86" fmla="*/ 797246 w 951649"/>
                <a:gd name="connsiteY86" fmla="*/ 371246 h 614709"/>
                <a:gd name="connsiteX87" fmla="*/ 797125 w 951649"/>
                <a:gd name="connsiteY87" fmla="*/ 370943 h 614709"/>
                <a:gd name="connsiteX88" fmla="*/ 796853 w 951649"/>
                <a:gd name="connsiteY88" fmla="*/ 370641 h 614709"/>
                <a:gd name="connsiteX89" fmla="*/ 796490 w 951649"/>
                <a:gd name="connsiteY89" fmla="*/ 369854 h 614709"/>
                <a:gd name="connsiteX90" fmla="*/ 794796 w 951649"/>
                <a:gd name="connsiteY90" fmla="*/ 367041 h 614709"/>
                <a:gd name="connsiteX91" fmla="*/ 792466 w 951649"/>
                <a:gd name="connsiteY91" fmla="*/ 365377 h 614709"/>
                <a:gd name="connsiteX92" fmla="*/ 786870 w 951649"/>
                <a:gd name="connsiteY92" fmla="*/ 362654 h 614709"/>
                <a:gd name="connsiteX93" fmla="*/ 788141 w 951649"/>
                <a:gd name="connsiteY93" fmla="*/ 361172 h 614709"/>
                <a:gd name="connsiteX94" fmla="*/ 789774 w 951649"/>
                <a:gd name="connsiteY94" fmla="*/ 359690 h 614709"/>
                <a:gd name="connsiteX95" fmla="*/ 791438 w 951649"/>
                <a:gd name="connsiteY95" fmla="*/ 358570 h 614709"/>
                <a:gd name="connsiteX96" fmla="*/ 792769 w 951649"/>
                <a:gd name="connsiteY96" fmla="*/ 358147 h 614709"/>
                <a:gd name="connsiteX97" fmla="*/ 796067 w 951649"/>
                <a:gd name="connsiteY97" fmla="*/ 358177 h 614709"/>
                <a:gd name="connsiteX98" fmla="*/ 797519 w 951649"/>
                <a:gd name="connsiteY98" fmla="*/ 357512 h 614709"/>
                <a:gd name="connsiteX99" fmla="*/ 796883 w 951649"/>
                <a:gd name="connsiteY99" fmla="*/ 355787 h 614709"/>
                <a:gd name="connsiteX100" fmla="*/ 797065 w 951649"/>
                <a:gd name="connsiteY100" fmla="*/ 353670 h 614709"/>
                <a:gd name="connsiteX101" fmla="*/ 796188 w 951649"/>
                <a:gd name="connsiteY101" fmla="*/ 340419 h 614709"/>
                <a:gd name="connsiteX102" fmla="*/ 795341 w 951649"/>
                <a:gd name="connsiteY102" fmla="*/ 339179 h 614709"/>
                <a:gd name="connsiteX103" fmla="*/ 793586 w 951649"/>
                <a:gd name="connsiteY103" fmla="*/ 336033 h 614709"/>
                <a:gd name="connsiteX104" fmla="*/ 791983 w 951649"/>
                <a:gd name="connsiteY104" fmla="*/ 332009 h 614709"/>
                <a:gd name="connsiteX105" fmla="*/ 791740 w 951649"/>
                <a:gd name="connsiteY105" fmla="*/ 328168 h 614709"/>
                <a:gd name="connsiteX106" fmla="*/ 792164 w 951649"/>
                <a:gd name="connsiteY106" fmla="*/ 327442 h 614709"/>
                <a:gd name="connsiteX107" fmla="*/ 793495 w 951649"/>
                <a:gd name="connsiteY107" fmla="*/ 326564 h 614709"/>
                <a:gd name="connsiteX108" fmla="*/ 793798 w 951649"/>
                <a:gd name="connsiteY108" fmla="*/ 325899 h 614709"/>
                <a:gd name="connsiteX109" fmla="*/ 793586 w 951649"/>
                <a:gd name="connsiteY109" fmla="*/ 325415 h 614709"/>
                <a:gd name="connsiteX110" fmla="*/ 792709 w 951649"/>
                <a:gd name="connsiteY110" fmla="*/ 323721 h 614709"/>
                <a:gd name="connsiteX111" fmla="*/ 792406 w 951649"/>
                <a:gd name="connsiteY111" fmla="*/ 322722 h 614709"/>
                <a:gd name="connsiteX112" fmla="*/ 792557 w 951649"/>
                <a:gd name="connsiteY112" fmla="*/ 321694 h 614709"/>
                <a:gd name="connsiteX113" fmla="*/ 792951 w 951649"/>
                <a:gd name="connsiteY113" fmla="*/ 320665 h 614709"/>
                <a:gd name="connsiteX114" fmla="*/ 793163 w 951649"/>
                <a:gd name="connsiteY114" fmla="*/ 319667 h 614709"/>
                <a:gd name="connsiteX115" fmla="*/ 792769 w 951649"/>
                <a:gd name="connsiteY115" fmla="*/ 318608 h 614709"/>
                <a:gd name="connsiteX116" fmla="*/ 792164 w 951649"/>
                <a:gd name="connsiteY116" fmla="*/ 317701 h 614709"/>
                <a:gd name="connsiteX117" fmla="*/ 791922 w 951649"/>
                <a:gd name="connsiteY117" fmla="*/ 316884 h 614709"/>
                <a:gd name="connsiteX118" fmla="*/ 791740 w 951649"/>
                <a:gd name="connsiteY118" fmla="*/ 315401 h 614709"/>
                <a:gd name="connsiteX119" fmla="*/ 789260 w 951649"/>
                <a:gd name="connsiteY119" fmla="*/ 308746 h 614709"/>
                <a:gd name="connsiteX120" fmla="*/ 788927 w 951649"/>
                <a:gd name="connsiteY120" fmla="*/ 306871 h 614709"/>
                <a:gd name="connsiteX121" fmla="*/ 789109 w 951649"/>
                <a:gd name="connsiteY121" fmla="*/ 305539 h 614709"/>
                <a:gd name="connsiteX122" fmla="*/ 790349 w 951649"/>
                <a:gd name="connsiteY122" fmla="*/ 300881 h 614709"/>
                <a:gd name="connsiteX123" fmla="*/ 790319 w 951649"/>
                <a:gd name="connsiteY123" fmla="*/ 300185 h 614709"/>
                <a:gd name="connsiteX124" fmla="*/ 789714 w 951649"/>
                <a:gd name="connsiteY124" fmla="*/ 299792 h 614709"/>
                <a:gd name="connsiteX125" fmla="*/ 789684 w 951649"/>
                <a:gd name="connsiteY125" fmla="*/ 299066 h 614709"/>
                <a:gd name="connsiteX126" fmla="*/ 789925 w 951649"/>
                <a:gd name="connsiteY126" fmla="*/ 298400 h 614709"/>
                <a:gd name="connsiteX127" fmla="*/ 790742 w 951649"/>
                <a:gd name="connsiteY127" fmla="*/ 297916 h 614709"/>
                <a:gd name="connsiteX128" fmla="*/ 791468 w 951649"/>
                <a:gd name="connsiteY128" fmla="*/ 296041 h 614709"/>
                <a:gd name="connsiteX129" fmla="*/ 791740 w 951649"/>
                <a:gd name="connsiteY129" fmla="*/ 295315 h 614709"/>
                <a:gd name="connsiteX130" fmla="*/ 793404 w 951649"/>
                <a:gd name="connsiteY130" fmla="*/ 290807 h 614709"/>
                <a:gd name="connsiteX131" fmla="*/ 794009 w 951649"/>
                <a:gd name="connsiteY131" fmla="*/ 287540 h 614709"/>
                <a:gd name="connsiteX132" fmla="*/ 795159 w 951649"/>
                <a:gd name="connsiteY132" fmla="*/ 284424 h 614709"/>
                <a:gd name="connsiteX133" fmla="*/ 794856 w 951649"/>
                <a:gd name="connsiteY133" fmla="*/ 283274 h 614709"/>
                <a:gd name="connsiteX134" fmla="*/ 794252 w 951649"/>
                <a:gd name="connsiteY134" fmla="*/ 282367 h 614709"/>
                <a:gd name="connsiteX135" fmla="*/ 793616 w 951649"/>
                <a:gd name="connsiteY135" fmla="*/ 281581 h 614709"/>
                <a:gd name="connsiteX136" fmla="*/ 791771 w 951649"/>
                <a:gd name="connsiteY136" fmla="*/ 278797 h 614709"/>
                <a:gd name="connsiteX137" fmla="*/ 791559 w 951649"/>
                <a:gd name="connsiteY137" fmla="*/ 277648 h 614709"/>
                <a:gd name="connsiteX138" fmla="*/ 792769 w 951649"/>
                <a:gd name="connsiteY138" fmla="*/ 277164 h 614709"/>
                <a:gd name="connsiteX139" fmla="*/ 793889 w 951649"/>
                <a:gd name="connsiteY139" fmla="*/ 276891 h 614709"/>
                <a:gd name="connsiteX140" fmla="*/ 794130 w 951649"/>
                <a:gd name="connsiteY140" fmla="*/ 276135 h 614709"/>
                <a:gd name="connsiteX141" fmla="*/ 793798 w 951649"/>
                <a:gd name="connsiteY141" fmla="*/ 273897 h 614709"/>
                <a:gd name="connsiteX142" fmla="*/ 794221 w 951649"/>
                <a:gd name="connsiteY142" fmla="*/ 272959 h 614709"/>
                <a:gd name="connsiteX143" fmla="*/ 795189 w 951649"/>
                <a:gd name="connsiteY143" fmla="*/ 272475 h 614709"/>
                <a:gd name="connsiteX144" fmla="*/ 796339 w 951649"/>
                <a:gd name="connsiteY144" fmla="*/ 272142 h 614709"/>
                <a:gd name="connsiteX145" fmla="*/ 797277 w 951649"/>
                <a:gd name="connsiteY145" fmla="*/ 271658 h 614709"/>
                <a:gd name="connsiteX146" fmla="*/ 798487 w 951649"/>
                <a:gd name="connsiteY146" fmla="*/ 270569 h 614709"/>
                <a:gd name="connsiteX147" fmla="*/ 799848 w 951649"/>
                <a:gd name="connsiteY147" fmla="*/ 267816 h 614709"/>
                <a:gd name="connsiteX148" fmla="*/ 799999 w 951649"/>
                <a:gd name="connsiteY148" fmla="*/ 267362 h 614709"/>
                <a:gd name="connsiteX149" fmla="*/ 799909 w 951649"/>
                <a:gd name="connsiteY149" fmla="*/ 265699 h 614709"/>
                <a:gd name="connsiteX150" fmla="*/ 799515 w 951649"/>
                <a:gd name="connsiteY150" fmla="*/ 263006 h 614709"/>
                <a:gd name="connsiteX151" fmla="*/ 799757 w 951649"/>
                <a:gd name="connsiteY151" fmla="*/ 262038 h 614709"/>
                <a:gd name="connsiteX152" fmla="*/ 800967 w 951649"/>
                <a:gd name="connsiteY152" fmla="*/ 261645 h 614709"/>
                <a:gd name="connsiteX153" fmla="*/ 801451 w 951649"/>
                <a:gd name="connsiteY153" fmla="*/ 261070 h 614709"/>
                <a:gd name="connsiteX154" fmla="*/ 802026 w 951649"/>
                <a:gd name="connsiteY154" fmla="*/ 256986 h 614709"/>
                <a:gd name="connsiteX155" fmla="*/ 802691 w 951649"/>
                <a:gd name="connsiteY155" fmla="*/ 256381 h 614709"/>
                <a:gd name="connsiteX156" fmla="*/ 803417 w 951649"/>
                <a:gd name="connsiteY156" fmla="*/ 256078 h 614709"/>
                <a:gd name="connsiteX157" fmla="*/ 803599 w 951649"/>
                <a:gd name="connsiteY157" fmla="*/ 255988 h 614709"/>
                <a:gd name="connsiteX158" fmla="*/ 804083 w 951649"/>
                <a:gd name="connsiteY158" fmla="*/ 255232 h 614709"/>
                <a:gd name="connsiteX159" fmla="*/ 803357 w 951649"/>
                <a:gd name="connsiteY159" fmla="*/ 253416 h 614709"/>
                <a:gd name="connsiteX160" fmla="*/ 804779 w 951649"/>
                <a:gd name="connsiteY160" fmla="*/ 252751 h 614709"/>
                <a:gd name="connsiteX161" fmla="*/ 805354 w 951649"/>
                <a:gd name="connsiteY161" fmla="*/ 251753 h 614709"/>
                <a:gd name="connsiteX162" fmla="*/ 805475 w 951649"/>
                <a:gd name="connsiteY162" fmla="*/ 250633 h 614709"/>
                <a:gd name="connsiteX163" fmla="*/ 805475 w 951649"/>
                <a:gd name="connsiteY163" fmla="*/ 246459 h 614709"/>
                <a:gd name="connsiteX164" fmla="*/ 805354 w 951649"/>
                <a:gd name="connsiteY164" fmla="*/ 245370 h 614709"/>
                <a:gd name="connsiteX165" fmla="*/ 804991 w 951649"/>
                <a:gd name="connsiteY165" fmla="*/ 245218 h 614709"/>
                <a:gd name="connsiteX166" fmla="*/ 804567 w 951649"/>
                <a:gd name="connsiteY166" fmla="*/ 245339 h 614709"/>
                <a:gd name="connsiteX167" fmla="*/ 804144 w 951649"/>
                <a:gd name="connsiteY167" fmla="*/ 245007 h 614709"/>
                <a:gd name="connsiteX168" fmla="*/ 802843 w 951649"/>
                <a:gd name="connsiteY168" fmla="*/ 242647 h 614709"/>
                <a:gd name="connsiteX169" fmla="*/ 802661 w 951649"/>
                <a:gd name="connsiteY169" fmla="*/ 241588 h 614709"/>
                <a:gd name="connsiteX170" fmla="*/ 802843 w 951649"/>
                <a:gd name="connsiteY170" fmla="*/ 236536 h 614709"/>
                <a:gd name="connsiteX171" fmla="*/ 803236 w 951649"/>
                <a:gd name="connsiteY171" fmla="*/ 235538 h 614709"/>
                <a:gd name="connsiteX172" fmla="*/ 804144 w 951649"/>
                <a:gd name="connsiteY172" fmla="*/ 234933 h 614709"/>
                <a:gd name="connsiteX173" fmla="*/ 803297 w 951649"/>
                <a:gd name="connsiteY173" fmla="*/ 232724 h 614709"/>
                <a:gd name="connsiteX174" fmla="*/ 803781 w 951649"/>
                <a:gd name="connsiteY174" fmla="*/ 230819 h 614709"/>
                <a:gd name="connsiteX175" fmla="*/ 804809 w 951649"/>
                <a:gd name="connsiteY175" fmla="*/ 229155 h 614709"/>
                <a:gd name="connsiteX176" fmla="*/ 805475 w 951649"/>
                <a:gd name="connsiteY176" fmla="*/ 227672 h 614709"/>
                <a:gd name="connsiteX177" fmla="*/ 805505 w 951649"/>
                <a:gd name="connsiteY177" fmla="*/ 225857 h 614709"/>
                <a:gd name="connsiteX178" fmla="*/ 805263 w 951649"/>
                <a:gd name="connsiteY178" fmla="*/ 224436 h 614709"/>
                <a:gd name="connsiteX179" fmla="*/ 805172 w 951649"/>
                <a:gd name="connsiteY179" fmla="*/ 223891 h 614709"/>
                <a:gd name="connsiteX180" fmla="*/ 804144 w 951649"/>
                <a:gd name="connsiteY180" fmla="*/ 220261 h 614709"/>
                <a:gd name="connsiteX181" fmla="*/ 798517 w 951649"/>
                <a:gd name="connsiteY181" fmla="*/ 209824 h 614709"/>
                <a:gd name="connsiteX182" fmla="*/ 798517 w 951649"/>
                <a:gd name="connsiteY182" fmla="*/ 207313 h 614709"/>
                <a:gd name="connsiteX183" fmla="*/ 794463 w 951649"/>
                <a:gd name="connsiteY183" fmla="*/ 200900 h 614709"/>
                <a:gd name="connsiteX184" fmla="*/ 792829 w 951649"/>
                <a:gd name="connsiteY184" fmla="*/ 197088 h 614709"/>
                <a:gd name="connsiteX185" fmla="*/ 792951 w 951649"/>
                <a:gd name="connsiteY185" fmla="*/ 196029 h 614709"/>
                <a:gd name="connsiteX186" fmla="*/ 793102 w 951649"/>
                <a:gd name="connsiteY186" fmla="*/ 194426 h 614709"/>
                <a:gd name="connsiteX187" fmla="*/ 793102 w 951649"/>
                <a:gd name="connsiteY187" fmla="*/ 193428 h 614709"/>
                <a:gd name="connsiteX188" fmla="*/ 791983 w 951649"/>
                <a:gd name="connsiteY188" fmla="*/ 192097 h 614709"/>
                <a:gd name="connsiteX189" fmla="*/ 792103 w 951649"/>
                <a:gd name="connsiteY189" fmla="*/ 190494 h 614709"/>
                <a:gd name="connsiteX190" fmla="*/ 792013 w 951649"/>
                <a:gd name="connsiteY190" fmla="*/ 188951 h 614709"/>
                <a:gd name="connsiteX191" fmla="*/ 790349 w 951649"/>
                <a:gd name="connsiteY191" fmla="*/ 187892 h 614709"/>
                <a:gd name="connsiteX192" fmla="*/ 791226 w 951649"/>
                <a:gd name="connsiteY192" fmla="*/ 185835 h 614709"/>
                <a:gd name="connsiteX193" fmla="*/ 791166 w 951649"/>
                <a:gd name="connsiteY193" fmla="*/ 185502 h 614709"/>
                <a:gd name="connsiteX194" fmla="*/ 790894 w 951649"/>
                <a:gd name="connsiteY194" fmla="*/ 183475 h 614709"/>
                <a:gd name="connsiteX195" fmla="*/ 788927 w 951649"/>
                <a:gd name="connsiteY195" fmla="*/ 178574 h 614709"/>
                <a:gd name="connsiteX196" fmla="*/ 787535 w 951649"/>
                <a:gd name="connsiteY196" fmla="*/ 176275 h 614709"/>
                <a:gd name="connsiteX197" fmla="*/ 784420 w 951649"/>
                <a:gd name="connsiteY197" fmla="*/ 172615 h 614709"/>
                <a:gd name="connsiteX198" fmla="*/ 784329 w 951649"/>
                <a:gd name="connsiteY198" fmla="*/ 172463 h 614709"/>
                <a:gd name="connsiteX199" fmla="*/ 783421 w 951649"/>
                <a:gd name="connsiteY199" fmla="*/ 170225 h 614709"/>
                <a:gd name="connsiteX200" fmla="*/ 781425 w 951649"/>
                <a:gd name="connsiteY200" fmla="*/ 171163 h 614709"/>
                <a:gd name="connsiteX201" fmla="*/ 779247 w 951649"/>
                <a:gd name="connsiteY201" fmla="*/ 170195 h 614709"/>
                <a:gd name="connsiteX202" fmla="*/ 776887 w 951649"/>
                <a:gd name="connsiteY202" fmla="*/ 168833 h 614709"/>
                <a:gd name="connsiteX203" fmla="*/ 774437 w 951649"/>
                <a:gd name="connsiteY203" fmla="*/ 168410 h 614709"/>
                <a:gd name="connsiteX204" fmla="*/ 774406 w 951649"/>
                <a:gd name="connsiteY204" fmla="*/ 166443 h 614709"/>
                <a:gd name="connsiteX205" fmla="*/ 773136 w 951649"/>
                <a:gd name="connsiteY205" fmla="*/ 165385 h 614709"/>
                <a:gd name="connsiteX206" fmla="*/ 770292 w 951649"/>
                <a:gd name="connsiteY206" fmla="*/ 163661 h 614709"/>
                <a:gd name="connsiteX207" fmla="*/ 767237 w 951649"/>
                <a:gd name="connsiteY207" fmla="*/ 160545 h 614709"/>
                <a:gd name="connsiteX208" fmla="*/ 766299 w 951649"/>
                <a:gd name="connsiteY208" fmla="*/ 159879 h 614709"/>
                <a:gd name="connsiteX209" fmla="*/ 765331 w 951649"/>
                <a:gd name="connsiteY209" fmla="*/ 159607 h 614709"/>
                <a:gd name="connsiteX210" fmla="*/ 764877 w 951649"/>
                <a:gd name="connsiteY210" fmla="*/ 159213 h 614709"/>
                <a:gd name="connsiteX211" fmla="*/ 765482 w 951649"/>
                <a:gd name="connsiteY211" fmla="*/ 158215 h 614709"/>
                <a:gd name="connsiteX212" fmla="*/ 765482 w 951649"/>
                <a:gd name="connsiteY212" fmla="*/ 157278 h 614709"/>
                <a:gd name="connsiteX213" fmla="*/ 761126 w 951649"/>
                <a:gd name="connsiteY213" fmla="*/ 155099 h 614709"/>
                <a:gd name="connsiteX214" fmla="*/ 759946 w 951649"/>
                <a:gd name="connsiteY214" fmla="*/ 153587 h 614709"/>
                <a:gd name="connsiteX215" fmla="*/ 761065 w 951649"/>
                <a:gd name="connsiteY215" fmla="*/ 153254 h 614709"/>
                <a:gd name="connsiteX216" fmla="*/ 761247 w 951649"/>
                <a:gd name="connsiteY216" fmla="*/ 152679 h 614709"/>
                <a:gd name="connsiteX217" fmla="*/ 760945 w 951649"/>
                <a:gd name="connsiteY217" fmla="*/ 151862 h 614709"/>
                <a:gd name="connsiteX218" fmla="*/ 760673 w 951649"/>
                <a:gd name="connsiteY218" fmla="*/ 150804 h 614709"/>
                <a:gd name="connsiteX219" fmla="*/ 760521 w 951649"/>
                <a:gd name="connsiteY219" fmla="*/ 150713 h 614709"/>
                <a:gd name="connsiteX220" fmla="*/ 759281 w 951649"/>
                <a:gd name="connsiteY220" fmla="*/ 146992 h 614709"/>
                <a:gd name="connsiteX221" fmla="*/ 756770 w 951649"/>
                <a:gd name="connsiteY221" fmla="*/ 143997 h 614709"/>
                <a:gd name="connsiteX222" fmla="*/ 755681 w 951649"/>
                <a:gd name="connsiteY222" fmla="*/ 142303 h 614709"/>
                <a:gd name="connsiteX223" fmla="*/ 755802 w 951649"/>
                <a:gd name="connsiteY223" fmla="*/ 140579 h 614709"/>
                <a:gd name="connsiteX224" fmla="*/ 753775 w 951649"/>
                <a:gd name="connsiteY224" fmla="*/ 137311 h 614709"/>
                <a:gd name="connsiteX225" fmla="*/ 752716 w 951649"/>
                <a:gd name="connsiteY225" fmla="*/ 136253 h 614709"/>
                <a:gd name="connsiteX226" fmla="*/ 750175 w 951649"/>
                <a:gd name="connsiteY226" fmla="*/ 135678 h 614709"/>
                <a:gd name="connsiteX227" fmla="*/ 749388 w 951649"/>
                <a:gd name="connsiteY227" fmla="*/ 135224 h 614709"/>
                <a:gd name="connsiteX228" fmla="*/ 748632 w 951649"/>
                <a:gd name="connsiteY228" fmla="*/ 134619 h 614709"/>
                <a:gd name="connsiteX229" fmla="*/ 747573 w 951649"/>
                <a:gd name="connsiteY229" fmla="*/ 134014 h 614709"/>
                <a:gd name="connsiteX230" fmla="*/ 744851 w 951649"/>
                <a:gd name="connsiteY230" fmla="*/ 133439 h 614709"/>
                <a:gd name="connsiteX231" fmla="*/ 744064 w 951649"/>
                <a:gd name="connsiteY231" fmla="*/ 133076 h 614709"/>
                <a:gd name="connsiteX232" fmla="*/ 742764 w 951649"/>
                <a:gd name="connsiteY232" fmla="*/ 131049 h 614709"/>
                <a:gd name="connsiteX233" fmla="*/ 740343 w 951649"/>
                <a:gd name="connsiteY233" fmla="*/ 125695 h 614709"/>
                <a:gd name="connsiteX234" fmla="*/ 739224 w 951649"/>
                <a:gd name="connsiteY234" fmla="*/ 124817 h 614709"/>
                <a:gd name="connsiteX235" fmla="*/ 738982 w 951649"/>
                <a:gd name="connsiteY235" fmla="*/ 124606 h 614709"/>
                <a:gd name="connsiteX236" fmla="*/ 737560 w 951649"/>
                <a:gd name="connsiteY236" fmla="*/ 123728 h 614709"/>
                <a:gd name="connsiteX237" fmla="*/ 738377 w 951649"/>
                <a:gd name="connsiteY237" fmla="*/ 119523 h 614709"/>
                <a:gd name="connsiteX238" fmla="*/ 736562 w 951649"/>
                <a:gd name="connsiteY238" fmla="*/ 118102 h 614709"/>
                <a:gd name="connsiteX239" fmla="*/ 736895 w 951649"/>
                <a:gd name="connsiteY239" fmla="*/ 116498 h 614709"/>
                <a:gd name="connsiteX240" fmla="*/ 737258 w 951649"/>
                <a:gd name="connsiteY240" fmla="*/ 115107 h 614709"/>
                <a:gd name="connsiteX241" fmla="*/ 737802 w 951649"/>
                <a:gd name="connsiteY241" fmla="*/ 114048 h 614709"/>
                <a:gd name="connsiteX242" fmla="*/ 738649 w 951649"/>
                <a:gd name="connsiteY242" fmla="*/ 113443 h 614709"/>
                <a:gd name="connsiteX243" fmla="*/ 737923 w 951649"/>
                <a:gd name="connsiteY243" fmla="*/ 112112 h 614709"/>
                <a:gd name="connsiteX244" fmla="*/ 736653 w 951649"/>
                <a:gd name="connsiteY244" fmla="*/ 111023 h 614709"/>
                <a:gd name="connsiteX245" fmla="*/ 735110 w 951649"/>
                <a:gd name="connsiteY245" fmla="*/ 110206 h 614709"/>
                <a:gd name="connsiteX246" fmla="*/ 733779 w 951649"/>
                <a:gd name="connsiteY246" fmla="*/ 109692 h 614709"/>
                <a:gd name="connsiteX247" fmla="*/ 733597 w 951649"/>
                <a:gd name="connsiteY247" fmla="*/ 109783 h 614709"/>
                <a:gd name="connsiteX248" fmla="*/ 731026 w 951649"/>
                <a:gd name="connsiteY248" fmla="*/ 109692 h 614709"/>
                <a:gd name="connsiteX249" fmla="*/ 730421 w 951649"/>
                <a:gd name="connsiteY249" fmla="*/ 109450 h 614709"/>
                <a:gd name="connsiteX250" fmla="*/ 730028 w 951649"/>
                <a:gd name="connsiteY250" fmla="*/ 109117 h 614709"/>
                <a:gd name="connsiteX251" fmla="*/ 729544 w 951649"/>
                <a:gd name="connsiteY251" fmla="*/ 108815 h 614709"/>
                <a:gd name="connsiteX252" fmla="*/ 728636 w 951649"/>
                <a:gd name="connsiteY252" fmla="*/ 108694 h 614709"/>
                <a:gd name="connsiteX253" fmla="*/ 727577 w 951649"/>
                <a:gd name="connsiteY253" fmla="*/ 107816 h 614709"/>
                <a:gd name="connsiteX254" fmla="*/ 726942 w 951649"/>
                <a:gd name="connsiteY254" fmla="*/ 105820 h 614709"/>
                <a:gd name="connsiteX255" fmla="*/ 726216 w 951649"/>
                <a:gd name="connsiteY255" fmla="*/ 102159 h 614709"/>
                <a:gd name="connsiteX256" fmla="*/ 725944 w 951649"/>
                <a:gd name="connsiteY256" fmla="*/ 102069 h 614709"/>
                <a:gd name="connsiteX257" fmla="*/ 724855 w 951649"/>
                <a:gd name="connsiteY257" fmla="*/ 101917 h 614709"/>
                <a:gd name="connsiteX258" fmla="*/ 724461 w 951649"/>
                <a:gd name="connsiteY258" fmla="*/ 101706 h 614709"/>
                <a:gd name="connsiteX259" fmla="*/ 724250 w 951649"/>
                <a:gd name="connsiteY259" fmla="*/ 101100 h 614709"/>
                <a:gd name="connsiteX260" fmla="*/ 724280 w 951649"/>
                <a:gd name="connsiteY260" fmla="*/ 99860 h 614709"/>
                <a:gd name="connsiteX261" fmla="*/ 724159 w 951649"/>
                <a:gd name="connsiteY261" fmla="*/ 99346 h 614709"/>
                <a:gd name="connsiteX262" fmla="*/ 723826 w 951649"/>
                <a:gd name="connsiteY262" fmla="*/ 98499 h 614709"/>
                <a:gd name="connsiteX263" fmla="*/ 723372 w 951649"/>
                <a:gd name="connsiteY263" fmla="*/ 96775 h 614709"/>
                <a:gd name="connsiteX264" fmla="*/ 723191 w 951649"/>
                <a:gd name="connsiteY264" fmla="*/ 96018 h 614709"/>
                <a:gd name="connsiteX265" fmla="*/ 723070 w 951649"/>
                <a:gd name="connsiteY265" fmla="*/ 95625 h 614709"/>
                <a:gd name="connsiteX266" fmla="*/ 719924 w 951649"/>
                <a:gd name="connsiteY266" fmla="*/ 94506 h 614709"/>
                <a:gd name="connsiteX267" fmla="*/ 717110 w 951649"/>
                <a:gd name="connsiteY267" fmla="*/ 91874 h 614709"/>
                <a:gd name="connsiteX268" fmla="*/ 710576 w 951649"/>
                <a:gd name="connsiteY268" fmla="*/ 83918 h 614709"/>
                <a:gd name="connsiteX269" fmla="*/ 708247 w 951649"/>
                <a:gd name="connsiteY269" fmla="*/ 80287 h 614709"/>
                <a:gd name="connsiteX270" fmla="*/ 707339 w 951649"/>
                <a:gd name="connsiteY270" fmla="*/ 77262 h 614709"/>
                <a:gd name="connsiteX271" fmla="*/ 709668 w 951649"/>
                <a:gd name="connsiteY271" fmla="*/ 76808 h 614709"/>
                <a:gd name="connsiteX272" fmla="*/ 709668 w 951649"/>
                <a:gd name="connsiteY272" fmla="*/ 75962 h 614709"/>
                <a:gd name="connsiteX273" fmla="*/ 709124 w 951649"/>
                <a:gd name="connsiteY273" fmla="*/ 74963 h 614709"/>
                <a:gd name="connsiteX274" fmla="*/ 709275 w 951649"/>
                <a:gd name="connsiteY274" fmla="*/ 73511 h 614709"/>
                <a:gd name="connsiteX275" fmla="*/ 708973 w 951649"/>
                <a:gd name="connsiteY275" fmla="*/ 72362 h 614709"/>
                <a:gd name="connsiteX276" fmla="*/ 708912 w 951649"/>
                <a:gd name="connsiteY276" fmla="*/ 72120 h 614709"/>
                <a:gd name="connsiteX277" fmla="*/ 708398 w 951649"/>
                <a:gd name="connsiteY277" fmla="*/ 71666 h 614709"/>
                <a:gd name="connsiteX278" fmla="*/ 706613 w 951649"/>
                <a:gd name="connsiteY278" fmla="*/ 70456 h 614709"/>
                <a:gd name="connsiteX279" fmla="*/ 706220 w 951649"/>
                <a:gd name="connsiteY279" fmla="*/ 69821 h 614709"/>
                <a:gd name="connsiteX280" fmla="*/ 705736 w 951649"/>
                <a:gd name="connsiteY280" fmla="*/ 68671 h 614709"/>
                <a:gd name="connsiteX281" fmla="*/ 704617 w 951649"/>
                <a:gd name="connsiteY281" fmla="*/ 66583 h 614709"/>
                <a:gd name="connsiteX282" fmla="*/ 703225 w 951649"/>
                <a:gd name="connsiteY282" fmla="*/ 64617 h 614709"/>
                <a:gd name="connsiteX283" fmla="*/ 702015 w 951649"/>
                <a:gd name="connsiteY283" fmla="*/ 63679 h 614709"/>
                <a:gd name="connsiteX284" fmla="*/ 705464 w 951649"/>
                <a:gd name="connsiteY284" fmla="*/ 61713 h 614709"/>
                <a:gd name="connsiteX285" fmla="*/ 704707 w 951649"/>
                <a:gd name="connsiteY285" fmla="*/ 60563 h 614709"/>
                <a:gd name="connsiteX286" fmla="*/ 703618 w 951649"/>
                <a:gd name="connsiteY286" fmla="*/ 60049 h 614709"/>
                <a:gd name="connsiteX287" fmla="*/ 702408 w 951649"/>
                <a:gd name="connsiteY287" fmla="*/ 59717 h 614709"/>
                <a:gd name="connsiteX288" fmla="*/ 701349 w 951649"/>
                <a:gd name="connsiteY288" fmla="*/ 58990 h 614709"/>
                <a:gd name="connsiteX289" fmla="*/ 701410 w 951649"/>
                <a:gd name="connsiteY289" fmla="*/ 58144 h 614709"/>
                <a:gd name="connsiteX290" fmla="*/ 701259 w 951649"/>
                <a:gd name="connsiteY290" fmla="*/ 53878 h 614709"/>
                <a:gd name="connsiteX291" fmla="*/ 701349 w 951649"/>
                <a:gd name="connsiteY291" fmla="*/ 53273 h 614709"/>
                <a:gd name="connsiteX292" fmla="*/ 699504 w 951649"/>
                <a:gd name="connsiteY292" fmla="*/ 51246 h 614709"/>
                <a:gd name="connsiteX293" fmla="*/ 697235 w 951649"/>
                <a:gd name="connsiteY293" fmla="*/ 50097 h 614709"/>
                <a:gd name="connsiteX294" fmla="*/ 696146 w 951649"/>
                <a:gd name="connsiteY294" fmla="*/ 48826 h 614709"/>
                <a:gd name="connsiteX295" fmla="*/ 697931 w 951649"/>
                <a:gd name="connsiteY295" fmla="*/ 46587 h 614709"/>
                <a:gd name="connsiteX296" fmla="*/ 697931 w 951649"/>
                <a:gd name="connsiteY296" fmla="*/ 45741 h 614709"/>
                <a:gd name="connsiteX297" fmla="*/ 697296 w 951649"/>
                <a:gd name="connsiteY297" fmla="*/ 45438 h 614709"/>
                <a:gd name="connsiteX298" fmla="*/ 695178 w 951649"/>
                <a:gd name="connsiteY298" fmla="*/ 43865 h 614709"/>
                <a:gd name="connsiteX299" fmla="*/ 696358 w 951649"/>
                <a:gd name="connsiteY299" fmla="*/ 42866 h 614709"/>
                <a:gd name="connsiteX300" fmla="*/ 697054 w 951649"/>
                <a:gd name="connsiteY300" fmla="*/ 41656 h 614709"/>
                <a:gd name="connsiteX301" fmla="*/ 696963 w 951649"/>
                <a:gd name="connsiteY301" fmla="*/ 40386 h 614709"/>
                <a:gd name="connsiteX302" fmla="*/ 695783 w 951649"/>
                <a:gd name="connsiteY302" fmla="*/ 39146 h 614709"/>
                <a:gd name="connsiteX303" fmla="*/ 694452 w 951649"/>
                <a:gd name="connsiteY303" fmla="*/ 39841 h 614709"/>
                <a:gd name="connsiteX304" fmla="*/ 693514 w 951649"/>
                <a:gd name="connsiteY304" fmla="*/ 37966 h 614709"/>
                <a:gd name="connsiteX305" fmla="*/ 692183 w 951649"/>
                <a:gd name="connsiteY305" fmla="*/ 36211 h 614709"/>
                <a:gd name="connsiteX306" fmla="*/ 689612 w 951649"/>
                <a:gd name="connsiteY306" fmla="*/ 37270 h 614709"/>
                <a:gd name="connsiteX307" fmla="*/ 689370 w 951649"/>
                <a:gd name="connsiteY307" fmla="*/ 36877 h 614709"/>
                <a:gd name="connsiteX308" fmla="*/ 689158 w 951649"/>
                <a:gd name="connsiteY308" fmla="*/ 36423 h 614709"/>
                <a:gd name="connsiteX309" fmla="*/ 689037 w 951649"/>
                <a:gd name="connsiteY309" fmla="*/ 35879 h 614709"/>
                <a:gd name="connsiteX310" fmla="*/ 688916 w 951649"/>
                <a:gd name="connsiteY310" fmla="*/ 35304 h 614709"/>
                <a:gd name="connsiteX311" fmla="*/ 690973 w 951649"/>
                <a:gd name="connsiteY311" fmla="*/ 34426 h 614709"/>
                <a:gd name="connsiteX312" fmla="*/ 690973 w 951649"/>
                <a:gd name="connsiteY312" fmla="*/ 33428 h 614709"/>
                <a:gd name="connsiteX313" fmla="*/ 688341 w 951649"/>
                <a:gd name="connsiteY313" fmla="*/ 32006 h 614709"/>
                <a:gd name="connsiteX314" fmla="*/ 685921 w 951649"/>
                <a:gd name="connsiteY314" fmla="*/ 30010 h 614709"/>
                <a:gd name="connsiteX315" fmla="*/ 684167 w 951649"/>
                <a:gd name="connsiteY315" fmla="*/ 27378 h 614709"/>
                <a:gd name="connsiteX316" fmla="*/ 683410 w 951649"/>
                <a:gd name="connsiteY316" fmla="*/ 23990 h 614709"/>
                <a:gd name="connsiteX317" fmla="*/ 683682 w 951649"/>
                <a:gd name="connsiteY317" fmla="*/ 23203 h 614709"/>
                <a:gd name="connsiteX318" fmla="*/ 684741 w 951649"/>
                <a:gd name="connsiteY318" fmla="*/ 21932 h 614709"/>
                <a:gd name="connsiteX319" fmla="*/ 684802 w 951649"/>
                <a:gd name="connsiteY319" fmla="*/ 21267 h 614709"/>
                <a:gd name="connsiteX320" fmla="*/ 684802 w 951649"/>
                <a:gd name="connsiteY320" fmla="*/ 21146 h 614709"/>
                <a:gd name="connsiteX321" fmla="*/ 684288 w 951649"/>
                <a:gd name="connsiteY321" fmla="*/ 20450 h 614709"/>
                <a:gd name="connsiteX322" fmla="*/ 683380 w 951649"/>
                <a:gd name="connsiteY322" fmla="*/ 19754 h 614709"/>
                <a:gd name="connsiteX323" fmla="*/ 682503 w 951649"/>
                <a:gd name="connsiteY323" fmla="*/ 19391 h 614709"/>
                <a:gd name="connsiteX324" fmla="*/ 681263 w 951649"/>
                <a:gd name="connsiteY324" fmla="*/ 20360 h 614709"/>
                <a:gd name="connsiteX325" fmla="*/ 679357 w 951649"/>
                <a:gd name="connsiteY325" fmla="*/ 19754 h 614709"/>
                <a:gd name="connsiteX326" fmla="*/ 676604 w 951649"/>
                <a:gd name="connsiteY326" fmla="*/ 18242 h 614709"/>
                <a:gd name="connsiteX327" fmla="*/ 676604 w 951649"/>
                <a:gd name="connsiteY327" fmla="*/ 17365 h 614709"/>
                <a:gd name="connsiteX328" fmla="*/ 678600 w 951649"/>
                <a:gd name="connsiteY328" fmla="*/ 17244 h 614709"/>
                <a:gd name="connsiteX329" fmla="*/ 679750 w 951649"/>
                <a:gd name="connsiteY329" fmla="*/ 16215 h 614709"/>
                <a:gd name="connsiteX330" fmla="*/ 679750 w 951649"/>
                <a:gd name="connsiteY330" fmla="*/ 15005 h 614709"/>
                <a:gd name="connsiteX331" fmla="*/ 676271 w 951649"/>
                <a:gd name="connsiteY331" fmla="*/ 13795 h 614709"/>
                <a:gd name="connsiteX332" fmla="*/ 675515 w 951649"/>
                <a:gd name="connsiteY332" fmla="*/ 12343 h 614709"/>
                <a:gd name="connsiteX333" fmla="*/ 675000 w 951649"/>
                <a:gd name="connsiteY333" fmla="*/ 10709 h 614709"/>
                <a:gd name="connsiteX334" fmla="*/ 673760 w 951649"/>
                <a:gd name="connsiteY334" fmla="*/ 9711 h 614709"/>
                <a:gd name="connsiteX335" fmla="*/ 672822 w 951649"/>
                <a:gd name="connsiteY335" fmla="*/ 10528 h 614709"/>
                <a:gd name="connsiteX336" fmla="*/ 671703 w 951649"/>
                <a:gd name="connsiteY336" fmla="*/ 12040 h 614709"/>
                <a:gd name="connsiteX337" fmla="*/ 670704 w 951649"/>
                <a:gd name="connsiteY337" fmla="*/ 12524 h 614709"/>
                <a:gd name="connsiteX338" fmla="*/ 670311 w 951649"/>
                <a:gd name="connsiteY338" fmla="*/ 10195 h 614709"/>
                <a:gd name="connsiteX339" fmla="*/ 669676 w 951649"/>
                <a:gd name="connsiteY339" fmla="*/ 9136 h 614709"/>
                <a:gd name="connsiteX340" fmla="*/ 665441 w 951649"/>
                <a:gd name="connsiteY340" fmla="*/ 5143 h 614709"/>
                <a:gd name="connsiteX341" fmla="*/ 664352 w 951649"/>
                <a:gd name="connsiteY341" fmla="*/ 5778 h 614709"/>
                <a:gd name="connsiteX342" fmla="*/ 662053 w 951649"/>
                <a:gd name="connsiteY342" fmla="*/ 3086 h 614709"/>
                <a:gd name="connsiteX343" fmla="*/ 660328 w 951649"/>
                <a:gd name="connsiteY343" fmla="*/ 2299 h 614709"/>
                <a:gd name="connsiteX344" fmla="*/ 656184 w 951649"/>
                <a:gd name="connsiteY344" fmla="*/ 3086 h 614709"/>
                <a:gd name="connsiteX345" fmla="*/ 654218 w 951649"/>
                <a:gd name="connsiteY345" fmla="*/ 2692 h 614709"/>
                <a:gd name="connsiteX346" fmla="*/ 653129 w 951649"/>
                <a:gd name="connsiteY346" fmla="*/ 575 h 614709"/>
                <a:gd name="connsiteX347" fmla="*/ 652040 w 951649"/>
                <a:gd name="connsiteY347" fmla="*/ 2088 h 614709"/>
                <a:gd name="connsiteX348" fmla="*/ 650920 w 951649"/>
                <a:gd name="connsiteY348" fmla="*/ 1876 h 614709"/>
                <a:gd name="connsiteX349" fmla="*/ 648621 w 951649"/>
                <a:gd name="connsiteY349" fmla="*/ 0 h 614709"/>
                <a:gd name="connsiteX350" fmla="*/ 646352 w 951649"/>
                <a:gd name="connsiteY350" fmla="*/ 91 h 614709"/>
                <a:gd name="connsiteX351" fmla="*/ 641512 w 951649"/>
                <a:gd name="connsiteY351" fmla="*/ 2209 h 614709"/>
                <a:gd name="connsiteX352" fmla="*/ 638457 w 951649"/>
                <a:gd name="connsiteY352" fmla="*/ 3540 h 614709"/>
                <a:gd name="connsiteX353" fmla="*/ 625751 w 951649"/>
                <a:gd name="connsiteY353" fmla="*/ 6171 h 614709"/>
                <a:gd name="connsiteX354" fmla="*/ 624087 w 951649"/>
                <a:gd name="connsiteY354" fmla="*/ 6534 h 614709"/>
                <a:gd name="connsiteX355" fmla="*/ 619338 w 951649"/>
                <a:gd name="connsiteY355" fmla="*/ 6746 h 614709"/>
                <a:gd name="connsiteX356" fmla="*/ 617613 w 951649"/>
                <a:gd name="connsiteY356" fmla="*/ 7170 h 614709"/>
                <a:gd name="connsiteX357" fmla="*/ 614286 w 951649"/>
                <a:gd name="connsiteY357" fmla="*/ 8712 h 614709"/>
                <a:gd name="connsiteX358" fmla="*/ 612592 w 951649"/>
                <a:gd name="connsiteY358" fmla="*/ 9197 h 614709"/>
                <a:gd name="connsiteX359" fmla="*/ 610716 w 951649"/>
                <a:gd name="connsiteY359" fmla="*/ 9046 h 614709"/>
                <a:gd name="connsiteX360" fmla="*/ 609869 w 951649"/>
                <a:gd name="connsiteY360" fmla="*/ 8712 h 614709"/>
                <a:gd name="connsiteX361" fmla="*/ 609143 w 951649"/>
                <a:gd name="connsiteY361" fmla="*/ 13280 h 614709"/>
                <a:gd name="connsiteX362" fmla="*/ 609294 w 951649"/>
                <a:gd name="connsiteY362" fmla="*/ 16427 h 614709"/>
                <a:gd name="connsiteX363" fmla="*/ 608236 w 951649"/>
                <a:gd name="connsiteY363" fmla="*/ 20813 h 614709"/>
                <a:gd name="connsiteX364" fmla="*/ 606602 w 951649"/>
                <a:gd name="connsiteY364" fmla="*/ 25109 h 614709"/>
                <a:gd name="connsiteX365" fmla="*/ 605029 w 951649"/>
                <a:gd name="connsiteY365" fmla="*/ 28073 h 614709"/>
                <a:gd name="connsiteX366" fmla="*/ 603819 w 951649"/>
                <a:gd name="connsiteY366" fmla="*/ 29344 h 614709"/>
                <a:gd name="connsiteX367" fmla="*/ 601187 w 951649"/>
                <a:gd name="connsiteY367" fmla="*/ 31401 h 614709"/>
                <a:gd name="connsiteX368" fmla="*/ 599947 w 951649"/>
                <a:gd name="connsiteY368" fmla="*/ 32884 h 614709"/>
                <a:gd name="connsiteX369" fmla="*/ 597738 w 951649"/>
                <a:gd name="connsiteY369" fmla="*/ 37572 h 614709"/>
                <a:gd name="connsiteX370" fmla="*/ 596740 w 951649"/>
                <a:gd name="connsiteY370" fmla="*/ 38964 h 614709"/>
                <a:gd name="connsiteX371" fmla="*/ 591990 w 951649"/>
                <a:gd name="connsiteY371" fmla="*/ 41021 h 614709"/>
                <a:gd name="connsiteX372" fmla="*/ 589661 w 951649"/>
                <a:gd name="connsiteY372" fmla="*/ 41051 h 614709"/>
                <a:gd name="connsiteX373" fmla="*/ 582280 w 951649"/>
                <a:gd name="connsiteY373" fmla="*/ 41112 h 614709"/>
                <a:gd name="connsiteX374" fmla="*/ 575897 w 951649"/>
                <a:gd name="connsiteY374" fmla="*/ 42866 h 614709"/>
                <a:gd name="connsiteX375" fmla="*/ 571087 w 951649"/>
                <a:gd name="connsiteY375" fmla="*/ 42413 h 614709"/>
                <a:gd name="connsiteX376" fmla="*/ 569423 w 951649"/>
                <a:gd name="connsiteY376" fmla="*/ 42745 h 614709"/>
                <a:gd name="connsiteX377" fmla="*/ 566367 w 951649"/>
                <a:gd name="connsiteY377" fmla="*/ 43955 h 614709"/>
                <a:gd name="connsiteX378" fmla="*/ 561073 w 951649"/>
                <a:gd name="connsiteY378" fmla="*/ 44591 h 614709"/>
                <a:gd name="connsiteX379" fmla="*/ 554448 w 951649"/>
                <a:gd name="connsiteY379" fmla="*/ 47071 h 614709"/>
                <a:gd name="connsiteX380" fmla="*/ 505048 w 951649"/>
                <a:gd name="connsiteY380" fmla="*/ 52033 h 614709"/>
                <a:gd name="connsiteX381" fmla="*/ 500752 w 951649"/>
                <a:gd name="connsiteY381" fmla="*/ 54786 h 614709"/>
                <a:gd name="connsiteX382" fmla="*/ 490981 w 951649"/>
                <a:gd name="connsiteY382" fmla="*/ 69669 h 614709"/>
                <a:gd name="connsiteX383" fmla="*/ 486776 w 951649"/>
                <a:gd name="connsiteY383" fmla="*/ 73390 h 614709"/>
                <a:gd name="connsiteX384" fmla="*/ 486776 w 951649"/>
                <a:gd name="connsiteY384" fmla="*/ 73420 h 614709"/>
                <a:gd name="connsiteX385" fmla="*/ 486746 w 951649"/>
                <a:gd name="connsiteY385" fmla="*/ 73420 h 614709"/>
                <a:gd name="connsiteX386" fmla="*/ 480453 w 951649"/>
                <a:gd name="connsiteY386" fmla="*/ 75931 h 614709"/>
                <a:gd name="connsiteX387" fmla="*/ 472921 w 951649"/>
                <a:gd name="connsiteY387" fmla="*/ 77171 h 614709"/>
                <a:gd name="connsiteX388" fmla="*/ 471559 w 951649"/>
                <a:gd name="connsiteY388" fmla="*/ 77414 h 614709"/>
                <a:gd name="connsiteX389" fmla="*/ 468323 w 951649"/>
                <a:gd name="connsiteY389" fmla="*/ 77928 h 614709"/>
                <a:gd name="connsiteX390" fmla="*/ 466417 w 951649"/>
                <a:gd name="connsiteY390" fmla="*/ 76748 h 614709"/>
                <a:gd name="connsiteX391" fmla="*/ 464087 w 951649"/>
                <a:gd name="connsiteY391" fmla="*/ 73390 h 614709"/>
                <a:gd name="connsiteX392" fmla="*/ 460669 w 951649"/>
                <a:gd name="connsiteY392" fmla="*/ 67763 h 614709"/>
                <a:gd name="connsiteX393" fmla="*/ 459429 w 951649"/>
                <a:gd name="connsiteY393" fmla="*/ 66160 h 614709"/>
                <a:gd name="connsiteX394" fmla="*/ 457946 w 951649"/>
                <a:gd name="connsiteY394" fmla="*/ 64950 h 614709"/>
                <a:gd name="connsiteX395" fmla="*/ 449839 w 951649"/>
                <a:gd name="connsiteY395" fmla="*/ 62015 h 614709"/>
                <a:gd name="connsiteX396" fmla="*/ 446421 w 951649"/>
                <a:gd name="connsiteY396" fmla="*/ 60080 h 614709"/>
                <a:gd name="connsiteX397" fmla="*/ 444636 w 951649"/>
                <a:gd name="connsiteY397" fmla="*/ 58174 h 614709"/>
                <a:gd name="connsiteX398" fmla="*/ 444182 w 951649"/>
                <a:gd name="connsiteY398" fmla="*/ 56480 h 614709"/>
                <a:gd name="connsiteX399" fmla="*/ 444091 w 951649"/>
                <a:gd name="connsiteY399" fmla="*/ 54665 h 614709"/>
                <a:gd name="connsiteX400" fmla="*/ 443425 w 951649"/>
                <a:gd name="connsiteY400" fmla="*/ 52487 h 614709"/>
                <a:gd name="connsiteX401" fmla="*/ 441853 w 951649"/>
                <a:gd name="connsiteY401" fmla="*/ 50701 h 614709"/>
                <a:gd name="connsiteX402" fmla="*/ 439311 w 951649"/>
                <a:gd name="connsiteY402" fmla="*/ 48796 h 614709"/>
                <a:gd name="connsiteX403" fmla="*/ 435439 w 951649"/>
                <a:gd name="connsiteY403" fmla="*/ 46708 h 614709"/>
                <a:gd name="connsiteX404" fmla="*/ 434592 w 951649"/>
                <a:gd name="connsiteY404" fmla="*/ 46224 h 614709"/>
                <a:gd name="connsiteX405" fmla="*/ 432626 w 951649"/>
                <a:gd name="connsiteY405" fmla="*/ 45801 h 614709"/>
                <a:gd name="connsiteX406" fmla="*/ 426938 w 951649"/>
                <a:gd name="connsiteY406" fmla="*/ 45861 h 614709"/>
                <a:gd name="connsiteX407" fmla="*/ 421191 w 951649"/>
                <a:gd name="connsiteY407" fmla="*/ 44591 h 614709"/>
                <a:gd name="connsiteX408" fmla="*/ 419255 w 951649"/>
                <a:gd name="connsiteY408" fmla="*/ 44651 h 614709"/>
                <a:gd name="connsiteX409" fmla="*/ 416955 w 951649"/>
                <a:gd name="connsiteY409" fmla="*/ 45801 h 614709"/>
                <a:gd name="connsiteX410" fmla="*/ 413023 w 951649"/>
                <a:gd name="connsiteY410" fmla="*/ 48947 h 614709"/>
                <a:gd name="connsiteX411" fmla="*/ 408062 w 951649"/>
                <a:gd name="connsiteY411" fmla="*/ 49098 h 614709"/>
                <a:gd name="connsiteX412" fmla="*/ 401346 w 951649"/>
                <a:gd name="connsiteY412" fmla="*/ 52244 h 614709"/>
                <a:gd name="connsiteX413" fmla="*/ 399138 w 951649"/>
                <a:gd name="connsiteY413" fmla="*/ 52154 h 614709"/>
                <a:gd name="connsiteX414" fmla="*/ 393208 w 951649"/>
                <a:gd name="connsiteY414" fmla="*/ 50036 h 614709"/>
                <a:gd name="connsiteX415" fmla="*/ 393057 w 951649"/>
                <a:gd name="connsiteY415" fmla="*/ 50157 h 614709"/>
                <a:gd name="connsiteX416" fmla="*/ 391272 w 951649"/>
                <a:gd name="connsiteY416" fmla="*/ 49824 h 614709"/>
                <a:gd name="connsiteX417" fmla="*/ 387612 w 951649"/>
                <a:gd name="connsiteY417" fmla="*/ 46587 h 614709"/>
                <a:gd name="connsiteX418" fmla="*/ 385615 w 951649"/>
                <a:gd name="connsiteY418" fmla="*/ 45741 h 614709"/>
                <a:gd name="connsiteX419" fmla="*/ 380624 w 951649"/>
                <a:gd name="connsiteY419" fmla="*/ 44500 h 614709"/>
                <a:gd name="connsiteX420" fmla="*/ 378960 w 951649"/>
                <a:gd name="connsiteY420" fmla="*/ 43381 h 614709"/>
                <a:gd name="connsiteX421" fmla="*/ 375783 w 951649"/>
                <a:gd name="connsiteY421" fmla="*/ 43229 h 614709"/>
                <a:gd name="connsiteX422" fmla="*/ 365649 w 951649"/>
                <a:gd name="connsiteY422" fmla="*/ 47071 h 614709"/>
                <a:gd name="connsiteX423" fmla="*/ 363501 w 951649"/>
                <a:gd name="connsiteY423" fmla="*/ 47102 h 614709"/>
                <a:gd name="connsiteX424" fmla="*/ 362836 w 951649"/>
                <a:gd name="connsiteY424" fmla="*/ 44984 h 614709"/>
                <a:gd name="connsiteX425" fmla="*/ 357602 w 951649"/>
                <a:gd name="connsiteY425" fmla="*/ 40507 h 614709"/>
                <a:gd name="connsiteX426" fmla="*/ 355938 w 951649"/>
                <a:gd name="connsiteY426" fmla="*/ 39750 h 614709"/>
                <a:gd name="connsiteX427" fmla="*/ 348950 w 951649"/>
                <a:gd name="connsiteY427" fmla="*/ 40113 h 614709"/>
                <a:gd name="connsiteX428" fmla="*/ 346621 w 951649"/>
                <a:gd name="connsiteY428" fmla="*/ 39811 h 614709"/>
                <a:gd name="connsiteX429" fmla="*/ 342476 w 951649"/>
                <a:gd name="connsiteY429" fmla="*/ 38510 h 614709"/>
                <a:gd name="connsiteX430" fmla="*/ 336003 w 951649"/>
                <a:gd name="connsiteY430" fmla="*/ 37814 h 614709"/>
                <a:gd name="connsiteX431" fmla="*/ 334127 w 951649"/>
                <a:gd name="connsiteY431" fmla="*/ 37240 h 614709"/>
                <a:gd name="connsiteX432" fmla="*/ 330346 w 951649"/>
                <a:gd name="connsiteY432" fmla="*/ 37875 h 614709"/>
                <a:gd name="connsiteX433" fmla="*/ 329226 w 951649"/>
                <a:gd name="connsiteY433" fmla="*/ 38178 h 614709"/>
                <a:gd name="connsiteX434" fmla="*/ 328137 w 951649"/>
                <a:gd name="connsiteY434" fmla="*/ 39024 h 614709"/>
                <a:gd name="connsiteX435" fmla="*/ 327714 w 951649"/>
                <a:gd name="connsiteY435" fmla="*/ 39962 h 614709"/>
                <a:gd name="connsiteX436" fmla="*/ 327200 w 951649"/>
                <a:gd name="connsiteY436" fmla="*/ 40719 h 614709"/>
                <a:gd name="connsiteX437" fmla="*/ 326594 w 951649"/>
                <a:gd name="connsiteY437" fmla="*/ 41354 h 614709"/>
                <a:gd name="connsiteX438" fmla="*/ 326322 w 951649"/>
                <a:gd name="connsiteY438" fmla="*/ 41596 h 614709"/>
                <a:gd name="connsiteX439" fmla="*/ 325929 w 951649"/>
                <a:gd name="connsiteY439" fmla="*/ 41868 h 614709"/>
                <a:gd name="connsiteX440" fmla="*/ 323842 w 951649"/>
                <a:gd name="connsiteY440" fmla="*/ 41989 h 614709"/>
                <a:gd name="connsiteX441" fmla="*/ 317307 w 951649"/>
                <a:gd name="connsiteY441" fmla="*/ 38994 h 614709"/>
                <a:gd name="connsiteX442" fmla="*/ 317156 w 951649"/>
                <a:gd name="connsiteY442" fmla="*/ 38934 h 614709"/>
                <a:gd name="connsiteX443" fmla="*/ 317005 w 951649"/>
                <a:gd name="connsiteY443" fmla="*/ 38934 h 614709"/>
                <a:gd name="connsiteX444" fmla="*/ 316853 w 951649"/>
                <a:gd name="connsiteY444" fmla="*/ 38934 h 614709"/>
                <a:gd name="connsiteX445" fmla="*/ 316702 w 951649"/>
                <a:gd name="connsiteY445" fmla="*/ 38994 h 614709"/>
                <a:gd name="connsiteX446" fmla="*/ 315916 w 951649"/>
                <a:gd name="connsiteY446" fmla="*/ 39267 h 614709"/>
                <a:gd name="connsiteX447" fmla="*/ 315160 w 951649"/>
                <a:gd name="connsiteY447" fmla="*/ 39357 h 614709"/>
                <a:gd name="connsiteX448" fmla="*/ 314403 w 951649"/>
                <a:gd name="connsiteY448" fmla="*/ 39267 h 614709"/>
                <a:gd name="connsiteX449" fmla="*/ 313708 w 951649"/>
                <a:gd name="connsiteY449" fmla="*/ 38964 h 614709"/>
                <a:gd name="connsiteX450" fmla="*/ 311439 w 951649"/>
                <a:gd name="connsiteY450" fmla="*/ 36544 h 614709"/>
                <a:gd name="connsiteX451" fmla="*/ 306628 w 951649"/>
                <a:gd name="connsiteY451" fmla="*/ 32763 h 614709"/>
                <a:gd name="connsiteX452" fmla="*/ 302484 w 951649"/>
                <a:gd name="connsiteY452" fmla="*/ 28195 h 614709"/>
                <a:gd name="connsiteX453" fmla="*/ 300730 w 951649"/>
                <a:gd name="connsiteY453" fmla="*/ 27015 h 614709"/>
                <a:gd name="connsiteX454" fmla="*/ 293741 w 951649"/>
                <a:gd name="connsiteY454" fmla="*/ 24806 h 614709"/>
                <a:gd name="connsiteX455" fmla="*/ 291442 w 951649"/>
                <a:gd name="connsiteY455" fmla="*/ 24474 h 614709"/>
                <a:gd name="connsiteX456" fmla="*/ 289385 w 951649"/>
                <a:gd name="connsiteY456" fmla="*/ 25411 h 614709"/>
                <a:gd name="connsiteX457" fmla="*/ 287419 w 951649"/>
                <a:gd name="connsiteY457" fmla="*/ 28195 h 614709"/>
                <a:gd name="connsiteX458" fmla="*/ 285150 w 951649"/>
                <a:gd name="connsiteY458" fmla="*/ 34668 h 614709"/>
                <a:gd name="connsiteX459" fmla="*/ 283819 w 951649"/>
                <a:gd name="connsiteY459" fmla="*/ 36998 h 614709"/>
                <a:gd name="connsiteX460" fmla="*/ 279493 w 951649"/>
                <a:gd name="connsiteY460" fmla="*/ 40144 h 614709"/>
                <a:gd name="connsiteX461" fmla="*/ 277890 w 951649"/>
                <a:gd name="connsiteY461" fmla="*/ 40386 h 614709"/>
                <a:gd name="connsiteX462" fmla="*/ 276256 w 951649"/>
                <a:gd name="connsiteY462" fmla="*/ 39932 h 614709"/>
                <a:gd name="connsiteX463" fmla="*/ 274683 w 951649"/>
                <a:gd name="connsiteY463" fmla="*/ 39024 h 614709"/>
                <a:gd name="connsiteX464" fmla="*/ 273140 w 951649"/>
                <a:gd name="connsiteY464" fmla="*/ 38026 h 614709"/>
                <a:gd name="connsiteX465" fmla="*/ 271356 w 951649"/>
                <a:gd name="connsiteY465" fmla="*/ 37270 h 614709"/>
                <a:gd name="connsiteX466" fmla="*/ 269813 w 951649"/>
                <a:gd name="connsiteY466" fmla="*/ 37361 h 614709"/>
                <a:gd name="connsiteX467" fmla="*/ 268966 w 951649"/>
                <a:gd name="connsiteY467" fmla="*/ 38994 h 614709"/>
                <a:gd name="connsiteX468" fmla="*/ 269843 w 951649"/>
                <a:gd name="connsiteY468" fmla="*/ 41808 h 614709"/>
                <a:gd name="connsiteX469" fmla="*/ 268996 w 951649"/>
                <a:gd name="connsiteY469" fmla="*/ 43653 h 614709"/>
                <a:gd name="connsiteX470" fmla="*/ 267181 w 951649"/>
                <a:gd name="connsiteY470" fmla="*/ 44803 h 614709"/>
                <a:gd name="connsiteX471" fmla="*/ 265124 w 951649"/>
                <a:gd name="connsiteY471" fmla="*/ 45377 h 614709"/>
                <a:gd name="connsiteX472" fmla="*/ 263490 w 951649"/>
                <a:gd name="connsiteY472" fmla="*/ 47162 h 614709"/>
                <a:gd name="connsiteX473" fmla="*/ 260949 w 951649"/>
                <a:gd name="connsiteY473" fmla="*/ 51488 h 614709"/>
                <a:gd name="connsiteX474" fmla="*/ 259315 w 951649"/>
                <a:gd name="connsiteY474" fmla="*/ 52880 h 614709"/>
                <a:gd name="connsiteX475" fmla="*/ 255292 w 951649"/>
                <a:gd name="connsiteY475" fmla="*/ 54271 h 614709"/>
                <a:gd name="connsiteX476" fmla="*/ 253658 w 951649"/>
                <a:gd name="connsiteY476" fmla="*/ 55300 h 614709"/>
                <a:gd name="connsiteX477" fmla="*/ 252599 w 951649"/>
                <a:gd name="connsiteY477" fmla="*/ 57145 h 614709"/>
                <a:gd name="connsiteX478" fmla="*/ 252630 w 951649"/>
                <a:gd name="connsiteY478" fmla="*/ 58325 h 614709"/>
                <a:gd name="connsiteX479" fmla="*/ 253144 w 951649"/>
                <a:gd name="connsiteY479" fmla="*/ 59233 h 614709"/>
                <a:gd name="connsiteX480" fmla="*/ 253325 w 951649"/>
                <a:gd name="connsiteY480" fmla="*/ 60231 h 614709"/>
                <a:gd name="connsiteX481" fmla="*/ 252478 w 951649"/>
                <a:gd name="connsiteY481" fmla="*/ 61774 h 614709"/>
                <a:gd name="connsiteX482" fmla="*/ 251873 w 951649"/>
                <a:gd name="connsiteY482" fmla="*/ 62137 h 614709"/>
                <a:gd name="connsiteX483" fmla="*/ 249695 w 951649"/>
                <a:gd name="connsiteY483" fmla="*/ 62349 h 614709"/>
                <a:gd name="connsiteX484" fmla="*/ 247638 w 951649"/>
                <a:gd name="connsiteY484" fmla="*/ 63226 h 614709"/>
                <a:gd name="connsiteX485" fmla="*/ 246428 w 951649"/>
                <a:gd name="connsiteY485" fmla="*/ 64103 h 614709"/>
                <a:gd name="connsiteX486" fmla="*/ 243948 w 951649"/>
                <a:gd name="connsiteY486" fmla="*/ 67128 h 614709"/>
                <a:gd name="connsiteX487" fmla="*/ 240983 w 951649"/>
                <a:gd name="connsiteY487" fmla="*/ 69488 h 614709"/>
                <a:gd name="connsiteX488" fmla="*/ 237323 w 951649"/>
                <a:gd name="connsiteY488" fmla="*/ 70940 h 614709"/>
                <a:gd name="connsiteX489" fmla="*/ 233481 w 951649"/>
                <a:gd name="connsiteY489" fmla="*/ 71454 h 614709"/>
                <a:gd name="connsiteX490" fmla="*/ 230002 w 951649"/>
                <a:gd name="connsiteY490" fmla="*/ 70940 h 614709"/>
                <a:gd name="connsiteX491" fmla="*/ 222560 w 951649"/>
                <a:gd name="connsiteY491" fmla="*/ 67309 h 614709"/>
                <a:gd name="connsiteX492" fmla="*/ 219444 w 951649"/>
                <a:gd name="connsiteY492" fmla="*/ 67975 h 614709"/>
                <a:gd name="connsiteX493" fmla="*/ 217810 w 951649"/>
                <a:gd name="connsiteY493" fmla="*/ 73420 h 614709"/>
                <a:gd name="connsiteX494" fmla="*/ 216661 w 951649"/>
                <a:gd name="connsiteY494" fmla="*/ 74419 h 614709"/>
                <a:gd name="connsiteX495" fmla="*/ 215330 w 951649"/>
                <a:gd name="connsiteY495" fmla="*/ 74933 h 614709"/>
                <a:gd name="connsiteX496" fmla="*/ 213878 w 951649"/>
                <a:gd name="connsiteY496" fmla="*/ 75054 h 614709"/>
                <a:gd name="connsiteX497" fmla="*/ 209219 w 951649"/>
                <a:gd name="connsiteY497" fmla="*/ 74389 h 614709"/>
                <a:gd name="connsiteX498" fmla="*/ 207948 w 951649"/>
                <a:gd name="connsiteY498" fmla="*/ 74509 h 614709"/>
                <a:gd name="connsiteX499" fmla="*/ 206164 w 951649"/>
                <a:gd name="connsiteY499" fmla="*/ 75115 h 614709"/>
                <a:gd name="connsiteX500" fmla="*/ 204318 w 951649"/>
                <a:gd name="connsiteY500" fmla="*/ 76052 h 614709"/>
                <a:gd name="connsiteX501" fmla="*/ 203169 w 951649"/>
                <a:gd name="connsiteY501" fmla="*/ 77141 h 614709"/>
                <a:gd name="connsiteX502" fmla="*/ 200960 w 951649"/>
                <a:gd name="connsiteY502" fmla="*/ 80197 h 614709"/>
                <a:gd name="connsiteX503" fmla="*/ 200204 w 951649"/>
                <a:gd name="connsiteY503" fmla="*/ 80923 h 614709"/>
                <a:gd name="connsiteX504" fmla="*/ 198480 w 951649"/>
                <a:gd name="connsiteY504" fmla="*/ 82072 h 614709"/>
                <a:gd name="connsiteX505" fmla="*/ 197754 w 951649"/>
                <a:gd name="connsiteY505" fmla="*/ 82919 h 614709"/>
                <a:gd name="connsiteX506" fmla="*/ 197360 w 951649"/>
                <a:gd name="connsiteY506" fmla="*/ 83948 h 614709"/>
                <a:gd name="connsiteX507" fmla="*/ 197028 w 951649"/>
                <a:gd name="connsiteY507" fmla="*/ 86459 h 614709"/>
                <a:gd name="connsiteX508" fmla="*/ 196725 w 951649"/>
                <a:gd name="connsiteY508" fmla="*/ 87639 h 614709"/>
                <a:gd name="connsiteX509" fmla="*/ 194214 w 951649"/>
                <a:gd name="connsiteY509" fmla="*/ 90906 h 614709"/>
                <a:gd name="connsiteX510" fmla="*/ 193912 w 951649"/>
                <a:gd name="connsiteY510" fmla="*/ 91813 h 614709"/>
                <a:gd name="connsiteX511" fmla="*/ 193851 w 951649"/>
                <a:gd name="connsiteY511" fmla="*/ 92812 h 614709"/>
                <a:gd name="connsiteX512" fmla="*/ 193700 w 951649"/>
                <a:gd name="connsiteY512" fmla="*/ 93719 h 614709"/>
                <a:gd name="connsiteX513" fmla="*/ 193670 w 951649"/>
                <a:gd name="connsiteY513" fmla="*/ 93870 h 614709"/>
                <a:gd name="connsiteX514" fmla="*/ 193125 w 951649"/>
                <a:gd name="connsiteY514" fmla="*/ 94899 h 614709"/>
                <a:gd name="connsiteX515" fmla="*/ 192338 w 951649"/>
                <a:gd name="connsiteY515" fmla="*/ 95443 h 614709"/>
                <a:gd name="connsiteX516" fmla="*/ 191764 w 951649"/>
                <a:gd name="connsiteY516" fmla="*/ 95837 h 614709"/>
                <a:gd name="connsiteX517" fmla="*/ 186833 w 951649"/>
                <a:gd name="connsiteY517" fmla="*/ 96986 h 614709"/>
                <a:gd name="connsiteX518" fmla="*/ 180601 w 951649"/>
                <a:gd name="connsiteY518" fmla="*/ 101342 h 614709"/>
                <a:gd name="connsiteX519" fmla="*/ 177636 w 951649"/>
                <a:gd name="connsiteY519" fmla="*/ 104307 h 614709"/>
                <a:gd name="connsiteX520" fmla="*/ 175700 w 951649"/>
                <a:gd name="connsiteY520" fmla="*/ 107665 h 614709"/>
                <a:gd name="connsiteX521" fmla="*/ 175973 w 951649"/>
                <a:gd name="connsiteY521" fmla="*/ 111930 h 614709"/>
                <a:gd name="connsiteX522" fmla="*/ 176850 w 951649"/>
                <a:gd name="connsiteY522" fmla="*/ 116650 h 614709"/>
                <a:gd name="connsiteX523" fmla="*/ 176971 w 951649"/>
                <a:gd name="connsiteY523" fmla="*/ 121187 h 614709"/>
                <a:gd name="connsiteX524" fmla="*/ 174974 w 951649"/>
                <a:gd name="connsiteY524" fmla="*/ 124969 h 614709"/>
                <a:gd name="connsiteX525" fmla="*/ 170497 w 951649"/>
                <a:gd name="connsiteY525" fmla="*/ 126179 h 614709"/>
                <a:gd name="connsiteX526" fmla="*/ 168682 w 951649"/>
                <a:gd name="connsiteY526" fmla="*/ 127207 h 614709"/>
                <a:gd name="connsiteX527" fmla="*/ 166837 w 951649"/>
                <a:gd name="connsiteY527" fmla="*/ 129113 h 614709"/>
                <a:gd name="connsiteX528" fmla="*/ 162964 w 951649"/>
                <a:gd name="connsiteY528" fmla="*/ 134316 h 614709"/>
                <a:gd name="connsiteX529" fmla="*/ 162329 w 951649"/>
                <a:gd name="connsiteY529" fmla="*/ 135920 h 614709"/>
                <a:gd name="connsiteX530" fmla="*/ 161180 w 951649"/>
                <a:gd name="connsiteY530" fmla="*/ 140790 h 614709"/>
                <a:gd name="connsiteX531" fmla="*/ 160665 w 951649"/>
                <a:gd name="connsiteY531" fmla="*/ 142031 h 614709"/>
                <a:gd name="connsiteX532" fmla="*/ 159485 w 951649"/>
                <a:gd name="connsiteY532" fmla="*/ 144058 h 614709"/>
                <a:gd name="connsiteX533" fmla="*/ 159062 w 951649"/>
                <a:gd name="connsiteY533" fmla="*/ 145570 h 614709"/>
                <a:gd name="connsiteX534" fmla="*/ 159032 w 951649"/>
                <a:gd name="connsiteY534" fmla="*/ 147143 h 614709"/>
                <a:gd name="connsiteX535" fmla="*/ 159274 w 951649"/>
                <a:gd name="connsiteY535" fmla="*/ 148353 h 614709"/>
                <a:gd name="connsiteX536" fmla="*/ 159304 w 951649"/>
                <a:gd name="connsiteY536" fmla="*/ 149624 h 614709"/>
                <a:gd name="connsiteX537" fmla="*/ 158699 w 951649"/>
                <a:gd name="connsiteY537" fmla="*/ 151287 h 614709"/>
                <a:gd name="connsiteX538" fmla="*/ 157852 w 951649"/>
                <a:gd name="connsiteY538" fmla="*/ 152377 h 614709"/>
                <a:gd name="connsiteX539" fmla="*/ 155644 w 951649"/>
                <a:gd name="connsiteY539" fmla="*/ 154343 h 614709"/>
                <a:gd name="connsiteX540" fmla="*/ 154676 w 951649"/>
                <a:gd name="connsiteY540" fmla="*/ 155644 h 614709"/>
                <a:gd name="connsiteX541" fmla="*/ 154222 w 951649"/>
                <a:gd name="connsiteY541" fmla="*/ 156854 h 614709"/>
                <a:gd name="connsiteX542" fmla="*/ 153738 w 951649"/>
                <a:gd name="connsiteY542" fmla="*/ 159274 h 614709"/>
                <a:gd name="connsiteX543" fmla="*/ 153042 w 951649"/>
                <a:gd name="connsiteY543" fmla="*/ 160454 h 614709"/>
                <a:gd name="connsiteX544" fmla="*/ 151015 w 951649"/>
                <a:gd name="connsiteY544" fmla="*/ 162299 h 614709"/>
                <a:gd name="connsiteX545" fmla="*/ 146054 w 951649"/>
                <a:gd name="connsiteY545" fmla="*/ 165354 h 614709"/>
                <a:gd name="connsiteX546" fmla="*/ 143785 w 951649"/>
                <a:gd name="connsiteY546" fmla="*/ 167291 h 614709"/>
                <a:gd name="connsiteX547" fmla="*/ 139883 w 951649"/>
                <a:gd name="connsiteY547" fmla="*/ 171647 h 614709"/>
                <a:gd name="connsiteX548" fmla="*/ 140004 w 951649"/>
                <a:gd name="connsiteY548" fmla="*/ 172070 h 614709"/>
                <a:gd name="connsiteX549" fmla="*/ 140246 w 951649"/>
                <a:gd name="connsiteY549" fmla="*/ 172797 h 614709"/>
                <a:gd name="connsiteX550" fmla="*/ 141123 w 951649"/>
                <a:gd name="connsiteY550" fmla="*/ 173189 h 614709"/>
                <a:gd name="connsiteX551" fmla="*/ 142091 w 951649"/>
                <a:gd name="connsiteY551" fmla="*/ 173371 h 614709"/>
                <a:gd name="connsiteX552" fmla="*/ 142787 w 951649"/>
                <a:gd name="connsiteY552" fmla="*/ 173886 h 614709"/>
                <a:gd name="connsiteX553" fmla="*/ 143694 w 951649"/>
                <a:gd name="connsiteY553" fmla="*/ 175458 h 614709"/>
                <a:gd name="connsiteX554" fmla="*/ 143755 w 951649"/>
                <a:gd name="connsiteY554" fmla="*/ 175610 h 614709"/>
                <a:gd name="connsiteX555" fmla="*/ 143362 w 951649"/>
                <a:gd name="connsiteY555" fmla="*/ 175731 h 614709"/>
                <a:gd name="connsiteX556" fmla="*/ 141456 w 951649"/>
                <a:gd name="connsiteY556" fmla="*/ 182416 h 614709"/>
                <a:gd name="connsiteX557" fmla="*/ 140609 w 951649"/>
                <a:gd name="connsiteY557" fmla="*/ 183414 h 614709"/>
                <a:gd name="connsiteX558" fmla="*/ 136010 w 951649"/>
                <a:gd name="connsiteY558" fmla="*/ 186863 h 614709"/>
                <a:gd name="connsiteX559" fmla="*/ 135557 w 951649"/>
                <a:gd name="connsiteY559" fmla="*/ 187045 h 614709"/>
                <a:gd name="connsiteX560" fmla="*/ 135436 w 951649"/>
                <a:gd name="connsiteY560" fmla="*/ 187408 h 614709"/>
                <a:gd name="connsiteX561" fmla="*/ 135284 w 951649"/>
                <a:gd name="connsiteY561" fmla="*/ 188981 h 614709"/>
                <a:gd name="connsiteX562" fmla="*/ 135375 w 951649"/>
                <a:gd name="connsiteY562" fmla="*/ 190645 h 614709"/>
                <a:gd name="connsiteX563" fmla="*/ 135708 w 951649"/>
                <a:gd name="connsiteY563" fmla="*/ 192067 h 614709"/>
                <a:gd name="connsiteX564" fmla="*/ 135738 w 951649"/>
                <a:gd name="connsiteY564" fmla="*/ 193549 h 614709"/>
                <a:gd name="connsiteX565" fmla="*/ 134921 w 951649"/>
                <a:gd name="connsiteY565" fmla="*/ 195243 h 614709"/>
                <a:gd name="connsiteX566" fmla="*/ 133863 w 951649"/>
                <a:gd name="connsiteY566" fmla="*/ 196090 h 614709"/>
                <a:gd name="connsiteX567" fmla="*/ 130172 w 951649"/>
                <a:gd name="connsiteY567" fmla="*/ 196998 h 614709"/>
                <a:gd name="connsiteX568" fmla="*/ 128084 w 951649"/>
                <a:gd name="connsiteY568" fmla="*/ 198813 h 614709"/>
                <a:gd name="connsiteX569" fmla="*/ 126814 w 951649"/>
                <a:gd name="connsiteY569" fmla="*/ 201021 h 614709"/>
                <a:gd name="connsiteX570" fmla="*/ 124636 w 951649"/>
                <a:gd name="connsiteY570" fmla="*/ 206466 h 614709"/>
                <a:gd name="connsiteX571" fmla="*/ 124213 w 951649"/>
                <a:gd name="connsiteY571" fmla="*/ 207102 h 614709"/>
                <a:gd name="connsiteX572" fmla="*/ 123880 w 951649"/>
                <a:gd name="connsiteY572" fmla="*/ 207797 h 614709"/>
                <a:gd name="connsiteX573" fmla="*/ 123638 w 951649"/>
                <a:gd name="connsiteY573" fmla="*/ 208614 h 614709"/>
                <a:gd name="connsiteX574" fmla="*/ 123547 w 951649"/>
                <a:gd name="connsiteY574" fmla="*/ 209431 h 614709"/>
                <a:gd name="connsiteX575" fmla="*/ 123759 w 951649"/>
                <a:gd name="connsiteY575" fmla="*/ 209794 h 614709"/>
                <a:gd name="connsiteX576" fmla="*/ 124031 w 951649"/>
                <a:gd name="connsiteY576" fmla="*/ 210096 h 614709"/>
                <a:gd name="connsiteX577" fmla="*/ 124303 w 951649"/>
                <a:gd name="connsiteY577" fmla="*/ 210369 h 614709"/>
                <a:gd name="connsiteX578" fmla="*/ 127026 w 951649"/>
                <a:gd name="connsiteY578" fmla="*/ 212093 h 614709"/>
                <a:gd name="connsiteX579" fmla="*/ 126693 w 951649"/>
                <a:gd name="connsiteY579" fmla="*/ 214725 h 614709"/>
                <a:gd name="connsiteX580" fmla="*/ 124848 w 951649"/>
                <a:gd name="connsiteY580" fmla="*/ 217236 h 614709"/>
                <a:gd name="connsiteX581" fmla="*/ 122851 w 951649"/>
                <a:gd name="connsiteY581" fmla="*/ 218294 h 614709"/>
                <a:gd name="connsiteX582" fmla="*/ 120098 w 951649"/>
                <a:gd name="connsiteY582" fmla="*/ 218748 h 614709"/>
                <a:gd name="connsiteX583" fmla="*/ 119009 w 951649"/>
                <a:gd name="connsiteY583" fmla="*/ 220321 h 614709"/>
                <a:gd name="connsiteX584" fmla="*/ 118828 w 951649"/>
                <a:gd name="connsiteY584" fmla="*/ 220835 h 614709"/>
                <a:gd name="connsiteX585" fmla="*/ 118132 w 951649"/>
                <a:gd name="connsiteY585" fmla="*/ 222560 h 614709"/>
                <a:gd name="connsiteX586" fmla="*/ 116044 w 951649"/>
                <a:gd name="connsiteY586" fmla="*/ 225101 h 614709"/>
                <a:gd name="connsiteX587" fmla="*/ 113866 w 951649"/>
                <a:gd name="connsiteY587" fmla="*/ 226190 h 614709"/>
                <a:gd name="connsiteX588" fmla="*/ 110176 w 951649"/>
                <a:gd name="connsiteY588" fmla="*/ 225918 h 614709"/>
                <a:gd name="connsiteX589" fmla="*/ 108028 w 951649"/>
                <a:gd name="connsiteY589" fmla="*/ 226432 h 614709"/>
                <a:gd name="connsiteX590" fmla="*/ 106485 w 951649"/>
                <a:gd name="connsiteY590" fmla="*/ 228126 h 614709"/>
                <a:gd name="connsiteX591" fmla="*/ 105910 w 951649"/>
                <a:gd name="connsiteY591" fmla="*/ 230667 h 614709"/>
                <a:gd name="connsiteX592" fmla="*/ 105517 w 951649"/>
                <a:gd name="connsiteY592" fmla="*/ 235810 h 614709"/>
                <a:gd name="connsiteX593" fmla="*/ 104277 w 951649"/>
                <a:gd name="connsiteY593" fmla="*/ 238260 h 614709"/>
                <a:gd name="connsiteX594" fmla="*/ 102522 w 951649"/>
                <a:gd name="connsiteY594" fmla="*/ 240287 h 614709"/>
                <a:gd name="connsiteX595" fmla="*/ 101131 w 951649"/>
                <a:gd name="connsiteY595" fmla="*/ 242405 h 614709"/>
                <a:gd name="connsiteX596" fmla="*/ 100858 w 951649"/>
                <a:gd name="connsiteY596" fmla="*/ 245188 h 614709"/>
                <a:gd name="connsiteX597" fmla="*/ 103823 w 951649"/>
                <a:gd name="connsiteY597" fmla="*/ 250331 h 614709"/>
                <a:gd name="connsiteX598" fmla="*/ 104428 w 951649"/>
                <a:gd name="connsiteY598" fmla="*/ 253296 h 614709"/>
                <a:gd name="connsiteX599" fmla="*/ 102099 w 951649"/>
                <a:gd name="connsiteY599" fmla="*/ 254899 h 614709"/>
                <a:gd name="connsiteX600" fmla="*/ 97863 w 951649"/>
                <a:gd name="connsiteY600" fmla="*/ 255080 h 614709"/>
                <a:gd name="connsiteX601" fmla="*/ 95897 w 951649"/>
                <a:gd name="connsiteY601" fmla="*/ 255746 h 614709"/>
                <a:gd name="connsiteX602" fmla="*/ 94173 w 951649"/>
                <a:gd name="connsiteY602" fmla="*/ 257561 h 614709"/>
                <a:gd name="connsiteX603" fmla="*/ 93175 w 951649"/>
                <a:gd name="connsiteY603" fmla="*/ 260465 h 614709"/>
                <a:gd name="connsiteX604" fmla="*/ 92751 w 951649"/>
                <a:gd name="connsiteY604" fmla="*/ 266425 h 614709"/>
                <a:gd name="connsiteX605" fmla="*/ 91874 w 951649"/>
                <a:gd name="connsiteY605" fmla="*/ 268996 h 614709"/>
                <a:gd name="connsiteX606" fmla="*/ 90724 w 951649"/>
                <a:gd name="connsiteY606" fmla="*/ 271023 h 614709"/>
                <a:gd name="connsiteX607" fmla="*/ 89786 w 951649"/>
                <a:gd name="connsiteY607" fmla="*/ 271719 h 614709"/>
                <a:gd name="connsiteX608" fmla="*/ 86822 w 951649"/>
                <a:gd name="connsiteY608" fmla="*/ 271688 h 614709"/>
                <a:gd name="connsiteX609" fmla="*/ 86186 w 951649"/>
                <a:gd name="connsiteY609" fmla="*/ 272021 h 614709"/>
                <a:gd name="connsiteX610" fmla="*/ 81376 w 951649"/>
                <a:gd name="connsiteY610" fmla="*/ 277376 h 614709"/>
                <a:gd name="connsiteX611" fmla="*/ 79561 w 951649"/>
                <a:gd name="connsiteY611" fmla="*/ 278011 h 614709"/>
                <a:gd name="connsiteX612" fmla="*/ 77595 w 951649"/>
                <a:gd name="connsiteY612" fmla="*/ 276438 h 614709"/>
                <a:gd name="connsiteX613" fmla="*/ 76899 w 951649"/>
                <a:gd name="connsiteY613" fmla="*/ 275681 h 614709"/>
                <a:gd name="connsiteX614" fmla="*/ 76113 w 951649"/>
                <a:gd name="connsiteY614" fmla="*/ 275318 h 614709"/>
                <a:gd name="connsiteX615" fmla="*/ 75235 w 951649"/>
                <a:gd name="connsiteY615" fmla="*/ 275318 h 614709"/>
                <a:gd name="connsiteX616" fmla="*/ 74328 w 951649"/>
                <a:gd name="connsiteY616" fmla="*/ 275681 h 614709"/>
                <a:gd name="connsiteX617" fmla="*/ 72331 w 951649"/>
                <a:gd name="connsiteY617" fmla="*/ 275742 h 614709"/>
                <a:gd name="connsiteX618" fmla="*/ 68580 w 951649"/>
                <a:gd name="connsiteY618" fmla="*/ 274260 h 614709"/>
                <a:gd name="connsiteX619" fmla="*/ 66795 w 951649"/>
                <a:gd name="connsiteY619" fmla="*/ 273897 h 614709"/>
                <a:gd name="connsiteX620" fmla="*/ 66099 w 951649"/>
                <a:gd name="connsiteY620" fmla="*/ 274109 h 614709"/>
                <a:gd name="connsiteX621" fmla="*/ 64617 w 951649"/>
                <a:gd name="connsiteY621" fmla="*/ 274865 h 614709"/>
                <a:gd name="connsiteX622" fmla="*/ 63649 w 951649"/>
                <a:gd name="connsiteY622" fmla="*/ 274955 h 614709"/>
                <a:gd name="connsiteX623" fmla="*/ 62802 w 951649"/>
                <a:gd name="connsiteY623" fmla="*/ 274592 h 614709"/>
                <a:gd name="connsiteX624" fmla="*/ 60987 w 951649"/>
                <a:gd name="connsiteY624" fmla="*/ 273171 h 614709"/>
                <a:gd name="connsiteX625" fmla="*/ 60079 w 951649"/>
                <a:gd name="connsiteY625" fmla="*/ 272717 h 614709"/>
                <a:gd name="connsiteX626" fmla="*/ 58053 w 951649"/>
                <a:gd name="connsiteY626" fmla="*/ 272626 h 614709"/>
                <a:gd name="connsiteX627" fmla="*/ 55935 w 951649"/>
                <a:gd name="connsiteY627" fmla="*/ 273171 h 614709"/>
                <a:gd name="connsiteX628" fmla="*/ 54816 w 951649"/>
                <a:gd name="connsiteY628" fmla="*/ 273746 h 614709"/>
                <a:gd name="connsiteX629" fmla="*/ 53908 w 951649"/>
                <a:gd name="connsiteY629" fmla="*/ 274169 h 614709"/>
                <a:gd name="connsiteX630" fmla="*/ 49975 w 951649"/>
                <a:gd name="connsiteY630" fmla="*/ 277194 h 614709"/>
                <a:gd name="connsiteX631" fmla="*/ 49522 w 951649"/>
                <a:gd name="connsiteY631" fmla="*/ 277950 h 614709"/>
                <a:gd name="connsiteX632" fmla="*/ 49582 w 951649"/>
                <a:gd name="connsiteY632" fmla="*/ 279191 h 614709"/>
                <a:gd name="connsiteX633" fmla="*/ 50520 w 951649"/>
                <a:gd name="connsiteY633" fmla="*/ 282155 h 614709"/>
                <a:gd name="connsiteX634" fmla="*/ 50520 w 951649"/>
                <a:gd name="connsiteY634" fmla="*/ 283244 h 614709"/>
                <a:gd name="connsiteX635" fmla="*/ 49703 w 951649"/>
                <a:gd name="connsiteY635" fmla="*/ 283971 h 614709"/>
                <a:gd name="connsiteX636" fmla="*/ 48735 w 951649"/>
                <a:gd name="connsiteY636" fmla="*/ 283849 h 614709"/>
                <a:gd name="connsiteX637" fmla="*/ 47797 w 951649"/>
                <a:gd name="connsiteY637" fmla="*/ 283547 h 614709"/>
                <a:gd name="connsiteX638" fmla="*/ 47041 w 951649"/>
                <a:gd name="connsiteY638" fmla="*/ 283789 h 614709"/>
                <a:gd name="connsiteX639" fmla="*/ 46557 w 951649"/>
                <a:gd name="connsiteY639" fmla="*/ 284787 h 614709"/>
                <a:gd name="connsiteX640" fmla="*/ 46436 w 951649"/>
                <a:gd name="connsiteY640" fmla="*/ 286390 h 614709"/>
                <a:gd name="connsiteX641" fmla="*/ 46436 w 951649"/>
                <a:gd name="connsiteY641" fmla="*/ 286693 h 614709"/>
                <a:gd name="connsiteX642" fmla="*/ 45892 w 951649"/>
                <a:gd name="connsiteY642" fmla="*/ 287994 h 614709"/>
                <a:gd name="connsiteX643" fmla="*/ 44349 w 951649"/>
                <a:gd name="connsiteY643" fmla="*/ 289567 h 614709"/>
                <a:gd name="connsiteX644" fmla="*/ 42382 w 951649"/>
                <a:gd name="connsiteY644" fmla="*/ 290505 h 614709"/>
                <a:gd name="connsiteX645" fmla="*/ 36695 w 951649"/>
                <a:gd name="connsiteY645" fmla="*/ 291594 h 614709"/>
                <a:gd name="connsiteX646" fmla="*/ 35969 w 951649"/>
                <a:gd name="connsiteY646" fmla="*/ 291563 h 614709"/>
                <a:gd name="connsiteX647" fmla="*/ 34729 w 951649"/>
                <a:gd name="connsiteY647" fmla="*/ 291140 h 614709"/>
                <a:gd name="connsiteX648" fmla="*/ 33730 w 951649"/>
                <a:gd name="connsiteY648" fmla="*/ 290535 h 614709"/>
                <a:gd name="connsiteX649" fmla="*/ 30796 w 951649"/>
                <a:gd name="connsiteY649" fmla="*/ 288054 h 614709"/>
                <a:gd name="connsiteX650" fmla="*/ 26833 w 951649"/>
                <a:gd name="connsiteY650" fmla="*/ 286512 h 614709"/>
                <a:gd name="connsiteX651" fmla="*/ 22719 w 951649"/>
                <a:gd name="connsiteY651" fmla="*/ 285634 h 614709"/>
                <a:gd name="connsiteX652" fmla="*/ 20269 w 951649"/>
                <a:gd name="connsiteY652" fmla="*/ 289265 h 614709"/>
                <a:gd name="connsiteX653" fmla="*/ 4084 w 951649"/>
                <a:gd name="connsiteY653" fmla="*/ 289688 h 614709"/>
                <a:gd name="connsiteX654" fmla="*/ 0 w 951649"/>
                <a:gd name="connsiteY654" fmla="*/ 294437 h 614709"/>
                <a:gd name="connsiteX655" fmla="*/ 6322 w 951649"/>
                <a:gd name="connsiteY655" fmla="*/ 301698 h 614709"/>
                <a:gd name="connsiteX656" fmla="*/ 7533 w 951649"/>
                <a:gd name="connsiteY656" fmla="*/ 303694 h 614709"/>
                <a:gd name="connsiteX657" fmla="*/ 9650 w 951649"/>
                <a:gd name="connsiteY657" fmla="*/ 309775 h 614709"/>
                <a:gd name="connsiteX658" fmla="*/ 11193 w 951649"/>
                <a:gd name="connsiteY658" fmla="*/ 311923 h 614709"/>
                <a:gd name="connsiteX659" fmla="*/ 12887 w 951649"/>
                <a:gd name="connsiteY659" fmla="*/ 313102 h 614709"/>
                <a:gd name="connsiteX660" fmla="*/ 16850 w 951649"/>
                <a:gd name="connsiteY660" fmla="*/ 314736 h 614709"/>
                <a:gd name="connsiteX661" fmla="*/ 18726 w 951649"/>
                <a:gd name="connsiteY661" fmla="*/ 315886 h 614709"/>
                <a:gd name="connsiteX662" fmla="*/ 24050 w 951649"/>
                <a:gd name="connsiteY662" fmla="*/ 320423 h 614709"/>
                <a:gd name="connsiteX663" fmla="*/ 25865 w 951649"/>
                <a:gd name="connsiteY663" fmla="*/ 321210 h 614709"/>
                <a:gd name="connsiteX664" fmla="*/ 29707 w 951649"/>
                <a:gd name="connsiteY664" fmla="*/ 321603 h 614709"/>
                <a:gd name="connsiteX665" fmla="*/ 31583 w 951649"/>
                <a:gd name="connsiteY665" fmla="*/ 322299 h 614709"/>
                <a:gd name="connsiteX666" fmla="*/ 33126 w 951649"/>
                <a:gd name="connsiteY666" fmla="*/ 323721 h 614709"/>
                <a:gd name="connsiteX667" fmla="*/ 36483 w 951649"/>
                <a:gd name="connsiteY667" fmla="*/ 329257 h 614709"/>
                <a:gd name="connsiteX668" fmla="*/ 37179 w 951649"/>
                <a:gd name="connsiteY668" fmla="*/ 329862 h 614709"/>
                <a:gd name="connsiteX669" fmla="*/ 38934 w 951649"/>
                <a:gd name="connsiteY669" fmla="*/ 330951 h 614709"/>
                <a:gd name="connsiteX670" fmla="*/ 39629 w 951649"/>
                <a:gd name="connsiteY670" fmla="*/ 331768 h 614709"/>
                <a:gd name="connsiteX671" fmla="*/ 39992 w 951649"/>
                <a:gd name="connsiteY671" fmla="*/ 332887 h 614709"/>
                <a:gd name="connsiteX672" fmla="*/ 40204 w 951649"/>
                <a:gd name="connsiteY672" fmla="*/ 335579 h 614709"/>
                <a:gd name="connsiteX673" fmla="*/ 40325 w 951649"/>
                <a:gd name="connsiteY673" fmla="*/ 336003 h 614709"/>
                <a:gd name="connsiteX674" fmla="*/ 40567 w 951649"/>
                <a:gd name="connsiteY674" fmla="*/ 336850 h 614709"/>
                <a:gd name="connsiteX675" fmla="*/ 41535 w 951649"/>
                <a:gd name="connsiteY675" fmla="*/ 338363 h 614709"/>
                <a:gd name="connsiteX676" fmla="*/ 43865 w 951649"/>
                <a:gd name="connsiteY676" fmla="*/ 341085 h 614709"/>
                <a:gd name="connsiteX677" fmla="*/ 44803 w 951649"/>
                <a:gd name="connsiteY677" fmla="*/ 342870 h 614709"/>
                <a:gd name="connsiteX678" fmla="*/ 46012 w 951649"/>
                <a:gd name="connsiteY678" fmla="*/ 343898 h 614709"/>
                <a:gd name="connsiteX679" fmla="*/ 47344 w 951649"/>
                <a:gd name="connsiteY679" fmla="*/ 344171 h 614709"/>
                <a:gd name="connsiteX680" fmla="*/ 48705 w 951649"/>
                <a:gd name="connsiteY680" fmla="*/ 343808 h 614709"/>
                <a:gd name="connsiteX681" fmla="*/ 49975 w 951649"/>
                <a:gd name="connsiteY681" fmla="*/ 342840 h 614709"/>
                <a:gd name="connsiteX682" fmla="*/ 50580 w 951649"/>
                <a:gd name="connsiteY682" fmla="*/ 341327 h 614709"/>
                <a:gd name="connsiteX683" fmla="*/ 51458 w 951649"/>
                <a:gd name="connsiteY683" fmla="*/ 340178 h 614709"/>
                <a:gd name="connsiteX684" fmla="*/ 52547 w 951649"/>
                <a:gd name="connsiteY684" fmla="*/ 339754 h 614709"/>
                <a:gd name="connsiteX685" fmla="*/ 53817 w 951649"/>
                <a:gd name="connsiteY685" fmla="*/ 340329 h 614709"/>
                <a:gd name="connsiteX686" fmla="*/ 54634 w 951649"/>
                <a:gd name="connsiteY686" fmla="*/ 341630 h 614709"/>
                <a:gd name="connsiteX687" fmla="*/ 54634 w 951649"/>
                <a:gd name="connsiteY687" fmla="*/ 342840 h 614709"/>
                <a:gd name="connsiteX688" fmla="*/ 54211 w 951649"/>
                <a:gd name="connsiteY688" fmla="*/ 344110 h 614709"/>
                <a:gd name="connsiteX689" fmla="*/ 53968 w 951649"/>
                <a:gd name="connsiteY689" fmla="*/ 345441 h 614709"/>
                <a:gd name="connsiteX690" fmla="*/ 54059 w 951649"/>
                <a:gd name="connsiteY690" fmla="*/ 352339 h 614709"/>
                <a:gd name="connsiteX691" fmla="*/ 53787 w 951649"/>
                <a:gd name="connsiteY691" fmla="*/ 354184 h 614709"/>
                <a:gd name="connsiteX692" fmla="*/ 53394 w 951649"/>
                <a:gd name="connsiteY692" fmla="*/ 355334 h 614709"/>
                <a:gd name="connsiteX693" fmla="*/ 52275 w 951649"/>
                <a:gd name="connsiteY693" fmla="*/ 357753 h 614709"/>
                <a:gd name="connsiteX694" fmla="*/ 51488 w 951649"/>
                <a:gd name="connsiteY694" fmla="*/ 361051 h 614709"/>
                <a:gd name="connsiteX695" fmla="*/ 51851 w 951649"/>
                <a:gd name="connsiteY695" fmla="*/ 363199 h 614709"/>
                <a:gd name="connsiteX696" fmla="*/ 54816 w 951649"/>
                <a:gd name="connsiteY696" fmla="*/ 367888 h 614709"/>
                <a:gd name="connsiteX697" fmla="*/ 56086 w 951649"/>
                <a:gd name="connsiteY697" fmla="*/ 370943 h 614709"/>
                <a:gd name="connsiteX698" fmla="*/ 55844 w 951649"/>
                <a:gd name="connsiteY698" fmla="*/ 372789 h 614709"/>
                <a:gd name="connsiteX699" fmla="*/ 54362 w 951649"/>
                <a:gd name="connsiteY699" fmla="*/ 374180 h 614709"/>
                <a:gd name="connsiteX700" fmla="*/ 52123 w 951649"/>
                <a:gd name="connsiteY700" fmla="*/ 375844 h 614709"/>
                <a:gd name="connsiteX701" fmla="*/ 52759 w 951649"/>
                <a:gd name="connsiteY701" fmla="*/ 377689 h 614709"/>
                <a:gd name="connsiteX702" fmla="*/ 54211 w 951649"/>
                <a:gd name="connsiteY702" fmla="*/ 378567 h 614709"/>
                <a:gd name="connsiteX703" fmla="*/ 56026 w 951649"/>
                <a:gd name="connsiteY703" fmla="*/ 379111 h 614709"/>
                <a:gd name="connsiteX704" fmla="*/ 57690 w 951649"/>
                <a:gd name="connsiteY704" fmla="*/ 379867 h 614709"/>
                <a:gd name="connsiteX705" fmla="*/ 59142 w 951649"/>
                <a:gd name="connsiteY705" fmla="*/ 381229 h 614709"/>
                <a:gd name="connsiteX706" fmla="*/ 62409 w 951649"/>
                <a:gd name="connsiteY706" fmla="*/ 385676 h 614709"/>
                <a:gd name="connsiteX707" fmla="*/ 68913 w 951649"/>
                <a:gd name="connsiteY707" fmla="*/ 391091 h 614709"/>
                <a:gd name="connsiteX708" fmla="*/ 72815 w 951649"/>
                <a:gd name="connsiteY708" fmla="*/ 395810 h 614709"/>
                <a:gd name="connsiteX709" fmla="*/ 74328 w 951649"/>
                <a:gd name="connsiteY709" fmla="*/ 396960 h 614709"/>
                <a:gd name="connsiteX710" fmla="*/ 77867 w 951649"/>
                <a:gd name="connsiteY710" fmla="*/ 398442 h 614709"/>
                <a:gd name="connsiteX711" fmla="*/ 82647 w 951649"/>
                <a:gd name="connsiteY711" fmla="*/ 400439 h 614709"/>
                <a:gd name="connsiteX712" fmla="*/ 83676 w 951649"/>
                <a:gd name="connsiteY712" fmla="*/ 401195 h 614709"/>
                <a:gd name="connsiteX713" fmla="*/ 84523 w 951649"/>
                <a:gd name="connsiteY713" fmla="*/ 402102 h 614709"/>
                <a:gd name="connsiteX714" fmla="*/ 85400 w 951649"/>
                <a:gd name="connsiteY714" fmla="*/ 402828 h 614709"/>
                <a:gd name="connsiteX715" fmla="*/ 86580 w 951649"/>
                <a:gd name="connsiteY715" fmla="*/ 403100 h 614709"/>
                <a:gd name="connsiteX716" fmla="*/ 87578 w 951649"/>
                <a:gd name="connsiteY716" fmla="*/ 402677 h 614709"/>
                <a:gd name="connsiteX717" fmla="*/ 89181 w 951649"/>
                <a:gd name="connsiteY717" fmla="*/ 401013 h 614709"/>
                <a:gd name="connsiteX718" fmla="*/ 90210 w 951649"/>
                <a:gd name="connsiteY718" fmla="*/ 400771 h 614709"/>
                <a:gd name="connsiteX719" fmla="*/ 91843 w 951649"/>
                <a:gd name="connsiteY719" fmla="*/ 401891 h 614709"/>
                <a:gd name="connsiteX720" fmla="*/ 95292 w 951649"/>
                <a:gd name="connsiteY720" fmla="*/ 406579 h 614709"/>
                <a:gd name="connsiteX721" fmla="*/ 96926 w 951649"/>
                <a:gd name="connsiteY721" fmla="*/ 408364 h 614709"/>
                <a:gd name="connsiteX722" fmla="*/ 100253 w 951649"/>
                <a:gd name="connsiteY722" fmla="*/ 410542 h 614709"/>
                <a:gd name="connsiteX723" fmla="*/ 102068 w 951649"/>
                <a:gd name="connsiteY723" fmla="*/ 411208 h 614709"/>
                <a:gd name="connsiteX724" fmla="*/ 106334 w 951649"/>
                <a:gd name="connsiteY724" fmla="*/ 411329 h 614709"/>
                <a:gd name="connsiteX725" fmla="*/ 117013 w 951649"/>
                <a:gd name="connsiteY725" fmla="*/ 414415 h 614709"/>
                <a:gd name="connsiteX726" fmla="*/ 119856 w 951649"/>
                <a:gd name="connsiteY726" fmla="*/ 415836 h 614709"/>
                <a:gd name="connsiteX727" fmla="*/ 122427 w 951649"/>
                <a:gd name="connsiteY727" fmla="*/ 417773 h 614709"/>
                <a:gd name="connsiteX728" fmla="*/ 124939 w 951649"/>
                <a:gd name="connsiteY728" fmla="*/ 420556 h 614709"/>
                <a:gd name="connsiteX729" fmla="*/ 125846 w 951649"/>
                <a:gd name="connsiteY729" fmla="*/ 421554 h 614709"/>
                <a:gd name="connsiteX730" fmla="*/ 126300 w 951649"/>
                <a:gd name="connsiteY730" fmla="*/ 423278 h 614709"/>
                <a:gd name="connsiteX731" fmla="*/ 125906 w 951649"/>
                <a:gd name="connsiteY731" fmla="*/ 424942 h 614709"/>
                <a:gd name="connsiteX732" fmla="*/ 124636 w 951649"/>
                <a:gd name="connsiteY732" fmla="*/ 425971 h 614709"/>
                <a:gd name="connsiteX733" fmla="*/ 123396 w 951649"/>
                <a:gd name="connsiteY733" fmla="*/ 426031 h 614709"/>
                <a:gd name="connsiteX734" fmla="*/ 122337 w 951649"/>
                <a:gd name="connsiteY734" fmla="*/ 426515 h 614709"/>
                <a:gd name="connsiteX735" fmla="*/ 121490 w 951649"/>
                <a:gd name="connsiteY735" fmla="*/ 427332 h 614709"/>
                <a:gd name="connsiteX736" fmla="*/ 120703 w 951649"/>
                <a:gd name="connsiteY736" fmla="*/ 428391 h 614709"/>
                <a:gd name="connsiteX737" fmla="*/ 120855 w 951649"/>
                <a:gd name="connsiteY737" fmla="*/ 428572 h 614709"/>
                <a:gd name="connsiteX738" fmla="*/ 120915 w 951649"/>
                <a:gd name="connsiteY738" fmla="*/ 429389 h 614709"/>
                <a:gd name="connsiteX739" fmla="*/ 120915 w 951649"/>
                <a:gd name="connsiteY739" fmla="*/ 430357 h 614709"/>
                <a:gd name="connsiteX740" fmla="*/ 120855 w 951649"/>
                <a:gd name="connsiteY740" fmla="*/ 430992 h 614709"/>
                <a:gd name="connsiteX741" fmla="*/ 120582 w 951649"/>
                <a:gd name="connsiteY741" fmla="*/ 431567 h 614709"/>
                <a:gd name="connsiteX742" fmla="*/ 119735 w 951649"/>
                <a:gd name="connsiteY742" fmla="*/ 432505 h 614709"/>
                <a:gd name="connsiteX743" fmla="*/ 119433 w 951649"/>
                <a:gd name="connsiteY743" fmla="*/ 433049 h 614709"/>
                <a:gd name="connsiteX744" fmla="*/ 119039 w 951649"/>
                <a:gd name="connsiteY744" fmla="*/ 434895 h 614709"/>
                <a:gd name="connsiteX745" fmla="*/ 118979 w 951649"/>
                <a:gd name="connsiteY745" fmla="*/ 435802 h 614709"/>
                <a:gd name="connsiteX746" fmla="*/ 118646 w 951649"/>
                <a:gd name="connsiteY746" fmla="*/ 436407 h 614709"/>
                <a:gd name="connsiteX747" fmla="*/ 117376 w 951649"/>
                <a:gd name="connsiteY747" fmla="*/ 437406 h 614709"/>
                <a:gd name="connsiteX748" fmla="*/ 116317 w 951649"/>
                <a:gd name="connsiteY748" fmla="*/ 437738 h 614709"/>
                <a:gd name="connsiteX749" fmla="*/ 113776 w 951649"/>
                <a:gd name="connsiteY749" fmla="*/ 437920 h 614709"/>
                <a:gd name="connsiteX750" fmla="*/ 112777 w 951649"/>
                <a:gd name="connsiteY750" fmla="*/ 438374 h 614709"/>
                <a:gd name="connsiteX751" fmla="*/ 112021 w 951649"/>
                <a:gd name="connsiteY751" fmla="*/ 439402 h 614709"/>
                <a:gd name="connsiteX752" fmla="*/ 111537 w 951649"/>
                <a:gd name="connsiteY752" fmla="*/ 440764 h 614709"/>
                <a:gd name="connsiteX753" fmla="*/ 111779 w 951649"/>
                <a:gd name="connsiteY753" fmla="*/ 441853 h 614709"/>
                <a:gd name="connsiteX754" fmla="*/ 113140 w 951649"/>
                <a:gd name="connsiteY754" fmla="*/ 442185 h 614709"/>
                <a:gd name="connsiteX755" fmla="*/ 114834 w 951649"/>
                <a:gd name="connsiteY755" fmla="*/ 442276 h 614709"/>
                <a:gd name="connsiteX756" fmla="*/ 115137 w 951649"/>
                <a:gd name="connsiteY756" fmla="*/ 442942 h 614709"/>
                <a:gd name="connsiteX757" fmla="*/ 114895 w 951649"/>
                <a:gd name="connsiteY757" fmla="*/ 443789 h 614709"/>
                <a:gd name="connsiteX758" fmla="*/ 114955 w 951649"/>
                <a:gd name="connsiteY758" fmla="*/ 444515 h 614709"/>
                <a:gd name="connsiteX759" fmla="*/ 117315 w 951649"/>
                <a:gd name="connsiteY759" fmla="*/ 445967 h 614709"/>
                <a:gd name="connsiteX760" fmla="*/ 122125 w 951649"/>
                <a:gd name="connsiteY760" fmla="*/ 446753 h 614709"/>
                <a:gd name="connsiteX761" fmla="*/ 124636 w 951649"/>
                <a:gd name="connsiteY761" fmla="*/ 447903 h 614709"/>
                <a:gd name="connsiteX762" fmla="*/ 128175 w 951649"/>
                <a:gd name="connsiteY762" fmla="*/ 449143 h 614709"/>
                <a:gd name="connsiteX763" fmla="*/ 129627 w 951649"/>
                <a:gd name="connsiteY763" fmla="*/ 450353 h 614709"/>
                <a:gd name="connsiteX764" fmla="*/ 130444 w 951649"/>
                <a:gd name="connsiteY764" fmla="*/ 452471 h 614709"/>
                <a:gd name="connsiteX765" fmla="*/ 130172 w 951649"/>
                <a:gd name="connsiteY765" fmla="*/ 454982 h 614709"/>
                <a:gd name="connsiteX766" fmla="*/ 128750 w 951649"/>
                <a:gd name="connsiteY766" fmla="*/ 456071 h 614709"/>
                <a:gd name="connsiteX767" fmla="*/ 124636 w 951649"/>
                <a:gd name="connsiteY767" fmla="*/ 457130 h 614709"/>
                <a:gd name="connsiteX768" fmla="*/ 121823 w 951649"/>
                <a:gd name="connsiteY768" fmla="*/ 457523 h 614709"/>
                <a:gd name="connsiteX769" fmla="*/ 115984 w 951649"/>
                <a:gd name="connsiteY769" fmla="*/ 457251 h 614709"/>
                <a:gd name="connsiteX770" fmla="*/ 113292 w 951649"/>
                <a:gd name="connsiteY770" fmla="*/ 458158 h 614709"/>
                <a:gd name="connsiteX771" fmla="*/ 111991 w 951649"/>
                <a:gd name="connsiteY771" fmla="*/ 459217 h 614709"/>
                <a:gd name="connsiteX772" fmla="*/ 111053 w 951649"/>
                <a:gd name="connsiteY772" fmla="*/ 460639 h 614709"/>
                <a:gd name="connsiteX773" fmla="*/ 110690 w 951649"/>
                <a:gd name="connsiteY773" fmla="*/ 462424 h 614709"/>
                <a:gd name="connsiteX774" fmla="*/ 112414 w 951649"/>
                <a:gd name="connsiteY774" fmla="*/ 463119 h 614709"/>
                <a:gd name="connsiteX775" fmla="*/ 112414 w 951649"/>
                <a:gd name="connsiteY775" fmla="*/ 463119 h 614709"/>
                <a:gd name="connsiteX776" fmla="*/ 112475 w 951649"/>
                <a:gd name="connsiteY776" fmla="*/ 463150 h 614709"/>
                <a:gd name="connsiteX777" fmla="*/ 114290 w 951649"/>
                <a:gd name="connsiteY777" fmla="*/ 464420 h 614709"/>
                <a:gd name="connsiteX778" fmla="*/ 116044 w 951649"/>
                <a:gd name="connsiteY778" fmla="*/ 467869 h 614709"/>
                <a:gd name="connsiteX779" fmla="*/ 117678 w 951649"/>
                <a:gd name="connsiteY779" fmla="*/ 468565 h 614709"/>
                <a:gd name="connsiteX780" fmla="*/ 126239 w 951649"/>
                <a:gd name="connsiteY780" fmla="*/ 469442 h 614709"/>
                <a:gd name="connsiteX781" fmla="*/ 132380 w 951649"/>
                <a:gd name="connsiteY781" fmla="*/ 468958 h 614709"/>
                <a:gd name="connsiteX782" fmla="*/ 134347 w 951649"/>
                <a:gd name="connsiteY782" fmla="*/ 469502 h 614709"/>
                <a:gd name="connsiteX783" fmla="*/ 136131 w 951649"/>
                <a:gd name="connsiteY783" fmla="*/ 471015 h 614709"/>
                <a:gd name="connsiteX784" fmla="*/ 137009 w 951649"/>
                <a:gd name="connsiteY784" fmla="*/ 473102 h 614709"/>
                <a:gd name="connsiteX785" fmla="*/ 137614 w 951649"/>
                <a:gd name="connsiteY785" fmla="*/ 475432 h 614709"/>
                <a:gd name="connsiteX786" fmla="*/ 138552 w 951649"/>
                <a:gd name="connsiteY786" fmla="*/ 477791 h 614709"/>
                <a:gd name="connsiteX787" fmla="*/ 142242 w 951649"/>
                <a:gd name="connsiteY787" fmla="*/ 481179 h 614709"/>
                <a:gd name="connsiteX788" fmla="*/ 147173 w 951649"/>
                <a:gd name="connsiteY788" fmla="*/ 482571 h 614709"/>
                <a:gd name="connsiteX789" fmla="*/ 152346 w 951649"/>
                <a:gd name="connsiteY789" fmla="*/ 482541 h 614709"/>
                <a:gd name="connsiteX790" fmla="*/ 156884 w 951649"/>
                <a:gd name="connsiteY790" fmla="*/ 481694 h 614709"/>
                <a:gd name="connsiteX791" fmla="*/ 160545 w 951649"/>
                <a:gd name="connsiteY791" fmla="*/ 480212 h 614709"/>
                <a:gd name="connsiteX792" fmla="*/ 162269 w 951649"/>
                <a:gd name="connsiteY792" fmla="*/ 479788 h 614709"/>
                <a:gd name="connsiteX793" fmla="*/ 163933 w 951649"/>
                <a:gd name="connsiteY793" fmla="*/ 480121 h 614709"/>
                <a:gd name="connsiteX794" fmla="*/ 173038 w 951649"/>
                <a:gd name="connsiteY794" fmla="*/ 484477 h 614709"/>
                <a:gd name="connsiteX795" fmla="*/ 176245 w 951649"/>
                <a:gd name="connsiteY795" fmla="*/ 484961 h 614709"/>
                <a:gd name="connsiteX796" fmla="*/ 177243 w 951649"/>
                <a:gd name="connsiteY796" fmla="*/ 485869 h 614709"/>
                <a:gd name="connsiteX797" fmla="*/ 180057 w 951649"/>
                <a:gd name="connsiteY797" fmla="*/ 492131 h 614709"/>
                <a:gd name="connsiteX798" fmla="*/ 180268 w 951649"/>
                <a:gd name="connsiteY798" fmla="*/ 493038 h 614709"/>
                <a:gd name="connsiteX799" fmla="*/ 180480 w 951649"/>
                <a:gd name="connsiteY799" fmla="*/ 493915 h 614709"/>
                <a:gd name="connsiteX800" fmla="*/ 180813 w 951649"/>
                <a:gd name="connsiteY800" fmla="*/ 495549 h 614709"/>
                <a:gd name="connsiteX801" fmla="*/ 181358 w 951649"/>
                <a:gd name="connsiteY801" fmla="*/ 496547 h 614709"/>
                <a:gd name="connsiteX802" fmla="*/ 182447 w 951649"/>
                <a:gd name="connsiteY802" fmla="*/ 497455 h 614709"/>
                <a:gd name="connsiteX803" fmla="*/ 183596 w 951649"/>
                <a:gd name="connsiteY803" fmla="*/ 498090 h 614709"/>
                <a:gd name="connsiteX804" fmla="*/ 184503 w 951649"/>
                <a:gd name="connsiteY804" fmla="*/ 498937 h 614709"/>
                <a:gd name="connsiteX805" fmla="*/ 185562 w 951649"/>
                <a:gd name="connsiteY805" fmla="*/ 502688 h 614709"/>
                <a:gd name="connsiteX806" fmla="*/ 187317 w 951649"/>
                <a:gd name="connsiteY806" fmla="*/ 504261 h 614709"/>
                <a:gd name="connsiteX807" fmla="*/ 189556 w 951649"/>
                <a:gd name="connsiteY807" fmla="*/ 505169 h 614709"/>
                <a:gd name="connsiteX808" fmla="*/ 191734 w 951649"/>
                <a:gd name="connsiteY808" fmla="*/ 505381 h 614709"/>
                <a:gd name="connsiteX809" fmla="*/ 194154 w 951649"/>
                <a:gd name="connsiteY809" fmla="*/ 504836 h 614709"/>
                <a:gd name="connsiteX810" fmla="*/ 195454 w 951649"/>
                <a:gd name="connsiteY810" fmla="*/ 503566 h 614709"/>
                <a:gd name="connsiteX811" fmla="*/ 206920 w 951649"/>
                <a:gd name="connsiteY811" fmla="*/ 484537 h 614709"/>
                <a:gd name="connsiteX812" fmla="*/ 207494 w 951649"/>
                <a:gd name="connsiteY812" fmla="*/ 482510 h 614709"/>
                <a:gd name="connsiteX813" fmla="*/ 209007 w 951649"/>
                <a:gd name="connsiteY813" fmla="*/ 481482 h 614709"/>
                <a:gd name="connsiteX814" fmla="*/ 213151 w 951649"/>
                <a:gd name="connsiteY814" fmla="*/ 480605 h 614709"/>
                <a:gd name="connsiteX815" fmla="*/ 215118 w 951649"/>
                <a:gd name="connsiteY815" fmla="*/ 479516 h 614709"/>
                <a:gd name="connsiteX816" fmla="*/ 218627 w 951649"/>
                <a:gd name="connsiteY816" fmla="*/ 475976 h 614709"/>
                <a:gd name="connsiteX817" fmla="*/ 219686 w 951649"/>
                <a:gd name="connsiteY817" fmla="*/ 475220 h 614709"/>
                <a:gd name="connsiteX818" fmla="*/ 222167 w 951649"/>
                <a:gd name="connsiteY818" fmla="*/ 475311 h 614709"/>
                <a:gd name="connsiteX819" fmla="*/ 224012 w 951649"/>
                <a:gd name="connsiteY819" fmla="*/ 475674 h 614709"/>
                <a:gd name="connsiteX820" fmla="*/ 225494 w 951649"/>
                <a:gd name="connsiteY820" fmla="*/ 476460 h 614709"/>
                <a:gd name="connsiteX821" fmla="*/ 232512 w 951649"/>
                <a:gd name="connsiteY821" fmla="*/ 483600 h 614709"/>
                <a:gd name="connsiteX822" fmla="*/ 235931 w 951649"/>
                <a:gd name="connsiteY822" fmla="*/ 486171 h 614709"/>
                <a:gd name="connsiteX823" fmla="*/ 239349 w 951649"/>
                <a:gd name="connsiteY823" fmla="*/ 487714 h 614709"/>
                <a:gd name="connsiteX824" fmla="*/ 247275 w 951649"/>
                <a:gd name="connsiteY824" fmla="*/ 488591 h 614709"/>
                <a:gd name="connsiteX825" fmla="*/ 248757 w 951649"/>
                <a:gd name="connsiteY825" fmla="*/ 489559 h 614709"/>
                <a:gd name="connsiteX826" fmla="*/ 253810 w 951649"/>
                <a:gd name="connsiteY826" fmla="*/ 494793 h 614709"/>
                <a:gd name="connsiteX827" fmla="*/ 253205 w 951649"/>
                <a:gd name="connsiteY827" fmla="*/ 497122 h 614709"/>
                <a:gd name="connsiteX828" fmla="*/ 251450 w 951649"/>
                <a:gd name="connsiteY828" fmla="*/ 498786 h 614709"/>
                <a:gd name="connsiteX829" fmla="*/ 249211 w 951649"/>
                <a:gd name="connsiteY829" fmla="*/ 499784 h 614709"/>
                <a:gd name="connsiteX830" fmla="*/ 247275 w 951649"/>
                <a:gd name="connsiteY830" fmla="*/ 500087 h 614709"/>
                <a:gd name="connsiteX831" fmla="*/ 245127 w 951649"/>
                <a:gd name="connsiteY831" fmla="*/ 499603 h 614709"/>
                <a:gd name="connsiteX832" fmla="*/ 241437 w 951649"/>
                <a:gd name="connsiteY832" fmla="*/ 497334 h 614709"/>
                <a:gd name="connsiteX833" fmla="*/ 239349 w 951649"/>
                <a:gd name="connsiteY833" fmla="*/ 496547 h 614709"/>
                <a:gd name="connsiteX834" fmla="*/ 237232 w 951649"/>
                <a:gd name="connsiteY834" fmla="*/ 496457 h 614709"/>
                <a:gd name="connsiteX835" fmla="*/ 235235 w 951649"/>
                <a:gd name="connsiteY835" fmla="*/ 497031 h 614709"/>
                <a:gd name="connsiteX836" fmla="*/ 233753 w 951649"/>
                <a:gd name="connsiteY836" fmla="*/ 498332 h 614709"/>
                <a:gd name="connsiteX837" fmla="*/ 233148 w 951649"/>
                <a:gd name="connsiteY837" fmla="*/ 500480 h 614709"/>
                <a:gd name="connsiteX838" fmla="*/ 232845 w 951649"/>
                <a:gd name="connsiteY838" fmla="*/ 502749 h 614709"/>
                <a:gd name="connsiteX839" fmla="*/ 231998 w 951649"/>
                <a:gd name="connsiteY839" fmla="*/ 503989 h 614709"/>
                <a:gd name="connsiteX840" fmla="*/ 230728 w 951649"/>
                <a:gd name="connsiteY840" fmla="*/ 504534 h 614709"/>
                <a:gd name="connsiteX841" fmla="*/ 227158 w 951649"/>
                <a:gd name="connsiteY841" fmla="*/ 504685 h 614709"/>
                <a:gd name="connsiteX842" fmla="*/ 226251 w 951649"/>
                <a:gd name="connsiteY842" fmla="*/ 504957 h 614709"/>
                <a:gd name="connsiteX843" fmla="*/ 225555 w 951649"/>
                <a:gd name="connsiteY843" fmla="*/ 505532 h 614709"/>
                <a:gd name="connsiteX844" fmla="*/ 225101 w 951649"/>
                <a:gd name="connsiteY844" fmla="*/ 506742 h 614709"/>
                <a:gd name="connsiteX845" fmla="*/ 224859 w 951649"/>
                <a:gd name="connsiteY845" fmla="*/ 508497 h 614709"/>
                <a:gd name="connsiteX846" fmla="*/ 224829 w 951649"/>
                <a:gd name="connsiteY846" fmla="*/ 510160 h 614709"/>
                <a:gd name="connsiteX847" fmla="*/ 225131 w 951649"/>
                <a:gd name="connsiteY847" fmla="*/ 511219 h 614709"/>
                <a:gd name="connsiteX848" fmla="*/ 227249 w 951649"/>
                <a:gd name="connsiteY848" fmla="*/ 513004 h 614709"/>
                <a:gd name="connsiteX849" fmla="*/ 227672 w 951649"/>
                <a:gd name="connsiteY849" fmla="*/ 513911 h 614709"/>
                <a:gd name="connsiteX850" fmla="*/ 227763 w 951649"/>
                <a:gd name="connsiteY850" fmla="*/ 514880 h 614709"/>
                <a:gd name="connsiteX851" fmla="*/ 227551 w 951649"/>
                <a:gd name="connsiteY851" fmla="*/ 516907 h 614709"/>
                <a:gd name="connsiteX852" fmla="*/ 227642 w 951649"/>
                <a:gd name="connsiteY852" fmla="*/ 517905 h 614709"/>
                <a:gd name="connsiteX853" fmla="*/ 229427 w 951649"/>
                <a:gd name="connsiteY853" fmla="*/ 521656 h 614709"/>
                <a:gd name="connsiteX854" fmla="*/ 232119 w 951649"/>
                <a:gd name="connsiteY854" fmla="*/ 525014 h 614709"/>
                <a:gd name="connsiteX855" fmla="*/ 235477 w 951649"/>
                <a:gd name="connsiteY855" fmla="*/ 527676 h 614709"/>
                <a:gd name="connsiteX856" fmla="*/ 239349 w 951649"/>
                <a:gd name="connsiteY856" fmla="*/ 529279 h 614709"/>
                <a:gd name="connsiteX857" fmla="*/ 243494 w 951649"/>
                <a:gd name="connsiteY857" fmla="*/ 529824 h 614709"/>
                <a:gd name="connsiteX858" fmla="*/ 245400 w 951649"/>
                <a:gd name="connsiteY858" fmla="*/ 530671 h 614709"/>
                <a:gd name="connsiteX859" fmla="*/ 246216 w 951649"/>
                <a:gd name="connsiteY859" fmla="*/ 532425 h 614709"/>
                <a:gd name="connsiteX860" fmla="*/ 245793 w 951649"/>
                <a:gd name="connsiteY860" fmla="*/ 538627 h 614709"/>
                <a:gd name="connsiteX861" fmla="*/ 246338 w 951649"/>
                <a:gd name="connsiteY861" fmla="*/ 540503 h 614709"/>
                <a:gd name="connsiteX862" fmla="*/ 246428 w 951649"/>
                <a:gd name="connsiteY862" fmla="*/ 540563 h 614709"/>
                <a:gd name="connsiteX863" fmla="*/ 268058 w 951649"/>
                <a:gd name="connsiteY863" fmla="*/ 554146 h 614709"/>
                <a:gd name="connsiteX864" fmla="*/ 271688 w 951649"/>
                <a:gd name="connsiteY864" fmla="*/ 555628 h 614709"/>
                <a:gd name="connsiteX865" fmla="*/ 276256 w 951649"/>
                <a:gd name="connsiteY865" fmla="*/ 556203 h 614709"/>
                <a:gd name="connsiteX866" fmla="*/ 278283 w 951649"/>
                <a:gd name="connsiteY866" fmla="*/ 557050 h 614709"/>
                <a:gd name="connsiteX867" fmla="*/ 280552 w 951649"/>
                <a:gd name="connsiteY867" fmla="*/ 557988 h 614709"/>
                <a:gd name="connsiteX868" fmla="*/ 281490 w 951649"/>
                <a:gd name="connsiteY868" fmla="*/ 561951 h 614709"/>
                <a:gd name="connsiteX869" fmla="*/ 279765 w 951649"/>
                <a:gd name="connsiteY869" fmla="*/ 565884 h 614709"/>
                <a:gd name="connsiteX870" fmla="*/ 276256 w 951649"/>
                <a:gd name="connsiteY870" fmla="*/ 567668 h 614709"/>
                <a:gd name="connsiteX871" fmla="*/ 274048 w 951649"/>
                <a:gd name="connsiteY871" fmla="*/ 567941 h 614709"/>
                <a:gd name="connsiteX872" fmla="*/ 270055 w 951649"/>
                <a:gd name="connsiteY872" fmla="*/ 569151 h 614709"/>
                <a:gd name="connsiteX873" fmla="*/ 267967 w 951649"/>
                <a:gd name="connsiteY873" fmla="*/ 569423 h 614709"/>
                <a:gd name="connsiteX874" fmla="*/ 265971 w 951649"/>
                <a:gd name="connsiteY874" fmla="*/ 570633 h 614709"/>
                <a:gd name="connsiteX875" fmla="*/ 264851 w 951649"/>
                <a:gd name="connsiteY875" fmla="*/ 573537 h 614709"/>
                <a:gd name="connsiteX876" fmla="*/ 262401 w 951649"/>
                <a:gd name="connsiteY876" fmla="*/ 583157 h 614709"/>
                <a:gd name="connsiteX877" fmla="*/ 262461 w 951649"/>
                <a:gd name="connsiteY877" fmla="*/ 586031 h 614709"/>
                <a:gd name="connsiteX878" fmla="*/ 263732 w 951649"/>
                <a:gd name="connsiteY878" fmla="*/ 588451 h 614709"/>
                <a:gd name="connsiteX879" fmla="*/ 266273 w 951649"/>
                <a:gd name="connsiteY879" fmla="*/ 590508 h 614709"/>
                <a:gd name="connsiteX880" fmla="*/ 269359 w 951649"/>
                <a:gd name="connsiteY880" fmla="*/ 591174 h 614709"/>
                <a:gd name="connsiteX881" fmla="*/ 282730 w 951649"/>
                <a:gd name="connsiteY881" fmla="*/ 590085 h 614709"/>
                <a:gd name="connsiteX882" fmla="*/ 290716 w 951649"/>
                <a:gd name="connsiteY882" fmla="*/ 589419 h 614709"/>
                <a:gd name="connsiteX883" fmla="*/ 293741 w 951649"/>
                <a:gd name="connsiteY883" fmla="*/ 588209 h 614709"/>
                <a:gd name="connsiteX884" fmla="*/ 297281 w 951649"/>
                <a:gd name="connsiteY884" fmla="*/ 587544 h 614709"/>
                <a:gd name="connsiteX885" fmla="*/ 301032 w 951649"/>
                <a:gd name="connsiteY885" fmla="*/ 585668 h 614709"/>
                <a:gd name="connsiteX886" fmla="*/ 310168 w 951649"/>
                <a:gd name="connsiteY886" fmla="*/ 584488 h 614709"/>
                <a:gd name="connsiteX887" fmla="*/ 326231 w 951649"/>
                <a:gd name="connsiteY887" fmla="*/ 585245 h 614709"/>
                <a:gd name="connsiteX888" fmla="*/ 337092 w 951649"/>
                <a:gd name="connsiteY888" fmla="*/ 590750 h 614709"/>
                <a:gd name="connsiteX889" fmla="*/ 339935 w 951649"/>
                <a:gd name="connsiteY889" fmla="*/ 591204 h 614709"/>
                <a:gd name="connsiteX890" fmla="*/ 341448 w 951649"/>
                <a:gd name="connsiteY890" fmla="*/ 591446 h 614709"/>
                <a:gd name="connsiteX891" fmla="*/ 349979 w 951649"/>
                <a:gd name="connsiteY891" fmla="*/ 589691 h 614709"/>
                <a:gd name="connsiteX892" fmla="*/ 352218 w 951649"/>
                <a:gd name="connsiteY892" fmla="*/ 590085 h 614709"/>
                <a:gd name="connsiteX893" fmla="*/ 357965 w 951649"/>
                <a:gd name="connsiteY893" fmla="*/ 593201 h 614709"/>
                <a:gd name="connsiteX894" fmla="*/ 393148 w 951649"/>
                <a:gd name="connsiteY894" fmla="*/ 601338 h 614709"/>
                <a:gd name="connsiteX895" fmla="*/ 394116 w 951649"/>
                <a:gd name="connsiteY895" fmla="*/ 601550 h 614709"/>
                <a:gd name="connsiteX896" fmla="*/ 411964 w 951649"/>
                <a:gd name="connsiteY896" fmla="*/ 600764 h 614709"/>
                <a:gd name="connsiteX897" fmla="*/ 414142 w 951649"/>
                <a:gd name="connsiteY897" fmla="*/ 600673 h 614709"/>
                <a:gd name="connsiteX898" fmla="*/ 415866 w 951649"/>
                <a:gd name="connsiteY898" fmla="*/ 600158 h 614709"/>
                <a:gd name="connsiteX899" fmla="*/ 421463 w 951649"/>
                <a:gd name="connsiteY899" fmla="*/ 596286 h 614709"/>
                <a:gd name="connsiteX900" fmla="*/ 425033 w 951649"/>
                <a:gd name="connsiteY900" fmla="*/ 595258 h 614709"/>
                <a:gd name="connsiteX901" fmla="*/ 428421 w 951649"/>
                <a:gd name="connsiteY901" fmla="*/ 595621 h 614709"/>
                <a:gd name="connsiteX902" fmla="*/ 444666 w 951649"/>
                <a:gd name="connsiteY902" fmla="*/ 601217 h 614709"/>
                <a:gd name="connsiteX903" fmla="*/ 449083 w 951649"/>
                <a:gd name="connsiteY903" fmla="*/ 602730 h 614709"/>
                <a:gd name="connsiteX904" fmla="*/ 453802 w 951649"/>
                <a:gd name="connsiteY904" fmla="*/ 603365 h 614709"/>
                <a:gd name="connsiteX905" fmla="*/ 475069 w 951649"/>
                <a:gd name="connsiteY905" fmla="*/ 602004 h 614709"/>
                <a:gd name="connsiteX906" fmla="*/ 486927 w 951649"/>
                <a:gd name="connsiteY906" fmla="*/ 605906 h 614709"/>
                <a:gd name="connsiteX907" fmla="*/ 499965 w 951649"/>
                <a:gd name="connsiteY907" fmla="*/ 606814 h 614709"/>
                <a:gd name="connsiteX908" fmla="*/ 504110 w 951649"/>
                <a:gd name="connsiteY908" fmla="*/ 607721 h 614709"/>
                <a:gd name="connsiteX909" fmla="*/ 507438 w 951649"/>
                <a:gd name="connsiteY909" fmla="*/ 609537 h 614709"/>
                <a:gd name="connsiteX910" fmla="*/ 507770 w 951649"/>
                <a:gd name="connsiteY910" fmla="*/ 609718 h 614709"/>
                <a:gd name="connsiteX911" fmla="*/ 511219 w 951649"/>
                <a:gd name="connsiteY911" fmla="*/ 612199 h 614709"/>
                <a:gd name="connsiteX912" fmla="*/ 514910 w 951649"/>
                <a:gd name="connsiteY912" fmla="*/ 614165 h 614709"/>
                <a:gd name="connsiteX913" fmla="*/ 519266 w 951649"/>
                <a:gd name="connsiteY913" fmla="*/ 614709 h 614709"/>
                <a:gd name="connsiteX914" fmla="*/ 521595 w 951649"/>
                <a:gd name="connsiteY914" fmla="*/ 614134 h 614709"/>
                <a:gd name="connsiteX915" fmla="*/ 525740 w 951649"/>
                <a:gd name="connsiteY915" fmla="*/ 612441 h 614709"/>
                <a:gd name="connsiteX916" fmla="*/ 527252 w 951649"/>
                <a:gd name="connsiteY916" fmla="*/ 612199 h 614709"/>
                <a:gd name="connsiteX917" fmla="*/ 527918 w 951649"/>
                <a:gd name="connsiteY917" fmla="*/ 612078 h 614709"/>
                <a:gd name="connsiteX918" fmla="*/ 532456 w 951649"/>
                <a:gd name="connsiteY918" fmla="*/ 612319 h 614709"/>
                <a:gd name="connsiteX919" fmla="*/ 534724 w 951649"/>
                <a:gd name="connsiteY919" fmla="*/ 612108 h 614709"/>
                <a:gd name="connsiteX920" fmla="*/ 536570 w 951649"/>
                <a:gd name="connsiteY920" fmla="*/ 611230 h 614709"/>
                <a:gd name="connsiteX921" fmla="*/ 538476 w 951649"/>
                <a:gd name="connsiteY921" fmla="*/ 610777 h 614709"/>
                <a:gd name="connsiteX922" fmla="*/ 540744 w 951649"/>
                <a:gd name="connsiteY922" fmla="*/ 609900 h 614709"/>
                <a:gd name="connsiteX923" fmla="*/ 542892 w 951649"/>
                <a:gd name="connsiteY923" fmla="*/ 608659 h 614709"/>
                <a:gd name="connsiteX924" fmla="*/ 544465 w 951649"/>
                <a:gd name="connsiteY924" fmla="*/ 607298 h 614709"/>
                <a:gd name="connsiteX925" fmla="*/ 546280 w 951649"/>
                <a:gd name="connsiteY925" fmla="*/ 606118 h 614709"/>
                <a:gd name="connsiteX926" fmla="*/ 552482 w 951649"/>
                <a:gd name="connsiteY926" fmla="*/ 605936 h 614709"/>
                <a:gd name="connsiteX927" fmla="*/ 553147 w 951649"/>
                <a:gd name="connsiteY927" fmla="*/ 605906 h 614709"/>
                <a:gd name="connsiteX928" fmla="*/ 557322 w 951649"/>
                <a:gd name="connsiteY928" fmla="*/ 604243 h 614709"/>
                <a:gd name="connsiteX929" fmla="*/ 559652 w 951649"/>
                <a:gd name="connsiteY929" fmla="*/ 600673 h 614709"/>
                <a:gd name="connsiteX930" fmla="*/ 559863 w 951649"/>
                <a:gd name="connsiteY930" fmla="*/ 600219 h 614709"/>
                <a:gd name="connsiteX931" fmla="*/ 563161 w 951649"/>
                <a:gd name="connsiteY931" fmla="*/ 597043 h 614709"/>
                <a:gd name="connsiteX932" fmla="*/ 566186 w 951649"/>
                <a:gd name="connsiteY932" fmla="*/ 595439 h 614709"/>
                <a:gd name="connsiteX933" fmla="*/ 570935 w 951649"/>
                <a:gd name="connsiteY933" fmla="*/ 589873 h 614709"/>
                <a:gd name="connsiteX934" fmla="*/ 571752 w 951649"/>
                <a:gd name="connsiteY934" fmla="*/ 588058 h 614709"/>
                <a:gd name="connsiteX935" fmla="*/ 572690 w 951649"/>
                <a:gd name="connsiteY935" fmla="*/ 586545 h 614709"/>
                <a:gd name="connsiteX936" fmla="*/ 584821 w 951649"/>
                <a:gd name="connsiteY936" fmla="*/ 578347 h 614709"/>
                <a:gd name="connsiteX937" fmla="*/ 585547 w 951649"/>
                <a:gd name="connsiteY937" fmla="*/ 576381 h 614709"/>
                <a:gd name="connsiteX938" fmla="*/ 587332 w 951649"/>
                <a:gd name="connsiteY938" fmla="*/ 573900 h 614709"/>
                <a:gd name="connsiteX939" fmla="*/ 591022 w 951649"/>
                <a:gd name="connsiteY939" fmla="*/ 570089 h 614709"/>
                <a:gd name="connsiteX940" fmla="*/ 594532 w 951649"/>
                <a:gd name="connsiteY940" fmla="*/ 568334 h 614709"/>
                <a:gd name="connsiteX941" fmla="*/ 602639 w 951649"/>
                <a:gd name="connsiteY941" fmla="*/ 566428 h 614709"/>
                <a:gd name="connsiteX942" fmla="*/ 610595 w 951649"/>
                <a:gd name="connsiteY942" fmla="*/ 563161 h 614709"/>
                <a:gd name="connsiteX943" fmla="*/ 612804 w 951649"/>
                <a:gd name="connsiteY943" fmla="*/ 562889 h 614709"/>
                <a:gd name="connsiteX944" fmla="*/ 621183 w 951649"/>
                <a:gd name="connsiteY944" fmla="*/ 561739 h 614709"/>
                <a:gd name="connsiteX945" fmla="*/ 641149 w 951649"/>
                <a:gd name="connsiteY945" fmla="*/ 559047 h 614709"/>
                <a:gd name="connsiteX946" fmla="*/ 644537 w 951649"/>
                <a:gd name="connsiteY946" fmla="*/ 557958 h 614709"/>
                <a:gd name="connsiteX947" fmla="*/ 646534 w 951649"/>
                <a:gd name="connsiteY947" fmla="*/ 557716 h 614709"/>
                <a:gd name="connsiteX948" fmla="*/ 647502 w 951649"/>
                <a:gd name="connsiteY948" fmla="*/ 557474 h 614709"/>
                <a:gd name="connsiteX949" fmla="*/ 649499 w 951649"/>
                <a:gd name="connsiteY949" fmla="*/ 556324 h 614709"/>
                <a:gd name="connsiteX950" fmla="*/ 650648 w 951649"/>
                <a:gd name="connsiteY950" fmla="*/ 556052 h 614709"/>
                <a:gd name="connsiteX951" fmla="*/ 655185 w 951649"/>
                <a:gd name="connsiteY951" fmla="*/ 556052 h 614709"/>
                <a:gd name="connsiteX952" fmla="*/ 658786 w 951649"/>
                <a:gd name="connsiteY952" fmla="*/ 555054 h 614709"/>
                <a:gd name="connsiteX953" fmla="*/ 668315 w 951649"/>
                <a:gd name="connsiteY953" fmla="*/ 549820 h 614709"/>
                <a:gd name="connsiteX954" fmla="*/ 680143 w 951649"/>
                <a:gd name="connsiteY954" fmla="*/ 548701 h 614709"/>
                <a:gd name="connsiteX955" fmla="*/ 682745 w 951649"/>
                <a:gd name="connsiteY955" fmla="*/ 547188 h 614709"/>
                <a:gd name="connsiteX956" fmla="*/ 690065 w 951649"/>
                <a:gd name="connsiteY956" fmla="*/ 551363 h 614709"/>
                <a:gd name="connsiteX957" fmla="*/ 700653 w 951649"/>
                <a:gd name="connsiteY957" fmla="*/ 553329 h 614709"/>
                <a:gd name="connsiteX958" fmla="*/ 702802 w 951649"/>
                <a:gd name="connsiteY958" fmla="*/ 554418 h 614709"/>
                <a:gd name="connsiteX959" fmla="*/ 705252 w 951649"/>
                <a:gd name="connsiteY959" fmla="*/ 554237 h 614709"/>
                <a:gd name="connsiteX960" fmla="*/ 705403 w 951649"/>
                <a:gd name="connsiteY960" fmla="*/ 554328 h 614709"/>
                <a:gd name="connsiteX961" fmla="*/ 707067 w 951649"/>
                <a:gd name="connsiteY961" fmla="*/ 555507 h 614709"/>
                <a:gd name="connsiteX962" fmla="*/ 706583 w 951649"/>
                <a:gd name="connsiteY962" fmla="*/ 558412 h 614709"/>
                <a:gd name="connsiteX963" fmla="*/ 708700 w 951649"/>
                <a:gd name="connsiteY963" fmla="*/ 560620 h 614709"/>
                <a:gd name="connsiteX964" fmla="*/ 714357 w 951649"/>
                <a:gd name="connsiteY964" fmla="*/ 563131 h 614709"/>
                <a:gd name="connsiteX965" fmla="*/ 715537 w 951649"/>
                <a:gd name="connsiteY965" fmla="*/ 564129 h 614709"/>
                <a:gd name="connsiteX966" fmla="*/ 717504 w 951649"/>
                <a:gd name="connsiteY966" fmla="*/ 567275 h 614709"/>
                <a:gd name="connsiteX967" fmla="*/ 718593 w 951649"/>
                <a:gd name="connsiteY967" fmla="*/ 568001 h 614709"/>
                <a:gd name="connsiteX968" fmla="*/ 737772 w 951649"/>
                <a:gd name="connsiteY968" fmla="*/ 567850 h 614709"/>
                <a:gd name="connsiteX969" fmla="*/ 743701 w 951649"/>
                <a:gd name="connsiteY969" fmla="*/ 566125 h 614709"/>
                <a:gd name="connsiteX970" fmla="*/ 746031 w 951649"/>
                <a:gd name="connsiteY970" fmla="*/ 566882 h 614709"/>
                <a:gd name="connsiteX971" fmla="*/ 747997 w 951649"/>
                <a:gd name="connsiteY971" fmla="*/ 570754 h 614709"/>
                <a:gd name="connsiteX972" fmla="*/ 748662 w 951649"/>
                <a:gd name="connsiteY972" fmla="*/ 571571 h 614709"/>
                <a:gd name="connsiteX973" fmla="*/ 752595 w 951649"/>
                <a:gd name="connsiteY973" fmla="*/ 576502 h 614709"/>
                <a:gd name="connsiteX974" fmla="*/ 759190 w 951649"/>
                <a:gd name="connsiteY974" fmla="*/ 575020 h 614709"/>
                <a:gd name="connsiteX975" fmla="*/ 766148 w 951649"/>
                <a:gd name="connsiteY975" fmla="*/ 571389 h 614709"/>
                <a:gd name="connsiteX976" fmla="*/ 771775 w 951649"/>
                <a:gd name="connsiteY976" fmla="*/ 570784 h 614709"/>
                <a:gd name="connsiteX977" fmla="*/ 771775 w 951649"/>
                <a:gd name="connsiteY977" fmla="*/ 570784 h 614709"/>
                <a:gd name="connsiteX978" fmla="*/ 774134 w 951649"/>
                <a:gd name="connsiteY978" fmla="*/ 574505 h 614709"/>
                <a:gd name="connsiteX979" fmla="*/ 778702 w 951649"/>
                <a:gd name="connsiteY979" fmla="*/ 589238 h 614709"/>
                <a:gd name="connsiteX980" fmla="*/ 782090 w 951649"/>
                <a:gd name="connsiteY980" fmla="*/ 591688 h 614709"/>
                <a:gd name="connsiteX981" fmla="*/ 802873 w 951649"/>
                <a:gd name="connsiteY981" fmla="*/ 600401 h 614709"/>
                <a:gd name="connsiteX982" fmla="*/ 824321 w 951649"/>
                <a:gd name="connsiteY982" fmla="*/ 603819 h 614709"/>
                <a:gd name="connsiteX983" fmla="*/ 838812 w 951649"/>
                <a:gd name="connsiteY983" fmla="*/ 603063 h 614709"/>
                <a:gd name="connsiteX984" fmla="*/ 839266 w 951649"/>
                <a:gd name="connsiteY984" fmla="*/ 601792 h 614709"/>
                <a:gd name="connsiteX985" fmla="*/ 839175 w 951649"/>
                <a:gd name="connsiteY985" fmla="*/ 600461 h 614709"/>
                <a:gd name="connsiteX986" fmla="*/ 839235 w 951649"/>
                <a:gd name="connsiteY986" fmla="*/ 599069 h 614709"/>
                <a:gd name="connsiteX987" fmla="*/ 839447 w 951649"/>
                <a:gd name="connsiteY987" fmla="*/ 597799 h 614709"/>
                <a:gd name="connsiteX988" fmla="*/ 839901 w 951649"/>
                <a:gd name="connsiteY988" fmla="*/ 596680 h 614709"/>
                <a:gd name="connsiteX989" fmla="*/ 839417 w 951649"/>
                <a:gd name="connsiteY989" fmla="*/ 595439 h 614709"/>
                <a:gd name="connsiteX990" fmla="*/ 839749 w 951649"/>
                <a:gd name="connsiteY990" fmla="*/ 594229 h 614709"/>
                <a:gd name="connsiteX991" fmla="*/ 840324 w 951649"/>
                <a:gd name="connsiteY991" fmla="*/ 593049 h 614709"/>
                <a:gd name="connsiteX992" fmla="*/ 841928 w 951649"/>
                <a:gd name="connsiteY992" fmla="*/ 586001 h 614709"/>
                <a:gd name="connsiteX993" fmla="*/ 842351 w 951649"/>
                <a:gd name="connsiteY993" fmla="*/ 584760 h 614709"/>
                <a:gd name="connsiteX994" fmla="*/ 844771 w 951649"/>
                <a:gd name="connsiteY994" fmla="*/ 580374 h 614709"/>
                <a:gd name="connsiteX995" fmla="*/ 845074 w 951649"/>
                <a:gd name="connsiteY995" fmla="*/ 578619 h 614709"/>
                <a:gd name="connsiteX996" fmla="*/ 846496 w 951649"/>
                <a:gd name="connsiteY996" fmla="*/ 574868 h 614709"/>
                <a:gd name="connsiteX997" fmla="*/ 847010 w 951649"/>
                <a:gd name="connsiteY997" fmla="*/ 572508 h 614709"/>
                <a:gd name="connsiteX998" fmla="*/ 847918 w 951649"/>
                <a:gd name="connsiteY998" fmla="*/ 571329 h 614709"/>
                <a:gd name="connsiteX999" fmla="*/ 848190 w 951649"/>
                <a:gd name="connsiteY999" fmla="*/ 570270 h 614709"/>
                <a:gd name="connsiteX1000" fmla="*/ 848159 w 951649"/>
                <a:gd name="connsiteY1000" fmla="*/ 569514 h 614709"/>
                <a:gd name="connsiteX1001" fmla="*/ 846435 w 951649"/>
                <a:gd name="connsiteY1001" fmla="*/ 562889 h 614709"/>
                <a:gd name="connsiteX1002" fmla="*/ 844741 w 951649"/>
                <a:gd name="connsiteY1002" fmla="*/ 552482 h 614709"/>
                <a:gd name="connsiteX1003" fmla="*/ 844076 w 951649"/>
                <a:gd name="connsiteY1003" fmla="*/ 550092 h 614709"/>
                <a:gd name="connsiteX1004" fmla="*/ 844620 w 951649"/>
                <a:gd name="connsiteY1004" fmla="*/ 548822 h 614709"/>
                <a:gd name="connsiteX1005" fmla="*/ 845618 w 951649"/>
                <a:gd name="connsiteY1005" fmla="*/ 547824 h 614709"/>
                <a:gd name="connsiteX1006" fmla="*/ 846859 w 951649"/>
                <a:gd name="connsiteY1006" fmla="*/ 547521 h 614709"/>
                <a:gd name="connsiteX1007" fmla="*/ 848190 w 951649"/>
                <a:gd name="connsiteY1007" fmla="*/ 548247 h 614709"/>
                <a:gd name="connsiteX1008" fmla="*/ 847524 w 951649"/>
                <a:gd name="connsiteY1008" fmla="*/ 547370 h 614709"/>
                <a:gd name="connsiteX1009" fmla="*/ 847827 w 951649"/>
                <a:gd name="connsiteY1009" fmla="*/ 546250 h 614709"/>
                <a:gd name="connsiteX1010" fmla="*/ 847555 w 951649"/>
                <a:gd name="connsiteY1010" fmla="*/ 544314 h 614709"/>
                <a:gd name="connsiteX1011" fmla="*/ 846133 w 951649"/>
                <a:gd name="connsiteY1011" fmla="*/ 540261 h 614709"/>
                <a:gd name="connsiteX1012" fmla="*/ 844529 w 951649"/>
                <a:gd name="connsiteY1012" fmla="*/ 537538 h 614709"/>
                <a:gd name="connsiteX1013" fmla="*/ 844106 w 951649"/>
                <a:gd name="connsiteY1013" fmla="*/ 535935 h 614709"/>
                <a:gd name="connsiteX1014" fmla="*/ 844227 w 951649"/>
                <a:gd name="connsiteY1014" fmla="*/ 531034 h 614709"/>
                <a:gd name="connsiteX1015" fmla="*/ 844499 w 951649"/>
                <a:gd name="connsiteY1015" fmla="*/ 529219 h 614709"/>
                <a:gd name="connsiteX1016" fmla="*/ 845074 w 951649"/>
                <a:gd name="connsiteY1016" fmla="*/ 527676 h 614709"/>
                <a:gd name="connsiteX1017" fmla="*/ 846133 w 951649"/>
                <a:gd name="connsiteY1017" fmla="*/ 526194 h 614709"/>
                <a:gd name="connsiteX1018" fmla="*/ 847464 w 951649"/>
                <a:gd name="connsiteY1018" fmla="*/ 525105 h 614709"/>
                <a:gd name="connsiteX1019" fmla="*/ 849037 w 951649"/>
                <a:gd name="connsiteY1019" fmla="*/ 524469 h 614709"/>
                <a:gd name="connsiteX1020" fmla="*/ 850337 w 951649"/>
                <a:gd name="connsiteY1020" fmla="*/ 525377 h 614709"/>
                <a:gd name="connsiteX1021" fmla="*/ 850671 w 951649"/>
                <a:gd name="connsiteY1021" fmla="*/ 523804 h 614709"/>
                <a:gd name="connsiteX1022" fmla="*/ 851699 w 951649"/>
                <a:gd name="connsiteY1022" fmla="*/ 520900 h 614709"/>
                <a:gd name="connsiteX1023" fmla="*/ 860774 w 951649"/>
                <a:gd name="connsiteY1023" fmla="*/ 509676 h 614709"/>
                <a:gd name="connsiteX1024" fmla="*/ 865554 w 951649"/>
                <a:gd name="connsiteY1024" fmla="*/ 506319 h 614709"/>
                <a:gd name="connsiteX1025" fmla="*/ 872149 w 951649"/>
                <a:gd name="connsiteY1025" fmla="*/ 494611 h 614709"/>
                <a:gd name="connsiteX1026" fmla="*/ 873026 w 951649"/>
                <a:gd name="connsiteY1026" fmla="*/ 492433 h 614709"/>
                <a:gd name="connsiteX1027" fmla="*/ 873692 w 951649"/>
                <a:gd name="connsiteY1027" fmla="*/ 489892 h 614709"/>
                <a:gd name="connsiteX1028" fmla="*/ 872663 w 951649"/>
                <a:gd name="connsiteY1028" fmla="*/ 492372 h 614709"/>
                <a:gd name="connsiteX1029" fmla="*/ 871786 w 951649"/>
                <a:gd name="connsiteY1029" fmla="*/ 494157 h 614709"/>
                <a:gd name="connsiteX1030" fmla="*/ 870394 w 951649"/>
                <a:gd name="connsiteY1030" fmla="*/ 495519 h 614709"/>
                <a:gd name="connsiteX1031" fmla="*/ 868488 w 951649"/>
                <a:gd name="connsiteY1031" fmla="*/ 496003 h 614709"/>
                <a:gd name="connsiteX1032" fmla="*/ 866704 w 951649"/>
                <a:gd name="connsiteY1032" fmla="*/ 496759 h 614709"/>
                <a:gd name="connsiteX1033" fmla="*/ 864949 w 951649"/>
                <a:gd name="connsiteY1033" fmla="*/ 498514 h 614709"/>
                <a:gd name="connsiteX1034" fmla="*/ 861954 w 951649"/>
                <a:gd name="connsiteY1034" fmla="*/ 502265 h 614709"/>
                <a:gd name="connsiteX1035" fmla="*/ 859897 w 951649"/>
                <a:gd name="connsiteY1035" fmla="*/ 503505 h 614709"/>
                <a:gd name="connsiteX1036" fmla="*/ 858929 w 951649"/>
                <a:gd name="connsiteY1036" fmla="*/ 504534 h 614709"/>
                <a:gd name="connsiteX1037" fmla="*/ 858294 w 951649"/>
                <a:gd name="connsiteY1037" fmla="*/ 507619 h 614709"/>
                <a:gd name="connsiteX1038" fmla="*/ 857719 w 951649"/>
                <a:gd name="connsiteY1038" fmla="*/ 509041 h 614709"/>
                <a:gd name="connsiteX1039" fmla="*/ 856932 w 951649"/>
                <a:gd name="connsiteY1039" fmla="*/ 510009 h 614709"/>
                <a:gd name="connsiteX1040" fmla="*/ 856085 w 951649"/>
                <a:gd name="connsiteY1040" fmla="*/ 509828 h 614709"/>
                <a:gd name="connsiteX1041" fmla="*/ 855631 w 951649"/>
                <a:gd name="connsiteY1041" fmla="*/ 507317 h 614709"/>
                <a:gd name="connsiteX1042" fmla="*/ 856418 w 951649"/>
                <a:gd name="connsiteY1042" fmla="*/ 503777 h 614709"/>
                <a:gd name="connsiteX1043" fmla="*/ 857658 w 951649"/>
                <a:gd name="connsiteY1043" fmla="*/ 500480 h 614709"/>
                <a:gd name="connsiteX1044" fmla="*/ 858506 w 951649"/>
                <a:gd name="connsiteY1044" fmla="*/ 498725 h 614709"/>
                <a:gd name="connsiteX1045" fmla="*/ 857174 w 951649"/>
                <a:gd name="connsiteY1045" fmla="*/ 497697 h 614709"/>
                <a:gd name="connsiteX1046" fmla="*/ 855783 w 951649"/>
                <a:gd name="connsiteY1046" fmla="*/ 496971 h 614709"/>
                <a:gd name="connsiteX1047" fmla="*/ 855450 w 951649"/>
                <a:gd name="connsiteY1047" fmla="*/ 497485 h 614709"/>
                <a:gd name="connsiteX1048" fmla="*/ 854785 w 951649"/>
                <a:gd name="connsiteY1048" fmla="*/ 498120 h 614709"/>
                <a:gd name="connsiteX1049" fmla="*/ 854331 w 951649"/>
                <a:gd name="connsiteY1049" fmla="*/ 498725 h 614709"/>
                <a:gd name="connsiteX1050" fmla="*/ 854331 w 951649"/>
                <a:gd name="connsiteY1050" fmla="*/ 496729 h 614709"/>
                <a:gd name="connsiteX1051" fmla="*/ 855874 w 951649"/>
                <a:gd name="connsiteY1051" fmla="*/ 495428 h 614709"/>
                <a:gd name="connsiteX1052" fmla="*/ 859897 w 951649"/>
                <a:gd name="connsiteY1052" fmla="*/ 494309 h 614709"/>
                <a:gd name="connsiteX1053" fmla="*/ 858536 w 951649"/>
                <a:gd name="connsiteY1053" fmla="*/ 493825 h 614709"/>
                <a:gd name="connsiteX1054" fmla="*/ 857537 w 951649"/>
                <a:gd name="connsiteY1054" fmla="*/ 493098 h 614709"/>
                <a:gd name="connsiteX1055" fmla="*/ 857144 w 951649"/>
                <a:gd name="connsiteY1055" fmla="*/ 492070 h 614709"/>
                <a:gd name="connsiteX1056" fmla="*/ 857780 w 951649"/>
                <a:gd name="connsiteY1056" fmla="*/ 490769 h 614709"/>
                <a:gd name="connsiteX1057" fmla="*/ 856448 w 951649"/>
                <a:gd name="connsiteY1057" fmla="*/ 490769 h 614709"/>
                <a:gd name="connsiteX1058" fmla="*/ 856872 w 951649"/>
                <a:gd name="connsiteY1058" fmla="*/ 489075 h 614709"/>
                <a:gd name="connsiteX1059" fmla="*/ 857780 w 951649"/>
                <a:gd name="connsiteY1059" fmla="*/ 488168 h 614709"/>
                <a:gd name="connsiteX1060" fmla="*/ 859080 w 951649"/>
                <a:gd name="connsiteY1060" fmla="*/ 487926 h 614709"/>
                <a:gd name="connsiteX1061" fmla="*/ 860562 w 951649"/>
                <a:gd name="connsiteY1061" fmla="*/ 488107 h 614709"/>
                <a:gd name="connsiteX1062" fmla="*/ 860260 w 951649"/>
                <a:gd name="connsiteY1062" fmla="*/ 489468 h 614709"/>
                <a:gd name="connsiteX1063" fmla="*/ 858506 w 951649"/>
                <a:gd name="connsiteY1063" fmla="*/ 492463 h 614709"/>
                <a:gd name="connsiteX1064" fmla="*/ 859897 w 951649"/>
                <a:gd name="connsiteY1064" fmla="*/ 491314 h 614709"/>
                <a:gd name="connsiteX1065" fmla="*/ 864767 w 951649"/>
                <a:gd name="connsiteY1065" fmla="*/ 489015 h 614709"/>
                <a:gd name="connsiteX1066" fmla="*/ 866553 w 951649"/>
                <a:gd name="connsiteY1066" fmla="*/ 488107 h 614709"/>
                <a:gd name="connsiteX1067" fmla="*/ 869698 w 951649"/>
                <a:gd name="connsiteY1067" fmla="*/ 485021 h 614709"/>
                <a:gd name="connsiteX1068" fmla="*/ 871635 w 951649"/>
                <a:gd name="connsiteY1068" fmla="*/ 483690 h 614709"/>
                <a:gd name="connsiteX1069" fmla="*/ 872119 w 951649"/>
                <a:gd name="connsiteY1069" fmla="*/ 482813 h 614709"/>
                <a:gd name="connsiteX1070" fmla="*/ 872573 w 951649"/>
                <a:gd name="connsiteY1070" fmla="*/ 482208 h 614709"/>
                <a:gd name="connsiteX1071" fmla="*/ 872996 w 951649"/>
                <a:gd name="connsiteY1071" fmla="*/ 481815 h 614709"/>
                <a:gd name="connsiteX1072" fmla="*/ 873601 w 951649"/>
                <a:gd name="connsiteY1072" fmla="*/ 481906 h 614709"/>
                <a:gd name="connsiteX1073" fmla="*/ 875053 w 951649"/>
                <a:gd name="connsiteY1073" fmla="*/ 482813 h 614709"/>
                <a:gd name="connsiteX1074" fmla="*/ 876989 w 951649"/>
                <a:gd name="connsiteY1074" fmla="*/ 482329 h 614709"/>
                <a:gd name="connsiteX1075" fmla="*/ 877201 w 951649"/>
                <a:gd name="connsiteY1075" fmla="*/ 481936 h 614709"/>
                <a:gd name="connsiteX1076" fmla="*/ 876444 w 951649"/>
                <a:gd name="connsiteY1076" fmla="*/ 481028 h 614709"/>
                <a:gd name="connsiteX1077" fmla="*/ 876444 w 951649"/>
                <a:gd name="connsiteY1077" fmla="*/ 480060 h 614709"/>
                <a:gd name="connsiteX1078" fmla="*/ 878774 w 951649"/>
                <a:gd name="connsiteY1078" fmla="*/ 481301 h 614709"/>
                <a:gd name="connsiteX1079" fmla="*/ 878471 w 951649"/>
                <a:gd name="connsiteY1079" fmla="*/ 483448 h 614709"/>
                <a:gd name="connsiteX1080" fmla="*/ 876838 w 951649"/>
                <a:gd name="connsiteY1080" fmla="*/ 485929 h 614709"/>
                <a:gd name="connsiteX1081" fmla="*/ 875053 w 951649"/>
                <a:gd name="connsiteY1081" fmla="*/ 488107 h 614709"/>
                <a:gd name="connsiteX1082" fmla="*/ 877413 w 951649"/>
                <a:gd name="connsiteY1082" fmla="*/ 487441 h 614709"/>
                <a:gd name="connsiteX1083" fmla="*/ 879167 w 951649"/>
                <a:gd name="connsiteY1083" fmla="*/ 485384 h 614709"/>
                <a:gd name="connsiteX1084" fmla="*/ 879984 w 951649"/>
                <a:gd name="connsiteY1084" fmla="*/ 482783 h 614709"/>
                <a:gd name="connsiteX1085" fmla="*/ 879560 w 951649"/>
                <a:gd name="connsiteY1085" fmla="*/ 480544 h 614709"/>
                <a:gd name="connsiteX1086" fmla="*/ 877957 w 951649"/>
                <a:gd name="connsiteY1086" fmla="*/ 479455 h 614709"/>
                <a:gd name="connsiteX1087" fmla="*/ 870939 w 951649"/>
                <a:gd name="connsiteY1087" fmla="*/ 477398 h 614709"/>
                <a:gd name="connsiteX1088" fmla="*/ 872361 w 951649"/>
                <a:gd name="connsiteY1088" fmla="*/ 480060 h 614709"/>
                <a:gd name="connsiteX1089" fmla="*/ 870304 w 951649"/>
                <a:gd name="connsiteY1089" fmla="*/ 482541 h 614709"/>
                <a:gd name="connsiteX1090" fmla="*/ 868095 w 951649"/>
                <a:gd name="connsiteY1090" fmla="*/ 484537 h 614709"/>
                <a:gd name="connsiteX1091" fmla="*/ 865705 w 951649"/>
                <a:gd name="connsiteY1091" fmla="*/ 485869 h 614709"/>
                <a:gd name="connsiteX1092" fmla="*/ 860351 w 951649"/>
                <a:gd name="connsiteY1092" fmla="*/ 486746 h 614709"/>
                <a:gd name="connsiteX1093" fmla="*/ 859504 w 951649"/>
                <a:gd name="connsiteY1093" fmla="*/ 486171 h 614709"/>
                <a:gd name="connsiteX1094" fmla="*/ 859201 w 951649"/>
                <a:gd name="connsiteY1094" fmla="*/ 484084 h 614709"/>
                <a:gd name="connsiteX1095" fmla="*/ 859655 w 951649"/>
                <a:gd name="connsiteY1095" fmla="*/ 482208 h 614709"/>
                <a:gd name="connsiteX1096" fmla="*/ 861531 w 951649"/>
                <a:gd name="connsiteY1096" fmla="*/ 481633 h 614709"/>
                <a:gd name="connsiteX1097" fmla="*/ 861954 w 951649"/>
                <a:gd name="connsiteY1097" fmla="*/ 480060 h 614709"/>
                <a:gd name="connsiteX1098" fmla="*/ 860472 w 951649"/>
                <a:gd name="connsiteY1098" fmla="*/ 481149 h 614709"/>
                <a:gd name="connsiteX1099" fmla="*/ 859806 w 951649"/>
                <a:gd name="connsiteY1099" fmla="*/ 480453 h 614709"/>
                <a:gd name="connsiteX1100" fmla="*/ 859988 w 951649"/>
                <a:gd name="connsiteY1100" fmla="*/ 478759 h 614709"/>
                <a:gd name="connsiteX1101" fmla="*/ 860956 w 951649"/>
                <a:gd name="connsiteY1101" fmla="*/ 476944 h 614709"/>
                <a:gd name="connsiteX1102" fmla="*/ 861954 w 951649"/>
                <a:gd name="connsiteY1102" fmla="*/ 476097 h 614709"/>
                <a:gd name="connsiteX1103" fmla="*/ 868035 w 951649"/>
                <a:gd name="connsiteY1103" fmla="*/ 472618 h 614709"/>
                <a:gd name="connsiteX1104" fmla="*/ 869094 w 951649"/>
                <a:gd name="connsiteY1104" fmla="*/ 472225 h 614709"/>
                <a:gd name="connsiteX1105" fmla="*/ 873571 w 951649"/>
                <a:gd name="connsiteY1105" fmla="*/ 472074 h 614709"/>
                <a:gd name="connsiteX1106" fmla="*/ 874841 w 951649"/>
                <a:gd name="connsiteY1106" fmla="*/ 471802 h 614709"/>
                <a:gd name="connsiteX1107" fmla="*/ 875809 w 951649"/>
                <a:gd name="connsiteY1107" fmla="*/ 471106 h 614709"/>
                <a:gd name="connsiteX1108" fmla="*/ 874508 w 951649"/>
                <a:gd name="connsiteY1108" fmla="*/ 470017 h 614709"/>
                <a:gd name="connsiteX1109" fmla="*/ 873722 w 951649"/>
                <a:gd name="connsiteY1109" fmla="*/ 468716 h 614709"/>
                <a:gd name="connsiteX1110" fmla="*/ 873813 w 951649"/>
                <a:gd name="connsiteY1110" fmla="*/ 467506 h 614709"/>
                <a:gd name="connsiteX1111" fmla="*/ 875053 w 951649"/>
                <a:gd name="connsiteY1111" fmla="*/ 466750 h 614709"/>
                <a:gd name="connsiteX1112" fmla="*/ 875053 w 951649"/>
                <a:gd name="connsiteY1112" fmla="*/ 465782 h 614709"/>
                <a:gd name="connsiteX1113" fmla="*/ 874629 w 951649"/>
                <a:gd name="connsiteY1113" fmla="*/ 465600 h 614709"/>
                <a:gd name="connsiteX1114" fmla="*/ 873692 w 951649"/>
                <a:gd name="connsiteY1114" fmla="*/ 464874 h 614709"/>
                <a:gd name="connsiteX1115" fmla="*/ 874599 w 951649"/>
                <a:gd name="connsiteY1115" fmla="*/ 464753 h 614709"/>
                <a:gd name="connsiteX1116" fmla="*/ 875174 w 951649"/>
                <a:gd name="connsiteY1116" fmla="*/ 464390 h 614709"/>
                <a:gd name="connsiteX1117" fmla="*/ 876444 w 951649"/>
                <a:gd name="connsiteY1117" fmla="*/ 463119 h 614709"/>
                <a:gd name="connsiteX1118" fmla="*/ 871574 w 951649"/>
                <a:gd name="connsiteY1118" fmla="*/ 458430 h 614709"/>
                <a:gd name="connsiteX1119" fmla="*/ 869305 w 951649"/>
                <a:gd name="connsiteY1119" fmla="*/ 457523 h 614709"/>
                <a:gd name="connsiteX1120" fmla="*/ 868488 w 951649"/>
                <a:gd name="connsiteY1120" fmla="*/ 456827 h 614709"/>
                <a:gd name="connsiteX1121" fmla="*/ 867793 w 951649"/>
                <a:gd name="connsiteY1121" fmla="*/ 455829 h 614709"/>
                <a:gd name="connsiteX1122" fmla="*/ 867490 w 951649"/>
                <a:gd name="connsiteY1122" fmla="*/ 454679 h 614709"/>
                <a:gd name="connsiteX1123" fmla="*/ 867702 w 951649"/>
                <a:gd name="connsiteY1123" fmla="*/ 454256 h 614709"/>
                <a:gd name="connsiteX1124" fmla="*/ 868156 w 951649"/>
                <a:gd name="connsiteY1124" fmla="*/ 454044 h 614709"/>
                <a:gd name="connsiteX1125" fmla="*/ 868609 w 951649"/>
                <a:gd name="connsiteY1125" fmla="*/ 453681 h 614709"/>
                <a:gd name="connsiteX1126" fmla="*/ 868821 w 951649"/>
                <a:gd name="connsiteY1126" fmla="*/ 452925 h 614709"/>
                <a:gd name="connsiteX1127" fmla="*/ 868579 w 951649"/>
                <a:gd name="connsiteY1127" fmla="*/ 452078 h 614709"/>
                <a:gd name="connsiteX1128" fmla="*/ 867642 w 951649"/>
                <a:gd name="connsiteY1128" fmla="*/ 451412 h 614709"/>
                <a:gd name="connsiteX1129" fmla="*/ 867490 w 951649"/>
                <a:gd name="connsiteY1129" fmla="*/ 450656 h 614709"/>
                <a:gd name="connsiteX1130" fmla="*/ 868095 w 951649"/>
                <a:gd name="connsiteY1130" fmla="*/ 447903 h 614709"/>
                <a:gd name="connsiteX1131" fmla="*/ 869154 w 951649"/>
                <a:gd name="connsiteY1131" fmla="*/ 446421 h 614709"/>
                <a:gd name="connsiteX1132" fmla="*/ 872845 w 951649"/>
                <a:gd name="connsiteY1132" fmla="*/ 443184 h 614709"/>
                <a:gd name="connsiteX1133" fmla="*/ 873903 w 951649"/>
                <a:gd name="connsiteY1133" fmla="*/ 442791 h 614709"/>
                <a:gd name="connsiteX1134" fmla="*/ 876112 w 951649"/>
                <a:gd name="connsiteY1134" fmla="*/ 442669 h 614709"/>
                <a:gd name="connsiteX1135" fmla="*/ 877231 w 951649"/>
                <a:gd name="connsiteY1135" fmla="*/ 442125 h 614709"/>
                <a:gd name="connsiteX1136" fmla="*/ 877836 w 951649"/>
                <a:gd name="connsiteY1136" fmla="*/ 440975 h 614709"/>
                <a:gd name="connsiteX1137" fmla="*/ 878139 w 951649"/>
                <a:gd name="connsiteY1137" fmla="*/ 439765 h 614709"/>
                <a:gd name="connsiteX1138" fmla="*/ 878502 w 951649"/>
                <a:gd name="connsiteY1138" fmla="*/ 439100 h 614709"/>
                <a:gd name="connsiteX1139" fmla="*/ 879560 w 951649"/>
                <a:gd name="connsiteY1139" fmla="*/ 438918 h 614709"/>
                <a:gd name="connsiteX1140" fmla="*/ 882676 w 951649"/>
                <a:gd name="connsiteY1140" fmla="*/ 439886 h 614709"/>
                <a:gd name="connsiteX1141" fmla="*/ 885762 w 951649"/>
                <a:gd name="connsiteY1141" fmla="*/ 439886 h 614709"/>
                <a:gd name="connsiteX1142" fmla="*/ 887093 w 951649"/>
                <a:gd name="connsiteY1142" fmla="*/ 440401 h 614709"/>
                <a:gd name="connsiteX1143" fmla="*/ 891480 w 951649"/>
                <a:gd name="connsiteY1143" fmla="*/ 443093 h 614709"/>
                <a:gd name="connsiteX1144" fmla="*/ 892357 w 951649"/>
                <a:gd name="connsiteY1144" fmla="*/ 444424 h 614709"/>
                <a:gd name="connsiteX1145" fmla="*/ 891177 w 951649"/>
                <a:gd name="connsiteY1145" fmla="*/ 446148 h 614709"/>
                <a:gd name="connsiteX1146" fmla="*/ 886458 w 951649"/>
                <a:gd name="connsiteY1146" fmla="*/ 447752 h 614709"/>
                <a:gd name="connsiteX1147" fmla="*/ 885429 w 951649"/>
                <a:gd name="connsiteY1147" fmla="*/ 450232 h 614709"/>
                <a:gd name="connsiteX1148" fmla="*/ 885671 w 951649"/>
                <a:gd name="connsiteY1148" fmla="*/ 458067 h 614709"/>
                <a:gd name="connsiteX1149" fmla="*/ 886095 w 951649"/>
                <a:gd name="connsiteY1149" fmla="*/ 460457 h 614709"/>
                <a:gd name="connsiteX1150" fmla="*/ 887305 w 951649"/>
                <a:gd name="connsiteY1150" fmla="*/ 462393 h 614709"/>
                <a:gd name="connsiteX1151" fmla="*/ 888636 w 951649"/>
                <a:gd name="connsiteY1151" fmla="*/ 461970 h 614709"/>
                <a:gd name="connsiteX1152" fmla="*/ 890058 w 951649"/>
                <a:gd name="connsiteY1152" fmla="*/ 461032 h 614709"/>
                <a:gd name="connsiteX1153" fmla="*/ 891691 w 951649"/>
                <a:gd name="connsiteY1153" fmla="*/ 461334 h 614709"/>
                <a:gd name="connsiteX1154" fmla="*/ 891631 w 951649"/>
                <a:gd name="connsiteY1154" fmla="*/ 459913 h 614709"/>
                <a:gd name="connsiteX1155" fmla="*/ 891480 w 951649"/>
                <a:gd name="connsiteY1155" fmla="*/ 458884 h 614709"/>
                <a:gd name="connsiteX1156" fmla="*/ 890935 w 951649"/>
                <a:gd name="connsiteY1156" fmla="*/ 456827 h 614709"/>
                <a:gd name="connsiteX1157" fmla="*/ 893900 w 951649"/>
                <a:gd name="connsiteY1157" fmla="*/ 459762 h 614709"/>
                <a:gd name="connsiteX1158" fmla="*/ 895201 w 951649"/>
                <a:gd name="connsiteY1158" fmla="*/ 461486 h 614709"/>
                <a:gd name="connsiteX1159" fmla="*/ 895775 w 951649"/>
                <a:gd name="connsiteY1159" fmla="*/ 463119 h 614709"/>
                <a:gd name="connsiteX1160" fmla="*/ 895201 w 951649"/>
                <a:gd name="connsiteY1160" fmla="*/ 466054 h 614709"/>
                <a:gd name="connsiteX1161" fmla="*/ 893355 w 951649"/>
                <a:gd name="connsiteY1161" fmla="*/ 468323 h 614709"/>
                <a:gd name="connsiteX1162" fmla="*/ 891117 w 951649"/>
                <a:gd name="connsiteY1162" fmla="*/ 469775 h 614709"/>
                <a:gd name="connsiteX1163" fmla="*/ 887093 w 951649"/>
                <a:gd name="connsiteY1163" fmla="*/ 470713 h 614709"/>
                <a:gd name="connsiteX1164" fmla="*/ 883402 w 951649"/>
                <a:gd name="connsiteY1164" fmla="*/ 472467 h 614709"/>
                <a:gd name="connsiteX1165" fmla="*/ 880952 w 951649"/>
                <a:gd name="connsiteY1165" fmla="*/ 472891 h 614709"/>
                <a:gd name="connsiteX1166" fmla="*/ 878713 w 951649"/>
                <a:gd name="connsiteY1166" fmla="*/ 473738 h 614709"/>
                <a:gd name="connsiteX1167" fmla="*/ 879349 w 951649"/>
                <a:gd name="connsiteY1167" fmla="*/ 475764 h 614709"/>
                <a:gd name="connsiteX1168" fmla="*/ 880710 w 951649"/>
                <a:gd name="connsiteY1168" fmla="*/ 478154 h 614709"/>
                <a:gd name="connsiteX1169" fmla="*/ 880619 w 951649"/>
                <a:gd name="connsiteY1169" fmla="*/ 480060 h 614709"/>
                <a:gd name="connsiteX1170" fmla="*/ 881315 w 951649"/>
                <a:gd name="connsiteY1170" fmla="*/ 481028 h 614709"/>
                <a:gd name="connsiteX1171" fmla="*/ 883887 w 951649"/>
                <a:gd name="connsiteY1171" fmla="*/ 477670 h 614709"/>
                <a:gd name="connsiteX1172" fmla="*/ 886851 w 951649"/>
                <a:gd name="connsiteY1172" fmla="*/ 475008 h 614709"/>
                <a:gd name="connsiteX1173" fmla="*/ 896925 w 951649"/>
                <a:gd name="connsiteY1173" fmla="*/ 468625 h 614709"/>
                <a:gd name="connsiteX1174" fmla="*/ 900585 w 951649"/>
                <a:gd name="connsiteY1174" fmla="*/ 467506 h 614709"/>
                <a:gd name="connsiteX1175" fmla="*/ 913019 w 951649"/>
                <a:gd name="connsiteY1175" fmla="*/ 466750 h 614709"/>
                <a:gd name="connsiteX1176" fmla="*/ 932652 w 951649"/>
                <a:gd name="connsiteY1176" fmla="*/ 463906 h 614709"/>
                <a:gd name="connsiteX1177" fmla="*/ 933620 w 951649"/>
                <a:gd name="connsiteY1177" fmla="*/ 463664 h 614709"/>
                <a:gd name="connsiteX1178" fmla="*/ 934678 w 951649"/>
                <a:gd name="connsiteY1178" fmla="*/ 463180 h 614709"/>
                <a:gd name="connsiteX1179" fmla="*/ 935767 w 951649"/>
                <a:gd name="connsiteY1179" fmla="*/ 462968 h 614709"/>
                <a:gd name="connsiteX1180" fmla="*/ 937764 w 951649"/>
                <a:gd name="connsiteY1180" fmla="*/ 463967 h 614709"/>
                <a:gd name="connsiteX1181" fmla="*/ 938520 w 951649"/>
                <a:gd name="connsiteY1181" fmla="*/ 463331 h 614709"/>
                <a:gd name="connsiteX1182" fmla="*/ 939942 w 951649"/>
                <a:gd name="connsiteY1182" fmla="*/ 461334 h 614709"/>
                <a:gd name="connsiteX1183" fmla="*/ 941001 w 951649"/>
                <a:gd name="connsiteY1183" fmla="*/ 460820 h 614709"/>
                <a:gd name="connsiteX1184" fmla="*/ 941939 w 951649"/>
                <a:gd name="connsiteY1184" fmla="*/ 460699 h 614709"/>
                <a:gd name="connsiteX1185" fmla="*/ 942725 w 951649"/>
                <a:gd name="connsiteY1185" fmla="*/ 460185 h 614709"/>
                <a:gd name="connsiteX1186" fmla="*/ 943421 w 951649"/>
                <a:gd name="connsiteY1186" fmla="*/ 458582 h 614709"/>
                <a:gd name="connsiteX1187" fmla="*/ 942121 w 951649"/>
                <a:gd name="connsiteY1187" fmla="*/ 456162 h 614709"/>
                <a:gd name="connsiteX1188" fmla="*/ 944662 w 951649"/>
                <a:gd name="connsiteY1188" fmla="*/ 452592 h 614709"/>
                <a:gd name="connsiteX1189" fmla="*/ 944026 w 951649"/>
                <a:gd name="connsiteY1189" fmla="*/ 449778 h 614709"/>
                <a:gd name="connsiteX1190" fmla="*/ 944692 w 951649"/>
                <a:gd name="connsiteY1190" fmla="*/ 448538 h 614709"/>
                <a:gd name="connsiteX1191" fmla="*/ 944994 w 951649"/>
                <a:gd name="connsiteY1191" fmla="*/ 446602 h 614709"/>
                <a:gd name="connsiteX1192" fmla="*/ 945115 w 951649"/>
                <a:gd name="connsiteY1192" fmla="*/ 444484 h 614709"/>
                <a:gd name="connsiteX1193" fmla="*/ 945388 w 951649"/>
                <a:gd name="connsiteY1193" fmla="*/ 442669 h 614709"/>
                <a:gd name="connsiteX1194" fmla="*/ 946719 w 951649"/>
                <a:gd name="connsiteY1194" fmla="*/ 438949 h 614709"/>
                <a:gd name="connsiteX1195" fmla="*/ 947263 w 951649"/>
                <a:gd name="connsiteY1195" fmla="*/ 436740 h 614709"/>
                <a:gd name="connsiteX1196" fmla="*/ 948080 w 951649"/>
                <a:gd name="connsiteY1196" fmla="*/ 425245 h 614709"/>
                <a:gd name="connsiteX1197" fmla="*/ 949320 w 951649"/>
                <a:gd name="connsiteY1197" fmla="*/ 421615 h 614709"/>
                <a:gd name="connsiteX1198" fmla="*/ 951649 w 951649"/>
                <a:gd name="connsiteY1198" fmla="*/ 419376 h 614709"/>
                <a:gd name="connsiteX1199" fmla="*/ 948352 w 951649"/>
                <a:gd name="connsiteY1199" fmla="*/ 419073 h 61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Lst>
              <a:rect l="l" t="t" r="r" b="b"/>
              <a:pathLst>
                <a:path w="951649" h="614709">
                  <a:moveTo>
                    <a:pt x="948352" y="419073"/>
                  </a:moveTo>
                  <a:lnTo>
                    <a:pt x="946598" y="417288"/>
                  </a:lnTo>
                  <a:lnTo>
                    <a:pt x="945509" y="414959"/>
                  </a:lnTo>
                  <a:lnTo>
                    <a:pt x="944026" y="413023"/>
                  </a:lnTo>
                  <a:lnTo>
                    <a:pt x="944026" y="412206"/>
                  </a:lnTo>
                  <a:lnTo>
                    <a:pt x="946658" y="412116"/>
                  </a:lnTo>
                  <a:lnTo>
                    <a:pt x="947535" y="412297"/>
                  </a:lnTo>
                  <a:lnTo>
                    <a:pt x="947535" y="412297"/>
                  </a:lnTo>
                  <a:lnTo>
                    <a:pt x="947535" y="412297"/>
                  </a:lnTo>
                  <a:lnTo>
                    <a:pt x="948080" y="411329"/>
                  </a:lnTo>
                  <a:lnTo>
                    <a:pt x="948292" y="410361"/>
                  </a:lnTo>
                  <a:lnTo>
                    <a:pt x="948141" y="409423"/>
                  </a:lnTo>
                  <a:lnTo>
                    <a:pt x="947566" y="408576"/>
                  </a:lnTo>
                  <a:lnTo>
                    <a:pt x="948897" y="404795"/>
                  </a:lnTo>
                  <a:lnTo>
                    <a:pt x="948352" y="399712"/>
                  </a:lnTo>
                  <a:lnTo>
                    <a:pt x="946689" y="395205"/>
                  </a:lnTo>
                  <a:lnTo>
                    <a:pt x="944450" y="393299"/>
                  </a:lnTo>
                  <a:lnTo>
                    <a:pt x="943240" y="392694"/>
                  </a:lnTo>
                  <a:lnTo>
                    <a:pt x="938551" y="388791"/>
                  </a:lnTo>
                  <a:lnTo>
                    <a:pt x="924575" y="384133"/>
                  </a:lnTo>
                  <a:lnTo>
                    <a:pt x="916830" y="383407"/>
                  </a:lnTo>
                  <a:lnTo>
                    <a:pt x="915832" y="383134"/>
                  </a:lnTo>
                  <a:lnTo>
                    <a:pt x="914743" y="382590"/>
                  </a:lnTo>
                  <a:lnTo>
                    <a:pt x="913654" y="382348"/>
                  </a:lnTo>
                  <a:lnTo>
                    <a:pt x="912716" y="382953"/>
                  </a:lnTo>
                  <a:lnTo>
                    <a:pt x="912111" y="383649"/>
                  </a:lnTo>
                  <a:lnTo>
                    <a:pt x="911355" y="384345"/>
                  </a:lnTo>
                  <a:lnTo>
                    <a:pt x="910477" y="384889"/>
                  </a:lnTo>
                  <a:lnTo>
                    <a:pt x="909600" y="385192"/>
                  </a:lnTo>
                  <a:lnTo>
                    <a:pt x="907482" y="385222"/>
                  </a:lnTo>
                  <a:lnTo>
                    <a:pt x="905849" y="384950"/>
                  </a:lnTo>
                  <a:lnTo>
                    <a:pt x="904215" y="385010"/>
                  </a:lnTo>
                  <a:lnTo>
                    <a:pt x="902037" y="386099"/>
                  </a:lnTo>
                  <a:lnTo>
                    <a:pt x="900525" y="387309"/>
                  </a:lnTo>
                  <a:lnTo>
                    <a:pt x="899647" y="388247"/>
                  </a:lnTo>
                  <a:lnTo>
                    <a:pt x="899284" y="389215"/>
                  </a:lnTo>
                  <a:lnTo>
                    <a:pt x="898770" y="389578"/>
                  </a:lnTo>
                  <a:lnTo>
                    <a:pt x="896350" y="389729"/>
                  </a:lnTo>
                  <a:lnTo>
                    <a:pt x="895503" y="390092"/>
                  </a:lnTo>
                  <a:lnTo>
                    <a:pt x="894051" y="391484"/>
                  </a:lnTo>
                  <a:lnTo>
                    <a:pt x="892326" y="392180"/>
                  </a:lnTo>
                  <a:lnTo>
                    <a:pt x="888243" y="393299"/>
                  </a:lnTo>
                  <a:lnTo>
                    <a:pt x="883070" y="397201"/>
                  </a:lnTo>
                  <a:lnTo>
                    <a:pt x="881678" y="397837"/>
                  </a:lnTo>
                  <a:lnTo>
                    <a:pt x="879470" y="397927"/>
                  </a:lnTo>
                  <a:lnTo>
                    <a:pt x="878593" y="398139"/>
                  </a:lnTo>
                  <a:lnTo>
                    <a:pt x="877867" y="398653"/>
                  </a:lnTo>
                  <a:lnTo>
                    <a:pt x="877261" y="399773"/>
                  </a:lnTo>
                  <a:lnTo>
                    <a:pt x="876929" y="402314"/>
                  </a:lnTo>
                  <a:lnTo>
                    <a:pt x="876475" y="403221"/>
                  </a:lnTo>
                  <a:lnTo>
                    <a:pt x="874176" y="404008"/>
                  </a:lnTo>
                  <a:lnTo>
                    <a:pt x="872179" y="402919"/>
                  </a:lnTo>
                  <a:lnTo>
                    <a:pt x="870546" y="401285"/>
                  </a:lnTo>
                  <a:lnTo>
                    <a:pt x="869245" y="400469"/>
                  </a:lnTo>
                  <a:lnTo>
                    <a:pt x="866945" y="400075"/>
                  </a:lnTo>
                  <a:lnTo>
                    <a:pt x="864284" y="398351"/>
                  </a:lnTo>
                  <a:lnTo>
                    <a:pt x="862741" y="397837"/>
                  </a:lnTo>
                  <a:lnTo>
                    <a:pt x="860079" y="398442"/>
                  </a:lnTo>
                  <a:lnTo>
                    <a:pt x="859958" y="400317"/>
                  </a:lnTo>
                  <a:lnTo>
                    <a:pt x="860109" y="402314"/>
                  </a:lnTo>
                  <a:lnTo>
                    <a:pt x="857235" y="403645"/>
                  </a:lnTo>
                  <a:lnTo>
                    <a:pt x="857054" y="404643"/>
                  </a:lnTo>
                  <a:lnTo>
                    <a:pt x="857356" y="405853"/>
                  </a:lnTo>
                  <a:lnTo>
                    <a:pt x="857810" y="406822"/>
                  </a:lnTo>
                  <a:lnTo>
                    <a:pt x="858506" y="407366"/>
                  </a:lnTo>
                  <a:lnTo>
                    <a:pt x="861379" y="408576"/>
                  </a:lnTo>
                  <a:lnTo>
                    <a:pt x="860230" y="409786"/>
                  </a:lnTo>
                  <a:lnTo>
                    <a:pt x="858959" y="410300"/>
                  </a:lnTo>
                  <a:lnTo>
                    <a:pt x="855813" y="410391"/>
                  </a:lnTo>
                  <a:lnTo>
                    <a:pt x="852062" y="410845"/>
                  </a:lnTo>
                  <a:lnTo>
                    <a:pt x="838660" y="408062"/>
                  </a:lnTo>
                  <a:lnTo>
                    <a:pt x="830341" y="404038"/>
                  </a:lnTo>
                  <a:lnTo>
                    <a:pt x="821387" y="401921"/>
                  </a:lnTo>
                  <a:lnTo>
                    <a:pt x="817878" y="400045"/>
                  </a:lnTo>
                  <a:lnTo>
                    <a:pt x="816154" y="399622"/>
                  </a:lnTo>
                  <a:lnTo>
                    <a:pt x="813824" y="398260"/>
                  </a:lnTo>
                  <a:lnTo>
                    <a:pt x="811858" y="394993"/>
                  </a:lnTo>
                  <a:lnTo>
                    <a:pt x="808893" y="387884"/>
                  </a:lnTo>
                  <a:lnTo>
                    <a:pt x="809438" y="385283"/>
                  </a:lnTo>
                  <a:lnTo>
                    <a:pt x="807441" y="382802"/>
                  </a:lnTo>
                  <a:lnTo>
                    <a:pt x="804507" y="381289"/>
                  </a:lnTo>
                  <a:lnTo>
                    <a:pt x="802238" y="381501"/>
                  </a:lnTo>
                  <a:lnTo>
                    <a:pt x="802026" y="381531"/>
                  </a:lnTo>
                  <a:lnTo>
                    <a:pt x="800665" y="379989"/>
                  </a:lnTo>
                  <a:lnTo>
                    <a:pt x="798003" y="377024"/>
                  </a:lnTo>
                  <a:lnTo>
                    <a:pt x="797307" y="375662"/>
                  </a:lnTo>
                  <a:lnTo>
                    <a:pt x="797246" y="371246"/>
                  </a:lnTo>
                  <a:lnTo>
                    <a:pt x="797125" y="370943"/>
                  </a:lnTo>
                  <a:lnTo>
                    <a:pt x="796853" y="370641"/>
                  </a:lnTo>
                  <a:lnTo>
                    <a:pt x="796490" y="369854"/>
                  </a:lnTo>
                  <a:lnTo>
                    <a:pt x="794796" y="367041"/>
                  </a:lnTo>
                  <a:lnTo>
                    <a:pt x="792466" y="365377"/>
                  </a:lnTo>
                  <a:lnTo>
                    <a:pt x="786870" y="362654"/>
                  </a:lnTo>
                  <a:lnTo>
                    <a:pt x="788141" y="361172"/>
                  </a:lnTo>
                  <a:lnTo>
                    <a:pt x="789774" y="359690"/>
                  </a:lnTo>
                  <a:lnTo>
                    <a:pt x="791438" y="358570"/>
                  </a:lnTo>
                  <a:lnTo>
                    <a:pt x="792769" y="358147"/>
                  </a:lnTo>
                  <a:lnTo>
                    <a:pt x="796067" y="358177"/>
                  </a:lnTo>
                  <a:lnTo>
                    <a:pt x="797519" y="357512"/>
                  </a:lnTo>
                  <a:lnTo>
                    <a:pt x="796883" y="355787"/>
                  </a:lnTo>
                  <a:lnTo>
                    <a:pt x="797065" y="353670"/>
                  </a:lnTo>
                  <a:lnTo>
                    <a:pt x="796188" y="340419"/>
                  </a:lnTo>
                  <a:lnTo>
                    <a:pt x="795341" y="339179"/>
                  </a:lnTo>
                  <a:lnTo>
                    <a:pt x="793586" y="336033"/>
                  </a:lnTo>
                  <a:lnTo>
                    <a:pt x="791983" y="332009"/>
                  </a:lnTo>
                  <a:lnTo>
                    <a:pt x="791740" y="328168"/>
                  </a:lnTo>
                  <a:lnTo>
                    <a:pt x="792164" y="327442"/>
                  </a:lnTo>
                  <a:lnTo>
                    <a:pt x="793495" y="326564"/>
                  </a:lnTo>
                  <a:lnTo>
                    <a:pt x="793798" y="325899"/>
                  </a:lnTo>
                  <a:lnTo>
                    <a:pt x="793586" y="325415"/>
                  </a:lnTo>
                  <a:lnTo>
                    <a:pt x="792709" y="323721"/>
                  </a:lnTo>
                  <a:lnTo>
                    <a:pt x="792406" y="322722"/>
                  </a:lnTo>
                  <a:lnTo>
                    <a:pt x="792557" y="321694"/>
                  </a:lnTo>
                  <a:lnTo>
                    <a:pt x="792951" y="320665"/>
                  </a:lnTo>
                  <a:lnTo>
                    <a:pt x="793163" y="319667"/>
                  </a:lnTo>
                  <a:lnTo>
                    <a:pt x="792769" y="318608"/>
                  </a:lnTo>
                  <a:lnTo>
                    <a:pt x="792164" y="317701"/>
                  </a:lnTo>
                  <a:lnTo>
                    <a:pt x="791922" y="316884"/>
                  </a:lnTo>
                  <a:lnTo>
                    <a:pt x="791740" y="315401"/>
                  </a:lnTo>
                  <a:lnTo>
                    <a:pt x="789260" y="308746"/>
                  </a:lnTo>
                  <a:lnTo>
                    <a:pt x="788927" y="306871"/>
                  </a:lnTo>
                  <a:lnTo>
                    <a:pt x="789109" y="305539"/>
                  </a:lnTo>
                  <a:lnTo>
                    <a:pt x="790349" y="300881"/>
                  </a:lnTo>
                  <a:lnTo>
                    <a:pt x="790319" y="300185"/>
                  </a:lnTo>
                  <a:lnTo>
                    <a:pt x="789714" y="299792"/>
                  </a:lnTo>
                  <a:lnTo>
                    <a:pt x="789684" y="299066"/>
                  </a:lnTo>
                  <a:lnTo>
                    <a:pt x="789925" y="298400"/>
                  </a:lnTo>
                  <a:lnTo>
                    <a:pt x="790742" y="297916"/>
                  </a:lnTo>
                  <a:lnTo>
                    <a:pt x="791468" y="296041"/>
                  </a:lnTo>
                  <a:lnTo>
                    <a:pt x="791740" y="295315"/>
                  </a:lnTo>
                  <a:lnTo>
                    <a:pt x="793404" y="290807"/>
                  </a:lnTo>
                  <a:lnTo>
                    <a:pt x="794009" y="287540"/>
                  </a:lnTo>
                  <a:lnTo>
                    <a:pt x="795159" y="284424"/>
                  </a:lnTo>
                  <a:lnTo>
                    <a:pt x="794856" y="283274"/>
                  </a:lnTo>
                  <a:lnTo>
                    <a:pt x="794252" y="282367"/>
                  </a:lnTo>
                  <a:lnTo>
                    <a:pt x="793616" y="281581"/>
                  </a:lnTo>
                  <a:lnTo>
                    <a:pt x="791771" y="278797"/>
                  </a:lnTo>
                  <a:lnTo>
                    <a:pt x="791559" y="277648"/>
                  </a:lnTo>
                  <a:lnTo>
                    <a:pt x="792769" y="277164"/>
                  </a:lnTo>
                  <a:lnTo>
                    <a:pt x="793889" y="276891"/>
                  </a:lnTo>
                  <a:lnTo>
                    <a:pt x="794130" y="276135"/>
                  </a:lnTo>
                  <a:lnTo>
                    <a:pt x="793798" y="273897"/>
                  </a:lnTo>
                  <a:lnTo>
                    <a:pt x="794221" y="272959"/>
                  </a:lnTo>
                  <a:lnTo>
                    <a:pt x="795189" y="272475"/>
                  </a:lnTo>
                  <a:lnTo>
                    <a:pt x="796339" y="272142"/>
                  </a:lnTo>
                  <a:lnTo>
                    <a:pt x="797277" y="271658"/>
                  </a:lnTo>
                  <a:lnTo>
                    <a:pt x="798487" y="270569"/>
                  </a:lnTo>
                  <a:lnTo>
                    <a:pt x="799848" y="267816"/>
                  </a:lnTo>
                  <a:lnTo>
                    <a:pt x="799999" y="267362"/>
                  </a:lnTo>
                  <a:lnTo>
                    <a:pt x="799909" y="265699"/>
                  </a:lnTo>
                  <a:lnTo>
                    <a:pt x="799515" y="263006"/>
                  </a:lnTo>
                  <a:lnTo>
                    <a:pt x="799757" y="262038"/>
                  </a:lnTo>
                  <a:lnTo>
                    <a:pt x="800967" y="261645"/>
                  </a:lnTo>
                  <a:lnTo>
                    <a:pt x="801451" y="261070"/>
                  </a:lnTo>
                  <a:lnTo>
                    <a:pt x="802026" y="256986"/>
                  </a:lnTo>
                  <a:lnTo>
                    <a:pt x="802691" y="256381"/>
                  </a:lnTo>
                  <a:lnTo>
                    <a:pt x="803417" y="256078"/>
                  </a:lnTo>
                  <a:lnTo>
                    <a:pt x="803599" y="255988"/>
                  </a:lnTo>
                  <a:lnTo>
                    <a:pt x="804083" y="255232"/>
                  </a:lnTo>
                  <a:lnTo>
                    <a:pt x="803357" y="253416"/>
                  </a:lnTo>
                  <a:lnTo>
                    <a:pt x="804779" y="252751"/>
                  </a:lnTo>
                  <a:lnTo>
                    <a:pt x="805354" y="251753"/>
                  </a:lnTo>
                  <a:lnTo>
                    <a:pt x="805475" y="250633"/>
                  </a:lnTo>
                  <a:lnTo>
                    <a:pt x="805475" y="246459"/>
                  </a:lnTo>
                  <a:lnTo>
                    <a:pt x="805354" y="245370"/>
                  </a:lnTo>
                  <a:lnTo>
                    <a:pt x="804991" y="245218"/>
                  </a:lnTo>
                  <a:lnTo>
                    <a:pt x="804567" y="245339"/>
                  </a:lnTo>
                  <a:lnTo>
                    <a:pt x="804144" y="245007"/>
                  </a:lnTo>
                  <a:lnTo>
                    <a:pt x="802843" y="242647"/>
                  </a:lnTo>
                  <a:lnTo>
                    <a:pt x="802661" y="241588"/>
                  </a:lnTo>
                  <a:lnTo>
                    <a:pt x="802843" y="236536"/>
                  </a:lnTo>
                  <a:lnTo>
                    <a:pt x="803236" y="235538"/>
                  </a:lnTo>
                  <a:lnTo>
                    <a:pt x="804144" y="234933"/>
                  </a:lnTo>
                  <a:lnTo>
                    <a:pt x="803297" y="232724"/>
                  </a:lnTo>
                  <a:lnTo>
                    <a:pt x="803781" y="230819"/>
                  </a:lnTo>
                  <a:lnTo>
                    <a:pt x="804809" y="229155"/>
                  </a:lnTo>
                  <a:lnTo>
                    <a:pt x="805475" y="227672"/>
                  </a:lnTo>
                  <a:lnTo>
                    <a:pt x="805505" y="225857"/>
                  </a:lnTo>
                  <a:lnTo>
                    <a:pt x="805263" y="224436"/>
                  </a:lnTo>
                  <a:lnTo>
                    <a:pt x="805172" y="223891"/>
                  </a:lnTo>
                  <a:lnTo>
                    <a:pt x="804144" y="220261"/>
                  </a:lnTo>
                  <a:lnTo>
                    <a:pt x="798517" y="209824"/>
                  </a:lnTo>
                  <a:lnTo>
                    <a:pt x="798517" y="207313"/>
                  </a:lnTo>
                  <a:lnTo>
                    <a:pt x="794463" y="200900"/>
                  </a:lnTo>
                  <a:lnTo>
                    <a:pt x="792829" y="197088"/>
                  </a:lnTo>
                  <a:lnTo>
                    <a:pt x="792951" y="196029"/>
                  </a:lnTo>
                  <a:lnTo>
                    <a:pt x="793102" y="194426"/>
                  </a:lnTo>
                  <a:lnTo>
                    <a:pt x="793102" y="193428"/>
                  </a:lnTo>
                  <a:lnTo>
                    <a:pt x="791983" y="192097"/>
                  </a:lnTo>
                  <a:lnTo>
                    <a:pt x="792103" y="190494"/>
                  </a:lnTo>
                  <a:lnTo>
                    <a:pt x="792013" y="188951"/>
                  </a:lnTo>
                  <a:lnTo>
                    <a:pt x="790349" y="187892"/>
                  </a:lnTo>
                  <a:lnTo>
                    <a:pt x="791226" y="185835"/>
                  </a:lnTo>
                  <a:lnTo>
                    <a:pt x="791166" y="185502"/>
                  </a:lnTo>
                  <a:lnTo>
                    <a:pt x="790894" y="183475"/>
                  </a:lnTo>
                  <a:lnTo>
                    <a:pt x="788927" y="178574"/>
                  </a:lnTo>
                  <a:lnTo>
                    <a:pt x="787535" y="176275"/>
                  </a:lnTo>
                  <a:lnTo>
                    <a:pt x="784420" y="172615"/>
                  </a:lnTo>
                  <a:lnTo>
                    <a:pt x="784329" y="172463"/>
                  </a:lnTo>
                  <a:lnTo>
                    <a:pt x="783421" y="170225"/>
                  </a:lnTo>
                  <a:lnTo>
                    <a:pt x="781425" y="171163"/>
                  </a:lnTo>
                  <a:lnTo>
                    <a:pt x="779247" y="170195"/>
                  </a:lnTo>
                  <a:lnTo>
                    <a:pt x="776887" y="168833"/>
                  </a:lnTo>
                  <a:lnTo>
                    <a:pt x="774437" y="168410"/>
                  </a:lnTo>
                  <a:lnTo>
                    <a:pt x="774406" y="166443"/>
                  </a:lnTo>
                  <a:lnTo>
                    <a:pt x="773136" y="165385"/>
                  </a:lnTo>
                  <a:lnTo>
                    <a:pt x="770292" y="163661"/>
                  </a:lnTo>
                  <a:lnTo>
                    <a:pt x="767237" y="160545"/>
                  </a:lnTo>
                  <a:lnTo>
                    <a:pt x="766299" y="159879"/>
                  </a:lnTo>
                  <a:lnTo>
                    <a:pt x="765331" y="159607"/>
                  </a:lnTo>
                  <a:lnTo>
                    <a:pt x="764877" y="159213"/>
                  </a:lnTo>
                  <a:lnTo>
                    <a:pt x="765482" y="158215"/>
                  </a:lnTo>
                  <a:lnTo>
                    <a:pt x="765482" y="157278"/>
                  </a:lnTo>
                  <a:lnTo>
                    <a:pt x="761126" y="155099"/>
                  </a:lnTo>
                  <a:lnTo>
                    <a:pt x="759946" y="153587"/>
                  </a:lnTo>
                  <a:lnTo>
                    <a:pt x="761065" y="153254"/>
                  </a:lnTo>
                  <a:lnTo>
                    <a:pt x="761247" y="152679"/>
                  </a:lnTo>
                  <a:lnTo>
                    <a:pt x="760945" y="151862"/>
                  </a:lnTo>
                  <a:lnTo>
                    <a:pt x="760673" y="150804"/>
                  </a:lnTo>
                  <a:lnTo>
                    <a:pt x="760521" y="150713"/>
                  </a:lnTo>
                  <a:lnTo>
                    <a:pt x="759281" y="146992"/>
                  </a:lnTo>
                  <a:lnTo>
                    <a:pt x="756770" y="143997"/>
                  </a:lnTo>
                  <a:lnTo>
                    <a:pt x="755681" y="142303"/>
                  </a:lnTo>
                  <a:lnTo>
                    <a:pt x="755802" y="140579"/>
                  </a:lnTo>
                  <a:lnTo>
                    <a:pt x="753775" y="137311"/>
                  </a:lnTo>
                  <a:lnTo>
                    <a:pt x="752716" y="136253"/>
                  </a:lnTo>
                  <a:lnTo>
                    <a:pt x="750175" y="135678"/>
                  </a:lnTo>
                  <a:lnTo>
                    <a:pt x="749388" y="135224"/>
                  </a:lnTo>
                  <a:lnTo>
                    <a:pt x="748632" y="134619"/>
                  </a:lnTo>
                  <a:lnTo>
                    <a:pt x="747573" y="134014"/>
                  </a:lnTo>
                  <a:lnTo>
                    <a:pt x="744851" y="133439"/>
                  </a:lnTo>
                  <a:lnTo>
                    <a:pt x="744064" y="133076"/>
                  </a:lnTo>
                  <a:lnTo>
                    <a:pt x="742764" y="131049"/>
                  </a:lnTo>
                  <a:lnTo>
                    <a:pt x="740343" y="125695"/>
                  </a:lnTo>
                  <a:lnTo>
                    <a:pt x="739224" y="124817"/>
                  </a:lnTo>
                  <a:lnTo>
                    <a:pt x="738982" y="124606"/>
                  </a:lnTo>
                  <a:lnTo>
                    <a:pt x="737560" y="123728"/>
                  </a:lnTo>
                  <a:lnTo>
                    <a:pt x="738377" y="119523"/>
                  </a:lnTo>
                  <a:lnTo>
                    <a:pt x="736562" y="118102"/>
                  </a:lnTo>
                  <a:lnTo>
                    <a:pt x="736895" y="116498"/>
                  </a:lnTo>
                  <a:lnTo>
                    <a:pt x="737258" y="115107"/>
                  </a:lnTo>
                  <a:lnTo>
                    <a:pt x="737802" y="114048"/>
                  </a:lnTo>
                  <a:lnTo>
                    <a:pt x="738649" y="113443"/>
                  </a:lnTo>
                  <a:lnTo>
                    <a:pt x="737923" y="112112"/>
                  </a:lnTo>
                  <a:lnTo>
                    <a:pt x="736653" y="111023"/>
                  </a:lnTo>
                  <a:lnTo>
                    <a:pt x="735110" y="110206"/>
                  </a:lnTo>
                  <a:lnTo>
                    <a:pt x="733779" y="109692"/>
                  </a:lnTo>
                  <a:lnTo>
                    <a:pt x="733597" y="109783"/>
                  </a:lnTo>
                  <a:lnTo>
                    <a:pt x="731026" y="109692"/>
                  </a:lnTo>
                  <a:lnTo>
                    <a:pt x="730421" y="109450"/>
                  </a:lnTo>
                  <a:lnTo>
                    <a:pt x="730028" y="109117"/>
                  </a:lnTo>
                  <a:lnTo>
                    <a:pt x="729544" y="108815"/>
                  </a:lnTo>
                  <a:lnTo>
                    <a:pt x="728636" y="108694"/>
                  </a:lnTo>
                  <a:lnTo>
                    <a:pt x="727577" y="107816"/>
                  </a:lnTo>
                  <a:lnTo>
                    <a:pt x="726942" y="105820"/>
                  </a:lnTo>
                  <a:lnTo>
                    <a:pt x="726216" y="102159"/>
                  </a:lnTo>
                  <a:lnTo>
                    <a:pt x="725944" y="102069"/>
                  </a:lnTo>
                  <a:lnTo>
                    <a:pt x="724855" y="101917"/>
                  </a:lnTo>
                  <a:lnTo>
                    <a:pt x="724461" y="101706"/>
                  </a:lnTo>
                  <a:lnTo>
                    <a:pt x="724250" y="101100"/>
                  </a:lnTo>
                  <a:lnTo>
                    <a:pt x="724280" y="99860"/>
                  </a:lnTo>
                  <a:lnTo>
                    <a:pt x="724159" y="99346"/>
                  </a:lnTo>
                  <a:lnTo>
                    <a:pt x="723826" y="98499"/>
                  </a:lnTo>
                  <a:lnTo>
                    <a:pt x="723372" y="96775"/>
                  </a:lnTo>
                  <a:lnTo>
                    <a:pt x="723191" y="96018"/>
                  </a:lnTo>
                  <a:lnTo>
                    <a:pt x="723070" y="95625"/>
                  </a:lnTo>
                  <a:lnTo>
                    <a:pt x="719924" y="94506"/>
                  </a:lnTo>
                  <a:lnTo>
                    <a:pt x="717110" y="91874"/>
                  </a:lnTo>
                  <a:lnTo>
                    <a:pt x="710576" y="83918"/>
                  </a:lnTo>
                  <a:lnTo>
                    <a:pt x="708247" y="80287"/>
                  </a:lnTo>
                  <a:lnTo>
                    <a:pt x="707339" y="77262"/>
                  </a:lnTo>
                  <a:lnTo>
                    <a:pt x="709668" y="76808"/>
                  </a:lnTo>
                  <a:lnTo>
                    <a:pt x="709668" y="75962"/>
                  </a:lnTo>
                  <a:lnTo>
                    <a:pt x="709124" y="74963"/>
                  </a:lnTo>
                  <a:lnTo>
                    <a:pt x="709275" y="73511"/>
                  </a:lnTo>
                  <a:lnTo>
                    <a:pt x="708973" y="72362"/>
                  </a:lnTo>
                  <a:lnTo>
                    <a:pt x="708912" y="72120"/>
                  </a:lnTo>
                  <a:lnTo>
                    <a:pt x="708398" y="71666"/>
                  </a:lnTo>
                  <a:lnTo>
                    <a:pt x="706613" y="70456"/>
                  </a:lnTo>
                  <a:lnTo>
                    <a:pt x="706220" y="69821"/>
                  </a:lnTo>
                  <a:lnTo>
                    <a:pt x="705736" y="68671"/>
                  </a:lnTo>
                  <a:lnTo>
                    <a:pt x="704617" y="66583"/>
                  </a:lnTo>
                  <a:lnTo>
                    <a:pt x="703225" y="64617"/>
                  </a:lnTo>
                  <a:lnTo>
                    <a:pt x="702015" y="63679"/>
                  </a:lnTo>
                  <a:lnTo>
                    <a:pt x="705464" y="61713"/>
                  </a:lnTo>
                  <a:lnTo>
                    <a:pt x="704707" y="60563"/>
                  </a:lnTo>
                  <a:lnTo>
                    <a:pt x="703618" y="60049"/>
                  </a:lnTo>
                  <a:lnTo>
                    <a:pt x="702408" y="59717"/>
                  </a:lnTo>
                  <a:lnTo>
                    <a:pt x="701349" y="58990"/>
                  </a:lnTo>
                  <a:lnTo>
                    <a:pt x="701410" y="58144"/>
                  </a:lnTo>
                  <a:lnTo>
                    <a:pt x="701259" y="53878"/>
                  </a:lnTo>
                  <a:lnTo>
                    <a:pt x="701349" y="53273"/>
                  </a:lnTo>
                  <a:lnTo>
                    <a:pt x="699504" y="51246"/>
                  </a:lnTo>
                  <a:lnTo>
                    <a:pt x="697235" y="50097"/>
                  </a:lnTo>
                  <a:lnTo>
                    <a:pt x="696146" y="48826"/>
                  </a:lnTo>
                  <a:lnTo>
                    <a:pt x="697931" y="46587"/>
                  </a:lnTo>
                  <a:lnTo>
                    <a:pt x="697931" y="45741"/>
                  </a:lnTo>
                  <a:lnTo>
                    <a:pt x="697296" y="45438"/>
                  </a:lnTo>
                  <a:lnTo>
                    <a:pt x="695178" y="43865"/>
                  </a:lnTo>
                  <a:lnTo>
                    <a:pt x="696358" y="42866"/>
                  </a:lnTo>
                  <a:lnTo>
                    <a:pt x="697054" y="41656"/>
                  </a:lnTo>
                  <a:lnTo>
                    <a:pt x="696963" y="40386"/>
                  </a:lnTo>
                  <a:lnTo>
                    <a:pt x="695783" y="39146"/>
                  </a:lnTo>
                  <a:lnTo>
                    <a:pt x="694452" y="39841"/>
                  </a:lnTo>
                  <a:lnTo>
                    <a:pt x="693514" y="37966"/>
                  </a:lnTo>
                  <a:lnTo>
                    <a:pt x="692183" y="36211"/>
                  </a:lnTo>
                  <a:lnTo>
                    <a:pt x="689612" y="37270"/>
                  </a:lnTo>
                  <a:lnTo>
                    <a:pt x="689370" y="36877"/>
                  </a:lnTo>
                  <a:lnTo>
                    <a:pt x="689158" y="36423"/>
                  </a:lnTo>
                  <a:lnTo>
                    <a:pt x="689037" y="35879"/>
                  </a:lnTo>
                  <a:lnTo>
                    <a:pt x="688916" y="35304"/>
                  </a:lnTo>
                  <a:lnTo>
                    <a:pt x="690973" y="34426"/>
                  </a:lnTo>
                  <a:lnTo>
                    <a:pt x="690973" y="33428"/>
                  </a:lnTo>
                  <a:lnTo>
                    <a:pt x="688341" y="32006"/>
                  </a:lnTo>
                  <a:lnTo>
                    <a:pt x="685921" y="30010"/>
                  </a:lnTo>
                  <a:lnTo>
                    <a:pt x="684167" y="27378"/>
                  </a:lnTo>
                  <a:lnTo>
                    <a:pt x="683410" y="23990"/>
                  </a:lnTo>
                  <a:lnTo>
                    <a:pt x="683682" y="23203"/>
                  </a:lnTo>
                  <a:lnTo>
                    <a:pt x="684741" y="21932"/>
                  </a:lnTo>
                  <a:lnTo>
                    <a:pt x="684802" y="21267"/>
                  </a:lnTo>
                  <a:lnTo>
                    <a:pt x="684802" y="21146"/>
                  </a:lnTo>
                  <a:lnTo>
                    <a:pt x="684288" y="20450"/>
                  </a:lnTo>
                  <a:lnTo>
                    <a:pt x="683380" y="19754"/>
                  </a:lnTo>
                  <a:lnTo>
                    <a:pt x="682503" y="19391"/>
                  </a:lnTo>
                  <a:lnTo>
                    <a:pt x="681263" y="20360"/>
                  </a:lnTo>
                  <a:lnTo>
                    <a:pt x="679357" y="19754"/>
                  </a:lnTo>
                  <a:lnTo>
                    <a:pt x="676604" y="18242"/>
                  </a:lnTo>
                  <a:lnTo>
                    <a:pt x="676604" y="17365"/>
                  </a:lnTo>
                  <a:lnTo>
                    <a:pt x="678600" y="17244"/>
                  </a:lnTo>
                  <a:lnTo>
                    <a:pt x="679750" y="16215"/>
                  </a:lnTo>
                  <a:lnTo>
                    <a:pt x="679750" y="15005"/>
                  </a:lnTo>
                  <a:lnTo>
                    <a:pt x="676271" y="13795"/>
                  </a:lnTo>
                  <a:lnTo>
                    <a:pt x="675515" y="12343"/>
                  </a:lnTo>
                  <a:lnTo>
                    <a:pt x="675000" y="10709"/>
                  </a:lnTo>
                  <a:lnTo>
                    <a:pt x="673760" y="9711"/>
                  </a:lnTo>
                  <a:lnTo>
                    <a:pt x="672822" y="10528"/>
                  </a:lnTo>
                  <a:lnTo>
                    <a:pt x="671703" y="12040"/>
                  </a:lnTo>
                  <a:lnTo>
                    <a:pt x="670704" y="12524"/>
                  </a:lnTo>
                  <a:lnTo>
                    <a:pt x="670311" y="10195"/>
                  </a:lnTo>
                  <a:lnTo>
                    <a:pt x="669676" y="9136"/>
                  </a:lnTo>
                  <a:lnTo>
                    <a:pt x="665441" y="5143"/>
                  </a:lnTo>
                  <a:lnTo>
                    <a:pt x="664352" y="5778"/>
                  </a:lnTo>
                  <a:lnTo>
                    <a:pt x="662053" y="3086"/>
                  </a:lnTo>
                  <a:lnTo>
                    <a:pt x="660328" y="2299"/>
                  </a:lnTo>
                  <a:lnTo>
                    <a:pt x="656184" y="3086"/>
                  </a:lnTo>
                  <a:lnTo>
                    <a:pt x="654218" y="2692"/>
                  </a:lnTo>
                  <a:lnTo>
                    <a:pt x="653129" y="575"/>
                  </a:lnTo>
                  <a:lnTo>
                    <a:pt x="652040" y="2088"/>
                  </a:lnTo>
                  <a:lnTo>
                    <a:pt x="650920" y="1876"/>
                  </a:lnTo>
                  <a:lnTo>
                    <a:pt x="648621" y="0"/>
                  </a:lnTo>
                  <a:lnTo>
                    <a:pt x="646352" y="91"/>
                  </a:lnTo>
                  <a:lnTo>
                    <a:pt x="641512" y="2209"/>
                  </a:lnTo>
                  <a:lnTo>
                    <a:pt x="638457" y="3540"/>
                  </a:lnTo>
                  <a:lnTo>
                    <a:pt x="625751" y="6171"/>
                  </a:lnTo>
                  <a:lnTo>
                    <a:pt x="624087" y="6534"/>
                  </a:lnTo>
                  <a:lnTo>
                    <a:pt x="619338" y="6746"/>
                  </a:lnTo>
                  <a:lnTo>
                    <a:pt x="617613" y="7170"/>
                  </a:lnTo>
                  <a:lnTo>
                    <a:pt x="614286" y="8712"/>
                  </a:lnTo>
                  <a:lnTo>
                    <a:pt x="612592" y="9197"/>
                  </a:lnTo>
                  <a:lnTo>
                    <a:pt x="610716" y="9046"/>
                  </a:lnTo>
                  <a:lnTo>
                    <a:pt x="609869" y="8712"/>
                  </a:lnTo>
                  <a:lnTo>
                    <a:pt x="609143" y="13280"/>
                  </a:lnTo>
                  <a:lnTo>
                    <a:pt x="609294" y="16427"/>
                  </a:lnTo>
                  <a:lnTo>
                    <a:pt x="608236" y="20813"/>
                  </a:lnTo>
                  <a:lnTo>
                    <a:pt x="606602" y="25109"/>
                  </a:lnTo>
                  <a:lnTo>
                    <a:pt x="605029" y="28073"/>
                  </a:lnTo>
                  <a:lnTo>
                    <a:pt x="603819" y="29344"/>
                  </a:lnTo>
                  <a:lnTo>
                    <a:pt x="601187" y="31401"/>
                  </a:lnTo>
                  <a:lnTo>
                    <a:pt x="599947" y="32884"/>
                  </a:lnTo>
                  <a:lnTo>
                    <a:pt x="597738" y="37572"/>
                  </a:lnTo>
                  <a:lnTo>
                    <a:pt x="596740" y="38964"/>
                  </a:lnTo>
                  <a:lnTo>
                    <a:pt x="591990" y="41021"/>
                  </a:lnTo>
                  <a:lnTo>
                    <a:pt x="589661" y="41051"/>
                  </a:lnTo>
                  <a:lnTo>
                    <a:pt x="582280" y="41112"/>
                  </a:lnTo>
                  <a:lnTo>
                    <a:pt x="575897" y="42866"/>
                  </a:lnTo>
                  <a:lnTo>
                    <a:pt x="571087" y="42413"/>
                  </a:lnTo>
                  <a:lnTo>
                    <a:pt x="569423" y="42745"/>
                  </a:lnTo>
                  <a:lnTo>
                    <a:pt x="566367" y="43955"/>
                  </a:lnTo>
                  <a:lnTo>
                    <a:pt x="561073" y="44591"/>
                  </a:lnTo>
                  <a:lnTo>
                    <a:pt x="554448" y="47071"/>
                  </a:lnTo>
                  <a:lnTo>
                    <a:pt x="505048" y="52033"/>
                  </a:lnTo>
                  <a:lnTo>
                    <a:pt x="500752" y="54786"/>
                  </a:lnTo>
                  <a:lnTo>
                    <a:pt x="490981" y="69669"/>
                  </a:lnTo>
                  <a:lnTo>
                    <a:pt x="486776" y="73390"/>
                  </a:lnTo>
                  <a:lnTo>
                    <a:pt x="486776" y="73420"/>
                  </a:lnTo>
                  <a:lnTo>
                    <a:pt x="486746" y="73420"/>
                  </a:lnTo>
                  <a:lnTo>
                    <a:pt x="480453" y="75931"/>
                  </a:lnTo>
                  <a:lnTo>
                    <a:pt x="472921" y="77171"/>
                  </a:lnTo>
                  <a:lnTo>
                    <a:pt x="471559" y="77414"/>
                  </a:lnTo>
                  <a:lnTo>
                    <a:pt x="468323" y="77928"/>
                  </a:lnTo>
                  <a:lnTo>
                    <a:pt x="466417" y="76748"/>
                  </a:lnTo>
                  <a:lnTo>
                    <a:pt x="464087" y="73390"/>
                  </a:lnTo>
                  <a:lnTo>
                    <a:pt x="460669" y="67763"/>
                  </a:lnTo>
                  <a:lnTo>
                    <a:pt x="459429" y="66160"/>
                  </a:lnTo>
                  <a:lnTo>
                    <a:pt x="457946" y="64950"/>
                  </a:lnTo>
                  <a:lnTo>
                    <a:pt x="449839" y="62015"/>
                  </a:lnTo>
                  <a:lnTo>
                    <a:pt x="446421" y="60080"/>
                  </a:lnTo>
                  <a:lnTo>
                    <a:pt x="444636" y="58174"/>
                  </a:lnTo>
                  <a:lnTo>
                    <a:pt x="444182" y="56480"/>
                  </a:lnTo>
                  <a:lnTo>
                    <a:pt x="444091" y="54665"/>
                  </a:lnTo>
                  <a:lnTo>
                    <a:pt x="443425" y="52487"/>
                  </a:lnTo>
                  <a:lnTo>
                    <a:pt x="441853" y="50701"/>
                  </a:lnTo>
                  <a:lnTo>
                    <a:pt x="439311" y="48796"/>
                  </a:lnTo>
                  <a:lnTo>
                    <a:pt x="435439" y="46708"/>
                  </a:lnTo>
                  <a:lnTo>
                    <a:pt x="434592" y="46224"/>
                  </a:lnTo>
                  <a:lnTo>
                    <a:pt x="432626" y="45801"/>
                  </a:lnTo>
                  <a:lnTo>
                    <a:pt x="426938" y="45861"/>
                  </a:lnTo>
                  <a:lnTo>
                    <a:pt x="421191" y="44591"/>
                  </a:lnTo>
                  <a:lnTo>
                    <a:pt x="419255" y="44651"/>
                  </a:lnTo>
                  <a:lnTo>
                    <a:pt x="416955" y="45801"/>
                  </a:lnTo>
                  <a:lnTo>
                    <a:pt x="413023" y="48947"/>
                  </a:lnTo>
                  <a:lnTo>
                    <a:pt x="408062" y="49098"/>
                  </a:lnTo>
                  <a:lnTo>
                    <a:pt x="401346" y="52244"/>
                  </a:lnTo>
                  <a:lnTo>
                    <a:pt x="399138" y="52154"/>
                  </a:lnTo>
                  <a:lnTo>
                    <a:pt x="393208" y="50036"/>
                  </a:lnTo>
                  <a:lnTo>
                    <a:pt x="393057" y="50157"/>
                  </a:lnTo>
                  <a:lnTo>
                    <a:pt x="391272" y="49824"/>
                  </a:lnTo>
                  <a:lnTo>
                    <a:pt x="387612" y="46587"/>
                  </a:lnTo>
                  <a:lnTo>
                    <a:pt x="385615" y="45741"/>
                  </a:lnTo>
                  <a:lnTo>
                    <a:pt x="380624" y="44500"/>
                  </a:lnTo>
                  <a:lnTo>
                    <a:pt x="378960" y="43381"/>
                  </a:lnTo>
                  <a:lnTo>
                    <a:pt x="375783" y="43229"/>
                  </a:lnTo>
                  <a:lnTo>
                    <a:pt x="365649" y="47071"/>
                  </a:lnTo>
                  <a:lnTo>
                    <a:pt x="363501" y="47102"/>
                  </a:lnTo>
                  <a:lnTo>
                    <a:pt x="362836" y="44984"/>
                  </a:lnTo>
                  <a:lnTo>
                    <a:pt x="357602" y="40507"/>
                  </a:lnTo>
                  <a:lnTo>
                    <a:pt x="355938" y="39750"/>
                  </a:lnTo>
                  <a:lnTo>
                    <a:pt x="348950" y="40113"/>
                  </a:lnTo>
                  <a:lnTo>
                    <a:pt x="346621" y="39811"/>
                  </a:lnTo>
                  <a:lnTo>
                    <a:pt x="342476" y="38510"/>
                  </a:lnTo>
                  <a:lnTo>
                    <a:pt x="336003" y="37814"/>
                  </a:lnTo>
                  <a:lnTo>
                    <a:pt x="334127" y="37240"/>
                  </a:lnTo>
                  <a:lnTo>
                    <a:pt x="330346" y="37875"/>
                  </a:lnTo>
                  <a:lnTo>
                    <a:pt x="329226" y="38178"/>
                  </a:lnTo>
                  <a:lnTo>
                    <a:pt x="328137" y="39024"/>
                  </a:lnTo>
                  <a:lnTo>
                    <a:pt x="327714" y="39962"/>
                  </a:lnTo>
                  <a:lnTo>
                    <a:pt x="327200" y="40719"/>
                  </a:lnTo>
                  <a:lnTo>
                    <a:pt x="326594" y="41354"/>
                  </a:lnTo>
                  <a:lnTo>
                    <a:pt x="326322" y="41596"/>
                  </a:lnTo>
                  <a:lnTo>
                    <a:pt x="325929" y="41868"/>
                  </a:lnTo>
                  <a:lnTo>
                    <a:pt x="323842" y="41989"/>
                  </a:lnTo>
                  <a:lnTo>
                    <a:pt x="317307" y="38994"/>
                  </a:lnTo>
                  <a:lnTo>
                    <a:pt x="317156" y="38934"/>
                  </a:lnTo>
                  <a:lnTo>
                    <a:pt x="317005" y="38934"/>
                  </a:lnTo>
                  <a:lnTo>
                    <a:pt x="316853" y="38934"/>
                  </a:lnTo>
                  <a:lnTo>
                    <a:pt x="316702" y="38994"/>
                  </a:lnTo>
                  <a:lnTo>
                    <a:pt x="315916" y="39267"/>
                  </a:lnTo>
                  <a:lnTo>
                    <a:pt x="315160" y="39357"/>
                  </a:lnTo>
                  <a:lnTo>
                    <a:pt x="314403" y="39267"/>
                  </a:lnTo>
                  <a:lnTo>
                    <a:pt x="313708" y="38964"/>
                  </a:lnTo>
                  <a:lnTo>
                    <a:pt x="311439" y="36544"/>
                  </a:lnTo>
                  <a:lnTo>
                    <a:pt x="306628" y="32763"/>
                  </a:lnTo>
                  <a:lnTo>
                    <a:pt x="302484" y="28195"/>
                  </a:lnTo>
                  <a:lnTo>
                    <a:pt x="300730" y="27015"/>
                  </a:lnTo>
                  <a:lnTo>
                    <a:pt x="293741" y="24806"/>
                  </a:lnTo>
                  <a:lnTo>
                    <a:pt x="291442" y="24474"/>
                  </a:lnTo>
                  <a:lnTo>
                    <a:pt x="289385" y="25411"/>
                  </a:lnTo>
                  <a:lnTo>
                    <a:pt x="287419" y="28195"/>
                  </a:lnTo>
                  <a:lnTo>
                    <a:pt x="285150" y="34668"/>
                  </a:lnTo>
                  <a:lnTo>
                    <a:pt x="283819" y="36998"/>
                  </a:lnTo>
                  <a:lnTo>
                    <a:pt x="279493" y="40144"/>
                  </a:lnTo>
                  <a:lnTo>
                    <a:pt x="277890" y="40386"/>
                  </a:lnTo>
                  <a:lnTo>
                    <a:pt x="276256" y="39932"/>
                  </a:lnTo>
                  <a:lnTo>
                    <a:pt x="274683" y="39024"/>
                  </a:lnTo>
                  <a:lnTo>
                    <a:pt x="273140" y="38026"/>
                  </a:lnTo>
                  <a:lnTo>
                    <a:pt x="271356" y="37270"/>
                  </a:lnTo>
                  <a:lnTo>
                    <a:pt x="269813" y="37361"/>
                  </a:lnTo>
                  <a:lnTo>
                    <a:pt x="268966" y="38994"/>
                  </a:lnTo>
                  <a:lnTo>
                    <a:pt x="269843" y="41808"/>
                  </a:lnTo>
                  <a:lnTo>
                    <a:pt x="268996" y="43653"/>
                  </a:lnTo>
                  <a:lnTo>
                    <a:pt x="267181" y="44803"/>
                  </a:lnTo>
                  <a:lnTo>
                    <a:pt x="265124" y="45377"/>
                  </a:lnTo>
                  <a:lnTo>
                    <a:pt x="263490" y="47162"/>
                  </a:lnTo>
                  <a:lnTo>
                    <a:pt x="260949" y="51488"/>
                  </a:lnTo>
                  <a:lnTo>
                    <a:pt x="259315" y="52880"/>
                  </a:lnTo>
                  <a:lnTo>
                    <a:pt x="255292" y="54271"/>
                  </a:lnTo>
                  <a:lnTo>
                    <a:pt x="253658" y="55300"/>
                  </a:lnTo>
                  <a:lnTo>
                    <a:pt x="252599" y="57145"/>
                  </a:lnTo>
                  <a:lnTo>
                    <a:pt x="252630" y="58325"/>
                  </a:lnTo>
                  <a:lnTo>
                    <a:pt x="253144" y="59233"/>
                  </a:lnTo>
                  <a:lnTo>
                    <a:pt x="253325" y="60231"/>
                  </a:lnTo>
                  <a:lnTo>
                    <a:pt x="252478" y="61774"/>
                  </a:lnTo>
                  <a:lnTo>
                    <a:pt x="251873" y="62137"/>
                  </a:lnTo>
                  <a:lnTo>
                    <a:pt x="249695" y="62349"/>
                  </a:lnTo>
                  <a:lnTo>
                    <a:pt x="247638" y="63226"/>
                  </a:lnTo>
                  <a:lnTo>
                    <a:pt x="246428" y="64103"/>
                  </a:lnTo>
                  <a:lnTo>
                    <a:pt x="243948" y="67128"/>
                  </a:lnTo>
                  <a:lnTo>
                    <a:pt x="240983" y="69488"/>
                  </a:lnTo>
                  <a:lnTo>
                    <a:pt x="237323" y="70940"/>
                  </a:lnTo>
                  <a:lnTo>
                    <a:pt x="233481" y="71454"/>
                  </a:lnTo>
                  <a:lnTo>
                    <a:pt x="230002" y="70940"/>
                  </a:lnTo>
                  <a:lnTo>
                    <a:pt x="222560" y="67309"/>
                  </a:lnTo>
                  <a:lnTo>
                    <a:pt x="219444" y="67975"/>
                  </a:lnTo>
                  <a:lnTo>
                    <a:pt x="217810" y="73420"/>
                  </a:lnTo>
                  <a:lnTo>
                    <a:pt x="216661" y="74419"/>
                  </a:lnTo>
                  <a:lnTo>
                    <a:pt x="215330" y="74933"/>
                  </a:lnTo>
                  <a:lnTo>
                    <a:pt x="213878" y="75054"/>
                  </a:lnTo>
                  <a:lnTo>
                    <a:pt x="209219" y="74389"/>
                  </a:lnTo>
                  <a:lnTo>
                    <a:pt x="207948" y="74509"/>
                  </a:lnTo>
                  <a:lnTo>
                    <a:pt x="206164" y="75115"/>
                  </a:lnTo>
                  <a:lnTo>
                    <a:pt x="204318" y="76052"/>
                  </a:lnTo>
                  <a:lnTo>
                    <a:pt x="203169" y="77141"/>
                  </a:lnTo>
                  <a:lnTo>
                    <a:pt x="200960" y="80197"/>
                  </a:lnTo>
                  <a:lnTo>
                    <a:pt x="200204" y="80923"/>
                  </a:lnTo>
                  <a:lnTo>
                    <a:pt x="198480" y="82072"/>
                  </a:lnTo>
                  <a:lnTo>
                    <a:pt x="197754" y="82919"/>
                  </a:lnTo>
                  <a:lnTo>
                    <a:pt x="197360" y="83948"/>
                  </a:lnTo>
                  <a:lnTo>
                    <a:pt x="197028" y="86459"/>
                  </a:lnTo>
                  <a:lnTo>
                    <a:pt x="196725" y="87639"/>
                  </a:lnTo>
                  <a:lnTo>
                    <a:pt x="194214" y="90906"/>
                  </a:lnTo>
                  <a:lnTo>
                    <a:pt x="193912" y="91813"/>
                  </a:lnTo>
                  <a:lnTo>
                    <a:pt x="193851" y="92812"/>
                  </a:lnTo>
                  <a:lnTo>
                    <a:pt x="193700" y="93719"/>
                  </a:lnTo>
                  <a:lnTo>
                    <a:pt x="193670" y="93870"/>
                  </a:lnTo>
                  <a:lnTo>
                    <a:pt x="193125" y="94899"/>
                  </a:lnTo>
                  <a:lnTo>
                    <a:pt x="192338" y="95443"/>
                  </a:lnTo>
                  <a:lnTo>
                    <a:pt x="191764" y="95837"/>
                  </a:lnTo>
                  <a:lnTo>
                    <a:pt x="186833" y="96986"/>
                  </a:lnTo>
                  <a:lnTo>
                    <a:pt x="180601" y="101342"/>
                  </a:lnTo>
                  <a:lnTo>
                    <a:pt x="177636" y="104307"/>
                  </a:lnTo>
                  <a:lnTo>
                    <a:pt x="175700" y="107665"/>
                  </a:lnTo>
                  <a:lnTo>
                    <a:pt x="175973" y="111930"/>
                  </a:lnTo>
                  <a:lnTo>
                    <a:pt x="176850" y="116650"/>
                  </a:lnTo>
                  <a:lnTo>
                    <a:pt x="176971" y="121187"/>
                  </a:lnTo>
                  <a:lnTo>
                    <a:pt x="174974" y="124969"/>
                  </a:lnTo>
                  <a:lnTo>
                    <a:pt x="170497" y="126179"/>
                  </a:lnTo>
                  <a:lnTo>
                    <a:pt x="168682" y="127207"/>
                  </a:lnTo>
                  <a:lnTo>
                    <a:pt x="166837" y="129113"/>
                  </a:lnTo>
                  <a:lnTo>
                    <a:pt x="162964" y="134316"/>
                  </a:lnTo>
                  <a:lnTo>
                    <a:pt x="162329" y="135920"/>
                  </a:lnTo>
                  <a:lnTo>
                    <a:pt x="161180" y="140790"/>
                  </a:lnTo>
                  <a:lnTo>
                    <a:pt x="160665" y="142031"/>
                  </a:lnTo>
                  <a:lnTo>
                    <a:pt x="159485" y="144058"/>
                  </a:lnTo>
                  <a:lnTo>
                    <a:pt x="159062" y="145570"/>
                  </a:lnTo>
                  <a:lnTo>
                    <a:pt x="159032" y="147143"/>
                  </a:lnTo>
                  <a:lnTo>
                    <a:pt x="159274" y="148353"/>
                  </a:lnTo>
                  <a:lnTo>
                    <a:pt x="159304" y="149624"/>
                  </a:lnTo>
                  <a:lnTo>
                    <a:pt x="158699" y="151287"/>
                  </a:lnTo>
                  <a:lnTo>
                    <a:pt x="157852" y="152377"/>
                  </a:lnTo>
                  <a:lnTo>
                    <a:pt x="155644" y="154343"/>
                  </a:lnTo>
                  <a:lnTo>
                    <a:pt x="154676" y="155644"/>
                  </a:lnTo>
                  <a:lnTo>
                    <a:pt x="154222" y="156854"/>
                  </a:lnTo>
                  <a:lnTo>
                    <a:pt x="153738" y="159274"/>
                  </a:lnTo>
                  <a:lnTo>
                    <a:pt x="153042" y="160454"/>
                  </a:lnTo>
                  <a:lnTo>
                    <a:pt x="151015" y="162299"/>
                  </a:lnTo>
                  <a:lnTo>
                    <a:pt x="146054" y="165354"/>
                  </a:lnTo>
                  <a:lnTo>
                    <a:pt x="143785" y="167291"/>
                  </a:lnTo>
                  <a:lnTo>
                    <a:pt x="139883" y="171647"/>
                  </a:lnTo>
                  <a:lnTo>
                    <a:pt x="140004" y="172070"/>
                  </a:lnTo>
                  <a:lnTo>
                    <a:pt x="140246" y="172797"/>
                  </a:lnTo>
                  <a:lnTo>
                    <a:pt x="141123" y="173189"/>
                  </a:lnTo>
                  <a:lnTo>
                    <a:pt x="142091" y="173371"/>
                  </a:lnTo>
                  <a:lnTo>
                    <a:pt x="142787" y="173886"/>
                  </a:lnTo>
                  <a:lnTo>
                    <a:pt x="143694" y="175458"/>
                  </a:lnTo>
                  <a:lnTo>
                    <a:pt x="143755" y="175610"/>
                  </a:lnTo>
                  <a:lnTo>
                    <a:pt x="143362" y="175731"/>
                  </a:lnTo>
                  <a:lnTo>
                    <a:pt x="141456" y="182416"/>
                  </a:lnTo>
                  <a:lnTo>
                    <a:pt x="140609" y="183414"/>
                  </a:lnTo>
                  <a:lnTo>
                    <a:pt x="136010" y="186863"/>
                  </a:lnTo>
                  <a:lnTo>
                    <a:pt x="135557" y="187045"/>
                  </a:lnTo>
                  <a:lnTo>
                    <a:pt x="135436" y="187408"/>
                  </a:lnTo>
                  <a:lnTo>
                    <a:pt x="135284" y="188981"/>
                  </a:lnTo>
                  <a:lnTo>
                    <a:pt x="135375" y="190645"/>
                  </a:lnTo>
                  <a:lnTo>
                    <a:pt x="135708" y="192067"/>
                  </a:lnTo>
                  <a:lnTo>
                    <a:pt x="135738" y="193549"/>
                  </a:lnTo>
                  <a:lnTo>
                    <a:pt x="134921" y="195243"/>
                  </a:lnTo>
                  <a:lnTo>
                    <a:pt x="133863" y="196090"/>
                  </a:lnTo>
                  <a:lnTo>
                    <a:pt x="130172" y="196998"/>
                  </a:lnTo>
                  <a:lnTo>
                    <a:pt x="128084" y="198813"/>
                  </a:lnTo>
                  <a:lnTo>
                    <a:pt x="126814" y="201021"/>
                  </a:lnTo>
                  <a:lnTo>
                    <a:pt x="124636" y="206466"/>
                  </a:lnTo>
                  <a:lnTo>
                    <a:pt x="124213" y="207102"/>
                  </a:lnTo>
                  <a:lnTo>
                    <a:pt x="123880" y="207797"/>
                  </a:lnTo>
                  <a:lnTo>
                    <a:pt x="123638" y="208614"/>
                  </a:lnTo>
                  <a:lnTo>
                    <a:pt x="123547" y="209431"/>
                  </a:lnTo>
                  <a:lnTo>
                    <a:pt x="123759" y="209794"/>
                  </a:lnTo>
                  <a:lnTo>
                    <a:pt x="124031" y="210096"/>
                  </a:lnTo>
                  <a:lnTo>
                    <a:pt x="124303" y="210369"/>
                  </a:lnTo>
                  <a:lnTo>
                    <a:pt x="127026" y="212093"/>
                  </a:lnTo>
                  <a:lnTo>
                    <a:pt x="126693" y="214725"/>
                  </a:lnTo>
                  <a:lnTo>
                    <a:pt x="124848" y="217236"/>
                  </a:lnTo>
                  <a:lnTo>
                    <a:pt x="122851" y="218294"/>
                  </a:lnTo>
                  <a:lnTo>
                    <a:pt x="120098" y="218748"/>
                  </a:lnTo>
                  <a:lnTo>
                    <a:pt x="119009" y="220321"/>
                  </a:lnTo>
                  <a:lnTo>
                    <a:pt x="118828" y="220835"/>
                  </a:lnTo>
                  <a:lnTo>
                    <a:pt x="118132" y="222560"/>
                  </a:lnTo>
                  <a:lnTo>
                    <a:pt x="116044" y="225101"/>
                  </a:lnTo>
                  <a:lnTo>
                    <a:pt x="113866" y="226190"/>
                  </a:lnTo>
                  <a:lnTo>
                    <a:pt x="110176" y="225918"/>
                  </a:lnTo>
                  <a:lnTo>
                    <a:pt x="108028" y="226432"/>
                  </a:lnTo>
                  <a:lnTo>
                    <a:pt x="106485" y="228126"/>
                  </a:lnTo>
                  <a:lnTo>
                    <a:pt x="105910" y="230667"/>
                  </a:lnTo>
                  <a:lnTo>
                    <a:pt x="105517" y="235810"/>
                  </a:lnTo>
                  <a:lnTo>
                    <a:pt x="104277" y="238260"/>
                  </a:lnTo>
                  <a:lnTo>
                    <a:pt x="102522" y="240287"/>
                  </a:lnTo>
                  <a:lnTo>
                    <a:pt x="101131" y="242405"/>
                  </a:lnTo>
                  <a:lnTo>
                    <a:pt x="100858" y="245188"/>
                  </a:lnTo>
                  <a:lnTo>
                    <a:pt x="103823" y="250331"/>
                  </a:lnTo>
                  <a:lnTo>
                    <a:pt x="104428" y="253296"/>
                  </a:lnTo>
                  <a:lnTo>
                    <a:pt x="102099" y="254899"/>
                  </a:lnTo>
                  <a:lnTo>
                    <a:pt x="97863" y="255080"/>
                  </a:lnTo>
                  <a:lnTo>
                    <a:pt x="95897" y="255746"/>
                  </a:lnTo>
                  <a:lnTo>
                    <a:pt x="94173" y="257561"/>
                  </a:lnTo>
                  <a:lnTo>
                    <a:pt x="93175" y="260465"/>
                  </a:lnTo>
                  <a:lnTo>
                    <a:pt x="92751" y="266425"/>
                  </a:lnTo>
                  <a:lnTo>
                    <a:pt x="91874" y="268996"/>
                  </a:lnTo>
                  <a:lnTo>
                    <a:pt x="90724" y="271023"/>
                  </a:lnTo>
                  <a:lnTo>
                    <a:pt x="89786" y="271719"/>
                  </a:lnTo>
                  <a:lnTo>
                    <a:pt x="86822" y="271688"/>
                  </a:lnTo>
                  <a:lnTo>
                    <a:pt x="86186" y="272021"/>
                  </a:lnTo>
                  <a:lnTo>
                    <a:pt x="81376" y="277376"/>
                  </a:lnTo>
                  <a:lnTo>
                    <a:pt x="79561" y="278011"/>
                  </a:lnTo>
                  <a:lnTo>
                    <a:pt x="77595" y="276438"/>
                  </a:lnTo>
                  <a:lnTo>
                    <a:pt x="76899" y="275681"/>
                  </a:lnTo>
                  <a:lnTo>
                    <a:pt x="76113" y="275318"/>
                  </a:lnTo>
                  <a:lnTo>
                    <a:pt x="75235" y="275318"/>
                  </a:lnTo>
                  <a:lnTo>
                    <a:pt x="74328" y="275681"/>
                  </a:lnTo>
                  <a:lnTo>
                    <a:pt x="72331" y="275742"/>
                  </a:lnTo>
                  <a:lnTo>
                    <a:pt x="68580" y="274260"/>
                  </a:lnTo>
                  <a:lnTo>
                    <a:pt x="66795" y="273897"/>
                  </a:lnTo>
                  <a:lnTo>
                    <a:pt x="66099" y="274109"/>
                  </a:lnTo>
                  <a:lnTo>
                    <a:pt x="64617" y="274865"/>
                  </a:lnTo>
                  <a:lnTo>
                    <a:pt x="63649" y="274955"/>
                  </a:lnTo>
                  <a:lnTo>
                    <a:pt x="62802" y="274592"/>
                  </a:lnTo>
                  <a:lnTo>
                    <a:pt x="60987" y="273171"/>
                  </a:lnTo>
                  <a:lnTo>
                    <a:pt x="60079" y="272717"/>
                  </a:lnTo>
                  <a:lnTo>
                    <a:pt x="58053" y="272626"/>
                  </a:lnTo>
                  <a:lnTo>
                    <a:pt x="55935" y="273171"/>
                  </a:lnTo>
                  <a:lnTo>
                    <a:pt x="54816" y="273746"/>
                  </a:lnTo>
                  <a:lnTo>
                    <a:pt x="53908" y="274169"/>
                  </a:lnTo>
                  <a:lnTo>
                    <a:pt x="49975" y="277194"/>
                  </a:lnTo>
                  <a:lnTo>
                    <a:pt x="49522" y="277950"/>
                  </a:lnTo>
                  <a:lnTo>
                    <a:pt x="49582" y="279191"/>
                  </a:lnTo>
                  <a:lnTo>
                    <a:pt x="50520" y="282155"/>
                  </a:lnTo>
                  <a:lnTo>
                    <a:pt x="50520" y="283244"/>
                  </a:lnTo>
                  <a:lnTo>
                    <a:pt x="49703" y="283971"/>
                  </a:lnTo>
                  <a:lnTo>
                    <a:pt x="48735" y="283849"/>
                  </a:lnTo>
                  <a:lnTo>
                    <a:pt x="47797" y="283547"/>
                  </a:lnTo>
                  <a:lnTo>
                    <a:pt x="47041" y="283789"/>
                  </a:lnTo>
                  <a:lnTo>
                    <a:pt x="46557" y="284787"/>
                  </a:lnTo>
                  <a:lnTo>
                    <a:pt x="46436" y="286390"/>
                  </a:lnTo>
                  <a:lnTo>
                    <a:pt x="46436" y="286693"/>
                  </a:lnTo>
                  <a:lnTo>
                    <a:pt x="45892" y="287994"/>
                  </a:lnTo>
                  <a:lnTo>
                    <a:pt x="44349" y="289567"/>
                  </a:lnTo>
                  <a:lnTo>
                    <a:pt x="42382" y="290505"/>
                  </a:lnTo>
                  <a:lnTo>
                    <a:pt x="36695" y="291594"/>
                  </a:lnTo>
                  <a:lnTo>
                    <a:pt x="35969" y="291563"/>
                  </a:lnTo>
                  <a:lnTo>
                    <a:pt x="34729" y="291140"/>
                  </a:lnTo>
                  <a:lnTo>
                    <a:pt x="33730" y="290535"/>
                  </a:lnTo>
                  <a:lnTo>
                    <a:pt x="30796" y="288054"/>
                  </a:lnTo>
                  <a:lnTo>
                    <a:pt x="26833" y="286512"/>
                  </a:lnTo>
                  <a:lnTo>
                    <a:pt x="22719" y="285634"/>
                  </a:lnTo>
                  <a:lnTo>
                    <a:pt x="20269" y="289265"/>
                  </a:lnTo>
                  <a:lnTo>
                    <a:pt x="4084" y="289688"/>
                  </a:lnTo>
                  <a:lnTo>
                    <a:pt x="0" y="294437"/>
                  </a:lnTo>
                  <a:lnTo>
                    <a:pt x="6322" y="301698"/>
                  </a:lnTo>
                  <a:lnTo>
                    <a:pt x="7533" y="303694"/>
                  </a:lnTo>
                  <a:lnTo>
                    <a:pt x="9650" y="309775"/>
                  </a:lnTo>
                  <a:lnTo>
                    <a:pt x="11193" y="311923"/>
                  </a:lnTo>
                  <a:lnTo>
                    <a:pt x="12887" y="313102"/>
                  </a:lnTo>
                  <a:lnTo>
                    <a:pt x="16850" y="314736"/>
                  </a:lnTo>
                  <a:lnTo>
                    <a:pt x="18726" y="315886"/>
                  </a:lnTo>
                  <a:lnTo>
                    <a:pt x="24050" y="320423"/>
                  </a:lnTo>
                  <a:lnTo>
                    <a:pt x="25865" y="321210"/>
                  </a:lnTo>
                  <a:lnTo>
                    <a:pt x="29707" y="321603"/>
                  </a:lnTo>
                  <a:lnTo>
                    <a:pt x="31583" y="322299"/>
                  </a:lnTo>
                  <a:lnTo>
                    <a:pt x="33126" y="323721"/>
                  </a:lnTo>
                  <a:lnTo>
                    <a:pt x="36483" y="329257"/>
                  </a:lnTo>
                  <a:lnTo>
                    <a:pt x="37179" y="329862"/>
                  </a:lnTo>
                  <a:lnTo>
                    <a:pt x="38934" y="330951"/>
                  </a:lnTo>
                  <a:lnTo>
                    <a:pt x="39629" y="331768"/>
                  </a:lnTo>
                  <a:lnTo>
                    <a:pt x="39992" y="332887"/>
                  </a:lnTo>
                  <a:lnTo>
                    <a:pt x="40204" y="335579"/>
                  </a:lnTo>
                  <a:lnTo>
                    <a:pt x="40325" y="336003"/>
                  </a:lnTo>
                  <a:lnTo>
                    <a:pt x="40567" y="336850"/>
                  </a:lnTo>
                  <a:lnTo>
                    <a:pt x="41535" y="338363"/>
                  </a:lnTo>
                  <a:lnTo>
                    <a:pt x="43865" y="341085"/>
                  </a:lnTo>
                  <a:lnTo>
                    <a:pt x="44803" y="342870"/>
                  </a:lnTo>
                  <a:lnTo>
                    <a:pt x="46012" y="343898"/>
                  </a:lnTo>
                  <a:lnTo>
                    <a:pt x="47344" y="344171"/>
                  </a:lnTo>
                  <a:lnTo>
                    <a:pt x="48705" y="343808"/>
                  </a:lnTo>
                  <a:lnTo>
                    <a:pt x="49975" y="342840"/>
                  </a:lnTo>
                  <a:lnTo>
                    <a:pt x="50580" y="341327"/>
                  </a:lnTo>
                  <a:lnTo>
                    <a:pt x="51458" y="340178"/>
                  </a:lnTo>
                  <a:lnTo>
                    <a:pt x="52547" y="339754"/>
                  </a:lnTo>
                  <a:lnTo>
                    <a:pt x="53817" y="340329"/>
                  </a:lnTo>
                  <a:lnTo>
                    <a:pt x="54634" y="341630"/>
                  </a:lnTo>
                  <a:lnTo>
                    <a:pt x="54634" y="342840"/>
                  </a:lnTo>
                  <a:lnTo>
                    <a:pt x="54211" y="344110"/>
                  </a:lnTo>
                  <a:lnTo>
                    <a:pt x="53968" y="345441"/>
                  </a:lnTo>
                  <a:lnTo>
                    <a:pt x="54059" y="352339"/>
                  </a:lnTo>
                  <a:lnTo>
                    <a:pt x="53787" y="354184"/>
                  </a:lnTo>
                  <a:lnTo>
                    <a:pt x="53394" y="355334"/>
                  </a:lnTo>
                  <a:lnTo>
                    <a:pt x="52275" y="357753"/>
                  </a:lnTo>
                  <a:lnTo>
                    <a:pt x="51488" y="361051"/>
                  </a:lnTo>
                  <a:lnTo>
                    <a:pt x="51851" y="363199"/>
                  </a:lnTo>
                  <a:lnTo>
                    <a:pt x="54816" y="367888"/>
                  </a:lnTo>
                  <a:lnTo>
                    <a:pt x="56086" y="370943"/>
                  </a:lnTo>
                  <a:lnTo>
                    <a:pt x="55844" y="372789"/>
                  </a:lnTo>
                  <a:lnTo>
                    <a:pt x="54362" y="374180"/>
                  </a:lnTo>
                  <a:lnTo>
                    <a:pt x="52123" y="375844"/>
                  </a:lnTo>
                  <a:lnTo>
                    <a:pt x="52759" y="377689"/>
                  </a:lnTo>
                  <a:lnTo>
                    <a:pt x="54211" y="378567"/>
                  </a:lnTo>
                  <a:lnTo>
                    <a:pt x="56026" y="379111"/>
                  </a:lnTo>
                  <a:lnTo>
                    <a:pt x="57690" y="379867"/>
                  </a:lnTo>
                  <a:lnTo>
                    <a:pt x="59142" y="381229"/>
                  </a:lnTo>
                  <a:lnTo>
                    <a:pt x="62409" y="385676"/>
                  </a:lnTo>
                  <a:lnTo>
                    <a:pt x="68913" y="391091"/>
                  </a:lnTo>
                  <a:lnTo>
                    <a:pt x="72815" y="395810"/>
                  </a:lnTo>
                  <a:lnTo>
                    <a:pt x="74328" y="396960"/>
                  </a:lnTo>
                  <a:lnTo>
                    <a:pt x="77867" y="398442"/>
                  </a:lnTo>
                  <a:lnTo>
                    <a:pt x="82647" y="400439"/>
                  </a:lnTo>
                  <a:lnTo>
                    <a:pt x="83676" y="401195"/>
                  </a:lnTo>
                  <a:lnTo>
                    <a:pt x="84523" y="402102"/>
                  </a:lnTo>
                  <a:lnTo>
                    <a:pt x="85400" y="402828"/>
                  </a:lnTo>
                  <a:lnTo>
                    <a:pt x="86580" y="403100"/>
                  </a:lnTo>
                  <a:lnTo>
                    <a:pt x="87578" y="402677"/>
                  </a:lnTo>
                  <a:lnTo>
                    <a:pt x="89181" y="401013"/>
                  </a:lnTo>
                  <a:lnTo>
                    <a:pt x="90210" y="400771"/>
                  </a:lnTo>
                  <a:lnTo>
                    <a:pt x="91843" y="401891"/>
                  </a:lnTo>
                  <a:lnTo>
                    <a:pt x="95292" y="406579"/>
                  </a:lnTo>
                  <a:lnTo>
                    <a:pt x="96926" y="408364"/>
                  </a:lnTo>
                  <a:lnTo>
                    <a:pt x="100253" y="410542"/>
                  </a:lnTo>
                  <a:lnTo>
                    <a:pt x="102068" y="411208"/>
                  </a:lnTo>
                  <a:lnTo>
                    <a:pt x="106334" y="411329"/>
                  </a:lnTo>
                  <a:lnTo>
                    <a:pt x="117013" y="414415"/>
                  </a:lnTo>
                  <a:lnTo>
                    <a:pt x="119856" y="415836"/>
                  </a:lnTo>
                  <a:lnTo>
                    <a:pt x="122427" y="417773"/>
                  </a:lnTo>
                  <a:lnTo>
                    <a:pt x="124939" y="420556"/>
                  </a:lnTo>
                  <a:lnTo>
                    <a:pt x="125846" y="421554"/>
                  </a:lnTo>
                  <a:lnTo>
                    <a:pt x="126300" y="423278"/>
                  </a:lnTo>
                  <a:lnTo>
                    <a:pt x="125906" y="424942"/>
                  </a:lnTo>
                  <a:lnTo>
                    <a:pt x="124636" y="425971"/>
                  </a:lnTo>
                  <a:lnTo>
                    <a:pt x="123396" y="426031"/>
                  </a:lnTo>
                  <a:lnTo>
                    <a:pt x="122337" y="426515"/>
                  </a:lnTo>
                  <a:lnTo>
                    <a:pt x="121490" y="427332"/>
                  </a:lnTo>
                  <a:lnTo>
                    <a:pt x="120703" y="428391"/>
                  </a:lnTo>
                  <a:lnTo>
                    <a:pt x="120855" y="428572"/>
                  </a:lnTo>
                  <a:lnTo>
                    <a:pt x="120915" y="429389"/>
                  </a:lnTo>
                  <a:lnTo>
                    <a:pt x="120915" y="430357"/>
                  </a:lnTo>
                  <a:lnTo>
                    <a:pt x="120855" y="430992"/>
                  </a:lnTo>
                  <a:lnTo>
                    <a:pt x="120582" y="431567"/>
                  </a:lnTo>
                  <a:lnTo>
                    <a:pt x="119735" y="432505"/>
                  </a:lnTo>
                  <a:lnTo>
                    <a:pt x="119433" y="433049"/>
                  </a:lnTo>
                  <a:lnTo>
                    <a:pt x="119039" y="434895"/>
                  </a:lnTo>
                  <a:lnTo>
                    <a:pt x="118979" y="435802"/>
                  </a:lnTo>
                  <a:lnTo>
                    <a:pt x="118646" y="436407"/>
                  </a:lnTo>
                  <a:lnTo>
                    <a:pt x="117376" y="437406"/>
                  </a:lnTo>
                  <a:lnTo>
                    <a:pt x="116317" y="437738"/>
                  </a:lnTo>
                  <a:lnTo>
                    <a:pt x="113776" y="437920"/>
                  </a:lnTo>
                  <a:lnTo>
                    <a:pt x="112777" y="438374"/>
                  </a:lnTo>
                  <a:lnTo>
                    <a:pt x="112021" y="439402"/>
                  </a:lnTo>
                  <a:lnTo>
                    <a:pt x="111537" y="440764"/>
                  </a:lnTo>
                  <a:lnTo>
                    <a:pt x="111779" y="441853"/>
                  </a:lnTo>
                  <a:lnTo>
                    <a:pt x="113140" y="442185"/>
                  </a:lnTo>
                  <a:lnTo>
                    <a:pt x="114834" y="442276"/>
                  </a:lnTo>
                  <a:lnTo>
                    <a:pt x="115137" y="442942"/>
                  </a:lnTo>
                  <a:lnTo>
                    <a:pt x="114895" y="443789"/>
                  </a:lnTo>
                  <a:lnTo>
                    <a:pt x="114955" y="444515"/>
                  </a:lnTo>
                  <a:lnTo>
                    <a:pt x="117315" y="445967"/>
                  </a:lnTo>
                  <a:lnTo>
                    <a:pt x="122125" y="446753"/>
                  </a:lnTo>
                  <a:lnTo>
                    <a:pt x="124636" y="447903"/>
                  </a:lnTo>
                  <a:lnTo>
                    <a:pt x="128175" y="449143"/>
                  </a:lnTo>
                  <a:lnTo>
                    <a:pt x="129627" y="450353"/>
                  </a:lnTo>
                  <a:lnTo>
                    <a:pt x="130444" y="452471"/>
                  </a:lnTo>
                  <a:lnTo>
                    <a:pt x="130172" y="454982"/>
                  </a:lnTo>
                  <a:lnTo>
                    <a:pt x="128750" y="456071"/>
                  </a:lnTo>
                  <a:lnTo>
                    <a:pt x="124636" y="457130"/>
                  </a:lnTo>
                  <a:lnTo>
                    <a:pt x="121823" y="457523"/>
                  </a:lnTo>
                  <a:lnTo>
                    <a:pt x="115984" y="457251"/>
                  </a:lnTo>
                  <a:lnTo>
                    <a:pt x="113292" y="458158"/>
                  </a:lnTo>
                  <a:lnTo>
                    <a:pt x="111991" y="459217"/>
                  </a:lnTo>
                  <a:lnTo>
                    <a:pt x="111053" y="460639"/>
                  </a:lnTo>
                  <a:lnTo>
                    <a:pt x="110690" y="462424"/>
                  </a:lnTo>
                  <a:lnTo>
                    <a:pt x="112414" y="463119"/>
                  </a:lnTo>
                  <a:lnTo>
                    <a:pt x="112414" y="463119"/>
                  </a:lnTo>
                  <a:lnTo>
                    <a:pt x="112475" y="463150"/>
                  </a:lnTo>
                  <a:lnTo>
                    <a:pt x="114290" y="464420"/>
                  </a:lnTo>
                  <a:lnTo>
                    <a:pt x="116044" y="467869"/>
                  </a:lnTo>
                  <a:lnTo>
                    <a:pt x="117678" y="468565"/>
                  </a:lnTo>
                  <a:lnTo>
                    <a:pt x="126239" y="469442"/>
                  </a:lnTo>
                  <a:lnTo>
                    <a:pt x="132380" y="468958"/>
                  </a:lnTo>
                  <a:lnTo>
                    <a:pt x="134347" y="469502"/>
                  </a:lnTo>
                  <a:lnTo>
                    <a:pt x="136131" y="471015"/>
                  </a:lnTo>
                  <a:lnTo>
                    <a:pt x="137009" y="473102"/>
                  </a:lnTo>
                  <a:lnTo>
                    <a:pt x="137614" y="475432"/>
                  </a:lnTo>
                  <a:lnTo>
                    <a:pt x="138552" y="477791"/>
                  </a:lnTo>
                  <a:lnTo>
                    <a:pt x="142242" y="481179"/>
                  </a:lnTo>
                  <a:lnTo>
                    <a:pt x="147173" y="482571"/>
                  </a:lnTo>
                  <a:lnTo>
                    <a:pt x="152346" y="482541"/>
                  </a:lnTo>
                  <a:lnTo>
                    <a:pt x="156884" y="481694"/>
                  </a:lnTo>
                  <a:lnTo>
                    <a:pt x="160545" y="480212"/>
                  </a:lnTo>
                  <a:lnTo>
                    <a:pt x="162269" y="479788"/>
                  </a:lnTo>
                  <a:lnTo>
                    <a:pt x="163933" y="480121"/>
                  </a:lnTo>
                  <a:lnTo>
                    <a:pt x="173038" y="484477"/>
                  </a:lnTo>
                  <a:lnTo>
                    <a:pt x="176245" y="484961"/>
                  </a:lnTo>
                  <a:lnTo>
                    <a:pt x="177243" y="485869"/>
                  </a:lnTo>
                  <a:lnTo>
                    <a:pt x="180057" y="492131"/>
                  </a:lnTo>
                  <a:lnTo>
                    <a:pt x="180268" y="493038"/>
                  </a:lnTo>
                  <a:lnTo>
                    <a:pt x="180480" y="493915"/>
                  </a:lnTo>
                  <a:lnTo>
                    <a:pt x="180813" y="495549"/>
                  </a:lnTo>
                  <a:lnTo>
                    <a:pt x="181358" y="496547"/>
                  </a:lnTo>
                  <a:lnTo>
                    <a:pt x="182447" y="497455"/>
                  </a:lnTo>
                  <a:lnTo>
                    <a:pt x="183596" y="498090"/>
                  </a:lnTo>
                  <a:lnTo>
                    <a:pt x="184503" y="498937"/>
                  </a:lnTo>
                  <a:lnTo>
                    <a:pt x="185562" y="502688"/>
                  </a:lnTo>
                  <a:lnTo>
                    <a:pt x="187317" y="504261"/>
                  </a:lnTo>
                  <a:lnTo>
                    <a:pt x="189556" y="505169"/>
                  </a:lnTo>
                  <a:lnTo>
                    <a:pt x="191734" y="505381"/>
                  </a:lnTo>
                  <a:lnTo>
                    <a:pt x="194154" y="504836"/>
                  </a:lnTo>
                  <a:lnTo>
                    <a:pt x="195454" y="503566"/>
                  </a:lnTo>
                  <a:lnTo>
                    <a:pt x="206920" y="484537"/>
                  </a:lnTo>
                  <a:lnTo>
                    <a:pt x="207494" y="482510"/>
                  </a:lnTo>
                  <a:lnTo>
                    <a:pt x="209007" y="481482"/>
                  </a:lnTo>
                  <a:lnTo>
                    <a:pt x="213151" y="480605"/>
                  </a:lnTo>
                  <a:lnTo>
                    <a:pt x="215118" y="479516"/>
                  </a:lnTo>
                  <a:lnTo>
                    <a:pt x="218627" y="475976"/>
                  </a:lnTo>
                  <a:lnTo>
                    <a:pt x="219686" y="475220"/>
                  </a:lnTo>
                  <a:lnTo>
                    <a:pt x="222167" y="475311"/>
                  </a:lnTo>
                  <a:lnTo>
                    <a:pt x="224012" y="475674"/>
                  </a:lnTo>
                  <a:lnTo>
                    <a:pt x="225494" y="476460"/>
                  </a:lnTo>
                  <a:lnTo>
                    <a:pt x="232512" y="483600"/>
                  </a:lnTo>
                  <a:lnTo>
                    <a:pt x="235931" y="486171"/>
                  </a:lnTo>
                  <a:lnTo>
                    <a:pt x="239349" y="487714"/>
                  </a:lnTo>
                  <a:lnTo>
                    <a:pt x="247275" y="488591"/>
                  </a:lnTo>
                  <a:lnTo>
                    <a:pt x="248757" y="489559"/>
                  </a:lnTo>
                  <a:lnTo>
                    <a:pt x="253810" y="494793"/>
                  </a:lnTo>
                  <a:lnTo>
                    <a:pt x="253205" y="497122"/>
                  </a:lnTo>
                  <a:lnTo>
                    <a:pt x="251450" y="498786"/>
                  </a:lnTo>
                  <a:lnTo>
                    <a:pt x="249211" y="499784"/>
                  </a:lnTo>
                  <a:lnTo>
                    <a:pt x="247275" y="500087"/>
                  </a:lnTo>
                  <a:lnTo>
                    <a:pt x="245127" y="499603"/>
                  </a:lnTo>
                  <a:lnTo>
                    <a:pt x="241437" y="497334"/>
                  </a:lnTo>
                  <a:lnTo>
                    <a:pt x="239349" y="496547"/>
                  </a:lnTo>
                  <a:lnTo>
                    <a:pt x="237232" y="496457"/>
                  </a:lnTo>
                  <a:lnTo>
                    <a:pt x="235235" y="497031"/>
                  </a:lnTo>
                  <a:lnTo>
                    <a:pt x="233753" y="498332"/>
                  </a:lnTo>
                  <a:lnTo>
                    <a:pt x="233148" y="500480"/>
                  </a:lnTo>
                  <a:lnTo>
                    <a:pt x="232845" y="502749"/>
                  </a:lnTo>
                  <a:lnTo>
                    <a:pt x="231998" y="503989"/>
                  </a:lnTo>
                  <a:lnTo>
                    <a:pt x="230728" y="504534"/>
                  </a:lnTo>
                  <a:lnTo>
                    <a:pt x="227158" y="504685"/>
                  </a:lnTo>
                  <a:lnTo>
                    <a:pt x="226251" y="504957"/>
                  </a:lnTo>
                  <a:lnTo>
                    <a:pt x="225555" y="505532"/>
                  </a:lnTo>
                  <a:lnTo>
                    <a:pt x="225101" y="506742"/>
                  </a:lnTo>
                  <a:lnTo>
                    <a:pt x="224859" y="508497"/>
                  </a:lnTo>
                  <a:lnTo>
                    <a:pt x="224829" y="510160"/>
                  </a:lnTo>
                  <a:lnTo>
                    <a:pt x="225131" y="511219"/>
                  </a:lnTo>
                  <a:lnTo>
                    <a:pt x="227249" y="513004"/>
                  </a:lnTo>
                  <a:lnTo>
                    <a:pt x="227672" y="513911"/>
                  </a:lnTo>
                  <a:lnTo>
                    <a:pt x="227763" y="514880"/>
                  </a:lnTo>
                  <a:lnTo>
                    <a:pt x="227551" y="516907"/>
                  </a:lnTo>
                  <a:lnTo>
                    <a:pt x="227642" y="517905"/>
                  </a:lnTo>
                  <a:lnTo>
                    <a:pt x="229427" y="521656"/>
                  </a:lnTo>
                  <a:lnTo>
                    <a:pt x="232119" y="525014"/>
                  </a:lnTo>
                  <a:lnTo>
                    <a:pt x="235477" y="527676"/>
                  </a:lnTo>
                  <a:lnTo>
                    <a:pt x="239349" y="529279"/>
                  </a:lnTo>
                  <a:lnTo>
                    <a:pt x="243494" y="529824"/>
                  </a:lnTo>
                  <a:lnTo>
                    <a:pt x="245400" y="530671"/>
                  </a:lnTo>
                  <a:lnTo>
                    <a:pt x="246216" y="532425"/>
                  </a:lnTo>
                  <a:lnTo>
                    <a:pt x="245793" y="538627"/>
                  </a:lnTo>
                  <a:lnTo>
                    <a:pt x="246338" y="540503"/>
                  </a:lnTo>
                  <a:lnTo>
                    <a:pt x="246428" y="540563"/>
                  </a:lnTo>
                  <a:lnTo>
                    <a:pt x="268058" y="554146"/>
                  </a:lnTo>
                  <a:lnTo>
                    <a:pt x="271688" y="555628"/>
                  </a:lnTo>
                  <a:lnTo>
                    <a:pt x="276256" y="556203"/>
                  </a:lnTo>
                  <a:lnTo>
                    <a:pt x="278283" y="557050"/>
                  </a:lnTo>
                  <a:lnTo>
                    <a:pt x="280552" y="557988"/>
                  </a:lnTo>
                  <a:lnTo>
                    <a:pt x="281490" y="561951"/>
                  </a:lnTo>
                  <a:lnTo>
                    <a:pt x="279765" y="565884"/>
                  </a:lnTo>
                  <a:lnTo>
                    <a:pt x="276256" y="567668"/>
                  </a:lnTo>
                  <a:lnTo>
                    <a:pt x="274048" y="567941"/>
                  </a:lnTo>
                  <a:lnTo>
                    <a:pt x="270055" y="569151"/>
                  </a:lnTo>
                  <a:lnTo>
                    <a:pt x="267967" y="569423"/>
                  </a:lnTo>
                  <a:lnTo>
                    <a:pt x="265971" y="570633"/>
                  </a:lnTo>
                  <a:lnTo>
                    <a:pt x="264851" y="573537"/>
                  </a:lnTo>
                  <a:lnTo>
                    <a:pt x="262401" y="583157"/>
                  </a:lnTo>
                  <a:lnTo>
                    <a:pt x="262461" y="586031"/>
                  </a:lnTo>
                  <a:lnTo>
                    <a:pt x="263732" y="588451"/>
                  </a:lnTo>
                  <a:lnTo>
                    <a:pt x="266273" y="590508"/>
                  </a:lnTo>
                  <a:lnTo>
                    <a:pt x="269359" y="591174"/>
                  </a:lnTo>
                  <a:lnTo>
                    <a:pt x="282730" y="590085"/>
                  </a:lnTo>
                  <a:lnTo>
                    <a:pt x="290716" y="589419"/>
                  </a:lnTo>
                  <a:lnTo>
                    <a:pt x="293741" y="588209"/>
                  </a:lnTo>
                  <a:lnTo>
                    <a:pt x="297281" y="587544"/>
                  </a:lnTo>
                  <a:lnTo>
                    <a:pt x="301032" y="585668"/>
                  </a:lnTo>
                  <a:lnTo>
                    <a:pt x="310168" y="584488"/>
                  </a:lnTo>
                  <a:lnTo>
                    <a:pt x="326231" y="585245"/>
                  </a:lnTo>
                  <a:lnTo>
                    <a:pt x="337092" y="590750"/>
                  </a:lnTo>
                  <a:lnTo>
                    <a:pt x="339935" y="591204"/>
                  </a:lnTo>
                  <a:lnTo>
                    <a:pt x="341448" y="591446"/>
                  </a:lnTo>
                  <a:lnTo>
                    <a:pt x="349979" y="589691"/>
                  </a:lnTo>
                  <a:lnTo>
                    <a:pt x="352218" y="590085"/>
                  </a:lnTo>
                  <a:lnTo>
                    <a:pt x="357965" y="593201"/>
                  </a:lnTo>
                  <a:lnTo>
                    <a:pt x="393148" y="601338"/>
                  </a:lnTo>
                  <a:lnTo>
                    <a:pt x="394116" y="601550"/>
                  </a:lnTo>
                  <a:lnTo>
                    <a:pt x="411964" y="600764"/>
                  </a:lnTo>
                  <a:lnTo>
                    <a:pt x="414142" y="600673"/>
                  </a:lnTo>
                  <a:lnTo>
                    <a:pt x="415866" y="600158"/>
                  </a:lnTo>
                  <a:lnTo>
                    <a:pt x="421463" y="596286"/>
                  </a:lnTo>
                  <a:lnTo>
                    <a:pt x="425033" y="595258"/>
                  </a:lnTo>
                  <a:lnTo>
                    <a:pt x="428421" y="595621"/>
                  </a:lnTo>
                  <a:lnTo>
                    <a:pt x="444666" y="601217"/>
                  </a:lnTo>
                  <a:lnTo>
                    <a:pt x="449083" y="602730"/>
                  </a:lnTo>
                  <a:lnTo>
                    <a:pt x="453802" y="603365"/>
                  </a:lnTo>
                  <a:lnTo>
                    <a:pt x="475069" y="602004"/>
                  </a:lnTo>
                  <a:lnTo>
                    <a:pt x="486927" y="605906"/>
                  </a:lnTo>
                  <a:lnTo>
                    <a:pt x="499965" y="606814"/>
                  </a:lnTo>
                  <a:lnTo>
                    <a:pt x="504110" y="607721"/>
                  </a:lnTo>
                  <a:lnTo>
                    <a:pt x="507438" y="609537"/>
                  </a:lnTo>
                  <a:lnTo>
                    <a:pt x="507770" y="609718"/>
                  </a:lnTo>
                  <a:lnTo>
                    <a:pt x="511219" y="612199"/>
                  </a:lnTo>
                  <a:lnTo>
                    <a:pt x="514910" y="614165"/>
                  </a:lnTo>
                  <a:lnTo>
                    <a:pt x="519266" y="614709"/>
                  </a:lnTo>
                  <a:lnTo>
                    <a:pt x="521595" y="614134"/>
                  </a:lnTo>
                  <a:lnTo>
                    <a:pt x="525740" y="612441"/>
                  </a:lnTo>
                  <a:lnTo>
                    <a:pt x="527252" y="612199"/>
                  </a:lnTo>
                  <a:lnTo>
                    <a:pt x="527918" y="612078"/>
                  </a:lnTo>
                  <a:lnTo>
                    <a:pt x="532456" y="612319"/>
                  </a:lnTo>
                  <a:lnTo>
                    <a:pt x="534724" y="612108"/>
                  </a:lnTo>
                  <a:lnTo>
                    <a:pt x="536570" y="611230"/>
                  </a:lnTo>
                  <a:lnTo>
                    <a:pt x="538476" y="610777"/>
                  </a:lnTo>
                  <a:lnTo>
                    <a:pt x="540744" y="609900"/>
                  </a:lnTo>
                  <a:lnTo>
                    <a:pt x="542892" y="608659"/>
                  </a:lnTo>
                  <a:lnTo>
                    <a:pt x="544465" y="607298"/>
                  </a:lnTo>
                  <a:lnTo>
                    <a:pt x="546280" y="606118"/>
                  </a:lnTo>
                  <a:lnTo>
                    <a:pt x="552482" y="605936"/>
                  </a:lnTo>
                  <a:lnTo>
                    <a:pt x="553147" y="605906"/>
                  </a:lnTo>
                  <a:lnTo>
                    <a:pt x="557322" y="604243"/>
                  </a:lnTo>
                  <a:lnTo>
                    <a:pt x="559652" y="600673"/>
                  </a:lnTo>
                  <a:lnTo>
                    <a:pt x="559863" y="600219"/>
                  </a:lnTo>
                  <a:lnTo>
                    <a:pt x="563161" y="597043"/>
                  </a:lnTo>
                  <a:lnTo>
                    <a:pt x="566186" y="595439"/>
                  </a:lnTo>
                  <a:lnTo>
                    <a:pt x="570935" y="589873"/>
                  </a:lnTo>
                  <a:lnTo>
                    <a:pt x="571752" y="588058"/>
                  </a:lnTo>
                  <a:lnTo>
                    <a:pt x="572690" y="586545"/>
                  </a:lnTo>
                  <a:lnTo>
                    <a:pt x="584821" y="578347"/>
                  </a:lnTo>
                  <a:lnTo>
                    <a:pt x="585547" y="576381"/>
                  </a:lnTo>
                  <a:lnTo>
                    <a:pt x="587332" y="573900"/>
                  </a:lnTo>
                  <a:lnTo>
                    <a:pt x="591022" y="570089"/>
                  </a:lnTo>
                  <a:lnTo>
                    <a:pt x="594532" y="568334"/>
                  </a:lnTo>
                  <a:lnTo>
                    <a:pt x="602639" y="566428"/>
                  </a:lnTo>
                  <a:lnTo>
                    <a:pt x="610595" y="563161"/>
                  </a:lnTo>
                  <a:lnTo>
                    <a:pt x="612804" y="562889"/>
                  </a:lnTo>
                  <a:lnTo>
                    <a:pt x="621183" y="561739"/>
                  </a:lnTo>
                  <a:lnTo>
                    <a:pt x="641149" y="559047"/>
                  </a:lnTo>
                  <a:lnTo>
                    <a:pt x="644537" y="557958"/>
                  </a:lnTo>
                  <a:lnTo>
                    <a:pt x="646534" y="557716"/>
                  </a:lnTo>
                  <a:lnTo>
                    <a:pt x="647502" y="557474"/>
                  </a:lnTo>
                  <a:lnTo>
                    <a:pt x="649499" y="556324"/>
                  </a:lnTo>
                  <a:lnTo>
                    <a:pt x="650648" y="556052"/>
                  </a:lnTo>
                  <a:lnTo>
                    <a:pt x="655185" y="556052"/>
                  </a:lnTo>
                  <a:lnTo>
                    <a:pt x="658786" y="555054"/>
                  </a:lnTo>
                  <a:lnTo>
                    <a:pt x="668315" y="549820"/>
                  </a:lnTo>
                  <a:lnTo>
                    <a:pt x="680143" y="548701"/>
                  </a:lnTo>
                  <a:lnTo>
                    <a:pt x="682745" y="547188"/>
                  </a:lnTo>
                  <a:lnTo>
                    <a:pt x="690065" y="551363"/>
                  </a:lnTo>
                  <a:lnTo>
                    <a:pt x="700653" y="553329"/>
                  </a:lnTo>
                  <a:lnTo>
                    <a:pt x="702802" y="554418"/>
                  </a:lnTo>
                  <a:lnTo>
                    <a:pt x="705252" y="554237"/>
                  </a:lnTo>
                  <a:lnTo>
                    <a:pt x="705403" y="554328"/>
                  </a:lnTo>
                  <a:lnTo>
                    <a:pt x="707067" y="555507"/>
                  </a:lnTo>
                  <a:lnTo>
                    <a:pt x="706583" y="558412"/>
                  </a:lnTo>
                  <a:lnTo>
                    <a:pt x="708700" y="560620"/>
                  </a:lnTo>
                  <a:lnTo>
                    <a:pt x="714357" y="563131"/>
                  </a:lnTo>
                  <a:lnTo>
                    <a:pt x="715537" y="564129"/>
                  </a:lnTo>
                  <a:lnTo>
                    <a:pt x="717504" y="567275"/>
                  </a:lnTo>
                  <a:lnTo>
                    <a:pt x="718593" y="568001"/>
                  </a:lnTo>
                  <a:lnTo>
                    <a:pt x="737772" y="567850"/>
                  </a:lnTo>
                  <a:lnTo>
                    <a:pt x="743701" y="566125"/>
                  </a:lnTo>
                  <a:lnTo>
                    <a:pt x="746031" y="566882"/>
                  </a:lnTo>
                  <a:lnTo>
                    <a:pt x="747997" y="570754"/>
                  </a:lnTo>
                  <a:lnTo>
                    <a:pt x="748662" y="571571"/>
                  </a:lnTo>
                  <a:lnTo>
                    <a:pt x="752595" y="576502"/>
                  </a:lnTo>
                  <a:lnTo>
                    <a:pt x="759190" y="575020"/>
                  </a:lnTo>
                  <a:lnTo>
                    <a:pt x="766148" y="571389"/>
                  </a:lnTo>
                  <a:lnTo>
                    <a:pt x="771775" y="570784"/>
                  </a:lnTo>
                  <a:lnTo>
                    <a:pt x="771775" y="570784"/>
                  </a:lnTo>
                  <a:lnTo>
                    <a:pt x="774134" y="574505"/>
                  </a:lnTo>
                  <a:lnTo>
                    <a:pt x="778702" y="589238"/>
                  </a:lnTo>
                  <a:lnTo>
                    <a:pt x="782090" y="591688"/>
                  </a:lnTo>
                  <a:lnTo>
                    <a:pt x="802873" y="600401"/>
                  </a:lnTo>
                  <a:lnTo>
                    <a:pt x="824321" y="603819"/>
                  </a:lnTo>
                  <a:lnTo>
                    <a:pt x="838812" y="603063"/>
                  </a:lnTo>
                  <a:lnTo>
                    <a:pt x="839266" y="601792"/>
                  </a:lnTo>
                  <a:lnTo>
                    <a:pt x="839175" y="600461"/>
                  </a:lnTo>
                  <a:lnTo>
                    <a:pt x="839235" y="599069"/>
                  </a:lnTo>
                  <a:lnTo>
                    <a:pt x="839447" y="597799"/>
                  </a:lnTo>
                  <a:lnTo>
                    <a:pt x="839901" y="596680"/>
                  </a:lnTo>
                  <a:lnTo>
                    <a:pt x="839417" y="595439"/>
                  </a:lnTo>
                  <a:lnTo>
                    <a:pt x="839749" y="594229"/>
                  </a:lnTo>
                  <a:lnTo>
                    <a:pt x="840324" y="593049"/>
                  </a:lnTo>
                  <a:lnTo>
                    <a:pt x="841928" y="586001"/>
                  </a:lnTo>
                  <a:lnTo>
                    <a:pt x="842351" y="584760"/>
                  </a:lnTo>
                  <a:lnTo>
                    <a:pt x="844771" y="580374"/>
                  </a:lnTo>
                  <a:lnTo>
                    <a:pt x="845074" y="578619"/>
                  </a:lnTo>
                  <a:lnTo>
                    <a:pt x="846496" y="574868"/>
                  </a:lnTo>
                  <a:lnTo>
                    <a:pt x="847010" y="572508"/>
                  </a:lnTo>
                  <a:lnTo>
                    <a:pt x="847918" y="571329"/>
                  </a:lnTo>
                  <a:lnTo>
                    <a:pt x="848190" y="570270"/>
                  </a:lnTo>
                  <a:lnTo>
                    <a:pt x="848159" y="569514"/>
                  </a:lnTo>
                  <a:lnTo>
                    <a:pt x="846435" y="562889"/>
                  </a:lnTo>
                  <a:lnTo>
                    <a:pt x="844741" y="552482"/>
                  </a:lnTo>
                  <a:lnTo>
                    <a:pt x="844076" y="550092"/>
                  </a:lnTo>
                  <a:lnTo>
                    <a:pt x="844620" y="548822"/>
                  </a:lnTo>
                  <a:lnTo>
                    <a:pt x="845618" y="547824"/>
                  </a:lnTo>
                  <a:lnTo>
                    <a:pt x="846859" y="547521"/>
                  </a:lnTo>
                  <a:lnTo>
                    <a:pt x="848190" y="548247"/>
                  </a:lnTo>
                  <a:lnTo>
                    <a:pt x="847524" y="547370"/>
                  </a:lnTo>
                  <a:lnTo>
                    <a:pt x="847827" y="546250"/>
                  </a:lnTo>
                  <a:lnTo>
                    <a:pt x="847555" y="544314"/>
                  </a:lnTo>
                  <a:lnTo>
                    <a:pt x="846133" y="540261"/>
                  </a:lnTo>
                  <a:lnTo>
                    <a:pt x="844529" y="537538"/>
                  </a:lnTo>
                  <a:lnTo>
                    <a:pt x="844106" y="535935"/>
                  </a:lnTo>
                  <a:lnTo>
                    <a:pt x="844227" y="531034"/>
                  </a:lnTo>
                  <a:lnTo>
                    <a:pt x="844499" y="529219"/>
                  </a:lnTo>
                  <a:lnTo>
                    <a:pt x="845074" y="527676"/>
                  </a:lnTo>
                  <a:lnTo>
                    <a:pt x="846133" y="526194"/>
                  </a:lnTo>
                  <a:lnTo>
                    <a:pt x="847464" y="525105"/>
                  </a:lnTo>
                  <a:lnTo>
                    <a:pt x="849037" y="524469"/>
                  </a:lnTo>
                  <a:lnTo>
                    <a:pt x="850337" y="525377"/>
                  </a:lnTo>
                  <a:lnTo>
                    <a:pt x="850671" y="523804"/>
                  </a:lnTo>
                  <a:lnTo>
                    <a:pt x="851699" y="520900"/>
                  </a:lnTo>
                  <a:lnTo>
                    <a:pt x="860774" y="509676"/>
                  </a:lnTo>
                  <a:lnTo>
                    <a:pt x="865554" y="506319"/>
                  </a:lnTo>
                  <a:lnTo>
                    <a:pt x="872149" y="494611"/>
                  </a:lnTo>
                  <a:lnTo>
                    <a:pt x="873026" y="492433"/>
                  </a:lnTo>
                  <a:lnTo>
                    <a:pt x="873692" y="489892"/>
                  </a:lnTo>
                  <a:lnTo>
                    <a:pt x="872663" y="492372"/>
                  </a:lnTo>
                  <a:lnTo>
                    <a:pt x="871786" y="494157"/>
                  </a:lnTo>
                  <a:lnTo>
                    <a:pt x="870394" y="495519"/>
                  </a:lnTo>
                  <a:lnTo>
                    <a:pt x="868488" y="496003"/>
                  </a:lnTo>
                  <a:lnTo>
                    <a:pt x="866704" y="496759"/>
                  </a:lnTo>
                  <a:lnTo>
                    <a:pt x="864949" y="498514"/>
                  </a:lnTo>
                  <a:lnTo>
                    <a:pt x="861954" y="502265"/>
                  </a:lnTo>
                  <a:lnTo>
                    <a:pt x="859897" y="503505"/>
                  </a:lnTo>
                  <a:lnTo>
                    <a:pt x="858929" y="504534"/>
                  </a:lnTo>
                  <a:lnTo>
                    <a:pt x="858294" y="507619"/>
                  </a:lnTo>
                  <a:lnTo>
                    <a:pt x="857719" y="509041"/>
                  </a:lnTo>
                  <a:lnTo>
                    <a:pt x="856932" y="510009"/>
                  </a:lnTo>
                  <a:lnTo>
                    <a:pt x="856085" y="509828"/>
                  </a:lnTo>
                  <a:lnTo>
                    <a:pt x="855631" y="507317"/>
                  </a:lnTo>
                  <a:lnTo>
                    <a:pt x="856418" y="503777"/>
                  </a:lnTo>
                  <a:lnTo>
                    <a:pt x="857658" y="500480"/>
                  </a:lnTo>
                  <a:lnTo>
                    <a:pt x="858506" y="498725"/>
                  </a:lnTo>
                  <a:lnTo>
                    <a:pt x="857174" y="497697"/>
                  </a:lnTo>
                  <a:lnTo>
                    <a:pt x="855783" y="496971"/>
                  </a:lnTo>
                  <a:lnTo>
                    <a:pt x="855450" y="497485"/>
                  </a:lnTo>
                  <a:lnTo>
                    <a:pt x="854785" y="498120"/>
                  </a:lnTo>
                  <a:lnTo>
                    <a:pt x="854331" y="498725"/>
                  </a:lnTo>
                  <a:lnTo>
                    <a:pt x="854331" y="496729"/>
                  </a:lnTo>
                  <a:lnTo>
                    <a:pt x="855874" y="495428"/>
                  </a:lnTo>
                  <a:lnTo>
                    <a:pt x="859897" y="494309"/>
                  </a:lnTo>
                  <a:lnTo>
                    <a:pt x="858536" y="493825"/>
                  </a:lnTo>
                  <a:lnTo>
                    <a:pt x="857537" y="493098"/>
                  </a:lnTo>
                  <a:lnTo>
                    <a:pt x="857144" y="492070"/>
                  </a:lnTo>
                  <a:lnTo>
                    <a:pt x="857780" y="490769"/>
                  </a:lnTo>
                  <a:lnTo>
                    <a:pt x="856448" y="490769"/>
                  </a:lnTo>
                  <a:lnTo>
                    <a:pt x="856872" y="489075"/>
                  </a:lnTo>
                  <a:lnTo>
                    <a:pt x="857780" y="488168"/>
                  </a:lnTo>
                  <a:lnTo>
                    <a:pt x="859080" y="487926"/>
                  </a:lnTo>
                  <a:lnTo>
                    <a:pt x="860562" y="488107"/>
                  </a:lnTo>
                  <a:lnTo>
                    <a:pt x="860260" y="489468"/>
                  </a:lnTo>
                  <a:lnTo>
                    <a:pt x="858506" y="492463"/>
                  </a:lnTo>
                  <a:lnTo>
                    <a:pt x="859897" y="491314"/>
                  </a:lnTo>
                  <a:lnTo>
                    <a:pt x="864767" y="489015"/>
                  </a:lnTo>
                  <a:lnTo>
                    <a:pt x="866553" y="488107"/>
                  </a:lnTo>
                  <a:lnTo>
                    <a:pt x="869698" y="485021"/>
                  </a:lnTo>
                  <a:lnTo>
                    <a:pt x="871635" y="483690"/>
                  </a:lnTo>
                  <a:lnTo>
                    <a:pt x="872119" y="482813"/>
                  </a:lnTo>
                  <a:lnTo>
                    <a:pt x="872573" y="482208"/>
                  </a:lnTo>
                  <a:lnTo>
                    <a:pt x="872996" y="481815"/>
                  </a:lnTo>
                  <a:lnTo>
                    <a:pt x="873601" y="481906"/>
                  </a:lnTo>
                  <a:lnTo>
                    <a:pt x="875053" y="482813"/>
                  </a:lnTo>
                  <a:lnTo>
                    <a:pt x="876989" y="482329"/>
                  </a:lnTo>
                  <a:lnTo>
                    <a:pt x="877201" y="481936"/>
                  </a:lnTo>
                  <a:lnTo>
                    <a:pt x="876444" y="481028"/>
                  </a:lnTo>
                  <a:lnTo>
                    <a:pt x="876444" y="480060"/>
                  </a:lnTo>
                  <a:lnTo>
                    <a:pt x="878774" y="481301"/>
                  </a:lnTo>
                  <a:lnTo>
                    <a:pt x="878471" y="483448"/>
                  </a:lnTo>
                  <a:lnTo>
                    <a:pt x="876838" y="485929"/>
                  </a:lnTo>
                  <a:lnTo>
                    <a:pt x="875053" y="488107"/>
                  </a:lnTo>
                  <a:lnTo>
                    <a:pt x="877413" y="487441"/>
                  </a:lnTo>
                  <a:lnTo>
                    <a:pt x="879167" y="485384"/>
                  </a:lnTo>
                  <a:lnTo>
                    <a:pt x="879984" y="482783"/>
                  </a:lnTo>
                  <a:lnTo>
                    <a:pt x="879560" y="480544"/>
                  </a:lnTo>
                  <a:lnTo>
                    <a:pt x="877957" y="479455"/>
                  </a:lnTo>
                  <a:lnTo>
                    <a:pt x="870939" y="477398"/>
                  </a:lnTo>
                  <a:lnTo>
                    <a:pt x="872361" y="480060"/>
                  </a:lnTo>
                  <a:lnTo>
                    <a:pt x="870304" y="482541"/>
                  </a:lnTo>
                  <a:lnTo>
                    <a:pt x="868095" y="484537"/>
                  </a:lnTo>
                  <a:lnTo>
                    <a:pt x="865705" y="485869"/>
                  </a:lnTo>
                  <a:lnTo>
                    <a:pt x="860351" y="486746"/>
                  </a:lnTo>
                  <a:lnTo>
                    <a:pt x="859504" y="486171"/>
                  </a:lnTo>
                  <a:lnTo>
                    <a:pt x="859201" y="484084"/>
                  </a:lnTo>
                  <a:lnTo>
                    <a:pt x="859655" y="482208"/>
                  </a:lnTo>
                  <a:lnTo>
                    <a:pt x="861531" y="481633"/>
                  </a:lnTo>
                  <a:lnTo>
                    <a:pt x="861954" y="480060"/>
                  </a:lnTo>
                  <a:lnTo>
                    <a:pt x="860472" y="481149"/>
                  </a:lnTo>
                  <a:lnTo>
                    <a:pt x="859806" y="480453"/>
                  </a:lnTo>
                  <a:lnTo>
                    <a:pt x="859988" y="478759"/>
                  </a:lnTo>
                  <a:lnTo>
                    <a:pt x="860956" y="476944"/>
                  </a:lnTo>
                  <a:lnTo>
                    <a:pt x="861954" y="476097"/>
                  </a:lnTo>
                  <a:lnTo>
                    <a:pt x="868035" y="472618"/>
                  </a:lnTo>
                  <a:lnTo>
                    <a:pt x="869094" y="472225"/>
                  </a:lnTo>
                  <a:lnTo>
                    <a:pt x="873571" y="472074"/>
                  </a:lnTo>
                  <a:lnTo>
                    <a:pt x="874841" y="471802"/>
                  </a:lnTo>
                  <a:lnTo>
                    <a:pt x="875809" y="471106"/>
                  </a:lnTo>
                  <a:lnTo>
                    <a:pt x="874508" y="470017"/>
                  </a:lnTo>
                  <a:lnTo>
                    <a:pt x="873722" y="468716"/>
                  </a:lnTo>
                  <a:lnTo>
                    <a:pt x="873813" y="467506"/>
                  </a:lnTo>
                  <a:lnTo>
                    <a:pt x="875053" y="466750"/>
                  </a:lnTo>
                  <a:lnTo>
                    <a:pt x="875053" y="465782"/>
                  </a:lnTo>
                  <a:lnTo>
                    <a:pt x="874629" y="465600"/>
                  </a:lnTo>
                  <a:lnTo>
                    <a:pt x="873692" y="464874"/>
                  </a:lnTo>
                  <a:lnTo>
                    <a:pt x="874599" y="464753"/>
                  </a:lnTo>
                  <a:lnTo>
                    <a:pt x="875174" y="464390"/>
                  </a:lnTo>
                  <a:lnTo>
                    <a:pt x="876444" y="463119"/>
                  </a:lnTo>
                  <a:lnTo>
                    <a:pt x="871574" y="458430"/>
                  </a:lnTo>
                  <a:lnTo>
                    <a:pt x="869305" y="457523"/>
                  </a:lnTo>
                  <a:lnTo>
                    <a:pt x="868488" y="456827"/>
                  </a:lnTo>
                  <a:lnTo>
                    <a:pt x="867793" y="455829"/>
                  </a:lnTo>
                  <a:lnTo>
                    <a:pt x="867490" y="454679"/>
                  </a:lnTo>
                  <a:lnTo>
                    <a:pt x="867702" y="454256"/>
                  </a:lnTo>
                  <a:lnTo>
                    <a:pt x="868156" y="454044"/>
                  </a:lnTo>
                  <a:lnTo>
                    <a:pt x="868609" y="453681"/>
                  </a:lnTo>
                  <a:lnTo>
                    <a:pt x="868821" y="452925"/>
                  </a:lnTo>
                  <a:lnTo>
                    <a:pt x="868579" y="452078"/>
                  </a:lnTo>
                  <a:lnTo>
                    <a:pt x="867642" y="451412"/>
                  </a:lnTo>
                  <a:lnTo>
                    <a:pt x="867490" y="450656"/>
                  </a:lnTo>
                  <a:lnTo>
                    <a:pt x="868095" y="447903"/>
                  </a:lnTo>
                  <a:lnTo>
                    <a:pt x="869154" y="446421"/>
                  </a:lnTo>
                  <a:lnTo>
                    <a:pt x="872845" y="443184"/>
                  </a:lnTo>
                  <a:lnTo>
                    <a:pt x="873903" y="442791"/>
                  </a:lnTo>
                  <a:lnTo>
                    <a:pt x="876112" y="442669"/>
                  </a:lnTo>
                  <a:lnTo>
                    <a:pt x="877231" y="442125"/>
                  </a:lnTo>
                  <a:lnTo>
                    <a:pt x="877836" y="440975"/>
                  </a:lnTo>
                  <a:lnTo>
                    <a:pt x="878139" y="439765"/>
                  </a:lnTo>
                  <a:lnTo>
                    <a:pt x="878502" y="439100"/>
                  </a:lnTo>
                  <a:lnTo>
                    <a:pt x="879560" y="438918"/>
                  </a:lnTo>
                  <a:lnTo>
                    <a:pt x="882676" y="439886"/>
                  </a:lnTo>
                  <a:lnTo>
                    <a:pt x="885762" y="439886"/>
                  </a:lnTo>
                  <a:lnTo>
                    <a:pt x="887093" y="440401"/>
                  </a:lnTo>
                  <a:lnTo>
                    <a:pt x="891480" y="443093"/>
                  </a:lnTo>
                  <a:lnTo>
                    <a:pt x="892357" y="444424"/>
                  </a:lnTo>
                  <a:lnTo>
                    <a:pt x="891177" y="446148"/>
                  </a:lnTo>
                  <a:lnTo>
                    <a:pt x="886458" y="447752"/>
                  </a:lnTo>
                  <a:lnTo>
                    <a:pt x="885429" y="450232"/>
                  </a:lnTo>
                  <a:lnTo>
                    <a:pt x="885671" y="458067"/>
                  </a:lnTo>
                  <a:lnTo>
                    <a:pt x="886095" y="460457"/>
                  </a:lnTo>
                  <a:lnTo>
                    <a:pt x="887305" y="462393"/>
                  </a:lnTo>
                  <a:lnTo>
                    <a:pt x="888636" y="461970"/>
                  </a:lnTo>
                  <a:lnTo>
                    <a:pt x="890058" y="461032"/>
                  </a:lnTo>
                  <a:lnTo>
                    <a:pt x="891691" y="461334"/>
                  </a:lnTo>
                  <a:lnTo>
                    <a:pt x="891631" y="459913"/>
                  </a:lnTo>
                  <a:lnTo>
                    <a:pt x="891480" y="458884"/>
                  </a:lnTo>
                  <a:lnTo>
                    <a:pt x="890935" y="456827"/>
                  </a:lnTo>
                  <a:lnTo>
                    <a:pt x="893900" y="459762"/>
                  </a:lnTo>
                  <a:lnTo>
                    <a:pt x="895201" y="461486"/>
                  </a:lnTo>
                  <a:lnTo>
                    <a:pt x="895775" y="463119"/>
                  </a:lnTo>
                  <a:lnTo>
                    <a:pt x="895201" y="466054"/>
                  </a:lnTo>
                  <a:lnTo>
                    <a:pt x="893355" y="468323"/>
                  </a:lnTo>
                  <a:lnTo>
                    <a:pt x="891117" y="469775"/>
                  </a:lnTo>
                  <a:lnTo>
                    <a:pt x="887093" y="470713"/>
                  </a:lnTo>
                  <a:lnTo>
                    <a:pt x="883402" y="472467"/>
                  </a:lnTo>
                  <a:lnTo>
                    <a:pt x="880952" y="472891"/>
                  </a:lnTo>
                  <a:lnTo>
                    <a:pt x="878713" y="473738"/>
                  </a:lnTo>
                  <a:lnTo>
                    <a:pt x="879349" y="475764"/>
                  </a:lnTo>
                  <a:lnTo>
                    <a:pt x="880710" y="478154"/>
                  </a:lnTo>
                  <a:lnTo>
                    <a:pt x="880619" y="480060"/>
                  </a:lnTo>
                  <a:lnTo>
                    <a:pt x="881315" y="481028"/>
                  </a:lnTo>
                  <a:lnTo>
                    <a:pt x="883887" y="477670"/>
                  </a:lnTo>
                  <a:lnTo>
                    <a:pt x="886851" y="475008"/>
                  </a:lnTo>
                  <a:lnTo>
                    <a:pt x="896925" y="468625"/>
                  </a:lnTo>
                  <a:lnTo>
                    <a:pt x="900585" y="467506"/>
                  </a:lnTo>
                  <a:lnTo>
                    <a:pt x="913019" y="466750"/>
                  </a:lnTo>
                  <a:lnTo>
                    <a:pt x="932652" y="463906"/>
                  </a:lnTo>
                  <a:lnTo>
                    <a:pt x="933620" y="463664"/>
                  </a:lnTo>
                  <a:lnTo>
                    <a:pt x="934678" y="463180"/>
                  </a:lnTo>
                  <a:lnTo>
                    <a:pt x="935767" y="462968"/>
                  </a:lnTo>
                  <a:lnTo>
                    <a:pt x="937764" y="463967"/>
                  </a:lnTo>
                  <a:lnTo>
                    <a:pt x="938520" y="463331"/>
                  </a:lnTo>
                  <a:lnTo>
                    <a:pt x="939942" y="461334"/>
                  </a:lnTo>
                  <a:lnTo>
                    <a:pt x="941001" y="460820"/>
                  </a:lnTo>
                  <a:lnTo>
                    <a:pt x="941939" y="460699"/>
                  </a:lnTo>
                  <a:lnTo>
                    <a:pt x="942725" y="460185"/>
                  </a:lnTo>
                  <a:lnTo>
                    <a:pt x="943421" y="458582"/>
                  </a:lnTo>
                  <a:lnTo>
                    <a:pt x="942121" y="456162"/>
                  </a:lnTo>
                  <a:lnTo>
                    <a:pt x="944662" y="452592"/>
                  </a:lnTo>
                  <a:lnTo>
                    <a:pt x="944026" y="449778"/>
                  </a:lnTo>
                  <a:lnTo>
                    <a:pt x="944692" y="448538"/>
                  </a:lnTo>
                  <a:lnTo>
                    <a:pt x="944994" y="446602"/>
                  </a:lnTo>
                  <a:lnTo>
                    <a:pt x="945115" y="444484"/>
                  </a:lnTo>
                  <a:lnTo>
                    <a:pt x="945388" y="442669"/>
                  </a:lnTo>
                  <a:lnTo>
                    <a:pt x="946719" y="438949"/>
                  </a:lnTo>
                  <a:lnTo>
                    <a:pt x="947263" y="436740"/>
                  </a:lnTo>
                  <a:lnTo>
                    <a:pt x="948080" y="425245"/>
                  </a:lnTo>
                  <a:lnTo>
                    <a:pt x="949320" y="421615"/>
                  </a:lnTo>
                  <a:lnTo>
                    <a:pt x="951649" y="419376"/>
                  </a:lnTo>
                  <a:lnTo>
                    <a:pt x="948352" y="419073"/>
                  </a:lnTo>
                  <a:close/>
                </a:path>
              </a:pathLst>
            </a:custGeom>
            <a:solidFill>
              <a:srgbClr val="96A3AC"/>
            </a:solidFill>
            <a:ln w="3175" cap="rnd">
              <a:solidFill>
                <a:schemeClr val="bg1"/>
              </a:solidFill>
              <a:prstDash val="solid"/>
              <a:round/>
            </a:ln>
          </p:spPr>
          <p:txBody>
            <a:bodyPr rtlCol="0" anchor="ctr"/>
            <a:lstStyle/>
            <a:p>
              <a:endParaRPr lang="en-ID"/>
            </a:p>
          </p:txBody>
        </p:sp>
        <p:sp>
          <p:nvSpPr>
            <p:cNvPr id="23" name="Freeform: Shape 22">
              <a:extLst>
                <a:ext uri="{FF2B5EF4-FFF2-40B4-BE49-F238E27FC236}">
                  <a16:creationId xmlns:a16="http://schemas.microsoft.com/office/drawing/2014/main" id="{11467CD9-ABD7-C33C-BE0D-DC2C92E97C7D}"/>
                </a:ext>
              </a:extLst>
            </p:cNvPr>
            <p:cNvSpPr/>
            <p:nvPr/>
          </p:nvSpPr>
          <p:spPr>
            <a:xfrm>
              <a:off x="9261608" y="3481690"/>
              <a:ext cx="783677" cy="681603"/>
            </a:xfrm>
            <a:custGeom>
              <a:avLst/>
              <a:gdLst>
                <a:gd name="connsiteX0" fmla="*/ 993094 w 1008219"/>
                <a:gd name="connsiteY0" fmla="*/ 612622 h 876898"/>
                <a:gd name="connsiteX1" fmla="*/ 995877 w 1008219"/>
                <a:gd name="connsiteY1" fmla="*/ 612289 h 876898"/>
                <a:gd name="connsiteX2" fmla="*/ 998540 w 1008219"/>
                <a:gd name="connsiteY2" fmla="*/ 613681 h 876898"/>
                <a:gd name="connsiteX3" fmla="*/ 1000596 w 1008219"/>
                <a:gd name="connsiteY3" fmla="*/ 612833 h 876898"/>
                <a:gd name="connsiteX4" fmla="*/ 1003954 w 1008219"/>
                <a:gd name="connsiteY4" fmla="*/ 612804 h 876898"/>
                <a:gd name="connsiteX5" fmla="*/ 1006979 w 1008219"/>
                <a:gd name="connsiteY5" fmla="*/ 612198 h 876898"/>
                <a:gd name="connsiteX6" fmla="*/ 1008220 w 1008219"/>
                <a:gd name="connsiteY6" fmla="*/ 609657 h 876898"/>
                <a:gd name="connsiteX7" fmla="*/ 1006919 w 1008219"/>
                <a:gd name="connsiteY7" fmla="*/ 607842 h 876898"/>
                <a:gd name="connsiteX8" fmla="*/ 998540 w 1008219"/>
                <a:gd name="connsiteY8" fmla="*/ 603577 h 876898"/>
                <a:gd name="connsiteX9" fmla="*/ 991733 w 1008219"/>
                <a:gd name="connsiteY9" fmla="*/ 597799 h 876898"/>
                <a:gd name="connsiteX10" fmla="*/ 990251 w 1008219"/>
                <a:gd name="connsiteY10" fmla="*/ 595499 h 876898"/>
                <a:gd name="connsiteX11" fmla="*/ 989676 w 1008219"/>
                <a:gd name="connsiteY11" fmla="*/ 593563 h 876898"/>
                <a:gd name="connsiteX12" fmla="*/ 989585 w 1008219"/>
                <a:gd name="connsiteY12" fmla="*/ 592263 h 876898"/>
                <a:gd name="connsiteX13" fmla="*/ 989313 w 1008219"/>
                <a:gd name="connsiteY13" fmla="*/ 591022 h 876898"/>
                <a:gd name="connsiteX14" fmla="*/ 988193 w 1008219"/>
                <a:gd name="connsiteY14" fmla="*/ 589479 h 876898"/>
                <a:gd name="connsiteX15" fmla="*/ 986953 w 1008219"/>
                <a:gd name="connsiteY15" fmla="*/ 588693 h 876898"/>
                <a:gd name="connsiteX16" fmla="*/ 985683 w 1008219"/>
                <a:gd name="connsiteY16" fmla="*/ 588239 h 876898"/>
                <a:gd name="connsiteX17" fmla="*/ 984926 w 1008219"/>
                <a:gd name="connsiteY17" fmla="*/ 587634 h 876898"/>
                <a:gd name="connsiteX18" fmla="*/ 985350 w 1008219"/>
                <a:gd name="connsiteY18" fmla="*/ 586485 h 876898"/>
                <a:gd name="connsiteX19" fmla="*/ 985350 w 1008219"/>
                <a:gd name="connsiteY19" fmla="*/ 585577 h 876898"/>
                <a:gd name="connsiteX20" fmla="*/ 984170 w 1008219"/>
                <a:gd name="connsiteY20" fmla="*/ 579406 h 876898"/>
                <a:gd name="connsiteX21" fmla="*/ 983293 w 1008219"/>
                <a:gd name="connsiteY21" fmla="*/ 577439 h 876898"/>
                <a:gd name="connsiteX22" fmla="*/ 980661 w 1008219"/>
                <a:gd name="connsiteY22" fmla="*/ 573688 h 876898"/>
                <a:gd name="connsiteX23" fmla="*/ 979179 w 1008219"/>
                <a:gd name="connsiteY23" fmla="*/ 570784 h 876898"/>
                <a:gd name="connsiteX24" fmla="*/ 979542 w 1008219"/>
                <a:gd name="connsiteY24" fmla="*/ 569423 h 876898"/>
                <a:gd name="connsiteX25" fmla="*/ 981206 w 1008219"/>
                <a:gd name="connsiteY25" fmla="*/ 568606 h 876898"/>
                <a:gd name="connsiteX26" fmla="*/ 980086 w 1008219"/>
                <a:gd name="connsiteY26" fmla="*/ 566821 h 876898"/>
                <a:gd name="connsiteX27" fmla="*/ 975306 w 1008219"/>
                <a:gd name="connsiteY27" fmla="*/ 562344 h 876898"/>
                <a:gd name="connsiteX28" fmla="*/ 970194 w 1008219"/>
                <a:gd name="connsiteY28" fmla="*/ 559349 h 876898"/>
                <a:gd name="connsiteX29" fmla="*/ 967925 w 1008219"/>
                <a:gd name="connsiteY29" fmla="*/ 556808 h 876898"/>
                <a:gd name="connsiteX30" fmla="*/ 962359 w 1008219"/>
                <a:gd name="connsiteY30" fmla="*/ 545585 h 876898"/>
                <a:gd name="connsiteX31" fmla="*/ 960634 w 1008219"/>
                <a:gd name="connsiteY31" fmla="*/ 544556 h 876898"/>
                <a:gd name="connsiteX32" fmla="*/ 958698 w 1008219"/>
                <a:gd name="connsiteY32" fmla="*/ 544496 h 876898"/>
                <a:gd name="connsiteX33" fmla="*/ 957095 w 1008219"/>
                <a:gd name="connsiteY33" fmla="*/ 543739 h 876898"/>
                <a:gd name="connsiteX34" fmla="*/ 956460 w 1008219"/>
                <a:gd name="connsiteY34" fmla="*/ 540623 h 876898"/>
                <a:gd name="connsiteX35" fmla="*/ 957004 w 1008219"/>
                <a:gd name="connsiteY35" fmla="*/ 538657 h 876898"/>
                <a:gd name="connsiteX36" fmla="*/ 958366 w 1008219"/>
                <a:gd name="connsiteY36" fmla="*/ 536479 h 876898"/>
                <a:gd name="connsiteX37" fmla="*/ 960150 w 1008219"/>
                <a:gd name="connsiteY37" fmla="*/ 534724 h 876898"/>
                <a:gd name="connsiteX38" fmla="*/ 961996 w 1008219"/>
                <a:gd name="connsiteY38" fmla="*/ 534059 h 876898"/>
                <a:gd name="connsiteX39" fmla="*/ 961391 w 1008219"/>
                <a:gd name="connsiteY39" fmla="*/ 532062 h 876898"/>
                <a:gd name="connsiteX40" fmla="*/ 961512 w 1008219"/>
                <a:gd name="connsiteY40" fmla="*/ 530550 h 876898"/>
                <a:gd name="connsiteX41" fmla="*/ 962238 w 1008219"/>
                <a:gd name="connsiteY41" fmla="*/ 529521 h 876898"/>
                <a:gd name="connsiteX42" fmla="*/ 963387 w 1008219"/>
                <a:gd name="connsiteY42" fmla="*/ 529007 h 876898"/>
                <a:gd name="connsiteX43" fmla="*/ 962571 w 1008219"/>
                <a:gd name="connsiteY43" fmla="*/ 527222 h 876898"/>
                <a:gd name="connsiteX44" fmla="*/ 958487 w 1008219"/>
                <a:gd name="connsiteY44" fmla="*/ 521686 h 876898"/>
                <a:gd name="connsiteX45" fmla="*/ 958305 w 1008219"/>
                <a:gd name="connsiteY45" fmla="*/ 520748 h 876898"/>
                <a:gd name="connsiteX46" fmla="*/ 959878 w 1008219"/>
                <a:gd name="connsiteY46" fmla="*/ 517784 h 876898"/>
                <a:gd name="connsiteX47" fmla="*/ 958456 w 1008219"/>
                <a:gd name="connsiteY47" fmla="*/ 516906 h 876898"/>
                <a:gd name="connsiteX48" fmla="*/ 956641 w 1008219"/>
                <a:gd name="connsiteY48" fmla="*/ 516271 h 876898"/>
                <a:gd name="connsiteX49" fmla="*/ 955068 w 1008219"/>
                <a:gd name="connsiteY49" fmla="*/ 515243 h 876898"/>
                <a:gd name="connsiteX50" fmla="*/ 954403 w 1008219"/>
                <a:gd name="connsiteY50" fmla="*/ 513185 h 876898"/>
                <a:gd name="connsiteX51" fmla="*/ 954191 w 1008219"/>
                <a:gd name="connsiteY51" fmla="*/ 512247 h 876898"/>
                <a:gd name="connsiteX52" fmla="*/ 953798 w 1008219"/>
                <a:gd name="connsiteY52" fmla="*/ 510281 h 876898"/>
                <a:gd name="connsiteX53" fmla="*/ 952436 w 1008219"/>
                <a:gd name="connsiteY53" fmla="*/ 509495 h 876898"/>
                <a:gd name="connsiteX54" fmla="*/ 950833 w 1008219"/>
                <a:gd name="connsiteY54" fmla="*/ 508950 h 876898"/>
                <a:gd name="connsiteX55" fmla="*/ 949593 w 1008219"/>
                <a:gd name="connsiteY55" fmla="*/ 506621 h 876898"/>
                <a:gd name="connsiteX56" fmla="*/ 950258 w 1008219"/>
                <a:gd name="connsiteY56" fmla="*/ 506681 h 876898"/>
                <a:gd name="connsiteX57" fmla="*/ 950954 w 1008219"/>
                <a:gd name="connsiteY57" fmla="*/ 506621 h 876898"/>
                <a:gd name="connsiteX58" fmla="*/ 948745 w 1008219"/>
                <a:gd name="connsiteY58" fmla="*/ 503142 h 876898"/>
                <a:gd name="connsiteX59" fmla="*/ 947868 w 1008219"/>
                <a:gd name="connsiteY59" fmla="*/ 501055 h 876898"/>
                <a:gd name="connsiteX60" fmla="*/ 947536 w 1008219"/>
                <a:gd name="connsiteY60" fmla="*/ 498937 h 876898"/>
                <a:gd name="connsiteX61" fmla="*/ 948050 w 1008219"/>
                <a:gd name="connsiteY61" fmla="*/ 494913 h 876898"/>
                <a:gd name="connsiteX62" fmla="*/ 947929 w 1008219"/>
                <a:gd name="connsiteY62" fmla="*/ 493461 h 876898"/>
                <a:gd name="connsiteX63" fmla="*/ 946779 w 1008219"/>
                <a:gd name="connsiteY63" fmla="*/ 492312 h 876898"/>
                <a:gd name="connsiteX64" fmla="*/ 946779 w 1008219"/>
                <a:gd name="connsiteY64" fmla="*/ 491193 h 876898"/>
                <a:gd name="connsiteX65" fmla="*/ 947687 w 1008219"/>
                <a:gd name="connsiteY65" fmla="*/ 491102 h 876898"/>
                <a:gd name="connsiteX66" fmla="*/ 948292 w 1008219"/>
                <a:gd name="connsiteY66" fmla="*/ 490739 h 876898"/>
                <a:gd name="connsiteX67" fmla="*/ 949593 w 1008219"/>
                <a:gd name="connsiteY67" fmla="*/ 489287 h 876898"/>
                <a:gd name="connsiteX68" fmla="*/ 949079 w 1008219"/>
                <a:gd name="connsiteY68" fmla="*/ 488621 h 876898"/>
                <a:gd name="connsiteX69" fmla="*/ 948473 w 1008219"/>
                <a:gd name="connsiteY69" fmla="*/ 487593 h 876898"/>
                <a:gd name="connsiteX70" fmla="*/ 948141 w 1008219"/>
                <a:gd name="connsiteY70" fmla="*/ 486655 h 876898"/>
                <a:gd name="connsiteX71" fmla="*/ 948534 w 1008219"/>
                <a:gd name="connsiteY71" fmla="*/ 486231 h 876898"/>
                <a:gd name="connsiteX72" fmla="*/ 949472 w 1008219"/>
                <a:gd name="connsiteY72" fmla="*/ 485808 h 876898"/>
                <a:gd name="connsiteX73" fmla="*/ 949230 w 1008219"/>
                <a:gd name="connsiteY73" fmla="*/ 484900 h 876898"/>
                <a:gd name="connsiteX74" fmla="*/ 948564 w 1008219"/>
                <a:gd name="connsiteY74" fmla="*/ 483842 h 876898"/>
                <a:gd name="connsiteX75" fmla="*/ 948201 w 1008219"/>
                <a:gd name="connsiteY75" fmla="*/ 483085 h 876898"/>
                <a:gd name="connsiteX76" fmla="*/ 948776 w 1008219"/>
                <a:gd name="connsiteY76" fmla="*/ 479637 h 876898"/>
                <a:gd name="connsiteX77" fmla="*/ 949169 w 1008219"/>
                <a:gd name="connsiteY77" fmla="*/ 478033 h 876898"/>
                <a:gd name="connsiteX78" fmla="*/ 949593 w 1008219"/>
                <a:gd name="connsiteY78" fmla="*/ 476975 h 876898"/>
                <a:gd name="connsiteX79" fmla="*/ 951287 w 1008219"/>
                <a:gd name="connsiteY79" fmla="*/ 475159 h 876898"/>
                <a:gd name="connsiteX80" fmla="*/ 953404 w 1008219"/>
                <a:gd name="connsiteY80" fmla="*/ 473949 h 876898"/>
                <a:gd name="connsiteX81" fmla="*/ 955310 w 1008219"/>
                <a:gd name="connsiteY81" fmla="*/ 472195 h 876898"/>
                <a:gd name="connsiteX82" fmla="*/ 956460 w 1008219"/>
                <a:gd name="connsiteY82" fmla="*/ 468716 h 876898"/>
                <a:gd name="connsiteX83" fmla="*/ 954614 w 1008219"/>
                <a:gd name="connsiteY83" fmla="*/ 466417 h 876898"/>
                <a:gd name="connsiteX84" fmla="*/ 953041 w 1008219"/>
                <a:gd name="connsiteY84" fmla="*/ 463694 h 876898"/>
                <a:gd name="connsiteX85" fmla="*/ 954161 w 1008219"/>
                <a:gd name="connsiteY85" fmla="*/ 462484 h 876898"/>
                <a:gd name="connsiteX86" fmla="*/ 954554 w 1008219"/>
                <a:gd name="connsiteY86" fmla="*/ 459217 h 876898"/>
                <a:gd name="connsiteX87" fmla="*/ 955764 w 1008219"/>
                <a:gd name="connsiteY87" fmla="*/ 458612 h 876898"/>
                <a:gd name="connsiteX88" fmla="*/ 955734 w 1008219"/>
                <a:gd name="connsiteY88" fmla="*/ 457916 h 876898"/>
                <a:gd name="connsiteX89" fmla="*/ 955643 w 1008219"/>
                <a:gd name="connsiteY89" fmla="*/ 457735 h 876898"/>
                <a:gd name="connsiteX90" fmla="*/ 955462 w 1008219"/>
                <a:gd name="connsiteY90" fmla="*/ 457735 h 876898"/>
                <a:gd name="connsiteX91" fmla="*/ 955068 w 1008219"/>
                <a:gd name="connsiteY91" fmla="*/ 457583 h 876898"/>
                <a:gd name="connsiteX92" fmla="*/ 955734 w 1008219"/>
                <a:gd name="connsiteY92" fmla="*/ 455889 h 876898"/>
                <a:gd name="connsiteX93" fmla="*/ 955794 w 1008219"/>
                <a:gd name="connsiteY93" fmla="*/ 451049 h 876898"/>
                <a:gd name="connsiteX94" fmla="*/ 956460 w 1008219"/>
                <a:gd name="connsiteY94" fmla="*/ 448296 h 876898"/>
                <a:gd name="connsiteX95" fmla="*/ 958366 w 1008219"/>
                <a:gd name="connsiteY95" fmla="*/ 444121 h 876898"/>
                <a:gd name="connsiteX96" fmla="*/ 959697 w 1008219"/>
                <a:gd name="connsiteY96" fmla="*/ 442185 h 876898"/>
                <a:gd name="connsiteX97" fmla="*/ 961239 w 1008219"/>
                <a:gd name="connsiteY97" fmla="*/ 441127 h 876898"/>
                <a:gd name="connsiteX98" fmla="*/ 960090 w 1008219"/>
                <a:gd name="connsiteY98" fmla="*/ 438555 h 876898"/>
                <a:gd name="connsiteX99" fmla="*/ 958668 w 1008219"/>
                <a:gd name="connsiteY99" fmla="*/ 432868 h 876898"/>
                <a:gd name="connsiteX100" fmla="*/ 957851 w 1008219"/>
                <a:gd name="connsiteY100" fmla="*/ 431022 h 876898"/>
                <a:gd name="connsiteX101" fmla="*/ 957761 w 1008219"/>
                <a:gd name="connsiteY101" fmla="*/ 429268 h 876898"/>
                <a:gd name="connsiteX102" fmla="*/ 957337 w 1008219"/>
                <a:gd name="connsiteY102" fmla="*/ 427543 h 876898"/>
                <a:gd name="connsiteX103" fmla="*/ 956127 w 1008219"/>
                <a:gd name="connsiteY103" fmla="*/ 426757 h 876898"/>
                <a:gd name="connsiteX104" fmla="*/ 955159 w 1008219"/>
                <a:gd name="connsiteY104" fmla="*/ 426364 h 876898"/>
                <a:gd name="connsiteX105" fmla="*/ 954554 w 1008219"/>
                <a:gd name="connsiteY105" fmla="*/ 425426 h 876898"/>
                <a:gd name="connsiteX106" fmla="*/ 954039 w 1008219"/>
                <a:gd name="connsiteY106" fmla="*/ 424186 h 876898"/>
                <a:gd name="connsiteX107" fmla="*/ 953374 w 1008219"/>
                <a:gd name="connsiteY107" fmla="*/ 423036 h 876898"/>
                <a:gd name="connsiteX108" fmla="*/ 951498 w 1008219"/>
                <a:gd name="connsiteY108" fmla="*/ 421977 h 876898"/>
                <a:gd name="connsiteX109" fmla="*/ 946719 w 1008219"/>
                <a:gd name="connsiteY109" fmla="*/ 422129 h 876898"/>
                <a:gd name="connsiteX110" fmla="*/ 944752 w 1008219"/>
                <a:gd name="connsiteY110" fmla="*/ 421554 h 876898"/>
                <a:gd name="connsiteX111" fmla="*/ 941969 w 1008219"/>
                <a:gd name="connsiteY111" fmla="*/ 416411 h 876898"/>
                <a:gd name="connsiteX112" fmla="*/ 942393 w 1008219"/>
                <a:gd name="connsiteY112" fmla="*/ 415866 h 876898"/>
                <a:gd name="connsiteX113" fmla="*/ 942665 w 1008219"/>
                <a:gd name="connsiteY113" fmla="*/ 414051 h 876898"/>
                <a:gd name="connsiteX114" fmla="*/ 942272 w 1008219"/>
                <a:gd name="connsiteY114" fmla="*/ 412932 h 876898"/>
                <a:gd name="connsiteX115" fmla="*/ 940578 w 1008219"/>
                <a:gd name="connsiteY115" fmla="*/ 414445 h 876898"/>
                <a:gd name="connsiteX116" fmla="*/ 939912 w 1008219"/>
                <a:gd name="connsiteY116" fmla="*/ 413719 h 876898"/>
                <a:gd name="connsiteX117" fmla="*/ 938914 w 1008219"/>
                <a:gd name="connsiteY117" fmla="*/ 412962 h 876898"/>
                <a:gd name="connsiteX118" fmla="*/ 938521 w 1008219"/>
                <a:gd name="connsiteY118" fmla="*/ 412297 h 876898"/>
                <a:gd name="connsiteX119" fmla="*/ 937159 w 1008219"/>
                <a:gd name="connsiteY119" fmla="*/ 413840 h 876898"/>
                <a:gd name="connsiteX120" fmla="*/ 936191 w 1008219"/>
                <a:gd name="connsiteY120" fmla="*/ 413658 h 876898"/>
                <a:gd name="connsiteX121" fmla="*/ 935284 w 1008219"/>
                <a:gd name="connsiteY121" fmla="*/ 412781 h 876898"/>
                <a:gd name="connsiteX122" fmla="*/ 934013 w 1008219"/>
                <a:gd name="connsiteY122" fmla="*/ 412297 h 876898"/>
                <a:gd name="connsiteX123" fmla="*/ 932591 w 1008219"/>
                <a:gd name="connsiteY123" fmla="*/ 412781 h 876898"/>
                <a:gd name="connsiteX124" fmla="*/ 932289 w 1008219"/>
                <a:gd name="connsiteY124" fmla="*/ 412539 h 876898"/>
                <a:gd name="connsiteX125" fmla="*/ 933015 w 1008219"/>
                <a:gd name="connsiteY125" fmla="*/ 411147 h 876898"/>
                <a:gd name="connsiteX126" fmla="*/ 933015 w 1008219"/>
                <a:gd name="connsiteY126" fmla="*/ 410209 h 876898"/>
                <a:gd name="connsiteX127" fmla="*/ 930897 w 1008219"/>
                <a:gd name="connsiteY127" fmla="*/ 410028 h 876898"/>
                <a:gd name="connsiteX128" fmla="*/ 924665 w 1008219"/>
                <a:gd name="connsiteY128" fmla="*/ 407850 h 876898"/>
                <a:gd name="connsiteX129" fmla="*/ 923335 w 1008219"/>
                <a:gd name="connsiteY129" fmla="*/ 406610 h 876898"/>
                <a:gd name="connsiteX130" fmla="*/ 921792 w 1008219"/>
                <a:gd name="connsiteY130" fmla="*/ 407184 h 876898"/>
                <a:gd name="connsiteX131" fmla="*/ 914562 w 1008219"/>
                <a:gd name="connsiteY131" fmla="*/ 405369 h 876898"/>
                <a:gd name="connsiteX132" fmla="*/ 912293 w 1008219"/>
                <a:gd name="connsiteY132" fmla="*/ 404038 h 876898"/>
                <a:gd name="connsiteX133" fmla="*/ 913079 w 1008219"/>
                <a:gd name="connsiteY133" fmla="*/ 401346 h 876898"/>
                <a:gd name="connsiteX134" fmla="*/ 912777 w 1008219"/>
                <a:gd name="connsiteY134" fmla="*/ 399380 h 876898"/>
                <a:gd name="connsiteX135" fmla="*/ 911658 w 1008219"/>
                <a:gd name="connsiteY135" fmla="*/ 397897 h 876898"/>
                <a:gd name="connsiteX136" fmla="*/ 910901 w 1008219"/>
                <a:gd name="connsiteY136" fmla="*/ 397322 h 876898"/>
                <a:gd name="connsiteX137" fmla="*/ 910175 w 1008219"/>
                <a:gd name="connsiteY137" fmla="*/ 396748 h 876898"/>
                <a:gd name="connsiteX138" fmla="*/ 909872 w 1008219"/>
                <a:gd name="connsiteY138" fmla="*/ 396687 h 876898"/>
                <a:gd name="connsiteX139" fmla="*/ 914531 w 1008219"/>
                <a:gd name="connsiteY139" fmla="*/ 387884 h 876898"/>
                <a:gd name="connsiteX140" fmla="*/ 916377 w 1008219"/>
                <a:gd name="connsiteY140" fmla="*/ 385222 h 876898"/>
                <a:gd name="connsiteX141" fmla="*/ 920430 w 1008219"/>
                <a:gd name="connsiteY141" fmla="*/ 380684 h 876898"/>
                <a:gd name="connsiteX142" fmla="*/ 932682 w 1008219"/>
                <a:gd name="connsiteY142" fmla="*/ 363320 h 876898"/>
                <a:gd name="connsiteX143" fmla="*/ 941546 w 1008219"/>
                <a:gd name="connsiteY143" fmla="*/ 356543 h 876898"/>
                <a:gd name="connsiteX144" fmla="*/ 950440 w 1008219"/>
                <a:gd name="connsiteY144" fmla="*/ 351733 h 876898"/>
                <a:gd name="connsiteX145" fmla="*/ 967260 w 1008219"/>
                <a:gd name="connsiteY145" fmla="*/ 347317 h 876898"/>
                <a:gd name="connsiteX146" fmla="*/ 980631 w 1008219"/>
                <a:gd name="connsiteY146" fmla="*/ 338937 h 876898"/>
                <a:gd name="connsiteX147" fmla="*/ 984624 w 1008219"/>
                <a:gd name="connsiteY147" fmla="*/ 334399 h 876898"/>
                <a:gd name="connsiteX148" fmla="*/ 986015 w 1008219"/>
                <a:gd name="connsiteY148" fmla="*/ 327865 h 876898"/>
                <a:gd name="connsiteX149" fmla="*/ 985834 w 1008219"/>
                <a:gd name="connsiteY149" fmla="*/ 323297 h 876898"/>
                <a:gd name="connsiteX150" fmla="*/ 984987 w 1008219"/>
                <a:gd name="connsiteY150" fmla="*/ 304753 h 876898"/>
                <a:gd name="connsiteX151" fmla="*/ 984714 w 1008219"/>
                <a:gd name="connsiteY151" fmla="*/ 303573 h 876898"/>
                <a:gd name="connsiteX152" fmla="*/ 984321 w 1008219"/>
                <a:gd name="connsiteY152" fmla="*/ 302817 h 876898"/>
                <a:gd name="connsiteX153" fmla="*/ 983958 w 1008219"/>
                <a:gd name="connsiteY153" fmla="*/ 301879 h 876898"/>
                <a:gd name="connsiteX154" fmla="*/ 983868 w 1008219"/>
                <a:gd name="connsiteY154" fmla="*/ 300245 h 876898"/>
                <a:gd name="connsiteX155" fmla="*/ 984170 w 1008219"/>
                <a:gd name="connsiteY155" fmla="*/ 299035 h 876898"/>
                <a:gd name="connsiteX156" fmla="*/ 985259 w 1008219"/>
                <a:gd name="connsiteY156" fmla="*/ 296978 h 876898"/>
                <a:gd name="connsiteX157" fmla="*/ 985562 w 1008219"/>
                <a:gd name="connsiteY157" fmla="*/ 296010 h 876898"/>
                <a:gd name="connsiteX158" fmla="*/ 985531 w 1008219"/>
                <a:gd name="connsiteY158" fmla="*/ 294800 h 876898"/>
                <a:gd name="connsiteX159" fmla="*/ 984654 w 1008219"/>
                <a:gd name="connsiteY159" fmla="*/ 290535 h 876898"/>
                <a:gd name="connsiteX160" fmla="*/ 984654 w 1008219"/>
                <a:gd name="connsiteY160" fmla="*/ 289536 h 876898"/>
                <a:gd name="connsiteX161" fmla="*/ 984896 w 1008219"/>
                <a:gd name="connsiteY161" fmla="*/ 287691 h 876898"/>
                <a:gd name="connsiteX162" fmla="*/ 984745 w 1008219"/>
                <a:gd name="connsiteY162" fmla="*/ 286511 h 876898"/>
                <a:gd name="connsiteX163" fmla="*/ 983565 w 1008219"/>
                <a:gd name="connsiteY163" fmla="*/ 284242 h 876898"/>
                <a:gd name="connsiteX164" fmla="*/ 980540 w 1008219"/>
                <a:gd name="connsiteY164" fmla="*/ 280643 h 876898"/>
                <a:gd name="connsiteX165" fmla="*/ 979663 w 1008219"/>
                <a:gd name="connsiteY165" fmla="*/ 278041 h 876898"/>
                <a:gd name="connsiteX166" fmla="*/ 979814 w 1008219"/>
                <a:gd name="connsiteY166" fmla="*/ 275016 h 876898"/>
                <a:gd name="connsiteX167" fmla="*/ 980752 w 1008219"/>
                <a:gd name="connsiteY167" fmla="*/ 272898 h 876898"/>
                <a:gd name="connsiteX168" fmla="*/ 981992 w 1008219"/>
                <a:gd name="connsiteY168" fmla="*/ 271053 h 876898"/>
                <a:gd name="connsiteX169" fmla="*/ 982899 w 1008219"/>
                <a:gd name="connsiteY169" fmla="*/ 268844 h 876898"/>
                <a:gd name="connsiteX170" fmla="*/ 983111 w 1008219"/>
                <a:gd name="connsiteY170" fmla="*/ 265093 h 876898"/>
                <a:gd name="connsiteX171" fmla="*/ 982052 w 1008219"/>
                <a:gd name="connsiteY171" fmla="*/ 263248 h 876898"/>
                <a:gd name="connsiteX172" fmla="*/ 980358 w 1008219"/>
                <a:gd name="connsiteY172" fmla="*/ 262008 h 876898"/>
                <a:gd name="connsiteX173" fmla="*/ 978543 w 1008219"/>
                <a:gd name="connsiteY173" fmla="*/ 260193 h 876898"/>
                <a:gd name="connsiteX174" fmla="*/ 977333 w 1008219"/>
                <a:gd name="connsiteY174" fmla="*/ 257803 h 876898"/>
                <a:gd name="connsiteX175" fmla="*/ 976547 w 1008219"/>
                <a:gd name="connsiteY175" fmla="*/ 255564 h 876898"/>
                <a:gd name="connsiteX176" fmla="*/ 975579 w 1008219"/>
                <a:gd name="connsiteY176" fmla="*/ 253386 h 876898"/>
                <a:gd name="connsiteX177" fmla="*/ 973763 w 1008219"/>
                <a:gd name="connsiteY177" fmla="*/ 251147 h 876898"/>
                <a:gd name="connsiteX178" fmla="*/ 971979 w 1008219"/>
                <a:gd name="connsiteY178" fmla="*/ 246761 h 876898"/>
                <a:gd name="connsiteX179" fmla="*/ 967955 w 1008219"/>
                <a:gd name="connsiteY179" fmla="*/ 232119 h 876898"/>
                <a:gd name="connsiteX180" fmla="*/ 965928 w 1008219"/>
                <a:gd name="connsiteY180" fmla="*/ 227218 h 876898"/>
                <a:gd name="connsiteX181" fmla="*/ 961209 w 1008219"/>
                <a:gd name="connsiteY181" fmla="*/ 218143 h 876898"/>
                <a:gd name="connsiteX182" fmla="*/ 952648 w 1008219"/>
                <a:gd name="connsiteY182" fmla="*/ 193972 h 876898"/>
                <a:gd name="connsiteX183" fmla="*/ 950258 w 1008219"/>
                <a:gd name="connsiteY183" fmla="*/ 183082 h 876898"/>
                <a:gd name="connsiteX184" fmla="*/ 950016 w 1008219"/>
                <a:gd name="connsiteY184" fmla="*/ 173522 h 876898"/>
                <a:gd name="connsiteX185" fmla="*/ 950016 w 1008219"/>
                <a:gd name="connsiteY185" fmla="*/ 173522 h 876898"/>
                <a:gd name="connsiteX186" fmla="*/ 950016 w 1008219"/>
                <a:gd name="connsiteY186" fmla="*/ 173492 h 876898"/>
                <a:gd name="connsiteX187" fmla="*/ 947566 w 1008219"/>
                <a:gd name="connsiteY187" fmla="*/ 170195 h 876898"/>
                <a:gd name="connsiteX188" fmla="*/ 946507 w 1008219"/>
                <a:gd name="connsiteY188" fmla="*/ 166988 h 876898"/>
                <a:gd name="connsiteX189" fmla="*/ 945569 w 1008219"/>
                <a:gd name="connsiteY189" fmla="*/ 158669 h 876898"/>
                <a:gd name="connsiteX190" fmla="*/ 944571 w 1008219"/>
                <a:gd name="connsiteY190" fmla="*/ 154706 h 876898"/>
                <a:gd name="connsiteX191" fmla="*/ 943240 w 1008219"/>
                <a:gd name="connsiteY191" fmla="*/ 151106 h 876898"/>
                <a:gd name="connsiteX192" fmla="*/ 942181 w 1008219"/>
                <a:gd name="connsiteY192" fmla="*/ 147264 h 876898"/>
                <a:gd name="connsiteX193" fmla="*/ 942060 w 1008219"/>
                <a:gd name="connsiteY193" fmla="*/ 142666 h 876898"/>
                <a:gd name="connsiteX194" fmla="*/ 942484 w 1008219"/>
                <a:gd name="connsiteY194" fmla="*/ 141758 h 876898"/>
                <a:gd name="connsiteX195" fmla="*/ 942544 w 1008219"/>
                <a:gd name="connsiteY195" fmla="*/ 140911 h 876898"/>
                <a:gd name="connsiteX196" fmla="*/ 942242 w 1008219"/>
                <a:gd name="connsiteY196" fmla="*/ 140125 h 876898"/>
                <a:gd name="connsiteX197" fmla="*/ 941667 w 1008219"/>
                <a:gd name="connsiteY197" fmla="*/ 139398 h 876898"/>
                <a:gd name="connsiteX198" fmla="*/ 940578 w 1008219"/>
                <a:gd name="connsiteY198" fmla="*/ 138582 h 876898"/>
                <a:gd name="connsiteX199" fmla="*/ 939761 w 1008219"/>
                <a:gd name="connsiteY199" fmla="*/ 137463 h 876898"/>
                <a:gd name="connsiteX200" fmla="*/ 939337 w 1008219"/>
                <a:gd name="connsiteY200" fmla="*/ 136041 h 876898"/>
                <a:gd name="connsiteX201" fmla="*/ 939428 w 1008219"/>
                <a:gd name="connsiteY201" fmla="*/ 134347 h 876898"/>
                <a:gd name="connsiteX202" fmla="*/ 939882 w 1008219"/>
                <a:gd name="connsiteY202" fmla="*/ 133651 h 876898"/>
                <a:gd name="connsiteX203" fmla="*/ 940426 w 1008219"/>
                <a:gd name="connsiteY203" fmla="*/ 133015 h 876898"/>
                <a:gd name="connsiteX204" fmla="*/ 941667 w 1008219"/>
                <a:gd name="connsiteY204" fmla="*/ 132108 h 876898"/>
                <a:gd name="connsiteX205" fmla="*/ 943149 w 1008219"/>
                <a:gd name="connsiteY205" fmla="*/ 129688 h 876898"/>
                <a:gd name="connsiteX206" fmla="*/ 943119 w 1008219"/>
                <a:gd name="connsiteY206" fmla="*/ 126149 h 876898"/>
                <a:gd name="connsiteX207" fmla="*/ 941667 w 1008219"/>
                <a:gd name="connsiteY207" fmla="*/ 118797 h 876898"/>
                <a:gd name="connsiteX208" fmla="*/ 940880 w 1008219"/>
                <a:gd name="connsiteY208" fmla="*/ 115409 h 876898"/>
                <a:gd name="connsiteX209" fmla="*/ 939791 w 1008219"/>
                <a:gd name="connsiteY209" fmla="*/ 111900 h 876898"/>
                <a:gd name="connsiteX210" fmla="*/ 938369 w 1008219"/>
                <a:gd name="connsiteY210" fmla="*/ 108754 h 876898"/>
                <a:gd name="connsiteX211" fmla="*/ 936736 w 1008219"/>
                <a:gd name="connsiteY211" fmla="*/ 106455 h 876898"/>
                <a:gd name="connsiteX212" fmla="*/ 935768 w 1008219"/>
                <a:gd name="connsiteY212" fmla="*/ 105971 h 876898"/>
                <a:gd name="connsiteX213" fmla="*/ 933620 w 1008219"/>
                <a:gd name="connsiteY213" fmla="*/ 105426 h 876898"/>
                <a:gd name="connsiteX214" fmla="*/ 932591 w 1008219"/>
                <a:gd name="connsiteY214" fmla="*/ 104761 h 876898"/>
                <a:gd name="connsiteX215" fmla="*/ 931654 w 1008219"/>
                <a:gd name="connsiteY215" fmla="*/ 103551 h 876898"/>
                <a:gd name="connsiteX216" fmla="*/ 929838 w 1008219"/>
                <a:gd name="connsiteY216" fmla="*/ 100314 h 876898"/>
                <a:gd name="connsiteX217" fmla="*/ 928870 w 1008219"/>
                <a:gd name="connsiteY217" fmla="*/ 98922 h 876898"/>
                <a:gd name="connsiteX218" fmla="*/ 926995 w 1008219"/>
                <a:gd name="connsiteY218" fmla="*/ 97470 h 876898"/>
                <a:gd name="connsiteX219" fmla="*/ 924998 w 1008219"/>
                <a:gd name="connsiteY219" fmla="*/ 95897 h 876898"/>
                <a:gd name="connsiteX220" fmla="*/ 916891 w 1008219"/>
                <a:gd name="connsiteY220" fmla="*/ 93053 h 876898"/>
                <a:gd name="connsiteX221" fmla="*/ 913019 w 1008219"/>
                <a:gd name="connsiteY221" fmla="*/ 90906 h 876898"/>
                <a:gd name="connsiteX222" fmla="*/ 906787 w 1008219"/>
                <a:gd name="connsiteY222" fmla="*/ 86095 h 876898"/>
                <a:gd name="connsiteX223" fmla="*/ 904972 w 1008219"/>
                <a:gd name="connsiteY223" fmla="*/ 85249 h 876898"/>
                <a:gd name="connsiteX224" fmla="*/ 902945 w 1008219"/>
                <a:gd name="connsiteY224" fmla="*/ 85672 h 876898"/>
                <a:gd name="connsiteX225" fmla="*/ 900555 w 1008219"/>
                <a:gd name="connsiteY225" fmla="*/ 86610 h 876898"/>
                <a:gd name="connsiteX226" fmla="*/ 898226 w 1008219"/>
                <a:gd name="connsiteY226" fmla="*/ 86640 h 876898"/>
                <a:gd name="connsiteX227" fmla="*/ 896441 w 1008219"/>
                <a:gd name="connsiteY227" fmla="*/ 84280 h 876898"/>
                <a:gd name="connsiteX228" fmla="*/ 896441 w 1008219"/>
                <a:gd name="connsiteY228" fmla="*/ 82617 h 876898"/>
                <a:gd name="connsiteX229" fmla="*/ 897016 w 1008219"/>
                <a:gd name="connsiteY229" fmla="*/ 80832 h 876898"/>
                <a:gd name="connsiteX230" fmla="*/ 897379 w 1008219"/>
                <a:gd name="connsiteY230" fmla="*/ 79319 h 876898"/>
                <a:gd name="connsiteX231" fmla="*/ 896743 w 1008219"/>
                <a:gd name="connsiteY231" fmla="*/ 78442 h 876898"/>
                <a:gd name="connsiteX232" fmla="*/ 893295 w 1008219"/>
                <a:gd name="connsiteY232" fmla="*/ 78079 h 876898"/>
                <a:gd name="connsiteX233" fmla="*/ 892175 w 1008219"/>
                <a:gd name="connsiteY233" fmla="*/ 77353 h 876898"/>
                <a:gd name="connsiteX234" fmla="*/ 891510 w 1008219"/>
                <a:gd name="connsiteY234" fmla="*/ 76324 h 876898"/>
                <a:gd name="connsiteX235" fmla="*/ 891086 w 1008219"/>
                <a:gd name="connsiteY235" fmla="*/ 75084 h 876898"/>
                <a:gd name="connsiteX236" fmla="*/ 890511 w 1008219"/>
                <a:gd name="connsiteY236" fmla="*/ 73874 h 876898"/>
                <a:gd name="connsiteX237" fmla="*/ 889453 w 1008219"/>
                <a:gd name="connsiteY237" fmla="*/ 72845 h 876898"/>
                <a:gd name="connsiteX238" fmla="*/ 888394 w 1008219"/>
                <a:gd name="connsiteY238" fmla="*/ 72634 h 876898"/>
                <a:gd name="connsiteX239" fmla="*/ 886125 w 1008219"/>
                <a:gd name="connsiteY239" fmla="*/ 73088 h 876898"/>
                <a:gd name="connsiteX240" fmla="*/ 885036 w 1008219"/>
                <a:gd name="connsiteY240" fmla="*/ 72936 h 876898"/>
                <a:gd name="connsiteX241" fmla="*/ 878986 w 1008219"/>
                <a:gd name="connsiteY241" fmla="*/ 70062 h 876898"/>
                <a:gd name="connsiteX242" fmla="*/ 876838 w 1008219"/>
                <a:gd name="connsiteY242" fmla="*/ 69790 h 876898"/>
                <a:gd name="connsiteX243" fmla="*/ 874357 w 1008219"/>
                <a:gd name="connsiteY243" fmla="*/ 70879 h 876898"/>
                <a:gd name="connsiteX244" fmla="*/ 874206 w 1008219"/>
                <a:gd name="connsiteY244" fmla="*/ 71121 h 876898"/>
                <a:gd name="connsiteX245" fmla="*/ 871665 w 1008219"/>
                <a:gd name="connsiteY245" fmla="*/ 75478 h 876898"/>
                <a:gd name="connsiteX246" fmla="*/ 869759 w 1008219"/>
                <a:gd name="connsiteY246" fmla="*/ 76899 h 876898"/>
                <a:gd name="connsiteX247" fmla="*/ 862832 w 1008219"/>
                <a:gd name="connsiteY247" fmla="*/ 79017 h 876898"/>
                <a:gd name="connsiteX248" fmla="*/ 843925 w 1008219"/>
                <a:gd name="connsiteY248" fmla="*/ 78079 h 876898"/>
                <a:gd name="connsiteX249" fmla="*/ 820449 w 1008219"/>
                <a:gd name="connsiteY249" fmla="*/ 76899 h 876898"/>
                <a:gd name="connsiteX250" fmla="*/ 764454 w 1008219"/>
                <a:gd name="connsiteY250" fmla="*/ 74177 h 876898"/>
                <a:gd name="connsiteX251" fmla="*/ 720862 w 1008219"/>
                <a:gd name="connsiteY251" fmla="*/ 72059 h 876898"/>
                <a:gd name="connsiteX252" fmla="*/ 684862 w 1008219"/>
                <a:gd name="connsiteY252" fmla="*/ 70304 h 876898"/>
                <a:gd name="connsiteX253" fmla="*/ 626749 w 1008219"/>
                <a:gd name="connsiteY253" fmla="*/ 67461 h 876898"/>
                <a:gd name="connsiteX254" fmla="*/ 587755 w 1008219"/>
                <a:gd name="connsiteY254" fmla="*/ 65525 h 876898"/>
                <a:gd name="connsiteX255" fmla="*/ 566973 w 1008219"/>
                <a:gd name="connsiteY255" fmla="*/ 64526 h 876898"/>
                <a:gd name="connsiteX256" fmla="*/ 559137 w 1008219"/>
                <a:gd name="connsiteY256" fmla="*/ 64133 h 876898"/>
                <a:gd name="connsiteX257" fmla="*/ 554146 w 1008219"/>
                <a:gd name="connsiteY257" fmla="*/ 62560 h 876898"/>
                <a:gd name="connsiteX258" fmla="*/ 551998 w 1008219"/>
                <a:gd name="connsiteY258" fmla="*/ 60957 h 876898"/>
                <a:gd name="connsiteX259" fmla="*/ 550304 w 1008219"/>
                <a:gd name="connsiteY259" fmla="*/ 61622 h 876898"/>
                <a:gd name="connsiteX260" fmla="*/ 544103 w 1008219"/>
                <a:gd name="connsiteY260" fmla="*/ 67582 h 876898"/>
                <a:gd name="connsiteX261" fmla="*/ 540926 w 1008219"/>
                <a:gd name="connsiteY261" fmla="*/ 68943 h 876898"/>
                <a:gd name="connsiteX262" fmla="*/ 536963 w 1008219"/>
                <a:gd name="connsiteY262" fmla="*/ 69790 h 876898"/>
                <a:gd name="connsiteX263" fmla="*/ 528614 w 1008219"/>
                <a:gd name="connsiteY263" fmla="*/ 73511 h 876898"/>
                <a:gd name="connsiteX264" fmla="*/ 490890 w 1008219"/>
                <a:gd name="connsiteY264" fmla="*/ 78684 h 876898"/>
                <a:gd name="connsiteX265" fmla="*/ 488137 w 1008219"/>
                <a:gd name="connsiteY265" fmla="*/ 77928 h 876898"/>
                <a:gd name="connsiteX266" fmla="*/ 486927 w 1008219"/>
                <a:gd name="connsiteY266" fmla="*/ 77323 h 876898"/>
                <a:gd name="connsiteX267" fmla="*/ 486080 w 1008219"/>
                <a:gd name="connsiteY267" fmla="*/ 76536 h 876898"/>
                <a:gd name="connsiteX268" fmla="*/ 482964 w 1008219"/>
                <a:gd name="connsiteY268" fmla="*/ 78109 h 876898"/>
                <a:gd name="connsiteX269" fmla="*/ 479183 w 1008219"/>
                <a:gd name="connsiteY269" fmla="*/ 77867 h 876898"/>
                <a:gd name="connsiteX270" fmla="*/ 462242 w 1008219"/>
                <a:gd name="connsiteY270" fmla="*/ 72815 h 876898"/>
                <a:gd name="connsiteX271" fmla="*/ 460518 w 1008219"/>
                <a:gd name="connsiteY271" fmla="*/ 70607 h 876898"/>
                <a:gd name="connsiteX272" fmla="*/ 459913 w 1008219"/>
                <a:gd name="connsiteY272" fmla="*/ 69246 h 876898"/>
                <a:gd name="connsiteX273" fmla="*/ 458461 w 1008219"/>
                <a:gd name="connsiteY273" fmla="*/ 68368 h 876898"/>
                <a:gd name="connsiteX274" fmla="*/ 456797 w 1008219"/>
                <a:gd name="connsiteY274" fmla="*/ 67884 h 876898"/>
                <a:gd name="connsiteX275" fmla="*/ 455435 w 1008219"/>
                <a:gd name="connsiteY275" fmla="*/ 67763 h 876898"/>
                <a:gd name="connsiteX276" fmla="*/ 453893 w 1008219"/>
                <a:gd name="connsiteY276" fmla="*/ 67249 h 876898"/>
                <a:gd name="connsiteX277" fmla="*/ 450807 w 1008219"/>
                <a:gd name="connsiteY277" fmla="*/ 65101 h 876898"/>
                <a:gd name="connsiteX278" fmla="*/ 449234 w 1008219"/>
                <a:gd name="connsiteY278" fmla="*/ 64617 h 876898"/>
                <a:gd name="connsiteX279" fmla="*/ 447812 w 1008219"/>
                <a:gd name="connsiteY279" fmla="*/ 61955 h 876898"/>
                <a:gd name="connsiteX280" fmla="*/ 447147 w 1008219"/>
                <a:gd name="connsiteY280" fmla="*/ 55995 h 876898"/>
                <a:gd name="connsiteX281" fmla="*/ 447086 w 1008219"/>
                <a:gd name="connsiteY281" fmla="*/ 49703 h 876898"/>
                <a:gd name="connsiteX282" fmla="*/ 447479 w 1008219"/>
                <a:gd name="connsiteY282" fmla="*/ 46043 h 876898"/>
                <a:gd name="connsiteX283" fmla="*/ 446693 w 1008219"/>
                <a:gd name="connsiteY283" fmla="*/ 44500 h 876898"/>
                <a:gd name="connsiteX284" fmla="*/ 444152 w 1008219"/>
                <a:gd name="connsiteY284" fmla="*/ 37270 h 876898"/>
                <a:gd name="connsiteX285" fmla="*/ 442881 w 1008219"/>
                <a:gd name="connsiteY285" fmla="*/ 35485 h 876898"/>
                <a:gd name="connsiteX286" fmla="*/ 442064 w 1008219"/>
                <a:gd name="connsiteY286" fmla="*/ 33367 h 876898"/>
                <a:gd name="connsiteX287" fmla="*/ 442669 w 1008219"/>
                <a:gd name="connsiteY287" fmla="*/ 30705 h 876898"/>
                <a:gd name="connsiteX288" fmla="*/ 441005 w 1008219"/>
                <a:gd name="connsiteY288" fmla="*/ 32702 h 876898"/>
                <a:gd name="connsiteX289" fmla="*/ 439100 w 1008219"/>
                <a:gd name="connsiteY289" fmla="*/ 33065 h 876898"/>
                <a:gd name="connsiteX290" fmla="*/ 437920 w 1008219"/>
                <a:gd name="connsiteY290" fmla="*/ 31734 h 876898"/>
                <a:gd name="connsiteX291" fmla="*/ 438555 w 1008219"/>
                <a:gd name="connsiteY291" fmla="*/ 28618 h 876898"/>
                <a:gd name="connsiteX292" fmla="*/ 437375 w 1008219"/>
                <a:gd name="connsiteY292" fmla="*/ 27468 h 876898"/>
                <a:gd name="connsiteX293" fmla="*/ 437345 w 1008219"/>
                <a:gd name="connsiteY293" fmla="*/ 26440 h 876898"/>
                <a:gd name="connsiteX294" fmla="*/ 437738 w 1008219"/>
                <a:gd name="connsiteY294" fmla="*/ 25351 h 876898"/>
                <a:gd name="connsiteX295" fmla="*/ 437799 w 1008219"/>
                <a:gd name="connsiteY295" fmla="*/ 24141 h 876898"/>
                <a:gd name="connsiteX296" fmla="*/ 436317 w 1008219"/>
                <a:gd name="connsiteY296" fmla="*/ 21176 h 876898"/>
                <a:gd name="connsiteX297" fmla="*/ 435107 w 1008219"/>
                <a:gd name="connsiteY297" fmla="*/ 19240 h 876898"/>
                <a:gd name="connsiteX298" fmla="*/ 434562 w 1008219"/>
                <a:gd name="connsiteY298" fmla="*/ 18635 h 876898"/>
                <a:gd name="connsiteX299" fmla="*/ 432142 w 1008219"/>
                <a:gd name="connsiteY299" fmla="*/ 17636 h 876898"/>
                <a:gd name="connsiteX300" fmla="*/ 431597 w 1008219"/>
                <a:gd name="connsiteY300" fmla="*/ 17062 h 876898"/>
                <a:gd name="connsiteX301" fmla="*/ 431597 w 1008219"/>
                <a:gd name="connsiteY301" fmla="*/ 14702 h 876898"/>
                <a:gd name="connsiteX302" fmla="*/ 431809 w 1008219"/>
                <a:gd name="connsiteY302" fmla="*/ 13674 h 876898"/>
                <a:gd name="connsiteX303" fmla="*/ 433231 w 1008219"/>
                <a:gd name="connsiteY303" fmla="*/ 9075 h 876898"/>
                <a:gd name="connsiteX304" fmla="*/ 433866 w 1008219"/>
                <a:gd name="connsiteY304" fmla="*/ 8259 h 876898"/>
                <a:gd name="connsiteX305" fmla="*/ 435107 w 1008219"/>
                <a:gd name="connsiteY305" fmla="*/ 7745 h 876898"/>
                <a:gd name="connsiteX306" fmla="*/ 435954 w 1008219"/>
                <a:gd name="connsiteY306" fmla="*/ 8138 h 876898"/>
                <a:gd name="connsiteX307" fmla="*/ 439221 w 1008219"/>
                <a:gd name="connsiteY307" fmla="*/ 10437 h 876898"/>
                <a:gd name="connsiteX308" fmla="*/ 440189 w 1008219"/>
                <a:gd name="connsiteY308" fmla="*/ 11707 h 876898"/>
                <a:gd name="connsiteX309" fmla="*/ 446088 w 1008219"/>
                <a:gd name="connsiteY309" fmla="*/ 14309 h 876898"/>
                <a:gd name="connsiteX310" fmla="*/ 452108 w 1008219"/>
                <a:gd name="connsiteY310" fmla="*/ 18121 h 876898"/>
                <a:gd name="connsiteX311" fmla="*/ 454951 w 1008219"/>
                <a:gd name="connsiteY311" fmla="*/ 19028 h 876898"/>
                <a:gd name="connsiteX312" fmla="*/ 455920 w 1008219"/>
                <a:gd name="connsiteY312" fmla="*/ 20541 h 876898"/>
                <a:gd name="connsiteX313" fmla="*/ 456797 w 1008219"/>
                <a:gd name="connsiteY313" fmla="*/ 20874 h 876898"/>
                <a:gd name="connsiteX314" fmla="*/ 460336 w 1008219"/>
                <a:gd name="connsiteY314" fmla="*/ 21569 h 876898"/>
                <a:gd name="connsiteX315" fmla="*/ 461274 w 1008219"/>
                <a:gd name="connsiteY315" fmla="*/ 21963 h 876898"/>
                <a:gd name="connsiteX316" fmla="*/ 466054 w 1008219"/>
                <a:gd name="connsiteY316" fmla="*/ 29435 h 876898"/>
                <a:gd name="connsiteX317" fmla="*/ 467718 w 1008219"/>
                <a:gd name="connsiteY317" fmla="*/ 31371 h 876898"/>
                <a:gd name="connsiteX318" fmla="*/ 468958 w 1008219"/>
                <a:gd name="connsiteY318" fmla="*/ 34366 h 876898"/>
                <a:gd name="connsiteX319" fmla="*/ 470773 w 1008219"/>
                <a:gd name="connsiteY319" fmla="*/ 35576 h 876898"/>
                <a:gd name="connsiteX320" fmla="*/ 471378 w 1008219"/>
                <a:gd name="connsiteY320" fmla="*/ 36725 h 876898"/>
                <a:gd name="connsiteX321" fmla="*/ 471892 w 1008219"/>
                <a:gd name="connsiteY321" fmla="*/ 37875 h 876898"/>
                <a:gd name="connsiteX322" fmla="*/ 472316 w 1008219"/>
                <a:gd name="connsiteY322" fmla="*/ 38420 h 876898"/>
                <a:gd name="connsiteX323" fmla="*/ 474101 w 1008219"/>
                <a:gd name="connsiteY323" fmla="*/ 37633 h 876898"/>
                <a:gd name="connsiteX324" fmla="*/ 474010 w 1008219"/>
                <a:gd name="connsiteY324" fmla="*/ 35485 h 876898"/>
                <a:gd name="connsiteX325" fmla="*/ 472981 w 1008219"/>
                <a:gd name="connsiteY325" fmla="*/ 33004 h 876898"/>
                <a:gd name="connsiteX326" fmla="*/ 471953 w 1008219"/>
                <a:gd name="connsiteY326" fmla="*/ 31250 h 876898"/>
                <a:gd name="connsiteX327" fmla="*/ 465691 w 1008219"/>
                <a:gd name="connsiteY327" fmla="*/ 23747 h 876898"/>
                <a:gd name="connsiteX328" fmla="*/ 431325 w 1008219"/>
                <a:gd name="connsiteY328" fmla="*/ 4810 h 876898"/>
                <a:gd name="connsiteX329" fmla="*/ 429207 w 1008219"/>
                <a:gd name="connsiteY329" fmla="*/ 4356 h 876898"/>
                <a:gd name="connsiteX330" fmla="*/ 427876 w 1008219"/>
                <a:gd name="connsiteY330" fmla="*/ 3721 h 876898"/>
                <a:gd name="connsiteX331" fmla="*/ 424216 w 1008219"/>
                <a:gd name="connsiteY331" fmla="*/ 787 h 876898"/>
                <a:gd name="connsiteX332" fmla="*/ 421947 w 1008219"/>
                <a:gd name="connsiteY332" fmla="*/ 0 h 876898"/>
                <a:gd name="connsiteX333" fmla="*/ 405369 w 1008219"/>
                <a:gd name="connsiteY333" fmla="*/ 0 h 876898"/>
                <a:gd name="connsiteX334" fmla="*/ 378506 w 1008219"/>
                <a:gd name="connsiteY334" fmla="*/ 2269 h 876898"/>
                <a:gd name="connsiteX335" fmla="*/ 361444 w 1008219"/>
                <a:gd name="connsiteY335" fmla="*/ 7684 h 876898"/>
                <a:gd name="connsiteX336" fmla="*/ 323358 w 1008219"/>
                <a:gd name="connsiteY336" fmla="*/ 14309 h 876898"/>
                <a:gd name="connsiteX337" fmla="*/ 293016 w 1008219"/>
                <a:gd name="connsiteY337" fmla="*/ 27438 h 876898"/>
                <a:gd name="connsiteX338" fmla="*/ 283365 w 1008219"/>
                <a:gd name="connsiteY338" fmla="*/ 37179 h 876898"/>
                <a:gd name="connsiteX339" fmla="*/ 279584 w 1008219"/>
                <a:gd name="connsiteY339" fmla="*/ 38420 h 876898"/>
                <a:gd name="connsiteX340" fmla="*/ 275288 w 1008219"/>
                <a:gd name="connsiteY340" fmla="*/ 39085 h 876898"/>
                <a:gd name="connsiteX341" fmla="*/ 267120 w 1008219"/>
                <a:gd name="connsiteY341" fmla="*/ 42110 h 876898"/>
                <a:gd name="connsiteX342" fmla="*/ 246126 w 1008219"/>
                <a:gd name="connsiteY342" fmla="*/ 44954 h 876898"/>
                <a:gd name="connsiteX343" fmla="*/ 239229 w 1008219"/>
                <a:gd name="connsiteY343" fmla="*/ 48886 h 876898"/>
                <a:gd name="connsiteX344" fmla="*/ 235750 w 1008219"/>
                <a:gd name="connsiteY344" fmla="*/ 52123 h 876898"/>
                <a:gd name="connsiteX345" fmla="*/ 233662 w 1008219"/>
                <a:gd name="connsiteY345" fmla="*/ 55935 h 876898"/>
                <a:gd name="connsiteX346" fmla="*/ 235175 w 1008219"/>
                <a:gd name="connsiteY346" fmla="*/ 54634 h 876898"/>
                <a:gd name="connsiteX347" fmla="*/ 236476 w 1008219"/>
                <a:gd name="connsiteY347" fmla="*/ 54120 h 876898"/>
                <a:gd name="connsiteX348" fmla="*/ 237080 w 1008219"/>
                <a:gd name="connsiteY348" fmla="*/ 54785 h 876898"/>
                <a:gd name="connsiteX349" fmla="*/ 236415 w 1008219"/>
                <a:gd name="connsiteY349" fmla="*/ 56903 h 876898"/>
                <a:gd name="connsiteX350" fmla="*/ 235145 w 1008219"/>
                <a:gd name="connsiteY350" fmla="*/ 58264 h 876898"/>
                <a:gd name="connsiteX351" fmla="*/ 233511 w 1008219"/>
                <a:gd name="connsiteY351" fmla="*/ 58839 h 876898"/>
                <a:gd name="connsiteX352" fmla="*/ 232483 w 1008219"/>
                <a:gd name="connsiteY352" fmla="*/ 58476 h 876898"/>
                <a:gd name="connsiteX353" fmla="*/ 233057 w 1008219"/>
                <a:gd name="connsiteY353" fmla="*/ 56903 h 876898"/>
                <a:gd name="connsiteX354" fmla="*/ 233057 w 1008219"/>
                <a:gd name="connsiteY354" fmla="*/ 55935 h 876898"/>
                <a:gd name="connsiteX355" fmla="*/ 221380 w 1008219"/>
                <a:gd name="connsiteY355" fmla="*/ 69730 h 876898"/>
                <a:gd name="connsiteX356" fmla="*/ 217115 w 1008219"/>
                <a:gd name="connsiteY356" fmla="*/ 76536 h 876898"/>
                <a:gd name="connsiteX357" fmla="*/ 218597 w 1008219"/>
                <a:gd name="connsiteY357" fmla="*/ 75144 h 876898"/>
                <a:gd name="connsiteX358" fmla="*/ 219474 w 1008219"/>
                <a:gd name="connsiteY358" fmla="*/ 74177 h 876898"/>
                <a:gd name="connsiteX359" fmla="*/ 221471 w 1008219"/>
                <a:gd name="connsiteY359" fmla="*/ 74207 h 876898"/>
                <a:gd name="connsiteX360" fmla="*/ 222681 w 1008219"/>
                <a:gd name="connsiteY360" fmla="*/ 76536 h 876898"/>
                <a:gd name="connsiteX361" fmla="*/ 221380 w 1008219"/>
                <a:gd name="connsiteY361" fmla="*/ 77897 h 876898"/>
                <a:gd name="connsiteX362" fmla="*/ 217841 w 1008219"/>
                <a:gd name="connsiteY362" fmla="*/ 79440 h 876898"/>
                <a:gd name="connsiteX363" fmla="*/ 216449 w 1008219"/>
                <a:gd name="connsiteY363" fmla="*/ 80983 h 876898"/>
                <a:gd name="connsiteX364" fmla="*/ 214846 w 1008219"/>
                <a:gd name="connsiteY364" fmla="*/ 81588 h 876898"/>
                <a:gd name="connsiteX365" fmla="*/ 213031 w 1008219"/>
                <a:gd name="connsiteY365" fmla="*/ 81921 h 876898"/>
                <a:gd name="connsiteX366" fmla="*/ 212093 w 1008219"/>
                <a:gd name="connsiteY366" fmla="*/ 82224 h 876898"/>
                <a:gd name="connsiteX367" fmla="*/ 213000 w 1008219"/>
                <a:gd name="connsiteY367" fmla="*/ 81044 h 876898"/>
                <a:gd name="connsiteX368" fmla="*/ 215239 w 1008219"/>
                <a:gd name="connsiteY368" fmla="*/ 78896 h 876898"/>
                <a:gd name="connsiteX369" fmla="*/ 216510 w 1008219"/>
                <a:gd name="connsiteY369" fmla="*/ 76536 h 876898"/>
                <a:gd name="connsiteX370" fmla="*/ 210278 w 1008219"/>
                <a:gd name="connsiteY370" fmla="*/ 83252 h 876898"/>
                <a:gd name="connsiteX371" fmla="*/ 206103 w 1008219"/>
                <a:gd name="connsiteY371" fmla="*/ 85763 h 876898"/>
                <a:gd name="connsiteX372" fmla="*/ 202655 w 1008219"/>
                <a:gd name="connsiteY372" fmla="*/ 87336 h 876898"/>
                <a:gd name="connsiteX373" fmla="*/ 208130 w 1008219"/>
                <a:gd name="connsiteY373" fmla="*/ 85763 h 876898"/>
                <a:gd name="connsiteX374" fmla="*/ 210459 w 1008219"/>
                <a:gd name="connsiteY374" fmla="*/ 85854 h 876898"/>
                <a:gd name="connsiteX375" fmla="*/ 210247 w 1008219"/>
                <a:gd name="connsiteY375" fmla="*/ 88425 h 876898"/>
                <a:gd name="connsiteX376" fmla="*/ 210581 w 1008219"/>
                <a:gd name="connsiteY376" fmla="*/ 88667 h 876898"/>
                <a:gd name="connsiteX377" fmla="*/ 210762 w 1008219"/>
                <a:gd name="connsiteY377" fmla="*/ 88607 h 876898"/>
                <a:gd name="connsiteX378" fmla="*/ 210883 w 1008219"/>
                <a:gd name="connsiteY378" fmla="*/ 88758 h 876898"/>
                <a:gd name="connsiteX379" fmla="*/ 210913 w 1008219"/>
                <a:gd name="connsiteY379" fmla="*/ 89514 h 876898"/>
                <a:gd name="connsiteX380" fmla="*/ 206133 w 1008219"/>
                <a:gd name="connsiteY380" fmla="*/ 89514 h 876898"/>
                <a:gd name="connsiteX381" fmla="*/ 206133 w 1008219"/>
                <a:gd name="connsiteY381" fmla="*/ 90694 h 876898"/>
                <a:gd name="connsiteX382" fmla="*/ 206799 w 1008219"/>
                <a:gd name="connsiteY382" fmla="*/ 90694 h 876898"/>
                <a:gd name="connsiteX383" fmla="*/ 206799 w 1008219"/>
                <a:gd name="connsiteY383" fmla="*/ 91662 h 876898"/>
                <a:gd name="connsiteX384" fmla="*/ 197966 w 1008219"/>
                <a:gd name="connsiteY384" fmla="*/ 93084 h 876898"/>
                <a:gd name="connsiteX385" fmla="*/ 195757 w 1008219"/>
                <a:gd name="connsiteY385" fmla="*/ 91662 h 876898"/>
                <a:gd name="connsiteX386" fmla="*/ 200749 w 1008219"/>
                <a:gd name="connsiteY386" fmla="*/ 89605 h 876898"/>
                <a:gd name="connsiteX387" fmla="*/ 202019 w 1008219"/>
                <a:gd name="connsiteY387" fmla="*/ 88425 h 876898"/>
                <a:gd name="connsiteX388" fmla="*/ 190887 w 1008219"/>
                <a:gd name="connsiteY388" fmla="*/ 91874 h 876898"/>
                <a:gd name="connsiteX389" fmla="*/ 174672 w 1008219"/>
                <a:gd name="connsiteY389" fmla="*/ 93719 h 876898"/>
                <a:gd name="connsiteX390" fmla="*/ 155160 w 1008219"/>
                <a:gd name="connsiteY390" fmla="*/ 101887 h 876898"/>
                <a:gd name="connsiteX391" fmla="*/ 135285 w 1008219"/>
                <a:gd name="connsiteY391" fmla="*/ 106818 h 876898"/>
                <a:gd name="connsiteX392" fmla="*/ 117194 w 1008219"/>
                <a:gd name="connsiteY392" fmla="*/ 111265 h 876898"/>
                <a:gd name="connsiteX393" fmla="*/ 89151 w 1008219"/>
                <a:gd name="connsiteY393" fmla="*/ 122155 h 876898"/>
                <a:gd name="connsiteX394" fmla="*/ 66220 w 1008219"/>
                <a:gd name="connsiteY394" fmla="*/ 127691 h 876898"/>
                <a:gd name="connsiteX395" fmla="*/ 39599 w 1008219"/>
                <a:gd name="connsiteY395" fmla="*/ 138612 h 876898"/>
                <a:gd name="connsiteX396" fmla="*/ 32369 w 1008219"/>
                <a:gd name="connsiteY396" fmla="*/ 143483 h 876898"/>
                <a:gd name="connsiteX397" fmla="*/ 28467 w 1008219"/>
                <a:gd name="connsiteY397" fmla="*/ 145419 h 876898"/>
                <a:gd name="connsiteX398" fmla="*/ 24443 w 1008219"/>
                <a:gd name="connsiteY398" fmla="*/ 146175 h 876898"/>
                <a:gd name="connsiteX399" fmla="*/ 14491 w 1008219"/>
                <a:gd name="connsiteY399" fmla="*/ 145419 h 876898"/>
                <a:gd name="connsiteX400" fmla="*/ 11435 w 1008219"/>
                <a:gd name="connsiteY400" fmla="*/ 144329 h 876898"/>
                <a:gd name="connsiteX401" fmla="*/ 10346 w 1008219"/>
                <a:gd name="connsiteY401" fmla="*/ 143483 h 876898"/>
                <a:gd name="connsiteX402" fmla="*/ 8682 w 1008219"/>
                <a:gd name="connsiteY402" fmla="*/ 142787 h 876898"/>
                <a:gd name="connsiteX403" fmla="*/ 6958 w 1008219"/>
                <a:gd name="connsiteY403" fmla="*/ 147022 h 876898"/>
                <a:gd name="connsiteX404" fmla="*/ 6111 w 1008219"/>
                <a:gd name="connsiteY404" fmla="*/ 147567 h 876898"/>
                <a:gd name="connsiteX405" fmla="*/ 5173 w 1008219"/>
                <a:gd name="connsiteY405" fmla="*/ 147839 h 876898"/>
                <a:gd name="connsiteX406" fmla="*/ 6928 w 1008219"/>
                <a:gd name="connsiteY406" fmla="*/ 149805 h 876898"/>
                <a:gd name="connsiteX407" fmla="*/ 7745 w 1008219"/>
                <a:gd name="connsiteY407" fmla="*/ 152255 h 876898"/>
                <a:gd name="connsiteX408" fmla="*/ 7745 w 1008219"/>
                <a:gd name="connsiteY408" fmla="*/ 152255 h 876898"/>
                <a:gd name="connsiteX409" fmla="*/ 7956 w 1008219"/>
                <a:gd name="connsiteY409" fmla="*/ 152255 h 876898"/>
                <a:gd name="connsiteX410" fmla="*/ 10346 w 1008219"/>
                <a:gd name="connsiteY410" fmla="*/ 153224 h 876898"/>
                <a:gd name="connsiteX411" fmla="*/ 15156 w 1008219"/>
                <a:gd name="connsiteY411" fmla="*/ 159667 h 876898"/>
                <a:gd name="connsiteX412" fmla="*/ 16850 w 1008219"/>
                <a:gd name="connsiteY412" fmla="*/ 160726 h 876898"/>
                <a:gd name="connsiteX413" fmla="*/ 18030 w 1008219"/>
                <a:gd name="connsiteY413" fmla="*/ 160877 h 876898"/>
                <a:gd name="connsiteX414" fmla="*/ 19603 w 1008219"/>
                <a:gd name="connsiteY414" fmla="*/ 161664 h 876898"/>
                <a:gd name="connsiteX415" fmla="*/ 20541 w 1008219"/>
                <a:gd name="connsiteY415" fmla="*/ 161785 h 876898"/>
                <a:gd name="connsiteX416" fmla="*/ 21872 w 1008219"/>
                <a:gd name="connsiteY416" fmla="*/ 161543 h 876898"/>
                <a:gd name="connsiteX417" fmla="*/ 21932 w 1008219"/>
                <a:gd name="connsiteY417" fmla="*/ 161210 h 876898"/>
                <a:gd name="connsiteX418" fmla="*/ 20541 w 1008219"/>
                <a:gd name="connsiteY418" fmla="*/ 160726 h 876898"/>
                <a:gd name="connsiteX419" fmla="*/ 20541 w 1008219"/>
                <a:gd name="connsiteY419" fmla="*/ 159637 h 876898"/>
                <a:gd name="connsiteX420" fmla="*/ 21993 w 1008219"/>
                <a:gd name="connsiteY420" fmla="*/ 159516 h 876898"/>
                <a:gd name="connsiteX421" fmla="*/ 23385 w 1008219"/>
                <a:gd name="connsiteY421" fmla="*/ 159092 h 876898"/>
                <a:gd name="connsiteX422" fmla="*/ 26137 w 1008219"/>
                <a:gd name="connsiteY422" fmla="*/ 157519 h 876898"/>
                <a:gd name="connsiteX423" fmla="*/ 27045 w 1008219"/>
                <a:gd name="connsiteY423" fmla="*/ 158124 h 876898"/>
                <a:gd name="connsiteX424" fmla="*/ 28316 w 1008219"/>
                <a:gd name="connsiteY424" fmla="*/ 157580 h 876898"/>
                <a:gd name="connsiteX425" fmla="*/ 29374 w 1008219"/>
                <a:gd name="connsiteY425" fmla="*/ 156218 h 876898"/>
                <a:gd name="connsiteX426" fmla="*/ 29556 w 1008219"/>
                <a:gd name="connsiteY426" fmla="*/ 154313 h 876898"/>
                <a:gd name="connsiteX427" fmla="*/ 28709 w 1008219"/>
                <a:gd name="connsiteY427" fmla="*/ 153284 h 876898"/>
                <a:gd name="connsiteX428" fmla="*/ 27075 w 1008219"/>
                <a:gd name="connsiteY428" fmla="*/ 152588 h 876898"/>
                <a:gd name="connsiteX429" fmla="*/ 24050 w 1008219"/>
                <a:gd name="connsiteY429" fmla="*/ 152074 h 876898"/>
                <a:gd name="connsiteX430" fmla="*/ 24928 w 1008219"/>
                <a:gd name="connsiteY430" fmla="*/ 151046 h 876898"/>
                <a:gd name="connsiteX431" fmla="*/ 25593 w 1008219"/>
                <a:gd name="connsiteY431" fmla="*/ 150047 h 876898"/>
                <a:gd name="connsiteX432" fmla="*/ 26289 w 1008219"/>
                <a:gd name="connsiteY432" fmla="*/ 149260 h 876898"/>
                <a:gd name="connsiteX433" fmla="*/ 27166 w 1008219"/>
                <a:gd name="connsiteY433" fmla="*/ 148958 h 876898"/>
                <a:gd name="connsiteX434" fmla="*/ 28376 w 1008219"/>
                <a:gd name="connsiteY434" fmla="*/ 149260 h 876898"/>
                <a:gd name="connsiteX435" fmla="*/ 29223 w 1008219"/>
                <a:gd name="connsiteY435" fmla="*/ 149654 h 876898"/>
                <a:gd name="connsiteX436" fmla="*/ 30010 w 1008219"/>
                <a:gd name="connsiteY436" fmla="*/ 149442 h 876898"/>
                <a:gd name="connsiteX437" fmla="*/ 31008 w 1008219"/>
                <a:gd name="connsiteY437" fmla="*/ 147869 h 876898"/>
                <a:gd name="connsiteX438" fmla="*/ 31189 w 1008219"/>
                <a:gd name="connsiteY438" fmla="*/ 148444 h 876898"/>
                <a:gd name="connsiteX439" fmla="*/ 31220 w 1008219"/>
                <a:gd name="connsiteY439" fmla="*/ 148595 h 876898"/>
                <a:gd name="connsiteX440" fmla="*/ 31280 w 1008219"/>
                <a:gd name="connsiteY440" fmla="*/ 148625 h 876898"/>
                <a:gd name="connsiteX441" fmla="*/ 31613 w 1008219"/>
                <a:gd name="connsiteY441" fmla="*/ 148958 h 876898"/>
                <a:gd name="connsiteX442" fmla="*/ 30342 w 1008219"/>
                <a:gd name="connsiteY442" fmla="*/ 152013 h 876898"/>
                <a:gd name="connsiteX443" fmla="*/ 31915 w 1008219"/>
                <a:gd name="connsiteY443" fmla="*/ 153587 h 876898"/>
                <a:gd name="connsiteX444" fmla="*/ 43108 w 1008219"/>
                <a:gd name="connsiteY444" fmla="*/ 154676 h 876898"/>
                <a:gd name="connsiteX445" fmla="*/ 45468 w 1008219"/>
                <a:gd name="connsiteY445" fmla="*/ 155916 h 876898"/>
                <a:gd name="connsiteX446" fmla="*/ 46860 w 1008219"/>
                <a:gd name="connsiteY446" fmla="*/ 158578 h 876898"/>
                <a:gd name="connsiteX447" fmla="*/ 46224 w 1008219"/>
                <a:gd name="connsiteY447" fmla="*/ 159153 h 876898"/>
                <a:gd name="connsiteX448" fmla="*/ 45317 w 1008219"/>
                <a:gd name="connsiteY448" fmla="*/ 160272 h 876898"/>
                <a:gd name="connsiteX449" fmla="*/ 44803 w 1008219"/>
                <a:gd name="connsiteY449" fmla="*/ 160726 h 876898"/>
                <a:gd name="connsiteX450" fmla="*/ 45347 w 1008219"/>
                <a:gd name="connsiteY450" fmla="*/ 161512 h 876898"/>
                <a:gd name="connsiteX451" fmla="*/ 45892 w 1008219"/>
                <a:gd name="connsiteY451" fmla="*/ 162117 h 876898"/>
                <a:gd name="connsiteX452" fmla="*/ 46618 w 1008219"/>
                <a:gd name="connsiteY452" fmla="*/ 162511 h 876898"/>
                <a:gd name="connsiteX453" fmla="*/ 47495 w 1008219"/>
                <a:gd name="connsiteY453" fmla="*/ 162843 h 876898"/>
                <a:gd name="connsiteX454" fmla="*/ 46860 w 1008219"/>
                <a:gd name="connsiteY454" fmla="*/ 161785 h 876898"/>
                <a:gd name="connsiteX455" fmla="*/ 49280 w 1008219"/>
                <a:gd name="connsiteY455" fmla="*/ 159546 h 876898"/>
                <a:gd name="connsiteX456" fmla="*/ 50066 w 1008219"/>
                <a:gd name="connsiteY456" fmla="*/ 158306 h 876898"/>
                <a:gd name="connsiteX457" fmla="*/ 50308 w 1008219"/>
                <a:gd name="connsiteY457" fmla="*/ 156430 h 876898"/>
                <a:gd name="connsiteX458" fmla="*/ 51004 w 1008219"/>
                <a:gd name="connsiteY458" fmla="*/ 156430 h 876898"/>
                <a:gd name="connsiteX459" fmla="*/ 50641 w 1008219"/>
                <a:gd name="connsiteY459" fmla="*/ 159365 h 876898"/>
                <a:gd name="connsiteX460" fmla="*/ 49945 w 1008219"/>
                <a:gd name="connsiteY460" fmla="*/ 162178 h 876898"/>
                <a:gd name="connsiteX461" fmla="*/ 49582 w 1008219"/>
                <a:gd name="connsiteY461" fmla="*/ 165324 h 876898"/>
                <a:gd name="connsiteX462" fmla="*/ 50308 w 1008219"/>
                <a:gd name="connsiteY462" fmla="*/ 169257 h 876898"/>
                <a:gd name="connsiteX463" fmla="*/ 48735 w 1008219"/>
                <a:gd name="connsiteY463" fmla="*/ 169347 h 876898"/>
                <a:gd name="connsiteX464" fmla="*/ 47646 w 1008219"/>
                <a:gd name="connsiteY464" fmla="*/ 169953 h 876898"/>
                <a:gd name="connsiteX465" fmla="*/ 46648 w 1008219"/>
                <a:gd name="connsiteY465" fmla="*/ 170225 h 876898"/>
                <a:gd name="connsiteX466" fmla="*/ 45498 w 1008219"/>
                <a:gd name="connsiteY466" fmla="*/ 169257 h 876898"/>
                <a:gd name="connsiteX467" fmla="*/ 43018 w 1008219"/>
                <a:gd name="connsiteY467" fmla="*/ 176033 h 876898"/>
                <a:gd name="connsiteX468" fmla="*/ 42382 w 1008219"/>
                <a:gd name="connsiteY468" fmla="*/ 179482 h 876898"/>
                <a:gd name="connsiteX469" fmla="*/ 45498 w 1008219"/>
                <a:gd name="connsiteY469" fmla="*/ 186409 h 876898"/>
                <a:gd name="connsiteX470" fmla="*/ 46648 w 1008219"/>
                <a:gd name="connsiteY470" fmla="*/ 186984 h 876898"/>
                <a:gd name="connsiteX471" fmla="*/ 49219 w 1008219"/>
                <a:gd name="connsiteY471" fmla="*/ 187196 h 876898"/>
                <a:gd name="connsiteX472" fmla="*/ 50308 w 1008219"/>
                <a:gd name="connsiteY472" fmla="*/ 187498 h 876898"/>
                <a:gd name="connsiteX473" fmla="*/ 50187 w 1008219"/>
                <a:gd name="connsiteY473" fmla="*/ 188406 h 876898"/>
                <a:gd name="connsiteX474" fmla="*/ 50218 w 1008219"/>
                <a:gd name="connsiteY474" fmla="*/ 189011 h 876898"/>
                <a:gd name="connsiteX475" fmla="*/ 50308 w 1008219"/>
                <a:gd name="connsiteY475" fmla="*/ 189616 h 876898"/>
                <a:gd name="connsiteX476" fmla="*/ 48917 w 1008219"/>
                <a:gd name="connsiteY476" fmla="*/ 190614 h 876898"/>
                <a:gd name="connsiteX477" fmla="*/ 48070 w 1008219"/>
                <a:gd name="connsiteY477" fmla="*/ 191552 h 876898"/>
                <a:gd name="connsiteX478" fmla="*/ 47616 w 1008219"/>
                <a:gd name="connsiteY478" fmla="*/ 193004 h 876898"/>
                <a:gd name="connsiteX479" fmla="*/ 47495 w 1008219"/>
                <a:gd name="connsiteY479" fmla="*/ 195515 h 876898"/>
                <a:gd name="connsiteX480" fmla="*/ 46950 w 1008219"/>
                <a:gd name="connsiteY480" fmla="*/ 195969 h 876898"/>
                <a:gd name="connsiteX481" fmla="*/ 45801 w 1008219"/>
                <a:gd name="connsiteY481" fmla="*/ 194577 h 876898"/>
                <a:gd name="connsiteX482" fmla="*/ 42503 w 1008219"/>
                <a:gd name="connsiteY482" fmla="*/ 188739 h 876898"/>
                <a:gd name="connsiteX483" fmla="*/ 40961 w 1008219"/>
                <a:gd name="connsiteY483" fmla="*/ 186712 h 876898"/>
                <a:gd name="connsiteX484" fmla="*/ 39085 w 1008219"/>
                <a:gd name="connsiteY484" fmla="*/ 185351 h 876898"/>
                <a:gd name="connsiteX485" fmla="*/ 33700 w 1008219"/>
                <a:gd name="connsiteY485" fmla="*/ 183566 h 876898"/>
                <a:gd name="connsiteX486" fmla="*/ 29253 w 1008219"/>
                <a:gd name="connsiteY486" fmla="*/ 182870 h 876898"/>
                <a:gd name="connsiteX487" fmla="*/ 28134 w 1008219"/>
                <a:gd name="connsiteY487" fmla="*/ 182023 h 876898"/>
                <a:gd name="connsiteX488" fmla="*/ 26137 w 1008219"/>
                <a:gd name="connsiteY488" fmla="*/ 180026 h 876898"/>
                <a:gd name="connsiteX489" fmla="*/ 23385 w 1008219"/>
                <a:gd name="connsiteY489" fmla="*/ 178816 h 876898"/>
                <a:gd name="connsiteX490" fmla="*/ 21932 w 1008219"/>
                <a:gd name="connsiteY490" fmla="*/ 177788 h 876898"/>
                <a:gd name="connsiteX491" fmla="*/ 20783 w 1008219"/>
                <a:gd name="connsiteY491" fmla="*/ 174793 h 876898"/>
                <a:gd name="connsiteX492" fmla="*/ 19543 w 1008219"/>
                <a:gd name="connsiteY492" fmla="*/ 173915 h 876898"/>
                <a:gd name="connsiteX493" fmla="*/ 18121 w 1008219"/>
                <a:gd name="connsiteY493" fmla="*/ 173280 h 876898"/>
                <a:gd name="connsiteX494" fmla="*/ 17122 w 1008219"/>
                <a:gd name="connsiteY494" fmla="*/ 172463 h 876898"/>
                <a:gd name="connsiteX495" fmla="*/ 16578 w 1008219"/>
                <a:gd name="connsiteY495" fmla="*/ 173613 h 876898"/>
                <a:gd name="connsiteX496" fmla="*/ 17546 w 1008219"/>
                <a:gd name="connsiteY496" fmla="*/ 174158 h 876898"/>
                <a:gd name="connsiteX497" fmla="*/ 17879 w 1008219"/>
                <a:gd name="connsiteY497" fmla="*/ 174702 h 876898"/>
                <a:gd name="connsiteX498" fmla="*/ 17546 w 1008219"/>
                <a:gd name="connsiteY498" fmla="*/ 175216 h 876898"/>
                <a:gd name="connsiteX499" fmla="*/ 16578 w 1008219"/>
                <a:gd name="connsiteY499" fmla="*/ 175761 h 876898"/>
                <a:gd name="connsiteX500" fmla="*/ 18333 w 1008219"/>
                <a:gd name="connsiteY500" fmla="*/ 176880 h 876898"/>
                <a:gd name="connsiteX501" fmla="*/ 18211 w 1008219"/>
                <a:gd name="connsiteY501" fmla="*/ 178181 h 876898"/>
                <a:gd name="connsiteX502" fmla="*/ 16881 w 1008219"/>
                <a:gd name="connsiteY502" fmla="*/ 179300 h 876898"/>
                <a:gd name="connsiteX503" fmla="*/ 15066 w 1008219"/>
                <a:gd name="connsiteY503" fmla="*/ 180026 h 876898"/>
                <a:gd name="connsiteX504" fmla="*/ 14097 w 1008219"/>
                <a:gd name="connsiteY504" fmla="*/ 180117 h 876898"/>
                <a:gd name="connsiteX505" fmla="*/ 14067 w 1008219"/>
                <a:gd name="connsiteY505" fmla="*/ 180117 h 876898"/>
                <a:gd name="connsiteX506" fmla="*/ 14067 w 1008219"/>
                <a:gd name="connsiteY506" fmla="*/ 180147 h 876898"/>
                <a:gd name="connsiteX507" fmla="*/ 14218 w 1008219"/>
                <a:gd name="connsiteY507" fmla="*/ 184534 h 876898"/>
                <a:gd name="connsiteX508" fmla="*/ 13795 w 1008219"/>
                <a:gd name="connsiteY508" fmla="*/ 186954 h 876898"/>
                <a:gd name="connsiteX509" fmla="*/ 15307 w 1008219"/>
                <a:gd name="connsiteY509" fmla="*/ 190009 h 876898"/>
                <a:gd name="connsiteX510" fmla="*/ 17425 w 1008219"/>
                <a:gd name="connsiteY510" fmla="*/ 196060 h 876898"/>
                <a:gd name="connsiteX511" fmla="*/ 17607 w 1008219"/>
                <a:gd name="connsiteY511" fmla="*/ 197603 h 876898"/>
                <a:gd name="connsiteX512" fmla="*/ 17334 w 1008219"/>
                <a:gd name="connsiteY512" fmla="*/ 203290 h 876898"/>
                <a:gd name="connsiteX513" fmla="*/ 17395 w 1008219"/>
                <a:gd name="connsiteY513" fmla="*/ 206738 h 876898"/>
                <a:gd name="connsiteX514" fmla="*/ 18121 w 1008219"/>
                <a:gd name="connsiteY514" fmla="*/ 209945 h 876898"/>
                <a:gd name="connsiteX515" fmla="*/ 20571 w 1008219"/>
                <a:gd name="connsiteY515" fmla="*/ 213424 h 876898"/>
                <a:gd name="connsiteX516" fmla="*/ 21630 w 1008219"/>
                <a:gd name="connsiteY516" fmla="*/ 216661 h 876898"/>
                <a:gd name="connsiteX517" fmla="*/ 23748 w 1008219"/>
                <a:gd name="connsiteY517" fmla="*/ 219958 h 876898"/>
                <a:gd name="connsiteX518" fmla="*/ 24806 w 1008219"/>
                <a:gd name="connsiteY518" fmla="*/ 227975 h 876898"/>
                <a:gd name="connsiteX519" fmla="*/ 26894 w 1008219"/>
                <a:gd name="connsiteY519" fmla="*/ 236990 h 876898"/>
                <a:gd name="connsiteX520" fmla="*/ 27589 w 1008219"/>
                <a:gd name="connsiteY520" fmla="*/ 239894 h 876898"/>
                <a:gd name="connsiteX521" fmla="*/ 27741 w 1008219"/>
                <a:gd name="connsiteY521" fmla="*/ 241195 h 876898"/>
                <a:gd name="connsiteX522" fmla="*/ 27801 w 1008219"/>
                <a:gd name="connsiteY522" fmla="*/ 244008 h 876898"/>
                <a:gd name="connsiteX523" fmla="*/ 28104 w 1008219"/>
                <a:gd name="connsiteY523" fmla="*/ 245521 h 876898"/>
                <a:gd name="connsiteX524" fmla="*/ 28739 w 1008219"/>
                <a:gd name="connsiteY524" fmla="*/ 246519 h 876898"/>
                <a:gd name="connsiteX525" fmla="*/ 30251 w 1008219"/>
                <a:gd name="connsiteY525" fmla="*/ 247729 h 876898"/>
                <a:gd name="connsiteX526" fmla="*/ 30645 w 1008219"/>
                <a:gd name="connsiteY526" fmla="*/ 248576 h 876898"/>
                <a:gd name="connsiteX527" fmla="*/ 31976 w 1008219"/>
                <a:gd name="connsiteY527" fmla="*/ 249695 h 876898"/>
                <a:gd name="connsiteX528" fmla="*/ 29344 w 1008219"/>
                <a:gd name="connsiteY528" fmla="*/ 254445 h 876898"/>
                <a:gd name="connsiteX529" fmla="*/ 28618 w 1008219"/>
                <a:gd name="connsiteY529" fmla="*/ 255474 h 876898"/>
                <a:gd name="connsiteX530" fmla="*/ 27559 w 1008219"/>
                <a:gd name="connsiteY530" fmla="*/ 256018 h 876898"/>
                <a:gd name="connsiteX531" fmla="*/ 26561 w 1008219"/>
                <a:gd name="connsiteY531" fmla="*/ 257379 h 876898"/>
                <a:gd name="connsiteX532" fmla="*/ 25835 w 1008219"/>
                <a:gd name="connsiteY532" fmla="*/ 259255 h 876898"/>
                <a:gd name="connsiteX533" fmla="*/ 25563 w 1008219"/>
                <a:gd name="connsiteY533" fmla="*/ 261312 h 876898"/>
                <a:gd name="connsiteX534" fmla="*/ 25926 w 1008219"/>
                <a:gd name="connsiteY534" fmla="*/ 263823 h 876898"/>
                <a:gd name="connsiteX535" fmla="*/ 26500 w 1008219"/>
                <a:gd name="connsiteY535" fmla="*/ 266001 h 876898"/>
                <a:gd name="connsiteX536" fmla="*/ 26712 w 1008219"/>
                <a:gd name="connsiteY536" fmla="*/ 268209 h 876898"/>
                <a:gd name="connsiteX537" fmla="*/ 23717 w 1008219"/>
                <a:gd name="connsiteY537" fmla="*/ 276952 h 876898"/>
                <a:gd name="connsiteX538" fmla="*/ 23445 w 1008219"/>
                <a:gd name="connsiteY538" fmla="*/ 278222 h 876898"/>
                <a:gd name="connsiteX539" fmla="*/ 22084 w 1008219"/>
                <a:gd name="connsiteY539" fmla="*/ 281006 h 876898"/>
                <a:gd name="connsiteX540" fmla="*/ 18998 w 1008219"/>
                <a:gd name="connsiteY540" fmla="*/ 284000 h 876898"/>
                <a:gd name="connsiteX541" fmla="*/ 13069 w 1008219"/>
                <a:gd name="connsiteY541" fmla="*/ 288327 h 876898"/>
                <a:gd name="connsiteX542" fmla="*/ 6928 w 1008219"/>
                <a:gd name="connsiteY542" fmla="*/ 291291 h 876898"/>
                <a:gd name="connsiteX543" fmla="*/ 2057 w 1008219"/>
                <a:gd name="connsiteY543" fmla="*/ 294619 h 876898"/>
                <a:gd name="connsiteX544" fmla="*/ 2057 w 1008219"/>
                <a:gd name="connsiteY544" fmla="*/ 295587 h 876898"/>
                <a:gd name="connsiteX545" fmla="*/ 2662 w 1008219"/>
                <a:gd name="connsiteY545" fmla="*/ 297130 h 876898"/>
                <a:gd name="connsiteX546" fmla="*/ 3903 w 1008219"/>
                <a:gd name="connsiteY546" fmla="*/ 302545 h 876898"/>
                <a:gd name="connsiteX547" fmla="*/ 4115 w 1008219"/>
                <a:gd name="connsiteY547" fmla="*/ 304481 h 876898"/>
                <a:gd name="connsiteX548" fmla="*/ 3721 w 1008219"/>
                <a:gd name="connsiteY548" fmla="*/ 307355 h 876898"/>
                <a:gd name="connsiteX549" fmla="*/ 2662 w 1008219"/>
                <a:gd name="connsiteY549" fmla="*/ 309230 h 876898"/>
                <a:gd name="connsiteX550" fmla="*/ 0 w 1008219"/>
                <a:gd name="connsiteY550" fmla="*/ 311348 h 876898"/>
                <a:gd name="connsiteX551" fmla="*/ 1150 w 1008219"/>
                <a:gd name="connsiteY551" fmla="*/ 313526 h 876898"/>
                <a:gd name="connsiteX552" fmla="*/ 2904 w 1008219"/>
                <a:gd name="connsiteY552" fmla="*/ 314766 h 876898"/>
                <a:gd name="connsiteX553" fmla="*/ 5022 w 1008219"/>
                <a:gd name="connsiteY553" fmla="*/ 315371 h 876898"/>
                <a:gd name="connsiteX554" fmla="*/ 7230 w 1008219"/>
                <a:gd name="connsiteY554" fmla="*/ 315523 h 876898"/>
                <a:gd name="connsiteX555" fmla="*/ 9287 w 1008219"/>
                <a:gd name="connsiteY555" fmla="*/ 316369 h 876898"/>
                <a:gd name="connsiteX556" fmla="*/ 12554 w 1008219"/>
                <a:gd name="connsiteY556" fmla="*/ 319939 h 876898"/>
                <a:gd name="connsiteX557" fmla="*/ 15307 w 1008219"/>
                <a:gd name="connsiteY557" fmla="*/ 321300 h 876898"/>
                <a:gd name="connsiteX558" fmla="*/ 25986 w 1008219"/>
                <a:gd name="connsiteY558" fmla="*/ 328561 h 876898"/>
                <a:gd name="connsiteX559" fmla="*/ 27559 w 1008219"/>
                <a:gd name="connsiteY559" fmla="*/ 330225 h 876898"/>
                <a:gd name="connsiteX560" fmla="*/ 31008 w 1008219"/>
                <a:gd name="connsiteY560" fmla="*/ 336487 h 876898"/>
                <a:gd name="connsiteX561" fmla="*/ 32037 w 1008219"/>
                <a:gd name="connsiteY561" fmla="*/ 337425 h 876898"/>
                <a:gd name="connsiteX562" fmla="*/ 33973 w 1008219"/>
                <a:gd name="connsiteY562" fmla="*/ 338241 h 876898"/>
                <a:gd name="connsiteX563" fmla="*/ 36846 w 1008219"/>
                <a:gd name="connsiteY563" fmla="*/ 341902 h 876898"/>
                <a:gd name="connsiteX564" fmla="*/ 42866 w 1008219"/>
                <a:gd name="connsiteY564" fmla="*/ 344080 h 876898"/>
                <a:gd name="connsiteX565" fmla="*/ 48705 w 1008219"/>
                <a:gd name="connsiteY565" fmla="*/ 350130 h 876898"/>
                <a:gd name="connsiteX566" fmla="*/ 49280 w 1008219"/>
                <a:gd name="connsiteY566" fmla="*/ 350735 h 876898"/>
                <a:gd name="connsiteX567" fmla="*/ 52426 w 1008219"/>
                <a:gd name="connsiteY567" fmla="*/ 353095 h 876898"/>
                <a:gd name="connsiteX568" fmla="*/ 49612 w 1008219"/>
                <a:gd name="connsiteY568" fmla="*/ 358540 h 876898"/>
                <a:gd name="connsiteX569" fmla="*/ 48826 w 1008219"/>
                <a:gd name="connsiteY569" fmla="*/ 362080 h 876898"/>
                <a:gd name="connsiteX570" fmla="*/ 50701 w 1008219"/>
                <a:gd name="connsiteY570" fmla="*/ 363652 h 876898"/>
                <a:gd name="connsiteX571" fmla="*/ 51155 w 1008219"/>
                <a:gd name="connsiteY571" fmla="*/ 365286 h 876898"/>
                <a:gd name="connsiteX572" fmla="*/ 49492 w 1008219"/>
                <a:gd name="connsiteY572" fmla="*/ 368826 h 876898"/>
                <a:gd name="connsiteX573" fmla="*/ 47071 w 1008219"/>
                <a:gd name="connsiteY573" fmla="*/ 372395 h 876898"/>
                <a:gd name="connsiteX574" fmla="*/ 41838 w 1008219"/>
                <a:gd name="connsiteY574" fmla="*/ 376630 h 876898"/>
                <a:gd name="connsiteX575" fmla="*/ 42413 w 1008219"/>
                <a:gd name="connsiteY575" fmla="*/ 382650 h 876898"/>
                <a:gd name="connsiteX576" fmla="*/ 44803 w 1008219"/>
                <a:gd name="connsiteY576" fmla="*/ 389245 h 876898"/>
                <a:gd name="connsiteX577" fmla="*/ 46920 w 1008219"/>
                <a:gd name="connsiteY577" fmla="*/ 393662 h 876898"/>
                <a:gd name="connsiteX578" fmla="*/ 46315 w 1008219"/>
                <a:gd name="connsiteY578" fmla="*/ 396385 h 876898"/>
                <a:gd name="connsiteX579" fmla="*/ 48554 w 1008219"/>
                <a:gd name="connsiteY579" fmla="*/ 398714 h 876898"/>
                <a:gd name="connsiteX580" fmla="*/ 52002 w 1008219"/>
                <a:gd name="connsiteY580" fmla="*/ 400347 h 876898"/>
                <a:gd name="connsiteX581" fmla="*/ 54846 w 1008219"/>
                <a:gd name="connsiteY581" fmla="*/ 400953 h 876898"/>
                <a:gd name="connsiteX582" fmla="*/ 57659 w 1008219"/>
                <a:gd name="connsiteY582" fmla="*/ 402102 h 876898"/>
                <a:gd name="connsiteX583" fmla="*/ 59202 w 1008219"/>
                <a:gd name="connsiteY583" fmla="*/ 404734 h 876898"/>
                <a:gd name="connsiteX584" fmla="*/ 59202 w 1008219"/>
                <a:gd name="connsiteY584" fmla="*/ 407850 h 876898"/>
                <a:gd name="connsiteX585" fmla="*/ 57206 w 1008219"/>
                <a:gd name="connsiteY585" fmla="*/ 410209 h 876898"/>
                <a:gd name="connsiteX586" fmla="*/ 57206 w 1008219"/>
                <a:gd name="connsiteY586" fmla="*/ 411147 h 876898"/>
                <a:gd name="connsiteX587" fmla="*/ 58688 w 1008219"/>
                <a:gd name="connsiteY587" fmla="*/ 413265 h 876898"/>
                <a:gd name="connsiteX588" fmla="*/ 58295 w 1008219"/>
                <a:gd name="connsiteY588" fmla="*/ 415413 h 876898"/>
                <a:gd name="connsiteX589" fmla="*/ 57206 w 1008219"/>
                <a:gd name="connsiteY589" fmla="*/ 418135 h 876898"/>
                <a:gd name="connsiteX590" fmla="*/ 56601 w 1008219"/>
                <a:gd name="connsiteY590" fmla="*/ 422038 h 876898"/>
                <a:gd name="connsiteX591" fmla="*/ 57599 w 1008219"/>
                <a:gd name="connsiteY591" fmla="*/ 424186 h 876898"/>
                <a:gd name="connsiteX592" fmla="*/ 64164 w 1008219"/>
                <a:gd name="connsiteY592" fmla="*/ 428723 h 876898"/>
                <a:gd name="connsiteX593" fmla="*/ 62288 w 1008219"/>
                <a:gd name="connsiteY593" fmla="*/ 430841 h 876898"/>
                <a:gd name="connsiteX594" fmla="*/ 61532 w 1008219"/>
                <a:gd name="connsiteY594" fmla="*/ 432111 h 876898"/>
                <a:gd name="connsiteX595" fmla="*/ 61199 w 1008219"/>
                <a:gd name="connsiteY595" fmla="*/ 433473 h 876898"/>
                <a:gd name="connsiteX596" fmla="*/ 61017 w 1008219"/>
                <a:gd name="connsiteY596" fmla="*/ 434834 h 876898"/>
                <a:gd name="connsiteX597" fmla="*/ 60594 w 1008219"/>
                <a:gd name="connsiteY597" fmla="*/ 436256 h 876898"/>
                <a:gd name="connsiteX598" fmla="*/ 58416 w 1008219"/>
                <a:gd name="connsiteY598" fmla="*/ 439916 h 876898"/>
                <a:gd name="connsiteX599" fmla="*/ 57871 w 1008219"/>
                <a:gd name="connsiteY599" fmla="*/ 441369 h 876898"/>
                <a:gd name="connsiteX600" fmla="*/ 57538 w 1008219"/>
                <a:gd name="connsiteY600" fmla="*/ 450504 h 876898"/>
                <a:gd name="connsiteX601" fmla="*/ 56661 w 1008219"/>
                <a:gd name="connsiteY601" fmla="*/ 453439 h 876898"/>
                <a:gd name="connsiteX602" fmla="*/ 55118 w 1008219"/>
                <a:gd name="connsiteY602" fmla="*/ 456131 h 876898"/>
                <a:gd name="connsiteX603" fmla="*/ 53273 w 1008219"/>
                <a:gd name="connsiteY603" fmla="*/ 458430 h 876898"/>
                <a:gd name="connsiteX604" fmla="*/ 47495 w 1008219"/>
                <a:gd name="connsiteY604" fmla="*/ 463845 h 876898"/>
                <a:gd name="connsiteX605" fmla="*/ 46164 w 1008219"/>
                <a:gd name="connsiteY605" fmla="*/ 466417 h 876898"/>
                <a:gd name="connsiteX606" fmla="*/ 46496 w 1008219"/>
                <a:gd name="connsiteY606" fmla="*/ 469593 h 876898"/>
                <a:gd name="connsiteX607" fmla="*/ 48130 w 1008219"/>
                <a:gd name="connsiteY607" fmla="*/ 471922 h 876898"/>
                <a:gd name="connsiteX608" fmla="*/ 49945 w 1008219"/>
                <a:gd name="connsiteY608" fmla="*/ 473072 h 876898"/>
                <a:gd name="connsiteX609" fmla="*/ 51337 w 1008219"/>
                <a:gd name="connsiteY609" fmla="*/ 474796 h 876898"/>
                <a:gd name="connsiteX610" fmla="*/ 51730 w 1008219"/>
                <a:gd name="connsiteY610" fmla="*/ 478759 h 876898"/>
                <a:gd name="connsiteX611" fmla="*/ 52789 w 1008219"/>
                <a:gd name="connsiteY611" fmla="*/ 482541 h 876898"/>
                <a:gd name="connsiteX612" fmla="*/ 55058 w 1008219"/>
                <a:gd name="connsiteY612" fmla="*/ 484991 h 876898"/>
                <a:gd name="connsiteX613" fmla="*/ 59928 w 1008219"/>
                <a:gd name="connsiteY613" fmla="*/ 488742 h 876898"/>
                <a:gd name="connsiteX614" fmla="*/ 61229 w 1008219"/>
                <a:gd name="connsiteY614" fmla="*/ 491314 h 876898"/>
                <a:gd name="connsiteX615" fmla="*/ 62227 w 1008219"/>
                <a:gd name="connsiteY615" fmla="*/ 495095 h 876898"/>
                <a:gd name="connsiteX616" fmla="*/ 62409 w 1008219"/>
                <a:gd name="connsiteY616" fmla="*/ 498998 h 876898"/>
                <a:gd name="connsiteX617" fmla="*/ 61199 w 1008219"/>
                <a:gd name="connsiteY617" fmla="*/ 501962 h 876898"/>
                <a:gd name="connsiteX618" fmla="*/ 59233 w 1008219"/>
                <a:gd name="connsiteY618" fmla="*/ 504836 h 876898"/>
                <a:gd name="connsiteX619" fmla="*/ 58416 w 1008219"/>
                <a:gd name="connsiteY619" fmla="*/ 507710 h 876898"/>
                <a:gd name="connsiteX620" fmla="*/ 58658 w 1008219"/>
                <a:gd name="connsiteY620" fmla="*/ 508769 h 876898"/>
                <a:gd name="connsiteX621" fmla="*/ 58990 w 1008219"/>
                <a:gd name="connsiteY621" fmla="*/ 510342 h 876898"/>
                <a:gd name="connsiteX622" fmla="*/ 61199 w 1008219"/>
                <a:gd name="connsiteY622" fmla="*/ 512490 h 876898"/>
                <a:gd name="connsiteX623" fmla="*/ 67794 w 1008219"/>
                <a:gd name="connsiteY623" fmla="*/ 514516 h 876898"/>
                <a:gd name="connsiteX624" fmla="*/ 69881 w 1008219"/>
                <a:gd name="connsiteY624" fmla="*/ 515938 h 876898"/>
                <a:gd name="connsiteX625" fmla="*/ 69881 w 1008219"/>
                <a:gd name="connsiteY625" fmla="*/ 515938 h 876898"/>
                <a:gd name="connsiteX626" fmla="*/ 72180 w 1008219"/>
                <a:gd name="connsiteY626" fmla="*/ 517148 h 876898"/>
                <a:gd name="connsiteX627" fmla="*/ 76930 w 1008219"/>
                <a:gd name="connsiteY627" fmla="*/ 518419 h 876898"/>
                <a:gd name="connsiteX628" fmla="*/ 79198 w 1008219"/>
                <a:gd name="connsiteY628" fmla="*/ 519447 h 876898"/>
                <a:gd name="connsiteX629" fmla="*/ 80772 w 1008219"/>
                <a:gd name="connsiteY629" fmla="*/ 520567 h 876898"/>
                <a:gd name="connsiteX630" fmla="*/ 82617 w 1008219"/>
                <a:gd name="connsiteY630" fmla="*/ 522382 h 876898"/>
                <a:gd name="connsiteX631" fmla="*/ 83676 w 1008219"/>
                <a:gd name="connsiteY631" fmla="*/ 524409 h 876898"/>
                <a:gd name="connsiteX632" fmla="*/ 82798 w 1008219"/>
                <a:gd name="connsiteY632" fmla="*/ 526254 h 876898"/>
                <a:gd name="connsiteX633" fmla="*/ 83191 w 1008219"/>
                <a:gd name="connsiteY633" fmla="*/ 530187 h 876898"/>
                <a:gd name="connsiteX634" fmla="*/ 83797 w 1008219"/>
                <a:gd name="connsiteY634" fmla="*/ 536449 h 876898"/>
                <a:gd name="connsiteX635" fmla="*/ 83797 w 1008219"/>
                <a:gd name="connsiteY635" fmla="*/ 536600 h 876898"/>
                <a:gd name="connsiteX636" fmla="*/ 84220 w 1008219"/>
                <a:gd name="connsiteY636" fmla="*/ 539232 h 876898"/>
                <a:gd name="connsiteX637" fmla="*/ 84523 w 1008219"/>
                <a:gd name="connsiteY637" fmla="*/ 540260 h 876898"/>
                <a:gd name="connsiteX638" fmla="*/ 86368 w 1008219"/>
                <a:gd name="connsiteY638" fmla="*/ 543285 h 876898"/>
                <a:gd name="connsiteX639" fmla="*/ 88667 w 1008219"/>
                <a:gd name="connsiteY639" fmla="*/ 545736 h 876898"/>
                <a:gd name="connsiteX640" fmla="*/ 90119 w 1008219"/>
                <a:gd name="connsiteY640" fmla="*/ 548640 h 876898"/>
                <a:gd name="connsiteX641" fmla="*/ 89605 w 1008219"/>
                <a:gd name="connsiteY641" fmla="*/ 552906 h 876898"/>
                <a:gd name="connsiteX642" fmla="*/ 89968 w 1008219"/>
                <a:gd name="connsiteY642" fmla="*/ 553390 h 876898"/>
                <a:gd name="connsiteX643" fmla="*/ 90361 w 1008219"/>
                <a:gd name="connsiteY643" fmla="*/ 553783 h 876898"/>
                <a:gd name="connsiteX644" fmla="*/ 88667 w 1008219"/>
                <a:gd name="connsiteY644" fmla="*/ 556899 h 876898"/>
                <a:gd name="connsiteX645" fmla="*/ 87276 w 1008219"/>
                <a:gd name="connsiteY645" fmla="*/ 560831 h 876898"/>
                <a:gd name="connsiteX646" fmla="*/ 86459 w 1008219"/>
                <a:gd name="connsiteY646" fmla="*/ 564976 h 876898"/>
                <a:gd name="connsiteX647" fmla="*/ 86368 w 1008219"/>
                <a:gd name="connsiteY647" fmla="*/ 568697 h 876898"/>
                <a:gd name="connsiteX648" fmla="*/ 86156 w 1008219"/>
                <a:gd name="connsiteY648" fmla="*/ 570572 h 876898"/>
                <a:gd name="connsiteX649" fmla="*/ 85491 w 1008219"/>
                <a:gd name="connsiteY649" fmla="*/ 571571 h 876898"/>
                <a:gd name="connsiteX650" fmla="*/ 84704 w 1008219"/>
                <a:gd name="connsiteY650" fmla="*/ 572236 h 876898"/>
                <a:gd name="connsiteX651" fmla="*/ 84160 w 1008219"/>
                <a:gd name="connsiteY651" fmla="*/ 573265 h 876898"/>
                <a:gd name="connsiteX652" fmla="*/ 83978 w 1008219"/>
                <a:gd name="connsiteY652" fmla="*/ 574717 h 876898"/>
                <a:gd name="connsiteX653" fmla="*/ 83948 w 1008219"/>
                <a:gd name="connsiteY653" fmla="*/ 577530 h 876898"/>
                <a:gd name="connsiteX654" fmla="*/ 83676 w 1008219"/>
                <a:gd name="connsiteY654" fmla="*/ 579224 h 876898"/>
                <a:gd name="connsiteX655" fmla="*/ 79168 w 1008219"/>
                <a:gd name="connsiteY655" fmla="*/ 589722 h 876898"/>
                <a:gd name="connsiteX656" fmla="*/ 74086 w 1008219"/>
                <a:gd name="connsiteY656" fmla="*/ 600824 h 876898"/>
                <a:gd name="connsiteX657" fmla="*/ 70516 w 1008219"/>
                <a:gd name="connsiteY657" fmla="*/ 604484 h 876898"/>
                <a:gd name="connsiteX658" fmla="*/ 69095 w 1008219"/>
                <a:gd name="connsiteY658" fmla="*/ 606662 h 876898"/>
                <a:gd name="connsiteX659" fmla="*/ 69064 w 1008219"/>
                <a:gd name="connsiteY659" fmla="*/ 609385 h 876898"/>
                <a:gd name="connsiteX660" fmla="*/ 71212 w 1008219"/>
                <a:gd name="connsiteY660" fmla="*/ 609445 h 876898"/>
                <a:gd name="connsiteX661" fmla="*/ 74872 w 1008219"/>
                <a:gd name="connsiteY661" fmla="*/ 608508 h 876898"/>
                <a:gd name="connsiteX662" fmla="*/ 86368 w 1008219"/>
                <a:gd name="connsiteY662" fmla="*/ 609294 h 876898"/>
                <a:gd name="connsiteX663" fmla="*/ 86550 w 1008219"/>
                <a:gd name="connsiteY663" fmla="*/ 608024 h 876898"/>
                <a:gd name="connsiteX664" fmla="*/ 86429 w 1008219"/>
                <a:gd name="connsiteY664" fmla="*/ 602942 h 876898"/>
                <a:gd name="connsiteX665" fmla="*/ 86307 w 1008219"/>
                <a:gd name="connsiteY665" fmla="*/ 602518 h 876898"/>
                <a:gd name="connsiteX666" fmla="*/ 86277 w 1008219"/>
                <a:gd name="connsiteY666" fmla="*/ 601973 h 876898"/>
                <a:gd name="connsiteX667" fmla="*/ 86368 w 1008219"/>
                <a:gd name="connsiteY667" fmla="*/ 601156 h 876898"/>
                <a:gd name="connsiteX668" fmla="*/ 86640 w 1008219"/>
                <a:gd name="connsiteY668" fmla="*/ 600642 h 876898"/>
                <a:gd name="connsiteX669" fmla="*/ 87639 w 1008219"/>
                <a:gd name="connsiteY669" fmla="*/ 599614 h 876898"/>
                <a:gd name="connsiteX670" fmla="*/ 87941 w 1008219"/>
                <a:gd name="connsiteY670" fmla="*/ 598857 h 876898"/>
                <a:gd name="connsiteX671" fmla="*/ 87820 w 1008219"/>
                <a:gd name="connsiteY671" fmla="*/ 594622 h 876898"/>
                <a:gd name="connsiteX672" fmla="*/ 86277 w 1008219"/>
                <a:gd name="connsiteY672" fmla="*/ 592535 h 876898"/>
                <a:gd name="connsiteX673" fmla="*/ 84644 w 1008219"/>
                <a:gd name="connsiteY673" fmla="*/ 591355 h 876898"/>
                <a:gd name="connsiteX674" fmla="*/ 84220 w 1008219"/>
                <a:gd name="connsiteY674" fmla="*/ 589722 h 876898"/>
                <a:gd name="connsiteX675" fmla="*/ 84251 w 1008219"/>
                <a:gd name="connsiteY675" fmla="*/ 589722 h 876898"/>
                <a:gd name="connsiteX676" fmla="*/ 84704 w 1008219"/>
                <a:gd name="connsiteY676" fmla="*/ 589207 h 876898"/>
                <a:gd name="connsiteX677" fmla="*/ 85218 w 1008219"/>
                <a:gd name="connsiteY677" fmla="*/ 588814 h 876898"/>
                <a:gd name="connsiteX678" fmla="*/ 85793 w 1008219"/>
                <a:gd name="connsiteY678" fmla="*/ 588572 h 876898"/>
                <a:gd name="connsiteX679" fmla="*/ 86368 w 1008219"/>
                <a:gd name="connsiteY679" fmla="*/ 588451 h 876898"/>
                <a:gd name="connsiteX680" fmla="*/ 87820 w 1008219"/>
                <a:gd name="connsiteY680" fmla="*/ 587483 h 876898"/>
                <a:gd name="connsiteX681" fmla="*/ 88274 w 1008219"/>
                <a:gd name="connsiteY681" fmla="*/ 586787 h 876898"/>
                <a:gd name="connsiteX682" fmla="*/ 88546 w 1008219"/>
                <a:gd name="connsiteY682" fmla="*/ 585607 h 876898"/>
                <a:gd name="connsiteX683" fmla="*/ 90482 w 1008219"/>
                <a:gd name="connsiteY683" fmla="*/ 587211 h 876898"/>
                <a:gd name="connsiteX684" fmla="*/ 95565 w 1008219"/>
                <a:gd name="connsiteY684" fmla="*/ 588239 h 876898"/>
                <a:gd name="connsiteX685" fmla="*/ 96411 w 1008219"/>
                <a:gd name="connsiteY685" fmla="*/ 589691 h 876898"/>
                <a:gd name="connsiteX686" fmla="*/ 97621 w 1008219"/>
                <a:gd name="connsiteY686" fmla="*/ 590750 h 876898"/>
                <a:gd name="connsiteX687" fmla="*/ 99013 w 1008219"/>
                <a:gd name="connsiteY687" fmla="*/ 591416 h 876898"/>
                <a:gd name="connsiteX688" fmla="*/ 100163 w 1008219"/>
                <a:gd name="connsiteY688" fmla="*/ 591204 h 876898"/>
                <a:gd name="connsiteX689" fmla="*/ 100496 w 1008219"/>
                <a:gd name="connsiteY689" fmla="*/ 589722 h 876898"/>
                <a:gd name="connsiteX690" fmla="*/ 100496 w 1008219"/>
                <a:gd name="connsiteY690" fmla="*/ 589691 h 876898"/>
                <a:gd name="connsiteX691" fmla="*/ 101403 w 1008219"/>
                <a:gd name="connsiteY691" fmla="*/ 587786 h 876898"/>
                <a:gd name="connsiteX692" fmla="*/ 102704 w 1008219"/>
                <a:gd name="connsiteY692" fmla="*/ 586938 h 876898"/>
                <a:gd name="connsiteX693" fmla="*/ 103884 w 1008219"/>
                <a:gd name="connsiteY693" fmla="*/ 587483 h 876898"/>
                <a:gd name="connsiteX694" fmla="*/ 104338 w 1008219"/>
                <a:gd name="connsiteY694" fmla="*/ 589722 h 876898"/>
                <a:gd name="connsiteX695" fmla="*/ 105275 w 1008219"/>
                <a:gd name="connsiteY695" fmla="*/ 591869 h 876898"/>
                <a:gd name="connsiteX696" fmla="*/ 110993 w 1008219"/>
                <a:gd name="connsiteY696" fmla="*/ 591930 h 876898"/>
                <a:gd name="connsiteX697" fmla="*/ 113685 w 1008219"/>
                <a:gd name="connsiteY697" fmla="*/ 593170 h 876898"/>
                <a:gd name="connsiteX698" fmla="*/ 115318 w 1008219"/>
                <a:gd name="connsiteY698" fmla="*/ 595560 h 876898"/>
                <a:gd name="connsiteX699" fmla="*/ 115198 w 1008219"/>
                <a:gd name="connsiteY699" fmla="*/ 596982 h 876898"/>
                <a:gd name="connsiteX700" fmla="*/ 114320 w 1008219"/>
                <a:gd name="connsiteY700" fmla="*/ 598525 h 876898"/>
                <a:gd name="connsiteX701" fmla="*/ 113625 w 1008219"/>
                <a:gd name="connsiteY701" fmla="*/ 601217 h 876898"/>
                <a:gd name="connsiteX702" fmla="*/ 113927 w 1008219"/>
                <a:gd name="connsiteY702" fmla="*/ 603305 h 876898"/>
                <a:gd name="connsiteX703" fmla="*/ 114865 w 1008219"/>
                <a:gd name="connsiteY703" fmla="*/ 605876 h 876898"/>
                <a:gd name="connsiteX704" fmla="*/ 116045 w 1008219"/>
                <a:gd name="connsiteY704" fmla="*/ 608296 h 876898"/>
                <a:gd name="connsiteX705" fmla="*/ 117104 w 1008219"/>
                <a:gd name="connsiteY705" fmla="*/ 609899 h 876898"/>
                <a:gd name="connsiteX706" fmla="*/ 119130 w 1008219"/>
                <a:gd name="connsiteY706" fmla="*/ 611381 h 876898"/>
                <a:gd name="connsiteX707" fmla="*/ 120946 w 1008219"/>
                <a:gd name="connsiteY707" fmla="*/ 612107 h 876898"/>
                <a:gd name="connsiteX708" fmla="*/ 122488 w 1008219"/>
                <a:gd name="connsiteY708" fmla="*/ 613287 h 876898"/>
                <a:gd name="connsiteX709" fmla="*/ 123698 w 1008219"/>
                <a:gd name="connsiteY709" fmla="*/ 616010 h 876898"/>
                <a:gd name="connsiteX710" fmla="*/ 123698 w 1008219"/>
                <a:gd name="connsiteY710" fmla="*/ 617432 h 876898"/>
                <a:gd name="connsiteX711" fmla="*/ 123426 w 1008219"/>
                <a:gd name="connsiteY711" fmla="*/ 618914 h 876898"/>
                <a:gd name="connsiteX712" fmla="*/ 123335 w 1008219"/>
                <a:gd name="connsiteY712" fmla="*/ 620306 h 876898"/>
                <a:gd name="connsiteX713" fmla="*/ 124001 w 1008219"/>
                <a:gd name="connsiteY713" fmla="*/ 621516 h 876898"/>
                <a:gd name="connsiteX714" fmla="*/ 125241 w 1008219"/>
                <a:gd name="connsiteY714" fmla="*/ 621879 h 876898"/>
                <a:gd name="connsiteX715" fmla="*/ 125423 w 1008219"/>
                <a:gd name="connsiteY715" fmla="*/ 621909 h 876898"/>
                <a:gd name="connsiteX716" fmla="*/ 126542 w 1008219"/>
                <a:gd name="connsiteY716" fmla="*/ 620820 h 876898"/>
                <a:gd name="connsiteX717" fmla="*/ 127480 w 1008219"/>
                <a:gd name="connsiteY717" fmla="*/ 619277 h 876898"/>
                <a:gd name="connsiteX718" fmla="*/ 128418 w 1008219"/>
                <a:gd name="connsiteY718" fmla="*/ 618218 h 876898"/>
                <a:gd name="connsiteX719" fmla="*/ 132623 w 1008219"/>
                <a:gd name="connsiteY719" fmla="*/ 617886 h 876898"/>
                <a:gd name="connsiteX720" fmla="*/ 152740 w 1008219"/>
                <a:gd name="connsiteY720" fmla="*/ 624390 h 876898"/>
                <a:gd name="connsiteX721" fmla="*/ 153889 w 1008219"/>
                <a:gd name="connsiteY721" fmla="*/ 625085 h 876898"/>
                <a:gd name="connsiteX722" fmla="*/ 155220 w 1008219"/>
                <a:gd name="connsiteY722" fmla="*/ 626961 h 876898"/>
                <a:gd name="connsiteX723" fmla="*/ 155946 w 1008219"/>
                <a:gd name="connsiteY723" fmla="*/ 627626 h 876898"/>
                <a:gd name="connsiteX724" fmla="*/ 157035 w 1008219"/>
                <a:gd name="connsiteY724" fmla="*/ 627929 h 876898"/>
                <a:gd name="connsiteX725" fmla="*/ 165385 w 1008219"/>
                <a:gd name="connsiteY725" fmla="*/ 626054 h 876898"/>
                <a:gd name="connsiteX726" fmla="*/ 167895 w 1008219"/>
                <a:gd name="connsiteY726" fmla="*/ 626296 h 876898"/>
                <a:gd name="connsiteX727" fmla="*/ 168107 w 1008219"/>
                <a:gd name="connsiteY727" fmla="*/ 627294 h 876898"/>
                <a:gd name="connsiteX728" fmla="*/ 168410 w 1008219"/>
                <a:gd name="connsiteY728" fmla="*/ 628171 h 876898"/>
                <a:gd name="connsiteX729" fmla="*/ 173492 w 1008219"/>
                <a:gd name="connsiteY729" fmla="*/ 636158 h 876898"/>
                <a:gd name="connsiteX730" fmla="*/ 174158 w 1008219"/>
                <a:gd name="connsiteY730" fmla="*/ 636339 h 876898"/>
                <a:gd name="connsiteX731" fmla="*/ 176941 w 1008219"/>
                <a:gd name="connsiteY731" fmla="*/ 636278 h 876898"/>
                <a:gd name="connsiteX732" fmla="*/ 182900 w 1008219"/>
                <a:gd name="connsiteY732" fmla="*/ 634221 h 876898"/>
                <a:gd name="connsiteX733" fmla="*/ 184564 w 1008219"/>
                <a:gd name="connsiteY733" fmla="*/ 634433 h 876898"/>
                <a:gd name="connsiteX734" fmla="*/ 185926 w 1008219"/>
                <a:gd name="connsiteY734" fmla="*/ 635643 h 876898"/>
                <a:gd name="connsiteX735" fmla="*/ 187226 w 1008219"/>
                <a:gd name="connsiteY735" fmla="*/ 637912 h 876898"/>
                <a:gd name="connsiteX736" fmla="*/ 188104 w 1008219"/>
                <a:gd name="connsiteY736" fmla="*/ 639878 h 876898"/>
                <a:gd name="connsiteX737" fmla="*/ 188648 w 1008219"/>
                <a:gd name="connsiteY737" fmla="*/ 641905 h 876898"/>
                <a:gd name="connsiteX738" fmla="*/ 188406 w 1008219"/>
                <a:gd name="connsiteY738" fmla="*/ 643630 h 876898"/>
                <a:gd name="connsiteX739" fmla="*/ 186984 w 1008219"/>
                <a:gd name="connsiteY739" fmla="*/ 644719 h 876898"/>
                <a:gd name="connsiteX740" fmla="*/ 186773 w 1008219"/>
                <a:gd name="connsiteY740" fmla="*/ 645172 h 876898"/>
                <a:gd name="connsiteX741" fmla="*/ 186682 w 1008219"/>
                <a:gd name="connsiteY741" fmla="*/ 645657 h 876898"/>
                <a:gd name="connsiteX742" fmla="*/ 186773 w 1008219"/>
                <a:gd name="connsiteY742" fmla="*/ 646110 h 876898"/>
                <a:gd name="connsiteX743" fmla="*/ 186984 w 1008219"/>
                <a:gd name="connsiteY743" fmla="*/ 646564 h 876898"/>
                <a:gd name="connsiteX744" fmla="*/ 191250 w 1008219"/>
                <a:gd name="connsiteY744" fmla="*/ 645838 h 876898"/>
                <a:gd name="connsiteX745" fmla="*/ 197512 w 1008219"/>
                <a:gd name="connsiteY745" fmla="*/ 640272 h 876898"/>
                <a:gd name="connsiteX746" fmla="*/ 201747 w 1008219"/>
                <a:gd name="connsiteY746" fmla="*/ 640665 h 876898"/>
                <a:gd name="connsiteX747" fmla="*/ 204924 w 1008219"/>
                <a:gd name="connsiteY747" fmla="*/ 642904 h 876898"/>
                <a:gd name="connsiteX748" fmla="*/ 206436 w 1008219"/>
                <a:gd name="connsiteY748" fmla="*/ 643569 h 876898"/>
                <a:gd name="connsiteX749" fmla="*/ 208130 w 1008219"/>
                <a:gd name="connsiteY749" fmla="*/ 643206 h 876898"/>
                <a:gd name="connsiteX750" fmla="*/ 209370 w 1008219"/>
                <a:gd name="connsiteY750" fmla="*/ 641784 h 876898"/>
                <a:gd name="connsiteX751" fmla="*/ 210096 w 1008219"/>
                <a:gd name="connsiteY751" fmla="*/ 639939 h 876898"/>
                <a:gd name="connsiteX752" fmla="*/ 210822 w 1008219"/>
                <a:gd name="connsiteY752" fmla="*/ 638487 h 876898"/>
                <a:gd name="connsiteX753" fmla="*/ 212123 w 1008219"/>
                <a:gd name="connsiteY753" fmla="*/ 638214 h 876898"/>
                <a:gd name="connsiteX754" fmla="*/ 215784 w 1008219"/>
                <a:gd name="connsiteY754" fmla="*/ 638275 h 876898"/>
                <a:gd name="connsiteX755" fmla="*/ 219081 w 1008219"/>
                <a:gd name="connsiteY755" fmla="*/ 639062 h 876898"/>
                <a:gd name="connsiteX756" fmla="*/ 222167 w 1008219"/>
                <a:gd name="connsiteY756" fmla="*/ 640665 h 876898"/>
                <a:gd name="connsiteX757" fmla="*/ 230728 w 1008219"/>
                <a:gd name="connsiteY757" fmla="*/ 649014 h 876898"/>
                <a:gd name="connsiteX758" fmla="*/ 231635 w 1008219"/>
                <a:gd name="connsiteY758" fmla="*/ 651797 h 876898"/>
                <a:gd name="connsiteX759" fmla="*/ 228489 w 1008219"/>
                <a:gd name="connsiteY759" fmla="*/ 653007 h 876898"/>
                <a:gd name="connsiteX760" fmla="*/ 228882 w 1008219"/>
                <a:gd name="connsiteY760" fmla="*/ 654096 h 876898"/>
                <a:gd name="connsiteX761" fmla="*/ 228882 w 1008219"/>
                <a:gd name="connsiteY761" fmla="*/ 654581 h 876898"/>
                <a:gd name="connsiteX762" fmla="*/ 228580 w 1008219"/>
                <a:gd name="connsiteY762" fmla="*/ 654974 h 876898"/>
                <a:gd name="connsiteX763" fmla="*/ 228156 w 1008219"/>
                <a:gd name="connsiteY763" fmla="*/ 655821 h 876898"/>
                <a:gd name="connsiteX764" fmla="*/ 228005 w 1008219"/>
                <a:gd name="connsiteY764" fmla="*/ 656547 h 876898"/>
                <a:gd name="connsiteX765" fmla="*/ 227854 w 1008219"/>
                <a:gd name="connsiteY765" fmla="*/ 657666 h 876898"/>
                <a:gd name="connsiteX766" fmla="*/ 227884 w 1008219"/>
                <a:gd name="connsiteY766" fmla="*/ 658544 h 876898"/>
                <a:gd name="connsiteX767" fmla="*/ 228156 w 1008219"/>
                <a:gd name="connsiteY767" fmla="*/ 658453 h 876898"/>
                <a:gd name="connsiteX768" fmla="*/ 227279 w 1008219"/>
                <a:gd name="connsiteY768" fmla="*/ 659572 h 876898"/>
                <a:gd name="connsiteX769" fmla="*/ 225222 w 1008219"/>
                <a:gd name="connsiteY769" fmla="*/ 661448 h 876898"/>
                <a:gd name="connsiteX770" fmla="*/ 224284 w 1008219"/>
                <a:gd name="connsiteY770" fmla="*/ 662658 h 876898"/>
                <a:gd name="connsiteX771" fmla="*/ 222530 w 1008219"/>
                <a:gd name="connsiteY771" fmla="*/ 663021 h 876898"/>
                <a:gd name="connsiteX772" fmla="*/ 219323 w 1008219"/>
                <a:gd name="connsiteY772" fmla="*/ 662204 h 876898"/>
                <a:gd name="connsiteX773" fmla="*/ 217750 w 1008219"/>
                <a:gd name="connsiteY773" fmla="*/ 662658 h 876898"/>
                <a:gd name="connsiteX774" fmla="*/ 216964 w 1008219"/>
                <a:gd name="connsiteY774" fmla="*/ 664533 h 876898"/>
                <a:gd name="connsiteX775" fmla="*/ 215451 w 1008219"/>
                <a:gd name="connsiteY775" fmla="*/ 665713 h 876898"/>
                <a:gd name="connsiteX776" fmla="*/ 213666 w 1008219"/>
                <a:gd name="connsiteY776" fmla="*/ 666711 h 876898"/>
                <a:gd name="connsiteX777" fmla="*/ 212123 w 1008219"/>
                <a:gd name="connsiteY777" fmla="*/ 667891 h 876898"/>
                <a:gd name="connsiteX778" fmla="*/ 211579 w 1008219"/>
                <a:gd name="connsiteY778" fmla="*/ 668103 h 876898"/>
                <a:gd name="connsiteX779" fmla="*/ 210671 w 1008219"/>
                <a:gd name="connsiteY779" fmla="*/ 668648 h 876898"/>
                <a:gd name="connsiteX780" fmla="*/ 210036 w 1008219"/>
                <a:gd name="connsiteY780" fmla="*/ 668708 h 876898"/>
                <a:gd name="connsiteX781" fmla="*/ 210520 w 1008219"/>
                <a:gd name="connsiteY781" fmla="*/ 670311 h 876898"/>
                <a:gd name="connsiteX782" fmla="*/ 210701 w 1008219"/>
                <a:gd name="connsiteY782" fmla="*/ 670735 h 876898"/>
                <a:gd name="connsiteX783" fmla="*/ 208705 w 1008219"/>
                <a:gd name="connsiteY783" fmla="*/ 670311 h 876898"/>
                <a:gd name="connsiteX784" fmla="*/ 207918 w 1008219"/>
                <a:gd name="connsiteY784" fmla="*/ 672610 h 876898"/>
                <a:gd name="connsiteX785" fmla="*/ 208856 w 1008219"/>
                <a:gd name="connsiteY785" fmla="*/ 675212 h 876898"/>
                <a:gd name="connsiteX786" fmla="*/ 212123 w 1008219"/>
                <a:gd name="connsiteY786" fmla="*/ 675757 h 876898"/>
                <a:gd name="connsiteX787" fmla="*/ 213454 w 1008219"/>
                <a:gd name="connsiteY787" fmla="*/ 679477 h 876898"/>
                <a:gd name="connsiteX788" fmla="*/ 213908 w 1008219"/>
                <a:gd name="connsiteY788" fmla="*/ 680325 h 876898"/>
                <a:gd name="connsiteX789" fmla="*/ 215209 w 1008219"/>
                <a:gd name="connsiteY789" fmla="*/ 681263 h 876898"/>
                <a:gd name="connsiteX790" fmla="*/ 215935 w 1008219"/>
                <a:gd name="connsiteY790" fmla="*/ 681141 h 876898"/>
                <a:gd name="connsiteX791" fmla="*/ 216661 w 1008219"/>
                <a:gd name="connsiteY791" fmla="*/ 680536 h 876898"/>
                <a:gd name="connsiteX792" fmla="*/ 217841 w 1008219"/>
                <a:gd name="connsiteY792" fmla="*/ 680203 h 876898"/>
                <a:gd name="connsiteX793" fmla="*/ 222409 w 1008219"/>
                <a:gd name="connsiteY793" fmla="*/ 680203 h 876898"/>
                <a:gd name="connsiteX794" fmla="*/ 223377 w 1008219"/>
                <a:gd name="connsiteY794" fmla="*/ 680476 h 876898"/>
                <a:gd name="connsiteX795" fmla="*/ 224073 w 1008219"/>
                <a:gd name="connsiteY795" fmla="*/ 681837 h 876898"/>
                <a:gd name="connsiteX796" fmla="*/ 224163 w 1008219"/>
                <a:gd name="connsiteY796" fmla="*/ 683168 h 876898"/>
                <a:gd name="connsiteX797" fmla="*/ 224073 w 1008219"/>
                <a:gd name="connsiteY797" fmla="*/ 684469 h 876898"/>
                <a:gd name="connsiteX798" fmla="*/ 224314 w 1008219"/>
                <a:gd name="connsiteY798" fmla="*/ 685740 h 876898"/>
                <a:gd name="connsiteX799" fmla="*/ 226129 w 1008219"/>
                <a:gd name="connsiteY799" fmla="*/ 687948 h 876898"/>
                <a:gd name="connsiteX800" fmla="*/ 230607 w 1008219"/>
                <a:gd name="connsiteY800" fmla="*/ 689461 h 876898"/>
                <a:gd name="connsiteX801" fmla="*/ 232846 w 1008219"/>
                <a:gd name="connsiteY801" fmla="*/ 690882 h 876898"/>
                <a:gd name="connsiteX802" fmla="*/ 234298 w 1008219"/>
                <a:gd name="connsiteY802" fmla="*/ 692758 h 876898"/>
                <a:gd name="connsiteX803" fmla="*/ 236839 w 1008219"/>
                <a:gd name="connsiteY803" fmla="*/ 697054 h 876898"/>
                <a:gd name="connsiteX804" fmla="*/ 238291 w 1008219"/>
                <a:gd name="connsiteY804" fmla="*/ 698869 h 876898"/>
                <a:gd name="connsiteX805" fmla="*/ 239592 w 1008219"/>
                <a:gd name="connsiteY805" fmla="*/ 700986 h 876898"/>
                <a:gd name="connsiteX806" fmla="*/ 242617 w 1008219"/>
                <a:gd name="connsiteY806" fmla="*/ 703921 h 876898"/>
                <a:gd name="connsiteX807" fmla="*/ 243706 w 1008219"/>
                <a:gd name="connsiteY807" fmla="*/ 706643 h 876898"/>
                <a:gd name="connsiteX808" fmla="*/ 244855 w 1008219"/>
                <a:gd name="connsiteY808" fmla="*/ 711574 h 876898"/>
                <a:gd name="connsiteX809" fmla="*/ 245823 w 1008219"/>
                <a:gd name="connsiteY809" fmla="*/ 713359 h 876898"/>
                <a:gd name="connsiteX810" fmla="*/ 247578 w 1008219"/>
                <a:gd name="connsiteY810" fmla="*/ 715507 h 876898"/>
                <a:gd name="connsiteX811" fmla="*/ 251057 w 1008219"/>
                <a:gd name="connsiteY811" fmla="*/ 718441 h 876898"/>
                <a:gd name="connsiteX812" fmla="*/ 255262 w 1008219"/>
                <a:gd name="connsiteY812" fmla="*/ 720468 h 876898"/>
                <a:gd name="connsiteX813" fmla="*/ 259346 w 1008219"/>
                <a:gd name="connsiteY813" fmla="*/ 720196 h 876898"/>
                <a:gd name="connsiteX814" fmla="*/ 262431 w 1008219"/>
                <a:gd name="connsiteY814" fmla="*/ 716294 h 876898"/>
                <a:gd name="connsiteX815" fmla="*/ 264700 w 1008219"/>
                <a:gd name="connsiteY815" fmla="*/ 714811 h 876898"/>
                <a:gd name="connsiteX816" fmla="*/ 265910 w 1008219"/>
                <a:gd name="connsiteY816" fmla="*/ 713208 h 876898"/>
                <a:gd name="connsiteX817" fmla="*/ 266999 w 1008219"/>
                <a:gd name="connsiteY817" fmla="*/ 711241 h 876898"/>
                <a:gd name="connsiteX818" fmla="*/ 268815 w 1008219"/>
                <a:gd name="connsiteY818" fmla="*/ 708731 h 876898"/>
                <a:gd name="connsiteX819" fmla="*/ 271083 w 1008219"/>
                <a:gd name="connsiteY819" fmla="*/ 706946 h 876898"/>
                <a:gd name="connsiteX820" fmla="*/ 273080 w 1008219"/>
                <a:gd name="connsiteY820" fmla="*/ 706704 h 876898"/>
                <a:gd name="connsiteX821" fmla="*/ 275076 w 1008219"/>
                <a:gd name="connsiteY821" fmla="*/ 706795 h 876898"/>
                <a:gd name="connsiteX822" fmla="*/ 276317 w 1008219"/>
                <a:gd name="connsiteY822" fmla="*/ 706522 h 876898"/>
                <a:gd name="connsiteX823" fmla="*/ 277436 w 1008219"/>
                <a:gd name="connsiteY823" fmla="*/ 706250 h 876898"/>
                <a:gd name="connsiteX824" fmla="*/ 278374 w 1008219"/>
                <a:gd name="connsiteY824" fmla="*/ 705494 h 876898"/>
                <a:gd name="connsiteX825" fmla="*/ 280068 w 1008219"/>
                <a:gd name="connsiteY825" fmla="*/ 703346 h 876898"/>
                <a:gd name="connsiteX826" fmla="*/ 281248 w 1008219"/>
                <a:gd name="connsiteY826" fmla="*/ 702559 h 876898"/>
                <a:gd name="connsiteX827" fmla="*/ 282155 w 1008219"/>
                <a:gd name="connsiteY827" fmla="*/ 702559 h 876898"/>
                <a:gd name="connsiteX828" fmla="*/ 284031 w 1008219"/>
                <a:gd name="connsiteY828" fmla="*/ 703165 h 876898"/>
                <a:gd name="connsiteX829" fmla="*/ 284908 w 1008219"/>
                <a:gd name="connsiteY829" fmla="*/ 703104 h 876898"/>
                <a:gd name="connsiteX830" fmla="*/ 285180 w 1008219"/>
                <a:gd name="connsiteY830" fmla="*/ 702559 h 876898"/>
                <a:gd name="connsiteX831" fmla="*/ 285150 w 1008219"/>
                <a:gd name="connsiteY831" fmla="*/ 700835 h 876898"/>
                <a:gd name="connsiteX832" fmla="*/ 285423 w 1008219"/>
                <a:gd name="connsiteY832" fmla="*/ 700412 h 876898"/>
                <a:gd name="connsiteX833" fmla="*/ 286905 w 1008219"/>
                <a:gd name="connsiteY833" fmla="*/ 700442 h 876898"/>
                <a:gd name="connsiteX834" fmla="*/ 287510 w 1008219"/>
                <a:gd name="connsiteY834" fmla="*/ 700835 h 876898"/>
                <a:gd name="connsiteX835" fmla="*/ 287964 w 1008219"/>
                <a:gd name="connsiteY835" fmla="*/ 701712 h 876898"/>
                <a:gd name="connsiteX836" fmla="*/ 289053 w 1008219"/>
                <a:gd name="connsiteY836" fmla="*/ 703165 h 876898"/>
                <a:gd name="connsiteX837" fmla="*/ 290263 w 1008219"/>
                <a:gd name="connsiteY837" fmla="*/ 703618 h 876898"/>
                <a:gd name="connsiteX838" fmla="*/ 290898 w 1008219"/>
                <a:gd name="connsiteY838" fmla="*/ 702378 h 876898"/>
                <a:gd name="connsiteX839" fmla="*/ 290717 w 1008219"/>
                <a:gd name="connsiteY839" fmla="*/ 700472 h 876898"/>
                <a:gd name="connsiteX840" fmla="*/ 289416 w 1008219"/>
                <a:gd name="connsiteY840" fmla="*/ 698869 h 876898"/>
                <a:gd name="connsiteX841" fmla="*/ 289234 w 1008219"/>
                <a:gd name="connsiteY841" fmla="*/ 695359 h 876898"/>
                <a:gd name="connsiteX842" fmla="*/ 288175 w 1008219"/>
                <a:gd name="connsiteY842" fmla="*/ 692758 h 876898"/>
                <a:gd name="connsiteX843" fmla="*/ 286360 w 1008219"/>
                <a:gd name="connsiteY843" fmla="*/ 690913 h 876898"/>
                <a:gd name="connsiteX844" fmla="*/ 283910 w 1008219"/>
                <a:gd name="connsiteY844" fmla="*/ 689612 h 876898"/>
                <a:gd name="connsiteX845" fmla="*/ 282034 w 1008219"/>
                <a:gd name="connsiteY845" fmla="*/ 687827 h 876898"/>
                <a:gd name="connsiteX846" fmla="*/ 281036 w 1008219"/>
                <a:gd name="connsiteY846" fmla="*/ 685014 h 876898"/>
                <a:gd name="connsiteX847" fmla="*/ 280280 w 1008219"/>
                <a:gd name="connsiteY847" fmla="*/ 681928 h 876898"/>
                <a:gd name="connsiteX848" fmla="*/ 279130 w 1008219"/>
                <a:gd name="connsiteY848" fmla="*/ 679266 h 876898"/>
                <a:gd name="connsiteX849" fmla="*/ 275924 w 1008219"/>
                <a:gd name="connsiteY849" fmla="*/ 674909 h 876898"/>
                <a:gd name="connsiteX850" fmla="*/ 275893 w 1008219"/>
                <a:gd name="connsiteY850" fmla="*/ 672883 h 876898"/>
                <a:gd name="connsiteX851" fmla="*/ 278646 w 1008219"/>
                <a:gd name="connsiteY851" fmla="*/ 671340 h 876898"/>
                <a:gd name="connsiteX852" fmla="*/ 280945 w 1008219"/>
                <a:gd name="connsiteY852" fmla="*/ 671612 h 876898"/>
                <a:gd name="connsiteX853" fmla="*/ 283789 w 1008219"/>
                <a:gd name="connsiteY853" fmla="*/ 673185 h 876898"/>
                <a:gd name="connsiteX854" fmla="*/ 285271 w 1008219"/>
                <a:gd name="connsiteY854" fmla="*/ 674002 h 876898"/>
                <a:gd name="connsiteX855" fmla="*/ 287601 w 1008219"/>
                <a:gd name="connsiteY855" fmla="*/ 673760 h 876898"/>
                <a:gd name="connsiteX856" fmla="*/ 297947 w 1008219"/>
                <a:gd name="connsiteY856" fmla="*/ 676422 h 876898"/>
                <a:gd name="connsiteX857" fmla="*/ 299036 w 1008219"/>
                <a:gd name="connsiteY857" fmla="*/ 677027 h 876898"/>
                <a:gd name="connsiteX858" fmla="*/ 301365 w 1008219"/>
                <a:gd name="connsiteY858" fmla="*/ 678842 h 876898"/>
                <a:gd name="connsiteX859" fmla="*/ 302666 w 1008219"/>
                <a:gd name="connsiteY859" fmla="*/ 679477 h 876898"/>
                <a:gd name="connsiteX860" fmla="*/ 304057 w 1008219"/>
                <a:gd name="connsiteY860" fmla="*/ 679508 h 876898"/>
                <a:gd name="connsiteX861" fmla="*/ 307113 w 1008219"/>
                <a:gd name="connsiteY861" fmla="*/ 678903 h 876898"/>
                <a:gd name="connsiteX862" fmla="*/ 308292 w 1008219"/>
                <a:gd name="connsiteY862" fmla="*/ 679236 h 876898"/>
                <a:gd name="connsiteX863" fmla="*/ 308081 w 1008219"/>
                <a:gd name="connsiteY863" fmla="*/ 679629 h 876898"/>
                <a:gd name="connsiteX864" fmla="*/ 308414 w 1008219"/>
                <a:gd name="connsiteY864" fmla="*/ 681202 h 876898"/>
                <a:gd name="connsiteX865" fmla="*/ 309049 w 1008219"/>
                <a:gd name="connsiteY865" fmla="*/ 683078 h 876898"/>
                <a:gd name="connsiteX866" fmla="*/ 309624 w 1008219"/>
                <a:gd name="connsiteY866" fmla="*/ 684348 h 876898"/>
                <a:gd name="connsiteX867" fmla="*/ 310622 w 1008219"/>
                <a:gd name="connsiteY867" fmla="*/ 685346 h 876898"/>
                <a:gd name="connsiteX868" fmla="*/ 314192 w 1008219"/>
                <a:gd name="connsiteY868" fmla="*/ 687403 h 876898"/>
                <a:gd name="connsiteX869" fmla="*/ 316581 w 1008219"/>
                <a:gd name="connsiteY869" fmla="*/ 688039 h 876898"/>
                <a:gd name="connsiteX870" fmla="*/ 321301 w 1008219"/>
                <a:gd name="connsiteY870" fmla="*/ 687918 h 876898"/>
                <a:gd name="connsiteX871" fmla="*/ 323358 w 1008219"/>
                <a:gd name="connsiteY871" fmla="*/ 688704 h 876898"/>
                <a:gd name="connsiteX872" fmla="*/ 321512 w 1008219"/>
                <a:gd name="connsiteY872" fmla="*/ 689400 h 876898"/>
                <a:gd name="connsiteX873" fmla="*/ 321815 w 1008219"/>
                <a:gd name="connsiteY873" fmla="*/ 689945 h 876898"/>
                <a:gd name="connsiteX874" fmla="*/ 322178 w 1008219"/>
                <a:gd name="connsiteY874" fmla="*/ 690459 h 876898"/>
                <a:gd name="connsiteX875" fmla="*/ 322571 w 1008219"/>
                <a:gd name="connsiteY875" fmla="*/ 690852 h 876898"/>
                <a:gd name="connsiteX876" fmla="*/ 323025 w 1008219"/>
                <a:gd name="connsiteY876" fmla="*/ 691215 h 876898"/>
                <a:gd name="connsiteX877" fmla="*/ 322904 w 1008219"/>
                <a:gd name="connsiteY877" fmla="*/ 693091 h 876898"/>
                <a:gd name="connsiteX878" fmla="*/ 323116 w 1008219"/>
                <a:gd name="connsiteY878" fmla="*/ 694936 h 876898"/>
                <a:gd name="connsiteX879" fmla="*/ 323811 w 1008219"/>
                <a:gd name="connsiteY879" fmla="*/ 696418 h 876898"/>
                <a:gd name="connsiteX880" fmla="*/ 325143 w 1008219"/>
                <a:gd name="connsiteY880" fmla="*/ 697356 h 876898"/>
                <a:gd name="connsiteX881" fmla="*/ 326232 w 1008219"/>
                <a:gd name="connsiteY881" fmla="*/ 694694 h 876898"/>
                <a:gd name="connsiteX882" fmla="*/ 328470 w 1008219"/>
                <a:gd name="connsiteY882" fmla="*/ 694543 h 876898"/>
                <a:gd name="connsiteX883" fmla="*/ 330648 w 1008219"/>
                <a:gd name="connsiteY883" fmla="*/ 696176 h 876898"/>
                <a:gd name="connsiteX884" fmla="*/ 331586 w 1008219"/>
                <a:gd name="connsiteY884" fmla="*/ 698869 h 876898"/>
                <a:gd name="connsiteX885" fmla="*/ 332100 w 1008219"/>
                <a:gd name="connsiteY885" fmla="*/ 699171 h 876898"/>
                <a:gd name="connsiteX886" fmla="*/ 332645 w 1008219"/>
                <a:gd name="connsiteY886" fmla="*/ 699292 h 876898"/>
                <a:gd name="connsiteX887" fmla="*/ 333159 w 1008219"/>
                <a:gd name="connsiteY887" fmla="*/ 699201 h 876898"/>
                <a:gd name="connsiteX888" fmla="*/ 333704 w 1008219"/>
                <a:gd name="connsiteY888" fmla="*/ 698869 h 876898"/>
                <a:gd name="connsiteX889" fmla="*/ 336638 w 1008219"/>
                <a:gd name="connsiteY889" fmla="*/ 695571 h 876898"/>
                <a:gd name="connsiteX890" fmla="*/ 341448 w 1008219"/>
                <a:gd name="connsiteY890" fmla="*/ 695178 h 876898"/>
                <a:gd name="connsiteX891" fmla="*/ 350433 w 1008219"/>
                <a:gd name="connsiteY891" fmla="*/ 696630 h 876898"/>
                <a:gd name="connsiteX892" fmla="*/ 352762 w 1008219"/>
                <a:gd name="connsiteY892" fmla="*/ 696085 h 876898"/>
                <a:gd name="connsiteX893" fmla="*/ 354486 w 1008219"/>
                <a:gd name="connsiteY893" fmla="*/ 694755 h 876898"/>
                <a:gd name="connsiteX894" fmla="*/ 357481 w 1008219"/>
                <a:gd name="connsiteY894" fmla="*/ 690973 h 876898"/>
                <a:gd name="connsiteX895" fmla="*/ 358056 w 1008219"/>
                <a:gd name="connsiteY895" fmla="*/ 689793 h 876898"/>
                <a:gd name="connsiteX896" fmla="*/ 358298 w 1008219"/>
                <a:gd name="connsiteY896" fmla="*/ 688795 h 876898"/>
                <a:gd name="connsiteX897" fmla="*/ 358964 w 1008219"/>
                <a:gd name="connsiteY897" fmla="*/ 688402 h 876898"/>
                <a:gd name="connsiteX898" fmla="*/ 360658 w 1008219"/>
                <a:gd name="connsiteY898" fmla="*/ 689007 h 876898"/>
                <a:gd name="connsiteX899" fmla="*/ 361232 w 1008219"/>
                <a:gd name="connsiteY899" fmla="*/ 689491 h 876898"/>
                <a:gd name="connsiteX900" fmla="*/ 363078 w 1008219"/>
                <a:gd name="connsiteY900" fmla="*/ 691790 h 876898"/>
                <a:gd name="connsiteX901" fmla="*/ 363320 w 1008219"/>
                <a:gd name="connsiteY901" fmla="*/ 692123 h 876898"/>
                <a:gd name="connsiteX902" fmla="*/ 363380 w 1008219"/>
                <a:gd name="connsiteY902" fmla="*/ 692486 h 876898"/>
                <a:gd name="connsiteX903" fmla="*/ 363320 w 1008219"/>
                <a:gd name="connsiteY903" fmla="*/ 692940 h 876898"/>
                <a:gd name="connsiteX904" fmla="*/ 363078 w 1008219"/>
                <a:gd name="connsiteY904" fmla="*/ 693393 h 876898"/>
                <a:gd name="connsiteX905" fmla="*/ 361989 w 1008219"/>
                <a:gd name="connsiteY905" fmla="*/ 696116 h 876898"/>
                <a:gd name="connsiteX906" fmla="*/ 361777 w 1008219"/>
                <a:gd name="connsiteY906" fmla="*/ 697417 h 876898"/>
                <a:gd name="connsiteX907" fmla="*/ 362019 w 1008219"/>
                <a:gd name="connsiteY907" fmla="*/ 698869 h 876898"/>
                <a:gd name="connsiteX908" fmla="*/ 363078 w 1008219"/>
                <a:gd name="connsiteY908" fmla="*/ 699837 h 876898"/>
                <a:gd name="connsiteX909" fmla="*/ 364651 w 1008219"/>
                <a:gd name="connsiteY909" fmla="*/ 702499 h 876898"/>
                <a:gd name="connsiteX910" fmla="*/ 363713 w 1008219"/>
                <a:gd name="connsiteY910" fmla="*/ 704707 h 876898"/>
                <a:gd name="connsiteX911" fmla="*/ 361656 w 1008219"/>
                <a:gd name="connsiteY911" fmla="*/ 706310 h 876898"/>
                <a:gd name="connsiteX912" fmla="*/ 357360 w 1008219"/>
                <a:gd name="connsiteY912" fmla="*/ 708670 h 876898"/>
                <a:gd name="connsiteX913" fmla="*/ 354698 w 1008219"/>
                <a:gd name="connsiteY913" fmla="*/ 709668 h 876898"/>
                <a:gd name="connsiteX914" fmla="*/ 349828 w 1008219"/>
                <a:gd name="connsiteY914" fmla="*/ 709820 h 876898"/>
                <a:gd name="connsiteX915" fmla="*/ 348739 w 1008219"/>
                <a:gd name="connsiteY915" fmla="*/ 710334 h 876898"/>
                <a:gd name="connsiteX916" fmla="*/ 348013 w 1008219"/>
                <a:gd name="connsiteY916" fmla="*/ 711786 h 876898"/>
                <a:gd name="connsiteX917" fmla="*/ 348194 w 1008219"/>
                <a:gd name="connsiteY917" fmla="*/ 712845 h 876898"/>
                <a:gd name="connsiteX918" fmla="*/ 353095 w 1008219"/>
                <a:gd name="connsiteY918" fmla="*/ 718532 h 876898"/>
                <a:gd name="connsiteX919" fmla="*/ 354668 w 1008219"/>
                <a:gd name="connsiteY919" fmla="*/ 719198 h 876898"/>
                <a:gd name="connsiteX920" fmla="*/ 355666 w 1008219"/>
                <a:gd name="connsiteY920" fmla="*/ 719016 h 876898"/>
                <a:gd name="connsiteX921" fmla="*/ 356544 w 1008219"/>
                <a:gd name="connsiteY921" fmla="*/ 718562 h 876898"/>
                <a:gd name="connsiteX922" fmla="*/ 357602 w 1008219"/>
                <a:gd name="connsiteY922" fmla="*/ 718350 h 876898"/>
                <a:gd name="connsiteX923" fmla="*/ 358933 w 1008219"/>
                <a:gd name="connsiteY923" fmla="*/ 718684 h 876898"/>
                <a:gd name="connsiteX924" fmla="*/ 361656 w 1008219"/>
                <a:gd name="connsiteY924" fmla="*/ 719924 h 876898"/>
                <a:gd name="connsiteX925" fmla="*/ 363078 w 1008219"/>
                <a:gd name="connsiteY925" fmla="*/ 720196 h 876898"/>
                <a:gd name="connsiteX926" fmla="*/ 363108 w 1008219"/>
                <a:gd name="connsiteY926" fmla="*/ 720347 h 876898"/>
                <a:gd name="connsiteX927" fmla="*/ 363138 w 1008219"/>
                <a:gd name="connsiteY927" fmla="*/ 720468 h 876898"/>
                <a:gd name="connsiteX928" fmla="*/ 363108 w 1008219"/>
                <a:gd name="connsiteY928" fmla="*/ 720589 h 876898"/>
                <a:gd name="connsiteX929" fmla="*/ 363078 w 1008219"/>
                <a:gd name="connsiteY929" fmla="*/ 720680 h 876898"/>
                <a:gd name="connsiteX930" fmla="*/ 362140 w 1008219"/>
                <a:gd name="connsiteY930" fmla="*/ 721406 h 876898"/>
                <a:gd name="connsiteX931" fmla="*/ 361807 w 1008219"/>
                <a:gd name="connsiteY931" fmla="*/ 722192 h 876898"/>
                <a:gd name="connsiteX932" fmla="*/ 362110 w 1008219"/>
                <a:gd name="connsiteY932" fmla="*/ 723040 h 876898"/>
                <a:gd name="connsiteX933" fmla="*/ 363078 w 1008219"/>
                <a:gd name="connsiteY933" fmla="*/ 723887 h 876898"/>
                <a:gd name="connsiteX934" fmla="*/ 364197 w 1008219"/>
                <a:gd name="connsiteY934" fmla="*/ 725127 h 876898"/>
                <a:gd name="connsiteX935" fmla="*/ 364893 w 1008219"/>
                <a:gd name="connsiteY935" fmla="*/ 726730 h 876898"/>
                <a:gd name="connsiteX936" fmla="*/ 365437 w 1008219"/>
                <a:gd name="connsiteY936" fmla="*/ 728485 h 876898"/>
                <a:gd name="connsiteX937" fmla="*/ 366224 w 1008219"/>
                <a:gd name="connsiteY937" fmla="*/ 730209 h 876898"/>
                <a:gd name="connsiteX938" fmla="*/ 367343 w 1008219"/>
                <a:gd name="connsiteY938" fmla="*/ 731661 h 876898"/>
                <a:gd name="connsiteX939" fmla="*/ 373878 w 1008219"/>
                <a:gd name="connsiteY939" fmla="*/ 737621 h 876898"/>
                <a:gd name="connsiteX940" fmla="*/ 377538 w 1008219"/>
                <a:gd name="connsiteY940" fmla="*/ 738347 h 876898"/>
                <a:gd name="connsiteX941" fmla="*/ 381198 w 1008219"/>
                <a:gd name="connsiteY941" fmla="*/ 737318 h 876898"/>
                <a:gd name="connsiteX942" fmla="*/ 384163 w 1008219"/>
                <a:gd name="connsiteY942" fmla="*/ 734868 h 876898"/>
                <a:gd name="connsiteX943" fmla="*/ 385978 w 1008219"/>
                <a:gd name="connsiteY943" fmla="*/ 734444 h 876898"/>
                <a:gd name="connsiteX944" fmla="*/ 390032 w 1008219"/>
                <a:gd name="connsiteY944" fmla="*/ 734323 h 876898"/>
                <a:gd name="connsiteX945" fmla="*/ 393299 w 1008219"/>
                <a:gd name="connsiteY945" fmla="*/ 733446 h 876898"/>
                <a:gd name="connsiteX946" fmla="*/ 393813 w 1008219"/>
                <a:gd name="connsiteY946" fmla="*/ 732811 h 876898"/>
                <a:gd name="connsiteX947" fmla="*/ 393632 w 1008219"/>
                <a:gd name="connsiteY947" fmla="*/ 731359 h 876898"/>
                <a:gd name="connsiteX948" fmla="*/ 392936 w 1008219"/>
                <a:gd name="connsiteY948" fmla="*/ 730361 h 876898"/>
                <a:gd name="connsiteX949" fmla="*/ 392089 w 1008219"/>
                <a:gd name="connsiteY949" fmla="*/ 730361 h 876898"/>
                <a:gd name="connsiteX950" fmla="*/ 391272 w 1008219"/>
                <a:gd name="connsiteY950" fmla="*/ 730572 h 876898"/>
                <a:gd name="connsiteX951" fmla="*/ 390728 w 1008219"/>
                <a:gd name="connsiteY951" fmla="*/ 730361 h 876898"/>
                <a:gd name="connsiteX952" fmla="*/ 390304 w 1008219"/>
                <a:gd name="connsiteY952" fmla="*/ 727123 h 876898"/>
                <a:gd name="connsiteX953" fmla="*/ 391968 w 1008219"/>
                <a:gd name="connsiteY953" fmla="*/ 727517 h 876898"/>
                <a:gd name="connsiteX954" fmla="*/ 393390 w 1008219"/>
                <a:gd name="connsiteY954" fmla="*/ 727819 h 876898"/>
                <a:gd name="connsiteX955" fmla="*/ 399259 w 1008219"/>
                <a:gd name="connsiteY955" fmla="*/ 731359 h 876898"/>
                <a:gd name="connsiteX956" fmla="*/ 398623 w 1008219"/>
                <a:gd name="connsiteY956" fmla="*/ 734021 h 876898"/>
                <a:gd name="connsiteX957" fmla="*/ 399924 w 1008219"/>
                <a:gd name="connsiteY957" fmla="*/ 735412 h 876898"/>
                <a:gd name="connsiteX958" fmla="*/ 406337 w 1008219"/>
                <a:gd name="connsiteY958" fmla="*/ 736532 h 876898"/>
                <a:gd name="connsiteX959" fmla="*/ 407880 w 1008219"/>
                <a:gd name="connsiteY959" fmla="*/ 737318 h 876898"/>
                <a:gd name="connsiteX960" fmla="*/ 411056 w 1008219"/>
                <a:gd name="connsiteY960" fmla="*/ 739829 h 876898"/>
                <a:gd name="connsiteX961" fmla="*/ 412236 w 1008219"/>
                <a:gd name="connsiteY961" fmla="*/ 740313 h 876898"/>
                <a:gd name="connsiteX962" fmla="*/ 414596 w 1008219"/>
                <a:gd name="connsiteY962" fmla="*/ 740767 h 876898"/>
                <a:gd name="connsiteX963" fmla="*/ 415776 w 1008219"/>
                <a:gd name="connsiteY963" fmla="*/ 741584 h 876898"/>
                <a:gd name="connsiteX964" fmla="*/ 416199 w 1008219"/>
                <a:gd name="connsiteY964" fmla="*/ 742370 h 876898"/>
                <a:gd name="connsiteX965" fmla="*/ 416925 w 1008219"/>
                <a:gd name="connsiteY965" fmla="*/ 744609 h 876898"/>
                <a:gd name="connsiteX966" fmla="*/ 417470 w 1008219"/>
                <a:gd name="connsiteY966" fmla="*/ 745577 h 876898"/>
                <a:gd name="connsiteX967" fmla="*/ 419466 w 1008219"/>
                <a:gd name="connsiteY967" fmla="*/ 747059 h 876898"/>
                <a:gd name="connsiteX968" fmla="*/ 420918 w 1008219"/>
                <a:gd name="connsiteY968" fmla="*/ 746817 h 876898"/>
                <a:gd name="connsiteX969" fmla="*/ 423732 w 1008219"/>
                <a:gd name="connsiteY969" fmla="*/ 744548 h 876898"/>
                <a:gd name="connsiteX970" fmla="*/ 423641 w 1008219"/>
                <a:gd name="connsiteY970" fmla="*/ 744306 h 876898"/>
                <a:gd name="connsiteX971" fmla="*/ 423490 w 1008219"/>
                <a:gd name="connsiteY971" fmla="*/ 744125 h 876898"/>
                <a:gd name="connsiteX972" fmla="*/ 423308 w 1008219"/>
                <a:gd name="connsiteY972" fmla="*/ 744064 h 876898"/>
                <a:gd name="connsiteX973" fmla="*/ 423097 w 1008219"/>
                <a:gd name="connsiteY973" fmla="*/ 744064 h 876898"/>
                <a:gd name="connsiteX974" fmla="*/ 427150 w 1008219"/>
                <a:gd name="connsiteY974" fmla="*/ 743580 h 876898"/>
                <a:gd name="connsiteX975" fmla="*/ 431053 w 1008219"/>
                <a:gd name="connsiteY975" fmla="*/ 744881 h 876898"/>
                <a:gd name="connsiteX976" fmla="*/ 438525 w 1008219"/>
                <a:gd name="connsiteY976" fmla="*/ 748662 h 876898"/>
                <a:gd name="connsiteX977" fmla="*/ 440885 w 1008219"/>
                <a:gd name="connsiteY977" fmla="*/ 748662 h 876898"/>
                <a:gd name="connsiteX978" fmla="*/ 444847 w 1008219"/>
                <a:gd name="connsiteY978" fmla="*/ 746333 h 876898"/>
                <a:gd name="connsiteX979" fmla="*/ 446330 w 1008219"/>
                <a:gd name="connsiteY979" fmla="*/ 747150 h 876898"/>
                <a:gd name="connsiteX980" fmla="*/ 446935 w 1008219"/>
                <a:gd name="connsiteY980" fmla="*/ 749751 h 876898"/>
                <a:gd name="connsiteX981" fmla="*/ 446693 w 1008219"/>
                <a:gd name="connsiteY981" fmla="*/ 751960 h 876898"/>
                <a:gd name="connsiteX982" fmla="*/ 447116 w 1008219"/>
                <a:gd name="connsiteY982" fmla="*/ 753715 h 876898"/>
                <a:gd name="connsiteX983" fmla="*/ 449809 w 1008219"/>
                <a:gd name="connsiteY983" fmla="*/ 755045 h 876898"/>
                <a:gd name="connsiteX984" fmla="*/ 447056 w 1008219"/>
                <a:gd name="connsiteY984" fmla="*/ 757980 h 876898"/>
                <a:gd name="connsiteX985" fmla="*/ 447086 w 1008219"/>
                <a:gd name="connsiteY985" fmla="*/ 761822 h 876898"/>
                <a:gd name="connsiteX986" fmla="*/ 448841 w 1008219"/>
                <a:gd name="connsiteY986" fmla="*/ 766178 h 876898"/>
                <a:gd name="connsiteX987" fmla="*/ 451200 w 1008219"/>
                <a:gd name="connsiteY987" fmla="*/ 770655 h 876898"/>
                <a:gd name="connsiteX988" fmla="*/ 452199 w 1008219"/>
                <a:gd name="connsiteY988" fmla="*/ 774830 h 876898"/>
                <a:gd name="connsiteX989" fmla="*/ 452864 w 1008219"/>
                <a:gd name="connsiteY989" fmla="*/ 775889 h 876898"/>
                <a:gd name="connsiteX990" fmla="*/ 454165 w 1008219"/>
                <a:gd name="connsiteY990" fmla="*/ 776766 h 876898"/>
                <a:gd name="connsiteX991" fmla="*/ 457281 w 1008219"/>
                <a:gd name="connsiteY991" fmla="*/ 777008 h 876898"/>
                <a:gd name="connsiteX992" fmla="*/ 458702 w 1008219"/>
                <a:gd name="connsiteY992" fmla="*/ 777401 h 876898"/>
                <a:gd name="connsiteX993" fmla="*/ 460034 w 1008219"/>
                <a:gd name="connsiteY993" fmla="*/ 778400 h 876898"/>
                <a:gd name="connsiteX994" fmla="*/ 462000 w 1008219"/>
                <a:gd name="connsiteY994" fmla="*/ 780548 h 876898"/>
                <a:gd name="connsiteX995" fmla="*/ 463270 w 1008219"/>
                <a:gd name="connsiteY995" fmla="*/ 781243 h 876898"/>
                <a:gd name="connsiteX996" fmla="*/ 464753 w 1008219"/>
                <a:gd name="connsiteY996" fmla="*/ 781122 h 876898"/>
                <a:gd name="connsiteX997" fmla="*/ 466296 w 1008219"/>
                <a:gd name="connsiteY997" fmla="*/ 780517 h 876898"/>
                <a:gd name="connsiteX998" fmla="*/ 467869 w 1008219"/>
                <a:gd name="connsiteY998" fmla="*/ 780245 h 876898"/>
                <a:gd name="connsiteX999" fmla="*/ 469381 w 1008219"/>
                <a:gd name="connsiteY999" fmla="*/ 781274 h 876898"/>
                <a:gd name="connsiteX1000" fmla="*/ 469805 w 1008219"/>
                <a:gd name="connsiteY1000" fmla="*/ 782393 h 876898"/>
                <a:gd name="connsiteX1001" fmla="*/ 470501 w 1008219"/>
                <a:gd name="connsiteY1001" fmla="*/ 787294 h 876898"/>
                <a:gd name="connsiteX1002" fmla="*/ 470954 w 1008219"/>
                <a:gd name="connsiteY1002" fmla="*/ 788685 h 876898"/>
                <a:gd name="connsiteX1003" fmla="*/ 472134 w 1008219"/>
                <a:gd name="connsiteY1003" fmla="*/ 791166 h 876898"/>
                <a:gd name="connsiteX1004" fmla="*/ 472588 w 1008219"/>
                <a:gd name="connsiteY1004" fmla="*/ 792466 h 876898"/>
                <a:gd name="connsiteX1005" fmla="*/ 474040 w 1008219"/>
                <a:gd name="connsiteY1005" fmla="*/ 798517 h 876898"/>
                <a:gd name="connsiteX1006" fmla="*/ 474312 w 1008219"/>
                <a:gd name="connsiteY1006" fmla="*/ 801451 h 876898"/>
                <a:gd name="connsiteX1007" fmla="*/ 473889 w 1008219"/>
                <a:gd name="connsiteY1007" fmla="*/ 803841 h 876898"/>
                <a:gd name="connsiteX1008" fmla="*/ 483872 w 1008219"/>
                <a:gd name="connsiteY1008" fmla="*/ 804688 h 876898"/>
                <a:gd name="connsiteX1009" fmla="*/ 486776 w 1008219"/>
                <a:gd name="connsiteY1009" fmla="*/ 806322 h 876898"/>
                <a:gd name="connsiteX1010" fmla="*/ 485899 w 1008219"/>
                <a:gd name="connsiteY1010" fmla="*/ 808711 h 876898"/>
                <a:gd name="connsiteX1011" fmla="*/ 485989 w 1008219"/>
                <a:gd name="connsiteY1011" fmla="*/ 810738 h 876898"/>
                <a:gd name="connsiteX1012" fmla="*/ 486473 w 1008219"/>
                <a:gd name="connsiteY1012" fmla="*/ 812675 h 876898"/>
                <a:gd name="connsiteX1013" fmla="*/ 486746 w 1008219"/>
                <a:gd name="connsiteY1013" fmla="*/ 814762 h 876898"/>
                <a:gd name="connsiteX1014" fmla="*/ 486322 w 1008219"/>
                <a:gd name="connsiteY1014" fmla="*/ 819451 h 876898"/>
                <a:gd name="connsiteX1015" fmla="*/ 486867 w 1008219"/>
                <a:gd name="connsiteY1015" fmla="*/ 821054 h 876898"/>
                <a:gd name="connsiteX1016" fmla="*/ 488863 w 1008219"/>
                <a:gd name="connsiteY1016" fmla="*/ 821387 h 876898"/>
                <a:gd name="connsiteX1017" fmla="*/ 491374 w 1008219"/>
                <a:gd name="connsiteY1017" fmla="*/ 821205 h 876898"/>
                <a:gd name="connsiteX1018" fmla="*/ 495277 w 1008219"/>
                <a:gd name="connsiteY1018" fmla="*/ 819118 h 876898"/>
                <a:gd name="connsiteX1019" fmla="*/ 497485 w 1008219"/>
                <a:gd name="connsiteY1019" fmla="*/ 818634 h 876898"/>
                <a:gd name="connsiteX1020" fmla="*/ 498392 w 1008219"/>
                <a:gd name="connsiteY1020" fmla="*/ 818936 h 876898"/>
                <a:gd name="connsiteX1021" fmla="*/ 500389 w 1008219"/>
                <a:gd name="connsiteY1021" fmla="*/ 820268 h 876898"/>
                <a:gd name="connsiteX1022" fmla="*/ 501388 w 1008219"/>
                <a:gd name="connsiteY1022" fmla="*/ 820722 h 876898"/>
                <a:gd name="connsiteX1023" fmla="*/ 502416 w 1008219"/>
                <a:gd name="connsiteY1023" fmla="*/ 820782 h 876898"/>
                <a:gd name="connsiteX1024" fmla="*/ 504927 w 1008219"/>
                <a:gd name="connsiteY1024" fmla="*/ 820328 h 876898"/>
                <a:gd name="connsiteX1025" fmla="*/ 508043 w 1008219"/>
                <a:gd name="connsiteY1025" fmla="*/ 819179 h 876898"/>
                <a:gd name="connsiteX1026" fmla="*/ 508769 w 1008219"/>
                <a:gd name="connsiteY1026" fmla="*/ 818059 h 876898"/>
                <a:gd name="connsiteX1027" fmla="*/ 509011 w 1008219"/>
                <a:gd name="connsiteY1027" fmla="*/ 816274 h 876898"/>
                <a:gd name="connsiteX1028" fmla="*/ 509707 w 1008219"/>
                <a:gd name="connsiteY1028" fmla="*/ 813522 h 876898"/>
                <a:gd name="connsiteX1029" fmla="*/ 510009 w 1008219"/>
                <a:gd name="connsiteY1029" fmla="*/ 813461 h 876898"/>
                <a:gd name="connsiteX1030" fmla="*/ 511249 w 1008219"/>
                <a:gd name="connsiteY1030" fmla="*/ 813431 h 876898"/>
                <a:gd name="connsiteX1031" fmla="*/ 511703 w 1008219"/>
                <a:gd name="connsiteY1031" fmla="*/ 813128 h 876898"/>
                <a:gd name="connsiteX1032" fmla="*/ 511945 w 1008219"/>
                <a:gd name="connsiteY1032" fmla="*/ 812190 h 876898"/>
                <a:gd name="connsiteX1033" fmla="*/ 511764 w 1008219"/>
                <a:gd name="connsiteY1033" fmla="*/ 811495 h 876898"/>
                <a:gd name="connsiteX1034" fmla="*/ 511431 w 1008219"/>
                <a:gd name="connsiteY1034" fmla="*/ 811071 h 876898"/>
                <a:gd name="connsiteX1035" fmla="*/ 511249 w 1008219"/>
                <a:gd name="connsiteY1035" fmla="*/ 810920 h 876898"/>
                <a:gd name="connsiteX1036" fmla="*/ 512853 w 1008219"/>
                <a:gd name="connsiteY1036" fmla="*/ 806292 h 876898"/>
                <a:gd name="connsiteX1037" fmla="*/ 514244 w 1008219"/>
                <a:gd name="connsiteY1037" fmla="*/ 804295 h 876898"/>
                <a:gd name="connsiteX1038" fmla="*/ 515696 w 1008219"/>
                <a:gd name="connsiteY1038" fmla="*/ 802994 h 876898"/>
                <a:gd name="connsiteX1039" fmla="*/ 517330 w 1008219"/>
                <a:gd name="connsiteY1039" fmla="*/ 802238 h 876898"/>
                <a:gd name="connsiteX1040" fmla="*/ 519296 w 1008219"/>
                <a:gd name="connsiteY1040" fmla="*/ 801875 h 876898"/>
                <a:gd name="connsiteX1041" fmla="*/ 522382 w 1008219"/>
                <a:gd name="connsiteY1041" fmla="*/ 801905 h 876898"/>
                <a:gd name="connsiteX1042" fmla="*/ 523410 w 1008219"/>
                <a:gd name="connsiteY1042" fmla="*/ 801754 h 876898"/>
                <a:gd name="connsiteX1043" fmla="*/ 524832 w 1008219"/>
                <a:gd name="connsiteY1043" fmla="*/ 801209 h 876898"/>
                <a:gd name="connsiteX1044" fmla="*/ 525619 w 1008219"/>
                <a:gd name="connsiteY1044" fmla="*/ 800604 h 876898"/>
                <a:gd name="connsiteX1045" fmla="*/ 534331 w 1008219"/>
                <a:gd name="connsiteY1045" fmla="*/ 791740 h 876898"/>
                <a:gd name="connsiteX1046" fmla="*/ 534724 w 1008219"/>
                <a:gd name="connsiteY1046" fmla="*/ 791045 h 876898"/>
                <a:gd name="connsiteX1047" fmla="*/ 535299 w 1008219"/>
                <a:gd name="connsiteY1047" fmla="*/ 790803 h 876898"/>
                <a:gd name="connsiteX1048" fmla="*/ 535844 w 1008219"/>
                <a:gd name="connsiteY1048" fmla="*/ 791014 h 876898"/>
                <a:gd name="connsiteX1049" fmla="*/ 536691 w 1008219"/>
                <a:gd name="connsiteY1049" fmla="*/ 791347 h 876898"/>
                <a:gd name="connsiteX1050" fmla="*/ 538385 w 1008219"/>
                <a:gd name="connsiteY1050" fmla="*/ 794100 h 876898"/>
                <a:gd name="connsiteX1051" fmla="*/ 539141 w 1008219"/>
                <a:gd name="connsiteY1051" fmla="*/ 794856 h 876898"/>
                <a:gd name="connsiteX1052" fmla="*/ 541531 w 1008219"/>
                <a:gd name="connsiteY1052" fmla="*/ 796278 h 876898"/>
                <a:gd name="connsiteX1053" fmla="*/ 542741 w 1008219"/>
                <a:gd name="connsiteY1053" fmla="*/ 799152 h 876898"/>
                <a:gd name="connsiteX1054" fmla="*/ 544556 w 1008219"/>
                <a:gd name="connsiteY1054" fmla="*/ 806322 h 876898"/>
                <a:gd name="connsiteX1055" fmla="*/ 546190 w 1008219"/>
                <a:gd name="connsiteY1055" fmla="*/ 810860 h 876898"/>
                <a:gd name="connsiteX1056" fmla="*/ 546704 w 1008219"/>
                <a:gd name="connsiteY1056" fmla="*/ 811858 h 876898"/>
                <a:gd name="connsiteX1057" fmla="*/ 548428 w 1008219"/>
                <a:gd name="connsiteY1057" fmla="*/ 813068 h 876898"/>
                <a:gd name="connsiteX1058" fmla="*/ 550516 w 1008219"/>
                <a:gd name="connsiteY1058" fmla="*/ 813613 h 876898"/>
                <a:gd name="connsiteX1059" fmla="*/ 554539 w 1008219"/>
                <a:gd name="connsiteY1059" fmla="*/ 813642 h 876898"/>
                <a:gd name="connsiteX1060" fmla="*/ 554085 w 1008219"/>
                <a:gd name="connsiteY1060" fmla="*/ 814550 h 876898"/>
                <a:gd name="connsiteX1061" fmla="*/ 553934 w 1008219"/>
                <a:gd name="connsiteY1061" fmla="*/ 815306 h 876898"/>
                <a:gd name="connsiteX1062" fmla="*/ 553995 w 1008219"/>
                <a:gd name="connsiteY1062" fmla="*/ 817515 h 876898"/>
                <a:gd name="connsiteX1063" fmla="*/ 553783 w 1008219"/>
                <a:gd name="connsiteY1063" fmla="*/ 819209 h 876898"/>
                <a:gd name="connsiteX1064" fmla="*/ 553783 w 1008219"/>
                <a:gd name="connsiteY1064" fmla="*/ 819239 h 876898"/>
                <a:gd name="connsiteX1065" fmla="*/ 559561 w 1008219"/>
                <a:gd name="connsiteY1065" fmla="*/ 821054 h 876898"/>
                <a:gd name="connsiteX1066" fmla="*/ 561769 w 1008219"/>
                <a:gd name="connsiteY1066" fmla="*/ 821266 h 876898"/>
                <a:gd name="connsiteX1067" fmla="*/ 563796 w 1008219"/>
                <a:gd name="connsiteY1067" fmla="*/ 821085 h 876898"/>
                <a:gd name="connsiteX1068" fmla="*/ 567154 w 1008219"/>
                <a:gd name="connsiteY1068" fmla="*/ 819844 h 876898"/>
                <a:gd name="connsiteX1069" fmla="*/ 568062 w 1008219"/>
                <a:gd name="connsiteY1069" fmla="*/ 820479 h 876898"/>
                <a:gd name="connsiteX1070" fmla="*/ 568092 w 1008219"/>
                <a:gd name="connsiteY1070" fmla="*/ 820479 h 876898"/>
                <a:gd name="connsiteX1071" fmla="*/ 568999 w 1008219"/>
                <a:gd name="connsiteY1071" fmla="*/ 823172 h 876898"/>
                <a:gd name="connsiteX1072" fmla="*/ 569514 w 1008219"/>
                <a:gd name="connsiteY1072" fmla="*/ 825531 h 876898"/>
                <a:gd name="connsiteX1073" fmla="*/ 570119 w 1008219"/>
                <a:gd name="connsiteY1073" fmla="*/ 832399 h 876898"/>
                <a:gd name="connsiteX1074" fmla="*/ 569967 w 1008219"/>
                <a:gd name="connsiteY1074" fmla="*/ 832973 h 876898"/>
                <a:gd name="connsiteX1075" fmla="*/ 569211 w 1008219"/>
                <a:gd name="connsiteY1075" fmla="*/ 834032 h 876898"/>
                <a:gd name="connsiteX1076" fmla="*/ 569151 w 1008219"/>
                <a:gd name="connsiteY1076" fmla="*/ 834607 h 876898"/>
                <a:gd name="connsiteX1077" fmla="*/ 569151 w 1008219"/>
                <a:gd name="connsiteY1077" fmla="*/ 834637 h 876898"/>
                <a:gd name="connsiteX1078" fmla="*/ 569483 w 1008219"/>
                <a:gd name="connsiteY1078" fmla="*/ 835091 h 876898"/>
                <a:gd name="connsiteX1079" fmla="*/ 570845 w 1008219"/>
                <a:gd name="connsiteY1079" fmla="*/ 836029 h 876898"/>
                <a:gd name="connsiteX1080" fmla="*/ 570875 w 1008219"/>
                <a:gd name="connsiteY1080" fmla="*/ 836029 h 876898"/>
                <a:gd name="connsiteX1081" fmla="*/ 571026 w 1008219"/>
                <a:gd name="connsiteY1081" fmla="*/ 836361 h 876898"/>
                <a:gd name="connsiteX1082" fmla="*/ 571056 w 1008219"/>
                <a:gd name="connsiteY1082" fmla="*/ 836422 h 876898"/>
                <a:gd name="connsiteX1083" fmla="*/ 571813 w 1008219"/>
                <a:gd name="connsiteY1083" fmla="*/ 837148 h 876898"/>
                <a:gd name="connsiteX1084" fmla="*/ 571873 w 1008219"/>
                <a:gd name="connsiteY1084" fmla="*/ 837178 h 876898"/>
                <a:gd name="connsiteX1085" fmla="*/ 572055 w 1008219"/>
                <a:gd name="connsiteY1085" fmla="*/ 837814 h 876898"/>
                <a:gd name="connsiteX1086" fmla="*/ 571813 w 1008219"/>
                <a:gd name="connsiteY1086" fmla="*/ 838600 h 876898"/>
                <a:gd name="connsiteX1087" fmla="*/ 571238 w 1008219"/>
                <a:gd name="connsiteY1087" fmla="*/ 838933 h 876898"/>
                <a:gd name="connsiteX1088" fmla="*/ 570573 w 1008219"/>
                <a:gd name="connsiteY1088" fmla="*/ 839084 h 876898"/>
                <a:gd name="connsiteX1089" fmla="*/ 570119 w 1008219"/>
                <a:gd name="connsiteY1089" fmla="*/ 839417 h 876898"/>
                <a:gd name="connsiteX1090" fmla="*/ 566337 w 1008219"/>
                <a:gd name="connsiteY1090" fmla="*/ 845134 h 876898"/>
                <a:gd name="connsiteX1091" fmla="*/ 565914 w 1008219"/>
                <a:gd name="connsiteY1091" fmla="*/ 846980 h 876898"/>
                <a:gd name="connsiteX1092" fmla="*/ 565914 w 1008219"/>
                <a:gd name="connsiteY1092" fmla="*/ 847010 h 876898"/>
                <a:gd name="connsiteX1093" fmla="*/ 567214 w 1008219"/>
                <a:gd name="connsiteY1093" fmla="*/ 848644 h 876898"/>
                <a:gd name="connsiteX1094" fmla="*/ 569756 w 1008219"/>
                <a:gd name="connsiteY1094" fmla="*/ 849521 h 876898"/>
                <a:gd name="connsiteX1095" fmla="*/ 574414 w 1008219"/>
                <a:gd name="connsiteY1095" fmla="*/ 849823 h 876898"/>
                <a:gd name="connsiteX1096" fmla="*/ 576623 w 1008219"/>
                <a:gd name="connsiteY1096" fmla="*/ 849067 h 876898"/>
                <a:gd name="connsiteX1097" fmla="*/ 578045 w 1008219"/>
                <a:gd name="connsiteY1097" fmla="*/ 847736 h 876898"/>
                <a:gd name="connsiteX1098" fmla="*/ 580011 w 1008219"/>
                <a:gd name="connsiteY1098" fmla="*/ 845860 h 876898"/>
                <a:gd name="connsiteX1099" fmla="*/ 581826 w 1008219"/>
                <a:gd name="connsiteY1099" fmla="*/ 844620 h 876898"/>
                <a:gd name="connsiteX1100" fmla="*/ 585063 w 1008219"/>
                <a:gd name="connsiteY1100" fmla="*/ 844287 h 876898"/>
                <a:gd name="connsiteX1101" fmla="*/ 587876 w 1008219"/>
                <a:gd name="connsiteY1101" fmla="*/ 845618 h 876898"/>
                <a:gd name="connsiteX1102" fmla="*/ 593049 w 1008219"/>
                <a:gd name="connsiteY1102" fmla="*/ 850096 h 876898"/>
                <a:gd name="connsiteX1103" fmla="*/ 596377 w 1008219"/>
                <a:gd name="connsiteY1103" fmla="*/ 851608 h 876898"/>
                <a:gd name="connsiteX1104" fmla="*/ 598374 w 1008219"/>
                <a:gd name="connsiteY1104" fmla="*/ 850217 h 876898"/>
                <a:gd name="connsiteX1105" fmla="*/ 599402 w 1008219"/>
                <a:gd name="connsiteY1105" fmla="*/ 846677 h 876898"/>
                <a:gd name="connsiteX1106" fmla="*/ 599947 w 1008219"/>
                <a:gd name="connsiteY1106" fmla="*/ 841746 h 876898"/>
                <a:gd name="connsiteX1107" fmla="*/ 601217 w 1008219"/>
                <a:gd name="connsiteY1107" fmla="*/ 840355 h 876898"/>
                <a:gd name="connsiteX1108" fmla="*/ 601913 w 1008219"/>
                <a:gd name="connsiteY1108" fmla="*/ 838782 h 876898"/>
                <a:gd name="connsiteX1109" fmla="*/ 602488 w 1008219"/>
                <a:gd name="connsiteY1109" fmla="*/ 837118 h 876898"/>
                <a:gd name="connsiteX1110" fmla="*/ 604394 w 1008219"/>
                <a:gd name="connsiteY1110" fmla="*/ 833125 h 876898"/>
                <a:gd name="connsiteX1111" fmla="*/ 604968 w 1008219"/>
                <a:gd name="connsiteY1111" fmla="*/ 832429 h 876898"/>
                <a:gd name="connsiteX1112" fmla="*/ 605210 w 1008219"/>
                <a:gd name="connsiteY1112" fmla="*/ 832640 h 876898"/>
                <a:gd name="connsiteX1113" fmla="*/ 607449 w 1008219"/>
                <a:gd name="connsiteY1113" fmla="*/ 832883 h 876898"/>
                <a:gd name="connsiteX1114" fmla="*/ 608417 w 1008219"/>
                <a:gd name="connsiteY1114" fmla="*/ 832036 h 876898"/>
                <a:gd name="connsiteX1115" fmla="*/ 610625 w 1008219"/>
                <a:gd name="connsiteY1115" fmla="*/ 829615 h 876898"/>
                <a:gd name="connsiteX1116" fmla="*/ 612168 w 1008219"/>
                <a:gd name="connsiteY1116" fmla="*/ 828859 h 876898"/>
                <a:gd name="connsiteX1117" fmla="*/ 619913 w 1008219"/>
                <a:gd name="connsiteY1117" fmla="*/ 828224 h 876898"/>
                <a:gd name="connsiteX1118" fmla="*/ 620427 w 1008219"/>
                <a:gd name="connsiteY1118" fmla="*/ 827589 h 876898"/>
                <a:gd name="connsiteX1119" fmla="*/ 621123 w 1008219"/>
                <a:gd name="connsiteY1119" fmla="*/ 825622 h 876898"/>
                <a:gd name="connsiteX1120" fmla="*/ 621667 w 1008219"/>
                <a:gd name="connsiteY1120" fmla="*/ 823595 h 876898"/>
                <a:gd name="connsiteX1121" fmla="*/ 621879 w 1008219"/>
                <a:gd name="connsiteY1121" fmla="*/ 822295 h 876898"/>
                <a:gd name="connsiteX1122" fmla="*/ 622242 w 1008219"/>
                <a:gd name="connsiteY1122" fmla="*/ 821417 h 876898"/>
                <a:gd name="connsiteX1123" fmla="*/ 623270 w 1008219"/>
                <a:gd name="connsiteY1123" fmla="*/ 820691 h 876898"/>
                <a:gd name="connsiteX1124" fmla="*/ 624481 w 1008219"/>
                <a:gd name="connsiteY1124" fmla="*/ 820691 h 876898"/>
                <a:gd name="connsiteX1125" fmla="*/ 628595 w 1008219"/>
                <a:gd name="connsiteY1125" fmla="*/ 822113 h 876898"/>
                <a:gd name="connsiteX1126" fmla="*/ 633768 w 1008219"/>
                <a:gd name="connsiteY1126" fmla="*/ 821932 h 876898"/>
                <a:gd name="connsiteX1127" fmla="*/ 633768 w 1008219"/>
                <a:gd name="connsiteY1127" fmla="*/ 819481 h 876898"/>
                <a:gd name="connsiteX1128" fmla="*/ 635341 w 1008219"/>
                <a:gd name="connsiteY1128" fmla="*/ 819148 h 876898"/>
                <a:gd name="connsiteX1129" fmla="*/ 643841 w 1008219"/>
                <a:gd name="connsiteY1129" fmla="*/ 823141 h 876898"/>
                <a:gd name="connsiteX1130" fmla="*/ 646050 w 1008219"/>
                <a:gd name="connsiteY1130" fmla="*/ 823656 h 876898"/>
                <a:gd name="connsiteX1131" fmla="*/ 648440 w 1008219"/>
                <a:gd name="connsiteY1131" fmla="*/ 822869 h 876898"/>
                <a:gd name="connsiteX1132" fmla="*/ 649589 w 1008219"/>
                <a:gd name="connsiteY1132" fmla="*/ 821871 h 876898"/>
                <a:gd name="connsiteX1133" fmla="*/ 651192 w 1008219"/>
                <a:gd name="connsiteY1133" fmla="*/ 820026 h 876898"/>
                <a:gd name="connsiteX1134" fmla="*/ 652221 w 1008219"/>
                <a:gd name="connsiteY1134" fmla="*/ 819511 h 876898"/>
                <a:gd name="connsiteX1135" fmla="*/ 653129 w 1008219"/>
                <a:gd name="connsiteY1135" fmla="*/ 819451 h 876898"/>
                <a:gd name="connsiteX1136" fmla="*/ 655307 w 1008219"/>
                <a:gd name="connsiteY1136" fmla="*/ 819753 h 876898"/>
                <a:gd name="connsiteX1137" fmla="*/ 659118 w 1008219"/>
                <a:gd name="connsiteY1137" fmla="*/ 819179 h 876898"/>
                <a:gd name="connsiteX1138" fmla="*/ 660691 w 1008219"/>
                <a:gd name="connsiteY1138" fmla="*/ 819451 h 876898"/>
                <a:gd name="connsiteX1139" fmla="*/ 669616 w 1008219"/>
                <a:gd name="connsiteY1139" fmla="*/ 829252 h 876898"/>
                <a:gd name="connsiteX1140" fmla="*/ 671219 w 1008219"/>
                <a:gd name="connsiteY1140" fmla="*/ 830341 h 876898"/>
                <a:gd name="connsiteX1141" fmla="*/ 673488 w 1008219"/>
                <a:gd name="connsiteY1141" fmla="*/ 830674 h 876898"/>
                <a:gd name="connsiteX1142" fmla="*/ 675182 w 1008219"/>
                <a:gd name="connsiteY1142" fmla="*/ 830553 h 876898"/>
                <a:gd name="connsiteX1143" fmla="*/ 676755 w 1008219"/>
                <a:gd name="connsiteY1143" fmla="*/ 830765 h 876898"/>
                <a:gd name="connsiteX1144" fmla="*/ 678661 w 1008219"/>
                <a:gd name="connsiteY1144" fmla="*/ 832066 h 876898"/>
                <a:gd name="connsiteX1145" fmla="*/ 680294 w 1008219"/>
                <a:gd name="connsiteY1145" fmla="*/ 833639 h 876898"/>
                <a:gd name="connsiteX1146" fmla="*/ 681928 w 1008219"/>
                <a:gd name="connsiteY1146" fmla="*/ 834728 h 876898"/>
                <a:gd name="connsiteX1147" fmla="*/ 683773 w 1008219"/>
                <a:gd name="connsiteY1147" fmla="*/ 835061 h 876898"/>
                <a:gd name="connsiteX1148" fmla="*/ 686133 w 1008219"/>
                <a:gd name="connsiteY1148" fmla="*/ 834274 h 876898"/>
                <a:gd name="connsiteX1149" fmla="*/ 688311 w 1008219"/>
                <a:gd name="connsiteY1149" fmla="*/ 832550 h 876898"/>
                <a:gd name="connsiteX1150" fmla="*/ 691608 w 1008219"/>
                <a:gd name="connsiteY1150" fmla="*/ 828103 h 876898"/>
                <a:gd name="connsiteX1151" fmla="*/ 693666 w 1008219"/>
                <a:gd name="connsiteY1151" fmla="*/ 826257 h 876898"/>
                <a:gd name="connsiteX1152" fmla="*/ 695269 w 1008219"/>
                <a:gd name="connsiteY1152" fmla="*/ 825955 h 876898"/>
                <a:gd name="connsiteX1153" fmla="*/ 697356 w 1008219"/>
                <a:gd name="connsiteY1153" fmla="*/ 825925 h 876898"/>
                <a:gd name="connsiteX1154" fmla="*/ 699232 w 1008219"/>
                <a:gd name="connsiteY1154" fmla="*/ 825592 h 876898"/>
                <a:gd name="connsiteX1155" fmla="*/ 700049 w 1008219"/>
                <a:gd name="connsiteY1155" fmla="*/ 824291 h 876898"/>
                <a:gd name="connsiteX1156" fmla="*/ 698838 w 1008219"/>
                <a:gd name="connsiteY1156" fmla="*/ 822143 h 876898"/>
                <a:gd name="connsiteX1157" fmla="*/ 696509 w 1008219"/>
                <a:gd name="connsiteY1157" fmla="*/ 820842 h 876898"/>
                <a:gd name="connsiteX1158" fmla="*/ 695299 w 1008219"/>
                <a:gd name="connsiteY1158" fmla="*/ 819542 h 876898"/>
                <a:gd name="connsiteX1159" fmla="*/ 697326 w 1008219"/>
                <a:gd name="connsiteY1159" fmla="*/ 817454 h 876898"/>
                <a:gd name="connsiteX1160" fmla="*/ 698869 w 1008219"/>
                <a:gd name="connsiteY1160" fmla="*/ 816789 h 876898"/>
                <a:gd name="connsiteX1161" fmla="*/ 702953 w 1008219"/>
                <a:gd name="connsiteY1161" fmla="*/ 816032 h 876898"/>
                <a:gd name="connsiteX1162" fmla="*/ 704495 w 1008219"/>
                <a:gd name="connsiteY1162" fmla="*/ 816154 h 876898"/>
                <a:gd name="connsiteX1163" fmla="*/ 706341 w 1008219"/>
                <a:gd name="connsiteY1163" fmla="*/ 817303 h 876898"/>
                <a:gd name="connsiteX1164" fmla="*/ 707763 w 1008219"/>
                <a:gd name="connsiteY1164" fmla="*/ 818785 h 876898"/>
                <a:gd name="connsiteX1165" fmla="*/ 709306 w 1008219"/>
                <a:gd name="connsiteY1165" fmla="*/ 819753 h 876898"/>
                <a:gd name="connsiteX1166" fmla="*/ 711453 w 1008219"/>
                <a:gd name="connsiteY1166" fmla="*/ 819421 h 876898"/>
                <a:gd name="connsiteX1167" fmla="*/ 713208 w 1008219"/>
                <a:gd name="connsiteY1167" fmla="*/ 817938 h 876898"/>
                <a:gd name="connsiteX1168" fmla="*/ 716324 w 1008219"/>
                <a:gd name="connsiteY1168" fmla="*/ 813642 h 876898"/>
                <a:gd name="connsiteX1169" fmla="*/ 718169 w 1008219"/>
                <a:gd name="connsiteY1169" fmla="*/ 812493 h 876898"/>
                <a:gd name="connsiteX1170" fmla="*/ 719561 w 1008219"/>
                <a:gd name="connsiteY1170" fmla="*/ 812796 h 876898"/>
                <a:gd name="connsiteX1171" fmla="*/ 725188 w 1008219"/>
                <a:gd name="connsiteY1171" fmla="*/ 815548 h 876898"/>
                <a:gd name="connsiteX1172" fmla="*/ 734989 w 1008219"/>
                <a:gd name="connsiteY1172" fmla="*/ 818120 h 876898"/>
                <a:gd name="connsiteX1173" fmla="*/ 736653 w 1008219"/>
                <a:gd name="connsiteY1173" fmla="*/ 818120 h 876898"/>
                <a:gd name="connsiteX1174" fmla="*/ 740374 w 1008219"/>
                <a:gd name="connsiteY1174" fmla="*/ 817333 h 876898"/>
                <a:gd name="connsiteX1175" fmla="*/ 741886 w 1008219"/>
                <a:gd name="connsiteY1175" fmla="*/ 817757 h 876898"/>
                <a:gd name="connsiteX1176" fmla="*/ 743702 w 1008219"/>
                <a:gd name="connsiteY1176" fmla="*/ 817061 h 876898"/>
                <a:gd name="connsiteX1177" fmla="*/ 745244 w 1008219"/>
                <a:gd name="connsiteY1177" fmla="*/ 816517 h 876898"/>
                <a:gd name="connsiteX1178" fmla="*/ 752444 w 1008219"/>
                <a:gd name="connsiteY1178" fmla="*/ 815730 h 876898"/>
                <a:gd name="connsiteX1179" fmla="*/ 754320 w 1008219"/>
                <a:gd name="connsiteY1179" fmla="*/ 816214 h 876898"/>
                <a:gd name="connsiteX1180" fmla="*/ 755318 w 1008219"/>
                <a:gd name="connsiteY1180" fmla="*/ 816819 h 876898"/>
                <a:gd name="connsiteX1181" fmla="*/ 757194 w 1008219"/>
                <a:gd name="connsiteY1181" fmla="*/ 818513 h 876898"/>
                <a:gd name="connsiteX1182" fmla="*/ 758222 w 1008219"/>
                <a:gd name="connsiteY1182" fmla="*/ 819179 h 876898"/>
                <a:gd name="connsiteX1183" fmla="*/ 758978 w 1008219"/>
                <a:gd name="connsiteY1183" fmla="*/ 819270 h 876898"/>
                <a:gd name="connsiteX1184" fmla="*/ 760551 w 1008219"/>
                <a:gd name="connsiteY1184" fmla="*/ 818936 h 876898"/>
                <a:gd name="connsiteX1185" fmla="*/ 761550 w 1008219"/>
                <a:gd name="connsiteY1185" fmla="*/ 819209 h 876898"/>
                <a:gd name="connsiteX1186" fmla="*/ 763244 w 1008219"/>
                <a:gd name="connsiteY1186" fmla="*/ 820812 h 876898"/>
                <a:gd name="connsiteX1187" fmla="*/ 766632 w 1008219"/>
                <a:gd name="connsiteY1187" fmla="*/ 825592 h 876898"/>
                <a:gd name="connsiteX1188" fmla="*/ 768175 w 1008219"/>
                <a:gd name="connsiteY1188" fmla="*/ 826772 h 876898"/>
                <a:gd name="connsiteX1189" fmla="*/ 769203 w 1008219"/>
                <a:gd name="connsiteY1189" fmla="*/ 826106 h 876898"/>
                <a:gd name="connsiteX1190" fmla="*/ 770655 w 1008219"/>
                <a:gd name="connsiteY1190" fmla="*/ 824564 h 876898"/>
                <a:gd name="connsiteX1191" fmla="*/ 772380 w 1008219"/>
                <a:gd name="connsiteY1191" fmla="*/ 823081 h 876898"/>
                <a:gd name="connsiteX1192" fmla="*/ 774407 w 1008219"/>
                <a:gd name="connsiteY1192" fmla="*/ 822748 h 876898"/>
                <a:gd name="connsiteX1193" fmla="*/ 776252 w 1008219"/>
                <a:gd name="connsiteY1193" fmla="*/ 823716 h 876898"/>
                <a:gd name="connsiteX1194" fmla="*/ 779943 w 1008219"/>
                <a:gd name="connsiteY1194" fmla="*/ 826832 h 876898"/>
                <a:gd name="connsiteX1195" fmla="*/ 785358 w 1008219"/>
                <a:gd name="connsiteY1195" fmla="*/ 829343 h 876898"/>
                <a:gd name="connsiteX1196" fmla="*/ 788988 w 1008219"/>
                <a:gd name="connsiteY1196" fmla="*/ 832489 h 876898"/>
                <a:gd name="connsiteX1197" fmla="*/ 791862 w 1008219"/>
                <a:gd name="connsiteY1197" fmla="*/ 836785 h 876898"/>
                <a:gd name="connsiteX1198" fmla="*/ 793163 w 1008219"/>
                <a:gd name="connsiteY1198" fmla="*/ 841776 h 876898"/>
                <a:gd name="connsiteX1199" fmla="*/ 793828 w 1008219"/>
                <a:gd name="connsiteY1199" fmla="*/ 846254 h 876898"/>
                <a:gd name="connsiteX1200" fmla="*/ 796672 w 1008219"/>
                <a:gd name="connsiteY1200" fmla="*/ 848190 h 876898"/>
                <a:gd name="connsiteX1201" fmla="*/ 803781 w 1008219"/>
                <a:gd name="connsiteY1201" fmla="*/ 849460 h 876898"/>
                <a:gd name="connsiteX1202" fmla="*/ 807048 w 1008219"/>
                <a:gd name="connsiteY1202" fmla="*/ 851397 h 876898"/>
                <a:gd name="connsiteX1203" fmla="*/ 808228 w 1008219"/>
                <a:gd name="connsiteY1203" fmla="*/ 851850 h 876898"/>
                <a:gd name="connsiteX1204" fmla="*/ 809256 w 1008219"/>
                <a:gd name="connsiteY1204" fmla="*/ 851911 h 876898"/>
                <a:gd name="connsiteX1205" fmla="*/ 811646 w 1008219"/>
                <a:gd name="connsiteY1205" fmla="*/ 851638 h 876898"/>
                <a:gd name="connsiteX1206" fmla="*/ 812463 w 1008219"/>
                <a:gd name="connsiteY1206" fmla="*/ 851790 h 876898"/>
                <a:gd name="connsiteX1207" fmla="*/ 813582 w 1008219"/>
                <a:gd name="connsiteY1207" fmla="*/ 852939 h 876898"/>
                <a:gd name="connsiteX1208" fmla="*/ 813613 w 1008219"/>
                <a:gd name="connsiteY1208" fmla="*/ 853907 h 876898"/>
                <a:gd name="connsiteX1209" fmla="*/ 813310 w 1008219"/>
                <a:gd name="connsiteY1209" fmla="*/ 854845 h 876898"/>
                <a:gd name="connsiteX1210" fmla="*/ 813552 w 1008219"/>
                <a:gd name="connsiteY1210" fmla="*/ 855722 h 876898"/>
                <a:gd name="connsiteX1211" fmla="*/ 814308 w 1008219"/>
                <a:gd name="connsiteY1211" fmla="*/ 856297 h 876898"/>
                <a:gd name="connsiteX1212" fmla="*/ 819028 w 1008219"/>
                <a:gd name="connsiteY1212" fmla="*/ 857628 h 876898"/>
                <a:gd name="connsiteX1213" fmla="*/ 824564 w 1008219"/>
                <a:gd name="connsiteY1213" fmla="*/ 857447 h 876898"/>
                <a:gd name="connsiteX1214" fmla="*/ 826711 w 1008219"/>
                <a:gd name="connsiteY1214" fmla="*/ 858203 h 876898"/>
                <a:gd name="connsiteX1215" fmla="*/ 831824 w 1008219"/>
                <a:gd name="connsiteY1215" fmla="*/ 862922 h 876898"/>
                <a:gd name="connsiteX1216" fmla="*/ 835515 w 1008219"/>
                <a:gd name="connsiteY1216" fmla="*/ 863981 h 876898"/>
                <a:gd name="connsiteX1217" fmla="*/ 843380 w 1008219"/>
                <a:gd name="connsiteY1217" fmla="*/ 864284 h 876898"/>
                <a:gd name="connsiteX1218" fmla="*/ 846859 w 1008219"/>
                <a:gd name="connsiteY1218" fmla="*/ 865887 h 876898"/>
                <a:gd name="connsiteX1219" fmla="*/ 848976 w 1008219"/>
                <a:gd name="connsiteY1219" fmla="*/ 864011 h 876898"/>
                <a:gd name="connsiteX1220" fmla="*/ 851003 w 1008219"/>
                <a:gd name="connsiteY1220" fmla="*/ 864556 h 876898"/>
                <a:gd name="connsiteX1221" fmla="*/ 854785 w 1008219"/>
                <a:gd name="connsiteY1221" fmla="*/ 868398 h 876898"/>
                <a:gd name="connsiteX1222" fmla="*/ 857265 w 1008219"/>
                <a:gd name="connsiteY1222" fmla="*/ 869971 h 876898"/>
                <a:gd name="connsiteX1223" fmla="*/ 859413 w 1008219"/>
                <a:gd name="connsiteY1223" fmla="*/ 870213 h 876898"/>
                <a:gd name="connsiteX1224" fmla="*/ 861561 w 1008219"/>
                <a:gd name="connsiteY1224" fmla="*/ 870001 h 876898"/>
                <a:gd name="connsiteX1225" fmla="*/ 865221 w 1008219"/>
                <a:gd name="connsiteY1225" fmla="*/ 870243 h 876898"/>
                <a:gd name="connsiteX1226" fmla="*/ 867490 w 1008219"/>
                <a:gd name="connsiteY1226" fmla="*/ 869638 h 876898"/>
                <a:gd name="connsiteX1227" fmla="*/ 868579 w 1008219"/>
                <a:gd name="connsiteY1227" fmla="*/ 869759 h 876898"/>
                <a:gd name="connsiteX1228" fmla="*/ 869578 w 1008219"/>
                <a:gd name="connsiteY1228" fmla="*/ 870636 h 876898"/>
                <a:gd name="connsiteX1229" fmla="*/ 871453 w 1008219"/>
                <a:gd name="connsiteY1229" fmla="*/ 873026 h 876898"/>
                <a:gd name="connsiteX1230" fmla="*/ 872573 w 1008219"/>
                <a:gd name="connsiteY1230" fmla="*/ 873359 h 876898"/>
                <a:gd name="connsiteX1231" fmla="*/ 874357 w 1008219"/>
                <a:gd name="connsiteY1231" fmla="*/ 874236 h 876898"/>
                <a:gd name="connsiteX1232" fmla="*/ 876596 w 1008219"/>
                <a:gd name="connsiteY1232" fmla="*/ 876081 h 876898"/>
                <a:gd name="connsiteX1233" fmla="*/ 878623 w 1008219"/>
                <a:gd name="connsiteY1233" fmla="*/ 876898 h 876898"/>
                <a:gd name="connsiteX1234" fmla="*/ 879803 w 1008219"/>
                <a:gd name="connsiteY1234" fmla="*/ 874629 h 876898"/>
                <a:gd name="connsiteX1235" fmla="*/ 879621 w 1008219"/>
                <a:gd name="connsiteY1235" fmla="*/ 874176 h 876898"/>
                <a:gd name="connsiteX1236" fmla="*/ 879500 w 1008219"/>
                <a:gd name="connsiteY1236" fmla="*/ 873873 h 876898"/>
                <a:gd name="connsiteX1237" fmla="*/ 877836 w 1008219"/>
                <a:gd name="connsiteY1237" fmla="*/ 871302 h 876898"/>
                <a:gd name="connsiteX1238" fmla="*/ 877413 w 1008219"/>
                <a:gd name="connsiteY1238" fmla="*/ 869971 h 876898"/>
                <a:gd name="connsiteX1239" fmla="*/ 877534 w 1008219"/>
                <a:gd name="connsiteY1239" fmla="*/ 868065 h 876898"/>
                <a:gd name="connsiteX1240" fmla="*/ 878441 w 1008219"/>
                <a:gd name="connsiteY1240" fmla="*/ 865312 h 876898"/>
                <a:gd name="connsiteX1241" fmla="*/ 878441 w 1008219"/>
                <a:gd name="connsiteY1241" fmla="*/ 864102 h 876898"/>
                <a:gd name="connsiteX1242" fmla="*/ 877231 w 1008219"/>
                <a:gd name="connsiteY1242" fmla="*/ 862680 h 876898"/>
                <a:gd name="connsiteX1243" fmla="*/ 872724 w 1008219"/>
                <a:gd name="connsiteY1243" fmla="*/ 860351 h 876898"/>
                <a:gd name="connsiteX1244" fmla="*/ 870848 w 1008219"/>
                <a:gd name="connsiteY1244" fmla="*/ 859080 h 876898"/>
                <a:gd name="connsiteX1245" fmla="*/ 867914 w 1008219"/>
                <a:gd name="connsiteY1245" fmla="*/ 855511 h 876898"/>
                <a:gd name="connsiteX1246" fmla="*/ 864647 w 1008219"/>
                <a:gd name="connsiteY1246" fmla="*/ 853423 h 876898"/>
                <a:gd name="connsiteX1247" fmla="*/ 865040 w 1008219"/>
                <a:gd name="connsiteY1247" fmla="*/ 853332 h 876898"/>
                <a:gd name="connsiteX1248" fmla="*/ 865161 w 1008219"/>
                <a:gd name="connsiteY1248" fmla="*/ 853242 h 876898"/>
                <a:gd name="connsiteX1249" fmla="*/ 863558 w 1008219"/>
                <a:gd name="connsiteY1249" fmla="*/ 852243 h 876898"/>
                <a:gd name="connsiteX1250" fmla="*/ 862257 w 1008219"/>
                <a:gd name="connsiteY1250" fmla="*/ 853756 h 876898"/>
                <a:gd name="connsiteX1251" fmla="*/ 861803 w 1008219"/>
                <a:gd name="connsiteY1251" fmla="*/ 854059 h 876898"/>
                <a:gd name="connsiteX1252" fmla="*/ 861168 w 1008219"/>
                <a:gd name="connsiteY1252" fmla="*/ 853302 h 876898"/>
                <a:gd name="connsiteX1253" fmla="*/ 861712 w 1008219"/>
                <a:gd name="connsiteY1253" fmla="*/ 851608 h 876898"/>
                <a:gd name="connsiteX1254" fmla="*/ 863315 w 1008219"/>
                <a:gd name="connsiteY1254" fmla="*/ 848522 h 876898"/>
                <a:gd name="connsiteX1255" fmla="*/ 864707 w 1008219"/>
                <a:gd name="connsiteY1255" fmla="*/ 843531 h 876898"/>
                <a:gd name="connsiteX1256" fmla="*/ 866431 w 1008219"/>
                <a:gd name="connsiteY1256" fmla="*/ 839205 h 876898"/>
                <a:gd name="connsiteX1257" fmla="*/ 866794 w 1008219"/>
                <a:gd name="connsiteY1257" fmla="*/ 837178 h 876898"/>
                <a:gd name="connsiteX1258" fmla="*/ 865433 w 1008219"/>
                <a:gd name="connsiteY1258" fmla="*/ 824201 h 876898"/>
                <a:gd name="connsiteX1259" fmla="*/ 864979 w 1008219"/>
                <a:gd name="connsiteY1259" fmla="*/ 821932 h 876898"/>
                <a:gd name="connsiteX1260" fmla="*/ 864435 w 1008219"/>
                <a:gd name="connsiteY1260" fmla="*/ 820842 h 876898"/>
                <a:gd name="connsiteX1261" fmla="*/ 862257 w 1008219"/>
                <a:gd name="connsiteY1261" fmla="*/ 818725 h 876898"/>
                <a:gd name="connsiteX1262" fmla="*/ 860956 w 1008219"/>
                <a:gd name="connsiteY1262" fmla="*/ 816819 h 876898"/>
                <a:gd name="connsiteX1263" fmla="*/ 860653 w 1008219"/>
                <a:gd name="connsiteY1263" fmla="*/ 816032 h 876898"/>
                <a:gd name="connsiteX1264" fmla="*/ 860290 w 1008219"/>
                <a:gd name="connsiteY1264" fmla="*/ 814429 h 876898"/>
                <a:gd name="connsiteX1265" fmla="*/ 859685 w 1008219"/>
                <a:gd name="connsiteY1265" fmla="*/ 808379 h 876898"/>
                <a:gd name="connsiteX1266" fmla="*/ 858990 w 1008219"/>
                <a:gd name="connsiteY1266" fmla="*/ 806292 h 876898"/>
                <a:gd name="connsiteX1267" fmla="*/ 857054 w 1008219"/>
                <a:gd name="connsiteY1267" fmla="*/ 801209 h 876898"/>
                <a:gd name="connsiteX1268" fmla="*/ 859564 w 1008219"/>
                <a:gd name="connsiteY1268" fmla="*/ 795734 h 876898"/>
                <a:gd name="connsiteX1269" fmla="*/ 867188 w 1008219"/>
                <a:gd name="connsiteY1269" fmla="*/ 786265 h 876898"/>
                <a:gd name="connsiteX1270" fmla="*/ 868943 w 1008219"/>
                <a:gd name="connsiteY1270" fmla="*/ 781727 h 876898"/>
                <a:gd name="connsiteX1271" fmla="*/ 869669 w 1008219"/>
                <a:gd name="connsiteY1271" fmla="*/ 780487 h 876898"/>
                <a:gd name="connsiteX1272" fmla="*/ 870788 w 1008219"/>
                <a:gd name="connsiteY1272" fmla="*/ 779580 h 876898"/>
                <a:gd name="connsiteX1273" fmla="*/ 872936 w 1008219"/>
                <a:gd name="connsiteY1273" fmla="*/ 779186 h 876898"/>
                <a:gd name="connsiteX1274" fmla="*/ 874055 w 1008219"/>
                <a:gd name="connsiteY1274" fmla="*/ 778763 h 876898"/>
                <a:gd name="connsiteX1275" fmla="*/ 875749 w 1008219"/>
                <a:gd name="connsiteY1275" fmla="*/ 777190 h 876898"/>
                <a:gd name="connsiteX1276" fmla="*/ 881950 w 1008219"/>
                <a:gd name="connsiteY1276" fmla="*/ 766844 h 876898"/>
                <a:gd name="connsiteX1277" fmla="*/ 882919 w 1008219"/>
                <a:gd name="connsiteY1277" fmla="*/ 765755 h 876898"/>
                <a:gd name="connsiteX1278" fmla="*/ 883826 w 1008219"/>
                <a:gd name="connsiteY1278" fmla="*/ 765210 h 876898"/>
                <a:gd name="connsiteX1279" fmla="*/ 885581 w 1008219"/>
                <a:gd name="connsiteY1279" fmla="*/ 764605 h 876898"/>
                <a:gd name="connsiteX1280" fmla="*/ 886458 w 1008219"/>
                <a:gd name="connsiteY1280" fmla="*/ 763788 h 876898"/>
                <a:gd name="connsiteX1281" fmla="*/ 886942 w 1008219"/>
                <a:gd name="connsiteY1281" fmla="*/ 762760 h 876898"/>
                <a:gd name="connsiteX1282" fmla="*/ 887759 w 1008219"/>
                <a:gd name="connsiteY1282" fmla="*/ 759886 h 876898"/>
                <a:gd name="connsiteX1283" fmla="*/ 888273 w 1008219"/>
                <a:gd name="connsiteY1283" fmla="*/ 758706 h 876898"/>
                <a:gd name="connsiteX1284" fmla="*/ 892478 w 1008219"/>
                <a:gd name="connsiteY1284" fmla="*/ 754713 h 876898"/>
                <a:gd name="connsiteX1285" fmla="*/ 903399 w 1008219"/>
                <a:gd name="connsiteY1285" fmla="*/ 739980 h 876898"/>
                <a:gd name="connsiteX1286" fmla="*/ 907392 w 1008219"/>
                <a:gd name="connsiteY1286" fmla="*/ 735927 h 876898"/>
                <a:gd name="connsiteX1287" fmla="*/ 911113 w 1008219"/>
                <a:gd name="connsiteY1287" fmla="*/ 733265 h 876898"/>
                <a:gd name="connsiteX1288" fmla="*/ 914108 w 1008219"/>
                <a:gd name="connsiteY1288" fmla="*/ 728938 h 876898"/>
                <a:gd name="connsiteX1289" fmla="*/ 937099 w 1008219"/>
                <a:gd name="connsiteY1289" fmla="*/ 705978 h 876898"/>
                <a:gd name="connsiteX1290" fmla="*/ 941667 w 1008219"/>
                <a:gd name="connsiteY1290" fmla="*/ 702741 h 876898"/>
                <a:gd name="connsiteX1291" fmla="*/ 947142 w 1008219"/>
                <a:gd name="connsiteY1291" fmla="*/ 698869 h 876898"/>
                <a:gd name="connsiteX1292" fmla="*/ 947142 w 1008219"/>
                <a:gd name="connsiteY1292" fmla="*/ 698869 h 876898"/>
                <a:gd name="connsiteX1293" fmla="*/ 947142 w 1008219"/>
                <a:gd name="connsiteY1293" fmla="*/ 698869 h 876898"/>
                <a:gd name="connsiteX1294" fmla="*/ 947173 w 1008219"/>
                <a:gd name="connsiteY1294" fmla="*/ 698869 h 876898"/>
                <a:gd name="connsiteX1295" fmla="*/ 950077 w 1008219"/>
                <a:gd name="connsiteY1295" fmla="*/ 696691 h 876898"/>
                <a:gd name="connsiteX1296" fmla="*/ 958033 w 1008219"/>
                <a:gd name="connsiteY1296" fmla="*/ 688765 h 876898"/>
                <a:gd name="connsiteX1297" fmla="*/ 959424 w 1008219"/>
                <a:gd name="connsiteY1297" fmla="*/ 686889 h 876898"/>
                <a:gd name="connsiteX1298" fmla="*/ 959485 w 1008219"/>
                <a:gd name="connsiteY1298" fmla="*/ 686677 h 876898"/>
                <a:gd name="connsiteX1299" fmla="*/ 960756 w 1008219"/>
                <a:gd name="connsiteY1299" fmla="*/ 682835 h 876898"/>
                <a:gd name="connsiteX1300" fmla="*/ 961845 w 1008219"/>
                <a:gd name="connsiteY1300" fmla="*/ 680718 h 876898"/>
                <a:gd name="connsiteX1301" fmla="*/ 963206 w 1008219"/>
                <a:gd name="connsiteY1301" fmla="*/ 679477 h 876898"/>
                <a:gd name="connsiteX1302" fmla="*/ 964930 w 1008219"/>
                <a:gd name="connsiteY1302" fmla="*/ 678691 h 876898"/>
                <a:gd name="connsiteX1303" fmla="*/ 968409 w 1008219"/>
                <a:gd name="connsiteY1303" fmla="*/ 677662 h 876898"/>
                <a:gd name="connsiteX1304" fmla="*/ 986651 w 1008219"/>
                <a:gd name="connsiteY1304" fmla="*/ 677451 h 876898"/>
                <a:gd name="connsiteX1305" fmla="*/ 991945 w 1008219"/>
                <a:gd name="connsiteY1305" fmla="*/ 675424 h 876898"/>
                <a:gd name="connsiteX1306" fmla="*/ 994153 w 1008219"/>
                <a:gd name="connsiteY1306" fmla="*/ 670675 h 876898"/>
                <a:gd name="connsiteX1307" fmla="*/ 994607 w 1008219"/>
                <a:gd name="connsiteY1307" fmla="*/ 669101 h 876898"/>
                <a:gd name="connsiteX1308" fmla="*/ 994758 w 1008219"/>
                <a:gd name="connsiteY1308" fmla="*/ 667196 h 876898"/>
                <a:gd name="connsiteX1309" fmla="*/ 994607 w 1008219"/>
                <a:gd name="connsiteY1309" fmla="*/ 664412 h 876898"/>
                <a:gd name="connsiteX1310" fmla="*/ 994879 w 1008219"/>
                <a:gd name="connsiteY1310" fmla="*/ 662658 h 876898"/>
                <a:gd name="connsiteX1311" fmla="*/ 1001383 w 1008219"/>
                <a:gd name="connsiteY1311" fmla="*/ 659542 h 876898"/>
                <a:gd name="connsiteX1312" fmla="*/ 1003259 w 1008219"/>
                <a:gd name="connsiteY1312" fmla="*/ 657666 h 876898"/>
                <a:gd name="connsiteX1313" fmla="*/ 1004529 w 1008219"/>
                <a:gd name="connsiteY1313" fmla="*/ 656002 h 876898"/>
                <a:gd name="connsiteX1314" fmla="*/ 1004650 w 1008219"/>
                <a:gd name="connsiteY1314" fmla="*/ 655670 h 876898"/>
                <a:gd name="connsiteX1315" fmla="*/ 1004136 w 1008219"/>
                <a:gd name="connsiteY1315" fmla="*/ 655276 h 876898"/>
                <a:gd name="connsiteX1316" fmla="*/ 1003440 w 1008219"/>
                <a:gd name="connsiteY1316" fmla="*/ 653370 h 876898"/>
                <a:gd name="connsiteX1317" fmla="*/ 1002412 w 1008219"/>
                <a:gd name="connsiteY1317" fmla="*/ 646443 h 876898"/>
                <a:gd name="connsiteX1318" fmla="*/ 1004741 w 1008219"/>
                <a:gd name="connsiteY1318" fmla="*/ 642722 h 876898"/>
                <a:gd name="connsiteX1319" fmla="*/ 1004711 w 1008219"/>
                <a:gd name="connsiteY1319" fmla="*/ 642662 h 876898"/>
                <a:gd name="connsiteX1320" fmla="*/ 1002170 w 1008219"/>
                <a:gd name="connsiteY1320" fmla="*/ 637005 h 876898"/>
                <a:gd name="connsiteX1321" fmla="*/ 1001353 w 1008219"/>
                <a:gd name="connsiteY1321" fmla="*/ 633949 h 876898"/>
                <a:gd name="connsiteX1322" fmla="*/ 1001988 w 1008219"/>
                <a:gd name="connsiteY1322" fmla="*/ 630621 h 876898"/>
                <a:gd name="connsiteX1323" fmla="*/ 999266 w 1008219"/>
                <a:gd name="connsiteY1323" fmla="*/ 630016 h 876898"/>
                <a:gd name="connsiteX1324" fmla="*/ 996513 w 1008219"/>
                <a:gd name="connsiteY1324" fmla="*/ 628443 h 876898"/>
                <a:gd name="connsiteX1325" fmla="*/ 995121 w 1008219"/>
                <a:gd name="connsiteY1325" fmla="*/ 626205 h 876898"/>
                <a:gd name="connsiteX1326" fmla="*/ 996422 w 1008219"/>
                <a:gd name="connsiteY1326" fmla="*/ 623633 h 876898"/>
                <a:gd name="connsiteX1327" fmla="*/ 996422 w 1008219"/>
                <a:gd name="connsiteY1327" fmla="*/ 622726 h 876898"/>
                <a:gd name="connsiteX1328" fmla="*/ 993609 w 1008219"/>
                <a:gd name="connsiteY1328" fmla="*/ 622423 h 876898"/>
                <a:gd name="connsiteX1329" fmla="*/ 991219 w 1008219"/>
                <a:gd name="connsiteY1329" fmla="*/ 621395 h 876898"/>
                <a:gd name="connsiteX1330" fmla="*/ 989736 w 1008219"/>
                <a:gd name="connsiteY1330" fmla="*/ 619550 h 876898"/>
                <a:gd name="connsiteX1331" fmla="*/ 989555 w 1008219"/>
                <a:gd name="connsiteY1331" fmla="*/ 616736 h 876898"/>
                <a:gd name="connsiteX1332" fmla="*/ 990795 w 1008219"/>
                <a:gd name="connsiteY1332" fmla="*/ 614256 h 876898"/>
                <a:gd name="connsiteX1333" fmla="*/ 993094 w 1008219"/>
                <a:gd name="connsiteY1333" fmla="*/ 612622 h 87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Lst>
              <a:rect l="l" t="t" r="r" b="b"/>
              <a:pathLst>
                <a:path w="1008219" h="876898">
                  <a:moveTo>
                    <a:pt x="993094" y="612622"/>
                  </a:moveTo>
                  <a:lnTo>
                    <a:pt x="995877" y="612289"/>
                  </a:lnTo>
                  <a:lnTo>
                    <a:pt x="998540" y="613681"/>
                  </a:lnTo>
                  <a:lnTo>
                    <a:pt x="1000596" y="612833"/>
                  </a:lnTo>
                  <a:lnTo>
                    <a:pt x="1003954" y="612804"/>
                  </a:lnTo>
                  <a:lnTo>
                    <a:pt x="1006979" y="612198"/>
                  </a:lnTo>
                  <a:lnTo>
                    <a:pt x="1008220" y="609657"/>
                  </a:lnTo>
                  <a:lnTo>
                    <a:pt x="1006919" y="607842"/>
                  </a:lnTo>
                  <a:lnTo>
                    <a:pt x="998540" y="603577"/>
                  </a:lnTo>
                  <a:lnTo>
                    <a:pt x="991733" y="597799"/>
                  </a:lnTo>
                  <a:lnTo>
                    <a:pt x="990251" y="595499"/>
                  </a:lnTo>
                  <a:lnTo>
                    <a:pt x="989676" y="593563"/>
                  </a:lnTo>
                  <a:lnTo>
                    <a:pt x="989585" y="592263"/>
                  </a:lnTo>
                  <a:lnTo>
                    <a:pt x="989313" y="591022"/>
                  </a:lnTo>
                  <a:lnTo>
                    <a:pt x="988193" y="589479"/>
                  </a:lnTo>
                  <a:lnTo>
                    <a:pt x="986953" y="588693"/>
                  </a:lnTo>
                  <a:lnTo>
                    <a:pt x="985683" y="588239"/>
                  </a:lnTo>
                  <a:lnTo>
                    <a:pt x="984926" y="587634"/>
                  </a:lnTo>
                  <a:lnTo>
                    <a:pt x="985350" y="586485"/>
                  </a:lnTo>
                  <a:lnTo>
                    <a:pt x="985350" y="585577"/>
                  </a:lnTo>
                  <a:lnTo>
                    <a:pt x="984170" y="579406"/>
                  </a:lnTo>
                  <a:lnTo>
                    <a:pt x="983293" y="577439"/>
                  </a:lnTo>
                  <a:lnTo>
                    <a:pt x="980661" y="573688"/>
                  </a:lnTo>
                  <a:lnTo>
                    <a:pt x="979179" y="570784"/>
                  </a:lnTo>
                  <a:lnTo>
                    <a:pt x="979542" y="569423"/>
                  </a:lnTo>
                  <a:lnTo>
                    <a:pt x="981206" y="568606"/>
                  </a:lnTo>
                  <a:lnTo>
                    <a:pt x="980086" y="566821"/>
                  </a:lnTo>
                  <a:lnTo>
                    <a:pt x="975306" y="562344"/>
                  </a:lnTo>
                  <a:lnTo>
                    <a:pt x="970194" y="559349"/>
                  </a:lnTo>
                  <a:lnTo>
                    <a:pt x="967925" y="556808"/>
                  </a:lnTo>
                  <a:lnTo>
                    <a:pt x="962359" y="545585"/>
                  </a:lnTo>
                  <a:lnTo>
                    <a:pt x="960634" y="544556"/>
                  </a:lnTo>
                  <a:lnTo>
                    <a:pt x="958698" y="544496"/>
                  </a:lnTo>
                  <a:lnTo>
                    <a:pt x="957095" y="543739"/>
                  </a:lnTo>
                  <a:lnTo>
                    <a:pt x="956460" y="540623"/>
                  </a:lnTo>
                  <a:lnTo>
                    <a:pt x="957004" y="538657"/>
                  </a:lnTo>
                  <a:lnTo>
                    <a:pt x="958366" y="536479"/>
                  </a:lnTo>
                  <a:lnTo>
                    <a:pt x="960150" y="534724"/>
                  </a:lnTo>
                  <a:lnTo>
                    <a:pt x="961996" y="534059"/>
                  </a:lnTo>
                  <a:lnTo>
                    <a:pt x="961391" y="532062"/>
                  </a:lnTo>
                  <a:lnTo>
                    <a:pt x="961512" y="530550"/>
                  </a:lnTo>
                  <a:lnTo>
                    <a:pt x="962238" y="529521"/>
                  </a:lnTo>
                  <a:lnTo>
                    <a:pt x="963387" y="529007"/>
                  </a:lnTo>
                  <a:lnTo>
                    <a:pt x="962571" y="527222"/>
                  </a:lnTo>
                  <a:lnTo>
                    <a:pt x="958487" y="521686"/>
                  </a:lnTo>
                  <a:lnTo>
                    <a:pt x="958305" y="520748"/>
                  </a:lnTo>
                  <a:lnTo>
                    <a:pt x="959878" y="517784"/>
                  </a:lnTo>
                  <a:lnTo>
                    <a:pt x="958456" y="516906"/>
                  </a:lnTo>
                  <a:lnTo>
                    <a:pt x="956641" y="516271"/>
                  </a:lnTo>
                  <a:lnTo>
                    <a:pt x="955068" y="515243"/>
                  </a:lnTo>
                  <a:lnTo>
                    <a:pt x="954403" y="513185"/>
                  </a:lnTo>
                  <a:lnTo>
                    <a:pt x="954191" y="512247"/>
                  </a:lnTo>
                  <a:lnTo>
                    <a:pt x="953798" y="510281"/>
                  </a:lnTo>
                  <a:lnTo>
                    <a:pt x="952436" y="509495"/>
                  </a:lnTo>
                  <a:lnTo>
                    <a:pt x="950833" y="508950"/>
                  </a:lnTo>
                  <a:lnTo>
                    <a:pt x="949593" y="506621"/>
                  </a:lnTo>
                  <a:lnTo>
                    <a:pt x="950258" y="506681"/>
                  </a:lnTo>
                  <a:lnTo>
                    <a:pt x="950954" y="506621"/>
                  </a:lnTo>
                  <a:lnTo>
                    <a:pt x="948745" y="503142"/>
                  </a:lnTo>
                  <a:lnTo>
                    <a:pt x="947868" y="501055"/>
                  </a:lnTo>
                  <a:lnTo>
                    <a:pt x="947536" y="498937"/>
                  </a:lnTo>
                  <a:lnTo>
                    <a:pt x="948050" y="494913"/>
                  </a:lnTo>
                  <a:lnTo>
                    <a:pt x="947929" y="493461"/>
                  </a:lnTo>
                  <a:lnTo>
                    <a:pt x="946779" y="492312"/>
                  </a:lnTo>
                  <a:lnTo>
                    <a:pt x="946779" y="491193"/>
                  </a:lnTo>
                  <a:lnTo>
                    <a:pt x="947687" y="491102"/>
                  </a:lnTo>
                  <a:lnTo>
                    <a:pt x="948292" y="490739"/>
                  </a:lnTo>
                  <a:lnTo>
                    <a:pt x="949593" y="489287"/>
                  </a:lnTo>
                  <a:lnTo>
                    <a:pt x="949079" y="488621"/>
                  </a:lnTo>
                  <a:lnTo>
                    <a:pt x="948473" y="487593"/>
                  </a:lnTo>
                  <a:lnTo>
                    <a:pt x="948141" y="486655"/>
                  </a:lnTo>
                  <a:lnTo>
                    <a:pt x="948534" y="486231"/>
                  </a:lnTo>
                  <a:lnTo>
                    <a:pt x="949472" y="485808"/>
                  </a:lnTo>
                  <a:lnTo>
                    <a:pt x="949230" y="484900"/>
                  </a:lnTo>
                  <a:lnTo>
                    <a:pt x="948564" y="483842"/>
                  </a:lnTo>
                  <a:lnTo>
                    <a:pt x="948201" y="483085"/>
                  </a:lnTo>
                  <a:lnTo>
                    <a:pt x="948776" y="479637"/>
                  </a:lnTo>
                  <a:lnTo>
                    <a:pt x="949169" y="478033"/>
                  </a:lnTo>
                  <a:lnTo>
                    <a:pt x="949593" y="476975"/>
                  </a:lnTo>
                  <a:lnTo>
                    <a:pt x="951287" y="475159"/>
                  </a:lnTo>
                  <a:lnTo>
                    <a:pt x="953404" y="473949"/>
                  </a:lnTo>
                  <a:lnTo>
                    <a:pt x="955310" y="472195"/>
                  </a:lnTo>
                  <a:lnTo>
                    <a:pt x="956460" y="468716"/>
                  </a:lnTo>
                  <a:lnTo>
                    <a:pt x="954614" y="466417"/>
                  </a:lnTo>
                  <a:lnTo>
                    <a:pt x="953041" y="463694"/>
                  </a:lnTo>
                  <a:lnTo>
                    <a:pt x="954161" y="462484"/>
                  </a:lnTo>
                  <a:lnTo>
                    <a:pt x="954554" y="459217"/>
                  </a:lnTo>
                  <a:lnTo>
                    <a:pt x="955764" y="458612"/>
                  </a:lnTo>
                  <a:lnTo>
                    <a:pt x="955734" y="457916"/>
                  </a:lnTo>
                  <a:lnTo>
                    <a:pt x="955643" y="457735"/>
                  </a:lnTo>
                  <a:lnTo>
                    <a:pt x="955462" y="457735"/>
                  </a:lnTo>
                  <a:lnTo>
                    <a:pt x="955068" y="457583"/>
                  </a:lnTo>
                  <a:lnTo>
                    <a:pt x="955734" y="455889"/>
                  </a:lnTo>
                  <a:lnTo>
                    <a:pt x="955794" y="451049"/>
                  </a:lnTo>
                  <a:lnTo>
                    <a:pt x="956460" y="448296"/>
                  </a:lnTo>
                  <a:lnTo>
                    <a:pt x="958366" y="444121"/>
                  </a:lnTo>
                  <a:lnTo>
                    <a:pt x="959697" y="442185"/>
                  </a:lnTo>
                  <a:lnTo>
                    <a:pt x="961239" y="441127"/>
                  </a:lnTo>
                  <a:lnTo>
                    <a:pt x="960090" y="438555"/>
                  </a:lnTo>
                  <a:lnTo>
                    <a:pt x="958668" y="432868"/>
                  </a:lnTo>
                  <a:lnTo>
                    <a:pt x="957851" y="431022"/>
                  </a:lnTo>
                  <a:lnTo>
                    <a:pt x="957761" y="429268"/>
                  </a:lnTo>
                  <a:lnTo>
                    <a:pt x="957337" y="427543"/>
                  </a:lnTo>
                  <a:lnTo>
                    <a:pt x="956127" y="426757"/>
                  </a:lnTo>
                  <a:lnTo>
                    <a:pt x="955159" y="426364"/>
                  </a:lnTo>
                  <a:lnTo>
                    <a:pt x="954554" y="425426"/>
                  </a:lnTo>
                  <a:lnTo>
                    <a:pt x="954039" y="424186"/>
                  </a:lnTo>
                  <a:lnTo>
                    <a:pt x="953374" y="423036"/>
                  </a:lnTo>
                  <a:lnTo>
                    <a:pt x="951498" y="421977"/>
                  </a:lnTo>
                  <a:lnTo>
                    <a:pt x="946719" y="422129"/>
                  </a:lnTo>
                  <a:lnTo>
                    <a:pt x="944752" y="421554"/>
                  </a:lnTo>
                  <a:lnTo>
                    <a:pt x="941969" y="416411"/>
                  </a:lnTo>
                  <a:lnTo>
                    <a:pt x="942393" y="415866"/>
                  </a:lnTo>
                  <a:lnTo>
                    <a:pt x="942665" y="414051"/>
                  </a:lnTo>
                  <a:lnTo>
                    <a:pt x="942272" y="412932"/>
                  </a:lnTo>
                  <a:lnTo>
                    <a:pt x="940578" y="414445"/>
                  </a:lnTo>
                  <a:lnTo>
                    <a:pt x="939912" y="413719"/>
                  </a:lnTo>
                  <a:lnTo>
                    <a:pt x="938914" y="412962"/>
                  </a:lnTo>
                  <a:lnTo>
                    <a:pt x="938521" y="412297"/>
                  </a:lnTo>
                  <a:lnTo>
                    <a:pt x="937159" y="413840"/>
                  </a:lnTo>
                  <a:lnTo>
                    <a:pt x="936191" y="413658"/>
                  </a:lnTo>
                  <a:lnTo>
                    <a:pt x="935284" y="412781"/>
                  </a:lnTo>
                  <a:lnTo>
                    <a:pt x="934013" y="412297"/>
                  </a:lnTo>
                  <a:lnTo>
                    <a:pt x="932591" y="412781"/>
                  </a:lnTo>
                  <a:lnTo>
                    <a:pt x="932289" y="412539"/>
                  </a:lnTo>
                  <a:lnTo>
                    <a:pt x="933015" y="411147"/>
                  </a:lnTo>
                  <a:lnTo>
                    <a:pt x="933015" y="410209"/>
                  </a:lnTo>
                  <a:lnTo>
                    <a:pt x="930897" y="410028"/>
                  </a:lnTo>
                  <a:lnTo>
                    <a:pt x="924665" y="407850"/>
                  </a:lnTo>
                  <a:lnTo>
                    <a:pt x="923335" y="406610"/>
                  </a:lnTo>
                  <a:lnTo>
                    <a:pt x="921792" y="407184"/>
                  </a:lnTo>
                  <a:lnTo>
                    <a:pt x="914562" y="405369"/>
                  </a:lnTo>
                  <a:lnTo>
                    <a:pt x="912293" y="404038"/>
                  </a:lnTo>
                  <a:lnTo>
                    <a:pt x="913079" y="401346"/>
                  </a:lnTo>
                  <a:lnTo>
                    <a:pt x="912777" y="399380"/>
                  </a:lnTo>
                  <a:lnTo>
                    <a:pt x="911658" y="397897"/>
                  </a:lnTo>
                  <a:lnTo>
                    <a:pt x="910901" y="397322"/>
                  </a:lnTo>
                  <a:lnTo>
                    <a:pt x="910175" y="396748"/>
                  </a:lnTo>
                  <a:lnTo>
                    <a:pt x="909872" y="396687"/>
                  </a:lnTo>
                  <a:lnTo>
                    <a:pt x="914531" y="387884"/>
                  </a:lnTo>
                  <a:lnTo>
                    <a:pt x="916377" y="385222"/>
                  </a:lnTo>
                  <a:lnTo>
                    <a:pt x="920430" y="380684"/>
                  </a:lnTo>
                  <a:lnTo>
                    <a:pt x="932682" y="363320"/>
                  </a:lnTo>
                  <a:lnTo>
                    <a:pt x="941546" y="356543"/>
                  </a:lnTo>
                  <a:lnTo>
                    <a:pt x="950440" y="351733"/>
                  </a:lnTo>
                  <a:lnTo>
                    <a:pt x="967260" y="347317"/>
                  </a:lnTo>
                  <a:lnTo>
                    <a:pt x="980631" y="338937"/>
                  </a:lnTo>
                  <a:lnTo>
                    <a:pt x="984624" y="334399"/>
                  </a:lnTo>
                  <a:lnTo>
                    <a:pt x="986015" y="327865"/>
                  </a:lnTo>
                  <a:lnTo>
                    <a:pt x="985834" y="323297"/>
                  </a:lnTo>
                  <a:lnTo>
                    <a:pt x="984987" y="304753"/>
                  </a:lnTo>
                  <a:lnTo>
                    <a:pt x="984714" y="303573"/>
                  </a:lnTo>
                  <a:lnTo>
                    <a:pt x="984321" y="302817"/>
                  </a:lnTo>
                  <a:lnTo>
                    <a:pt x="983958" y="301879"/>
                  </a:lnTo>
                  <a:lnTo>
                    <a:pt x="983868" y="300245"/>
                  </a:lnTo>
                  <a:lnTo>
                    <a:pt x="984170" y="299035"/>
                  </a:lnTo>
                  <a:lnTo>
                    <a:pt x="985259" y="296978"/>
                  </a:lnTo>
                  <a:lnTo>
                    <a:pt x="985562" y="296010"/>
                  </a:lnTo>
                  <a:lnTo>
                    <a:pt x="985531" y="294800"/>
                  </a:lnTo>
                  <a:lnTo>
                    <a:pt x="984654" y="290535"/>
                  </a:lnTo>
                  <a:lnTo>
                    <a:pt x="984654" y="289536"/>
                  </a:lnTo>
                  <a:lnTo>
                    <a:pt x="984896" y="287691"/>
                  </a:lnTo>
                  <a:lnTo>
                    <a:pt x="984745" y="286511"/>
                  </a:lnTo>
                  <a:lnTo>
                    <a:pt x="983565" y="284242"/>
                  </a:lnTo>
                  <a:lnTo>
                    <a:pt x="980540" y="280643"/>
                  </a:lnTo>
                  <a:lnTo>
                    <a:pt x="979663" y="278041"/>
                  </a:lnTo>
                  <a:lnTo>
                    <a:pt x="979814" y="275016"/>
                  </a:lnTo>
                  <a:lnTo>
                    <a:pt x="980752" y="272898"/>
                  </a:lnTo>
                  <a:lnTo>
                    <a:pt x="981992" y="271053"/>
                  </a:lnTo>
                  <a:lnTo>
                    <a:pt x="982899" y="268844"/>
                  </a:lnTo>
                  <a:lnTo>
                    <a:pt x="983111" y="265093"/>
                  </a:lnTo>
                  <a:lnTo>
                    <a:pt x="982052" y="263248"/>
                  </a:lnTo>
                  <a:lnTo>
                    <a:pt x="980358" y="262008"/>
                  </a:lnTo>
                  <a:lnTo>
                    <a:pt x="978543" y="260193"/>
                  </a:lnTo>
                  <a:lnTo>
                    <a:pt x="977333" y="257803"/>
                  </a:lnTo>
                  <a:lnTo>
                    <a:pt x="976547" y="255564"/>
                  </a:lnTo>
                  <a:lnTo>
                    <a:pt x="975579" y="253386"/>
                  </a:lnTo>
                  <a:lnTo>
                    <a:pt x="973763" y="251147"/>
                  </a:lnTo>
                  <a:lnTo>
                    <a:pt x="971979" y="246761"/>
                  </a:lnTo>
                  <a:lnTo>
                    <a:pt x="967955" y="232119"/>
                  </a:lnTo>
                  <a:lnTo>
                    <a:pt x="965928" y="227218"/>
                  </a:lnTo>
                  <a:lnTo>
                    <a:pt x="961209" y="218143"/>
                  </a:lnTo>
                  <a:lnTo>
                    <a:pt x="952648" y="193972"/>
                  </a:lnTo>
                  <a:lnTo>
                    <a:pt x="950258" y="183082"/>
                  </a:lnTo>
                  <a:lnTo>
                    <a:pt x="950016" y="173522"/>
                  </a:lnTo>
                  <a:lnTo>
                    <a:pt x="950016" y="173522"/>
                  </a:lnTo>
                  <a:lnTo>
                    <a:pt x="950016" y="173492"/>
                  </a:lnTo>
                  <a:lnTo>
                    <a:pt x="947566" y="170195"/>
                  </a:lnTo>
                  <a:lnTo>
                    <a:pt x="946507" y="166988"/>
                  </a:lnTo>
                  <a:lnTo>
                    <a:pt x="945569" y="158669"/>
                  </a:lnTo>
                  <a:lnTo>
                    <a:pt x="944571" y="154706"/>
                  </a:lnTo>
                  <a:lnTo>
                    <a:pt x="943240" y="151106"/>
                  </a:lnTo>
                  <a:lnTo>
                    <a:pt x="942181" y="147264"/>
                  </a:lnTo>
                  <a:lnTo>
                    <a:pt x="942060" y="142666"/>
                  </a:lnTo>
                  <a:lnTo>
                    <a:pt x="942484" y="141758"/>
                  </a:lnTo>
                  <a:lnTo>
                    <a:pt x="942544" y="140911"/>
                  </a:lnTo>
                  <a:lnTo>
                    <a:pt x="942242" y="140125"/>
                  </a:lnTo>
                  <a:lnTo>
                    <a:pt x="941667" y="139398"/>
                  </a:lnTo>
                  <a:lnTo>
                    <a:pt x="940578" y="138582"/>
                  </a:lnTo>
                  <a:lnTo>
                    <a:pt x="939761" y="137463"/>
                  </a:lnTo>
                  <a:lnTo>
                    <a:pt x="939337" y="136041"/>
                  </a:lnTo>
                  <a:lnTo>
                    <a:pt x="939428" y="134347"/>
                  </a:lnTo>
                  <a:lnTo>
                    <a:pt x="939882" y="133651"/>
                  </a:lnTo>
                  <a:lnTo>
                    <a:pt x="940426" y="133015"/>
                  </a:lnTo>
                  <a:lnTo>
                    <a:pt x="941667" y="132108"/>
                  </a:lnTo>
                  <a:lnTo>
                    <a:pt x="943149" y="129688"/>
                  </a:lnTo>
                  <a:lnTo>
                    <a:pt x="943119" y="126149"/>
                  </a:lnTo>
                  <a:lnTo>
                    <a:pt x="941667" y="118797"/>
                  </a:lnTo>
                  <a:lnTo>
                    <a:pt x="940880" y="115409"/>
                  </a:lnTo>
                  <a:lnTo>
                    <a:pt x="939791" y="111900"/>
                  </a:lnTo>
                  <a:lnTo>
                    <a:pt x="938369" y="108754"/>
                  </a:lnTo>
                  <a:lnTo>
                    <a:pt x="936736" y="106455"/>
                  </a:lnTo>
                  <a:lnTo>
                    <a:pt x="935768" y="105971"/>
                  </a:lnTo>
                  <a:lnTo>
                    <a:pt x="933620" y="105426"/>
                  </a:lnTo>
                  <a:lnTo>
                    <a:pt x="932591" y="104761"/>
                  </a:lnTo>
                  <a:lnTo>
                    <a:pt x="931654" y="103551"/>
                  </a:lnTo>
                  <a:lnTo>
                    <a:pt x="929838" y="100314"/>
                  </a:lnTo>
                  <a:lnTo>
                    <a:pt x="928870" y="98922"/>
                  </a:lnTo>
                  <a:lnTo>
                    <a:pt x="926995" y="97470"/>
                  </a:lnTo>
                  <a:lnTo>
                    <a:pt x="924998" y="95897"/>
                  </a:lnTo>
                  <a:lnTo>
                    <a:pt x="916891" y="93053"/>
                  </a:lnTo>
                  <a:lnTo>
                    <a:pt x="913019" y="90906"/>
                  </a:lnTo>
                  <a:lnTo>
                    <a:pt x="906787" y="86095"/>
                  </a:lnTo>
                  <a:lnTo>
                    <a:pt x="904972" y="85249"/>
                  </a:lnTo>
                  <a:lnTo>
                    <a:pt x="902945" y="85672"/>
                  </a:lnTo>
                  <a:lnTo>
                    <a:pt x="900555" y="86610"/>
                  </a:lnTo>
                  <a:lnTo>
                    <a:pt x="898226" y="86640"/>
                  </a:lnTo>
                  <a:lnTo>
                    <a:pt x="896441" y="84280"/>
                  </a:lnTo>
                  <a:lnTo>
                    <a:pt x="896441" y="82617"/>
                  </a:lnTo>
                  <a:lnTo>
                    <a:pt x="897016" y="80832"/>
                  </a:lnTo>
                  <a:lnTo>
                    <a:pt x="897379" y="79319"/>
                  </a:lnTo>
                  <a:lnTo>
                    <a:pt x="896743" y="78442"/>
                  </a:lnTo>
                  <a:lnTo>
                    <a:pt x="893295" y="78079"/>
                  </a:lnTo>
                  <a:lnTo>
                    <a:pt x="892175" y="77353"/>
                  </a:lnTo>
                  <a:lnTo>
                    <a:pt x="891510" y="76324"/>
                  </a:lnTo>
                  <a:lnTo>
                    <a:pt x="891086" y="75084"/>
                  </a:lnTo>
                  <a:lnTo>
                    <a:pt x="890511" y="73874"/>
                  </a:lnTo>
                  <a:lnTo>
                    <a:pt x="889453" y="72845"/>
                  </a:lnTo>
                  <a:lnTo>
                    <a:pt x="888394" y="72634"/>
                  </a:lnTo>
                  <a:lnTo>
                    <a:pt x="886125" y="73088"/>
                  </a:lnTo>
                  <a:lnTo>
                    <a:pt x="885036" y="72936"/>
                  </a:lnTo>
                  <a:lnTo>
                    <a:pt x="878986" y="70062"/>
                  </a:lnTo>
                  <a:lnTo>
                    <a:pt x="876838" y="69790"/>
                  </a:lnTo>
                  <a:lnTo>
                    <a:pt x="874357" y="70879"/>
                  </a:lnTo>
                  <a:lnTo>
                    <a:pt x="874206" y="71121"/>
                  </a:lnTo>
                  <a:lnTo>
                    <a:pt x="871665" y="75478"/>
                  </a:lnTo>
                  <a:lnTo>
                    <a:pt x="869759" y="76899"/>
                  </a:lnTo>
                  <a:lnTo>
                    <a:pt x="862832" y="79017"/>
                  </a:lnTo>
                  <a:lnTo>
                    <a:pt x="843925" y="78079"/>
                  </a:lnTo>
                  <a:lnTo>
                    <a:pt x="820449" y="76899"/>
                  </a:lnTo>
                  <a:lnTo>
                    <a:pt x="764454" y="74177"/>
                  </a:lnTo>
                  <a:lnTo>
                    <a:pt x="720862" y="72059"/>
                  </a:lnTo>
                  <a:lnTo>
                    <a:pt x="684862" y="70304"/>
                  </a:lnTo>
                  <a:lnTo>
                    <a:pt x="626749" y="67461"/>
                  </a:lnTo>
                  <a:lnTo>
                    <a:pt x="587755" y="65525"/>
                  </a:lnTo>
                  <a:lnTo>
                    <a:pt x="566973" y="64526"/>
                  </a:lnTo>
                  <a:lnTo>
                    <a:pt x="559137" y="64133"/>
                  </a:lnTo>
                  <a:lnTo>
                    <a:pt x="554146" y="62560"/>
                  </a:lnTo>
                  <a:lnTo>
                    <a:pt x="551998" y="60957"/>
                  </a:lnTo>
                  <a:lnTo>
                    <a:pt x="550304" y="61622"/>
                  </a:lnTo>
                  <a:lnTo>
                    <a:pt x="544103" y="67582"/>
                  </a:lnTo>
                  <a:lnTo>
                    <a:pt x="540926" y="68943"/>
                  </a:lnTo>
                  <a:lnTo>
                    <a:pt x="536963" y="69790"/>
                  </a:lnTo>
                  <a:lnTo>
                    <a:pt x="528614" y="73511"/>
                  </a:lnTo>
                  <a:lnTo>
                    <a:pt x="490890" y="78684"/>
                  </a:lnTo>
                  <a:lnTo>
                    <a:pt x="488137" y="77928"/>
                  </a:lnTo>
                  <a:lnTo>
                    <a:pt x="486927" y="77323"/>
                  </a:lnTo>
                  <a:lnTo>
                    <a:pt x="486080" y="76536"/>
                  </a:lnTo>
                  <a:lnTo>
                    <a:pt x="482964" y="78109"/>
                  </a:lnTo>
                  <a:lnTo>
                    <a:pt x="479183" y="77867"/>
                  </a:lnTo>
                  <a:lnTo>
                    <a:pt x="462242" y="72815"/>
                  </a:lnTo>
                  <a:lnTo>
                    <a:pt x="460518" y="70607"/>
                  </a:lnTo>
                  <a:lnTo>
                    <a:pt x="459913" y="69246"/>
                  </a:lnTo>
                  <a:lnTo>
                    <a:pt x="458461" y="68368"/>
                  </a:lnTo>
                  <a:lnTo>
                    <a:pt x="456797" y="67884"/>
                  </a:lnTo>
                  <a:lnTo>
                    <a:pt x="455435" y="67763"/>
                  </a:lnTo>
                  <a:lnTo>
                    <a:pt x="453893" y="67249"/>
                  </a:lnTo>
                  <a:lnTo>
                    <a:pt x="450807" y="65101"/>
                  </a:lnTo>
                  <a:lnTo>
                    <a:pt x="449234" y="64617"/>
                  </a:lnTo>
                  <a:lnTo>
                    <a:pt x="447812" y="61955"/>
                  </a:lnTo>
                  <a:lnTo>
                    <a:pt x="447147" y="55995"/>
                  </a:lnTo>
                  <a:lnTo>
                    <a:pt x="447086" y="49703"/>
                  </a:lnTo>
                  <a:lnTo>
                    <a:pt x="447479" y="46043"/>
                  </a:lnTo>
                  <a:lnTo>
                    <a:pt x="446693" y="44500"/>
                  </a:lnTo>
                  <a:lnTo>
                    <a:pt x="444152" y="37270"/>
                  </a:lnTo>
                  <a:lnTo>
                    <a:pt x="442881" y="35485"/>
                  </a:lnTo>
                  <a:lnTo>
                    <a:pt x="442064" y="33367"/>
                  </a:lnTo>
                  <a:lnTo>
                    <a:pt x="442669" y="30705"/>
                  </a:lnTo>
                  <a:lnTo>
                    <a:pt x="441005" y="32702"/>
                  </a:lnTo>
                  <a:lnTo>
                    <a:pt x="439100" y="33065"/>
                  </a:lnTo>
                  <a:lnTo>
                    <a:pt x="437920" y="31734"/>
                  </a:lnTo>
                  <a:lnTo>
                    <a:pt x="438555" y="28618"/>
                  </a:lnTo>
                  <a:lnTo>
                    <a:pt x="437375" y="27468"/>
                  </a:lnTo>
                  <a:lnTo>
                    <a:pt x="437345" y="26440"/>
                  </a:lnTo>
                  <a:lnTo>
                    <a:pt x="437738" y="25351"/>
                  </a:lnTo>
                  <a:lnTo>
                    <a:pt x="437799" y="24141"/>
                  </a:lnTo>
                  <a:lnTo>
                    <a:pt x="436317" y="21176"/>
                  </a:lnTo>
                  <a:lnTo>
                    <a:pt x="435107" y="19240"/>
                  </a:lnTo>
                  <a:lnTo>
                    <a:pt x="434562" y="18635"/>
                  </a:lnTo>
                  <a:lnTo>
                    <a:pt x="432142" y="17636"/>
                  </a:lnTo>
                  <a:lnTo>
                    <a:pt x="431597" y="17062"/>
                  </a:lnTo>
                  <a:lnTo>
                    <a:pt x="431597" y="14702"/>
                  </a:lnTo>
                  <a:lnTo>
                    <a:pt x="431809" y="13674"/>
                  </a:lnTo>
                  <a:lnTo>
                    <a:pt x="433231" y="9075"/>
                  </a:lnTo>
                  <a:lnTo>
                    <a:pt x="433866" y="8259"/>
                  </a:lnTo>
                  <a:lnTo>
                    <a:pt x="435107" y="7745"/>
                  </a:lnTo>
                  <a:lnTo>
                    <a:pt x="435954" y="8138"/>
                  </a:lnTo>
                  <a:lnTo>
                    <a:pt x="439221" y="10437"/>
                  </a:lnTo>
                  <a:lnTo>
                    <a:pt x="440189" y="11707"/>
                  </a:lnTo>
                  <a:lnTo>
                    <a:pt x="446088" y="14309"/>
                  </a:lnTo>
                  <a:lnTo>
                    <a:pt x="452108" y="18121"/>
                  </a:lnTo>
                  <a:lnTo>
                    <a:pt x="454951" y="19028"/>
                  </a:lnTo>
                  <a:lnTo>
                    <a:pt x="455920" y="20541"/>
                  </a:lnTo>
                  <a:lnTo>
                    <a:pt x="456797" y="20874"/>
                  </a:lnTo>
                  <a:lnTo>
                    <a:pt x="460336" y="21569"/>
                  </a:lnTo>
                  <a:lnTo>
                    <a:pt x="461274" y="21963"/>
                  </a:lnTo>
                  <a:lnTo>
                    <a:pt x="466054" y="29435"/>
                  </a:lnTo>
                  <a:lnTo>
                    <a:pt x="467718" y="31371"/>
                  </a:lnTo>
                  <a:lnTo>
                    <a:pt x="468958" y="34366"/>
                  </a:lnTo>
                  <a:lnTo>
                    <a:pt x="470773" y="35576"/>
                  </a:lnTo>
                  <a:lnTo>
                    <a:pt x="471378" y="36725"/>
                  </a:lnTo>
                  <a:lnTo>
                    <a:pt x="471892" y="37875"/>
                  </a:lnTo>
                  <a:lnTo>
                    <a:pt x="472316" y="38420"/>
                  </a:lnTo>
                  <a:lnTo>
                    <a:pt x="474101" y="37633"/>
                  </a:lnTo>
                  <a:lnTo>
                    <a:pt x="474010" y="35485"/>
                  </a:lnTo>
                  <a:lnTo>
                    <a:pt x="472981" y="33004"/>
                  </a:lnTo>
                  <a:lnTo>
                    <a:pt x="471953" y="31250"/>
                  </a:lnTo>
                  <a:lnTo>
                    <a:pt x="465691" y="23747"/>
                  </a:lnTo>
                  <a:lnTo>
                    <a:pt x="431325" y="4810"/>
                  </a:lnTo>
                  <a:lnTo>
                    <a:pt x="429207" y="4356"/>
                  </a:lnTo>
                  <a:lnTo>
                    <a:pt x="427876" y="3721"/>
                  </a:lnTo>
                  <a:lnTo>
                    <a:pt x="424216" y="787"/>
                  </a:lnTo>
                  <a:lnTo>
                    <a:pt x="421947" y="0"/>
                  </a:lnTo>
                  <a:lnTo>
                    <a:pt x="405369" y="0"/>
                  </a:lnTo>
                  <a:lnTo>
                    <a:pt x="378506" y="2269"/>
                  </a:lnTo>
                  <a:lnTo>
                    <a:pt x="361444" y="7684"/>
                  </a:lnTo>
                  <a:lnTo>
                    <a:pt x="323358" y="14309"/>
                  </a:lnTo>
                  <a:lnTo>
                    <a:pt x="293016" y="27438"/>
                  </a:lnTo>
                  <a:lnTo>
                    <a:pt x="283365" y="37179"/>
                  </a:lnTo>
                  <a:lnTo>
                    <a:pt x="279584" y="38420"/>
                  </a:lnTo>
                  <a:lnTo>
                    <a:pt x="275288" y="39085"/>
                  </a:lnTo>
                  <a:lnTo>
                    <a:pt x="267120" y="42110"/>
                  </a:lnTo>
                  <a:lnTo>
                    <a:pt x="246126" y="44954"/>
                  </a:lnTo>
                  <a:lnTo>
                    <a:pt x="239229" y="48886"/>
                  </a:lnTo>
                  <a:lnTo>
                    <a:pt x="235750" y="52123"/>
                  </a:lnTo>
                  <a:lnTo>
                    <a:pt x="233662" y="55935"/>
                  </a:lnTo>
                  <a:lnTo>
                    <a:pt x="235175" y="54634"/>
                  </a:lnTo>
                  <a:lnTo>
                    <a:pt x="236476" y="54120"/>
                  </a:lnTo>
                  <a:lnTo>
                    <a:pt x="237080" y="54785"/>
                  </a:lnTo>
                  <a:lnTo>
                    <a:pt x="236415" y="56903"/>
                  </a:lnTo>
                  <a:lnTo>
                    <a:pt x="235145" y="58264"/>
                  </a:lnTo>
                  <a:lnTo>
                    <a:pt x="233511" y="58839"/>
                  </a:lnTo>
                  <a:lnTo>
                    <a:pt x="232483" y="58476"/>
                  </a:lnTo>
                  <a:lnTo>
                    <a:pt x="233057" y="56903"/>
                  </a:lnTo>
                  <a:lnTo>
                    <a:pt x="233057" y="55935"/>
                  </a:lnTo>
                  <a:lnTo>
                    <a:pt x="221380" y="69730"/>
                  </a:lnTo>
                  <a:lnTo>
                    <a:pt x="217115" y="76536"/>
                  </a:lnTo>
                  <a:lnTo>
                    <a:pt x="218597" y="75144"/>
                  </a:lnTo>
                  <a:lnTo>
                    <a:pt x="219474" y="74177"/>
                  </a:lnTo>
                  <a:lnTo>
                    <a:pt x="221471" y="74207"/>
                  </a:lnTo>
                  <a:lnTo>
                    <a:pt x="222681" y="76536"/>
                  </a:lnTo>
                  <a:lnTo>
                    <a:pt x="221380" y="77897"/>
                  </a:lnTo>
                  <a:lnTo>
                    <a:pt x="217841" y="79440"/>
                  </a:lnTo>
                  <a:lnTo>
                    <a:pt x="216449" y="80983"/>
                  </a:lnTo>
                  <a:lnTo>
                    <a:pt x="214846" y="81588"/>
                  </a:lnTo>
                  <a:lnTo>
                    <a:pt x="213031" y="81921"/>
                  </a:lnTo>
                  <a:lnTo>
                    <a:pt x="212093" y="82224"/>
                  </a:lnTo>
                  <a:lnTo>
                    <a:pt x="213000" y="81044"/>
                  </a:lnTo>
                  <a:lnTo>
                    <a:pt x="215239" y="78896"/>
                  </a:lnTo>
                  <a:lnTo>
                    <a:pt x="216510" y="76536"/>
                  </a:lnTo>
                  <a:lnTo>
                    <a:pt x="210278" y="83252"/>
                  </a:lnTo>
                  <a:lnTo>
                    <a:pt x="206103" y="85763"/>
                  </a:lnTo>
                  <a:lnTo>
                    <a:pt x="202655" y="87336"/>
                  </a:lnTo>
                  <a:lnTo>
                    <a:pt x="208130" y="85763"/>
                  </a:lnTo>
                  <a:lnTo>
                    <a:pt x="210459" y="85854"/>
                  </a:lnTo>
                  <a:lnTo>
                    <a:pt x="210247" y="88425"/>
                  </a:lnTo>
                  <a:lnTo>
                    <a:pt x="210581" y="88667"/>
                  </a:lnTo>
                  <a:lnTo>
                    <a:pt x="210762" y="88607"/>
                  </a:lnTo>
                  <a:lnTo>
                    <a:pt x="210883" y="88758"/>
                  </a:lnTo>
                  <a:lnTo>
                    <a:pt x="210913" y="89514"/>
                  </a:lnTo>
                  <a:lnTo>
                    <a:pt x="206133" y="89514"/>
                  </a:lnTo>
                  <a:lnTo>
                    <a:pt x="206133" y="90694"/>
                  </a:lnTo>
                  <a:lnTo>
                    <a:pt x="206799" y="90694"/>
                  </a:lnTo>
                  <a:lnTo>
                    <a:pt x="206799" y="91662"/>
                  </a:lnTo>
                  <a:lnTo>
                    <a:pt x="197966" y="93084"/>
                  </a:lnTo>
                  <a:lnTo>
                    <a:pt x="195757" y="91662"/>
                  </a:lnTo>
                  <a:lnTo>
                    <a:pt x="200749" y="89605"/>
                  </a:lnTo>
                  <a:lnTo>
                    <a:pt x="202019" y="88425"/>
                  </a:lnTo>
                  <a:lnTo>
                    <a:pt x="190887" y="91874"/>
                  </a:lnTo>
                  <a:lnTo>
                    <a:pt x="174672" y="93719"/>
                  </a:lnTo>
                  <a:lnTo>
                    <a:pt x="155160" y="101887"/>
                  </a:lnTo>
                  <a:lnTo>
                    <a:pt x="135285" y="106818"/>
                  </a:lnTo>
                  <a:lnTo>
                    <a:pt x="117194" y="111265"/>
                  </a:lnTo>
                  <a:lnTo>
                    <a:pt x="89151" y="122155"/>
                  </a:lnTo>
                  <a:lnTo>
                    <a:pt x="66220" y="127691"/>
                  </a:lnTo>
                  <a:lnTo>
                    <a:pt x="39599" y="138612"/>
                  </a:lnTo>
                  <a:lnTo>
                    <a:pt x="32369" y="143483"/>
                  </a:lnTo>
                  <a:lnTo>
                    <a:pt x="28467" y="145419"/>
                  </a:lnTo>
                  <a:lnTo>
                    <a:pt x="24443" y="146175"/>
                  </a:lnTo>
                  <a:lnTo>
                    <a:pt x="14491" y="145419"/>
                  </a:lnTo>
                  <a:lnTo>
                    <a:pt x="11435" y="144329"/>
                  </a:lnTo>
                  <a:lnTo>
                    <a:pt x="10346" y="143483"/>
                  </a:lnTo>
                  <a:lnTo>
                    <a:pt x="8682" y="142787"/>
                  </a:lnTo>
                  <a:lnTo>
                    <a:pt x="6958" y="147022"/>
                  </a:lnTo>
                  <a:lnTo>
                    <a:pt x="6111" y="147567"/>
                  </a:lnTo>
                  <a:lnTo>
                    <a:pt x="5173" y="147839"/>
                  </a:lnTo>
                  <a:lnTo>
                    <a:pt x="6928" y="149805"/>
                  </a:lnTo>
                  <a:lnTo>
                    <a:pt x="7745" y="152255"/>
                  </a:lnTo>
                  <a:lnTo>
                    <a:pt x="7745" y="152255"/>
                  </a:lnTo>
                  <a:lnTo>
                    <a:pt x="7956" y="152255"/>
                  </a:lnTo>
                  <a:lnTo>
                    <a:pt x="10346" y="153224"/>
                  </a:lnTo>
                  <a:lnTo>
                    <a:pt x="15156" y="159667"/>
                  </a:lnTo>
                  <a:lnTo>
                    <a:pt x="16850" y="160726"/>
                  </a:lnTo>
                  <a:lnTo>
                    <a:pt x="18030" y="160877"/>
                  </a:lnTo>
                  <a:lnTo>
                    <a:pt x="19603" y="161664"/>
                  </a:lnTo>
                  <a:lnTo>
                    <a:pt x="20541" y="161785"/>
                  </a:lnTo>
                  <a:lnTo>
                    <a:pt x="21872" y="161543"/>
                  </a:lnTo>
                  <a:lnTo>
                    <a:pt x="21932" y="161210"/>
                  </a:lnTo>
                  <a:lnTo>
                    <a:pt x="20541" y="160726"/>
                  </a:lnTo>
                  <a:lnTo>
                    <a:pt x="20541" y="159637"/>
                  </a:lnTo>
                  <a:lnTo>
                    <a:pt x="21993" y="159516"/>
                  </a:lnTo>
                  <a:lnTo>
                    <a:pt x="23385" y="159092"/>
                  </a:lnTo>
                  <a:lnTo>
                    <a:pt x="26137" y="157519"/>
                  </a:lnTo>
                  <a:lnTo>
                    <a:pt x="27045" y="158124"/>
                  </a:lnTo>
                  <a:lnTo>
                    <a:pt x="28316" y="157580"/>
                  </a:lnTo>
                  <a:lnTo>
                    <a:pt x="29374" y="156218"/>
                  </a:lnTo>
                  <a:lnTo>
                    <a:pt x="29556" y="154313"/>
                  </a:lnTo>
                  <a:lnTo>
                    <a:pt x="28709" y="153284"/>
                  </a:lnTo>
                  <a:lnTo>
                    <a:pt x="27075" y="152588"/>
                  </a:lnTo>
                  <a:lnTo>
                    <a:pt x="24050" y="152074"/>
                  </a:lnTo>
                  <a:lnTo>
                    <a:pt x="24928" y="151046"/>
                  </a:lnTo>
                  <a:lnTo>
                    <a:pt x="25593" y="150047"/>
                  </a:lnTo>
                  <a:lnTo>
                    <a:pt x="26289" y="149260"/>
                  </a:lnTo>
                  <a:lnTo>
                    <a:pt x="27166" y="148958"/>
                  </a:lnTo>
                  <a:lnTo>
                    <a:pt x="28376" y="149260"/>
                  </a:lnTo>
                  <a:lnTo>
                    <a:pt x="29223" y="149654"/>
                  </a:lnTo>
                  <a:lnTo>
                    <a:pt x="30010" y="149442"/>
                  </a:lnTo>
                  <a:lnTo>
                    <a:pt x="31008" y="147869"/>
                  </a:lnTo>
                  <a:lnTo>
                    <a:pt x="31189" y="148444"/>
                  </a:lnTo>
                  <a:lnTo>
                    <a:pt x="31220" y="148595"/>
                  </a:lnTo>
                  <a:lnTo>
                    <a:pt x="31280" y="148625"/>
                  </a:lnTo>
                  <a:lnTo>
                    <a:pt x="31613" y="148958"/>
                  </a:lnTo>
                  <a:lnTo>
                    <a:pt x="30342" y="152013"/>
                  </a:lnTo>
                  <a:lnTo>
                    <a:pt x="31915" y="153587"/>
                  </a:lnTo>
                  <a:lnTo>
                    <a:pt x="43108" y="154676"/>
                  </a:lnTo>
                  <a:lnTo>
                    <a:pt x="45468" y="155916"/>
                  </a:lnTo>
                  <a:lnTo>
                    <a:pt x="46860" y="158578"/>
                  </a:lnTo>
                  <a:lnTo>
                    <a:pt x="46224" y="159153"/>
                  </a:lnTo>
                  <a:lnTo>
                    <a:pt x="45317" y="160272"/>
                  </a:lnTo>
                  <a:lnTo>
                    <a:pt x="44803" y="160726"/>
                  </a:lnTo>
                  <a:lnTo>
                    <a:pt x="45347" y="161512"/>
                  </a:lnTo>
                  <a:lnTo>
                    <a:pt x="45892" y="162117"/>
                  </a:lnTo>
                  <a:lnTo>
                    <a:pt x="46618" y="162511"/>
                  </a:lnTo>
                  <a:lnTo>
                    <a:pt x="47495" y="162843"/>
                  </a:lnTo>
                  <a:lnTo>
                    <a:pt x="46860" y="161785"/>
                  </a:lnTo>
                  <a:lnTo>
                    <a:pt x="49280" y="159546"/>
                  </a:lnTo>
                  <a:lnTo>
                    <a:pt x="50066" y="158306"/>
                  </a:lnTo>
                  <a:lnTo>
                    <a:pt x="50308" y="156430"/>
                  </a:lnTo>
                  <a:lnTo>
                    <a:pt x="51004" y="156430"/>
                  </a:lnTo>
                  <a:lnTo>
                    <a:pt x="50641" y="159365"/>
                  </a:lnTo>
                  <a:lnTo>
                    <a:pt x="49945" y="162178"/>
                  </a:lnTo>
                  <a:lnTo>
                    <a:pt x="49582" y="165324"/>
                  </a:lnTo>
                  <a:lnTo>
                    <a:pt x="50308" y="169257"/>
                  </a:lnTo>
                  <a:lnTo>
                    <a:pt x="48735" y="169347"/>
                  </a:lnTo>
                  <a:lnTo>
                    <a:pt x="47646" y="169953"/>
                  </a:lnTo>
                  <a:lnTo>
                    <a:pt x="46648" y="170225"/>
                  </a:lnTo>
                  <a:lnTo>
                    <a:pt x="45498" y="169257"/>
                  </a:lnTo>
                  <a:lnTo>
                    <a:pt x="43018" y="176033"/>
                  </a:lnTo>
                  <a:lnTo>
                    <a:pt x="42382" y="179482"/>
                  </a:lnTo>
                  <a:lnTo>
                    <a:pt x="45498" y="186409"/>
                  </a:lnTo>
                  <a:lnTo>
                    <a:pt x="46648" y="186984"/>
                  </a:lnTo>
                  <a:lnTo>
                    <a:pt x="49219" y="187196"/>
                  </a:lnTo>
                  <a:lnTo>
                    <a:pt x="50308" y="187498"/>
                  </a:lnTo>
                  <a:lnTo>
                    <a:pt x="50187" y="188406"/>
                  </a:lnTo>
                  <a:lnTo>
                    <a:pt x="50218" y="189011"/>
                  </a:lnTo>
                  <a:lnTo>
                    <a:pt x="50308" y="189616"/>
                  </a:lnTo>
                  <a:lnTo>
                    <a:pt x="48917" y="190614"/>
                  </a:lnTo>
                  <a:lnTo>
                    <a:pt x="48070" y="191552"/>
                  </a:lnTo>
                  <a:lnTo>
                    <a:pt x="47616" y="193004"/>
                  </a:lnTo>
                  <a:lnTo>
                    <a:pt x="47495" y="195515"/>
                  </a:lnTo>
                  <a:lnTo>
                    <a:pt x="46950" y="195969"/>
                  </a:lnTo>
                  <a:lnTo>
                    <a:pt x="45801" y="194577"/>
                  </a:lnTo>
                  <a:lnTo>
                    <a:pt x="42503" y="188739"/>
                  </a:lnTo>
                  <a:lnTo>
                    <a:pt x="40961" y="186712"/>
                  </a:lnTo>
                  <a:lnTo>
                    <a:pt x="39085" y="185351"/>
                  </a:lnTo>
                  <a:lnTo>
                    <a:pt x="33700" y="183566"/>
                  </a:lnTo>
                  <a:lnTo>
                    <a:pt x="29253" y="182870"/>
                  </a:lnTo>
                  <a:lnTo>
                    <a:pt x="28134" y="182023"/>
                  </a:lnTo>
                  <a:lnTo>
                    <a:pt x="26137" y="180026"/>
                  </a:lnTo>
                  <a:lnTo>
                    <a:pt x="23385" y="178816"/>
                  </a:lnTo>
                  <a:lnTo>
                    <a:pt x="21932" y="177788"/>
                  </a:lnTo>
                  <a:lnTo>
                    <a:pt x="20783" y="174793"/>
                  </a:lnTo>
                  <a:lnTo>
                    <a:pt x="19543" y="173915"/>
                  </a:lnTo>
                  <a:lnTo>
                    <a:pt x="18121" y="173280"/>
                  </a:lnTo>
                  <a:lnTo>
                    <a:pt x="17122" y="172463"/>
                  </a:lnTo>
                  <a:lnTo>
                    <a:pt x="16578" y="173613"/>
                  </a:lnTo>
                  <a:lnTo>
                    <a:pt x="17546" y="174158"/>
                  </a:lnTo>
                  <a:lnTo>
                    <a:pt x="17879" y="174702"/>
                  </a:lnTo>
                  <a:lnTo>
                    <a:pt x="17546" y="175216"/>
                  </a:lnTo>
                  <a:lnTo>
                    <a:pt x="16578" y="175761"/>
                  </a:lnTo>
                  <a:lnTo>
                    <a:pt x="18333" y="176880"/>
                  </a:lnTo>
                  <a:lnTo>
                    <a:pt x="18211" y="178181"/>
                  </a:lnTo>
                  <a:lnTo>
                    <a:pt x="16881" y="179300"/>
                  </a:lnTo>
                  <a:lnTo>
                    <a:pt x="15066" y="180026"/>
                  </a:lnTo>
                  <a:lnTo>
                    <a:pt x="14097" y="180117"/>
                  </a:lnTo>
                  <a:lnTo>
                    <a:pt x="14067" y="180117"/>
                  </a:lnTo>
                  <a:lnTo>
                    <a:pt x="14067" y="180147"/>
                  </a:lnTo>
                  <a:lnTo>
                    <a:pt x="14218" y="184534"/>
                  </a:lnTo>
                  <a:lnTo>
                    <a:pt x="13795" y="186954"/>
                  </a:lnTo>
                  <a:lnTo>
                    <a:pt x="15307" y="190009"/>
                  </a:lnTo>
                  <a:lnTo>
                    <a:pt x="17425" y="196060"/>
                  </a:lnTo>
                  <a:lnTo>
                    <a:pt x="17607" y="197603"/>
                  </a:lnTo>
                  <a:lnTo>
                    <a:pt x="17334" y="203290"/>
                  </a:lnTo>
                  <a:lnTo>
                    <a:pt x="17395" y="206738"/>
                  </a:lnTo>
                  <a:lnTo>
                    <a:pt x="18121" y="209945"/>
                  </a:lnTo>
                  <a:lnTo>
                    <a:pt x="20571" y="213424"/>
                  </a:lnTo>
                  <a:lnTo>
                    <a:pt x="21630" y="216661"/>
                  </a:lnTo>
                  <a:lnTo>
                    <a:pt x="23748" y="219958"/>
                  </a:lnTo>
                  <a:lnTo>
                    <a:pt x="24806" y="227975"/>
                  </a:lnTo>
                  <a:lnTo>
                    <a:pt x="26894" y="236990"/>
                  </a:lnTo>
                  <a:lnTo>
                    <a:pt x="27589" y="239894"/>
                  </a:lnTo>
                  <a:lnTo>
                    <a:pt x="27741" y="241195"/>
                  </a:lnTo>
                  <a:lnTo>
                    <a:pt x="27801" y="244008"/>
                  </a:lnTo>
                  <a:lnTo>
                    <a:pt x="28104" y="245521"/>
                  </a:lnTo>
                  <a:lnTo>
                    <a:pt x="28739" y="246519"/>
                  </a:lnTo>
                  <a:lnTo>
                    <a:pt x="30251" y="247729"/>
                  </a:lnTo>
                  <a:lnTo>
                    <a:pt x="30645" y="248576"/>
                  </a:lnTo>
                  <a:lnTo>
                    <a:pt x="31976" y="249695"/>
                  </a:lnTo>
                  <a:lnTo>
                    <a:pt x="29344" y="254445"/>
                  </a:lnTo>
                  <a:lnTo>
                    <a:pt x="28618" y="255474"/>
                  </a:lnTo>
                  <a:lnTo>
                    <a:pt x="27559" y="256018"/>
                  </a:lnTo>
                  <a:lnTo>
                    <a:pt x="26561" y="257379"/>
                  </a:lnTo>
                  <a:lnTo>
                    <a:pt x="25835" y="259255"/>
                  </a:lnTo>
                  <a:lnTo>
                    <a:pt x="25563" y="261312"/>
                  </a:lnTo>
                  <a:lnTo>
                    <a:pt x="25926" y="263823"/>
                  </a:lnTo>
                  <a:lnTo>
                    <a:pt x="26500" y="266001"/>
                  </a:lnTo>
                  <a:lnTo>
                    <a:pt x="26712" y="268209"/>
                  </a:lnTo>
                  <a:lnTo>
                    <a:pt x="23717" y="276952"/>
                  </a:lnTo>
                  <a:lnTo>
                    <a:pt x="23445" y="278222"/>
                  </a:lnTo>
                  <a:lnTo>
                    <a:pt x="22084" y="281006"/>
                  </a:lnTo>
                  <a:lnTo>
                    <a:pt x="18998" y="284000"/>
                  </a:lnTo>
                  <a:lnTo>
                    <a:pt x="13069" y="288327"/>
                  </a:lnTo>
                  <a:lnTo>
                    <a:pt x="6928" y="291291"/>
                  </a:lnTo>
                  <a:lnTo>
                    <a:pt x="2057" y="294619"/>
                  </a:lnTo>
                  <a:lnTo>
                    <a:pt x="2057" y="295587"/>
                  </a:lnTo>
                  <a:lnTo>
                    <a:pt x="2662" y="297130"/>
                  </a:lnTo>
                  <a:lnTo>
                    <a:pt x="3903" y="302545"/>
                  </a:lnTo>
                  <a:lnTo>
                    <a:pt x="4115" y="304481"/>
                  </a:lnTo>
                  <a:lnTo>
                    <a:pt x="3721" y="307355"/>
                  </a:lnTo>
                  <a:lnTo>
                    <a:pt x="2662" y="309230"/>
                  </a:lnTo>
                  <a:lnTo>
                    <a:pt x="0" y="311348"/>
                  </a:lnTo>
                  <a:lnTo>
                    <a:pt x="1150" y="313526"/>
                  </a:lnTo>
                  <a:lnTo>
                    <a:pt x="2904" y="314766"/>
                  </a:lnTo>
                  <a:lnTo>
                    <a:pt x="5022" y="315371"/>
                  </a:lnTo>
                  <a:lnTo>
                    <a:pt x="7230" y="315523"/>
                  </a:lnTo>
                  <a:lnTo>
                    <a:pt x="9287" y="316369"/>
                  </a:lnTo>
                  <a:lnTo>
                    <a:pt x="12554" y="319939"/>
                  </a:lnTo>
                  <a:lnTo>
                    <a:pt x="15307" y="321300"/>
                  </a:lnTo>
                  <a:lnTo>
                    <a:pt x="25986" y="328561"/>
                  </a:lnTo>
                  <a:lnTo>
                    <a:pt x="27559" y="330225"/>
                  </a:lnTo>
                  <a:lnTo>
                    <a:pt x="31008" y="336487"/>
                  </a:lnTo>
                  <a:lnTo>
                    <a:pt x="32037" y="337425"/>
                  </a:lnTo>
                  <a:lnTo>
                    <a:pt x="33973" y="338241"/>
                  </a:lnTo>
                  <a:lnTo>
                    <a:pt x="36846" y="341902"/>
                  </a:lnTo>
                  <a:lnTo>
                    <a:pt x="42866" y="344080"/>
                  </a:lnTo>
                  <a:lnTo>
                    <a:pt x="48705" y="350130"/>
                  </a:lnTo>
                  <a:lnTo>
                    <a:pt x="49280" y="350735"/>
                  </a:lnTo>
                  <a:lnTo>
                    <a:pt x="52426" y="353095"/>
                  </a:lnTo>
                  <a:lnTo>
                    <a:pt x="49612" y="358540"/>
                  </a:lnTo>
                  <a:lnTo>
                    <a:pt x="48826" y="362080"/>
                  </a:lnTo>
                  <a:lnTo>
                    <a:pt x="50701" y="363652"/>
                  </a:lnTo>
                  <a:lnTo>
                    <a:pt x="51155" y="365286"/>
                  </a:lnTo>
                  <a:lnTo>
                    <a:pt x="49492" y="368826"/>
                  </a:lnTo>
                  <a:lnTo>
                    <a:pt x="47071" y="372395"/>
                  </a:lnTo>
                  <a:lnTo>
                    <a:pt x="41838" y="376630"/>
                  </a:lnTo>
                  <a:lnTo>
                    <a:pt x="42413" y="382650"/>
                  </a:lnTo>
                  <a:lnTo>
                    <a:pt x="44803" y="389245"/>
                  </a:lnTo>
                  <a:lnTo>
                    <a:pt x="46920" y="393662"/>
                  </a:lnTo>
                  <a:lnTo>
                    <a:pt x="46315" y="396385"/>
                  </a:lnTo>
                  <a:lnTo>
                    <a:pt x="48554" y="398714"/>
                  </a:lnTo>
                  <a:lnTo>
                    <a:pt x="52002" y="400347"/>
                  </a:lnTo>
                  <a:lnTo>
                    <a:pt x="54846" y="400953"/>
                  </a:lnTo>
                  <a:lnTo>
                    <a:pt x="57659" y="402102"/>
                  </a:lnTo>
                  <a:lnTo>
                    <a:pt x="59202" y="404734"/>
                  </a:lnTo>
                  <a:lnTo>
                    <a:pt x="59202" y="407850"/>
                  </a:lnTo>
                  <a:lnTo>
                    <a:pt x="57206" y="410209"/>
                  </a:lnTo>
                  <a:lnTo>
                    <a:pt x="57206" y="411147"/>
                  </a:lnTo>
                  <a:lnTo>
                    <a:pt x="58688" y="413265"/>
                  </a:lnTo>
                  <a:lnTo>
                    <a:pt x="58295" y="415413"/>
                  </a:lnTo>
                  <a:lnTo>
                    <a:pt x="57206" y="418135"/>
                  </a:lnTo>
                  <a:lnTo>
                    <a:pt x="56601" y="422038"/>
                  </a:lnTo>
                  <a:lnTo>
                    <a:pt x="57599" y="424186"/>
                  </a:lnTo>
                  <a:lnTo>
                    <a:pt x="64164" y="428723"/>
                  </a:lnTo>
                  <a:lnTo>
                    <a:pt x="62288" y="430841"/>
                  </a:lnTo>
                  <a:lnTo>
                    <a:pt x="61532" y="432111"/>
                  </a:lnTo>
                  <a:lnTo>
                    <a:pt x="61199" y="433473"/>
                  </a:lnTo>
                  <a:lnTo>
                    <a:pt x="61017" y="434834"/>
                  </a:lnTo>
                  <a:lnTo>
                    <a:pt x="60594" y="436256"/>
                  </a:lnTo>
                  <a:lnTo>
                    <a:pt x="58416" y="439916"/>
                  </a:lnTo>
                  <a:lnTo>
                    <a:pt x="57871" y="441369"/>
                  </a:lnTo>
                  <a:lnTo>
                    <a:pt x="57538" y="450504"/>
                  </a:lnTo>
                  <a:lnTo>
                    <a:pt x="56661" y="453439"/>
                  </a:lnTo>
                  <a:lnTo>
                    <a:pt x="55118" y="456131"/>
                  </a:lnTo>
                  <a:lnTo>
                    <a:pt x="53273" y="458430"/>
                  </a:lnTo>
                  <a:lnTo>
                    <a:pt x="47495" y="463845"/>
                  </a:lnTo>
                  <a:lnTo>
                    <a:pt x="46164" y="466417"/>
                  </a:lnTo>
                  <a:lnTo>
                    <a:pt x="46496" y="469593"/>
                  </a:lnTo>
                  <a:lnTo>
                    <a:pt x="48130" y="471922"/>
                  </a:lnTo>
                  <a:lnTo>
                    <a:pt x="49945" y="473072"/>
                  </a:lnTo>
                  <a:lnTo>
                    <a:pt x="51337" y="474796"/>
                  </a:lnTo>
                  <a:lnTo>
                    <a:pt x="51730" y="478759"/>
                  </a:lnTo>
                  <a:lnTo>
                    <a:pt x="52789" y="482541"/>
                  </a:lnTo>
                  <a:lnTo>
                    <a:pt x="55058" y="484991"/>
                  </a:lnTo>
                  <a:lnTo>
                    <a:pt x="59928" y="488742"/>
                  </a:lnTo>
                  <a:lnTo>
                    <a:pt x="61229" y="491314"/>
                  </a:lnTo>
                  <a:lnTo>
                    <a:pt x="62227" y="495095"/>
                  </a:lnTo>
                  <a:lnTo>
                    <a:pt x="62409" y="498998"/>
                  </a:lnTo>
                  <a:lnTo>
                    <a:pt x="61199" y="501962"/>
                  </a:lnTo>
                  <a:lnTo>
                    <a:pt x="59233" y="504836"/>
                  </a:lnTo>
                  <a:lnTo>
                    <a:pt x="58416" y="507710"/>
                  </a:lnTo>
                  <a:lnTo>
                    <a:pt x="58658" y="508769"/>
                  </a:lnTo>
                  <a:lnTo>
                    <a:pt x="58990" y="510342"/>
                  </a:lnTo>
                  <a:lnTo>
                    <a:pt x="61199" y="512490"/>
                  </a:lnTo>
                  <a:lnTo>
                    <a:pt x="67794" y="514516"/>
                  </a:lnTo>
                  <a:lnTo>
                    <a:pt x="69881" y="515938"/>
                  </a:lnTo>
                  <a:lnTo>
                    <a:pt x="69881" y="515938"/>
                  </a:lnTo>
                  <a:lnTo>
                    <a:pt x="72180" y="517148"/>
                  </a:lnTo>
                  <a:lnTo>
                    <a:pt x="76930" y="518419"/>
                  </a:lnTo>
                  <a:lnTo>
                    <a:pt x="79198" y="519447"/>
                  </a:lnTo>
                  <a:lnTo>
                    <a:pt x="80772" y="520567"/>
                  </a:lnTo>
                  <a:lnTo>
                    <a:pt x="82617" y="522382"/>
                  </a:lnTo>
                  <a:lnTo>
                    <a:pt x="83676" y="524409"/>
                  </a:lnTo>
                  <a:lnTo>
                    <a:pt x="82798" y="526254"/>
                  </a:lnTo>
                  <a:lnTo>
                    <a:pt x="83191" y="530187"/>
                  </a:lnTo>
                  <a:lnTo>
                    <a:pt x="83797" y="536449"/>
                  </a:lnTo>
                  <a:lnTo>
                    <a:pt x="83797" y="536600"/>
                  </a:lnTo>
                  <a:lnTo>
                    <a:pt x="84220" y="539232"/>
                  </a:lnTo>
                  <a:lnTo>
                    <a:pt x="84523" y="540260"/>
                  </a:lnTo>
                  <a:lnTo>
                    <a:pt x="86368" y="543285"/>
                  </a:lnTo>
                  <a:lnTo>
                    <a:pt x="88667" y="545736"/>
                  </a:lnTo>
                  <a:lnTo>
                    <a:pt x="90119" y="548640"/>
                  </a:lnTo>
                  <a:lnTo>
                    <a:pt x="89605" y="552906"/>
                  </a:lnTo>
                  <a:lnTo>
                    <a:pt x="89968" y="553390"/>
                  </a:lnTo>
                  <a:lnTo>
                    <a:pt x="90361" y="553783"/>
                  </a:lnTo>
                  <a:lnTo>
                    <a:pt x="88667" y="556899"/>
                  </a:lnTo>
                  <a:lnTo>
                    <a:pt x="87276" y="560831"/>
                  </a:lnTo>
                  <a:lnTo>
                    <a:pt x="86459" y="564976"/>
                  </a:lnTo>
                  <a:lnTo>
                    <a:pt x="86368" y="568697"/>
                  </a:lnTo>
                  <a:lnTo>
                    <a:pt x="86156" y="570572"/>
                  </a:lnTo>
                  <a:lnTo>
                    <a:pt x="85491" y="571571"/>
                  </a:lnTo>
                  <a:lnTo>
                    <a:pt x="84704" y="572236"/>
                  </a:lnTo>
                  <a:lnTo>
                    <a:pt x="84160" y="573265"/>
                  </a:lnTo>
                  <a:lnTo>
                    <a:pt x="83978" y="574717"/>
                  </a:lnTo>
                  <a:lnTo>
                    <a:pt x="83948" y="577530"/>
                  </a:lnTo>
                  <a:lnTo>
                    <a:pt x="83676" y="579224"/>
                  </a:lnTo>
                  <a:lnTo>
                    <a:pt x="79168" y="589722"/>
                  </a:lnTo>
                  <a:lnTo>
                    <a:pt x="74086" y="600824"/>
                  </a:lnTo>
                  <a:lnTo>
                    <a:pt x="70516" y="604484"/>
                  </a:lnTo>
                  <a:lnTo>
                    <a:pt x="69095" y="606662"/>
                  </a:lnTo>
                  <a:lnTo>
                    <a:pt x="69064" y="609385"/>
                  </a:lnTo>
                  <a:lnTo>
                    <a:pt x="71212" y="609445"/>
                  </a:lnTo>
                  <a:lnTo>
                    <a:pt x="74872" y="608508"/>
                  </a:lnTo>
                  <a:lnTo>
                    <a:pt x="86368" y="609294"/>
                  </a:lnTo>
                  <a:lnTo>
                    <a:pt x="86550" y="608024"/>
                  </a:lnTo>
                  <a:lnTo>
                    <a:pt x="86429" y="602942"/>
                  </a:lnTo>
                  <a:lnTo>
                    <a:pt x="86307" y="602518"/>
                  </a:lnTo>
                  <a:lnTo>
                    <a:pt x="86277" y="601973"/>
                  </a:lnTo>
                  <a:lnTo>
                    <a:pt x="86368" y="601156"/>
                  </a:lnTo>
                  <a:lnTo>
                    <a:pt x="86640" y="600642"/>
                  </a:lnTo>
                  <a:lnTo>
                    <a:pt x="87639" y="599614"/>
                  </a:lnTo>
                  <a:lnTo>
                    <a:pt x="87941" y="598857"/>
                  </a:lnTo>
                  <a:lnTo>
                    <a:pt x="87820" y="594622"/>
                  </a:lnTo>
                  <a:lnTo>
                    <a:pt x="86277" y="592535"/>
                  </a:lnTo>
                  <a:lnTo>
                    <a:pt x="84644" y="591355"/>
                  </a:lnTo>
                  <a:lnTo>
                    <a:pt x="84220" y="589722"/>
                  </a:lnTo>
                  <a:lnTo>
                    <a:pt x="84251" y="589722"/>
                  </a:lnTo>
                  <a:lnTo>
                    <a:pt x="84704" y="589207"/>
                  </a:lnTo>
                  <a:lnTo>
                    <a:pt x="85218" y="588814"/>
                  </a:lnTo>
                  <a:lnTo>
                    <a:pt x="85793" y="588572"/>
                  </a:lnTo>
                  <a:lnTo>
                    <a:pt x="86368" y="588451"/>
                  </a:lnTo>
                  <a:lnTo>
                    <a:pt x="87820" y="587483"/>
                  </a:lnTo>
                  <a:lnTo>
                    <a:pt x="88274" y="586787"/>
                  </a:lnTo>
                  <a:lnTo>
                    <a:pt x="88546" y="585607"/>
                  </a:lnTo>
                  <a:lnTo>
                    <a:pt x="90482" y="587211"/>
                  </a:lnTo>
                  <a:lnTo>
                    <a:pt x="95565" y="588239"/>
                  </a:lnTo>
                  <a:lnTo>
                    <a:pt x="96411" y="589691"/>
                  </a:lnTo>
                  <a:lnTo>
                    <a:pt x="97621" y="590750"/>
                  </a:lnTo>
                  <a:lnTo>
                    <a:pt x="99013" y="591416"/>
                  </a:lnTo>
                  <a:lnTo>
                    <a:pt x="100163" y="591204"/>
                  </a:lnTo>
                  <a:lnTo>
                    <a:pt x="100496" y="589722"/>
                  </a:lnTo>
                  <a:lnTo>
                    <a:pt x="100496" y="589691"/>
                  </a:lnTo>
                  <a:lnTo>
                    <a:pt x="101403" y="587786"/>
                  </a:lnTo>
                  <a:lnTo>
                    <a:pt x="102704" y="586938"/>
                  </a:lnTo>
                  <a:lnTo>
                    <a:pt x="103884" y="587483"/>
                  </a:lnTo>
                  <a:lnTo>
                    <a:pt x="104338" y="589722"/>
                  </a:lnTo>
                  <a:lnTo>
                    <a:pt x="105275" y="591869"/>
                  </a:lnTo>
                  <a:lnTo>
                    <a:pt x="110993" y="591930"/>
                  </a:lnTo>
                  <a:lnTo>
                    <a:pt x="113685" y="593170"/>
                  </a:lnTo>
                  <a:lnTo>
                    <a:pt x="115318" y="595560"/>
                  </a:lnTo>
                  <a:lnTo>
                    <a:pt x="115198" y="596982"/>
                  </a:lnTo>
                  <a:lnTo>
                    <a:pt x="114320" y="598525"/>
                  </a:lnTo>
                  <a:lnTo>
                    <a:pt x="113625" y="601217"/>
                  </a:lnTo>
                  <a:lnTo>
                    <a:pt x="113927" y="603305"/>
                  </a:lnTo>
                  <a:lnTo>
                    <a:pt x="114865" y="605876"/>
                  </a:lnTo>
                  <a:lnTo>
                    <a:pt x="116045" y="608296"/>
                  </a:lnTo>
                  <a:lnTo>
                    <a:pt x="117104" y="609899"/>
                  </a:lnTo>
                  <a:lnTo>
                    <a:pt x="119130" y="611381"/>
                  </a:lnTo>
                  <a:lnTo>
                    <a:pt x="120946" y="612107"/>
                  </a:lnTo>
                  <a:lnTo>
                    <a:pt x="122488" y="613287"/>
                  </a:lnTo>
                  <a:lnTo>
                    <a:pt x="123698" y="616010"/>
                  </a:lnTo>
                  <a:lnTo>
                    <a:pt x="123698" y="617432"/>
                  </a:lnTo>
                  <a:lnTo>
                    <a:pt x="123426" y="618914"/>
                  </a:lnTo>
                  <a:lnTo>
                    <a:pt x="123335" y="620306"/>
                  </a:lnTo>
                  <a:lnTo>
                    <a:pt x="124001" y="621516"/>
                  </a:lnTo>
                  <a:lnTo>
                    <a:pt x="125241" y="621879"/>
                  </a:lnTo>
                  <a:lnTo>
                    <a:pt x="125423" y="621909"/>
                  </a:lnTo>
                  <a:lnTo>
                    <a:pt x="126542" y="620820"/>
                  </a:lnTo>
                  <a:lnTo>
                    <a:pt x="127480" y="619277"/>
                  </a:lnTo>
                  <a:lnTo>
                    <a:pt x="128418" y="618218"/>
                  </a:lnTo>
                  <a:lnTo>
                    <a:pt x="132623" y="617886"/>
                  </a:lnTo>
                  <a:lnTo>
                    <a:pt x="152740" y="624390"/>
                  </a:lnTo>
                  <a:lnTo>
                    <a:pt x="153889" y="625085"/>
                  </a:lnTo>
                  <a:lnTo>
                    <a:pt x="155220" y="626961"/>
                  </a:lnTo>
                  <a:lnTo>
                    <a:pt x="155946" y="627626"/>
                  </a:lnTo>
                  <a:lnTo>
                    <a:pt x="157035" y="627929"/>
                  </a:lnTo>
                  <a:lnTo>
                    <a:pt x="165385" y="626054"/>
                  </a:lnTo>
                  <a:lnTo>
                    <a:pt x="167895" y="626296"/>
                  </a:lnTo>
                  <a:lnTo>
                    <a:pt x="168107" y="627294"/>
                  </a:lnTo>
                  <a:lnTo>
                    <a:pt x="168410" y="628171"/>
                  </a:lnTo>
                  <a:lnTo>
                    <a:pt x="173492" y="636158"/>
                  </a:lnTo>
                  <a:lnTo>
                    <a:pt x="174158" y="636339"/>
                  </a:lnTo>
                  <a:lnTo>
                    <a:pt x="176941" y="636278"/>
                  </a:lnTo>
                  <a:lnTo>
                    <a:pt x="182900" y="634221"/>
                  </a:lnTo>
                  <a:lnTo>
                    <a:pt x="184564" y="634433"/>
                  </a:lnTo>
                  <a:lnTo>
                    <a:pt x="185926" y="635643"/>
                  </a:lnTo>
                  <a:lnTo>
                    <a:pt x="187226" y="637912"/>
                  </a:lnTo>
                  <a:lnTo>
                    <a:pt x="188104" y="639878"/>
                  </a:lnTo>
                  <a:lnTo>
                    <a:pt x="188648" y="641905"/>
                  </a:lnTo>
                  <a:lnTo>
                    <a:pt x="188406" y="643630"/>
                  </a:lnTo>
                  <a:lnTo>
                    <a:pt x="186984" y="644719"/>
                  </a:lnTo>
                  <a:lnTo>
                    <a:pt x="186773" y="645172"/>
                  </a:lnTo>
                  <a:lnTo>
                    <a:pt x="186682" y="645657"/>
                  </a:lnTo>
                  <a:lnTo>
                    <a:pt x="186773" y="646110"/>
                  </a:lnTo>
                  <a:lnTo>
                    <a:pt x="186984" y="646564"/>
                  </a:lnTo>
                  <a:lnTo>
                    <a:pt x="191250" y="645838"/>
                  </a:lnTo>
                  <a:lnTo>
                    <a:pt x="197512" y="640272"/>
                  </a:lnTo>
                  <a:lnTo>
                    <a:pt x="201747" y="640665"/>
                  </a:lnTo>
                  <a:lnTo>
                    <a:pt x="204924" y="642904"/>
                  </a:lnTo>
                  <a:lnTo>
                    <a:pt x="206436" y="643569"/>
                  </a:lnTo>
                  <a:lnTo>
                    <a:pt x="208130" y="643206"/>
                  </a:lnTo>
                  <a:lnTo>
                    <a:pt x="209370" y="641784"/>
                  </a:lnTo>
                  <a:lnTo>
                    <a:pt x="210096" y="639939"/>
                  </a:lnTo>
                  <a:lnTo>
                    <a:pt x="210822" y="638487"/>
                  </a:lnTo>
                  <a:lnTo>
                    <a:pt x="212123" y="638214"/>
                  </a:lnTo>
                  <a:lnTo>
                    <a:pt x="215784" y="638275"/>
                  </a:lnTo>
                  <a:lnTo>
                    <a:pt x="219081" y="639062"/>
                  </a:lnTo>
                  <a:lnTo>
                    <a:pt x="222167" y="640665"/>
                  </a:lnTo>
                  <a:lnTo>
                    <a:pt x="230728" y="649014"/>
                  </a:lnTo>
                  <a:lnTo>
                    <a:pt x="231635" y="651797"/>
                  </a:lnTo>
                  <a:lnTo>
                    <a:pt x="228489" y="653007"/>
                  </a:lnTo>
                  <a:lnTo>
                    <a:pt x="228882" y="654096"/>
                  </a:lnTo>
                  <a:lnTo>
                    <a:pt x="228882" y="654581"/>
                  </a:lnTo>
                  <a:lnTo>
                    <a:pt x="228580" y="654974"/>
                  </a:lnTo>
                  <a:lnTo>
                    <a:pt x="228156" y="655821"/>
                  </a:lnTo>
                  <a:lnTo>
                    <a:pt x="228005" y="656547"/>
                  </a:lnTo>
                  <a:lnTo>
                    <a:pt x="227854" y="657666"/>
                  </a:lnTo>
                  <a:lnTo>
                    <a:pt x="227884" y="658544"/>
                  </a:lnTo>
                  <a:lnTo>
                    <a:pt x="228156" y="658453"/>
                  </a:lnTo>
                  <a:lnTo>
                    <a:pt x="227279" y="659572"/>
                  </a:lnTo>
                  <a:lnTo>
                    <a:pt x="225222" y="661448"/>
                  </a:lnTo>
                  <a:lnTo>
                    <a:pt x="224284" y="662658"/>
                  </a:lnTo>
                  <a:lnTo>
                    <a:pt x="222530" y="663021"/>
                  </a:lnTo>
                  <a:lnTo>
                    <a:pt x="219323" y="662204"/>
                  </a:lnTo>
                  <a:lnTo>
                    <a:pt x="217750" y="662658"/>
                  </a:lnTo>
                  <a:lnTo>
                    <a:pt x="216964" y="664533"/>
                  </a:lnTo>
                  <a:lnTo>
                    <a:pt x="215451" y="665713"/>
                  </a:lnTo>
                  <a:lnTo>
                    <a:pt x="213666" y="666711"/>
                  </a:lnTo>
                  <a:lnTo>
                    <a:pt x="212123" y="667891"/>
                  </a:lnTo>
                  <a:lnTo>
                    <a:pt x="211579" y="668103"/>
                  </a:lnTo>
                  <a:lnTo>
                    <a:pt x="210671" y="668648"/>
                  </a:lnTo>
                  <a:lnTo>
                    <a:pt x="210036" y="668708"/>
                  </a:lnTo>
                  <a:lnTo>
                    <a:pt x="210520" y="670311"/>
                  </a:lnTo>
                  <a:lnTo>
                    <a:pt x="210701" y="670735"/>
                  </a:lnTo>
                  <a:lnTo>
                    <a:pt x="208705" y="670311"/>
                  </a:lnTo>
                  <a:lnTo>
                    <a:pt x="207918" y="672610"/>
                  </a:lnTo>
                  <a:lnTo>
                    <a:pt x="208856" y="675212"/>
                  </a:lnTo>
                  <a:lnTo>
                    <a:pt x="212123" y="675757"/>
                  </a:lnTo>
                  <a:lnTo>
                    <a:pt x="213454" y="679477"/>
                  </a:lnTo>
                  <a:lnTo>
                    <a:pt x="213908" y="680325"/>
                  </a:lnTo>
                  <a:lnTo>
                    <a:pt x="215209" y="681263"/>
                  </a:lnTo>
                  <a:lnTo>
                    <a:pt x="215935" y="681141"/>
                  </a:lnTo>
                  <a:lnTo>
                    <a:pt x="216661" y="680536"/>
                  </a:lnTo>
                  <a:lnTo>
                    <a:pt x="217841" y="680203"/>
                  </a:lnTo>
                  <a:lnTo>
                    <a:pt x="222409" y="680203"/>
                  </a:lnTo>
                  <a:lnTo>
                    <a:pt x="223377" y="680476"/>
                  </a:lnTo>
                  <a:lnTo>
                    <a:pt x="224073" y="681837"/>
                  </a:lnTo>
                  <a:lnTo>
                    <a:pt x="224163" y="683168"/>
                  </a:lnTo>
                  <a:lnTo>
                    <a:pt x="224073" y="684469"/>
                  </a:lnTo>
                  <a:lnTo>
                    <a:pt x="224314" y="685740"/>
                  </a:lnTo>
                  <a:lnTo>
                    <a:pt x="226129" y="687948"/>
                  </a:lnTo>
                  <a:lnTo>
                    <a:pt x="230607" y="689461"/>
                  </a:lnTo>
                  <a:lnTo>
                    <a:pt x="232846" y="690882"/>
                  </a:lnTo>
                  <a:lnTo>
                    <a:pt x="234298" y="692758"/>
                  </a:lnTo>
                  <a:lnTo>
                    <a:pt x="236839" y="697054"/>
                  </a:lnTo>
                  <a:lnTo>
                    <a:pt x="238291" y="698869"/>
                  </a:lnTo>
                  <a:lnTo>
                    <a:pt x="239592" y="700986"/>
                  </a:lnTo>
                  <a:lnTo>
                    <a:pt x="242617" y="703921"/>
                  </a:lnTo>
                  <a:lnTo>
                    <a:pt x="243706" y="706643"/>
                  </a:lnTo>
                  <a:lnTo>
                    <a:pt x="244855" y="711574"/>
                  </a:lnTo>
                  <a:lnTo>
                    <a:pt x="245823" y="713359"/>
                  </a:lnTo>
                  <a:lnTo>
                    <a:pt x="247578" y="715507"/>
                  </a:lnTo>
                  <a:lnTo>
                    <a:pt x="251057" y="718441"/>
                  </a:lnTo>
                  <a:lnTo>
                    <a:pt x="255262" y="720468"/>
                  </a:lnTo>
                  <a:lnTo>
                    <a:pt x="259346" y="720196"/>
                  </a:lnTo>
                  <a:lnTo>
                    <a:pt x="262431" y="716294"/>
                  </a:lnTo>
                  <a:lnTo>
                    <a:pt x="264700" y="714811"/>
                  </a:lnTo>
                  <a:lnTo>
                    <a:pt x="265910" y="713208"/>
                  </a:lnTo>
                  <a:lnTo>
                    <a:pt x="266999" y="711241"/>
                  </a:lnTo>
                  <a:lnTo>
                    <a:pt x="268815" y="708731"/>
                  </a:lnTo>
                  <a:lnTo>
                    <a:pt x="271083" y="706946"/>
                  </a:lnTo>
                  <a:lnTo>
                    <a:pt x="273080" y="706704"/>
                  </a:lnTo>
                  <a:lnTo>
                    <a:pt x="275076" y="706795"/>
                  </a:lnTo>
                  <a:lnTo>
                    <a:pt x="276317" y="706522"/>
                  </a:lnTo>
                  <a:lnTo>
                    <a:pt x="277436" y="706250"/>
                  </a:lnTo>
                  <a:lnTo>
                    <a:pt x="278374" y="705494"/>
                  </a:lnTo>
                  <a:lnTo>
                    <a:pt x="280068" y="703346"/>
                  </a:lnTo>
                  <a:lnTo>
                    <a:pt x="281248" y="702559"/>
                  </a:lnTo>
                  <a:lnTo>
                    <a:pt x="282155" y="702559"/>
                  </a:lnTo>
                  <a:lnTo>
                    <a:pt x="284031" y="703165"/>
                  </a:lnTo>
                  <a:lnTo>
                    <a:pt x="284908" y="703104"/>
                  </a:lnTo>
                  <a:lnTo>
                    <a:pt x="285180" y="702559"/>
                  </a:lnTo>
                  <a:lnTo>
                    <a:pt x="285150" y="700835"/>
                  </a:lnTo>
                  <a:lnTo>
                    <a:pt x="285423" y="700412"/>
                  </a:lnTo>
                  <a:lnTo>
                    <a:pt x="286905" y="700442"/>
                  </a:lnTo>
                  <a:lnTo>
                    <a:pt x="287510" y="700835"/>
                  </a:lnTo>
                  <a:lnTo>
                    <a:pt x="287964" y="701712"/>
                  </a:lnTo>
                  <a:lnTo>
                    <a:pt x="289053" y="703165"/>
                  </a:lnTo>
                  <a:lnTo>
                    <a:pt x="290263" y="703618"/>
                  </a:lnTo>
                  <a:lnTo>
                    <a:pt x="290898" y="702378"/>
                  </a:lnTo>
                  <a:lnTo>
                    <a:pt x="290717" y="700472"/>
                  </a:lnTo>
                  <a:lnTo>
                    <a:pt x="289416" y="698869"/>
                  </a:lnTo>
                  <a:lnTo>
                    <a:pt x="289234" y="695359"/>
                  </a:lnTo>
                  <a:lnTo>
                    <a:pt x="288175" y="692758"/>
                  </a:lnTo>
                  <a:lnTo>
                    <a:pt x="286360" y="690913"/>
                  </a:lnTo>
                  <a:lnTo>
                    <a:pt x="283910" y="689612"/>
                  </a:lnTo>
                  <a:lnTo>
                    <a:pt x="282034" y="687827"/>
                  </a:lnTo>
                  <a:lnTo>
                    <a:pt x="281036" y="685014"/>
                  </a:lnTo>
                  <a:lnTo>
                    <a:pt x="280280" y="681928"/>
                  </a:lnTo>
                  <a:lnTo>
                    <a:pt x="279130" y="679266"/>
                  </a:lnTo>
                  <a:lnTo>
                    <a:pt x="275924" y="674909"/>
                  </a:lnTo>
                  <a:lnTo>
                    <a:pt x="275893" y="672883"/>
                  </a:lnTo>
                  <a:lnTo>
                    <a:pt x="278646" y="671340"/>
                  </a:lnTo>
                  <a:lnTo>
                    <a:pt x="280945" y="671612"/>
                  </a:lnTo>
                  <a:lnTo>
                    <a:pt x="283789" y="673185"/>
                  </a:lnTo>
                  <a:lnTo>
                    <a:pt x="285271" y="674002"/>
                  </a:lnTo>
                  <a:lnTo>
                    <a:pt x="287601" y="673760"/>
                  </a:lnTo>
                  <a:lnTo>
                    <a:pt x="297947" y="676422"/>
                  </a:lnTo>
                  <a:lnTo>
                    <a:pt x="299036" y="677027"/>
                  </a:lnTo>
                  <a:lnTo>
                    <a:pt x="301365" y="678842"/>
                  </a:lnTo>
                  <a:lnTo>
                    <a:pt x="302666" y="679477"/>
                  </a:lnTo>
                  <a:lnTo>
                    <a:pt x="304057" y="679508"/>
                  </a:lnTo>
                  <a:lnTo>
                    <a:pt x="307113" y="678903"/>
                  </a:lnTo>
                  <a:lnTo>
                    <a:pt x="308292" y="679236"/>
                  </a:lnTo>
                  <a:lnTo>
                    <a:pt x="308081" y="679629"/>
                  </a:lnTo>
                  <a:lnTo>
                    <a:pt x="308414" y="681202"/>
                  </a:lnTo>
                  <a:lnTo>
                    <a:pt x="309049" y="683078"/>
                  </a:lnTo>
                  <a:lnTo>
                    <a:pt x="309624" y="684348"/>
                  </a:lnTo>
                  <a:lnTo>
                    <a:pt x="310622" y="685346"/>
                  </a:lnTo>
                  <a:lnTo>
                    <a:pt x="314192" y="687403"/>
                  </a:lnTo>
                  <a:lnTo>
                    <a:pt x="316581" y="688039"/>
                  </a:lnTo>
                  <a:lnTo>
                    <a:pt x="321301" y="687918"/>
                  </a:lnTo>
                  <a:lnTo>
                    <a:pt x="323358" y="688704"/>
                  </a:lnTo>
                  <a:lnTo>
                    <a:pt x="321512" y="689400"/>
                  </a:lnTo>
                  <a:lnTo>
                    <a:pt x="321815" y="689945"/>
                  </a:lnTo>
                  <a:lnTo>
                    <a:pt x="322178" y="690459"/>
                  </a:lnTo>
                  <a:lnTo>
                    <a:pt x="322571" y="690852"/>
                  </a:lnTo>
                  <a:lnTo>
                    <a:pt x="323025" y="691215"/>
                  </a:lnTo>
                  <a:lnTo>
                    <a:pt x="322904" y="693091"/>
                  </a:lnTo>
                  <a:lnTo>
                    <a:pt x="323116" y="694936"/>
                  </a:lnTo>
                  <a:lnTo>
                    <a:pt x="323811" y="696418"/>
                  </a:lnTo>
                  <a:lnTo>
                    <a:pt x="325143" y="697356"/>
                  </a:lnTo>
                  <a:lnTo>
                    <a:pt x="326232" y="694694"/>
                  </a:lnTo>
                  <a:lnTo>
                    <a:pt x="328470" y="694543"/>
                  </a:lnTo>
                  <a:lnTo>
                    <a:pt x="330648" y="696176"/>
                  </a:lnTo>
                  <a:lnTo>
                    <a:pt x="331586" y="698869"/>
                  </a:lnTo>
                  <a:lnTo>
                    <a:pt x="332100" y="699171"/>
                  </a:lnTo>
                  <a:lnTo>
                    <a:pt x="332645" y="699292"/>
                  </a:lnTo>
                  <a:lnTo>
                    <a:pt x="333159" y="699201"/>
                  </a:lnTo>
                  <a:lnTo>
                    <a:pt x="333704" y="698869"/>
                  </a:lnTo>
                  <a:lnTo>
                    <a:pt x="336638" y="695571"/>
                  </a:lnTo>
                  <a:lnTo>
                    <a:pt x="341448" y="695178"/>
                  </a:lnTo>
                  <a:lnTo>
                    <a:pt x="350433" y="696630"/>
                  </a:lnTo>
                  <a:lnTo>
                    <a:pt x="352762" y="696085"/>
                  </a:lnTo>
                  <a:lnTo>
                    <a:pt x="354486" y="694755"/>
                  </a:lnTo>
                  <a:lnTo>
                    <a:pt x="357481" y="690973"/>
                  </a:lnTo>
                  <a:lnTo>
                    <a:pt x="358056" y="689793"/>
                  </a:lnTo>
                  <a:lnTo>
                    <a:pt x="358298" y="688795"/>
                  </a:lnTo>
                  <a:lnTo>
                    <a:pt x="358964" y="688402"/>
                  </a:lnTo>
                  <a:lnTo>
                    <a:pt x="360658" y="689007"/>
                  </a:lnTo>
                  <a:lnTo>
                    <a:pt x="361232" y="689491"/>
                  </a:lnTo>
                  <a:lnTo>
                    <a:pt x="363078" y="691790"/>
                  </a:lnTo>
                  <a:lnTo>
                    <a:pt x="363320" y="692123"/>
                  </a:lnTo>
                  <a:lnTo>
                    <a:pt x="363380" y="692486"/>
                  </a:lnTo>
                  <a:lnTo>
                    <a:pt x="363320" y="692940"/>
                  </a:lnTo>
                  <a:lnTo>
                    <a:pt x="363078" y="693393"/>
                  </a:lnTo>
                  <a:lnTo>
                    <a:pt x="361989" y="696116"/>
                  </a:lnTo>
                  <a:lnTo>
                    <a:pt x="361777" y="697417"/>
                  </a:lnTo>
                  <a:lnTo>
                    <a:pt x="362019" y="698869"/>
                  </a:lnTo>
                  <a:lnTo>
                    <a:pt x="363078" y="699837"/>
                  </a:lnTo>
                  <a:lnTo>
                    <a:pt x="364651" y="702499"/>
                  </a:lnTo>
                  <a:lnTo>
                    <a:pt x="363713" y="704707"/>
                  </a:lnTo>
                  <a:lnTo>
                    <a:pt x="361656" y="706310"/>
                  </a:lnTo>
                  <a:lnTo>
                    <a:pt x="357360" y="708670"/>
                  </a:lnTo>
                  <a:lnTo>
                    <a:pt x="354698" y="709668"/>
                  </a:lnTo>
                  <a:lnTo>
                    <a:pt x="349828" y="709820"/>
                  </a:lnTo>
                  <a:lnTo>
                    <a:pt x="348739" y="710334"/>
                  </a:lnTo>
                  <a:lnTo>
                    <a:pt x="348013" y="711786"/>
                  </a:lnTo>
                  <a:lnTo>
                    <a:pt x="348194" y="712845"/>
                  </a:lnTo>
                  <a:lnTo>
                    <a:pt x="353095" y="718532"/>
                  </a:lnTo>
                  <a:lnTo>
                    <a:pt x="354668" y="719198"/>
                  </a:lnTo>
                  <a:lnTo>
                    <a:pt x="355666" y="719016"/>
                  </a:lnTo>
                  <a:lnTo>
                    <a:pt x="356544" y="718562"/>
                  </a:lnTo>
                  <a:lnTo>
                    <a:pt x="357602" y="718350"/>
                  </a:lnTo>
                  <a:lnTo>
                    <a:pt x="358933" y="718684"/>
                  </a:lnTo>
                  <a:lnTo>
                    <a:pt x="361656" y="719924"/>
                  </a:lnTo>
                  <a:lnTo>
                    <a:pt x="363078" y="720196"/>
                  </a:lnTo>
                  <a:lnTo>
                    <a:pt x="363108" y="720347"/>
                  </a:lnTo>
                  <a:lnTo>
                    <a:pt x="363138" y="720468"/>
                  </a:lnTo>
                  <a:lnTo>
                    <a:pt x="363108" y="720589"/>
                  </a:lnTo>
                  <a:lnTo>
                    <a:pt x="363078" y="720680"/>
                  </a:lnTo>
                  <a:lnTo>
                    <a:pt x="362140" y="721406"/>
                  </a:lnTo>
                  <a:lnTo>
                    <a:pt x="361807" y="722192"/>
                  </a:lnTo>
                  <a:lnTo>
                    <a:pt x="362110" y="723040"/>
                  </a:lnTo>
                  <a:lnTo>
                    <a:pt x="363078" y="723887"/>
                  </a:lnTo>
                  <a:lnTo>
                    <a:pt x="364197" y="725127"/>
                  </a:lnTo>
                  <a:lnTo>
                    <a:pt x="364893" y="726730"/>
                  </a:lnTo>
                  <a:lnTo>
                    <a:pt x="365437" y="728485"/>
                  </a:lnTo>
                  <a:lnTo>
                    <a:pt x="366224" y="730209"/>
                  </a:lnTo>
                  <a:lnTo>
                    <a:pt x="367343" y="731661"/>
                  </a:lnTo>
                  <a:lnTo>
                    <a:pt x="373878" y="737621"/>
                  </a:lnTo>
                  <a:lnTo>
                    <a:pt x="377538" y="738347"/>
                  </a:lnTo>
                  <a:lnTo>
                    <a:pt x="381198" y="737318"/>
                  </a:lnTo>
                  <a:lnTo>
                    <a:pt x="384163" y="734868"/>
                  </a:lnTo>
                  <a:lnTo>
                    <a:pt x="385978" y="734444"/>
                  </a:lnTo>
                  <a:lnTo>
                    <a:pt x="390032" y="734323"/>
                  </a:lnTo>
                  <a:lnTo>
                    <a:pt x="393299" y="733446"/>
                  </a:lnTo>
                  <a:lnTo>
                    <a:pt x="393813" y="732811"/>
                  </a:lnTo>
                  <a:lnTo>
                    <a:pt x="393632" y="731359"/>
                  </a:lnTo>
                  <a:lnTo>
                    <a:pt x="392936" y="730361"/>
                  </a:lnTo>
                  <a:lnTo>
                    <a:pt x="392089" y="730361"/>
                  </a:lnTo>
                  <a:lnTo>
                    <a:pt x="391272" y="730572"/>
                  </a:lnTo>
                  <a:lnTo>
                    <a:pt x="390728" y="730361"/>
                  </a:lnTo>
                  <a:lnTo>
                    <a:pt x="390304" y="727123"/>
                  </a:lnTo>
                  <a:lnTo>
                    <a:pt x="391968" y="727517"/>
                  </a:lnTo>
                  <a:lnTo>
                    <a:pt x="393390" y="727819"/>
                  </a:lnTo>
                  <a:lnTo>
                    <a:pt x="399259" y="731359"/>
                  </a:lnTo>
                  <a:lnTo>
                    <a:pt x="398623" y="734021"/>
                  </a:lnTo>
                  <a:lnTo>
                    <a:pt x="399924" y="735412"/>
                  </a:lnTo>
                  <a:lnTo>
                    <a:pt x="406337" y="736532"/>
                  </a:lnTo>
                  <a:lnTo>
                    <a:pt x="407880" y="737318"/>
                  </a:lnTo>
                  <a:lnTo>
                    <a:pt x="411056" y="739829"/>
                  </a:lnTo>
                  <a:lnTo>
                    <a:pt x="412236" y="740313"/>
                  </a:lnTo>
                  <a:lnTo>
                    <a:pt x="414596" y="740767"/>
                  </a:lnTo>
                  <a:lnTo>
                    <a:pt x="415776" y="741584"/>
                  </a:lnTo>
                  <a:lnTo>
                    <a:pt x="416199" y="742370"/>
                  </a:lnTo>
                  <a:lnTo>
                    <a:pt x="416925" y="744609"/>
                  </a:lnTo>
                  <a:lnTo>
                    <a:pt x="417470" y="745577"/>
                  </a:lnTo>
                  <a:lnTo>
                    <a:pt x="419466" y="747059"/>
                  </a:lnTo>
                  <a:lnTo>
                    <a:pt x="420918" y="746817"/>
                  </a:lnTo>
                  <a:lnTo>
                    <a:pt x="423732" y="744548"/>
                  </a:lnTo>
                  <a:lnTo>
                    <a:pt x="423641" y="744306"/>
                  </a:lnTo>
                  <a:lnTo>
                    <a:pt x="423490" y="744125"/>
                  </a:lnTo>
                  <a:lnTo>
                    <a:pt x="423308" y="744064"/>
                  </a:lnTo>
                  <a:lnTo>
                    <a:pt x="423097" y="744064"/>
                  </a:lnTo>
                  <a:lnTo>
                    <a:pt x="427150" y="743580"/>
                  </a:lnTo>
                  <a:lnTo>
                    <a:pt x="431053" y="744881"/>
                  </a:lnTo>
                  <a:lnTo>
                    <a:pt x="438525" y="748662"/>
                  </a:lnTo>
                  <a:lnTo>
                    <a:pt x="440885" y="748662"/>
                  </a:lnTo>
                  <a:lnTo>
                    <a:pt x="444847" y="746333"/>
                  </a:lnTo>
                  <a:lnTo>
                    <a:pt x="446330" y="747150"/>
                  </a:lnTo>
                  <a:lnTo>
                    <a:pt x="446935" y="749751"/>
                  </a:lnTo>
                  <a:lnTo>
                    <a:pt x="446693" y="751960"/>
                  </a:lnTo>
                  <a:lnTo>
                    <a:pt x="447116" y="753715"/>
                  </a:lnTo>
                  <a:lnTo>
                    <a:pt x="449809" y="755045"/>
                  </a:lnTo>
                  <a:lnTo>
                    <a:pt x="447056" y="757980"/>
                  </a:lnTo>
                  <a:lnTo>
                    <a:pt x="447086" y="761822"/>
                  </a:lnTo>
                  <a:lnTo>
                    <a:pt x="448841" y="766178"/>
                  </a:lnTo>
                  <a:lnTo>
                    <a:pt x="451200" y="770655"/>
                  </a:lnTo>
                  <a:lnTo>
                    <a:pt x="452199" y="774830"/>
                  </a:lnTo>
                  <a:lnTo>
                    <a:pt x="452864" y="775889"/>
                  </a:lnTo>
                  <a:lnTo>
                    <a:pt x="454165" y="776766"/>
                  </a:lnTo>
                  <a:lnTo>
                    <a:pt x="457281" y="777008"/>
                  </a:lnTo>
                  <a:lnTo>
                    <a:pt x="458702" y="777401"/>
                  </a:lnTo>
                  <a:lnTo>
                    <a:pt x="460034" y="778400"/>
                  </a:lnTo>
                  <a:lnTo>
                    <a:pt x="462000" y="780548"/>
                  </a:lnTo>
                  <a:lnTo>
                    <a:pt x="463270" y="781243"/>
                  </a:lnTo>
                  <a:lnTo>
                    <a:pt x="464753" y="781122"/>
                  </a:lnTo>
                  <a:lnTo>
                    <a:pt x="466296" y="780517"/>
                  </a:lnTo>
                  <a:lnTo>
                    <a:pt x="467869" y="780245"/>
                  </a:lnTo>
                  <a:lnTo>
                    <a:pt x="469381" y="781274"/>
                  </a:lnTo>
                  <a:lnTo>
                    <a:pt x="469805" y="782393"/>
                  </a:lnTo>
                  <a:lnTo>
                    <a:pt x="470501" y="787294"/>
                  </a:lnTo>
                  <a:lnTo>
                    <a:pt x="470954" y="788685"/>
                  </a:lnTo>
                  <a:lnTo>
                    <a:pt x="472134" y="791166"/>
                  </a:lnTo>
                  <a:lnTo>
                    <a:pt x="472588" y="792466"/>
                  </a:lnTo>
                  <a:lnTo>
                    <a:pt x="474040" y="798517"/>
                  </a:lnTo>
                  <a:lnTo>
                    <a:pt x="474312" y="801451"/>
                  </a:lnTo>
                  <a:lnTo>
                    <a:pt x="473889" y="803841"/>
                  </a:lnTo>
                  <a:lnTo>
                    <a:pt x="483872" y="804688"/>
                  </a:lnTo>
                  <a:lnTo>
                    <a:pt x="486776" y="806322"/>
                  </a:lnTo>
                  <a:lnTo>
                    <a:pt x="485899" y="808711"/>
                  </a:lnTo>
                  <a:lnTo>
                    <a:pt x="485989" y="810738"/>
                  </a:lnTo>
                  <a:lnTo>
                    <a:pt x="486473" y="812675"/>
                  </a:lnTo>
                  <a:lnTo>
                    <a:pt x="486746" y="814762"/>
                  </a:lnTo>
                  <a:lnTo>
                    <a:pt x="486322" y="819451"/>
                  </a:lnTo>
                  <a:lnTo>
                    <a:pt x="486867" y="821054"/>
                  </a:lnTo>
                  <a:lnTo>
                    <a:pt x="488863" y="821387"/>
                  </a:lnTo>
                  <a:lnTo>
                    <a:pt x="491374" y="821205"/>
                  </a:lnTo>
                  <a:lnTo>
                    <a:pt x="495277" y="819118"/>
                  </a:lnTo>
                  <a:lnTo>
                    <a:pt x="497485" y="818634"/>
                  </a:lnTo>
                  <a:lnTo>
                    <a:pt x="498392" y="818936"/>
                  </a:lnTo>
                  <a:lnTo>
                    <a:pt x="500389" y="820268"/>
                  </a:lnTo>
                  <a:lnTo>
                    <a:pt x="501388" y="820722"/>
                  </a:lnTo>
                  <a:lnTo>
                    <a:pt x="502416" y="820782"/>
                  </a:lnTo>
                  <a:lnTo>
                    <a:pt x="504927" y="820328"/>
                  </a:lnTo>
                  <a:lnTo>
                    <a:pt x="508043" y="819179"/>
                  </a:lnTo>
                  <a:lnTo>
                    <a:pt x="508769" y="818059"/>
                  </a:lnTo>
                  <a:lnTo>
                    <a:pt x="509011" y="816274"/>
                  </a:lnTo>
                  <a:lnTo>
                    <a:pt x="509707" y="813522"/>
                  </a:lnTo>
                  <a:lnTo>
                    <a:pt x="510009" y="813461"/>
                  </a:lnTo>
                  <a:lnTo>
                    <a:pt x="511249" y="813431"/>
                  </a:lnTo>
                  <a:lnTo>
                    <a:pt x="511703" y="813128"/>
                  </a:lnTo>
                  <a:lnTo>
                    <a:pt x="511945" y="812190"/>
                  </a:lnTo>
                  <a:lnTo>
                    <a:pt x="511764" y="811495"/>
                  </a:lnTo>
                  <a:lnTo>
                    <a:pt x="511431" y="811071"/>
                  </a:lnTo>
                  <a:lnTo>
                    <a:pt x="511249" y="810920"/>
                  </a:lnTo>
                  <a:lnTo>
                    <a:pt x="512853" y="806292"/>
                  </a:lnTo>
                  <a:lnTo>
                    <a:pt x="514244" y="804295"/>
                  </a:lnTo>
                  <a:lnTo>
                    <a:pt x="515696" y="802994"/>
                  </a:lnTo>
                  <a:lnTo>
                    <a:pt x="517330" y="802238"/>
                  </a:lnTo>
                  <a:lnTo>
                    <a:pt x="519296" y="801875"/>
                  </a:lnTo>
                  <a:lnTo>
                    <a:pt x="522382" y="801905"/>
                  </a:lnTo>
                  <a:lnTo>
                    <a:pt x="523410" y="801754"/>
                  </a:lnTo>
                  <a:lnTo>
                    <a:pt x="524832" y="801209"/>
                  </a:lnTo>
                  <a:lnTo>
                    <a:pt x="525619" y="800604"/>
                  </a:lnTo>
                  <a:lnTo>
                    <a:pt x="534331" y="791740"/>
                  </a:lnTo>
                  <a:lnTo>
                    <a:pt x="534724" y="791045"/>
                  </a:lnTo>
                  <a:lnTo>
                    <a:pt x="535299" y="790803"/>
                  </a:lnTo>
                  <a:lnTo>
                    <a:pt x="535844" y="791014"/>
                  </a:lnTo>
                  <a:lnTo>
                    <a:pt x="536691" y="791347"/>
                  </a:lnTo>
                  <a:lnTo>
                    <a:pt x="538385" y="794100"/>
                  </a:lnTo>
                  <a:lnTo>
                    <a:pt x="539141" y="794856"/>
                  </a:lnTo>
                  <a:lnTo>
                    <a:pt x="541531" y="796278"/>
                  </a:lnTo>
                  <a:lnTo>
                    <a:pt x="542741" y="799152"/>
                  </a:lnTo>
                  <a:lnTo>
                    <a:pt x="544556" y="806322"/>
                  </a:lnTo>
                  <a:lnTo>
                    <a:pt x="546190" y="810860"/>
                  </a:lnTo>
                  <a:lnTo>
                    <a:pt x="546704" y="811858"/>
                  </a:lnTo>
                  <a:lnTo>
                    <a:pt x="548428" y="813068"/>
                  </a:lnTo>
                  <a:lnTo>
                    <a:pt x="550516" y="813613"/>
                  </a:lnTo>
                  <a:lnTo>
                    <a:pt x="554539" y="813642"/>
                  </a:lnTo>
                  <a:lnTo>
                    <a:pt x="554085" y="814550"/>
                  </a:lnTo>
                  <a:lnTo>
                    <a:pt x="553934" y="815306"/>
                  </a:lnTo>
                  <a:lnTo>
                    <a:pt x="553995" y="817515"/>
                  </a:lnTo>
                  <a:lnTo>
                    <a:pt x="553783" y="819209"/>
                  </a:lnTo>
                  <a:lnTo>
                    <a:pt x="553783" y="819239"/>
                  </a:lnTo>
                  <a:lnTo>
                    <a:pt x="559561" y="821054"/>
                  </a:lnTo>
                  <a:lnTo>
                    <a:pt x="561769" y="821266"/>
                  </a:lnTo>
                  <a:lnTo>
                    <a:pt x="563796" y="821085"/>
                  </a:lnTo>
                  <a:lnTo>
                    <a:pt x="567154" y="819844"/>
                  </a:lnTo>
                  <a:lnTo>
                    <a:pt x="568062" y="820479"/>
                  </a:lnTo>
                  <a:lnTo>
                    <a:pt x="568092" y="820479"/>
                  </a:lnTo>
                  <a:lnTo>
                    <a:pt x="568999" y="823172"/>
                  </a:lnTo>
                  <a:lnTo>
                    <a:pt x="569514" y="825531"/>
                  </a:lnTo>
                  <a:lnTo>
                    <a:pt x="570119" y="832399"/>
                  </a:lnTo>
                  <a:lnTo>
                    <a:pt x="569967" y="832973"/>
                  </a:lnTo>
                  <a:lnTo>
                    <a:pt x="569211" y="834032"/>
                  </a:lnTo>
                  <a:lnTo>
                    <a:pt x="569151" y="834607"/>
                  </a:lnTo>
                  <a:lnTo>
                    <a:pt x="569151" y="834637"/>
                  </a:lnTo>
                  <a:lnTo>
                    <a:pt x="569483" y="835091"/>
                  </a:lnTo>
                  <a:lnTo>
                    <a:pt x="570845" y="836029"/>
                  </a:lnTo>
                  <a:lnTo>
                    <a:pt x="570875" y="836029"/>
                  </a:lnTo>
                  <a:lnTo>
                    <a:pt x="571026" y="836361"/>
                  </a:lnTo>
                  <a:lnTo>
                    <a:pt x="571056" y="836422"/>
                  </a:lnTo>
                  <a:lnTo>
                    <a:pt x="571813" y="837148"/>
                  </a:lnTo>
                  <a:lnTo>
                    <a:pt x="571873" y="837178"/>
                  </a:lnTo>
                  <a:lnTo>
                    <a:pt x="572055" y="837814"/>
                  </a:lnTo>
                  <a:lnTo>
                    <a:pt x="571813" y="838600"/>
                  </a:lnTo>
                  <a:lnTo>
                    <a:pt x="571238" y="838933"/>
                  </a:lnTo>
                  <a:lnTo>
                    <a:pt x="570573" y="839084"/>
                  </a:lnTo>
                  <a:lnTo>
                    <a:pt x="570119" y="839417"/>
                  </a:lnTo>
                  <a:lnTo>
                    <a:pt x="566337" y="845134"/>
                  </a:lnTo>
                  <a:lnTo>
                    <a:pt x="565914" y="846980"/>
                  </a:lnTo>
                  <a:lnTo>
                    <a:pt x="565914" y="847010"/>
                  </a:lnTo>
                  <a:lnTo>
                    <a:pt x="567214" y="848644"/>
                  </a:lnTo>
                  <a:lnTo>
                    <a:pt x="569756" y="849521"/>
                  </a:lnTo>
                  <a:lnTo>
                    <a:pt x="574414" y="849823"/>
                  </a:lnTo>
                  <a:lnTo>
                    <a:pt x="576623" y="849067"/>
                  </a:lnTo>
                  <a:lnTo>
                    <a:pt x="578045" y="847736"/>
                  </a:lnTo>
                  <a:lnTo>
                    <a:pt x="580011" y="845860"/>
                  </a:lnTo>
                  <a:lnTo>
                    <a:pt x="581826" y="844620"/>
                  </a:lnTo>
                  <a:lnTo>
                    <a:pt x="585063" y="844287"/>
                  </a:lnTo>
                  <a:lnTo>
                    <a:pt x="587876" y="845618"/>
                  </a:lnTo>
                  <a:lnTo>
                    <a:pt x="593049" y="850096"/>
                  </a:lnTo>
                  <a:lnTo>
                    <a:pt x="596377" y="851608"/>
                  </a:lnTo>
                  <a:lnTo>
                    <a:pt x="598374" y="850217"/>
                  </a:lnTo>
                  <a:lnTo>
                    <a:pt x="599402" y="846677"/>
                  </a:lnTo>
                  <a:lnTo>
                    <a:pt x="599947" y="841746"/>
                  </a:lnTo>
                  <a:lnTo>
                    <a:pt x="601217" y="840355"/>
                  </a:lnTo>
                  <a:lnTo>
                    <a:pt x="601913" y="838782"/>
                  </a:lnTo>
                  <a:lnTo>
                    <a:pt x="602488" y="837118"/>
                  </a:lnTo>
                  <a:lnTo>
                    <a:pt x="604394" y="833125"/>
                  </a:lnTo>
                  <a:lnTo>
                    <a:pt x="604968" y="832429"/>
                  </a:lnTo>
                  <a:lnTo>
                    <a:pt x="605210" y="832640"/>
                  </a:lnTo>
                  <a:lnTo>
                    <a:pt x="607449" y="832883"/>
                  </a:lnTo>
                  <a:lnTo>
                    <a:pt x="608417" y="832036"/>
                  </a:lnTo>
                  <a:lnTo>
                    <a:pt x="610625" y="829615"/>
                  </a:lnTo>
                  <a:lnTo>
                    <a:pt x="612168" y="828859"/>
                  </a:lnTo>
                  <a:lnTo>
                    <a:pt x="619913" y="828224"/>
                  </a:lnTo>
                  <a:lnTo>
                    <a:pt x="620427" y="827589"/>
                  </a:lnTo>
                  <a:lnTo>
                    <a:pt x="621123" y="825622"/>
                  </a:lnTo>
                  <a:lnTo>
                    <a:pt x="621667" y="823595"/>
                  </a:lnTo>
                  <a:lnTo>
                    <a:pt x="621879" y="822295"/>
                  </a:lnTo>
                  <a:lnTo>
                    <a:pt x="622242" y="821417"/>
                  </a:lnTo>
                  <a:lnTo>
                    <a:pt x="623270" y="820691"/>
                  </a:lnTo>
                  <a:lnTo>
                    <a:pt x="624481" y="820691"/>
                  </a:lnTo>
                  <a:lnTo>
                    <a:pt x="628595" y="822113"/>
                  </a:lnTo>
                  <a:lnTo>
                    <a:pt x="633768" y="821932"/>
                  </a:lnTo>
                  <a:lnTo>
                    <a:pt x="633768" y="819481"/>
                  </a:lnTo>
                  <a:lnTo>
                    <a:pt x="635341" y="819148"/>
                  </a:lnTo>
                  <a:lnTo>
                    <a:pt x="643841" y="823141"/>
                  </a:lnTo>
                  <a:lnTo>
                    <a:pt x="646050" y="823656"/>
                  </a:lnTo>
                  <a:lnTo>
                    <a:pt x="648440" y="822869"/>
                  </a:lnTo>
                  <a:lnTo>
                    <a:pt x="649589" y="821871"/>
                  </a:lnTo>
                  <a:lnTo>
                    <a:pt x="651192" y="820026"/>
                  </a:lnTo>
                  <a:lnTo>
                    <a:pt x="652221" y="819511"/>
                  </a:lnTo>
                  <a:lnTo>
                    <a:pt x="653129" y="819451"/>
                  </a:lnTo>
                  <a:lnTo>
                    <a:pt x="655307" y="819753"/>
                  </a:lnTo>
                  <a:lnTo>
                    <a:pt x="659118" y="819179"/>
                  </a:lnTo>
                  <a:lnTo>
                    <a:pt x="660691" y="819451"/>
                  </a:lnTo>
                  <a:lnTo>
                    <a:pt x="669616" y="829252"/>
                  </a:lnTo>
                  <a:lnTo>
                    <a:pt x="671219" y="830341"/>
                  </a:lnTo>
                  <a:lnTo>
                    <a:pt x="673488" y="830674"/>
                  </a:lnTo>
                  <a:lnTo>
                    <a:pt x="675182" y="830553"/>
                  </a:lnTo>
                  <a:lnTo>
                    <a:pt x="676755" y="830765"/>
                  </a:lnTo>
                  <a:lnTo>
                    <a:pt x="678661" y="832066"/>
                  </a:lnTo>
                  <a:lnTo>
                    <a:pt x="680294" y="833639"/>
                  </a:lnTo>
                  <a:lnTo>
                    <a:pt x="681928" y="834728"/>
                  </a:lnTo>
                  <a:lnTo>
                    <a:pt x="683773" y="835061"/>
                  </a:lnTo>
                  <a:lnTo>
                    <a:pt x="686133" y="834274"/>
                  </a:lnTo>
                  <a:lnTo>
                    <a:pt x="688311" y="832550"/>
                  </a:lnTo>
                  <a:lnTo>
                    <a:pt x="691608" y="828103"/>
                  </a:lnTo>
                  <a:lnTo>
                    <a:pt x="693666" y="826257"/>
                  </a:lnTo>
                  <a:lnTo>
                    <a:pt x="695269" y="825955"/>
                  </a:lnTo>
                  <a:lnTo>
                    <a:pt x="697356" y="825925"/>
                  </a:lnTo>
                  <a:lnTo>
                    <a:pt x="699232" y="825592"/>
                  </a:lnTo>
                  <a:lnTo>
                    <a:pt x="700049" y="824291"/>
                  </a:lnTo>
                  <a:lnTo>
                    <a:pt x="698838" y="822143"/>
                  </a:lnTo>
                  <a:lnTo>
                    <a:pt x="696509" y="820842"/>
                  </a:lnTo>
                  <a:lnTo>
                    <a:pt x="695299" y="819542"/>
                  </a:lnTo>
                  <a:lnTo>
                    <a:pt x="697326" y="817454"/>
                  </a:lnTo>
                  <a:lnTo>
                    <a:pt x="698869" y="816789"/>
                  </a:lnTo>
                  <a:lnTo>
                    <a:pt x="702953" y="816032"/>
                  </a:lnTo>
                  <a:lnTo>
                    <a:pt x="704495" y="816154"/>
                  </a:lnTo>
                  <a:lnTo>
                    <a:pt x="706341" y="817303"/>
                  </a:lnTo>
                  <a:lnTo>
                    <a:pt x="707763" y="818785"/>
                  </a:lnTo>
                  <a:lnTo>
                    <a:pt x="709306" y="819753"/>
                  </a:lnTo>
                  <a:lnTo>
                    <a:pt x="711453" y="819421"/>
                  </a:lnTo>
                  <a:lnTo>
                    <a:pt x="713208" y="817938"/>
                  </a:lnTo>
                  <a:lnTo>
                    <a:pt x="716324" y="813642"/>
                  </a:lnTo>
                  <a:lnTo>
                    <a:pt x="718169" y="812493"/>
                  </a:lnTo>
                  <a:lnTo>
                    <a:pt x="719561" y="812796"/>
                  </a:lnTo>
                  <a:lnTo>
                    <a:pt x="725188" y="815548"/>
                  </a:lnTo>
                  <a:lnTo>
                    <a:pt x="734989" y="818120"/>
                  </a:lnTo>
                  <a:lnTo>
                    <a:pt x="736653" y="818120"/>
                  </a:lnTo>
                  <a:lnTo>
                    <a:pt x="740374" y="817333"/>
                  </a:lnTo>
                  <a:lnTo>
                    <a:pt x="741886" y="817757"/>
                  </a:lnTo>
                  <a:lnTo>
                    <a:pt x="743702" y="817061"/>
                  </a:lnTo>
                  <a:lnTo>
                    <a:pt x="745244" y="816517"/>
                  </a:lnTo>
                  <a:lnTo>
                    <a:pt x="752444" y="815730"/>
                  </a:lnTo>
                  <a:lnTo>
                    <a:pt x="754320" y="816214"/>
                  </a:lnTo>
                  <a:lnTo>
                    <a:pt x="755318" y="816819"/>
                  </a:lnTo>
                  <a:lnTo>
                    <a:pt x="757194" y="818513"/>
                  </a:lnTo>
                  <a:lnTo>
                    <a:pt x="758222" y="819179"/>
                  </a:lnTo>
                  <a:lnTo>
                    <a:pt x="758978" y="819270"/>
                  </a:lnTo>
                  <a:lnTo>
                    <a:pt x="760551" y="818936"/>
                  </a:lnTo>
                  <a:lnTo>
                    <a:pt x="761550" y="819209"/>
                  </a:lnTo>
                  <a:lnTo>
                    <a:pt x="763244" y="820812"/>
                  </a:lnTo>
                  <a:lnTo>
                    <a:pt x="766632" y="825592"/>
                  </a:lnTo>
                  <a:lnTo>
                    <a:pt x="768175" y="826772"/>
                  </a:lnTo>
                  <a:lnTo>
                    <a:pt x="769203" y="826106"/>
                  </a:lnTo>
                  <a:lnTo>
                    <a:pt x="770655" y="824564"/>
                  </a:lnTo>
                  <a:lnTo>
                    <a:pt x="772380" y="823081"/>
                  </a:lnTo>
                  <a:lnTo>
                    <a:pt x="774407" y="822748"/>
                  </a:lnTo>
                  <a:lnTo>
                    <a:pt x="776252" y="823716"/>
                  </a:lnTo>
                  <a:lnTo>
                    <a:pt x="779943" y="826832"/>
                  </a:lnTo>
                  <a:lnTo>
                    <a:pt x="785358" y="829343"/>
                  </a:lnTo>
                  <a:lnTo>
                    <a:pt x="788988" y="832489"/>
                  </a:lnTo>
                  <a:lnTo>
                    <a:pt x="791862" y="836785"/>
                  </a:lnTo>
                  <a:lnTo>
                    <a:pt x="793163" y="841776"/>
                  </a:lnTo>
                  <a:lnTo>
                    <a:pt x="793828" y="846254"/>
                  </a:lnTo>
                  <a:lnTo>
                    <a:pt x="796672" y="848190"/>
                  </a:lnTo>
                  <a:lnTo>
                    <a:pt x="803781" y="849460"/>
                  </a:lnTo>
                  <a:lnTo>
                    <a:pt x="807048" y="851397"/>
                  </a:lnTo>
                  <a:lnTo>
                    <a:pt x="808228" y="851850"/>
                  </a:lnTo>
                  <a:lnTo>
                    <a:pt x="809256" y="851911"/>
                  </a:lnTo>
                  <a:lnTo>
                    <a:pt x="811646" y="851638"/>
                  </a:lnTo>
                  <a:lnTo>
                    <a:pt x="812463" y="851790"/>
                  </a:lnTo>
                  <a:lnTo>
                    <a:pt x="813582" y="852939"/>
                  </a:lnTo>
                  <a:lnTo>
                    <a:pt x="813613" y="853907"/>
                  </a:lnTo>
                  <a:lnTo>
                    <a:pt x="813310" y="854845"/>
                  </a:lnTo>
                  <a:lnTo>
                    <a:pt x="813552" y="855722"/>
                  </a:lnTo>
                  <a:lnTo>
                    <a:pt x="814308" y="856297"/>
                  </a:lnTo>
                  <a:lnTo>
                    <a:pt x="819028" y="857628"/>
                  </a:lnTo>
                  <a:lnTo>
                    <a:pt x="824564" y="857447"/>
                  </a:lnTo>
                  <a:lnTo>
                    <a:pt x="826711" y="858203"/>
                  </a:lnTo>
                  <a:lnTo>
                    <a:pt x="831824" y="862922"/>
                  </a:lnTo>
                  <a:lnTo>
                    <a:pt x="835515" y="863981"/>
                  </a:lnTo>
                  <a:lnTo>
                    <a:pt x="843380" y="864284"/>
                  </a:lnTo>
                  <a:lnTo>
                    <a:pt x="846859" y="865887"/>
                  </a:lnTo>
                  <a:lnTo>
                    <a:pt x="848976" y="864011"/>
                  </a:lnTo>
                  <a:lnTo>
                    <a:pt x="851003" y="864556"/>
                  </a:lnTo>
                  <a:lnTo>
                    <a:pt x="854785" y="868398"/>
                  </a:lnTo>
                  <a:lnTo>
                    <a:pt x="857265" y="869971"/>
                  </a:lnTo>
                  <a:lnTo>
                    <a:pt x="859413" y="870213"/>
                  </a:lnTo>
                  <a:lnTo>
                    <a:pt x="861561" y="870001"/>
                  </a:lnTo>
                  <a:lnTo>
                    <a:pt x="865221" y="870243"/>
                  </a:lnTo>
                  <a:lnTo>
                    <a:pt x="867490" y="869638"/>
                  </a:lnTo>
                  <a:lnTo>
                    <a:pt x="868579" y="869759"/>
                  </a:lnTo>
                  <a:lnTo>
                    <a:pt x="869578" y="870636"/>
                  </a:lnTo>
                  <a:lnTo>
                    <a:pt x="871453" y="873026"/>
                  </a:lnTo>
                  <a:lnTo>
                    <a:pt x="872573" y="873359"/>
                  </a:lnTo>
                  <a:lnTo>
                    <a:pt x="874357" y="874236"/>
                  </a:lnTo>
                  <a:lnTo>
                    <a:pt x="876596" y="876081"/>
                  </a:lnTo>
                  <a:lnTo>
                    <a:pt x="878623" y="876898"/>
                  </a:lnTo>
                  <a:lnTo>
                    <a:pt x="879803" y="874629"/>
                  </a:lnTo>
                  <a:lnTo>
                    <a:pt x="879621" y="874176"/>
                  </a:lnTo>
                  <a:lnTo>
                    <a:pt x="879500" y="873873"/>
                  </a:lnTo>
                  <a:lnTo>
                    <a:pt x="877836" y="871302"/>
                  </a:lnTo>
                  <a:lnTo>
                    <a:pt x="877413" y="869971"/>
                  </a:lnTo>
                  <a:lnTo>
                    <a:pt x="877534" y="868065"/>
                  </a:lnTo>
                  <a:lnTo>
                    <a:pt x="878441" y="865312"/>
                  </a:lnTo>
                  <a:lnTo>
                    <a:pt x="878441" y="864102"/>
                  </a:lnTo>
                  <a:lnTo>
                    <a:pt x="877231" y="862680"/>
                  </a:lnTo>
                  <a:lnTo>
                    <a:pt x="872724" y="860351"/>
                  </a:lnTo>
                  <a:lnTo>
                    <a:pt x="870848" y="859080"/>
                  </a:lnTo>
                  <a:lnTo>
                    <a:pt x="867914" y="855511"/>
                  </a:lnTo>
                  <a:lnTo>
                    <a:pt x="864647" y="853423"/>
                  </a:lnTo>
                  <a:lnTo>
                    <a:pt x="865040" y="853332"/>
                  </a:lnTo>
                  <a:lnTo>
                    <a:pt x="865161" y="853242"/>
                  </a:lnTo>
                  <a:lnTo>
                    <a:pt x="863558" y="852243"/>
                  </a:lnTo>
                  <a:lnTo>
                    <a:pt x="862257" y="853756"/>
                  </a:lnTo>
                  <a:lnTo>
                    <a:pt x="861803" y="854059"/>
                  </a:lnTo>
                  <a:lnTo>
                    <a:pt x="861168" y="853302"/>
                  </a:lnTo>
                  <a:lnTo>
                    <a:pt x="861712" y="851608"/>
                  </a:lnTo>
                  <a:lnTo>
                    <a:pt x="863315" y="848522"/>
                  </a:lnTo>
                  <a:lnTo>
                    <a:pt x="864707" y="843531"/>
                  </a:lnTo>
                  <a:lnTo>
                    <a:pt x="866431" y="839205"/>
                  </a:lnTo>
                  <a:lnTo>
                    <a:pt x="866794" y="837178"/>
                  </a:lnTo>
                  <a:lnTo>
                    <a:pt x="865433" y="824201"/>
                  </a:lnTo>
                  <a:lnTo>
                    <a:pt x="864979" y="821932"/>
                  </a:lnTo>
                  <a:lnTo>
                    <a:pt x="864435" y="820842"/>
                  </a:lnTo>
                  <a:lnTo>
                    <a:pt x="862257" y="818725"/>
                  </a:lnTo>
                  <a:lnTo>
                    <a:pt x="860956" y="816819"/>
                  </a:lnTo>
                  <a:lnTo>
                    <a:pt x="860653" y="816032"/>
                  </a:lnTo>
                  <a:lnTo>
                    <a:pt x="860290" y="814429"/>
                  </a:lnTo>
                  <a:lnTo>
                    <a:pt x="859685" y="808379"/>
                  </a:lnTo>
                  <a:lnTo>
                    <a:pt x="858990" y="806292"/>
                  </a:lnTo>
                  <a:lnTo>
                    <a:pt x="857054" y="801209"/>
                  </a:lnTo>
                  <a:lnTo>
                    <a:pt x="859564" y="795734"/>
                  </a:lnTo>
                  <a:lnTo>
                    <a:pt x="867188" y="786265"/>
                  </a:lnTo>
                  <a:lnTo>
                    <a:pt x="868943" y="781727"/>
                  </a:lnTo>
                  <a:lnTo>
                    <a:pt x="869669" y="780487"/>
                  </a:lnTo>
                  <a:lnTo>
                    <a:pt x="870788" y="779580"/>
                  </a:lnTo>
                  <a:lnTo>
                    <a:pt x="872936" y="779186"/>
                  </a:lnTo>
                  <a:lnTo>
                    <a:pt x="874055" y="778763"/>
                  </a:lnTo>
                  <a:lnTo>
                    <a:pt x="875749" y="777190"/>
                  </a:lnTo>
                  <a:lnTo>
                    <a:pt x="881950" y="766844"/>
                  </a:lnTo>
                  <a:lnTo>
                    <a:pt x="882919" y="765755"/>
                  </a:lnTo>
                  <a:lnTo>
                    <a:pt x="883826" y="765210"/>
                  </a:lnTo>
                  <a:lnTo>
                    <a:pt x="885581" y="764605"/>
                  </a:lnTo>
                  <a:lnTo>
                    <a:pt x="886458" y="763788"/>
                  </a:lnTo>
                  <a:lnTo>
                    <a:pt x="886942" y="762760"/>
                  </a:lnTo>
                  <a:lnTo>
                    <a:pt x="887759" y="759886"/>
                  </a:lnTo>
                  <a:lnTo>
                    <a:pt x="888273" y="758706"/>
                  </a:lnTo>
                  <a:lnTo>
                    <a:pt x="892478" y="754713"/>
                  </a:lnTo>
                  <a:lnTo>
                    <a:pt x="903399" y="739980"/>
                  </a:lnTo>
                  <a:lnTo>
                    <a:pt x="907392" y="735927"/>
                  </a:lnTo>
                  <a:lnTo>
                    <a:pt x="911113" y="733265"/>
                  </a:lnTo>
                  <a:lnTo>
                    <a:pt x="914108" y="728938"/>
                  </a:lnTo>
                  <a:lnTo>
                    <a:pt x="937099" y="705978"/>
                  </a:lnTo>
                  <a:lnTo>
                    <a:pt x="941667" y="702741"/>
                  </a:lnTo>
                  <a:lnTo>
                    <a:pt x="947142" y="698869"/>
                  </a:lnTo>
                  <a:lnTo>
                    <a:pt x="947142" y="698869"/>
                  </a:lnTo>
                  <a:lnTo>
                    <a:pt x="947142" y="698869"/>
                  </a:lnTo>
                  <a:lnTo>
                    <a:pt x="947173" y="698869"/>
                  </a:lnTo>
                  <a:lnTo>
                    <a:pt x="950077" y="696691"/>
                  </a:lnTo>
                  <a:lnTo>
                    <a:pt x="958033" y="688765"/>
                  </a:lnTo>
                  <a:lnTo>
                    <a:pt x="959424" y="686889"/>
                  </a:lnTo>
                  <a:lnTo>
                    <a:pt x="959485" y="686677"/>
                  </a:lnTo>
                  <a:lnTo>
                    <a:pt x="960756" y="682835"/>
                  </a:lnTo>
                  <a:lnTo>
                    <a:pt x="961845" y="680718"/>
                  </a:lnTo>
                  <a:lnTo>
                    <a:pt x="963206" y="679477"/>
                  </a:lnTo>
                  <a:lnTo>
                    <a:pt x="964930" y="678691"/>
                  </a:lnTo>
                  <a:lnTo>
                    <a:pt x="968409" y="677662"/>
                  </a:lnTo>
                  <a:lnTo>
                    <a:pt x="986651" y="677451"/>
                  </a:lnTo>
                  <a:lnTo>
                    <a:pt x="991945" y="675424"/>
                  </a:lnTo>
                  <a:lnTo>
                    <a:pt x="994153" y="670675"/>
                  </a:lnTo>
                  <a:lnTo>
                    <a:pt x="994607" y="669101"/>
                  </a:lnTo>
                  <a:lnTo>
                    <a:pt x="994758" y="667196"/>
                  </a:lnTo>
                  <a:lnTo>
                    <a:pt x="994607" y="664412"/>
                  </a:lnTo>
                  <a:lnTo>
                    <a:pt x="994879" y="662658"/>
                  </a:lnTo>
                  <a:lnTo>
                    <a:pt x="1001383" y="659542"/>
                  </a:lnTo>
                  <a:lnTo>
                    <a:pt x="1003259" y="657666"/>
                  </a:lnTo>
                  <a:lnTo>
                    <a:pt x="1004529" y="656002"/>
                  </a:lnTo>
                  <a:lnTo>
                    <a:pt x="1004650" y="655670"/>
                  </a:lnTo>
                  <a:lnTo>
                    <a:pt x="1004136" y="655276"/>
                  </a:lnTo>
                  <a:lnTo>
                    <a:pt x="1003440" y="653370"/>
                  </a:lnTo>
                  <a:lnTo>
                    <a:pt x="1002412" y="646443"/>
                  </a:lnTo>
                  <a:lnTo>
                    <a:pt x="1004741" y="642722"/>
                  </a:lnTo>
                  <a:lnTo>
                    <a:pt x="1004711" y="642662"/>
                  </a:lnTo>
                  <a:lnTo>
                    <a:pt x="1002170" y="637005"/>
                  </a:lnTo>
                  <a:lnTo>
                    <a:pt x="1001353" y="633949"/>
                  </a:lnTo>
                  <a:lnTo>
                    <a:pt x="1001988" y="630621"/>
                  </a:lnTo>
                  <a:lnTo>
                    <a:pt x="999266" y="630016"/>
                  </a:lnTo>
                  <a:lnTo>
                    <a:pt x="996513" y="628443"/>
                  </a:lnTo>
                  <a:lnTo>
                    <a:pt x="995121" y="626205"/>
                  </a:lnTo>
                  <a:lnTo>
                    <a:pt x="996422" y="623633"/>
                  </a:lnTo>
                  <a:lnTo>
                    <a:pt x="996422" y="622726"/>
                  </a:lnTo>
                  <a:lnTo>
                    <a:pt x="993609" y="622423"/>
                  </a:lnTo>
                  <a:lnTo>
                    <a:pt x="991219" y="621395"/>
                  </a:lnTo>
                  <a:lnTo>
                    <a:pt x="989736" y="619550"/>
                  </a:lnTo>
                  <a:lnTo>
                    <a:pt x="989555" y="616736"/>
                  </a:lnTo>
                  <a:lnTo>
                    <a:pt x="990795" y="614256"/>
                  </a:lnTo>
                  <a:lnTo>
                    <a:pt x="993094" y="612622"/>
                  </a:lnTo>
                  <a:close/>
                </a:path>
              </a:pathLst>
            </a:custGeom>
            <a:solidFill>
              <a:srgbClr val="96A3AC"/>
            </a:solidFill>
            <a:ln w="3175" cap="rnd">
              <a:solidFill>
                <a:schemeClr val="bg1"/>
              </a:solidFill>
              <a:prstDash val="solid"/>
              <a:round/>
            </a:ln>
          </p:spPr>
          <p:txBody>
            <a:bodyPr rtlCol="0" anchor="ctr"/>
            <a:lstStyle/>
            <a:p>
              <a:endParaRPr lang="en-ID"/>
            </a:p>
          </p:txBody>
        </p:sp>
        <p:sp>
          <p:nvSpPr>
            <p:cNvPr id="24" name="Freeform: Shape 23">
              <a:extLst>
                <a:ext uri="{FF2B5EF4-FFF2-40B4-BE49-F238E27FC236}">
                  <a16:creationId xmlns:a16="http://schemas.microsoft.com/office/drawing/2014/main" id="{67404804-8CD0-74F5-148B-073F6D1B2DBF}"/>
                </a:ext>
              </a:extLst>
            </p:cNvPr>
            <p:cNvSpPr/>
            <p:nvPr/>
          </p:nvSpPr>
          <p:spPr>
            <a:xfrm>
              <a:off x="8418863" y="3638883"/>
              <a:ext cx="301027" cy="328985"/>
            </a:xfrm>
            <a:custGeom>
              <a:avLst/>
              <a:gdLst>
                <a:gd name="connsiteX0" fmla="*/ 83554 w 387278"/>
                <a:gd name="connsiteY0" fmla="*/ 330769 h 423247"/>
                <a:gd name="connsiteX1" fmla="*/ 82919 w 387278"/>
                <a:gd name="connsiteY1" fmla="*/ 331314 h 423247"/>
                <a:gd name="connsiteX2" fmla="*/ 81195 w 387278"/>
                <a:gd name="connsiteY2" fmla="*/ 333704 h 423247"/>
                <a:gd name="connsiteX3" fmla="*/ 77716 w 387278"/>
                <a:gd name="connsiteY3" fmla="*/ 333432 h 423247"/>
                <a:gd name="connsiteX4" fmla="*/ 77081 w 387278"/>
                <a:gd name="connsiteY4" fmla="*/ 333189 h 423247"/>
                <a:gd name="connsiteX5" fmla="*/ 76082 w 387278"/>
                <a:gd name="connsiteY5" fmla="*/ 332433 h 423247"/>
                <a:gd name="connsiteX6" fmla="*/ 73662 w 387278"/>
                <a:gd name="connsiteY6" fmla="*/ 332131 h 423247"/>
                <a:gd name="connsiteX7" fmla="*/ 72543 w 387278"/>
                <a:gd name="connsiteY7" fmla="*/ 331768 h 423247"/>
                <a:gd name="connsiteX8" fmla="*/ 71635 w 387278"/>
                <a:gd name="connsiteY8" fmla="*/ 330860 h 423247"/>
                <a:gd name="connsiteX9" fmla="*/ 70516 w 387278"/>
                <a:gd name="connsiteY9" fmla="*/ 328561 h 423247"/>
                <a:gd name="connsiteX10" fmla="*/ 69850 w 387278"/>
                <a:gd name="connsiteY10" fmla="*/ 327623 h 423247"/>
                <a:gd name="connsiteX11" fmla="*/ 68398 w 387278"/>
                <a:gd name="connsiteY11" fmla="*/ 326776 h 423247"/>
                <a:gd name="connsiteX12" fmla="*/ 66039 w 387278"/>
                <a:gd name="connsiteY12" fmla="*/ 325929 h 423247"/>
                <a:gd name="connsiteX13" fmla="*/ 63861 w 387278"/>
                <a:gd name="connsiteY13" fmla="*/ 325838 h 423247"/>
                <a:gd name="connsiteX14" fmla="*/ 62892 w 387278"/>
                <a:gd name="connsiteY14" fmla="*/ 327139 h 423247"/>
                <a:gd name="connsiteX15" fmla="*/ 62348 w 387278"/>
                <a:gd name="connsiteY15" fmla="*/ 330073 h 423247"/>
                <a:gd name="connsiteX16" fmla="*/ 60987 w 387278"/>
                <a:gd name="connsiteY16" fmla="*/ 331556 h 423247"/>
                <a:gd name="connsiteX17" fmla="*/ 51155 w 387278"/>
                <a:gd name="connsiteY17" fmla="*/ 335458 h 423247"/>
                <a:gd name="connsiteX18" fmla="*/ 48735 w 387278"/>
                <a:gd name="connsiteY18" fmla="*/ 335791 h 423247"/>
                <a:gd name="connsiteX19" fmla="*/ 44893 w 387278"/>
                <a:gd name="connsiteY19" fmla="*/ 334762 h 423247"/>
                <a:gd name="connsiteX20" fmla="*/ 40839 w 387278"/>
                <a:gd name="connsiteY20" fmla="*/ 334762 h 423247"/>
                <a:gd name="connsiteX21" fmla="*/ 38691 w 387278"/>
                <a:gd name="connsiteY21" fmla="*/ 333915 h 423247"/>
                <a:gd name="connsiteX22" fmla="*/ 35455 w 387278"/>
                <a:gd name="connsiteY22" fmla="*/ 331283 h 423247"/>
                <a:gd name="connsiteX23" fmla="*/ 25653 w 387278"/>
                <a:gd name="connsiteY23" fmla="*/ 328682 h 423247"/>
                <a:gd name="connsiteX24" fmla="*/ 19300 w 387278"/>
                <a:gd name="connsiteY24" fmla="*/ 324870 h 423247"/>
                <a:gd name="connsiteX25" fmla="*/ 17727 w 387278"/>
                <a:gd name="connsiteY25" fmla="*/ 325052 h 423247"/>
                <a:gd name="connsiteX26" fmla="*/ 16245 w 387278"/>
                <a:gd name="connsiteY26" fmla="*/ 326171 h 423247"/>
                <a:gd name="connsiteX27" fmla="*/ 0 w 387278"/>
                <a:gd name="connsiteY27" fmla="*/ 331011 h 423247"/>
                <a:gd name="connsiteX28" fmla="*/ 0 w 387278"/>
                <a:gd name="connsiteY28" fmla="*/ 331011 h 423247"/>
                <a:gd name="connsiteX29" fmla="*/ 877 w 387278"/>
                <a:gd name="connsiteY29" fmla="*/ 336729 h 423247"/>
                <a:gd name="connsiteX30" fmla="*/ 453 w 387278"/>
                <a:gd name="connsiteY30" fmla="*/ 340389 h 423247"/>
                <a:gd name="connsiteX31" fmla="*/ 393 w 387278"/>
                <a:gd name="connsiteY31" fmla="*/ 343838 h 423247"/>
                <a:gd name="connsiteX32" fmla="*/ 1815 w 387278"/>
                <a:gd name="connsiteY32" fmla="*/ 347559 h 423247"/>
                <a:gd name="connsiteX33" fmla="*/ 4265 w 387278"/>
                <a:gd name="connsiteY33" fmla="*/ 350009 h 423247"/>
                <a:gd name="connsiteX34" fmla="*/ 4991 w 387278"/>
                <a:gd name="connsiteY34" fmla="*/ 350312 h 423247"/>
                <a:gd name="connsiteX35" fmla="*/ 7321 w 387278"/>
                <a:gd name="connsiteY35" fmla="*/ 351310 h 423247"/>
                <a:gd name="connsiteX36" fmla="*/ 10527 w 387278"/>
                <a:gd name="connsiteY36" fmla="*/ 351673 h 423247"/>
                <a:gd name="connsiteX37" fmla="*/ 15277 w 387278"/>
                <a:gd name="connsiteY37" fmla="*/ 350977 h 423247"/>
                <a:gd name="connsiteX38" fmla="*/ 15579 w 387278"/>
                <a:gd name="connsiteY38" fmla="*/ 349586 h 423247"/>
                <a:gd name="connsiteX39" fmla="*/ 15337 w 387278"/>
                <a:gd name="connsiteY39" fmla="*/ 347710 h 423247"/>
                <a:gd name="connsiteX40" fmla="*/ 15519 w 387278"/>
                <a:gd name="connsiteY40" fmla="*/ 345986 h 423247"/>
                <a:gd name="connsiteX41" fmla="*/ 16638 w 387278"/>
                <a:gd name="connsiteY41" fmla="*/ 344927 h 423247"/>
                <a:gd name="connsiteX42" fmla="*/ 18121 w 387278"/>
                <a:gd name="connsiteY42" fmla="*/ 344594 h 423247"/>
                <a:gd name="connsiteX43" fmla="*/ 19724 w 387278"/>
                <a:gd name="connsiteY43" fmla="*/ 344503 h 423247"/>
                <a:gd name="connsiteX44" fmla="*/ 23717 w 387278"/>
                <a:gd name="connsiteY44" fmla="*/ 343657 h 423247"/>
                <a:gd name="connsiteX45" fmla="*/ 26197 w 387278"/>
                <a:gd name="connsiteY45" fmla="*/ 343535 h 423247"/>
                <a:gd name="connsiteX46" fmla="*/ 28769 w 387278"/>
                <a:gd name="connsiteY46" fmla="*/ 343898 h 423247"/>
                <a:gd name="connsiteX47" fmla="*/ 41081 w 387278"/>
                <a:gd name="connsiteY47" fmla="*/ 347680 h 423247"/>
                <a:gd name="connsiteX48" fmla="*/ 42987 w 387278"/>
                <a:gd name="connsiteY48" fmla="*/ 348829 h 423247"/>
                <a:gd name="connsiteX49" fmla="*/ 43502 w 387278"/>
                <a:gd name="connsiteY49" fmla="*/ 350766 h 423247"/>
                <a:gd name="connsiteX50" fmla="*/ 43320 w 387278"/>
                <a:gd name="connsiteY50" fmla="*/ 352399 h 423247"/>
                <a:gd name="connsiteX51" fmla="*/ 43502 w 387278"/>
                <a:gd name="connsiteY51" fmla="*/ 353942 h 423247"/>
                <a:gd name="connsiteX52" fmla="*/ 44984 w 387278"/>
                <a:gd name="connsiteY52" fmla="*/ 355575 h 423247"/>
                <a:gd name="connsiteX53" fmla="*/ 46224 w 387278"/>
                <a:gd name="connsiteY53" fmla="*/ 356090 h 423247"/>
                <a:gd name="connsiteX54" fmla="*/ 58143 w 387278"/>
                <a:gd name="connsiteY54" fmla="*/ 355969 h 423247"/>
                <a:gd name="connsiteX55" fmla="*/ 60412 w 387278"/>
                <a:gd name="connsiteY55" fmla="*/ 355303 h 423247"/>
                <a:gd name="connsiteX56" fmla="*/ 65010 w 387278"/>
                <a:gd name="connsiteY56" fmla="*/ 352006 h 423247"/>
                <a:gd name="connsiteX57" fmla="*/ 77474 w 387278"/>
                <a:gd name="connsiteY57" fmla="*/ 346228 h 423247"/>
                <a:gd name="connsiteX58" fmla="*/ 82465 w 387278"/>
                <a:gd name="connsiteY58" fmla="*/ 342598 h 423247"/>
                <a:gd name="connsiteX59" fmla="*/ 86428 w 387278"/>
                <a:gd name="connsiteY59" fmla="*/ 337606 h 423247"/>
                <a:gd name="connsiteX60" fmla="*/ 86973 w 387278"/>
                <a:gd name="connsiteY60" fmla="*/ 336154 h 423247"/>
                <a:gd name="connsiteX61" fmla="*/ 87729 w 387278"/>
                <a:gd name="connsiteY61" fmla="*/ 332705 h 423247"/>
                <a:gd name="connsiteX62" fmla="*/ 87789 w 387278"/>
                <a:gd name="connsiteY62" fmla="*/ 332070 h 423247"/>
                <a:gd name="connsiteX63" fmla="*/ 85581 w 387278"/>
                <a:gd name="connsiteY63" fmla="*/ 330890 h 423247"/>
                <a:gd name="connsiteX64" fmla="*/ 83615 w 387278"/>
                <a:gd name="connsiteY64" fmla="*/ 330679 h 423247"/>
                <a:gd name="connsiteX65" fmla="*/ 37300 w 387278"/>
                <a:gd name="connsiteY65" fmla="*/ 286300 h 423247"/>
                <a:gd name="connsiteX66" fmla="*/ 41807 w 387278"/>
                <a:gd name="connsiteY66" fmla="*/ 286058 h 423247"/>
                <a:gd name="connsiteX67" fmla="*/ 42412 w 387278"/>
                <a:gd name="connsiteY67" fmla="*/ 285543 h 423247"/>
                <a:gd name="connsiteX68" fmla="*/ 44893 w 387278"/>
                <a:gd name="connsiteY68" fmla="*/ 282821 h 423247"/>
                <a:gd name="connsiteX69" fmla="*/ 46224 w 387278"/>
                <a:gd name="connsiteY69" fmla="*/ 282911 h 423247"/>
                <a:gd name="connsiteX70" fmla="*/ 47071 w 387278"/>
                <a:gd name="connsiteY70" fmla="*/ 283547 h 423247"/>
                <a:gd name="connsiteX71" fmla="*/ 47706 w 387278"/>
                <a:gd name="connsiteY71" fmla="*/ 284333 h 423247"/>
                <a:gd name="connsiteX72" fmla="*/ 48372 w 387278"/>
                <a:gd name="connsiteY72" fmla="*/ 284938 h 423247"/>
                <a:gd name="connsiteX73" fmla="*/ 52304 w 387278"/>
                <a:gd name="connsiteY73" fmla="*/ 286390 h 423247"/>
                <a:gd name="connsiteX74" fmla="*/ 53908 w 387278"/>
                <a:gd name="connsiteY74" fmla="*/ 287540 h 423247"/>
                <a:gd name="connsiteX75" fmla="*/ 54543 w 387278"/>
                <a:gd name="connsiteY75" fmla="*/ 289476 h 423247"/>
                <a:gd name="connsiteX76" fmla="*/ 55511 w 387278"/>
                <a:gd name="connsiteY76" fmla="*/ 291473 h 423247"/>
                <a:gd name="connsiteX77" fmla="*/ 57689 w 387278"/>
                <a:gd name="connsiteY77" fmla="*/ 292864 h 423247"/>
                <a:gd name="connsiteX78" fmla="*/ 61440 w 387278"/>
                <a:gd name="connsiteY78" fmla="*/ 294165 h 423247"/>
                <a:gd name="connsiteX79" fmla="*/ 63225 w 387278"/>
                <a:gd name="connsiteY79" fmla="*/ 294256 h 423247"/>
                <a:gd name="connsiteX80" fmla="*/ 70970 w 387278"/>
                <a:gd name="connsiteY80" fmla="*/ 292864 h 423247"/>
                <a:gd name="connsiteX81" fmla="*/ 72754 w 387278"/>
                <a:gd name="connsiteY81" fmla="*/ 292229 h 423247"/>
                <a:gd name="connsiteX82" fmla="*/ 74418 w 387278"/>
                <a:gd name="connsiteY82" fmla="*/ 291170 h 423247"/>
                <a:gd name="connsiteX83" fmla="*/ 75447 w 387278"/>
                <a:gd name="connsiteY83" fmla="*/ 289657 h 423247"/>
                <a:gd name="connsiteX84" fmla="*/ 75235 w 387278"/>
                <a:gd name="connsiteY84" fmla="*/ 287268 h 423247"/>
                <a:gd name="connsiteX85" fmla="*/ 73329 w 387278"/>
                <a:gd name="connsiteY85" fmla="*/ 286027 h 423247"/>
                <a:gd name="connsiteX86" fmla="*/ 69124 w 387278"/>
                <a:gd name="connsiteY86" fmla="*/ 284938 h 423247"/>
                <a:gd name="connsiteX87" fmla="*/ 68126 w 387278"/>
                <a:gd name="connsiteY87" fmla="*/ 284152 h 423247"/>
                <a:gd name="connsiteX88" fmla="*/ 67491 w 387278"/>
                <a:gd name="connsiteY88" fmla="*/ 283365 h 423247"/>
                <a:gd name="connsiteX89" fmla="*/ 67007 w 387278"/>
                <a:gd name="connsiteY89" fmla="*/ 282579 h 423247"/>
                <a:gd name="connsiteX90" fmla="*/ 63255 w 387278"/>
                <a:gd name="connsiteY90" fmla="*/ 278313 h 423247"/>
                <a:gd name="connsiteX91" fmla="*/ 61622 w 387278"/>
                <a:gd name="connsiteY91" fmla="*/ 277133 h 423247"/>
                <a:gd name="connsiteX92" fmla="*/ 59384 w 387278"/>
                <a:gd name="connsiteY92" fmla="*/ 276680 h 423247"/>
                <a:gd name="connsiteX93" fmla="*/ 49733 w 387278"/>
                <a:gd name="connsiteY93" fmla="*/ 276438 h 423247"/>
                <a:gd name="connsiteX94" fmla="*/ 48402 w 387278"/>
                <a:gd name="connsiteY94" fmla="*/ 275772 h 423247"/>
                <a:gd name="connsiteX95" fmla="*/ 46769 w 387278"/>
                <a:gd name="connsiteY95" fmla="*/ 275651 h 423247"/>
                <a:gd name="connsiteX96" fmla="*/ 46345 w 387278"/>
                <a:gd name="connsiteY96" fmla="*/ 275772 h 423247"/>
                <a:gd name="connsiteX97" fmla="*/ 37874 w 387278"/>
                <a:gd name="connsiteY97" fmla="*/ 276922 h 423247"/>
                <a:gd name="connsiteX98" fmla="*/ 34214 w 387278"/>
                <a:gd name="connsiteY98" fmla="*/ 279100 h 423247"/>
                <a:gd name="connsiteX99" fmla="*/ 33942 w 387278"/>
                <a:gd name="connsiteY99" fmla="*/ 283910 h 423247"/>
                <a:gd name="connsiteX100" fmla="*/ 35273 w 387278"/>
                <a:gd name="connsiteY100" fmla="*/ 285725 h 423247"/>
                <a:gd name="connsiteX101" fmla="*/ 37330 w 387278"/>
                <a:gd name="connsiteY101" fmla="*/ 286300 h 423247"/>
                <a:gd name="connsiteX102" fmla="*/ 142091 w 387278"/>
                <a:gd name="connsiteY102" fmla="*/ 87094 h 423247"/>
                <a:gd name="connsiteX103" fmla="*/ 145479 w 387278"/>
                <a:gd name="connsiteY103" fmla="*/ 86186 h 423247"/>
                <a:gd name="connsiteX104" fmla="*/ 147748 w 387278"/>
                <a:gd name="connsiteY104" fmla="*/ 82133 h 423247"/>
                <a:gd name="connsiteX105" fmla="*/ 152497 w 387278"/>
                <a:gd name="connsiteY105" fmla="*/ 78533 h 423247"/>
                <a:gd name="connsiteX106" fmla="*/ 155311 w 387278"/>
                <a:gd name="connsiteY106" fmla="*/ 74540 h 423247"/>
                <a:gd name="connsiteX107" fmla="*/ 156611 w 387278"/>
                <a:gd name="connsiteY107" fmla="*/ 72150 h 423247"/>
                <a:gd name="connsiteX108" fmla="*/ 157307 w 387278"/>
                <a:gd name="connsiteY108" fmla="*/ 70123 h 423247"/>
                <a:gd name="connsiteX109" fmla="*/ 155250 w 387278"/>
                <a:gd name="connsiteY109" fmla="*/ 70123 h 423247"/>
                <a:gd name="connsiteX110" fmla="*/ 155250 w 387278"/>
                <a:gd name="connsiteY110" fmla="*/ 69185 h 423247"/>
                <a:gd name="connsiteX111" fmla="*/ 157005 w 387278"/>
                <a:gd name="connsiteY111" fmla="*/ 67975 h 423247"/>
                <a:gd name="connsiteX112" fmla="*/ 157005 w 387278"/>
                <a:gd name="connsiteY112" fmla="*/ 65555 h 423247"/>
                <a:gd name="connsiteX113" fmla="*/ 156006 w 387278"/>
                <a:gd name="connsiteY113" fmla="*/ 62832 h 423247"/>
                <a:gd name="connsiteX114" fmla="*/ 154585 w 387278"/>
                <a:gd name="connsiteY114" fmla="*/ 60685 h 423247"/>
                <a:gd name="connsiteX115" fmla="*/ 155159 w 387278"/>
                <a:gd name="connsiteY115" fmla="*/ 59928 h 423247"/>
                <a:gd name="connsiteX116" fmla="*/ 155250 w 387278"/>
                <a:gd name="connsiteY116" fmla="*/ 59202 h 423247"/>
                <a:gd name="connsiteX117" fmla="*/ 155008 w 387278"/>
                <a:gd name="connsiteY117" fmla="*/ 58416 h 423247"/>
                <a:gd name="connsiteX118" fmla="*/ 154615 w 387278"/>
                <a:gd name="connsiteY118" fmla="*/ 57508 h 423247"/>
                <a:gd name="connsiteX119" fmla="*/ 151438 w 387278"/>
                <a:gd name="connsiteY119" fmla="*/ 57357 h 423247"/>
                <a:gd name="connsiteX120" fmla="*/ 148928 w 387278"/>
                <a:gd name="connsiteY120" fmla="*/ 61169 h 423247"/>
                <a:gd name="connsiteX121" fmla="*/ 146568 w 387278"/>
                <a:gd name="connsiteY121" fmla="*/ 65797 h 423247"/>
                <a:gd name="connsiteX122" fmla="*/ 141819 w 387278"/>
                <a:gd name="connsiteY122" fmla="*/ 69578 h 423247"/>
                <a:gd name="connsiteX123" fmla="*/ 139308 w 387278"/>
                <a:gd name="connsiteY123" fmla="*/ 73329 h 423247"/>
                <a:gd name="connsiteX124" fmla="*/ 137311 w 387278"/>
                <a:gd name="connsiteY124" fmla="*/ 77867 h 423247"/>
                <a:gd name="connsiteX125" fmla="*/ 136676 w 387278"/>
                <a:gd name="connsiteY125" fmla="*/ 81891 h 423247"/>
                <a:gd name="connsiteX126" fmla="*/ 138612 w 387278"/>
                <a:gd name="connsiteY126" fmla="*/ 85793 h 423247"/>
                <a:gd name="connsiteX127" fmla="*/ 142151 w 387278"/>
                <a:gd name="connsiteY127" fmla="*/ 87124 h 423247"/>
                <a:gd name="connsiteX128" fmla="*/ 159576 w 387278"/>
                <a:gd name="connsiteY128" fmla="*/ 51427 h 423247"/>
                <a:gd name="connsiteX129" fmla="*/ 161754 w 387278"/>
                <a:gd name="connsiteY129" fmla="*/ 48402 h 423247"/>
                <a:gd name="connsiteX130" fmla="*/ 169710 w 387278"/>
                <a:gd name="connsiteY130" fmla="*/ 41263 h 423247"/>
                <a:gd name="connsiteX131" fmla="*/ 172645 w 387278"/>
                <a:gd name="connsiteY131" fmla="*/ 40235 h 423247"/>
                <a:gd name="connsiteX132" fmla="*/ 173915 w 387278"/>
                <a:gd name="connsiteY132" fmla="*/ 39569 h 423247"/>
                <a:gd name="connsiteX133" fmla="*/ 176608 w 387278"/>
                <a:gd name="connsiteY133" fmla="*/ 39569 h 423247"/>
                <a:gd name="connsiteX134" fmla="*/ 176608 w 387278"/>
                <a:gd name="connsiteY134" fmla="*/ 38510 h 423247"/>
                <a:gd name="connsiteX135" fmla="*/ 171525 w 387278"/>
                <a:gd name="connsiteY135" fmla="*/ 37875 h 423247"/>
                <a:gd name="connsiteX136" fmla="*/ 164689 w 387278"/>
                <a:gd name="connsiteY136" fmla="*/ 41565 h 423247"/>
                <a:gd name="connsiteX137" fmla="*/ 158124 w 387278"/>
                <a:gd name="connsiteY137" fmla="*/ 47162 h 423247"/>
                <a:gd name="connsiteX138" fmla="*/ 153859 w 387278"/>
                <a:gd name="connsiteY138" fmla="*/ 52244 h 423247"/>
                <a:gd name="connsiteX139" fmla="*/ 157005 w 387278"/>
                <a:gd name="connsiteY139" fmla="*/ 53545 h 423247"/>
                <a:gd name="connsiteX140" fmla="*/ 159576 w 387278"/>
                <a:gd name="connsiteY140" fmla="*/ 51458 h 423247"/>
                <a:gd name="connsiteX141" fmla="*/ 187014 w 387278"/>
                <a:gd name="connsiteY141" fmla="*/ 31855 h 423247"/>
                <a:gd name="connsiteX142" fmla="*/ 200960 w 387278"/>
                <a:gd name="connsiteY142" fmla="*/ 26198 h 423247"/>
                <a:gd name="connsiteX143" fmla="*/ 204530 w 387278"/>
                <a:gd name="connsiteY143" fmla="*/ 25351 h 423247"/>
                <a:gd name="connsiteX144" fmla="*/ 209007 w 387278"/>
                <a:gd name="connsiteY144" fmla="*/ 23536 h 423247"/>
                <a:gd name="connsiteX145" fmla="*/ 213182 w 387278"/>
                <a:gd name="connsiteY145" fmla="*/ 23203 h 423247"/>
                <a:gd name="connsiteX146" fmla="*/ 214482 w 387278"/>
                <a:gd name="connsiteY146" fmla="*/ 22568 h 423247"/>
                <a:gd name="connsiteX147" fmla="*/ 214301 w 387278"/>
                <a:gd name="connsiteY147" fmla="*/ 22023 h 423247"/>
                <a:gd name="connsiteX148" fmla="*/ 214059 w 387278"/>
                <a:gd name="connsiteY148" fmla="*/ 20874 h 423247"/>
                <a:gd name="connsiteX149" fmla="*/ 213847 w 387278"/>
                <a:gd name="connsiteY149" fmla="*/ 20329 h 423247"/>
                <a:gd name="connsiteX150" fmla="*/ 219716 w 387278"/>
                <a:gd name="connsiteY150" fmla="*/ 20117 h 423247"/>
                <a:gd name="connsiteX151" fmla="*/ 222560 w 387278"/>
                <a:gd name="connsiteY151" fmla="*/ 19210 h 423247"/>
                <a:gd name="connsiteX152" fmla="*/ 224889 w 387278"/>
                <a:gd name="connsiteY152" fmla="*/ 16215 h 423247"/>
                <a:gd name="connsiteX153" fmla="*/ 209975 w 387278"/>
                <a:gd name="connsiteY153" fmla="*/ 18877 h 423247"/>
                <a:gd name="connsiteX154" fmla="*/ 208644 w 387278"/>
                <a:gd name="connsiteY154" fmla="*/ 19815 h 423247"/>
                <a:gd name="connsiteX155" fmla="*/ 206980 w 387278"/>
                <a:gd name="connsiteY155" fmla="*/ 21025 h 423247"/>
                <a:gd name="connsiteX156" fmla="*/ 193458 w 387278"/>
                <a:gd name="connsiteY156" fmla="*/ 23566 h 423247"/>
                <a:gd name="connsiteX157" fmla="*/ 191159 w 387278"/>
                <a:gd name="connsiteY157" fmla="*/ 23505 h 423247"/>
                <a:gd name="connsiteX158" fmla="*/ 189374 w 387278"/>
                <a:gd name="connsiteY158" fmla="*/ 25018 h 423247"/>
                <a:gd name="connsiteX159" fmla="*/ 183989 w 387278"/>
                <a:gd name="connsiteY159" fmla="*/ 26773 h 423247"/>
                <a:gd name="connsiteX160" fmla="*/ 182839 w 387278"/>
                <a:gd name="connsiteY160" fmla="*/ 29435 h 423247"/>
                <a:gd name="connsiteX161" fmla="*/ 184080 w 387278"/>
                <a:gd name="connsiteY161" fmla="*/ 31764 h 423247"/>
                <a:gd name="connsiteX162" fmla="*/ 186954 w 387278"/>
                <a:gd name="connsiteY162" fmla="*/ 31825 h 423247"/>
                <a:gd name="connsiteX163" fmla="*/ 386280 w 387278"/>
                <a:gd name="connsiteY163" fmla="*/ 60412 h 423247"/>
                <a:gd name="connsiteX164" fmla="*/ 386976 w 387278"/>
                <a:gd name="connsiteY164" fmla="*/ 57750 h 423247"/>
                <a:gd name="connsiteX165" fmla="*/ 387279 w 387278"/>
                <a:gd name="connsiteY165" fmla="*/ 55360 h 423247"/>
                <a:gd name="connsiteX166" fmla="*/ 387188 w 387278"/>
                <a:gd name="connsiteY166" fmla="*/ 52879 h 423247"/>
                <a:gd name="connsiteX167" fmla="*/ 386916 w 387278"/>
                <a:gd name="connsiteY167" fmla="*/ 48493 h 423247"/>
                <a:gd name="connsiteX168" fmla="*/ 385766 w 387278"/>
                <a:gd name="connsiteY168" fmla="*/ 48493 h 423247"/>
                <a:gd name="connsiteX169" fmla="*/ 378506 w 387278"/>
                <a:gd name="connsiteY169" fmla="*/ 46739 h 423247"/>
                <a:gd name="connsiteX170" fmla="*/ 375450 w 387278"/>
                <a:gd name="connsiteY170" fmla="*/ 45135 h 423247"/>
                <a:gd name="connsiteX171" fmla="*/ 375239 w 387278"/>
                <a:gd name="connsiteY171" fmla="*/ 42625 h 423247"/>
                <a:gd name="connsiteX172" fmla="*/ 374755 w 387278"/>
                <a:gd name="connsiteY172" fmla="*/ 41324 h 423247"/>
                <a:gd name="connsiteX173" fmla="*/ 374755 w 387278"/>
                <a:gd name="connsiteY173" fmla="*/ 40658 h 423247"/>
                <a:gd name="connsiteX174" fmla="*/ 375148 w 387278"/>
                <a:gd name="connsiteY174" fmla="*/ 40204 h 423247"/>
                <a:gd name="connsiteX175" fmla="*/ 375965 w 387278"/>
                <a:gd name="connsiteY175" fmla="*/ 39569 h 423247"/>
                <a:gd name="connsiteX176" fmla="*/ 375965 w 387278"/>
                <a:gd name="connsiteY176" fmla="*/ 38510 h 423247"/>
                <a:gd name="connsiteX177" fmla="*/ 375269 w 387278"/>
                <a:gd name="connsiteY177" fmla="*/ 38510 h 423247"/>
                <a:gd name="connsiteX178" fmla="*/ 374392 w 387278"/>
                <a:gd name="connsiteY178" fmla="*/ 39387 h 423247"/>
                <a:gd name="connsiteX179" fmla="*/ 373212 w 387278"/>
                <a:gd name="connsiteY179" fmla="*/ 39690 h 423247"/>
                <a:gd name="connsiteX180" fmla="*/ 372002 w 387278"/>
                <a:gd name="connsiteY180" fmla="*/ 39418 h 423247"/>
                <a:gd name="connsiteX181" fmla="*/ 371155 w 387278"/>
                <a:gd name="connsiteY181" fmla="*/ 38510 h 423247"/>
                <a:gd name="connsiteX182" fmla="*/ 369370 w 387278"/>
                <a:gd name="connsiteY182" fmla="*/ 39055 h 423247"/>
                <a:gd name="connsiteX183" fmla="*/ 365346 w 387278"/>
                <a:gd name="connsiteY183" fmla="*/ 36937 h 423247"/>
                <a:gd name="connsiteX184" fmla="*/ 362170 w 387278"/>
                <a:gd name="connsiteY184" fmla="*/ 35969 h 423247"/>
                <a:gd name="connsiteX185" fmla="*/ 361474 w 387278"/>
                <a:gd name="connsiteY185" fmla="*/ 35273 h 423247"/>
                <a:gd name="connsiteX186" fmla="*/ 360990 w 387278"/>
                <a:gd name="connsiteY186" fmla="*/ 34547 h 423247"/>
                <a:gd name="connsiteX187" fmla="*/ 360506 w 387278"/>
                <a:gd name="connsiteY187" fmla="*/ 34215 h 423247"/>
                <a:gd name="connsiteX188" fmla="*/ 360325 w 387278"/>
                <a:gd name="connsiteY188" fmla="*/ 33821 h 423247"/>
                <a:gd name="connsiteX189" fmla="*/ 357874 w 387278"/>
                <a:gd name="connsiteY189" fmla="*/ 32218 h 423247"/>
                <a:gd name="connsiteX190" fmla="*/ 357360 w 387278"/>
                <a:gd name="connsiteY190" fmla="*/ 32006 h 423247"/>
                <a:gd name="connsiteX191" fmla="*/ 353972 w 387278"/>
                <a:gd name="connsiteY191" fmla="*/ 19210 h 423247"/>
                <a:gd name="connsiteX192" fmla="*/ 352248 w 387278"/>
                <a:gd name="connsiteY192" fmla="*/ 17576 h 423247"/>
                <a:gd name="connsiteX193" fmla="*/ 350160 w 387278"/>
                <a:gd name="connsiteY193" fmla="*/ 16699 h 423247"/>
                <a:gd name="connsiteX194" fmla="*/ 340208 w 387278"/>
                <a:gd name="connsiteY194" fmla="*/ 15156 h 423247"/>
                <a:gd name="connsiteX195" fmla="*/ 316460 w 387278"/>
                <a:gd name="connsiteY195" fmla="*/ 18574 h 423247"/>
                <a:gd name="connsiteX196" fmla="*/ 301486 w 387278"/>
                <a:gd name="connsiteY196" fmla="*/ 22598 h 423247"/>
                <a:gd name="connsiteX197" fmla="*/ 298914 w 387278"/>
                <a:gd name="connsiteY197" fmla="*/ 24443 h 423247"/>
                <a:gd name="connsiteX198" fmla="*/ 298067 w 387278"/>
                <a:gd name="connsiteY198" fmla="*/ 24716 h 423247"/>
                <a:gd name="connsiteX199" fmla="*/ 297099 w 387278"/>
                <a:gd name="connsiteY199" fmla="*/ 24383 h 423247"/>
                <a:gd name="connsiteX200" fmla="*/ 295345 w 387278"/>
                <a:gd name="connsiteY200" fmla="*/ 22931 h 423247"/>
                <a:gd name="connsiteX201" fmla="*/ 294286 w 387278"/>
                <a:gd name="connsiteY201" fmla="*/ 22598 h 423247"/>
                <a:gd name="connsiteX202" fmla="*/ 285452 w 387278"/>
                <a:gd name="connsiteY202" fmla="*/ 22840 h 423247"/>
                <a:gd name="connsiteX203" fmla="*/ 274501 w 387278"/>
                <a:gd name="connsiteY203" fmla="*/ 23173 h 423247"/>
                <a:gd name="connsiteX204" fmla="*/ 264791 w 387278"/>
                <a:gd name="connsiteY204" fmla="*/ 23596 h 423247"/>
                <a:gd name="connsiteX205" fmla="*/ 258045 w 387278"/>
                <a:gd name="connsiteY205" fmla="*/ 26803 h 423247"/>
                <a:gd name="connsiteX206" fmla="*/ 255715 w 387278"/>
                <a:gd name="connsiteY206" fmla="*/ 26984 h 423247"/>
                <a:gd name="connsiteX207" fmla="*/ 252085 w 387278"/>
                <a:gd name="connsiteY207" fmla="*/ 29374 h 423247"/>
                <a:gd name="connsiteX208" fmla="*/ 235961 w 387278"/>
                <a:gd name="connsiteY208" fmla="*/ 35364 h 423247"/>
                <a:gd name="connsiteX209" fmla="*/ 232452 w 387278"/>
                <a:gd name="connsiteY209" fmla="*/ 38177 h 423247"/>
                <a:gd name="connsiteX210" fmla="*/ 227642 w 387278"/>
                <a:gd name="connsiteY210" fmla="*/ 38934 h 423247"/>
                <a:gd name="connsiteX211" fmla="*/ 225615 w 387278"/>
                <a:gd name="connsiteY211" fmla="*/ 39599 h 423247"/>
                <a:gd name="connsiteX212" fmla="*/ 223800 w 387278"/>
                <a:gd name="connsiteY212" fmla="*/ 41324 h 423247"/>
                <a:gd name="connsiteX213" fmla="*/ 222227 w 387278"/>
                <a:gd name="connsiteY213" fmla="*/ 43441 h 423247"/>
                <a:gd name="connsiteX214" fmla="*/ 220533 w 387278"/>
                <a:gd name="connsiteY214" fmla="*/ 45196 h 423247"/>
                <a:gd name="connsiteX215" fmla="*/ 216842 w 387278"/>
                <a:gd name="connsiteY215" fmla="*/ 46678 h 423247"/>
                <a:gd name="connsiteX216" fmla="*/ 214664 w 387278"/>
                <a:gd name="connsiteY216" fmla="*/ 48463 h 423247"/>
                <a:gd name="connsiteX217" fmla="*/ 211125 w 387278"/>
                <a:gd name="connsiteY217" fmla="*/ 52275 h 423247"/>
                <a:gd name="connsiteX218" fmla="*/ 209068 w 387278"/>
                <a:gd name="connsiteY218" fmla="*/ 56994 h 423247"/>
                <a:gd name="connsiteX219" fmla="*/ 206315 w 387278"/>
                <a:gd name="connsiteY219" fmla="*/ 67521 h 423247"/>
                <a:gd name="connsiteX220" fmla="*/ 204257 w 387278"/>
                <a:gd name="connsiteY220" fmla="*/ 71303 h 423247"/>
                <a:gd name="connsiteX221" fmla="*/ 202200 w 387278"/>
                <a:gd name="connsiteY221" fmla="*/ 72543 h 423247"/>
                <a:gd name="connsiteX222" fmla="*/ 197542 w 387278"/>
                <a:gd name="connsiteY222" fmla="*/ 73541 h 423247"/>
                <a:gd name="connsiteX223" fmla="*/ 195666 w 387278"/>
                <a:gd name="connsiteY223" fmla="*/ 74993 h 423247"/>
                <a:gd name="connsiteX224" fmla="*/ 194184 w 387278"/>
                <a:gd name="connsiteY224" fmla="*/ 76627 h 423247"/>
                <a:gd name="connsiteX225" fmla="*/ 173915 w 387278"/>
                <a:gd name="connsiteY225" fmla="*/ 93356 h 423247"/>
                <a:gd name="connsiteX226" fmla="*/ 169983 w 387278"/>
                <a:gd name="connsiteY226" fmla="*/ 94959 h 423247"/>
                <a:gd name="connsiteX227" fmla="*/ 165959 w 387278"/>
                <a:gd name="connsiteY227" fmla="*/ 95474 h 423247"/>
                <a:gd name="connsiteX228" fmla="*/ 163872 w 387278"/>
                <a:gd name="connsiteY228" fmla="*/ 96169 h 423247"/>
                <a:gd name="connsiteX229" fmla="*/ 159607 w 387278"/>
                <a:gd name="connsiteY229" fmla="*/ 99588 h 423247"/>
                <a:gd name="connsiteX230" fmla="*/ 157307 w 387278"/>
                <a:gd name="connsiteY230" fmla="*/ 100798 h 423247"/>
                <a:gd name="connsiteX231" fmla="*/ 153344 w 387278"/>
                <a:gd name="connsiteY231" fmla="*/ 101040 h 423247"/>
                <a:gd name="connsiteX232" fmla="*/ 149230 w 387278"/>
                <a:gd name="connsiteY232" fmla="*/ 99890 h 423247"/>
                <a:gd name="connsiteX233" fmla="*/ 146870 w 387278"/>
                <a:gd name="connsiteY233" fmla="*/ 97107 h 423247"/>
                <a:gd name="connsiteX234" fmla="*/ 148383 w 387278"/>
                <a:gd name="connsiteY234" fmla="*/ 92418 h 423247"/>
                <a:gd name="connsiteX235" fmla="*/ 147627 w 387278"/>
                <a:gd name="connsiteY235" fmla="*/ 91269 h 423247"/>
                <a:gd name="connsiteX236" fmla="*/ 146629 w 387278"/>
                <a:gd name="connsiteY236" fmla="*/ 92146 h 423247"/>
                <a:gd name="connsiteX237" fmla="*/ 140457 w 387278"/>
                <a:gd name="connsiteY237" fmla="*/ 91269 h 423247"/>
                <a:gd name="connsiteX238" fmla="*/ 139277 w 387278"/>
                <a:gd name="connsiteY238" fmla="*/ 92600 h 423247"/>
                <a:gd name="connsiteX239" fmla="*/ 138521 w 387278"/>
                <a:gd name="connsiteY239" fmla="*/ 95746 h 423247"/>
                <a:gd name="connsiteX240" fmla="*/ 138128 w 387278"/>
                <a:gd name="connsiteY240" fmla="*/ 99376 h 423247"/>
                <a:gd name="connsiteX241" fmla="*/ 138037 w 387278"/>
                <a:gd name="connsiteY241" fmla="*/ 102220 h 423247"/>
                <a:gd name="connsiteX242" fmla="*/ 137069 w 387278"/>
                <a:gd name="connsiteY242" fmla="*/ 107242 h 423247"/>
                <a:gd name="connsiteX243" fmla="*/ 132834 w 387278"/>
                <a:gd name="connsiteY243" fmla="*/ 117406 h 423247"/>
                <a:gd name="connsiteX244" fmla="*/ 131866 w 387278"/>
                <a:gd name="connsiteY244" fmla="*/ 122186 h 423247"/>
                <a:gd name="connsiteX245" fmla="*/ 131594 w 387278"/>
                <a:gd name="connsiteY245" fmla="*/ 124485 h 423247"/>
                <a:gd name="connsiteX246" fmla="*/ 129809 w 387278"/>
                <a:gd name="connsiteY246" fmla="*/ 132048 h 423247"/>
                <a:gd name="connsiteX247" fmla="*/ 125543 w 387278"/>
                <a:gd name="connsiteY247" fmla="*/ 161573 h 423247"/>
                <a:gd name="connsiteX248" fmla="*/ 123577 w 387278"/>
                <a:gd name="connsiteY248" fmla="*/ 165476 h 423247"/>
                <a:gd name="connsiteX249" fmla="*/ 123577 w 387278"/>
                <a:gd name="connsiteY249" fmla="*/ 166595 h 423247"/>
                <a:gd name="connsiteX250" fmla="*/ 122700 w 387278"/>
                <a:gd name="connsiteY250" fmla="*/ 170890 h 423247"/>
                <a:gd name="connsiteX251" fmla="*/ 116619 w 387278"/>
                <a:gd name="connsiteY251" fmla="*/ 187378 h 423247"/>
                <a:gd name="connsiteX252" fmla="*/ 106424 w 387278"/>
                <a:gd name="connsiteY252" fmla="*/ 204409 h 423247"/>
                <a:gd name="connsiteX253" fmla="*/ 94112 w 387278"/>
                <a:gd name="connsiteY253" fmla="*/ 221047 h 423247"/>
                <a:gd name="connsiteX254" fmla="*/ 79743 w 387278"/>
                <a:gd name="connsiteY254" fmla="*/ 237171 h 423247"/>
                <a:gd name="connsiteX255" fmla="*/ 76294 w 387278"/>
                <a:gd name="connsiteY255" fmla="*/ 239229 h 423247"/>
                <a:gd name="connsiteX256" fmla="*/ 72422 w 387278"/>
                <a:gd name="connsiteY256" fmla="*/ 239803 h 423247"/>
                <a:gd name="connsiteX257" fmla="*/ 67733 w 387278"/>
                <a:gd name="connsiteY257" fmla="*/ 238835 h 423247"/>
                <a:gd name="connsiteX258" fmla="*/ 67037 w 387278"/>
                <a:gd name="connsiteY258" fmla="*/ 239833 h 423247"/>
                <a:gd name="connsiteX259" fmla="*/ 66462 w 387278"/>
                <a:gd name="connsiteY259" fmla="*/ 240983 h 423247"/>
                <a:gd name="connsiteX260" fmla="*/ 67582 w 387278"/>
                <a:gd name="connsiteY260" fmla="*/ 243494 h 423247"/>
                <a:gd name="connsiteX261" fmla="*/ 69487 w 387278"/>
                <a:gd name="connsiteY261" fmla="*/ 249393 h 423247"/>
                <a:gd name="connsiteX262" fmla="*/ 69820 w 387278"/>
                <a:gd name="connsiteY262" fmla="*/ 251692 h 423247"/>
                <a:gd name="connsiteX263" fmla="*/ 69609 w 387278"/>
                <a:gd name="connsiteY263" fmla="*/ 252176 h 423247"/>
                <a:gd name="connsiteX264" fmla="*/ 69155 w 387278"/>
                <a:gd name="connsiteY264" fmla="*/ 252751 h 423247"/>
                <a:gd name="connsiteX265" fmla="*/ 68701 w 387278"/>
                <a:gd name="connsiteY265" fmla="*/ 253568 h 423247"/>
                <a:gd name="connsiteX266" fmla="*/ 68489 w 387278"/>
                <a:gd name="connsiteY266" fmla="*/ 254748 h 423247"/>
                <a:gd name="connsiteX267" fmla="*/ 68731 w 387278"/>
                <a:gd name="connsiteY267" fmla="*/ 255685 h 423247"/>
                <a:gd name="connsiteX268" fmla="*/ 69306 w 387278"/>
                <a:gd name="connsiteY268" fmla="*/ 256290 h 423247"/>
                <a:gd name="connsiteX269" fmla="*/ 70002 w 387278"/>
                <a:gd name="connsiteY269" fmla="*/ 256804 h 423247"/>
                <a:gd name="connsiteX270" fmla="*/ 72573 w 387278"/>
                <a:gd name="connsiteY270" fmla="*/ 260072 h 423247"/>
                <a:gd name="connsiteX271" fmla="*/ 73329 w 387278"/>
                <a:gd name="connsiteY271" fmla="*/ 261433 h 423247"/>
                <a:gd name="connsiteX272" fmla="*/ 72119 w 387278"/>
                <a:gd name="connsiteY272" fmla="*/ 262401 h 423247"/>
                <a:gd name="connsiteX273" fmla="*/ 71061 w 387278"/>
                <a:gd name="connsiteY273" fmla="*/ 262824 h 423247"/>
                <a:gd name="connsiteX274" fmla="*/ 70304 w 387278"/>
                <a:gd name="connsiteY274" fmla="*/ 262915 h 423247"/>
                <a:gd name="connsiteX275" fmla="*/ 69881 w 387278"/>
                <a:gd name="connsiteY275" fmla="*/ 262824 h 423247"/>
                <a:gd name="connsiteX276" fmla="*/ 67067 w 387278"/>
                <a:gd name="connsiteY276" fmla="*/ 261433 h 423247"/>
                <a:gd name="connsiteX277" fmla="*/ 63709 w 387278"/>
                <a:gd name="connsiteY277" fmla="*/ 260737 h 423247"/>
                <a:gd name="connsiteX278" fmla="*/ 61743 w 387278"/>
                <a:gd name="connsiteY278" fmla="*/ 260858 h 423247"/>
                <a:gd name="connsiteX279" fmla="*/ 60896 w 387278"/>
                <a:gd name="connsiteY279" fmla="*/ 261947 h 423247"/>
                <a:gd name="connsiteX280" fmla="*/ 54573 w 387278"/>
                <a:gd name="connsiteY280" fmla="*/ 263732 h 423247"/>
                <a:gd name="connsiteX281" fmla="*/ 51639 w 387278"/>
                <a:gd name="connsiteY281" fmla="*/ 265547 h 423247"/>
                <a:gd name="connsiteX282" fmla="*/ 52577 w 387278"/>
                <a:gd name="connsiteY282" fmla="*/ 269692 h 423247"/>
                <a:gd name="connsiteX283" fmla="*/ 53545 w 387278"/>
                <a:gd name="connsiteY283" fmla="*/ 269692 h 423247"/>
                <a:gd name="connsiteX284" fmla="*/ 54241 w 387278"/>
                <a:gd name="connsiteY284" fmla="*/ 269601 h 423247"/>
                <a:gd name="connsiteX285" fmla="*/ 54604 w 387278"/>
                <a:gd name="connsiteY285" fmla="*/ 268996 h 423247"/>
                <a:gd name="connsiteX286" fmla="*/ 56570 w 387278"/>
                <a:gd name="connsiteY286" fmla="*/ 268481 h 423247"/>
                <a:gd name="connsiteX287" fmla="*/ 59172 w 387278"/>
                <a:gd name="connsiteY287" fmla="*/ 268481 h 423247"/>
                <a:gd name="connsiteX288" fmla="*/ 61713 w 387278"/>
                <a:gd name="connsiteY288" fmla="*/ 267755 h 423247"/>
                <a:gd name="connsiteX289" fmla="*/ 63618 w 387278"/>
                <a:gd name="connsiteY289" fmla="*/ 266455 h 423247"/>
                <a:gd name="connsiteX290" fmla="*/ 66462 w 387278"/>
                <a:gd name="connsiteY290" fmla="*/ 268240 h 423247"/>
                <a:gd name="connsiteX291" fmla="*/ 68882 w 387278"/>
                <a:gd name="connsiteY291" fmla="*/ 270297 h 423247"/>
                <a:gd name="connsiteX292" fmla="*/ 70576 w 387278"/>
                <a:gd name="connsiteY292" fmla="*/ 273382 h 423247"/>
                <a:gd name="connsiteX293" fmla="*/ 71212 w 387278"/>
                <a:gd name="connsiteY293" fmla="*/ 278343 h 423247"/>
                <a:gd name="connsiteX294" fmla="*/ 72664 w 387278"/>
                <a:gd name="connsiteY294" fmla="*/ 280310 h 423247"/>
                <a:gd name="connsiteX295" fmla="*/ 79652 w 387278"/>
                <a:gd name="connsiteY295" fmla="*/ 282276 h 423247"/>
                <a:gd name="connsiteX296" fmla="*/ 82193 w 387278"/>
                <a:gd name="connsiteY296" fmla="*/ 283940 h 423247"/>
                <a:gd name="connsiteX297" fmla="*/ 83252 w 387278"/>
                <a:gd name="connsiteY297" fmla="*/ 284969 h 423247"/>
                <a:gd name="connsiteX298" fmla="*/ 79834 w 387278"/>
                <a:gd name="connsiteY298" fmla="*/ 285241 h 423247"/>
                <a:gd name="connsiteX299" fmla="*/ 78109 w 387278"/>
                <a:gd name="connsiteY299" fmla="*/ 285906 h 423247"/>
                <a:gd name="connsiteX300" fmla="*/ 76808 w 387278"/>
                <a:gd name="connsiteY300" fmla="*/ 287207 h 423247"/>
                <a:gd name="connsiteX301" fmla="*/ 76506 w 387278"/>
                <a:gd name="connsiteY301" fmla="*/ 288478 h 423247"/>
                <a:gd name="connsiteX302" fmla="*/ 76506 w 387278"/>
                <a:gd name="connsiteY302" fmla="*/ 290202 h 423247"/>
                <a:gd name="connsiteX303" fmla="*/ 76838 w 387278"/>
                <a:gd name="connsiteY303" fmla="*/ 291926 h 423247"/>
                <a:gd name="connsiteX304" fmla="*/ 77353 w 387278"/>
                <a:gd name="connsiteY304" fmla="*/ 293197 h 423247"/>
                <a:gd name="connsiteX305" fmla="*/ 78139 w 387278"/>
                <a:gd name="connsiteY305" fmla="*/ 294105 h 423247"/>
                <a:gd name="connsiteX306" fmla="*/ 79137 w 387278"/>
                <a:gd name="connsiteY306" fmla="*/ 294740 h 423247"/>
                <a:gd name="connsiteX307" fmla="*/ 80226 w 387278"/>
                <a:gd name="connsiteY307" fmla="*/ 295133 h 423247"/>
                <a:gd name="connsiteX308" fmla="*/ 84190 w 387278"/>
                <a:gd name="connsiteY308" fmla="*/ 295284 h 423247"/>
                <a:gd name="connsiteX309" fmla="*/ 84583 w 387278"/>
                <a:gd name="connsiteY309" fmla="*/ 295284 h 423247"/>
                <a:gd name="connsiteX310" fmla="*/ 85854 w 387278"/>
                <a:gd name="connsiteY310" fmla="*/ 296434 h 423247"/>
                <a:gd name="connsiteX311" fmla="*/ 86307 w 387278"/>
                <a:gd name="connsiteY311" fmla="*/ 299217 h 423247"/>
                <a:gd name="connsiteX312" fmla="*/ 86277 w 387278"/>
                <a:gd name="connsiteY312" fmla="*/ 299217 h 423247"/>
                <a:gd name="connsiteX313" fmla="*/ 83917 w 387278"/>
                <a:gd name="connsiteY313" fmla="*/ 297341 h 423247"/>
                <a:gd name="connsiteX314" fmla="*/ 81286 w 387278"/>
                <a:gd name="connsiteY314" fmla="*/ 296615 h 423247"/>
                <a:gd name="connsiteX315" fmla="*/ 72271 w 387278"/>
                <a:gd name="connsiteY315" fmla="*/ 296192 h 423247"/>
                <a:gd name="connsiteX316" fmla="*/ 69609 w 387278"/>
                <a:gd name="connsiteY316" fmla="*/ 296888 h 423247"/>
                <a:gd name="connsiteX317" fmla="*/ 64254 w 387278"/>
                <a:gd name="connsiteY317" fmla="*/ 299217 h 423247"/>
                <a:gd name="connsiteX318" fmla="*/ 72210 w 387278"/>
                <a:gd name="connsiteY318" fmla="*/ 306084 h 423247"/>
                <a:gd name="connsiteX319" fmla="*/ 74630 w 387278"/>
                <a:gd name="connsiteY319" fmla="*/ 307415 h 423247"/>
                <a:gd name="connsiteX320" fmla="*/ 76143 w 387278"/>
                <a:gd name="connsiteY320" fmla="*/ 307657 h 423247"/>
                <a:gd name="connsiteX321" fmla="*/ 79319 w 387278"/>
                <a:gd name="connsiteY321" fmla="*/ 307294 h 423247"/>
                <a:gd name="connsiteX322" fmla="*/ 80862 w 387278"/>
                <a:gd name="connsiteY322" fmla="*/ 307415 h 423247"/>
                <a:gd name="connsiteX323" fmla="*/ 85006 w 387278"/>
                <a:gd name="connsiteY323" fmla="*/ 309109 h 423247"/>
                <a:gd name="connsiteX324" fmla="*/ 88606 w 387278"/>
                <a:gd name="connsiteY324" fmla="*/ 309684 h 423247"/>
                <a:gd name="connsiteX325" fmla="*/ 89544 w 387278"/>
                <a:gd name="connsiteY325" fmla="*/ 309835 h 423247"/>
                <a:gd name="connsiteX326" fmla="*/ 92357 w 387278"/>
                <a:gd name="connsiteY326" fmla="*/ 311348 h 423247"/>
                <a:gd name="connsiteX327" fmla="*/ 94475 w 387278"/>
                <a:gd name="connsiteY327" fmla="*/ 313738 h 423247"/>
                <a:gd name="connsiteX328" fmla="*/ 95292 w 387278"/>
                <a:gd name="connsiteY328" fmla="*/ 316944 h 423247"/>
                <a:gd name="connsiteX329" fmla="*/ 93930 w 387278"/>
                <a:gd name="connsiteY329" fmla="*/ 320332 h 423247"/>
                <a:gd name="connsiteX330" fmla="*/ 91994 w 387278"/>
                <a:gd name="connsiteY330" fmla="*/ 320817 h 423247"/>
                <a:gd name="connsiteX331" fmla="*/ 90875 w 387278"/>
                <a:gd name="connsiteY331" fmla="*/ 321119 h 423247"/>
                <a:gd name="connsiteX332" fmla="*/ 87608 w 387278"/>
                <a:gd name="connsiteY332" fmla="*/ 320968 h 423247"/>
                <a:gd name="connsiteX333" fmla="*/ 85611 w 387278"/>
                <a:gd name="connsiteY333" fmla="*/ 321573 h 423247"/>
                <a:gd name="connsiteX334" fmla="*/ 83645 w 387278"/>
                <a:gd name="connsiteY334" fmla="*/ 320635 h 423247"/>
                <a:gd name="connsiteX335" fmla="*/ 78411 w 387278"/>
                <a:gd name="connsiteY335" fmla="*/ 321301 h 423247"/>
                <a:gd name="connsiteX336" fmla="*/ 75992 w 387278"/>
                <a:gd name="connsiteY336" fmla="*/ 320665 h 423247"/>
                <a:gd name="connsiteX337" fmla="*/ 74509 w 387278"/>
                <a:gd name="connsiteY337" fmla="*/ 318790 h 423247"/>
                <a:gd name="connsiteX338" fmla="*/ 72513 w 387278"/>
                <a:gd name="connsiteY338" fmla="*/ 313677 h 423247"/>
                <a:gd name="connsiteX339" fmla="*/ 71181 w 387278"/>
                <a:gd name="connsiteY339" fmla="*/ 311378 h 423247"/>
                <a:gd name="connsiteX340" fmla="*/ 67037 w 387278"/>
                <a:gd name="connsiteY340" fmla="*/ 308051 h 423247"/>
                <a:gd name="connsiteX341" fmla="*/ 62136 w 387278"/>
                <a:gd name="connsiteY341" fmla="*/ 306235 h 423247"/>
                <a:gd name="connsiteX342" fmla="*/ 52516 w 387278"/>
                <a:gd name="connsiteY342" fmla="*/ 305298 h 423247"/>
                <a:gd name="connsiteX343" fmla="*/ 52516 w 387278"/>
                <a:gd name="connsiteY343" fmla="*/ 304390 h 423247"/>
                <a:gd name="connsiteX344" fmla="*/ 53182 w 387278"/>
                <a:gd name="connsiteY344" fmla="*/ 303815 h 423247"/>
                <a:gd name="connsiteX345" fmla="*/ 54906 w 387278"/>
                <a:gd name="connsiteY345" fmla="*/ 302726 h 423247"/>
                <a:gd name="connsiteX346" fmla="*/ 55965 w 387278"/>
                <a:gd name="connsiteY346" fmla="*/ 302333 h 423247"/>
                <a:gd name="connsiteX347" fmla="*/ 55027 w 387278"/>
                <a:gd name="connsiteY347" fmla="*/ 300155 h 423247"/>
                <a:gd name="connsiteX348" fmla="*/ 53575 w 387278"/>
                <a:gd name="connsiteY348" fmla="*/ 298340 h 423247"/>
                <a:gd name="connsiteX349" fmla="*/ 51941 w 387278"/>
                <a:gd name="connsiteY349" fmla="*/ 296948 h 423247"/>
                <a:gd name="connsiteX350" fmla="*/ 50429 w 387278"/>
                <a:gd name="connsiteY350" fmla="*/ 296162 h 423247"/>
                <a:gd name="connsiteX351" fmla="*/ 48190 w 387278"/>
                <a:gd name="connsiteY351" fmla="*/ 295859 h 423247"/>
                <a:gd name="connsiteX352" fmla="*/ 21176 w 387278"/>
                <a:gd name="connsiteY352" fmla="*/ 298552 h 423247"/>
                <a:gd name="connsiteX353" fmla="*/ 10830 w 387278"/>
                <a:gd name="connsiteY353" fmla="*/ 304420 h 423247"/>
                <a:gd name="connsiteX354" fmla="*/ 9771 w 387278"/>
                <a:gd name="connsiteY354" fmla="*/ 305782 h 423247"/>
                <a:gd name="connsiteX355" fmla="*/ 10164 w 387278"/>
                <a:gd name="connsiteY355" fmla="*/ 308202 h 423247"/>
                <a:gd name="connsiteX356" fmla="*/ 11253 w 387278"/>
                <a:gd name="connsiteY356" fmla="*/ 309805 h 423247"/>
                <a:gd name="connsiteX357" fmla="*/ 14551 w 387278"/>
                <a:gd name="connsiteY357" fmla="*/ 312467 h 423247"/>
                <a:gd name="connsiteX358" fmla="*/ 15761 w 387278"/>
                <a:gd name="connsiteY358" fmla="*/ 314191 h 423247"/>
                <a:gd name="connsiteX359" fmla="*/ 17122 w 387278"/>
                <a:gd name="connsiteY359" fmla="*/ 316551 h 423247"/>
                <a:gd name="connsiteX360" fmla="*/ 18635 w 387278"/>
                <a:gd name="connsiteY360" fmla="*/ 318669 h 423247"/>
                <a:gd name="connsiteX361" fmla="*/ 20450 w 387278"/>
                <a:gd name="connsiteY361" fmla="*/ 319576 h 423247"/>
                <a:gd name="connsiteX362" fmla="*/ 26137 w 387278"/>
                <a:gd name="connsiteY362" fmla="*/ 320756 h 423247"/>
                <a:gd name="connsiteX363" fmla="*/ 28406 w 387278"/>
                <a:gd name="connsiteY363" fmla="*/ 320665 h 423247"/>
                <a:gd name="connsiteX364" fmla="*/ 32580 w 387278"/>
                <a:gd name="connsiteY364" fmla="*/ 319213 h 423247"/>
                <a:gd name="connsiteX365" fmla="*/ 34154 w 387278"/>
                <a:gd name="connsiteY365" fmla="*/ 319365 h 423247"/>
                <a:gd name="connsiteX366" fmla="*/ 38086 w 387278"/>
                <a:gd name="connsiteY366" fmla="*/ 322844 h 423247"/>
                <a:gd name="connsiteX367" fmla="*/ 44167 w 387278"/>
                <a:gd name="connsiteY367" fmla="*/ 325596 h 423247"/>
                <a:gd name="connsiteX368" fmla="*/ 46920 w 387278"/>
                <a:gd name="connsiteY368" fmla="*/ 328258 h 423247"/>
                <a:gd name="connsiteX369" fmla="*/ 47979 w 387278"/>
                <a:gd name="connsiteY369" fmla="*/ 328712 h 423247"/>
                <a:gd name="connsiteX370" fmla="*/ 49068 w 387278"/>
                <a:gd name="connsiteY370" fmla="*/ 328531 h 423247"/>
                <a:gd name="connsiteX371" fmla="*/ 50368 w 387278"/>
                <a:gd name="connsiteY371" fmla="*/ 327775 h 423247"/>
                <a:gd name="connsiteX372" fmla="*/ 53999 w 387278"/>
                <a:gd name="connsiteY372" fmla="*/ 327411 h 423247"/>
                <a:gd name="connsiteX373" fmla="*/ 55542 w 387278"/>
                <a:gd name="connsiteY373" fmla="*/ 326655 h 423247"/>
                <a:gd name="connsiteX374" fmla="*/ 56691 w 387278"/>
                <a:gd name="connsiteY374" fmla="*/ 325112 h 423247"/>
                <a:gd name="connsiteX375" fmla="*/ 59686 w 387278"/>
                <a:gd name="connsiteY375" fmla="*/ 319909 h 423247"/>
                <a:gd name="connsiteX376" fmla="*/ 61077 w 387278"/>
                <a:gd name="connsiteY376" fmla="*/ 319092 h 423247"/>
                <a:gd name="connsiteX377" fmla="*/ 65282 w 387278"/>
                <a:gd name="connsiteY377" fmla="*/ 319485 h 423247"/>
                <a:gd name="connsiteX378" fmla="*/ 66916 w 387278"/>
                <a:gd name="connsiteY378" fmla="*/ 320091 h 423247"/>
                <a:gd name="connsiteX379" fmla="*/ 72452 w 387278"/>
                <a:gd name="connsiteY379" fmla="*/ 324537 h 423247"/>
                <a:gd name="connsiteX380" fmla="*/ 74479 w 387278"/>
                <a:gd name="connsiteY380" fmla="*/ 325687 h 423247"/>
                <a:gd name="connsiteX381" fmla="*/ 76566 w 387278"/>
                <a:gd name="connsiteY381" fmla="*/ 326322 h 423247"/>
                <a:gd name="connsiteX382" fmla="*/ 85611 w 387278"/>
                <a:gd name="connsiteY382" fmla="*/ 326564 h 423247"/>
                <a:gd name="connsiteX383" fmla="*/ 87820 w 387278"/>
                <a:gd name="connsiteY383" fmla="*/ 325959 h 423247"/>
                <a:gd name="connsiteX384" fmla="*/ 88999 w 387278"/>
                <a:gd name="connsiteY384" fmla="*/ 324537 h 423247"/>
                <a:gd name="connsiteX385" fmla="*/ 90028 w 387278"/>
                <a:gd name="connsiteY385" fmla="*/ 325203 h 423247"/>
                <a:gd name="connsiteX386" fmla="*/ 90210 w 387278"/>
                <a:gd name="connsiteY386" fmla="*/ 326352 h 423247"/>
                <a:gd name="connsiteX387" fmla="*/ 90149 w 387278"/>
                <a:gd name="connsiteY387" fmla="*/ 327895 h 423247"/>
                <a:gd name="connsiteX388" fmla="*/ 90422 w 387278"/>
                <a:gd name="connsiteY388" fmla="*/ 329680 h 423247"/>
                <a:gd name="connsiteX389" fmla="*/ 91238 w 387278"/>
                <a:gd name="connsiteY389" fmla="*/ 331405 h 423247"/>
                <a:gd name="connsiteX390" fmla="*/ 91631 w 387278"/>
                <a:gd name="connsiteY390" fmla="*/ 331889 h 423247"/>
                <a:gd name="connsiteX391" fmla="*/ 93658 w 387278"/>
                <a:gd name="connsiteY391" fmla="*/ 331949 h 423247"/>
                <a:gd name="connsiteX392" fmla="*/ 94566 w 387278"/>
                <a:gd name="connsiteY392" fmla="*/ 331949 h 423247"/>
                <a:gd name="connsiteX393" fmla="*/ 98196 w 387278"/>
                <a:gd name="connsiteY393" fmla="*/ 333795 h 423247"/>
                <a:gd name="connsiteX394" fmla="*/ 100132 w 387278"/>
                <a:gd name="connsiteY394" fmla="*/ 334399 h 423247"/>
                <a:gd name="connsiteX395" fmla="*/ 104821 w 387278"/>
                <a:gd name="connsiteY395" fmla="*/ 334672 h 423247"/>
                <a:gd name="connsiteX396" fmla="*/ 106727 w 387278"/>
                <a:gd name="connsiteY396" fmla="*/ 333734 h 423247"/>
                <a:gd name="connsiteX397" fmla="*/ 107241 w 387278"/>
                <a:gd name="connsiteY397" fmla="*/ 331193 h 423247"/>
                <a:gd name="connsiteX398" fmla="*/ 106636 w 387278"/>
                <a:gd name="connsiteY398" fmla="*/ 329741 h 423247"/>
                <a:gd name="connsiteX399" fmla="*/ 104367 w 387278"/>
                <a:gd name="connsiteY399" fmla="*/ 327260 h 423247"/>
                <a:gd name="connsiteX400" fmla="*/ 103581 w 387278"/>
                <a:gd name="connsiteY400" fmla="*/ 325929 h 423247"/>
                <a:gd name="connsiteX401" fmla="*/ 103641 w 387278"/>
                <a:gd name="connsiteY401" fmla="*/ 324416 h 423247"/>
                <a:gd name="connsiteX402" fmla="*/ 104307 w 387278"/>
                <a:gd name="connsiteY402" fmla="*/ 323267 h 423247"/>
                <a:gd name="connsiteX403" fmla="*/ 104518 w 387278"/>
                <a:gd name="connsiteY403" fmla="*/ 322208 h 423247"/>
                <a:gd name="connsiteX404" fmla="*/ 103308 w 387278"/>
                <a:gd name="connsiteY404" fmla="*/ 320968 h 423247"/>
                <a:gd name="connsiteX405" fmla="*/ 108572 w 387278"/>
                <a:gd name="connsiteY405" fmla="*/ 318124 h 423247"/>
                <a:gd name="connsiteX406" fmla="*/ 113987 w 387278"/>
                <a:gd name="connsiteY406" fmla="*/ 316279 h 423247"/>
                <a:gd name="connsiteX407" fmla="*/ 116952 w 387278"/>
                <a:gd name="connsiteY407" fmla="*/ 315825 h 423247"/>
                <a:gd name="connsiteX408" fmla="*/ 118222 w 387278"/>
                <a:gd name="connsiteY408" fmla="*/ 316037 h 423247"/>
                <a:gd name="connsiteX409" fmla="*/ 119009 w 387278"/>
                <a:gd name="connsiteY409" fmla="*/ 317277 h 423247"/>
                <a:gd name="connsiteX410" fmla="*/ 118888 w 387278"/>
                <a:gd name="connsiteY410" fmla="*/ 319758 h 423247"/>
                <a:gd name="connsiteX411" fmla="*/ 118041 w 387278"/>
                <a:gd name="connsiteY411" fmla="*/ 321603 h 423247"/>
                <a:gd name="connsiteX412" fmla="*/ 117859 w 387278"/>
                <a:gd name="connsiteY412" fmla="*/ 323055 h 423247"/>
                <a:gd name="connsiteX413" fmla="*/ 119796 w 387278"/>
                <a:gd name="connsiteY413" fmla="*/ 324326 h 423247"/>
                <a:gd name="connsiteX414" fmla="*/ 121126 w 387278"/>
                <a:gd name="connsiteY414" fmla="*/ 324447 h 423247"/>
                <a:gd name="connsiteX415" fmla="*/ 124031 w 387278"/>
                <a:gd name="connsiteY415" fmla="*/ 323963 h 423247"/>
                <a:gd name="connsiteX416" fmla="*/ 127237 w 387278"/>
                <a:gd name="connsiteY416" fmla="*/ 324719 h 423247"/>
                <a:gd name="connsiteX417" fmla="*/ 128810 w 387278"/>
                <a:gd name="connsiteY417" fmla="*/ 324628 h 423247"/>
                <a:gd name="connsiteX418" fmla="*/ 130172 w 387278"/>
                <a:gd name="connsiteY418" fmla="*/ 324144 h 423247"/>
                <a:gd name="connsiteX419" fmla="*/ 131200 w 387278"/>
                <a:gd name="connsiteY419" fmla="*/ 323448 h 423247"/>
                <a:gd name="connsiteX420" fmla="*/ 138975 w 387278"/>
                <a:gd name="connsiteY420" fmla="*/ 314645 h 423247"/>
                <a:gd name="connsiteX421" fmla="*/ 142302 w 387278"/>
                <a:gd name="connsiteY421" fmla="*/ 313072 h 423247"/>
                <a:gd name="connsiteX422" fmla="*/ 143755 w 387278"/>
                <a:gd name="connsiteY422" fmla="*/ 313193 h 423247"/>
                <a:gd name="connsiteX423" fmla="*/ 145600 w 387278"/>
                <a:gd name="connsiteY423" fmla="*/ 313828 h 423247"/>
                <a:gd name="connsiteX424" fmla="*/ 147294 w 387278"/>
                <a:gd name="connsiteY424" fmla="*/ 314857 h 423247"/>
                <a:gd name="connsiteX425" fmla="*/ 148322 w 387278"/>
                <a:gd name="connsiteY425" fmla="*/ 316127 h 423247"/>
                <a:gd name="connsiteX426" fmla="*/ 148534 w 387278"/>
                <a:gd name="connsiteY426" fmla="*/ 318366 h 423247"/>
                <a:gd name="connsiteX427" fmla="*/ 147899 w 387278"/>
                <a:gd name="connsiteY427" fmla="*/ 320484 h 423247"/>
                <a:gd name="connsiteX428" fmla="*/ 147445 w 387278"/>
                <a:gd name="connsiteY428" fmla="*/ 322722 h 423247"/>
                <a:gd name="connsiteX429" fmla="*/ 148171 w 387278"/>
                <a:gd name="connsiteY429" fmla="*/ 325294 h 423247"/>
                <a:gd name="connsiteX430" fmla="*/ 143785 w 387278"/>
                <a:gd name="connsiteY430" fmla="*/ 323418 h 423247"/>
                <a:gd name="connsiteX431" fmla="*/ 142635 w 387278"/>
                <a:gd name="connsiteY431" fmla="*/ 323570 h 423247"/>
                <a:gd name="connsiteX432" fmla="*/ 142061 w 387278"/>
                <a:gd name="connsiteY432" fmla="*/ 325354 h 423247"/>
                <a:gd name="connsiteX433" fmla="*/ 144208 w 387278"/>
                <a:gd name="connsiteY433" fmla="*/ 326201 h 423247"/>
                <a:gd name="connsiteX434" fmla="*/ 151257 w 387278"/>
                <a:gd name="connsiteY434" fmla="*/ 326413 h 423247"/>
                <a:gd name="connsiteX435" fmla="*/ 153102 w 387278"/>
                <a:gd name="connsiteY435" fmla="*/ 326867 h 423247"/>
                <a:gd name="connsiteX436" fmla="*/ 157005 w 387278"/>
                <a:gd name="connsiteY436" fmla="*/ 328501 h 423247"/>
                <a:gd name="connsiteX437" fmla="*/ 159183 w 387278"/>
                <a:gd name="connsiteY437" fmla="*/ 327956 h 423247"/>
                <a:gd name="connsiteX438" fmla="*/ 161724 w 387278"/>
                <a:gd name="connsiteY438" fmla="*/ 325687 h 423247"/>
                <a:gd name="connsiteX439" fmla="*/ 164053 w 387278"/>
                <a:gd name="connsiteY439" fmla="*/ 322783 h 423247"/>
                <a:gd name="connsiteX440" fmla="*/ 165627 w 387278"/>
                <a:gd name="connsiteY440" fmla="*/ 320393 h 423247"/>
                <a:gd name="connsiteX441" fmla="*/ 166322 w 387278"/>
                <a:gd name="connsiteY441" fmla="*/ 318578 h 423247"/>
                <a:gd name="connsiteX442" fmla="*/ 166655 w 387278"/>
                <a:gd name="connsiteY442" fmla="*/ 317187 h 423247"/>
                <a:gd name="connsiteX443" fmla="*/ 167260 w 387278"/>
                <a:gd name="connsiteY443" fmla="*/ 316279 h 423247"/>
                <a:gd name="connsiteX444" fmla="*/ 168803 w 387278"/>
                <a:gd name="connsiteY444" fmla="*/ 315916 h 423247"/>
                <a:gd name="connsiteX445" fmla="*/ 169075 w 387278"/>
                <a:gd name="connsiteY445" fmla="*/ 316279 h 423247"/>
                <a:gd name="connsiteX446" fmla="*/ 172100 w 387278"/>
                <a:gd name="connsiteY446" fmla="*/ 318124 h 423247"/>
                <a:gd name="connsiteX447" fmla="*/ 174066 w 387278"/>
                <a:gd name="connsiteY447" fmla="*/ 321603 h 423247"/>
                <a:gd name="connsiteX448" fmla="*/ 173734 w 387278"/>
                <a:gd name="connsiteY448" fmla="*/ 324084 h 423247"/>
                <a:gd name="connsiteX449" fmla="*/ 172614 w 387278"/>
                <a:gd name="connsiteY449" fmla="*/ 326443 h 423247"/>
                <a:gd name="connsiteX450" fmla="*/ 172251 w 387278"/>
                <a:gd name="connsiteY450" fmla="*/ 329650 h 423247"/>
                <a:gd name="connsiteX451" fmla="*/ 172887 w 387278"/>
                <a:gd name="connsiteY451" fmla="*/ 331072 h 423247"/>
                <a:gd name="connsiteX452" fmla="*/ 176335 w 387278"/>
                <a:gd name="connsiteY452" fmla="*/ 334611 h 423247"/>
                <a:gd name="connsiteX453" fmla="*/ 176880 w 387278"/>
                <a:gd name="connsiteY453" fmla="*/ 335882 h 423247"/>
                <a:gd name="connsiteX454" fmla="*/ 177908 w 387278"/>
                <a:gd name="connsiteY454" fmla="*/ 339149 h 423247"/>
                <a:gd name="connsiteX455" fmla="*/ 178393 w 387278"/>
                <a:gd name="connsiteY455" fmla="*/ 340117 h 423247"/>
                <a:gd name="connsiteX456" fmla="*/ 180147 w 387278"/>
                <a:gd name="connsiteY456" fmla="*/ 340994 h 423247"/>
                <a:gd name="connsiteX457" fmla="*/ 184019 w 387278"/>
                <a:gd name="connsiteY457" fmla="*/ 340692 h 423247"/>
                <a:gd name="connsiteX458" fmla="*/ 185895 w 387278"/>
                <a:gd name="connsiteY458" fmla="*/ 340873 h 423247"/>
                <a:gd name="connsiteX459" fmla="*/ 187649 w 387278"/>
                <a:gd name="connsiteY459" fmla="*/ 342961 h 423247"/>
                <a:gd name="connsiteX460" fmla="*/ 187710 w 387278"/>
                <a:gd name="connsiteY460" fmla="*/ 348224 h 423247"/>
                <a:gd name="connsiteX461" fmla="*/ 189495 w 387278"/>
                <a:gd name="connsiteY461" fmla="*/ 348648 h 423247"/>
                <a:gd name="connsiteX462" fmla="*/ 190130 w 387278"/>
                <a:gd name="connsiteY462" fmla="*/ 348497 h 423247"/>
                <a:gd name="connsiteX463" fmla="*/ 193276 w 387278"/>
                <a:gd name="connsiteY463" fmla="*/ 347771 h 423247"/>
                <a:gd name="connsiteX464" fmla="*/ 205195 w 387278"/>
                <a:gd name="connsiteY464" fmla="*/ 348255 h 423247"/>
                <a:gd name="connsiteX465" fmla="*/ 207283 w 387278"/>
                <a:gd name="connsiteY465" fmla="*/ 347528 h 423247"/>
                <a:gd name="connsiteX466" fmla="*/ 211488 w 387278"/>
                <a:gd name="connsiteY466" fmla="*/ 344776 h 423247"/>
                <a:gd name="connsiteX467" fmla="*/ 213484 w 387278"/>
                <a:gd name="connsiteY467" fmla="*/ 343898 h 423247"/>
                <a:gd name="connsiteX468" fmla="*/ 215662 w 387278"/>
                <a:gd name="connsiteY468" fmla="*/ 344140 h 423247"/>
                <a:gd name="connsiteX469" fmla="*/ 218022 w 387278"/>
                <a:gd name="connsiteY469" fmla="*/ 345502 h 423247"/>
                <a:gd name="connsiteX470" fmla="*/ 219867 w 387278"/>
                <a:gd name="connsiteY470" fmla="*/ 347740 h 423247"/>
                <a:gd name="connsiteX471" fmla="*/ 220593 w 387278"/>
                <a:gd name="connsiteY471" fmla="*/ 350614 h 423247"/>
                <a:gd name="connsiteX472" fmla="*/ 220926 w 387278"/>
                <a:gd name="connsiteY472" fmla="*/ 353972 h 423247"/>
                <a:gd name="connsiteX473" fmla="*/ 221531 w 387278"/>
                <a:gd name="connsiteY473" fmla="*/ 354426 h 423247"/>
                <a:gd name="connsiteX474" fmla="*/ 223225 w 387278"/>
                <a:gd name="connsiteY474" fmla="*/ 355757 h 423247"/>
                <a:gd name="connsiteX475" fmla="*/ 228912 w 387278"/>
                <a:gd name="connsiteY475" fmla="*/ 357330 h 423247"/>
                <a:gd name="connsiteX476" fmla="*/ 230274 w 387278"/>
                <a:gd name="connsiteY476" fmla="*/ 358207 h 423247"/>
                <a:gd name="connsiteX477" fmla="*/ 231242 w 387278"/>
                <a:gd name="connsiteY477" fmla="*/ 359236 h 423247"/>
                <a:gd name="connsiteX478" fmla="*/ 232331 w 387278"/>
                <a:gd name="connsiteY478" fmla="*/ 359962 h 423247"/>
                <a:gd name="connsiteX479" fmla="*/ 234055 w 387278"/>
                <a:gd name="connsiteY479" fmla="*/ 359962 h 423247"/>
                <a:gd name="connsiteX480" fmla="*/ 238260 w 387278"/>
                <a:gd name="connsiteY480" fmla="*/ 359145 h 423247"/>
                <a:gd name="connsiteX481" fmla="*/ 239561 w 387278"/>
                <a:gd name="connsiteY481" fmla="*/ 359266 h 423247"/>
                <a:gd name="connsiteX482" fmla="*/ 241195 w 387278"/>
                <a:gd name="connsiteY482" fmla="*/ 360174 h 423247"/>
                <a:gd name="connsiteX483" fmla="*/ 243282 w 387278"/>
                <a:gd name="connsiteY483" fmla="*/ 362836 h 423247"/>
                <a:gd name="connsiteX484" fmla="*/ 244613 w 387278"/>
                <a:gd name="connsiteY484" fmla="*/ 363864 h 423247"/>
                <a:gd name="connsiteX485" fmla="*/ 247699 w 387278"/>
                <a:gd name="connsiteY485" fmla="*/ 363138 h 423247"/>
                <a:gd name="connsiteX486" fmla="*/ 249423 w 387278"/>
                <a:gd name="connsiteY486" fmla="*/ 363259 h 423247"/>
                <a:gd name="connsiteX487" fmla="*/ 250331 w 387278"/>
                <a:gd name="connsiteY487" fmla="*/ 365135 h 423247"/>
                <a:gd name="connsiteX488" fmla="*/ 250572 w 387278"/>
                <a:gd name="connsiteY488" fmla="*/ 365861 h 423247"/>
                <a:gd name="connsiteX489" fmla="*/ 249151 w 387278"/>
                <a:gd name="connsiteY489" fmla="*/ 367131 h 423247"/>
                <a:gd name="connsiteX490" fmla="*/ 248818 w 387278"/>
                <a:gd name="connsiteY490" fmla="*/ 368826 h 423247"/>
                <a:gd name="connsiteX491" fmla="*/ 251087 w 387278"/>
                <a:gd name="connsiteY491" fmla="*/ 371094 h 423247"/>
                <a:gd name="connsiteX492" fmla="*/ 250179 w 387278"/>
                <a:gd name="connsiteY492" fmla="*/ 371669 h 423247"/>
                <a:gd name="connsiteX493" fmla="*/ 249151 w 387278"/>
                <a:gd name="connsiteY493" fmla="*/ 372062 h 423247"/>
                <a:gd name="connsiteX494" fmla="*/ 248062 w 387278"/>
                <a:gd name="connsiteY494" fmla="*/ 372214 h 423247"/>
                <a:gd name="connsiteX495" fmla="*/ 246973 w 387278"/>
                <a:gd name="connsiteY495" fmla="*/ 372123 h 423247"/>
                <a:gd name="connsiteX496" fmla="*/ 247215 w 387278"/>
                <a:gd name="connsiteY496" fmla="*/ 373182 h 423247"/>
                <a:gd name="connsiteX497" fmla="*/ 247366 w 387278"/>
                <a:gd name="connsiteY497" fmla="*/ 373636 h 423247"/>
                <a:gd name="connsiteX498" fmla="*/ 247638 w 387278"/>
                <a:gd name="connsiteY498" fmla="*/ 374241 h 423247"/>
                <a:gd name="connsiteX499" fmla="*/ 246882 w 387278"/>
                <a:gd name="connsiteY499" fmla="*/ 376267 h 423247"/>
                <a:gd name="connsiteX500" fmla="*/ 246337 w 387278"/>
                <a:gd name="connsiteY500" fmla="*/ 377296 h 423247"/>
                <a:gd name="connsiteX501" fmla="*/ 245581 w 387278"/>
                <a:gd name="connsiteY501" fmla="*/ 378264 h 423247"/>
                <a:gd name="connsiteX502" fmla="*/ 244401 w 387278"/>
                <a:gd name="connsiteY502" fmla="*/ 377326 h 423247"/>
                <a:gd name="connsiteX503" fmla="*/ 243584 w 387278"/>
                <a:gd name="connsiteY503" fmla="*/ 377780 h 423247"/>
                <a:gd name="connsiteX504" fmla="*/ 243070 w 387278"/>
                <a:gd name="connsiteY504" fmla="*/ 379202 h 423247"/>
                <a:gd name="connsiteX505" fmla="*/ 242828 w 387278"/>
                <a:gd name="connsiteY505" fmla="*/ 381168 h 423247"/>
                <a:gd name="connsiteX506" fmla="*/ 244189 w 387278"/>
                <a:gd name="connsiteY506" fmla="*/ 382862 h 423247"/>
                <a:gd name="connsiteX507" fmla="*/ 242586 w 387278"/>
                <a:gd name="connsiteY507" fmla="*/ 386462 h 423247"/>
                <a:gd name="connsiteX508" fmla="*/ 238623 w 387278"/>
                <a:gd name="connsiteY508" fmla="*/ 392270 h 423247"/>
                <a:gd name="connsiteX509" fmla="*/ 240862 w 387278"/>
                <a:gd name="connsiteY509" fmla="*/ 391696 h 423247"/>
                <a:gd name="connsiteX510" fmla="*/ 241830 w 387278"/>
                <a:gd name="connsiteY510" fmla="*/ 391696 h 423247"/>
                <a:gd name="connsiteX511" fmla="*/ 242798 w 387278"/>
                <a:gd name="connsiteY511" fmla="*/ 392270 h 423247"/>
                <a:gd name="connsiteX512" fmla="*/ 241648 w 387278"/>
                <a:gd name="connsiteY512" fmla="*/ 394055 h 423247"/>
                <a:gd name="connsiteX513" fmla="*/ 239924 w 387278"/>
                <a:gd name="connsiteY513" fmla="*/ 397474 h 423247"/>
                <a:gd name="connsiteX514" fmla="*/ 238623 w 387278"/>
                <a:gd name="connsiteY514" fmla="*/ 399289 h 423247"/>
                <a:gd name="connsiteX515" fmla="*/ 238139 w 387278"/>
                <a:gd name="connsiteY515" fmla="*/ 399652 h 423247"/>
                <a:gd name="connsiteX516" fmla="*/ 236959 w 387278"/>
                <a:gd name="connsiteY516" fmla="*/ 400015 h 423247"/>
                <a:gd name="connsiteX517" fmla="*/ 235779 w 387278"/>
                <a:gd name="connsiteY517" fmla="*/ 400438 h 423247"/>
                <a:gd name="connsiteX518" fmla="*/ 228519 w 387278"/>
                <a:gd name="connsiteY518" fmla="*/ 407911 h 423247"/>
                <a:gd name="connsiteX519" fmla="*/ 228731 w 387278"/>
                <a:gd name="connsiteY519" fmla="*/ 411178 h 423247"/>
                <a:gd name="connsiteX520" fmla="*/ 230364 w 387278"/>
                <a:gd name="connsiteY520" fmla="*/ 413416 h 423247"/>
                <a:gd name="connsiteX521" fmla="*/ 232059 w 387278"/>
                <a:gd name="connsiteY521" fmla="*/ 414505 h 423247"/>
                <a:gd name="connsiteX522" fmla="*/ 232633 w 387278"/>
                <a:gd name="connsiteY522" fmla="*/ 414868 h 423247"/>
                <a:gd name="connsiteX523" fmla="*/ 234812 w 387278"/>
                <a:gd name="connsiteY523" fmla="*/ 415806 h 423247"/>
                <a:gd name="connsiteX524" fmla="*/ 236385 w 387278"/>
                <a:gd name="connsiteY524" fmla="*/ 416230 h 423247"/>
                <a:gd name="connsiteX525" fmla="*/ 236203 w 387278"/>
                <a:gd name="connsiteY525" fmla="*/ 417954 h 423247"/>
                <a:gd name="connsiteX526" fmla="*/ 235175 w 387278"/>
                <a:gd name="connsiteY526" fmla="*/ 421312 h 423247"/>
                <a:gd name="connsiteX527" fmla="*/ 237020 w 387278"/>
                <a:gd name="connsiteY527" fmla="*/ 422280 h 423247"/>
                <a:gd name="connsiteX528" fmla="*/ 238109 w 387278"/>
                <a:gd name="connsiteY528" fmla="*/ 422492 h 423247"/>
                <a:gd name="connsiteX529" fmla="*/ 239168 w 387278"/>
                <a:gd name="connsiteY529" fmla="*/ 422310 h 423247"/>
                <a:gd name="connsiteX530" fmla="*/ 239652 w 387278"/>
                <a:gd name="connsiteY530" fmla="*/ 421614 h 423247"/>
                <a:gd name="connsiteX531" fmla="*/ 240741 w 387278"/>
                <a:gd name="connsiteY531" fmla="*/ 420102 h 423247"/>
                <a:gd name="connsiteX532" fmla="*/ 241648 w 387278"/>
                <a:gd name="connsiteY532" fmla="*/ 419466 h 423247"/>
                <a:gd name="connsiteX533" fmla="*/ 242647 w 387278"/>
                <a:gd name="connsiteY533" fmla="*/ 419829 h 423247"/>
                <a:gd name="connsiteX534" fmla="*/ 244704 w 387278"/>
                <a:gd name="connsiteY534" fmla="*/ 421917 h 423247"/>
                <a:gd name="connsiteX535" fmla="*/ 245732 w 387278"/>
                <a:gd name="connsiteY535" fmla="*/ 422582 h 423247"/>
                <a:gd name="connsiteX536" fmla="*/ 254445 w 387278"/>
                <a:gd name="connsiteY536" fmla="*/ 422371 h 423247"/>
                <a:gd name="connsiteX537" fmla="*/ 255594 w 387278"/>
                <a:gd name="connsiteY537" fmla="*/ 422703 h 423247"/>
                <a:gd name="connsiteX538" fmla="*/ 255594 w 387278"/>
                <a:gd name="connsiteY538" fmla="*/ 422703 h 423247"/>
                <a:gd name="connsiteX539" fmla="*/ 256683 w 387278"/>
                <a:gd name="connsiteY539" fmla="*/ 423036 h 423247"/>
                <a:gd name="connsiteX540" fmla="*/ 263974 w 387278"/>
                <a:gd name="connsiteY540" fmla="*/ 423248 h 423247"/>
                <a:gd name="connsiteX541" fmla="*/ 266001 w 387278"/>
                <a:gd name="connsiteY541" fmla="*/ 422915 h 423247"/>
                <a:gd name="connsiteX542" fmla="*/ 266213 w 387278"/>
                <a:gd name="connsiteY542" fmla="*/ 421009 h 423247"/>
                <a:gd name="connsiteX543" fmla="*/ 265547 w 387278"/>
                <a:gd name="connsiteY543" fmla="*/ 420132 h 423247"/>
                <a:gd name="connsiteX544" fmla="*/ 264549 w 387278"/>
                <a:gd name="connsiteY544" fmla="*/ 419497 h 423247"/>
                <a:gd name="connsiteX545" fmla="*/ 263792 w 387278"/>
                <a:gd name="connsiteY545" fmla="*/ 418256 h 423247"/>
                <a:gd name="connsiteX546" fmla="*/ 263369 w 387278"/>
                <a:gd name="connsiteY546" fmla="*/ 416381 h 423247"/>
                <a:gd name="connsiteX547" fmla="*/ 264881 w 387278"/>
                <a:gd name="connsiteY547" fmla="*/ 416744 h 423247"/>
                <a:gd name="connsiteX548" fmla="*/ 266333 w 387278"/>
                <a:gd name="connsiteY548" fmla="*/ 415473 h 423247"/>
                <a:gd name="connsiteX549" fmla="*/ 266848 w 387278"/>
                <a:gd name="connsiteY549" fmla="*/ 413749 h 423247"/>
                <a:gd name="connsiteX550" fmla="*/ 266636 w 387278"/>
                <a:gd name="connsiteY550" fmla="*/ 412388 h 423247"/>
                <a:gd name="connsiteX551" fmla="*/ 266545 w 387278"/>
                <a:gd name="connsiteY551" fmla="*/ 411147 h 423247"/>
                <a:gd name="connsiteX552" fmla="*/ 267422 w 387278"/>
                <a:gd name="connsiteY552" fmla="*/ 409665 h 423247"/>
                <a:gd name="connsiteX553" fmla="*/ 268814 w 387278"/>
                <a:gd name="connsiteY553" fmla="*/ 408939 h 423247"/>
                <a:gd name="connsiteX554" fmla="*/ 271083 w 387278"/>
                <a:gd name="connsiteY554" fmla="*/ 409120 h 423247"/>
                <a:gd name="connsiteX555" fmla="*/ 272202 w 387278"/>
                <a:gd name="connsiteY555" fmla="*/ 407880 h 423247"/>
                <a:gd name="connsiteX556" fmla="*/ 272807 w 387278"/>
                <a:gd name="connsiteY556" fmla="*/ 406368 h 423247"/>
                <a:gd name="connsiteX557" fmla="*/ 272807 w 387278"/>
                <a:gd name="connsiteY557" fmla="*/ 405218 h 423247"/>
                <a:gd name="connsiteX558" fmla="*/ 271990 w 387278"/>
                <a:gd name="connsiteY558" fmla="*/ 402193 h 423247"/>
                <a:gd name="connsiteX559" fmla="*/ 272172 w 387278"/>
                <a:gd name="connsiteY559" fmla="*/ 401225 h 423247"/>
                <a:gd name="connsiteX560" fmla="*/ 272716 w 387278"/>
                <a:gd name="connsiteY560" fmla="*/ 400438 h 423247"/>
                <a:gd name="connsiteX561" fmla="*/ 272898 w 387278"/>
                <a:gd name="connsiteY561" fmla="*/ 399864 h 423247"/>
                <a:gd name="connsiteX562" fmla="*/ 269601 w 387278"/>
                <a:gd name="connsiteY562" fmla="*/ 398805 h 423247"/>
                <a:gd name="connsiteX563" fmla="*/ 267241 w 387278"/>
                <a:gd name="connsiteY563" fmla="*/ 397443 h 423247"/>
                <a:gd name="connsiteX564" fmla="*/ 266454 w 387278"/>
                <a:gd name="connsiteY564" fmla="*/ 396657 h 423247"/>
                <a:gd name="connsiteX565" fmla="*/ 266213 w 387278"/>
                <a:gd name="connsiteY565" fmla="*/ 395477 h 423247"/>
                <a:gd name="connsiteX566" fmla="*/ 266061 w 387278"/>
                <a:gd name="connsiteY566" fmla="*/ 393359 h 423247"/>
                <a:gd name="connsiteX567" fmla="*/ 266454 w 387278"/>
                <a:gd name="connsiteY567" fmla="*/ 392149 h 423247"/>
                <a:gd name="connsiteX568" fmla="*/ 267059 w 387278"/>
                <a:gd name="connsiteY568" fmla="*/ 390909 h 423247"/>
                <a:gd name="connsiteX569" fmla="*/ 266848 w 387278"/>
                <a:gd name="connsiteY569" fmla="*/ 390153 h 423247"/>
                <a:gd name="connsiteX570" fmla="*/ 263248 w 387278"/>
                <a:gd name="connsiteY570" fmla="*/ 390546 h 423247"/>
                <a:gd name="connsiteX571" fmla="*/ 260616 w 387278"/>
                <a:gd name="connsiteY571" fmla="*/ 389729 h 423247"/>
                <a:gd name="connsiteX572" fmla="*/ 259224 w 387278"/>
                <a:gd name="connsiteY572" fmla="*/ 389548 h 423247"/>
                <a:gd name="connsiteX573" fmla="*/ 257863 w 387278"/>
                <a:gd name="connsiteY573" fmla="*/ 389911 h 423247"/>
                <a:gd name="connsiteX574" fmla="*/ 255262 w 387278"/>
                <a:gd name="connsiteY574" fmla="*/ 391091 h 423247"/>
                <a:gd name="connsiteX575" fmla="*/ 253870 w 387278"/>
                <a:gd name="connsiteY575" fmla="*/ 391363 h 423247"/>
                <a:gd name="connsiteX576" fmla="*/ 253779 w 387278"/>
                <a:gd name="connsiteY576" fmla="*/ 387642 h 423247"/>
                <a:gd name="connsiteX577" fmla="*/ 252236 w 387278"/>
                <a:gd name="connsiteY577" fmla="*/ 383437 h 423247"/>
                <a:gd name="connsiteX578" fmla="*/ 251661 w 387278"/>
                <a:gd name="connsiteY578" fmla="*/ 379988 h 423247"/>
                <a:gd name="connsiteX579" fmla="*/ 254475 w 387278"/>
                <a:gd name="connsiteY579" fmla="*/ 378627 h 423247"/>
                <a:gd name="connsiteX580" fmla="*/ 255866 w 387278"/>
                <a:gd name="connsiteY580" fmla="*/ 379353 h 423247"/>
                <a:gd name="connsiteX581" fmla="*/ 257046 w 387278"/>
                <a:gd name="connsiteY581" fmla="*/ 380775 h 423247"/>
                <a:gd name="connsiteX582" fmla="*/ 258377 w 387278"/>
                <a:gd name="connsiteY582" fmla="*/ 381924 h 423247"/>
                <a:gd name="connsiteX583" fmla="*/ 260253 w 387278"/>
                <a:gd name="connsiteY583" fmla="*/ 381743 h 423247"/>
                <a:gd name="connsiteX584" fmla="*/ 261493 w 387278"/>
                <a:gd name="connsiteY584" fmla="*/ 380472 h 423247"/>
                <a:gd name="connsiteX585" fmla="*/ 263429 w 387278"/>
                <a:gd name="connsiteY585" fmla="*/ 376751 h 423247"/>
                <a:gd name="connsiteX586" fmla="*/ 264791 w 387278"/>
                <a:gd name="connsiteY586" fmla="*/ 375330 h 423247"/>
                <a:gd name="connsiteX587" fmla="*/ 274108 w 387278"/>
                <a:gd name="connsiteY587" fmla="*/ 368614 h 423247"/>
                <a:gd name="connsiteX588" fmla="*/ 279856 w 387278"/>
                <a:gd name="connsiteY588" fmla="*/ 365740 h 423247"/>
                <a:gd name="connsiteX589" fmla="*/ 281338 w 387278"/>
                <a:gd name="connsiteY589" fmla="*/ 363925 h 423247"/>
                <a:gd name="connsiteX590" fmla="*/ 279221 w 387278"/>
                <a:gd name="connsiteY590" fmla="*/ 362110 h 423247"/>
                <a:gd name="connsiteX591" fmla="*/ 281520 w 387278"/>
                <a:gd name="connsiteY591" fmla="*/ 360385 h 423247"/>
                <a:gd name="connsiteX592" fmla="*/ 282336 w 387278"/>
                <a:gd name="connsiteY592" fmla="*/ 359962 h 423247"/>
                <a:gd name="connsiteX593" fmla="*/ 280037 w 387278"/>
                <a:gd name="connsiteY593" fmla="*/ 359236 h 423247"/>
                <a:gd name="connsiteX594" fmla="*/ 275016 w 387278"/>
                <a:gd name="connsiteY594" fmla="*/ 362412 h 423247"/>
                <a:gd name="connsiteX595" fmla="*/ 272656 w 387278"/>
                <a:gd name="connsiteY595" fmla="*/ 361202 h 423247"/>
                <a:gd name="connsiteX596" fmla="*/ 271930 w 387278"/>
                <a:gd name="connsiteY596" fmla="*/ 358480 h 423247"/>
                <a:gd name="connsiteX597" fmla="*/ 272233 w 387278"/>
                <a:gd name="connsiteY597" fmla="*/ 355182 h 423247"/>
                <a:gd name="connsiteX598" fmla="*/ 273110 w 387278"/>
                <a:gd name="connsiteY598" fmla="*/ 352248 h 423247"/>
                <a:gd name="connsiteX599" fmla="*/ 274138 w 387278"/>
                <a:gd name="connsiteY599" fmla="*/ 350614 h 423247"/>
                <a:gd name="connsiteX600" fmla="*/ 276256 w 387278"/>
                <a:gd name="connsiteY600" fmla="*/ 348255 h 423247"/>
                <a:gd name="connsiteX601" fmla="*/ 281399 w 387278"/>
                <a:gd name="connsiteY601" fmla="*/ 339482 h 423247"/>
                <a:gd name="connsiteX602" fmla="*/ 282458 w 387278"/>
                <a:gd name="connsiteY602" fmla="*/ 338514 h 423247"/>
                <a:gd name="connsiteX603" fmla="*/ 285029 w 387278"/>
                <a:gd name="connsiteY603" fmla="*/ 336880 h 423247"/>
                <a:gd name="connsiteX604" fmla="*/ 286027 w 387278"/>
                <a:gd name="connsiteY604" fmla="*/ 335579 h 423247"/>
                <a:gd name="connsiteX605" fmla="*/ 286572 w 387278"/>
                <a:gd name="connsiteY605" fmla="*/ 333734 h 423247"/>
                <a:gd name="connsiteX606" fmla="*/ 286874 w 387278"/>
                <a:gd name="connsiteY606" fmla="*/ 330497 h 423247"/>
                <a:gd name="connsiteX607" fmla="*/ 287449 w 387278"/>
                <a:gd name="connsiteY607" fmla="*/ 329196 h 423247"/>
                <a:gd name="connsiteX608" fmla="*/ 285936 w 387278"/>
                <a:gd name="connsiteY608" fmla="*/ 327532 h 423247"/>
                <a:gd name="connsiteX609" fmla="*/ 286088 w 387278"/>
                <a:gd name="connsiteY609" fmla="*/ 324810 h 423247"/>
                <a:gd name="connsiteX610" fmla="*/ 286874 w 387278"/>
                <a:gd name="connsiteY610" fmla="*/ 321664 h 423247"/>
                <a:gd name="connsiteX611" fmla="*/ 287237 w 387278"/>
                <a:gd name="connsiteY611" fmla="*/ 318729 h 423247"/>
                <a:gd name="connsiteX612" fmla="*/ 286753 w 387278"/>
                <a:gd name="connsiteY612" fmla="*/ 316037 h 423247"/>
                <a:gd name="connsiteX613" fmla="*/ 286027 w 387278"/>
                <a:gd name="connsiteY613" fmla="*/ 311166 h 423247"/>
                <a:gd name="connsiteX614" fmla="*/ 281973 w 387278"/>
                <a:gd name="connsiteY614" fmla="*/ 306840 h 423247"/>
                <a:gd name="connsiteX615" fmla="*/ 275288 w 387278"/>
                <a:gd name="connsiteY615" fmla="*/ 298340 h 423247"/>
                <a:gd name="connsiteX616" fmla="*/ 274864 w 387278"/>
                <a:gd name="connsiteY616" fmla="*/ 296525 h 423247"/>
                <a:gd name="connsiteX617" fmla="*/ 275409 w 387278"/>
                <a:gd name="connsiteY617" fmla="*/ 294377 h 423247"/>
                <a:gd name="connsiteX618" fmla="*/ 276589 w 387278"/>
                <a:gd name="connsiteY618" fmla="*/ 291049 h 423247"/>
                <a:gd name="connsiteX619" fmla="*/ 269782 w 387278"/>
                <a:gd name="connsiteY619" fmla="*/ 288296 h 423247"/>
                <a:gd name="connsiteX620" fmla="*/ 267483 w 387278"/>
                <a:gd name="connsiteY620" fmla="*/ 285604 h 423247"/>
                <a:gd name="connsiteX621" fmla="*/ 268844 w 387278"/>
                <a:gd name="connsiteY621" fmla="*/ 281369 h 423247"/>
                <a:gd name="connsiteX622" fmla="*/ 267846 w 387278"/>
                <a:gd name="connsiteY622" fmla="*/ 280431 h 423247"/>
                <a:gd name="connsiteX623" fmla="*/ 265607 w 387278"/>
                <a:gd name="connsiteY623" fmla="*/ 278858 h 423247"/>
                <a:gd name="connsiteX624" fmla="*/ 264458 w 387278"/>
                <a:gd name="connsiteY624" fmla="*/ 278343 h 423247"/>
                <a:gd name="connsiteX625" fmla="*/ 261554 w 387278"/>
                <a:gd name="connsiteY625" fmla="*/ 278343 h 423247"/>
                <a:gd name="connsiteX626" fmla="*/ 260556 w 387278"/>
                <a:gd name="connsiteY626" fmla="*/ 278011 h 423247"/>
                <a:gd name="connsiteX627" fmla="*/ 260646 w 387278"/>
                <a:gd name="connsiteY627" fmla="*/ 276407 h 423247"/>
                <a:gd name="connsiteX628" fmla="*/ 261251 w 387278"/>
                <a:gd name="connsiteY628" fmla="*/ 275863 h 423247"/>
                <a:gd name="connsiteX629" fmla="*/ 262885 w 387278"/>
                <a:gd name="connsiteY629" fmla="*/ 274350 h 423247"/>
                <a:gd name="connsiteX630" fmla="*/ 263066 w 387278"/>
                <a:gd name="connsiteY630" fmla="*/ 271325 h 423247"/>
                <a:gd name="connsiteX631" fmla="*/ 261705 w 387278"/>
                <a:gd name="connsiteY631" fmla="*/ 268421 h 423247"/>
                <a:gd name="connsiteX632" fmla="*/ 259406 w 387278"/>
                <a:gd name="connsiteY632" fmla="*/ 266818 h 423247"/>
                <a:gd name="connsiteX633" fmla="*/ 259739 w 387278"/>
                <a:gd name="connsiteY633" fmla="*/ 265487 h 423247"/>
                <a:gd name="connsiteX634" fmla="*/ 261402 w 387278"/>
                <a:gd name="connsiteY634" fmla="*/ 264398 h 423247"/>
                <a:gd name="connsiteX635" fmla="*/ 265517 w 387278"/>
                <a:gd name="connsiteY635" fmla="*/ 263732 h 423247"/>
                <a:gd name="connsiteX636" fmla="*/ 267453 w 387278"/>
                <a:gd name="connsiteY636" fmla="*/ 262976 h 423247"/>
                <a:gd name="connsiteX637" fmla="*/ 269540 w 387278"/>
                <a:gd name="connsiteY637" fmla="*/ 261554 h 423247"/>
                <a:gd name="connsiteX638" fmla="*/ 270992 w 387278"/>
                <a:gd name="connsiteY638" fmla="*/ 260858 h 423247"/>
                <a:gd name="connsiteX639" fmla="*/ 275076 w 387278"/>
                <a:gd name="connsiteY639" fmla="*/ 259830 h 423247"/>
                <a:gd name="connsiteX640" fmla="*/ 278343 w 387278"/>
                <a:gd name="connsiteY640" fmla="*/ 260646 h 423247"/>
                <a:gd name="connsiteX641" fmla="*/ 280703 w 387278"/>
                <a:gd name="connsiteY641" fmla="*/ 261221 h 423247"/>
                <a:gd name="connsiteX642" fmla="*/ 282336 w 387278"/>
                <a:gd name="connsiteY642" fmla="*/ 261584 h 423247"/>
                <a:gd name="connsiteX643" fmla="*/ 280975 w 387278"/>
                <a:gd name="connsiteY643" fmla="*/ 259618 h 423247"/>
                <a:gd name="connsiteX644" fmla="*/ 277224 w 387278"/>
                <a:gd name="connsiteY644" fmla="*/ 255988 h 423247"/>
                <a:gd name="connsiteX645" fmla="*/ 275984 w 387278"/>
                <a:gd name="connsiteY645" fmla="*/ 255111 h 423247"/>
                <a:gd name="connsiteX646" fmla="*/ 279402 w 387278"/>
                <a:gd name="connsiteY646" fmla="*/ 253386 h 423247"/>
                <a:gd name="connsiteX647" fmla="*/ 282639 w 387278"/>
                <a:gd name="connsiteY647" fmla="*/ 254808 h 423247"/>
                <a:gd name="connsiteX648" fmla="*/ 285876 w 387278"/>
                <a:gd name="connsiteY648" fmla="*/ 257228 h 423247"/>
                <a:gd name="connsiteX649" fmla="*/ 289264 w 387278"/>
                <a:gd name="connsiteY649" fmla="*/ 258499 h 423247"/>
                <a:gd name="connsiteX650" fmla="*/ 292410 w 387278"/>
                <a:gd name="connsiteY650" fmla="*/ 257863 h 423247"/>
                <a:gd name="connsiteX651" fmla="*/ 293227 w 387278"/>
                <a:gd name="connsiteY651" fmla="*/ 257954 h 423247"/>
                <a:gd name="connsiteX652" fmla="*/ 293953 w 387278"/>
                <a:gd name="connsiteY652" fmla="*/ 258589 h 423247"/>
                <a:gd name="connsiteX653" fmla="*/ 295072 w 387278"/>
                <a:gd name="connsiteY653" fmla="*/ 260435 h 423247"/>
                <a:gd name="connsiteX654" fmla="*/ 295526 w 387278"/>
                <a:gd name="connsiteY654" fmla="*/ 260949 h 423247"/>
                <a:gd name="connsiteX655" fmla="*/ 299368 w 387278"/>
                <a:gd name="connsiteY655" fmla="*/ 261494 h 423247"/>
                <a:gd name="connsiteX656" fmla="*/ 301002 w 387278"/>
                <a:gd name="connsiteY656" fmla="*/ 262371 h 423247"/>
                <a:gd name="connsiteX657" fmla="*/ 301304 w 387278"/>
                <a:gd name="connsiteY657" fmla="*/ 264700 h 423247"/>
                <a:gd name="connsiteX658" fmla="*/ 305086 w 387278"/>
                <a:gd name="connsiteY658" fmla="*/ 263732 h 423247"/>
                <a:gd name="connsiteX659" fmla="*/ 305509 w 387278"/>
                <a:gd name="connsiteY659" fmla="*/ 262250 h 423247"/>
                <a:gd name="connsiteX660" fmla="*/ 304692 w 387278"/>
                <a:gd name="connsiteY660" fmla="*/ 258862 h 423247"/>
                <a:gd name="connsiteX661" fmla="*/ 311136 w 387278"/>
                <a:gd name="connsiteY661" fmla="*/ 260616 h 423247"/>
                <a:gd name="connsiteX662" fmla="*/ 313193 w 387278"/>
                <a:gd name="connsiteY662" fmla="*/ 260616 h 423247"/>
                <a:gd name="connsiteX663" fmla="*/ 314857 w 387278"/>
                <a:gd name="connsiteY663" fmla="*/ 259920 h 423247"/>
                <a:gd name="connsiteX664" fmla="*/ 319818 w 387278"/>
                <a:gd name="connsiteY664" fmla="*/ 256411 h 423247"/>
                <a:gd name="connsiteX665" fmla="*/ 329831 w 387278"/>
                <a:gd name="connsiteY665" fmla="*/ 253265 h 423247"/>
                <a:gd name="connsiteX666" fmla="*/ 338725 w 387278"/>
                <a:gd name="connsiteY666" fmla="*/ 252993 h 423247"/>
                <a:gd name="connsiteX667" fmla="*/ 341448 w 387278"/>
                <a:gd name="connsiteY667" fmla="*/ 251632 h 423247"/>
                <a:gd name="connsiteX668" fmla="*/ 343777 w 387278"/>
                <a:gd name="connsiteY668" fmla="*/ 249060 h 423247"/>
                <a:gd name="connsiteX669" fmla="*/ 346076 w 387278"/>
                <a:gd name="connsiteY669" fmla="*/ 245218 h 423247"/>
                <a:gd name="connsiteX670" fmla="*/ 346893 w 387278"/>
                <a:gd name="connsiteY670" fmla="*/ 244371 h 423247"/>
                <a:gd name="connsiteX671" fmla="*/ 347649 w 387278"/>
                <a:gd name="connsiteY671" fmla="*/ 244250 h 423247"/>
                <a:gd name="connsiteX672" fmla="*/ 348164 w 387278"/>
                <a:gd name="connsiteY672" fmla="*/ 243797 h 423247"/>
                <a:gd name="connsiteX673" fmla="*/ 348254 w 387278"/>
                <a:gd name="connsiteY673" fmla="*/ 241981 h 423247"/>
                <a:gd name="connsiteX674" fmla="*/ 348012 w 387278"/>
                <a:gd name="connsiteY674" fmla="*/ 240983 h 423247"/>
                <a:gd name="connsiteX675" fmla="*/ 347498 w 387278"/>
                <a:gd name="connsiteY675" fmla="*/ 240257 h 423247"/>
                <a:gd name="connsiteX676" fmla="*/ 344897 w 387278"/>
                <a:gd name="connsiteY676" fmla="*/ 237716 h 423247"/>
                <a:gd name="connsiteX677" fmla="*/ 338332 w 387278"/>
                <a:gd name="connsiteY677" fmla="*/ 234328 h 423247"/>
                <a:gd name="connsiteX678" fmla="*/ 336124 w 387278"/>
                <a:gd name="connsiteY678" fmla="*/ 233723 h 423247"/>
                <a:gd name="connsiteX679" fmla="*/ 334520 w 387278"/>
                <a:gd name="connsiteY679" fmla="*/ 232694 h 423247"/>
                <a:gd name="connsiteX680" fmla="*/ 334309 w 387278"/>
                <a:gd name="connsiteY680" fmla="*/ 230425 h 423247"/>
                <a:gd name="connsiteX681" fmla="*/ 335004 w 387278"/>
                <a:gd name="connsiteY681" fmla="*/ 228852 h 423247"/>
                <a:gd name="connsiteX682" fmla="*/ 335912 w 387278"/>
                <a:gd name="connsiteY682" fmla="*/ 228459 h 423247"/>
                <a:gd name="connsiteX683" fmla="*/ 336971 w 387278"/>
                <a:gd name="connsiteY683" fmla="*/ 228368 h 423247"/>
                <a:gd name="connsiteX684" fmla="*/ 338181 w 387278"/>
                <a:gd name="connsiteY684" fmla="*/ 227793 h 423247"/>
                <a:gd name="connsiteX685" fmla="*/ 338997 w 387278"/>
                <a:gd name="connsiteY685" fmla="*/ 226855 h 423247"/>
                <a:gd name="connsiteX686" fmla="*/ 339814 w 387278"/>
                <a:gd name="connsiteY686" fmla="*/ 224920 h 423247"/>
                <a:gd name="connsiteX687" fmla="*/ 340359 w 387278"/>
                <a:gd name="connsiteY687" fmla="*/ 224073 h 423247"/>
                <a:gd name="connsiteX688" fmla="*/ 342083 w 387278"/>
                <a:gd name="connsiteY688" fmla="*/ 222439 h 423247"/>
                <a:gd name="connsiteX689" fmla="*/ 343686 w 387278"/>
                <a:gd name="connsiteY689" fmla="*/ 221622 h 423247"/>
                <a:gd name="connsiteX690" fmla="*/ 344261 w 387278"/>
                <a:gd name="connsiteY690" fmla="*/ 221561 h 423247"/>
                <a:gd name="connsiteX691" fmla="*/ 350221 w 387278"/>
                <a:gd name="connsiteY691" fmla="*/ 220957 h 423247"/>
                <a:gd name="connsiteX692" fmla="*/ 351491 w 387278"/>
                <a:gd name="connsiteY692" fmla="*/ 219898 h 423247"/>
                <a:gd name="connsiteX693" fmla="*/ 353700 w 387278"/>
                <a:gd name="connsiteY693" fmla="*/ 215723 h 423247"/>
                <a:gd name="connsiteX694" fmla="*/ 355666 w 387278"/>
                <a:gd name="connsiteY694" fmla="*/ 213848 h 423247"/>
                <a:gd name="connsiteX695" fmla="*/ 359962 w 387278"/>
                <a:gd name="connsiteY695" fmla="*/ 212093 h 423247"/>
                <a:gd name="connsiteX696" fmla="*/ 361958 w 387278"/>
                <a:gd name="connsiteY696" fmla="*/ 210459 h 423247"/>
                <a:gd name="connsiteX697" fmla="*/ 364318 w 387278"/>
                <a:gd name="connsiteY697" fmla="*/ 206950 h 423247"/>
                <a:gd name="connsiteX698" fmla="*/ 365407 w 387278"/>
                <a:gd name="connsiteY698" fmla="*/ 205770 h 423247"/>
                <a:gd name="connsiteX699" fmla="*/ 369884 w 387278"/>
                <a:gd name="connsiteY699" fmla="*/ 203260 h 423247"/>
                <a:gd name="connsiteX700" fmla="*/ 370156 w 387278"/>
                <a:gd name="connsiteY700" fmla="*/ 202503 h 423247"/>
                <a:gd name="connsiteX701" fmla="*/ 369914 w 387278"/>
                <a:gd name="connsiteY701" fmla="*/ 202080 h 423247"/>
                <a:gd name="connsiteX702" fmla="*/ 369340 w 387278"/>
                <a:gd name="connsiteY702" fmla="*/ 201082 h 423247"/>
                <a:gd name="connsiteX703" fmla="*/ 368432 w 387278"/>
                <a:gd name="connsiteY703" fmla="*/ 197875 h 423247"/>
                <a:gd name="connsiteX704" fmla="*/ 368493 w 387278"/>
                <a:gd name="connsiteY704" fmla="*/ 195091 h 423247"/>
                <a:gd name="connsiteX705" fmla="*/ 369219 w 387278"/>
                <a:gd name="connsiteY705" fmla="*/ 192823 h 423247"/>
                <a:gd name="connsiteX706" fmla="*/ 371215 w 387278"/>
                <a:gd name="connsiteY706" fmla="*/ 188527 h 423247"/>
                <a:gd name="connsiteX707" fmla="*/ 372062 w 387278"/>
                <a:gd name="connsiteY707" fmla="*/ 182991 h 423247"/>
                <a:gd name="connsiteX708" fmla="*/ 370640 w 387278"/>
                <a:gd name="connsiteY708" fmla="*/ 179089 h 423247"/>
                <a:gd name="connsiteX709" fmla="*/ 364530 w 387278"/>
                <a:gd name="connsiteY709" fmla="*/ 169922 h 423247"/>
                <a:gd name="connsiteX710" fmla="*/ 363894 w 387278"/>
                <a:gd name="connsiteY710" fmla="*/ 170195 h 423247"/>
                <a:gd name="connsiteX711" fmla="*/ 363289 w 387278"/>
                <a:gd name="connsiteY711" fmla="*/ 171223 h 423247"/>
                <a:gd name="connsiteX712" fmla="*/ 362351 w 387278"/>
                <a:gd name="connsiteY712" fmla="*/ 172040 h 423247"/>
                <a:gd name="connsiteX713" fmla="*/ 359841 w 387278"/>
                <a:gd name="connsiteY713" fmla="*/ 172736 h 423247"/>
                <a:gd name="connsiteX714" fmla="*/ 357209 w 387278"/>
                <a:gd name="connsiteY714" fmla="*/ 172887 h 423247"/>
                <a:gd name="connsiteX715" fmla="*/ 354365 w 387278"/>
                <a:gd name="connsiteY715" fmla="*/ 172463 h 423247"/>
                <a:gd name="connsiteX716" fmla="*/ 349162 w 387278"/>
                <a:gd name="connsiteY716" fmla="*/ 170618 h 423247"/>
                <a:gd name="connsiteX717" fmla="*/ 341206 w 387278"/>
                <a:gd name="connsiteY717" fmla="*/ 169590 h 423247"/>
                <a:gd name="connsiteX718" fmla="*/ 338544 w 387278"/>
                <a:gd name="connsiteY718" fmla="*/ 168410 h 423247"/>
                <a:gd name="connsiteX719" fmla="*/ 336547 w 387278"/>
                <a:gd name="connsiteY719" fmla="*/ 166262 h 423247"/>
                <a:gd name="connsiteX720" fmla="*/ 335942 w 387278"/>
                <a:gd name="connsiteY720" fmla="*/ 163993 h 423247"/>
                <a:gd name="connsiteX721" fmla="*/ 335791 w 387278"/>
                <a:gd name="connsiteY721" fmla="*/ 161301 h 423247"/>
                <a:gd name="connsiteX722" fmla="*/ 335458 w 387278"/>
                <a:gd name="connsiteY722" fmla="*/ 158578 h 423247"/>
                <a:gd name="connsiteX723" fmla="*/ 334218 w 387278"/>
                <a:gd name="connsiteY723" fmla="*/ 156188 h 423247"/>
                <a:gd name="connsiteX724" fmla="*/ 335881 w 387278"/>
                <a:gd name="connsiteY724" fmla="*/ 156037 h 423247"/>
                <a:gd name="connsiteX725" fmla="*/ 341448 w 387278"/>
                <a:gd name="connsiteY725" fmla="*/ 153436 h 423247"/>
                <a:gd name="connsiteX726" fmla="*/ 338150 w 387278"/>
                <a:gd name="connsiteY726" fmla="*/ 150864 h 423247"/>
                <a:gd name="connsiteX727" fmla="*/ 337455 w 387278"/>
                <a:gd name="connsiteY727" fmla="*/ 149896 h 423247"/>
                <a:gd name="connsiteX728" fmla="*/ 337455 w 387278"/>
                <a:gd name="connsiteY728" fmla="*/ 148625 h 423247"/>
                <a:gd name="connsiteX729" fmla="*/ 337878 w 387278"/>
                <a:gd name="connsiteY729" fmla="*/ 147355 h 423247"/>
                <a:gd name="connsiteX730" fmla="*/ 338090 w 387278"/>
                <a:gd name="connsiteY730" fmla="*/ 145993 h 423247"/>
                <a:gd name="connsiteX731" fmla="*/ 337243 w 387278"/>
                <a:gd name="connsiteY731" fmla="*/ 144390 h 423247"/>
                <a:gd name="connsiteX732" fmla="*/ 338967 w 387278"/>
                <a:gd name="connsiteY732" fmla="*/ 143241 h 423247"/>
                <a:gd name="connsiteX733" fmla="*/ 340782 w 387278"/>
                <a:gd name="connsiteY733" fmla="*/ 142031 h 423247"/>
                <a:gd name="connsiteX734" fmla="*/ 344140 w 387278"/>
                <a:gd name="connsiteY734" fmla="*/ 141062 h 423247"/>
                <a:gd name="connsiteX735" fmla="*/ 353700 w 387278"/>
                <a:gd name="connsiteY735" fmla="*/ 140911 h 423247"/>
                <a:gd name="connsiteX736" fmla="*/ 359024 w 387278"/>
                <a:gd name="connsiteY736" fmla="*/ 142394 h 423247"/>
                <a:gd name="connsiteX737" fmla="*/ 363985 w 387278"/>
                <a:gd name="connsiteY737" fmla="*/ 141728 h 423247"/>
                <a:gd name="connsiteX738" fmla="*/ 365498 w 387278"/>
                <a:gd name="connsiteY738" fmla="*/ 142303 h 423247"/>
                <a:gd name="connsiteX739" fmla="*/ 369098 w 387278"/>
                <a:gd name="connsiteY739" fmla="*/ 143362 h 423247"/>
                <a:gd name="connsiteX740" fmla="*/ 370913 w 387278"/>
                <a:gd name="connsiteY740" fmla="*/ 140095 h 423247"/>
                <a:gd name="connsiteX741" fmla="*/ 371639 w 387278"/>
                <a:gd name="connsiteY741" fmla="*/ 134740 h 423247"/>
                <a:gd name="connsiteX742" fmla="*/ 372576 w 387278"/>
                <a:gd name="connsiteY742" fmla="*/ 118283 h 423247"/>
                <a:gd name="connsiteX743" fmla="*/ 373454 w 387278"/>
                <a:gd name="connsiteY743" fmla="*/ 113171 h 423247"/>
                <a:gd name="connsiteX744" fmla="*/ 374482 w 387278"/>
                <a:gd name="connsiteY744" fmla="*/ 110509 h 423247"/>
                <a:gd name="connsiteX745" fmla="*/ 375239 w 387278"/>
                <a:gd name="connsiteY745" fmla="*/ 108512 h 423247"/>
                <a:gd name="connsiteX746" fmla="*/ 383497 w 387278"/>
                <a:gd name="connsiteY746" fmla="*/ 96532 h 423247"/>
                <a:gd name="connsiteX747" fmla="*/ 385675 w 387278"/>
                <a:gd name="connsiteY747" fmla="*/ 91390 h 423247"/>
                <a:gd name="connsiteX748" fmla="*/ 386613 w 387278"/>
                <a:gd name="connsiteY748" fmla="*/ 86489 h 423247"/>
                <a:gd name="connsiteX749" fmla="*/ 386765 w 387278"/>
                <a:gd name="connsiteY749" fmla="*/ 80983 h 423247"/>
                <a:gd name="connsiteX750" fmla="*/ 385827 w 387278"/>
                <a:gd name="connsiteY750" fmla="*/ 69972 h 423247"/>
                <a:gd name="connsiteX751" fmla="*/ 385464 w 387278"/>
                <a:gd name="connsiteY751" fmla="*/ 68641 h 423247"/>
                <a:gd name="connsiteX752" fmla="*/ 384980 w 387278"/>
                <a:gd name="connsiteY752" fmla="*/ 67824 h 423247"/>
                <a:gd name="connsiteX753" fmla="*/ 384586 w 387278"/>
                <a:gd name="connsiteY753" fmla="*/ 66856 h 423247"/>
                <a:gd name="connsiteX754" fmla="*/ 384526 w 387278"/>
                <a:gd name="connsiteY754" fmla="*/ 65010 h 423247"/>
                <a:gd name="connsiteX755" fmla="*/ 384768 w 387278"/>
                <a:gd name="connsiteY755" fmla="*/ 63770 h 423247"/>
                <a:gd name="connsiteX756" fmla="*/ 386190 w 387278"/>
                <a:gd name="connsiteY756" fmla="*/ 60382 h 423247"/>
                <a:gd name="connsiteX757" fmla="*/ 234388 w 387278"/>
                <a:gd name="connsiteY757" fmla="*/ 19845 h 423247"/>
                <a:gd name="connsiteX758" fmla="*/ 239228 w 387278"/>
                <a:gd name="connsiteY758" fmla="*/ 17788 h 423247"/>
                <a:gd name="connsiteX759" fmla="*/ 241830 w 387278"/>
                <a:gd name="connsiteY759" fmla="*/ 17153 h 423247"/>
                <a:gd name="connsiteX760" fmla="*/ 252176 w 387278"/>
                <a:gd name="connsiteY760" fmla="*/ 17153 h 423247"/>
                <a:gd name="connsiteX761" fmla="*/ 262128 w 387278"/>
                <a:gd name="connsiteY761" fmla="*/ 15035 h 423247"/>
                <a:gd name="connsiteX762" fmla="*/ 258014 w 387278"/>
                <a:gd name="connsiteY762" fmla="*/ 13039 h 423247"/>
                <a:gd name="connsiteX763" fmla="*/ 233874 w 387278"/>
                <a:gd name="connsiteY763" fmla="*/ 13946 h 423247"/>
                <a:gd name="connsiteX764" fmla="*/ 232361 w 387278"/>
                <a:gd name="connsiteY764" fmla="*/ 13341 h 423247"/>
                <a:gd name="connsiteX765" fmla="*/ 230667 w 387278"/>
                <a:gd name="connsiteY765" fmla="*/ 14672 h 423247"/>
                <a:gd name="connsiteX766" fmla="*/ 230092 w 387278"/>
                <a:gd name="connsiteY766" fmla="*/ 16941 h 423247"/>
                <a:gd name="connsiteX767" fmla="*/ 231847 w 387278"/>
                <a:gd name="connsiteY767" fmla="*/ 19270 h 423247"/>
                <a:gd name="connsiteX768" fmla="*/ 234418 w 387278"/>
                <a:gd name="connsiteY768" fmla="*/ 19845 h 423247"/>
                <a:gd name="connsiteX769" fmla="*/ 279493 w 387278"/>
                <a:gd name="connsiteY769" fmla="*/ 14732 h 423247"/>
                <a:gd name="connsiteX770" fmla="*/ 279493 w 387278"/>
                <a:gd name="connsiteY770" fmla="*/ 15217 h 423247"/>
                <a:gd name="connsiteX771" fmla="*/ 280128 w 387278"/>
                <a:gd name="connsiteY771" fmla="*/ 16185 h 423247"/>
                <a:gd name="connsiteX772" fmla="*/ 282125 w 387278"/>
                <a:gd name="connsiteY772" fmla="*/ 13825 h 423247"/>
                <a:gd name="connsiteX773" fmla="*/ 299429 w 387278"/>
                <a:gd name="connsiteY773" fmla="*/ 8682 h 423247"/>
                <a:gd name="connsiteX774" fmla="*/ 300820 w 387278"/>
                <a:gd name="connsiteY774" fmla="*/ 8682 h 423247"/>
                <a:gd name="connsiteX775" fmla="*/ 300820 w 387278"/>
                <a:gd name="connsiteY775" fmla="*/ 7623 h 423247"/>
                <a:gd name="connsiteX776" fmla="*/ 298007 w 387278"/>
                <a:gd name="connsiteY776" fmla="*/ 6807 h 423247"/>
                <a:gd name="connsiteX777" fmla="*/ 288024 w 387278"/>
                <a:gd name="connsiteY777" fmla="*/ 7623 h 423247"/>
                <a:gd name="connsiteX778" fmla="*/ 285362 w 387278"/>
                <a:gd name="connsiteY778" fmla="*/ 8259 h 423247"/>
                <a:gd name="connsiteX779" fmla="*/ 281610 w 387278"/>
                <a:gd name="connsiteY779" fmla="*/ 9801 h 423247"/>
                <a:gd name="connsiteX780" fmla="*/ 279069 w 387278"/>
                <a:gd name="connsiteY780" fmla="*/ 11859 h 423247"/>
                <a:gd name="connsiteX781" fmla="*/ 280128 w 387278"/>
                <a:gd name="connsiteY781" fmla="*/ 13976 h 423247"/>
                <a:gd name="connsiteX782" fmla="*/ 279493 w 387278"/>
                <a:gd name="connsiteY782" fmla="*/ 14732 h 423247"/>
                <a:gd name="connsiteX783" fmla="*/ 313072 w 387278"/>
                <a:gd name="connsiteY783" fmla="*/ 2269 h 423247"/>
                <a:gd name="connsiteX784" fmla="*/ 316672 w 387278"/>
                <a:gd name="connsiteY784" fmla="*/ 3388 h 423247"/>
                <a:gd name="connsiteX785" fmla="*/ 316914 w 387278"/>
                <a:gd name="connsiteY785" fmla="*/ 2814 h 423247"/>
                <a:gd name="connsiteX786" fmla="*/ 317216 w 387278"/>
                <a:gd name="connsiteY786" fmla="*/ 2420 h 423247"/>
                <a:gd name="connsiteX787" fmla="*/ 317579 w 387278"/>
                <a:gd name="connsiteY787" fmla="*/ 2239 h 423247"/>
                <a:gd name="connsiteX788" fmla="*/ 318033 w 387278"/>
                <a:gd name="connsiteY788" fmla="*/ 2239 h 423247"/>
                <a:gd name="connsiteX789" fmla="*/ 312497 w 387278"/>
                <a:gd name="connsiteY789" fmla="*/ 0 h 423247"/>
                <a:gd name="connsiteX790" fmla="*/ 311106 w 387278"/>
                <a:gd name="connsiteY790" fmla="*/ 212 h 423247"/>
                <a:gd name="connsiteX791" fmla="*/ 311287 w 387278"/>
                <a:gd name="connsiteY791" fmla="*/ 1240 h 423247"/>
                <a:gd name="connsiteX792" fmla="*/ 313072 w 387278"/>
                <a:gd name="connsiteY792" fmla="*/ 2269 h 42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Lst>
              <a:rect l="l" t="t" r="r" b="b"/>
              <a:pathLst>
                <a:path w="387278" h="423247">
                  <a:moveTo>
                    <a:pt x="83554" y="330769"/>
                  </a:moveTo>
                  <a:lnTo>
                    <a:pt x="82919" y="331314"/>
                  </a:lnTo>
                  <a:lnTo>
                    <a:pt x="81195" y="333704"/>
                  </a:lnTo>
                  <a:lnTo>
                    <a:pt x="77716" y="333432"/>
                  </a:lnTo>
                  <a:lnTo>
                    <a:pt x="77081" y="333189"/>
                  </a:lnTo>
                  <a:lnTo>
                    <a:pt x="76082" y="332433"/>
                  </a:lnTo>
                  <a:lnTo>
                    <a:pt x="73662" y="332131"/>
                  </a:lnTo>
                  <a:lnTo>
                    <a:pt x="72543" y="331768"/>
                  </a:lnTo>
                  <a:lnTo>
                    <a:pt x="71635" y="330860"/>
                  </a:lnTo>
                  <a:lnTo>
                    <a:pt x="70516" y="328561"/>
                  </a:lnTo>
                  <a:lnTo>
                    <a:pt x="69850" y="327623"/>
                  </a:lnTo>
                  <a:lnTo>
                    <a:pt x="68398" y="326776"/>
                  </a:lnTo>
                  <a:lnTo>
                    <a:pt x="66039" y="325929"/>
                  </a:lnTo>
                  <a:lnTo>
                    <a:pt x="63861" y="325838"/>
                  </a:lnTo>
                  <a:lnTo>
                    <a:pt x="62892" y="327139"/>
                  </a:lnTo>
                  <a:lnTo>
                    <a:pt x="62348" y="330073"/>
                  </a:lnTo>
                  <a:lnTo>
                    <a:pt x="60987" y="331556"/>
                  </a:lnTo>
                  <a:lnTo>
                    <a:pt x="51155" y="335458"/>
                  </a:lnTo>
                  <a:lnTo>
                    <a:pt x="48735" y="335791"/>
                  </a:lnTo>
                  <a:lnTo>
                    <a:pt x="44893" y="334762"/>
                  </a:lnTo>
                  <a:lnTo>
                    <a:pt x="40839" y="334762"/>
                  </a:lnTo>
                  <a:lnTo>
                    <a:pt x="38691" y="333915"/>
                  </a:lnTo>
                  <a:lnTo>
                    <a:pt x="35455" y="331283"/>
                  </a:lnTo>
                  <a:lnTo>
                    <a:pt x="25653" y="328682"/>
                  </a:lnTo>
                  <a:lnTo>
                    <a:pt x="19300" y="324870"/>
                  </a:lnTo>
                  <a:lnTo>
                    <a:pt x="17727" y="325052"/>
                  </a:lnTo>
                  <a:lnTo>
                    <a:pt x="16245" y="326171"/>
                  </a:lnTo>
                  <a:lnTo>
                    <a:pt x="0" y="331011"/>
                  </a:lnTo>
                  <a:lnTo>
                    <a:pt x="0" y="331011"/>
                  </a:lnTo>
                  <a:lnTo>
                    <a:pt x="877" y="336729"/>
                  </a:lnTo>
                  <a:lnTo>
                    <a:pt x="453" y="340389"/>
                  </a:lnTo>
                  <a:lnTo>
                    <a:pt x="393" y="343838"/>
                  </a:lnTo>
                  <a:lnTo>
                    <a:pt x="1815" y="347559"/>
                  </a:lnTo>
                  <a:lnTo>
                    <a:pt x="4265" y="350009"/>
                  </a:lnTo>
                  <a:lnTo>
                    <a:pt x="4991" y="350312"/>
                  </a:lnTo>
                  <a:lnTo>
                    <a:pt x="7321" y="351310"/>
                  </a:lnTo>
                  <a:lnTo>
                    <a:pt x="10527" y="351673"/>
                  </a:lnTo>
                  <a:lnTo>
                    <a:pt x="15277" y="350977"/>
                  </a:lnTo>
                  <a:lnTo>
                    <a:pt x="15579" y="349586"/>
                  </a:lnTo>
                  <a:lnTo>
                    <a:pt x="15337" y="347710"/>
                  </a:lnTo>
                  <a:lnTo>
                    <a:pt x="15519" y="345986"/>
                  </a:lnTo>
                  <a:lnTo>
                    <a:pt x="16638" y="344927"/>
                  </a:lnTo>
                  <a:lnTo>
                    <a:pt x="18121" y="344594"/>
                  </a:lnTo>
                  <a:lnTo>
                    <a:pt x="19724" y="344503"/>
                  </a:lnTo>
                  <a:lnTo>
                    <a:pt x="23717" y="343657"/>
                  </a:lnTo>
                  <a:lnTo>
                    <a:pt x="26197" y="343535"/>
                  </a:lnTo>
                  <a:lnTo>
                    <a:pt x="28769" y="343898"/>
                  </a:lnTo>
                  <a:lnTo>
                    <a:pt x="41081" y="347680"/>
                  </a:lnTo>
                  <a:lnTo>
                    <a:pt x="42987" y="348829"/>
                  </a:lnTo>
                  <a:lnTo>
                    <a:pt x="43502" y="350766"/>
                  </a:lnTo>
                  <a:lnTo>
                    <a:pt x="43320" y="352399"/>
                  </a:lnTo>
                  <a:lnTo>
                    <a:pt x="43502" y="353942"/>
                  </a:lnTo>
                  <a:lnTo>
                    <a:pt x="44984" y="355575"/>
                  </a:lnTo>
                  <a:lnTo>
                    <a:pt x="46224" y="356090"/>
                  </a:lnTo>
                  <a:lnTo>
                    <a:pt x="58143" y="355969"/>
                  </a:lnTo>
                  <a:lnTo>
                    <a:pt x="60412" y="355303"/>
                  </a:lnTo>
                  <a:lnTo>
                    <a:pt x="65010" y="352006"/>
                  </a:lnTo>
                  <a:lnTo>
                    <a:pt x="77474" y="346228"/>
                  </a:lnTo>
                  <a:lnTo>
                    <a:pt x="82465" y="342598"/>
                  </a:lnTo>
                  <a:lnTo>
                    <a:pt x="86428" y="337606"/>
                  </a:lnTo>
                  <a:lnTo>
                    <a:pt x="86973" y="336154"/>
                  </a:lnTo>
                  <a:lnTo>
                    <a:pt x="87729" y="332705"/>
                  </a:lnTo>
                  <a:lnTo>
                    <a:pt x="87789" y="332070"/>
                  </a:lnTo>
                  <a:lnTo>
                    <a:pt x="85581" y="330890"/>
                  </a:lnTo>
                  <a:lnTo>
                    <a:pt x="83615" y="330679"/>
                  </a:lnTo>
                  <a:close/>
                  <a:moveTo>
                    <a:pt x="37300" y="286300"/>
                  </a:moveTo>
                  <a:lnTo>
                    <a:pt x="41807" y="286058"/>
                  </a:lnTo>
                  <a:lnTo>
                    <a:pt x="42412" y="285543"/>
                  </a:lnTo>
                  <a:lnTo>
                    <a:pt x="44893" y="282821"/>
                  </a:lnTo>
                  <a:lnTo>
                    <a:pt x="46224" y="282911"/>
                  </a:lnTo>
                  <a:lnTo>
                    <a:pt x="47071" y="283547"/>
                  </a:lnTo>
                  <a:lnTo>
                    <a:pt x="47706" y="284333"/>
                  </a:lnTo>
                  <a:lnTo>
                    <a:pt x="48372" y="284938"/>
                  </a:lnTo>
                  <a:lnTo>
                    <a:pt x="52304" y="286390"/>
                  </a:lnTo>
                  <a:lnTo>
                    <a:pt x="53908" y="287540"/>
                  </a:lnTo>
                  <a:lnTo>
                    <a:pt x="54543" y="289476"/>
                  </a:lnTo>
                  <a:lnTo>
                    <a:pt x="55511" y="291473"/>
                  </a:lnTo>
                  <a:lnTo>
                    <a:pt x="57689" y="292864"/>
                  </a:lnTo>
                  <a:lnTo>
                    <a:pt x="61440" y="294165"/>
                  </a:lnTo>
                  <a:lnTo>
                    <a:pt x="63225" y="294256"/>
                  </a:lnTo>
                  <a:lnTo>
                    <a:pt x="70970" y="292864"/>
                  </a:lnTo>
                  <a:lnTo>
                    <a:pt x="72754" y="292229"/>
                  </a:lnTo>
                  <a:lnTo>
                    <a:pt x="74418" y="291170"/>
                  </a:lnTo>
                  <a:lnTo>
                    <a:pt x="75447" y="289657"/>
                  </a:lnTo>
                  <a:lnTo>
                    <a:pt x="75235" y="287268"/>
                  </a:lnTo>
                  <a:lnTo>
                    <a:pt x="73329" y="286027"/>
                  </a:lnTo>
                  <a:lnTo>
                    <a:pt x="69124" y="284938"/>
                  </a:lnTo>
                  <a:lnTo>
                    <a:pt x="68126" y="284152"/>
                  </a:lnTo>
                  <a:lnTo>
                    <a:pt x="67491" y="283365"/>
                  </a:lnTo>
                  <a:lnTo>
                    <a:pt x="67007" y="282579"/>
                  </a:lnTo>
                  <a:lnTo>
                    <a:pt x="63255" y="278313"/>
                  </a:lnTo>
                  <a:lnTo>
                    <a:pt x="61622" y="277133"/>
                  </a:lnTo>
                  <a:lnTo>
                    <a:pt x="59384" y="276680"/>
                  </a:lnTo>
                  <a:lnTo>
                    <a:pt x="49733" y="276438"/>
                  </a:lnTo>
                  <a:lnTo>
                    <a:pt x="48402" y="275772"/>
                  </a:lnTo>
                  <a:lnTo>
                    <a:pt x="46769" y="275651"/>
                  </a:lnTo>
                  <a:lnTo>
                    <a:pt x="46345" y="275772"/>
                  </a:lnTo>
                  <a:lnTo>
                    <a:pt x="37874" y="276922"/>
                  </a:lnTo>
                  <a:lnTo>
                    <a:pt x="34214" y="279100"/>
                  </a:lnTo>
                  <a:lnTo>
                    <a:pt x="33942" y="283910"/>
                  </a:lnTo>
                  <a:lnTo>
                    <a:pt x="35273" y="285725"/>
                  </a:lnTo>
                  <a:lnTo>
                    <a:pt x="37330" y="286300"/>
                  </a:lnTo>
                  <a:close/>
                  <a:moveTo>
                    <a:pt x="142091" y="87094"/>
                  </a:moveTo>
                  <a:lnTo>
                    <a:pt x="145479" y="86186"/>
                  </a:lnTo>
                  <a:lnTo>
                    <a:pt x="147748" y="82133"/>
                  </a:lnTo>
                  <a:lnTo>
                    <a:pt x="152497" y="78533"/>
                  </a:lnTo>
                  <a:lnTo>
                    <a:pt x="155311" y="74540"/>
                  </a:lnTo>
                  <a:lnTo>
                    <a:pt x="156611" y="72150"/>
                  </a:lnTo>
                  <a:lnTo>
                    <a:pt x="157307" y="70123"/>
                  </a:lnTo>
                  <a:lnTo>
                    <a:pt x="155250" y="70123"/>
                  </a:lnTo>
                  <a:lnTo>
                    <a:pt x="155250" y="69185"/>
                  </a:lnTo>
                  <a:lnTo>
                    <a:pt x="157005" y="67975"/>
                  </a:lnTo>
                  <a:lnTo>
                    <a:pt x="157005" y="65555"/>
                  </a:lnTo>
                  <a:lnTo>
                    <a:pt x="156006" y="62832"/>
                  </a:lnTo>
                  <a:lnTo>
                    <a:pt x="154585" y="60685"/>
                  </a:lnTo>
                  <a:lnTo>
                    <a:pt x="155159" y="59928"/>
                  </a:lnTo>
                  <a:lnTo>
                    <a:pt x="155250" y="59202"/>
                  </a:lnTo>
                  <a:lnTo>
                    <a:pt x="155008" y="58416"/>
                  </a:lnTo>
                  <a:lnTo>
                    <a:pt x="154615" y="57508"/>
                  </a:lnTo>
                  <a:lnTo>
                    <a:pt x="151438" y="57357"/>
                  </a:lnTo>
                  <a:lnTo>
                    <a:pt x="148928" y="61169"/>
                  </a:lnTo>
                  <a:lnTo>
                    <a:pt x="146568" y="65797"/>
                  </a:lnTo>
                  <a:lnTo>
                    <a:pt x="141819" y="69578"/>
                  </a:lnTo>
                  <a:lnTo>
                    <a:pt x="139308" y="73329"/>
                  </a:lnTo>
                  <a:lnTo>
                    <a:pt x="137311" y="77867"/>
                  </a:lnTo>
                  <a:lnTo>
                    <a:pt x="136676" y="81891"/>
                  </a:lnTo>
                  <a:lnTo>
                    <a:pt x="138612" y="85793"/>
                  </a:lnTo>
                  <a:lnTo>
                    <a:pt x="142151" y="87124"/>
                  </a:lnTo>
                  <a:close/>
                  <a:moveTo>
                    <a:pt x="159576" y="51427"/>
                  </a:moveTo>
                  <a:lnTo>
                    <a:pt x="161754" y="48402"/>
                  </a:lnTo>
                  <a:lnTo>
                    <a:pt x="169710" y="41263"/>
                  </a:lnTo>
                  <a:lnTo>
                    <a:pt x="172645" y="40235"/>
                  </a:lnTo>
                  <a:lnTo>
                    <a:pt x="173915" y="39569"/>
                  </a:lnTo>
                  <a:lnTo>
                    <a:pt x="176608" y="39569"/>
                  </a:lnTo>
                  <a:lnTo>
                    <a:pt x="176608" y="38510"/>
                  </a:lnTo>
                  <a:lnTo>
                    <a:pt x="171525" y="37875"/>
                  </a:lnTo>
                  <a:lnTo>
                    <a:pt x="164689" y="41565"/>
                  </a:lnTo>
                  <a:lnTo>
                    <a:pt x="158124" y="47162"/>
                  </a:lnTo>
                  <a:lnTo>
                    <a:pt x="153859" y="52244"/>
                  </a:lnTo>
                  <a:lnTo>
                    <a:pt x="157005" y="53545"/>
                  </a:lnTo>
                  <a:lnTo>
                    <a:pt x="159576" y="51458"/>
                  </a:lnTo>
                  <a:close/>
                  <a:moveTo>
                    <a:pt x="187014" y="31855"/>
                  </a:moveTo>
                  <a:lnTo>
                    <a:pt x="200960" y="26198"/>
                  </a:lnTo>
                  <a:lnTo>
                    <a:pt x="204530" y="25351"/>
                  </a:lnTo>
                  <a:lnTo>
                    <a:pt x="209007" y="23536"/>
                  </a:lnTo>
                  <a:lnTo>
                    <a:pt x="213182" y="23203"/>
                  </a:lnTo>
                  <a:lnTo>
                    <a:pt x="214482" y="22568"/>
                  </a:lnTo>
                  <a:lnTo>
                    <a:pt x="214301" y="22023"/>
                  </a:lnTo>
                  <a:lnTo>
                    <a:pt x="214059" y="20874"/>
                  </a:lnTo>
                  <a:lnTo>
                    <a:pt x="213847" y="20329"/>
                  </a:lnTo>
                  <a:lnTo>
                    <a:pt x="219716" y="20117"/>
                  </a:lnTo>
                  <a:lnTo>
                    <a:pt x="222560" y="19210"/>
                  </a:lnTo>
                  <a:lnTo>
                    <a:pt x="224889" y="16215"/>
                  </a:lnTo>
                  <a:lnTo>
                    <a:pt x="209975" y="18877"/>
                  </a:lnTo>
                  <a:lnTo>
                    <a:pt x="208644" y="19815"/>
                  </a:lnTo>
                  <a:lnTo>
                    <a:pt x="206980" y="21025"/>
                  </a:lnTo>
                  <a:lnTo>
                    <a:pt x="193458" y="23566"/>
                  </a:lnTo>
                  <a:lnTo>
                    <a:pt x="191159" y="23505"/>
                  </a:lnTo>
                  <a:lnTo>
                    <a:pt x="189374" y="25018"/>
                  </a:lnTo>
                  <a:lnTo>
                    <a:pt x="183989" y="26773"/>
                  </a:lnTo>
                  <a:lnTo>
                    <a:pt x="182839" y="29435"/>
                  </a:lnTo>
                  <a:lnTo>
                    <a:pt x="184080" y="31764"/>
                  </a:lnTo>
                  <a:lnTo>
                    <a:pt x="186954" y="31825"/>
                  </a:lnTo>
                  <a:close/>
                  <a:moveTo>
                    <a:pt x="386280" y="60412"/>
                  </a:moveTo>
                  <a:lnTo>
                    <a:pt x="386976" y="57750"/>
                  </a:lnTo>
                  <a:lnTo>
                    <a:pt x="387279" y="55360"/>
                  </a:lnTo>
                  <a:lnTo>
                    <a:pt x="387188" y="52879"/>
                  </a:lnTo>
                  <a:lnTo>
                    <a:pt x="386916" y="48493"/>
                  </a:lnTo>
                  <a:lnTo>
                    <a:pt x="385766" y="48493"/>
                  </a:lnTo>
                  <a:lnTo>
                    <a:pt x="378506" y="46739"/>
                  </a:lnTo>
                  <a:lnTo>
                    <a:pt x="375450" y="45135"/>
                  </a:lnTo>
                  <a:lnTo>
                    <a:pt x="375239" y="42625"/>
                  </a:lnTo>
                  <a:lnTo>
                    <a:pt x="374755" y="41324"/>
                  </a:lnTo>
                  <a:lnTo>
                    <a:pt x="374755" y="40658"/>
                  </a:lnTo>
                  <a:lnTo>
                    <a:pt x="375148" y="40204"/>
                  </a:lnTo>
                  <a:lnTo>
                    <a:pt x="375965" y="39569"/>
                  </a:lnTo>
                  <a:lnTo>
                    <a:pt x="375965" y="38510"/>
                  </a:lnTo>
                  <a:lnTo>
                    <a:pt x="375269" y="38510"/>
                  </a:lnTo>
                  <a:lnTo>
                    <a:pt x="374392" y="39387"/>
                  </a:lnTo>
                  <a:lnTo>
                    <a:pt x="373212" y="39690"/>
                  </a:lnTo>
                  <a:lnTo>
                    <a:pt x="372002" y="39418"/>
                  </a:lnTo>
                  <a:lnTo>
                    <a:pt x="371155" y="38510"/>
                  </a:lnTo>
                  <a:lnTo>
                    <a:pt x="369370" y="39055"/>
                  </a:lnTo>
                  <a:lnTo>
                    <a:pt x="365346" y="36937"/>
                  </a:lnTo>
                  <a:lnTo>
                    <a:pt x="362170" y="35969"/>
                  </a:lnTo>
                  <a:lnTo>
                    <a:pt x="361474" y="35273"/>
                  </a:lnTo>
                  <a:lnTo>
                    <a:pt x="360990" y="34547"/>
                  </a:lnTo>
                  <a:lnTo>
                    <a:pt x="360506" y="34215"/>
                  </a:lnTo>
                  <a:lnTo>
                    <a:pt x="360325" y="33821"/>
                  </a:lnTo>
                  <a:lnTo>
                    <a:pt x="357874" y="32218"/>
                  </a:lnTo>
                  <a:lnTo>
                    <a:pt x="357360" y="32006"/>
                  </a:lnTo>
                  <a:lnTo>
                    <a:pt x="353972" y="19210"/>
                  </a:lnTo>
                  <a:lnTo>
                    <a:pt x="352248" y="17576"/>
                  </a:lnTo>
                  <a:lnTo>
                    <a:pt x="350160" y="16699"/>
                  </a:lnTo>
                  <a:lnTo>
                    <a:pt x="340208" y="15156"/>
                  </a:lnTo>
                  <a:lnTo>
                    <a:pt x="316460" y="18574"/>
                  </a:lnTo>
                  <a:lnTo>
                    <a:pt x="301486" y="22598"/>
                  </a:lnTo>
                  <a:lnTo>
                    <a:pt x="298914" y="24443"/>
                  </a:lnTo>
                  <a:lnTo>
                    <a:pt x="298067" y="24716"/>
                  </a:lnTo>
                  <a:lnTo>
                    <a:pt x="297099" y="24383"/>
                  </a:lnTo>
                  <a:lnTo>
                    <a:pt x="295345" y="22931"/>
                  </a:lnTo>
                  <a:lnTo>
                    <a:pt x="294286" y="22598"/>
                  </a:lnTo>
                  <a:lnTo>
                    <a:pt x="285452" y="22840"/>
                  </a:lnTo>
                  <a:lnTo>
                    <a:pt x="274501" y="23173"/>
                  </a:lnTo>
                  <a:lnTo>
                    <a:pt x="264791" y="23596"/>
                  </a:lnTo>
                  <a:lnTo>
                    <a:pt x="258045" y="26803"/>
                  </a:lnTo>
                  <a:lnTo>
                    <a:pt x="255715" y="26984"/>
                  </a:lnTo>
                  <a:lnTo>
                    <a:pt x="252085" y="29374"/>
                  </a:lnTo>
                  <a:lnTo>
                    <a:pt x="235961" y="35364"/>
                  </a:lnTo>
                  <a:lnTo>
                    <a:pt x="232452" y="38177"/>
                  </a:lnTo>
                  <a:lnTo>
                    <a:pt x="227642" y="38934"/>
                  </a:lnTo>
                  <a:lnTo>
                    <a:pt x="225615" y="39599"/>
                  </a:lnTo>
                  <a:lnTo>
                    <a:pt x="223800" y="41324"/>
                  </a:lnTo>
                  <a:lnTo>
                    <a:pt x="222227" y="43441"/>
                  </a:lnTo>
                  <a:lnTo>
                    <a:pt x="220533" y="45196"/>
                  </a:lnTo>
                  <a:lnTo>
                    <a:pt x="216842" y="46678"/>
                  </a:lnTo>
                  <a:lnTo>
                    <a:pt x="214664" y="48463"/>
                  </a:lnTo>
                  <a:lnTo>
                    <a:pt x="211125" y="52275"/>
                  </a:lnTo>
                  <a:lnTo>
                    <a:pt x="209068" y="56994"/>
                  </a:lnTo>
                  <a:lnTo>
                    <a:pt x="206315" y="67521"/>
                  </a:lnTo>
                  <a:lnTo>
                    <a:pt x="204257" y="71303"/>
                  </a:lnTo>
                  <a:lnTo>
                    <a:pt x="202200" y="72543"/>
                  </a:lnTo>
                  <a:lnTo>
                    <a:pt x="197542" y="73541"/>
                  </a:lnTo>
                  <a:lnTo>
                    <a:pt x="195666" y="74993"/>
                  </a:lnTo>
                  <a:lnTo>
                    <a:pt x="194184" y="76627"/>
                  </a:lnTo>
                  <a:lnTo>
                    <a:pt x="173915" y="93356"/>
                  </a:lnTo>
                  <a:lnTo>
                    <a:pt x="169983" y="94959"/>
                  </a:lnTo>
                  <a:lnTo>
                    <a:pt x="165959" y="95474"/>
                  </a:lnTo>
                  <a:lnTo>
                    <a:pt x="163872" y="96169"/>
                  </a:lnTo>
                  <a:lnTo>
                    <a:pt x="159607" y="99588"/>
                  </a:lnTo>
                  <a:lnTo>
                    <a:pt x="157307" y="100798"/>
                  </a:lnTo>
                  <a:lnTo>
                    <a:pt x="153344" y="101040"/>
                  </a:lnTo>
                  <a:lnTo>
                    <a:pt x="149230" y="99890"/>
                  </a:lnTo>
                  <a:lnTo>
                    <a:pt x="146870" y="97107"/>
                  </a:lnTo>
                  <a:lnTo>
                    <a:pt x="148383" y="92418"/>
                  </a:lnTo>
                  <a:lnTo>
                    <a:pt x="147627" y="91269"/>
                  </a:lnTo>
                  <a:lnTo>
                    <a:pt x="146629" y="92146"/>
                  </a:lnTo>
                  <a:lnTo>
                    <a:pt x="140457" y="91269"/>
                  </a:lnTo>
                  <a:lnTo>
                    <a:pt x="139277" y="92600"/>
                  </a:lnTo>
                  <a:lnTo>
                    <a:pt x="138521" y="95746"/>
                  </a:lnTo>
                  <a:lnTo>
                    <a:pt x="138128" y="99376"/>
                  </a:lnTo>
                  <a:lnTo>
                    <a:pt x="138037" y="102220"/>
                  </a:lnTo>
                  <a:lnTo>
                    <a:pt x="137069" y="107242"/>
                  </a:lnTo>
                  <a:lnTo>
                    <a:pt x="132834" y="117406"/>
                  </a:lnTo>
                  <a:lnTo>
                    <a:pt x="131866" y="122186"/>
                  </a:lnTo>
                  <a:lnTo>
                    <a:pt x="131594" y="124485"/>
                  </a:lnTo>
                  <a:lnTo>
                    <a:pt x="129809" y="132048"/>
                  </a:lnTo>
                  <a:lnTo>
                    <a:pt x="125543" y="161573"/>
                  </a:lnTo>
                  <a:lnTo>
                    <a:pt x="123577" y="165476"/>
                  </a:lnTo>
                  <a:lnTo>
                    <a:pt x="123577" y="166595"/>
                  </a:lnTo>
                  <a:lnTo>
                    <a:pt x="122700" y="170890"/>
                  </a:lnTo>
                  <a:lnTo>
                    <a:pt x="116619" y="187378"/>
                  </a:lnTo>
                  <a:lnTo>
                    <a:pt x="106424" y="204409"/>
                  </a:lnTo>
                  <a:lnTo>
                    <a:pt x="94112" y="221047"/>
                  </a:lnTo>
                  <a:lnTo>
                    <a:pt x="79743" y="237171"/>
                  </a:lnTo>
                  <a:lnTo>
                    <a:pt x="76294" y="239229"/>
                  </a:lnTo>
                  <a:lnTo>
                    <a:pt x="72422" y="239803"/>
                  </a:lnTo>
                  <a:lnTo>
                    <a:pt x="67733" y="238835"/>
                  </a:lnTo>
                  <a:lnTo>
                    <a:pt x="67037" y="239833"/>
                  </a:lnTo>
                  <a:lnTo>
                    <a:pt x="66462" y="240983"/>
                  </a:lnTo>
                  <a:lnTo>
                    <a:pt x="67582" y="243494"/>
                  </a:lnTo>
                  <a:lnTo>
                    <a:pt x="69487" y="249393"/>
                  </a:lnTo>
                  <a:lnTo>
                    <a:pt x="69820" y="251692"/>
                  </a:lnTo>
                  <a:lnTo>
                    <a:pt x="69609" y="252176"/>
                  </a:lnTo>
                  <a:lnTo>
                    <a:pt x="69155" y="252751"/>
                  </a:lnTo>
                  <a:lnTo>
                    <a:pt x="68701" y="253568"/>
                  </a:lnTo>
                  <a:lnTo>
                    <a:pt x="68489" y="254748"/>
                  </a:lnTo>
                  <a:lnTo>
                    <a:pt x="68731" y="255685"/>
                  </a:lnTo>
                  <a:lnTo>
                    <a:pt x="69306" y="256290"/>
                  </a:lnTo>
                  <a:lnTo>
                    <a:pt x="70002" y="256804"/>
                  </a:lnTo>
                  <a:lnTo>
                    <a:pt x="72573" y="260072"/>
                  </a:lnTo>
                  <a:lnTo>
                    <a:pt x="73329" y="261433"/>
                  </a:lnTo>
                  <a:lnTo>
                    <a:pt x="72119" y="262401"/>
                  </a:lnTo>
                  <a:lnTo>
                    <a:pt x="71061" y="262824"/>
                  </a:lnTo>
                  <a:lnTo>
                    <a:pt x="70304" y="262915"/>
                  </a:lnTo>
                  <a:lnTo>
                    <a:pt x="69881" y="262824"/>
                  </a:lnTo>
                  <a:lnTo>
                    <a:pt x="67067" y="261433"/>
                  </a:lnTo>
                  <a:lnTo>
                    <a:pt x="63709" y="260737"/>
                  </a:lnTo>
                  <a:lnTo>
                    <a:pt x="61743" y="260858"/>
                  </a:lnTo>
                  <a:lnTo>
                    <a:pt x="60896" y="261947"/>
                  </a:lnTo>
                  <a:lnTo>
                    <a:pt x="54573" y="263732"/>
                  </a:lnTo>
                  <a:lnTo>
                    <a:pt x="51639" y="265547"/>
                  </a:lnTo>
                  <a:lnTo>
                    <a:pt x="52577" y="269692"/>
                  </a:lnTo>
                  <a:lnTo>
                    <a:pt x="53545" y="269692"/>
                  </a:lnTo>
                  <a:lnTo>
                    <a:pt x="54241" y="269601"/>
                  </a:lnTo>
                  <a:lnTo>
                    <a:pt x="54604" y="268996"/>
                  </a:lnTo>
                  <a:lnTo>
                    <a:pt x="56570" y="268481"/>
                  </a:lnTo>
                  <a:lnTo>
                    <a:pt x="59172" y="268481"/>
                  </a:lnTo>
                  <a:lnTo>
                    <a:pt x="61713" y="267755"/>
                  </a:lnTo>
                  <a:lnTo>
                    <a:pt x="63618" y="266455"/>
                  </a:lnTo>
                  <a:lnTo>
                    <a:pt x="66462" y="268240"/>
                  </a:lnTo>
                  <a:lnTo>
                    <a:pt x="68882" y="270297"/>
                  </a:lnTo>
                  <a:lnTo>
                    <a:pt x="70576" y="273382"/>
                  </a:lnTo>
                  <a:lnTo>
                    <a:pt x="71212" y="278343"/>
                  </a:lnTo>
                  <a:lnTo>
                    <a:pt x="72664" y="280310"/>
                  </a:lnTo>
                  <a:lnTo>
                    <a:pt x="79652" y="282276"/>
                  </a:lnTo>
                  <a:lnTo>
                    <a:pt x="82193" y="283940"/>
                  </a:lnTo>
                  <a:lnTo>
                    <a:pt x="83252" y="284969"/>
                  </a:lnTo>
                  <a:lnTo>
                    <a:pt x="79834" y="285241"/>
                  </a:lnTo>
                  <a:lnTo>
                    <a:pt x="78109" y="285906"/>
                  </a:lnTo>
                  <a:lnTo>
                    <a:pt x="76808" y="287207"/>
                  </a:lnTo>
                  <a:lnTo>
                    <a:pt x="76506" y="288478"/>
                  </a:lnTo>
                  <a:lnTo>
                    <a:pt x="76506" y="290202"/>
                  </a:lnTo>
                  <a:lnTo>
                    <a:pt x="76838" y="291926"/>
                  </a:lnTo>
                  <a:lnTo>
                    <a:pt x="77353" y="293197"/>
                  </a:lnTo>
                  <a:lnTo>
                    <a:pt x="78139" y="294105"/>
                  </a:lnTo>
                  <a:lnTo>
                    <a:pt x="79137" y="294740"/>
                  </a:lnTo>
                  <a:lnTo>
                    <a:pt x="80226" y="295133"/>
                  </a:lnTo>
                  <a:lnTo>
                    <a:pt x="84190" y="295284"/>
                  </a:lnTo>
                  <a:lnTo>
                    <a:pt x="84583" y="295284"/>
                  </a:lnTo>
                  <a:lnTo>
                    <a:pt x="85854" y="296434"/>
                  </a:lnTo>
                  <a:lnTo>
                    <a:pt x="86307" y="299217"/>
                  </a:lnTo>
                  <a:lnTo>
                    <a:pt x="86277" y="299217"/>
                  </a:lnTo>
                  <a:lnTo>
                    <a:pt x="83917" y="297341"/>
                  </a:lnTo>
                  <a:lnTo>
                    <a:pt x="81286" y="296615"/>
                  </a:lnTo>
                  <a:lnTo>
                    <a:pt x="72271" y="296192"/>
                  </a:lnTo>
                  <a:lnTo>
                    <a:pt x="69609" y="296888"/>
                  </a:lnTo>
                  <a:lnTo>
                    <a:pt x="64254" y="299217"/>
                  </a:lnTo>
                  <a:lnTo>
                    <a:pt x="72210" y="306084"/>
                  </a:lnTo>
                  <a:lnTo>
                    <a:pt x="74630" y="307415"/>
                  </a:lnTo>
                  <a:lnTo>
                    <a:pt x="76143" y="307657"/>
                  </a:lnTo>
                  <a:lnTo>
                    <a:pt x="79319" y="307294"/>
                  </a:lnTo>
                  <a:lnTo>
                    <a:pt x="80862" y="307415"/>
                  </a:lnTo>
                  <a:lnTo>
                    <a:pt x="85006" y="309109"/>
                  </a:lnTo>
                  <a:lnTo>
                    <a:pt x="88606" y="309684"/>
                  </a:lnTo>
                  <a:lnTo>
                    <a:pt x="89544" y="309835"/>
                  </a:lnTo>
                  <a:lnTo>
                    <a:pt x="92357" y="311348"/>
                  </a:lnTo>
                  <a:lnTo>
                    <a:pt x="94475" y="313738"/>
                  </a:lnTo>
                  <a:lnTo>
                    <a:pt x="95292" y="316944"/>
                  </a:lnTo>
                  <a:lnTo>
                    <a:pt x="93930" y="320332"/>
                  </a:lnTo>
                  <a:lnTo>
                    <a:pt x="91994" y="320817"/>
                  </a:lnTo>
                  <a:lnTo>
                    <a:pt x="90875" y="321119"/>
                  </a:lnTo>
                  <a:lnTo>
                    <a:pt x="87608" y="320968"/>
                  </a:lnTo>
                  <a:lnTo>
                    <a:pt x="85611" y="321573"/>
                  </a:lnTo>
                  <a:lnTo>
                    <a:pt x="83645" y="320635"/>
                  </a:lnTo>
                  <a:lnTo>
                    <a:pt x="78411" y="321301"/>
                  </a:lnTo>
                  <a:lnTo>
                    <a:pt x="75992" y="320665"/>
                  </a:lnTo>
                  <a:lnTo>
                    <a:pt x="74509" y="318790"/>
                  </a:lnTo>
                  <a:lnTo>
                    <a:pt x="72513" y="313677"/>
                  </a:lnTo>
                  <a:lnTo>
                    <a:pt x="71181" y="311378"/>
                  </a:lnTo>
                  <a:lnTo>
                    <a:pt x="67037" y="308051"/>
                  </a:lnTo>
                  <a:lnTo>
                    <a:pt x="62136" y="306235"/>
                  </a:lnTo>
                  <a:lnTo>
                    <a:pt x="52516" y="305298"/>
                  </a:lnTo>
                  <a:lnTo>
                    <a:pt x="52516" y="304390"/>
                  </a:lnTo>
                  <a:lnTo>
                    <a:pt x="53182" y="303815"/>
                  </a:lnTo>
                  <a:lnTo>
                    <a:pt x="54906" y="302726"/>
                  </a:lnTo>
                  <a:lnTo>
                    <a:pt x="55965" y="302333"/>
                  </a:lnTo>
                  <a:lnTo>
                    <a:pt x="55027" y="300155"/>
                  </a:lnTo>
                  <a:lnTo>
                    <a:pt x="53575" y="298340"/>
                  </a:lnTo>
                  <a:lnTo>
                    <a:pt x="51941" y="296948"/>
                  </a:lnTo>
                  <a:lnTo>
                    <a:pt x="50429" y="296162"/>
                  </a:lnTo>
                  <a:lnTo>
                    <a:pt x="48190" y="295859"/>
                  </a:lnTo>
                  <a:lnTo>
                    <a:pt x="21176" y="298552"/>
                  </a:lnTo>
                  <a:lnTo>
                    <a:pt x="10830" y="304420"/>
                  </a:lnTo>
                  <a:lnTo>
                    <a:pt x="9771" y="305782"/>
                  </a:lnTo>
                  <a:lnTo>
                    <a:pt x="10164" y="308202"/>
                  </a:lnTo>
                  <a:lnTo>
                    <a:pt x="11253" y="309805"/>
                  </a:lnTo>
                  <a:lnTo>
                    <a:pt x="14551" y="312467"/>
                  </a:lnTo>
                  <a:lnTo>
                    <a:pt x="15761" y="314191"/>
                  </a:lnTo>
                  <a:lnTo>
                    <a:pt x="17122" y="316551"/>
                  </a:lnTo>
                  <a:lnTo>
                    <a:pt x="18635" y="318669"/>
                  </a:lnTo>
                  <a:lnTo>
                    <a:pt x="20450" y="319576"/>
                  </a:lnTo>
                  <a:lnTo>
                    <a:pt x="26137" y="320756"/>
                  </a:lnTo>
                  <a:lnTo>
                    <a:pt x="28406" y="320665"/>
                  </a:lnTo>
                  <a:lnTo>
                    <a:pt x="32580" y="319213"/>
                  </a:lnTo>
                  <a:lnTo>
                    <a:pt x="34154" y="319365"/>
                  </a:lnTo>
                  <a:lnTo>
                    <a:pt x="38086" y="322844"/>
                  </a:lnTo>
                  <a:lnTo>
                    <a:pt x="44167" y="325596"/>
                  </a:lnTo>
                  <a:lnTo>
                    <a:pt x="46920" y="328258"/>
                  </a:lnTo>
                  <a:lnTo>
                    <a:pt x="47979" y="328712"/>
                  </a:lnTo>
                  <a:lnTo>
                    <a:pt x="49068" y="328531"/>
                  </a:lnTo>
                  <a:lnTo>
                    <a:pt x="50368" y="327775"/>
                  </a:lnTo>
                  <a:lnTo>
                    <a:pt x="53999" y="327411"/>
                  </a:lnTo>
                  <a:lnTo>
                    <a:pt x="55542" y="326655"/>
                  </a:lnTo>
                  <a:lnTo>
                    <a:pt x="56691" y="325112"/>
                  </a:lnTo>
                  <a:lnTo>
                    <a:pt x="59686" y="319909"/>
                  </a:lnTo>
                  <a:lnTo>
                    <a:pt x="61077" y="319092"/>
                  </a:lnTo>
                  <a:lnTo>
                    <a:pt x="65282" y="319485"/>
                  </a:lnTo>
                  <a:lnTo>
                    <a:pt x="66916" y="320091"/>
                  </a:lnTo>
                  <a:lnTo>
                    <a:pt x="72452" y="324537"/>
                  </a:lnTo>
                  <a:lnTo>
                    <a:pt x="74479" y="325687"/>
                  </a:lnTo>
                  <a:lnTo>
                    <a:pt x="76566" y="326322"/>
                  </a:lnTo>
                  <a:lnTo>
                    <a:pt x="85611" y="326564"/>
                  </a:lnTo>
                  <a:lnTo>
                    <a:pt x="87820" y="325959"/>
                  </a:lnTo>
                  <a:lnTo>
                    <a:pt x="88999" y="324537"/>
                  </a:lnTo>
                  <a:lnTo>
                    <a:pt x="90028" y="325203"/>
                  </a:lnTo>
                  <a:lnTo>
                    <a:pt x="90210" y="326352"/>
                  </a:lnTo>
                  <a:lnTo>
                    <a:pt x="90149" y="327895"/>
                  </a:lnTo>
                  <a:lnTo>
                    <a:pt x="90422" y="329680"/>
                  </a:lnTo>
                  <a:lnTo>
                    <a:pt x="91238" y="331405"/>
                  </a:lnTo>
                  <a:lnTo>
                    <a:pt x="91631" y="331889"/>
                  </a:lnTo>
                  <a:lnTo>
                    <a:pt x="93658" y="331949"/>
                  </a:lnTo>
                  <a:lnTo>
                    <a:pt x="94566" y="331949"/>
                  </a:lnTo>
                  <a:lnTo>
                    <a:pt x="98196" y="333795"/>
                  </a:lnTo>
                  <a:lnTo>
                    <a:pt x="100132" y="334399"/>
                  </a:lnTo>
                  <a:lnTo>
                    <a:pt x="104821" y="334672"/>
                  </a:lnTo>
                  <a:lnTo>
                    <a:pt x="106727" y="333734"/>
                  </a:lnTo>
                  <a:lnTo>
                    <a:pt x="107241" y="331193"/>
                  </a:lnTo>
                  <a:lnTo>
                    <a:pt x="106636" y="329741"/>
                  </a:lnTo>
                  <a:lnTo>
                    <a:pt x="104367" y="327260"/>
                  </a:lnTo>
                  <a:lnTo>
                    <a:pt x="103581" y="325929"/>
                  </a:lnTo>
                  <a:lnTo>
                    <a:pt x="103641" y="324416"/>
                  </a:lnTo>
                  <a:lnTo>
                    <a:pt x="104307" y="323267"/>
                  </a:lnTo>
                  <a:lnTo>
                    <a:pt x="104518" y="322208"/>
                  </a:lnTo>
                  <a:lnTo>
                    <a:pt x="103308" y="320968"/>
                  </a:lnTo>
                  <a:lnTo>
                    <a:pt x="108572" y="318124"/>
                  </a:lnTo>
                  <a:lnTo>
                    <a:pt x="113987" y="316279"/>
                  </a:lnTo>
                  <a:lnTo>
                    <a:pt x="116952" y="315825"/>
                  </a:lnTo>
                  <a:lnTo>
                    <a:pt x="118222" y="316037"/>
                  </a:lnTo>
                  <a:lnTo>
                    <a:pt x="119009" y="317277"/>
                  </a:lnTo>
                  <a:lnTo>
                    <a:pt x="118888" y="319758"/>
                  </a:lnTo>
                  <a:lnTo>
                    <a:pt x="118041" y="321603"/>
                  </a:lnTo>
                  <a:lnTo>
                    <a:pt x="117859" y="323055"/>
                  </a:lnTo>
                  <a:lnTo>
                    <a:pt x="119796" y="324326"/>
                  </a:lnTo>
                  <a:lnTo>
                    <a:pt x="121126" y="324447"/>
                  </a:lnTo>
                  <a:lnTo>
                    <a:pt x="124031" y="323963"/>
                  </a:lnTo>
                  <a:lnTo>
                    <a:pt x="127237" y="324719"/>
                  </a:lnTo>
                  <a:lnTo>
                    <a:pt x="128810" y="324628"/>
                  </a:lnTo>
                  <a:lnTo>
                    <a:pt x="130172" y="324144"/>
                  </a:lnTo>
                  <a:lnTo>
                    <a:pt x="131200" y="323448"/>
                  </a:lnTo>
                  <a:lnTo>
                    <a:pt x="138975" y="314645"/>
                  </a:lnTo>
                  <a:lnTo>
                    <a:pt x="142302" y="313072"/>
                  </a:lnTo>
                  <a:lnTo>
                    <a:pt x="143755" y="313193"/>
                  </a:lnTo>
                  <a:lnTo>
                    <a:pt x="145600" y="313828"/>
                  </a:lnTo>
                  <a:lnTo>
                    <a:pt x="147294" y="314857"/>
                  </a:lnTo>
                  <a:lnTo>
                    <a:pt x="148322" y="316127"/>
                  </a:lnTo>
                  <a:lnTo>
                    <a:pt x="148534" y="318366"/>
                  </a:lnTo>
                  <a:lnTo>
                    <a:pt x="147899" y="320484"/>
                  </a:lnTo>
                  <a:lnTo>
                    <a:pt x="147445" y="322722"/>
                  </a:lnTo>
                  <a:lnTo>
                    <a:pt x="148171" y="325294"/>
                  </a:lnTo>
                  <a:lnTo>
                    <a:pt x="143785" y="323418"/>
                  </a:lnTo>
                  <a:lnTo>
                    <a:pt x="142635" y="323570"/>
                  </a:lnTo>
                  <a:lnTo>
                    <a:pt x="142061" y="325354"/>
                  </a:lnTo>
                  <a:lnTo>
                    <a:pt x="144208" y="326201"/>
                  </a:lnTo>
                  <a:lnTo>
                    <a:pt x="151257" y="326413"/>
                  </a:lnTo>
                  <a:lnTo>
                    <a:pt x="153102" y="326867"/>
                  </a:lnTo>
                  <a:lnTo>
                    <a:pt x="157005" y="328501"/>
                  </a:lnTo>
                  <a:lnTo>
                    <a:pt x="159183" y="327956"/>
                  </a:lnTo>
                  <a:lnTo>
                    <a:pt x="161724" y="325687"/>
                  </a:lnTo>
                  <a:lnTo>
                    <a:pt x="164053" y="322783"/>
                  </a:lnTo>
                  <a:lnTo>
                    <a:pt x="165627" y="320393"/>
                  </a:lnTo>
                  <a:lnTo>
                    <a:pt x="166322" y="318578"/>
                  </a:lnTo>
                  <a:lnTo>
                    <a:pt x="166655" y="317187"/>
                  </a:lnTo>
                  <a:lnTo>
                    <a:pt x="167260" y="316279"/>
                  </a:lnTo>
                  <a:lnTo>
                    <a:pt x="168803" y="315916"/>
                  </a:lnTo>
                  <a:lnTo>
                    <a:pt x="169075" y="316279"/>
                  </a:lnTo>
                  <a:lnTo>
                    <a:pt x="172100" y="318124"/>
                  </a:lnTo>
                  <a:lnTo>
                    <a:pt x="174066" y="321603"/>
                  </a:lnTo>
                  <a:lnTo>
                    <a:pt x="173734" y="324084"/>
                  </a:lnTo>
                  <a:lnTo>
                    <a:pt x="172614" y="326443"/>
                  </a:lnTo>
                  <a:lnTo>
                    <a:pt x="172251" y="329650"/>
                  </a:lnTo>
                  <a:lnTo>
                    <a:pt x="172887" y="331072"/>
                  </a:lnTo>
                  <a:lnTo>
                    <a:pt x="176335" y="334611"/>
                  </a:lnTo>
                  <a:lnTo>
                    <a:pt x="176880" y="335882"/>
                  </a:lnTo>
                  <a:lnTo>
                    <a:pt x="177908" y="339149"/>
                  </a:lnTo>
                  <a:lnTo>
                    <a:pt x="178393" y="340117"/>
                  </a:lnTo>
                  <a:lnTo>
                    <a:pt x="180147" y="340994"/>
                  </a:lnTo>
                  <a:lnTo>
                    <a:pt x="184019" y="340692"/>
                  </a:lnTo>
                  <a:lnTo>
                    <a:pt x="185895" y="340873"/>
                  </a:lnTo>
                  <a:lnTo>
                    <a:pt x="187649" y="342961"/>
                  </a:lnTo>
                  <a:lnTo>
                    <a:pt x="187710" y="348224"/>
                  </a:lnTo>
                  <a:lnTo>
                    <a:pt x="189495" y="348648"/>
                  </a:lnTo>
                  <a:lnTo>
                    <a:pt x="190130" y="348497"/>
                  </a:lnTo>
                  <a:lnTo>
                    <a:pt x="193276" y="347771"/>
                  </a:lnTo>
                  <a:lnTo>
                    <a:pt x="205195" y="348255"/>
                  </a:lnTo>
                  <a:lnTo>
                    <a:pt x="207283" y="347528"/>
                  </a:lnTo>
                  <a:lnTo>
                    <a:pt x="211488" y="344776"/>
                  </a:lnTo>
                  <a:lnTo>
                    <a:pt x="213484" y="343898"/>
                  </a:lnTo>
                  <a:lnTo>
                    <a:pt x="215662" y="344140"/>
                  </a:lnTo>
                  <a:lnTo>
                    <a:pt x="218022" y="345502"/>
                  </a:lnTo>
                  <a:lnTo>
                    <a:pt x="219867" y="347740"/>
                  </a:lnTo>
                  <a:lnTo>
                    <a:pt x="220593" y="350614"/>
                  </a:lnTo>
                  <a:lnTo>
                    <a:pt x="220926" y="353972"/>
                  </a:lnTo>
                  <a:lnTo>
                    <a:pt x="221531" y="354426"/>
                  </a:lnTo>
                  <a:lnTo>
                    <a:pt x="223225" y="355757"/>
                  </a:lnTo>
                  <a:lnTo>
                    <a:pt x="228912" y="357330"/>
                  </a:lnTo>
                  <a:lnTo>
                    <a:pt x="230274" y="358207"/>
                  </a:lnTo>
                  <a:lnTo>
                    <a:pt x="231242" y="359236"/>
                  </a:lnTo>
                  <a:lnTo>
                    <a:pt x="232331" y="359962"/>
                  </a:lnTo>
                  <a:lnTo>
                    <a:pt x="234055" y="359962"/>
                  </a:lnTo>
                  <a:lnTo>
                    <a:pt x="238260" y="359145"/>
                  </a:lnTo>
                  <a:lnTo>
                    <a:pt x="239561" y="359266"/>
                  </a:lnTo>
                  <a:lnTo>
                    <a:pt x="241195" y="360174"/>
                  </a:lnTo>
                  <a:lnTo>
                    <a:pt x="243282" y="362836"/>
                  </a:lnTo>
                  <a:lnTo>
                    <a:pt x="244613" y="363864"/>
                  </a:lnTo>
                  <a:lnTo>
                    <a:pt x="247699" y="363138"/>
                  </a:lnTo>
                  <a:lnTo>
                    <a:pt x="249423" y="363259"/>
                  </a:lnTo>
                  <a:lnTo>
                    <a:pt x="250331" y="365135"/>
                  </a:lnTo>
                  <a:lnTo>
                    <a:pt x="250572" y="365861"/>
                  </a:lnTo>
                  <a:lnTo>
                    <a:pt x="249151" y="367131"/>
                  </a:lnTo>
                  <a:lnTo>
                    <a:pt x="248818" y="368826"/>
                  </a:lnTo>
                  <a:lnTo>
                    <a:pt x="251087" y="371094"/>
                  </a:lnTo>
                  <a:lnTo>
                    <a:pt x="250179" y="371669"/>
                  </a:lnTo>
                  <a:lnTo>
                    <a:pt x="249151" y="372062"/>
                  </a:lnTo>
                  <a:lnTo>
                    <a:pt x="248062" y="372214"/>
                  </a:lnTo>
                  <a:lnTo>
                    <a:pt x="246973" y="372123"/>
                  </a:lnTo>
                  <a:lnTo>
                    <a:pt x="247215" y="373182"/>
                  </a:lnTo>
                  <a:lnTo>
                    <a:pt x="247366" y="373636"/>
                  </a:lnTo>
                  <a:lnTo>
                    <a:pt x="247638" y="374241"/>
                  </a:lnTo>
                  <a:lnTo>
                    <a:pt x="246882" y="376267"/>
                  </a:lnTo>
                  <a:lnTo>
                    <a:pt x="246337" y="377296"/>
                  </a:lnTo>
                  <a:lnTo>
                    <a:pt x="245581" y="378264"/>
                  </a:lnTo>
                  <a:lnTo>
                    <a:pt x="244401" y="377326"/>
                  </a:lnTo>
                  <a:lnTo>
                    <a:pt x="243584" y="377780"/>
                  </a:lnTo>
                  <a:lnTo>
                    <a:pt x="243070" y="379202"/>
                  </a:lnTo>
                  <a:lnTo>
                    <a:pt x="242828" y="381168"/>
                  </a:lnTo>
                  <a:lnTo>
                    <a:pt x="244189" y="382862"/>
                  </a:lnTo>
                  <a:lnTo>
                    <a:pt x="242586" y="386462"/>
                  </a:lnTo>
                  <a:lnTo>
                    <a:pt x="238623" y="392270"/>
                  </a:lnTo>
                  <a:lnTo>
                    <a:pt x="240862" y="391696"/>
                  </a:lnTo>
                  <a:lnTo>
                    <a:pt x="241830" y="391696"/>
                  </a:lnTo>
                  <a:lnTo>
                    <a:pt x="242798" y="392270"/>
                  </a:lnTo>
                  <a:lnTo>
                    <a:pt x="241648" y="394055"/>
                  </a:lnTo>
                  <a:lnTo>
                    <a:pt x="239924" y="397474"/>
                  </a:lnTo>
                  <a:lnTo>
                    <a:pt x="238623" y="399289"/>
                  </a:lnTo>
                  <a:lnTo>
                    <a:pt x="238139" y="399652"/>
                  </a:lnTo>
                  <a:lnTo>
                    <a:pt x="236959" y="400015"/>
                  </a:lnTo>
                  <a:lnTo>
                    <a:pt x="235779" y="400438"/>
                  </a:lnTo>
                  <a:lnTo>
                    <a:pt x="228519" y="407911"/>
                  </a:lnTo>
                  <a:lnTo>
                    <a:pt x="228731" y="411178"/>
                  </a:lnTo>
                  <a:lnTo>
                    <a:pt x="230364" y="413416"/>
                  </a:lnTo>
                  <a:lnTo>
                    <a:pt x="232059" y="414505"/>
                  </a:lnTo>
                  <a:lnTo>
                    <a:pt x="232633" y="414868"/>
                  </a:lnTo>
                  <a:lnTo>
                    <a:pt x="234812" y="415806"/>
                  </a:lnTo>
                  <a:lnTo>
                    <a:pt x="236385" y="416230"/>
                  </a:lnTo>
                  <a:lnTo>
                    <a:pt x="236203" y="417954"/>
                  </a:lnTo>
                  <a:lnTo>
                    <a:pt x="235175" y="421312"/>
                  </a:lnTo>
                  <a:lnTo>
                    <a:pt x="237020" y="422280"/>
                  </a:lnTo>
                  <a:lnTo>
                    <a:pt x="238109" y="422492"/>
                  </a:lnTo>
                  <a:lnTo>
                    <a:pt x="239168" y="422310"/>
                  </a:lnTo>
                  <a:lnTo>
                    <a:pt x="239652" y="421614"/>
                  </a:lnTo>
                  <a:lnTo>
                    <a:pt x="240741" y="420102"/>
                  </a:lnTo>
                  <a:lnTo>
                    <a:pt x="241648" y="419466"/>
                  </a:lnTo>
                  <a:lnTo>
                    <a:pt x="242647" y="419829"/>
                  </a:lnTo>
                  <a:lnTo>
                    <a:pt x="244704" y="421917"/>
                  </a:lnTo>
                  <a:lnTo>
                    <a:pt x="245732" y="422582"/>
                  </a:lnTo>
                  <a:lnTo>
                    <a:pt x="254445" y="422371"/>
                  </a:lnTo>
                  <a:lnTo>
                    <a:pt x="255594" y="422703"/>
                  </a:lnTo>
                  <a:lnTo>
                    <a:pt x="255594" y="422703"/>
                  </a:lnTo>
                  <a:lnTo>
                    <a:pt x="256683" y="423036"/>
                  </a:lnTo>
                  <a:lnTo>
                    <a:pt x="263974" y="423248"/>
                  </a:lnTo>
                  <a:lnTo>
                    <a:pt x="266001" y="422915"/>
                  </a:lnTo>
                  <a:lnTo>
                    <a:pt x="266213" y="421009"/>
                  </a:lnTo>
                  <a:lnTo>
                    <a:pt x="265547" y="420132"/>
                  </a:lnTo>
                  <a:lnTo>
                    <a:pt x="264549" y="419497"/>
                  </a:lnTo>
                  <a:lnTo>
                    <a:pt x="263792" y="418256"/>
                  </a:lnTo>
                  <a:lnTo>
                    <a:pt x="263369" y="416381"/>
                  </a:lnTo>
                  <a:lnTo>
                    <a:pt x="264881" y="416744"/>
                  </a:lnTo>
                  <a:lnTo>
                    <a:pt x="266333" y="415473"/>
                  </a:lnTo>
                  <a:lnTo>
                    <a:pt x="266848" y="413749"/>
                  </a:lnTo>
                  <a:lnTo>
                    <a:pt x="266636" y="412388"/>
                  </a:lnTo>
                  <a:lnTo>
                    <a:pt x="266545" y="411147"/>
                  </a:lnTo>
                  <a:lnTo>
                    <a:pt x="267422" y="409665"/>
                  </a:lnTo>
                  <a:lnTo>
                    <a:pt x="268814" y="408939"/>
                  </a:lnTo>
                  <a:lnTo>
                    <a:pt x="271083" y="409120"/>
                  </a:lnTo>
                  <a:lnTo>
                    <a:pt x="272202" y="407880"/>
                  </a:lnTo>
                  <a:lnTo>
                    <a:pt x="272807" y="406368"/>
                  </a:lnTo>
                  <a:lnTo>
                    <a:pt x="272807" y="405218"/>
                  </a:lnTo>
                  <a:lnTo>
                    <a:pt x="271990" y="402193"/>
                  </a:lnTo>
                  <a:lnTo>
                    <a:pt x="272172" y="401225"/>
                  </a:lnTo>
                  <a:lnTo>
                    <a:pt x="272716" y="400438"/>
                  </a:lnTo>
                  <a:lnTo>
                    <a:pt x="272898" y="399864"/>
                  </a:lnTo>
                  <a:lnTo>
                    <a:pt x="269601" y="398805"/>
                  </a:lnTo>
                  <a:lnTo>
                    <a:pt x="267241" y="397443"/>
                  </a:lnTo>
                  <a:lnTo>
                    <a:pt x="266454" y="396657"/>
                  </a:lnTo>
                  <a:lnTo>
                    <a:pt x="266213" y="395477"/>
                  </a:lnTo>
                  <a:lnTo>
                    <a:pt x="266061" y="393359"/>
                  </a:lnTo>
                  <a:lnTo>
                    <a:pt x="266454" y="392149"/>
                  </a:lnTo>
                  <a:lnTo>
                    <a:pt x="267059" y="390909"/>
                  </a:lnTo>
                  <a:lnTo>
                    <a:pt x="266848" y="390153"/>
                  </a:lnTo>
                  <a:lnTo>
                    <a:pt x="263248" y="390546"/>
                  </a:lnTo>
                  <a:lnTo>
                    <a:pt x="260616" y="389729"/>
                  </a:lnTo>
                  <a:lnTo>
                    <a:pt x="259224" y="389548"/>
                  </a:lnTo>
                  <a:lnTo>
                    <a:pt x="257863" y="389911"/>
                  </a:lnTo>
                  <a:lnTo>
                    <a:pt x="255262" y="391091"/>
                  </a:lnTo>
                  <a:lnTo>
                    <a:pt x="253870" y="391363"/>
                  </a:lnTo>
                  <a:lnTo>
                    <a:pt x="253779" y="387642"/>
                  </a:lnTo>
                  <a:lnTo>
                    <a:pt x="252236" y="383437"/>
                  </a:lnTo>
                  <a:lnTo>
                    <a:pt x="251661" y="379988"/>
                  </a:lnTo>
                  <a:lnTo>
                    <a:pt x="254475" y="378627"/>
                  </a:lnTo>
                  <a:lnTo>
                    <a:pt x="255866" y="379353"/>
                  </a:lnTo>
                  <a:lnTo>
                    <a:pt x="257046" y="380775"/>
                  </a:lnTo>
                  <a:lnTo>
                    <a:pt x="258377" y="381924"/>
                  </a:lnTo>
                  <a:lnTo>
                    <a:pt x="260253" y="381743"/>
                  </a:lnTo>
                  <a:lnTo>
                    <a:pt x="261493" y="380472"/>
                  </a:lnTo>
                  <a:lnTo>
                    <a:pt x="263429" y="376751"/>
                  </a:lnTo>
                  <a:lnTo>
                    <a:pt x="264791" y="375330"/>
                  </a:lnTo>
                  <a:lnTo>
                    <a:pt x="274108" y="368614"/>
                  </a:lnTo>
                  <a:lnTo>
                    <a:pt x="279856" y="365740"/>
                  </a:lnTo>
                  <a:lnTo>
                    <a:pt x="281338" y="363925"/>
                  </a:lnTo>
                  <a:lnTo>
                    <a:pt x="279221" y="362110"/>
                  </a:lnTo>
                  <a:lnTo>
                    <a:pt x="281520" y="360385"/>
                  </a:lnTo>
                  <a:lnTo>
                    <a:pt x="282336" y="359962"/>
                  </a:lnTo>
                  <a:lnTo>
                    <a:pt x="280037" y="359236"/>
                  </a:lnTo>
                  <a:lnTo>
                    <a:pt x="275016" y="362412"/>
                  </a:lnTo>
                  <a:lnTo>
                    <a:pt x="272656" y="361202"/>
                  </a:lnTo>
                  <a:lnTo>
                    <a:pt x="271930" y="358480"/>
                  </a:lnTo>
                  <a:lnTo>
                    <a:pt x="272233" y="355182"/>
                  </a:lnTo>
                  <a:lnTo>
                    <a:pt x="273110" y="352248"/>
                  </a:lnTo>
                  <a:lnTo>
                    <a:pt x="274138" y="350614"/>
                  </a:lnTo>
                  <a:lnTo>
                    <a:pt x="276256" y="348255"/>
                  </a:lnTo>
                  <a:lnTo>
                    <a:pt x="281399" y="339482"/>
                  </a:lnTo>
                  <a:lnTo>
                    <a:pt x="282458" y="338514"/>
                  </a:lnTo>
                  <a:lnTo>
                    <a:pt x="285029" y="336880"/>
                  </a:lnTo>
                  <a:lnTo>
                    <a:pt x="286027" y="335579"/>
                  </a:lnTo>
                  <a:lnTo>
                    <a:pt x="286572" y="333734"/>
                  </a:lnTo>
                  <a:lnTo>
                    <a:pt x="286874" y="330497"/>
                  </a:lnTo>
                  <a:lnTo>
                    <a:pt x="287449" y="329196"/>
                  </a:lnTo>
                  <a:lnTo>
                    <a:pt x="285936" y="327532"/>
                  </a:lnTo>
                  <a:lnTo>
                    <a:pt x="286088" y="324810"/>
                  </a:lnTo>
                  <a:lnTo>
                    <a:pt x="286874" y="321664"/>
                  </a:lnTo>
                  <a:lnTo>
                    <a:pt x="287237" y="318729"/>
                  </a:lnTo>
                  <a:lnTo>
                    <a:pt x="286753" y="316037"/>
                  </a:lnTo>
                  <a:lnTo>
                    <a:pt x="286027" y="311166"/>
                  </a:lnTo>
                  <a:lnTo>
                    <a:pt x="281973" y="306840"/>
                  </a:lnTo>
                  <a:lnTo>
                    <a:pt x="275288" y="298340"/>
                  </a:lnTo>
                  <a:lnTo>
                    <a:pt x="274864" y="296525"/>
                  </a:lnTo>
                  <a:lnTo>
                    <a:pt x="275409" y="294377"/>
                  </a:lnTo>
                  <a:lnTo>
                    <a:pt x="276589" y="291049"/>
                  </a:lnTo>
                  <a:lnTo>
                    <a:pt x="269782" y="288296"/>
                  </a:lnTo>
                  <a:lnTo>
                    <a:pt x="267483" y="285604"/>
                  </a:lnTo>
                  <a:lnTo>
                    <a:pt x="268844" y="281369"/>
                  </a:lnTo>
                  <a:lnTo>
                    <a:pt x="267846" y="280431"/>
                  </a:lnTo>
                  <a:lnTo>
                    <a:pt x="265607" y="278858"/>
                  </a:lnTo>
                  <a:lnTo>
                    <a:pt x="264458" y="278343"/>
                  </a:lnTo>
                  <a:lnTo>
                    <a:pt x="261554" y="278343"/>
                  </a:lnTo>
                  <a:lnTo>
                    <a:pt x="260556" y="278011"/>
                  </a:lnTo>
                  <a:lnTo>
                    <a:pt x="260646" y="276407"/>
                  </a:lnTo>
                  <a:lnTo>
                    <a:pt x="261251" y="275863"/>
                  </a:lnTo>
                  <a:lnTo>
                    <a:pt x="262885" y="274350"/>
                  </a:lnTo>
                  <a:lnTo>
                    <a:pt x="263066" y="271325"/>
                  </a:lnTo>
                  <a:lnTo>
                    <a:pt x="261705" y="268421"/>
                  </a:lnTo>
                  <a:lnTo>
                    <a:pt x="259406" y="266818"/>
                  </a:lnTo>
                  <a:lnTo>
                    <a:pt x="259739" y="265487"/>
                  </a:lnTo>
                  <a:lnTo>
                    <a:pt x="261402" y="264398"/>
                  </a:lnTo>
                  <a:lnTo>
                    <a:pt x="265517" y="263732"/>
                  </a:lnTo>
                  <a:lnTo>
                    <a:pt x="267453" y="262976"/>
                  </a:lnTo>
                  <a:lnTo>
                    <a:pt x="269540" y="261554"/>
                  </a:lnTo>
                  <a:lnTo>
                    <a:pt x="270992" y="260858"/>
                  </a:lnTo>
                  <a:lnTo>
                    <a:pt x="275076" y="259830"/>
                  </a:lnTo>
                  <a:lnTo>
                    <a:pt x="278343" y="260646"/>
                  </a:lnTo>
                  <a:lnTo>
                    <a:pt x="280703" y="261221"/>
                  </a:lnTo>
                  <a:lnTo>
                    <a:pt x="282336" y="261584"/>
                  </a:lnTo>
                  <a:lnTo>
                    <a:pt x="280975" y="259618"/>
                  </a:lnTo>
                  <a:lnTo>
                    <a:pt x="277224" y="255988"/>
                  </a:lnTo>
                  <a:lnTo>
                    <a:pt x="275984" y="255111"/>
                  </a:lnTo>
                  <a:lnTo>
                    <a:pt x="279402" y="253386"/>
                  </a:lnTo>
                  <a:lnTo>
                    <a:pt x="282639" y="254808"/>
                  </a:lnTo>
                  <a:lnTo>
                    <a:pt x="285876" y="257228"/>
                  </a:lnTo>
                  <a:lnTo>
                    <a:pt x="289264" y="258499"/>
                  </a:lnTo>
                  <a:lnTo>
                    <a:pt x="292410" y="257863"/>
                  </a:lnTo>
                  <a:lnTo>
                    <a:pt x="293227" y="257954"/>
                  </a:lnTo>
                  <a:lnTo>
                    <a:pt x="293953" y="258589"/>
                  </a:lnTo>
                  <a:lnTo>
                    <a:pt x="295072" y="260435"/>
                  </a:lnTo>
                  <a:lnTo>
                    <a:pt x="295526" y="260949"/>
                  </a:lnTo>
                  <a:lnTo>
                    <a:pt x="299368" y="261494"/>
                  </a:lnTo>
                  <a:lnTo>
                    <a:pt x="301002" y="262371"/>
                  </a:lnTo>
                  <a:lnTo>
                    <a:pt x="301304" y="264700"/>
                  </a:lnTo>
                  <a:lnTo>
                    <a:pt x="305086" y="263732"/>
                  </a:lnTo>
                  <a:lnTo>
                    <a:pt x="305509" y="262250"/>
                  </a:lnTo>
                  <a:lnTo>
                    <a:pt x="304692" y="258862"/>
                  </a:lnTo>
                  <a:lnTo>
                    <a:pt x="311136" y="260616"/>
                  </a:lnTo>
                  <a:lnTo>
                    <a:pt x="313193" y="260616"/>
                  </a:lnTo>
                  <a:lnTo>
                    <a:pt x="314857" y="259920"/>
                  </a:lnTo>
                  <a:lnTo>
                    <a:pt x="319818" y="256411"/>
                  </a:lnTo>
                  <a:lnTo>
                    <a:pt x="329831" y="253265"/>
                  </a:lnTo>
                  <a:lnTo>
                    <a:pt x="338725" y="252993"/>
                  </a:lnTo>
                  <a:lnTo>
                    <a:pt x="341448" y="251632"/>
                  </a:lnTo>
                  <a:lnTo>
                    <a:pt x="343777" y="249060"/>
                  </a:lnTo>
                  <a:lnTo>
                    <a:pt x="346076" y="245218"/>
                  </a:lnTo>
                  <a:lnTo>
                    <a:pt x="346893" y="244371"/>
                  </a:lnTo>
                  <a:lnTo>
                    <a:pt x="347649" y="244250"/>
                  </a:lnTo>
                  <a:lnTo>
                    <a:pt x="348164" y="243797"/>
                  </a:lnTo>
                  <a:lnTo>
                    <a:pt x="348254" y="241981"/>
                  </a:lnTo>
                  <a:lnTo>
                    <a:pt x="348012" y="240983"/>
                  </a:lnTo>
                  <a:lnTo>
                    <a:pt x="347498" y="240257"/>
                  </a:lnTo>
                  <a:lnTo>
                    <a:pt x="344897" y="237716"/>
                  </a:lnTo>
                  <a:lnTo>
                    <a:pt x="338332" y="234328"/>
                  </a:lnTo>
                  <a:lnTo>
                    <a:pt x="336124" y="233723"/>
                  </a:lnTo>
                  <a:lnTo>
                    <a:pt x="334520" y="232694"/>
                  </a:lnTo>
                  <a:lnTo>
                    <a:pt x="334309" y="230425"/>
                  </a:lnTo>
                  <a:lnTo>
                    <a:pt x="335004" y="228852"/>
                  </a:lnTo>
                  <a:lnTo>
                    <a:pt x="335912" y="228459"/>
                  </a:lnTo>
                  <a:lnTo>
                    <a:pt x="336971" y="228368"/>
                  </a:lnTo>
                  <a:lnTo>
                    <a:pt x="338181" y="227793"/>
                  </a:lnTo>
                  <a:lnTo>
                    <a:pt x="338997" y="226855"/>
                  </a:lnTo>
                  <a:lnTo>
                    <a:pt x="339814" y="224920"/>
                  </a:lnTo>
                  <a:lnTo>
                    <a:pt x="340359" y="224073"/>
                  </a:lnTo>
                  <a:lnTo>
                    <a:pt x="342083" y="222439"/>
                  </a:lnTo>
                  <a:lnTo>
                    <a:pt x="343686" y="221622"/>
                  </a:lnTo>
                  <a:lnTo>
                    <a:pt x="344261" y="221561"/>
                  </a:lnTo>
                  <a:lnTo>
                    <a:pt x="350221" y="220957"/>
                  </a:lnTo>
                  <a:lnTo>
                    <a:pt x="351491" y="219898"/>
                  </a:lnTo>
                  <a:lnTo>
                    <a:pt x="353700" y="215723"/>
                  </a:lnTo>
                  <a:lnTo>
                    <a:pt x="355666" y="213848"/>
                  </a:lnTo>
                  <a:lnTo>
                    <a:pt x="359962" y="212093"/>
                  </a:lnTo>
                  <a:lnTo>
                    <a:pt x="361958" y="210459"/>
                  </a:lnTo>
                  <a:lnTo>
                    <a:pt x="364318" y="206950"/>
                  </a:lnTo>
                  <a:lnTo>
                    <a:pt x="365407" y="205770"/>
                  </a:lnTo>
                  <a:lnTo>
                    <a:pt x="369884" y="203260"/>
                  </a:lnTo>
                  <a:lnTo>
                    <a:pt x="370156" y="202503"/>
                  </a:lnTo>
                  <a:lnTo>
                    <a:pt x="369914" y="202080"/>
                  </a:lnTo>
                  <a:lnTo>
                    <a:pt x="369340" y="201082"/>
                  </a:lnTo>
                  <a:lnTo>
                    <a:pt x="368432" y="197875"/>
                  </a:lnTo>
                  <a:lnTo>
                    <a:pt x="368493" y="195091"/>
                  </a:lnTo>
                  <a:lnTo>
                    <a:pt x="369219" y="192823"/>
                  </a:lnTo>
                  <a:lnTo>
                    <a:pt x="371215" y="188527"/>
                  </a:lnTo>
                  <a:lnTo>
                    <a:pt x="372062" y="182991"/>
                  </a:lnTo>
                  <a:lnTo>
                    <a:pt x="370640" y="179089"/>
                  </a:lnTo>
                  <a:lnTo>
                    <a:pt x="364530" y="169922"/>
                  </a:lnTo>
                  <a:lnTo>
                    <a:pt x="363894" y="170195"/>
                  </a:lnTo>
                  <a:lnTo>
                    <a:pt x="363289" y="171223"/>
                  </a:lnTo>
                  <a:lnTo>
                    <a:pt x="362351" y="172040"/>
                  </a:lnTo>
                  <a:lnTo>
                    <a:pt x="359841" y="172736"/>
                  </a:lnTo>
                  <a:lnTo>
                    <a:pt x="357209" y="172887"/>
                  </a:lnTo>
                  <a:lnTo>
                    <a:pt x="354365" y="172463"/>
                  </a:lnTo>
                  <a:lnTo>
                    <a:pt x="349162" y="170618"/>
                  </a:lnTo>
                  <a:lnTo>
                    <a:pt x="341206" y="169590"/>
                  </a:lnTo>
                  <a:lnTo>
                    <a:pt x="338544" y="168410"/>
                  </a:lnTo>
                  <a:lnTo>
                    <a:pt x="336547" y="166262"/>
                  </a:lnTo>
                  <a:lnTo>
                    <a:pt x="335942" y="163993"/>
                  </a:lnTo>
                  <a:lnTo>
                    <a:pt x="335791" y="161301"/>
                  </a:lnTo>
                  <a:lnTo>
                    <a:pt x="335458" y="158578"/>
                  </a:lnTo>
                  <a:lnTo>
                    <a:pt x="334218" y="156188"/>
                  </a:lnTo>
                  <a:lnTo>
                    <a:pt x="335881" y="156037"/>
                  </a:lnTo>
                  <a:lnTo>
                    <a:pt x="341448" y="153436"/>
                  </a:lnTo>
                  <a:lnTo>
                    <a:pt x="338150" y="150864"/>
                  </a:lnTo>
                  <a:lnTo>
                    <a:pt x="337455" y="149896"/>
                  </a:lnTo>
                  <a:lnTo>
                    <a:pt x="337455" y="148625"/>
                  </a:lnTo>
                  <a:lnTo>
                    <a:pt x="337878" y="147355"/>
                  </a:lnTo>
                  <a:lnTo>
                    <a:pt x="338090" y="145993"/>
                  </a:lnTo>
                  <a:lnTo>
                    <a:pt x="337243" y="144390"/>
                  </a:lnTo>
                  <a:lnTo>
                    <a:pt x="338967" y="143241"/>
                  </a:lnTo>
                  <a:lnTo>
                    <a:pt x="340782" y="142031"/>
                  </a:lnTo>
                  <a:lnTo>
                    <a:pt x="344140" y="141062"/>
                  </a:lnTo>
                  <a:lnTo>
                    <a:pt x="353700" y="140911"/>
                  </a:lnTo>
                  <a:lnTo>
                    <a:pt x="359024" y="142394"/>
                  </a:lnTo>
                  <a:lnTo>
                    <a:pt x="363985" y="141728"/>
                  </a:lnTo>
                  <a:lnTo>
                    <a:pt x="365498" y="142303"/>
                  </a:lnTo>
                  <a:lnTo>
                    <a:pt x="369098" y="143362"/>
                  </a:lnTo>
                  <a:lnTo>
                    <a:pt x="370913" y="140095"/>
                  </a:lnTo>
                  <a:lnTo>
                    <a:pt x="371639" y="134740"/>
                  </a:lnTo>
                  <a:lnTo>
                    <a:pt x="372576" y="118283"/>
                  </a:lnTo>
                  <a:lnTo>
                    <a:pt x="373454" y="113171"/>
                  </a:lnTo>
                  <a:lnTo>
                    <a:pt x="374482" y="110509"/>
                  </a:lnTo>
                  <a:lnTo>
                    <a:pt x="375239" y="108512"/>
                  </a:lnTo>
                  <a:lnTo>
                    <a:pt x="383497" y="96532"/>
                  </a:lnTo>
                  <a:lnTo>
                    <a:pt x="385675" y="91390"/>
                  </a:lnTo>
                  <a:lnTo>
                    <a:pt x="386613" y="86489"/>
                  </a:lnTo>
                  <a:lnTo>
                    <a:pt x="386765" y="80983"/>
                  </a:lnTo>
                  <a:lnTo>
                    <a:pt x="385827" y="69972"/>
                  </a:lnTo>
                  <a:lnTo>
                    <a:pt x="385464" y="68641"/>
                  </a:lnTo>
                  <a:lnTo>
                    <a:pt x="384980" y="67824"/>
                  </a:lnTo>
                  <a:lnTo>
                    <a:pt x="384586" y="66856"/>
                  </a:lnTo>
                  <a:lnTo>
                    <a:pt x="384526" y="65010"/>
                  </a:lnTo>
                  <a:lnTo>
                    <a:pt x="384768" y="63770"/>
                  </a:lnTo>
                  <a:lnTo>
                    <a:pt x="386190" y="60382"/>
                  </a:lnTo>
                  <a:close/>
                  <a:moveTo>
                    <a:pt x="234388" y="19845"/>
                  </a:moveTo>
                  <a:lnTo>
                    <a:pt x="239228" y="17788"/>
                  </a:lnTo>
                  <a:lnTo>
                    <a:pt x="241830" y="17153"/>
                  </a:lnTo>
                  <a:lnTo>
                    <a:pt x="252176" y="17153"/>
                  </a:lnTo>
                  <a:lnTo>
                    <a:pt x="262128" y="15035"/>
                  </a:lnTo>
                  <a:lnTo>
                    <a:pt x="258014" y="13039"/>
                  </a:lnTo>
                  <a:lnTo>
                    <a:pt x="233874" y="13946"/>
                  </a:lnTo>
                  <a:lnTo>
                    <a:pt x="232361" y="13341"/>
                  </a:lnTo>
                  <a:lnTo>
                    <a:pt x="230667" y="14672"/>
                  </a:lnTo>
                  <a:lnTo>
                    <a:pt x="230092" y="16941"/>
                  </a:lnTo>
                  <a:lnTo>
                    <a:pt x="231847" y="19270"/>
                  </a:lnTo>
                  <a:lnTo>
                    <a:pt x="234418" y="19845"/>
                  </a:lnTo>
                  <a:close/>
                  <a:moveTo>
                    <a:pt x="279493" y="14732"/>
                  </a:moveTo>
                  <a:lnTo>
                    <a:pt x="279493" y="15217"/>
                  </a:lnTo>
                  <a:lnTo>
                    <a:pt x="280128" y="16185"/>
                  </a:lnTo>
                  <a:lnTo>
                    <a:pt x="282125" y="13825"/>
                  </a:lnTo>
                  <a:lnTo>
                    <a:pt x="299429" y="8682"/>
                  </a:lnTo>
                  <a:lnTo>
                    <a:pt x="300820" y="8682"/>
                  </a:lnTo>
                  <a:lnTo>
                    <a:pt x="300820" y="7623"/>
                  </a:lnTo>
                  <a:lnTo>
                    <a:pt x="298007" y="6807"/>
                  </a:lnTo>
                  <a:lnTo>
                    <a:pt x="288024" y="7623"/>
                  </a:lnTo>
                  <a:lnTo>
                    <a:pt x="285362" y="8259"/>
                  </a:lnTo>
                  <a:lnTo>
                    <a:pt x="281610" y="9801"/>
                  </a:lnTo>
                  <a:lnTo>
                    <a:pt x="279069" y="11859"/>
                  </a:lnTo>
                  <a:lnTo>
                    <a:pt x="280128" y="13976"/>
                  </a:lnTo>
                  <a:lnTo>
                    <a:pt x="279493" y="14732"/>
                  </a:lnTo>
                  <a:close/>
                  <a:moveTo>
                    <a:pt x="313072" y="2269"/>
                  </a:moveTo>
                  <a:lnTo>
                    <a:pt x="316672" y="3388"/>
                  </a:lnTo>
                  <a:lnTo>
                    <a:pt x="316914" y="2814"/>
                  </a:lnTo>
                  <a:lnTo>
                    <a:pt x="317216" y="2420"/>
                  </a:lnTo>
                  <a:lnTo>
                    <a:pt x="317579" y="2239"/>
                  </a:lnTo>
                  <a:lnTo>
                    <a:pt x="318033" y="2239"/>
                  </a:lnTo>
                  <a:lnTo>
                    <a:pt x="312497" y="0"/>
                  </a:lnTo>
                  <a:lnTo>
                    <a:pt x="311106" y="212"/>
                  </a:lnTo>
                  <a:lnTo>
                    <a:pt x="311287" y="1240"/>
                  </a:lnTo>
                  <a:lnTo>
                    <a:pt x="313072" y="2269"/>
                  </a:lnTo>
                  <a:close/>
                </a:path>
              </a:pathLst>
            </a:custGeom>
            <a:solidFill>
              <a:srgbClr val="96A3AC"/>
            </a:solidFill>
            <a:ln w="3175" cap="rnd">
              <a:solidFill>
                <a:schemeClr val="bg1"/>
              </a:solidFill>
              <a:prstDash val="solid"/>
              <a:round/>
            </a:ln>
          </p:spPr>
          <p:txBody>
            <a:bodyPr rtlCol="0" anchor="ctr"/>
            <a:lstStyle/>
            <a:p>
              <a:endParaRPr lang="en-ID"/>
            </a:p>
          </p:txBody>
        </p:sp>
        <p:sp>
          <p:nvSpPr>
            <p:cNvPr id="25" name="Freeform: Shape 24">
              <a:extLst>
                <a:ext uri="{FF2B5EF4-FFF2-40B4-BE49-F238E27FC236}">
                  <a16:creationId xmlns:a16="http://schemas.microsoft.com/office/drawing/2014/main" id="{7F88E7BF-4E1F-1A29-F1DF-7F19F9E8296A}"/>
                </a:ext>
              </a:extLst>
            </p:cNvPr>
            <p:cNvSpPr/>
            <p:nvPr/>
          </p:nvSpPr>
          <p:spPr>
            <a:xfrm>
              <a:off x="9598706" y="4729301"/>
              <a:ext cx="150302" cy="165491"/>
            </a:xfrm>
            <a:custGeom>
              <a:avLst/>
              <a:gdLst>
                <a:gd name="connsiteX0" fmla="*/ 193216 w 193366"/>
                <a:gd name="connsiteY0" fmla="*/ 83191 h 212909"/>
                <a:gd name="connsiteX1" fmla="*/ 191552 w 193366"/>
                <a:gd name="connsiteY1" fmla="*/ 81165 h 212909"/>
                <a:gd name="connsiteX2" fmla="*/ 185350 w 193366"/>
                <a:gd name="connsiteY2" fmla="*/ 78291 h 212909"/>
                <a:gd name="connsiteX3" fmla="*/ 180087 w 193366"/>
                <a:gd name="connsiteY3" fmla="*/ 74782 h 212909"/>
                <a:gd name="connsiteX4" fmla="*/ 177182 w 193366"/>
                <a:gd name="connsiteY4" fmla="*/ 73632 h 212909"/>
                <a:gd name="connsiteX5" fmla="*/ 171798 w 193366"/>
                <a:gd name="connsiteY5" fmla="*/ 73118 h 212909"/>
                <a:gd name="connsiteX6" fmla="*/ 170648 w 193366"/>
                <a:gd name="connsiteY6" fmla="*/ 72785 h 212909"/>
                <a:gd name="connsiteX7" fmla="*/ 169378 w 193366"/>
                <a:gd name="connsiteY7" fmla="*/ 72392 h 212909"/>
                <a:gd name="connsiteX8" fmla="*/ 163297 w 193366"/>
                <a:gd name="connsiteY8" fmla="*/ 66826 h 212909"/>
                <a:gd name="connsiteX9" fmla="*/ 163115 w 193366"/>
                <a:gd name="connsiteY9" fmla="*/ 66644 h 212909"/>
                <a:gd name="connsiteX10" fmla="*/ 159606 w 193366"/>
                <a:gd name="connsiteY10" fmla="*/ 63468 h 212909"/>
                <a:gd name="connsiteX11" fmla="*/ 153556 w 193366"/>
                <a:gd name="connsiteY11" fmla="*/ 59535 h 212909"/>
                <a:gd name="connsiteX12" fmla="*/ 152588 w 193366"/>
                <a:gd name="connsiteY12" fmla="*/ 58597 h 212909"/>
                <a:gd name="connsiteX13" fmla="*/ 151801 w 193366"/>
                <a:gd name="connsiteY13" fmla="*/ 57387 h 212909"/>
                <a:gd name="connsiteX14" fmla="*/ 151227 w 193366"/>
                <a:gd name="connsiteY14" fmla="*/ 56086 h 212909"/>
                <a:gd name="connsiteX15" fmla="*/ 150501 w 193366"/>
                <a:gd name="connsiteY15" fmla="*/ 55058 h 212909"/>
                <a:gd name="connsiteX16" fmla="*/ 149230 w 193366"/>
                <a:gd name="connsiteY16" fmla="*/ 54665 h 212909"/>
                <a:gd name="connsiteX17" fmla="*/ 148262 w 193366"/>
                <a:gd name="connsiteY17" fmla="*/ 55149 h 212909"/>
                <a:gd name="connsiteX18" fmla="*/ 145933 w 193366"/>
                <a:gd name="connsiteY18" fmla="*/ 57357 h 212909"/>
                <a:gd name="connsiteX19" fmla="*/ 144753 w 193366"/>
                <a:gd name="connsiteY19" fmla="*/ 58022 h 212909"/>
                <a:gd name="connsiteX20" fmla="*/ 141335 w 193366"/>
                <a:gd name="connsiteY20" fmla="*/ 58295 h 212909"/>
                <a:gd name="connsiteX21" fmla="*/ 138007 w 193366"/>
                <a:gd name="connsiteY21" fmla="*/ 58083 h 212909"/>
                <a:gd name="connsiteX22" fmla="*/ 135647 w 193366"/>
                <a:gd name="connsiteY22" fmla="*/ 57266 h 212909"/>
                <a:gd name="connsiteX23" fmla="*/ 133590 w 193366"/>
                <a:gd name="connsiteY23" fmla="*/ 55723 h 212909"/>
                <a:gd name="connsiteX24" fmla="*/ 131745 w 193366"/>
                <a:gd name="connsiteY24" fmla="*/ 53454 h 212909"/>
                <a:gd name="connsiteX25" fmla="*/ 128780 w 193366"/>
                <a:gd name="connsiteY25" fmla="*/ 48523 h 212909"/>
                <a:gd name="connsiteX26" fmla="*/ 127994 w 193366"/>
                <a:gd name="connsiteY26" fmla="*/ 48433 h 212909"/>
                <a:gd name="connsiteX27" fmla="*/ 127177 w 193366"/>
                <a:gd name="connsiteY27" fmla="*/ 49189 h 212909"/>
                <a:gd name="connsiteX28" fmla="*/ 125876 w 193366"/>
                <a:gd name="connsiteY28" fmla="*/ 49643 h 212909"/>
                <a:gd name="connsiteX29" fmla="*/ 123728 w 193366"/>
                <a:gd name="connsiteY29" fmla="*/ 49431 h 212909"/>
                <a:gd name="connsiteX30" fmla="*/ 119251 w 193366"/>
                <a:gd name="connsiteY30" fmla="*/ 48191 h 212909"/>
                <a:gd name="connsiteX31" fmla="*/ 117164 w 193366"/>
                <a:gd name="connsiteY31" fmla="*/ 47193 h 212909"/>
                <a:gd name="connsiteX32" fmla="*/ 115439 w 193366"/>
                <a:gd name="connsiteY32" fmla="*/ 45710 h 212909"/>
                <a:gd name="connsiteX33" fmla="*/ 112324 w 193366"/>
                <a:gd name="connsiteY33" fmla="*/ 41959 h 212909"/>
                <a:gd name="connsiteX34" fmla="*/ 112112 w 193366"/>
                <a:gd name="connsiteY34" fmla="*/ 41777 h 212909"/>
                <a:gd name="connsiteX35" fmla="*/ 108542 w 193366"/>
                <a:gd name="connsiteY35" fmla="*/ 39024 h 212909"/>
                <a:gd name="connsiteX36" fmla="*/ 107544 w 193366"/>
                <a:gd name="connsiteY36" fmla="*/ 37572 h 212909"/>
                <a:gd name="connsiteX37" fmla="*/ 105789 w 193366"/>
                <a:gd name="connsiteY37" fmla="*/ 34033 h 212909"/>
                <a:gd name="connsiteX38" fmla="*/ 104609 w 193366"/>
                <a:gd name="connsiteY38" fmla="*/ 32339 h 212909"/>
                <a:gd name="connsiteX39" fmla="*/ 98650 w 193366"/>
                <a:gd name="connsiteY39" fmla="*/ 26652 h 212909"/>
                <a:gd name="connsiteX40" fmla="*/ 94445 w 193366"/>
                <a:gd name="connsiteY40" fmla="*/ 20813 h 212909"/>
                <a:gd name="connsiteX41" fmla="*/ 92781 w 193366"/>
                <a:gd name="connsiteY41" fmla="*/ 19694 h 212909"/>
                <a:gd name="connsiteX42" fmla="*/ 78956 w 193366"/>
                <a:gd name="connsiteY42" fmla="*/ 13946 h 212909"/>
                <a:gd name="connsiteX43" fmla="*/ 76324 w 193366"/>
                <a:gd name="connsiteY43" fmla="*/ 11859 h 212909"/>
                <a:gd name="connsiteX44" fmla="*/ 74691 w 193366"/>
                <a:gd name="connsiteY44" fmla="*/ 8531 h 212909"/>
                <a:gd name="connsiteX45" fmla="*/ 74630 w 193366"/>
                <a:gd name="connsiteY45" fmla="*/ 4871 h 212909"/>
                <a:gd name="connsiteX46" fmla="*/ 76657 w 193366"/>
                <a:gd name="connsiteY46" fmla="*/ 1936 h 212909"/>
                <a:gd name="connsiteX47" fmla="*/ 71847 w 193366"/>
                <a:gd name="connsiteY47" fmla="*/ 1240 h 212909"/>
                <a:gd name="connsiteX48" fmla="*/ 69336 w 193366"/>
                <a:gd name="connsiteY48" fmla="*/ 1513 h 212909"/>
                <a:gd name="connsiteX49" fmla="*/ 66644 w 193366"/>
                <a:gd name="connsiteY49" fmla="*/ 4447 h 212909"/>
                <a:gd name="connsiteX50" fmla="*/ 64678 w 193366"/>
                <a:gd name="connsiteY50" fmla="*/ 5173 h 212909"/>
                <a:gd name="connsiteX51" fmla="*/ 62529 w 193366"/>
                <a:gd name="connsiteY51" fmla="*/ 5234 h 212909"/>
                <a:gd name="connsiteX52" fmla="*/ 60836 w 193366"/>
                <a:gd name="connsiteY52" fmla="*/ 4689 h 212909"/>
                <a:gd name="connsiteX53" fmla="*/ 59504 w 193366"/>
                <a:gd name="connsiteY53" fmla="*/ 3177 h 212909"/>
                <a:gd name="connsiteX54" fmla="*/ 58415 w 193366"/>
                <a:gd name="connsiteY54" fmla="*/ 1271 h 212909"/>
                <a:gd name="connsiteX55" fmla="*/ 57024 w 193366"/>
                <a:gd name="connsiteY55" fmla="*/ 0 h 212909"/>
                <a:gd name="connsiteX56" fmla="*/ 54725 w 193366"/>
                <a:gd name="connsiteY56" fmla="*/ 212 h 212909"/>
                <a:gd name="connsiteX57" fmla="*/ 53242 w 193366"/>
                <a:gd name="connsiteY57" fmla="*/ 1240 h 212909"/>
                <a:gd name="connsiteX58" fmla="*/ 50852 w 193366"/>
                <a:gd name="connsiteY58" fmla="*/ 3691 h 212909"/>
                <a:gd name="connsiteX59" fmla="*/ 48977 w 193366"/>
                <a:gd name="connsiteY59" fmla="*/ 4538 h 212909"/>
                <a:gd name="connsiteX60" fmla="*/ 48039 w 193366"/>
                <a:gd name="connsiteY60" fmla="*/ 5173 h 212909"/>
                <a:gd name="connsiteX61" fmla="*/ 47464 w 193366"/>
                <a:gd name="connsiteY61" fmla="*/ 6232 h 212909"/>
                <a:gd name="connsiteX62" fmla="*/ 47495 w 193366"/>
                <a:gd name="connsiteY62" fmla="*/ 7291 h 212909"/>
                <a:gd name="connsiteX63" fmla="*/ 48462 w 193366"/>
                <a:gd name="connsiteY63" fmla="*/ 7956 h 212909"/>
                <a:gd name="connsiteX64" fmla="*/ 50036 w 193366"/>
                <a:gd name="connsiteY64" fmla="*/ 8349 h 212909"/>
                <a:gd name="connsiteX65" fmla="*/ 50731 w 193366"/>
                <a:gd name="connsiteY65" fmla="*/ 8773 h 212909"/>
                <a:gd name="connsiteX66" fmla="*/ 52093 w 193366"/>
                <a:gd name="connsiteY66" fmla="*/ 10709 h 212909"/>
                <a:gd name="connsiteX67" fmla="*/ 52032 w 193366"/>
                <a:gd name="connsiteY67" fmla="*/ 11526 h 212909"/>
                <a:gd name="connsiteX68" fmla="*/ 51578 w 193366"/>
                <a:gd name="connsiteY68" fmla="*/ 12554 h 212909"/>
                <a:gd name="connsiteX69" fmla="*/ 51578 w 193366"/>
                <a:gd name="connsiteY69" fmla="*/ 13220 h 212909"/>
                <a:gd name="connsiteX70" fmla="*/ 53817 w 193366"/>
                <a:gd name="connsiteY70" fmla="*/ 12706 h 212909"/>
                <a:gd name="connsiteX71" fmla="*/ 54513 w 193366"/>
                <a:gd name="connsiteY71" fmla="*/ 13190 h 212909"/>
                <a:gd name="connsiteX72" fmla="*/ 57992 w 193366"/>
                <a:gd name="connsiteY72" fmla="*/ 17395 h 212909"/>
                <a:gd name="connsiteX73" fmla="*/ 60987 w 193366"/>
                <a:gd name="connsiteY73" fmla="*/ 25079 h 212909"/>
                <a:gd name="connsiteX74" fmla="*/ 64012 w 193366"/>
                <a:gd name="connsiteY74" fmla="*/ 30373 h 212909"/>
                <a:gd name="connsiteX75" fmla="*/ 63286 w 193366"/>
                <a:gd name="connsiteY75" fmla="*/ 30948 h 212909"/>
                <a:gd name="connsiteX76" fmla="*/ 60624 w 193366"/>
                <a:gd name="connsiteY76" fmla="*/ 31068 h 212909"/>
                <a:gd name="connsiteX77" fmla="*/ 59474 w 193366"/>
                <a:gd name="connsiteY77" fmla="*/ 31674 h 212909"/>
                <a:gd name="connsiteX78" fmla="*/ 59262 w 193366"/>
                <a:gd name="connsiteY78" fmla="*/ 31946 h 212909"/>
                <a:gd name="connsiteX79" fmla="*/ 58718 w 193366"/>
                <a:gd name="connsiteY79" fmla="*/ 32611 h 212909"/>
                <a:gd name="connsiteX80" fmla="*/ 58083 w 193366"/>
                <a:gd name="connsiteY80" fmla="*/ 33730 h 212909"/>
                <a:gd name="connsiteX81" fmla="*/ 57266 w 193366"/>
                <a:gd name="connsiteY81" fmla="*/ 34789 h 212909"/>
                <a:gd name="connsiteX82" fmla="*/ 56237 w 193366"/>
                <a:gd name="connsiteY82" fmla="*/ 35667 h 212909"/>
                <a:gd name="connsiteX83" fmla="*/ 55935 w 193366"/>
                <a:gd name="connsiteY83" fmla="*/ 35031 h 212909"/>
                <a:gd name="connsiteX84" fmla="*/ 55874 w 193366"/>
                <a:gd name="connsiteY84" fmla="*/ 34910 h 212909"/>
                <a:gd name="connsiteX85" fmla="*/ 53817 w 193366"/>
                <a:gd name="connsiteY85" fmla="*/ 32490 h 212909"/>
                <a:gd name="connsiteX86" fmla="*/ 52910 w 193366"/>
                <a:gd name="connsiteY86" fmla="*/ 31068 h 212909"/>
                <a:gd name="connsiteX87" fmla="*/ 52667 w 193366"/>
                <a:gd name="connsiteY87" fmla="*/ 30010 h 212909"/>
                <a:gd name="connsiteX88" fmla="*/ 52758 w 193366"/>
                <a:gd name="connsiteY88" fmla="*/ 29102 h 212909"/>
                <a:gd name="connsiteX89" fmla="*/ 52698 w 193366"/>
                <a:gd name="connsiteY89" fmla="*/ 28225 h 212909"/>
                <a:gd name="connsiteX90" fmla="*/ 51972 w 193366"/>
                <a:gd name="connsiteY90" fmla="*/ 27287 h 212909"/>
                <a:gd name="connsiteX91" fmla="*/ 49279 w 193366"/>
                <a:gd name="connsiteY91" fmla="*/ 25563 h 212909"/>
                <a:gd name="connsiteX92" fmla="*/ 46829 w 193366"/>
                <a:gd name="connsiteY92" fmla="*/ 24897 h 212909"/>
                <a:gd name="connsiteX93" fmla="*/ 40869 w 193366"/>
                <a:gd name="connsiteY93" fmla="*/ 25442 h 212909"/>
                <a:gd name="connsiteX94" fmla="*/ 38994 w 193366"/>
                <a:gd name="connsiteY94" fmla="*/ 26228 h 212909"/>
                <a:gd name="connsiteX95" fmla="*/ 39327 w 193366"/>
                <a:gd name="connsiteY95" fmla="*/ 26743 h 212909"/>
                <a:gd name="connsiteX96" fmla="*/ 39932 w 193366"/>
                <a:gd name="connsiteY96" fmla="*/ 27922 h 212909"/>
                <a:gd name="connsiteX97" fmla="*/ 40234 w 193366"/>
                <a:gd name="connsiteY97" fmla="*/ 28436 h 212909"/>
                <a:gd name="connsiteX98" fmla="*/ 37572 w 193366"/>
                <a:gd name="connsiteY98" fmla="*/ 29223 h 212909"/>
                <a:gd name="connsiteX99" fmla="*/ 24745 w 193366"/>
                <a:gd name="connsiteY99" fmla="*/ 37905 h 212909"/>
                <a:gd name="connsiteX100" fmla="*/ 23203 w 193366"/>
                <a:gd name="connsiteY100" fmla="*/ 39962 h 212909"/>
                <a:gd name="connsiteX101" fmla="*/ 25623 w 193366"/>
                <a:gd name="connsiteY101" fmla="*/ 41082 h 212909"/>
                <a:gd name="connsiteX102" fmla="*/ 21297 w 193366"/>
                <a:gd name="connsiteY102" fmla="*/ 46678 h 212909"/>
                <a:gd name="connsiteX103" fmla="*/ 19663 w 193366"/>
                <a:gd name="connsiteY103" fmla="*/ 49885 h 212909"/>
                <a:gd name="connsiteX104" fmla="*/ 18877 w 193366"/>
                <a:gd name="connsiteY104" fmla="*/ 53696 h 212909"/>
                <a:gd name="connsiteX105" fmla="*/ 18816 w 193366"/>
                <a:gd name="connsiteY105" fmla="*/ 53969 h 212909"/>
                <a:gd name="connsiteX106" fmla="*/ 18877 w 193366"/>
                <a:gd name="connsiteY106" fmla="*/ 57266 h 212909"/>
                <a:gd name="connsiteX107" fmla="*/ 20662 w 193366"/>
                <a:gd name="connsiteY107" fmla="*/ 66886 h 212909"/>
                <a:gd name="connsiteX108" fmla="*/ 16578 w 193366"/>
                <a:gd name="connsiteY108" fmla="*/ 66372 h 212909"/>
                <a:gd name="connsiteX109" fmla="*/ 10588 w 193366"/>
                <a:gd name="connsiteY109" fmla="*/ 66432 h 212909"/>
                <a:gd name="connsiteX110" fmla="*/ 4961 w 193366"/>
                <a:gd name="connsiteY110" fmla="*/ 67612 h 212909"/>
                <a:gd name="connsiteX111" fmla="*/ 1936 w 193366"/>
                <a:gd name="connsiteY111" fmla="*/ 70274 h 212909"/>
                <a:gd name="connsiteX112" fmla="*/ 0 w 193366"/>
                <a:gd name="connsiteY112" fmla="*/ 75236 h 212909"/>
                <a:gd name="connsiteX113" fmla="*/ 60 w 193366"/>
                <a:gd name="connsiteY113" fmla="*/ 77414 h 212909"/>
                <a:gd name="connsiteX114" fmla="*/ 1028 w 193366"/>
                <a:gd name="connsiteY114" fmla="*/ 79924 h 212909"/>
                <a:gd name="connsiteX115" fmla="*/ 3418 w 193366"/>
                <a:gd name="connsiteY115" fmla="*/ 84371 h 212909"/>
                <a:gd name="connsiteX116" fmla="*/ 3993 w 193366"/>
                <a:gd name="connsiteY116" fmla="*/ 86761 h 212909"/>
                <a:gd name="connsiteX117" fmla="*/ 3237 w 193366"/>
                <a:gd name="connsiteY117" fmla="*/ 88002 h 212909"/>
                <a:gd name="connsiteX118" fmla="*/ 1996 w 193366"/>
                <a:gd name="connsiteY118" fmla="*/ 88879 h 212909"/>
                <a:gd name="connsiteX119" fmla="*/ 998 w 193366"/>
                <a:gd name="connsiteY119" fmla="*/ 90301 h 212909"/>
                <a:gd name="connsiteX120" fmla="*/ 1089 w 193366"/>
                <a:gd name="connsiteY120" fmla="*/ 92479 h 212909"/>
                <a:gd name="connsiteX121" fmla="*/ 2057 w 193366"/>
                <a:gd name="connsiteY121" fmla="*/ 95504 h 212909"/>
                <a:gd name="connsiteX122" fmla="*/ 3418 w 193366"/>
                <a:gd name="connsiteY122" fmla="*/ 98499 h 212909"/>
                <a:gd name="connsiteX123" fmla="*/ 6897 w 193366"/>
                <a:gd name="connsiteY123" fmla="*/ 103763 h 212909"/>
                <a:gd name="connsiteX124" fmla="*/ 8954 w 193366"/>
                <a:gd name="connsiteY124" fmla="*/ 105729 h 212909"/>
                <a:gd name="connsiteX125" fmla="*/ 10678 w 193366"/>
                <a:gd name="connsiteY125" fmla="*/ 107786 h 212909"/>
                <a:gd name="connsiteX126" fmla="*/ 11707 w 193366"/>
                <a:gd name="connsiteY126" fmla="*/ 111204 h 212909"/>
                <a:gd name="connsiteX127" fmla="*/ 11677 w 193366"/>
                <a:gd name="connsiteY127" fmla="*/ 114865 h 212909"/>
                <a:gd name="connsiteX128" fmla="*/ 10981 w 193366"/>
                <a:gd name="connsiteY128" fmla="*/ 116438 h 212909"/>
                <a:gd name="connsiteX129" fmla="*/ 10558 w 193366"/>
                <a:gd name="connsiteY129" fmla="*/ 117467 h 212909"/>
                <a:gd name="connsiteX130" fmla="*/ 8410 w 193366"/>
                <a:gd name="connsiteY130" fmla="*/ 119372 h 212909"/>
                <a:gd name="connsiteX131" fmla="*/ 7351 w 193366"/>
                <a:gd name="connsiteY131" fmla="*/ 119947 h 212909"/>
                <a:gd name="connsiteX132" fmla="*/ 5324 w 193366"/>
                <a:gd name="connsiteY132" fmla="*/ 121006 h 212909"/>
                <a:gd name="connsiteX133" fmla="*/ 6050 w 193366"/>
                <a:gd name="connsiteY133" fmla="*/ 122276 h 212909"/>
                <a:gd name="connsiteX134" fmla="*/ 6262 w 193366"/>
                <a:gd name="connsiteY134" fmla="*/ 123396 h 212909"/>
                <a:gd name="connsiteX135" fmla="*/ 5899 w 193366"/>
                <a:gd name="connsiteY135" fmla="*/ 124152 h 212909"/>
                <a:gd name="connsiteX136" fmla="*/ 4840 w 193366"/>
                <a:gd name="connsiteY136" fmla="*/ 124303 h 212909"/>
                <a:gd name="connsiteX137" fmla="*/ 3721 w 193366"/>
                <a:gd name="connsiteY137" fmla="*/ 123638 h 212909"/>
                <a:gd name="connsiteX138" fmla="*/ 2541 w 193366"/>
                <a:gd name="connsiteY138" fmla="*/ 123547 h 212909"/>
                <a:gd name="connsiteX139" fmla="*/ 1422 w 193366"/>
                <a:gd name="connsiteY139" fmla="*/ 124001 h 212909"/>
                <a:gd name="connsiteX140" fmla="*/ 363 w 193366"/>
                <a:gd name="connsiteY140" fmla="*/ 124848 h 212909"/>
                <a:gd name="connsiteX141" fmla="*/ 847 w 193366"/>
                <a:gd name="connsiteY141" fmla="*/ 126905 h 212909"/>
                <a:gd name="connsiteX142" fmla="*/ 272 w 193366"/>
                <a:gd name="connsiteY142" fmla="*/ 130928 h 212909"/>
                <a:gd name="connsiteX143" fmla="*/ 363 w 193366"/>
                <a:gd name="connsiteY143" fmla="*/ 133106 h 212909"/>
                <a:gd name="connsiteX144" fmla="*/ 1059 w 193366"/>
                <a:gd name="connsiteY144" fmla="*/ 135042 h 212909"/>
                <a:gd name="connsiteX145" fmla="*/ 2148 w 193366"/>
                <a:gd name="connsiteY145" fmla="*/ 136706 h 212909"/>
                <a:gd name="connsiteX146" fmla="*/ 3448 w 193366"/>
                <a:gd name="connsiteY146" fmla="*/ 138098 h 212909"/>
                <a:gd name="connsiteX147" fmla="*/ 4205 w 193366"/>
                <a:gd name="connsiteY147" fmla="*/ 138552 h 212909"/>
                <a:gd name="connsiteX148" fmla="*/ 5959 w 193366"/>
                <a:gd name="connsiteY148" fmla="*/ 139490 h 212909"/>
                <a:gd name="connsiteX149" fmla="*/ 6444 w 193366"/>
                <a:gd name="connsiteY149" fmla="*/ 140881 h 212909"/>
                <a:gd name="connsiteX150" fmla="*/ 6322 w 193366"/>
                <a:gd name="connsiteY150" fmla="*/ 142726 h 212909"/>
                <a:gd name="connsiteX151" fmla="*/ 7714 w 193366"/>
                <a:gd name="connsiteY151" fmla="*/ 144118 h 212909"/>
                <a:gd name="connsiteX152" fmla="*/ 9680 w 193366"/>
                <a:gd name="connsiteY152" fmla="*/ 144723 h 212909"/>
                <a:gd name="connsiteX153" fmla="*/ 7986 w 193366"/>
                <a:gd name="connsiteY153" fmla="*/ 143664 h 212909"/>
                <a:gd name="connsiteX154" fmla="*/ 8833 w 193366"/>
                <a:gd name="connsiteY154" fmla="*/ 140034 h 212909"/>
                <a:gd name="connsiteX155" fmla="*/ 6927 w 193366"/>
                <a:gd name="connsiteY155" fmla="*/ 138764 h 212909"/>
                <a:gd name="connsiteX156" fmla="*/ 6927 w 193366"/>
                <a:gd name="connsiteY156" fmla="*/ 137826 h 212909"/>
                <a:gd name="connsiteX157" fmla="*/ 17606 w 193366"/>
                <a:gd name="connsiteY157" fmla="*/ 139127 h 212909"/>
                <a:gd name="connsiteX158" fmla="*/ 22204 w 193366"/>
                <a:gd name="connsiteY158" fmla="*/ 138310 h 212909"/>
                <a:gd name="connsiteX159" fmla="*/ 25532 w 193366"/>
                <a:gd name="connsiteY159" fmla="*/ 134407 h 212909"/>
                <a:gd name="connsiteX160" fmla="*/ 25108 w 193366"/>
                <a:gd name="connsiteY160" fmla="*/ 136253 h 212909"/>
                <a:gd name="connsiteX161" fmla="*/ 25169 w 193366"/>
                <a:gd name="connsiteY161" fmla="*/ 137432 h 212909"/>
                <a:gd name="connsiteX162" fmla="*/ 27468 w 193366"/>
                <a:gd name="connsiteY162" fmla="*/ 142152 h 212909"/>
                <a:gd name="connsiteX163" fmla="*/ 27620 w 193366"/>
                <a:gd name="connsiteY163" fmla="*/ 143725 h 212909"/>
                <a:gd name="connsiteX164" fmla="*/ 26833 w 193366"/>
                <a:gd name="connsiteY164" fmla="*/ 145661 h 212909"/>
                <a:gd name="connsiteX165" fmla="*/ 25351 w 193366"/>
                <a:gd name="connsiteY165" fmla="*/ 144269 h 212909"/>
                <a:gd name="connsiteX166" fmla="*/ 22416 w 193366"/>
                <a:gd name="connsiteY166" fmla="*/ 142848 h 212909"/>
                <a:gd name="connsiteX167" fmla="*/ 21266 w 193366"/>
                <a:gd name="connsiteY167" fmla="*/ 142485 h 212909"/>
                <a:gd name="connsiteX168" fmla="*/ 13008 w 193366"/>
                <a:gd name="connsiteY168" fmla="*/ 139943 h 212909"/>
                <a:gd name="connsiteX169" fmla="*/ 11738 w 193366"/>
                <a:gd name="connsiteY169" fmla="*/ 140397 h 212909"/>
                <a:gd name="connsiteX170" fmla="*/ 11223 w 193366"/>
                <a:gd name="connsiteY170" fmla="*/ 141849 h 212909"/>
                <a:gd name="connsiteX171" fmla="*/ 12010 w 193366"/>
                <a:gd name="connsiteY171" fmla="*/ 143089 h 212909"/>
                <a:gd name="connsiteX172" fmla="*/ 14520 w 193366"/>
                <a:gd name="connsiteY172" fmla="*/ 144723 h 212909"/>
                <a:gd name="connsiteX173" fmla="*/ 14127 w 193366"/>
                <a:gd name="connsiteY173" fmla="*/ 144995 h 212909"/>
                <a:gd name="connsiteX174" fmla="*/ 14036 w 193366"/>
                <a:gd name="connsiteY174" fmla="*/ 145086 h 212909"/>
                <a:gd name="connsiteX175" fmla="*/ 14036 w 193366"/>
                <a:gd name="connsiteY175" fmla="*/ 145237 h 212909"/>
                <a:gd name="connsiteX176" fmla="*/ 13794 w 193366"/>
                <a:gd name="connsiteY176" fmla="*/ 145661 h 212909"/>
                <a:gd name="connsiteX177" fmla="*/ 14823 w 193366"/>
                <a:gd name="connsiteY177" fmla="*/ 146054 h 212909"/>
                <a:gd name="connsiteX178" fmla="*/ 16215 w 193366"/>
                <a:gd name="connsiteY178" fmla="*/ 146810 h 212909"/>
                <a:gd name="connsiteX179" fmla="*/ 17455 w 193366"/>
                <a:gd name="connsiteY179" fmla="*/ 147718 h 212909"/>
                <a:gd name="connsiteX180" fmla="*/ 17999 w 193366"/>
                <a:gd name="connsiteY180" fmla="*/ 148535 h 212909"/>
                <a:gd name="connsiteX181" fmla="*/ 18423 w 193366"/>
                <a:gd name="connsiteY181" fmla="*/ 148777 h 212909"/>
                <a:gd name="connsiteX182" fmla="*/ 20601 w 193366"/>
                <a:gd name="connsiteY182" fmla="*/ 148505 h 212909"/>
                <a:gd name="connsiteX183" fmla="*/ 21418 w 193366"/>
                <a:gd name="connsiteY183" fmla="*/ 148988 h 212909"/>
                <a:gd name="connsiteX184" fmla="*/ 22083 w 193366"/>
                <a:gd name="connsiteY184" fmla="*/ 148988 h 212909"/>
                <a:gd name="connsiteX185" fmla="*/ 22628 w 193366"/>
                <a:gd name="connsiteY185" fmla="*/ 146447 h 212909"/>
                <a:gd name="connsiteX186" fmla="*/ 24624 w 193366"/>
                <a:gd name="connsiteY186" fmla="*/ 146538 h 212909"/>
                <a:gd name="connsiteX187" fmla="*/ 26379 w 193366"/>
                <a:gd name="connsiteY187" fmla="*/ 148051 h 212909"/>
                <a:gd name="connsiteX188" fmla="*/ 26167 w 193366"/>
                <a:gd name="connsiteY188" fmla="*/ 149866 h 212909"/>
                <a:gd name="connsiteX189" fmla="*/ 26167 w 193366"/>
                <a:gd name="connsiteY189" fmla="*/ 150622 h 212909"/>
                <a:gd name="connsiteX190" fmla="*/ 26772 w 193366"/>
                <a:gd name="connsiteY190" fmla="*/ 151046 h 212909"/>
                <a:gd name="connsiteX191" fmla="*/ 27649 w 193366"/>
                <a:gd name="connsiteY191" fmla="*/ 151953 h 212909"/>
                <a:gd name="connsiteX192" fmla="*/ 28224 w 193366"/>
                <a:gd name="connsiteY192" fmla="*/ 152407 h 212909"/>
                <a:gd name="connsiteX193" fmla="*/ 28255 w 193366"/>
                <a:gd name="connsiteY193" fmla="*/ 154131 h 212909"/>
                <a:gd name="connsiteX194" fmla="*/ 29767 w 193366"/>
                <a:gd name="connsiteY194" fmla="*/ 155825 h 212909"/>
                <a:gd name="connsiteX195" fmla="*/ 33095 w 193366"/>
                <a:gd name="connsiteY195" fmla="*/ 158367 h 212909"/>
                <a:gd name="connsiteX196" fmla="*/ 34063 w 193366"/>
                <a:gd name="connsiteY196" fmla="*/ 160151 h 212909"/>
                <a:gd name="connsiteX197" fmla="*/ 34729 w 193366"/>
                <a:gd name="connsiteY197" fmla="*/ 160817 h 212909"/>
                <a:gd name="connsiteX198" fmla="*/ 35485 w 193366"/>
                <a:gd name="connsiteY198" fmla="*/ 160514 h 212909"/>
                <a:gd name="connsiteX199" fmla="*/ 35727 w 193366"/>
                <a:gd name="connsiteY199" fmla="*/ 160242 h 212909"/>
                <a:gd name="connsiteX200" fmla="*/ 36271 w 193366"/>
                <a:gd name="connsiteY200" fmla="*/ 159728 h 212909"/>
                <a:gd name="connsiteX201" fmla="*/ 36997 w 193366"/>
                <a:gd name="connsiteY201" fmla="*/ 159213 h 212909"/>
                <a:gd name="connsiteX202" fmla="*/ 38631 w 193366"/>
                <a:gd name="connsiteY202" fmla="*/ 158367 h 212909"/>
                <a:gd name="connsiteX203" fmla="*/ 38934 w 193366"/>
                <a:gd name="connsiteY203" fmla="*/ 158911 h 212909"/>
                <a:gd name="connsiteX204" fmla="*/ 39538 w 193366"/>
                <a:gd name="connsiteY204" fmla="*/ 159486 h 212909"/>
                <a:gd name="connsiteX205" fmla="*/ 40023 w 193366"/>
                <a:gd name="connsiteY205" fmla="*/ 160060 h 212909"/>
                <a:gd name="connsiteX206" fmla="*/ 40779 w 193366"/>
                <a:gd name="connsiteY206" fmla="*/ 159062 h 212909"/>
                <a:gd name="connsiteX207" fmla="*/ 42291 w 193366"/>
                <a:gd name="connsiteY207" fmla="*/ 158457 h 212909"/>
                <a:gd name="connsiteX208" fmla="*/ 44076 w 193366"/>
                <a:gd name="connsiteY208" fmla="*/ 158457 h 212909"/>
                <a:gd name="connsiteX209" fmla="*/ 45528 w 193366"/>
                <a:gd name="connsiteY209" fmla="*/ 159213 h 212909"/>
                <a:gd name="connsiteX210" fmla="*/ 46406 w 193366"/>
                <a:gd name="connsiteY210" fmla="*/ 160938 h 212909"/>
                <a:gd name="connsiteX211" fmla="*/ 47101 w 193366"/>
                <a:gd name="connsiteY211" fmla="*/ 165052 h 212909"/>
                <a:gd name="connsiteX212" fmla="*/ 48281 w 193366"/>
                <a:gd name="connsiteY212" fmla="*/ 166958 h 212909"/>
                <a:gd name="connsiteX213" fmla="*/ 52304 w 193366"/>
                <a:gd name="connsiteY213" fmla="*/ 169771 h 212909"/>
                <a:gd name="connsiteX214" fmla="*/ 53787 w 193366"/>
                <a:gd name="connsiteY214" fmla="*/ 171133 h 212909"/>
                <a:gd name="connsiteX215" fmla="*/ 55148 w 193366"/>
                <a:gd name="connsiteY215" fmla="*/ 173825 h 212909"/>
                <a:gd name="connsiteX216" fmla="*/ 55783 w 193366"/>
                <a:gd name="connsiteY216" fmla="*/ 174249 h 212909"/>
                <a:gd name="connsiteX217" fmla="*/ 56479 w 193366"/>
                <a:gd name="connsiteY217" fmla="*/ 174249 h 212909"/>
                <a:gd name="connsiteX218" fmla="*/ 56994 w 193366"/>
                <a:gd name="connsiteY218" fmla="*/ 174581 h 212909"/>
                <a:gd name="connsiteX219" fmla="*/ 57205 w 193366"/>
                <a:gd name="connsiteY219" fmla="*/ 175942 h 212909"/>
                <a:gd name="connsiteX220" fmla="*/ 58052 w 193366"/>
                <a:gd name="connsiteY220" fmla="*/ 177274 h 212909"/>
                <a:gd name="connsiteX221" fmla="*/ 61894 w 193366"/>
                <a:gd name="connsiteY221" fmla="*/ 177183 h 212909"/>
                <a:gd name="connsiteX222" fmla="*/ 63437 w 193366"/>
                <a:gd name="connsiteY222" fmla="*/ 179663 h 212909"/>
                <a:gd name="connsiteX223" fmla="*/ 64678 w 193366"/>
                <a:gd name="connsiteY223" fmla="*/ 180208 h 212909"/>
                <a:gd name="connsiteX224" fmla="*/ 65434 w 193366"/>
                <a:gd name="connsiteY224" fmla="*/ 180934 h 212909"/>
                <a:gd name="connsiteX225" fmla="*/ 64526 w 193366"/>
                <a:gd name="connsiteY225" fmla="*/ 182719 h 212909"/>
                <a:gd name="connsiteX226" fmla="*/ 65282 w 193366"/>
                <a:gd name="connsiteY226" fmla="*/ 184534 h 212909"/>
                <a:gd name="connsiteX227" fmla="*/ 71000 w 193366"/>
                <a:gd name="connsiteY227" fmla="*/ 189344 h 212909"/>
                <a:gd name="connsiteX228" fmla="*/ 71454 w 193366"/>
                <a:gd name="connsiteY228" fmla="*/ 195455 h 212909"/>
                <a:gd name="connsiteX229" fmla="*/ 71363 w 193366"/>
                <a:gd name="connsiteY229" fmla="*/ 195999 h 212909"/>
                <a:gd name="connsiteX230" fmla="*/ 70879 w 193366"/>
                <a:gd name="connsiteY230" fmla="*/ 196423 h 212909"/>
                <a:gd name="connsiteX231" fmla="*/ 71605 w 193366"/>
                <a:gd name="connsiteY231" fmla="*/ 197391 h 212909"/>
                <a:gd name="connsiteX232" fmla="*/ 72664 w 193366"/>
                <a:gd name="connsiteY232" fmla="*/ 198238 h 212909"/>
                <a:gd name="connsiteX233" fmla="*/ 73117 w 193366"/>
                <a:gd name="connsiteY233" fmla="*/ 198450 h 212909"/>
                <a:gd name="connsiteX234" fmla="*/ 73420 w 193366"/>
                <a:gd name="connsiteY234" fmla="*/ 199690 h 212909"/>
                <a:gd name="connsiteX235" fmla="*/ 73299 w 193366"/>
                <a:gd name="connsiteY235" fmla="*/ 200386 h 212909"/>
                <a:gd name="connsiteX236" fmla="*/ 73329 w 193366"/>
                <a:gd name="connsiteY236" fmla="*/ 201051 h 212909"/>
                <a:gd name="connsiteX237" fmla="*/ 74116 w 193366"/>
                <a:gd name="connsiteY237" fmla="*/ 202292 h 212909"/>
                <a:gd name="connsiteX238" fmla="*/ 74932 w 193366"/>
                <a:gd name="connsiteY238" fmla="*/ 202806 h 212909"/>
                <a:gd name="connsiteX239" fmla="*/ 77413 w 193366"/>
                <a:gd name="connsiteY239" fmla="*/ 203653 h 212909"/>
                <a:gd name="connsiteX240" fmla="*/ 79137 w 193366"/>
                <a:gd name="connsiteY240" fmla="*/ 204681 h 212909"/>
                <a:gd name="connsiteX241" fmla="*/ 86489 w 193366"/>
                <a:gd name="connsiteY241" fmla="*/ 206920 h 212909"/>
                <a:gd name="connsiteX242" fmla="*/ 88213 w 193366"/>
                <a:gd name="connsiteY242" fmla="*/ 207706 h 212909"/>
                <a:gd name="connsiteX243" fmla="*/ 91904 w 193366"/>
                <a:gd name="connsiteY243" fmla="*/ 211488 h 212909"/>
                <a:gd name="connsiteX244" fmla="*/ 93719 w 193366"/>
                <a:gd name="connsiteY244" fmla="*/ 212910 h 212909"/>
                <a:gd name="connsiteX245" fmla="*/ 93749 w 193366"/>
                <a:gd name="connsiteY245" fmla="*/ 212910 h 212909"/>
                <a:gd name="connsiteX246" fmla="*/ 93628 w 193366"/>
                <a:gd name="connsiteY246" fmla="*/ 211609 h 212909"/>
                <a:gd name="connsiteX247" fmla="*/ 93719 w 193366"/>
                <a:gd name="connsiteY247" fmla="*/ 208372 h 212909"/>
                <a:gd name="connsiteX248" fmla="*/ 92902 w 193366"/>
                <a:gd name="connsiteY248" fmla="*/ 207041 h 212909"/>
                <a:gd name="connsiteX249" fmla="*/ 91994 w 193366"/>
                <a:gd name="connsiteY249" fmla="*/ 206224 h 212909"/>
                <a:gd name="connsiteX250" fmla="*/ 91752 w 193366"/>
                <a:gd name="connsiteY250" fmla="*/ 205710 h 212909"/>
                <a:gd name="connsiteX251" fmla="*/ 91783 w 193366"/>
                <a:gd name="connsiteY251" fmla="*/ 205226 h 212909"/>
                <a:gd name="connsiteX252" fmla="*/ 91752 w 193366"/>
                <a:gd name="connsiteY252" fmla="*/ 204379 h 212909"/>
                <a:gd name="connsiteX253" fmla="*/ 91874 w 193366"/>
                <a:gd name="connsiteY253" fmla="*/ 203774 h 212909"/>
                <a:gd name="connsiteX254" fmla="*/ 92267 w 193366"/>
                <a:gd name="connsiteY254" fmla="*/ 203108 h 212909"/>
                <a:gd name="connsiteX255" fmla="*/ 92509 w 193366"/>
                <a:gd name="connsiteY255" fmla="*/ 202231 h 212909"/>
                <a:gd name="connsiteX256" fmla="*/ 91843 w 193366"/>
                <a:gd name="connsiteY256" fmla="*/ 199387 h 212909"/>
                <a:gd name="connsiteX257" fmla="*/ 92388 w 193366"/>
                <a:gd name="connsiteY257" fmla="*/ 198933 h 212909"/>
                <a:gd name="connsiteX258" fmla="*/ 93204 w 193366"/>
                <a:gd name="connsiteY258" fmla="*/ 198813 h 212909"/>
                <a:gd name="connsiteX259" fmla="*/ 93809 w 193366"/>
                <a:gd name="connsiteY259" fmla="*/ 198359 h 212909"/>
                <a:gd name="connsiteX260" fmla="*/ 94324 w 193366"/>
                <a:gd name="connsiteY260" fmla="*/ 196271 h 212909"/>
                <a:gd name="connsiteX261" fmla="*/ 93598 w 193366"/>
                <a:gd name="connsiteY261" fmla="*/ 195425 h 212909"/>
                <a:gd name="connsiteX262" fmla="*/ 93537 w 193366"/>
                <a:gd name="connsiteY262" fmla="*/ 195394 h 212909"/>
                <a:gd name="connsiteX263" fmla="*/ 92630 w 193366"/>
                <a:gd name="connsiteY263" fmla="*/ 193519 h 212909"/>
                <a:gd name="connsiteX264" fmla="*/ 92267 w 193366"/>
                <a:gd name="connsiteY264" fmla="*/ 191159 h 212909"/>
                <a:gd name="connsiteX265" fmla="*/ 92388 w 193366"/>
                <a:gd name="connsiteY265" fmla="*/ 188679 h 212909"/>
                <a:gd name="connsiteX266" fmla="*/ 92872 w 193366"/>
                <a:gd name="connsiteY266" fmla="*/ 186561 h 212909"/>
                <a:gd name="connsiteX267" fmla="*/ 94717 w 193366"/>
                <a:gd name="connsiteY267" fmla="*/ 182840 h 212909"/>
                <a:gd name="connsiteX268" fmla="*/ 94475 w 193366"/>
                <a:gd name="connsiteY268" fmla="*/ 181630 h 212909"/>
                <a:gd name="connsiteX269" fmla="*/ 94203 w 193366"/>
                <a:gd name="connsiteY269" fmla="*/ 181358 h 212909"/>
                <a:gd name="connsiteX270" fmla="*/ 92720 w 193366"/>
                <a:gd name="connsiteY270" fmla="*/ 179694 h 212909"/>
                <a:gd name="connsiteX271" fmla="*/ 86973 w 193366"/>
                <a:gd name="connsiteY271" fmla="*/ 175761 h 212909"/>
                <a:gd name="connsiteX272" fmla="*/ 85369 w 193366"/>
                <a:gd name="connsiteY272" fmla="*/ 174127 h 212909"/>
                <a:gd name="connsiteX273" fmla="*/ 85369 w 193366"/>
                <a:gd name="connsiteY273" fmla="*/ 174127 h 212909"/>
                <a:gd name="connsiteX274" fmla="*/ 84371 w 193366"/>
                <a:gd name="connsiteY274" fmla="*/ 172131 h 212909"/>
                <a:gd name="connsiteX275" fmla="*/ 84674 w 193366"/>
                <a:gd name="connsiteY275" fmla="*/ 170830 h 212909"/>
                <a:gd name="connsiteX276" fmla="*/ 87638 w 193366"/>
                <a:gd name="connsiteY276" fmla="*/ 167835 h 212909"/>
                <a:gd name="connsiteX277" fmla="*/ 97288 w 193366"/>
                <a:gd name="connsiteY277" fmla="*/ 154040 h 212909"/>
                <a:gd name="connsiteX278" fmla="*/ 97379 w 193366"/>
                <a:gd name="connsiteY278" fmla="*/ 153405 h 212909"/>
                <a:gd name="connsiteX279" fmla="*/ 97319 w 193366"/>
                <a:gd name="connsiteY279" fmla="*/ 151681 h 212909"/>
                <a:gd name="connsiteX280" fmla="*/ 97500 w 193366"/>
                <a:gd name="connsiteY280" fmla="*/ 150773 h 212909"/>
                <a:gd name="connsiteX281" fmla="*/ 98468 w 193366"/>
                <a:gd name="connsiteY281" fmla="*/ 148716 h 212909"/>
                <a:gd name="connsiteX282" fmla="*/ 98983 w 193366"/>
                <a:gd name="connsiteY282" fmla="*/ 148020 h 212909"/>
                <a:gd name="connsiteX283" fmla="*/ 104125 w 193366"/>
                <a:gd name="connsiteY283" fmla="*/ 142515 h 212909"/>
                <a:gd name="connsiteX284" fmla="*/ 105456 w 193366"/>
                <a:gd name="connsiteY284" fmla="*/ 140458 h 212909"/>
                <a:gd name="connsiteX285" fmla="*/ 107453 w 193366"/>
                <a:gd name="connsiteY285" fmla="*/ 139278 h 212909"/>
                <a:gd name="connsiteX286" fmla="*/ 109086 w 193366"/>
                <a:gd name="connsiteY286" fmla="*/ 137523 h 212909"/>
                <a:gd name="connsiteX287" fmla="*/ 110478 w 193366"/>
                <a:gd name="connsiteY287" fmla="*/ 135436 h 212909"/>
                <a:gd name="connsiteX288" fmla="*/ 111718 w 193366"/>
                <a:gd name="connsiteY288" fmla="*/ 133106 h 212909"/>
                <a:gd name="connsiteX289" fmla="*/ 111718 w 193366"/>
                <a:gd name="connsiteY289" fmla="*/ 133076 h 212909"/>
                <a:gd name="connsiteX290" fmla="*/ 112263 w 193366"/>
                <a:gd name="connsiteY290" fmla="*/ 131201 h 212909"/>
                <a:gd name="connsiteX291" fmla="*/ 113473 w 193366"/>
                <a:gd name="connsiteY291" fmla="*/ 130263 h 212909"/>
                <a:gd name="connsiteX292" fmla="*/ 114925 w 193366"/>
                <a:gd name="connsiteY292" fmla="*/ 129476 h 212909"/>
                <a:gd name="connsiteX293" fmla="*/ 116165 w 193366"/>
                <a:gd name="connsiteY293" fmla="*/ 128176 h 212909"/>
                <a:gd name="connsiteX294" fmla="*/ 116740 w 193366"/>
                <a:gd name="connsiteY294" fmla="*/ 126663 h 212909"/>
                <a:gd name="connsiteX295" fmla="*/ 117284 w 193366"/>
                <a:gd name="connsiteY295" fmla="*/ 123396 h 212909"/>
                <a:gd name="connsiteX296" fmla="*/ 117890 w 193366"/>
                <a:gd name="connsiteY296" fmla="*/ 121641 h 212909"/>
                <a:gd name="connsiteX297" fmla="*/ 119553 w 193366"/>
                <a:gd name="connsiteY297" fmla="*/ 119130 h 212909"/>
                <a:gd name="connsiteX298" fmla="*/ 122185 w 193366"/>
                <a:gd name="connsiteY298" fmla="*/ 116256 h 212909"/>
                <a:gd name="connsiteX299" fmla="*/ 123214 w 193366"/>
                <a:gd name="connsiteY299" fmla="*/ 115409 h 212909"/>
                <a:gd name="connsiteX300" fmla="*/ 125029 w 193366"/>
                <a:gd name="connsiteY300" fmla="*/ 113897 h 212909"/>
                <a:gd name="connsiteX301" fmla="*/ 127358 w 193366"/>
                <a:gd name="connsiteY301" fmla="*/ 112868 h 212909"/>
                <a:gd name="connsiteX302" fmla="*/ 129658 w 193366"/>
                <a:gd name="connsiteY302" fmla="*/ 113988 h 212909"/>
                <a:gd name="connsiteX303" fmla="*/ 131200 w 193366"/>
                <a:gd name="connsiteY303" fmla="*/ 116680 h 212909"/>
                <a:gd name="connsiteX304" fmla="*/ 132047 w 193366"/>
                <a:gd name="connsiteY304" fmla="*/ 119886 h 212909"/>
                <a:gd name="connsiteX305" fmla="*/ 132168 w 193366"/>
                <a:gd name="connsiteY305" fmla="*/ 121127 h 212909"/>
                <a:gd name="connsiteX306" fmla="*/ 132229 w 193366"/>
                <a:gd name="connsiteY306" fmla="*/ 122398 h 212909"/>
                <a:gd name="connsiteX307" fmla="*/ 132047 w 193366"/>
                <a:gd name="connsiteY307" fmla="*/ 122246 h 212909"/>
                <a:gd name="connsiteX308" fmla="*/ 131594 w 193366"/>
                <a:gd name="connsiteY308" fmla="*/ 122942 h 212909"/>
                <a:gd name="connsiteX309" fmla="*/ 130837 w 193366"/>
                <a:gd name="connsiteY309" fmla="*/ 124424 h 212909"/>
                <a:gd name="connsiteX310" fmla="*/ 130656 w 193366"/>
                <a:gd name="connsiteY310" fmla="*/ 125332 h 212909"/>
                <a:gd name="connsiteX311" fmla="*/ 130474 w 193366"/>
                <a:gd name="connsiteY311" fmla="*/ 127238 h 212909"/>
                <a:gd name="connsiteX312" fmla="*/ 130535 w 193366"/>
                <a:gd name="connsiteY312" fmla="*/ 128085 h 212909"/>
                <a:gd name="connsiteX313" fmla="*/ 130898 w 193366"/>
                <a:gd name="connsiteY313" fmla="*/ 129234 h 212909"/>
                <a:gd name="connsiteX314" fmla="*/ 132622 w 193366"/>
                <a:gd name="connsiteY314" fmla="*/ 133106 h 212909"/>
                <a:gd name="connsiteX315" fmla="*/ 135919 w 193366"/>
                <a:gd name="connsiteY315" fmla="*/ 135466 h 212909"/>
                <a:gd name="connsiteX316" fmla="*/ 137644 w 193366"/>
                <a:gd name="connsiteY316" fmla="*/ 136253 h 212909"/>
                <a:gd name="connsiteX317" fmla="*/ 139489 w 193366"/>
                <a:gd name="connsiteY317" fmla="*/ 136465 h 212909"/>
                <a:gd name="connsiteX318" fmla="*/ 140427 w 193366"/>
                <a:gd name="connsiteY318" fmla="*/ 136192 h 212909"/>
                <a:gd name="connsiteX319" fmla="*/ 141062 w 193366"/>
                <a:gd name="connsiteY319" fmla="*/ 136011 h 212909"/>
                <a:gd name="connsiteX320" fmla="*/ 144874 w 193366"/>
                <a:gd name="connsiteY320" fmla="*/ 133923 h 212909"/>
                <a:gd name="connsiteX321" fmla="*/ 145812 w 193366"/>
                <a:gd name="connsiteY321" fmla="*/ 133106 h 212909"/>
                <a:gd name="connsiteX322" fmla="*/ 145842 w 193366"/>
                <a:gd name="connsiteY322" fmla="*/ 133076 h 212909"/>
                <a:gd name="connsiteX323" fmla="*/ 145842 w 193366"/>
                <a:gd name="connsiteY323" fmla="*/ 133076 h 212909"/>
                <a:gd name="connsiteX324" fmla="*/ 148322 w 193366"/>
                <a:gd name="connsiteY324" fmla="*/ 131473 h 212909"/>
                <a:gd name="connsiteX325" fmla="*/ 153223 w 193366"/>
                <a:gd name="connsiteY325" fmla="*/ 131594 h 212909"/>
                <a:gd name="connsiteX326" fmla="*/ 155765 w 193366"/>
                <a:gd name="connsiteY326" fmla="*/ 130928 h 212909"/>
                <a:gd name="connsiteX327" fmla="*/ 159425 w 193366"/>
                <a:gd name="connsiteY327" fmla="*/ 126481 h 212909"/>
                <a:gd name="connsiteX328" fmla="*/ 161573 w 193366"/>
                <a:gd name="connsiteY328" fmla="*/ 125029 h 212909"/>
                <a:gd name="connsiteX329" fmla="*/ 164174 w 193366"/>
                <a:gd name="connsiteY329" fmla="*/ 126421 h 212909"/>
                <a:gd name="connsiteX330" fmla="*/ 165354 w 193366"/>
                <a:gd name="connsiteY330" fmla="*/ 124787 h 212909"/>
                <a:gd name="connsiteX331" fmla="*/ 165475 w 193366"/>
                <a:gd name="connsiteY331" fmla="*/ 123154 h 212909"/>
                <a:gd name="connsiteX332" fmla="*/ 165203 w 193366"/>
                <a:gd name="connsiteY332" fmla="*/ 121399 h 212909"/>
                <a:gd name="connsiteX333" fmla="*/ 165233 w 193366"/>
                <a:gd name="connsiteY333" fmla="*/ 119372 h 212909"/>
                <a:gd name="connsiteX334" fmla="*/ 165596 w 193366"/>
                <a:gd name="connsiteY334" fmla="*/ 118344 h 212909"/>
                <a:gd name="connsiteX335" fmla="*/ 166746 w 193366"/>
                <a:gd name="connsiteY335" fmla="*/ 116317 h 212909"/>
                <a:gd name="connsiteX336" fmla="*/ 168077 w 193366"/>
                <a:gd name="connsiteY336" fmla="*/ 113080 h 212909"/>
                <a:gd name="connsiteX337" fmla="*/ 167865 w 193366"/>
                <a:gd name="connsiteY337" fmla="*/ 112657 h 212909"/>
                <a:gd name="connsiteX338" fmla="*/ 167109 w 193366"/>
                <a:gd name="connsiteY338" fmla="*/ 111356 h 212909"/>
                <a:gd name="connsiteX339" fmla="*/ 161331 w 193366"/>
                <a:gd name="connsiteY339" fmla="*/ 106304 h 212909"/>
                <a:gd name="connsiteX340" fmla="*/ 161240 w 193366"/>
                <a:gd name="connsiteY340" fmla="*/ 106183 h 212909"/>
                <a:gd name="connsiteX341" fmla="*/ 160090 w 193366"/>
                <a:gd name="connsiteY341" fmla="*/ 104277 h 212909"/>
                <a:gd name="connsiteX342" fmla="*/ 160302 w 193366"/>
                <a:gd name="connsiteY342" fmla="*/ 101796 h 212909"/>
                <a:gd name="connsiteX343" fmla="*/ 161119 w 193366"/>
                <a:gd name="connsiteY343" fmla="*/ 100737 h 212909"/>
                <a:gd name="connsiteX344" fmla="*/ 163237 w 193366"/>
                <a:gd name="connsiteY344" fmla="*/ 99195 h 212909"/>
                <a:gd name="connsiteX345" fmla="*/ 164174 w 193366"/>
                <a:gd name="connsiteY345" fmla="*/ 98499 h 212909"/>
                <a:gd name="connsiteX346" fmla="*/ 165294 w 193366"/>
                <a:gd name="connsiteY346" fmla="*/ 97984 h 212909"/>
                <a:gd name="connsiteX347" fmla="*/ 168894 w 193366"/>
                <a:gd name="connsiteY347" fmla="*/ 98832 h 212909"/>
                <a:gd name="connsiteX348" fmla="*/ 172675 w 193366"/>
                <a:gd name="connsiteY348" fmla="*/ 100949 h 212909"/>
                <a:gd name="connsiteX349" fmla="*/ 176093 w 193366"/>
                <a:gd name="connsiteY349" fmla="*/ 101857 h 212909"/>
                <a:gd name="connsiteX350" fmla="*/ 178604 w 193366"/>
                <a:gd name="connsiteY350" fmla="*/ 99255 h 212909"/>
                <a:gd name="connsiteX351" fmla="*/ 178756 w 193366"/>
                <a:gd name="connsiteY351" fmla="*/ 98045 h 212909"/>
                <a:gd name="connsiteX352" fmla="*/ 178604 w 193366"/>
                <a:gd name="connsiteY352" fmla="*/ 96895 h 212909"/>
                <a:gd name="connsiteX353" fmla="*/ 178665 w 193366"/>
                <a:gd name="connsiteY353" fmla="*/ 95685 h 212909"/>
                <a:gd name="connsiteX354" fmla="*/ 179512 w 193366"/>
                <a:gd name="connsiteY354" fmla="*/ 94294 h 212909"/>
                <a:gd name="connsiteX355" fmla="*/ 180359 w 193366"/>
                <a:gd name="connsiteY355" fmla="*/ 93779 h 212909"/>
                <a:gd name="connsiteX356" fmla="*/ 184231 w 193366"/>
                <a:gd name="connsiteY356" fmla="*/ 92479 h 212909"/>
                <a:gd name="connsiteX357" fmla="*/ 192369 w 193366"/>
                <a:gd name="connsiteY357" fmla="*/ 91178 h 212909"/>
                <a:gd name="connsiteX358" fmla="*/ 193367 w 193366"/>
                <a:gd name="connsiteY358" fmla="*/ 86307 h 212909"/>
                <a:gd name="connsiteX359" fmla="*/ 193216 w 193366"/>
                <a:gd name="connsiteY359" fmla="*/ 83191 h 21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193366" h="212909">
                  <a:moveTo>
                    <a:pt x="193216" y="83191"/>
                  </a:moveTo>
                  <a:lnTo>
                    <a:pt x="191552" y="81165"/>
                  </a:lnTo>
                  <a:lnTo>
                    <a:pt x="185350" y="78291"/>
                  </a:lnTo>
                  <a:lnTo>
                    <a:pt x="180087" y="74782"/>
                  </a:lnTo>
                  <a:lnTo>
                    <a:pt x="177182" y="73632"/>
                  </a:lnTo>
                  <a:lnTo>
                    <a:pt x="171798" y="73118"/>
                  </a:lnTo>
                  <a:lnTo>
                    <a:pt x="170648" y="72785"/>
                  </a:lnTo>
                  <a:lnTo>
                    <a:pt x="169378" y="72392"/>
                  </a:lnTo>
                  <a:lnTo>
                    <a:pt x="163297" y="66826"/>
                  </a:lnTo>
                  <a:lnTo>
                    <a:pt x="163115" y="66644"/>
                  </a:lnTo>
                  <a:lnTo>
                    <a:pt x="159606" y="63468"/>
                  </a:lnTo>
                  <a:lnTo>
                    <a:pt x="153556" y="59535"/>
                  </a:lnTo>
                  <a:lnTo>
                    <a:pt x="152588" y="58597"/>
                  </a:lnTo>
                  <a:lnTo>
                    <a:pt x="151801" y="57387"/>
                  </a:lnTo>
                  <a:lnTo>
                    <a:pt x="151227" y="56086"/>
                  </a:lnTo>
                  <a:lnTo>
                    <a:pt x="150501" y="55058"/>
                  </a:lnTo>
                  <a:lnTo>
                    <a:pt x="149230" y="54665"/>
                  </a:lnTo>
                  <a:lnTo>
                    <a:pt x="148262" y="55149"/>
                  </a:lnTo>
                  <a:lnTo>
                    <a:pt x="145933" y="57357"/>
                  </a:lnTo>
                  <a:lnTo>
                    <a:pt x="144753" y="58022"/>
                  </a:lnTo>
                  <a:lnTo>
                    <a:pt x="141335" y="58295"/>
                  </a:lnTo>
                  <a:lnTo>
                    <a:pt x="138007" y="58083"/>
                  </a:lnTo>
                  <a:lnTo>
                    <a:pt x="135647" y="57266"/>
                  </a:lnTo>
                  <a:lnTo>
                    <a:pt x="133590" y="55723"/>
                  </a:lnTo>
                  <a:lnTo>
                    <a:pt x="131745" y="53454"/>
                  </a:lnTo>
                  <a:lnTo>
                    <a:pt x="128780" y="48523"/>
                  </a:lnTo>
                  <a:lnTo>
                    <a:pt x="127994" y="48433"/>
                  </a:lnTo>
                  <a:lnTo>
                    <a:pt x="127177" y="49189"/>
                  </a:lnTo>
                  <a:lnTo>
                    <a:pt x="125876" y="49643"/>
                  </a:lnTo>
                  <a:lnTo>
                    <a:pt x="123728" y="49431"/>
                  </a:lnTo>
                  <a:lnTo>
                    <a:pt x="119251" y="48191"/>
                  </a:lnTo>
                  <a:lnTo>
                    <a:pt x="117164" y="47193"/>
                  </a:lnTo>
                  <a:lnTo>
                    <a:pt x="115439" y="45710"/>
                  </a:lnTo>
                  <a:lnTo>
                    <a:pt x="112324" y="41959"/>
                  </a:lnTo>
                  <a:lnTo>
                    <a:pt x="112112" y="41777"/>
                  </a:lnTo>
                  <a:lnTo>
                    <a:pt x="108542" y="39024"/>
                  </a:lnTo>
                  <a:lnTo>
                    <a:pt x="107544" y="37572"/>
                  </a:lnTo>
                  <a:lnTo>
                    <a:pt x="105789" y="34033"/>
                  </a:lnTo>
                  <a:lnTo>
                    <a:pt x="104609" y="32339"/>
                  </a:lnTo>
                  <a:lnTo>
                    <a:pt x="98650" y="26652"/>
                  </a:lnTo>
                  <a:lnTo>
                    <a:pt x="94445" y="20813"/>
                  </a:lnTo>
                  <a:lnTo>
                    <a:pt x="92781" y="19694"/>
                  </a:lnTo>
                  <a:lnTo>
                    <a:pt x="78956" y="13946"/>
                  </a:lnTo>
                  <a:lnTo>
                    <a:pt x="76324" y="11859"/>
                  </a:lnTo>
                  <a:lnTo>
                    <a:pt x="74691" y="8531"/>
                  </a:lnTo>
                  <a:lnTo>
                    <a:pt x="74630" y="4871"/>
                  </a:lnTo>
                  <a:lnTo>
                    <a:pt x="76657" y="1936"/>
                  </a:lnTo>
                  <a:lnTo>
                    <a:pt x="71847" y="1240"/>
                  </a:lnTo>
                  <a:lnTo>
                    <a:pt x="69336" y="1513"/>
                  </a:lnTo>
                  <a:lnTo>
                    <a:pt x="66644" y="4447"/>
                  </a:lnTo>
                  <a:lnTo>
                    <a:pt x="64678" y="5173"/>
                  </a:lnTo>
                  <a:lnTo>
                    <a:pt x="62529" y="5234"/>
                  </a:lnTo>
                  <a:lnTo>
                    <a:pt x="60836" y="4689"/>
                  </a:lnTo>
                  <a:lnTo>
                    <a:pt x="59504" y="3177"/>
                  </a:lnTo>
                  <a:lnTo>
                    <a:pt x="58415" y="1271"/>
                  </a:lnTo>
                  <a:lnTo>
                    <a:pt x="57024" y="0"/>
                  </a:lnTo>
                  <a:lnTo>
                    <a:pt x="54725" y="212"/>
                  </a:lnTo>
                  <a:lnTo>
                    <a:pt x="53242" y="1240"/>
                  </a:lnTo>
                  <a:lnTo>
                    <a:pt x="50852" y="3691"/>
                  </a:lnTo>
                  <a:lnTo>
                    <a:pt x="48977" y="4538"/>
                  </a:lnTo>
                  <a:lnTo>
                    <a:pt x="48039" y="5173"/>
                  </a:lnTo>
                  <a:lnTo>
                    <a:pt x="47464" y="6232"/>
                  </a:lnTo>
                  <a:lnTo>
                    <a:pt x="47495" y="7291"/>
                  </a:lnTo>
                  <a:lnTo>
                    <a:pt x="48462" y="7956"/>
                  </a:lnTo>
                  <a:lnTo>
                    <a:pt x="50036" y="8349"/>
                  </a:lnTo>
                  <a:lnTo>
                    <a:pt x="50731" y="8773"/>
                  </a:lnTo>
                  <a:lnTo>
                    <a:pt x="52093" y="10709"/>
                  </a:lnTo>
                  <a:lnTo>
                    <a:pt x="52032" y="11526"/>
                  </a:lnTo>
                  <a:lnTo>
                    <a:pt x="51578" y="12554"/>
                  </a:lnTo>
                  <a:lnTo>
                    <a:pt x="51578" y="13220"/>
                  </a:lnTo>
                  <a:lnTo>
                    <a:pt x="53817" y="12706"/>
                  </a:lnTo>
                  <a:lnTo>
                    <a:pt x="54513" y="13190"/>
                  </a:lnTo>
                  <a:lnTo>
                    <a:pt x="57992" y="17395"/>
                  </a:lnTo>
                  <a:lnTo>
                    <a:pt x="60987" y="25079"/>
                  </a:lnTo>
                  <a:lnTo>
                    <a:pt x="64012" y="30373"/>
                  </a:lnTo>
                  <a:lnTo>
                    <a:pt x="63286" y="30948"/>
                  </a:lnTo>
                  <a:lnTo>
                    <a:pt x="60624" y="31068"/>
                  </a:lnTo>
                  <a:lnTo>
                    <a:pt x="59474" y="31674"/>
                  </a:lnTo>
                  <a:lnTo>
                    <a:pt x="59262" y="31946"/>
                  </a:lnTo>
                  <a:lnTo>
                    <a:pt x="58718" y="32611"/>
                  </a:lnTo>
                  <a:lnTo>
                    <a:pt x="58083" y="33730"/>
                  </a:lnTo>
                  <a:lnTo>
                    <a:pt x="57266" y="34789"/>
                  </a:lnTo>
                  <a:lnTo>
                    <a:pt x="56237" y="35667"/>
                  </a:lnTo>
                  <a:lnTo>
                    <a:pt x="55935" y="35031"/>
                  </a:lnTo>
                  <a:lnTo>
                    <a:pt x="55874" y="34910"/>
                  </a:lnTo>
                  <a:lnTo>
                    <a:pt x="53817" y="32490"/>
                  </a:lnTo>
                  <a:lnTo>
                    <a:pt x="52910" y="31068"/>
                  </a:lnTo>
                  <a:lnTo>
                    <a:pt x="52667" y="30010"/>
                  </a:lnTo>
                  <a:lnTo>
                    <a:pt x="52758" y="29102"/>
                  </a:lnTo>
                  <a:lnTo>
                    <a:pt x="52698" y="28225"/>
                  </a:lnTo>
                  <a:lnTo>
                    <a:pt x="51972" y="27287"/>
                  </a:lnTo>
                  <a:lnTo>
                    <a:pt x="49279" y="25563"/>
                  </a:lnTo>
                  <a:lnTo>
                    <a:pt x="46829" y="24897"/>
                  </a:lnTo>
                  <a:lnTo>
                    <a:pt x="40869" y="25442"/>
                  </a:lnTo>
                  <a:lnTo>
                    <a:pt x="38994" y="26228"/>
                  </a:lnTo>
                  <a:lnTo>
                    <a:pt x="39327" y="26743"/>
                  </a:lnTo>
                  <a:lnTo>
                    <a:pt x="39932" y="27922"/>
                  </a:lnTo>
                  <a:lnTo>
                    <a:pt x="40234" y="28436"/>
                  </a:lnTo>
                  <a:lnTo>
                    <a:pt x="37572" y="29223"/>
                  </a:lnTo>
                  <a:lnTo>
                    <a:pt x="24745" y="37905"/>
                  </a:lnTo>
                  <a:lnTo>
                    <a:pt x="23203" y="39962"/>
                  </a:lnTo>
                  <a:lnTo>
                    <a:pt x="25623" y="41082"/>
                  </a:lnTo>
                  <a:lnTo>
                    <a:pt x="21297" y="46678"/>
                  </a:lnTo>
                  <a:lnTo>
                    <a:pt x="19663" y="49885"/>
                  </a:lnTo>
                  <a:lnTo>
                    <a:pt x="18877" y="53696"/>
                  </a:lnTo>
                  <a:lnTo>
                    <a:pt x="18816" y="53969"/>
                  </a:lnTo>
                  <a:lnTo>
                    <a:pt x="18877" y="57266"/>
                  </a:lnTo>
                  <a:lnTo>
                    <a:pt x="20662" y="66886"/>
                  </a:lnTo>
                  <a:lnTo>
                    <a:pt x="16578" y="66372"/>
                  </a:lnTo>
                  <a:lnTo>
                    <a:pt x="10588" y="66432"/>
                  </a:lnTo>
                  <a:lnTo>
                    <a:pt x="4961" y="67612"/>
                  </a:lnTo>
                  <a:lnTo>
                    <a:pt x="1936" y="70274"/>
                  </a:lnTo>
                  <a:lnTo>
                    <a:pt x="0" y="75236"/>
                  </a:lnTo>
                  <a:lnTo>
                    <a:pt x="60" y="77414"/>
                  </a:lnTo>
                  <a:lnTo>
                    <a:pt x="1028" y="79924"/>
                  </a:lnTo>
                  <a:lnTo>
                    <a:pt x="3418" y="84371"/>
                  </a:lnTo>
                  <a:lnTo>
                    <a:pt x="3993" y="86761"/>
                  </a:lnTo>
                  <a:lnTo>
                    <a:pt x="3237" y="88002"/>
                  </a:lnTo>
                  <a:lnTo>
                    <a:pt x="1996" y="88879"/>
                  </a:lnTo>
                  <a:lnTo>
                    <a:pt x="998" y="90301"/>
                  </a:lnTo>
                  <a:lnTo>
                    <a:pt x="1089" y="92479"/>
                  </a:lnTo>
                  <a:lnTo>
                    <a:pt x="2057" y="95504"/>
                  </a:lnTo>
                  <a:lnTo>
                    <a:pt x="3418" y="98499"/>
                  </a:lnTo>
                  <a:lnTo>
                    <a:pt x="6897" y="103763"/>
                  </a:lnTo>
                  <a:lnTo>
                    <a:pt x="8954" y="105729"/>
                  </a:lnTo>
                  <a:lnTo>
                    <a:pt x="10678" y="107786"/>
                  </a:lnTo>
                  <a:lnTo>
                    <a:pt x="11707" y="111204"/>
                  </a:lnTo>
                  <a:lnTo>
                    <a:pt x="11677" y="114865"/>
                  </a:lnTo>
                  <a:lnTo>
                    <a:pt x="10981" y="116438"/>
                  </a:lnTo>
                  <a:lnTo>
                    <a:pt x="10558" y="117467"/>
                  </a:lnTo>
                  <a:lnTo>
                    <a:pt x="8410" y="119372"/>
                  </a:lnTo>
                  <a:lnTo>
                    <a:pt x="7351" y="119947"/>
                  </a:lnTo>
                  <a:lnTo>
                    <a:pt x="5324" y="121006"/>
                  </a:lnTo>
                  <a:lnTo>
                    <a:pt x="6050" y="122276"/>
                  </a:lnTo>
                  <a:lnTo>
                    <a:pt x="6262" y="123396"/>
                  </a:lnTo>
                  <a:lnTo>
                    <a:pt x="5899" y="124152"/>
                  </a:lnTo>
                  <a:lnTo>
                    <a:pt x="4840" y="124303"/>
                  </a:lnTo>
                  <a:lnTo>
                    <a:pt x="3721" y="123638"/>
                  </a:lnTo>
                  <a:lnTo>
                    <a:pt x="2541" y="123547"/>
                  </a:lnTo>
                  <a:lnTo>
                    <a:pt x="1422" y="124001"/>
                  </a:lnTo>
                  <a:lnTo>
                    <a:pt x="363" y="124848"/>
                  </a:lnTo>
                  <a:lnTo>
                    <a:pt x="847" y="126905"/>
                  </a:lnTo>
                  <a:lnTo>
                    <a:pt x="272" y="130928"/>
                  </a:lnTo>
                  <a:lnTo>
                    <a:pt x="363" y="133106"/>
                  </a:lnTo>
                  <a:lnTo>
                    <a:pt x="1059" y="135042"/>
                  </a:lnTo>
                  <a:lnTo>
                    <a:pt x="2148" y="136706"/>
                  </a:lnTo>
                  <a:lnTo>
                    <a:pt x="3448" y="138098"/>
                  </a:lnTo>
                  <a:lnTo>
                    <a:pt x="4205" y="138552"/>
                  </a:lnTo>
                  <a:lnTo>
                    <a:pt x="5959" y="139490"/>
                  </a:lnTo>
                  <a:lnTo>
                    <a:pt x="6444" y="140881"/>
                  </a:lnTo>
                  <a:lnTo>
                    <a:pt x="6322" y="142726"/>
                  </a:lnTo>
                  <a:lnTo>
                    <a:pt x="7714" y="144118"/>
                  </a:lnTo>
                  <a:lnTo>
                    <a:pt x="9680" y="144723"/>
                  </a:lnTo>
                  <a:lnTo>
                    <a:pt x="7986" y="143664"/>
                  </a:lnTo>
                  <a:lnTo>
                    <a:pt x="8833" y="140034"/>
                  </a:lnTo>
                  <a:lnTo>
                    <a:pt x="6927" y="138764"/>
                  </a:lnTo>
                  <a:lnTo>
                    <a:pt x="6927" y="137826"/>
                  </a:lnTo>
                  <a:lnTo>
                    <a:pt x="17606" y="139127"/>
                  </a:lnTo>
                  <a:lnTo>
                    <a:pt x="22204" y="138310"/>
                  </a:lnTo>
                  <a:lnTo>
                    <a:pt x="25532" y="134407"/>
                  </a:lnTo>
                  <a:lnTo>
                    <a:pt x="25108" y="136253"/>
                  </a:lnTo>
                  <a:lnTo>
                    <a:pt x="25169" y="137432"/>
                  </a:lnTo>
                  <a:lnTo>
                    <a:pt x="27468" y="142152"/>
                  </a:lnTo>
                  <a:lnTo>
                    <a:pt x="27620" y="143725"/>
                  </a:lnTo>
                  <a:lnTo>
                    <a:pt x="26833" y="145661"/>
                  </a:lnTo>
                  <a:lnTo>
                    <a:pt x="25351" y="144269"/>
                  </a:lnTo>
                  <a:lnTo>
                    <a:pt x="22416" y="142848"/>
                  </a:lnTo>
                  <a:lnTo>
                    <a:pt x="21266" y="142485"/>
                  </a:lnTo>
                  <a:lnTo>
                    <a:pt x="13008" y="139943"/>
                  </a:lnTo>
                  <a:lnTo>
                    <a:pt x="11738" y="140397"/>
                  </a:lnTo>
                  <a:lnTo>
                    <a:pt x="11223" y="141849"/>
                  </a:lnTo>
                  <a:lnTo>
                    <a:pt x="12010" y="143089"/>
                  </a:lnTo>
                  <a:lnTo>
                    <a:pt x="14520" y="144723"/>
                  </a:lnTo>
                  <a:lnTo>
                    <a:pt x="14127" y="144995"/>
                  </a:lnTo>
                  <a:lnTo>
                    <a:pt x="14036" y="145086"/>
                  </a:lnTo>
                  <a:lnTo>
                    <a:pt x="14036" y="145237"/>
                  </a:lnTo>
                  <a:lnTo>
                    <a:pt x="13794" y="145661"/>
                  </a:lnTo>
                  <a:lnTo>
                    <a:pt x="14823" y="146054"/>
                  </a:lnTo>
                  <a:lnTo>
                    <a:pt x="16215" y="146810"/>
                  </a:lnTo>
                  <a:lnTo>
                    <a:pt x="17455" y="147718"/>
                  </a:lnTo>
                  <a:lnTo>
                    <a:pt x="17999" y="148535"/>
                  </a:lnTo>
                  <a:lnTo>
                    <a:pt x="18423" y="148777"/>
                  </a:lnTo>
                  <a:lnTo>
                    <a:pt x="20601" y="148505"/>
                  </a:lnTo>
                  <a:lnTo>
                    <a:pt x="21418" y="148988"/>
                  </a:lnTo>
                  <a:lnTo>
                    <a:pt x="22083" y="148988"/>
                  </a:lnTo>
                  <a:lnTo>
                    <a:pt x="22628" y="146447"/>
                  </a:lnTo>
                  <a:lnTo>
                    <a:pt x="24624" y="146538"/>
                  </a:lnTo>
                  <a:lnTo>
                    <a:pt x="26379" y="148051"/>
                  </a:lnTo>
                  <a:lnTo>
                    <a:pt x="26167" y="149866"/>
                  </a:lnTo>
                  <a:lnTo>
                    <a:pt x="26167" y="150622"/>
                  </a:lnTo>
                  <a:lnTo>
                    <a:pt x="26772" y="151046"/>
                  </a:lnTo>
                  <a:lnTo>
                    <a:pt x="27649" y="151953"/>
                  </a:lnTo>
                  <a:lnTo>
                    <a:pt x="28224" y="152407"/>
                  </a:lnTo>
                  <a:lnTo>
                    <a:pt x="28255" y="154131"/>
                  </a:lnTo>
                  <a:lnTo>
                    <a:pt x="29767" y="155825"/>
                  </a:lnTo>
                  <a:lnTo>
                    <a:pt x="33095" y="158367"/>
                  </a:lnTo>
                  <a:lnTo>
                    <a:pt x="34063" y="160151"/>
                  </a:lnTo>
                  <a:lnTo>
                    <a:pt x="34729" y="160817"/>
                  </a:lnTo>
                  <a:lnTo>
                    <a:pt x="35485" y="160514"/>
                  </a:lnTo>
                  <a:lnTo>
                    <a:pt x="35727" y="160242"/>
                  </a:lnTo>
                  <a:lnTo>
                    <a:pt x="36271" y="159728"/>
                  </a:lnTo>
                  <a:lnTo>
                    <a:pt x="36997" y="159213"/>
                  </a:lnTo>
                  <a:lnTo>
                    <a:pt x="38631" y="158367"/>
                  </a:lnTo>
                  <a:lnTo>
                    <a:pt x="38934" y="158911"/>
                  </a:lnTo>
                  <a:lnTo>
                    <a:pt x="39538" y="159486"/>
                  </a:lnTo>
                  <a:lnTo>
                    <a:pt x="40023" y="160060"/>
                  </a:lnTo>
                  <a:lnTo>
                    <a:pt x="40779" y="159062"/>
                  </a:lnTo>
                  <a:lnTo>
                    <a:pt x="42291" y="158457"/>
                  </a:lnTo>
                  <a:lnTo>
                    <a:pt x="44076" y="158457"/>
                  </a:lnTo>
                  <a:lnTo>
                    <a:pt x="45528" y="159213"/>
                  </a:lnTo>
                  <a:lnTo>
                    <a:pt x="46406" y="160938"/>
                  </a:lnTo>
                  <a:lnTo>
                    <a:pt x="47101" y="165052"/>
                  </a:lnTo>
                  <a:lnTo>
                    <a:pt x="48281" y="166958"/>
                  </a:lnTo>
                  <a:lnTo>
                    <a:pt x="52304" y="169771"/>
                  </a:lnTo>
                  <a:lnTo>
                    <a:pt x="53787" y="171133"/>
                  </a:lnTo>
                  <a:lnTo>
                    <a:pt x="55148" y="173825"/>
                  </a:lnTo>
                  <a:lnTo>
                    <a:pt x="55783" y="174249"/>
                  </a:lnTo>
                  <a:lnTo>
                    <a:pt x="56479" y="174249"/>
                  </a:lnTo>
                  <a:lnTo>
                    <a:pt x="56994" y="174581"/>
                  </a:lnTo>
                  <a:lnTo>
                    <a:pt x="57205" y="175942"/>
                  </a:lnTo>
                  <a:lnTo>
                    <a:pt x="58052" y="177274"/>
                  </a:lnTo>
                  <a:lnTo>
                    <a:pt x="61894" y="177183"/>
                  </a:lnTo>
                  <a:lnTo>
                    <a:pt x="63437" y="179663"/>
                  </a:lnTo>
                  <a:lnTo>
                    <a:pt x="64678" y="180208"/>
                  </a:lnTo>
                  <a:lnTo>
                    <a:pt x="65434" y="180934"/>
                  </a:lnTo>
                  <a:lnTo>
                    <a:pt x="64526" y="182719"/>
                  </a:lnTo>
                  <a:lnTo>
                    <a:pt x="65282" y="184534"/>
                  </a:lnTo>
                  <a:lnTo>
                    <a:pt x="71000" y="189344"/>
                  </a:lnTo>
                  <a:lnTo>
                    <a:pt x="71454" y="195455"/>
                  </a:lnTo>
                  <a:lnTo>
                    <a:pt x="71363" y="195999"/>
                  </a:lnTo>
                  <a:lnTo>
                    <a:pt x="70879" y="196423"/>
                  </a:lnTo>
                  <a:lnTo>
                    <a:pt x="71605" y="197391"/>
                  </a:lnTo>
                  <a:lnTo>
                    <a:pt x="72664" y="198238"/>
                  </a:lnTo>
                  <a:lnTo>
                    <a:pt x="73117" y="198450"/>
                  </a:lnTo>
                  <a:lnTo>
                    <a:pt x="73420" y="199690"/>
                  </a:lnTo>
                  <a:lnTo>
                    <a:pt x="73299" y="200386"/>
                  </a:lnTo>
                  <a:lnTo>
                    <a:pt x="73329" y="201051"/>
                  </a:lnTo>
                  <a:lnTo>
                    <a:pt x="74116" y="202292"/>
                  </a:lnTo>
                  <a:lnTo>
                    <a:pt x="74932" y="202806"/>
                  </a:lnTo>
                  <a:lnTo>
                    <a:pt x="77413" y="203653"/>
                  </a:lnTo>
                  <a:lnTo>
                    <a:pt x="79137" y="204681"/>
                  </a:lnTo>
                  <a:lnTo>
                    <a:pt x="86489" y="206920"/>
                  </a:lnTo>
                  <a:lnTo>
                    <a:pt x="88213" y="207706"/>
                  </a:lnTo>
                  <a:lnTo>
                    <a:pt x="91904" y="211488"/>
                  </a:lnTo>
                  <a:lnTo>
                    <a:pt x="93719" y="212910"/>
                  </a:lnTo>
                  <a:lnTo>
                    <a:pt x="93749" y="212910"/>
                  </a:lnTo>
                  <a:lnTo>
                    <a:pt x="93628" y="211609"/>
                  </a:lnTo>
                  <a:lnTo>
                    <a:pt x="93719" y="208372"/>
                  </a:lnTo>
                  <a:lnTo>
                    <a:pt x="92902" y="207041"/>
                  </a:lnTo>
                  <a:lnTo>
                    <a:pt x="91994" y="206224"/>
                  </a:lnTo>
                  <a:lnTo>
                    <a:pt x="91752" y="205710"/>
                  </a:lnTo>
                  <a:lnTo>
                    <a:pt x="91783" y="205226"/>
                  </a:lnTo>
                  <a:lnTo>
                    <a:pt x="91752" y="204379"/>
                  </a:lnTo>
                  <a:lnTo>
                    <a:pt x="91874" y="203774"/>
                  </a:lnTo>
                  <a:lnTo>
                    <a:pt x="92267" y="203108"/>
                  </a:lnTo>
                  <a:lnTo>
                    <a:pt x="92509" y="202231"/>
                  </a:lnTo>
                  <a:lnTo>
                    <a:pt x="91843" y="199387"/>
                  </a:lnTo>
                  <a:lnTo>
                    <a:pt x="92388" y="198933"/>
                  </a:lnTo>
                  <a:lnTo>
                    <a:pt x="93204" y="198813"/>
                  </a:lnTo>
                  <a:lnTo>
                    <a:pt x="93809" y="198359"/>
                  </a:lnTo>
                  <a:lnTo>
                    <a:pt x="94324" y="196271"/>
                  </a:lnTo>
                  <a:lnTo>
                    <a:pt x="93598" y="195425"/>
                  </a:lnTo>
                  <a:lnTo>
                    <a:pt x="93537" y="195394"/>
                  </a:lnTo>
                  <a:lnTo>
                    <a:pt x="92630" y="193519"/>
                  </a:lnTo>
                  <a:lnTo>
                    <a:pt x="92267" y="191159"/>
                  </a:lnTo>
                  <a:lnTo>
                    <a:pt x="92388" y="188679"/>
                  </a:lnTo>
                  <a:lnTo>
                    <a:pt x="92872" y="186561"/>
                  </a:lnTo>
                  <a:lnTo>
                    <a:pt x="94717" y="182840"/>
                  </a:lnTo>
                  <a:lnTo>
                    <a:pt x="94475" y="181630"/>
                  </a:lnTo>
                  <a:lnTo>
                    <a:pt x="94203" y="181358"/>
                  </a:lnTo>
                  <a:lnTo>
                    <a:pt x="92720" y="179694"/>
                  </a:lnTo>
                  <a:lnTo>
                    <a:pt x="86973" y="175761"/>
                  </a:lnTo>
                  <a:lnTo>
                    <a:pt x="85369" y="174127"/>
                  </a:lnTo>
                  <a:lnTo>
                    <a:pt x="85369" y="174127"/>
                  </a:lnTo>
                  <a:lnTo>
                    <a:pt x="84371" y="172131"/>
                  </a:lnTo>
                  <a:lnTo>
                    <a:pt x="84674" y="170830"/>
                  </a:lnTo>
                  <a:lnTo>
                    <a:pt x="87638" y="167835"/>
                  </a:lnTo>
                  <a:lnTo>
                    <a:pt x="97288" y="154040"/>
                  </a:lnTo>
                  <a:lnTo>
                    <a:pt x="97379" y="153405"/>
                  </a:lnTo>
                  <a:lnTo>
                    <a:pt x="97319" y="151681"/>
                  </a:lnTo>
                  <a:lnTo>
                    <a:pt x="97500" y="150773"/>
                  </a:lnTo>
                  <a:lnTo>
                    <a:pt x="98468" y="148716"/>
                  </a:lnTo>
                  <a:lnTo>
                    <a:pt x="98983" y="148020"/>
                  </a:lnTo>
                  <a:lnTo>
                    <a:pt x="104125" y="142515"/>
                  </a:lnTo>
                  <a:lnTo>
                    <a:pt x="105456" y="140458"/>
                  </a:lnTo>
                  <a:lnTo>
                    <a:pt x="107453" y="139278"/>
                  </a:lnTo>
                  <a:lnTo>
                    <a:pt x="109086" y="137523"/>
                  </a:lnTo>
                  <a:lnTo>
                    <a:pt x="110478" y="135436"/>
                  </a:lnTo>
                  <a:lnTo>
                    <a:pt x="111718" y="133106"/>
                  </a:lnTo>
                  <a:lnTo>
                    <a:pt x="111718" y="133076"/>
                  </a:lnTo>
                  <a:lnTo>
                    <a:pt x="112263" y="131201"/>
                  </a:lnTo>
                  <a:lnTo>
                    <a:pt x="113473" y="130263"/>
                  </a:lnTo>
                  <a:lnTo>
                    <a:pt x="114925" y="129476"/>
                  </a:lnTo>
                  <a:lnTo>
                    <a:pt x="116165" y="128176"/>
                  </a:lnTo>
                  <a:lnTo>
                    <a:pt x="116740" y="126663"/>
                  </a:lnTo>
                  <a:lnTo>
                    <a:pt x="117284" y="123396"/>
                  </a:lnTo>
                  <a:lnTo>
                    <a:pt x="117890" y="121641"/>
                  </a:lnTo>
                  <a:lnTo>
                    <a:pt x="119553" y="119130"/>
                  </a:lnTo>
                  <a:lnTo>
                    <a:pt x="122185" y="116256"/>
                  </a:lnTo>
                  <a:lnTo>
                    <a:pt x="123214" y="115409"/>
                  </a:lnTo>
                  <a:lnTo>
                    <a:pt x="125029" y="113897"/>
                  </a:lnTo>
                  <a:lnTo>
                    <a:pt x="127358" y="112868"/>
                  </a:lnTo>
                  <a:lnTo>
                    <a:pt x="129658" y="113988"/>
                  </a:lnTo>
                  <a:lnTo>
                    <a:pt x="131200" y="116680"/>
                  </a:lnTo>
                  <a:lnTo>
                    <a:pt x="132047" y="119886"/>
                  </a:lnTo>
                  <a:lnTo>
                    <a:pt x="132168" y="121127"/>
                  </a:lnTo>
                  <a:lnTo>
                    <a:pt x="132229" y="122398"/>
                  </a:lnTo>
                  <a:lnTo>
                    <a:pt x="132047" y="122246"/>
                  </a:lnTo>
                  <a:lnTo>
                    <a:pt x="131594" y="122942"/>
                  </a:lnTo>
                  <a:lnTo>
                    <a:pt x="130837" y="124424"/>
                  </a:lnTo>
                  <a:lnTo>
                    <a:pt x="130656" y="125332"/>
                  </a:lnTo>
                  <a:lnTo>
                    <a:pt x="130474" y="127238"/>
                  </a:lnTo>
                  <a:lnTo>
                    <a:pt x="130535" y="128085"/>
                  </a:lnTo>
                  <a:lnTo>
                    <a:pt x="130898" y="129234"/>
                  </a:lnTo>
                  <a:lnTo>
                    <a:pt x="132622" y="133106"/>
                  </a:lnTo>
                  <a:lnTo>
                    <a:pt x="135919" y="135466"/>
                  </a:lnTo>
                  <a:lnTo>
                    <a:pt x="137644" y="136253"/>
                  </a:lnTo>
                  <a:lnTo>
                    <a:pt x="139489" y="136465"/>
                  </a:lnTo>
                  <a:lnTo>
                    <a:pt x="140427" y="136192"/>
                  </a:lnTo>
                  <a:lnTo>
                    <a:pt x="141062" y="136011"/>
                  </a:lnTo>
                  <a:lnTo>
                    <a:pt x="144874" y="133923"/>
                  </a:lnTo>
                  <a:lnTo>
                    <a:pt x="145812" y="133106"/>
                  </a:lnTo>
                  <a:lnTo>
                    <a:pt x="145842" y="133076"/>
                  </a:lnTo>
                  <a:lnTo>
                    <a:pt x="145842" y="133076"/>
                  </a:lnTo>
                  <a:lnTo>
                    <a:pt x="148322" y="131473"/>
                  </a:lnTo>
                  <a:lnTo>
                    <a:pt x="153223" y="131594"/>
                  </a:lnTo>
                  <a:lnTo>
                    <a:pt x="155765" y="130928"/>
                  </a:lnTo>
                  <a:lnTo>
                    <a:pt x="159425" y="126481"/>
                  </a:lnTo>
                  <a:lnTo>
                    <a:pt x="161573" y="125029"/>
                  </a:lnTo>
                  <a:lnTo>
                    <a:pt x="164174" y="126421"/>
                  </a:lnTo>
                  <a:lnTo>
                    <a:pt x="165354" y="124787"/>
                  </a:lnTo>
                  <a:lnTo>
                    <a:pt x="165475" y="123154"/>
                  </a:lnTo>
                  <a:lnTo>
                    <a:pt x="165203" y="121399"/>
                  </a:lnTo>
                  <a:lnTo>
                    <a:pt x="165233" y="119372"/>
                  </a:lnTo>
                  <a:lnTo>
                    <a:pt x="165596" y="118344"/>
                  </a:lnTo>
                  <a:lnTo>
                    <a:pt x="166746" y="116317"/>
                  </a:lnTo>
                  <a:lnTo>
                    <a:pt x="168077" y="113080"/>
                  </a:lnTo>
                  <a:lnTo>
                    <a:pt x="167865" y="112657"/>
                  </a:lnTo>
                  <a:lnTo>
                    <a:pt x="167109" y="111356"/>
                  </a:lnTo>
                  <a:lnTo>
                    <a:pt x="161331" y="106304"/>
                  </a:lnTo>
                  <a:lnTo>
                    <a:pt x="161240" y="106183"/>
                  </a:lnTo>
                  <a:lnTo>
                    <a:pt x="160090" y="104277"/>
                  </a:lnTo>
                  <a:lnTo>
                    <a:pt x="160302" y="101796"/>
                  </a:lnTo>
                  <a:lnTo>
                    <a:pt x="161119" y="100737"/>
                  </a:lnTo>
                  <a:lnTo>
                    <a:pt x="163237" y="99195"/>
                  </a:lnTo>
                  <a:lnTo>
                    <a:pt x="164174" y="98499"/>
                  </a:lnTo>
                  <a:lnTo>
                    <a:pt x="165294" y="97984"/>
                  </a:lnTo>
                  <a:lnTo>
                    <a:pt x="168894" y="98832"/>
                  </a:lnTo>
                  <a:lnTo>
                    <a:pt x="172675" y="100949"/>
                  </a:lnTo>
                  <a:lnTo>
                    <a:pt x="176093" y="101857"/>
                  </a:lnTo>
                  <a:lnTo>
                    <a:pt x="178604" y="99255"/>
                  </a:lnTo>
                  <a:lnTo>
                    <a:pt x="178756" y="98045"/>
                  </a:lnTo>
                  <a:lnTo>
                    <a:pt x="178604" y="96895"/>
                  </a:lnTo>
                  <a:lnTo>
                    <a:pt x="178665" y="95685"/>
                  </a:lnTo>
                  <a:lnTo>
                    <a:pt x="179512" y="94294"/>
                  </a:lnTo>
                  <a:lnTo>
                    <a:pt x="180359" y="93779"/>
                  </a:lnTo>
                  <a:lnTo>
                    <a:pt x="184231" y="92479"/>
                  </a:lnTo>
                  <a:lnTo>
                    <a:pt x="192369" y="91178"/>
                  </a:lnTo>
                  <a:lnTo>
                    <a:pt x="193367" y="86307"/>
                  </a:lnTo>
                  <a:lnTo>
                    <a:pt x="193216" y="83191"/>
                  </a:lnTo>
                  <a:close/>
                </a:path>
              </a:pathLst>
            </a:custGeom>
            <a:solidFill>
              <a:srgbClr val="96A3AC"/>
            </a:solidFill>
            <a:ln w="3175" cap="rnd">
              <a:solidFill>
                <a:schemeClr val="bg1"/>
              </a:solidFill>
              <a:prstDash val="solid"/>
              <a:round/>
            </a:ln>
          </p:spPr>
          <p:txBody>
            <a:bodyPr rtlCol="0" anchor="ctr"/>
            <a:lstStyle/>
            <a:p>
              <a:endParaRPr lang="en-ID"/>
            </a:p>
          </p:txBody>
        </p:sp>
        <p:sp>
          <p:nvSpPr>
            <p:cNvPr id="27" name="Freeform: Shape 26">
              <a:extLst>
                <a:ext uri="{FF2B5EF4-FFF2-40B4-BE49-F238E27FC236}">
                  <a16:creationId xmlns:a16="http://schemas.microsoft.com/office/drawing/2014/main" id="{A2DD0AA0-2762-1A5E-C51E-FF09C09C0E0F}"/>
                </a:ext>
              </a:extLst>
            </p:cNvPr>
            <p:cNvSpPr/>
            <p:nvPr/>
          </p:nvSpPr>
          <p:spPr>
            <a:xfrm>
              <a:off x="8732988" y="4707926"/>
              <a:ext cx="5620" cy="4515"/>
            </a:xfrm>
            <a:custGeom>
              <a:avLst/>
              <a:gdLst>
                <a:gd name="connsiteX0" fmla="*/ 6111 w 7230"/>
                <a:gd name="connsiteY0" fmla="*/ 1028 h 5808"/>
                <a:gd name="connsiteX1" fmla="*/ 4175 w 7230"/>
                <a:gd name="connsiteY1" fmla="*/ 0 h 5808"/>
                <a:gd name="connsiteX2" fmla="*/ 2208 w 7230"/>
                <a:gd name="connsiteY2" fmla="*/ 696 h 5808"/>
                <a:gd name="connsiteX3" fmla="*/ 696 w 7230"/>
                <a:gd name="connsiteY3" fmla="*/ 2239 h 5808"/>
                <a:gd name="connsiteX4" fmla="*/ 151 w 7230"/>
                <a:gd name="connsiteY4" fmla="*/ 3751 h 5808"/>
                <a:gd name="connsiteX5" fmla="*/ 0 w 7230"/>
                <a:gd name="connsiteY5" fmla="*/ 5203 h 5808"/>
                <a:gd name="connsiteX6" fmla="*/ 1513 w 7230"/>
                <a:gd name="connsiteY6" fmla="*/ 5657 h 5808"/>
                <a:gd name="connsiteX7" fmla="*/ 3903 w 7230"/>
                <a:gd name="connsiteY7" fmla="*/ 5808 h 5808"/>
                <a:gd name="connsiteX8" fmla="*/ 5264 w 7230"/>
                <a:gd name="connsiteY8" fmla="*/ 4175 h 5808"/>
                <a:gd name="connsiteX9" fmla="*/ 6776 w 7230"/>
                <a:gd name="connsiteY9" fmla="*/ 3025 h 5808"/>
                <a:gd name="connsiteX10" fmla="*/ 7230 w 7230"/>
                <a:gd name="connsiteY10" fmla="*/ 2571 h 5808"/>
                <a:gd name="connsiteX11" fmla="*/ 6111 w 7230"/>
                <a:gd name="connsiteY11" fmla="*/ 1028 h 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0" h="5808">
                  <a:moveTo>
                    <a:pt x="6111" y="1028"/>
                  </a:moveTo>
                  <a:lnTo>
                    <a:pt x="4175" y="0"/>
                  </a:lnTo>
                  <a:lnTo>
                    <a:pt x="2208" y="696"/>
                  </a:lnTo>
                  <a:lnTo>
                    <a:pt x="696" y="2239"/>
                  </a:lnTo>
                  <a:lnTo>
                    <a:pt x="151" y="3751"/>
                  </a:lnTo>
                  <a:lnTo>
                    <a:pt x="0" y="5203"/>
                  </a:lnTo>
                  <a:lnTo>
                    <a:pt x="1513" y="5657"/>
                  </a:lnTo>
                  <a:lnTo>
                    <a:pt x="3903" y="5808"/>
                  </a:lnTo>
                  <a:lnTo>
                    <a:pt x="5264" y="4175"/>
                  </a:lnTo>
                  <a:lnTo>
                    <a:pt x="6776" y="3025"/>
                  </a:lnTo>
                  <a:lnTo>
                    <a:pt x="7230" y="2571"/>
                  </a:lnTo>
                  <a:lnTo>
                    <a:pt x="6111" y="1028"/>
                  </a:lnTo>
                  <a:close/>
                </a:path>
              </a:pathLst>
            </a:custGeom>
            <a:solidFill>
              <a:srgbClr val="96A3AC"/>
            </a:solidFill>
            <a:ln w="3175" cap="flat">
              <a:solidFill>
                <a:schemeClr val="bg1"/>
              </a:solidFill>
              <a:prstDash val="solid"/>
              <a:miter/>
            </a:ln>
          </p:spPr>
          <p:txBody>
            <a:bodyPr rtlCol="0" anchor="ctr"/>
            <a:lstStyle/>
            <a:p>
              <a:endParaRPr lang="en-ID"/>
            </a:p>
          </p:txBody>
        </p:sp>
        <p:sp>
          <p:nvSpPr>
            <p:cNvPr id="28" name="Freeform: Shape 27">
              <a:extLst>
                <a:ext uri="{FF2B5EF4-FFF2-40B4-BE49-F238E27FC236}">
                  <a16:creationId xmlns:a16="http://schemas.microsoft.com/office/drawing/2014/main" id="{C038A744-6567-4040-7FFA-EA5AC745CAFC}"/>
                </a:ext>
              </a:extLst>
            </p:cNvPr>
            <p:cNvSpPr/>
            <p:nvPr/>
          </p:nvSpPr>
          <p:spPr>
            <a:xfrm>
              <a:off x="8732988" y="4707926"/>
              <a:ext cx="5620" cy="4515"/>
            </a:xfrm>
            <a:custGeom>
              <a:avLst/>
              <a:gdLst>
                <a:gd name="connsiteX0" fmla="*/ 6111 w 7230"/>
                <a:gd name="connsiteY0" fmla="*/ 1028 h 5808"/>
                <a:gd name="connsiteX1" fmla="*/ 4175 w 7230"/>
                <a:gd name="connsiteY1" fmla="*/ 0 h 5808"/>
                <a:gd name="connsiteX2" fmla="*/ 2208 w 7230"/>
                <a:gd name="connsiteY2" fmla="*/ 696 h 5808"/>
                <a:gd name="connsiteX3" fmla="*/ 696 w 7230"/>
                <a:gd name="connsiteY3" fmla="*/ 2239 h 5808"/>
                <a:gd name="connsiteX4" fmla="*/ 151 w 7230"/>
                <a:gd name="connsiteY4" fmla="*/ 3751 h 5808"/>
                <a:gd name="connsiteX5" fmla="*/ 0 w 7230"/>
                <a:gd name="connsiteY5" fmla="*/ 5203 h 5808"/>
                <a:gd name="connsiteX6" fmla="*/ 1513 w 7230"/>
                <a:gd name="connsiteY6" fmla="*/ 5657 h 5808"/>
                <a:gd name="connsiteX7" fmla="*/ 3903 w 7230"/>
                <a:gd name="connsiteY7" fmla="*/ 5808 h 5808"/>
                <a:gd name="connsiteX8" fmla="*/ 5264 w 7230"/>
                <a:gd name="connsiteY8" fmla="*/ 4175 h 5808"/>
                <a:gd name="connsiteX9" fmla="*/ 6776 w 7230"/>
                <a:gd name="connsiteY9" fmla="*/ 3025 h 5808"/>
                <a:gd name="connsiteX10" fmla="*/ 7230 w 7230"/>
                <a:gd name="connsiteY10" fmla="*/ 2571 h 5808"/>
                <a:gd name="connsiteX11" fmla="*/ 6111 w 7230"/>
                <a:gd name="connsiteY11" fmla="*/ 1028 h 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0" h="5808">
                  <a:moveTo>
                    <a:pt x="6111" y="1028"/>
                  </a:moveTo>
                  <a:lnTo>
                    <a:pt x="4175" y="0"/>
                  </a:lnTo>
                  <a:lnTo>
                    <a:pt x="2208" y="696"/>
                  </a:lnTo>
                  <a:lnTo>
                    <a:pt x="696" y="2239"/>
                  </a:lnTo>
                  <a:lnTo>
                    <a:pt x="151" y="3751"/>
                  </a:lnTo>
                  <a:lnTo>
                    <a:pt x="0" y="5203"/>
                  </a:lnTo>
                  <a:lnTo>
                    <a:pt x="1513" y="5657"/>
                  </a:lnTo>
                  <a:lnTo>
                    <a:pt x="3903" y="5808"/>
                  </a:lnTo>
                  <a:lnTo>
                    <a:pt x="5264" y="4175"/>
                  </a:lnTo>
                  <a:lnTo>
                    <a:pt x="6776" y="3025"/>
                  </a:lnTo>
                  <a:lnTo>
                    <a:pt x="7230" y="2571"/>
                  </a:lnTo>
                  <a:lnTo>
                    <a:pt x="6111" y="1028"/>
                  </a:lnTo>
                  <a:close/>
                </a:path>
              </a:pathLst>
            </a:custGeom>
            <a:solidFill>
              <a:srgbClr val="96A3AC"/>
            </a:solidFill>
            <a:ln w="3175" cap="rnd">
              <a:solidFill>
                <a:schemeClr val="bg1"/>
              </a:solidFill>
              <a:prstDash val="solid"/>
              <a:round/>
            </a:ln>
          </p:spPr>
          <p:txBody>
            <a:bodyPr rtlCol="0" anchor="ctr"/>
            <a:lstStyle/>
            <a:p>
              <a:endParaRPr lang="en-ID"/>
            </a:p>
          </p:txBody>
        </p:sp>
        <p:sp>
          <p:nvSpPr>
            <p:cNvPr id="30" name="Freeform: Shape 29">
              <a:extLst>
                <a:ext uri="{FF2B5EF4-FFF2-40B4-BE49-F238E27FC236}">
                  <a16:creationId xmlns:a16="http://schemas.microsoft.com/office/drawing/2014/main" id="{7682AF7E-C825-CE11-F6DC-287529EBE030}"/>
                </a:ext>
              </a:extLst>
            </p:cNvPr>
            <p:cNvSpPr/>
            <p:nvPr/>
          </p:nvSpPr>
          <p:spPr>
            <a:xfrm>
              <a:off x="10238853" y="4218574"/>
              <a:ext cx="274831" cy="318169"/>
            </a:xfrm>
            <a:custGeom>
              <a:avLst/>
              <a:gdLst>
                <a:gd name="connsiteX0" fmla="*/ 352248 w 353578"/>
                <a:gd name="connsiteY0" fmla="*/ 280975 h 409332"/>
                <a:gd name="connsiteX1" fmla="*/ 350614 w 353578"/>
                <a:gd name="connsiteY1" fmla="*/ 280703 h 409332"/>
                <a:gd name="connsiteX2" fmla="*/ 349071 w 353578"/>
                <a:gd name="connsiteY2" fmla="*/ 280945 h 409332"/>
                <a:gd name="connsiteX3" fmla="*/ 348103 w 353578"/>
                <a:gd name="connsiteY3" fmla="*/ 281762 h 409332"/>
                <a:gd name="connsiteX4" fmla="*/ 346379 w 353578"/>
                <a:gd name="connsiteY4" fmla="*/ 279886 h 409332"/>
                <a:gd name="connsiteX5" fmla="*/ 341750 w 353578"/>
                <a:gd name="connsiteY5" fmla="*/ 276528 h 409332"/>
                <a:gd name="connsiteX6" fmla="*/ 342537 w 353578"/>
                <a:gd name="connsiteY6" fmla="*/ 275379 h 409332"/>
                <a:gd name="connsiteX7" fmla="*/ 341297 w 353578"/>
                <a:gd name="connsiteY7" fmla="*/ 273019 h 409332"/>
                <a:gd name="connsiteX8" fmla="*/ 340631 w 353578"/>
                <a:gd name="connsiteY8" fmla="*/ 272202 h 409332"/>
                <a:gd name="connsiteX9" fmla="*/ 339845 w 353578"/>
                <a:gd name="connsiteY9" fmla="*/ 271628 h 409332"/>
                <a:gd name="connsiteX10" fmla="*/ 339270 w 353578"/>
                <a:gd name="connsiteY10" fmla="*/ 271597 h 409332"/>
                <a:gd name="connsiteX11" fmla="*/ 338060 w 353578"/>
                <a:gd name="connsiteY11" fmla="*/ 272323 h 409332"/>
                <a:gd name="connsiteX12" fmla="*/ 337394 w 353578"/>
                <a:gd name="connsiteY12" fmla="*/ 272535 h 409332"/>
                <a:gd name="connsiteX13" fmla="*/ 337031 w 353578"/>
                <a:gd name="connsiteY13" fmla="*/ 272233 h 409332"/>
                <a:gd name="connsiteX14" fmla="*/ 336517 w 353578"/>
                <a:gd name="connsiteY14" fmla="*/ 270962 h 409332"/>
                <a:gd name="connsiteX15" fmla="*/ 336335 w 353578"/>
                <a:gd name="connsiteY15" fmla="*/ 270629 h 409332"/>
                <a:gd name="connsiteX16" fmla="*/ 331919 w 353578"/>
                <a:gd name="connsiteY16" fmla="*/ 268905 h 409332"/>
                <a:gd name="connsiteX17" fmla="*/ 330497 w 353578"/>
                <a:gd name="connsiteY17" fmla="*/ 267271 h 409332"/>
                <a:gd name="connsiteX18" fmla="*/ 330164 w 353578"/>
                <a:gd name="connsiteY18" fmla="*/ 264276 h 409332"/>
                <a:gd name="connsiteX19" fmla="*/ 331919 w 353578"/>
                <a:gd name="connsiteY19" fmla="*/ 264125 h 409332"/>
                <a:gd name="connsiteX20" fmla="*/ 334127 w 353578"/>
                <a:gd name="connsiteY20" fmla="*/ 263732 h 409332"/>
                <a:gd name="connsiteX21" fmla="*/ 335277 w 353578"/>
                <a:gd name="connsiteY21" fmla="*/ 260828 h 409332"/>
                <a:gd name="connsiteX22" fmla="*/ 335035 w 353578"/>
                <a:gd name="connsiteY22" fmla="*/ 259557 h 409332"/>
                <a:gd name="connsiteX23" fmla="*/ 333794 w 353578"/>
                <a:gd name="connsiteY23" fmla="*/ 256804 h 409332"/>
                <a:gd name="connsiteX24" fmla="*/ 333431 w 353578"/>
                <a:gd name="connsiteY24" fmla="*/ 255413 h 409332"/>
                <a:gd name="connsiteX25" fmla="*/ 333492 w 353578"/>
                <a:gd name="connsiteY25" fmla="*/ 253658 h 409332"/>
                <a:gd name="connsiteX26" fmla="*/ 333855 w 353578"/>
                <a:gd name="connsiteY26" fmla="*/ 252388 h 409332"/>
                <a:gd name="connsiteX27" fmla="*/ 334339 w 353578"/>
                <a:gd name="connsiteY27" fmla="*/ 251178 h 409332"/>
                <a:gd name="connsiteX28" fmla="*/ 334762 w 353578"/>
                <a:gd name="connsiteY28" fmla="*/ 249605 h 409332"/>
                <a:gd name="connsiteX29" fmla="*/ 335579 w 353578"/>
                <a:gd name="connsiteY29" fmla="*/ 241225 h 409332"/>
                <a:gd name="connsiteX30" fmla="*/ 335428 w 353578"/>
                <a:gd name="connsiteY30" fmla="*/ 238744 h 409332"/>
                <a:gd name="connsiteX31" fmla="*/ 334974 w 353578"/>
                <a:gd name="connsiteY31" fmla="*/ 237716 h 409332"/>
                <a:gd name="connsiteX32" fmla="*/ 333885 w 353578"/>
                <a:gd name="connsiteY32" fmla="*/ 235780 h 409332"/>
                <a:gd name="connsiteX33" fmla="*/ 333492 w 353578"/>
                <a:gd name="connsiteY33" fmla="*/ 234781 h 409332"/>
                <a:gd name="connsiteX34" fmla="*/ 333340 w 353578"/>
                <a:gd name="connsiteY34" fmla="*/ 233541 h 409332"/>
                <a:gd name="connsiteX35" fmla="*/ 333371 w 353578"/>
                <a:gd name="connsiteY35" fmla="*/ 230667 h 409332"/>
                <a:gd name="connsiteX36" fmla="*/ 333129 w 353578"/>
                <a:gd name="connsiteY36" fmla="*/ 229759 h 409332"/>
                <a:gd name="connsiteX37" fmla="*/ 332040 w 353578"/>
                <a:gd name="connsiteY37" fmla="*/ 229185 h 409332"/>
                <a:gd name="connsiteX38" fmla="*/ 331072 w 353578"/>
                <a:gd name="connsiteY38" fmla="*/ 229608 h 409332"/>
                <a:gd name="connsiteX39" fmla="*/ 330134 w 353578"/>
                <a:gd name="connsiteY39" fmla="*/ 230183 h 409332"/>
                <a:gd name="connsiteX40" fmla="*/ 329226 w 353578"/>
                <a:gd name="connsiteY40" fmla="*/ 230123 h 409332"/>
                <a:gd name="connsiteX41" fmla="*/ 328772 w 353578"/>
                <a:gd name="connsiteY41" fmla="*/ 229367 h 409332"/>
                <a:gd name="connsiteX42" fmla="*/ 327956 w 353578"/>
                <a:gd name="connsiteY42" fmla="*/ 226916 h 409332"/>
                <a:gd name="connsiteX43" fmla="*/ 327502 w 353578"/>
                <a:gd name="connsiteY43" fmla="*/ 225978 h 409332"/>
                <a:gd name="connsiteX44" fmla="*/ 324628 w 353578"/>
                <a:gd name="connsiteY44" fmla="*/ 223770 h 409332"/>
                <a:gd name="connsiteX45" fmla="*/ 321754 w 353578"/>
                <a:gd name="connsiteY45" fmla="*/ 223437 h 409332"/>
                <a:gd name="connsiteX46" fmla="*/ 318790 w 353578"/>
                <a:gd name="connsiteY46" fmla="*/ 223709 h 409332"/>
                <a:gd name="connsiteX47" fmla="*/ 315613 w 353578"/>
                <a:gd name="connsiteY47" fmla="*/ 223256 h 409332"/>
                <a:gd name="connsiteX48" fmla="*/ 313768 w 353578"/>
                <a:gd name="connsiteY48" fmla="*/ 222015 h 409332"/>
                <a:gd name="connsiteX49" fmla="*/ 311408 w 353578"/>
                <a:gd name="connsiteY49" fmla="*/ 218476 h 409332"/>
                <a:gd name="connsiteX50" fmla="*/ 309774 w 353578"/>
                <a:gd name="connsiteY50" fmla="*/ 216933 h 409332"/>
                <a:gd name="connsiteX51" fmla="*/ 308232 w 353578"/>
                <a:gd name="connsiteY51" fmla="*/ 216419 h 409332"/>
                <a:gd name="connsiteX52" fmla="*/ 304934 w 353578"/>
                <a:gd name="connsiteY52" fmla="*/ 216177 h 409332"/>
                <a:gd name="connsiteX53" fmla="*/ 303301 w 353578"/>
                <a:gd name="connsiteY53" fmla="*/ 215632 h 409332"/>
                <a:gd name="connsiteX54" fmla="*/ 302423 w 353578"/>
                <a:gd name="connsiteY54" fmla="*/ 214937 h 409332"/>
                <a:gd name="connsiteX55" fmla="*/ 300881 w 353578"/>
                <a:gd name="connsiteY55" fmla="*/ 213242 h 409332"/>
                <a:gd name="connsiteX56" fmla="*/ 299943 w 353578"/>
                <a:gd name="connsiteY56" fmla="*/ 212788 h 409332"/>
                <a:gd name="connsiteX57" fmla="*/ 297402 w 353578"/>
                <a:gd name="connsiteY57" fmla="*/ 213000 h 409332"/>
                <a:gd name="connsiteX58" fmla="*/ 296827 w 353578"/>
                <a:gd name="connsiteY58" fmla="*/ 212879 h 409332"/>
                <a:gd name="connsiteX59" fmla="*/ 295950 w 353578"/>
                <a:gd name="connsiteY59" fmla="*/ 211397 h 409332"/>
                <a:gd name="connsiteX60" fmla="*/ 296040 w 353578"/>
                <a:gd name="connsiteY60" fmla="*/ 209612 h 409332"/>
                <a:gd name="connsiteX61" fmla="*/ 296131 w 353578"/>
                <a:gd name="connsiteY61" fmla="*/ 209280 h 409332"/>
                <a:gd name="connsiteX62" fmla="*/ 296585 w 353578"/>
                <a:gd name="connsiteY62" fmla="*/ 207494 h 409332"/>
                <a:gd name="connsiteX63" fmla="*/ 297341 w 353578"/>
                <a:gd name="connsiteY63" fmla="*/ 202473 h 409332"/>
                <a:gd name="connsiteX64" fmla="*/ 298430 w 353578"/>
                <a:gd name="connsiteY64" fmla="*/ 200960 h 409332"/>
                <a:gd name="connsiteX65" fmla="*/ 299640 w 353578"/>
                <a:gd name="connsiteY65" fmla="*/ 199690 h 409332"/>
                <a:gd name="connsiteX66" fmla="*/ 300397 w 353578"/>
                <a:gd name="connsiteY66" fmla="*/ 197844 h 409332"/>
                <a:gd name="connsiteX67" fmla="*/ 300306 w 353578"/>
                <a:gd name="connsiteY67" fmla="*/ 195787 h 409332"/>
                <a:gd name="connsiteX68" fmla="*/ 299580 w 353578"/>
                <a:gd name="connsiteY68" fmla="*/ 193942 h 409332"/>
                <a:gd name="connsiteX69" fmla="*/ 298430 w 353578"/>
                <a:gd name="connsiteY69" fmla="*/ 192520 h 409332"/>
                <a:gd name="connsiteX70" fmla="*/ 297099 w 353578"/>
                <a:gd name="connsiteY70" fmla="*/ 191643 h 409332"/>
                <a:gd name="connsiteX71" fmla="*/ 295224 w 353578"/>
                <a:gd name="connsiteY71" fmla="*/ 191824 h 409332"/>
                <a:gd name="connsiteX72" fmla="*/ 294014 w 353578"/>
                <a:gd name="connsiteY72" fmla="*/ 193367 h 409332"/>
                <a:gd name="connsiteX73" fmla="*/ 293136 w 353578"/>
                <a:gd name="connsiteY73" fmla="*/ 195091 h 409332"/>
                <a:gd name="connsiteX74" fmla="*/ 292047 w 353578"/>
                <a:gd name="connsiteY74" fmla="*/ 195939 h 409332"/>
                <a:gd name="connsiteX75" fmla="*/ 291200 w 353578"/>
                <a:gd name="connsiteY75" fmla="*/ 195091 h 409332"/>
                <a:gd name="connsiteX76" fmla="*/ 288115 w 353578"/>
                <a:gd name="connsiteY76" fmla="*/ 189797 h 409332"/>
                <a:gd name="connsiteX77" fmla="*/ 287872 w 353578"/>
                <a:gd name="connsiteY77" fmla="*/ 189344 h 409332"/>
                <a:gd name="connsiteX78" fmla="*/ 287812 w 353578"/>
                <a:gd name="connsiteY78" fmla="*/ 188920 h 409332"/>
                <a:gd name="connsiteX79" fmla="*/ 287872 w 353578"/>
                <a:gd name="connsiteY79" fmla="*/ 188527 h 409332"/>
                <a:gd name="connsiteX80" fmla="*/ 288115 w 353578"/>
                <a:gd name="connsiteY80" fmla="*/ 188134 h 409332"/>
                <a:gd name="connsiteX81" fmla="*/ 290898 w 353578"/>
                <a:gd name="connsiteY81" fmla="*/ 187892 h 409332"/>
                <a:gd name="connsiteX82" fmla="*/ 293106 w 353578"/>
                <a:gd name="connsiteY82" fmla="*/ 187287 h 409332"/>
                <a:gd name="connsiteX83" fmla="*/ 294558 w 353578"/>
                <a:gd name="connsiteY83" fmla="*/ 185683 h 409332"/>
                <a:gd name="connsiteX84" fmla="*/ 295133 w 353578"/>
                <a:gd name="connsiteY84" fmla="*/ 182325 h 409332"/>
                <a:gd name="connsiteX85" fmla="*/ 294104 w 353578"/>
                <a:gd name="connsiteY85" fmla="*/ 175216 h 409332"/>
                <a:gd name="connsiteX86" fmla="*/ 294467 w 353578"/>
                <a:gd name="connsiteY86" fmla="*/ 172282 h 409332"/>
                <a:gd name="connsiteX87" fmla="*/ 296948 w 353578"/>
                <a:gd name="connsiteY87" fmla="*/ 171072 h 409332"/>
                <a:gd name="connsiteX88" fmla="*/ 298097 w 353578"/>
                <a:gd name="connsiteY88" fmla="*/ 168712 h 409332"/>
                <a:gd name="connsiteX89" fmla="*/ 298007 w 353578"/>
                <a:gd name="connsiteY89" fmla="*/ 165566 h 409332"/>
                <a:gd name="connsiteX90" fmla="*/ 297099 w 353578"/>
                <a:gd name="connsiteY90" fmla="*/ 162390 h 409332"/>
                <a:gd name="connsiteX91" fmla="*/ 295738 w 353578"/>
                <a:gd name="connsiteY91" fmla="*/ 160060 h 409332"/>
                <a:gd name="connsiteX92" fmla="*/ 294044 w 353578"/>
                <a:gd name="connsiteY92" fmla="*/ 158669 h 409332"/>
                <a:gd name="connsiteX93" fmla="*/ 292138 w 353578"/>
                <a:gd name="connsiteY93" fmla="*/ 158033 h 409332"/>
                <a:gd name="connsiteX94" fmla="*/ 290141 w 353578"/>
                <a:gd name="connsiteY94" fmla="*/ 157912 h 409332"/>
                <a:gd name="connsiteX95" fmla="*/ 288115 w 353578"/>
                <a:gd name="connsiteY95" fmla="*/ 158124 h 409332"/>
                <a:gd name="connsiteX96" fmla="*/ 287086 w 353578"/>
                <a:gd name="connsiteY96" fmla="*/ 160242 h 409332"/>
                <a:gd name="connsiteX97" fmla="*/ 286632 w 353578"/>
                <a:gd name="connsiteY97" fmla="*/ 162299 h 409332"/>
                <a:gd name="connsiteX98" fmla="*/ 285936 w 353578"/>
                <a:gd name="connsiteY98" fmla="*/ 164205 h 409332"/>
                <a:gd name="connsiteX99" fmla="*/ 284182 w 353578"/>
                <a:gd name="connsiteY99" fmla="*/ 165748 h 409332"/>
                <a:gd name="connsiteX100" fmla="*/ 282548 w 353578"/>
                <a:gd name="connsiteY100" fmla="*/ 166231 h 409332"/>
                <a:gd name="connsiteX101" fmla="*/ 280945 w 353578"/>
                <a:gd name="connsiteY101" fmla="*/ 166080 h 409332"/>
                <a:gd name="connsiteX102" fmla="*/ 279432 w 353578"/>
                <a:gd name="connsiteY102" fmla="*/ 165415 h 409332"/>
                <a:gd name="connsiteX103" fmla="*/ 278041 w 353578"/>
                <a:gd name="connsiteY103" fmla="*/ 164265 h 409332"/>
                <a:gd name="connsiteX104" fmla="*/ 277042 w 353578"/>
                <a:gd name="connsiteY104" fmla="*/ 162723 h 409332"/>
                <a:gd name="connsiteX105" fmla="*/ 276710 w 353578"/>
                <a:gd name="connsiteY105" fmla="*/ 162208 h 409332"/>
                <a:gd name="connsiteX106" fmla="*/ 276407 w 353578"/>
                <a:gd name="connsiteY106" fmla="*/ 160272 h 409332"/>
                <a:gd name="connsiteX107" fmla="*/ 276347 w 353578"/>
                <a:gd name="connsiteY107" fmla="*/ 158306 h 409332"/>
                <a:gd name="connsiteX108" fmla="*/ 275832 w 353578"/>
                <a:gd name="connsiteY108" fmla="*/ 156158 h 409332"/>
                <a:gd name="connsiteX109" fmla="*/ 274532 w 353578"/>
                <a:gd name="connsiteY109" fmla="*/ 154373 h 409332"/>
                <a:gd name="connsiteX110" fmla="*/ 272959 w 353578"/>
                <a:gd name="connsiteY110" fmla="*/ 153708 h 409332"/>
                <a:gd name="connsiteX111" fmla="*/ 271385 w 353578"/>
                <a:gd name="connsiteY111" fmla="*/ 153405 h 409332"/>
                <a:gd name="connsiteX112" fmla="*/ 269994 w 353578"/>
                <a:gd name="connsiteY112" fmla="*/ 152679 h 409332"/>
                <a:gd name="connsiteX113" fmla="*/ 269177 w 353578"/>
                <a:gd name="connsiteY113" fmla="*/ 151227 h 409332"/>
                <a:gd name="connsiteX114" fmla="*/ 268723 w 353578"/>
                <a:gd name="connsiteY114" fmla="*/ 149593 h 409332"/>
                <a:gd name="connsiteX115" fmla="*/ 268028 w 353578"/>
                <a:gd name="connsiteY115" fmla="*/ 148141 h 409332"/>
                <a:gd name="connsiteX116" fmla="*/ 264942 w 353578"/>
                <a:gd name="connsiteY116" fmla="*/ 146235 h 409332"/>
                <a:gd name="connsiteX117" fmla="*/ 263127 w 353578"/>
                <a:gd name="connsiteY117" fmla="*/ 143362 h 409332"/>
                <a:gd name="connsiteX118" fmla="*/ 261705 w 353578"/>
                <a:gd name="connsiteY118" fmla="*/ 142666 h 409332"/>
                <a:gd name="connsiteX119" fmla="*/ 260041 w 353578"/>
                <a:gd name="connsiteY119" fmla="*/ 143331 h 409332"/>
                <a:gd name="connsiteX120" fmla="*/ 259073 w 353578"/>
                <a:gd name="connsiteY120" fmla="*/ 144814 h 409332"/>
                <a:gd name="connsiteX121" fmla="*/ 258045 w 353578"/>
                <a:gd name="connsiteY121" fmla="*/ 145630 h 409332"/>
                <a:gd name="connsiteX122" fmla="*/ 256199 w 353578"/>
                <a:gd name="connsiteY122" fmla="*/ 144329 h 409332"/>
                <a:gd name="connsiteX123" fmla="*/ 255382 w 353578"/>
                <a:gd name="connsiteY123" fmla="*/ 142877 h 409332"/>
                <a:gd name="connsiteX124" fmla="*/ 253809 w 353578"/>
                <a:gd name="connsiteY124" fmla="*/ 138763 h 409332"/>
                <a:gd name="connsiteX125" fmla="*/ 253537 w 353578"/>
                <a:gd name="connsiteY125" fmla="*/ 138219 h 409332"/>
                <a:gd name="connsiteX126" fmla="*/ 252872 w 353578"/>
                <a:gd name="connsiteY126" fmla="*/ 137009 h 409332"/>
                <a:gd name="connsiteX127" fmla="*/ 252872 w 353578"/>
                <a:gd name="connsiteY127" fmla="*/ 137009 h 409332"/>
                <a:gd name="connsiteX128" fmla="*/ 252872 w 353578"/>
                <a:gd name="connsiteY128" fmla="*/ 136979 h 409332"/>
                <a:gd name="connsiteX129" fmla="*/ 252841 w 353578"/>
                <a:gd name="connsiteY129" fmla="*/ 136979 h 409332"/>
                <a:gd name="connsiteX130" fmla="*/ 251540 w 353578"/>
                <a:gd name="connsiteY130" fmla="*/ 131503 h 409332"/>
                <a:gd name="connsiteX131" fmla="*/ 252872 w 353578"/>
                <a:gd name="connsiteY131" fmla="*/ 127903 h 409332"/>
                <a:gd name="connsiteX132" fmla="*/ 255443 w 353578"/>
                <a:gd name="connsiteY132" fmla="*/ 124727 h 409332"/>
                <a:gd name="connsiteX133" fmla="*/ 258045 w 353578"/>
                <a:gd name="connsiteY133" fmla="*/ 120552 h 409332"/>
                <a:gd name="connsiteX134" fmla="*/ 259073 w 353578"/>
                <a:gd name="connsiteY134" fmla="*/ 115379 h 409332"/>
                <a:gd name="connsiteX135" fmla="*/ 258982 w 353578"/>
                <a:gd name="connsiteY135" fmla="*/ 110539 h 409332"/>
                <a:gd name="connsiteX136" fmla="*/ 259527 w 353578"/>
                <a:gd name="connsiteY136" fmla="*/ 106273 h 409332"/>
                <a:gd name="connsiteX137" fmla="*/ 262522 w 353578"/>
                <a:gd name="connsiteY137" fmla="*/ 102734 h 409332"/>
                <a:gd name="connsiteX138" fmla="*/ 263732 w 353578"/>
                <a:gd name="connsiteY138" fmla="*/ 100979 h 409332"/>
                <a:gd name="connsiteX139" fmla="*/ 263339 w 353578"/>
                <a:gd name="connsiteY139" fmla="*/ 99497 h 409332"/>
                <a:gd name="connsiteX140" fmla="*/ 262068 w 353578"/>
                <a:gd name="connsiteY140" fmla="*/ 98408 h 409332"/>
                <a:gd name="connsiteX141" fmla="*/ 258589 w 353578"/>
                <a:gd name="connsiteY141" fmla="*/ 97228 h 409332"/>
                <a:gd name="connsiteX142" fmla="*/ 257621 w 353578"/>
                <a:gd name="connsiteY142" fmla="*/ 96351 h 409332"/>
                <a:gd name="connsiteX143" fmla="*/ 257621 w 353578"/>
                <a:gd name="connsiteY143" fmla="*/ 94838 h 409332"/>
                <a:gd name="connsiteX144" fmla="*/ 258529 w 353578"/>
                <a:gd name="connsiteY144" fmla="*/ 92418 h 409332"/>
                <a:gd name="connsiteX145" fmla="*/ 259739 w 353578"/>
                <a:gd name="connsiteY145" fmla="*/ 90875 h 409332"/>
                <a:gd name="connsiteX146" fmla="*/ 261584 w 353578"/>
                <a:gd name="connsiteY146" fmla="*/ 89030 h 409332"/>
                <a:gd name="connsiteX147" fmla="*/ 263127 w 353578"/>
                <a:gd name="connsiteY147" fmla="*/ 87064 h 409332"/>
                <a:gd name="connsiteX148" fmla="*/ 263460 w 353578"/>
                <a:gd name="connsiteY148" fmla="*/ 85188 h 409332"/>
                <a:gd name="connsiteX149" fmla="*/ 262461 w 353578"/>
                <a:gd name="connsiteY149" fmla="*/ 84523 h 409332"/>
                <a:gd name="connsiteX150" fmla="*/ 258498 w 353578"/>
                <a:gd name="connsiteY150" fmla="*/ 83433 h 409332"/>
                <a:gd name="connsiteX151" fmla="*/ 257077 w 353578"/>
                <a:gd name="connsiteY151" fmla="*/ 82405 h 409332"/>
                <a:gd name="connsiteX152" fmla="*/ 256290 w 353578"/>
                <a:gd name="connsiteY152" fmla="*/ 80378 h 409332"/>
                <a:gd name="connsiteX153" fmla="*/ 255382 w 353578"/>
                <a:gd name="connsiteY153" fmla="*/ 75659 h 409332"/>
                <a:gd name="connsiteX154" fmla="*/ 254626 w 353578"/>
                <a:gd name="connsiteY154" fmla="*/ 73541 h 409332"/>
                <a:gd name="connsiteX155" fmla="*/ 253446 w 353578"/>
                <a:gd name="connsiteY155" fmla="*/ 71756 h 409332"/>
                <a:gd name="connsiteX156" fmla="*/ 252206 w 353578"/>
                <a:gd name="connsiteY156" fmla="*/ 70698 h 409332"/>
                <a:gd name="connsiteX157" fmla="*/ 250784 w 353578"/>
                <a:gd name="connsiteY157" fmla="*/ 70183 h 409332"/>
                <a:gd name="connsiteX158" fmla="*/ 249030 w 353578"/>
                <a:gd name="connsiteY158" fmla="*/ 70123 h 409332"/>
                <a:gd name="connsiteX159" fmla="*/ 245853 w 353578"/>
                <a:gd name="connsiteY159" fmla="*/ 71575 h 409332"/>
                <a:gd name="connsiteX160" fmla="*/ 241467 w 353578"/>
                <a:gd name="connsiteY160" fmla="*/ 76899 h 409332"/>
                <a:gd name="connsiteX161" fmla="*/ 237806 w 353578"/>
                <a:gd name="connsiteY161" fmla="*/ 77534 h 409332"/>
                <a:gd name="connsiteX162" fmla="*/ 234721 w 353578"/>
                <a:gd name="connsiteY162" fmla="*/ 76385 h 409332"/>
                <a:gd name="connsiteX163" fmla="*/ 233299 w 353578"/>
                <a:gd name="connsiteY163" fmla="*/ 75356 h 409332"/>
                <a:gd name="connsiteX164" fmla="*/ 231151 w 353578"/>
                <a:gd name="connsiteY164" fmla="*/ 73844 h 409332"/>
                <a:gd name="connsiteX165" fmla="*/ 227914 w 353578"/>
                <a:gd name="connsiteY165" fmla="*/ 70576 h 409332"/>
                <a:gd name="connsiteX166" fmla="*/ 225857 w 353578"/>
                <a:gd name="connsiteY166" fmla="*/ 67309 h 409332"/>
                <a:gd name="connsiteX167" fmla="*/ 225191 w 353578"/>
                <a:gd name="connsiteY167" fmla="*/ 66281 h 409332"/>
                <a:gd name="connsiteX168" fmla="*/ 223558 w 353578"/>
                <a:gd name="connsiteY168" fmla="*/ 64859 h 409332"/>
                <a:gd name="connsiteX169" fmla="*/ 222862 w 353578"/>
                <a:gd name="connsiteY169" fmla="*/ 63952 h 409332"/>
                <a:gd name="connsiteX170" fmla="*/ 222711 w 353578"/>
                <a:gd name="connsiteY170" fmla="*/ 63104 h 409332"/>
                <a:gd name="connsiteX171" fmla="*/ 222378 w 353578"/>
                <a:gd name="connsiteY171" fmla="*/ 59505 h 409332"/>
                <a:gd name="connsiteX172" fmla="*/ 220745 w 353578"/>
                <a:gd name="connsiteY172" fmla="*/ 55935 h 409332"/>
                <a:gd name="connsiteX173" fmla="*/ 220503 w 353578"/>
                <a:gd name="connsiteY173" fmla="*/ 54997 h 409332"/>
                <a:gd name="connsiteX174" fmla="*/ 220442 w 353578"/>
                <a:gd name="connsiteY174" fmla="*/ 54029 h 409332"/>
                <a:gd name="connsiteX175" fmla="*/ 220200 w 353578"/>
                <a:gd name="connsiteY175" fmla="*/ 53031 h 409332"/>
                <a:gd name="connsiteX176" fmla="*/ 219504 w 353578"/>
                <a:gd name="connsiteY176" fmla="*/ 51942 h 409332"/>
                <a:gd name="connsiteX177" fmla="*/ 216691 w 353578"/>
                <a:gd name="connsiteY177" fmla="*/ 50187 h 409332"/>
                <a:gd name="connsiteX178" fmla="*/ 213061 w 353578"/>
                <a:gd name="connsiteY178" fmla="*/ 49612 h 409332"/>
                <a:gd name="connsiteX179" fmla="*/ 206073 w 353578"/>
                <a:gd name="connsiteY179" fmla="*/ 49522 h 409332"/>
                <a:gd name="connsiteX180" fmla="*/ 196816 w 353578"/>
                <a:gd name="connsiteY180" fmla="*/ 45982 h 409332"/>
                <a:gd name="connsiteX181" fmla="*/ 193579 w 353578"/>
                <a:gd name="connsiteY181" fmla="*/ 45831 h 409332"/>
                <a:gd name="connsiteX182" fmla="*/ 191340 w 353578"/>
                <a:gd name="connsiteY182" fmla="*/ 46769 h 409332"/>
                <a:gd name="connsiteX183" fmla="*/ 189525 w 353578"/>
                <a:gd name="connsiteY183" fmla="*/ 51790 h 409332"/>
                <a:gd name="connsiteX184" fmla="*/ 189525 w 353578"/>
                <a:gd name="connsiteY184" fmla="*/ 51790 h 409332"/>
                <a:gd name="connsiteX185" fmla="*/ 189374 w 353578"/>
                <a:gd name="connsiteY185" fmla="*/ 52335 h 409332"/>
                <a:gd name="connsiteX186" fmla="*/ 188829 w 353578"/>
                <a:gd name="connsiteY186" fmla="*/ 54694 h 409332"/>
                <a:gd name="connsiteX187" fmla="*/ 188769 w 353578"/>
                <a:gd name="connsiteY187" fmla="*/ 57054 h 409332"/>
                <a:gd name="connsiteX188" fmla="*/ 188406 w 353578"/>
                <a:gd name="connsiteY188" fmla="*/ 58325 h 409332"/>
                <a:gd name="connsiteX189" fmla="*/ 187347 w 353578"/>
                <a:gd name="connsiteY189" fmla="*/ 58416 h 409332"/>
                <a:gd name="connsiteX190" fmla="*/ 185320 w 353578"/>
                <a:gd name="connsiteY190" fmla="*/ 57084 h 409332"/>
                <a:gd name="connsiteX191" fmla="*/ 184110 w 353578"/>
                <a:gd name="connsiteY191" fmla="*/ 55935 h 409332"/>
                <a:gd name="connsiteX192" fmla="*/ 181266 w 353578"/>
                <a:gd name="connsiteY192" fmla="*/ 50490 h 409332"/>
                <a:gd name="connsiteX193" fmla="*/ 182930 w 353578"/>
                <a:gd name="connsiteY193" fmla="*/ 48765 h 409332"/>
                <a:gd name="connsiteX194" fmla="*/ 183051 w 353578"/>
                <a:gd name="connsiteY194" fmla="*/ 46678 h 409332"/>
                <a:gd name="connsiteX195" fmla="*/ 182083 w 353578"/>
                <a:gd name="connsiteY195" fmla="*/ 44803 h 409332"/>
                <a:gd name="connsiteX196" fmla="*/ 180510 w 353578"/>
                <a:gd name="connsiteY196" fmla="*/ 43774 h 409332"/>
                <a:gd name="connsiteX197" fmla="*/ 178181 w 353578"/>
                <a:gd name="connsiteY197" fmla="*/ 44077 h 409332"/>
                <a:gd name="connsiteX198" fmla="*/ 176880 w 353578"/>
                <a:gd name="connsiteY198" fmla="*/ 45740 h 409332"/>
                <a:gd name="connsiteX199" fmla="*/ 175821 w 353578"/>
                <a:gd name="connsiteY199" fmla="*/ 47828 h 409332"/>
                <a:gd name="connsiteX200" fmla="*/ 174278 w 353578"/>
                <a:gd name="connsiteY200" fmla="*/ 49461 h 409332"/>
                <a:gd name="connsiteX201" fmla="*/ 172161 w 353578"/>
                <a:gd name="connsiteY201" fmla="*/ 49824 h 409332"/>
                <a:gd name="connsiteX202" fmla="*/ 171041 w 353578"/>
                <a:gd name="connsiteY202" fmla="*/ 48674 h 409332"/>
                <a:gd name="connsiteX203" fmla="*/ 170830 w 353578"/>
                <a:gd name="connsiteY203" fmla="*/ 46738 h 409332"/>
                <a:gd name="connsiteX204" fmla="*/ 171525 w 353578"/>
                <a:gd name="connsiteY204" fmla="*/ 44833 h 409332"/>
                <a:gd name="connsiteX205" fmla="*/ 173099 w 353578"/>
                <a:gd name="connsiteY205" fmla="*/ 43108 h 409332"/>
                <a:gd name="connsiteX206" fmla="*/ 174551 w 353578"/>
                <a:gd name="connsiteY206" fmla="*/ 42231 h 409332"/>
                <a:gd name="connsiteX207" fmla="*/ 175640 w 353578"/>
                <a:gd name="connsiteY207" fmla="*/ 40991 h 409332"/>
                <a:gd name="connsiteX208" fmla="*/ 176305 w 353578"/>
                <a:gd name="connsiteY208" fmla="*/ 38117 h 409332"/>
                <a:gd name="connsiteX209" fmla="*/ 176154 w 353578"/>
                <a:gd name="connsiteY209" fmla="*/ 35485 h 409332"/>
                <a:gd name="connsiteX210" fmla="*/ 175095 w 353578"/>
                <a:gd name="connsiteY210" fmla="*/ 34366 h 409332"/>
                <a:gd name="connsiteX211" fmla="*/ 173371 w 353578"/>
                <a:gd name="connsiteY211" fmla="*/ 34154 h 409332"/>
                <a:gd name="connsiteX212" fmla="*/ 168712 w 353578"/>
                <a:gd name="connsiteY212" fmla="*/ 34668 h 409332"/>
                <a:gd name="connsiteX213" fmla="*/ 167018 w 353578"/>
                <a:gd name="connsiteY213" fmla="*/ 35697 h 409332"/>
                <a:gd name="connsiteX214" fmla="*/ 165445 w 353578"/>
                <a:gd name="connsiteY214" fmla="*/ 36967 h 409332"/>
                <a:gd name="connsiteX215" fmla="*/ 163267 w 353578"/>
                <a:gd name="connsiteY215" fmla="*/ 38117 h 409332"/>
                <a:gd name="connsiteX216" fmla="*/ 160937 w 353578"/>
                <a:gd name="connsiteY216" fmla="*/ 38601 h 409332"/>
                <a:gd name="connsiteX217" fmla="*/ 159213 w 353578"/>
                <a:gd name="connsiteY217" fmla="*/ 38117 h 409332"/>
                <a:gd name="connsiteX218" fmla="*/ 158124 w 353578"/>
                <a:gd name="connsiteY218" fmla="*/ 36544 h 409332"/>
                <a:gd name="connsiteX219" fmla="*/ 157791 w 353578"/>
                <a:gd name="connsiteY219" fmla="*/ 33852 h 409332"/>
                <a:gd name="connsiteX220" fmla="*/ 157035 w 353578"/>
                <a:gd name="connsiteY220" fmla="*/ 31583 h 409332"/>
                <a:gd name="connsiteX221" fmla="*/ 155402 w 353578"/>
                <a:gd name="connsiteY221" fmla="*/ 31794 h 409332"/>
                <a:gd name="connsiteX222" fmla="*/ 152286 w 353578"/>
                <a:gd name="connsiteY222" fmla="*/ 34245 h 409332"/>
                <a:gd name="connsiteX223" fmla="*/ 150712 w 353578"/>
                <a:gd name="connsiteY223" fmla="*/ 34638 h 409332"/>
                <a:gd name="connsiteX224" fmla="*/ 148474 w 353578"/>
                <a:gd name="connsiteY224" fmla="*/ 34547 h 409332"/>
                <a:gd name="connsiteX225" fmla="*/ 147022 w 353578"/>
                <a:gd name="connsiteY225" fmla="*/ 33489 h 409332"/>
                <a:gd name="connsiteX226" fmla="*/ 148988 w 353578"/>
                <a:gd name="connsiteY226" fmla="*/ 28073 h 409332"/>
                <a:gd name="connsiteX227" fmla="*/ 148413 w 353578"/>
                <a:gd name="connsiteY227" fmla="*/ 25593 h 409332"/>
                <a:gd name="connsiteX228" fmla="*/ 146780 w 353578"/>
                <a:gd name="connsiteY228" fmla="*/ 23778 h 409332"/>
                <a:gd name="connsiteX229" fmla="*/ 144723 w 353578"/>
                <a:gd name="connsiteY229" fmla="*/ 22870 h 409332"/>
                <a:gd name="connsiteX230" fmla="*/ 139398 w 353578"/>
                <a:gd name="connsiteY230" fmla="*/ 22265 h 409332"/>
                <a:gd name="connsiteX231" fmla="*/ 135768 w 353578"/>
                <a:gd name="connsiteY231" fmla="*/ 21841 h 409332"/>
                <a:gd name="connsiteX232" fmla="*/ 131684 w 353578"/>
                <a:gd name="connsiteY232" fmla="*/ 20389 h 409332"/>
                <a:gd name="connsiteX233" fmla="*/ 129476 w 353578"/>
                <a:gd name="connsiteY233" fmla="*/ 17183 h 409332"/>
                <a:gd name="connsiteX234" fmla="*/ 128689 w 353578"/>
                <a:gd name="connsiteY234" fmla="*/ 16517 h 409332"/>
                <a:gd name="connsiteX235" fmla="*/ 127540 w 353578"/>
                <a:gd name="connsiteY235" fmla="*/ 14974 h 409332"/>
                <a:gd name="connsiteX236" fmla="*/ 125483 w 353578"/>
                <a:gd name="connsiteY236" fmla="*/ 12131 h 409332"/>
                <a:gd name="connsiteX237" fmla="*/ 123970 w 353578"/>
                <a:gd name="connsiteY237" fmla="*/ 10649 h 409332"/>
                <a:gd name="connsiteX238" fmla="*/ 117496 w 353578"/>
                <a:gd name="connsiteY238" fmla="*/ 6202 h 409332"/>
                <a:gd name="connsiteX239" fmla="*/ 114108 w 353578"/>
                <a:gd name="connsiteY239" fmla="*/ 4750 h 409332"/>
                <a:gd name="connsiteX240" fmla="*/ 101554 w 353578"/>
                <a:gd name="connsiteY240" fmla="*/ 4840 h 409332"/>
                <a:gd name="connsiteX241" fmla="*/ 99527 w 353578"/>
                <a:gd name="connsiteY241" fmla="*/ 3933 h 409332"/>
                <a:gd name="connsiteX242" fmla="*/ 99315 w 353578"/>
                <a:gd name="connsiteY242" fmla="*/ 272 h 409332"/>
                <a:gd name="connsiteX243" fmla="*/ 97137 w 353578"/>
                <a:gd name="connsiteY243" fmla="*/ 0 h 409332"/>
                <a:gd name="connsiteX244" fmla="*/ 94505 w 353578"/>
                <a:gd name="connsiteY244" fmla="*/ 1603 h 409332"/>
                <a:gd name="connsiteX245" fmla="*/ 93326 w 353578"/>
                <a:gd name="connsiteY245" fmla="*/ 1876 h 409332"/>
                <a:gd name="connsiteX246" fmla="*/ 89151 w 353578"/>
                <a:gd name="connsiteY246" fmla="*/ 1876 h 409332"/>
                <a:gd name="connsiteX247" fmla="*/ 86852 w 353578"/>
                <a:gd name="connsiteY247" fmla="*/ 4810 h 409332"/>
                <a:gd name="connsiteX248" fmla="*/ 80741 w 353578"/>
                <a:gd name="connsiteY248" fmla="*/ 9590 h 409332"/>
                <a:gd name="connsiteX249" fmla="*/ 79077 w 353578"/>
                <a:gd name="connsiteY249" fmla="*/ 10376 h 409332"/>
                <a:gd name="connsiteX250" fmla="*/ 77685 w 353578"/>
                <a:gd name="connsiteY250" fmla="*/ 9892 h 409332"/>
                <a:gd name="connsiteX251" fmla="*/ 74812 w 353578"/>
                <a:gd name="connsiteY251" fmla="*/ 7411 h 409332"/>
                <a:gd name="connsiteX252" fmla="*/ 72906 w 353578"/>
                <a:gd name="connsiteY252" fmla="*/ 6928 h 409332"/>
                <a:gd name="connsiteX253" fmla="*/ 69246 w 353578"/>
                <a:gd name="connsiteY253" fmla="*/ 8682 h 409332"/>
                <a:gd name="connsiteX254" fmla="*/ 63800 w 353578"/>
                <a:gd name="connsiteY254" fmla="*/ 14974 h 409332"/>
                <a:gd name="connsiteX255" fmla="*/ 63255 w 353578"/>
                <a:gd name="connsiteY255" fmla="*/ 15610 h 409332"/>
                <a:gd name="connsiteX256" fmla="*/ 59444 w 353578"/>
                <a:gd name="connsiteY256" fmla="*/ 17455 h 409332"/>
                <a:gd name="connsiteX257" fmla="*/ 56146 w 353578"/>
                <a:gd name="connsiteY257" fmla="*/ 17273 h 409332"/>
                <a:gd name="connsiteX258" fmla="*/ 45377 w 353578"/>
                <a:gd name="connsiteY258" fmla="*/ 13522 h 409332"/>
                <a:gd name="connsiteX259" fmla="*/ 43290 w 353578"/>
                <a:gd name="connsiteY259" fmla="*/ 12282 h 409332"/>
                <a:gd name="connsiteX260" fmla="*/ 42231 w 353578"/>
                <a:gd name="connsiteY260" fmla="*/ 12010 h 409332"/>
                <a:gd name="connsiteX261" fmla="*/ 41112 w 353578"/>
                <a:gd name="connsiteY261" fmla="*/ 12373 h 409332"/>
                <a:gd name="connsiteX262" fmla="*/ 41021 w 353578"/>
                <a:gd name="connsiteY262" fmla="*/ 13371 h 409332"/>
                <a:gd name="connsiteX263" fmla="*/ 41293 w 353578"/>
                <a:gd name="connsiteY263" fmla="*/ 14551 h 409332"/>
                <a:gd name="connsiteX264" fmla="*/ 41263 w 353578"/>
                <a:gd name="connsiteY264" fmla="*/ 15489 h 409332"/>
                <a:gd name="connsiteX265" fmla="*/ 41323 w 353578"/>
                <a:gd name="connsiteY265" fmla="*/ 16033 h 409332"/>
                <a:gd name="connsiteX266" fmla="*/ 41656 w 353578"/>
                <a:gd name="connsiteY266" fmla="*/ 16790 h 409332"/>
                <a:gd name="connsiteX267" fmla="*/ 41777 w 353578"/>
                <a:gd name="connsiteY267" fmla="*/ 17516 h 409332"/>
                <a:gd name="connsiteX268" fmla="*/ 41233 w 353578"/>
                <a:gd name="connsiteY268" fmla="*/ 17848 h 409332"/>
                <a:gd name="connsiteX269" fmla="*/ 40023 w 353578"/>
                <a:gd name="connsiteY269" fmla="*/ 17607 h 409332"/>
                <a:gd name="connsiteX270" fmla="*/ 38934 w 353578"/>
                <a:gd name="connsiteY270" fmla="*/ 17727 h 409332"/>
                <a:gd name="connsiteX271" fmla="*/ 38238 w 353578"/>
                <a:gd name="connsiteY271" fmla="*/ 17334 h 409332"/>
                <a:gd name="connsiteX272" fmla="*/ 37511 w 353578"/>
                <a:gd name="connsiteY272" fmla="*/ 17213 h 409332"/>
                <a:gd name="connsiteX273" fmla="*/ 36544 w 353578"/>
                <a:gd name="connsiteY273" fmla="*/ 18121 h 409332"/>
                <a:gd name="connsiteX274" fmla="*/ 32762 w 353578"/>
                <a:gd name="connsiteY274" fmla="*/ 18726 h 409332"/>
                <a:gd name="connsiteX275" fmla="*/ 29283 w 353578"/>
                <a:gd name="connsiteY275" fmla="*/ 16790 h 409332"/>
                <a:gd name="connsiteX276" fmla="*/ 25956 w 353578"/>
                <a:gd name="connsiteY276" fmla="*/ 14188 h 409332"/>
                <a:gd name="connsiteX277" fmla="*/ 22628 w 353578"/>
                <a:gd name="connsiteY277" fmla="*/ 12827 h 409332"/>
                <a:gd name="connsiteX278" fmla="*/ 21539 w 353578"/>
                <a:gd name="connsiteY278" fmla="*/ 13159 h 409332"/>
                <a:gd name="connsiteX279" fmla="*/ 21206 w 353578"/>
                <a:gd name="connsiteY279" fmla="*/ 14037 h 409332"/>
                <a:gd name="connsiteX280" fmla="*/ 20903 w 353578"/>
                <a:gd name="connsiteY280" fmla="*/ 15065 h 409332"/>
                <a:gd name="connsiteX281" fmla="*/ 20057 w 353578"/>
                <a:gd name="connsiteY281" fmla="*/ 15882 h 409332"/>
                <a:gd name="connsiteX282" fmla="*/ 19361 w 353578"/>
                <a:gd name="connsiteY282" fmla="*/ 15882 h 409332"/>
                <a:gd name="connsiteX283" fmla="*/ 17697 w 353578"/>
                <a:gd name="connsiteY283" fmla="*/ 15277 h 409332"/>
                <a:gd name="connsiteX284" fmla="*/ 17152 w 353578"/>
                <a:gd name="connsiteY284" fmla="*/ 15307 h 409332"/>
                <a:gd name="connsiteX285" fmla="*/ 16063 w 353578"/>
                <a:gd name="connsiteY285" fmla="*/ 16669 h 409332"/>
                <a:gd name="connsiteX286" fmla="*/ 16154 w 353578"/>
                <a:gd name="connsiteY286" fmla="*/ 17909 h 409332"/>
                <a:gd name="connsiteX287" fmla="*/ 16729 w 353578"/>
                <a:gd name="connsiteY287" fmla="*/ 19603 h 409332"/>
                <a:gd name="connsiteX288" fmla="*/ 17273 w 353578"/>
                <a:gd name="connsiteY288" fmla="*/ 22265 h 409332"/>
                <a:gd name="connsiteX289" fmla="*/ 17334 w 353578"/>
                <a:gd name="connsiteY289" fmla="*/ 24897 h 409332"/>
                <a:gd name="connsiteX290" fmla="*/ 16880 w 353578"/>
                <a:gd name="connsiteY290" fmla="*/ 26682 h 409332"/>
                <a:gd name="connsiteX291" fmla="*/ 15761 w 353578"/>
                <a:gd name="connsiteY291" fmla="*/ 27650 h 409332"/>
                <a:gd name="connsiteX292" fmla="*/ 13764 w 353578"/>
                <a:gd name="connsiteY292" fmla="*/ 27801 h 409332"/>
                <a:gd name="connsiteX293" fmla="*/ 11889 w 353578"/>
                <a:gd name="connsiteY293" fmla="*/ 27015 h 409332"/>
                <a:gd name="connsiteX294" fmla="*/ 10648 w 353578"/>
                <a:gd name="connsiteY294" fmla="*/ 25502 h 409332"/>
                <a:gd name="connsiteX295" fmla="*/ 9589 w 353578"/>
                <a:gd name="connsiteY295" fmla="*/ 23778 h 409332"/>
                <a:gd name="connsiteX296" fmla="*/ 8228 w 353578"/>
                <a:gd name="connsiteY296" fmla="*/ 22386 h 409332"/>
                <a:gd name="connsiteX297" fmla="*/ 6232 w 353578"/>
                <a:gd name="connsiteY297" fmla="*/ 21690 h 409332"/>
                <a:gd name="connsiteX298" fmla="*/ 5657 w 353578"/>
                <a:gd name="connsiteY298" fmla="*/ 22840 h 409332"/>
                <a:gd name="connsiteX299" fmla="*/ 5143 w 353578"/>
                <a:gd name="connsiteY299" fmla="*/ 24625 h 409332"/>
                <a:gd name="connsiteX300" fmla="*/ 1845 w 353578"/>
                <a:gd name="connsiteY300" fmla="*/ 26561 h 409332"/>
                <a:gd name="connsiteX301" fmla="*/ 726 w 353578"/>
                <a:gd name="connsiteY301" fmla="*/ 28224 h 409332"/>
                <a:gd name="connsiteX302" fmla="*/ 90 w 353578"/>
                <a:gd name="connsiteY302" fmla="*/ 30433 h 409332"/>
                <a:gd name="connsiteX303" fmla="*/ 0 w 353578"/>
                <a:gd name="connsiteY303" fmla="*/ 31552 h 409332"/>
                <a:gd name="connsiteX304" fmla="*/ 4840 w 353578"/>
                <a:gd name="connsiteY304" fmla="*/ 29435 h 409332"/>
                <a:gd name="connsiteX305" fmla="*/ 7109 w 353578"/>
                <a:gd name="connsiteY305" fmla="*/ 29344 h 409332"/>
                <a:gd name="connsiteX306" fmla="*/ 9408 w 353578"/>
                <a:gd name="connsiteY306" fmla="*/ 31220 h 409332"/>
                <a:gd name="connsiteX307" fmla="*/ 10527 w 353578"/>
                <a:gd name="connsiteY307" fmla="*/ 31431 h 409332"/>
                <a:gd name="connsiteX308" fmla="*/ 11616 w 353578"/>
                <a:gd name="connsiteY308" fmla="*/ 29919 h 409332"/>
                <a:gd name="connsiteX309" fmla="*/ 12705 w 353578"/>
                <a:gd name="connsiteY309" fmla="*/ 32036 h 409332"/>
                <a:gd name="connsiteX310" fmla="*/ 14672 w 353578"/>
                <a:gd name="connsiteY310" fmla="*/ 32429 h 409332"/>
                <a:gd name="connsiteX311" fmla="*/ 18816 w 353578"/>
                <a:gd name="connsiteY311" fmla="*/ 31643 h 409332"/>
                <a:gd name="connsiteX312" fmla="*/ 20540 w 353578"/>
                <a:gd name="connsiteY312" fmla="*/ 32429 h 409332"/>
                <a:gd name="connsiteX313" fmla="*/ 22840 w 353578"/>
                <a:gd name="connsiteY313" fmla="*/ 35122 h 409332"/>
                <a:gd name="connsiteX314" fmla="*/ 23929 w 353578"/>
                <a:gd name="connsiteY314" fmla="*/ 34487 h 409332"/>
                <a:gd name="connsiteX315" fmla="*/ 28164 w 353578"/>
                <a:gd name="connsiteY315" fmla="*/ 38480 h 409332"/>
                <a:gd name="connsiteX316" fmla="*/ 28799 w 353578"/>
                <a:gd name="connsiteY316" fmla="*/ 39539 h 409332"/>
                <a:gd name="connsiteX317" fmla="*/ 29192 w 353578"/>
                <a:gd name="connsiteY317" fmla="*/ 41868 h 409332"/>
                <a:gd name="connsiteX318" fmla="*/ 30191 w 353578"/>
                <a:gd name="connsiteY318" fmla="*/ 41384 h 409332"/>
                <a:gd name="connsiteX319" fmla="*/ 31310 w 353578"/>
                <a:gd name="connsiteY319" fmla="*/ 39872 h 409332"/>
                <a:gd name="connsiteX320" fmla="*/ 32248 w 353578"/>
                <a:gd name="connsiteY320" fmla="*/ 39055 h 409332"/>
                <a:gd name="connsiteX321" fmla="*/ 33488 w 353578"/>
                <a:gd name="connsiteY321" fmla="*/ 40053 h 409332"/>
                <a:gd name="connsiteX322" fmla="*/ 34003 w 353578"/>
                <a:gd name="connsiteY322" fmla="*/ 41687 h 409332"/>
                <a:gd name="connsiteX323" fmla="*/ 34759 w 353578"/>
                <a:gd name="connsiteY323" fmla="*/ 43139 h 409332"/>
                <a:gd name="connsiteX324" fmla="*/ 38238 w 353578"/>
                <a:gd name="connsiteY324" fmla="*/ 44349 h 409332"/>
                <a:gd name="connsiteX325" fmla="*/ 38238 w 353578"/>
                <a:gd name="connsiteY325" fmla="*/ 45559 h 409332"/>
                <a:gd name="connsiteX326" fmla="*/ 37088 w 353578"/>
                <a:gd name="connsiteY326" fmla="*/ 46587 h 409332"/>
                <a:gd name="connsiteX327" fmla="*/ 35092 w 353578"/>
                <a:gd name="connsiteY327" fmla="*/ 46708 h 409332"/>
                <a:gd name="connsiteX328" fmla="*/ 35092 w 353578"/>
                <a:gd name="connsiteY328" fmla="*/ 47585 h 409332"/>
                <a:gd name="connsiteX329" fmla="*/ 37845 w 353578"/>
                <a:gd name="connsiteY329" fmla="*/ 49098 h 409332"/>
                <a:gd name="connsiteX330" fmla="*/ 39750 w 353578"/>
                <a:gd name="connsiteY330" fmla="*/ 49703 h 409332"/>
                <a:gd name="connsiteX331" fmla="*/ 40990 w 353578"/>
                <a:gd name="connsiteY331" fmla="*/ 48735 h 409332"/>
                <a:gd name="connsiteX332" fmla="*/ 41868 w 353578"/>
                <a:gd name="connsiteY332" fmla="*/ 49098 h 409332"/>
                <a:gd name="connsiteX333" fmla="*/ 42776 w 353578"/>
                <a:gd name="connsiteY333" fmla="*/ 49794 h 409332"/>
                <a:gd name="connsiteX334" fmla="*/ 43290 w 353578"/>
                <a:gd name="connsiteY334" fmla="*/ 50490 h 409332"/>
                <a:gd name="connsiteX335" fmla="*/ 43290 w 353578"/>
                <a:gd name="connsiteY335" fmla="*/ 50611 h 409332"/>
                <a:gd name="connsiteX336" fmla="*/ 43229 w 353578"/>
                <a:gd name="connsiteY336" fmla="*/ 51276 h 409332"/>
                <a:gd name="connsiteX337" fmla="*/ 42170 w 353578"/>
                <a:gd name="connsiteY337" fmla="*/ 52547 h 409332"/>
                <a:gd name="connsiteX338" fmla="*/ 41898 w 353578"/>
                <a:gd name="connsiteY338" fmla="*/ 53333 h 409332"/>
                <a:gd name="connsiteX339" fmla="*/ 42654 w 353578"/>
                <a:gd name="connsiteY339" fmla="*/ 56721 h 409332"/>
                <a:gd name="connsiteX340" fmla="*/ 44409 w 353578"/>
                <a:gd name="connsiteY340" fmla="*/ 59353 h 409332"/>
                <a:gd name="connsiteX341" fmla="*/ 46829 w 353578"/>
                <a:gd name="connsiteY341" fmla="*/ 61350 h 409332"/>
                <a:gd name="connsiteX342" fmla="*/ 49461 w 353578"/>
                <a:gd name="connsiteY342" fmla="*/ 62772 h 409332"/>
                <a:gd name="connsiteX343" fmla="*/ 49461 w 353578"/>
                <a:gd name="connsiteY343" fmla="*/ 63770 h 409332"/>
                <a:gd name="connsiteX344" fmla="*/ 47404 w 353578"/>
                <a:gd name="connsiteY344" fmla="*/ 64647 h 409332"/>
                <a:gd name="connsiteX345" fmla="*/ 47525 w 353578"/>
                <a:gd name="connsiteY345" fmla="*/ 65222 h 409332"/>
                <a:gd name="connsiteX346" fmla="*/ 47646 w 353578"/>
                <a:gd name="connsiteY346" fmla="*/ 65767 h 409332"/>
                <a:gd name="connsiteX347" fmla="*/ 47858 w 353578"/>
                <a:gd name="connsiteY347" fmla="*/ 66220 h 409332"/>
                <a:gd name="connsiteX348" fmla="*/ 48099 w 353578"/>
                <a:gd name="connsiteY348" fmla="*/ 66614 h 409332"/>
                <a:gd name="connsiteX349" fmla="*/ 50671 w 353578"/>
                <a:gd name="connsiteY349" fmla="*/ 65555 h 409332"/>
                <a:gd name="connsiteX350" fmla="*/ 52002 w 353578"/>
                <a:gd name="connsiteY350" fmla="*/ 67309 h 409332"/>
                <a:gd name="connsiteX351" fmla="*/ 52940 w 353578"/>
                <a:gd name="connsiteY351" fmla="*/ 69185 h 409332"/>
                <a:gd name="connsiteX352" fmla="*/ 54271 w 353578"/>
                <a:gd name="connsiteY352" fmla="*/ 68489 h 409332"/>
                <a:gd name="connsiteX353" fmla="*/ 55451 w 353578"/>
                <a:gd name="connsiteY353" fmla="*/ 69730 h 409332"/>
                <a:gd name="connsiteX354" fmla="*/ 55542 w 353578"/>
                <a:gd name="connsiteY354" fmla="*/ 71000 h 409332"/>
                <a:gd name="connsiteX355" fmla="*/ 54846 w 353578"/>
                <a:gd name="connsiteY355" fmla="*/ 72210 h 409332"/>
                <a:gd name="connsiteX356" fmla="*/ 53666 w 353578"/>
                <a:gd name="connsiteY356" fmla="*/ 73208 h 409332"/>
                <a:gd name="connsiteX357" fmla="*/ 55783 w 353578"/>
                <a:gd name="connsiteY357" fmla="*/ 74781 h 409332"/>
                <a:gd name="connsiteX358" fmla="*/ 56419 w 353578"/>
                <a:gd name="connsiteY358" fmla="*/ 75084 h 409332"/>
                <a:gd name="connsiteX359" fmla="*/ 56419 w 353578"/>
                <a:gd name="connsiteY359" fmla="*/ 75931 h 409332"/>
                <a:gd name="connsiteX360" fmla="*/ 54634 w 353578"/>
                <a:gd name="connsiteY360" fmla="*/ 78170 h 409332"/>
                <a:gd name="connsiteX361" fmla="*/ 55723 w 353578"/>
                <a:gd name="connsiteY361" fmla="*/ 79440 h 409332"/>
                <a:gd name="connsiteX362" fmla="*/ 57992 w 353578"/>
                <a:gd name="connsiteY362" fmla="*/ 80590 h 409332"/>
                <a:gd name="connsiteX363" fmla="*/ 59837 w 353578"/>
                <a:gd name="connsiteY363" fmla="*/ 82617 h 409332"/>
                <a:gd name="connsiteX364" fmla="*/ 59747 w 353578"/>
                <a:gd name="connsiteY364" fmla="*/ 83222 h 409332"/>
                <a:gd name="connsiteX365" fmla="*/ 59928 w 353578"/>
                <a:gd name="connsiteY365" fmla="*/ 87487 h 409332"/>
                <a:gd name="connsiteX366" fmla="*/ 59837 w 353578"/>
                <a:gd name="connsiteY366" fmla="*/ 88334 h 409332"/>
                <a:gd name="connsiteX367" fmla="*/ 60896 w 353578"/>
                <a:gd name="connsiteY367" fmla="*/ 89060 h 409332"/>
                <a:gd name="connsiteX368" fmla="*/ 62106 w 353578"/>
                <a:gd name="connsiteY368" fmla="*/ 89393 h 409332"/>
                <a:gd name="connsiteX369" fmla="*/ 63195 w 353578"/>
                <a:gd name="connsiteY369" fmla="*/ 89907 h 409332"/>
                <a:gd name="connsiteX370" fmla="*/ 63952 w 353578"/>
                <a:gd name="connsiteY370" fmla="*/ 91057 h 409332"/>
                <a:gd name="connsiteX371" fmla="*/ 60503 w 353578"/>
                <a:gd name="connsiteY371" fmla="*/ 93023 h 409332"/>
                <a:gd name="connsiteX372" fmla="*/ 61713 w 353578"/>
                <a:gd name="connsiteY372" fmla="*/ 93961 h 409332"/>
                <a:gd name="connsiteX373" fmla="*/ 63104 w 353578"/>
                <a:gd name="connsiteY373" fmla="*/ 95927 h 409332"/>
                <a:gd name="connsiteX374" fmla="*/ 64254 w 353578"/>
                <a:gd name="connsiteY374" fmla="*/ 98015 h 409332"/>
                <a:gd name="connsiteX375" fmla="*/ 64708 w 353578"/>
                <a:gd name="connsiteY375" fmla="*/ 99164 h 409332"/>
                <a:gd name="connsiteX376" fmla="*/ 65101 w 353578"/>
                <a:gd name="connsiteY376" fmla="*/ 99799 h 409332"/>
                <a:gd name="connsiteX377" fmla="*/ 66886 w 353578"/>
                <a:gd name="connsiteY377" fmla="*/ 101010 h 409332"/>
                <a:gd name="connsiteX378" fmla="*/ 67400 w 353578"/>
                <a:gd name="connsiteY378" fmla="*/ 101463 h 409332"/>
                <a:gd name="connsiteX379" fmla="*/ 67460 w 353578"/>
                <a:gd name="connsiteY379" fmla="*/ 101705 h 409332"/>
                <a:gd name="connsiteX380" fmla="*/ 67763 w 353578"/>
                <a:gd name="connsiteY380" fmla="*/ 102855 h 409332"/>
                <a:gd name="connsiteX381" fmla="*/ 67612 w 353578"/>
                <a:gd name="connsiteY381" fmla="*/ 104307 h 409332"/>
                <a:gd name="connsiteX382" fmla="*/ 68156 w 353578"/>
                <a:gd name="connsiteY382" fmla="*/ 105305 h 409332"/>
                <a:gd name="connsiteX383" fmla="*/ 68156 w 353578"/>
                <a:gd name="connsiteY383" fmla="*/ 106152 h 409332"/>
                <a:gd name="connsiteX384" fmla="*/ 65827 w 353578"/>
                <a:gd name="connsiteY384" fmla="*/ 106606 h 409332"/>
                <a:gd name="connsiteX385" fmla="*/ 66734 w 353578"/>
                <a:gd name="connsiteY385" fmla="*/ 109631 h 409332"/>
                <a:gd name="connsiteX386" fmla="*/ 69064 w 353578"/>
                <a:gd name="connsiteY386" fmla="*/ 113262 h 409332"/>
                <a:gd name="connsiteX387" fmla="*/ 75598 w 353578"/>
                <a:gd name="connsiteY387" fmla="*/ 121218 h 409332"/>
                <a:gd name="connsiteX388" fmla="*/ 78411 w 353578"/>
                <a:gd name="connsiteY388" fmla="*/ 123850 h 409332"/>
                <a:gd name="connsiteX389" fmla="*/ 81558 w 353578"/>
                <a:gd name="connsiteY389" fmla="*/ 124969 h 409332"/>
                <a:gd name="connsiteX390" fmla="*/ 81679 w 353578"/>
                <a:gd name="connsiteY390" fmla="*/ 125362 h 409332"/>
                <a:gd name="connsiteX391" fmla="*/ 81860 w 353578"/>
                <a:gd name="connsiteY391" fmla="*/ 126118 h 409332"/>
                <a:gd name="connsiteX392" fmla="*/ 82314 w 353578"/>
                <a:gd name="connsiteY392" fmla="*/ 127843 h 409332"/>
                <a:gd name="connsiteX393" fmla="*/ 82647 w 353578"/>
                <a:gd name="connsiteY393" fmla="*/ 128690 h 409332"/>
                <a:gd name="connsiteX394" fmla="*/ 82768 w 353578"/>
                <a:gd name="connsiteY394" fmla="*/ 129204 h 409332"/>
                <a:gd name="connsiteX395" fmla="*/ 82738 w 353578"/>
                <a:gd name="connsiteY395" fmla="*/ 130444 h 409332"/>
                <a:gd name="connsiteX396" fmla="*/ 82949 w 353578"/>
                <a:gd name="connsiteY396" fmla="*/ 131049 h 409332"/>
                <a:gd name="connsiteX397" fmla="*/ 83342 w 353578"/>
                <a:gd name="connsiteY397" fmla="*/ 131261 h 409332"/>
                <a:gd name="connsiteX398" fmla="*/ 84431 w 353578"/>
                <a:gd name="connsiteY398" fmla="*/ 131412 h 409332"/>
                <a:gd name="connsiteX399" fmla="*/ 84704 w 353578"/>
                <a:gd name="connsiteY399" fmla="*/ 131503 h 409332"/>
                <a:gd name="connsiteX400" fmla="*/ 85430 w 353578"/>
                <a:gd name="connsiteY400" fmla="*/ 135164 h 409332"/>
                <a:gd name="connsiteX401" fmla="*/ 86065 w 353578"/>
                <a:gd name="connsiteY401" fmla="*/ 137160 h 409332"/>
                <a:gd name="connsiteX402" fmla="*/ 87124 w 353578"/>
                <a:gd name="connsiteY402" fmla="*/ 138037 h 409332"/>
                <a:gd name="connsiteX403" fmla="*/ 88032 w 353578"/>
                <a:gd name="connsiteY403" fmla="*/ 138158 h 409332"/>
                <a:gd name="connsiteX404" fmla="*/ 88516 w 353578"/>
                <a:gd name="connsiteY404" fmla="*/ 138461 h 409332"/>
                <a:gd name="connsiteX405" fmla="*/ 88909 w 353578"/>
                <a:gd name="connsiteY405" fmla="*/ 138794 h 409332"/>
                <a:gd name="connsiteX406" fmla="*/ 89514 w 353578"/>
                <a:gd name="connsiteY406" fmla="*/ 139035 h 409332"/>
                <a:gd name="connsiteX407" fmla="*/ 92085 w 353578"/>
                <a:gd name="connsiteY407" fmla="*/ 139126 h 409332"/>
                <a:gd name="connsiteX408" fmla="*/ 92267 w 353578"/>
                <a:gd name="connsiteY408" fmla="*/ 139035 h 409332"/>
                <a:gd name="connsiteX409" fmla="*/ 93598 w 353578"/>
                <a:gd name="connsiteY409" fmla="*/ 139550 h 409332"/>
                <a:gd name="connsiteX410" fmla="*/ 95141 w 353578"/>
                <a:gd name="connsiteY410" fmla="*/ 140367 h 409332"/>
                <a:gd name="connsiteX411" fmla="*/ 96411 w 353578"/>
                <a:gd name="connsiteY411" fmla="*/ 141456 h 409332"/>
                <a:gd name="connsiteX412" fmla="*/ 97137 w 353578"/>
                <a:gd name="connsiteY412" fmla="*/ 142787 h 409332"/>
                <a:gd name="connsiteX413" fmla="*/ 96290 w 353578"/>
                <a:gd name="connsiteY413" fmla="*/ 143392 h 409332"/>
                <a:gd name="connsiteX414" fmla="*/ 95745 w 353578"/>
                <a:gd name="connsiteY414" fmla="*/ 144451 h 409332"/>
                <a:gd name="connsiteX415" fmla="*/ 95382 w 353578"/>
                <a:gd name="connsiteY415" fmla="*/ 145842 h 409332"/>
                <a:gd name="connsiteX416" fmla="*/ 95050 w 353578"/>
                <a:gd name="connsiteY416" fmla="*/ 147445 h 409332"/>
                <a:gd name="connsiteX417" fmla="*/ 96865 w 353578"/>
                <a:gd name="connsiteY417" fmla="*/ 148867 h 409332"/>
                <a:gd name="connsiteX418" fmla="*/ 96048 w 353578"/>
                <a:gd name="connsiteY418" fmla="*/ 153072 h 409332"/>
                <a:gd name="connsiteX419" fmla="*/ 97470 w 353578"/>
                <a:gd name="connsiteY419" fmla="*/ 153950 h 409332"/>
                <a:gd name="connsiteX420" fmla="*/ 97712 w 353578"/>
                <a:gd name="connsiteY420" fmla="*/ 154161 h 409332"/>
                <a:gd name="connsiteX421" fmla="*/ 98831 w 353578"/>
                <a:gd name="connsiteY421" fmla="*/ 155039 h 409332"/>
                <a:gd name="connsiteX422" fmla="*/ 101251 w 353578"/>
                <a:gd name="connsiteY422" fmla="*/ 160393 h 409332"/>
                <a:gd name="connsiteX423" fmla="*/ 102552 w 353578"/>
                <a:gd name="connsiteY423" fmla="*/ 162420 h 409332"/>
                <a:gd name="connsiteX424" fmla="*/ 103339 w 353578"/>
                <a:gd name="connsiteY424" fmla="*/ 162783 h 409332"/>
                <a:gd name="connsiteX425" fmla="*/ 106061 w 353578"/>
                <a:gd name="connsiteY425" fmla="*/ 163358 h 409332"/>
                <a:gd name="connsiteX426" fmla="*/ 107120 w 353578"/>
                <a:gd name="connsiteY426" fmla="*/ 163963 h 409332"/>
                <a:gd name="connsiteX427" fmla="*/ 107876 w 353578"/>
                <a:gd name="connsiteY427" fmla="*/ 164568 h 409332"/>
                <a:gd name="connsiteX428" fmla="*/ 108663 w 353578"/>
                <a:gd name="connsiteY428" fmla="*/ 165022 h 409332"/>
                <a:gd name="connsiteX429" fmla="*/ 111204 w 353578"/>
                <a:gd name="connsiteY429" fmla="*/ 165596 h 409332"/>
                <a:gd name="connsiteX430" fmla="*/ 112263 w 353578"/>
                <a:gd name="connsiteY430" fmla="*/ 166655 h 409332"/>
                <a:gd name="connsiteX431" fmla="*/ 114290 w 353578"/>
                <a:gd name="connsiteY431" fmla="*/ 169922 h 409332"/>
                <a:gd name="connsiteX432" fmla="*/ 114169 w 353578"/>
                <a:gd name="connsiteY432" fmla="*/ 171647 h 409332"/>
                <a:gd name="connsiteX433" fmla="*/ 115258 w 353578"/>
                <a:gd name="connsiteY433" fmla="*/ 173341 h 409332"/>
                <a:gd name="connsiteX434" fmla="*/ 117769 w 353578"/>
                <a:gd name="connsiteY434" fmla="*/ 176336 h 409332"/>
                <a:gd name="connsiteX435" fmla="*/ 119009 w 353578"/>
                <a:gd name="connsiteY435" fmla="*/ 180057 h 409332"/>
                <a:gd name="connsiteX436" fmla="*/ 119160 w 353578"/>
                <a:gd name="connsiteY436" fmla="*/ 180147 h 409332"/>
                <a:gd name="connsiteX437" fmla="*/ 119433 w 353578"/>
                <a:gd name="connsiteY437" fmla="*/ 181206 h 409332"/>
                <a:gd name="connsiteX438" fmla="*/ 119735 w 353578"/>
                <a:gd name="connsiteY438" fmla="*/ 182023 h 409332"/>
                <a:gd name="connsiteX439" fmla="*/ 119553 w 353578"/>
                <a:gd name="connsiteY439" fmla="*/ 182598 h 409332"/>
                <a:gd name="connsiteX440" fmla="*/ 118434 w 353578"/>
                <a:gd name="connsiteY440" fmla="*/ 182930 h 409332"/>
                <a:gd name="connsiteX441" fmla="*/ 119614 w 353578"/>
                <a:gd name="connsiteY441" fmla="*/ 184443 h 409332"/>
                <a:gd name="connsiteX442" fmla="*/ 123970 w 353578"/>
                <a:gd name="connsiteY442" fmla="*/ 186621 h 409332"/>
                <a:gd name="connsiteX443" fmla="*/ 123970 w 353578"/>
                <a:gd name="connsiteY443" fmla="*/ 187559 h 409332"/>
                <a:gd name="connsiteX444" fmla="*/ 123365 w 353578"/>
                <a:gd name="connsiteY444" fmla="*/ 188557 h 409332"/>
                <a:gd name="connsiteX445" fmla="*/ 123819 w 353578"/>
                <a:gd name="connsiteY445" fmla="*/ 188950 h 409332"/>
                <a:gd name="connsiteX446" fmla="*/ 124787 w 353578"/>
                <a:gd name="connsiteY446" fmla="*/ 189223 h 409332"/>
                <a:gd name="connsiteX447" fmla="*/ 125725 w 353578"/>
                <a:gd name="connsiteY447" fmla="*/ 189888 h 409332"/>
                <a:gd name="connsiteX448" fmla="*/ 128780 w 353578"/>
                <a:gd name="connsiteY448" fmla="*/ 193004 h 409332"/>
                <a:gd name="connsiteX449" fmla="*/ 131624 w 353578"/>
                <a:gd name="connsiteY449" fmla="*/ 194728 h 409332"/>
                <a:gd name="connsiteX450" fmla="*/ 132894 w 353578"/>
                <a:gd name="connsiteY450" fmla="*/ 195787 h 409332"/>
                <a:gd name="connsiteX451" fmla="*/ 132925 w 353578"/>
                <a:gd name="connsiteY451" fmla="*/ 197754 h 409332"/>
                <a:gd name="connsiteX452" fmla="*/ 135375 w 353578"/>
                <a:gd name="connsiteY452" fmla="*/ 198177 h 409332"/>
                <a:gd name="connsiteX453" fmla="*/ 137734 w 353578"/>
                <a:gd name="connsiteY453" fmla="*/ 199538 h 409332"/>
                <a:gd name="connsiteX454" fmla="*/ 139913 w 353578"/>
                <a:gd name="connsiteY454" fmla="*/ 200507 h 409332"/>
                <a:gd name="connsiteX455" fmla="*/ 141909 w 353578"/>
                <a:gd name="connsiteY455" fmla="*/ 199569 h 409332"/>
                <a:gd name="connsiteX456" fmla="*/ 142817 w 353578"/>
                <a:gd name="connsiteY456" fmla="*/ 201807 h 409332"/>
                <a:gd name="connsiteX457" fmla="*/ 142908 w 353578"/>
                <a:gd name="connsiteY457" fmla="*/ 201959 h 409332"/>
                <a:gd name="connsiteX458" fmla="*/ 146023 w 353578"/>
                <a:gd name="connsiteY458" fmla="*/ 205619 h 409332"/>
                <a:gd name="connsiteX459" fmla="*/ 147415 w 353578"/>
                <a:gd name="connsiteY459" fmla="*/ 207918 h 409332"/>
                <a:gd name="connsiteX460" fmla="*/ 149382 w 353578"/>
                <a:gd name="connsiteY460" fmla="*/ 212819 h 409332"/>
                <a:gd name="connsiteX461" fmla="*/ 149654 w 353578"/>
                <a:gd name="connsiteY461" fmla="*/ 214846 h 409332"/>
                <a:gd name="connsiteX462" fmla="*/ 149714 w 353578"/>
                <a:gd name="connsiteY462" fmla="*/ 215178 h 409332"/>
                <a:gd name="connsiteX463" fmla="*/ 148837 w 353578"/>
                <a:gd name="connsiteY463" fmla="*/ 217236 h 409332"/>
                <a:gd name="connsiteX464" fmla="*/ 150501 w 353578"/>
                <a:gd name="connsiteY464" fmla="*/ 218294 h 409332"/>
                <a:gd name="connsiteX465" fmla="*/ 150591 w 353578"/>
                <a:gd name="connsiteY465" fmla="*/ 219837 h 409332"/>
                <a:gd name="connsiteX466" fmla="*/ 150471 w 353578"/>
                <a:gd name="connsiteY466" fmla="*/ 221440 h 409332"/>
                <a:gd name="connsiteX467" fmla="*/ 151590 w 353578"/>
                <a:gd name="connsiteY467" fmla="*/ 222772 h 409332"/>
                <a:gd name="connsiteX468" fmla="*/ 151590 w 353578"/>
                <a:gd name="connsiteY468" fmla="*/ 223770 h 409332"/>
                <a:gd name="connsiteX469" fmla="*/ 151438 w 353578"/>
                <a:gd name="connsiteY469" fmla="*/ 225373 h 409332"/>
                <a:gd name="connsiteX470" fmla="*/ 151317 w 353578"/>
                <a:gd name="connsiteY470" fmla="*/ 226462 h 409332"/>
                <a:gd name="connsiteX471" fmla="*/ 152951 w 353578"/>
                <a:gd name="connsiteY471" fmla="*/ 230244 h 409332"/>
                <a:gd name="connsiteX472" fmla="*/ 157005 w 353578"/>
                <a:gd name="connsiteY472" fmla="*/ 236657 h 409332"/>
                <a:gd name="connsiteX473" fmla="*/ 157005 w 353578"/>
                <a:gd name="connsiteY473" fmla="*/ 239168 h 409332"/>
                <a:gd name="connsiteX474" fmla="*/ 162632 w 353578"/>
                <a:gd name="connsiteY474" fmla="*/ 249605 h 409332"/>
                <a:gd name="connsiteX475" fmla="*/ 163660 w 353578"/>
                <a:gd name="connsiteY475" fmla="*/ 253235 h 409332"/>
                <a:gd name="connsiteX476" fmla="*/ 163751 w 353578"/>
                <a:gd name="connsiteY476" fmla="*/ 253779 h 409332"/>
                <a:gd name="connsiteX477" fmla="*/ 163993 w 353578"/>
                <a:gd name="connsiteY477" fmla="*/ 255201 h 409332"/>
                <a:gd name="connsiteX478" fmla="*/ 163963 w 353578"/>
                <a:gd name="connsiteY478" fmla="*/ 257016 h 409332"/>
                <a:gd name="connsiteX479" fmla="*/ 163297 w 353578"/>
                <a:gd name="connsiteY479" fmla="*/ 258498 h 409332"/>
                <a:gd name="connsiteX480" fmla="*/ 162269 w 353578"/>
                <a:gd name="connsiteY480" fmla="*/ 260162 h 409332"/>
                <a:gd name="connsiteX481" fmla="*/ 161785 w 353578"/>
                <a:gd name="connsiteY481" fmla="*/ 262068 h 409332"/>
                <a:gd name="connsiteX482" fmla="*/ 162632 w 353578"/>
                <a:gd name="connsiteY482" fmla="*/ 264276 h 409332"/>
                <a:gd name="connsiteX483" fmla="*/ 161724 w 353578"/>
                <a:gd name="connsiteY483" fmla="*/ 264882 h 409332"/>
                <a:gd name="connsiteX484" fmla="*/ 161331 w 353578"/>
                <a:gd name="connsiteY484" fmla="*/ 265880 h 409332"/>
                <a:gd name="connsiteX485" fmla="*/ 161149 w 353578"/>
                <a:gd name="connsiteY485" fmla="*/ 270932 h 409332"/>
                <a:gd name="connsiteX486" fmla="*/ 161331 w 353578"/>
                <a:gd name="connsiteY486" fmla="*/ 271991 h 409332"/>
                <a:gd name="connsiteX487" fmla="*/ 162632 w 353578"/>
                <a:gd name="connsiteY487" fmla="*/ 274350 h 409332"/>
                <a:gd name="connsiteX488" fmla="*/ 163055 w 353578"/>
                <a:gd name="connsiteY488" fmla="*/ 274683 h 409332"/>
                <a:gd name="connsiteX489" fmla="*/ 163478 w 353578"/>
                <a:gd name="connsiteY489" fmla="*/ 274562 h 409332"/>
                <a:gd name="connsiteX490" fmla="*/ 163841 w 353578"/>
                <a:gd name="connsiteY490" fmla="*/ 274713 h 409332"/>
                <a:gd name="connsiteX491" fmla="*/ 163963 w 353578"/>
                <a:gd name="connsiteY491" fmla="*/ 275802 h 409332"/>
                <a:gd name="connsiteX492" fmla="*/ 163963 w 353578"/>
                <a:gd name="connsiteY492" fmla="*/ 279977 h 409332"/>
                <a:gd name="connsiteX493" fmla="*/ 163841 w 353578"/>
                <a:gd name="connsiteY493" fmla="*/ 281096 h 409332"/>
                <a:gd name="connsiteX494" fmla="*/ 163267 w 353578"/>
                <a:gd name="connsiteY494" fmla="*/ 282095 h 409332"/>
                <a:gd name="connsiteX495" fmla="*/ 161845 w 353578"/>
                <a:gd name="connsiteY495" fmla="*/ 282760 h 409332"/>
                <a:gd name="connsiteX496" fmla="*/ 162571 w 353578"/>
                <a:gd name="connsiteY496" fmla="*/ 284575 h 409332"/>
                <a:gd name="connsiteX497" fmla="*/ 162087 w 353578"/>
                <a:gd name="connsiteY497" fmla="*/ 285332 h 409332"/>
                <a:gd name="connsiteX498" fmla="*/ 161905 w 353578"/>
                <a:gd name="connsiteY498" fmla="*/ 285422 h 409332"/>
                <a:gd name="connsiteX499" fmla="*/ 161179 w 353578"/>
                <a:gd name="connsiteY499" fmla="*/ 285725 h 409332"/>
                <a:gd name="connsiteX500" fmla="*/ 160514 w 353578"/>
                <a:gd name="connsiteY500" fmla="*/ 286330 h 409332"/>
                <a:gd name="connsiteX501" fmla="*/ 159939 w 353578"/>
                <a:gd name="connsiteY501" fmla="*/ 290414 h 409332"/>
                <a:gd name="connsiteX502" fmla="*/ 159455 w 353578"/>
                <a:gd name="connsiteY502" fmla="*/ 290989 h 409332"/>
                <a:gd name="connsiteX503" fmla="*/ 158245 w 353578"/>
                <a:gd name="connsiteY503" fmla="*/ 291382 h 409332"/>
                <a:gd name="connsiteX504" fmla="*/ 158003 w 353578"/>
                <a:gd name="connsiteY504" fmla="*/ 292350 h 409332"/>
                <a:gd name="connsiteX505" fmla="*/ 158396 w 353578"/>
                <a:gd name="connsiteY505" fmla="*/ 295042 h 409332"/>
                <a:gd name="connsiteX506" fmla="*/ 158487 w 353578"/>
                <a:gd name="connsiteY506" fmla="*/ 296706 h 409332"/>
                <a:gd name="connsiteX507" fmla="*/ 158336 w 353578"/>
                <a:gd name="connsiteY507" fmla="*/ 297160 h 409332"/>
                <a:gd name="connsiteX508" fmla="*/ 156975 w 353578"/>
                <a:gd name="connsiteY508" fmla="*/ 299913 h 409332"/>
                <a:gd name="connsiteX509" fmla="*/ 155765 w 353578"/>
                <a:gd name="connsiteY509" fmla="*/ 301002 h 409332"/>
                <a:gd name="connsiteX510" fmla="*/ 154827 w 353578"/>
                <a:gd name="connsiteY510" fmla="*/ 301486 h 409332"/>
                <a:gd name="connsiteX511" fmla="*/ 153677 w 353578"/>
                <a:gd name="connsiteY511" fmla="*/ 301819 h 409332"/>
                <a:gd name="connsiteX512" fmla="*/ 152709 w 353578"/>
                <a:gd name="connsiteY512" fmla="*/ 302303 h 409332"/>
                <a:gd name="connsiteX513" fmla="*/ 152286 w 353578"/>
                <a:gd name="connsiteY513" fmla="*/ 303240 h 409332"/>
                <a:gd name="connsiteX514" fmla="*/ 152618 w 353578"/>
                <a:gd name="connsiteY514" fmla="*/ 305479 h 409332"/>
                <a:gd name="connsiteX515" fmla="*/ 152376 w 353578"/>
                <a:gd name="connsiteY515" fmla="*/ 306235 h 409332"/>
                <a:gd name="connsiteX516" fmla="*/ 151257 w 353578"/>
                <a:gd name="connsiteY516" fmla="*/ 306508 h 409332"/>
                <a:gd name="connsiteX517" fmla="*/ 150047 w 353578"/>
                <a:gd name="connsiteY517" fmla="*/ 306992 h 409332"/>
                <a:gd name="connsiteX518" fmla="*/ 150259 w 353578"/>
                <a:gd name="connsiteY518" fmla="*/ 308141 h 409332"/>
                <a:gd name="connsiteX519" fmla="*/ 152104 w 353578"/>
                <a:gd name="connsiteY519" fmla="*/ 310924 h 409332"/>
                <a:gd name="connsiteX520" fmla="*/ 152739 w 353578"/>
                <a:gd name="connsiteY520" fmla="*/ 311711 h 409332"/>
                <a:gd name="connsiteX521" fmla="*/ 153344 w 353578"/>
                <a:gd name="connsiteY521" fmla="*/ 312618 h 409332"/>
                <a:gd name="connsiteX522" fmla="*/ 153647 w 353578"/>
                <a:gd name="connsiteY522" fmla="*/ 313768 h 409332"/>
                <a:gd name="connsiteX523" fmla="*/ 152497 w 353578"/>
                <a:gd name="connsiteY523" fmla="*/ 316884 h 409332"/>
                <a:gd name="connsiteX524" fmla="*/ 151892 w 353578"/>
                <a:gd name="connsiteY524" fmla="*/ 320151 h 409332"/>
                <a:gd name="connsiteX525" fmla="*/ 150228 w 353578"/>
                <a:gd name="connsiteY525" fmla="*/ 324659 h 409332"/>
                <a:gd name="connsiteX526" fmla="*/ 149956 w 353578"/>
                <a:gd name="connsiteY526" fmla="*/ 325385 h 409332"/>
                <a:gd name="connsiteX527" fmla="*/ 149230 w 353578"/>
                <a:gd name="connsiteY527" fmla="*/ 327260 h 409332"/>
                <a:gd name="connsiteX528" fmla="*/ 148413 w 353578"/>
                <a:gd name="connsiteY528" fmla="*/ 327744 h 409332"/>
                <a:gd name="connsiteX529" fmla="*/ 148171 w 353578"/>
                <a:gd name="connsiteY529" fmla="*/ 328410 h 409332"/>
                <a:gd name="connsiteX530" fmla="*/ 148202 w 353578"/>
                <a:gd name="connsiteY530" fmla="*/ 329136 h 409332"/>
                <a:gd name="connsiteX531" fmla="*/ 148807 w 353578"/>
                <a:gd name="connsiteY531" fmla="*/ 329529 h 409332"/>
                <a:gd name="connsiteX532" fmla="*/ 148837 w 353578"/>
                <a:gd name="connsiteY532" fmla="*/ 330225 h 409332"/>
                <a:gd name="connsiteX533" fmla="*/ 147596 w 353578"/>
                <a:gd name="connsiteY533" fmla="*/ 334883 h 409332"/>
                <a:gd name="connsiteX534" fmla="*/ 147415 w 353578"/>
                <a:gd name="connsiteY534" fmla="*/ 336214 h 409332"/>
                <a:gd name="connsiteX535" fmla="*/ 147748 w 353578"/>
                <a:gd name="connsiteY535" fmla="*/ 338090 h 409332"/>
                <a:gd name="connsiteX536" fmla="*/ 150228 w 353578"/>
                <a:gd name="connsiteY536" fmla="*/ 344745 h 409332"/>
                <a:gd name="connsiteX537" fmla="*/ 150410 w 353578"/>
                <a:gd name="connsiteY537" fmla="*/ 346228 h 409332"/>
                <a:gd name="connsiteX538" fmla="*/ 150652 w 353578"/>
                <a:gd name="connsiteY538" fmla="*/ 347044 h 409332"/>
                <a:gd name="connsiteX539" fmla="*/ 151257 w 353578"/>
                <a:gd name="connsiteY539" fmla="*/ 347952 h 409332"/>
                <a:gd name="connsiteX540" fmla="*/ 151650 w 353578"/>
                <a:gd name="connsiteY540" fmla="*/ 349011 h 409332"/>
                <a:gd name="connsiteX541" fmla="*/ 151438 w 353578"/>
                <a:gd name="connsiteY541" fmla="*/ 350009 h 409332"/>
                <a:gd name="connsiteX542" fmla="*/ 151045 w 353578"/>
                <a:gd name="connsiteY542" fmla="*/ 351038 h 409332"/>
                <a:gd name="connsiteX543" fmla="*/ 150894 w 353578"/>
                <a:gd name="connsiteY543" fmla="*/ 352066 h 409332"/>
                <a:gd name="connsiteX544" fmla="*/ 151197 w 353578"/>
                <a:gd name="connsiteY544" fmla="*/ 353064 h 409332"/>
                <a:gd name="connsiteX545" fmla="*/ 152074 w 353578"/>
                <a:gd name="connsiteY545" fmla="*/ 354759 h 409332"/>
                <a:gd name="connsiteX546" fmla="*/ 152286 w 353578"/>
                <a:gd name="connsiteY546" fmla="*/ 355243 h 409332"/>
                <a:gd name="connsiteX547" fmla="*/ 151983 w 353578"/>
                <a:gd name="connsiteY547" fmla="*/ 355908 h 409332"/>
                <a:gd name="connsiteX548" fmla="*/ 150652 w 353578"/>
                <a:gd name="connsiteY548" fmla="*/ 356786 h 409332"/>
                <a:gd name="connsiteX549" fmla="*/ 150228 w 353578"/>
                <a:gd name="connsiteY549" fmla="*/ 357512 h 409332"/>
                <a:gd name="connsiteX550" fmla="*/ 150471 w 353578"/>
                <a:gd name="connsiteY550" fmla="*/ 361353 h 409332"/>
                <a:gd name="connsiteX551" fmla="*/ 152074 w 353578"/>
                <a:gd name="connsiteY551" fmla="*/ 365377 h 409332"/>
                <a:gd name="connsiteX552" fmla="*/ 153828 w 353578"/>
                <a:gd name="connsiteY552" fmla="*/ 368523 h 409332"/>
                <a:gd name="connsiteX553" fmla="*/ 154676 w 353578"/>
                <a:gd name="connsiteY553" fmla="*/ 369763 h 409332"/>
                <a:gd name="connsiteX554" fmla="*/ 155553 w 353578"/>
                <a:gd name="connsiteY554" fmla="*/ 383013 h 409332"/>
                <a:gd name="connsiteX555" fmla="*/ 155371 w 353578"/>
                <a:gd name="connsiteY555" fmla="*/ 385131 h 409332"/>
                <a:gd name="connsiteX556" fmla="*/ 155976 w 353578"/>
                <a:gd name="connsiteY556" fmla="*/ 386855 h 409332"/>
                <a:gd name="connsiteX557" fmla="*/ 154554 w 353578"/>
                <a:gd name="connsiteY557" fmla="*/ 387521 h 409332"/>
                <a:gd name="connsiteX558" fmla="*/ 151257 w 353578"/>
                <a:gd name="connsiteY558" fmla="*/ 387491 h 409332"/>
                <a:gd name="connsiteX559" fmla="*/ 149926 w 353578"/>
                <a:gd name="connsiteY559" fmla="*/ 387914 h 409332"/>
                <a:gd name="connsiteX560" fmla="*/ 148262 w 353578"/>
                <a:gd name="connsiteY560" fmla="*/ 389033 h 409332"/>
                <a:gd name="connsiteX561" fmla="*/ 146629 w 353578"/>
                <a:gd name="connsiteY561" fmla="*/ 390516 h 409332"/>
                <a:gd name="connsiteX562" fmla="*/ 145358 w 353578"/>
                <a:gd name="connsiteY562" fmla="*/ 391998 h 409332"/>
                <a:gd name="connsiteX563" fmla="*/ 150954 w 353578"/>
                <a:gd name="connsiteY563" fmla="*/ 394721 h 409332"/>
                <a:gd name="connsiteX564" fmla="*/ 153284 w 353578"/>
                <a:gd name="connsiteY564" fmla="*/ 396385 h 409332"/>
                <a:gd name="connsiteX565" fmla="*/ 154978 w 353578"/>
                <a:gd name="connsiteY565" fmla="*/ 399198 h 409332"/>
                <a:gd name="connsiteX566" fmla="*/ 155341 w 353578"/>
                <a:gd name="connsiteY566" fmla="*/ 399984 h 409332"/>
                <a:gd name="connsiteX567" fmla="*/ 155613 w 353578"/>
                <a:gd name="connsiteY567" fmla="*/ 400287 h 409332"/>
                <a:gd name="connsiteX568" fmla="*/ 155734 w 353578"/>
                <a:gd name="connsiteY568" fmla="*/ 400590 h 409332"/>
                <a:gd name="connsiteX569" fmla="*/ 155795 w 353578"/>
                <a:gd name="connsiteY569" fmla="*/ 405006 h 409332"/>
                <a:gd name="connsiteX570" fmla="*/ 156491 w 353578"/>
                <a:gd name="connsiteY570" fmla="*/ 406367 h 409332"/>
                <a:gd name="connsiteX571" fmla="*/ 159153 w 353578"/>
                <a:gd name="connsiteY571" fmla="*/ 409332 h 409332"/>
                <a:gd name="connsiteX572" fmla="*/ 159364 w 353578"/>
                <a:gd name="connsiteY572" fmla="*/ 408425 h 409332"/>
                <a:gd name="connsiteX573" fmla="*/ 160060 w 353578"/>
                <a:gd name="connsiteY573" fmla="*/ 406761 h 409332"/>
                <a:gd name="connsiteX574" fmla="*/ 160937 w 353578"/>
                <a:gd name="connsiteY574" fmla="*/ 405218 h 409332"/>
                <a:gd name="connsiteX575" fmla="*/ 160937 w 353578"/>
                <a:gd name="connsiteY575" fmla="*/ 405188 h 409332"/>
                <a:gd name="connsiteX576" fmla="*/ 166292 w 353578"/>
                <a:gd name="connsiteY576" fmla="*/ 401497 h 409332"/>
                <a:gd name="connsiteX577" fmla="*/ 173492 w 353578"/>
                <a:gd name="connsiteY577" fmla="*/ 402011 h 409332"/>
                <a:gd name="connsiteX578" fmla="*/ 181024 w 353578"/>
                <a:gd name="connsiteY578" fmla="*/ 403826 h 409332"/>
                <a:gd name="connsiteX579" fmla="*/ 187468 w 353578"/>
                <a:gd name="connsiteY579" fmla="*/ 404069 h 409332"/>
                <a:gd name="connsiteX580" fmla="*/ 189616 w 353578"/>
                <a:gd name="connsiteY580" fmla="*/ 403161 h 409332"/>
                <a:gd name="connsiteX581" fmla="*/ 190039 w 353578"/>
                <a:gd name="connsiteY581" fmla="*/ 401588 h 409332"/>
                <a:gd name="connsiteX582" fmla="*/ 189404 w 353578"/>
                <a:gd name="connsiteY582" fmla="*/ 397141 h 409332"/>
                <a:gd name="connsiteX583" fmla="*/ 189192 w 353578"/>
                <a:gd name="connsiteY583" fmla="*/ 396869 h 409332"/>
                <a:gd name="connsiteX584" fmla="*/ 189222 w 353578"/>
                <a:gd name="connsiteY584" fmla="*/ 396566 h 409332"/>
                <a:gd name="connsiteX585" fmla="*/ 189797 w 353578"/>
                <a:gd name="connsiteY585" fmla="*/ 395598 h 409332"/>
                <a:gd name="connsiteX586" fmla="*/ 189858 w 353578"/>
                <a:gd name="connsiteY586" fmla="*/ 395447 h 409332"/>
                <a:gd name="connsiteX587" fmla="*/ 190463 w 353578"/>
                <a:gd name="connsiteY587" fmla="*/ 394963 h 409332"/>
                <a:gd name="connsiteX588" fmla="*/ 193125 w 353578"/>
                <a:gd name="connsiteY588" fmla="*/ 393783 h 409332"/>
                <a:gd name="connsiteX589" fmla="*/ 191734 w 353578"/>
                <a:gd name="connsiteY589" fmla="*/ 392028 h 409332"/>
                <a:gd name="connsiteX590" fmla="*/ 191310 w 353578"/>
                <a:gd name="connsiteY590" fmla="*/ 390213 h 409332"/>
                <a:gd name="connsiteX591" fmla="*/ 191098 w 353578"/>
                <a:gd name="connsiteY591" fmla="*/ 388368 h 409332"/>
                <a:gd name="connsiteX592" fmla="*/ 190554 w 353578"/>
                <a:gd name="connsiteY592" fmla="*/ 386492 h 409332"/>
                <a:gd name="connsiteX593" fmla="*/ 189253 w 353578"/>
                <a:gd name="connsiteY593" fmla="*/ 385282 h 409332"/>
                <a:gd name="connsiteX594" fmla="*/ 187680 w 353578"/>
                <a:gd name="connsiteY594" fmla="*/ 384435 h 409332"/>
                <a:gd name="connsiteX595" fmla="*/ 186803 w 353578"/>
                <a:gd name="connsiteY595" fmla="*/ 383497 h 409332"/>
                <a:gd name="connsiteX596" fmla="*/ 187468 w 353578"/>
                <a:gd name="connsiteY596" fmla="*/ 381955 h 409332"/>
                <a:gd name="connsiteX597" fmla="*/ 189828 w 353578"/>
                <a:gd name="connsiteY597" fmla="*/ 378778 h 409332"/>
                <a:gd name="connsiteX598" fmla="*/ 190947 w 353578"/>
                <a:gd name="connsiteY598" fmla="*/ 377659 h 409332"/>
                <a:gd name="connsiteX599" fmla="*/ 192671 w 353578"/>
                <a:gd name="connsiteY599" fmla="*/ 376600 h 409332"/>
                <a:gd name="connsiteX600" fmla="*/ 195575 w 353578"/>
                <a:gd name="connsiteY600" fmla="*/ 375723 h 409332"/>
                <a:gd name="connsiteX601" fmla="*/ 196211 w 353578"/>
                <a:gd name="connsiteY601" fmla="*/ 374664 h 409332"/>
                <a:gd name="connsiteX602" fmla="*/ 195787 w 353578"/>
                <a:gd name="connsiteY602" fmla="*/ 373242 h 409332"/>
                <a:gd name="connsiteX603" fmla="*/ 195515 w 353578"/>
                <a:gd name="connsiteY603" fmla="*/ 372214 h 409332"/>
                <a:gd name="connsiteX604" fmla="*/ 197118 w 353578"/>
                <a:gd name="connsiteY604" fmla="*/ 369733 h 409332"/>
                <a:gd name="connsiteX605" fmla="*/ 203864 w 353578"/>
                <a:gd name="connsiteY605" fmla="*/ 369128 h 409332"/>
                <a:gd name="connsiteX606" fmla="*/ 206496 w 353578"/>
                <a:gd name="connsiteY606" fmla="*/ 367706 h 409332"/>
                <a:gd name="connsiteX607" fmla="*/ 206829 w 353578"/>
                <a:gd name="connsiteY607" fmla="*/ 366436 h 409332"/>
                <a:gd name="connsiteX608" fmla="*/ 206708 w 353578"/>
                <a:gd name="connsiteY608" fmla="*/ 365074 h 409332"/>
                <a:gd name="connsiteX609" fmla="*/ 206436 w 353578"/>
                <a:gd name="connsiteY609" fmla="*/ 363864 h 409332"/>
                <a:gd name="connsiteX610" fmla="*/ 206496 w 353578"/>
                <a:gd name="connsiteY610" fmla="*/ 363108 h 409332"/>
                <a:gd name="connsiteX611" fmla="*/ 207253 w 353578"/>
                <a:gd name="connsiteY611" fmla="*/ 362503 h 409332"/>
                <a:gd name="connsiteX612" fmla="*/ 210187 w 353578"/>
                <a:gd name="connsiteY612" fmla="*/ 361898 h 409332"/>
                <a:gd name="connsiteX613" fmla="*/ 212093 w 353578"/>
                <a:gd name="connsiteY613" fmla="*/ 360869 h 409332"/>
                <a:gd name="connsiteX614" fmla="*/ 213363 w 353578"/>
                <a:gd name="connsiteY614" fmla="*/ 359720 h 409332"/>
                <a:gd name="connsiteX615" fmla="*/ 214059 w 353578"/>
                <a:gd name="connsiteY615" fmla="*/ 358026 h 409332"/>
                <a:gd name="connsiteX616" fmla="*/ 214210 w 353578"/>
                <a:gd name="connsiteY616" fmla="*/ 355333 h 409332"/>
                <a:gd name="connsiteX617" fmla="*/ 213787 w 353578"/>
                <a:gd name="connsiteY617" fmla="*/ 353125 h 409332"/>
                <a:gd name="connsiteX618" fmla="*/ 212395 w 353578"/>
                <a:gd name="connsiteY618" fmla="*/ 348527 h 409332"/>
                <a:gd name="connsiteX619" fmla="*/ 212456 w 353578"/>
                <a:gd name="connsiteY619" fmla="*/ 346318 h 409332"/>
                <a:gd name="connsiteX620" fmla="*/ 213575 w 353578"/>
                <a:gd name="connsiteY620" fmla="*/ 344382 h 409332"/>
                <a:gd name="connsiteX621" fmla="*/ 215299 w 353578"/>
                <a:gd name="connsiteY621" fmla="*/ 343324 h 409332"/>
                <a:gd name="connsiteX622" fmla="*/ 232875 w 353578"/>
                <a:gd name="connsiteY622" fmla="*/ 339088 h 409332"/>
                <a:gd name="connsiteX623" fmla="*/ 235356 w 353578"/>
                <a:gd name="connsiteY623" fmla="*/ 337999 h 409332"/>
                <a:gd name="connsiteX624" fmla="*/ 235598 w 353578"/>
                <a:gd name="connsiteY624" fmla="*/ 335367 h 409332"/>
                <a:gd name="connsiteX625" fmla="*/ 233813 w 353578"/>
                <a:gd name="connsiteY625" fmla="*/ 329589 h 409332"/>
                <a:gd name="connsiteX626" fmla="*/ 233541 w 353578"/>
                <a:gd name="connsiteY626" fmla="*/ 326292 h 409332"/>
                <a:gd name="connsiteX627" fmla="*/ 234327 w 353578"/>
                <a:gd name="connsiteY627" fmla="*/ 324205 h 409332"/>
                <a:gd name="connsiteX628" fmla="*/ 237806 w 353578"/>
                <a:gd name="connsiteY628" fmla="*/ 320605 h 409332"/>
                <a:gd name="connsiteX629" fmla="*/ 240075 w 353578"/>
                <a:gd name="connsiteY629" fmla="*/ 317005 h 409332"/>
                <a:gd name="connsiteX630" fmla="*/ 241255 w 353578"/>
                <a:gd name="connsiteY630" fmla="*/ 313859 h 409332"/>
                <a:gd name="connsiteX631" fmla="*/ 240710 w 353578"/>
                <a:gd name="connsiteY631" fmla="*/ 310955 h 409332"/>
                <a:gd name="connsiteX632" fmla="*/ 238139 w 353578"/>
                <a:gd name="connsiteY632" fmla="*/ 308716 h 409332"/>
                <a:gd name="connsiteX633" fmla="*/ 234751 w 353578"/>
                <a:gd name="connsiteY633" fmla="*/ 305781 h 409332"/>
                <a:gd name="connsiteX634" fmla="*/ 234751 w 353578"/>
                <a:gd name="connsiteY634" fmla="*/ 305781 h 409332"/>
                <a:gd name="connsiteX635" fmla="*/ 233027 w 353578"/>
                <a:gd name="connsiteY635" fmla="*/ 303694 h 409332"/>
                <a:gd name="connsiteX636" fmla="*/ 232966 w 353578"/>
                <a:gd name="connsiteY636" fmla="*/ 301849 h 409332"/>
                <a:gd name="connsiteX637" fmla="*/ 233662 w 353578"/>
                <a:gd name="connsiteY637" fmla="*/ 299943 h 409332"/>
                <a:gd name="connsiteX638" fmla="*/ 234267 w 353578"/>
                <a:gd name="connsiteY638" fmla="*/ 297523 h 409332"/>
                <a:gd name="connsiteX639" fmla="*/ 234176 w 353578"/>
                <a:gd name="connsiteY639" fmla="*/ 295405 h 409332"/>
                <a:gd name="connsiteX640" fmla="*/ 232422 w 353578"/>
                <a:gd name="connsiteY640" fmla="*/ 289113 h 409332"/>
                <a:gd name="connsiteX641" fmla="*/ 231605 w 353578"/>
                <a:gd name="connsiteY641" fmla="*/ 284182 h 409332"/>
                <a:gd name="connsiteX642" fmla="*/ 232210 w 353578"/>
                <a:gd name="connsiteY642" fmla="*/ 280431 h 409332"/>
                <a:gd name="connsiteX643" fmla="*/ 234267 w 353578"/>
                <a:gd name="connsiteY643" fmla="*/ 277496 h 409332"/>
                <a:gd name="connsiteX644" fmla="*/ 241769 w 353578"/>
                <a:gd name="connsiteY644" fmla="*/ 272838 h 409332"/>
                <a:gd name="connsiteX645" fmla="*/ 245339 w 353578"/>
                <a:gd name="connsiteY645" fmla="*/ 271567 h 409332"/>
                <a:gd name="connsiteX646" fmla="*/ 247245 w 353578"/>
                <a:gd name="connsiteY646" fmla="*/ 270932 h 409332"/>
                <a:gd name="connsiteX647" fmla="*/ 256078 w 353578"/>
                <a:gd name="connsiteY647" fmla="*/ 266303 h 409332"/>
                <a:gd name="connsiteX648" fmla="*/ 258256 w 353578"/>
                <a:gd name="connsiteY648" fmla="*/ 266303 h 409332"/>
                <a:gd name="connsiteX649" fmla="*/ 259860 w 353578"/>
                <a:gd name="connsiteY649" fmla="*/ 268209 h 409332"/>
                <a:gd name="connsiteX650" fmla="*/ 260525 w 353578"/>
                <a:gd name="connsiteY650" fmla="*/ 271083 h 409332"/>
                <a:gd name="connsiteX651" fmla="*/ 260616 w 353578"/>
                <a:gd name="connsiteY651" fmla="*/ 282427 h 409332"/>
                <a:gd name="connsiteX652" fmla="*/ 260434 w 353578"/>
                <a:gd name="connsiteY652" fmla="*/ 284000 h 409332"/>
                <a:gd name="connsiteX653" fmla="*/ 259769 w 353578"/>
                <a:gd name="connsiteY653" fmla="*/ 285301 h 409332"/>
                <a:gd name="connsiteX654" fmla="*/ 258861 w 353578"/>
                <a:gd name="connsiteY654" fmla="*/ 286542 h 409332"/>
                <a:gd name="connsiteX655" fmla="*/ 258166 w 353578"/>
                <a:gd name="connsiteY655" fmla="*/ 287812 h 409332"/>
                <a:gd name="connsiteX656" fmla="*/ 258196 w 353578"/>
                <a:gd name="connsiteY656" fmla="*/ 289234 h 409332"/>
                <a:gd name="connsiteX657" fmla="*/ 259920 w 353578"/>
                <a:gd name="connsiteY657" fmla="*/ 290565 h 409332"/>
                <a:gd name="connsiteX658" fmla="*/ 262128 w 353578"/>
                <a:gd name="connsiteY658" fmla="*/ 289294 h 409332"/>
                <a:gd name="connsiteX659" fmla="*/ 265789 w 353578"/>
                <a:gd name="connsiteY659" fmla="*/ 285574 h 409332"/>
                <a:gd name="connsiteX660" fmla="*/ 267029 w 353578"/>
                <a:gd name="connsiteY660" fmla="*/ 285150 h 409332"/>
                <a:gd name="connsiteX661" fmla="*/ 267725 w 353578"/>
                <a:gd name="connsiteY661" fmla="*/ 285362 h 409332"/>
                <a:gd name="connsiteX662" fmla="*/ 268239 w 353578"/>
                <a:gd name="connsiteY662" fmla="*/ 285150 h 409332"/>
                <a:gd name="connsiteX663" fmla="*/ 268905 w 353578"/>
                <a:gd name="connsiteY663" fmla="*/ 283456 h 409332"/>
                <a:gd name="connsiteX664" fmla="*/ 268965 w 353578"/>
                <a:gd name="connsiteY664" fmla="*/ 282246 h 409332"/>
                <a:gd name="connsiteX665" fmla="*/ 268512 w 353578"/>
                <a:gd name="connsiteY665" fmla="*/ 279554 h 409332"/>
                <a:gd name="connsiteX666" fmla="*/ 268814 w 353578"/>
                <a:gd name="connsiteY666" fmla="*/ 277890 h 409332"/>
                <a:gd name="connsiteX667" fmla="*/ 270569 w 353578"/>
                <a:gd name="connsiteY667" fmla="*/ 275167 h 409332"/>
                <a:gd name="connsiteX668" fmla="*/ 271990 w 353578"/>
                <a:gd name="connsiteY668" fmla="*/ 275621 h 409332"/>
                <a:gd name="connsiteX669" fmla="*/ 274350 w 353578"/>
                <a:gd name="connsiteY669" fmla="*/ 280219 h 409332"/>
                <a:gd name="connsiteX670" fmla="*/ 276165 w 353578"/>
                <a:gd name="connsiteY670" fmla="*/ 282700 h 409332"/>
                <a:gd name="connsiteX671" fmla="*/ 277436 w 353578"/>
                <a:gd name="connsiteY671" fmla="*/ 282670 h 409332"/>
                <a:gd name="connsiteX672" fmla="*/ 281792 w 353578"/>
                <a:gd name="connsiteY672" fmla="*/ 276468 h 409332"/>
                <a:gd name="connsiteX673" fmla="*/ 283667 w 353578"/>
                <a:gd name="connsiteY673" fmla="*/ 274532 h 409332"/>
                <a:gd name="connsiteX674" fmla="*/ 285664 w 353578"/>
                <a:gd name="connsiteY674" fmla="*/ 273503 h 409332"/>
                <a:gd name="connsiteX675" fmla="*/ 285785 w 353578"/>
                <a:gd name="connsiteY675" fmla="*/ 273473 h 409332"/>
                <a:gd name="connsiteX676" fmla="*/ 288115 w 353578"/>
                <a:gd name="connsiteY676" fmla="*/ 273836 h 409332"/>
                <a:gd name="connsiteX677" fmla="*/ 288659 w 353578"/>
                <a:gd name="connsiteY677" fmla="*/ 274653 h 409332"/>
                <a:gd name="connsiteX678" fmla="*/ 288841 w 353578"/>
                <a:gd name="connsiteY678" fmla="*/ 275530 h 409332"/>
                <a:gd name="connsiteX679" fmla="*/ 288659 w 353578"/>
                <a:gd name="connsiteY679" fmla="*/ 276468 h 409332"/>
                <a:gd name="connsiteX680" fmla="*/ 288115 w 353578"/>
                <a:gd name="connsiteY680" fmla="*/ 277376 h 409332"/>
                <a:gd name="connsiteX681" fmla="*/ 287540 w 353578"/>
                <a:gd name="connsiteY681" fmla="*/ 278465 h 409332"/>
                <a:gd name="connsiteX682" fmla="*/ 287358 w 353578"/>
                <a:gd name="connsiteY682" fmla="*/ 279493 h 409332"/>
                <a:gd name="connsiteX683" fmla="*/ 287540 w 353578"/>
                <a:gd name="connsiteY683" fmla="*/ 280491 h 409332"/>
                <a:gd name="connsiteX684" fmla="*/ 288115 w 353578"/>
                <a:gd name="connsiteY684" fmla="*/ 281459 h 409332"/>
                <a:gd name="connsiteX685" fmla="*/ 289657 w 353578"/>
                <a:gd name="connsiteY685" fmla="*/ 282034 h 409332"/>
                <a:gd name="connsiteX686" fmla="*/ 292803 w 353578"/>
                <a:gd name="connsiteY686" fmla="*/ 282579 h 409332"/>
                <a:gd name="connsiteX687" fmla="*/ 294195 w 353578"/>
                <a:gd name="connsiteY687" fmla="*/ 283063 h 409332"/>
                <a:gd name="connsiteX688" fmla="*/ 295617 w 353578"/>
                <a:gd name="connsiteY688" fmla="*/ 284242 h 409332"/>
                <a:gd name="connsiteX689" fmla="*/ 297008 w 353578"/>
                <a:gd name="connsiteY689" fmla="*/ 287207 h 409332"/>
                <a:gd name="connsiteX690" fmla="*/ 298370 w 353578"/>
                <a:gd name="connsiteY690" fmla="*/ 288871 h 409332"/>
                <a:gd name="connsiteX691" fmla="*/ 299943 w 353578"/>
                <a:gd name="connsiteY691" fmla="*/ 289779 h 409332"/>
                <a:gd name="connsiteX692" fmla="*/ 301667 w 353578"/>
                <a:gd name="connsiteY692" fmla="*/ 289930 h 409332"/>
                <a:gd name="connsiteX693" fmla="*/ 303331 w 353578"/>
                <a:gd name="connsiteY693" fmla="*/ 289355 h 409332"/>
                <a:gd name="connsiteX694" fmla="*/ 304692 w 353578"/>
                <a:gd name="connsiteY694" fmla="*/ 288084 h 409332"/>
                <a:gd name="connsiteX695" fmla="*/ 305418 w 353578"/>
                <a:gd name="connsiteY695" fmla="*/ 285906 h 409332"/>
                <a:gd name="connsiteX696" fmla="*/ 304934 w 353578"/>
                <a:gd name="connsiteY696" fmla="*/ 282639 h 409332"/>
                <a:gd name="connsiteX697" fmla="*/ 305570 w 353578"/>
                <a:gd name="connsiteY697" fmla="*/ 281792 h 409332"/>
                <a:gd name="connsiteX698" fmla="*/ 308413 w 353578"/>
                <a:gd name="connsiteY698" fmla="*/ 281762 h 409332"/>
                <a:gd name="connsiteX699" fmla="*/ 310440 w 353578"/>
                <a:gd name="connsiteY699" fmla="*/ 281036 h 409332"/>
                <a:gd name="connsiteX700" fmla="*/ 311559 w 353578"/>
                <a:gd name="connsiteY700" fmla="*/ 279039 h 409332"/>
                <a:gd name="connsiteX701" fmla="*/ 311590 w 353578"/>
                <a:gd name="connsiteY701" fmla="*/ 275288 h 409332"/>
                <a:gd name="connsiteX702" fmla="*/ 312860 w 353578"/>
                <a:gd name="connsiteY702" fmla="*/ 277345 h 409332"/>
                <a:gd name="connsiteX703" fmla="*/ 318154 w 353578"/>
                <a:gd name="connsiteY703" fmla="*/ 282004 h 409332"/>
                <a:gd name="connsiteX704" fmla="*/ 320272 w 353578"/>
                <a:gd name="connsiteY704" fmla="*/ 285029 h 409332"/>
                <a:gd name="connsiteX705" fmla="*/ 320725 w 353578"/>
                <a:gd name="connsiteY705" fmla="*/ 286179 h 409332"/>
                <a:gd name="connsiteX706" fmla="*/ 320907 w 353578"/>
                <a:gd name="connsiteY706" fmla="*/ 287389 h 409332"/>
                <a:gd name="connsiteX707" fmla="*/ 320847 w 353578"/>
                <a:gd name="connsiteY707" fmla="*/ 289960 h 409332"/>
                <a:gd name="connsiteX708" fmla="*/ 321058 w 353578"/>
                <a:gd name="connsiteY708" fmla="*/ 290898 h 409332"/>
                <a:gd name="connsiteX709" fmla="*/ 323055 w 353578"/>
                <a:gd name="connsiteY709" fmla="*/ 292925 h 409332"/>
                <a:gd name="connsiteX710" fmla="*/ 325021 w 353578"/>
                <a:gd name="connsiteY710" fmla="*/ 292652 h 409332"/>
                <a:gd name="connsiteX711" fmla="*/ 328742 w 353578"/>
                <a:gd name="connsiteY711" fmla="*/ 289627 h 409332"/>
                <a:gd name="connsiteX712" fmla="*/ 330557 w 353578"/>
                <a:gd name="connsiteY712" fmla="*/ 288690 h 409332"/>
                <a:gd name="connsiteX713" fmla="*/ 332161 w 353578"/>
                <a:gd name="connsiteY713" fmla="*/ 288327 h 409332"/>
                <a:gd name="connsiteX714" fmla="*/ 344110 w 353578"/>
                <a:gd name="connsiteY714" fmla="*/ 288992 h 409332"/>
                <a:gd name="connsiteX715" fmla="*/ 348496 w 353578"/>
                <a:gd name="connsiteY715" fmla="*/ 288296 h 409332"/>
                <a:gd name="connsiteX716" fmla="*/ 351128 w 353578"/>
                <a:gd name="connsiteY716" fmla="*/ 285906 h 409332"/>
                <a:gd name="connsiteX717" fmla="*/ 353579 w 353578"/>
                <a:gd name="connsiteY717" fmla="*/ 281762 h 409332"/>
                <a:gd name="connsiteX718" fmla="*/ 352248 w 353578"/>
                <a:gd name="connsiteY718" fmla="*/ 280975 h 40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Lst>
              <a:rect l="l" t="t" r="r" b="b"/>
              <a:pathLst>
                <a:path w="353578" h="409332">
                  <a:moveTo>
                    <a:pt x="352248" y="280975"/>
                  </a:moveTo>
                  <a:lnTo>
                    <a:pt x="350614" y="280703"/>
                  </a:lnTo>
                  <a:lnTo>
                    <a:pt x="349071" y="280945"/>
                  </a:lnTo>
                  <a:lnTo>
                    <a:pt x="348103" y="281762"/>
                  </a:lnTo>
                  <a:lnTo>
                    <a:pt x="346379" y="279886"/>
                  </a:lnTo>
                  <a:lnTo>
                    <a:pt x="341750" y="276528"/>
                  </a:lnTo>
                  <a:lnTo>
                    <a:pt x="342537" y="275379"/>
                  </a:lnTo>
                  <a:lnTo>
                    <a:pt x="341297" y="273019"/>
                  </a:lnTo>
                  <a:lnTo>
                    <a:pt x="340631" y="272202"/>
                  </a:lnTo>
                  <a:lnTo>
                    <a:pt x="339845" y="271628"/>
                  </a:lnTo>
                  <a:lnTo>
                    <a:pt x="339270" y="271597"/>
                  </a:lnTo>
                  <a:lnTo>
                    <a:pt x="338060" y="272323"/>
                  </a:lnTo>
                  <a:lnTo>
                    <a:pt x="337394" y="272535"/>
                  </a:lnTo>
                  <a:lnTo>
                    <a:pt x="337031" y="272233"/>
                  </a:lnTo>
                  <a:lnTo>
                    <a:pt x="336517" y="270962"/>
                  </a:lnTo>
                  <a:lnTo>
                    <a:pt x="336335" y="270629"/>
                  </a:lnTo>
                  <a:lnTo>
                    <a:pt x="331919" y="268905"/>
                  </a:lnTo>
                  <a:lnTo>
                    <a:pt x="330497" y="267271"/>
                  </a:lnTo>
                  <a:lnTo>
                    <a:pt x="330164" y="264276"/>
                  </a:lnTo>
                  <a:lnTo>
                    <a:pt x="331919" y="264125"/>
                  </a:lnTo>
                  <a:lnTo>
                    <a:pt x="334127" y="263732"/>
                  </a:lnTo>
                  <a:lnTo>
                    <a:pt x="335277" y="260828"/>
                  </a:lnTo>
                  <a:lnTo>
                    <a:pt x="335035" y="259557"/>
                  </a:lnTo>
                  <a:lnTo>
                    <a:pt x="333794" y="256804"/>
                  </a:lnTo>
                  <a:lnTo>
                    <a:pt x="333431" y="255413"/>
                  </a:lnTo>
                  <a:lnTo>
                    <a:pt x="333492" y="253658"/>
                  </a:lnTo>
                  <a:lnTo>
                    <a:pt x="333855" y="252388"/>
                  </a:lnTo>
                  <a:lnTo>
                    <a:pt x="334339" y="251178"/>
                  </a:lnTo>
                  <a:lnTo>
                    <a:pt x="334762" y="249605"/>
                  </a:lnTo>
                  <a:lnTo>
                    <a:pt x="335579" y="241225"/>
                  </a:lnTo>
                  <a:lnTo>
                    <a:pt x="335428" y="238744"/>
                  </a:lnTo>
                  <a:lnTo>
                    <a:pt x="334974" y="237716"/>
                  </a:lnTo>
                  <a:lnTo>
                    <a:pt x="333885" y="235780"/>
                  </a:lnTo>
                  <a:lnTo>
                    <a:pt x="333492" y="234781"/>
                  </a:lnTo>
                  <a:lnTo>
                    <a:pt x="333340" y="233541"/>
                  </a:lnTo>
                  <a:lnTo>
                    <a:pt x="333371" y="230667"/>
                  </a:lnTo>
                  <a:lnTo>
                    <a:pt x="333129" y="229759"/>
                  </a:lnTo>
                  <a:lnTo>
                    <a:pt x="332040" y="229185"/>
                  </a:lnTo>
                  <a:lnTo>
                    <a:pt x="331072" y="229608"/>
                  </a:lnTo>
                  <a:lnTo>
                    <a:pt x="330134" y="230183"/>
                  </a:lnTo>
                  <a:lnTo>
                    <a:pt x="329226" y="230123"/>
                  </a:lnTo>
                  <a:lnTo>
                    <a:pt x="328772" y="229367"/>
                  </a:lnTo>
                  <a:lnTo>
                    <a:pt x="327956" y="226916"/>
                  </a:lnTo>
                  <a:lnTo>
                    <a:pt x="327502" y="225978"/>
                  </a:lnTo>
                  <a:lnTo>
                    <a:pt x="324628" y="223770"/>
                  </a:lnTo>
                  <a:lnTo>
                    <a:pt x="321754" y="223437"/>
                  </a:lnTo>
                  <a:lnTo>
                    <a:pt x="318790" y="223709"/>
                  </a:lnTo>
                  <a:lnTo>
                    <a:pt x="315613" y="223256"/>
                  </a:lnTo>
                  <a:lnTo>
                    <a:pt x="313768" y="222015"/>
                  </a:lnTo>
                  <a:lnTo>
                    <a:pt x="311408" y="218476"/>
                  </a:lnTo>
                  <a:lnTo>
                    <a:pt x="309774" y="216933"/>
                  </a:lnTo>
                  <a:lnTo>
                    <a:pt x="308232" y="216419"/>
                  </a:lnTo>
                  <a:lnTo>
                    <a:pt x="304934" y="216177"/>
                  </a:lnTo>
                  <a:lnTo>
                    <a:pt x="303301" y="215632"/>
                  </a:lnTo>
                  <a:lnTo>
                    <a:pt x="302423" y="214937"/>
                  </a:lnTo>
                  <a:lnTo>
                    <a:pt x="300881" y="213242"/>
                  </a:lnTo>
                  <a:lnTo>
                    <a:pt x="299943" y="212788"/>
                  </a:lnTo>
                  <a:lnTo>
                    <a:pt x="297402" y="213000"/>
                  </a:lnTo>
                  <a:lnTo>
                    <a:pt x="296827" y="212879"/>
                  </a:lnTo>
                  <a:lnTo>
                    <a:pt x="295950" y="211397"/>
                  </a:lnTo>
                  <a:lnTo>
                    <a:pt x="296040" y="209612"/>
                  </a:lnTo>
                  <a:lnTo>
                    <a:pt x="296131" y="209280"/>
                  </a:lnTo>
                  <a:lnTo>
                    <a:pt x="296585" y="207494"/>
                  </a:lnTo>
                  <a:lnTo>
                    <a:pt x="297341" y="202473"/>
                  </a:lnTo>
                  <a:lnTo>
                    <a:pt x="298430" y="200960"/>
                  </a:lnTo>
                  <a:lnTo>
                    <a:pt x="299640" y="199690"/>
                  </a:lnTo>
                  <a:lnTo>
                    <a:pt x="300397" y="197844"/>
                  </a:lnTo>
                  <a:lnTo>
                    <a:pt x="300306" y="195787"/>
                  </a:lnTo>
                  <a:lnTo>
                    <a:pt x="299580" y="193942"/>
                  </a:lnTo>
                  <a:lnTo>
                    <a:pt x="298430" y="192520"/>
                  </a:lnTo>
                  <a:lnTo>
                    <a:pt x="297099" y="191643"/>
                  </a:lnTo>
                  <a:lnTo>
                    <a:pt x="295224" y="191824"/>
                  </a:lnTo>
                  <a:lnTo>
                    <a:pt x="294014" y="193367"/>
                  </a:lnTo>
                  <a:lnTo>
                    <a:pt x="293136" y="195091"/>
                  </a:lnTo>
                  <a:lnTo>
                    <a:pt x="292047" y="195939"/>
                  </a:lnTo>
                  <a:lnTo>
                    <a:pt x="291200" y="195091"/>
                  </a:lnTo>
                  <a:lnTo>
                    <a:pt x="288115" y="189797"/>
                  </a:lnTo>
                  <a:lnTo>
                    <a:pt x="287872" y="189344"/>
                  </a:lnTo>
                  <a:lnTo>
                    <a:pt x="287812" y="188920"/>
                  </a:lnTo>
                  <a:lnTo>
                    <a:pt x="287872" y="188527"/>
                  </a:lnTo>
                  <a:lnTo>
                    <a:pt x="288115" y="188134"/>
                  </a:lnTo>
                  <a:lnTo>
                    <a:pt x="290898" y="187892"/>
                  </a:lnTo>
                  <a:lnTo>
                    <a:pt x="293106" y="187287"/>
                  </a:lnTo>
                  <a:lnTo>
                    <a:pt x="294558" y="185683"/>
                  </a:lnTo>
                  <a:lnTo>
                    <a:pt x="295133" y="182325"/>
                  </a:lnTo>
                  <a:lnTo>
                    <a:pt x="294104" y="175216"/>
                  </a:lnTo>
                  <a:lnTo>
                    <a:pt x="294467" y="172282"/>
                  </a:lnTo>
                  <a:lnTo>
                    <a:pt x="296948" y="171072"/>
                  </a:lnTo>
                  <a:lnTo>
                    <a:pt x="298097" y="168712"/>
                  </a:lnTo>
                  <a:lnTo>
                    <a:pt x="298007" y="165566"/>
                  </a:lnTo>
                  <a:lnTo>
                    <a:pt x="297099" y="162390"/>
                  </a:lnTo>
                  <a:lnTo>
                    <a:pt x="295738" y="160060"/>
                  </a:lnTo>
                  <a:lnTo>
                    <a:pt x="294044" y="158669"/>
                  </a:lnTo>
                  <a:lnTo>
                    <a:pt x="292138" y="158033"/>
                  </a:lnTo>
                  <a:lnTo>
                    <a:pt x="290141" y="157912"/>
                  </a:lnTo>
                  <a:lnTo>
                    <a:pt x="288115" y="158124"/>
                  </a:lnTo>
                  <a:lnTo>
                    <a:pt x="287086" y="160242"/>
                  </a:lnTo>
                  <a:lnTo>
                    <a:pt x="286632" y="162299"/>
                  </a:lnTo>
                  <a:lnTo>
                    <a:pt x="285936" y="164205"/>
                  </a:lnTo>
                  <a:lnTo>
                    <a:pt x="284182" y="165748"/>
                  </a:lnTo>
                  <a:lnTo>
                    <a:pt x="282548" y="166231"/>
                  </a:lnTo>
                  <a:lnTo>
                    <a:pt x="280945" y="166080"/>
                  </a:lnTo>
                  <a:lnTo>
                    <a:pt x="279432" y="165415"/>
                  </a:lnTo>
                  <a:lnTo>
                    <a:pt x="278041" y="164265"/>
                  </a:lnTo>
                  <a:lnTo>
                    <a:pt x="277042" y="162723"/>
                  </a:lnTo>
                  <a:lnTo>
                    <a:pt x="276710" y="162208"/>
                  </a:lnTo>
                  <a:lnTo>
                    <a:pt x="276407" y="160272"/>
                  </a:lnTo>
                  <a:lnTo>
                    <a:pt x="276347" y="158306"/>
                  </a:lnTo>
                  <a:lnTo>
                    <a:pt x="275832" y="156158"/>
                  </a:lnTo>
                  <a:lnTo>
                    <a:pt x="274532" y="154373"/>
                  </a:lnTo>
                  <a:lnTo>
                    <a:pt x="272959" y="153708"/>
                  </a:lnTo>
                  <a:lnTo>
                    <a:pt x="271385" y="153405"/>
                  </a:lnTo>
                  <a:lnTo>
                    <a:pt x="269994" y="152679"/>
                  </a:lnTo>
                  <a:lnTo>
                    <a:pt x="269177" y="151227"/>
                  </a:lnTo>
                  <a:lnTo>
                    <a:pt x="268723" y="149593"/>
                  </a:lnTo>
                  <a:lnTo>
                    <a:pt x="268028" y="148141"/>
                  </a:lnTo>
                  <a:lnTo>
                    <a:pt x="264942" y="146235"/>
                  </a:lnTo>
                  <a:lnTo>
                    <a:pt x="263127" y="143362"/>
                  </a:lnTo>
                  <a:lnTo>
                    <a:pt x="261705" y="142666"/>
                  </a:lnTo>
                  <a:lnTo>
                    <a:pt x="260041" y="143331"/>
                  </a:lnTo>
                  <a:lnTo>
                    <a:pt x="259073" y="144814"/>
                  </a:lnTo>
                  <a:lnTo>
                    <a:pt x="258045" y="145630"/>
                  </a:lnTo>
                  <a:lnTo>
                    <a:pt x="256199" y="144329"/>
                  </a:lnTo>
                  <a:lnTo>
                    <a:pt x="255382" y="142877"/>
                  </a:lnTo>
                  <a:lnTo>
                    <a:pt x="253809" y="138763"/>
                  </a:lnTo>
                  <a:lnTo>
                    <a:pt x="253537" y="138219"/>
                  </a:lnTo>
                  <a:lnTo>
                    <a:pt x="252872" y="137009"/>
                  </a:lnTo>
                  <a:lnTo>
                    <a:pt x="252872" y="137009"/>
                  </a:lnTo>
                  <a:lnTo>
                    <a:pt x="252872" y="136979"/>
                  </a:lnTo>
                  <a:lnTo>
                    <a:pt x="252841" y="136979"/>
                  </a:lnTo>
                  <a:lnTo>
                    <a:pt x="251540" y="131503"/>
                  </a:lnTo>
                  <a:lnTo>
                    <a:pt x="252872" y="127903"/>
                  </a:lnTo>
                  <a:lnTo>
                    <a:pt x="255443" y="124727"/>
                  </a:lnTo>
                  <a:lnTo>
                    <a:pt x="258045" y="120552"/>
                  </a:lnTo>
                  <a:lnTo>
                    <a:pt x="259073" y="115379"/>
                  </a:lnTo>
                  <a:lnTo>
                    <a:pt x="258982" y="110539"/>
                  </a:lnTo>
                  <a:lnTo>
                    <a:pt x="259527" y="106273"/>
                  </a:lnTo>
                  <a:lnTo>
                    <a:pt x="262522" y="102734"/>
                  </a:lnTo>
                  <a:lnTo>
                    <a:pt x="263732" y="100979"/>
                  </a:lnTo>
                  <a:lnTo>
                    <a:pt x="263339" y="99497"/>
                  </a:lnTo>
                  <a:lnTo>
                    <a:pt x="262068" y="98408"/>
                  </a:lnTo>
                  <a:lnTo>
                    <a:pt x="258589" y="97228"/>
                  </a:lnTo>
                  <a:lnTo>
                    <a:pt x="257621" y="96351"/>
                  </a:lnTo>
                  <a:lnTo>
                    <a:pt x="257621" y="94838"/>
                  </a:lnTo>
                  <a:lnTo>
                    <a:pt x="258529" y="92418"/>
                  </a:lnTo>
                  <a:lnTo>
                    <a:pt x="259739" y="90875"/>
                  </a:lnTo>
                  <a:lnTo>
                    <a:pt x="261584" y="89030"/>
                  </a:lnTo>
                  <a:lnTo>
                    <a:pt x="263127" y="87064"/>
                  </a:lnTo>
                  <a:lnTo>
                    <a:pt x="263460" y="85188"/>
                  </a:lnTo>
                  <a:lnTo>
                    <a:pt x="262461" y="84523"/>
                  </a:lnTo>
                  <a:lnTo>
                    <a:pt x="258498" y="83433"/>
                  </a:lnTo>
                  <a:lnTo>
                    <a:pt x="257077" y="82405"/>
                  </a:lnTo>
                  <a:lnTo>
                    <a:pt x="256290" y="80378"/>
                  </a:lnTo>
                  <a:lnTo>
                    <a:pt x="255382" y="75659"/>
                  </a:lnTo>
                  <a:lnTo>
                    <a:pt x="254626" y="73541"/>
                  </a:lnTo>
                  <a:lnTo>
                    <a:pt x="253446" y="71756"/>
                  </a:lnTo>
                  <a:lnTo>
                    <a:pt x="252206" y="70698"/>
                  </a:lnTo>
                  <a:lnTo>
                    <a:pt x="250784" y="70183"/>
                  </a:lnTo>
                  <a:lnTo>
                    <a:pt x="249030" y="70123"/>
                  </a:lnTo>
                  <a:lnTo>
                    <a:pt x="245853" y="71575"/>
                  </a:lnTo>
                  <a:lnTo>
                    <a:pt x="241467" y="76899"/>
                  </a:lnTo>
                  <a:lnTo>
                    <a:pt x="237806" y="77534"/>
                  </a:lnTo>
                  <a:lnTo>
                    <a:pt x="234721" y="76385"/>
                  </a:lnTo>
                  <a:lnTo>
                    <a:pt x="233299" y="75356"/>
                  </a:lnTo>
                  <a:lnTo>
                    <a:pt x="231151" y="73844"/>
                  </a:lnTo>
                  <a:lnTo>
                    <a:pt x="227914" y="70576"/>
                  </a:lnTo>
                  <a:lnTo>
                    <a:pt x="225857" y="67309"/>
                  </a:lnTo>
                  <a:lnTo>
                    <a:pt x="225191" y="66281"/>
                  </a:lnTo>
                  <a:lnTo>
                    <a:pt x="223558" y="64859"/>
                  </a:lnTo>
                  <a:lnTo>
                    <a:pt x="222862" y="63952"/>
                  </a:lnTo>
                  <a:lnTo>
                    <a:pt x="222711" y="63104"/>
                  </a:lnTo>
                  <a:lnTo>
                    <a:pt x="222378" y="59505"/>
                  </a:lnTo>
                  <a:lnTo>
                    <a:pt x="220745" y="55935"/>
                  </a:lnTo>
                  <a:lnTo>
                    <a:pt x="220503" y="54997"/>
                  </a:lnTo>
                  <a:lnTo>
                    <a:pt x="220442" y="54029"/>
                  </a:lnTo>
                  <a:lnTo>
                    <a:pt x="220200" y="53031"/>
                  </a:lnTo>
                  <a:lnTo>
                    <a:pt x="219504" y="51942"/>
                  </a:lnTo>
                  <a:lnTo>
                    <a:pt x="216691" y="50187"/>
                  </a:lnTo>
                  <a:lnTo>
                    <a:pt x="213061" y="49612"/>
                  </a:lnTo>
                  <a:lnTo>
                    <a:pt x="206073" y="49522"/>
                  </a:lnTo>
                  <a:lnTo>
                    <a:pt x="196816" y="45982"/>
                  </a:lnTo>
                  <a:lnTo>
                    <a:pt x="193579" y="45831"/>
                  </a:lnTo>
                  <a:lnTo>
                    <a:pt x="191340" y="46769"/>
                  </a:lnTo>
                  <a:lnTo>
                    <a:pt x="189525" y="51790"/>
                  </a:lnTo>
                  <a:lnTo>
                    <a:pt x="189525" y="51790"/>
                  </a:lnTo>
                  <a:lnTo>
                    <a:pt x="189374" y="52335"/>
                  </a:lnTo>
                  <a:lnTo>
                    <a:pt x="188829" y="54694"/>
                  </a:lnTo>
                  <a:lnTo>
                    <a:pt x="188769" y="57054"/>
                  </a:lnTo>
                  <a:lnTo>
                    <a:pt x="188406" y="58325"/>
                  </a:lnTo>
                  <a:lnTo>
                    <a:pt x="187347" y="58416"/>
                  </a:lnTo>
                  <a:lnTo>
                    <a:pt x="185320" y="57084"/>
                  </a:lnTo>
                  <a:lnTo>
                    <a:pt x="184110" y="55935"/>
                  </a:lnTo>
                  <a:lnTo>
                    <a:pt x="181266" y="50490"/>
                  </a:lnTo>
                  <a:lnTo>
                    <a:pt x="182930" y="48765"/>
                  </a:lnTo>
                  <a:lnTo>
                    <a:pt x="183051" y="46678"/>
                  </a:lnTo>
                  <a:lnTo>
                    <a:pt x="182083" y="44803"/>
                  </a:lnTo>
                  <a:lnTo>
                    <a:pt x="180510" y="43774"/>
                  </a:lnTo>
                  <a:lnTo>
                    <a:pt x="178181" y="44077"/>
                  </a:lnTo>
                  <a:lnTo>
                    <a:pt x="176880" y="45740"/>
                  </a:lnTo>
                  <a:lnTo>
                    <a:pt x="175821" y="47828"/>
                  </a:lnTo>
                  <a:lnTo>
                    <a:pt x="174278" y="49461"/>
                  </a:lnTo>
                  <a:lnTo>
                    <a:pt x="172161" y="49824"/>
                  </a:lnTo>
                  <a:lnTo>
                    <a:pt x="171041" y="48674"/>
                  </a:lnTo>
                  <a:lnTo>
                    <a:pt x="170830" y="46738"/>
                  </a:lnTo>
                  <a:lnTo>
                    <a:pt x="171525" y="44833"/>
                  </a:lnTo>
                  <a:lnTo>
                    <a:pt x="173099" y="43108"/>
                  </a:lnTo>
                  <a:lnTo>
                    <a:pt x="174551" y="42231"/>
                  </a:lnTo>
                  <a:lnTo>
                    <a:pt x="175640" y="40991"/>
                  </a:lnTo>
                  <a:lnTo>
                    <a:pt x="176305" y="38117"/>
                  </a:lnTo>
                  <a:lnTo>
                    <a:pt x="176154" y="35485"/>
                  </a:lnTo>
                  <a:lnTo>
                    <a:pt x="175095" y="34366"/>
                  </a:lnTo>
                  <a:lnTo>
                    <a:pt x="173371" y="34154"/>
                  </a:lnTo>
                  <a:lnTo>
                    <a:pt x="168712" y="34668"/>
                  </a:lnTo>
                  <a:lnTo>
                    <a:pt x="167018" y="35697"/>
                  </a:lnTo>
                  <a:lnTo>
                    <a:pt x="165445" y="36967"/>
                  </a:lnTo>
                  <a:lnTo>
                    <a:pt x="163267" y="38117"/>
                  </a:lnTo>
                  <a:lnTo>
                    <a:pt x="160937" y="38601"/>
                  </a:lnTo>
                  <a:lnTo>
                    <a:pt x="159213" y="38117"/>
                  </a:lnTo>
                  <a:lnTo>
                    <a:pt x="158124" y="36544"/>
                  </a:lnTo>
                  <a:lnTo>
                    <a:pt x="157791" y="33852"/>
                  </a:lnTo>
                  <a:lnTo>
                    <a:pt x="157035" y="31583"/>
                  </a:lnTo>
                  <a:lnTo>
                    <a:pt x="155402" y="31794"/>
                  </a:lnTo>
                  <a:lnTo>
                    <a:pt x="152286" y="34245"/>
                  </a:lnTo>
                  <a:lnTo>
                    <a:pt x="150712" y="34638"/>
                  </a:lnTo>
                  <a:lnTo>
                    <a:pt x="148474" y="34547"/>
                  </a:lnTo>
                  <a:lnTo>
                    <a:pt x="147022" y="33489"/>
                  </a:lnTo>
                  <a:lnTo>
                    <a:pt x="148988" y="28073"/>
                  </a:lnTo>
                  <a:lnTo>
                    <a:pt x="148413" y="25593"/>
                  </a:lnTo>
                  <a:lnTo>
                    <a:pt x="146780" y="23778"/>
                  </a:lnTo>
                  <a:lnTo>
                    <a:pt x="144723" y="22870"/>
                  </a:lnTo>
                  <a:lnTo>
                    <a:pt x="139398" y="22265"/>
                  </a:lnTo>
                  <a:lnTo>
                    <a:pt x="135768" y="21841"/>
                  </a:lnTo>
                  <a:lnTo>
                    <a:pt x="131684" y="20389"/>
                  </a:lnTo>
                  <a:lnTo>
                    <a:pt x="129476" y="17183"/>
                  </a:lnTo>
                  <a:lnTo>
                    <a:pt x="128689" y="16517"/>
                  </a:lnTo>
                  <a:lnTo>
                    <a:pt x="127540" y="14974"/>
                  </a:lnTo>
                  <a:lnTo>
                    <a:pt x="125483" y="12131"/>
                  </a:lnTo>
                  <a:lnTo>
                    <a:pt x="123970" y="10649"/>
                  </a:lnTo>
                  <a:lnTo>
                    <a:pt x="117496" y="6202"/>
                  </a:lnTo>
                  <a:lnTo>
                    <a:pt x="114108" y="4750"/>
                  </a:lnTo>
                  <a:lnTo>
                    <a:pt x="101554" y="4840"/>
                  </a:lnTo>
                  <a:lnTo>
                    <a:pt x="99527" y="3933"/>
                  </a:lnTo>
                  <a:lnTo>
                    <a:pt x="99315" y="272"/>
                  </a:lnTo>
                  <a:lnTo>
                    <a:pt x="97137" y="0"/>
                  </a:lnTo>
                  <a:lnTo>
                    <a:pt x="94505" y="1603"/>
                  </a:lnTo>
                  <a:lnTo>
                    <a:pt x="93326" y="1876"/>
                  </a:lnTo>
                  <a:lnTo>
                    <a:pt x="89151" y="1876"/>
                  </a:lnTo>
                  <a:lnTo>
                    <a:pt x="86852" y="4810"/>
                  </a:lnTo>
                  <a:lnTo>
                    <a:pt x="80741" y="9590"/>
                  </a:lnTo>
                  <a:lnTo>
                    <a:pt x="79077" y="10376"/>
                  </a:lnTo>
                  <a:lnTo>
                    <a:pt x="77685" y="9892"/>
                  </a:lnTo>
                  <a:lnTo>
                    <a:pt x="74812" y="7411"/>
                  </a:lnTo>
                  <a:lnTo>
                    <a:pt x="72906" y="6928"/>
                  </a:lnTo>
                  <a:lnTo>
                    <a:pt x="69246" y="8682"/>
                  </a:lnTo>
                  <a:lnTo>
                    <a:pt x="63800" y="14974"/>
                  </a:lnTo>
                  <a:lnTo>
                    <a:pt x="63255" y="15610"/>
                  </a:lnTo>
                  <a:lnTo>
                    <a:pt x="59444" y="17455"/>
                  </a:lnTo>
                  <a:lnTo>
                    <a:pt x="56146" y="17273"/>
                  </a:lnTo>
                  <a:lnTo>
                    <a:pt x="45377" y="13522"/>
                  </a:lnTo>
                  <a:lnTo>
                    <a:pt x="43290" y="12282"/>
                  </a:lnTo>
                  <a:lnTo>
                    <a:pt x="42231" y="12010"/>
                  </a:lnTo>
                  <a:lnTo>
                    <a:pt x="41112" y="12373"/>
                  </a:lnTo>
                  <a:lnTo>
                    <a:pt x="41021" y="13371"/>
                  </a:lnTo>
                  <a:lnTo>
                    <a:pt x="41293" y="14551"/>
                  </a:lnTo>
                  <a:lnTo>
                    <a:pt x="41263" y="15489"/>
                  </a:lnTo>
                  <a:lnTo>
                    <a:pt x="41323" y="16033"/>
                  </a:lnTo>
                  <a:lnTo>
                    <a:pt x="41656" y="16790"/>
                  </a:lnTo>
                  <a:lnTo>
                    <a:pt x="41777" y="17516"/>
                  </a:lnTo>
                  <a:lnTo>
                    <a:pt x="41233" y="17848"/>
                  </a:lnTo>
                  <a:lnTo>
                    <a:pt x="40023" y="17607"/>
                  </a:lnTo>
                  <a:lnTo>
                    <a:pt x="38934" y="17727"/>
                  </a:lnTo>
                  <a:lnTo>
                    <a:pt x="38238" y="17334"/>
                  </a:lnTo>
                  <a:lnTo>
                    <a:pt x="37511" y="17213"/>
                  </a:lnTo>
                  <a:lnTo>
                    <a:pt x="36544" y="18121"/>
                  </a:lnTo>
                  <a:lnTo>
                    <a:pt x="32762" y="18726"/>
                  </a:lnTo>
                  <a:lnTo>
                    <a:pt x="29283" y="16790"/>
                  </a:lnTo>
                  <a:lnTo>
                    <a:pt x="25956" y="14188"/>
                  </a:lnTo>
                  <a:lnTo>
                    <a:pt x="22628" y="12827"/>
                  </a:lnTo>
                  <a:lnTo>
                    <a:pt x="21539" y="13159"/>
                  </a:lnTo>
                  <a:lnTo>
                    <a:pt x="21206" y="14037"/>
                  </a:lnTo>
                  <a:lnTo>
                    <a:pt x="20903" y="15065"/>
                  </a:lnTo>
                  <a:lnTo>
                    <a:pt x="20057" y="15882"/>
                  </a:lnTo>
                  <a:lnTo>
                    <a:pt x="19361" y="15882"/>
                  </a:lnTo>
                  <a:lnTo>
                    <a:pt x="17697" y="15277"/>
                  </a:lnTo>
                  <a:lnTo>
                    <a:pt x="17152" y="15307"/>
                  </a:lnTo>
                  <a:lnTo>
                    <a:pt x="16063" y="16669"/>
                  </a:lnTo>
                  <a:lnTo>
                    <a:pt x="16154" y="17909"/>
                  </a:lnTo>
                  <a:lnTo>
                    <a:pt x="16729" y="19603"/>
                  </a:lnTo>
                  <a:lnTo>
                    <a:pt x="17273" y="22265"/>
                  </a:lnTo>
                  <a:lnTo>
                    <a:pt x="17334" y="24897"/>
                  </a:lnTo>
                  <a:lnTo>
                    <a:pt x="16880" y="26682"/>
                  </a:lnTo>
                  <a:lnTo>
                    <a:pt x="15761" y="27650"/>
                  </a:lnTo>
                  <a:lnTo>
                    <a:pt x="13764" y="27801"/>
                  </a:lnTo>
                  <a:lnTo>
                    <a:pt x="11889" y="27015"/>
                  </a:lnTo>
                  <a:lnTo>
                    <a:pt x="10648" y="25502"/>
                  </a:lnTo>
                  <a:lnTo>
                    <a:pt x="9589" y="23778"/>
                  </a:lnTo>
                  <a:lnTo>
                    <a:pt x="8228" y="22386"/>
                  </a:lnTo>
                  <a:lnTo>
                    <a:pt x="6232" y="21690"/>
                  </a:lnTo>
                  <a:lnTo>
                    <a:pt x="5657" y="22840"/>
                  </a:lnTo>
                  <a:lnTo>
                    <a:pt x="5143" y="24625"/>
                  </a:lnTo>
                  <a:lnTo>
                    <a:pt x="1845" y="26561"/>
                  </a:lnTo>
                  <a:lnTo>
                    <a:pt x="726" y="28224"/>
                  </a:lnTo>
                  <a:lnTo>
                    <a:pt x="90" y="30433"/>
                  </a:lnTo>
                  <a:lnTo>
                    <a:pt x="0" y="31552"/>
                  </a:lnTo>
                  <a:lnTo>
                    <a:pt x="4840" y="29435"/>
                  </a:lnTo>
                  <a:lnTo>
                    <a:pt x="7109" y="29344"/>
                  </a:lnTo>
                  <a:lnTo>
                    <a:pt x="9408" y="31220"/>
                  </a:lnTo>
                  <a:lnTo>
                    <a:pt x="10527" y="31431"/>
                  </a:lnTo>
                  <a:lnTo>
                    <a:pt x="11616" y="29919"/>
                  </a:lnTo>
                  <a:lnTo>
                    <a:pt x="12705" y="32036"/>
                  </a:lnTo>
                  <a:lnTo>
                    <a:pt x="14672" y="32429"/>
                  </a:lnTo>
                  <a:lnTo>
                    <a:pt x="18816" y="31643"/>
                  </a:lnTo>
                  <a:lnTo>
                    <a:pt x="20540" y="32429"/>
                  </a:lnTo>
                  <a:lnTo>
                    <a:pt x="22840" y="35122"/>
                  </a:lnTo>
                  <a:lnTo>
                    <a:pt x="23929" y="34487"/>
                  </a:lnTo>
                  <a:lnTo>
                    <a:pt x="28164" y="38480"/>
                  </a:lnTo>
                  <a:lnTo>
                    <a:pt x="28799" y="39539"/>
                  </a:lnTo>
                  <a:lnTo>
                    <a:pt x="29192" y="41868"/>
                  </a:lnTo>
                  <a:lnTo>
                    <a:pt x="30191" y="41384"/>
                  </a:lnTo>
                  <a:lnTo>
                    <a:pt x="31310" y="39872"/>
                  </a:lnTo>
                  <a:lnTo>
                    <a:pt x="32248" y="39055"/>
                  </a:lnTo>
                  <a:lnTo>
                    <a:pt x="33488" y="40053"/>
                  </a:lnTo>
                  <a:lnTo>
                    <a:pt x="34003" y="41687"/>
                  </a:lnTo>
                  <a:lnTo>
                    <a:pt x="34759" y="43139"/>
                  </a:lnTo>
                  <a:lnTo>
                    <a:pt x="38238" y="44349"/>
                  </a:lnTo>
                  <a:lnTo>
                    <a:pt x="38238" y="45559"/>
                  </a:lnTo>
                  <a:lnTo>
                    <a:pt x="37088" y="46587"/>
                  </a:lnTo>
                  <a:lnTo>
                    <a:pt x="35092" y="46708"/>
                  </a:lnTo>
                  <a:lnTo>
                    <a:pt x="35092" y="47585"/>
                  </a:lnTo>
                  <a:lnTo>
                    <a:pt x="37845" y="49098"/>
                  </a:lnTo>
                  <a:lnTo>
                    <a:pt x="39750" y="49703"/>
                  </a:lnTo>
                  <a:lnTo>
                    <a:pt x="40990" y="48735"/>
                  </a:lnTo>
                  <a:lnTo>
                    <a:pt x="41868" y="49098"/>
                  </a:lnTo>
                  <a:lnTo>
                    <a:pt x="42776" y="49794"/>
                  </a:lnTo>
                  <a:lnTo>
                    <a:pt x="43290" y="50490"/>
                  </a:lnTo>
                  <a:lnTo>
                    <a:pt x="43290" y="50611"/>
                  </a:lnTo>
                  <a:lnTo>
                    <a:pt x="43229" y="51276"/>
                  </a:lnTo>
                  <a:lnTo>
                    <a:pt x="42170" y="52547"/>
                  </a:lnTo>
                  <a:lnTo>
                    <a:pt x="41898" y="53333"/>
                  </a:lnTo>
                  <a:lnTo>
                    <a:pt x="42654" y="56721"/>
                  </a:lnTo>
                  <a:lnTo>
                    <a:pt x="44409" y="59353"/>
                  </a:lnTo>
                  <a:lnTo>
                    <a:pt x="46829" y="61350"/>
                  </a:lnTo>
                  <a:lnTo>
                    <a:pt x="49461" y="62772"/>
                  </a:lnTo>
                  <a:lnTo>
                    <a:pt x="49461" y="63770"/>
                  </a:lnTo>
                  <a:lnTo>
                    <a:pt x="47404" y="64647"/>
                  </a:lnTo>
                  <a:lnTo>
                    <a:pt x="47525" y="65222"/>
                  </a:lnTo>
                  <a:lnTo>
                    <a:pt x="47646" y="65767"/>
                  </a:lnTo>
                  <a:lnTo>
                    <a:pt x="47858" y="66220"/>
                  </a:lnTo>
                  <a:lnTo>
                    <a:pt x="48099" y="66614"/>
                  </a:lnTo>
                  <a:lnTo>
                    <a:pt x="50671" y="65555"/>
                  </a:lnTo>
                  <a:lnTo>
                    <a:pt x="52002" y="67309"/>
                  </a:lnTo>
                  <a:lnTo>
                    <a:pt x="52940" y="69185"/>
                  </a:lnTo>
                  <a:lnTo>
                    <a:pt x="54271" y="68489"/>
                  </a:lnTo>
                  <a:lnTo>
                    <a:pt x="55451" y="69730"/>
                  </a:lnTo>
                  <a:lnTo>
                    <a:pt x="55542" y="71000"/>
                  </a:lnTo>
                  <a:lnTo>
                    <a:pt x="54846" y="72210"/>
                  </a:lnTo>
                  <a:lnTo>
                    <a:pt x="53666" y="73208"/>
                  </a:lnTo>
                  <a:lnTo>
                    <a:pt x="55783" y="74781"/>
                  </a:lnTo>
                  <a:lnTo>
                    <a:pt x="56419" y="75084"/>
                  </a:lnTo>
                  <a:lnTo>
                    <a:pt x="56419" y="75931"/>
                  </a:lnTo>
                  <a:lnTo>
                    <a:pt x="54634" y="78170"/>
                  </a:lnTo>
                  <a:lnTo>
                    <a:pt x="55723" y="79440"/>
                  </a:lnTo>
                  <a:lnTo>
                    <a:pt x="57992" y="80590"/>
                  </a:lnTo>
                  <a:lnTo>
                    <a:pt x="59837" y="82617"/>
                  </a:lnTo>
                  <a:lnTo>
                    <a:pt x="59747" y="83222"/>
                  </a:lnTo>
                  <a:lnTo>
                    <a:pt x="59928" y="87487"/>
                  </a:lnTo>
                  <a:lnTo>
                    <a:pt x="59837" y="88334"/>
                  </a:lnTo>
                  <a:lnTo>
                    <a:pt x="60896" y="89060"/>
                  </a:lnTo>
                  <a:lnTo>
                    <a:pt x="62106" y="89393"/>
                  </a:lnTo>
                  <a:lnTo>
                    <a:pt x="63195" y="89907"/>
                  </a:lnTo>
                  <a:lnTo>
                    <a:pt x="63952" y="91057"/>
                  </a:lnTo>
                  <a:lnTo>
                    <a:pt x="60503" y="93023"/>
                  </a:lnTo>
                  <a:lnTo>
                    <a:pt x="61713" y="93961"/>
                  </a:lnTo>
                  <a:lnTo>
                    <a:pt x="63104" y="95927"/>
                  </a:lnTo>
                  <a:lnTo>
                    <a:pt x="64254" y="98015"/>
                  </a:lnTo>
                  <a:lnTo>
                    <a:pt x="64708" y="99164"/>
                  </a:lnTo>
                  <a:lnTo>
                    <a:pt x="65101" y="99799"/>
                  </a:lnTo>
                  <a:lnTo>
                    <a:pt x="66886" y="101010"/>
                  </a:lnTo>
                  <a:lnTo>
                    <a:pt x="67400" y="101463"/>
                  </a:lnTo>
                  <a:lnTo>
                    <a:pt x="67460" y="101705"/>
                  </a:lnTo>
                  <a:lnTo>
                    <a:pt x="67763" y="102855"/>
                  </a:lnTo>
                  <a:lnTo>
                    <a:pt x="67612" y="104307"/>
                  </a:lnTo>
                  <a:lnTo>
                    <a:pt x="68156" y="105305"/>
                  </a:lnTo>
                  <a:lnTo>
                    <a:pt x="68156" y="106152"/>
                  </a:lnTo>
                  <a:lnTo>
                    <a:pt x="65827" y="106606"/>
                  </a:lnTo>
                  <a:lnTo>
                    <a:pt x="66734" y="109631"/>
                  </a:lnTo>
                  <a:lnTo>
                    <a:pt x="69064" y="113262"/>
                  </a:lnTo>
                  <a:lnTo>
                    <a:pt x="75598" y="121218"/>
                  </a:lnTo>
                  <a:lnTo>
                    <a:pt x="78411" y="123850"/>
                  </a:lnTo>
                  <a:lnTo>
                    <a:pt x="81558" y="124969"/>
                  </a:lnTo>
                  <a:lnTo>
                    <a:pt x="81679" y="125362"/>
                  </a:lnTo>
                  <a:lnTo>
                    <a:pt x="81860" y="126118"/>
                  </a:lnTo>
                  <a:lnTo>
                    <a:pt x="82314" y="127843"/>
                  </a:lnTo>
                  <a:lnTo>
                    <a:pt x="82647" y="128690"/>
                  </a:lnTo>
                  <a:lnTo>
                    <a:pt x="82768" y="129204"/>
                  </a:lnTo>
                  <a:lnTo>
                    <a:pt x="82738" y="130444"/>
                  </a:lnTo>
                  <a:lnTo>
                    <a:pt x="82949" y="131049"/>
                  </a:lnTo>
                  <a:lnTo>
                    <a:pt x="83342" y="131261"/>
                  </a:lnTo>
                  <a:lnTo>
                    <a:pt x="84431" y="131412"/>
                  </a:lnTo>
                  <a:lnTo>
                    <a:pt x="84704" y="131503"/>
                  </a:lnTo>
                  <a:lnTo>
                    <a:pt x="85430" y="135164"/>
                  </a:lnTo>
                  <a:lnTo>
                    <a:pt x="86065" y="137160"/>
                  </a:lnTo>
                  <a:lnTo>
                    <a:pt x="87124" y="138037"/>
                  </a:lnTo>
                  <a:lnTo>
                    <a:pt x="88032" y="138158"/>
                  </a:lnTo>
                  <a:lnTo>
                    <a:pt x="88516" y="138461"/>
                  </a:lnTo>
                  <a:lnTo>
                    <a:pt x="88909" y="138794"/>
                  </a:lnTo>
                  <a:lnTo>
                    <a:pt x="89514" y="139035"/>
                  </a:lnTo>
                  <a:lnTo>
                    <a:pt x="92085" y="139126"/>
                  </a:lnTo>
                  <a:lnTo>
                    <a:pt x="92267" y="139035"/>
                  </a:lnTo>
                  <a:lnTo>
                    <a:pt x="93598" y="139550"/>
                  </a:lnTo>
                  <a:lnTo>
                    <a:pt x="95141" y="140367"/>
                  </a:lnTo>
                  <a:lnTo>
                    <a:pt x="96411" y="141456"/>
                  </a:lnTo>
                  <a:lnTo>
                    <a:pt x="97137" y="142787"/>
                  </a:lnTo>
                  <a:lnTo>
                    <a:pt x="96290" y="143392"/>
                  </a:lnTo>
                  <a:lnTo>
                    <a:pt x="95745" y="144451"/>
                  </a:lnTo>
                  <a:lnTo>
                    <a:pt x="95382" y="145842"/>
                  </a:lnTo>
                  <a:lnTo>
                    <a:pt x="95050" y="147445"/>
                  </a:lnTo>
                  <a:lnTo>
                    <a:pt x="96865" y="148867"/>
                  </a:lnTo>
                  <a:lnTo>
                    <a:pt x="96048" y="153072"/>
                  </a:lnTo>
                  <a:lnTo>
                    <a:pt x="97470" y="153950"/>
                  </a:lnTo>
                  <a:lnTo>
                    <a:pt x="97712" y="154161"/>
                  </a:lnTo>
                  <a:lnTo>
                    <a:pt x="98831" y="155039"/>
                  </a:lnTo>
                  <a:lnTo>
                    <a:pt x="101251" y="160393"/>
                  </a:lnTo>
                  <a:lnTo>
                    <a:pt x="102552" y="162420"/>
                  </a:lnTo>
                  <a:lnTo>
                    <a:pt x="103339" y="162783"/>
                  </a:lnTo>
                  <a:lnTo>
                    <a:pt x="106061" y="163358"/>
                  </a:lnTo>
                  <a:lnTo>
                    <a:pt x="107120" y="163963"/>
                  </a:lnTo>
                  <a:lnTo>
                    <a:pt x="107876" y="164568"/>
                  </a:lnTo>
                  <a:lnTo>
                    <a:pt x="108663" y="165022"/>
                  </a:lnTo>
                  <a:lnTo>
                    <a:pt x="111204" y="165596"/>
                  </a:lnTo>
                  <a:lnTo>
                    <a:pt x="112263" y="166655"/>
                  </a:lnTo>
                  <a:lnTo>
                    <a:pt x="114290" y="169922"/>
                  </a:lnTo>
                  <a:lnTo>
                    <a:pt x="114169" y="171647"/>
                  </a:lnTo>
                  <a:lnTo>
                    <a:pt x="115258" y="173341"/>
                  </a:lnTo>
                  <a:lnTo>
                    <a:pt x="117769" y="176336"/>
                  </a:lnTo>
                  <a:lnTo>
                    <a:pt x="119009" y="180057"/>
                  </a:lnTo>
                  <a:lnTo>
                    <a:pt x="119160" y="180147"/>
                  </a:lnTo>
                  <a:lnTo>
                    <a:pt x="119433" y="181206"/>
                  </a:lnTo>
                  <a:lnTo>
                    <a:pt x="119735" y="182023"/>
                  </a:lnTo>
                  <a:lnTo>
                    <a:pt x="119553" y="182598"/>
                  </a:lnTo>
                  <a:lnTo>
                    <a:pt x="118434" y="182930"/>
                  </a:lnTo>
                  <a:lnTo>
                    <a:pt x="119614" y="184443"/>
                  </a:lnTo>
                  <a:lnTo>
                    <a:pt x="123970" y="186621"/>
                  </a:lnTo>
                  <a:lnTo>
                    <a:pt x="123970" y="187559"/>
                  </a:lnTo>
                  <a:lnTo>
                    <a:pt x="123365" y="188557"/>
                  </a:lnTo>
                  <a:lnTo>
                    <a:pt x="123819" y="188950"/>
                  </a:lnTo>
                  <a:lnTo>
                    <a:pt x="124787" y="189223"/>
                  </a:lnTo>
                  <a:lnTo>
                    <a:pt x="125725" y="189888"/>
                  </a:lnTo>
                  <a:lnTo>
                    <a:pt x="128780" y="193004"/>
                  </a:lnTo>
                  <a:lnTo>
                    <a:pt x="131624" y="194728"/>
                  </a:lnTo>
                  <a:lnTo>
                    <a:pt x="132894" y="195787"/>
                  </a:lnTo>
                  <a:lnTo>
                    <a:pt x="132925" y="197754"/>
                  </a:lnTo>
                  <a:lnTo>
                    <a:pt x="135375" y="198177"/>
                  </a:lnTo>
                  <a:lnTo>
                    <a:pt x="137734" y="199538"/>
                  </a:lnTo>
                  <a:lnTo>
                    <a:pt x="139913" y="200507"/>
                  </a:lnTo>
                  <a:lnTo>
                    <a:pt x="141909" y="199569"/>
                  </a:lnTo>
                  <a:lnTo>
                    <a:pt x="142817" y="201807"/>
                  </a:lnTo>
                  <a:lnTo>
                    <a:pt x="142908" y="201959"/>
                  </a:lnTo>
                  <a:lnTo>
                    <a:pt x="146023" y="205619"/>
                  </a:lnTo>
                  <a:lnTo>
                    <a:pt x="147415" y="207918"/>
                  </a:lnTo>
                  <a:lnTo>
                    <a:pt x="149382" y="212819"/>
                  </a:lnTo>
                  <a:lnTo>
                    <a:pt x="149654" y="214846"/>
                  </a:lnTo>
                  <a:lnTo>
                    <a:pt x="149714" y="215178"/>
                  </a:lnTo>
                  <a:lnTo>
                    <a:pt x="148837" y="217236"/>
                  </a:lnTo>
                  <a:lnTo>
                    <a:pt x="150501" y="218294"/>
                  </a:lnTo>
                  <a:lnTo>
                    <a:pt x="150591" y="219837"/>
                  </a:lnTo>
                  <a:lnTo>
                    <a:pt x="150471" y="221440"/>
                  </a:lnTo>
                  <a:lnTo>
                    <a:pt x="151590" y="222772"/>
                  </a:lnTo>
                  <a:lnTo>
                    <a:pt x="151590" y="223770"/>
                  </a:lnTo>
                  <a:lnTo>
                    <a:pt x="151438" y="225373"/>
                  </a:lnTo>
                  <a:lnTo>
                    <a:pt x="151317" y="226462"/>
                  </a:lnTo>
                  <a:lnTo>
                    <a:pt x="152951" y="230244"/>
                  </a:lnTo>
                  <a:lnTo>
                    <a:pt x="157005" y="236657"/>
                  </a:lnTo>
                  <a:lnTo>
                    <a:pt x="157005" y="239168"/>
                  </a:lnTo>
                  <a:lnTo>
                    <a:pt x="162632" y="249605"/>
                  </a:lnTo>
                  <a:lnTo>
                    <a:pt x="163660" y="253235"/>
                  </a:lnTo>
                  <a:lnTo>
                    <a:pt x="163751" y="253779"/>
                  </a:lnTo>
                  <a:lnTo>
                    <a:pt x="163993" y="255201"/>
                  </a:lnTo>
                  <a:lnTo>
                    <a:pt x="163963" y="257016"/>
                  </a:lnTo>
                  <a:lnTo>
                    <a:pt x="163297" y="258498"/>
                  </a:lnTo>
                  <a:lnTo>
                    <a:pt x="162269" y="260162"/>
                  </a:lnTo>
                  <a:lnTo>
                    <a:pt x="161785" y="262068"/>
                  </a:lnTo>
                  <a:lnTo>
                    <a:pt x="162632" y="264276"/>
                  </a:lnTo>
                  <a:lnTo>
                    <a:pt x="161724" y="264882"/>
                  </a:lnTo>
                  <a:lnTo>
                    <a:pt x="161331" y="265880"/>
                  </a:lnTo>
                  <a:lnTo>
                    <a:pt x="161149" y="270932"/>
                  </a:lnTo>
                  <a:lnTo>
                    <a:pt x="161331" y="271991"/>
                  </a:lnTo>
                  <a:lnTo>
                    <a:pt x="162632" y="274350"/>
                  </a:lnTo>
                  <a:lnTo>
                    <a:pt x="163055" y="274683"/>
                  </a:lnTo>
                  <a:lnTo>
                    <a:pt x="163478" y="274562"/>
                  </a:lnTo>
                  <a:lnTo>
                    <a:pt x="163841" y="274713"/>
                  </a:lnTo>
                  <a:lnTo>
                    <a:pt x="163963" y="275802"/>
                  </a:lnTo>
                  <a:lnTo>
                    <a:pt x="163963" y="279977"/>
                  </a:lnTo>
                  <a:lnTo>
                    <a:pt x="163841" y="281096"/>
                  </a:lnTo>
                  <a:lnTo>
                    <a:pt x="163267" y="282095"/>
                  </a:lnTo>
                  <a:lnTo>
                    <a:pt x="161845" y="282760"/>
                  </a:lnTo>
                  <a:lnTo>
                    <a:pt x="162571" y="284575"/>
                  </a:lnTo>
                  <a:lnTo>
                    <a:pt x="162087" y="285332"/>
                  </a:lnTo>
                  <a:lnTo>
                    <a:pt x="161905" y="285422"/>
                  </a:lnTo>
                  <a:lnTo>
                    <a:pt x="161179" y="285725"/>
                  </a:lnTo>
                  <a:lnTo>
                    <a:pt x="160514" y="286330"/>
                  </a:lnTo>
                  <a:lnTo>
                    <a:pt x="159939" y="290414"/>
                  </a:lnTo>
                  <a:lnTo>
                    <a:pt x="159455" y="290989"/>
                  </a:lnTo>
                  <a:lnTo>
                    <a:pt x="158245" y="291382"/>
                  </a:lnTo>
                  <a:lnTo>
                    <a:pt x="158003" y="292350"/>
                  </a:lnTo>
                  <a:lnTo>
                    <a:pt x="158396" y="295042"/>
                  </a:lnTo>
                  <a:lnTo>
                    <a:pt x="158487" y="296706"/>
                  </a:lnTo>
                  <a:lnTo>
                    <a:pt x="158336" y="297160"/>
                  </a:lnTo>
                  <a:lnTo>
                    <a:pt x="156975" y="299913"/>
                  </a:lnTo>
                  <a:lnTo>
                    <a:pt x="155765" y="301002"/>
                  </a:lnTo>
                  <a:lnTo>
                    <a:pt x="154827" y="301486"/>
                  </a:lnTo>
                  <a:lnTo>
                    <a:pt x="153677" y="301819"/>
                  </a:lnTo>
                  <a:lnTo>
                    <a:pt x="152709" y="302303"/>
                  </a:lnTo>
                  <a:lnTo>
                    <a:pt x="152286" y="303240"/>
                  </a:lnTo>
                  <a:lnTo>
                    <a:pt x="152618" y="305479"/>
                  </a:lnTo>
                  <a:lnTo>
                    <a:pt x="152376" y="306235"/>
                  </a:lnTo>
                  <a:lnTo>
                    <a:pt x="151257" y="306508"/>
                  </a:lnTo>
                  <a:lnTo>
                    <a:pt x="150047" y="306992"/>
                  </a:lnTo>
                  <a:lnTo>
                    <a:pt x="150259" y="308141"/>
                  </a:lnTo>
                  <a:lnTo>
                    <a:pt x="152104" y="310924"/>
                  </a:lnTo>
                  <a:lnTo>
                    <a:pt x="152739" y="311711"/>
                  </a:lnTo>
                  <a:lnTo>
                    <a:pt x="153344" y="312618"/>
                  </a:lnTo>
                  <a:lnTo>
                    <a:pt x="153647" y="313768"/>
                  </a:lnTo>
                  <a:lnTo>
                    <a:pt x="152497" y="316884"/>
                  </a:lnTo>
                  <a:lnTo>
                    <a:pt x="151892" y="320151"/>
                  </a:lnTo>
                  <a:lnTo>
                    <a:pt x="150228" y="324659"/>
                  </a:lnTo>
                  <a:lnTo>
                    <a:pt x="149956" y="325385"/>
                  </a:lnTo>
                  <a:lnTo>
                    <a:pt x="149230" y="327260"/>
                  </a:lnTo>
                  <a:lnTo>
                    <a:pt x="148413" y="327744"/>
                  </a:lnTo>
                  <a:lnTo>
                    <a:pt x="148171" y="328410"/>
                  </a:lnTo>
                  <a:lnTo>
                    <a:pt x="148202" y="329136"/>
                  </a:lnTo>
                  <a:lnTo>
                    <a:pt x="148807" y="329529"/>
                  </a:lnTo>
                  <a:lnTo>
                    <a:pt x="148837" y="330225"/>
                  </a:lnTo>
                  <a:lnTo>
                    <a:pt x="147596" y="334883"/>
                  </a:lnTo>
                  <a:lnTo>
                    <a:pt x="147415" y="336214"/>
                  </a:lnTo>
                  <a:lnTo>
                    <a:pt x="147748" y="338090"/>
                  </a:lnTo>
                  <a:lnTo>
                    <a:pt x="150228" y="344745"/>
                  </a:lnTo>
                  <a:lnTo>
                    <a:pt x="150410" y="346228"/>
                  </a:lnTo>
                  <a:lnTo>
                    <a:pt x="150652" y="347044"/>
                  </a:lnTo>
                  <a:lnTo>
                    <a:pt x="151257" y="347952"/>
                  </a:lnTo>
                  <a:lnTo>
                    <a:pt x="151650" y="349011"/>
                  </a:lnTo>
                  <a:lnTo>
                    <a:pt x="151438" y="350009"/>
                  </a:lnTo>
                  <a:lnTo>
                    <a:pt x="151045" y="351038"/>
                  </a:lnTo>
                  <a:lnTo>
                    <a:pt x="150894" y="352066"/>
                  </a:lnTo>
                  <a:lnTo>
                    <a:pt x="151197" y="353064"/>
                  </a:lnTo>
                  <a:lnTo>
                    <a:pt x="152074" y="354759"/>
                  </a:lnTo>
                  <a:lnTo>
                    <a:pt x="152286" y="355243"/>
                  </a:lnTo>
                  <a:lnTo>
                    <a:pt x="151983" y="355908"/>
                  </a:lnTo>
                  <a:lnTo>
                    <a:pt x="150652" y="356786"/>
                  </a:lnTo>
                  <a:lnTo>
                    <a:pt x="150228" y="357512"/>
                  </a:lnTo>
                  <a:lnTo>
                    <a:pt x="150471" y="361353"/>
                  </a:lnTo>
                  <a:lnTo>
                    <a:pt x="152074" y="365377"/>
                  </a:lnTo>
                  <a:lnTo>
                    <a:pt x="153828" y="368523"/>
                  </a:lnTo>
                  <a:lnTo>
                    <a:pt x="154676" y="369763"/>
                  </a:lnTo>
                  <a:lnTo>
                    <a:pt x="155553" y="383013"/>
                  </a:lnTo>
                  <a:lnTo>
                    <a:pt x="155371" y="385131"/>
                  </a:lnTo>
                  <a:lnTo>
                    <a:pt x="155976" y="386855"/>
                  </a:lnTo>
                  <a:lnTo>
                    <a:pt x="154554" y="387521"/>
                  </a:lnTo>
                  <a:lnTo>
                    <a:pt x="151257" y="387491"/>
                  </a:lnTo>
                  <a:lnTo>
                    <a:pt x="149926" y="387914"/>
                  </a:lnTo>
                  <a:lnTo>
                    <a:pt x="148262" y="389033"/>
                  </a:lnTo>
                  <a:lnTo>
                    <a:pt x="146629" y="390516"/>
                  </a:lnTo>
                  <a:lnTo>
                    <a:pt x="145358" y="391998"/>
                  </a:lnTo>
                  <a:lnTo>
                    <a:pt x="150954" y="394721"/>
                  </a:lnTo>
                  <a:lnTo>
                    <a:pt x="153284" y="396385"/>
                  </a:lnTo>
                  <a:lnTo>
                    <a:pt x="154978" y="399198"/>
                  </a:lnTo>
                  <a:lnTo>
                    <a:pt x="155341" y="399984"/>
                  </a:lnTo>
                  <a:lnTo>
                    <a:pt x="155613" y="400287"/>
                  </a:lnTo>
                  <a:lnTo>
                    <a:pt x="155734" y="400590"/>
                  </a:lnTo>
                  <a:lnTo>
                    <a:pt x="155795" y="405006"/>
                  </a:lnTo>
                  <a:lnTo>
                    <a:pt x="156491" y="406367"/>
                  </a:lnTo>
                  <a:lnTo>
                    <a:pt x="159153" y="409332"/>
                  </a:lnTo>
                  <a:lnTo>
                    <a:pt x="159364" y="408425"/>
                  </a:lnTo>
                  <a:lnTo>
                    <a:pt x="160060" y="406761"/>
                  </a:lnTo>
                  <a:lnTo>
                    <a:pt x="160937" y="405218"/>
                  </a:lnTo>
                  <a:lnTo>
                    <a:pt x="160937" y="405188"/>
                  </a:lnTo>
                  <a:lnTo>
                    <a:pt x="166292" y="401497"/>
                  </a:lnTo>
                  <a:lnTo>
                    <a:pt x="173492" y="402011"/>
                  </a:lnTo>
                  <a:lnTo>
                    <a:pt x="181024" y="403826"/>
                  </a:lnTo>
                  <a:lnTo>
                    <a:pt x="187468" y="404069"/>
                  </a:lnTo>
                  <a:lnTo>
                    <a:pt x="189616" y="403161"/>
                  </a:lnTo>
                  <a:lnTo>
                    <a:pt x="190039" y="401588"/>
                  </a:lnTo>
                  <a:lnTo>
                    <a:pt x="189404" y="397141"/>
                  </a:lnTo>
                  <a:lnTo>
                    <a:pt x="189192" y="396869"/>
                  </a:lnTo>
                  <a:lnTo>
                    <a:pt x="189222" y="396566"/>
                  </a:lnTo>
                  <a:lnTo>
                    <a:pt x="189797" y="395598"/>
                  </a:lnTo>
                  <a:lnTo>
                    <a:pt x="189858" y="395447"/>
                  </a:lnTo>
                  <a:lnTo>
                    <a:pt x="190463" y="394963"/>
                  </a:lnTo>
                  <a:lnTo>
                    <a:pt x="193125" y="393783"/>
                  </a:lnTo>
                  <a:lnTo>
                    <a:pt x="191734" y="392028"/>
                  </a:lnTo>
                  <a:lnTo>
                    <a:pt x="191310" y="390213"/>
                  </a:lnTo>
                  <a:lnTo>
                    <a:pt x="191098" y="388368"/>
                  </a:lnTo>
                  <a:lnTo>
                    <a:pt x="190554" y="386492"/>
                  </a:lnTo>
                  <a:lnTo>
                    <a:pt x="189253" y="385282"/>
                  </a:lnTo>
                  <a:lnTo>
                    <a:pt x="187680" y="384435"/>
                  </a:lnTo>
                  <a:lnTo>
                    <a:pt x="186803" y="383497"/>
                  </a:lnTo>
                  <a:lnTo>
                    <a:pt x="187468" y="381955"/>
                  </a:lnTo>
                  <a:lnTo>
                    <a:pt x="189828" y="378778"/>
                  </a:lnTo>
                  <a:lnTo>
                    <a:pt x="190947" y="377659"/>
                  </a:lnTo>
                  <a:lnTo>
                    <a:pt x="192671" y="376600"/>
                  </a:lnTo>
                  <a:lnTo>
                    <a:pt x="195575" y="375723"/>
                  </a:lnTo>
                  <a:lnTo>
                    <a:pt x="196211" y="374664"/>
                  </a:lnTo>
                  <a:lnTo>
                    <a:pt x="195787" y="373242"/>
                  </a:lnTo>
                  <a:lnTo>
                    <a:pt x="195515" y="372214"/>
                  </a:lnTo>
                  <a:lnTo>
                    <a:pt x="197118" y="369733"/>
                  </a:lnTo>
                  <a:lnTo>
                    <a:pt x="203864" y="369128"/>
                  </a:lnTo>
                  <a:lnTo>
                    <a:pt x="206496" y="367706"/>
                  </a:lnTo>
                  <a:lnTo>
                    <a:pt x="206829" y="366436"/>
                  </a:lnTo>
                  <a:lnTo>
                    <a:pt x="206708" y="365074"/>
                  </a:lnTo>
                  <a:lnTo>
                    <a:pt x="206436" y="363864"/>
                  </a:lnTo>
                  <a:lnTo>
                    <a:pt x="206496" y="363108"/>
                  </a:lnTo>
                  <a:lnTo>
                    <a:pt x="207253" y="362503"/>
                  </a:lnTo>
                  <a:lnTo>
                    <a:pt x="210187" y="361898"/>
                  </a:lnTo>
                  <a:lnTo>
                    <a:pt x="212093" y="360869"/>
                  </a:lnTo>
                  <a:lnTo>
                    <a:pt x="213363" y="359720"/>
                  </a:lnTo>
                  <a:lnTo>
                    <a:pt x="214059" y="358026"/>
                  </a:lnTo>
                  <a:lnTo>
                    <a:pt x="214210" y="355333"/>
                  </a:lnTo>
                  <a:lnTo>
                    <a:pt x="213787" y="353125"/>
                  </a:lnTo>
                  <a:lnTo>
                    <a:pt x="212395" y="348527"/>
                  </a:lnTo>
                  <a:lnTo>
                    <a:pt x="212456" y="346318"/>
                  </a:lnTo>
                  <a:lnTo>
                    <a:pt x="213575" y="344382"/>
                  </a:lnTo>
                  <a:lnTo>
                    <a:pt x="215299" y="343324"/>
                  </a:lnTo>
                  <a:lnTo>
                    <a:pt x="232875" y="339088"/>
                  </a:lnTo>
                  <a:lnTo>
                    <a:pt x="235356" y="337999"/>
                  </a:lnTo>
                  <a:lnTo>
                    <a:pt x="235598" y="335367"/>
                  </a:lnTo>
                  <a:lnTo>
                    <a:pt x="233813" y="329589"/>
                  </a:lnTo>
                  <a:lnTo>
                    <a:pt x="233541" y="326292"/>
                  </a:lnTo>
                  <a:lnTo>
                    <a:pt x="234327" y="324205"/>
                  </a:lnTo>
                  <a:lnTo>
                    <a:pt x="237806" y="320605"/>
                  </a:lnTo>
                  <a:lnTo>
                    <a:pt x="240075" y="317005"/>
                  </a:lnTo>
                  <a:lnTo>
                    <a:pt x="241255" y="313859"/>
                  </a:lnTo>
                  <a:lnTo>
                    <a:pt x="240710" y="310955"/>
                  </a:lnTo>
                  <a:lnTo>
                    <a:pt x="238139" y="308716"/>
                  </a:lnTo>
                  <a:lnTo>
                    <a:pt x="234751" y="305781"/>
                  </a:lnTo>
                  <a:lnTo>
                    <a:pt x="234751" y="305781"/>
                  </a:lnTo>
                  <a:lnTo>
                    <a:pt x="233027" y="303694"/>
                  </a:lnTo>
                  <a:lnTo>
                    <a:pt x="232966" y="301849"/>
                  </a:lnTo>
                  <a:lnTo>
                    <a:pt x="233662" y="299943"/>
                  </a:lnTo>
                  <a:lnTo>
                    <a:pt x="234267" y="297523"/>
                  </a:lnTo>
                  <a:lnTo>
                    <a:pt x="234176" y="295405"/>
                  </a:lnTo>
                  <a:lnTo>
                    <a:pt x="232422" y="289113"/>
                  </a:lnTo>
                  <a:lnTo>
                    <a:pt x="231605" y="284182"/>
                  </a:lnTo>
                  <a:lnTo>
                    <a:pt x="232210" y="280431"/>
                  </a:lnTo>
                  <a:lnTo>
                    <a:pt x="234267" y="277496"/>
                  </a:lnTo>
                  <a:lnTo>
                    <a:pt x="241769" y="272838"/>
                  </a:lnTo>
                  <a:lnTo>
                    <a:pt x="245339" y="271567"/>
                  </a:lnTo>
                  <a:lnTo>
                    <a:pt x="247245" y="270932"/>
                  </a:lnTo>
                  <a:lnTo>
                    <a:pt x="256078" y="266303"/>
                  </a:lnTo>
                  <a:lnTo>
                    <a:pt x="258256" y="266303"/>
                  </a:lnTo>
                  <a:lnTo>
                    <a:pt x="259860" y="268209"/>
                  </a:lnTo>
                  <a:lnTo>
                    <a:pt x="260525" y="271083"/>
                  </a:lnTo>
                  <a:lnTo>
                    <a:pt x="260616" y="282427"/>
                  </a:lnTo>
                  <a:lnTo>
                    <a:pt x="260434" y="284000"/>
                  </a:lnTo>
                  <a:lnTo>
                    <a:pt x="259769" y="285301"/>
                  </a:lnTo>
                  <a:lnTo>
                    <a:pt x="258861" y="286542"/>
                  </a:lnTo>
                  <a:lnTo>
                    <a:pt x="258166" y="287812"/>
                  </a:lnTo>
                  <a:lnTo>
                    <a:pt x="258196" y="289234"/>
                  </a:lnTo>
                  <a:lnTo>
                    <a:pt x="259920" y="290565"/>
                  </a:lnTo>
                  <a:lnTo>
                    <a:pt x="262128" y="289294"/>
                  </a:lnTo>
                  <a:lnTo>
                    <a:pt x="265789" y="285574"/>
                  </a:lnTo>
                  <a:lnTo>
                    <a:pt x="267029" y="285150"/>
                  </a:lnTo>
                  <a:lnTo>
                    <a:pt x="267725" y="285362"/>
                  </a:lnTo>
                  <a:lnTo>
                    <a:pt x="268239" y="285150"/>
                  </a:lnTo>
                  <a:lnTo>
                    <a:pt x="268905" y="283456"/>
                  </a:lnTo>
                  <a:lnTo>
                    <a:pt x="268965" y="282246"/>
                  </a:lnTo>
                  <a:lnTo>
                    <a:pt x="268512" y="279554"/>
                  </a:lnTo>
                  <a:lnTo>
                    <a:pt x="268814" y="277890"/>
                  </a:lnTo>
                  <a:lnTo>
                    <a:pt x="270569" y="275167"/>
                  </a:lnTo>
                  <a:lnTo>
                    <a:pt x="271990" y="275621"/>
                  </a:lnTo>
                  <a:lnTo>
                    <a:pt x="274350" y="280219"/>
                  </a:lnTo>
                  <a:lnTo>
                    <a:pt x="276165" y="282700"/>
                  </a:lnTo>
                  <a:lnTo>
                    <a:pt x="277436" y="282670"/>
                  </a:lnTo>
                  <a:lnTo>
                    <a:pt x="281792" y="276468"/>
                  </a:lnTo>
                  <a:lnTo>
                    <a:pt x="283667" y="274532"/>
                  </a:lnTo>
                  <a:lnTo>
                    <a:pt x="285664" y="273503"/>
                  </a:lnTo>
                  <a:lnTo>
                    <a:pt x="285785" y="273473"/>
                  </a:lnTo>
                  <a:lnTo>
                    <a:pt x="288115" y="273836"/>
                  </a:lnTo>
                  <a:lnTo>
                    <a:pt x="288659" y="274653"/>
                  </a:lnTo>
                  <a:lnTo>
                    <a:pt x="288841" y="275530"/>
                  </a:lnTo>
                  <a:lnTo>
                    <a:pt x="288659" y="276468"/>
                  </a:lnTo>
                  <a:lnTo>
                    <a:pt x="288115" y="277376"/>
                  </a:lnTo>
                  <a:lnTo>
                    <a:pt x="287540" y="278465"/>
                  </a:lnTo>
                  <a:lnTo>
                    <a:pt x="287358" y="279493"/>
                  </a:lnTo>
                  <a:lnTo>
                    <a:pt x="287540" y="280491"/>
                  </a:lnTo>
                  <a:lnTo>
                    <a:pt x="288115" y="281459"/>
                  </a:lnTo>
                  <a:lnTo>
                    <a:pt x="289657" y="282034"/>
                  </a:lnTo>
                  <a:lnTo>
                    <a:pt x="292803" y="282579"/>
                  </a:lnTo>
                  <a:lnTo>
                    <a:pt x="294195" y="283063"/>
                  </a:lnTo>
                  <a:lnTo>
                    <a:pt x="295617" y="284242"/>
                  </a:lnTo>
                  <a:lnTo>
                    <a:pt x="297008" y="287207"/>
                  </a:lnTo>
                  <a:lnTo>
                    <a:pt x="298370" y="288871"/>
                  </a:lnTo>
                  <a:lnTo>
                    <a:pt x="299943" y="289779"/>
                  </a:lnTo>
                  <a:lnTo>
                    <a:pt x="301667" y="289930"/>
                  </a:lnTo>
                  <a:lnTo>
                    <a:pt x="303331" y="289355"/>
                  </a:lnTo>
                  <a:lnTo>
                    <a:pt x="304692" y="288084"/>
                  </a:lnTo>
                  <a:lnTo>
                    <a:pt x="305418" y="285906"/>
                  </a:lnTo>
                  <a:lnTo>
                    <a:pt x="304934" y="282639"/>
                  </a:lnTo>
                  <a:lnTo>
                    <a:pt x="305570" y="281792"/>
                  </a:lnTo>
                  <a:lnTo>
                    <a:pt x="308413" y="281762"/>
                  </a:lnTo>
                  <a:lnTo>
                    <a:pt x="310440" y="281036"/>
                  </a:lnTo>
                  <a:lnTo>
                    <a:pt x="311559" y="279039"/>
                  </a:lnTo>
                  <a:lnTo>
                    <a:pt x="311590" y="275288"/>
                  </a:lnTo>
                  <a:lnTo>
                    <a:pt x="312860" y="277345"/>
                  </a:lnTo>
                  <a:lnTo>
                    <a:pt x="318154" y="282004"/>
                  </a:lnTo>
                  <a:lnTo>
                    <a:pt x="320272" y="285029"/>
                  </a:lnTo>
                  <a:lnTo>
                    <a:pt x="320725" y="286179"/>
                  </a:lnTo>
                  <a:lnTo>
                    <a:pt x="320907" y="287389"/>
                  </a:lnTo>
                  <a:lnTo>
                    <a:pt x="320847" y="289960"/>
                  </a:lnTo>
                  <a:lnTo>
                    <a:pt x="321058" y="290898"/>
                  </a:lnTo>
                  <a:lnTo>
                    <a:pt x="323055" y="292925"/>
                  </a:lnTo>
                  <a:lnTo>
                    <a:pt x="325021" y="292652"/>
                  </a:lnTo>
                  <a:lnTo>
                    <a:pt x="328742" y="289627"/>
                  </a:lnTo>
                  <a:lnTo>
                    <a:pt x="330557" y="288690"/>
                  </a:lnTo>
                  <a:lnTo>
                    <a:pt x="332161" y="288327"/>
                  </a:lnTo>
                  <a:lnTo>
                    <a:pt x="344110" y="288992"/>
                  </a:lnTo>
                  <a:lnTo>
                    <a:pt x="348496" y="288296"/>
                  </a:lnTo>
                  <a:lnTo>
                    <a:pt x="351128" y="285906"/>
                  </a:lnTo>
                  <a:lnTo>
                    <a:pt x="353579" y="281762"/>
                  </a:lnTo>
                  <a:lnTo>
                    <a:pt x="352248" y="280975"/>
                  </a:lnTo>
                  <a:close/>
                </a:path>
              </a:pathLst>
            </a:custGeom>
            <a:solidFill>
              <a:srgbClr val="96A3AC"/>
            </a:solidFill>
            <a:ln w="3175" cap="flat">
              <a:solidFill>
                <a:schemeClr val="bg1"/>
              </a:solidFill>
              <a:prstDash val="solid"/>
              <a:miter/>
            </a:ln>
          </p:spPr>
          <p:txBody>
            <a:bodyPr rtlCol="0" anchor="ctr"/>
            <a:lstStyle/>
            <a:p>
              <a:endParaRPr lang="en-ID"/>
            </a:p>
          </p:txBody>
        </p:sp>
        <p:sp>
          <p:nvSpPr>
            <p:cNvPr id="31" name="Freeform: Shape 30">
              <a:extLst>
                <a:ext uri="{FF2B5EF4-FFF2-40B4-BE49-F238E27FC236}">
                  <a16:creationId xmlns:a16="http://schemas.microsoft.com/office/drawing/2014/main" id="{0960FB99-5976-1E81-C7A1-30B1304B88D0}"/>
                </a:ext>
              </a:extLst>
            </p:cNvPr>
            <p:cNvSpPr/>
            <p:nvPr/>
          </p:nvSpPr>
          <p:spPr>
            <a:xfrm>
              <a:off x="10238853" y="4218574"/>
              <a:ext cx="274831" cy="318169"/>
            </a:xfrm>
            <a:custGeom>
              <a:avLst/>
              <a:gdLst>
                <a:gd name="connsiteX0" fmla="*/ 352248 w 353578"/>
                <a:gd name="connsiteY0" fmla="*/ 280975 h 409332"/>
                <a:gd name="connsiteX1" fmla="*/ 350614 w 353578"/>
                <a:gd name="connsiteY1" fmla="*/ 280703 h 409332"/>
                <a:gd name="connsiteX2" fmla="*/ 349071 w 353578"/>
                <a:gd name="connsiteY2" fmla="*/ 280945 h 409332"/>
                <a:gd name="connsiteX3" fmla="*/ 348103 w 353578"/>
                <a:gd name="connsiteY3" fmla="*/ 281762 h 409332"/>
                <a:gd name="connsiteX4" fmla="*/ 346379 w 353578"/>
                <a:gd name="connsiteY4" fmla="*/ 279886 h 409332"/>
                <a:gd name="connsiteX5" fmla="*/ 341750 w 353578"/>
                <a:gd name="connsiteY5" fmla="*/ 276528 h 409332"/>
                <a:gd name="connsiteX6" fmla="*/ 342537 w 353578"/>
                <a:gd name="connsiteY6" fmla="*/ 275379 h 409332"/>
                <a:gd name="connsiteX7" fmla="*/ 341297 w 353578"/>
                <a:gd name="connsiteY7" fmla="*/ 273019 h 409332"/>
                <a:gd name="connsiteX8" fmla="*/ 340631 w 353578"/>
                <a:gd name="connsiteY8" fmla="*/ 272202 h 409332"/>
                <a:gd name="connsiteX9" fmla="*/ 339845 w 353578"/>
                <a:gd name="connsiteY9" fmla="*/ 271628 h 409332"/>
                <a:gd name="connsiteX10" fmla="*/ 339270 w 353578"/>
                <a:gd name="connsiteY10" fmla="*/ 271597 h 409332"/>
                <a:gd name="connsiteX11" fmla="*/ 338060 w 353578"/>
                <a:gd name="connsiteY11" fmla="*/ 272323 h 409332"/>
                <a:gd name="connsiteX12" fmla="*/ 337394 w 353578"/>
                <a:gd name="connsiteY12" fmla="*/ 272535 h 409332"/>
                <a:gd name="connsiteX13" fmla="*/ 337031 w 353578"/>
                <a:gd name="connsiteY13" fmla="*/ 272233 h 409332"/>
                <a:gd name="connsiteX14" fmla="*/ 336517 w 353578"/>
                <a:gd name="connsiteY14" fmla="*/ 270962 h 409332"/>
                <a:gd name="connsiteX15" fmla="*/ 336335 w 353578"/>
                <a:gd name="connsiteY15" fmla="*/ 270629 h 409332"/>
                <a:gd name="connsiteX16" fmla="*/ 331919 w 353578"/>
                <a:gd name="connsiteY16" fmla="*/ 268905 h 409332"/>
                <a:gd name="connsiteX17" fmla="*/ 330497 w 353578"/>
                <a:gd name="connsiteY17" fmla="*/ 267271 h 409332"/>
                <a:gd name="connsiteX18" fmla="*/ 330164 w 353578"/>
                <a:gd name="connsiteY18" fmla="*/ 264276 h 409332"/>
                <a:gd name="connsiteX19" fmla="*/ 331919 w 353578"/>
                <a:gd name="connsiteY19" fmla="*/ 264125 h 409332"/>
                <a:gd name="connsiteX20" fmla="*/ 334127 w 353578"/>
                <a:gd name="connsiteY20" fmla="*/ 263732 h 409332"/>
                <a:gd name="connsiteX21" fmla="*/ 335277 w 353578"/>
                <a:gd name="connsiteY21" fmla="*/ 260828 h 409332"/>
                <a:gd name="connsiteX22" fmla="*/ 335035 w 353578"/>
                <a:gd name="connsiteY22" fmla="*/ 259557 h 409332"/>
                <a:gd name="connsiteX23" fmla="*/ 333794 w 353578"/>
                <a:gd name="connsiteY23" fmla="*/ 256804 h 409332"/>
                <a:gd name="connsiteX24" fmla="*/ 333431 w 353578"/>
                <a:gd name="connsiteY24" fmla="*/ 255413 h 409332"/>
                <a:gd name="connsiteX25" fmla="*/ 333492 w 353578"/>
                <a:gd name="connsiteY25" fmla="*/ 253658 h 409332"/>
                <a:gd name="connsiteX26" fmla="*/ 333855 w 353578"/>
                <a:gd name="connsiteY26" fmla="*/ 252388 h 409332"/>
                <a:gd name="connsiteX27" fmla="*/ 334339 w 353578"/>
                <a:gd name="connsiteY27" fmla="*/ 251178 h 409332"/>
                <a:gd name="connsiteX28" fmla="*/ 334762 w 353578"/>
                <a:gd name="connsiteY28" fmla="*/ 249605 h 409332"/>
                <a:gd name="connsiteX29" fmla="*/ 335579 w 353578"/>
                <a:gd name="connsiteY29" fmla="*/ 241225 h 409332"/>
                <a:gd name="connsiteX30" fmla="*/ 335428 w 353578"/>
                <a:gd name="connsiteY30" fmla="*/ 238744 h 409332"/>
                <a:gd name="connsiteX31" fmla="*/ 334974 w 353578"/>
                <a:gd name="connsiteY31" fmla="*/ 237716 h 409332"/>
                <a:gd name="connsiteX32" fmla="*/ 333885 w 353578"/>
                <a:gd name="connsiteY32" fmla="*/ 235780 h 409332"/>
                <a:gd name="connsiteX33" fmla="*/ 333492 w 353578"/>
                <a:gd name="connsiteY33" fmla="*/ 234781 h 409332"/>
                <a:gd name="connsiteX34" fmla="*/ 333340 w 353578"/>
                <a:gd name="connsiteY34" fmla="*/ 233541 h 409332"/>
                <a:gd name="connsiteX35" fmla="*/ 333371 w 353578"/>
                <a:gd name="connsiteY35" fmla="*/ 230667 h 409332"/>
                <a:gd name="connsiteX36" fmla="*/ 333129 w 353578"/>
                <a:gd name="connsiteY36" fmla="*/ 229759 h 409332"/>
                <a:gd name="connsiteX37" fmla="*/ 332040 w 353578"/>
                <a:gd name="connsiteY37" fmla="*/ 229185 h 409332"/>
                <a:gd name="connsiteX38" fmla="*/ 331072 w 353578"/>
                <a:gd name="connsiteY38" fmla="*/ 229608 h 409332"/>
                <a:gd name="connsiteX39" fmla="*/ 330134 w 353578"/>
                <a:gd name="connsiteY39" fmla="*/ 230183 h 409332"/>
                <a:gd name="connsiteX40" fmla="*/ 329226 w 353578"/>
                <a:gd name="connsiteY40" fmla="*/ 230123 h 409332"/>
                <a:gd name="connsiteX41" fmla="*/ 328772 w 353578"/>
                <a:gd name="connsiteY41" fmla="*/ 229367 h 409332"/>
                <a:gd name="connsiteX42" fmla="*/ 327956 w 353578"/>
                <a:gd name="connsiteY42" fmla="*/ 226916 h 409332"/>
                <a:gd name="connsiteX43" fmla="*/ 327502 w 353578"/>
                <a:gd name="connsiteY43" fmla="*/ 225978 h 409332"/>
                <a:gd name="connsiteX44" fmla="*/ 324628 w 353578"/>
                <a:gd name="connsiteY44" fmla="*/ 223770 h 409332"/>
                <a:gd name="connsiteX45" fmla="*/ 321754 w 353578"/>
                <a:gd name="connsiteY45" fmla="*/ 223437 h 409332"/>
                <a:gd name="connsiteX46" fmla="*/ 318790 w 353578"/>
                <a:gd name="connsiteY46" fmla="*/ 223709 h 409332"/>
                <a:gd name="connsiteX47" fmla="*/ 315613 w 353578"/>
                <a:gd name="connsiteY47" fmla="*/ 223256 h 409332"/>
                <a:gd name="connsiteX48" fmla="*/ 313768 w 353578"/>
                <a:gd name="connsiteY48" fmla="*/ 222015 h 409332"/>
                <a:gd name="connsiteX49" fmla="*/ 311408 w 353578"/>
                <a:gd name="connsiteY49" fmla="*/ 218476 h 409332"/>
                <a:gd name="connsiteX50" fmla="*/ 309774 w 353578"/>
                <a:gd name="connsiteY50" fmla="*/ 216933 h 409332"/>
                <a:gd name="connsiteX51" fmla="*/ 308232 w 353578"/>
                <a:gd name="connsiteY51" fmla="*/ 216419 h 409332"/>
                <a:gd name="connsiteX52" fmla="*/ 304934 w 353578"/>
                <a:gd name="connsiteY52" fmla="*/ 216177 h 409332"/>
                <a:gd name="connsiteX53" fmla="*/ 303301 w 353578"/>
                <a:gd name="connsiteY53" fmla="*/ 215632 h 409332"/>
                <a:gd name="connsiteX54" fmla="*/ 302423 w 353578"/>
                <a:gd name="connsiteY54" fmla="*/ 214937 h 409332"/>
                <a:gd name="connsiteX55" fmla="*/ 300881 w 353578"/>
                <a:gd name="connsiteY55" fmla="*/ 213242 h 409332"/>
                <a:gd name="connsiteX56" fmla="*/ 299943 w 353578"/>
                <a:gd name="connsiteY56" fmla="*/ 212788 h 409332"/>
                <a:gd name="connsiteX57" fmla="*/ 297402 w 353578"/>
                <a:gd name="connsiteY57" fmla="*/ 213000 h 409332"/>
                <a:gd name="connsiteX58" fmla="*/ 296827 w 353578"/>
                <a:gd name="connsiteY58" fmla="*/ 212879 h 409332"/>
                <a:gd name="connsiteX59" fmla="*/ 295950 w 353578"/>
                <a:gd name="connsiteY59" fmla="*/ 211397 h 409332"/>
                <a:gd name="connsiteX60" fmla="*/ 296040 w 353578"/>
                <a:gd name="connsiteY60" fmla="*/ 209612 h 409332"/>
                <a:gd name="connsiteX61" fmla="*/ 296131 w 353578"/>
                <a:gd name="connsiteY61" fmla="*/ 209280 h 409332"/>
                <a:gd name="connsiteX62" fmla="*/ 296585 w 353578"/>
                <a:gd name="connsiteY62" fmla="*/ 207494 h 409332"/>
                <a:gd name="connsiteX63" fmla="*/ 297341 w 353578"/>
                <a:gd name="connsiteY63" fmla="*/ 202473 h 409332"/>
                <a:gd name="connsiteX64" fmla="*/ 298430 w 353578"/>
                <a:gd name="connsiteY64" fmla="*/ 200960 h 409332"/>
                <a:gd name="connsiteX65" fmla="*/ 299640 w 353578"/>
                <a:gd name="connsiteY65" fmla="*/ 199690 h 409332"/>
                <a:gd name="connsiteX66" fmla="*/ 300397 w 353578"/>
                <a:gd name="connsiteY66" fmla="*/ 197844 h 409332"/>
                <a:gd name="connsiteX67" fmla="*/ 300306 w 353578"/>
                <a:gd name="connsiteY67" fmla="*/ 195787 h 409332"/>
                <a:gd name="connsiteX68" fmla="*/ 299580 w 353578"/>
                <a:gd name="connsiteY68" fmla="*/ 193942 h 409332"/>
                <a:gd name="connsiteX69" fmla="*/ 298430 w 353578"/>
                <a:gd name="connsiteY69" fmla="*/ 192520 h 409332"/>
                <a:gd name="connsiteX70" fmla="*/ 297099 w 353578"/>
                <a:gd name="connsiteY70" fmla="*/ 191643 h 409332"/>
                <a:gd name="connsiteX71" fmla="*/ 295224 w 353578"/>
                <a:gd name="connsiteY71" fmla="*/ 191824 h 409332"/>
                <a:gd name="connsiteX72" fmla="*/ 294014 w 353578"/>
                <a:gd name="connsiteY72" fmla="*/ 193367 h 409332"/>
                <a:gd name="connsiteX73" fmla="*/ 293136 w 353578"/>
                <a:gd name="connsiteY73" fmla="*/ 195091 h 409332"/>
                <a:gd name="connsiteX74" fmla="*/ 292047 w 353578"/>
                <a:gd name="connsiteY74" fmla="*/ 195939 h 409332"/>
                <a:gd name="connsiteX75" fmla="*/ 291200 w 353578"/>
                <a:gd name="connsiteY75" fmla="*/ 195091 h 409332"/>
                <a:gd name="connsiteX76" fmla="*/ 288115 w 353578"/>
                <a:gd name="connsiteY76" fmla="*/ 189797 h 409332"/>
                <a:gd name="connsiteX77" fmla="*/ 287872 w 353578"/>
                <a:gd name="connsiteY77" fmla="*/ 189344 h 409332"/>
                <a:gd name="connsiteX78" fmla="*/ 287812 w 353578"/>
                <a:gd name="connsiteY78" fmla="*/ 188920 h 409332"/>
                <a:gd name="connsiteX79" fmla="*/ 287872 w 353578"/>
                <a:gd name="connsiteY79" fmla="*/ 188527 h 409332"/>
                <a:gd name="connsiteX80" fmla="*/ 288115 w 353578"/>
                <a:gd name="connsiteY80" fmla="*/ 188134 h 409332"/>
                <a:gd name="connsiteX81" fmla="*/ 290898 w 353578"/>
                <a:gd name="connsiteY81" fmla="*/ 187892 h 409332"/>
                <a:gd name="connsiteX82" fmla="*/ 293106 w 353578"/>
                <a:gd name="connsiteY82" fmla="*/ 187287 h 409332"/>
                <a:gd name="connsiteX83" fmla="*/ 294558 w 353578"/>
                <a:gd name="connsiteY83" fmla="*/ 185683 h 409332"/>
                <a:gd name="connsiteX84" fmla="*/ 295133 w 353578"/>
                <a:gd name="connsiteY84" fmla="*/ 182325 h 409332"/>
                <a:gd name="connsiteX85" fmla="*/ 294104 w 353578"/>
                <a:gd name="connsiteY85" fmla="*/ 175216 h 409332"/>
                <a:gd name="connsiteX86" fmla="*/ 294467 w 353578"/>
                <a:gd name="connsiteY86" fmla="*/ 172282 h 409332"/>
                <a:gd name="connsiteX87" fmla="*/ 296948 w 353578"/>
                <a:gd name="connsiteY87" fmla="*/ 171072 h 409332"/>
                <a:gd name="connsiteX88" fmla="*/ 298097 w 353578"/>
                <a:gd name="connsiteY88" fmla="*/ 168712 h 409332"/>
                <a:gd name="connsiteX89" fmla="*/ 298007 w 353578"/>
                <a:gd name="connsiteY89" fmla="*/ 165566 h 409332"/>
                <a:gd name="connsiteX90" fmla="*/ 297099 w 353578"/>
                <a:gd name="connsiteY90" fmla="*/ 162390 h 409332"/>
                <a:gd name="connsiteX91" fmla="*/ 295738 w 353578"/>
                <a:gd name="connsiteY91" fmla="*/ 160060 h 409332"/>
                <a:gd name="connsiteX92" fmla="*/ 294044 w 353578"/>
                <a:gd name="connsiteY92" fmla="*/ 158669 h 409332"/>
                <a:gd name="connsiteX93" fmla="*/ 292138 w 353578"/>
                <a:gd name="connsiteY93" fmla="*/ 158033 h 409332"/>
                <a:gd name="connsiteX94" fmla="*/ 290141 w 353578"/>
                <a:gd name="connsiteY94" fmla="*/ 157912 h 409332"/>
                <a:gd name="connsiteX95" fmla="*/ 288115 w 353578"/>
                <a:gd name="connsiteY95" fmla="*/ 158124 h 409332"/>
                <a:gd name="connsiteX96" fmla="*/ 287086 w 353578"/>
                <a:gd name="connsiteY96" fmla="*/ 160242 h 409332"/>
                <a:gd name="connsiteX97" fmla="*/ 286632 w 353578"/>
                <a:gd name="connsiteY97" fmla="*/ 162299 h 409332"/>
                <a:gd name="connsiteX98" fmla="*/ 285936 w 353578"/>
                <a:gd name="connsiteY98" fmla="*/ 164205 h 409332"/>
                <a:gd name="connsiteX99" fmla="*/ 284182 w 353578"/>
                <a:gd name="connsiteY99" fmla="*/ 165748 h 409332"/>
                <a:gd name="connsiteX100" fmla="*/ 282548 w 353578"/>
                <a:gd name="connsiteY100" fmla="*/ 166231 h 409332"/>
                <a:gd name="connsiteX101" fmla="*/ 280945 w 353578"/>
                <a:gd name="connsiteY101" fmla="*/ 166080 h 409332"/>
                <a:gd name="connsiteX102" fmla="*/ 279432 w 353578"/>
                <a:gd name="connsiteY102" fmla="*/ 165415 h 409332"/>
                <a:gd name="connsiteX103" fmla="*/ 278041 w 353578"/>
                <a:gd name="connsiteY103" fmla="*/ 164265 h 409332"/>
                <a:gd name="connsiteX104" fmla="*/ 277042 w 353578"/>
                <a:gd name="connsiteY104" fmla="*/ 162723 h 409332"/>
                <a:gd name="connsiteX105" fmla="*/ 276710 w 353578"/>
                <a:gd name="connsiteY105" fmla="*/ 162208 h 409332"/>
                <a:gd name="connsiteX106" fmla="*/ 276407 w 353578"/>
                <a:gd name="connsiteY106" fmla="*/ 160272 h 409332"/>
                <a:gd name="connsiteX107" fmla="*/ 276347 w 353578"/>
                <a:gd name="connsiteY107" fmla="*/ 158306 h 409332"/>
                <a:gd name="connsiteX108" fmla="*/ 275832 w 353578"/>
                <a:gd name="connsiteY108" fmla="*/ 156158 h 409332"/>
                <a:gd name="connsiteX109" fmla="*/ 274532 w 353578"/>
                <a:gd name="connsiteY109" fmla="*/ 154373 h 409332"/>
                <a:gd name="connsiteX110" fmla="*/ 272959 w 353578"/>
                <a:gd name="connsiteY110" fmla="*/ 153708 h 409332"/>
                <a:gd name="connsiteX111" fmla="*/ 271385 w 353578"/>
                <a:gd name="connsiteY111" fmla="*/ 153405 h 409332"/>
                <a:gd name="connsiteX112" fmla="*/ 269994 w 353578"/>
                <a:gd name="connsiteY112" fmla="*/ 152679 h 409332"/>
                <a:gd name="connsiteX113" fmla="*/ 269177 w 353578"/>
                <a:gd name="connsiteY113" fmla="*/ 151227 h 409332"/>
                <a:gd name="connsiteX114" fmla="*/ 268723 w 353578"/>
                <a:gd name="connsiteY114" fmla="*/ 149593 h 409332"/>
                <a:gd name="connsiteX115" fmla="*/ 268028 w 353578"/>
                <a:gd name="connsiteY115" fmla="*/ 148141 h 409332"/>
                <a:gd name="connsiteX116" fmla="*/ 264942 w 353578"/>
                <a:gd name="connsiteY116" fmla="*/ 146235 h 409332"/>
                <a:gd name="connsiteX117" fmla="*/ 263127 w 353578"/>
                <a:gd name="connsiteY117" fmla="*/ 143362 h 409332"/>
                <a:gd name="connsiteX118" fmla="*/ 261705 w 353578"/>
                <a:gd name="connsiteY118" fmla="*/ 142666 h 409332"/>
                <a:gd name="connsiteX119" fmla="*/ 260041 w 353578"/>
                <a:gd name="connsiteY119" fmla="*/ 143331 h 409332"/>
                <a:gd name="connsiteX120" fmla="*/ 259073 w 353578"/>
                <a:gd name="connsiteY120" fmla="*/ 144814 h 409332"/>
                <a:gd name="connsiteX121" fmla="*/ 258045 w 353578"/>
                <a:gd name="connsiteY121" fmla="*/ 145630 h 409332"/>
                <a:gd name="connsiteX122" fmla="*/ 256199 w 353578"/>
                <a:gd name="connsiteY122" fmla="*/ 144329 h 409332"/>
                <a:gd name="connsiteX123" fmla="*/ 255382 w 353578"/>
                <a:gd name="connsiteY123" fmla="*/ 142877 h 409332"/>
                <a:gd name="connsiteX124" fmla="*/ 253809 w 353578"/>
                <a:gd name="connsiteY124" fmla="*/ 138763 h 409332"/>
                <a:gd name="connsiteX125" fmla="*/ 253537 w 353578"/>
                <a:gd name="connsiteY125" fmla="*/ 138219 h 409332"/>
                <a:gd name="connsiteX126" fmla="*/ 252872 w 353578"/>
                <a:gd name="connsiteY126" fmla="*/ 137009 h 409332"/>
                <a:gd name="connsiteX127" fmla="*/ 252872 w 353578"/>
                <a:gd name="connsiteY127" fmla="*/ 137009 h 409332"/>
                <a:gd name="connsiteX128" fmla="*/ 252872 w 353578"/>
                <a:gd name="connsiteY128" fmla="*/ 136979 h 409332"/>
                <a:gd name="connsiteX129" fmla="*/ 252841 w 353578"/>
                <a:gd name="connsiteY129" fmla="*/ 136979 h 409332"/>
                <a:gd name="connsiteX130" fmla="*/ 251540 w 353578"/>
                <a:gd name="connsiteY130" fmla="*/ 131503 h 409332"/>
                <a:gd name="connsiteX131" fmla="*/ 252872 w 353578"/>
                <a:gd name="connsiteY131" fmla="*/ 127903 h 409332"/>
                <a:gd name="connsiteX132" fmla="*/ 255443 w 353578"/>
                <a:gd name="connsiteY132" fmla="*/ 124727 h 409332"/>
                <a:gd name="connsiteX133" fmla="*/ 258045 w 353578"/>
                <a:gd name="connsiteY133" fmla="*/ 120552 h 409332"/>
                <a:gd name="connsiteX134" fmla="*/ 259073 w 353578"/>
                <a:gd name="connsiteY134" fmla="*/ 115379 h 409332"/>
                <a:gd name="connsiteX135" fmla="*/ 258982 w 353578"/>
                <a:gd name="connsiteY135" fmla="*/ 110539 h 409332"/>
                <a:gd name="connsiteX136" fmla="*/ 259527 w 353578"/>
                <a:gd name="connsiteY136" fmla="*/ 106273 h 409332"/>
                <a:gd name="connsiteX137" fmla="*/ 262522 w 353578"/>
                <a:gd name="connsiteY137" fmla="*/ 102734 h 409332"/>
                <a:gd name="connsiteX138" fmla="*/ 263732 w 353578"/>
                <a:gd name="connsiteY138" fmla="*/ 100979 h 409332"/>
                <a:gd name="connsiteX139" fmla="*/ 263339 w 353578"/>
                <a:gd name="connsiteY139" fmla="*/ 99497 h 409332"/>
                <a:gd name="connsiteX140" fmla="*/ 262068 w 353578"/>
                <a:gd name="connsiteY140" fmla="*/ 98408 h 409332"/>
                <a:gd name="connsiteX141" fmla="*/ 258589 w 353578"/>
                <a:gd name="connsiteY141" fmla="*/ 97228 h 409332"/>
                <a:gd name="connsiteX142" fmla="*/ 257621 w 353578"/>
                <a:gd name="connsiteY142" fmla="*/ 96351 h 409332"/>
                <a:gd name="connsiteX143" fmla="*/ 257621 w 353578"/>
                <a:gd name="connsiteY143" fmla="*/ 94838 h 409332"/>
                <a:gd name="connsiteX144" fmla="*/ 258529 w 353578"/>
                <a:gd name="connsiteY144" fmla="*/ 92418 h 409332"/>
                <a:gd name="connsiteX145" fmla="*/ 259739 w 353578"/>
                <a:gd name="connsiteY145" fmla="*/ 90875 h 409332"/>
                <a:gd name="connsiteX146" fmla="*/ 261584 w 353578"/>
                <a:gd name="connsiteY146" fmla="*/ 89030 h 409332"/>
                <a:gd name="connsiteX147" fmla="*/ 263127 w 353578"/>
                <a:gd name="connsiteY147" fmla="*/ 87064 h 409332"/>
                <a:gd name="connsiteX148" fmla="*/ 263460 w 353578"/>
                <a:gd name="connsiteY148" fmla="*/ 85188 h 409332"/>
                <a:gd name="connsiteX149" fmla="*/ 262461 w 353578"/>
                <a:gd name="connsiteY149" fmla="*/ 84523 h 409332"/>
                <a:gd name="connsiteX150" fmla="*/ 258498 w 353578"/>
                <a:gd name="connsiteY150" fmla="*/ 83433 h 409332"/>
                <a:gd name="connsiteX151" fmla="*/ 257077 w 353578"/>
                <a:gd name="connsiteY151" fmla="*/ 82405 h 409332"/>
                <a:gd name="connsiteX152" fmla="*/ 256290 w 353578"/>
                <a:gd name="connsiteY152" fmla="*/ 80378 h 409332"/>
                <a:gd name="connsiteX153" fmla="*/ 255382 w 353578"/>
                <a:gd name="connsiteY153" fmla="*/ 75659 h 409332"/>
                <a:gd name="connsiteX154" fmla="*/ 254626 w 353578"/>
                <a:gd name="connsiteY154" fmla="*/ 73541 h 409332"/>
                <a:gd name="connsiteX155" fmla="*/ 253446 w 353578"/>
                <a:gd name="connsiteY155" fmla="*/ 71756 h 409332"/>
                <a:gd name="connsiteX156" fmla="*/ 252206 w 353578"/>
                <a:gd name="connsiteY156" fmla="*/ 70698 h 409332"/>
                <a:gd name="connsiteX157" fmla="*/ 250784 w 353578"/>
                <a:gd name="connsiteY157" fmla="*/ 70183 h 409332"/>
                <a:gd name="connsiteX158" fmla="*/ 249030 w 353578"/>
                <a:gd name="connsiteY158" fmla="*/ 70123 h 409332"/>
                <a:gd name="connsiteX159" fmla="*/ 245853 w 353578"/>
                <a:gd name="connsiteY159" fmla="*/ 71575 h 409332"/>
                <a:gd name="connsiteX160" fmla="*/ 241467 w 353578"/>
                <a:gd name="connsiteY160" fmla="*/ 76899 h 409332"/>
                <a:gd name="connsiteX161" fmla="*/ 237806 w 353578"/>
                <a:gd name="connsiteY161" fmla="*/ 77534 h 409332"/>
                <a:gd name="connsiteX162" fmla="*/ 234721 w 353578"/>
                <a:gd name="connsiteY162" fmla="*/ 76385 h 409332"/>
                <a:gd name="connsiteX163" fmla="*/ 233299 w 353578"/>
                <a:gd name="connsiteY163" fmla="*/ 75356 h 409332"/>
                <a:gd name="connsiteX164" fmla="*/ 231151 w 353578"/>
                <a:gd name="connsiteY164" fmla="*/ 73844 h 409332"/>
                <a:gd name="connsiteX165" fmla="*/ 227914 w 353578"/>
                <a:gd name="connsiteY165" fmla="*/ 70576 h 409332"/>
                <a:gd name="connsiteX166" fmla="*/ 225857 w 353578"/>
                <a:gd name="connsiteY166" fmla="*/ 67309 h 409332"/>
                <a:gd name="connsiteX167" fmla="*/ 225191 w 353578"/>
                <a:gd name="connsiteY167" fmla="*/ 66281 h 409332"/>
                <a:gd name="connsiteX168" fmla="*/ 223558 w 353578"/>
                <a:gd name="connsiteY168" fmla="*/ 64859 h 409332"/>
                <a:gd name="connsiteX169" fmla="*/ 222862 w 353578"/>
                <a:gd name="connsiteY169" fmla="*/ 63952 h 409332"/>
                <a:gd name="connsiteX170" fmla="*/ 222711 w 353578"/>
                <a:gd name="connsiteY170" fmla="*/ 63104 h 409332"/>
                <a:gd name="connsiteX171" fmla="*/ 222378 w 353578"/>
                <a:gd name="connsiteY171" fmla="*/ 59505 h 409332"/>
                <a:gd name="connsiteX172" fmla="*/ 220745 w 353578"/>
                <a:gd name="connsiteY172" fmla="*/ 55935 h 409332"/>
                <a:gd name="connsiteX173" fmla="*/ 220503 w 353578"/>
                <a:gd name="connsiteY173" fmla="*/ 54997 h 409332"/>
                <a:gd name="connsiteX174" fmla="*/ 220442 w 353578"/>
                <a:gd name="connsiteY174" fmla="*/ 54029 h 409332"/>
                <a:gd name="connsiteX175" fmla="*/ 220200 w 353578"/>
                <a:gd name="connsiteY175" fmla="*/ 53031 h 409332"/>
                <a:gd name="connsiteX176" fmla="*/ 219504 w 353578"/>
                <a:gd name="connsiteY176" fmla="*/ 51942 h 409332"/>
                <a:gd name="connsiteX177" fmla="*/ 216691 w 353578"/>
                <a:gd name="connsiteY177" fmla="*/ 50187 h 409332"/>
                <a:gd name="connsiteX178" fmla="*/ 213061 w 353578"/>
                <a:gd name="connsiteY178" fmla="*/ 49612 h 409332"/>
                <a:gd name="connsiteX179" fmla="*/ 206073 w 353578"/>
                <a:gd name="connsiteY179" fmla="*/ 49522 h 409332"/>
                <a:gd name="connsiteX180" fmla="*/ 196816 w 353578"/>
                <a:gd name="connsiteY180" fmla="*/ 45982 h 409332"/>
                <a:gd name="connsiteX181" fmla="*/ 193579 w 353578"/>
                <a:gd name="connsiteY181" fmla="*/ 45831 h 409332"/>
                <a:gd name="connsiteX182" fmla="*/ 191340 w 353578"/>
                <a:gd name="connsiteY182" fmla="*/ 46769 h 409332"/>
                <a:gd name="connsiteX183" fmla="*/ 189525 w 353578"/>
                <a:gd name="connsiteY183" fmla="*/ 51790 h 409332"/>
                <a:gd name="connsiteX184" fmla="*/ 189525 w 353578"/>
                <a:gd name="connsiteY184" fmla="*/ 51790 h 409332"/>
                <a:gd name="connsiteX185" fmla="*/ 189374 w 353578"/>
                <a:gd name="connsiteY185" fmla="*/ 52335 h 409332"/>
                <a:gd name="connsiteX186" fmla="*/ 188829 w 353578"/>
                <a:gd name="connsiteY186" fmla="*/ 54694 h 409332"/>
                <a:gd name="connsiteX187" fmla="*/ 188769 w 353578"/>
                <a:gd name="connsiteY187" fmla="*/ 57054 h 409332"/>
                <a:gd name="connsiteX188" fmla="*/ 188406 w 353578"/>
                <a:gd name="connsiteY188" fmla="*/ 58325 h 409332"/>
                <a:gd name="connsiteX189" fmla="*/ 187347 w 353578"/>
                <a:gd name="connsiteY189" fmla="*/ 58416 h 409332"/>
                <a:gd name="connsiteX190" fmla="*/ 185320 w 353578"/>
                <a:gd name="connsiteY190" fmla="*/ 57084 h 409332"/>
                <a:gd name="connsiteX191" fmla="*/ 184110 w 353578"/>
                <a:gd name="connsiteY191" fmla="*/ 55935 h 409332"/>
                <a:gd name="connsiteX192" fmla="*/ 181266 w 353578"/>
                <a:gd name="connsiteY192" fmla="*/ 50490 h 409332"/>
                <a:gd name="connsiteX193" fmla="*/ 182930 w 353578"/>
                <a:gd name="connsiteY193" fmla="*/ 48765 h 409332"/>
                <a:gd name="connsiteX194" fmla="*/ 183051 w 353578"/>
                <a:gd name="connsiteY194" fmla="*/ 46678 h 409332"/>
                <a:gd name="connsiteX195" fmla="*/ 182083 w 353578"/>
                <a:gd name="connsiteY195" fmla="*/ 44803 h 409332"/>
                <a:gd name="connsiteX196" fmla="*/ 180510 w 353578"/>
                <a:gd name="connsiteY196" fmla="*/ 43774 h 409332"/>
                <a:gd name="connsiteX197" fmla="*/ 178181 w 353578"/>
                <a:gd name="connsiteY197" fmla="*/ 44077 h 409332"/>
                <a:gd name="connsiteX198" fmla="*/ 176880 w 353578"/>
                <a:gd name="connsiteY198" fmla="*/ 45740 h 409332"/>
                <a:gd name="connsiteX199" fmla="*/ 175821 w 353578"/>
                <a:gd name="connsiteY199" fmla="*/ 47828 h 409332"/>
                <a:gd name="connsiteX200" fmla="*/ 174278 w 353578"/>
                <a:gd name="connsiteY200" fmla="*/ 49461 h 409332"/>
                <a:gd name="connsiteX201" fmla="*/ 172161 w 353578"/>
                <a:gd name="connsiteY201" fmla="*/ 49824 h 409332"/>
                <a:gd name="connsiteX202" fmla="*/ 171041 w 353578"/>
                <a:gd name="connsiteY202" fmla="*/ 48674 h 409332"/>
                <a:gd name="connsiteX203" fmla="*/ 170830 w 353578"/>
                <a:gd name="connsiteY203" fmla="*/ 46738 h 409332"/>
                <a:gd name="connsiteX204" fmla="*/ 171525 w 353578"/>
                <a:gd name="connsiteY204" fmla="*/ 44833 h 409332"/>
                <a:gd name="connsiteX205" fmla="*/ 173099 w 353578"/>
                <a:gd name="connsiteY205" fmla="*/ 43108 h 409332"/>
                <a:gd name="connsiteX206" fmla="*/ 174551 w 353578"/>
                <a:gd name="connsiteY206" fmla="*/ 42231 h 409332"/>
                <a:gd name="connsiteX207" fmla="*/ 175640 w 353578"/>
                <a:gd name="connsiteY207" fmla="*/ 40991 h 409332"/>
                <a:gd name="connsiteX208" fmla="*/ 176305 w 353578"/>
                <a:gd name="connsiteY208" fmla="*/ 38117 h 409332"/>
                <a:gd name="connsiteX209" fmla="*/ 176154 w 353578"/>
                <a:gd name="connsiteY209" fmla="*/ 35485 h 409332"/>
                <a:gd name="connsiteX210" fmla="*/ 175095 w 353578"/>
                <a:gd name="connsiteY210" fmla="*/ 34366 h 409332"/>
                <a:gd name="connsiteX211" fmla="*/ 173371 w 353578"/>
                <a:gd name="connsiteY211" fmla="*/ 34154 h 409332"/>
                <a:gd name="connsiteX212" fmla="*/ 168712 w 353578"/>
                <a:gd name="connsiteY212" fmla="*/ 34668 h 409332"/>
                <a:gd name="connsiteX213" fmla="*/ 167018 w 353578"/>
                <a:gd name="connsiteY213" fmla="*/ 35697 h 409332"/>
                <a:gd name="connsiteX214" fmla="*/ 165445 w 353578"/>
                <a:gd name="connsiteY214" fmla="*/ 36967 h 409332"/>
                <a:gd name="connsiteX215" fmla="*/ 163267 w 353578"/>
                <a:gd name="connsiteY215" fmla="*/ 38117 h 409332"/>
                <a:gd name="connsiteX216" fmla="*/ 160937 w 353578"/>
                <a:gd name="connsiteY216" fmla="*/ 38601 h 409332"/>
                <a:gd name="connsiteX217" fmla="*/ 159213 w 353578"/>
                <a:gd name="connsiteY217" fmla="*/ 38117 h 409332"/>
                <a:gd name="connsiteX218" fmla="*/ 158124 w 353578"/>
                <a:gd name="connsiteY218" fmla="*/ 36544 h 409332"/>
                <a:gd name="connsiteX219" fmla="*/ 157791 w 353578"/>
                <a:gd name="connsiteY219" fmla="*/ 33852 h 409332"/>
                <a:gd name="connsiteX220" fmla="*/ 157035 w 353578"/>
                <a:gd name="connsiteY220" fmla="*/ 31583 h 409332"/>
                <a:gd name="connsiteX221" fmla="*/ 155402 w 353578"/>
                <a:gd name="connsiteY221" fmla="*/ 31794 h 409332"/>
                <a:gd name="connsiteX222" fmla="*/ 152286 w 353578"/>
                <a:gd name="connsiteY222" fmla="*/ 34245 h 409332"/>
                <a:gd name="connsiteX223" fmla="*/ 150712 w 353578"/>
                <a:gd name="connsiteY223" fmla="*/ 34638 h 409332"/>
                <a:gd name="connsiteX224" fmla="*/ 148474 w 353578"/>
                <a:gd name="connsiteY224" fmla="*/ 34547 h 409332"/>
                <a:gd name="connsiteX225" fmla="*/ 147022 w 353578"/>
                <a:gd name="connsiteY225" fmla="*/ 33489 h 409332"/>
                <a:gd name="connsiteX226" fmla="*/ 148988 w 353578"/>
                <a:gd name="connsiteY226" fmla="*/ 28073 h 409332"/>
                <a:gd name="connsiteX227" fmla="*/ 148413 w 353578"/>
                <a:gd name="connsiteY227" fmla="*/ 25593 h 409332"/>
                <a:gd name="connsiteX228" fmla="*/ 146780 w 353578"/>
                <a:gd name="connsiteY228" fmla="*/ 23778 h 409332"/>
                <a:gd name="connsiteX229" fmla="*/ 144723 w 353578"/>
                <a:gd name="connsiteY229" fmla="*/ 22870 h 409332"/>
                <a:gd name="connsiteX230" fmla="*/ 139398 w 353578"/>
                <a:gd name="connsiteY230" fmla="*/ 22265 h 409332"/>
                <a:gd name="connsiteX231" fmla="*/ 135768 w 353578"/>
                <a:gd name="connsiteY231" fmla="*/ 21841 h 409332"/>
                <a:gd name="connsiteX232" fmla="*/ 131684 w 353578"/>
                <a:gd name="connsiteY232" fmla="*/ 20389 h 409332"/>
                <a:gd name="connsiteX233" fmla="*/ 129476 w 353578"/>
                <a:gd name="connsiteY233" fmla="*/ 17183 h 409332"/>
                <a:gd name="connsiteX234" fmla="*/ 128689 w 353578"/>
                <a:gd name="connsiteY234" fmla="*/ 16517 h 409332"/>
                <a:gd name="connsiteX235" fmla="*/ 127540 w 353578"/>
                <a:gd name="connsiteY235" fmla="*/ 14974 h 409332"/>
                <a:gd name="connsiteX236" fmla="*/ 125483 w 353578"/>
                <a:gd name="connsiteY236" fmla="*/ 12131 h 409332"/>
                <a:gd name="connsiteX237" fmla="*/ 123970 w 353578"/>
                <a:gd name="connsiteY237" fmla="*/ 10649 h 409332"/>
                <a:gd name="connsiteX238" fmla="*/ 117496 w 353578"/>
                <a:gd name="connsiteY238" fmla="*/ 6202 h 409332"/>
                <a:gd name="connsiteX239" fmla="*/ 114108 w 353578"/>
                <a:gd name="connsiteY239" fmla="*/ 4750 h 409332"/>
                <a:gd name="connsiteX240" fmla="*/ 101554 w 353578"/>
                <a:gd name="connsiteY240" fmla="*/ 4840 h 409332"/>
                <a:gd name="connsiteX241" fmla="*/ 99527 w 353578"/>
                <a:gd name="connsiteY241" fmla="*/ 3933 h 409332"/>
                <a:gd name="connsiteX242" fmla="*/ 99315 w 353578"/>
                <a:gd name="connsiteY242" fmla="*/ 272 h 409332"/>
                <a:gd name="connsiteX243" fmla="*/ 97137 w 353578"/>
                <a:gd name="connsiteY243" fmla="*/ 0 h 409332"/>
                <a:gd name="connsiteX244" fmla="*/ 94505 w 353578"/>
                <a:gd name="connsiteY244" fmla="*/ 1603 h 409332"/>
                <a:gd name="connsiteX245" fmla="*/ 93326 w 353578"/>
                <a:gd name="connsiteY245" fmla="*/ 1876 h 409332"/>
                <a:gd name="connsiteX246" fmla="*/ 89151 w 353578"/>
                <a:gd name="connsiteY246" fmla="*/ 1876 h 409332"/>
                <a:gd name="connsiteX247" fmla="*/ 86852 w 353578"/>
                <a:gd name="connsiteY247" fmla="*/ 4810 h 409332"/>
                <a:gd name="connsiteX248" fmla="*/ 80741 w 353578"/>
                <a:gd name="connsiteY248" fmla="*/ 9590 h 409332"/>
                <a:gd name="connsiteX249" fmla="*/ 79077 w 353578"/>
                <a:gd name="connsiteY249" fmla="*/ 10376 h 409332"/>
                <a:gd name="connsiteX250" fmla="*/ 77685 w 353578"/>
                <a:gd name="connsiteY250" fmla="*/ 9892 h 409332"/>
                <a:gd name="connsiteX251" fmla="*/ 74812 w 353578"/>
                <a:gd name="connsiteY251" fmla="*/ 7411 h 409332"/>
                <a:gd name="connsiteX252" fmla="*/ 72906 w 353578"/>
                <a:gd name="connsiteY252" fmla="*/ 6928 h 409332"/>
                <a:gd name="connsiteX253" fmla="*/ 69246 w 353578"/>
                <a:gd name="connsiteY253" fmla="*/ 8682 h 409332"/>
                <a:gd name="connsiteX254" fmla="*/ 63800 w 353578"/>
                <a:gd name="connsiteY254" fmla="*/ 14974 h 409332"/>
                <a:gd name="connsiteX255" fmla="*/ 63255 w 353578"/>
                <a:gd name="connsiteY255" fmla="*/ 15610 h 409332"/>
                <a:gd name="connsiteX256" fmla="*/ 59444 w 353578"/>
                <a:gd name="connsiteY256" fmla="*/ 17455 h 409332"/>
                <a:gd name="connsiteX257" fmla="*/ 56146 w 353578"/>
                <a:gd name="connsiteY257" fmla="*/ 17273 h 409332"/>
                <a:gd name="connsiteX258" fmla="*/ 45377 w 353578"/>
                <a:gd name="connsiteY258" fmla="*/ 13522 h 409332"/>
                <a:gd name="connsiteX259" fmla="*/ 43290 w 353578"/>
                <a:gd name="connsiteY259" fmla="*/ 12282 h 409332"/>
                <a:gd name="connsiteX260" fmla="*/ 42231 w 353578"/>
                <a:gd name="connsiteY260" fmla="*/ 12010 h 409332"/>
                <a:gd name="connsiteX261" fmla="*/ 41112 w 353578"/>
                <a:gd name="connsiteY261" fmla="*/ 12373 h 409332"/>
                <a:gd name="connsiteX262" fmla="*/ 41021 w 353578"/>
                <a:gd name="connsiteY262" fmla="*/ 13371 h 409332"/>
                <a:gd name="connsiteX263" fmla="*/ 41293 w 353578"/>
                <a:gd name="connsiteY263" fmla="*/ 14551 h 409332"/>
                <a:gd name="connsiteX264" fmla="*/ 41263 w 353578"/>
                <a:gd name="connsiteY264" fmla="*/ 15489 h 409332"/>
                <a:gd name="connsiteX265" fmla="*/ 41323 w 353578"/>
                <a:gd name="connsiteY265" fmla="*/ 16033 h 409332"/>
                <a:gd name="connsiteX266" fmla="*/ 41656 w 353578"/>
                <a:gd name="connsiteY266" fmla="*/ 16790 h 409332"/>
                <a:gd name="connsiteX267" fmla="*/ 41777 w 353578"/>
                <a:gd name="connsiteY267" fmla="*/ 17516 h 409332"/>
                <a:gd name="connsiteX268" fmla="*/ 41233 w 353578"/>
                <a:gd name="connsiteY268" fmla="*/ 17848 h 409332"/>
                <a:gd name="connsiteX269" fmla="*/ 40023 w 353578"/>
                <a:gd name="connsiteY269" fmla="*/ 17607 h 409332"/>
                <a:gd name="connsiteX270" fmla="*/ 38934 w 353578"/>
                <a:gd name="connsiteY270" fmla="*/ 17727 h 409332"/>
                <a:gd name="connsiteX271" fmla="*/ 38238 w 353578"/>
                <a:gd name="connsiteY271" fmla="*/ 17334 h 409332"/>
                <a:gd name="connsiteX272" fmla="*/ 37511 w 353578"/>
                <a:gd name="connsiteY272" fmla="*/ 17213 h 409332"/>
                <a:gd name="connsiteX273" fmla="*/ 36544 w 353578"/>
                <a:gd name="connsiteY273" fmla="*/ 18121 h 409332"/>
                <a:gd name="connsiteX274" fmla="*/ 32762 w 353578"/>
                <a:gd name="connsiteY274" fmla="*/ 18726 h 409332"/>
                <a:gd name="connsiteX275" fmla="*/ 29283 w 353578"/>
                <a:gd name="connsiteY275" fmla="*/ 16790 h 409332"/>
                <a:gd name="connsiteX276" fmla="*/ 25956 w 353578"/>
                <a:gd name="connsiteY276" fmla="*/ 14188 h 409332"/>
                <a:gd name="connsiteX277" fmla="*/ 22628 w 353578"/>
                <a:gd name="connsiteY277" fmla="*/ 12827 h 409332"/>
                <a:gd name="connsiteX278" fmla="*/ 21539 w 353578"/>
                <a:gd name="connsiteY278" fmla="*/ 13159 h 409332"/>
                <a:gd name="connsiteX279" fmla="*/ 21206 w 353578"/>
                <a:gd name="connsiteY279" fmla="*/ 14037 h 409332"/>
                <a:gd name="connsiteX280" fmla="*/ 20903 w 353578"/>
                <a:gd name="connsiteY280" fmla="*/ 15065 h 409332"/>
                <a:gd name="connsiteX281" fmla="*/ 20057 w 353578"/>
                <a:gd name="connsiteY281" fmla="*/ 15882 h 409332"/>
                <a:gd name="connsiteX282" fmla="*/ 19361 w 353578"/>
                <a:gd name="connsiteY282" fmla="*/ 15882 h 409332"/>
                <a:gd name="connsiteX283" fmla="*/ 17697 w 353578"/>
                <a:gd name="connsiteY283" fmla="*/ 15277 h 409332"/>
                <a:gd name="connsiteX284" fmla="*/ 17152 w 353578"/>
                <a:gd name="connsiteY284" fmla="*/ 15307 h 409332"/>
                <a:gd name="connsiteX285" fmla="*/ 16063 w 353578"/>
                <a:gd name="connsiteY285" fmla="*/ 16669 h 409332"/>
                <a:gd name="connsiteX286" fmla="*/ 16154 w 353578"/>
                <a:gd name="connsiteY286" fmla="*/ 17909 h 409332"/>
                <a:gd name="connsiteX287" fmla="*/ 16729 w 353578"/>
                <a:gd name="connsiteY287" fmla="*/ 19603 h 409332"/>
                <a:gd name="connsiteX288" fmla="*/ 17273 w 353578"/>
                <a:gd name="connsiteY288" fmla="*/ 22265 h 409332"/>
                <a:gd name="connsiteX289" fmla="*/ 17334 w 353578"/>
                <a:gd name="connsiteY289" fmla="*/ 24897 h 409332"/>
                <a:gd name="connsiteX290" fmla="*/ 16880 w 353578"/>
                <a:gd name="connsiteY290" fmla="*/ 26682 h 409332"/>
                <a:gd name="connsiteX291" fmla="*/ 15761 w 353578"/>
                <a:gd name="connsiteY291" fmla="*/ 27650 h 409332"/>
                <a:gd name="connsiteX292" fmla="*/ 13764 w 353578"/>
                <a:gd name="connsiteY292" fmla="*/ 27801 h 409332"/>
                <a:gd name="connsiteX293" fmla="*/ 11889 w 353578"/>
                <a:gd name="connsiteY293" fmla="*/ 27015 h 409332"/>
                <a:gd name="connsiteX294" fmla="*/ 10648 w 353578"/>
                <a:gd name="connsiteY294" fmla="*/ 25502 h 409332"/>
                <a:gd name="connsiteX295" fmla="*/ 9589 w 353578"/>
                <a:gd name="connsiteY295" fmla="*/ 23778 h 409332"/>
                <a:gd name="connsiteX296" fmla="*/ 8228 w 353578"/>
                <a:gd name="connsiteY296" fmla="*/ 22386 h 409332"/>
                <a:gd name="connsiteX297" fmla="*/ 6232 w 353578"/>
                <a:gd name="connsiteY297" fmla="*/ 21690 h 409332"/>
                <a:gd name="connsiteX298" fmla="*/ 5657 w 353578"/>
                <a:gd name="connsiteY298" fmla="*/ 22840 h 409332"/>
                <a:gd name="connsiteX299" fmla="*/ 5143 w 353578"/>
                <a:gd name="connsiteY299" fmla="*/ 24625 h 409332"/>
                <a:gd name="connsiteX300" fmla="*/ 1845 w 353578"/>
                <a:gd name="connsiteY300" fmla="*/ 26561 h 409332"/>
                <a:gd name="connsiteX301" fmla="*/ 726 w 353578"/>
                <a:gd name="connsiteY301" fmla="*/ 28224 h 409332"/>
                <a:gd name="connsiteX302" fmla="*/ 90 w 353578"/>
                <a:gd name="connsiteY302" fmla="*/ 30433 h 409332"/>
                <a:gd name="connsiteX303" fmla="*/ 0 w 353578"/>
                <a:gd name="connsiteY303" fmla="*/ 31552 h 409332"/>
                <a:gd name="connsiteX304" fmla="*/ 4840 w 353578"/>
                <a:gd name="connsiteY304" fmla="*/ 29435 h 409332"/>
                <a:gd name="connsiteX305" fmla="*/ 7109 w 353578"/>
                <a:gd name="connsiteY305" fmla="*/ 29344 h 409332"/>
                <a:gd name="connsiteX306" fmla="*/ 9408 w 353578"/>
                <a:gd name="connsiteY306" fmla="*/ 31220 h 409332"/>
                <a:gd name="connsiteX307" fmla="*/ 10527 w 353578"/>
                <a:gd name="connsiteY307" fmla="*/ 31431 h 409332"/>
                <a:gd name="connsiteX308" fmla="*/ 11616 w 353578"/>
                <a:gd name="connsiteY308" fmla="*/ 29919 h 409332"/>
                <a:gd name="connsiteX309" fmla="*/ 12705 w 353578"/>
                <a:gd name="connsiteY309" fmla="*/ 32036 h 409332"/>
                <a:gd name="connsiteX310" fmla="*/ 14672 w 353578"/>
                <a:gd name="connsiteY310" fmla="*/ 32429 h 409332"/>
                <a:gd name="connsiteX311" fmla="*/ 18816 w 353578"/>
                <a:gd name="connsiteY311" fmla="*/ 31643 h 409332"/>
                <a:gd name="connsiteX312" fmla="*/ 20540 w 353578"/>
                <a:gd name="connsiteY312" fmla="*/ 32429 h 409332"/>
                <a:gd name="connsiteX313" fmla="*/ 22840 w 353578"/>
                <a:gd name="connsiteY313" fmla="*/ 35122 h 409332"/>
                <a:gd name="connsiteX314" fmla="*/ 23929 w 353578"/>
                <a:gd name="connsiteY314" fmla="*/ 34487 h 409332"/>
                <a:gd name="connsiteX315" fmla="*/ 28164 w 353578"/>
                <a:gd name="connsiteY315" fmla="*/ 38480 h 409332"/>
                <a:gd name="connsiteX316" fmla="*/ 28799 w 353578"/>
                <a:gd name="connsiteY316" fmla="*/ 39539 h 409332"/>
                <a:gd name="connsiteX317" fmla="*/ 29192 w 353578"/>
                <a:gd name="connsiteY317" fmla="*/ 41868 h 409332"/>
                <a:gd name="connsiteX318" fmla="*/ 30191 w 353578"/>
                <a:gd name="connsiteY318" fmla="*/ 41384 h 409332"/>
                <a:gd name="connsiteX319" fmla="*/ 31310 w 353578"/>
                <a:gd name="connsiteY319" fmla="*/ 39872 h 409332"/>
                <a:gd name="connsiteX320" fmla="*/ 32248 w 353578"/>
                <a:gd name="connsiteY320" fmla="*/ 39055 h 409332"/>
                <a:gd name="connsiteX321" fmla="*/ 33488 w 353578"/>
                <a:gd name="connsiteY321" fmla="*/ 40053 h 409332"/>
                <a:gd name="connsiteX322" fmla="*/ 34003 w 353578"/>
                <a:gd name="connsiteY322" fmla="*/ 41687 h 409332"/>
                <a:gd name="connsiteX323" fmla="*/ 34759 w 353578"/>
                <a:gd name="connsiteY323" fmla="*/ 43139 h 409332"/>
                <a:gd name="connsiteX324" fmla="*/ 38238 w 353578"/>
                <a:gd name="connsiteY324" fmla="*/ 44349 h 409332"/>
                <a:gd name="connsiteX325" fmla="*/ 38238 w 353578"/>
                <a:gd name="connsiteY325" fmla="*/ 45559 h 409332"/>
                <a:gd name="connsiteX326" fmla="*/ 37088 w 353578"/>
                <a:gd name="connsiteY326" fmla="*/ 46587 h 409332"/>
                <a:gd name="connsiteX327" fmla="*/ 35092 w 353578"/>
                <a:gd name="connsiteY327" fmla="*/ 46708 h 409332"/>
                <a:gd name="connsiteX328" fmla="*/ 35092 w 353578"/>
                <a:gd name="connsiteY328" fmla="*/ 47585 h 409332"/>
                <a:gd name="connsiteX329" fmla="*/ 37845 w 353578"/>
                <a:gd name="connsiteY329" fmla="*/ 49098 h 409332"/>
                <a:gd name="connsiteX330" fmla="*/ 39750 w 353578"/>
                <a:gd name="connsiteY330" fmla="*/ 49703 h 409332"/>
                <a:gd name="connsiteX331" fmla="*/ 40990 w 353578"/>
                <a:gd name="connsiteY331" fmla="*/ 48735 h 409332"/>
                <a:gd name="connsiteX332" fmla="*/ 41868 w 353578"/>
                <a:gd name="connsiteY332" fmla="*/ 49098 h 409332"/>
                <a:gd name="connsiteX333" fmla="*/ 42776 w 353578"/>
                <a:gd name="connsiteY333" fmla="*/ 49794 h 409332"/>
                <a:gd name="connsiteX334" fmla="*/ 43290 w 353578"/>
                <a:gd name="connsiteY334" fmla="*/ 50490 h 409332"/>
                <a:gd name="connsiteX335" fmla="*/ 43290 w 353578"/>
                <a:gd name="connsiteY335" fmla="*/ 50611 h 409332"/>
                <a:gd name="connsiteX336" fmla="*/ 43229 w 353578"/>
                <a:gd name="connsiteY336" fmla="*/ 51276 h 409332"/>
                <a:gd name="connsiteX337" fmla="*/ 42170 w 353578"/>
                <a:gd name="connsiteY337" fmla="*/ 52547 h 409332"/>
                <a:gd name="connsiteX338" fmla="*/ 41898 w 353578"/>
                <a:gd name="connsiteY338" fmla="*/ 53333 h 409332"/>
                <a:gd name="connsiteX339" fmla="*/ 42654 w 353578"/>
                <a:gd name="connsiteY339" fmla="*/ 56721 h 409332"/>
                <a:gd name="connsiteX340" fmla="*/ 44409 w 353578"/>
                <a:gd name="connsiteY340" fmla="*/ 59353 h 409332"/>
                <a:gd name="connsiteX341" fmla="*/ 46829 w 353578"/>
                <a:gd name="connsiteY341" fmla="*/ 61350 h 409332"/>
                <a:gd name="connsiteX342" fmla="*/ 49461 w 353578"/>
                <a:gd name="connsiteY342" fmla="*/ 62772 h 409332"/>
                <a:gd name="connsiteX343" fmla="*/ 49461 w 353578"/>
                <a:gd name="connsiteY343" fmla="*/ 63770 h 409332"/>
                <a:gd name="connsiteX344" fmla="*/ 47404 w 353578"/>
                <a:gd name="connsiteY344" fmla="*/ 64647 h 409332"/>
                <a:gd name="connsiteX345" fmla="*/ 47525 w 353578"/>
                <a:gd name="connsiteY345" fmla="*/ 65222 h 409332"/>
                <a:gd name="connsiteX346" fmla="*/ 47646 w 353578"/>
                <a:gd name="connsiteY346" fmla="*/ 65767 h 409332"/>
                <a:gd name="connsiteX347" fmla="*/ 47858 w 353578"/>
                <a:gd name="connsiteY347" fmla="*/ 66220 h 409332"/>
                <a:gd name="connsiteX348" fmla="*/ 48099 w 353578"/>
                <a:gd name="connsiteY348" fmla="*/ 66614 h 409332"/>
                <a:gd name="connsiteX349" fmla="*/ 50671 w 353578"/>
                <a:gd name="connsiteY349" fmla="*/ 65555 h 409332"/>
                <a:gd name="connsiteX350" fmla="*/ 52002 w 353578"/>
                <a:gd name="connsiteY350" fmla="*/ 67309 h 409332"/>
                <a:gd name="connsiteX351" fmla="*/ 52940 w 353578"/>
                <a:gd name="connsiteY351" fmla="*/ 69185 h 409332"/>
                <a:gd name="connsiteX352" fmla="*/ 54271 w 353578"/>
                <a:gd name="connsiteY352" fmla="*/ 68489 h 409332"/>
                <a:gd name="connsiteX353" fmla="*/ 55451 w 353578"/>
                <a:gd name="connsiteY353" fmla="*/ 69730 h 409332"/>
                <a:gd name="connsiteX354" fmla="*/ 55542 w 353578"/>
                <a:gd name="connsiteY354" fmla="*/ 71000 h 409332"/>
                <a:gd name="connsiteX355" fmla="*/ 54846 w 353578"/>
                <a:gd name="connsiteY355" fmla="*/ 72210 h 409332"/>
                <a:gd name="connsiteX356" fmla="*/ 53666 w 353578"/>
                <a:gd name="connsiteY356" fmla="*/ 73208 h 409332"/>
                <a:gd name="connsiteX357" fmla="*/ 55783 w 353578"/>
                <a:gd name="connsiteY357" fmla="*/ 74781 h 409332"/>
                <a:gd name="connsiteX358" fmla="*/ 56419 w 353578"/>
                <a:gd name="connsiteY358" fmla="*/ 75084 h 409332"/>
                <a:gd name="connsiteX359" fmla="*/ 56419 w 353578"/>
                <a:gd name="connsiteY359" fmla="*/ 75931 h 409332"/>
                <a:gd name="connsiteX360" fmla="*/ 54634 w 353578"/>
                <a:gd name="connsiteY360" fmla="*/ 78170 h 409332"/>
                <a:gd name="connsiteX361" fmla="*/ 55723 w 353578"/>
                <a:gd name="connsiteY361" fmla="*/ 79440 h 409332"/>
                <a:gd name="connsiteX362" fmla="*/ 57992 w 353578"/>
                <a:gd name="connsiteY362" fmla="*/ 80590 h 409332"/>
                <a:gd name="connsiteX363" fmla="*/ 59837 w 353578"/>
                <a:gd name="connsiteY363" fmla="*/ 82617 h 409332"/>
                <a:gd name="connsiteX364" fmla="*/ 59747 w 353578"/>
                <a:gd name="connsiteY364" fmla="*/ 83222 h 409332"/>
                <a:gd name="connsiteX365" fmla="*/ 59928 w 353578"/>
                <a:gd name="connsiteY365" fmla="*/ 87487 h 409332"/>
                <a:gd name="connsiteX366" fmla="*/ 59837 w 353578"/>
                <a:gd name="connsiteY366" fmla="*/ 88334 h 409332"/>
                <a:gd name="connsiteX367" fmla="*/ 60896 w 353578"/>
                <a:gd name="connsiteY367" fmla="*/ 89060 h 409332"/>
                <a:gd name="connsiteX368" fmla="*/ 62106 w 353578"/>
                <a:gd name="connsiteY368" fmla="*/ 89393 h 409332"/>
                <a:gd name="connsiteX369" fmla="*/ 63195 w 353578"/>
                <a:gd name="connsiteY369" fmla="*/ 89907 h 409332"/>
                <a:gd name="connsiteX370" fmla="*/ 63952 w 353578"/>
                <a:gd name="connsiteY370" fmla="*/ 91057 h 409332"/>
                <a:gd name="connsiteX371" fmla="*/ 60503 w 353578"/>
                <a:gd name="connsiteY371" fmla="*/ 93023 h 409332"/>
                <a:gd name="connsiteX372" fmla="*/ 61713 w 353578"/>
                <a:gd name="connsiteY372" fmla="*/ 93961 h 409332"/>
                <a:gd name="connsiteX373" fmla="*/ 63104 w 353578"/>
                <a:gd name="connsiteY373" fmla="*/ 95927 h 409332"/>
                <a:gd name="connsiteX374" fmla="*/ 64254 w 353578"/>
                <a:gd name="connsiteY374" fmla="*/ 98015 h 409332"/>
                <a:gd name="connsiteX375" fmla="*/ 64708 w 353578"/>
                <a:gd name="connsiteY375" fmla="*/ 99164 h 409332"/>
                <a:gd name="connsiteX376" fmla="*/ 65101 w 353578"/>
                <a:gd name="connsiteY376" fmla="*/ 99799 h 409332"/>
                <a:gd name="connsiteX377" fmla="*/ 66886 w 353578"/>
                <a:gd name="connsiteY377" fmla="*/ 101010 h 409332"/>
                <a:gd name="connsiteX378" fmla="*/ 67400 w 353578"/>
                <a:gd name="connsiteY378" fmla="*/ 101463 h 409332"/>
                <a:gd name="connsiteX379" fmla="*/ 67460 w 353578"/>
                <a:gd name="connsiteY379" fmla="*/ 101705 h 409332"/>
                <a:gd name="connsiteX380" fmla="*/ 67763 w 353578"/>
                <a:gd name="connsiteY380" fmla="*/ 102855 h 409332"/>
                <a:gd name="connsiteX381" fmla="*/ 67612 w 353578"/>
                <a:gd name="connsiteY381" fmla="*/ 104307 h 409332"/>
                <a:gd name="connsiteX382" fmla="*/ 68156 w 353578"/>
                <a:gd name="connsiteY382" fmla="*/ 105305 h 409332"/>
                <a:gd name="connsiteX383" fmla="*/ 68156 w 353578"/>
                <a:gd name="connsiteY383" fmla="*/ 106152 h 409332"/>
                <a:gd name="connsiteX384" fmla="*/ 65827 w 353578"/>
                <a:gd name="connsiteY384" fmla="*/ 106606 h 409332"/>
                <a:gd name="connsiteX385" fmla="*/ 66734 w 353578"/>
                <a:gd name="connsiteY385" fmla="*/ 109631 h 409332"/>
                <a:gd name="connsiteX386" fmla="*/ 69064 w 353578"/>
                <a:gd name="connsiteY386" fmla="*/ 113262 h 409332"/>
                <a:gd name="connsiteX387" fmla="*/ 75598 w 353578"/>
                <a:gd name="connsiteY387" fmla="*/ 121218 h 409332"/>
                <a:gd name="connsiteX388" fmla="*/ 78411 w 353578"/>
                <a:gd name="connsiteY388" fmla="*/ 123850 h 409332"/>
                <a:gd name="connsiteX389" fmla="*/ 81558 w 353578"/>
                <a:gd name="connsiteY389" fmla="*/ 124969 h 409332"/>
                <a:gd name="connsiteX390" fmla="*/ 81679 w 353578"/>
                <a:gd name="connsiteY390" fmla="*/ 125362 h 409332"/>
                <a:gd name="connsiteX391" fmla="*/ 81860 w 353578"/>
                <a:gd name="connsiteY391" fmla="*/ 126118 h 409332"/>
                <a:gd name="connsiteX392" fmla="*/ 82314 w 353578"/>
                <a:gd name="connsiteY392" fmla="*/ 127843 h 409332"/>
                <a:gd name="connsiteX393" fmla="*/ 82647 w 353578"/>
                <a:gd name="connsiteY393" fmla="*/ 128690 h 409332"/>
                <a:gd name="connsiteX394" fmla="*/ 82768 w 353578"/>
                <a:gd name="connsiteY394" fmla="*/ 129204 h 409332"/>
                <a:gd name="connsiteX395" fmla="*/ 82738 w 353578"/>
                <a:gd name="connsiteY395" fmla="*/ 130444 h 409332"/>
                <a:gd name="connsiteX396" fmla="*/ 82949 w 353578"/>
                <a:gd name="connsiteY396" fmla="*/ 131049 h 409332"/>
                <a:gd name="connsiteX397" fmla="*/ 83342 w 353578"/>
                <a:gd name="connsiteY397" fmla="*/ 131261 h 409332"/>
                <a:gd name="connsiteX398" fmla="*/ 84431 w 353578"/>
                <a:gd name="connsiteY398" fmla="*/ 131412 h 409332"/>
                <a:gd name="connsiteX399" fmla="*/ 84704 w 353578"/>
                <a:gd name="connsiteY399" fmla="*/ 131503 h 409332"/>
                <a:gd name="connsiteX400" fmla="*/ 85430 w 353578"/>
                <a:gd name="connsiteY400" fmla="*/ 135164 h 409332"/>
                <a:gd name="connsiteX401" fmla="*/ 86065 w 353578"/>
                <a:gd name="connsiteY401" fmla="*/ 137160 h 409332"/>
                <a:gd name="connsiteX402" fmla="*/ 87124 w 353578"/>
                <a:gd name="connsiteY402" fmla="*/ 138037 h 409332"/>
                <a:gd name="connsiteX403" fmla="*/ 88032 w 353578"/>
                <a:gd name="connsiteY403" fmla="*/ 138158 h 409332"/>
                <a:gd name="connsiteX404" fmla="*/ 88516 w 353578"/>
                <a:gd name="connsiteY404" fmla="*/ 138461 h 409332"/>
                <a:gd name="connsiteX405" fmla="*/ 88909 w 353578"/>
                <a:gd name="connsiteY405" fmla="*/ 138794 h 409332"/>
                <a:gd name="connsiteX406" fmla="*/ 89514 w 353578"/>
                <a:gd name="connsiteY406" fmla="*/ 139035 h 409332"/>
                <a:gd name="connsiteX407" fmla="*/ 92085 w 353578"/>
                <a:gd name="connsiteY407" fmla="*/ 139126 h 409332"/>
                <a:gd name="connsiteX408" fmla="*/ 92267 w 353578"/>
                <a:gd name="connsiteY408" fmla="*/ 139035 h 409332"/>
                <a:gd name="connsiteX409" fmla="*/ 93598 w 353578"/>
                <a:gd name="connsiteY409" fmla="*/ 139550 h 409332"/>
                <a:gd name="connsiteX410" fmla="*/ 95141 w 353578"/>
                <a:gd name="connsiteY410" fmla="*/ 140367 h 409332"/>
                <a:gd name="connsiteX411" fmla="*/ 96411 w 353578"/>
                <a:gd name="connsiteY411" fmla="*/ 141456 h 409332"/>
                <a:gd name="connsiteX412" fmla="*/ 97137 w 353578"/>
                <a:gd name="connsiteY412" fmla="*/ 142787 h 409332"/>
                <a:gd name="connsiteX413" fmla="*/ 96290 w 353578"/>
                <a:gd name="connsiteY413" fmla="*/ 143392 h 409332"/>
                <a:gd name="connsiteX414" fmla="*/ 95745 w 353578"/>
                <a:gd name="connsiteY414" fmla="*/ 144451 h 409332"/>
                <a:gd name="connsiteX415" fmla="*/ 95382 w 353578"/>
                <a:gd name="connsiteY415" fmla="*/ 145842 h 409332"/>
                <a:gd name="connsiteX416" fmla="*/ 95050 w 353578"/>
                <a:gd name="connsiteY416" fmla="*/ 147445 h 409332"/>
                <a:gd name="connsiteX417" fmla="*/ 96865 w 353578"/>
                <a:gd name="connsiteY417" fmla="*/ 148867 h 409332"/>
                <a:gd name="connsiteX418" fmla="*/ 96048 w 353578"/>
                <a:gd name="connsiteY418" fmla="*/ 153072 h 409332"/>
                <a:gd name="connsiteX419" fmla="*/ 97470 w 353578"/>
                <a:gd name="connsiteY419" fmla="*/ 153950 h 409332"/>
                <a:gd name="connsiteX420" fmla="*/ 97712 w 353578"/>
                <a:gd name="connsiteY420" fmla="*/ 154161 h 409332"/>
                <a:gd name="connsiteX421" fmla="*/ 98831 w 353578"/>
                <a:gd name="connsiteY421" fmla="*/ 155039 h 409332"/>
                <a:gd name="connsiteX422" fmla="*/ 101251 w 353578"/>
                <a:gd name="connsiteY422" fmla="*/ 160393 h 409332"/>
                <a:gd name="connsiteX423" fmla="*/ 102552 w 353578"/>
                <a:gd name="connsiteY423" fmla="*/ 162420 h 409332"/>
                <a:gd name="connsiteX424" fmla="*/ 103339 w 353578"/>
                <a:gd name="connsiteY424" fmla="*/ 162783 h 409332"/>
                <a:gd name="connsiteX425" fmla="*/ 106061 w 353578"/>
                <a:gd name="connsiteY425" fmla="*/ 163358 h 409332"/>
                <a:gd name="connsiteX426" fmla="*/ 107120 w 353578"/>
                <a:gd name="connsiteY426" fmla="*/ 163963 h 409332"/>
                <a:gd name="connsiteX427" fmla="*/ 107876 w 353578"/>
                <a:gd name="connsiteY427" fmla="*/ 164568 h 409332"/>
                <a:gd name="connsiteX428" fmla="*/ 108663 w 353578"/>
                <a:gd name="connsiteY428" fmla="*/ 165022 h 409332"/>
                <a:gd name="connsiteX429" fmla="*/ 111204 w 353578"/>
                <a:gd name="connsiteY429" fmla="*/ 165596 h 409332"/>
                <a:gd name="connsiteX430" fmla="*/ 112263 w 353578"/>
                <a:gd name="connsiteY430" fmla="*/ 166655 h 409332"/>
                <a:gd name="connsiteX431" fmla="*/ 114290 w 353578"/>
                <a:gd name="connsiteY431" fmla="*/ 169922 h 409332"/>
                <a:gd name="connsiteX432" fmla="*/ 114169 w 353578"/>
                <a:gd name="connsiteY432" fmla="*/ 171647 h 409332"/>
                <a:gd name="connsiteX433" fmla="*/ 115258 w 353578"/>
                <a:gd name="connsiteY433" fmla="*/ 173341 h 409332"/>
                <a:gd name="connsiteX434" fmla="*/ 117769 w 353578"/>
                <a:gd name="connsiteY434" fmla="*/ 176336 h 409332"/>
                <a:gd name="connsiteX435" fmla="*/ 119009 w 353578"/>
                <a:gd name="connsiteY435" fmla="*/ 180057 h 409332"/>
                <a:gd name="connsiteX436" fmla="*/ 119160 w 353578"/>
                <a:gd name="connsiteY436" fmla="*/ 180147 h 409332"/>
                <a:gd name="connsiteX437" fmla="*/ 119433 w 353578"/>
                <a:gd name="connsiteY437" fmla="*/ 181206 h 409332"/>
                <a:gd name="connsiteX438" fmla="*/ 119735 w 353578"/>
                <a:gd name="connsiteY438" fmla="*/ 182023 h 409332"/>
                <a:gd name="connsiteX439" fmla="*/ 119553 w 353578"/>
                <a:gd name="connsiteY439" fmla="*/ 182598 h 409332"/>
                <a:gd name="connsiteX440" fmla="*/ 118434 w 353578"/>
                <a:gd name="connsiteY440" fmla="*/ 182930 h 409332"/>
                <a:gd name="connsiteX441" fmla="*/ 119614 w 353578"/>
                <a:gd name="connsiteY441" fmla="*/ 184443 h 409332"/>
                <a:gd name="connsiteX442" fmla="*/ 123970 w 353578"/>
                <a:gd name="connsiteY442" fmla="*/ 186621 h 409332"/>
                <a:gd name="connsiteX443" fmla="*/ 123970 w 353578"/>
                <a:gd name="connsiteY443" fmla="*/ 187559 h 409332"/>
                <a:gd name="connsiteX444" fmla="*/ 123365 w 353578"/>
                <a:gd name="connsiteY444" fmla="*/ 188557 h 409332"/>
                <a:gd name="connsiteX445" fmla="*/ 123819 w 353578"/>
                <a:gd name="connsiteY445" fmla="*/ 188950 h 409332"/>
                <a:gd name="connsiteX446" fmla="*/ 124787 w 353578"/>
                <a:gd name="connsiteY446" fmla="*/ 189223 h 409332"/>
                <a:gd name="connsiteX447" fmla="*/ 125725 w 353578"/>
                <a:gd name="connsiteY447" fmla="*/ 189888 h 409332"/>
                <a:gd name="connsiteX448" fmla="*/ 128780 w 353578"/>
                <a:gd name="connsiteY448" fmla="*/ 193004 h 409332"/>
                <a:gd name="connsiteX449" fmla="*/ 131624 w 353578"/>
                <a:gd name="connsiteY449" fmla="*/ 194728 h 409332"/>
                <a:gd name="connsiteX450" fmla="*/ 132894 w 353578"/>
                <a:gd name="connsiteY450" fmla="*/ 195787 h 409332"/>
                <a:gd name="connsiteX451" fmla="*/ 132925 w 353578"/>
                <a:gd name="connsiteY451" fmla="*/ 197754 h 409332"/>
                <a:gd name="connsiteX452" fmla="*/ 135375 w 353578"/>
                <a:gd name="connsiteY452" fmla="*/ 198177 h 409332"/>
                <a:gd name="connsiteX453" fmla="*/ 137734 w 353578"/>
                <a:gd name="connsiteY453" fmla="*/ 199538 h 409332"/>
                <a:gd name="connsiteX454" fmla="*/ 139913 w 353578"/>
                <a:gd name="connsiteY454" fmla="*/ 200507 h 409332"/>
                <a:gd name="connsiteX455" fmla="*/ 141909 w 353578"/>
                <a:gd name="connsiteY455" fmla="*/ 199569 h 409332"/>
                <a:gd name="connsiteX456" fmla="*/ 142817 w 353578"/>
                <a:gd name="connsiteY456" fmla="*/ 201807 h 409332"/>
                <a:gd name="connsiteX457" fmla="*/ 142908 w 353578"/>
                <a:gd name="connsiteY457" fmla="*/ 201959 h 409332"/>
                <a:gd name="connsiteX458" fmla="*/ 146023 w 353578"/>
                <a:gd name="connsiteY458" fmla="*/ 205619 h 409332"/>
                <a:gd name="connsiteX459" fmla="*/ 147415 w 353578"/>
                <a:gd name="connsiteY459" fmla="*/ 207918 h 409332"/>
                <a:gd name="connsiteX460" fmla="*/ 149382 w 353578"/>
                <a:gd name="connsiteY460" fmla="*/ 212819 h 409332"/>
                <a:gd name="connsiteX461" fmla="*/ 149654 w 353578"/>
                <a:gd name="connsiteY461" fmla="*/ 214846 h 409332"/>
                <a:gd name="connsiteX462" fmla="*/ 149714 w 353578"/>
                <a:gd name="connsiteY462" fmla="*/ 215178 h 409332"/>
                <a:gd name="connsiteX463" fmla="*/ 148837 w 353578"/>
                <a:gd name="connsiteY463" fmla="*/ 217236 h 409332"/>
                <a:gd name="connsiteX464" fmla="*/ 150501 w 353578"/>
                <a:gd name="connsiteY464" fmla="*/ 218294 h 409332"/>
                <a:gd name="connsiteX465" fmla="*/ 150591 w 353578"/>
                <a:gd name="connsiteY465" fmla="*/ 219837 h 409332"/>
                <a:gd name="connsiteX466" fmla="*/ 150471 w 353578"/>
                <a:gd name="connsiteY466" fmla="*/ 221440 h 409332"/>
                <a:gd name="connsiteX467" fmla="*/ 151590 w 353578"/>
                <a:gd name="connsiteY467" fmla="*/ 222772 h 409332"/>
                <a:gd name="connsiteX468" fmla="*/ 151590 w 353578"/>
                <a:gd name="connsiteY468" fmla="*/ 223770 h 409332"/>
                <a:gd name="connsiteX469" fmla="*/ 151438 w 353578"/>
                <a:gd name="connsiteY469" fmla="*/ 225373 h 409332"/>
                <a:gd name="connsiteX470" fmla="*/ 151317 w 353578"/>
                <a:gd name="connsiteY470" fmla="*/ 226462 h 409332"/>
                <a:gd name="connsiteX471" fmla="*/ 152951 w 353578"/>
                <a:gd name="connsiteY471" fmla="*/ 230244 h 409332"/>
                <a:gd name="connsiteX472" fmla="*/ 157005 w 353578"/>
                <a:gd name="connsiteY472" fmla="*/ 236657 h 409332"/>
                <a:gd name="connsiteX473" fmla="*/ 157005 w 353578"/>
                <a:gd name="connsiteY473" fmla="*/ 239168 h 409332"/>
                <a:gd name="connsiteX474" fmla="*/ 162632 w 353578"/>
                <a:gd name="connsiteY474" fmla="*/ 249605 h 409332"/>
                <a:gd name="connsiteX475" fmla="*/ 163660 w 353578"/>
                <a:gd name="connsiteY475" fmla="*/ 253235 h 409332"/>
                <a:gd name="connsiteX476" fmla="*/ 163751 w 353578"/>
                <a:gd name="connsiteY476" fmla="*/ 253779 h 409332"/>
                <a:gd name="connsiteX477" fmla="*/ 163993 w 353578"/>
                <a:gd name="connsiteY477" fmla="*/ 255201 h 409332"/>
                <a:gd name="connsiteX478" fmla="*/ 163963 w 353578"/>
                <a:gd name="connsiteY478" fmla="*/ 257016 h 409332"/>
                <a:gd name="connsiteX479" fmla="*/ 163297 w 353578"/>
                <a:gd name="connsiteY479" fmla="*/ 258498 h 409332"/>
                <a:gd name="connsiteX480" fmla="*/ 162269 w 353578"/>
                <a:gd name="connsiteY480" fmla="*/ 260162 h 409332"/>
                <a:gd name="connsiteX481" fmla="*/ 161785 w 353578"/>
                <a:gd name="connsiteY481" fmla="*/ 262068 h 409332"/>
                <a:gd name="connsiteX482" fmla="*/ 162632 w 353578"/>
                <a:gd name="connsiteY482" fmla="*/ 264276 h 409332"/>
                <a:gd name="connsiteX483" fmla="*/ 161724 w 353578"/>
                <a:gd name="connsiteY483" fmla="*/ 264882 h 409332"/>
                <a:gd name="connsiteX484" fmla="*/ 161331 w 353578"/>
                <a:gd name="connsiteY484" fmla="*/ 265880 h 409332"/>
                <a:gd name="connsiteX485" fmla="*/ 161149 w 353578"/>
                <a:gd name="connsiteY485" fmla="*/ 270932 h 409332"/>
                <a:gd name="connsiteX486" fmla="*/ 161331 w 353578"/>
                <a:gd name="connsiteY486" fmla="*/ 271991 h 409332"/>
                <a:gd name="connsiteX487" fmla="*/ 162632 w 353578"/>
                <a:gd name="connsiteY487" fmla="*/ 274350 h 409332"/>
                <a:gd name="connsiteX488" fmla="*/ 163055 w 353578"/>
                <a:gd name="connsiteY488" fmla="*/ 274683 h 409332"/>
                <a:gd name="connsiteX489" fmla="*/ 163478 w 353578"/>
                <a:gd name="connsiteY489" fmla="*/ 274562 h 409332"/>
                <a:gd name="connsiteX490" fmla="*/ 163841 w 353578"/>
                <a:gd name="connsiteY490" fmla="*/ 274713 h 409332"/>
                <a:gd name="connsiteX491" fmla="*/ 163963 w 353578"/>
                <a:gd name="connsiteY491" fmla="*/ 275802 h 409332"/>
                <a:gd name="connsiteX492" fmla="*/ 163963 w 353578"/>
                <a:gd name="connsiteY492" fmla="*/ 279977 h 409332"/>
                <a:gd name="connsiteX493" fmla="*/ 163841 w 353578"/>
                <a:gd name="connsiteY493" fmla="*/ 281096 h 409332"/>
                <a:gd name="connsiteX494" fmla="*/ 163267 w 353578"/>
                <a:gd name="connsiteY494" fmla="*/ 282095 h 409332"/>
                <a:gd name="connsiteX495" fmla="*/ 161845 w 353578"/>
                <a:gd name="connsiteY495" fmla="*/ 282760 h 409332"/>
                <a:gd name="connsiteX496" fmla="*/ 162571 w 353578"/>
                <a:gd name="connsiteY496" fmla="*/ 284575 h 409332"/>
                <a:gd name="connsiteX497" fmla="*/ 162087 w 353578"/>
                <a:gd name="connsiteY497" fmla="*/ 285332 h 409332"/>
                <a:gd name="connsiteX498" fmla="*/ 161905 w 353578"/>
                <a:gd name="connsiteY498" fmla="*/ 285422 h 409332"/>
                <a:gd name="connsiteX499" fmla="*/ 161179 w 353578"/>
                <a:gd name="connsiteY499" fmla="*/ 285725 h 409332"/>
                <a:gd name="connsiteX500" fmla="*/ 160514 w 353578"/>
                <a:gd name="connsiteY500" fmla="*/ 286330 h 409332"/>
                <a:gd name="connsiteX501" fmla="*/ 159939 w 353578"/>
                <a:gd name="connsiteY501" fmla="*/ 290414 h 409332"/>
                <a:gd name="connsiteX502" fmla="*/ 159455 w 353578"/>
                <a:gd name="connsiteY502" fmla="*/ 290989 h 409332"/>
                <a:gd name="connsiteX503" fmla="*/ 158245 w 353578"/>
                <a:gd name="connsiteY503" fmla="*/ 291382 h 409332"/>
                <a:gd name="connsiteX504" fmla="*/ 158003 w 353578"/>
                <a:gd name="connsiteY504" fmla="*/ 292350 h 409332"/>
                <a:gd name="connsiteX505" fmla="*/ 158396 w 353578"/>
                <a:gd name="connsiteY505" fmla="*/ 295042 h 409332"/>
                <a:gd name="connsiteX506" fmla="*/ 158487 w 353578"/>
                <a:gd name="connsiteY506" fmla="*/ 296706 h 409332"/>
                <a:gd name="connsiteX507" fmla="*/ 158336 w 353578"/>
                <a:gd name="connsiteY507" fmla="*/ 297160 h 409332"/>
                <a:gd name="connsiteX508" fmla="*/ 156975 w 353578"/>
                <a:gd name="connsiteY508" fmla="*/ 299913 h 409332"/>
                <a:gd name="connsiteX509" fmla="*/ 155765 w 353578"/>
                <a:gd name="connsiteY509" fmla="*/ 301002 h 409332"/>
                <a:gd name="connsiteX510" fmla="*/ 154827 w 353578"/>
                <a:gd name="connsiteY510" fmla="*/ 301486 h 409332"/>
                <a:gd name="connsiteX511" fmla="*/ 153677 w 353578"/>
                <a:gd name="connsiteY511" fmla="*/ 301819 h 409332"/>
                <a:gd name="connsiteX512" fmla="*/ 152709 w 353578"/>
                <a:gd name="connsiteY512" fmla="*/ 302303 h 409332"/>
                <a:gd name="connsiteX513" fmla="*/ 152286 w 353578"/>
                <a:gd name="connsiteY513" fmla="*/ 303240 h 409332"/>
                <a:gd name="connsiteX514" fmla="*/ 152618 w 353578"/>
                <a:gd name="connsiteY514" fmla="*/ 305479 h 409332"/>
                <a:gd name="connsiteX515" fmla="*/ 152376 w 353578"/>
                <a:gd name="connsiteY515" fmla="*/ 306235 h 409332"/>
                <a:gd name="connsiteX516" fmla="*/ 151257 w 353578"/>
                <a:gd name="connsiteY516" fmla="*/ 306508 h 409332"/>
                <a:gd name="connsiteX517" fmla="*/ 150047 w 353578"/>
                <a:gd name="connsiteY517" fmla="*/ 306992 h 409332"/>
                <a:gd name="connsiteX518" fmla="*/ 150259 w 353578"/>
                <a:gd name="connsiteY518" fmla="*/ 308141 h 409332"/>
                <a:gd name="connsiteX519" fmla="*/ 152104 w 353578"/>
                <a:gd name="connsiteY519" fmla="*/ 310924 h 409332"/>
                <a:gd name="connsiteX520" fmla="*/ 152739 w 353578"/>
                <a:gd name="connsiteY520" fmla="*/ 311711 h 409332"/>
                <a:gd name="connsiteX521" fmla="*/ 153344 w 353578"/>
                <a:gd name="connsiteY521" fmla="*/ 312618 h 409332"/>
                <a:gd name="connsiteX522" fmla="*/ 153647 w 353578"/>
                <a:gd name="connsiteY522" fmla="*/ 313768 h 409332"/>
                <a:gd name="connsiteX523" fmla="*/ 152497 w 353578"/>
                <a:gd name="connsiteY523" fmla="*/ 316884 h 409332"/>
                <a:gd name="connsiteX524" fmla="*/ 151892 w 353578"/>
                <a:gd name="connsiteY524" fmla="*/ 320151 h 409332"/>
                <a:gd name="connsiteX525" fmla="*/ 150228 w 353578"/>
                <a:gd name="connsiteY525" fmla="*/ 324659 h 409332"/>
                <a:gd name="connsiteX526" fmla="*/ 149956 w 353578"/>
                <a:gd name="connsiteY526" fmla="*/ 325385 h 409332"/>
                <a:gd name="connsiteX527" fmla="*/ 149230 w 353578"/>
                <a:gd name="connsiteY527" fmla="*/ 327260 h 409332"/>
                <a:gd name="connsiteX528" fmla="*/ 148413 w 353578"/>
                <a:gd name="connsiteY528" fmla="*/ 327744 h 409332"/>
                <a:gd name="connsiteX529" fmla="*/ 148171 w 353578"/>
                <a:gd name="connsiteY529" fmla="*/ 328410 h 409332"/>
                <a:gd name="connsiteX530" fmla="*/ 148202 w 353578"/>
                <a:gd name="connsiteY530" fmla="*/ 329136 h 409332"/>
                <a:gd name="connsiteX531" fmla="*/ 148807 w 353578"/>
                <a:gd name="connsiteY531" fmla="*/ 329529 h 409332"/>
                <a:gd name="connsiteX532" fmla="*/ 148837 w 353578"/>
                <a:gd name="connsiteY532" fmla="*/ 330225 h 409332"/>
                <a:gd name="connsiteX533" fmla="*/ 147596 w 353578"/>
                <a:gd name="connsiteY533" fmla="*/ 334883 h 409332"/>
                <a:gd name="connsiteX534" fmla="*/ 147415 w 353578"/>
                <a:gd name="connsiteY534" fmla="*/ 336214 h 409332"/>
                <a:gd name="connsiteX535" fmla="*/ 147748 w 353578"/>
                <a:gd name="connsiteY535" fmla="*/ 338090 h 409332"/>
                <a:gd name="connsiteX536" fmla="*/ 150228 w 353578"/>
                <a:gd name="connsiteY536" fmla="*/ 344745 h 409332"/>
                <a:gd name="connsiteX537" fmla="*/ 150410 w 353578"/>
                <a:gd name="connsiteY537" fmla="*/ 346228 h 409332"/>
                <a:gd name="connsiteX538" fmla="*/ 150652 w 353578"/>
                <a:gd name="connsiteY538" fmla="*/ 347044 h 409332"/>
                <a:gd name="connsiteX539" fmla="*/ 151257 w 353578"/>
                <a:gd name="connsiteY539" fmla="*/ 347952 h 409332"/>
                <a:gd name="connsiteX540" fmla="*/ 151650 w 353578"/>
                <a:gd name="connsiteY540" fmla="*/ 349011 h 409332"/>
                <a:gd name="connsiteX541" fmla="*/ 151438 w 353578"/>
                <a:gd name="connsiteY541" fmla="*/ 350009 h 409332"/>
                <a:gd name="connsiteX542" fmla="*/ 151045 w 353578"/>
                <a:gd name="connsiteY542" fmla="*/ 351038 h 409332"/>
                <a:gd name="connsiteX543" fmla="*/ 150894 w 353578"/>
                <a:gd name="connsiteY543" fmla="*/ 352066 h 409332"/>
                <a:gd name="connsiteX544" fmla="*/ 151197 w 353578"/>
                <a:gd name="connsiteY544" fmla="*/ 353064 h 409332"/>
                <a:gd name="connsiteX545" fmla="*/ 152074 w 353578"/>
                <a:gd name="connsiteY545" fmla="*/ 354759 h 409332"/>
                <a:gd name="connsiteX546" fmla="*/ 152286 w 353578"/>
                <a:gd name="connsiteY546" fmla="*/ 355243 h 409332"/>
                <a:gd name="connsiteX547" fmla="*/ 151983 w 353578"/>
                <a:gd name="connsiteY547" fmla="*/ 355908 h 409332"/>
                <a:gd name="connsiteX548" fmla="*/ 150652 w 353578"/>
                <a:gd name="connsiteY548" fmla="*/ 356786 h 409332"/>
                <a:gd name="connsiteX549" fmla="*/ 150228 w 353578"/>
                <a:gd name="connsiteY549" fmla="*/ 357512 h 409332"/>
                <a:gd name="connsiteX550" fmla="*/ 150471 w 353578"/>
                <a:gd name="connsiteY550" fmla="*/ 361353 h 409332"/>
                <a:gd name="connsiteX551" fmla="*/ 152074 w 353578"/>
                <a:gd name="connsiteY551" fmla="*/ 365377 h 409332"/>
                <a:gd name="connsiteX552" fmla="*/ 153828 w 353578"/>
                <a:gd name="connsiteY552" fmla="*/ 368523 h 409332"/>
                <a:gd name="connsiteX553" fmla="*/ 154676 w 353578"/>
                <a:gd name="connsiteY553" fmla="*/ 369763 h 409332"/>
                <a:gd name="connsiteX554" fmla="*/ 155553 w 353578"/>
                <a:gd name="connsiteY554" fmla="*/ 383013 h 409332"/>
                <a:gd name="connsiteX555" fmla="*/ 155371 w 353578"/>
                <a:gd name="connsiteY555" fmla="*/ 385131 h 409332"/>
                <a:gd name="connsiteX556" fmla="*/ 155976 w 353578"/>
                <a:gd name="connsiteY556" fmla="*/ 386855 h 409332"/>
                <a:gd name="connsiteX557" fmla="*/ 154554 w 353578"/>
                <a:gd name="connsiteY557" fmla="*/ 387521 h 409332"/>
                <a:gd name="connsiteX558" fmla="*/ 151257 w 353578"/>
                <a:gd name="connsiteY558" fmla="*/ 387491 h 409332"/>
                <a:gd name="connsiteX559" fmla="*/ 149926 w 353578"/>
                <a:gd name="connsiteY559" fmla="*/ 387914 h 409332"/>
                <a:gd name="connsiteX560" fmla="*/ 148262 w 353578"/>
                <a:gd name="connsiteY560" fmla="*/ 389033 h 409332"/>
                <a:gd name="connsiteX561" fmla="*/ 146629 w 353578"/>
                <a:gd name="connsiteY561" fmla="*/ 390516 h 409332"/>
                <a:gd name="connsiteX562" fmla="*/ 145358 w 353578"/>
                <a:gd name="connsiteY562" fmla="*/ 391998 h 409332"/>
                <a:gd name="connsiteX563" fmla="*/ 150954 w 353578"/>
                <a:gd name="connsiteY563" fmla="*/ 394721 h 409332"/>
                <a:gd name="connsiteX564" fmla="*/ 153284 w 353578"/>
                <a:gd name="connsiteY564" fmla="*/ 396385 h 409332"/>
                <a:gd name="connsiteX565" fmla="*/ 154978 w 353578"/>
                <a:gd name="connsiteY565" fmla="*/ 399198 h 409332"/>
                <a:gd name="connsiteX566" fmla="*/ 155341 w 353578"/>
                <a:gd name="connsiteY566" fmla="*/ 399984 h 409332"/>
                <a:gd name="connsiteX567" fmla="*/ 155613 w 353578"/>
                <a:gd name="connsiteY567" fmla="*/ 400287 h 409332"/>
                <a:gd name="connsiteX568" fmla="*/ 155734 w 353578"/>
                <a:gd name="connsiteY568" fmla="*/ 400590 h 409332"/>
                <a:gd name="connsiteX569" fmla="*/ 155795 w 353578"/>
                <a:gd name="connsiteY569" fmla="*/ 405006 h 409332"/>
                <a:gd name="connsiteX570" fmla="*/ 156491 w 353578"/>
                <a:gd name="connsiteY570" fmla="*/ 406367 h 409332"/>
                <a:gd name="connsiteX571" fmla="*/ 159153 w 353578"/>
                <a:gd name="connsiteY571" fmla="*/ 409332 h 409332"/>
                <a:gd name="connsiteX572" fmla="*/ 159364 w 353578"/>
                <a:gd name="connsiteY572" fmla="*/ 408425 h 409332"/>
                <a:gd name="connsiteX573" fmla="*/ 160060 w 353578"/>
                <a:gd name="connsiteY573" fmla="*/ 406761 h 409332"/>
                <a:gd name="connsiteX574" fmla="*/ 160937 w 353578"/>
                <a:gd name="connsiteY574" fmla="*/ 405218 h 409332"/>
                <a:gd name="connsiteX575" fmla="*/ 160937 w 353578"/>
                <a:gd name="connsiteY575" fmla="*/ 405188 h 409332"/>
                <a:gd name="connsiteX576" fmla="*/ 166292 w 353578"/>
                <a:gd name="connsiteY576" fmla="*/ 401497 h 409332"/>
                <a:gd name="connsiteX577" fmla="*/ 173492 w 353578"/>
                <a:gd name="connsiteY577" fmla="*/ 402011 h 409332"/>
                <a:gd name="connsiteX578" fmla="*/ 181024 w 353578"/>
                <a:gd name="connsiteY578" fmla="*/ 403826 h 409332"/>
                <a:gd name="connsiteX579" fmla="*/ 187468 w 353578"/>
                <a:gd name="connsiteY579" fmla="*/ 404069 h 409332"/>
                <a:gd name="connsiteX580" fmla="*/ 189616 w 353578"/>
                <a:gd name="connsiteY580" fmla="*/ 403161 h 409332"/>
                <a:gd name="connsiteX581" fmla="*/ 190039 w 353578"/>
                <a:gd name="connsiteY581" fmla="*/ 401588 h 409332"/>
                <a:gd name="connsiteX582" fmla="*/ 189404 w 353578"/>
                <a:gd name="connsiteY582" fmla="*/ 397141 h 409332"/>
                <a:gd name="connsiteX583" fmla="*/ 189192 w 353578"/>
                <a:gd name="connsiteY583" fmla="*/ 396869 h 409332"/>
                <a:gd name="connsiteX584" fmla="*/ 189222 w 353578"/>
                <a:gd name="connsiteY584" fmla="*/ 396566 h 409332"/>
                <a:gd name="connsiteX585" fmla="*/ 189797 w 353578"/>
                <a:gd name="connsiteY585" fmla="*/ 395598 h 409332"/>
                <a:gd name="connsiteX586" fmla="*/ 189858 w 353578"/>
                <a:gd name="connsiteY586" fmla="*/ 395447 h 409332"/>
                <a:gd name="connsiteX587" fmla="*/ 190463 w 353578"/>
                <a:gd name="connsiteY587" fmla="*/ 394963 h 409332"/>
                <a:gd name="connsiteX588" fmla="*/ 193125 w 353578"/>
                <a:gd name="connsiteY588" fmla="*/ 393783 h 409332"/>
                <a:gd name="connsiteX589" fmla="*/ 191734 w 353578"/>
                <a:gd name="connsiteY589" fmla="*/ 392028 h 409332"/>
                <a:gd name="connsiteX590" fmla="*/ 191310 w 353578"/>
                <a:gd name="connsiteY590" fmla="*/ 390213 h 409332"/>
                <a:gd name="connsiteX591" fmla="*/ 191098 w 353578"/>
                <a:gd name="connsiteY591" fmla="*/ 388368 h 409332"/>
                <a:gd name="connsiteX592" fmla="*/ 190554 w 353578"/>
                <a:gd name="connsiteY592" fmla="*/ 386492 h 409332"/>
                <a:gd name="connsiteX593" fmla="*/ 189253 w 353578"/>
                <a:gd name="connsiteY593" fmla="*/ 385282 h 409332"/>
                <a:gd name="connsiteX594" fmla="*/ 187680 w 353578"/>
                <a:gd name="connsiteY594" fmla="*/ 384435 h 409332"/>
                <a:gd name="connsiteX595" fmla="*/ 186803 w 353578"/>
                <a:gd name="connsiteY595" fmla="*/ 383497 h 409332"/>
                <a:gd name="connsiteX596" fmla="*/ 187468 w 353578"/>
                <a:gd name="connsiteY596" fmla="*/ 381955 h 409332"/>
                <a:gd name="connsiteX597" fmla="*/ 189828 w 353578"/>
                <a:gd name="connsiteY597" fmla="*/ 378778 h 409332"/>
                <a:gd name="connsiteX598" fmla="*/ 190947 w 353578"/>
                <a:gd name="connsiteY598" fmla="*/ 377659 h 409332"/>
                <a:gd name="connsiteX599" fmla="*/ 192671 w 353578"/>
                <a:gd name="connsiteY599" fmla="*/ 376600 h 409332"/>
                <a:gd name="connsiteX600" fmla="*/ 195575 w 353578"/>
                <a:gd name="connsiteY600" fmla="*/ 375723 h 409332"/>
                <a:gd name="connsiteX601" fmla="*/ 196211 w 353578"/>
                <a:gd name="connsiteY601" fmla="*/ 374664 h 409332"/>
                <a:gd name="connsiteX602" fmla="*/ 195787 w 353578"/>
                <a:gd name="connsiteY602" fmla="*/ 373242 h 409332"/>
                <a:gd name="connsiteX603" fmla="*/ 195515 w 353578"/>
                <a:gd name="connsiteY603" fmla="*/ 372214 h 409332"/>
                <a:gd name="connsiteX604" fmla="*/ 197118 w 353578"/>
                <a:gd name="connsiteY604" fmla="*/ 369733 h 409332"/>
                <a:gd name="connsiteX605" fmla="*/ 203864 w 353578"/>
                <a:gd name="connsiteY605" fmla="*/ 369128 h 409332"/>
                <a:gd name="connsiteX606" fmla="*/ 206496 w 353578"/>
                <a:gd name="connsiteY606" fmla="*/ 367706 h 409332"/>
                <a:gd name="connsiteX607" fmla="*/ 206829 w 353578"/>
                <a:gd name="connsiteY607" fmla="*/ 366436 h 409332"/>
                <a:gd name="connsiteX608" fmla="*/ 206708 w 353578"/>
                <a:gd name="connsiteY608" fmla="*/ 365074 h 409332"/>
                <a:gd name="connsiteX609" fmla="*/ 206436 w 353578"/>
                <a:gd name="connsiteY609" fmla="*/ 363864 h 409332"/>
                <a:gd name="connsiteX610" fmla="*/ 206496 w 353578"/>
                <a:gd name="connsiteY610" fmla="*/ 363108 h 409332"/>
                <a:gd name="connsiteX611" fmla="*/ 207253 w 353578"/>
                <a:gd name="connsiteY611" fmla="*/ 362503 h 409332"/>
                <a:gd name="connsiteX612" fmla="*/ 210187 w 353578"/>
                <a:gd name="connsiteY612" fmla="*/ 361898 h 409332"/>
                <a:gd name="connsiteX613" fmla="*/ 212093 w 353578"/>
                <a:gd name="connsiteY613" fmla="*/ 360869 h 409332"/>
                <a:gd name="connsiteX614" fmla="*/ 213363 w 353578"/>
                <a:gd name="connsiteY614" fmla="*/ 359720 h 409332"/>
                <a:gd name="connsiteX615" fmla="*/ 214059 w 353578"/>
                <a:gd name="connsiteY615" fmla="*/ 358026 h 409332"/>
                <a:gd name="connsiteX616" fmla="*/ 214210 w 353578"/>
                <a:gd name="connsiteY616" fmla="*/ 355333 h 409332"/>
                <a:gd name="connsiteX617" fmla="*/ 213787 w 353578"/>
                <a:gd name="connsiteY617" fmla="*/ 353125 h 409332"/>
                <a:gd name="connsiteX618" fmla="*/ 212395 w 353578"/>
                <a:gd name="connsiteY618" fmla="*/ 348527 h 409332"/>
                <a:gd name="connsiteX619" fmla="*/ 212456 w 353578"/>
                <a:gd name="connsiteY619" fmla="*/ 346318 h 409332"/>
                <a:gd name="connsiteX620" fmla="*/ 213575 w 353578"/>
                <a:gd name="connsiteY620" fmla="*/ 344382 h 409332"/>
                <a:gd name="connsiteX621" fmla="*/ 215299 w 353578"/>
                <a:gd name="connsiteY621" fmla="*/ 343324 h 409332"/>
                <a:gd name="connsiteX622" fmla="*/ 232875 w 353578"/>
                <a:gd name="connsiteY622" fmla="*/ 339088 h 409332"/>
                <a:gd name="connsiteX623" fmla="*/ 235356 w 353578"/>
                <a:gd name="connsiteY623" fmla="*/ 337999 h 409332"/>
                <a:gd name="connsiteX624" fmla="*/ 235598 w 353578"/>
                <a:gd name="connsiteY624" fmla="*/ 335367 h 409332"/>
                <a:gd name="connsiteX625" fmla="*/ 233813 w 353578"/>
                <a:gd name="connsiteY625" fmla="*/ 329589 h 409332"/>
                <a:gd name="connsiteX626" fmla="*/ 233541 w 353578"/>
                <a:gd name="connsiteY626" fmla="*/ 326292 h 409332"/>
                <a:gd name="connsiteX627" fmla="*/ 234327 w 353578"/>
                <a:gd name="connsiteY627" fmla="*/ 324205 h 409332"/>
                <a:gd name="connsiteX628" fmla="*/ 237806 w 353578"/>
                <a:gd name="connsiteY628" fmla="*/ 320605 h 409332"/>
                <a:gd name="connsiteX629" fmla="*/ 240075 w 353578"/>
                <a:gd name="connsiteY629" fmla="*/ 317005 h 409332"/>
                <a:gd name="connsiteX630" fmla="*/ 241255 w 353578"/>
                <a:gd name="connsiteY630" fmla="*/ 313859 h 409332"/>
                <a:gd name="connsiteX631" fmla="*/ 240710 w 353578"/>
                <a:gd name="connsiteY631" fmla="*/ 310955 h 409332"/>
                <a:gd name="connsiteX632" fmla="*/ 238139 w 353578"/>
                <a:gd name="connsiteY632" fmla="*/ 308716 h 409332"/>
                <a:gd name="connsiteX633" fmla="*/ 234751 w 353578"/>
                <a:gd name="connsiteY633" fmla="*/ 305781 h 409332"/>
                <a:gd name="connsiteX634" fmla="*/ 234751 w 353578"/>
                <a:gd name="connsiteY634" fmla="*/ 305781 h 409332"/>
                <a:gd name="connsiteX635" fmla="*/ 233027 w 353578"/>
                <a:gd name="connsiteY635" fmla="*/ 303694 h 409332"/>
                <a:gd name="connsiteX636" fmla="*/ 232966 w 353578"/>
                <a:gd name="connsiteY636" fmla="*/ 301849 h 409332"/>
                <a:gd name="connsiteX637" fmla="*/ 233662 w 353578"/>
                <a:gd name="connsiteY637" fmla="*/ 299943 h 409332"/>
                <a:gd name="connsiteX638" fmla="*/ 234267 w 353578"/>
                <a:gd name="connsiteY638" fmla="*/ 297523 h 409332"/>
                <a:gd name="connsiteX639" fmla="*/ 234176 w 353578"/>
                <a:gd name="connsiteY639" fmla="*/ 295405 h 409332"/>
                <a:gd name="connsiteX640" fmla="*/ 232422 w 353578"/>
                <a:gd name="connsiteY640" fmla="*/ 289113 h 409332"/>
                <a:gd name="connsiteX641" fmla="*/ 231605 w 353578"/>
                <a:gd name="connsiteY641" fmla="*/ 284182 h 409332"/>
                <a:gd name="connsiteX642" fmla="*/ 232210 w 353578"/>
                <a:gd name="connsiteY642" fmla="*/ 280431 h 409332"/>
                <a:gd name="connsiteX643" fmla="*/ 234267 w 353578"/>
                <a:gd name="connsiteY643" fmla="*/ 277496 h 409332"/>
                <a:gd name="connsiteX644" fmla="*/ 241769 w 353578"/>
                <a:gd name="connsiteY644" fmla="*/ 272838 h 409332"/>
                <a:gd name="connsiteX645" fmla="*/ 245339 w 353578"/>
                <a:gd name="connsiteY645" fmla="*/ 271567 h 409332"/>
                <a:gd name="connsiteX646" fmla="*/ 247245 w 353578"/>
                <a:gd name="connsiteY646" fmla="*/ 270932 h 409332"/>
                <a:gd name="connsiteX647" fmla="*/ 256078 w 353578"/>
                <a:gd name="connsiteY647" fmla="*/ 266303 h 409332"/>
                <a:gd name="connsiteX648" fmla="*/ 258256 w 353578"/>
                <a:gd name="connsiteY648" fmla="*/ 266303 h 409332"/>
                <a:gd name="connsiteX649" fmla="*/ 259860 w 353578"/>
                <a:gd name="connsiteY649" fmla="*/ 268209 h 409332"/>
                <a:gd name="connsiteX650" fmla="*/ 260525 w 353578"/>
                <a:gd name="connsiteY650" fmla="*/ 271083 h 409332"/>
                <a:gd name="connsiteX651" fmla="*/ 260616 w 353578"/>
                <a:gd name="connsiteY651" fmla="*/ 282427 h 409332"/>
                <a:gd name="connsiteX652" fmla="*/ 260434 w 353578"/>
                <a:gd name="connsiteY652" fmla="*/ 284000 h 409332"/>
                <a:gd name="connsiteX653" fmla="*/ 259769 w 353578"/>
                <a:gd name="connsiteY653" fmla="*/ 285301 h 409332"/>
                <a:gd name="connsiteX654" fmla="*/ 258861 w 353578"/>
                <a:gd name="connsiteY654" fmla="*/ 286542 h 409332"/>
                <a:gd name="connsiteX655" fmla="*/ 258166 w 353578"/>
                <a:gd name="connsiteY655" fmla="*/ 287812 h 409332"/>
                <a:gd name="connsiteX656" fmla="*/ 258196 w 353578"/>
                <a:gd name="connsiteY656" fmla="*/ 289234 h 409332"/>
                <a:gd name="connsiteX657" fmla="*/ 259920 w 353578"/>
                <a:gd name="connsiteY657" fmla="*/ 290565 h 409332"/>
                <a:gd name="connsiteX658" fmla="*/ 262128 w 353578"/>
                <a:gd name="connsiteY658" fmla="*/ 289294 h 409332"/>
                <a:gd name="connsiteX659" fmla="*/ 265789 w 353578"/>
                <a:gd name="connsiteY659" fmla="*/ 285574 h 409332"/>
                <a:gd name="connsiteX660" fmla="*/ 267029 w 353578"/>
                <a:gd name="connsiteY660" fmla="*/ 285150 h 409332"/>
                <a:gd name="connsiteX661" fmla="*/ 267725 w 353578"/>
                <a:gd name="connsiteY661" fmla="*/ 285362 h 409332"/>
                <a:gd name="connsiteX662" fmla="*/ 268239 w 353578"/>
                <a:gd name="connsiteY662" fmla="*/ 285150 h 409332"/>
                <a:gd name="connsiteX663" fmla="*/ 268905 w 353578"/>
                <a:gd name="connsiteY663" fmla="*/ 283456 h 409332"/>
                <a:gd name="connsiteX664" fmla="*/ 268965 w 353578"/>
                <a:gd name="connsiteY664" fmla="*/ 282246 h 409332"/>
                <a:gd name="connsiteX665" fmla="*/ 268512 w 353578"/>
                <a:gd name="connsiteY665" fmla="*/ 279554 h 409332"/>
                <a:gd name="connsiteX666" fmla="*/ 268814 w 353578"/>
                <a:gd name="connsiteY666" fmla="*/ 277890 h 409332"/>
                <a:gd name="connsiteX667" fmla="*/ 270569 w 353578"/>
                <a:gd name="connsiteY667" fmla="*/ 275167 h 409332"/>
                <a:gd name="connsiteX668" fmla="*/ 271990 w 353578"/>
                <a:gd name="connsiteY668" fmla="*/ 275621 h 409332"/>
                <a:gd name="connsiteX669" fmla="*/ 274350 w 353578"/>
                <a:gd name="connsiteY669" fmla="*/ 280219 h 409332"/>
                <a:gd name="connsiteX670" fmla="*/ 276165 w 353578"/>
                <a:gd name="connsiteY670" fmla="*/ 282700 h 409332"/>
                <a:gd name="connsiteX671" fmla="*/ 277436 w 353578"/>
                <a:gd name="connsiteY671" fmla="*/ 282670 h 409332"/>
                <a:gd name="connsiteX672" fmla="*/ 281792 w 353578"/>
                <a:gd name="connsiteY672" fmla="*/ 276468 h 409332"/>
                <a:gd name="connsiteX673" fmla="*/ 283667 w 353578"/>
                <a:gd name="connsiteY673" fmla="*/ 274532 h 409332"/>
                <a:gd name="connsiteX674" fmla="*/ 285664 w 353578"/>
                <a:gd name="connsiteY674" fmla="*/ 273503 h 409332"/>
                <a:gd name="connsiteX675" fmla="*/ 285785 w 353578"/>
                <a:gd name="connsiteY675" fmla="*/ 273473 h 409332"/>
                <a:gd name="connsiteX676" fmla="*/ 288115 w 353578"/>
                <a:gd name="connsiteY676" fmla="*/ 273836 h 409332"/>
                <a:gd name="connsiteX677" fmla="*/ 288659 w 353578"/>
                <a:gd name="connsiteY677" fmla="*/ 274653 h 409332"/>
                <a:gd name="connsiteX678" fmla="*/ 288841 w 353578"/>
                <a:gd name="connsiteY678" fmla="*/ 275530 h 409332"/>
                <a:gd name="connsiteX679" fmla="*/ 288659 w 353578"/>
                <a:gd name="connsiteY679" fmla="*/ 276468 h 409332"/>
                <a:gd name="connsiteX680" fmla="*/ 288115 w 353578"/>
                <a:gd name="connsiteY680" fmla="*/ 277376 h 409332"/>
                <a:gd name="connsiteX681" fmla="*/ 287540 w 353578"/>
                <a:gd name="connsiteY681" fmla="*/ 278465 h 409332"/>
                <a:gd name="connsiteX682" fmla="*/ 287358 w 353578"/>
                <a:gd name="connsiteY682" fmla="*/ 279493 h 409332"/>
                <a:gd name="connsiteX683" fmla="*/ 287540 w 353578"/>
                <a:gd name="connsiteY683" fmla="*/ 280491 h 409332"/>
                <a:gd name="connsiteX684" fmla="*/ 288115 w 353578"/>
                <a:gd name="connsiteY684" fmla="*/ 281459 h 409332"/>
                <a:gd name="connsiteX685" fmla="*/ 289657 w 353578"/>
                <a:gd name="connsiteY685" fmla="*/ 282034 h 409332"/>
                <a:gd name="connsiteX686" fmla="*/ 292803 w 353578"/>
                <a:gd name="connsiteY686" fmla="*/ 282579 h 409332"/>
                <a:gd name="connsiteX687" fmla="*/ 294195 w 353578"/>
                <a:gd name="connsiteY687" fmla="*/ 283063 h 409332"/>
                <a:gd name="connsiteX688" fmla="*/ 295617 w 353578"/>
                <a:gd name="connsiteY688" fmla="*/ 284242 h 409332"/>
                <a:gd name="connsiteX689" fmla="*/ 297008 w 353578"/>
                <a:gd name="connsiteY689" fmla="*/ 287207 h 409332"/>
                <a:gd name="connsiteX690" fmla="*/ 298370 w 353578"/>
                <a:gd name="connsiteY690" fmla="*/ 288871 h 409332"/>
                <a:gd name="connsiteX691" fmla="*/ 299943 w 353578"/>
                <a:gd name="connsiteY691" fmla="*/ 289779 h 409332"/>
                <a:gd name="connsiteX692" fmla="*/ 301667 w 353578"/>
                <a:gd name="connsiteY692" fmla="*/ 289930 h 409332"/>
                <a:gd name="connsiteX693" fmla="*/ 303331 w 353578"/>
                <a:gd name="connsiteY693" fmla="*/ 289355 h 409332"/>
                <a:gd name="connsiteX694" fmla="*/ 304692 w 353578"/>
                <a:gd name="connsiteY694" fmla="*/ 288084 h 409332"/>
                <a:gd name="connsiteX695" fmla="*/ 305418 w 353578"/>
                <a:gd name="connsiteY695" fmla="*/ 285906 h 409332"/>
                <a:gd name="connsiteX696" fmla="*/ 304934 w 353578"/>
                <a:gd name="connsiteY696" fmla="*/ 282639 h 409332"/>
                <a:gd name="connsiteX697" fmla="*/ 305570 w 353578"/>
                <a:gd name="connsiteY697" fmla="*/ 281792 h 409332"/>
                <a:gd name="connsiteX698" fmla="*/ 308413 w 353578"/>
                <a:gd name="connsiteY698" fmla="*/ 281762 h 409332"/>
                <a:gd name="connsiteX699" fmla="*/ 310440 w 353578"/>
                <a:gd name="connsiteY699" fmla="*/ 281036 h 409332"/>
                <a:gd name="connsiteX700" fmla="*/ 311559 w 353578"/>
                <a:gd name="connsiteY700" fmla="*/ 279039 h 409332"/>
                <a:gd name="connsiteX701" fmla="*/ 311590 w 353578"/>
                <a:gd name="connsiteY701" fmla="*/ 275288 h 409332"/>
                <a:gd name="connsiteX702" fmla="*/ 312860 w 353578"/>
                <a:gd name="connsiteY702" fmla="*/ 277345 h 409332"/>
                <a:gd name="connsiteX703" fmla="*/ 318154 w 353578"/>
                <a:gd name="connsiteY703" fmla="*/ 282004 h 409332"/>
                <a:gd name="connsiteX704" fmla="*/ 320272 w 353578"/>
                <a:gd name="connsiteY704" fmla="*/ 285029 h 409332"/>
                <a:gd name="connsiteX705" fmla="*/ 320725 w 353578"/>
                <a:gd name="connsiteY705" fmla="*/ 286179 h 409332"/>
                <a:gd name="connsiteX706" fmla="*/ 320907 w 353578"/>
                <a:gd name="connsiteY706" fmla="*/ 287389 h 409332"/>
                <a:gd name="connsiteX707" fmla="*/ 320847 w 353578"/>
                <a:gd name="connsiteY707" fmla="*/ 289960 h 409332"/>
                <a:gd name="connsiteX708" fmla="*/ 321058 w 353578"/>
                <a:gd name="connsiteY708" fmla="*/ 290898 h 409332"/>
                <a:gd name="connsiteX709" fmla="*/ 323055 w 353578"/>
                <a:gd name="connsiteY709" fmla="*/ 292925 h 409332"/>
                <a:gd name="connsiteX710" fmla="*/ 325021 w 353578"/>
                <a:gd name="connsiteY710" fmla="*/ 292652 h 409332"/>
                <a:gd name="connsiteX711" fmla="*/ 328742 w 353578"/>
                <a:gd name="connsiteY711" fmla="*/ 289627 h 409332"/>
                <a:gd name="connsiteX712" fmla="*/ 330557 w 353578"/>
                <a:gd name="connsiteY712" fmla="*/ 288690 h 409332"/>
                <a:gd name="connsiteX713" fmla="*/ 332161 w 353578"/>
                <a:gd name="connsiteY713" fmla="*/ 288327 h 409332"/>
                <a:gd name="connsiteX714" fmla="*/ 344110 w 353578"/>
                <a:gd name="connsiteY714" fmla="*/ 288992 h 409332"/>
                <a:gd name="connsiteX715" fmla="*/ 348496 w 353578"/>
                <a:gd name="connsiteY715" fmla="*/ 288296 h 409332"/>
                <a:gd name="connsiteX716" fmla="*/ 351128 w 353578"/>
                <a:gd name="connsiteY716" fmla="*/ 285906 h 409332"/>
                <a:gd name="connsiteX717" fmla="*/ 353579 w 353578"/>
                <a:gd name="connsiteY717" fmla="*/ 281762 h 409332"/>
                <a:gd name="connsiteX718" fmla="*/ 352248 w 353578"/>
                <a:gd name="connsiteY718" fmla="*/ 280975 h 40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Lst>
              <a:rect l="l" t="t" r="r" b="b"/>
              <a:pathLst>
                <a:path w="353578" h="409332">
                  <a:moveTo>
                    <a:pt x="352248" y="280975"/>
                  </a:moveTo>
                  <a:lnTo>
                    <a:pt x="350614" y="280703"/>
                  </a:lnTo>
                  <a:lnTo>
                    <a:pt x="349071" y="280945"/>
                  </a:lnTo>
                  <a:lnTo>
                    <a:pt x="348103" y="281762"/>
                  </a:lnTo>
                  <a:lnTo>
                    <a:pt x="346379" y="279886"/>
                  </a:lnTo>
                  <a:lnTo>
                    <a:pt x="341750" y="276528"/>
                  </a:lnTo>
                  <a:lnTo>
                    <a:pt x="342537" y="275379"/>
                  </a:lnTo>
                  <a:lnTo>
                    <a:pt x="341297" y="273019"/>
                  </a:lnTo>
                  <a:lnTo>
                    <a:pt x="340631" y="272202"/>
                  </a:lnTo>
                  <a:lnTo>
                    <a:pt x="339845" y="271628"/>
                  </a:lnTo>
                  <a:lnTo>
                    <a:pt x="339270" y="271597"/>
                  </a:lnTo>
                  <a:lnTo>
                    <a:pt x="338060" y="272323"/>
                  </a:lnTo>
                  <a:lnTo>
                    <a:pt x="337394" y="272535"/>
                  </a:lnTo>
                  <a:lnTo>
                    <a:pt x="337031" y="272233"/>
                  </a:lnTo>
                  <a:lnTo>
                    <a:pt x="336517" y="270962"/>
                  </a:lnTo>
                  <a:lnTo>
                    <a:pt x="336335" y="270629"/>
                  </a:lnTo>
                  <a:lnTo>
                    <a:pt x="331919" y="268905"/>
                  </a:lnTo>
                  <a:lnTo>
                    <a:pt x="330497" y="267271"/>
                  </a:lnTo>
                  <a:lnTo>
                    <a:pt x="330164" y="264276"/>
                  </a:lnTo>
                  <a:lnTo>
                    <a:pt x="331919" y="264125"/>
                  </a:lnTo>
                  <a:lnTo>
                    <a:pt x="334127" y="263732"/>
                  </a:lnTo>
                  <a:lnTo>
                    <a:pt x="335277" y="260828"/>
                  </a:lnTo>
                  <a:lnTo>
                    <a:pt x="335035" y="259557"/>
                  </a:lnTo>
                  <a:lnTo>
                    <a:pt x="333794" y="256804"/>
                  </a:lnTo>
                  <a:lnTo>
                    <a:pt x="333431" y="255413"/>
                  </a:lnTo>
                  <a:lnTo>
                    <a:pt x="333492" y="253658"/>
                  </a:lnTo>
                  <a:lnTo>
                    <a:pt x="333855" y="252388"/>
                  </a:lnTo>
                  <a:lnTo>
                    <a:pt x="334339" y="251178"/>
                  </a:lnTo>
                  <a:lnTo>
                    <a:pt x="334762" y="249605"/>
                  </a:lnTo>
                  <a:lnTo>
                    <a:pt x="335579" y="241225"/>
                  </a:lnTo>
                  <a:lnTo>
                    <a:pt x="335428" y="238744"/>
                  </a:lnTo>
                  <a:lnTo>
                    <a:pt x="334974" y="237716"/>
                  </a:lnTo>
                  <a:lnTo>
                    <a:pt x="333885" y="235780"/>
                  </a:lnTo>
                  <a:lnTo>
                    <a:pt x="333492" y="234781"/>
                  </a:lnTo>
                  <a:lnTo>
                    <a:pt x="333340" y="233541"/>
                  </a:lnTo>
                  <a:lnTo>
                    <a:pt x="333371" y="230667"/>
                  </a:lnTo>
                  <a:lnTo>
                    <a:pt x="333129" y="229759"/>
                  </a:lnTo>
                  <a:lnTo>
                    <a:pt x="332040" y="229185"/>
                  </a:lnTo>
                  <a:lnTo>
                    <a:pt x="331072" y="229608"/>
                  </a:lnTo>
                  <a:lnTo>
                    <a:pt x="330134" y="230183"/>
                  </a:lnTo>
                  <a:lnTo>
                    <a:pt x="329226" y="230123"/>
                  </a:lnTo>
                  <a:lnTo>
                    <a:pt x="328772" y="229367"/>
                  </a:lnTo>
                  <a:lnTo>
                    <a:pt x="327956" y="226916"/>
                  </a:lnTo>
                  <a:lnTo>
                    <a:pt x="327502" y="225978"/>
                  </a:lnTo>
                  <a:lnTo>
                    <a:pt x="324628" y="223770"/>
                  </a:lnTo>
                  <a:lnTo>
                    <a:pt x="321754" y="223437"/>
                  </a:lnTo>
                  <a:lnTo>
                    <a:pt x="318790" y="223709"/>
                  </a:lnTo>
                  <a:lnTo>
                    <a:pt x="315613" y="223256"/>
                  </a:lnTo>
                  <a:lnTo>
                    <a:pt x="313768" y="222015"/>
                  </a:lnTo>
                  <a:lnTo>
                    <a:pt x="311408" y="218476"/>
                  </a:lnTo>
                  <a:lnTo>
                    <a:pt x="309774" y="216933"/>
                  </a:lnTo>
                  <a:lnTo>
                    <a:pt x="308232" y="216419"/>
                  </a:lnTo>
                  <a:lnTo>
                    <a:pt x="304934" y="216177"/>
                  </a:lnTo>
                  <a:lnTo>
                    <a:pt x="303301" y="215632"/>
                  </a:lnTo>
                  <a:lnTo>
                    <a:pt x="302423" y="214937"/>
                  </a:lnTo>
                  <a:lnTo>
                    <a:pt x="300881" y="213242"/>
                  </a:lnTo>
                  <a:lnTo>
                    <a:pt x="299943" y="212788"/>
                  </a:lnTo>
                  <a:lnTo>
                    <a:pt x="297402" y="213000"/>
                  </a:lnTo>
                  <a:lnTo>
                    <a:pt x="296827" y="212879"/>
                  </a:lnTo>
                  <a:lnTo>
                    <a:pt x="295950" y="211397"/>
                  </a:lnTo>
                  <a:lnTo>
                    <a:pt x="296040" y="209612"/>
                  </a:lnTo>
                  <a:lnTo>
                    <a:pt x="296131" y="209280"/>
                  </a:lnTo>
                  <a:lnTo>
                    <a:pt x="296585" y="207494"/>
                  </a:lnTo>
                  <a:lnTo>
                    <a:pt x="297341" y="202473"/>
                  </a:lnTo>
                  <a:lnTo>
                    <a:pt x="298430" y="200960"/>
                  </a:lnTo>
                  <a:lnTo>
                    <a:pt x="299640" y="199690"/>
                  </a:lnTo>
                  <a:lnTo>
                    <a:pt x="300397" y="197844"/>
                  </a:lnTo>
                  <a:lnTo>
                    <a:pt x="300306" y="195787"/>
                  </a:lnTo>
                  <a:lnTo>
                    <a:pt x="299580" y="193942"/>
                  </a:lnTo>
                  <a:lnTo>
                    <a:pt x="298430" y="192520"/>
                  </a:lnTo>
                  <a:lnTo>
                    <a:pt x="297099" y="191643"/>
                  </a:lnTo>
                  <a:lnTo>
                    <a:pt x="295224" y="191824"/>
                  </a:lnTo>
                  <a:lnTo>
                    <a:pt x="294014" y="193367"/>
                  </a:lnTo>
                  <a:lnTo>
                    <a:pt x="293136" y="195091"/>
                  </a:lnTo>
                  <a:lnTo>
                    <a:pt x="292047" y="195939"/>
                  </a:lnTo>
                  <a:lnTo>
                    <a:pt x="291200" y="195091"/>
                  </a:lnTo>
                  <a:lnTo>
                    <a:pt x="288115" y="189797"/>
                  </a:lnTo>
                  <a:lnTo>
                    <a:pt x="287872" y="189344"/>
                  </a:lnTo>
                  <a:lnTo>
                    <a:pt x="287812" y="188920"/>
                  </a:lnTo>
                  <a:lnTo>
                    <a:pt x="287872" y="188527"/>
                  </a:lnTo>
                  <a:lnTo>
                    <a:pt x="288115" y="188134"/>
                  </a:lnTo>
                  <a:lnTo>
                    <a:pt x="290898" y="187892"/>
                  </a:lnTo>
                  <a:lnTo>
                    <a:pt x="293106" y="187287"/>
                  </a:lnTo>
                  <a:lnTo>
                    <a:pt x="294558" y="185683"/>
                  </a:lnTo>
                  <a:lnTo>
                    <a:pt x="295133" y="182325"/>
                  </a:lnTo>
                  <a:lnTo>
                    <a:pt x="294104" y="175216"/>
                  </a:lnTo>
                  <a:lnTo>
                    <a:pt x="294467" y="172282"/>
                  </a:lnTo>
                  <a:lnTo>
                    <a:pt x="296948" y="171072"/>
                  </a:lnTo>
                  <a:lnTo>
                    <a:pt x="298097" y="168712"/>
                  </a:lnTo>
                  <a:lnTo>
                    <a:pt x="298007" y="165566"/>
                  </a:lnTo>
                  <a:lnTo>
                    <a:pt x="297099" y="162390"/>
                  </a:lnTo>
                  <a:lnTo>
                    <a:pt x="295738" y="160060"/>
                  </a:lnTo>
                  <a:lnTo>
                    <a:pt x="294044" y="158669"/>
                  </a:lnTo>
                  <a:lnTo>
                    <a:pt x="292138" y="158033"/>
                  </a:lnTo>
                  <a:lnTo>
                    <a:pt x="290141" y="157912"/>
                  </a:lnTo>
                  <a:lnTo>
                    <a:pt x="288115" y="158124"/>
                  </a:lnTo>
                  <a:lnTo>
                    <a:pt x="287086" y="160242"/>
                  </a:lnTo>
                  <a:lnTo>
                    <a:pt x="286632" y="162299"/>
                  </a:lnTo>
                  <a:lnTo>
                    <a:pt x="285936" y="164205"/>
                  </a:lnTo>
                  <a:lnTo>
                    <a:pt x="284182" y="165748"/>
                  </a:lnTo>
                  <a:lnTo>
                    <a:pt x="282548" y="166231"/>
                  </a:lnTo>
                  <a:lnTo>
                    <a:pt x="280945" y="166080"/>
                  </a:lnTo>
                  <a:lnTo>
                    <a:pt x="279432" y="165415"/>
                  </a:lnTo>
                  <a:lnTo>
                    <a:pt x="278041" y="164265"/>
                  </a:lnTo>
                  <a:lnTo>
                    <a:pt x="277042" y="162723"/>
                  </a:lnTo>
                  <a:lnTo>
                    <a:pt x="276710" y="162208"/>
                  </a:lnTo>
                  <a:lnTo>
                    <a:pt x="276407" y="160272"/>
                  </a:lnTo>
                  <a:lnTo>
                    <a:pt x="276347" y="158306"/>
                  </a:lnTo>
                  <a:lnTo>
                    <a:pt x="275832" y="156158"/>
                  </a:lnTo>
                  <a:lnTo>
                    <a:pt x="274532" y="154373"/>
                  </a:lnTo>
                  <a:lnTo>
                    <a:pt x="272959" y="153708"/>
                  </a:lnTo>
                  <a:lnTo>
                    <a:pt x="271385" y="153405"/>
                  </a:lnTo>
                  <a:lnTo>
                    <a:pt x="269994" y="152679"/>
                  </a:lnTo>
                  <a:lnTo>
                    <a:pt x="269177" y="151227"/>
                  </a:lnTo>
                  <a:lnTo>
                    <a:pt x="268723" y="149593"/>
                  </a:lnTo>
                  <a:lnTo>
                    <a:pt x="268028" y="148141"/>
                  </a:lnTo>
                  <a:lnTo>
                    <a:pt x="264942" y="146235"/>
                  </a:lnTo>
                  <a:lnTo>
                    <a:pt x="263127" y="143362"/>
                  </a:lnTo>
                  <a:lnTo>
                    <a:pt x="261705" y="142666"/>
                  </a:lnTo>
                  <a:lnTo>
                    <a:pt x="260041" y="143331"/>
                  </a:lnTo>
                  <a:lnTo>
                    <a:pt x="259073" y="144814"/>
                  </a:lnTo>
                  <a:lnTo>
                    <a:pt x="258045" y="145630"/>
                  </a:lnTo>
                  <a:lnTo>
                    <a:pt x="256199" y="144329"/>
                  </a:lnTo>
                  <a:lnTo>
                    <a:pt x="255382" y="142877"/>
                  </a:lnTo>
                  <a:lnTo>
                    <a:pt x="253809" y="138763"/>
                  </a:lnTo>
                  <a:lnTo>
                    <a:pt x="253537" y="138219"/>
                  </a:lnTo>
                  <a:lnTo>
                    <a:pt x="252872" y="137009"/>
                  </a:lnTo>
                  <a:lnTo>
                    <a:pt x="252872" y="137009"/>
                  </a:lnTo>
                  <a:lnTo>
                    <a:pt x="252872" y="136979"/>
                  </a:lnTo>
                  <a:lnTo>
                    <a:pt x="252841" y="136979"/>
                  </a:lnTo>
                  <a:lnTo>
                    <a:pt x="251540" y="131503"/>
                  </a:lnTo>
                  <a:lnTo>
                    <a:pt x="252872" y="127903"/>
                  </a:lnTo>
                  <a:lnTo>
                    <a:pt x="255443" y="124727"/>
                  </a:lnTo>
                  <a:lnTo>
                    <a:pt x="258045" y="120552"/>
                  </a:lnTo>
                  <a:lnTo>
                    <a:pt x="259073" y="115379"/>
                  </a:lnTo>
                  <a:lnTo>
                    <a:pt x="258982" y="110539"/>
                  </a:lnTo>
                  <a:lnTo>
                    <a:pt x="259527" y="106273"/>
                  </a:lnTo>
                  <a:lnTo>
                    <a:pt x="262522" y="102734"/>
                  </a:lnTo>
                  <a:lnTo>
                    <a:pt x="263732" y="100979"/>
                  </a:lnTo>
                  <a:lnTo>
                    <a:pt x="263339" y="99497"/>
                  </a:lnTo>
                  <a:lnTo>
                    <a:pt x="262068" y="98408"/>
                  </a:lnTo>
                  <a:lnTo>
                    <a:pt x="258589" y="97228"/>
                  </a:lnTo>
                  <a:lnTo>
                    <a:pt x="257621" y="96351"/>
                  </a:lnTo>
                  <a:lnTo>
                    <a:pt x="257621" y="94838"/>
                  </a:lnTo>
                  <a:lnTo>
                    <a:pt x="258529" y="92418"/>
                  </a:lnTo>
                  <a:lnTo>
                    <a:pt x="259739" y="90875"/>
                  </a:lnTo>
                  <a:lnTo>
                    <a:pt x="261584" y="89030"/>
                  </a:lnTo>
                  <a:lnTo>
                    <a:pt x="263127" y="87064"/>
                  </a:lnTo>
                  <a:lnTo>
                    <a:pt x="263460" y="85188"/>
                  </a:lnTo>
                  <a:lnTo>
                    <a:pt x="262461" y="84523"/>
                  </a:lnTo>
                  <a:lnTo>
                    <a:pt x="258498" y="83433"/>
                  </a:lnTo>
                  <a:lnTo>
                    <a:pt x="257077" y="82405"/>
                  </a:lnTo>
                  <a:lnTo>
                    <a:pt x="256290" y="80378"/>
                  </a:lnTo>
                  <a:lnTo>
                    <a:pt x="255382" y="75659"/>
                  </a:lnTo>
                  <a:lnTo>
                    <a:pt x="254626" y="73541"/>
                  </a:lnTo>
                  <a:lnTo>
                    <a:pt x="253446" y="71756"/>
                  </a:lnTo>
                  <a:lnTo>
                    <a:pt x="252206" y="70698"/>
                  </a:lnTo>
                  <a:lnTo>
                    <a:pt x="250784" y="70183"/>
                  </a:lnTo>
                  <a:lnTo>
                    <a:pt x="249030" y="70123"/>
                  </a:lnTo>
                  <a:lnTo>
                    <a:pt x="245853" y="71575"/>
                  </a:lnTo>
                  <a:lnTo>
                    <a:pt x="241467" y="76899"/>
                  </a:lnTo>
                  <a:lnTo>
                    <a:pt x="237806" y="77534"/>
                  </a:lnTo>
                  <a:lnTo>
                    <a:pt x="234721" y="76385"/>
                  </a:lnTo>
                  <a:lnTo>
                    <a:pt x="233299" y="75356"/>
                  </a:lnTo>
                  <a:lnTo>
                    <a:pt x="231151" y="73844"/>
                  </a:lnTo>
                  <a:lnTo>
                    <a:pt x="227914" y="70576"/>
                  </a:lnTo>
                  <a:lnTo>
                    <a:pt x="225857" y="67309"/>
                  </a:lnTo>
                  <a:lnTo>
                    <a:pt x="225191" y="66281"/>
                  </a:lnTo>
                  <a:lnTo>
                    <a:pt x="223558" y="64859"/>
                  </a:lnTo>
                  <a:lnTo>
                    <a:pt x="222862" y="63952"/>
                  </a:lnTo>
                  <a:lnTo>
                    <a:pt x="222711" y="63104"/>
                  </a:lnTo>
                  <a:lnTo>
                    <a:pt x="222378" y="59505"/>
                  </a:lnTo>
                  <a:lnTo>
                    <a:pt x="220745" y="55935"/>
                  </a:lnTo>
                  <a:lnTo>
                    <a:pt x="220503" y="54997"/>
                  </a:lnTo>
                  <a:lnTo>
                    <a:pt x="220442" y="54029"/>
                  </a:lnTo>
                  <a:lnTo>
                    <a:pt x="220200" y="53031"/>
                  </a:lnTo>
                  <a:lnTo>
                    <a:pt x="219504" y="51942"/>
                  </a:lnTo>
                  <a:lnTo>
                    <a:pt x="216691" y="50187"/>
                  </a:lnTo>
                  <a:lnTo>
                    <a:pt x="213061" y="49612"/>
                  </a:lnTo>
                  <a:lnTo>
                    <a:pt x="206073" y="49522"/>
                  </a:lnTo>
                  <a:lnTo>
                    <a:pt x="196816" y="45982"/>
                  </a:lnTo>
                  <a:lnTo>
                    <a:pt x="193579" y="45831"/>
                  </a:lnTo>
                  <a:lnTo>
                    <a:pt x="191340" y="46769"/>
                  </a:lnTo>
                  <a:lnTo>
                    <a:pt x="189525" y="51790"/>
                  </a:lnTo>
                  <a:lnTo>
                    <a:pt x="189525" y="51790"/>
                  </a:lnTo>
                  <a:lnTo>
                    <a:pt x="189374" y="52335"/>
                  </a:lnTo>
                  <a:lnTo>
                    <a:pt x="188829" y="54694"/>
                  </a:lnTo>
                  <a:lnTo>
                    <a:pt x="188769" y="57054"/>
                  </a:lnTo>
                  <a:lnTo>
                    <a:pt x="188406" y="58325"/>
                  </a:lnTo>
                  <a:lnTo>
                    <a:pt x="187347" y="58416"/>
                  </a:lnTo>
                  <a:lnTo>
                    <a:pt x="185320" y="57084"/>
                  </a:lnTo>
                  <a:lnTo>
                    <a:pt x="184110" y="55935"/>
                  </a:lnTo>
                  <a:lnTo>
                    <a:pt x="181266" y="50490"/>
                  </a:lnTo>
                  <a:lnTo>
                    <a:pt x="182930" y="48765"/>
                  </a:lnTo>
                  <a:lnTo>
                    <a:pt x="183051" y="46678"/>
                  </a:lnTo>
                  <a:lnTo>
                    <a:pt x="182083" y="44803"/>
                  </a:lnTo>
                  <a:lnTo>
                    <a:pt x="180510" y="43774"/>
                  </a:lnTo>
                  <a:lnTo>
                    <a:pt x="178181" y="44077"/>
                  </a:lnTo>
                  <a:lnTo>
                    <a:pt x="176880" y="45740"/>
                  </a:lnTo>
                  <a:lnTo>
                    <a:pt x="175821" y="47828"/>
                  </a:lnTo>
                  <a:lnTo>
                    <a:pt x="174278" y="49461"/>
                  </a:lnTo>
                  <a:lnTo>
                    <a:pt x="172161" y="49824"/>
                  </a:lnTo>
                  <a:lnTo>
                    <a:pt x="171041" y="48674"/>
                  </a:lnTo>
                  <a:lnTo>
                    <a:pt x="170830" y="46738"/>
                  </a:lnTo>
                  <a:lnTo>
                    <a:pt x="171525" y="44833"/>
                  </a:lnTo>
                  <a:lnTo>
                    <a:pt x="173099" y="43108"/>
                  </a:lnTo>
                  <a:lnTo>
                    <a:pt x="174551" y="42231"/>
                  </a:lnTo>
                  <a:lnTo>
                    <a:pt x="175640" y="40991"/>
                  </a:lnTo>
                  <a:lnTo>
                    <a:pt x="176305" y="38117"/>
                  </a:lnTo>
                  <a:lnTo>
                    <a:pt x="176154" y="35485"/>
                  </a:lnTo>
                  <a:lnTo>
                    <a:pt x="175095" y="34366"/>
                  </a:lnTo>
                  <a:lnTo>
                    <a:pt x="173371" y="34154"/>
                  </a:lnTo>
                  <a:lnTo>
                    <a:pt x="168712" y="34668"/>
                  </a:lnTo>
                  <a:lnTo>
                    <a:pt x="167018" y="35697"/>
                  </a:lnTo>
                  <a:lnTo>
                    <a:pt x="165445" y="36967"/>
                  </a:lnTo>
                  <a:lnTo>
                    <a:pt x="163267" y="38117"/>
                  </a:lnTo>
                  <a:lnTo>
                    <a:pt x="160937" y="38601"/>
                  </a:lnTo>
                  <a:lnTo>
                    <a:pt x="159213" y="38117"/>
                  </a:lnTo>
                  <a:lnTo>
                    <a:pt x="158124" y="36544"/>
                  </a:lnTo>
                  <a:lnTo>
                    <a:pt x="157791" y="33852"/>
                  </a:lnTo>
                  <a:lnTo>
                    <a:pt x="157035" y="31583"/>
                  </a:lnTo>
                  <a:lnTo>
                    <a:pt x="155402" y="31794"/>
                  </a:lnTo>
                  <a:lnTo>
                    <a:pt x="152286" y="34245"/>
                  </a:lnTo>
                  <a:lnTo>
                    <a:pt x="150712" y="34638"/>
                  </a:lnTo>
                  <a:lnTo>
                    <a:pt x="148474" y="34547"/>
                  </a:lnTo>
                  <a:lnTo>
                    <a:pt x="147022" y="33489"/>
                  </a:lnTo>
                  <a:lnTo>
                    <a:pt x="148988" y="28073"/>
                  </a:lnTo>
                  <a:lnTo>
                    <a:pt x="148413" y="25593"/>
                  </a:lnTo>
                  <a:lnTo>
                    <a:pt x="146780" y="23778"/>
                  </a:lnTo>
                  <a:lnTo>
                    <a:pt x="144723" y="22870"/>
                  </a:lnTo>
                  <a:lnTo>
                    <a:pt x="139398" y="22265"/>
                  </a:lnTo>
                  <a:lnTo>
                    <a:pt x="135768" y="21841"/>
                  </a:lnTo>
                  <a:lnTo>
                    <a:pt x="131684" y="20389"/>
                  </a:lnTo>
                  <a:lnTo>
                    <a:pt x="129476" y="17183"/>
                  </a:lnTo>
                  <a:lnTo>
                    <a:pt x="128689" y="16517"/>
                  </a:lnTo>
                  <a:lnTo>
                    <a:pt x="127540" y="14974"/>
                  </a:lnTo>
                  <a:lnTo>
                    <a:pt x="125483" y="12131"/>
                  </a:lnTo>
                  <a:lnTo>
                    <a:pt x="123970" y="10649"/>
                  </a:lnTo>
                  <a:lnTo>
                    <a:pt x="117496" y="6202"/>
                  </a:lnTo>
                  <a:lnTo>
                    <a:pt x="114108" y="4750"/>
                  </a:lnTo>
                  <a:lnTo>
                    <a:pt x="101554" y="4840"/>
                  </a:lnTo>
                  <a:lnTo>
                    <a:pt x="99527" y="3933"/>
                  </a:lnTo>
                  <a:lnTo>
                    <a:pt x="99315" y="272"/>
                  </a:lnTo>
                  <a:lnTo>
                    <a:pt x="97137" y="0"/>
                  </a:lnTo>
                  <a:lnTo>
                    <a:pt x="94505" y="1603"/>
                  </a:lnTo>
                  <a:lnTo>
                    <a:pt x="93326" y="1876"/>
                  </a:lnTo>
                  <a:lnTo>
                    <a:pt x="89151" y="1876"/>
                  </a:lnTo>
                  <a:lnTo>
                    <a:pt x="86852" y="4810"/>
                  </a:lnTo>
                  <a:lnTo>
                    <a:pt x="80741" y="9590"/>
                  </a:lnTo>
                  <a:lnTo>
                    <a:pt x="79077" y="10376"/>
                  </a:lnTo>
                  <a:lnTo>
                    <a:pt x="77685" y="9892"/>
                  </a:lnTo>
                  <a:lnTo>
                    <a:pt x="74812" y="7411"/>
                  </a:lnTo>
                  <a:lnTo>
                    <a:pt x="72906" y="6928"/>
                  </a:lnTo>
                  <a:lnTo>
                    <a:pt x="69246" y="8682"/>
                  </a:lnTo>
                  <a:lnTo>
                    <a:pt x="63800" y="14974"/>
                  </a:lnTo>
                  <a:lnTo>
                    <a:pt x="63255" y="15610"/>
                  </a:lnTo>
                  <a:lnTo>
                    <a:pt x="59444" y="17455"/>
                  </a:lnTo>
                  <a:lnTo>
                    <a:pt x="56146" y="17273"/>
                  </a:lnTo>
                  <a:lnTo>
                    <a:pt x="45377" y="13522"/>
                  </a:lnTo>
                  <a:lnTo>
                    <a:pt x="43290" y="12282"/>
                  </a:lnTo>
                  <a:lnTo>
                    <a:pt x="42231" y="12010"/>
                  </a:lnTo>
                  <a:lnTo>
                    <a:pt x="41112" y="12373"/>
                  </a:lnTo>
                  <a:lnTo>
                    <a:pt x="41021" y="13371"/>
                  </a:lnTo>
                  <a:lnTo>
                    <a:pt x="41293" y="14551"/>
                  </a:lnTo>
                  <a:lnTo>
                    <a:pt x="41263" y="15489"/>
                  </a:lnTo>
                  <a:lnTo>
                    <a:pt x="41323" y="16033"/>
                  </a:lnTo>
                  <a:lnTo>
                    <a:pt x="41656" y="16790"/>
                  </a:lnTo>
                  <a:lnTo>
                    <a:pt x="41777" y="17516"/>
                  </a:lnTo>
                  <a:lnTo>
                    <a:pt x="41233" y="17848"/>
                  </a:lnTo>
                  <a:lnTo>
                    <a:pt x="40023" y="17607"/>
                  </a:lnTo>
                  <a:lnTo>
                    <a:pt x="38934" y="17727"/>
                  </a:lnTo>
                  <a:lnTo>
                    <a:pt x="38238" y="17334"/>
                  </a:lnTo>
                  <a:lnTo>
                    <a:pt x="37511" y="17213"/>
                  </a:lnTo>
                  <a:lnTo>
                    <a:pt x="36544" y="18121"/>
                  </a:lnTo>
                  <a:lnTo>
                    <a:pt x="32762" y="18726"/>
                  </a:lnTo>
                  <a:lnTo>
                    <a:pt x="29283" y="16790"/>
                  </a:lnTo>
                  <a:lnTo>
                    <a:pt x="25956" y="14188"/>
                  </a:lnTo>
                  <a:lnTo>
                    <a:pt x="22628" y="12827"/>
                  </a:lnTo>
                  <a:lnTo>
                    <a:pt x="21539" y="13159"/>
                  </a:lnTo>
                  <a:lnTo>
                    <a:pt x="21206" y="14037"/>
                  </a:lnTo>
                  <a:lnTo>
                    <a:pt x="20903" y="15065"/>
                  </a:lnTo>
                  <a:lnTo>
                    <a:pt x="20057" y="15882"/>
                  </a:lnTo>
                  <a:lnTo>
                    <a:pt x="19361" y="15882"/>
                  </a:lnTo>
                  <a:lnTo>
                    <a:pt x="17697" y="15277"/>
                  </a:lnTo>
                  <a:lnTo>
                    <a:pt x="17152" y="15307"/>
                  </a:lnTo>
                  <a:lnTo>
                    <a:pt x="16063" y="16669"/>
                  </a:lnTo>
                  <a:lnTo>
                    <a:pt x="16154" y="17909"/>
                  </a:lnTo>
                  <a:lnTo>
                    <a:pt x="16729" y="19603"/>
                  </a:lnTo>
                  <a:lnTo>
                    <a:pt x="17273" y="22265"/>
                  </a:lnTo>
                  <a:lnTo>
                    <a:pt x="17334" y="24897"/>
                  </a:lnTo>
                  <a:lnTo>
                    <a:pt x="16880" y="26682"/>
                  </a:lnTo>
                  <a:lnTo>
                    <a:pt x="15761" y="27650"/>
                  </a:lnTo>
                  <a:lnTo>
                    <a:pt x="13764" y="27801"/>
                  </a:lnTo>
                  <a:lnTo>
                    <a:pt x="11889" y="27015"/>
                  </a:lnTo>
                  <a:lnTo>
                    <a:pt x="10648" y="25502"/>
                  </a:lnTo>
                  <a:lnTo>
                    <a:pt x="9589" y="23778"/>
                  </a:lnTo>
                  <a:lnTo>
                    <a:pt x="8228" y="22386"/>
                  </a:lnTo>
                  <a:lnTo>
                    <a:pt x="6232" y="21690"/>
                  </a:lnTo>
                  <a:lnTo>
                    <a:pt x="5657" y="22840"/>
                  </a:lnTo>
                  <a:lnTo>
                    <a:pt x="5143" y="24625"/>
                  </a:lnTo>
                  <a:lnTo>
                    <a:pt x="1845" y="26561"/>
                  </a:lnTo>
                  <a:lnTo>
                    <a:pt x="726" y="28224"/>
                  </a:lnTo>
                  <a:lnTo>
                    <a:pt x="90" y="30433"/>
                  </a:lnTo>
                  <a:lnTo>
                    <a:pt x="0" y="31552"/>
                  </a:lnTo>
                  <a:lnTo>
                    <a:pt x="4840" y="29435"/>
                  </a:lnTo>
                  <a:lnTo>
                    <a:pt x="7109" y="29344"/>
                  </a:lnTo>
                  <a:lnTo>
                    <a:pt x="9408" y="31220"/>
                  </a:lnTo>
                  <a:lnTo>
                    <a:pt x="10527" y="31431"/>
                  </a:lnTo>
                  <a:lnTo>
                    <a:pt x="11616" y="29919"/>
                  </a:lnTo>
                  <a:lnTo>
                    <a:pt x="12705" y="32036"/>
                  </a:lnTo>
                  <a:lnTo>
                    <a:pt x="14672" y="32429"/>
                  </a:lnTo>
                  <a:lnTo>
                    <a:pt x="18816" y="31643"/>
                  </a:lnTo>
                  <a:lnTo>
                    <a:pt x="20540" y="32429"/>
                  </a:lnTo>
                  <a:lnTo>
                    <a:pt x="22840" y="35122"/>
                  </a:lnTo>
                  <a:lnTo>
                    <a:pt x="23929" y="34487"/>
                  </a:lnTo>
                  <a:lnTo>
                    <a:pt x="28164" y="38480"/>
                  </a:lnTo>
                  <a:lnTo>
                    <a:pt x="28799" y="39539"/>
                  </a:lnTo>
                  <a:lnTo>
                    <a:pt x="29192" y="41868"/>
                  </a:lnTo>
                  <a:lnTo>
                    <a:pt x="30191" y="41384"/>
                  </a:lnTo>
                  <a:lnTo>
                    <a:pt x="31310" y="39872"/>
                  </a:lnTo>
                  <a:lnTo>
                    <a:pt x="32248" y="39055"/>
                  </a:lnTo>
                  <a:lnTo>
                    <a:pt x="33488" y="40053"/>
                  </a:lnTo>
                  <a:lnTo>
                    <a:pt x="34003" y="41687"/>
                  </a:lnTo>
                  <a:lnTo>
                    <a:pt x="34759" y="43139"/>
                  </a:lnTo>
                  <a:lnTo>
                    <a:pt x="38238" y="44349"/>
                  </a:lnTo>
                  <a:lnTo>
                    <a:pt x="38238" y="45559"/>
                  </a:lnTo>
                  <a:lnTo>
                    <a:pt x="37088" y="46587"/>
                  </a:lnTo>
                  <a:lnTo>
                    <a:pt x="35092" y="46708"/>
                  </a:lnTo>
                  <a:lnTo>
                    <a:pt x="35092" y="47585"/>
                  </a:lnTo>
                  <a:lnTo>
                    <a:pt x="37845" y="49098"/>
                  </a:lnTo>
                  <a:lnTo>
                    <a:pt x="39750" y="49703"/>
                  </a:lnTo>
                  <a:lnTo>
                    <a:pt x="40990" y="48735"/>
                  </a:lnTo>
                  <a:lnTo>
                    <a:pt x="41868" y="49098"/>
                  </a:lnTo>
                  <a:lnTo>
                    <a:pt x="42776" y="49794"/>
                  </a:lnTo>
                  <a:lnTo>
                    <a:pt x="43290" y="50490"/>
                  </a:lnTo>
                  <a:lnTo>
                    <a:pt x="43290" y="50611"/>
                  </a:lnTo>
                  <a:lnTo>
                    <a:pt x="43229" y="51276"/>
                  </a:lnTo>
                  <a:lnTo>
                    <a:pt x="42170" y="52547"/>
                  </a:lnTo>
                  <a:lnTo>
                    <a:pt x="41898" y="53333"/>
                  </a:lnTo>
                  <a:lnTo>
                    <a:pt x="42654" y="56721"/>
                  </a:lnTo>
                  <a:lnTo>
                    <a:pt x="44409" y="59353"/>
                  </a:lnTo>
                  <a:lnTo>
                    <a:pt x="46829" y="61350"/>
                  </a:lnTo>
                  <a:lnTo>
                    <a:pt x="49461" y="62772"/>
                  </a:lnTo>
                  <a:lnTo>
                    <a:pt x="49461" y="63770"/>
                  </a:lnTo>
                  <a:lnTo>
                    <a:pt x="47404" y="64647"/>
                  </a:lnTo>
                  <a:lnTo>
                    <a:pt x="47525" y="65222"/>
                  </a:lnTo>
                  <a:lnTo>
                    <a:pt x="47646" y="65767"/>
                  </a:lnTo>
                  <a:lnTo>
                    <a:pt x="47858" y="66220"/>
                  </a:lnTo>
                  <a:lnTo>
                    <a:pt x="48099" y="66614"/>
                  </a:lnTo>
                  <a:lnTo>
                    <a:pt x="50671" y="65555"/>
                  </a:lnTo>
                  <a:lnTo>
                    <a:pt x="52002" y="67309"/>
                  </a:lnTo>
                  <a:lnTo>
                    <a:pt x="52940" y="69185"/>
                  </a:lnTo>
                  <a:lnTo>
                    <a:pt x="54271" y="68489"/>
                  </a:lnTo>
                  <a:lnTo>
                    <a:pt x="55451" y="69730"/>
                  </a:lnTo>
                  <a:lnTo>
                    <a:pt x="55542" y="71000"/>
                  </a:lnTo>
                  <a:lnTo>
                    <a:pt x="54846" y="72210"/>
                  </a:lnTo>
                  <a:lnTo>
                    <a:pt x="53666" y="73208"/>
                  </a:lnTo>
                  <a:lnTo>
                    <a:pt x="55783" y="74781"/>
                  </a:lnTo>
                  <a:lnTo>
                    <a:pt x="56419" y="75084"/>
                  </a:lnTo>
                  <a:lnTo>
                    <a:pt x="56419" y="75931"/>
                  </a:lnTo>
                  <a:lnTo>
                    <a:pt x="54634" y="78170"/>
                  </a:lnTo>
                  <a:lnTo>
                    <a:pt x="55723" y="79440"/>
                  </a:lnTo>
                  <a:lnTo>
                    <a:pt x="57992" y="80590"/>
                  </a:lnTo>
                  <a:lnTo>
                    <a:pt x="59837" y="82617"/>
                  </a:lnTo>
                  <a:lnTo>
                    <a:pt x="59747" y="83222"/>
                  </a:lnTo>
                  <a:lnTo>
                    <a:pt x="59928" y="87487"/>
                  </a:lnTo>
                  <a:lnTo>
                    <a:pt x="59837" y="88334"/>
                  </a:lnTo>
                  <a:lnTo>
                    <a:pt x="60896" y="89060"/>
                  </a:lnTo>
                  <a:lnTo>
                    <a:pt x="62106" y="89393"/>
                  </a:lnTo>
                  <a:lnTo>
                    <a:pt x="63195" y="89907"/>
                  </a:lnTo>
                  <a:lnTo>
                    <a:pt x="63952" y="91057"/>
                  </a:lnTo>
                  <a:lnTo>
                    <a:pt x="60503" y="93023"/>
                  </a:lnTo>
                  <a:lnTo>
                    <a:pt x="61713" y="93961"/>
                  </a:lnTo>
                  <a:lnTo>
                    <a:pt x="63104" y="95927"/>
                  </a:lnTo>
                  <a:lnTo>
                    <a:pt x="64254" y="98015"/>
                  </a:lnTo>
                  <a:lnTo>
                    <a:pt x="64708" y="99164"/>
                  </a:lnTo>
                  <a:lnTo>
                    <a:pt x="65101" y="99799"/>
                  </a:lnTo>
                  <a:lnTo>
                    <a:pt x="66886" y="101010"/>
                  </a:lnTo>
                  <a:lnTo>
                    <a:pt x="67400" y="101463"/>
                  </a:lnTo>
                  <a:lnTo>
                    <a:pt x="67460" y="101705"/>
                  </a:lnTo>
                  <a:lnTo>
                    <a:pt x="67763" y="102855"/>
                  </a:lnTo>
                  <a:lnTo>
                    <a:pt x="67612" y="104307"/>
                  </a:lnTo>
                  <a:lnTo>
                    <a:pt x="68156" y="105305"/>
                  </a:lnTo>
                  <a:lnTo>
                    <a:pt x="68156" y="106152"/>
                  </a:lnTo>
                  <a:lnTo>
                    <a:pt x="65827" y="106606"/>
                  </a:lnTo>
                  <a:lnTo>
                    <a:pt x="66734" y="109631"/>
                  </a:lnTo>
                  <a:lnTo>
                    <a:pt x="69064" y="113262"/>
                  </a:lnTo>
                  <a:lnTo>
                    <a:pt x="75598" y="121218"/>
                  </a:lnTo>
                  <a:lnTo>
                    <a:pt x="78411" y="123850"/>
                  </a:lnTo>
                  <a:lnTo>
                    <a:pt x="81558" y="124969"/>
                  </a:lnTo>
                  <a:lnTo>
                    <a:pt x="81679" y="125362"/>
                  </a:lnTo>
                  <a:lnTo>
                    <a:pt x="81860" y="126118"/>
                  </a:lnTo>
                  <a:lnTo>
                    <a:pt x="82314" y="127843"/>
                  </a:lnTo>
                  <a:lnTo>
                    <a:pt x="82647" y="128690"/>
                  </a:lnTo>
                  <a:lnTo>
                    <a:pt x="82768" y="129204"/>
                  </a:lnTo>
                  <a:lnTo>
                    <a:pt x="82738" y="130444"/>
                  </a:lnTo>
                  <a:lnTo>
                    <a:pt x="82949" y="131049"/>
                  </a:lnTo>
                  <a:lnTo>
                    <a:pt x="83342" y="131261"/>
                  </a:lnTo>
                  <a:lnTo>
                    <a:pt x="84431" y="131412"/>
                  </a:lnTo>
                  <a:lnTo>
                    <a:pt x="84704" y="131503"/>
                  </a:lnTo>
                  <a:lnTo>
                    <a:pt x="85430" y="135164"/>
                  </a:lnTo>
                  <a:lnTo>
                    <a:pt x="86065" y="137160"/>
                  </a:lnTo>
                  <a:lnTo>
                    <a:pt x="87124" y="138037"/>
                  </a:lnTo>
                  <a:lnTo>
                    <a:pt x="88032" y="138158"/>
                  </a:lnTo>
                  <a:lnTo>
                    <a:pt x="88516" y="138461"/>
                  </a:lnTo>
                  <a:lnTo>
                    <a:pt x="88909" y="138794"/>
                  </a:lnTo>
                  <a:lnTo>
                    <a:pt x="89514" y="139035"/>
                  </a:lnTo>
                  <a:lnTo>
                    <a:pt x="92085" y="139126"/>
                  </a:lnTo>
                  <a:lnTo>
                    <a:pt x="92267" y="139035"/>
                  </a:lnTo>
                  <a:lnTo>
                    <a:pt x="93598" y="139550"/>
                  </a:lnTo>
                  <a:lnTo>
                    <a:pt x="95141" y="140367"/>
                  </a:lnTo>
                  <a:lnTo>
                    <a:pt x="96411" y="141456"/>
                  </a:lnTo>
                  <a:lnTo>
                    <a:pt x="97137" y="142787"/>
                  </a:lnTo>
                  <a:lnTo>
                    <a:pt x="96290" y="143392"/>
                  </a:lnTo>
                  <a:lnTo>
                    <a:pt x="95745" y="144451"/>
                  </a:lnTo>
                  <a:lnTo>
                    <a:pt x="95382" y="145842"/>
                  </a:lnTo>
                  <a:lnTo>
                    <a:pt x="95050" y="147445"/>
                  </a:lnTo>
                  <a:lnTo>
                    <a:pt x="96865" y="148867"/>
                  </a:lnTo>
                  <a:lnTo>
                    <a:pt x="96048" y="153072"/>
                  </a:lnTo>
                  <a:lnTo>
                    <a:pt x="97470" y="153950"/>
                  </a:lnTo>
                  <a:lnTo>
                    <a:pt x="97712" y="154161"/>
                  </a:lnTo>
                  <a:lnTo>
                    <a:pt x="98831" y="155039"/>
                  </a:lnTo>
                  <a:lnTo>
                    <a:pt x="101251" y="160393"/>
                  </a:lnTo>
                  <a:lnTo>
                    <a:pt x="102552" y="162420"/>
                  </a:lnTo>
                  <a:lnTo>
                    <a:pt x="103339" y="162783"/>
                  </a:lnTo>
                  <a:lnTo>
                    <a:pt x="106061" y="163358"/>
                  </a:lnTo>
                  <a:lnTo>
                    <a:pt x="107120" y="163963"/>
                  </a:lnTo>
                  <a:lnTo>
                    <a:pt x="107876" y="164568"/>
                  </a:lnTo>
                  <a:lnTo>
                    <a:pt x="108663" y="165022"/>
                  </a:lnTo>
                  <a:lnTo>
                    <a:pt x="111204" y="165596"/>
                  </a:lnTo>
                  <a:lnTo>
                    <a:pt x="112263" y="166655"/>
                  </a:lnTo>
                  <a:lnTo>
                    <a:pt x="114290" y="169922"/>
                  </a:lnTo>
                  <a:lnTo>
                    <a:pt x="114169" y="171647"/>
                  </a:lnTo>
                  <a:lnTo>
                    <a:pt x="115258" y="173341"/>
                  </a:lnTo>
                  <a:lnTo>
                    <a:pt x="117769" y="176336"/>
                  </a:lnTo>
                  <a:lnTo>
                    <a:pt x="119009" y="180057"/>
                  </a:lnTo>
                  <a:lnTo>
                    <a:pt x="119160" y="180147"/>
                  </a:lnTo>
                  <a:lnTo>
                    <a:pt x="119433" y="181206"/>
                  </a:lnTo>
                  <a:lnTo>
                    <a:pt x="119735" y="182023"/>
                  </a:lnTo>
                  <a:lnTo>
                    <a:pt x="119553" y="182598"/>
                  </a:lnTo>
                  <a:lnTo>
                    <a:pt x="118434" y="182930"/>
                  </a:lnTo>
                  <a:lnTo>
                    <a:pt x="119614" y="184443"/>
                  </a:lnTo>
                  <a:lnTo>
                    <a:pt x="123970" y="186621"/>
                  </a:lnTo>
                  <a:lnTo>
                    <a:pt x="123970" y="187559"/>
                  </a:lnTo>
                  <a:lnTo>
                    <a:pt x="123365" y="188557"/>
                  </a:lnTo>
                  <a:lnTo>
                    <a:pt x="123819" y="188950"/>
                  </a:lnTo>
                  <a:lnTo>
                    <a:pt x="124787" y="189223"/>
                  </a:lnTo>
                  <a:lnTo>
                    <a:pt x="125725" y="189888"/>
                  </a:lnTo>
                  <a:lnTo>
                    <a:pt x="128780" y="193004"/>
                  </a:lnTo>
                  <a:lnTo>
                    <a:pt x="131624" y="194728"/>
                  </a:lnTo>
                  <a:lnTo>
                    <a:pt x="132894" y="195787"/>
                  </a:lnTo>
                  <a:lnTo>
                    <a:pt x="132925" y="197754"/>
                  </a:lnTo>
                  <a:lnTo>
                    <a:pt x="135375" y="198177"/>
                  </a:lnTo>
                  <a:lnTo>
                    <a:pt x="137734" y="199538"/>
                  </a:lnTo>
                  <a:lnTo>
                    <a:pt x="139913" y="200507"/>
                  </a:lnTo>
                  <a:lnTo>
                    <a:pt x="141909" y="199569"/>
                  </a:lnTo>
                  <a:lnTo>
                    <a:pt x="142817" y="201807"/>
                  </a:lnTo>
                  <a:lnTo>
                    <a:pt x="142908" y="201959"/>
                  </a:lnTo>
                  <a:lnTo>
                    <a:pt x="146023" y="205619"/>
                  </a:lnTo>
                  <a:lnTo>
                    <a:pt x="147415" y="207918"/>
                  </a:lnTo>
                  <a:lnTo>
                    <a:pt x="149382" y="212819"/>
                  </a:lnTo>
                  <a:lnTo>
                    <a:pt x="149654" y="214846"/>
                  </a:lnTo>
                  <a:lnTo>
                    <a:pt x="149714" y="215178"/>
                  </a:lnTo>
                  <a:lnTo>
                    <a:pt x="148837" y="217236"/>
                  </a:lnTo>
                  <a:lnTo>
                    <a:pt x="150501" y="218294"/>
                  </a:lnTo>
                  <a:lnTo>
                    <a:pt x="150591" y="219837"/>
                  </a:lnTo>
                  <a:lnTo>
                    <a:pt x="150471" y="221440"/>
                  </a:lnTo>
                  <a:lnTo>
                    <a:pt x="151590" y="222772"/>
                  </a:lnTo>
                  <a:lnTo>
                    <a:pt x="151590" y="223770"/>
                  </a:lnTo>
                  <a:lnTo>
                    <a:pt x="151438" y="225373"/>
                  </a:lnTo>
                  <a:lnTo>
                    <a:pt x="151317" y="226462"/>
                  </a:lnTo>
                  <a:lnTo>
                    <a:pt x="152951" y="230244"/>
                  </a:lnTo>
                  <a:lnTo>
                    <a:pt x="157005" y="236657"/>
                  </a:lnTo>
                  <a:lnTo>
                    <a:pt x="157005" y="239168"/>
                  </a:lnTo>
                  <a:lnTo>
                    <a:pt x="162632" y="249605"/>
                  </a:lnTo>
                  <a:lnTo>
                    <a:pt x="163660" y="253235"/>
                  </a:lnTo>
                  <a:lnTo>
                    <a:pt x="163751" y="253779"/>
                  </a:lnTo>
                  <a:lnTo>
                    <a:pt x="163993" y="255201"/>
                  </a:lnTo>
                  <a:lnTo>
                    <a:pt x="163963" y="257016"/>
                  </a:lnTo>
                  <a:lnTo>
                    <a:pt x="163297" y="258498"/>
                  </a:lnTo>
                  <a:lnTo>
                    <a:pt x="162269" y="260162"/>
                  </a:lnTo>
                  <a:lnTo>
                    <a:pt x="161785" y="262068"/>
                  </a:lnTo>
                  <a:lnTo>
                    <a:pt x="162632" y="264276"/>
                  </a:lnTo>
                  <a:lnTo>
                    <a:pt x="161724" y="264882"/>
                  </a:lnTo>
                  <a:lnTo>
                    <a:pt x="161331" y="265880"/>
                  </a:lnTo>
                  <a:lnTo>
                    <a:pt x="161149" y="270932"/>
                  </a:lnTo>
                  <a:lnTo>
                    <a:pt x="161331" y="271991"/>
                  </a:lnTo>
                  <a:lnTo>
                    <a:pt x="162632" y="274350"/>
                  </a:lnTo>
                  <a:lnTo>
                    <a:pt x="163055" y="274683"/>
                  </a:lnTo>
                  <a:lnTo>
                    <a:pt x="163478" y="274562"/>
                  </a:lnTo>
                  <a:lnTo>
                    <a:pt x="163841" y="274713"/>
                  </a:lnTo>
                  <a:lnTo>
                    <a:pt x="163963" y="275802"/>
                  </a:lnTo>
                  <a:lnTo>
                    <a:pt x="163963" y="279977"/>
                  </a:lnTo>
                  <a:lnTo>
                    <a:pt x="163841" y="281096"/>
                  </a:lnTo>
                  <a:lnTo>
                    <a:pt x="163267" y="282095"/>
                  </a:lnTo>
                  <a:lnTo>
                    <a:pt x="161845" y="282760"/>
                  </a:lnTo>
                  <a:lnTo>
                    <a:pt x="162571" y="284575"/>
                  </a:lnTo>
                  <a:lnTo>
                    <a:pt x="162087" y="285332"/>
                  </a:lnTo>
                  <a:lnTo>
                    <a:pt x="161905" y="285422"/>
                  </a:lnTo>
                  <a:lnTo>
                    <a:pt x="161179" y="285725"/>
                  </a:lnTo>
                  <a:lnTo>
                    <a:pt x="160514" y="286330"/>
                  </a:lnTo>
                  <a:lnTo>
                    <a:pt x="159939" y="290414"/>
                  </a:lnTo>
                  <a:lnTo>
                    <a:pt x="159455" y="290989"/>
                  </a:lnTo>
                  <a:lnTo>
                    <a:pt x="158245" y="291382"/>
                  </a:lnTo>
                  <a:lnTo>
                    <a:pt x="158003" y="292350"/>
                  </a:lnTo>
                  <a:lnTo>
                    <a:pt x="158396" y="295042"/>
                  </a:lnTo>
                  <a:lnTo>
                    <a:pt x="158487" y="296706"/>
                  </a:lnTo>
                  <a:lnTo>
                    <a:pt x="158336" y="297160"/>
                  </a:lnTo>
                  <a:lnTo>
                    <a:pt x="156975" y="299913"/>
                  </a:lnTo>
                  <a:lnTo>
                    <a:pt x="155765" y="301002"/>
                  </a:lnTo>
                  <a:lnTo>
                    <a:pt x="154827" y="301486"/>
                  </a:lnTo>
                  <a:lnTo>
                    <a:pt x="153677" y="301819"/>
                  </a:lnTo>
                  <a:lnTo>
                    <a:pt x="152709" y="302303"/>
                  </a:lnTo>
                  <a:lnTo>
                    <a:pt x="152286" y="303240"/>
                  </a:lnTo>
                  <a:lnTo>
                    <a:pt x="152618" y="305479"/>
                  </a:lnTo>
                  <a:lnTo>
                    <a:pt x="152376" y="306235"/>
                  </a:lnTo>
                  <a:lnTo>
                    <a:pt x="151257" y="306508"/>
                  </a:lnTo>
                  <a:lnTo>
                    <a:pt x="150047" y="306992"/>
                  </a:lnTo>
                  <a:lnTo>
                    <a:pt x="150259" y="308141"/>
                  </a:lnTo>
                  <a:lnTo>
                    <a:pt x="152104" y="310924"/>
                  </a:lnTo>
                  <a:lnTo>
                    <a:pt x="152739" y="311711"/>
                  </a:lnTo>
                  <a:lnTo>
                    <a:pt x="153344" y="312618"/>
                  </a:lnTo>
                  <a:lnTo>
                    <a:pt x="153647" y="313768"/>
                  </a:lnTo>
                  <a:lnTo>
                    <a:pt x="152497" y="316884"/>
                  </a:lnTo>
                  <a:lnTo>
                    <a:pt x="151892" y="320151"/>
                  </a:lnTo>
                  <a:lnTo>
                    <a:pt x="150228" y="324659"/>
                  </a:lnTo>
                  <a:lnTo>
                    <a:pt x="149956" y="325385"/>
                  </a:lnTo>
                  <a:lnTo>
                    <a:pt x="149230" y="327260"/>
                  </a:lnTo>
                  <a:lnTo>
                    <a:pt x="148413" y="327744"/>
                  </a:lnTo>
                  <a:lnTo>
                    <a:pt x="148171" y="328410"/>
                  </a:lnTo>
                  <a:lnTo>
                    <a:pt x="148202" y="329136"/>
                  </a:lnTo>
                  <a:lnTo>
                    <a:pt x="148807" y="329529"/>
                  </a:lnTo>
                  <a:lnTo>
                    <a:pt x="148837" y="330225"/>
                  </a:lnTo>
                  <a:lnTo>
                    <a:pt x="147596" y="334883"/>
                  </a:lnTo>
                  <a:lnTo>
                    <a:pt x="147415" y="336214"/>
                  </a:lnTo>
                  <a:lnTo>
                    <a:pt x="147748" y="338090"/>
                  </a:lnTo>
                  <a:lnTo>
                    <a:pt x="150228" y="344745"/>
                  </a:lnTo>
                  <a:lnTo>
                    <a:pt x="150410" y="346228"/>
                  </a:lnTo>
                  <a:lnTo>
                    <a:pt x="150652" y="347044"/>
                  </a:lnTo>
                  <a:lnTo>
                    <a:pt x="151257" y="347952"/>
                  </a:lnTo>
                  <a:lnTo>
                    <a:pt x="151650" y="349011"/>
                  </a:lnTo>
                  <a:lnTo>
                    <a:pt x="151438" y="350009"/>
                  </a:lnTo>
                  <a:lnTo>
                    <a:pt x="151045" y="351038"/>
                  </a:lnTo>
                  <a:lnTo>
                    <a:pt x="150894" y="352066"/>
                  </a:lnTo>
                  <a:lnTo>
                    <a:pt x="151197" y="353064"/>
                  </a:lnTo>
                  <a:lnTo>
                    <a:pt x="152074" y="354759"/>
                  </a:lnTo>
                  <a:lnTo>
                    <a:pt x="152286" y="355243"/>
                  </a:lnTo>
                  <a:lnTo>
                    <a:pt x="151983" y="355908"/>
                  </a:lnTo>
                  <a:lnTo>
                    <a:pt x="150652" y="356786"/>
                  </a:lnTo>
                  <a:lnTo>
                    <a:pt x="150228" y="357512"/>
                  </a:lnTo>
                  <a:lnTo>
                    <a:pt x="150471" y="361353"/>
                  </a:lnTo>
                  <a:lnTo>
                    <a:pt x="152074" y="365377"/>
                  </a:lnTo>
                  <a:lnTo>
                    <a:pt x="153828" y="368523"/>
                  </a:lnTo>
                  <a:lnTo>
                    <a:pt x="154676" y="369763"/>
                  </a:lnTo>
                  <a:lnTo>
                    <a:pt x="155553" y="383013"/>
                  </a:lnTo>
                  <a:lnTo>
                    <a:pt x="155371" y="385131"/>
                  </a:lnTo>
                  <a:lnTo>
                    <a:pt x="155976" y="386855"/>
                  </a:lnTo>
                  <a:lnTo>
                    <a:pt x="154554" y="387521"/>
                  </a:lnTo>
                  <a:lnTo>
                    <a:pt x="151257" y="387491"/>
                  </a:lnTo>
                  <a:lnTo>
                    <a:pt x="149926" y="387914"/>
                  </a:lnTo>
                  <a:lnTo>
                    <a:pt x="148262" y="389033"/>
                  </a:lnTo>
                  <a:lnTo>
                    <a:pt x="146629" y="390516"/>
                  </a:lnTo>
                  <a:lnTo>
                    <a:pt x="145358" y="391998"/>
                  </a:lnTo>
                  <a:lnTo>
                    <a:pt x="150954" y="394721"/>
                  </a:lnTo>
                  <a:lnTo>
                    <a:pt x="153284" y="396385"/>
                  </a:lnTo>
                  <a:lnTo>
                    <a:pt x="154978" y="399198"/>
                  </a:lnTo>
                  <a:lnTo>
                    <a:pt x="155341" y="399984"/>
                  </a:lnTo>
                  <a:lnTo>
                    <a:pt x="155613" y="400287"/>
                  </a:lnTo>
                  <a:lnTo>
                    <a:pt x="155734" y="400590"/>
                  </a:lnTo>
                  <a:lnTo>
                    <a:pt x="155795" y="405006"/>
                  </a:lnTo>
                  <a:lnTo>
                    <a:pt x="156491" y="406367"/>
                  </a:lnTo>
                  <a:lnTo>
                    <a:pt x="159153" y="409332"/>
                  </a:lnTo>
                  <a:lnTo>
                    <a:pt x="159364" y="408425"/>
                  </a:lnTo>
                  <a:lnTo>
                    <a:pt x="160060" y="406761"/>
                  </a:lnTo>
                  <a:lnTo>
                    <a:pt x="160937" y="405218"/>
                  </a:lnTo>
                  <a:lnTo>
                    <a:pt x="160937" y="405188"/>
                  </a:lnTo>
                  <a:lnTo>
                    <a:pt x="166292" y="401497"/>
                  </a:lnTo>
                  <a:lnTo>
                    <a:pt x="173492" y="402011"/>
                  </a:lnTo>
                  <a:lnTo>
                    <a:pt x="181024" y="403826"/>
                  </a:lnTo>
                  <a:lnTo>
                    <a:pt x="187468" y="404069"/>
                  </a:lnTo>
                  <a:lnTo>
                    <a:pt x="189616" y="403161"/>
                  </a:lnTo>
                  <a:lnTo>
                    <a:pt x="190039" y="401588"/>
                  </a:lnTo>
                  <a:lnTo>
                    <a:pt x="189404" y="397141"/>
                  </a:lnTo>
                  <a:lnTo>
                    <a:pt x="189192" y="396869"/>
                  </a:lnTo>
                  <a:lnTo>
                    <a:pt x="189222" y="396566"/>
                  </a:lnTo>
                  <a:lnTo>
                    <a:pt x="189797" y="395598"/>
                  </a:lnTo>
                  <a:lnTo>
                    <a:pt x="189858" y="395447"/>
                  </a:lnTo>
                  <a:lnTo>
                    <a:pt x="190463" y="394963"/>
                  </a:lnTo>
                  <a:lnTo>
                    <a:pt x="193125" y="393783"/>
                  </a:lnTo>
                  <a:lnTo>
                    <a:pt x="191734" y="392028"/>
                  </a:lnTo>
                  <a:lnTo>
                    <a:pt x="191310" y="390213"/>
                  </a:lnTo>
                  <a:lnTo>
                    <a:pt x="191098" y="388368"/>
                  </a:lnTo>
                  <a:lnTo>
                    <a:pt x="190554" y="386492"/>
                  </a:lnTo>
                  <a:lnTo>
                    <a:pt x="189253" y="385282"/>
                  </a:lnTo>
                  <a:lnTo>
                    <a:pt x="187680" y="384435"/>
                  </a:lnTo>
                  <a:lnTo>
                    <a:pt x="186803" y="383497"/>
                  </a:lnTo>
                  <a:lnTo>
                    <a:pt x="187468" y="381955"/>
                  </a:lnTo>
                  <a:lnTo>
                    <a:pt x="189828" y="378778"/>
                  </a:lnTo>
                  <a:lnTo>
                    <a:pt x="190947" y="377659"/>
                  </a:lnTo>
                  <a:lnTo>
                    <a:pt x="192671" y="376600"/>
                  </a:lnTo>
                  <a:lnTo>
                    <a:pt x="195575" y="375723"/>
                  </a:lnTo>
                  <a:lnTo>
                    <a:pt x="196211" y="374664"/>
                  </a:lnTo>
                  <a:lnTo>
                    <a:pt x="195787" y="373242"/>
                  </a:lnTo>
                  <a:lnTo>
                    <a:pt x="195515" y="372214"/>
                  </a:lnTo>
                  <a:lnTo>
                    <a:pt x="197118" y="369733"/>
                  </a:lnTo>
                  <a:lnTo>
                    <a:pt x="203864" y="369128"/>
                  </a:lnTo>
                  <a:lnTo>
                    <a:pt x="206496" y="367706"/>
                  </a:lnTo>
                  <a:lnTo>
                    <a:pt x="206829" y="366436"/>
                  </a:lnTo>
                  <a:lnTo>
                    <a:pt x="206708" y="365074"/>
                  </a:lnTo>
                  <a:lnTo>
                    <a:pt x="206436" y="363864"/>
                  </a:lnTo>
                  <a:lnTo>
                    <a:pt x="206496" y="363108"/>
                  </a:lnTo>
                  <a:lnTo>
                    <a:pt x="207253" y="362503"/>
                  </a:lnTo>
                  <a:lnTo>
                    <a:pt x="210187" y="361898"/>
                  </a:lnTo>
                  <a:lnTo>
                    <a:pt x="212093" y="360869"/>
                  </a:lnTo>
                  <a:lnTo>
                    <a:pt x="213363" y="359720"/>
                  </a:lnTo>
                  <a:lnTo>
                    <a:pt x="214059" y="358026"/>
                  </a:lnTo>
                  <a:lnTo>
                    <a:pt x="214210" y="355333"/>
                  </a:lnTo>
                  <a:lnTo>
                    <a:pt x="213787" y="353125"/>
                  </a:lnTo>
                  <a:lnTo>
                    <a:pt x="212395" y="348527"/>
                  </a:lnTo>
                  <a:lnTo>
                    <a:pt x="212456" y="346318"/>
                  </a:lnTo>
                  <a:lnTo>
                    <a:pt x="213575" y="344382"/>
                  </a:lnTo>
                  <a:lnTo>
                    <a:pt x="215299" y="343324"/>
                  </a:lnTo>
                  <a:lnTo>
                    <a:pt x="232875" y="339088"/>
                  </a:lnTo>
                  <a:lnTo>
                    <a:pt x="235356" y="337999"/>
                  </a:lnTo>
                  <a:lnTo>
                    <a:pt x="235598" y="335367"/>
                  </a:lnTo>
                  <a:lnTo>
                    <a:pt x="233813" y="329589"/>
                  </a:lnTo>
                  <a:lnTo>
                    <a:pt x="233541" y="326292"/>
                  </a:lnTo>
                  <a:lnTo>
                    <a:pt x="234327" y="324205"/>
                  </a:lnTo>
                  <a:lnTo>
                    <a:pt x="237806" y="320605"/>
                  </a:lnTo>
                  <a:lnTo>
                    <a:pt x="240075" y="317005"/>
                  </a:lnTo>
                  <a:lnTo>
                    <a:pt x="241255" y="313859"/>
                  </a:lnTo>
                  <a:lnTo>
                    <a:pt x="240710" y="310955"/>
                  </a:lnTo>
                  <a:lnTo>
                    <a:pt x="238139" y="308716"/>
                  </a:lnTo>
                  <a:lnTo>
                    <a:pt x="234751" y="305781"/>
                  </a:lnTo>
                  <a:lnTo>
                    <a:pt x="234751" y="305781"/>
                  </a:lnTo>
                  <a:lnTo>
                    <a:pt x="233027" y="303694"/>
                  </a:lnTo>
                  <a:lnTo>
                    <a:pt x="232966" y="301849"/>
                  </a:lnTo>
                  <a:lnTo>
                    <a:pt x="233662" y="299943"/>
                  </a:lnTo>
                  <a:lnTo>
                    <a:pt x="234267" y="297523"/>
                  </a:lnTo>
                  <a:lnTo>
                    <a:pt x="234176" y="295405"/>
                  </a:lnTo>
                  <a:lnTo>
                    <a:pt x="232422" y="289113"/>
                  </a:lnTo>
                  <a:lnTo>
                    <a:pt x="231605" y="284182"/>
                  </a:lnTo>
                  <a:lnTo>
                    <a:pt x="232210" y="280431"/>
                  </a:lnTo>
                  <a:lnTo>
                    <a:pt x="234267" y="277496"/>
                  </a:lnTo>
                  <a:lnTo>
                    <a:pt x="241769" y="272838"/>
                  </a:lnTo>
                  <a:lnTo>
                    <a:pt x="245339" y="271567"/>
                  </a:lnTo>
                  <a:lnTo>
                    <a:pt x="247245" y="270932"/>
                  </a:lnTo>
                  <a:lnTo>
                    <a:pt x="256078" y="266303"/>
                  </a:lnTo>
                  <a:lnTo>
                    <a:pt x="258256" y="266303"/>
                  </a:lnTo>
                  <a:lnTo>
                    <a:pt x="259860" y="268209"/>
                  </a:lnTo>
                  <a:lnTo>
                    <a:pt x="260525" y="271083"/>
                  </a:lnTo>
                  <a:lnTo>
                    <a:pt x="260616" y="282427"/>
                  </a:lnTo>
                  <a:lnTo>
                    <a:pt x="260434" y="284000"/>
                  </a:lnTo>
                  <a:lnTo>
                    <a:pt x="259769" y="285301"/>
                  </a:lnTo>
                  <a:lnTo>
                    <a:pt x="258861" y="286542"/>
                  </a:lnTo>
                  <a:lnTo>
                    <a:pt x="258166" y="287812"/>
                  </a:lnTo>
                  <a:lnTo>
                    <a:pt x="258196" y="289234"/>
                  </a:lnTo>
                  <a:lnTo>
                    <a:pt x="259920" y="290565"/>
                  </a:lnTo>
                  <a:lnTo>
                    <a:pt x="262128" y="289294"/>
                  </a:lnTo>
                  <a:lnTo>
                    <a:pt x="265789" y="285574"/>
                  </a:lnTo>
                  <a:lnTo>
                    <a:pt x="267029" y="285150"/>
                  </a:lnTo>
                  <a:lnTo>
                    <a:pt x="267725" y="285362"/>
                  </a:lnTo>
                  <a:lnTo>
                    <a:pt x="268239" y="285150"/>
                  </a:lnTo>
                  <a:lnTo>
                    <a:pt x="268905" y="283456"/>
                  </a:lnTo>
                  <a:lnTo>
                    <a:pt x="268965" y="282246"/>
                  </a:lnTo>
                  <a:lnTo>
                    <a:pt x="268512" y="279554"/>
                  </a:lnTo>
                  <a:lnTo>
                    <a:pt x="268814" y="277890"/>
                  </a:lnTo>
                  <a:lnTo>
                    <a:pt x="270569" y="275167"/>
                  </a:lnTo>
                  <a:lnTo>
                    <a:pt x="271990" y="275621"/>
                  </a:lnTo>
                  <a:lnTo>
                    <a:pt x="274350" y="280219"/>
                  </a:lnTo>
                  <a:lnTo>
                    <a:pt x="276165" y="282700"/>
                  </a:lnTo>
                  <a:lnTo>
                    <a:pt x="277436" y="282670"/>
                  </a:lnTo>
                  <a:lnTo>
                    <a:pt x="281792" y="276468"/>
                  </a:lnTo>
                  <a:lnTo>
                    <a:pt x="283667" y="274532"/>
                  </a:lnTo>
                  <a:lnTo>
                    <a:pt x="285664" y="273503"/>
                  </a:lnTo>
                  <a:lnTo>
                    <a:pt x="285785" y="273473"/>
                  </a:lnTo>
                  <a:lnTo>
                    <a:pt x="288115" y="273836"/>
                  </a:lnTo>
                  <a:lnTo>
                    <a:pt x="288659" y="274653"/>
                  </a:lnTo>
                  <a:lnTo>
                    <a:pt x="288841" y="275530"/>
                  </a:lnTo>
                  <a:lnTo>
                    <a:pt x="288659" y="276468"/>
                  </a:lnTo>
                  <a:lnTo>
                    <a:pt x="288115" y="277376"/>
                  </a:lnTo>
                  <a:lnTo>
                    <a:pt x="287540" y="278465"/>
                  </a:lnTo>
                  <a:lnTo>
                    <a:pt x="287358" y="279493"/>
                  </a:lnTo>
                  <a:lnTo>
                    <a:pt x="287540" y="280491"/>
                  </a:lnTo>
                  <a:lnTo>
                    <a:pt x="288115" y="281459"/>
                  </a:lnTo>
                  <a:lnTo>
                    <a:pt x="289657" y="282034"/>
                  </a:lnTo>
                  <a:lnTo>
                    <a:pt x="292803" y="282579"/>
                  </a:lnTo>
                  <a:lnTo>
                    <a:pt x="294195" y="283063"/>
                  </a:lnTo>
                  <a:lnTo>
                    <a:pt x="295617" y="284242"/>
                  </a:lnTo>
                  <a:lnTo>
                    <a:pt x="297008" y="287207"/>
                  </a:lnTo>
                  <a:lnTo>
                    <a:pt x="298370" y="288871"/>
                  </a:lnTo>
                  <a:lnTo>
                    <a:pt x="299943" y="289779"/>
                  </a:lnTo>
                  <a:lnTo>
                    <a:pt x="301667" y="289930"/>
                  </a:lnTo>
                  <a:lnTo>
                    <a:pt x="303331" y="289355"/>
                  </a:lnTo>
                  <a:lnTo>
                    <a:pt x="304692" y="288084"/>
                  </a:lnTo>
                  <a:lnTo>
                    <a:pt x="305418" y="285906"/>
                  </a:lnTo>
                  <a:lnTo>
                    <a:pt x="304934" y="282639"/>
                  </a:lnTo>
                  <a:lnTo>
                    <a:pt x="305570" y="281792"/>
                  </a:lnTo>
                  <a:lnTo>
                    <a:pt x="308413" y="281762"/>
                  </a:lnTo>
                  <a:lnTo>
                    <a:pt x="310440" y="281036"/>
                  </a:lnTo>
                  <a:lnTo>
                    <a:pt x="311559" y="279039"/>
                  </a:lnTo>
                  <a:lnTo>
                    <a:pt x="311590" y="275288"/>
                  </a:lnTo>
                  <a:lnTo>
                    <a:pt x="312860" y="277345"/>
                  </a:lnTo>
                  <a:lnTo>
                    <a:pt x="318154" y="282004"/>
                  </a:lnTo>
                  <a:lnTo>
                    <a:pt x="320272" y="285029"/>
                  </a:lnTo>
                  <a:lnTo>
                    <a:pt x="320725" y="286179"/>
                  </a:lnTo>
                  <a:lnTo>
                    <a:pt x="320907" y="287389"/>
                  </a:lnTo>
                  <a:lnTo>
                    <a:pt x="320847" y="289960"/>
                  </a:lnTo>
                  <a:lnTo>
                    <a:pt x="321058" y="290898"/>
                  </a:lnTo>
                  <a:lnTo>
                    <a:pt x="323055" y="292925"/>
                  </a:lnTo>
                  <a:lnTo>
                    <a:pt x="325021" y="292652"/>
                  </a:lnTo>
                  <a:lnTo>
                    <a:pt x="328742" y="289627"/>
                  </a:lnTo>
                  <a:lnTo>
                    <a:pt x="330557" y="288690"/>
                  </a:lnTo>
                  <a:lnTo>
                    <a:pt x="332161" y="288327"/>
                  </a:lnTo>
                  <a:lnTo>
                    <a:pt x="344110" y="288992"/>
                  </a:lnTo>
                  <a:lnTo>
                    <a:pt x="348496" y="288296"/>
                  </a:lnTo>
                  <a:lnTo>
                    <a:pt x="351128" y="285906"/>
                  </a:lnTo>
                  <a:lnTo>
                    <a:pt x="353579" y="281762"/>
                  </a:lnTo>
                  <a:lnTo>
                    <a:pt x="352248" y="280975"/>
                  </a:lnTo>
                  <a:close/>
                </a:path>
              </a:pathLst>
            </a:custGeom>
            <a:solidFill>
              <a:srgbClr val="96A3AC"/>
            </a:solidFill>
            <a:ln w="3175" cap="rnd">
              <a:solidFill>
                <a:schemeClr val="bg1"/>
              </a:solidFill>
              <a:prstDash val="solid"/>
              <a:round/>
            </a:ln>
          </p:spPr>
          <p:txBody>
            <a:bodyPr rtlCol="0" anchor="ctr"/>
            <a:lstStyle/>
            <a:p>
              <a:endParaRPr lang="en-ID"/>
            </a:p>
          </p:txBody>
        </p:sp>
        <p:sp>
          <p:nvSpPr>
            <p:cNvPr id="32" name="Freeform: Shape 31">
              <a:extLst>
                <a:ext uri="{FF2B5EF4-FFF2-40B4-BE49-F238E27FC236}">
                  <a16:creationId xmlns:a16="http://schemas.microsoft.com/office/drawing/2014/main" id="{9959A11F-F05D-0FBE-EE8C-11446A5C2BD4}"/>
                </a:ext>
              </a:extLst>
            </p:cNvPr>
            <p:cNvSpPr/>
            <p:nvPr/>
          </p:nvSpPr>
          <p:spPr>
            <a:xfrm>
              <a:off x="9266264" y="5427951"/>
              <a:ext cx="30003" cy="24313"/>
            </a:xfrm>
            <a:custGeom>
              <a:avLst/>
              <a:gdLst>
                <a:gd name="connsiteX0" fmla="*/ 38208 w 38600"/>
                <a:gd name="connsiteY0" fmla="*/ 23445 h 31279"/>
                <a:gd name="connsiteX1" fmla="*/ 36695 w 38600"/>
                <a:gd name="connsiteY1" fmla="*/ 21176 h 31279"/>
                <a:gd name="connsiteX2" fmla="*/ 33821 w 38600"/>
                <a:gd name="connsiteY2" fmla="*/ 20056 h 31279"/>
                <a:gd name="connsiteX3" fmla="*/ 33277 w 38600"/>
                <a:gd name="connsiteY3" fmla="*/ 19966 h 31279"/>
                <a:gd name="connsiteX4" fmla="*/ 33277 w 38600"/>
                <a:gd name="connsiteY4" fmla="*/ 18816 h 31279"/>
                <a:gd name="connsiteX5" fmla="*/ 33155 w 38600"/>
                <a:gd name="connsiteY5" fmla="*/ 17697 h 31279"/>
                <a:gd name="connsiteX6" fmla="*/ 32641 w 38600"/>
                <a:gd name="connsiteY6" fmla="*/ 16820 h 31279"/>
                <a:gd name="connsiteX7" fmla="*/ 29707 w 38600"/>
                <a:gd name="connsiteY7" fmla="*/ 15852 h 31279"/>
                <a:gd name="connsiteX8" fmla="*/ 26319 w 38600"/>
                <a:gd name="connsiteY8" fmla="*/ 13190 h 31279"/>
                <a:gd name="connsiteX9" fmla="*/ 24655 w 38600"/>
                <a:gd name="connsiteY9" fmla="*/ 12584 h 31279"/>
                <a:gd name="connsiteX10" fmla="*/ 16698 w 38600"/>
                <a:gd name="connsiteY10" fmla="*/ 11737 h 31279"/>
                <a:gd name="connsiteX11" fmla="*/ 17999 w 38600"/>
                <a:gd name="connsiteY11" fmla="*/ 10678 h 31279"/>
                <a:gd name="connsiteX12" fmla="*/ 18574 w 38600"/>
                <a:gd name="connsiteY12" fmla="*/ 10406 h 31279"/>
                <a:gd name="connsiteX13" fmla="*/ 19482 w 38600"/>
                <a:gd name="connsiteY13" fmla="*/ 10255 h 31279"/>
                <a:gd name="connsiteX14" fmla="*/ 19482 w 38600"/>
                <a:gd name="connsiteY14" fmla="*/ 9408 h 31279"/>
                <a:gd name="connsiteX15" fmla="*/ 17878 w 38600"/>
                <a:gd name="connsiteY15" fmla="*/ 9559 h 31279"/>
                <a:gd name="connsiteX16" fmla="*/ 16487 w 38600"/>
                <a:gd name="connsiteY16" fmla="*/ 9983 h 31279"/>
                <a:gd name="connsiteX17" fmla="*/ 15186 w 38600"/>
                <a:gd name="connsiteY17" fmla="*/ 10709 h 31279"/>
                <a:gd name="connsiteX18" fmla="*/ 13916 w 38600"/>
                <a:gd name="connsiteY18" fmla="*/ 11737 h 31279"/>
                <a:gd name="connsiteX19" fmla="*/ 14974 w 38600"/>
                <a:gd name="connsiteY19" fmla="*/ 12917 h 31279"/>
                <a:gd name="connsiteX20" fmla="*/ 15549 w 38600"/>
                <a:gd name="connsiteY20" fmla="*/ 14732 h 31279"/>
                <a:gd name="connsiteX21" fmla="*/ 16003 w 38600"/>
                <a:gd name="connsiteY21" fmla="*/ 18756 h 31279"/>
                <a:gd name="connsiteX22" fmla="*/ 16003 w 38600"/>
                <a:gd name="connsiteY22" fmla="*/ 22265 h 31279"/>
                <a:gd name="connsiteX23" fmla="*/ 16305 w 38600"/>
                <a:gd name="connsiteY23" fmla="*/ 22809 h 31279"/>
                <a:gd name="connsiteX24" fmla="*/ 17758 w 38600"/>
                <a:gd name="connsiteY24" fmla="*/ 23535 h 31279"/>
                <a:gd name="connsiteX25" fmla="*/ 18060 w 38600"/>
                <a:gd name="connsiteY25" fmla="*/ 23868 h 31279"/>
                <a:gd name="connsiteX26" fmla="*/ 19905 w 38600"/>
                <a:gd name="connsiteY26" fmla="*/ 26560 h 31279"/>
                <a:gd name="connsiteX27" fmla="*/ 24231 w 38600"/>
                <a:gd name="connsiteY27" fmla="*/ 28739 h 31279"/>
                <a:gd name="connsiteX28" fmla="*/ 29072 w 38600"/>
                <a:gd name="connsiteY28" fmla="*/ 30130 h 31279"/>
                <a:gd name="connsiteX29" fmla="*/ 32520 w 38600"/>
                <a:gd name="connsiteY29" fmla="*/ 30433 h 31279"/>
                <a:gd name="connsiteX30" fmla="*/ 32974 w 38600"/>
                <a:gd name="connsiteY30" fmla="*/ 30675 h 31279"/>
                <a:gd name="connsiteX31" fmla="*/ 34577 w 38600"/>
                <a:gd name="connsiteY31" fmla="*/ 31280 h 31279"/>
                <a:gd name="connsiteX32" fmla="*/ 34577 w 38600"/>
                <a:gd name="connsiteY32" fmla="*/ 29888 h 31279"/>
                <a:gd name="connsiteX33" fmla="*/ 35092 w 38600"/>
                <a:gd name="connsiteY33" fmla="*/ 28920 h 31279"/>
                <a:gd name="connsiteX34" fmla="*/ 36665 w 38600"/>
                <a:gd name="connsiteY34" fmla="*/ 27317 h 31279"/>
                <a:gd name="connsiteX35" fmla="*/ 38056 w 38600"/>
                <a:gd name="connsiteY35" fmla="*/ 28043 h 31279"/>
                <a:gd name="connsiteX36" fmla="*/ 38601 w 38600"/>
                <a:gd name="connsiteY36" fmla="*/ 26258 h 31279"/>
                <a:gd name="connsiteX37" fmla="*/ 38208 w 38600"/>
                <a:gd name="connsiteY37" fmla="*/ 23475 h 31279"/>
                <a:gd name="connsiteX38" fmla="*/ 15156 w 38600"/>
                <a:gd name="connsiteY38" fmla="*/ 4719 h 31279"/>
                <a:gd name="connsiteX39" fmla="*/ 13220 w 38600"/>
                <a:gd name="connsiteY39" fmla="*/ 2813 h 31279"/>
                <a:gd name="connsiteX40" fmla="*/ 9952 w 38600"/>
                <a:gd name="connsiteY40" fmla="*/ 877 h 31279"/>
                <a:gd name="connsiteX41" fmla="*/ 7351 w 38600"/>
                <a:gd name="connsiteY41" fmla="*/ 0 h 31279"/>
                <a:gd name="connsiteX42" fmla="*/ 1179 w 38600"/>
                <a:gd name="connsiteY42" fmla="*/ 877 h 31279"/>
                <a:gd name="connsiteX43" fmla="*/ 0 w 38600"/>
                <a:gd name="connsiteY43" fmla="*/ 1240 h 31279"/>
                <a:gd name="connsiteX44" fmla="*/ 60 w 38600"/>
                <a:gd name="connsiteY44" fmla="*/ 2208 h 31279"/>
                <a:gd name="connsiteX45" fmla="*/ 423 w 38600"/>
                <a:gd name="connsiteY45" fmla="*/ 3448 h 31279"/>
                <a:gd name="connsiteX46" fmla="*/ 121 w 38600"/>
                <a:gd name="connsiteY46" fmla="*/ 4689 h 31279"/>
                <a:gd name="connsiteX47" fmla="*/ 1754 w 38600"/>
                <a:gd name="connsiteY47" fmla="*/ 5657 h 31279"/>
                <a:gd name="connsiteX48" fmla="*/ 3751 w 38600"/>
                <a:gd name="connsiteY48" fmla="*/ 6443 h 31279"/>
                <a:gd name="connsiteX49" fmla="*/ 5808 w 38600"/>
                <a:gd name="connsiteY49" fmla="*/ 6958 h 31279"/>
                <a:gd name="connsiteX50" fmla="*/ 7684 w 38600"/>
                <a:gd name="connsiteY50" fmla="*/ 7079 h 31279"/>
                <a:gd name="connsiteX51" fmla="*/ 9469 w 38600"/>
                <a:gd name="connsiteY51" fmla="*/ 6716 h 31279"/>
                <a:gd name="connsiteX52" fmla="*/ 12161 w 38600"/>
                <a:gd name="connsiteY52" fmla="*/ 5596 h 31279"/>
                <a:gd name="connsiteX53" fmla="*/ 13916 w 38600"/>
                <a:gd name="connsiteY53" fmla="*/ 5536 h 31279"/>
                <a:gd name="connsiteX54" fmla="*/ 15156 w 38600"/>
                <a:gd name="connsiteY54" fmla="*/ 4719 h 3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8600" h="31279">
                  <a:moveTo>
                    <a:pt x="38208" y="23445"/>
                  </a:moveTo>
                  <a:lnTo>
                    <a:pt x="36695" y="21176"/>
                  </a:lnTo>
                  <a:lnTo>
                    <a:pt x="33821" y="20056"/>
                  </a:lnTo>
                  <a:lnTo>
                    <a:pt x="33277" y="19966"/>
                  </a:lnTo>
                  <a:lnTo>
                    <a:pt x="33277" y="18816"/>
                  </a:lnTo>
                  <a:lnTo>
                    <a:pt x="33155" y="17697"/>
                  </a:lnTo>
                  <a:lnTo>
                    <a:pt x="32641" y="16820"/>
                  </a:lnTo>
                  <a:lnTo>
                    <a:pt x="29707" y="15852"/>
                  </a:lnTo>
                  <a:lnTo>
                    <a:pt x="26319" y="13190"/>
                  </a:lnTo>
                  <a:lnTo>
                    <a:pt x="24655" y="12584"/>
                  </a:lnTo>
                  <a:lnTo>
                    <a:pt x="16698" y="11737"/>
                  </a:lnTo>
                  <a:lnTo>
                    <a:pt x="17999" y="10678"/>
                  </a:lnTo>
                  <a:lnTo>
                    <a:pt x="18574" y="10406"/>
                  </a:lnTo>
                  <a:lnTo>
                    <a:pt x="19482" y="10255"/>
                  </a:lnTo>
                  <a:lnTo>
                    <a:pt x="19482" y="9408"/>
                  </a:lnTo>
                  <a:lnTo>
                    <a:pt x="17878" y="9559"/>
                  </a:lnTo>
                  <a:lnTo>
                    <a:pt x="16487" y="9983"/>
                  </a:lnTo>
                  <a:lnTo>
                    <a:pt x="15186" y="10709"/>
                  </a:lnTo>
                  <a:lnTo>
                    <a:pt x="13916" y="11737"/>
                  </a:lnTo>
                  <a:lnTo>
                    <a:pt x="14974" y="12917"/>
                  </a:lnTo>
                  <a:lnTo>
                    <a:pt x="15549" y="14732"/>
                  </a:lnTo>
                  <a:lnTo>
                    <a:pt x="16003" y="18756"/>
                  </a:lnTo>
                  <a:lnTo>
                    <a:pt x="16003" y="22265"/>
                  </a:lnTo>
                  <a:lnTo>
                    <a:pt x="16305" y="22809"/>
                  </a:lnTo>
                  <a:lnTo>
                    <a:pt x="17758" y="23535"/>
                  </a:lnTo>
                  <a:lnTo>
                    <a:pt x="18060" y="23868"/>
                  </a:lnTo>
                  <a:lnTo>
                    <a:pt x="19905" y="26560"/>
                  </a:lnTo>
                  <a:lnTo>
                    <a:pt x="24231" y="28739"/>
                  </a:lnTo>
                  <a:lnTo>
                    <a:pt x="29072" y="30130"/>
                  </a:lnTo>
                  <a:lnTo>
                    <a:pt x="32520" y="30433"/>
                  </a:lnTo>
                  <a:lnTo>
                    <a:pt x="32974" y="30675"/>
                  </a:lnTo>
                  <a:lnTo>
                    <a:pt x="34577" y="31280"/>
                  </a:lnTo>
                  <a:lnTo>
                    <a:pt x="34577" y="29888"/>
                  </a:lnTo>
                  <a:lnTo>
                    <a:pt x="35092" y="28920"/>
                  </a:lnTo>
                  <a:lnTo>
                    <a:pt x="36665" y="27317"/>
                  </a:lnTo>
                  <a:lnTo>
                    <a:pt x="38056" y="28043"/>
                  </a:lnTo>
                  <a:lnTo>
                    <a:pt x="38601" y="26258"/>
                  </a:lnTo>
                  <a:lnTo>
                    <a:pt x="38208" y="23475"/>
                  </a:lnTo>
                  <a:close/>
                  <a:moveTo>
                    <a:pt x="15156" y="4719"/>
                  </a:moveTo>
                  <a:lnTo>
                    <a:pt x="13220" y="2813"/>
                  </a:lnTo>
                  <a:lnTo>
                    <a:pt x="9952" y="877"/>
                  </a:lnTo>
                  <a:lnTo>
                    <a:pt x="7351" y="0"/>
                  </a:lnTo>
                  <a:lnTo>
                    <a:pt x="1179" y="877"/>
                  </a:lnTo>
                  <a:lnTo>
                    <a:pt x="0" y="1240"/>
                  </a:lnTo>
                  <a:lnTo>
                    <a:pt x="60" y="2208"/>
                  </a:lnTo>
                  <a:lnTo>
                    <a:pt x="423" y="3448"/>
                  </a:lnTo>
                  <a:lnTo>
                    <a:pt x="121" y="4689"/>
                  </a:lnTo>
                  <a:lnTo>
                    <a:pt x="1754" y="5657"/>
                  </a:lnTo>
                  <a:lnTo>
                    <a:pt x="3751" y="6443"/>
                  </a:lnTo>
                  <a:lnTo>
                    <a:pt x="5808" y="6958"/>
                  </a:lnTo>
                  <a:lnTo>
                    <a:pt x="7684" y="7079"/>
                  </a:lnTo>
                  <a:lnTo>
                    <a:pt x="9469" y="6716"/>
                  </a:lnTo>
                  <a:lnTo>
                    <a:pt x="12161" y="5596"/>
                  </a:lnTo>
                  <a:lnTo>
                    <a:pt x="13916" y="5536"/>
                  </a:lnTo>
                  <a:lnTo>
                    <a:pt x="15156" y="4719"/>
                  </a:lnTo>
                  <a:close/>
                </a:path>
              </a:pathLst>
            </a:custGeom>
            <a:solidFill>
              <a:srgbClr val="96A3AC"/>
            </a:solidFill>
            <a:ln w="3175" cap="rnd">
              <a:solidFill>
                <a:schemeClr val="bg1"/>
              </a:solidFill>
              <a:prstDash val="solid"/>
              <a:round/>
            </a:ln>
          </p:spPr>
          <p:txBody>
            <a:bodyPr rtlCol="0" anchor="ctr"/>
            <a:lstStyle/>
            <a:p>
              <a:endParaRPr lang="en-ID"/>
            </a:p>
          </p:txBody>
        </p:sp>
        <p:sp>
          <p:nvSpPr>
            <p:cNvPr id="33" name="Freeform: Shape 32">
              <a:extLst>
                <a:ext uri="{FF2B5EF4-FFF2-40B4-BE49-F238E27FC236}">
                  <a16:creationId xmlns:a16="http://schemas.microsoft.com/office/drawing/2014/main" id="{843E5FE5-CE65-E369-90CD-7860B27B2142}"/>
                </a:ext>
              </a:extLst>
            </p:cNvPr>
            <p:cNvSpPr/>
            <p:nvPr/>
          </p:nvSpPr>
          <p:spPr>
            <a:xfrm>
              <a:off x="9755968" y="4844708"/>
              <a:ext cx="200669" cy="145904"/>
            </a:xfrm>
            <a:custGeom>
              <a:avLst/>
              <a:gdLst>
                <a:gd name="connsiteX0" fmla="*/ 258075 w 258165"/>
                <a:gd name="connsiteY0" fmla="*/ 78351 h 187709"/>
                <a:gd name="connsiteX1" fmla="*/ 256290 w 258165"/>
                <a:gd name="connsiteY1" fmla="*/ 75750 h 187709"/>
                <a:gd name="connsiteX2" fmla="*/ 255231 w 258165"/>
                <a:gd name="connsiteY2" fmla="*/ 75296 h 187709"/>
                <a:gd name="connsiteX3" fmla="*/ 252841 w 258165"/>
                <a:gd name="connsiteY3" fmla="*/ 75175 h 187709"/>
                <a:gd name="connsiteX4" fmla="*/ 251752 w 258165"/>
                <a:gd name="connsiteY4" fmla="*/ 74721 h 187709"/>
                <a:gd name="connsiteX5" fmla="*/ 251117 w 258165"/>
                <a:gd name="connsiteY5" fmla="*/ 73814 h 187709"/>
                <a:gd name="connsiteX6" fmla="*/ 248969 w 258165"/>
                <a:gd name="connsiteY6" fmla="*/ 69155 h 187709"/>
                <a:gd name="connsiteX7" fmla="*/ 247910 w 258165"/>
                <a:gd name="connsiteY7" fmla="*/ 64919 h 187709"/>
                <a:gd name="connsiteX8" fmla="*/ 247275 w 258165"/>
                <a:gd name="connsiteY8" fmla="*/ 63437 h 187709"/>
                <a:gd name="connsiteX9" fmla="*/ 246791 w 258165"/>
                <a:gd name="connsiteY9" fmla="*/ 62953 h 187709"/>
                <a:gd name="connsiteX10" fmla="*/ 245611 w 258165"/>
                <a:gd name="connsiteY10" fmla="*/ 62348 h 187709"/>
                <a:gd name="connsiteX11" fmla="*/ 245309 w 258165"/>
                <a:gd name="connsiteY11" fmla="*/ 62046 h 187709"/>
                <a:gd name="connsiteX12" fmla="*/ 245188 w 258165"/>
                <a:gd name="connsiteY12" fmla="*/ 61925 h 187709"/>
                <a:gd name="connsiteX13" fmla="*/ 244946 w 258165"/>
                <a:gd name="connsiteY13" fmla="*/ 60987 h 187709"/>
                <a:gd name="connsiteX14" fmla="*/ 244976 w 258165"/>
                <a:gd name="connsiteY14" fmla="*/ 59141 h 187709"/>
                <a:gd name="connsiteX15" fmla="*/ 244825 w 258165"/>
                <a:gd name="connsiteY15" fmla="*/ 58264 h 187709"/>
                <a:gd name="connsiteX16" fmla="*/ 243736 w 258165"/>
                <a:gd name="connsiteY16" fmla="*/ 55451 h 187709"/>
                <a:gd name="connsiteX17" fmla="*/ 242979 w 258165"/>
                <a:gd name="connsiteY17" fmla="*/ 52607 h 187709"/>
                <a:gd name="connsiteX18" fmla="*/ 242828 w 258165"/>
                <a:gd name="connsiteY18" fmla="*/ 49612 h 187709"/>
                <a:gd name="connsiteX19" fmla="*/ 242556 w 258165"/>
                <a:gd name="connsiteY19" fmla="*/ 48281 h 187709"/>
                <a:gd name="connsiteX20" fmla="*/ 241769 w 258165"/>
                <a:gd name="connsiteY20" fmla="*/ 46950 h 187709"/>
                <a:gd name="connsiteX21" fmla="*/ 241739 w 258165"/>
                <a:gd name="connsiteY21" fmla="*/ 46920 h 187709"/>
                <a:gd name="connsiteX22" fmla="*/ 241648 w 258165"/>
                <a:gd name="connsiteY22" fmla="*/ 45286 h 187709"/>
                <a:gd name="connsiteX23" fmla="*/ 241648 w 258165"/>
                <a:gd name="connsiteY23" fmla="*/ 45195 h 187709"/>
                <a:gd name="connsiteX24" fmla="*/ 241467 w 258165"/>
                <a:gd name="connsiteY24" fmla="*/ 44318 h 187709"/>
                <a:gd name="connsiteX25" fmla="*/ 240922 w 258165"/>
                <a:gd name="connsiteY25" fmla="*/ 43713 h 187709"/>
                <a:gd name="connsiteX26" fmla="*/ 239773 w 258165"/>
                <a:gd name="connsiteY26" fmla="*/ 43017 h 187709"/>
                <a:gd name="connsiteX27" fmla="*/ 239198 w 258165"/>
                <a:gd name="connsiteY27" fmla="*/ 42957 h 187709"/>
                <a:gd name="connsiteX28" fmla="*/ 237655 w 258165"/>
                <a:gd name="connsiteY28" fmla="*/ 43471 h 187709"/>
                <a:gd name="connsiteX29" fmla="*/ 236959 w 258165"/>
                <a:gd name="connsiteY29" fmla="*/ 43502 h 187709"/>
                <a:gd name="connsiteX30" fmla="*/ 236173 w 258165"/>
                <a:gd name="connsiteY30" fmla="*/ 42927 h 187709"/>
                <a:gd name="connsiteX31" fmla="*/ 235810 w 258165"/>
                <a:gd name="connsiteY31" fmla="*/ 42080 h 187709"/>
                <a:gd name="connsiteX32" fmla="*/ 235568 w 258165"/>
                <a:gd name="connsiteY32" fmla="*/ 41263 h 187709"/>
                <a:gd name="connsiteX33" fmla="*/ 235144 w 258165"/>
                <a:gd name="connsiteY33" fmla="*/ 40779 h 187709"/>
                <a:gd name="connsiteX34" fmla="*/ 234116 w 258165"/>
                <a:gd name="connsiteY34" fmla="*/ 40658 h 187709"/>
                <a:gd name="connsiteX35" fmla="*/ 229518 w 258165"/>
                <a:gd name="connsiteY35" fmla="*/ 40870 h 187709"/>
                <a:gd name="connsiteX36" fmla="*/ 228852 w 258165"/>
                <a:gd name="connsiteY36" fmla="*/ 40597 h 187709"/>
                <a:gd name="connsiteX37" fmla="*/ 228398 w 258165"/>
                <a:gd name="connsiteY37" fmla="*/ 40083 h 187709"/>
                <a:gd name="connsiteX38" fmla="*/ 228035 w 258165"/>
                <a:gd name="connsiteY38" fmla="*/ 39538 h 187709"/>
                <a:gd name="connsiteX39" fmla="*/ 227551 w 258165"/>
                <a:gd name="connsiteY39" fmla="*/ 39175 h 187709"/>
                <a:gd name="connsiteX40" fmla="*/ 224556 w 258165"/>
                <a:gd name="connsiteY40" fmla="*/ 38601 h 187709"/>
                <a:gd name="connsiteX41" fmla="*/ 219656 w 258165"/>
                <a:gd name="connsiteY41" fmla="*/ 36302 h 187709"/>
                <a:gd name="connsiteX42" fmla="*/ 218718 w 258165"/>
                <a:gd name="connsiteY42" fmla="*/ 35848 h 187709"/>
                <a:gd name="connsiteX43" fmla="*/ 210005 w 258165"/>
                <a:gd name="connsiteY43" fmla="*/ 30070 h 187709"/>
                <a:gd name="connsiteX44" fmla="*/ 207888 w 258165"/>
                <a:gd name="connsiteY44" fmla="*/ 28134 h 187709"/>
                <a:gd name="connsiteX45" fmla="*/ 207585 w 258165"/>
                <a:gd name="connsiteY45" fmla="*/ 27620 h 187709"/>
                <a:gd name="connsiteX46" fmla="*/ 206345 w 258165"/>
                <a:gd name="connsiteY46" fmla="*/ 25653 h 187709"/>
                <a:gd name="connsiteX47" fmla="*/ 205014 w 258165"/>
                <a:gd name="connsiteY47" fmla="*/ 22083 h 187709"/>
                <a:gd name="connsiteX48" fmla="*/ 201202 w 258165"/>
                <a:gd name="connsiteY48" fmla="*/ 19482 h 187709"/>
                <a:gd name="connsiteX49" fmla="*/ 191280 w 258165"/>
                <a:gd name="connsiteY49" fmla="*/ 7109 h 187709"/>
                <a:gd name="connsiteX50" fmla="*/ 189283 w 258165"/>
                <a:gd name="connsiteY50" fmla="*/ 6988 h 187709"/>
                <a:gd name="connsiteX51" fmla="*/ 187498 w 258165"/>
                <a:gd name="connsiteY51" fmla="*/ 6383 h 187709"/>
                <a:gd name="connsiteX52" fmla="*/ 185895 w 258165"/>
                <a:gd name="connsiteY52" fmla="*/ 5264 h 187709"/>
                <a:gd name="connsiteX53" fmla="*/ 184413 w 258165"/>
                <a:gd name="connsiteY53" fmla="*/ 3660 h 187709"/>
                <a:gd name="connsiteX54" fmla="*/ 184140 w 258165"/>
                <a:gd name="connsiteY54" fmla="*/ 2753 h 187709"/>
                <a:gd name="connsiteX55" fmla="*/ 184050 w 258165"/>
                <a:gd name="connsiteY55" fmla="*/ 635 h 187709"/>
                <a:gd name="connsiteX56" fmla="*/ 183596 w 258165"/>
                <a:gd name="connsiteY56" fmla="*/ 0 h 187709"/>
                <a:gd name="connsiteX57" fmla="*/ 182688 w 258165"/>
                <a:gd name="connsiteY57" fmla="*/ 151 h 187709"/>
                <a:gd name="connsiteX58" fmla="*/ 180056 w 258165"/>
                <a:gd name="connsiteY58" fmla="*/ 2692 h 187709"/>
                <a:gd name="connsiteX59" fmla="*/ 166171 w 258165"/>
                <a:gd name="connsiteY59" fmla="*/ 8077 h 187709"/>
                <a:gd name="connsiteX60" fmla="*/ 162692 w 258165"/>
                <a:gd name="connsiteY60" fmla="*/ 8652 h 187709"/>
                <a:gd name="connsiteX61" fmla="*/ 161119 w 258165"/>
                <a:gd name="connsiteY61" fmla="*/ 8470 h 187709"/>
                <a:gd name="connsiteX62" fmla="*/ 159334 w 258165"/>
                <a:gd name="connsiteY62" fmla="*/ 8289 h 187709"/>
                <a:gd name="connsiteX63" fmla="*/ 156037 w 258165"/>
                <a:gd name="connsiteY63" fmla="*/ 7230 h 187709"/>
                <a:gd name="connsiteX64" fmla="*/ 150682 w 258165"/>
                <a:gd name="connsiteY64" fmla="*/ 4659 h 187709"/>
                <a:gd name="connsiteX65" fmla="*/ 149412 w 258165"/>
                <a:gd name="connsiteY65" fmla="*/ 4417 h 187709"/>
                <a:gd name="connsiteX66" fmla="*/ 148353 w 258165"/>
                <a:gd name="connsiteY66" fmla="*/ 4870 h 187709"/>
                <a:gd name="connsiteX67" fmla="*/ 144934 w 258165"/>
                <a:gd name="connsiteY67" fmla="*/ 7593 h 187709"/>
                <a:gd name="connsiteX68" fmla="*/ 144208 w 258165"/>
                <a:gd name="connsiteY68" fmla="*/ 7774 h 187709"/>
                <a:gd name="connsiteX69" fmla="*/ 140185 w 258165"/>
                <a:gd name="connsiteY69" fmla="*/ 7714 h 187709"/>
                <a:gd name="connsiteX70" fmla="*/ 138158 w 258165"/>
                <a:gd name="connsiteY70" fmla="*/ 8168 h 187709"/>
                <a:gd name="connsiteX71" fmla="*/ 128326 w 258165"/>
                <a:gd name="connsiteY71" fmla="*/ 13643 h 187709"/>
                <a:gd name="connsiteX72" fmla="*/ 127026 w 258165"/>
                <a:gd name="connsiteY72" fmla="*/ 14400 h 187709"/>
                <a:gd name="connsiteX73" fmla="*/ 125573 w 258165"/>
                <a:gd name="connsiteY73" fmla="*/ 16033 h 187709"/>
                <a:gd name="connsiteX74" fmla="*/ 124061 w 258165"/>
                <a:gd name="connsiteY74" fmla="*/ 16910 h 187709"/>
                <a:gd name="connsiteX75" fmla="*/ 124061 w 258165"/>
                <a:gd name="connsiteY75" fmla="*/ 16910 h 187709"/>
                <a:gd name="connsiteX76" fmla="*/ 122306 w 258165"/>
                <a:gd name="connsiteY76" fmla="*/ 16820 h 187709"/>
                <a:gd name="connsiteX77" fmla="*/ 118767 w 258165"/>
                <a:gd name="connsiteY77" fmla="*/ 15943 h 187709"/>
                <a:gd name="connsiteX78" fmla="*/ 113806 w 258165"/>
                <a:gd name="connsiteY78" fmla="*/ 16033 h 187709"/>
                <a:gd name="connsiteX79" fmla="*/ 112687 w 258165"/>
                <a:gd name="connsiteY79" fmla="*/ 15489 h 187709"/>
                <a:gd name="connsiteX80" fmla="*/ 112444 w 258165"/>
                <a:gd name="connsiteY80" fmla="*/ 15368 h 187709"/>
                <a:gd name="connsiteX81" fmla="*/ 108239 w 258165"/>
                <a:gd name="connsiteY81" fmla="*/ 16396 h 187709"/>
                <a:gd name="connsiteX82" fmla="*/ 106182 w 258165"/>
                <a:gd name="connsiteY82" fmla="*/ 16426 h 187709"/>
                <a:gd name="connsiteX83" fmla="*/ 104367 w 258165"/>
                <a:gd name="connsiteY83" fmla="*/ 15307 h 187709"/>
                <a:gd name="connsiteX84" fmla="*/ 103429 w 258165"/>
                <a:gd name="connsiteY84" fmla="*/ 16396 h 187709"/>
                <a:gd name="connsiteX85" fmla="*/ 102976 w 258165"/>
                <a:gd name="connsiteY85" fmla="*/ 16880 h 187709"/>
                <a:gd name="connsiteX86" fmla="*/ 101947 w 258165"/>
                <a:gd name="connsiteY86" fmla="*/ 16638 h 187709"/>
                <a:gd name="connsiteX87" fmla="*/ 101009 w 258165"/>
                <a:gd name="connsiteY87" fmla="*/ 15761 h 187709"/>
                <a:gd name="connsiteX88" fmla="*/ 99830 w 258165"/>
                <a:gd name="connsiteY88" fmla="*/ 15428 h 187709"/>
                <a:gd name="connsiteX89" fmla="*/ 98166 w 258165"/>
                <a:gd name="connsiteY89" fmla="*/ 16275 h 187709"/>
                <a:gd name="connsiteX90" fmla="*/ 98347 w 258165"/>
                <a:gd name="connsiteY90" fmla="*/ 17364 h 187709"/>
                <a:gd name="connsiteX91" fmla="*/ 99073 w 258165"/>
                <a:gd name="connsiteY91" fmla="*/ 18453 h 187709"/>
                <a:gd name="connsiteX92" fmla="*/ 99194 w 258165"/>
                <a:gd name="connsiteY92" fmla="*/ 19270 h 187709"/>
                <a:gd name="connsiteX93" fmla="*/ 98075 w 258165"/>
                <a:gd name="connsiteY93" fmla="*/ 19391 h 187709"/>
                <a:gd name="connsiteX94" fmla="*/ 94596 w 258165"/>
                <a:gd name="connsiteY94" fmla="*/ 18151 h 187709"/>
                <a:gd name="connsiteX95" fmla="*/ 92841 w 258165"/>
                <a:gd name="connsiteY95" fmla="*/ 18302 h 187709"/>
                <a:gd name="connsiteX96" fmla="*/ 92237 w 258165"/>
                <a:gd name="connsiteY96" fmla="*/ 18756 h 187709"/>
                <a:gd name="connsiteX97" fmla="*/ 91511 w 258165"/>
                <a:gd name="connsiteY97" fmla="*/ 19270 h 187709"/>
                <a:gd name="connsiteX98" fmla="*/ 85611 w 258165"/>
                <a:gd name="connsiteY98" fmla="*/ 27620 h 187709"/>
                <a:gd name="connsiteX99" fmla="*/ 85490 w 258165"/>
                <a:gd name="connsiteY99" fmla="*/ 28709 h 187709"/>
                <a:gd name="connsiteX100" fmla="*/ 85702 w 258165"/>
                <a:gd name="connsiteY100" fmla="*/ 29374 h 187709"/>
                <a:gd name="connsiteX101" fmla="*/ 86005 w 258165"/>
                <a:gd name="connsiteY101" fmla="*/ 30039 h 187709"/>
                <a:gd name="connsiteX102" fmla="*/ 86156 w 258165"/>
                <a:gd name="connsiteY102" fmla="*/ 31099 h 187709"/>
                <a:gd name="connsiteX103" fmla="*/ 86246 w 258165"/>
                <a:gd name="connsiteY103" fmla="*/ 33640 h 187709"/>
                <a:gd name="connsiteX104" fmla="*/ 86186 w 258165"/>
                <a:gd name="connsiteY104" fmla="*/ 33912 h 187709"/>
                <a:gd name="connsiteX105" fmla="*/ 86065 w 258165"/>
                <a:gd name="connsiteY105" fmla="*/ 34789 h 187709"/>
                <a:gd name="connsiteX106" fmla="*/ 85006 w 258165"/>
                <a:gd name="connsiteY106" fmla="*/ 35001 h 187709"/>
                <a:gd name="connsiteX107" fmla="*/ 80650 w 258165"/>
                <a:gd name="connsiteY107" fmla="*/ 34184 h 187709"/>
                <a:gd name="connsiteX108" fmla="*/ 79863 w 258165"/>
                <a:gd name="connsiteY108" fmla="*/ 34033 h 187709"/>
                <a:gd name="connsiteX109" fmla="*/ 79017 w 258165"/>
                <a:gd name="connsiteY109" fmla="*/ 33216 h 187709"/>
                <a:gd name="connsiteX110" fmla="*/ 78593 w 258165"/>
                <a:gd name="connsiteY110" fmla="*/ 32853 h 187709"/>
                <a:gd name="connsiteX111" fmla="*/ 77685 w 258165"/>
                <a:gd name="connsiteY111" fmla="*/ 31068 h 187709"/>
                <a:gd name="connsiteX112" fmla="*/ 76021 w 258165"/>
                <a:gd name="connsiteY112" fmla="*/ 28587 h 187709"/>
                <a:gd name="connsiteX113" fmla="*/ 72482 w 258165"/>
                <a:gd name="connsiteY113" fmla="*/ 25351 h 187709"/>
                <a:gd name="connsiteX114" fmla="*/ 68640 w 258165"/>
                <a:gd name="connsiteY114" fmla="*/ 22628 h 187709"/>
                <a:gd name="connsiteX115" fmla="*/ 67279 w 258165"/>
                <a:gd name="connsiteY115" fmla="*/ 21963 h 187709"/>
                <a:gd name="connsiteX116" fmla="*/ 66613 w 258165"/>
                <a:gd name="connsiteY116" fmla="*/ 21781 h 187709"/>
                <a:gd name="connsiteX117" fmla="*/ 65857 w 258165"/>
                <a:gd name="connsiteY117" fmla="*/ 21751 h 187709"/>
                <a:gd name="connsiteX118" fmla="*/ 63407 w 258165"/>
                <a:gd name="connsiteY118" fmla="*/ 23203 h 187709"/>
                <a:gd name="connsiteX119" fmla="*/ 60049 w 258165"/>
                <a:gd name="connsiteY119" fmla="*/ 26228 h 187709"/>
                <a:gd name="connsiteX120" fmla="*/ 58869 w 258165"/>
                <a:gd name="connsiteY120" fmla="*/ 27317 h 187709"/>
                <a:gd name="connsiteX121" fmla="*/ 56328 w 258165"/>
                <a:gd name="connsiteY121" fmla="*/ 28497 h 187709"/>
                <a:gd name="connsiteX122" fmla="*/ 53424 w 258165"/>
                <a:gd name="connsiteY122" fmla="*/ 29374 h 187709"/>
                <a:gd name="connsiteX123" fmla="*/ 46284 w 258165"/>
                <a:gd name="connsiteY123" fmla="*/ 31643 h 187709"/>
                <a:gd name="connsiteX124" fmla="*/ 36846 w 258165"/>
                <a:gd name="connsiteY124" fmla="*/ 34577 h 187709"/>
                <a:gd name="connsiteX125" fmla="*/ 34275 w 258165"/>
                <a:gd name="connsiteY125" fmla="*/ 35939 h 187709"/>
                <a:gd name="connsiteX126" fmla="*/ 32308 w 258165"/>
                <a:gd name="connsiteY126" fmla="*/ 38147 h 187709"/>
                <a:gd name="connsiteX127" fmla="*/ 31310 w 258165"/>
                <a:gd name="connsiteY127" fmla="*/ 40809 h 187709"/>
                <a:gd name="connsiteX128" fmla="*/ 30070 w 258165"/>
                <a:gd name="connsiteY128" fmla="*/ 46950 h 187709"/>
                <a:gd name="connsiteX129" fmla="*/ 29949 w 258165"/>
                <a:gd name="connsiteY129" fmla="*/ 49763 h 187709"/>
                <a:gd name="connsiteX130" fmla="*/ 30917 w 258165"/>
                <a:gd name="connsiteY130" fmla="*/ 53515 h 187709"/>
                <a:gd name="connsiteX131" fmla="*/ 31219 w 258165"/>
                <a:gd name="connsiteY131" fmla="*/ 54694 h 187709"/>
                <a:gd name="connsiteX132" fmla="*/ 30887 w 258165"/>
                <a:gd name="connsiteY132" fmla="*/ 57266 h 187709"/>
                <a:gd name="connsiteX133" fmla="*/ 30826 w 258165"/>
                <a:gd name="connsiteY133" fmla="*/ 57689 h 187709"/>
                <a:gd name="connsiteX134" fmla="*/ 29767 w 258165"/>
                <a:gd name="connsiteY134" fmla="*/ 60019 h 187709"/>
                <a:gd name="connsiteX135" fmla="*/ 28073 w 258165"/>
                <a:gd name="connsiteY135" fmla="*/ 62681 h 187709"/>
                <a:gd name="connsiteX136" fmla="*/ 27196 w 258165"/>
                <a:gd name="connsiteY136" fmla="*/ 63589 h 187709"/>
                <a:gd name="connsiteX137" fmla="*/ 26046 w 258165"/>
                <a:gd name="connsiteY137" fmla="*/ 64768 h 187709"/>
                <a:gd name="connsiteX138" fmla="*/ 23868 w 258165"/>
                <a:gd name="connsiteY138" fmla="*/ 65464 h 187709"/>
                <a:gd name="connsiteX139" fmla="*/ 22900 w 258165"/>
                <a:gd name="connsiteY139" fmla="*/ 64829 h 187709"/>
                <a:gd name="connsiteX140" fmla="*/ 20994 w 258165"/>
                <a:gd name="connsiteY140" fmla="*/ 62348 h 187709"/>
                <a:gd name="connsiteX141" fmla="*/ 20026 w 258165"/>
                <a:gd name="connsiteY141" fmla="*/ 61803 h 187709"/>
                <a:gd name="connsiteX142" fmla="*/ 19391 w 258165"/>
                <a:gd name="connsiteY142" fmla="*/ 62227 h 187709"/>
                <a:gd name="connsiteX143" fmla="*/ 18302 w 258165"/>
                <a:gd name="connsiteY143" fmla="*/ 64103 h 187709"/>
                <a:gd name="connsiteX144" fmla="*/ 17546 w 258165"/>
                <a:gd name="connsiteY144" fmla="*/ 64678 h 187709"/>
                <a:gd name="connsiteX145" fmla="*/ 15912 w 258165"/>
                <a:gd name="connsiteY145" fmla="*/ 64738 h 187709"/>
                <a:gd name="connsiteX146" fmla="*/ 14702 w 258165"/>
                <a:gd name="connsiteY146" fmla="*/ 64133 h 187709"/>
                <a:gd name="connsiteX147" fmla="*/ 12373 w 258165"/>
                <a:gd name="connsiteY147" fmla="*/ 61864 h 187709"/>
                <a:gd name="connsiteX148" fmla="*/ 9801 w 258165"/>
                <a:gd name="connsiteY148" fmla="*/ 63286 h 187709"/>
                <a:gd name="connsiteX149" fmla="*/ 9711 w 258165"/>
                <a:gd name="connsiteY149" fmla="*/ 65373 h 187709"/>
                <a:gd name="connsiteX150" fmla="*/ 9680 w 258165"/>
                <a:gd name="connsiteY150" fmla="*/ 66039 h 187709"/>
                <a:gd name="connsiteX151" fmla="*/ 10497 w 258165"/>
                <a:gd name="connsiteY151" fmla="*/ 69155 h 187709"/>
                <a:gd name="connsiteX152" fmla="*/ 10648 w 258165"/>
                <a:gd name="connsiteY152" fmla="*/ 70909 h 187709"/>
                <a:gd name="connsiteX153" fmla="*/ 10739 w 258165"/>
                <a:gd name="connsiteY153" fmla="*/ 71726 h 187709"/>
                <a:gd name="connsiteX154" fmla="*/ 10074 w 258165"/>
                <a:gd name="connsiteY154" fmla="*/ 72815 h 187709"/>
                <a:gd name="connsiteX155" fmla="*/ 7744 w 258165"/>
                <a:gd name="connsiteY155" fmla="*/ 74933 h 187709"/>
                <a:gd name="connsiteX156" fmla="*/ 6746 w 258165"/>
                <a:gd name="connsiteY156" fmla="*/ 76113 h 187709"/>
                <a:gd name="connsiteX157" fmla="*/ 5959 w 258165"/>
                <a:gd name="connsiteY157" fmla="*/ 77776 h 187709"/>
                <a:gd name="connsiteX158" fmla="*/ 5657 w 258165"/>
                <a:gd name="connsiteY158" fmla="*/ 79077 h 187709"/>
                <a:gd name="connsiteX159" fmla="*/ 6443 w 258165"/>
                <a:gd name="connsiteY159" fmla="*/ 88001 h 187709"/>
                <a:gd name="connsiteX160" fmla="*/ 6958 w 258165"/>
                <a:gd name="connsiteY160" fmla="*/ 90633 h 187709"/>
                <a:gd name="connsiteX161" fmla="*/ 9105 w 258165"/>
                <a:gd name="connsiteY161" fmla="*/ 96381 h 187709"/>
                <a:gd name="connsiteX162" fmla="*/ 9105 w 258165"/>
                <a:gd name="connsiteY162" fmla="*/ 97198 h 187709"/>
                <a:gd name="connsiteX163" fmla="*/ 9105 w 258165"/>
                <a:gd name="connsiteY163" fmla="*/ 97440 h 187709"/>
                <a:gd name="connsiteX164" fmla="*/ 8561 w 258165"/>
                <a:gd name="connsiteY164" fmla="*/ 98741 h 187709"/>
                <a:gd name="connsiteX165" fmla="*/ 7714 w 258165"/>
                <a:gd name="connsiteY165" fmla="*/ 99527 h 187709"/>
                <a:gd name="connsiteX166" fmla="*/ 6353 w 258165"/>
                <a:gd name="connsiteY166" fmla="*/ 100314 h 187709"/>
                <a:gd name="connsiteX167" fmla="*/ 4901 w 258165"/>
                <a:gd name="connsiteY167" fmla="*/ 100858 h 187709"/>
                <a:gd name="connsiteX168" fmla="*/ 0 w 258165"/>
                <a:gd name="connsiteY168" fmla="*/ 101856 h 187709"/>
                <a:gd name="connsiteX169" fmla="*/ 363 w 258165"/>
                <a:gd name="connsiteY169" fmla="*/ 103611 h 187709"/>
                <a:gd name="connsiteX170" fmla="*/ 60 w 258165"/>
                <a:gd name="connsiteY170" fmla="*/ 106939 h 187709"/>
                <a:gd name="connsiteX171" fmla="*/ 786 w 258165"/>
                <a:gd name="connsiteY171" fmla="*/ 108754 h 187709"/>
                <a:gd name="connsiteX172" fmla="*/ 1905 w 258165"/>
                <a:gd name="connsiteY172" fmla="*/ 109238 h 187709"/>
                <a:gd name="connsiteX173" fmla="*/ 2692 w 258165"/>
                <a:gd name="connsiteY173" fmla="*/ 109964 h 187709"/>
                <a:gd name="connsiteX174" fmla="*/ 3751 w 258165"/>
                <a:gd name="connsiteY174" fmla="*/ 111870 h 187709"/>
                <a:gd name="connsiteX175" fmla="*/ 3963 w 258165"/>
                <a:gd name="connsiteY175" fmla="*/ 112233 h 187709"/>
                <a:gd name="connsiteX176" fmla="*/ 4295 w 258165"/>
                <a:gd name="connsiteY176" fmla="*/ 113171 h 187709"/>
                <a:gd name="connsiteX177" fmla="*/ 4507 w 258165"/>
                <a:gd name="connsiteY177" fmla="*/ 115167 h 187709"/>
                <a:gd name="connsiteX178" fmla="*/ 4689 w 258165"/>
                <a:gd name="connsiteY178" fmla="*/ 115833 h 187709"/>
                <a:gd name="connsiteX179" fmla="*/ 5415 w 258165"/>
                <a:gd name="connsiteY179" fmla="*/ 116407 h 187709"/>
                <a:gd name="connsiteX180" fmla="*/ 7079 w 258165"/>
                <a:gd name="connsiteY180" fmla="*/ 116649 h 187709"/>
                <a:gd name="connsiteX181" fmla="*/ 7835 w 258165"/>
                <a:gd name="connsiteY181" fmla="*/ 117103 h 187709"/>
                <a:gd name="connsiteX182" fmla="*/ 9045 w 258165"/>
                <a:gd name="connsiteY182" fmla="*/ 118676 h 187709"/>
                <a:gd name="connsiteX183" fmla="*/ 9559 w 258165"/>
                <a:gd name="connsiteY183" fmla="*/ 119917 h 187709"/>
                <a:gd name="connsiteX184" fmla="*/ 9650 w 258165"/>
                <a:gd name="connsiteY184" fmla="*/ 120189 h 187709"/>
                <a:gd name="connsiteX185" fmla="*/ 9620 w 258165"/>
                <a:gd name="connsiteY185" fmla="*/ 121853 h 187709"/>
                <a:gd name="connsiteX186" fmla="*/ 8924 w 258165"/>
                <a:gd name="connsiteY186" fmla="*/ 123910 h 187709"/>
                <a:gd name="connsiteX187" fmla="*/ 7956 w 258165"/>
                <a:gd name="connsiteY187" fmla="*/ 125574 h 187709"/>
                <a:gd name="connsiteX188" fmla="*/ 6655 w 258165"/>
                <a:gd name="connsiteY188" fmla="*/ 127117 h 187709"/>
                <a:gd name="connsiteX189" fmla="*/ 5233 w 258165"/>
                <a:gd name="connsiteY189" fmla="*/ 127933 h 187709"/>
                <a:gd name="connsiteX190" fmla="*/ 3781 w 258165"/>
                <a:gd name="connsiteY190" fmla="*/ 127510 h 187709"/>
                <a:gd name="connsiteX191" fmla="*/ 3418 w 258165"/>
                <a:gd name="connsiteY191" fmla="*/ 129899 h 187709"/>
                <a:gd name="connsiteX192" fmla="*/ 3388 w 258165"/>
                <a:gd name="connsiteY192" fmla="*/ 130172 h 187709"/>
                <a:gd name="connsiteX193" fmla="*/ 3902 w 258165"/>
                <a:gd name="connsiteY193" fmla="*/ 133863 h 187709"/>
                <a:gd name="connsiteX194" fmla="*/ 5627 w 258165"/>
                <a:gd name="connsiteY194" fmla="*/ 140487 h 187709"/>
                <a:gd name="connsiteX195" fmla="*/ 6897 w 258165"/>
                <a:gd name="connsiteY195" fmla="*/ 143603 h 187709"/>
                <a:gd name="connsiteX196" fmla="*/ 10618 w 258165"/>
                <a:gd name="connsiteY196" fmla="*/ 148444 h 187709"/>
                <a:gd name="connsiteX197" fmla="*/ 12191 w 258165"/>
                <a:gd name="connsiteY197" fmla="*/ 151287 h 187709"/>
                <a:gd name="connsiteX198" fmla="*/ 12705 w 258165"/>
                <a:gd name="connsiteY198" fmla="*/ 154040 h 187709"/>
                <a:gd name="connsiteX199" fmla="*/ 12645 w 258165"/>
                <a:gd name="connsiteY199" fmla="*/ 156218 h 187709"/>
                <a:gd name="connsiteX200" fmla="*/ 13371 w 258165"/>
                <a:gd name="connsiteY200" fmla="*/ 157882 h 187709"/>
                <a:gd name="connsiteX201" fmla="*/ 15428 w 258165"/>
                <a:gd name="connsiteY201" fmla="*/ 158759 h 187709"/>
                <a:gd name="connsiteX202" fmla="*/ 16215 w 258165"/>
                <a:gd name="connsiteY202" fmla="*/ 159122 h 187709"/>
                <a:gd name="connsiteX203" fmla="*/ 17576 w 258165"/>
                <a:gd name="connsiteY203" fmla="*/ 159244 h 187709"/>
                <a:gd name="connsiteX204" fmla="*/ 18847 w 258165"/>
                <a:gd name="connsiteY204" fmla="*/ 159183 h 187709"/>
                <a:gd name="connsiteX205" fmla="*/ 19088 w 258165"/>
                <a:gd name="connsiteY205" fmla="*/ 159213 h 187709"/>
                <a:gd name="connsiteX206" fmla="*/ 20026 w 258165"/>
                <a:gd name="connsiteY206" fmla="*/ 159364 h 187709"/>
                <a:gd name="connsiteX207" fmla="*/ 21115 w 258165"/>
                <a:gd name="connsiteY207" fmla="*/ 160121 h 187709"/>
                <a:gd name="connsiteX208" fmla="*/ 22114 w 258165"/>
                <a:gd name="connsiteY208" fmla="*/ 162087 h 187709"/>
                <a:gd name="connsiteX209" fmla="*/ 24080 w 258165"/>
                <a:gd name="connsiteY209" fmla="*/ 170073 h 187709"/>
                <a:gd name="connsiteX210" fmla="*/ 26016 w 258165"/>
                <a:gd name="connsiteY210" fmla="*/ 177092 h 187709"/>
                <a:gd name="connsiteX211" fmla="*/ 27468 w 258165"/>
                <a:gd name="connsiteY211" fmla="*/ 179935 h 187709"/>
                <a:gd name="connsiteX212" fmla="*/ 28829 w 258165"/>
                <a:gd name="connsiteY212" fmla="*/ 180964 h 187709"/>
                <a:gd name="connsiteX213" fmla="*/ 29858 w 258165"/>
                <a:gd name="connsiteY213" fmla="*/ 181781 h 187709"/>
                <a:gd name="connsiteX214" fmla="*/ 32399 w 258165"/>
                <a:gd name="connsiteY214" fmla="*/ 182295 h 187709"/>
                <a:gd name="connsiteX215" fmla="*/ 34154 w 258165"/>
                <a:gd name="connsiteY215" fmla="*/ 181660 h 187709"/>
                <a:gd name="connsiteX216" fmla="*/ 37511 w 258165"/>
                <a:gd name="connsiteY216" fmla="*/ 179058 h 187709"/>
                <a:gd name="connsiteX217" fmla="*/ 39478 w 258165"/>
                <a:gd name="connsiteY217" fmla="*/ 178605 h 187709"/>
                <a:gd name="connsiteX218" fmla="*/ 39569 w 258165"/>
                <a:gd name="connsiteY218" fmla="*/ 178605 h 187709"/>
                <a:gd name="connsiteX219" fmla="*/ 44893 w 258165"/>
                <a:gd name="connsiteY219" fmla="*/ 179300 h 187709"/>
                <a:gd name="connsiteX220" fmla="*/ 49885 w 258165"/>
                <a:gd name="connsiteY220" fmla="*/ 180661 h 187709"/>
                <a:gd name="connsiteX221" fmla="*/ 51548 w 258165"/>
                <a:gd name="connsiteY221" fmla="*/ 182174 h 187709"/>
                <a:gd name="connsiteX222" fmla="*/ 52395 w 258165"/>
                <a:gd name="connsiteY222" fmla="*/ 184473 h 187709"/>
                <a:gd name="connsiteX223" fmla="*/ 52426 w 258165"/>
                <a:gd name="connsiteY223" fmla="*/ 187710 h 187709"/>
                <a:gd name="connsiteX224" fmla="*/ 67219 w 258165"/>
                <a:gd name="connsiteY224" fmla="*/ 187166 h 187709"/>
                <a:gd name="connsiteX225" fmla="*/ 74358 w 258165"/>
                <a:gd name="connsiteY225" fmla="*/ 185169 h 187709"/>
                <a:gd name="connsiteX226" fmla="*/ 76959 w 258165"/>
                <a:gd name="connsiteY226" fmla="*/ 185320 h 187709"/>
                <a:gd name="connsiteX227" fmla="*/ 80680 w 258165"/>
                <a:gd name="connsiteY227" fmla="*/ 186016 h 187709"/>
                <a:gd name="connsiteX228" fmla="*/ 82193 w 258165"/>
                <a:gd name="connsiteY228" fmla="*/ 186318 h 187709"/>
                <a:gd name="connsiteX229" fmla="*/ 85672 w 258165"/>
                <a:gd name="connsiteY229" fmla="*/ 186318 h 187709"/>
                <a:gd name="connsiteX230" fmla="*/ 89060 w 258165"/>
                <a:gd name="connsiteY230" fmla="*/ 185653 h 187709"/>
                <a:gd name="connsiteX231" fmla="*/ 90633 w 258165"/>
                <a:gd name="connsiteY231" fmla="*/ 184836 h 187709"/>
                <a:gd name="connsiteX232" fmla="*/ 94293 w 258165"/>
                <a:gd name="connsiteY232" fmla="*/ 181478 h 187709"/>
                <a:gd name="connsiteX233" fmla="*/ 96683 w 258165"/>
                <a:gd name="connsiteY233" fmla="*/ 180480 h 187709"/>
                <a:gd name="connsiteX234" fmla="*/ 99134 w 258165"/>
                <a:gd name="connsiteY234" fmla="*/ 180450 h 187709"/>
                <a:gd name="connsiteX235" fmla="*/ 106818 w 258165"/>
                <a:gd name="connsiteY235" fmla="*/ 181448 h 187709"/>
                <a:gd name="connsiteX236" fmla="*/ 107211 w 258165"/>
                <a:gd name="connsiteY236" fmla="*/ 181478 h 187709"/>
                <a:gd name="connsiteX237" fmla="*/ 111627 w 258165"/>
                <a:gd name="connsiteY237" fmla="*/ 185139 h 187709"/>
                <a:gd name="connsiteX238" fmla="*/ 114441 w 258165"/>
                <a:gd name="connsiteY238" fmla="*/ 185653 h 187709"/>
                <a:gd name="connsiteX239" fmla="*/ 115348 w 258165"/>
                <a:gd name="connsiteY239" fmla="*/ 185108 h 187709"/>
                <a:gd name="connsiteX240" fmla="*/ 117678 w 258165"/>
                <a:gd name="connsiteY240" fmla="*/ 182961 h 187709"/>
                <a:gd name="connsiteX241" fmla="*/ 118707 w 258165"/>
                <a:gd name="connsiteY241" fmla="*/ 182204 h 187709"/>
                <a:gd name="connsiteX242" fmla="*/ 119281 w 258165"/>
                <a:gd name="connsiteY242" fmla="*/ 182144 h 187709"/>
                <a:gd name="connsiteX243" fmla="*/ 120733 w 258165"/>
                <a:gd name="connsiteY243" fmla="*/ 182204 h 187709"/>
                <a:gd name="connsiteX244" fmla="*/ 121217 w 258165"/>
                <a:gd name="connsiteY244" fmla="*/ 182053 h 187709"/>
                <a:gd name="connsiteX245" fmla="*/ 121611 w 258165"/>
                <a:gd name="connsiteY245" fmla="*/ 181387 h 187709"/>
                <a:gd name="connsiteX246" fmla="*/ 121822 w 258165"/>
                <a:gd name="connsiteY246" fmla="*/ 179784 h 187709"/>
                <a:gd name="connsiteX247" fmla="*/ 122034 w 258165"/>
                <a:gd name="connsiteY247" fmla="*/ 179300 h 187709"/>
                <a:gd name="connsiteX248" fmla="*/ 124878 w 258165"/>
                <a:gd name="connsiteY248" fmla="*/ 178120 h 187709"/>
                <a:gd name="connsiteX249" fmla="*/ 130081 w 258165"/>
                <a:gd name="connsiteY249" fmla="*/ 179209 h 187709"/>
                <a:gd name="connsiteX250" fmla="*/ 132108 w 258165"/>
                <a:gd name="connsiteY250" fmla="*/ 178786 h 187709"/>
                <a:gd name="connsiteX251" fmla="*/ 132955 w 258165"/>
                <a:gd name="connsiteY251" fmla="*/ 178605 h 187709"/>
                <a:gd name="connsiteX252" fmla="*/ 134226 w 258165"/>
                <a:gd name="connsiteY252" fmla="*/ 177425 h 187709"/>
                <a:gd name="connsiteX253" fmla="*/ 134589 w 258165"/>
                <a:gd name="connsiteY253" fmla="*/ 176033 h 187709"/>
                <a:gd name="connsiteX254" fmla="*/ 134619 w 258165"/>
                <a:gd name="connsiteY254" fmla="*/ 174702 h 187709"/>
                <a:gd name="connsiteX255" fmla="*/ 134800 w 258165"/>
                <a:gd name="connsiteY255" fmla="*/ 173704 h 187709"/>
                <a:gd name="connsiteX256" fmla="*/ 135798 w 258165"/>
                <a:gd name="connsiteY256" fmla="*/ 172554 h 187709"/>
                <a:gd name="connsiteX257" fmla="*/ 139580 w 258165"/>
                <a:gd name="connsiteY257" fmla="*/ 170134 h 187709"/>
                <a:gd name="connsiteX258" fmla="*/ 139580 w 258165"/>
                <a:gd name="connsiteY258" fmla="*/ 170104 h 187709"/>
                <a:gd name="connsiteX259" fmla="*/ 139580 w 258165"/>
                <a:gd name="connsiteY259" fmla="*/ 170104 h 187709"/>
                <a:gd name="connsiteX260" fmla="*/ 139610 w 258165"/>
                <a:gd name="connsiteY260" fmla="*/ 170104 h 187709"/>
                <a:gd name="connsiteX261" fmla="*/ 140972 w 258165"/>
                <a:gd name="connsiteY261" fmla="*/ 167805 h 187709"/>
                <a:gd name="connsiteX262" fmla="*/ 144541 w 258165"/>
                <a:gd name="connsiteY262" fmla="*/ 164628 h 187709"/>
                <a:gd name="connsiteX263" fmla="*/ 145933 w 258165"/>
                <a:gd name="connsiteY263" fmla="*/ 162752 h 187709"/>
                <a:gd name="connsiteX264" fmla="*/ 146114 w 258165"/>
                <a:gd name="connsiteY264" fmla="*/ 161815 h 187709"/>
                <a:gd name="connsiteX265" fmla="*/ 146114 w 258165"/>
                <a:gd name="connsiteY265" fmla="*/ 161422 h 187709"/>
                <a:gd name="connsiteX266" fmla="*/ 146205 w 258165"/>
                <a:gd name="connsiteY266" fmla="*/ 159364 h 187709"/>
                <a:gd name="connsiteX267" fmla="*/ 146629 w 258165"/>
                <a:gd name="connsiteY267" fmla="*/ 158215 h 187709"/>
                <a:gd name="connsiteX268" fmla="*/ 147385 w 258165"/>
                <a:gd name="connsiteY268" fmla="*/ 157398 h 187709"/>
                <a:gd name="connsiteX269" fmla="*/ 149049 w 258165"/>
                <a:gd name="connsiteY269" fmla="*/ 156249 h 187709"/>
                <a:gd name="connsiteX270" fmla="*/ 149986 w 258165"/>
                <a:gd name="connsiteY270" fmla="*/ 155643 h 187709"/>
                <a:gd name="connsiteX271" fmla="*/ 153042 w 258165"/>
                <a:gd name="connsiteY271" fmla="*/ 154101 h 187709"/>
                <a:gd name="connsiteX272" fmla="*/ 159485 w 258165"/>
                <a:gd name="connsiteY272" fmla="*/ 152376 h 187709"/>
                <a:gd name="connsiteX273" fmla="*/ 159969 w 258165"/>
                <a:gd name="connsiteY273" fmla="*/ 152044 h 187709"/>
                <a:gd name="connsiteX274" fmla="*/ 160998 w 258165"/>
                <a:gd name="connsiteY274" fmla="*/ 150985 h 187709"/>
                <a:gd name="connsiteX275" fmla="*/ 161422 w 258165"/>
                <a:gd name="connsiteY275" fmla="*/ 150743 h 187709"/>
                <a:gd name="connsiteX276" fmla="*/ 162148 w 258165"/>
                <a:gd name="connsiteY276" fmla="*/ 150985 h 187709"/>
                <a:gd name="connsiteX277" fmla="*/ 162480 w 258165"/>
                <a:gd name="connsiteY277" fmla="*/ 151590 h 187709"/>
                <a:gd name="connsiteX278" fmla="*/ 162601 w 258165"/>
                <a:gd name="connsiteY278" fmla="*/ 152195 h 187709"/>
                <a:gd name="connsiteX279" fmla="*/ 162874 w 258165"/>
                <a:gd name="connsiteY279" fmla="*/ 152527 h 187709"/>
                <a:gd name="connsiteX280" fmla="*/ 166231 w 258165"/>
                <a:gd name="connsiteY280" fmla="*/ 154191 h 187709"/>
                <a:gd name="connsiteX281" fmla="*/ 166957 w 258165"/>
                <a:gd name="connsiteY281" fmla="*/ 154464 h 187709"/>
                <a:gd name="connsiteX282" fmla="*/ 169075 w 258165"/>
                <a:gd name="connsiteY282" fmla="*/ 153768 h 187709"/>
                <a:gd name="connsiteX283" fmla="*/ 172675 w 258165"/>
                <a:gd name="connsiteY283" fmla="*/ 150743 h 187709"/>
                <a:gd name="connsiteX284" fmla="*/ 174974 w 258165"/>
                <a:gd name="connsiteY284" fmla="*/ 149745 h 187709"/>
                <a:gd name="connsiteX285" fmla="*/ 177273 w 258165"/>
                <a:gd name="connsiteY285" fmla="*/ 149563 h 187709"/>
                <a:gd name="connsiteX286" fmla="*/ 178060 w 258165"/>
                <a:gd name="connsiteY286" fmla="*/ 149654 h 187709"/>
                <a:gd name="connsiteX287" fmla="*/ 179209 w 258165"/>
                <a:gd name="connsiteY287" fmla="*/ 149775 h 187709"/>
                <a:gd name="connsiteX288" fmla="*/ 183021 w 258165"/>
                <a:gd name="connsiteY288" fmla="*/ 150894 h 187709"/>
                <a:gd name="connsiteX289" fmla="*/ 186076 w 258165"/>
                <a:gd name="connsiteY289" fmla="*/ 151287 h 187709"/>
                <a:gd name="connsiteX290" fmla="*/ 187014 w 258165"/>
                <a:gd name="connsiteY290" fmla="*/ 151529 h 187709"/>
                <a:gd name="connsiteX291" fmla="*/ 187286 w 258165"/>
                <a:gd name="connsiteY291" fmla="*/ 151983 h 187709"/>
                <a:gd name="connsiteX292" fmla="*/ 187407 w 258165"/>
                <a:gd name="connsiteY292" fmla="*/ 153617 h 187709"/>
                <a:gd name="connsiteX293" fmla="*/ 187619 w 258165"/>
                <a:gd name="connsiteY293" fmla="*/ 154040 h 187709"/>
                <a:gd name="connsiteX294" fmla="*/ 188255 w 258165"/>
                <a:gd name="connsiteY294" fmla="*/ 154101 h 187709"/>
                <a:gd name="connsiteX295" fmla="*/ 189101 w 258165"/>
                <a:gd name="connsiteY295" fmla="*/ 153587 h 187709"/>
                <a:gd name="connsiteX296" fmla="*/ 191007 w 258165"/>
                <a:gd name="connsiteY296" fmla="*/ 153556 h 187709"/>
                <a:gd name="connsiteX297" fmla="*/ 193549 w 258165"/>
                <a:gd name="connsiteY297" fmla="*/ 153133 h 187709"/>
                <a:gd name="connsiteX298" fmla="*/ 194819 w 258165"/>
                <a:gd name="connsiteY298" fmla="*/ 153193 h 187709"/>
                <a:gd name="connsiteX299" fmla="*/ 195727 w 258165"/>
                <a:gd name="connsiteY299" fmla="*/ 153617 h 187709"/>
                <a:gd name="connsiteX300" fmla="*/ 197844 w 258165"/>
                <a:gd name="connsiteY300" fmla="*/ 154887 h 187709"/>
                <a:gd name="connsiteX301" fmla="*/ 198994 w 258165"/>
                <a:gd name="connsiteY301" fmla="*/ 155280 h 187709"/>
                <a:gd name="connsiteX302" fmla="*/ 201989 w 258165"/>
                <a:gd name="connsiteY302" fmla="*/ 155402 h 187709"/>
                <a:gd name="connsiteX303" fmla="*/ 203592 w 258165"/>
                <a:gd name="connsiteY303" fmla="*/ 155250 h 187709"/>
                <a:gd name="connsiteX304" fmla="*/ 205014 w 258165"/>
                <a:gd name="connsiteY304" fmla="*/ 154917 h 187709"/>
                <a:gd name="connsiteX305" fmla="*/ 206920 w 258165"/>
                <a:gd name="connsiteY305" fmla="*/ 154373 h 187709"/>
                <a:gd name="connsiteX306" fmla="*/ 208523 w 258165"/>
                <a:gd name="connsiteY306" fmla="*/ 154373 h 187709"/>
                <a:gd name="connsiteX307" fmla="*/ 211820 w 258165"/>
                <a:gd name="connsiteY307" fmla="*/ 154827 h 187709"/>
                <a:gd name="connsiteX308" fmla="*/ 214029 w 258165"/>
                <a:gd name="connsiteY308" fmla="*/ 154706 h 187709"/>
                <a:gd name="connsiteX309" fmla="*/ 215571 w 258165"/>
                <a:gd name="connsiteY309" fmla="*/ 154131 h 187709"/>
                <a:gd name="connsiteX310" fmla="*/ 215934 w 258165"/>
                <a:gd name="connsiteY310" fmla="*/ 154010 h 187709"/>
                <a:gd name="connsiteX311" fmla="*/ 217659 w 258165"/>
                <a:gd name="connsiteY311" fmla="*/ 152679 h 187709"/>
                <a:gd name="connsiteX312" fmla="*/ 219383 w 258165"/>
                <a:gd name="connsiteY312" fmla="*/ 150652 h 187709"/>
                <a:gd name="connsiteX313" fmla="*/ 219625 w 258165"/>
                <a:gd name="connsiteY313" fmla="*/ 149654 h 187709"/>
                <a:gd name="connsiteX314" fmla="*/ 219534 w 258165"/>
                <a:gd name="connsiteY314" fmla="*/ 148534 h 187709"/>
                <a:gd name="connsiteX315" fmla="*/ 219867 w 258165"/>
                <a:gd name="connsiteY315" fmla="*/ 147657 h 187709"/>
                <a:gd name="connsiteX316" fmla="*/ 221410 w 258165"/>
                <a:gd name="connsiteY316" fmla="*/ 147264 h 187709"/>
                <a:gd name="connsiteX317" fmla="*/ 222590 w 258165"/>
                <a:gd name="connsiteY317" fmla="*/ 147536 h 187709"/>
                <a:gd name="connsiteX318" fmla="*/ 222681 w 258165"/>
                <a:gd name="connsiteY318" fmla="*/ 147657 h 187709"/>
                <a:gd name="connsiteX319" fmla="*/ 223165 w 258165"/>
                <a:gd name="connsiteY319" fmla="*/ 148232 h 187709"/>
                <a:gd name="connsiteX320" fmla="*/ 223618 w 258165"/>
                <a:gd name="connsiteY320" fmla="*/ 149200 h 187709"/>
                <a:gd name="connsiteX321" fmla="*/ 224405 w 258165"/>
                <a:gd name="connsiteY321" fmla="*/ 150138 h 187709"/>
                <a:gd name="connsiteX322" fmla="*/ 226190 w 258165"/>
                <a:gd name="connsiteY322" fmla="*/ 151620 h 187709"/>
                <a:gd name="connsiteX323" fmla="*/ 227491 w 258165"/>
                <a:gd name="connsiteY323" fmla="*/ 152225 h 187709"/>
                <a:gd name="connsiteX324" fmla="*/ 228580 w 258165"/>
                <a:gd name="connsiteY324" fmla="*/ 151499 h 187709"/>
                <a:gd name="connsiteX325" fmla="*/ 229729 w 258165"/>
                <a:gd name="connsiteY325" fmla="*/ 149019 h 187709"/>
                <a:gd name="connsiteX326" fmla="*/ 230697 w 258165"/>
                <a:gd name="connsiteY326" fmla="*/ 144299 h 187709"/>
                <a:gd name="connsiteX327" fmla="*/ 231121 w 258165"/>
                <a:gd name="connsiteY327" fmla="*/ 134589 h 187709"/>
                <a:gd name="connsiteX328" fmla="*/ 231211 w 258165"/>
                <a:gd name="connsiteY328" fmla="*/ 134165 h 187709"/>
                <a:gd name="connsiteX329" fmla="*/ 232149 w 258165"/>
                <a:gd name="connsiteY329" fmla="*/ 130716 h 187709"/>
                <a:gd name="connsiteX330" fmla="*/ 233269 w 258165"/>
                <a:gd name="connsiteY330" fmla="*/ 129809 h 187709"/>
                <a:gd name="connsiteX331" fmla="*/ 235144 w 258165"/>
                <a:gd name="connsiteY331" fmla="*/ 128266 h 187709"/>
                <a:gd name="connsiteX332" fmla="*/ 236747 w 258165"/>
                <a:gd name="connsiteY332" fmla="*/ 128024 h 187709"/>
                <a:gd name="connsiteX333" fmla="*/ 239682 w 258165"/>
                <a:gd name="connsiteY333" fmla="*/ 127540 h 187709"/>
                <a:gd name="connsiteX334" fmla="*/ 248818 w 258165"/>
                <a:gd name="connsiteY334" fmla="*/ 128175 h 187709"/>
                <a:gd name="connsiteX335" fmla="*/ 251238 w 258165"/>
                <a:gd name="connsiteY335" fmla="*/ 126451 h 187709"/>
                <a:gd name="connsiteX336" fmla="*/ 251601 w 258165"/>
                <a:gd name="connsiteY336" fmla="*/ 124152 h 187709"/>
                <a:gd name="connsiteX337" fmla="*/ 251087 w 258165"/>
                <a:gd name="connsiteY337" fmla="*/ 121580 h 187709"/>
                <a:gd name="connsiteX338" fmla="*/ 250875 w 258165"/>
                <a:gd name="connsiteY338" fmla="*/ 118948 h 187709"/>
                <a:gd name="connsiteX339" fmla="*/ 251208 w 258165"/>
                <a:gd name="connsiteY339" fmla="*/ 118192 h 187709"/>
                <a:gd name="connsiteX340" fmla="*/ 252357 w 258165"/>
                <a:gd name="connsiteY340" fmla="*/ 116861 h 187709"/>
                <a:gd name="connsiteX341" fmla="*/ 252629 w 258165"/>
                <a:gd name="connsiteY341" fmla="*/ 116286 h 187709"/>
                <a:gd name="connsiteX342" fmla="*/ 252509 w 258165"/>
                <a:gd name="connsiteY342" fmla="*/ 115591 h 187709"/>
                <a:gd name="connsiteX343" fmla="*/ 251934 w 258165"/>
                <a:gd name="connsiteY343" fmla="*/ 114320 h 187709"/>
                <a:gd name="connsiteX344" fmla="*/ 251783 w 258165"/>
                <a:gd name="connsiteY344" fmla="*/ 113715 h 187709"/>
                <a:gd name="connsiteX345" fmla="*/ 251510 w 258165"/>
                <a:gd name="connsiteY345" fmla="*/ 105124 h 187709"/>
                <a:gd name="connsiteX346" fmla="*/ 251450 w 258165"/>
                <a:gd name="connsiteY346" fmla="*/ 103218 h 187709"/>
                <a:gd name="connsiteX347" fmla="*/ 251934 w 258165"/>
                <a:gd name="connsiteY347" fmla="*/ 101161 h 187709"/>
                <a:gd name="connsiteX348" fmla="*/ 252024 w 258165"/>
                <a:gd name="connsiteY348" fmla="*/ 100435 h 187709"/>
                <a:gd name="connsiteX349" fmla="*/ 251813 w 258165"/>
                <a:gd name="connsiteY349" fmla="*/ 99618 h 187709"/>
                <a:gd name="connsiteX350" fmla="*/ 250845 w 258165"/>
                <a:gd name="connsiteY350" fmla="*/ 98257 h 187709"/>
                <a:gd name="connsiteX351" fmla="*/ 250512 w 258165"/>
                <a:gd name="connsiteY351" fmla="*/ 97531 h 187709"/>
                <a:gd name="connsiteX352" fmla="*/ 250361 w 258165"/>
                <a:gd name="connsiteY352" fmla="*/ 95897 h 187709"/>
                <a:gd name="connsiteX353" fmla="*/ 250451 w 258165"/>
                <a:gd name="connsiteY353" fmla="*/ 94112 h 187709"/>
                <a:gd name="connsiteX354" fmla="*/ 250754 w 258165"/>
                <a:gd name="connsiteY354" fmla="*/ 92418 h 187709"/>
                <a:gd name="connsiteX355" fmla="*/ 251238 w 258165"/>
                <a:gd name="connsiteY355" fmla="*/ 90996 h 187709"/>
                <a:gd name="connsiteX356" fmla="*/ 251722 w 258165"/>
                <a:gd name="connsiteY356" fmla="*/ 90573 h 187709"/>
                <a:gd name="connsiteX357" fmla="*/ 253325 w 258165"/>
                <a:gd name="connsiteY357" fmla="*/ 90149 h 187709"/>
                <a:gd name="connsiteX358" fmla="*/ 253870 w 258165"/>
                <a:gd name="connsiteY358" fmla="*/ 89816 h 187709"/>
                <a:gd name="connsiteX359" fmla="*/ 254203 w 258165"/>
                <a:gd name="connsiteY359" fmla="*/ 89211 h 187709"/>
                <a:gd name="connsiteX360" fmla="*/ 254838 w 258165"/>
                <a:gd name="connsiteY360" fmla="*/ 87427 h 187709"/>
                <a:gd name="connsiteX361" fmla="*/ 255715 w 258165"/>
                <a:gd name="connsiteY361" fmla="*/ 86095 h 187709"/>
                <a:gd name="connsiteX362" fmla="*/ 257046 w 258165"/>
                <a:gd name="connsiteY362" fmla="*/ 84129 h 187709"/>
                <a:gd name="connsiteX363" fmla="*/ 258166 w 258165"/>
                <a:gd name="connsiteY363" fmla="*/ 81255 h 187709"/>
                <a:gd name="connsiteX364" fmla="*/ 258075 w 258165"/>
                <a:gd name="connsiteY364" fmla="*/ 78351 h 18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Lst>
              <a:rect l="l" t="t" r="r" b="b"/>
              <a:pathLst>
                <a:path w="258165" h="187709">
                  <a:moveTo>
                    <a:pt x="258075" y="78351"/>
                  </a:moveTo>
                  <a:lnTo>
                    <a:pt x="256290" y="75750"/>
                  </a:lnTo>
                  <a:lnTo>
                    <a:pt x="255231" y="75296"/>
                  </a:lnTo>
                  <a:lnTo>
                    <a:pt x="252841" y="75175"/>
                  </a:lnTo>
                  <a:lnTo>
                    <a:pt x="251752" y="74721"/>
                  </a:lnTo>
                  <a:lnTo>
                    <a:pt x="251117" y="73814"/>
                  </a:lnTo>
                  <a:lnTo>
                    <a:pt x="248969" y="69155"/>
                  </a:lnTo>
                  <a:lnTo>
                    <a:pt x="247910" y="64919"/>
                  </a:lnTo>
                  <a:lnTo>
                    <a:pt x="247275" y="63437"/>
                  </a:lnTo>
                  <a:lnTo>
                    <a:pt x="246791" y="62953"/>
                  </a:lnTo>
                  <a:lnTo>
                    <a:pt x="245611" y="62348"/>
                  </a:lnTo>
                  <a:lnTo>
                    <a:pt x="245309" y="62046"/>
                  </a:lnTo>
                  <a:lnTo>
                    <a:pt x="245188" y="61925"/>
                  </a:lnTo>
                  <a:lnTo>
                    <a:pt x="244946" y="60987"/>
                  </a:lnTo>
                  <a:lnTo>
                    <a:pt x="244976" y="59141"/>
                  </a:lnTo>
                  <a:lnTo>
                    <a:pt x="244825" y="58264"/>
                  </a:lnTo>
                  <a:lnTo>
                    <a:pt x="243736" y="55451"/>
                  </a:lnTo>
                  <a:lnTo>
                    <a:pt x="242979" y="52607"/>
                  </a:lnTo>
                  <a:lnTo>
                    <a:pt x="242828" y="49612"/>
                  </a:lnTo>
                  <a:lnTo>
                    <a:pt x="242556" y="48281"/>
                  </a:lnTo>
                  <a:lnTo>
                    <a:pt x="241769" y="46950"/>
                  </a:lnTo>
                  <a:lnTo>
                    <a:pt x="241739" y="46920"/>
                  </a:lnTo>
                  <a:lnTo>
                    <a:pt x="241648" y="45286"/>
                  </a:lnTo>
                  <a:lnTo>
                    <a:pt x="241648" y="45195"/>
                  </a:lnTo>
                  <a:lnTo>
                    <a:pt x="241467" y="44318"/>
                  </a:lnTo>
                  <a:lnTo>
                    <a:pt x="240922" y="43713"/>
                  </a:lnTo>
                  <a:lnTo>
                    <a:pt x="239773" y="43017"/>
                  </a:lnTo>
                  <a:lnTo>
                    <a:pt x="239198" y="42957"/>
                  </a:lnTo>
                  <a:lnTo>
                    <a:pt x="237655" y="43471"/>
                  </a:lnTo>
                  <a:lnTo>
                    <a:pt x="236959" y="43502"/>
                  </a:lnTo>
                  <a:lnTo>
                    <a:pt x="236173" y="42927"/>
                  </a:lnTo>
                  <a:lnTo>
                    <a:pt x="235810" y="42080"/>
                  </a:lnTo>
                  <a:lnTo>
                    <a:pt x="235568" y="41263"/>
                  </a:lnTo>
                  <a:lnTo>
                    <a:pt x="235144" y="40779"/>
                  </a:lnTo>
                  <a:lnTo>
                    <a:pt x="234116" y="40658"/>
                  </a:lnTo>
                  <a:lnTo>
                    <a:pt x="229518" y="40870"/>
                  </a:lnTo>
                  <a:lnTo>
                    <a:pt x="228852" y="40597"/>
                  </a:lnTo>
                  <a:lnTo>
                    <a:pt x="228398" y="40083"/>
                  </a:lnTo>
                  <a:lnTo>
                    <a:pt x="228035" y="39538"/>
                  </a:lnTo>
                  <a:lnTo>
                    <a:pt x="227551" y="39175"/>
                  </a:lnTo>
                  <a:lnTo>
                    <a:pt x="224556" y="38601"/>
                  </a:lnTo>
                  <a:lnTo>
                    <a:pt x="219656" y="36302"/>
                  </a:lnTo>
                  <a:lnTo>
                    <a:pt x="218718" y="35848"/>
                  </a:lnTo>
                  <a:lnTo>
                    <a:pt x="210005" y="30070"/>
                  </a:lnTo>
                  <a:lnTo>
                    <a:pt x="207888" y="28134"/>
                  </a:lnTo>
                  <a:lnTo>
                    <a:pt x="207585" y="27620"/>
                  </a:lnTo>
                  <a:lnTo>
                    <a:pt x="206345" y="25653"/>
                  </a:lnTo>
                  <a:lnTo>
                    <a:pt x="205014" y="22083"/>
                  </a:lnTo>
                  <a:lnTo>
                    <a:pt x="201202" y="19482"/>
                  </a:lnTo>
                  <a:lnTo>
                    <a:pt x="191280" y="7109"/>
                  </a:lnTo>
                  <a:lnTo>
                    <a:pt x="189283" y="6988"/>
                  </a:lnTo>
                  <a:lnTo>
                    <a:pt x="187498" y="6383"/>
                  </a:lnTo>
                  <a:lnTo>
                    <a:pt x="185895" y="5264"/>
                  </a:lnTo>
                  <a:lnTo>
                    <a:pt x="184413" y="3660"/>
                  </a:lnTo>
                  <a:lnTo>
                    <a:pt x="184140" y="2753"/>
                  </a:lnTo>
                  <a:lnTo>
                    <a:pt x="184050" y="635"/>
                  </a:lnTo>
                  <a:lnTo>
                    <a:pt x="183596" y="0"/>
                  </a:lnTo>
                  <a:lnTo>
                    <a:pt x="182688" y="151"/>
                  </a:lnTo>
                  <a:lnTo>
                    <a:pt x="180056" y="2692"/>
                  </a:lnTo>
                  <a:lnTo>
                    <a:pt x="166171" y="8077"/>
                  </a:lnTo>
                  <a:lnTo>
                    <a:pt x="162692" y="8652"/>
                  </a:lnTo>
                  <a:lnTo>
                    <a:pt x="161119" y="8470"/>
                  </a:lnTo>
                  <a:lnTo>
                    <a:pt x="159334" y="8289"/>
                  </a:lnTo>
                  <a:lnTo>
                    <a:pt x="156037" y="7230"/>
                  </a:lnTo>
                  <a:lnTo>
                    <a:pt x="150682" y="4659"/>
                  </a:lnTo>
                  <a:lnTo>
                    <a:pt x="149412" y="4417"/>
                  </a:lnTo>
                  <a:lnTo>
                    <a:pt x="148353" y="4870"/>
                  </a:lnTo>
                  <a:lnTo>
                    <a:pt x="144934" y="7593"/>
                  </a:lnTo>
                  <a:lnTo>
                    <a:pt x="144208" y="7774"/>
                  </a:lnTo>
                  <a:lnTo>
                    <a:pt x="140185" y="7714"/>
                  </a:lnTo>
                  <a:lnTo>
                    <a:pt x="138158" y="8168"/>
                  </a:lnTo>
                  <a:lnTo>
                    <a:pt x="128326" y="13643"/>
                  </a:lnTo>
                  <a:lnTo>
                    <a:pt x="127026" y="14400"/>
                  </a:lnTo>
                  <a:lnTo>
                    <a:pt x="125573" y="16033"/>
                  </a:lnTo>
                  <a:lnTo>
                    <a:pt x="124061" y="16910"/>
                  </a:lnTo>
                  <a:lnTo>
                    <a:pt x="124061" y="16910"/>
                  </a:lnTo>
                  <a:lnTo>
                    <a:pt x="122306" y="16820"/>
                  </a:lnTo>
                  <a:lnTo>
                    <a:pt x="118767" y="15943"/>
                  </a:lnTo>
                  <a:lnTo>
                    <a:pt x="113806" y="16033"/>
                  </a:lnTo>
                  <a:lnTo>
                    <a:pt x="112687" y="15489"/>
                  </a:lnTo>
                  <a:lnTo>
                    <a:pt x="112444" y="15368"/>
                  </a:lnTo>
                  <a:lnTo>
                    <a:pt x="108239" y="16396"/>
                  </a:lnTo>
                  <a:lnTo>
                    <a:pt x="106182" y="16426"/>
                  </a:lnTo>
                  <a:lnTo>
                    <a:pt x="104367" y="15307"/>
                  </a:lnTo>
                  <a:lnTo>
                    <a:pt x="103429" y="16396"/>
                  </a:lnTo>
                  <a:lnTo>
                    <a:pt x="102976" y="16880"/>
                  </a:lnTo>
                  <a:lnTo>
                    <a:pt x="101947" y="16638"/>
                  </a:lnTo>
                  <a:lnTo>
                    <a:pt x="101009" y="15761"/>
                  </a:lnTo>
                  <a:lnTo>
                    <a:pt x="99830" y="15428"/>
                  </a:lnTo>
                  <a:lnTo>
                    <a:pt x="98166" y="16275"/>
                  </a:lnTo>
                  <a:lnTo>
                    <a:pt x="98347" y="17364"/>
                  </a:lnTo>
                  <a:lnTo>
                    <a:pt x="99073" y="18453"/>
                  </a:lnTo>
                  <a:lnTo>
                    <a:pt x="99194" y="19270"/>
                  </a:lnTo>
                  <a:lnTo>
                    <a:pt x="98075" y="19391"/>
                  </a:lnTo>
                  <a:lnTo>
                    <a:pt x="94596" y="18151"/>
                  </a:lnTo>
                  <a:lnTo>
                    <a:pt x="92841" y="18302"/>
                  </a:lnTo>
                  <a:lnTo>
                    <a:pt x="92237" y="18756"/>
                  </a:lnTo>
                  <a:lnTo>
                    <a:pt x="91511" y="19270"/>
                  </a:lnTo>
                  <a:lnTo>
                    <a:pt x="85611" y="27620"/>
                  </a:lnTo>
                  <a:lnTo>
                    <a:pt x="85490" y="28709"/>
                  </a:lnTo>
                  <a:lnTo>
                    <a:pt x="85702" y="29374"/>
                  </a:lnTo>
                  <a:lnTo>
                    <a:pt x="86005" y="30039"/>
                  </a:lnTo>
                  <a:lnTo>
                    <a:pt x="86156" y="31099"/>
                  </a:lnTo>
                  <a:lnTo>
                    <a:pt x="86246" y="33640"/>
                  </a:lnTo>
                  <a:lnTo>
                    <a:pt x="86186" y="33912"/>
                  </a:lnTo>
                  <a:lnTo>
                    <a:pt x="86065" y="34789"/>
                  </a:lnTo>
                  <a:lnTo>
                    <a:pt x="85006" y="35001"/>
                  </a:lnTo>
                  <a:lnTo>
                    <a:pt x="80650" y="34184"/>
                  </a:lnTo>
                  <a:lnTo>
                    <a:pt x="79863" y="34033"/>
                  </a:lnTo>
                  <a:lnTo>
                    <a:pt x="79017" y="33216"/>
                  </a:lnTo>
                  <a:lnTo>
                    <a:pt x="78593" y="32853"/>
                  </a:lnTo>
                  <a:lnTo>
                    <a:pt x="77685" y="31068"/>
                  </a:lnTo>
                  <a:lnTo>
                    <a:pt x="76021" y="28587"/>
                  </a:lnTo>
                  <a:lnTo>
                    <a:pt x="72482" y="25351"/>
                  </a:lnTo>
                  <a:lnTo>
                    <a:pt x="68640" y="22628"/>
                  </a:lnTo>
                  <a:lnTo>
                    <a:pt x="67279" y="21963"/>
                  </a:lnTo>
                  <a:lnTo>
                    <a:pt x="66613" y="21781"/>
                  </a:lnTo>
                  <a:lnTo>
                    <a:pt x="65857" y="21751"/>
                  </a:lnTo>
                  <a:lnTo>
                    <a:pt x="63407" y="23203"/>
                  </a:lnTo>
                  <a:lnTo>
                    <a:pt x="60049" y="26228"/>
                  </a:lnTo>
                  <a:lnTo>
                    <a:pt x="58869" y="27317"/>
                  </a:lnTo>
                  <a:lnTo>
                    <a:pt x="56328" y="28497"/>
                  </a:lnTo>
                  <a:lnTo>
                    <a:pt x="53424" y="29374"/>
                  </a:lnTo>
                  <a:lnTo>
                    <a:pt x="46284" y="31643"/>
                  </a:lnTo>
                  <a:lnTo>
                    <a:pt x="36846" y="34577"/>
                  </a:lnTo>
                  <a:lnTo>
                    <a:pt x="34275" y="35939"/>
                  </a:lnTo>
                  <a:lnTo>
                    <a:pt x="32308" y="38147"/>
                  </a:lnTo>
                  <a:lnTo>
                    <a:pt x="31310" y="40809"/>
                  </a:lnTo>
                  <a:lnTo>
                    <a:pt x="30070" y="46950"/>
                  </a:lnTo>
                  <a:lnTo>
                    <a:pt x="29949" y="49763"/>
                  </a:lnTo>
                  <a:lnTo>
                    <a:pt x="30917" y="53515"/>
                  </a:lnTo>
                  <a:lnTo>
                    <a:pt x="31219" y="54694"/>
                  </a:lnTo>
                  <a:lnTo>
                    <a:pt x="30887" y="57266"/>
                  </a:lnTo>
                  <a:lnTo>
                    <a:pt x="30826" y="57689"/>
                  </a:lnTo>
                  <a:lnTo>
                    <a:pt x="29767" y="60019"/>
                  </a:lnTo>
                  <a:lnTo>
                    <a:pt x="28073" y="62681"/>
                  </a:lnTo>
                  <a:lnTo>
                    <a:pt x="27196" y="63589"/>
                  </a:lnTo>
                  <a:lnTo>
                    <a:pt x="26046" y="64768"/>
                  </a:lnTo>
                  <a:lnTo>
                    <a:pt x="23868" y="65464"/>
                  </a:lnTo>
                  <a:lnTo>
                    <a:pt x="22900" y="64829"/>
                  </a:lnTo>
                  <a:lnTo>
                    <a:pt x="20994" y="62348"/>
                  </a:lnTo>
                  <a:lnTo>
                    <a:pt x="20026" y="61803"/>
                  </a:lnTo>
                  <a:lnTo>
                    <a:pt x="19391" y="62227"/>
                  </a:lnTo>
                  <a:lnTo>
                    <a:pt x="18302" y="64103"/>
                  </a:lnTo>
                  <a:lnTo>
                    <a:pt x="17546" y="64678"/>
                  </a:lnTo>
                  <a:lnTo>
                    <a:pt x="15912" y="64738"/>
                  </a:lnTo>
                  <a:lnTo>
                    <a:pt x="14702" y="64133"/>
                  </a:lnTo>
                  <a:lnTo>
                    <a:pt x="12373" y="61864"/>
                  </a:lnTo>
                  <a:lnTo>
                    <a:pt x="9801" y="63286"/>
                  </a:lnTo>
                  <a:lnTo>
                    <a:pt x="9711" y="65373"/>
                  </a:lnTo>
                  <a:lnTo>
                    <a:pt x="9680" y="66039"/>
                  </a:lnTo>
                  <a:lnTo>
                    <a:pt x="10497" y="69155"/>
                  </a:lnTo>
                  <a:lnTo>
                    <a:pt x="10648" y="70909"/>
                  </a:lnTo>
                  <a:lnTo>
                    <a:pt x="10739" y="71726"/>
                  </a:lnTo>
                  <a:lnTo>
                    <a:pt x="10074" y="72815"/>
                  </a:lnTo>
                  <a:lnTo>
                    <a:pt x="7744" y="74933"/>
                  </a:lnTo>
                  <a:lnTo>
                    <a:pt x="6746" y="76113"/>
                  </a:lnTo>
                  <a:lnTo>
                    <a:pt x="5959" y="77776"/>
                  </a:lnTo>
                  <a:lnTo>
                    <a:pt x="5657" y="79077"/>
                  </a:lnTo>
                  <a:lnTo>
                    <a:pt x="6443" y="88001"/>
                  </a:lnTo>
                  <a:lnTo>
                    <a:pt x="6958" y="90633"/>
                  </a:lnTo>
                  <a:lnTo>
                    <a:pt x="9105" y="96381"/>
                  </a:lnTo>
                  <a:lnTo>
                    <a:pt x="9105" y="97198"/>
                  </a:lnTo>
                  <a:lnTo>
                    <a:pt x="9105" y="97440"/>
                  </a:lnTo>
                  <a:lnTo>
                    <a:pt x="8561" y="98741"/>
                  </a:lnTo>
                  <a:lnTo>
                    <a:pt x="7714" y="99527"/>
                  </a:lnTo>
                  <a:lnTo>
                    <a:pt x="6353" y="100314"/>
                  </a:lnTo>
                  <a:lnTo>
                    <a:pt x="4901" y="100858"/>
                  </a:lnTo>
                  <a:lnTo>
                    <a:pt x="0" y="101856"/>
                  </a:lnTo>
                  <a:lnTo>
                    <a:pt x="363" y="103611"/>
                  </a:lnTo>
                  <a:lnTo>
                    <a:pt x="60" y="106939"/>
                  </a:lnTo>
                  <a:lnTo>
                    <a:pt x="786" y="108754"/>
                  </a:lnTo>
                  <a:lnTo>
                    <a:pt x="1905" y="109238"/>
                  </a:lnTo>
                  <a:lnTo>
                    <a:pt x="2692" y="109964"/>
                  </a:lnTo>
                  <a:lnTo>
                    <a:pt x="3751" y="111870"/>
                  </a:lnTo>
                  <a:lnTo>
                    <a:pt x="3963" y="112233"/>
                  </a:lnTo>
                  <a:lnTo>
                    <a:pt x="4295" y="113171"/>
                  </a:lnTo>
                  <a:lnTo>
                    <a:pt x="4507" y="115167"/>
                  </a:lnTo>
                  <a:lnTo>
                    <a:pt x="4689" y="115833"/>
                  </a:lnTo>
                  <a:lnTo>
                    <a:pt x="5415" y="116407"/>
                  </a:lnTo>
                  <a:lnTo>
                    <a:pt x="7079" y="116649"/>
                  </a:lnTo>
                  <a:lnTo>
                    <a:pt x="7835" y="117103"/>
                  </a:lnTo>
                  <a:lnTo>
                    <a:pt x="9045" y="118676"/>
                  </a:lnTo>
                  <a:lnTo>
                    <a:pt x="9559" y="119917"/>
                  </a:lnTo>
                  <a:lnTo>
                    <a:pt x="9650" y="120189"/>
                  </a:lnTo>
                  <a:lnTo>
                    <a:pt x="9620" y="121853"/>
                  </a:lnTo>
                  <a:lnTo>
                    <a:pt x="8924" y="123910"/>
                  </a:lnTo>
                  <a:lnTo>
                    <a:pt x="7956" y="125574"/>
                  </a:lnTo>
                  <a:lnTo>
                    <a:pt x="6655" y="127117"/>
                  </a:lnTo>
                  <a:lnTo>
                    <a:pt x="5233" y="127933"/>
                  </a:lnTo>
                  <a:lnTo>
                    <a:pt x="3781" y="127510"/>
                  </a:lnTo>
                  <a:lnTo>
                    <a:pt x="3418" y="129899"/>
                  </a:lnTo>
                  <a:lnTo>
                    <a:pt x="3388" y="130172"/>
                  </a:lnTo>
                  <a:lnTo>
                    <a:pt x="3902" y="133863"/>
                  </a:lnTo>
                  <a:lnTo>
                    <a:pt x="5627" y="140487"/>
                  </a:lnTo>
                  <a:lnTo>
                    <a:pt x="6897" y="143603"/>
                  </a:lnTo>
                  <a:lnTo>
                    <a:pt x="10618" y="148444"/>
                  </a:lnTo>
                  <a:lnTo>
                    <a:pt x="12191" y="151287"/>
                  </a:lnTo>
                  <a:lnTo>
                    <a:pt x="12705" y="154040"/>
                  </a:lnTo>
                  <a:lnTo>
                    <a:pt x="12645" y="156218"/>
                  </a:lnTo>
                  <a:lnTo>
                    <a:pt x="13371" y="157882"/>
                  </a:lnTo>
                  <a:lnTo>
                    <a:pt x="15428" y="158759"/>
                  </a:lnTo>
                  <a:lnTo>
                    <a:pt x="16215" y="159122"/>
                  </a:lnTo>
                  <a:lnTo>
                    <a:pt x="17576" y="159244"/>
                  </a:lnTo>
                  <a:lnTo>
                    <a:pt x="18847" y="159183"/>
                  </a:lnTo>
                  <a:lnTo>
                    <a:pt x="19088" y="159213"/>
                  </a:lnTo>
                  <a:lnTo>
                    <a:pt x="20026" y="159364"/>
                  </a:lnTo>
                  <a:lnTo>
                    <a:pt x="21115" y="160121"/>
                  </a:lnTo>
                  <a:lnTo>
                    <a:pt x="22114" y="162087"/>
                  </a:lnTo>
                  <a:lnTo>
                    <a:pt x="24080" y="170073"/>
                  </a:lnTo>
                  <a:lnTo>
                    <a:pt x="26016" y="177092"/>
                  </a:lnTo>
                  <a:lnTo>
                    <a:pt x="27468" y="179935"/>
                  </a:lnTo>
                  <a:lnTo>
                    <a:pt x="28829" y="180964"/>
                  </a:lnTo>
                  <a:lnTo>
                    <a:pt x="29858" y="181781"/>
                  </a:lnTo>
                  <a:lnTo>
                    <a:pt x="32399" y="182295"/>
                  </a:lnTo>
                  <a:lnTo>
                    <a:pt x="34154" y="181660"/>
                  </a:lnTo>
                  <a:lnTo>
                    <a:pt x="37511" y="179058"/>
                  </a:lnTo>
                  <a:lnTo>
                    <a:pt x="39478" y="178605"/>
                  </a:lnTo>
                  <a:lnTo>
                    <a:pt x="39569" y="178605"/>
                  </a:lnTo>
                  <a:lnTo>
                    <a:pt x="44893" y="179300"/>
                  </a:lnTo>
                  <a:lnTo>
                    <a:pt x="49885" y="180661"/>
                  </a:lnTo>
                  <a:lnTo>
                    <a:pt x="51548" y="182174"/>
                  </a:lnTo>
                  <a:lnTo>
                    <a:pt x="52395" y="184473"/>
                  </a:lnTo>
                  <a:lnTo>
                    <a:pt x="52426" y="187710"/>
                  </a:lnTo>
                  <a:lnTo>
                    <a:pt x="67219" y="187166"/>
                  </a:lnTo>
                  <a:lnTo>
                    <a:pt x="74358" y="185169"/>
                  </a:lnTo>
                  <a:lnTo>
                    <a:pt x="76959" y="185320"/>
                  </a:lnTo>
                  <a:lnTo>
                    <a:pt x="80680" y="186016"/>
                  </a:lnTo>
                  <a:lnTo>
                    <a:pt x="82193" y="186318"/>
                  </a:lnTo>
                  <a:lnTo>
                    <a:pt x="85672" y="186318"/>
                  </a:lnTo>
                  <a:lnTo>
                    <a:pt x="89060" y="185653"/>
                  </a:lnTo>
                  <a:lnTo>
                    <a:pt x="90633" y="184836"/>
                  </a:lnTo>
                  <a:lnTo>
                    <a:pt x="94293" y="181478"/>
                  </a:lnTo>
                  <a:lnTo>
                    <a:pt x="96683" y="180480"/>
                  </a:lnTo>
                  <a:lnTo>
                    <a:pt x="99134" y="180450"/>
                  </a:lnTo>
                  <a:lnTo>
                    <a:pt x="106818" y="181448"/>
                  </a:lnTo>
                  <a:lnTo>
                    <a:pt x="107211" y="181478"/>
                  </a:lnTo>
                  <a:lnTo>
                    <a:pt x="111627" y="185139"/>
                  </a:lnTo>
                  <a:lnTo>
                    <a:pt x="114441" y="185653"/>
                  </a:lnTo>
                  <a:lnTo>
                    <a:pt x="115348" y="185108"/>
                  </a:lnTo>
                  <a:lnTo>
                    <a:pt x="117678" y="182961"/>
                  </a:lnTo>
                  <a:lnTo>
                    <a:pt x="118707" y="182204"/>
                  </a:lnTo>
                  <a:lnTo>
                    <a:pt x="119281" y="182144"/>
                  </a:lnTo>
                  <a:lnTo>
                    <a:pt x="120733" y="182204"/>
                  </a:lnTo>
                  <a:lnTo>
                    <a:pt x="121217" y="182053"/>
                  </a:lnTo>
                  <a:lnTo>
                    <a:pt x="121611" y="181387"/>
                  </a:lnTo>
                  <a:lnTo>
                    <a:pt x="121822" y="179784"/>
                  </a:lnTo>
                  <a:lnTo>
                    <a:pt x="122034" y="179300"/>
                  </a:lnTo>
                  <a:lnTo>
                    <a:pt x="124878" y="178120"/>
                  </a:lnTo>
                  <a:lnTo>
                    <a:pt x="130081" y="179209"/>
                  </a:lnTo>
                  <a:lnTo>
                    <a:pt x="132108" y="178786"/>
                  </a:lnTo>
                  <a:lnTo>
                    <a:pt x="132955" y="178605"/>
                  </a:lnTo>
                  <a:lnTo>
                    <a:pt x="134226" y="177425"/>
                  </a:lnTo>
                  <a:lnTo>
                    <a:pt x="134589" y="176033"/>
                  </a:lnTo>
                  <a:lnTo>
                    <a:pt x="134619" y="174702"/>
                  </a:lnTo>
                  <a:lnTo>
                    <a:pt x="134800" y="173704"/>
                  </a:lnTo>
                  <a:lnTo>
                    <a:pt x="135798" y="172554"/>
                  </a:lnTo>
                  <a:lnTo>
                    <a:pt x="139580" y="170134"/>
                  </a:lnTo>
                  <a:lnTo>
                    <a:pt x="139580" y="170104"/>
                  </a:lnTo>
                  <a:lnTo>
                    <a:pt x="139580" y="170104"/>
                  </a:lnTo>
                  <a:lnTo>
                    <a:pt x="139610" y="170104"/>
                  </a:lnTo>
                  <a:lnTo>
                    <a:pt x="140972" y="167805"/>
                  </a:lnTo>
                  <a:lnTo>
                    <a:pt x="144541" y="164628"/>
                  </a:lnTo>
                  <a:lnTo>
                    <a:pt x="145933" y="162752"/>
                  </a:lnTo>
                  <a:lnTo>
                    <a:pt x="146114" y="161815"/>
                  </a:lnTo>
                  <a:lnTo>
                    <a:pt x="146114" y="161422"/>
                  </a:lnTo>
                  <a:lnTo>
                    <a:pt x="146205" y="159364"/>
                  </a:lnTo>
                  <a:lnTo>
                    <a:pt x="146629" y="158215"/>
                  </a:lnTo>
                  <a:lnTo>
                    <a:pt x="147385" y="157398"/>
                  </a:lnTo>
                  <a:lnTo>
                    <a:pt x="149049" y="156249"/>
                  </a:lnTo>
                  <a:lnTo>
                    <a:pt x="149986" y="155643"/>
                  </a:lnTo>
                  <a:lnTo>
                    <a:pt x="153042" y="154101"/>
                  </a:lnTo>
                  <a:lnTo>
                    <a:pt x="159485" y="152376"/>
                  </a:lnTo>
                  <a:lnTo>
                    <a:pt x="159969" y="152044"/>
                  </a:lnTo>
                  <a:lnTo>
                    <a:pt x="160998" y="150985"/>
                  </a:lnTo>
                  <a:lnTo>
                    <a:pt x="161422" y="150743"/>
                  </a:lnTo>
                  <a:lnTo>
                    <a:pt x="162148" y="150985"/>
                  </a:lnTo>
                  <a:lnTo>
                    <a:pt x="162480" y="151590"/>
                  </a:lnTo>
                  <a:lnTo>
                    <a:pt x="162601" y="152195"/>
                  </a:lnTo>
                  <a:lnTo>
                    <a:pt x="162874" y="152527"/>
                  </a:lnTo>
                  <a:lnTo>
                    <a:pt x="166231" y="154191"/>
                  </a:lnTo>
                  <a:lnTo>
                    <a:pt x="166957" y="154464"/>
                  </a:lnTo>
                  <a:lnTo>
                    <a:pt x="169075" y="153768"/>
                  </a:lnTo>
                  <a:lnTo>
                    <a:pt x="172675" y="150743"/>
                  </a:lnTo>
                  <a:lnTo>
                    <a:pt x="174974" y="149745"/>
                  </a:lnTo>
                  <a:lnTo>
                    <a:pt x="177273" y="149563"/>
                  </a:lnTo>
                  <a:lnTo>
                    <a:pt x="178060" y="149654"/>
                  </a:lnTo>
                  <a:lnTo>
                    <a:pt x="179209" y="149775"/>
                  </a:lnTo>
                  <a:lnTo>
                    <a:pt x="183021" y="150894"/>
                  </a:lnTo>
                  <a:lnTo>
                    <a:pt x="186076" y="151287"/>
                  </a:lnTo>
                  <a:lnTo>
                    <a:pt x="187014" y="151529"/>
                  </a:lnTo>
                  <a:lnTo>
                    <a:pt x="187286" y="151983"/>
                  </a:lnTo>
                  <a:lnTo>
                    <a:pt x="187407" y="153617"/>
                  </a:lnTo>
                  <a:lnTo>
                    <a:pt x="187619" y="154040"/>
                  </a:lnTo>
                  <a:lnTo>
                    <a:pt x="188255" y="154101"/>
                  </a:lnTo>
                  <a:lnTo>
                    <a:pt x="189101" y="153587"/>
                  </a:lnTo>
                  <a:lnTo>
                    <a:pt x="191007" y="153556"/>
                  </a:lnTo>
                  <a:lnTo>
                    <a:pt x="193549" y="153133"/>
                  </a:lnTo>
                  <a:lnTo>
                    <a:pt x="194819" y="153193"/>
                  </a:lnTo>
                  <a:lnTo>
                    <a:pt x="195727" y="153617"/>
                  </a:lnTo>
                  <a:lnTo>
                    <a:pt x="197844" y="154887"/>
                  </a:lnTo>
                  <a:lnTo>
                    <a:pt x="198994" y="155280"/>
                  </a:lnTo>
                  <a:lnTo>
                    <a:pt x="201989" y="155402"/>
                  </a:lnTo>
                  <a:lnTo>
                    <a:pt x="203592" y="155250"/>
                  </a:lnTo>
                  <a:lnTo>
                    <a:pt x="205014" y="154917"/>
                  </a:lnTo>
                  <a:lnTo>
                    <a:pt x="206920" y="154373"/>
                  </a:lnTo>
                  <a:lnTo>
                    <a:pt x="208523" y="154373"/>
                  </a:lnTo>
                  <a:lnTo>
                    <a:pt x="211820" y="154827"/>
                  </a:lnTo>
                  <a:lnTo>
                    <a:pt x="214029" y="154706"/>
                  </a:lnTo>
                  <a:lnTo>
                    <a:pt x="215571" y="154131"/>
                  </a:lnTo>
                  <a:lnTo>
                    <a:pt x="215934" y="154010"/>
                  </a:lnTo>
                  <a:lnTo>
                    <a:pt x="217659" y="152679"/>
                  </a:lnTo>
                  <a:lnTo>
                    <a:pt x="219383" y="150652"/>
                  </a:lnTo>
                  <a:lnTo>
                    <a:pt x="219625" y="149654"/>
                  </a:lnTo>
                  <a:lnTo>
                    <a:pt x="219534" y="148534"/>
                  </a:lnTo>
                  <a:lnTo>
                    <a:pt x="219867" y="147657"/>
                  </a:lnTo>
                  <a:lnTo>
                    <a:pt x="221410" y="147264"/>
                  </a:lnTo>
                  <a:lnTo>
                    <a:pt x="222590" y="147536"/>
                  </a:lnTo>
                  <a:lnTo>
                    <a:pt x="222681" y="147657"/>
                  </a:lnTo>
                  <a:lnTo>
                    <a:pt x="223165" y="148232"/>
                  </a:lnTo>
                  <a:lnTo>
                    <a:pt x="223618" y="149200"/>
                  </a:lnTo>
                  <a:lnTo>
                    <a:pt x="224405" y="150138"/>
                  </a:lnTo>
                  <a:lnTo>
                    <a:pt x="226190" y="151620"/>
                  </a:lnTo>
                  <a:lnTo>
                    <a:pt x="227491" y="152225"/>
                  </a:lnTo>
                  <a:lnTo>
                    <a:pt x="228580" y="151499"/>
                  </a:lnTo>
                  <a:lnTo>
                    <a:pt x="229729" y="149019"/>
                  </a:lnTo>
                  <a:lnTo>
                    <a:pt x="230697" y="144299"/>
                  </a:lnTo>
                  <a:lnTo>
                    <a:pt x="231121" y="134589"/>
                  </a:lnTo>
                  <a:lnTo>
                    <a:pt x="231211" y="134165"/>
                  </a:lnTo>
                  <a:lnTo>
                    <a:pt x="232149" y="130716"/>
                  </a:lnTo>
                  <a:lnTo>
                    <a:pt x="233269" y="129809"/>
                  </a:lnTo>
                  <a:lnTo>
                    <a:pt x="235144" y="128266"/>
                  </a:lnTo>
                  <a:lnTo>
                    <a:pt x="236747" y="128024"/>
                  </a:lnTo>
                  <a:lnTo>
                    <a:pt x="239682" y="127540"/>
                  </a:lnTo>
                  <a:lnTo>
                    <a:pt x="248818" y="128175"/>
                  </a:lnTo>
                  <a:lnTo>
                    <a:pt x="251238" y="126451"/>
                  </a:lnTo>
                  <a:lnTo>
                    <a:pt x="251601" y="124152"/>
                  </a:lnTo>
                  <a:lnTo>
                    <a:pt x="251087" y="121580"/>
                  </a:lnTo>
                  <a:lnTo>
                    <a:pt x="250875" y="118948"/>
                  </a:lnTo>
                  <a:lnTo>
                    <a:pt x="251208" y="118192"/>
                  </a:lnTo>
                  <a:lnTo>
                    <a:pt x="252357" y="116861"/>
                  </a:lnTo>
                  <a:lnTo>
                    <a:pt x="252629" y="116286"/>
                  </a:lnTo>
                  <a:lnTo>
                    <a:pt x="252509" y="115591"/>
                  </a:lnTo>
                  <a:lnTo>
                    <a:pt x="251934" y="114320"/>
                  </a:lnTo>
                  <a:lnTo>
                    <a:pt x="251783" y="113715"/>
                  </a:lnTo>
                  <a:lnTo>
                    <a:pt x="251510" y="105124"/>
                  </a:lnTo>
                  <a:lnTo>
                    <a:pt x="251450" y="103218"/>
                  </a:lnTo>
                  <a:lnTo>
                    <a:pt x="251934" y="101161"/>
                  </a:lnTo>
                  <a:lnTo>
                    <a:pt x="252024" y="100435"/>
                  </a:lnTo>
                  <a:lnTo>
                    <a:pt x="251813" y="99618"/>
                  </a:lnTo>
                  <a:lnTo>
                    <a:pt x="250845" y="98257"/>
                  </a:lnTo>
                  <a:lnTo>
                    <a:pt x="250512" y="97531"/>
                  </a:lnTo>
                  <a:lnTo>
                    <a:pt x="250361" y="95897"/>
                  </a:lnTo>
                  <a:lnTo>
                    <a:pt x="250451" y="94112"/>
                  </a:lnTo>
                  <a:lnTo>
                    <a:pt x="250754" y="92418"/>
                  </a:lnTo>
                  <a:lnTo>
                    <a:pt x="251238" y="90996"/>
                  </a:lnTo>
                  <a:lnTo>
                    <a:pt x="251722" y="90573"/>
                  </a:lnTo>
                  <a:lnTo>
                    <a:pt x="253325" y="90149"/>
                  </a:lnTo>
                  <a:lnTo>
                    <a:pt x="253870" y="89816"/>
                  </a:lnTo>
                  <a:lnTo>
                    <a:pt x="254203" y="89211"/>
                  </a:lnTo>
                  <a:lnTo>
                    <a:pt x="254838" y="87427"/>
                  </a:lnTo>
                  <a:lnTo>
                    <a:pt x="255715" y="86095"/>
                  </a:lnTo>
                  <a:lnTo>
                    <a:pt x="257046" y="84129"/>
                  </a:lnTo>
                  <a:lnTo>
                    <a:pt x="258166" y="81255"/>
                  </a:lnTo>
                  <a:lnTo>
                    <a:pt x="258075" y="78351"/>
                  </a:lnTo>
                  <a:close/>
                </a:path>
              </a:pathLst>
            </a:custGeom>
            <a:solidFill>
              <a:srgbClr val="96A3AC"/>
            </a:solidFill>
            <a:ln w="3175" cap="rnd">
              <a:solidFill>
                <a:schemeClr val="bg1"/>
              </a:solidFill>
              <a:prstDash val="solid"/>
              <a:round/>
            </a:ln>
          </p:spPr>
          <p:txBody>
            <a:bodyPr rtlCol="0" anchor="ctr"/>
            <a:lstStyle/>
            <a:p>
              <a:endParaRPr lang="en-ID"/>
            </a:p>
          </p:txBody>
        </p:sp>
        <p:sp>
          <p:nvSpPr>
            <p:cNvPr id="34" name="Freeform: Shape 33">
              <a:extLst>
                <a:ext uri="{FF2B5EF4-FFF2-40B4-BE49-F238E27FC236}">
                  <a16:creationId xmlns:a16="http://schemas.microsoft.com/office/drawing/2014/main" id="{CCA5CF2A-E85E-C763-7A73-76553C15B66B}"/>
                </a:ext>
              </a:extLst>
            </p:cNvPr>
            <p:cNvSpPr/>
            <p:nvPr/>
          </p:nvSpPr>
          <p:spPr>
            <a:xfrm>
              <a:off x="8603872" y="4032530"/>
              <a:ext cx="61606" cy="81594"/>
            </a:xfrm>
            <a:custGeom>
              <a:avLst/>
              <a:gdLst>
                <a:gd name="connsiteX0" fmla="*/ 78714 w 79258"/>
                <a:gd name="connsiteY0" fmla="*/ 53938 h 104972"/>
                <a:gd name="connsiteX1" fmla="*/ 78321 w 79258"/>
                <a:gd name="connsiteY1" fmla="*/ 53908 h 104972"/>
                <a:gd name="connsiteX2" fmla="*/ 75235 w 79258"/>
                <a:gd name="connsiteY2" fmla="*/ 53061 h 104972"/>
                <a:gd name="connsiteX3" fmla="*/ 70395 w 79258"/>
                <a:gd name="connsiteY3" fmla="*/ 53061 h 104972"/>
                <a:gd name="connsiteX4" fmla="*/ 68641 w 79258"/>
                <a:gd name="connsiteY4" fmla="*/ 52607 h 104972"/>
                <a:gd name="connsiteX5" fmla="*/ 66946 w 79258"/>
                <a:gd name="connsiteY5" fmla="*/ 51639 h 104972"/>
                <a:gd name="connsiteX6" fmla="*/ 64042 w 79258"/>
                <a:gd name="connsiteY6" fmla="*/ 49068 h 104972"/>
                <a:gd name="connsiteX7" fmla="*/ 62348 w 79258"/>
                <a:gd name="connsiteY7" fmla="*/ 48070 h 104972"/>
                <a:gd name="connsiteX8" fmla="*/ 61471 w 79258"/>
                <a:gd name="connsiteY8" fmla="*/ 48070 h 104972"/>
                <a:gd name="connsiteX9" fmla="*/ 59959 w 79258"/>
                <a:gd name="connsiteY9" fmla="*/ 48917 h 104972"/>
                <a:gd name="connsiteX10" fmla="*/ 59142 w 79258"/>
                <a:gd name="connsiteY10" fmla="*/ 48826 h 104972"/>
                <a:gd name="connsiteX11" fmla="*/ 59051 w 79258"/>
                <a:gd name="connsiteY11" fmla="*/ 48342 h 104972"/>
                <a:gd name="connsiteX12" fmla="*/ 58446 w 79258"/>
                <a:gd name="connsiteY12" fmla="*/ 46890 h 104972"/>
                <a:gd name="connsiteX13" fmla="*/ 58022 w 79258"/>
                <a:gd name="connsiteY13" fmla="*/ 45892 h 104972"/>
                <a:gd name="connsiteX14" fmla="*/ 57538 w 79258"/>
                <a:gd name="connsiteY14" fmla="*/ 45105 h 104972"/>
                <a:gd name="connsiteX15" fmla="*/ 56086 w 79258"/>
                <a:gd name="connsiteY15" fmla="*/ 44228 h 104972"/>
                <a:gd name="connsiteX16" fmla="*/ 52668 w 79258"/>
                <a:gd name="connsiteY16" fmla="*/ 42836 h 104972"/>
                <a:gd name="connsiteX17" fmla="*/ 51095 w 79258"/>
                <a:gd name="connsiteY17" fmla="*/ 41354 h 104972"/>
                <a:gd name="connsiteX18" fmla="*/ 47797 w 79258"/>
                <a:gd name="connsiteY18" fmla="*/ 34033 h 104972"/>
                <a:gd name="connsiteX19" fmla="*/ 46073 w 79258"/>
                <a:gd name="connsiteY19" fmla="*/ 31462 h 104972"/>
                <a:gd name="connsiteX20" fmla="*/ 44984 w 79258"/>
                <a:gd name="connsiteY20" fmla="*/ 33428 h 104972"/>
                <a:gd name="connsiteX21" fmla="*/ 44167 w 79258"/>
                <a:gd name="connsiteY21" fmla="*/ 32157 h 104972"/>
                <a:gd name="connsiteX22" fmla="*/ 42654 w 79258"/>
                <a:gd name="connsiteY22" fmla="*/ 28134 h 104972"/>
                <a:gd name="connsiteX23" fmla="*/ 40930 w 79258"/>
                <a:gd name="connsiteY23" fmla="*/ 25683 h 104972"/>
                <a:gd name="connsiteX24" fmla="*/ 40476 w 79258"/>
                <a:gd name="connsiteY24" fmla="*/ 24534 h 104972"/>
                <a:gd name="connsiteX25" fmla="*/ 40749 w 79258"/>
                <a:gd name="connsiteY25" fmla="*/ 22930 h 104972"/>
                <a:gd name="connsiteX26" fmla="*/ 40144 w 79258"/>
                <a:gd name="connsiteY26" fmla="*/ 19936 h 104972"/>
                <a:gd name="connsiteX27" fmla="*/ 39478 w 79258"/>
                <a:gd name="connsiteY27" fmla="*/ 18756 h 104972"/>
                <a:gd name="connsiteX28" fmla="*/ 38389 w 79258"/>
                <a:gd name="connsiteY28" fmla="*/ 18181 h 104972"/>
                <a:gd name="connsiteX29" fmla="*/ 39327 w 79258"/>
                <a:gd name="connsiteY29" fmla="*/ 16487 h 104972"/>
                <a:gd name="connsiteX30" fmla="*/ 39690 w 79258"/>
                <a:gd name="connsiteY30" fmla="*/ 16033 h 104972"/>
                <a:gd name="connsiteX31" fmla="*/ 39478 w 79258"/>
                <a:gd name="connsiteY31" fmla="*/ 16003 h 104972"/>
                <a:gd name="connsiteX32" fmla="*/ 38873 w 79258"/>
                <a:gd name="connsiteY32" fmla="*/ 16064 h 104972"/>
                <a:gd name="connsiteX33" fmla="*/ 38692 w 79258"/>
                <a:gd name="connsiteY33" fmla="*/ 15943 h 104972"/>
                <a:gd name="connsiteX34" fmla="*/ 39327 w 79258"/>
                <a:gd name="connsiteY34" fmla="*/ 11919 h 104972"/>
                <a:gd name="connsiteX35" fmla="*/ 39811 w 79258"/>
                <a:gd name="connsiteY35" fmla="*/ 9923 h 104972"/>
                <a:gd name="connsiteX36" fmla="*/ 40507 w 79258"/>
                <a:gd name="connsiteY36" fmla="*/ 7835 h 104972"/>
                <a:gd name="connsiteX37" fmla="*/ 39024 w 79258"/>
                <a:gd name="connsiteY37" fmla="*/ 7230 h 104972"/>
                <a:gd name="connsiteX38" fmla="*/ 38783 w 79258"/>
                <a:gd name="connsiteY38" fmla="*/ 6081 h 104972"/>
                <a:gd name="connsiteX39" fmla="*/ 38903 w 79258"/>
                <a:gd name="connsiteY39" fmla="*/ 4719 h 104972"/>
                <a:gd name="connsiteX40" fmla="*/ 38450 w 79258"/>
                <a:gd name="connsiteY40" fmla="*/ 3388 h 104972"/>
                <a:gd name="connsiteX41" fmla="*/ 37149 w 79258"/>
                <a:gd name="connsiteY41" fmla="*/ 2239 h 104972"/>
                <a:gd name="connsiteX42" fmla="*/ 36393 w 79258"/>
                <a:gd name="connsiteY42" fmla="*/ 2329 h 104972"/>
                <a:gd name="connsiteX43" fmla="*/ 35727 w 79258"/>
                <a:gd name="connsiteY43" fmla="*/ 2965 h 104972"/>
                <a:gd name="connsiteX44" fmla="*/ 34880 w 79258"/>
                <a:gd name="connsiteY44" fmla="*/ 3479 h 104972"/>
                <a:gd name="connsiteX45" fmla="*/ 32581 w 79258"/>
                <a:gd name="connsiteY45" fmla="*/ 3812 h 104972"/>
                <a:gd name="connsiteX46" fmla="*/ 31431 w 79258"/>
                <a:gd name="connsiteY46" fmla="*/ 3660 h 104972"/>
                <a:gd name="connsiteX47" fmla="*/ 31008 w 79258"/>
                <a:gd name="connsiteY47" fmla="*/ 3449 h 104972"/>
                <a:gd name="connsiteX48" fmla="*/ 30100 w 79258"/>
                <a:gd name="connsiteY48" fmla="*/ 3055 h 104972"/>
                <a:gd name="connsiteX49" fmla="*/ 29495 w 79258"/>
                <a:gd name="connsiteY49" fmla="*/ 1997 h 104972"/>
                <a:gd name="connsiteX50" fmla="*/ 29162 w 79258"/>
                <a:gd name="connsiteY50" fmla="*/ 635 h 104972"/>
                <a:gd name="connsiteX51" fmla="*/ 28527 w 79258"/>
                <a:gd name="connsiteY51" fmla="*/ 0 h 104972"/>
                <a:gd name="connsiteX52" fmla="*/ 26984 w 79258"/>
                <a:gd name="connsiteY52" fmla="*/ 1119 h 104972"/>
                <a:gd name="connsiteX53" fmla="*/ 24837 w 79258"/>
                <a:gd name="connsiteY53" fmla="*/ 1331 h 104972"/>
                <a:gd name="connsiteX54" fmla="*/ 23959 w 79258"/>
                <a:gd name="connsiteY54" fmla="*/ 2662 h 104972"/>
                <a:gd name="connsiteX55" fmla="*/ 23566 w 79258"/>
                <a:gd name="connsiteY55" fmla="*/ 4629 h 104972"/>
                <a:gd name="connsiteX56" fmla="*/ 22749 w 79258"/>
                <a:gd name="connsiteY56" fmla="*/ 6716 h 104972"/>
                <a:gd name="connsiteX57" fmla="*/ 21267 w 79258"/>
                <a:gd name="connsiteY57" fmla="*/ 8138 h 104972"/>
                <a:gd name="connsiteX58" fmla="*/ 17516 w 79258"/>
                <a:gd name="connsiteY58" fmla="*/ 9832 h 104972"/>
                <a:gd name="connsiteX59" fmla="*/ 15852 w 79258"/>
                <a:gd name="connsiteY59" fmla="*/ 11253 h 104972"/>
                <a:gd name="connsiteX60" fmla="*/ 15489 w 79258"/>
                <a:gd name="connsiteY60" fmla="*/ 12161 h 104972"/>
                <a:gd name="connsiteX61" fmla="*/ 15277 w 79258"/>
                <a:gd name="connsiteY61" fmla="*/ 14491 h 104972"/>
                <a:gd name="connsiteX62" fmla="*/ 15035 w 79258"/>
                <a:gd name="connsiteY62" fmla="*/ 15458 h 104972"/>
                <a:gd name="connsiteX63" fmla="*/ 14430 w 79258"/>
                <a:gd name="connsiteY63" fmla="*/ 16306 h 104972"/>
                <a:gd name="connsiteX64" fmla="*/ 12948 w 79258"/>
                <a:gd name="connsiteY64" fmla="*/ 17455 h 104972"/>
                <a:gd name="connsiteX65" fmla="*/ 12373 w 79258"/>
                <a:gd name="connsiteY65" fmla="*/ 18362 h 104972"/>
                <a:gd name="connsiteX66" fmla="*/ 12464 w 79258"/>
                <a:gd name="connsiteY66" fmla="*/ 19996 h 104972"/>
                <a:gd name="connsiteX67" fmla="*/ 12464 w 79258"/>
                <a:gd name="connsiteY67" fmla="*/ 21358 h 104972"/>
                <a:gd name="connsiteX68" fmla="*/ 12222 w 79258"/>
                <a:gd name="connsiteY68" fmla="*/ 22507 h 104972"/>
                <a:gd name="connsiteX69" fmla="*/ 11496 w 79258"/>
                <a:gd name="connsiteY69" fmla="*/ 23203 h 104972"/>
                <a:gd name="connsiteX70" fmla="*/ 9469 w 79258"/>
                <a:gd name="connsiteY70" fmla="*/ 24050 h 104972"/>
                <a:gd name="connsiteX71" fmla="*/ 8834 w 79258"/>
                <a:gd name="connsiteY71" fmla="*/ 24806 h 104972"/>
                <a:gd name="connsiteX72" fmla="*/ 8712 w 79258"/>
                <a:gd name="connsiteY72" fmla="*/ 26803 h 104972"/>
                <a:gd name="connsiteX73" fmla="*/ 9408 w 79258"/>
                <a:gd name="connsiteY73" fmla="*/ 27589 h 104972"/>
                <a:gd name="connsiteX74" fmla="*/ 9832 w 79258"/>
                <a:gd name="connsiteY74" fmla="*/ 28376 h 104972"/>
                <a:gd name="connsiteX75" fmla="*/ 8743 w 79258"/>
                <a:gd name="connsiteY75" fmla="*/ 30342 h 104972"/>
                <a:gd name="connsiteX76" fmla="*/ 7896 w 79258"/>
                <a:gd name="connsiteY76" fmla="*/ 31099 h 104972"/>
                <a:gd name="connsiteX77" fmla="*/ 6413 w 79258"/>
                <a:gd name="connsiteY77" fmla="*/ 31401 h 104972"/>
                <a:gd name="connsiteX78" fmla="*/ 5687 w 79258"/>
                <a:gd name="connsiteY78" fmla="*/ 31825 h 104972"/>
                <a:gd name="connsiteX79" fmla="*/ 4901 w 79258"/>
                <a:gd name="connsiteY79" fmla="*/ 32792 h 104972"/>
                <a:gd name="connsiteX80" fmla="*/ 4538 w 79258"/>
                <a:gd name="connsiteY80" fmla="*/ 33549 h 104972"/>
                <a:gd name="connsiteX81" fmla="*/ 4296 w 79258"/>
                <a:gd name="connsiteY81" fmla="*/ 34275 h 104972"/>
                <a:gd name="connsiteX82" fmla="*/ 3903 w 79258"/>
                <a:gd name="connsiteY82" fmla="*/ 35182 h 104972"/>
                <a:gd name="connsiteX83" fmla="*/ 393 w 79258"/>
                <a:gd name="connsiteY83" fmla="*/ 40749 h 104972"/>
                <a:gd name="connsiteX84" fmla="*/ 0 w 79258"/>
                <a:gd name="connsiteY84" fmla="*/ 42110 h 104972"/>
                <a:gd name="connsiteX85" fmla="*/ 1180 w 79258"/>
                <a:gd name="connsiteY85" fmla="*/ 42654 h 104972"/>
                <a:gd name="connsiteX86" fmla="*/ 3418 w 79258"/>
                <a:gd name="connsiteY86" fmla="*/ 44197 h 104972"/>
                <a:gd name="connsiteX87" fmla="*/ 4356 w 79258"/>
                <a:gd name="connsiteY87" fmla="*/ 45498 h 104972"/>
                <a:gd name="connsiteX88" fmla="*/ 1694 w 79258"/>
                <a:gd name="connsiteY88" fmla="*/ 45256 h 104972"/>
                <a:gd name="connsiteX89" fmla="*/ 1725 w 79258"/>
                <a:gd name="connsiteY89" fmla="*/ 46073 h 104972"/>
                <a:gd name="connsiteX90" fmla="*/ 1573 w 79258"/>
                <a:gd name="connsiteY90" fmla="*/ 46527 h 104972"/>
                <a:gd name="connsiteX91" fmla="*/ 1392 w 79258"/>
                <a:gd name="connsiteY91" fmla="*/ 46859 h 104972"/>
                <a:gd name="connsiteX92" fmla="*/ 1210 w 79258"/>
                <a:gd name="connsiteY92" fmla="*/ 47374 h 104972"/>
                <a:gd name="connsiteX93" fmla="*/ 2178 w 79258"/>
                <a:gd name="connsiteY93" fmla="*/ 48191 h 104972"/>
                <a:gd name="connsiteX94" fmla="*/ 968 w 79258"/>
                <a:gd name="connsiteY94" fmla="*/ 48947 h 104972"/>
                <a:gd name="connsiteX95" fmla="*/ 545 w 79258"/>
                <a:gd name="connsiteY95" fmla="*/ 50308 h 104972"/>
                <a:gd name="connsiteX96" fmla="*/ 665 w 79258"/>
                <a:gd name="connsiteY96" fmla="*/ 52002 h 104972"/>
                <a:gd name="connsiteX97" fmla="*/ 1301 w 79258"/>
                <a:gd name="connsiteY97" fmla="*/ 53817 h 104972"/>
                <a:gd name="connsiteX98" fmla="*/ 2360 w 79258"/>
                <a:gd name="connsiteY98" fmla="*/ 55451 h 104972"/>
                <a:gd name="connsiteX99" fmla="*/ 3358 w 79258"/>
                <a:gd name="connsiteY99" fmla="*/ 55905 h 104972"/>
                <a:gd name="connsiteX100" fmla="*/ 4447 w 79258"/>
                <a:gd name="connsiteY100" fmla="*/ 56086 h 104972"/>
                <a:gd name="connsiteX101" fmla="*/ 5748 w 79258"/>
                <a:gd name="connsiteY101" fmla="*/ 56782 h 104972"/>
                <a:gd name="connsiteX102" fmla="*/ 6383 w 79258"/>
                <a:gd name="connsiteY102" fmla="*/ 57689 h 104972"/>
                <a:gd name="connsiteX103" fmla="*/ 8773 w 79258"/>
                <a:gd name="connsiteY103" fmla="*/ 62015 h 104972"/>
                <a:gd name="connsiteX104" fmla="*/ 8924 w 79258"/>
                <a:gd name="connsiteY104" fmla="*/ 62681 h 104972"/>
                <a:gd name="connsiteX105" fmla="*/ 9136 w 79258"/>
                <a:gd name="connsiteY105" fmla="*/ 64678 h 104972"/>
                <a:gd name="connsiteX106" fmla="*/ 9106 w 79258"/>
                <a:gd name="connsiteY106" fmla="*/ 65010 h 104972"/>
                <a:gd name="connsiteX107" fmla="*/ 9741 w 79258"/>
                <a:gd name="connsiteY107" fmla="*/ 65494 h 104972"/>
                <a:gd name="connsiteX108" fmla="*/ 11163 w 79258"/>
                <a:gd name="connsiteY108" fmla="*/ 65888 h 104972"/>
                <a:gd name="connsiteX109" fmla="*/ 11768 w 79258"/>
                <a:gd name="connsiteY109" fmla="*/ 66190 h 104972"/>
                <a:gd name="connsiteX110" fmla="*/ 12313 w 79258"/>
                <a:gd name="connsiteY110" fmla="*/ 66281 h 104972"/>
                <a:gd name="connsiteX111" fmla="*/ 12948 w 79258"/>
                <a:gd name="connsiteY111" fmla="*/ 66099 h 104972"/>
                <a:gd name="connsiteX112" fmla="*/ 13613 w 79258"/>
                <a:gd name="connsiteY112" fmla="*/ 66130 h 104972"/>
                <a:gd name="connsiteX113" fmla="*/ 14218 w 79258"/>
                <a:gd name="connsiteY113" fmla="*/ 66977 h 104972"/>
                <a:gd name="connsiteX114" fmla="*/ 14249 w 79258"/>
                <a:gd name="connsiteY114" fmla="*/ 67309 h 104972"/>
                <a:gd name="connsiteX115" fmla="*/ 14339 w 79258"/>
                <a:gd name="connsiteY115" fmla="*/ 68066 h 104972"/>
                <a:gd name="connsiteX116" fmla="*/ 13946 w 79258"/>
                <a:gd name="connsiteY116" fmla="*/ 68671 h 104972"/>
                <a:gd name="connsiteX117" fmla="*/ 13462 w 79258"/>
                <a:gd name="connsiteY117" fmla="*/ 69155 h 104972"/>
                <a:gd name="connsiteX118" fmla="*/ 13311 w 79258"/>
                <a:gd name="connsiteY118" fmla="*/ 69972 h 104972"/>
                <a:gd name="connsiteX119" fmla="*/ 13250 w 79258"/>
                <a:gd name="connsiteY119" fmla="*/ 70910 h 104972"/>
                <a:gd name="connsiteX120" fmla="*/ 12948 w 79258"/>
                <a:gd name="connsiteY120" fmla="*/ 71363 h 104972"/>
                <a:gd name="connsiteX121" fmla="*/ 12796 w 79258"/>
                <a:gd name="connsiteY121" fmla="*/ 71847 h 104972"/>
                <a:gd name="connsiteX122" fmla="*/ 13159 w 79258"/>
                <a:gd name="connsiteY122" fmla="*/ 72906 h 104972"/>
                <a:gd name="connsiteX123" fmla="*/ 13855 w 79258"/>
                <a:gd name="connsiteY123" fmla="*/ 73390 h 104972"/>
                <a:gd name="connsiteX124" fmla="*/ 15882 w 79258"/>
                <a:gd name="connsiteY124" fmla="*/ 73602 h 104972"/>
                <a:gd name="connsiteX125" fmla="*/ 16608 w 79258"/>
                <a:gd name="connsiteY125" fmla="*/ 74177 h 104972"/>
                <a:gd name="connsiteX126" fmla="*/ 17153 w 79258"/>
                <a:gd name="connsiteY126" fmla="*/ 76204 h 104972"/>
                <a:gd name="connsiteX127" fmla="*/ 16608 w 79258"/>
                <a:gd name="connsiteY127" fmla="*/ 77444 h 104972"/>
                <a:gd name="connsiteX128" fmla="*/ 15610 w 79258"/>
                <a:gd name="connsiteY128" fmla="*/ 78291 h 104972"/>
                <a:gd name="connsiteX129" fmla="*/ 14793 w 79258"/>
                <a:gd name="connsiteY129" fmla="*/ 79168 h 104972"/>
                <a:gd name="connsiteX130" fmla="*/ 13522 w 79258"/>
                <a:gd name="connsiteY130" fmla="*/ 82435 h 104972"/>
                <a:gd name="connsiteX131" fmla="*/ 12706 w 79258"/>
                <a:gd name="connsiteY131" fmla="*/ 83857 h 104972"/>
                <a:gd name="connsiteX132" fmla="*/ 11587 w 79258"/>
                <a:gd name="connsiteY132" fmla="*/ 84855 h 104972"/>
                <a:gd name="connsiteX133" fmla="*/ 13280 w 79258"/>
                <a:gd name="connsiteY133" fmla="*/ 85732 h 104972"/>
                <a:gd name="connsiteX134" fmla="*/ 12313 w 79258"/>
                <a:gd name="connsiteY134" fmla="*/ 87941 h 104972"/>
                <a:gd name="connsiteX135" fmla="*/ 10013 w 79258"/>
                <a:gd name="connsiteY135" fmla="*/ 90210 h 104972"/>
                <a:gd name="connsiteX136" fmla="*/ 7623 w 79258"/>
                <a:gd name="connsiteY136" fmla="*/ 91269 h 104972"/>
                <a:gd name="connsiteX137" fmla="*/ 10770 w 79258"/>
                <a:gd name="connsiteY137" fmla="*/ 95141 h 104972"/>
                <a:gd name="connsiteX138" fmla="*/ 12554 w 79258"/>
                <a:gd name="connsiteY138" fmla="*/ 96653 h 104972"/>
                <a:gd name="connsiteX139" fmla="*/ 15065 w 79258"/>
                <a:gd name="connsiteY139" fmla="*/ 97743 h 104972"/>
                <a:gd name="connsiteX140" fmla="*/ 21448 w 79258"/>
                <a:gd name="connsiteY140" fmla="*/ 99164 h 104972"/>
                <a:gd name="connsiteX141" fmla="*/ 23354 w 79258"/>
                <a:gd name="connsiteY141" fmla="*/ 100888 h 104972"/>
                <a:gd name="connsiteX142" fmla="*/ 24716 w 79258"/>
                <a:gd name="connsiteY142" fmla="*/ 104972 h 104972"/>
                <a:gd name="connsiteX143" fmla="*/ 26470 w 79258"/>
                <a:gd name="connsiteY143" fmla="*/ 104428 h 104972"/>
                <a:gd name="connsiteX144" fmla="*/ 35061 w 79258"/>
                <a:gd name="connsiteY144" fmla="*/ 103944 h 104972"/>
                <a:gd name="connsiteX145" fmla="*/ 36544 w 79258"/>
                <a:gd name="connsiteY145" fmla="*/ 103460 h 104972"/>
                <a:gd name="connsiteX146" fmla="*/ 37512 w 79258"/>
                <a:gd name="connsiteY146" fmla="*/ 102099 h 104972"/>
                <a:gd name="connsiteX147" fmla="*/ 38722 w 79258"/>
                <a:gd name="connsiteY147" fmla="*/ 101645 h 104972"/>
                <a:gd name="connsiteX148" fmla="*/ 38964 w 79258"/>
                <a:gd name="connsiteY148" fmla="*/ 100888 h 104972"/>
                <a:gd name="connsiteX149" fmla="*/ 38934 w 79258"/>
                <a:gd name="connsiteY149" fmla="*/ 99981 h 104972"/>
                <a:gd name="connsiteX150" fmla="*/ 39478 w 79258"/>
                <a:gd name="connsiteY150" fmla="*/ 99134 h 104972"/>
                <a:gd name="connsiteX151" fmla="*/ 40204 w 79258"/>
                <a:gd name="connsiteY151" fmla="*/ 98862 h 104972"/>
                <a:gd name="connsiteX152" fmla="*/ 43048 w 79258"/>
                <a:gd name="connsiteY152" fmla="*/ 98620 h 104972"/>
                <a:gd name="connsiteX153" fmla="*/ 42382 w 79258"/>
                <a:gd name="connsiteY153" fmla="*/ 97319 h 104972"/>
                <a:gd name="connsiteX154" fmla="*/ 48160 w 79258"/>
                <a:gd name="connsiteY154" fmla="*/ 96714 h 104972"/>
                <a:gd name="connsiteX155" fmla="*/ 51034 w 79258"/>
                <a:gd name="connsiteY155" fmla="*/ 96986 h 104972"/>
                <a:gd name="connsiteX156" fmla="*/ 53787 w 79258"/>
                <a:gd name="connsiteY156" fmla="*/ 98015 h 104972"/>
                <a:gd name="connsiteX157" fmla="*/ 53968 w 79258"/>
                <a:gd name="connsiteY157" fmla="*/ 98136 h 104972"/>
                <a:gd name="connsiteX158" fmla="*/ 58748 w 79258"/>
                <a:gd name="connsiteY158" fmla="*/ 101433 h 104972"/>
                <a:gd name="connsiteX159" fmla="*/ 61411 w 79258"/>
                <a:gd name="connsiteY159" fmla="*/ 102794 h 104972"/>
                <a:gd name="connsiteX160" fmla="*/ 63437 w 79258"/>
                <a:gd name="connsiteY160" fmla="*/ 102976 h 104972"/>
                <a:gd name="connsiteX161" fmla="*/ 63437 w 79258"/>
                <a:gd name="connsiteY161" fmla="*/ 101917 h 104972"/>
                <a:gd name="connsiteX162" fmla="*/ 63135 w 79258"/>
                <a:gd name="connsiteY162" fmla="*/ 97621 h 104972"/>
                <a:gd name="connsiteX163" fmla="*/ 63770 w 79258"/>
                <a:gd name="connsiteY163" fmla="*/ 93053 h 104972"/>
                <a:gd name="connsiteX164" fmla="*/ 63982 w 79258"/>
                <a:gd name="connsiteY164" fmla="*/ 91662 h 104972"/>
                <a:gd name="connsiteX165" fmla="*/ 63982 w 79258"/>
                <a:gd name="connsiteY165" fmla="*/ 87155 h 104972"/>
                <a:gd name="connsiteX166" fmla="*/ 64556 w 79258"/>
                <a:gd name="connsiteY166" fmla="*/ 85581 h 104972"/>
                <a:gd name="connsiteX167" fmla="*/ 66069 w 79258"/>
                <a:gd name="connsiteY167" fmla="*/ 83403 h 104972"/>
                <a:gd name="connsiteX168" fmla="*/ 68701 w 79258"/>
                <a:gd name="connsiteY168" fmla="*/ 80438 h 104972"/>
                <a:gd name="connsiteX169" fmla="*/ 69699 w 79258"/>
                <a:gd name="connsiteY169" fmla="*/ 78502 h 104972"/>
                <a:gd name="connsiteX170" fmla="*/ 70456 w 79258"/>
                <a:gd name="connsiteY170" fmla="*/ 77474 h 104972"/>
                <a:gd name="connsiteX171" fmla="*/ 70728 w 79258"/>
                <a:gd name="connsiteY171" fmla="*/ 76808 h 104972"/>
                <a:gd name="connsiteX172" fmla="*/ 70637 w 79258"/>
                <a:gd name="connsiteY172" fmla="*/ 75870 h 104972"/>
                <a:gd name="connsiteX173" fmla="*/ 70032 w 79258"/>
                <a:gd name="connsiteY173" fmla="*/ 75326 h 104972"/>
                <a:gd name="connsiteX174" fmla="*/ 69397 w 79258"/>
                <a:gd name="connsiteY174" fmla="*/ 74903 h 104972"/>
                <a:gd name="connsiteX175" fmla="*/ 69215 w 79258"/>
                <a:gd name="connsiteY175" fmla="*/ 74449 h 104972"/>
                <a:gd name="connsiteX176" fmla="*/ 70788 w 79258"/>
                <a:gd name="connsiteY176" fmla="*/ 72422 h 104972"/>
                <a:gd name="connsiteX177" fmla="*/ 78170 w 79258"/>
                <a:gd name="connsiteY177" fmla="*/ 68035 h 104972"/>
                <a:gd name="connsiteX178" fmla="*/ 77988 w 79258"/>
                <a:gd name="connsiteY178" fmla="*/ 67703 h 104972"/>
                <a:gd name="connsiteX179" fmla="*/ 77293 w 79258"/>
                <a:gd name="connsiteY179" fmla="*/ 66977 h 104972"/>
                <a:gd name="connsiteX180" fmla="*/ 77625 w 79258"/>
                <a:gd name="connsiteY180" fmla="*/ 66281 h 104972"/>
                <a:gd name="connsiteX181" fmla="*/ 78079 w 79258"/>
                <a:gd name="connsiteY181" fmla="*/ 66069 h 104972"/>
                <a:gd name="connsiteX182" fmla="*/ 78986 w 79258"/>
                <a:gd name="connsiteY182" fmla="*/ 66402 h 104972"/>
                <a:gd name="connsiteX183" fmla="*/ 78260 w 79258"/>
                <a:gd name="connsiteY183" fmla="*/ 65494 h 104972"/>
                <a:gd name="connsiteX184" fmla="*/ 77777 w 79258"/>
                <a:gd name="connsiteY184" fmla="*/ 64496 h 104972"/>
                <a:gd name="connsiteX185" fmla="*/ 77534 w 79258"/>
                <a:gd name="connsiteY185" fmla="*/ 63316 h 104972"/>
                <a:gd name="connsiteX186" fmla="*/ 77625 w 79258"/>
                <a:gd name="connsiteY186" fmla="*/ 62046 h 104972"/>
                <a:gd name="connsiteX187" fmla="*/ 78593 w 79258"/>
                <a:gd name="connsiteY187" fmla="*/ 61259 h 104972"/>
                <a:gd name="connsiteX188" fmla="*/ 78654 w 79258"/>
                <a:gd name="connsiteY188" fmla="*/ 60685 h 104972"/>
                <a:gd name="connsiteX189" fmla="*/ 78351 w 79258"/>
                <a:gd name="connsiteY189" fmla="*/ 60049 h 104972"/>
                <a:gd name="connsiteX190" fmla="*/ 78382 w 79258"/>
                <a:gd name="connsiteY190" fmla="*/ 59051 h 104972"/>
                <a:gd name="connsiteX191" fmla="*/ 78866 w 79258"/>
                <a:gd name="connsiteY191" fmla="*/ 55935 h 104972"/>
                <a:gd name="connsiteX192" fmla="*/ 79017 w 79258"/>
                <a:gd name="connsiteY192" fmla="*/ 55844 h 104972"/>
                <a:gd name="connsiteX193" fmla="*/ 79017 w 79258"/>
                <a:gd name="connsiteY193" fmla="*/ 54634 h 104972"/>
                <a:gd name="connsiteX194" fmla="*/ 79229 w 79258"/>
                <a:gd name="connsiteY194" fmla="*/ 54453 h 104972"/>
                <a:gd name="connsiteX195" fmla="*/ 79259 w 79258"/>
                <a:gd name="connsiteY195" fmla="*/ 54453 h 104972"/>
                <a:gd name="connsiteX196" fmla="*/ 78714 w 79258"/>
                <a:gd name="connsiteY196" fmla="*/ 53938 h 10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9258" h="104972">
                  <a:moveTo>
                    <a:pt x="78714" y="53938"/>
                  </a:moveTo>
                  <a:lnTo>
                    <a:pt x="78321" y="53908"/>
                  </a:lnTo>
                  <a:lnTo>
                    <a:pt x="75235" y="53061"/>
                  </a:lnTo>
                  <a:lnTo>
                    <a:pt x="70395" y="53061"/>
                  </a:lnTo>
                  <a:lnTo>
                    <a:pt x="68641" y="52607"/>
                  </a:lnTo>
                  <a:lnTo>
                    <a:pt x="66946" y="51639"/>
                  </a:lnTo>
                  <a:lnTo>
                    <a:pt x="64042" y="49068"/>
                  </a:lnTo>
                  <a:lnTo>
                    <a:pt x="62348" y="48070"/>
                  </a:lnTo>
                  <a:lnTo>
                    <a:pt x="61471" y="48070"/>
                  </a:lnTo>
                  <a:lnTo>
                    <a:pt x="59959" y="48917"/>
                  </a:lnTo>
                  <a:lnTo>
                    <a:pt x="59142" y="48826"/>
                  </a:lnTo>
                  <a:lnTo>
                    <a:pt x="59051" y="48342"/>
                  </a:lnTo>
                  <a:lnTo>
                    <a:pt x="58446" y="46890"/>
                  </a:lnTo>
                  <a:lnTo>
                    <a:pt x="58022" y="45892"/>
                  </a:lnTo>
                  <a:lnTo>
                    <a:pt x="57538" y="45105"/>
                  </a:lnTo>
                  <a:lnTo>
                    <a:pt x="56086" y="44228"/>
                  </a:lnTo>
                  <a:lnTo>
                    <a:pt x="52668" y="42836"/>
                  </a:lnTo>
                  <a:lnTo>
                    <a:pt x="51095" y="41354"/>
                  </a:lnTo>
                  <a:lnTo>
                    <a:pt x="47797" y="34033"/>
                  </a:lnTo>
                  <a:lnTo>
                    <a:pt x="46073" y="31462"/>
                  </a:lnTo>
                  <a:lnTo>
                    <a:pt x="44984" y="33428"/>
                  </a:lnTo>
                  <a:lnTo>
                    <a:pt x="44167" y="32157"/>
                  </a:lnTo>
                  <a:lnTo>
                    <a:pt x="42654" y="28134"/>
                  </a:lnTo>
                  <a:lnTo>
                    <a:pt x="40930" y="25683"/>
                  </a:lnTo>
                  <a:lnTo>
                    <a:pt x="40476" y="24534"/>
                  </a:lnTo>
                  <a:lnTo>
                    <a:pt x="40749" y="22930"/>
                  </a:lnTo>
                  <a:lnTo>
                    <a:pt x="40144" y="19936"/>
                  </a:lnTo>
                  <a:lnTo>
                    <a:pt x="39478" y="18756"/>
                  </a:lnTo>
                  <a:lnTo>
                    <a:pt x="38389" y="18181"/>
                  </a:lnTo>
                  <a:lnTo>
                    <a:pt x="39327" y="16487"/>
                  </a:lnTo>
                  <a:lnTo>
                    <a:pt x="39690" y="16033"/>
                  </a:lnTo>
                  <a:lnTo>
                    <a:pt x="39478" y="16003"/>
                  </a:lnTo>
                  <a:lnTo>
                    <a:pt x="38873" y="16064"/>
                  </a:lnTo>
                  <a:lnTo>
                    <a:pt x="38692" y="15943"/>
                  </a:lnTo>
                  <a:lnTo>
                    <a:pt x="39327" y="11919"/>
                  </a:lnTo>
                  <a:lnTo>
                    <a:pt x="39811" y="9923"/>
                  </a:lnTo>
                  <a:lnTo>
                    <a:pt x="40507" y="7835"/>
                  </a:lnTo>
                  <a:lnTo>
                    <a:pt x="39024" y="7230"/>
                  </a:lnTo>
                  <a:lnTo>
                    <a:pt x="38783" y="6081"/>
                  </a:lnTo>
                  <a:lnTo>
                    <a:pt x="38903" y="4719"/>
                  </a:lnTo>
                  <a:lnTo>
                    <a:pt x="38450" y="3388"/>
                  </a:lnTo>
                  <a:lnTo>
                    <a:pt x="37149" y="2239"/>
                  </a:lnTo>
                  <a:lnTo>
                    <a:pt x="36393" y="2329"/>
                  </a:lnTo>
                  <a:lnTo>
                    <a:pt x="35727" y="2965"/>
                  </a:lnTo>
                  <a:lnTo>
                    <a:pt x="34880" y="3479"/>
                  </a:lnTo>
                  <a:lnTo>
                    <a:pt x="32581" y="3812"/>
                  </a:lnTo>
                  <a:lnTo>
                    <a:pt x="31431" y="3660"/>
                  </a:lnTo>
                  <a:lnTo>
                    <a:pt x="31008" y="3449"/>
                  </a:lnTo>
                  <a:lnTo>
                    <a:pt x="30100" y="3055"/>
                  </a:lnTo>
                  <a:lnTo>
                    <a:pt x="29495" y="1997"/>
                  </a:lnTo>
                  <a:lnTo>
                    <a:pt x="29162" y="635"/>
                  </a:lnTo>
                  <a:lnTo>
                    <a:pt x="28527" y="0"/>
                  </a:lnTo>
                  <a:lnTo>
                    <a:pt x="26984" y="1119"/>
                  </a:lnTo>
                  <a:lnTo>
                    <a:pt x="24837" y="1331"/>
                  </a:lnTo>
                  <a:lnTo>
                    <a:pt x="23959" y="2662"/>
                  </a:lnTo>
                  <a:lnTo>
                    <a:pt x="23566" y="4629"/>
                  </a:lnTo>
                  <a:lnTo>
                    <a:pt x="22749" y="6716"/>
                  </a:lnTo>
                  <a:lnTo>
                    <a:pt x="21267" y="8138"/>
                  </a:lnTo>
                  <a:lnTo>
                    <a:pt x="17516" y="9832"/>
                  </a:lnTo>
                  <a:lnTo>
                    <a:pt x="15852" y="11253"/>
                  </a:lnTo>
                  <a:lnTo>
                    <a:pt x="15489" y="12161"/>
                  </a:lnTo>
                  <a:lnTo>
                    <a:pt x="15277" y="14491"/>
                  </a:lnTo>
                  <a:lnTo>
                    <a:pt x="15035" y="15458"/>
                  </a:lnTo>
                  <a:lnTo>
                    <a:pt x="14430" y="16306"/>
                  </a:lnTo>
                  <a:lnTo>
                    <a:pt x="12948" y="17455"/>
                  </a:lnTo>
                  <a:lnTo>
                    <a:pt x="12373" y="18362"/>
                  </a:lnTo>
                  <a:lnTo>
                    <a:pt x="12464" y="19996"/>
                  </a:lnTo>
                  <a:lnTo>
                    <a:pt x="12464" y="21358"/>
                  </a:lnTo>
                  <a:lnTo>
                    <a:pt x="12222" y="22507"/>
                  </a:lnTo>
                  <a:lnTo>
                    <a:pt x="11496" y="23203"/>
                  </a:lnTo>
                  <a:lnTo>
                    <a:pt x="9469" y="24050"/>
                  </a:lnTo>
                  <a:lnTo>
                    <a:pt x="8834" y="24806"/>
                  </a:lnTo>
                  <a:lnTo>
                    <a:pt x="8712" y="26803"/>
                  </a:lnTo>
                  <a:lnTo>
                    <a:pt x="9408" y="27589"/>
                  </a:lnTo>
                  <a:lnTo>
                    <a:pt x="9832" y="28376"/>
                  </a:lnTo>
                  <a:lnTo>
                    <a:pt x="8743" y="30342"/>
                  </a:lnTo>
                  <a:lnTo>
                    <a:pt x="7896" y="31099"/>
                  </a:lnTo>
                  <a:lnTo>
                    <a:pt x="6413" y="31401"/>
                  </a:lnTo>
                  <a:lnTo>
                    <a:pt x="5687" y="31825"/>
                  </a:lnTo>
                  <a:lnTo>
                    <a:pt x="4901" y="32792"/>
                  </a:lnTo>
                  <a:lnTo>
                    <a:pt x="4538" y="33549"/>
                  </a:lnTo>
                  <a:lnTo>
                    <a:pt x="4296" y="34275"/>
                  </a:lnTo>
                  <a:lnTo>
                    <a:pt x="3903" y="35182"/>
                  </a:lnTo>
                  <a:lnTo>
                    <a:pt x="393" y="40749"/>
                  </a:lnTo>
                  <a:lnTo>
                    <a:pt x="0" y="42110"/>
                  </a:lnTo>
                  <a:lnTo>
                    <a:pt x="1180" y="42654"/>
                  </a:lnTo>
                  <a:lnTo>
                    <a:pt x="3418" y="44197"/>
                  </a:lnTo>
                  <a:lnTo>
                    <a:pt x="4356" y="45498"/>
                  </a:lnTo>
                  <a:lnTo>
                    <a:pt x="1694" y="45256"/>
                  </a:lnTo>
                  <a:lnTo>
                    <a:pt x="1725" y="46073"/>
                  </a:lnTo>
                  <a:lnTo>
                    <a:pt x="1573" y="46527"/>
                  </a:lnTo>
                  <a:lnTo>
                    <a:pt x="1392" y="46859"/>
                  </a:lnTo>
                  <a:lnTo>
                    <a:pt x="1210" y="47374"/>
                  </a:lnTo>
                  <a:lnTo>
                    <a:pt x="2178" y="48191"/>
                  </a:lnTo>
                  <a:lnTo>
                    <a:pt x="968" y="48947"/>
                  </a:lnTo>
                  <a:lnTo>
                    <a:pt x="545" y="50308"/>
                  </a:lnTo>
                  <a:lnTo>
                    <a:pt x="665" y="52002"/>
                  </a:lnTo>
                  <a:lnTo>
                    <a:pt x="1301" y="53817"/>
                  </a:lnTo>
                  <a:lnTo>
                    <a:pt x="2360" y="55451"/>
                  </a:lnTo>
                  <a:lnTo>
                    <a:pt x="3358" y="55905"/>
                  </a:lnTo>
                  <a:lnTo>
                    <a:pt x="4447" y="56086"/>
                  </a:lnTo>
                  <a:lnTo>
                    <a:pt x="5748" y="56782"/>
                  </a:lnTo>
                  <a:lnTo>
                    <a:pt x="6383" y="57689"/>
                  </a:lnTo>
                  <a:lnTo>
                    <a:pt x="8773" y="62015"/>
                  </a:lnTo>
                  <a:lnTo>
                    <a:pt x="8924" y="62681"/>
                  </a:lnTo>
                  <a:lnTo>
                    <a:pt x="9136" y="64678"/>
                  </a:lnTo>
                  <a:lnTo>
                    <a:pt x="9106" y="65010"/>
                  </a:lnTo>
                  <a:lnTo>
                    <a:pt x="9741" y="65494"/>
                  </a:lnTo>
                  <a:lnTo>
                    <a:pt x="11163" y="65888"/>
                  </a:lnTo>
                  <a:lnTo>
                    <a:pt x="11768" y="66190"/>
                  </a:lnTo>
                  <a:lnTo>
                    <a:pt x="12313" y="66281"/>
                  </a:lnTo>
                  <a:lnTo>
                    <a:pt x="12948" y="66099"/>
                  </a:lnTo>
                  <a:lnTo>
                    <a:pt x="13613" y="66130"/>
                  </a:lnTo>
                  <a:lnTo>
                    <a:pt x="14218" y="66977"/>
                  </a:lnTo>
                  <a:lnTo>
                    <a:pt x="14249" y="67309"/>
                  </a:lnTo>
                  <a:lnTo>
                    <a:pt x="14339" y="68066"/>
                  </a:lnTo>
                  <a:lnTo>
                    <a:pt x="13946" y="68671"/>
                  </a:lnTo>
                  <a:lnTo>
                    <a:pt x="13462" y="69155"/>
                  </a:lnTo>
                  <a:lnTo>
                    <a:pt x="13311" y="69972"/>
                  </a:lnTo>
                  <a:lnTo>
                    <a:pt x="13250" y="70910"/>
                  </a:lnTo>
                  <a:lnTo>
                    <a:pt x="12948" y="71363"/>
                  </a:lnTo>
                  <a:lnTo>
                    <a:pt x="12796" y="71847"/>
                  </a:lnTo>
                  <a:lnTo>
                    <a:pt x="13159" y="72906"/>
                  </a:lnTo>
                  <a:lnTo>
                    <a:pt x="13855" y="73390"/>
                  </a:lnTo>
                  <a:lnTo>
                    <a:pt x="15882" y="73602"/>
                  </a:lnTo>
                  <a:lnTo>
                    <a:pt x="16608" y="74177"/>
                  </a:lnTo>
                  <a:lnTo>
                    <a:pt x="17153" y="76204"/>
                  </a:lnTo>
                  <a:lnTo>
                    <a:pt x="16608" y="77444"/>
                  </a:lnTo>
                  <a:lnTo>
                    <a:pt x="15610" y="78291"/>
                  </a:lnTo>
                  <a:lnTo>
                    <a:pt x="14793" y="79168"/>
                  </a:lnTo>
                  <a:lnTo>
                    <a:pt x="13522" y="82435"/>
                  </a:lnTo>
                  <a:lnTo>
                    <a:pt x="12706" y="83857"/>
                  </a:lnTo>
                  <a:lnTo>
                    <a:pt x="11587" y="84855"/>
                  </a:lnTo>
                  <a:lnTo>
                    <a:pt x="13280" y="85732"/>
                  </a:lnTo>
                  <a:lnTo>
                    <a:pt x="12313" y="87941"/>
                  </a:lnTo>
                  <a:lnTo>
                    <a:pt x="10013" y="90210"/>
                  </a:lnTo>
                  <a:lnTo>
                    <a:pt x="7623" y="91269"/>
                  </a:lnTo>
                  <a:lnTo>
                    <a:pt x="10770" y="95141"/>
                  </a:lnTo>
                  <a:lnTo>
                    <a:pt x="12554" y="96653"/>
                  </a:lnTo>
                  <a:lnTo>
                    <a:pt x="15065" y="97743"/>
                  </a:lnTo>
                  <a:lnTo>
                    <a:pt x="21448" y="99164"/>
                  </a:lnTo>
                  <a:lnTo>
                    <a:pt x="23354" y="100888"/>
                  </a:lnTo>
                  <a:lnTo>
                    <a:pt x="24716" y="104972"/>
                  </a:lnTo>
                  <a:lnTo>
                    <a:pt x="26470" y="104428"/>
                  </a:lnTo>
                  <a:lnTo>
                    <a:pt x="35061" y="103944"/>
                  </a:lnTo>
                  <a:lnTo>
                    <a:pt x="36544" y="103460"/>
                  </a:lnTo>
                  <a:lnTo>
                    <a:pt x="37512" y="102099"/>
                  </a:lnTo>
                  <a:lnTo>
                    <a:pt x="38722" y="101645"/>
                  </a:lnTo>
                  <a:lnTo>
                    <a:pt x="38964" y="100888"/>
                  </a:lnTo>
                  <a:lnTo>
                    <a:pt x="38934" y="99981"/>
                  </a:lnTo>
                  <a:lnTo>
                    <a:pt x="39478" y="99134"/>
                  </a:lnTo>
                  <a:lnTo>
                    <a:pt x="40204" y="98862"/>
                  </a:lnTo>
                  <a:lnTo>
                    <a:pt x="43048" y="98620"/>
                  </a:lnTo>
                  <a:lnTo>
                    <a:pt x="42382" y="97319"/>
                  </a:lnTo>
                  <a:lnTo>
                    <a:pt x="48160" y="96714"/>
                  </a:lnTo>
                  <a:lnTo>
                    <a:pt x="51034" y="96986"/>
                  </a:lnTo>
                  <a:lnTo>
                    <a:pt x="53787" y="98015"/>
                  </a:lnTo>
                  <a:lnTo>
                    <a:pt x="53968" y="98136"/>
                  </a:lnTo>
                  <a:lnTo>
                    <a:pt x="58748" y="101433"/>
                  </a:lnTo>
                  <a:lnTo>
                    <a:pt x="61411" y="102794"/>
                  </a:lnTo>
                  <a:lnTo>
                    <a:pt x="63437" y="102976"/>
                  </a:lnTo>
                  <a:lnTo>
                    <a:pt x="63437" y="101917"/>
                  </a:lnTo>
                  <a:lnTo>
                    <a:pt x="63135" y="97621"/>
                  </a:lnTo>
                  <a:lnTo>
                    <a:pt x="63770" y="93053"/>
                  </a:lnTo>
                  <a:lnTo>
                    <a:pt x="63982" y="91662"/>
                  </a:lnTo>
                  <a:lnTo>
                    <a:pt x="63982" y="87155"/>
                  </a:lnTo>
                  <a:lnTo>
                    <a:pt x="64556" y="85581"/>
                  </a:lnTo>
                  <a:lnTo>
                    <a:pt x="66069" y="83403"/>
                  </a:lnTo>
                  <a:lnTo>
                    <a:pt x="68701" y="80438"/>
                  </a:lnTo>
                  <a:lnTo>
                    <a:pt x="69699" y="78502"/>
                  </a:lnTo>
                  <a:lnTo>
                    <a:pt x="70456" y="77474"/>
                  </a:lnTo>
                  <a:lnTo>
                    <a:pt x="70728" y="76808"/>
                  </a:lnTo>
                  <a:lnTo>
                    <a:pt x="70637" y="75870"/>
                  </a:lnTo>
                  <a:lnTo>
                    <a:pt x="70032" y="75326"/>
                  </a:lnTo>
                  <a:lnTo>
                    <a:pt x="69397" y="74903"/>
                  </a:lnTo>
                  <a:lnTo>
                    <a:pt x="69215" y="74449"/>
                  </a:lnTo>
                  <a:lnTo>
                    <a:pt x="70788" y="72422"/>
                  </a:lnTo>
                  <a:lnTo>
                    <a:pt x="78170" y="68035"/>
                  </a:lnTo>
                  <a:lnTo>
                    <a:pt x="77988" y="67703"/>
                  </a:lnTo>
                  <a:lnTo>
                    <a:pt x="77293" y="66977"/>
                  </a:lnTo>
                  <a:lnTo>
                    <a:pt x="77625" y="66281"/>
                  </a:lnTo>
                  <a:lnTo>
                    <a:pt x="78079" y="66069"/>
                  </a:lnTo>
                  <a:lnTo>
                    <a:pt x="78986" y="66402"/>
                  </a:lnTo>
                  <a:lnTo>
                    <a:pt x="78260" y="65494"/>
                  </a:lnTo>
                  <a:lnTo>
                    <a:pt x="77777" y="64496"/>
                  </a:lnTo>
                  <a:lnTo>
                    <a:pt x="77534" y="63316"/>
                  </a:lnTo>
                  <a:lnTo>
                    <a:pt x="77625" y="62046"/>
                  </a:lnTo>
                  <a:lnTo>
                    <a:pt x="78593" y="61259"/>
                  </a:lnTo>
                  <a:lnTo>
                    <a:pt x="78654" y="60685"/>
                  </a:lnTo>
                  <a:lnTo>
                    <a:pt x="78351" y="60049"/>
                  </a:lnTo>
                  <a:lnTo>
                    <a:pt x="78382" y="59051"/>
                  </a:lnTo>
                  <a:lnTo>
                    <a:pt x="78866" y="55935"/>
                  </a:lnTo>
                  <a:lnTo>
                    <a:pt x="79017" y="55844"/>
                  </a:lnTo>
                  <a:lnTo>
                    <a:pt x="79017" y="54634"/>
                  </a:lnTo>
                  <a:lnTo>
                    <a:pt x="79229" y="54453"/>
                  </a:lnTo>
                  <a:lnTo>
                    <a:pt x="79259" y="54453"/>
                  </a:lnTo>
                  <a:lnTo>
                    <a:pt x="78714" y="53938"/>
                  </a:lnTo>
                  <a:close/>
                </a:path>
              </a:pathLst>
            </a:custGeom>
            <a:solidFill>
              <a:srgbClr val="96A3AC"/>
            </a:solidFill>
            <a:ln w="3175" cap="rnd">
              <a:solidFill>
                <a:schemeClr val="bg1"/>
              </a:solidFill>
              <a:prstDash val="solid"/>
              <a:round/>
            </a:ln>
          </p:spPr>
          <p:txBody>
            <a:bodyPr rtlCol="0" anchor="ctr"/>
            <a:lstStyle/>
            <a:p>
              <a:endParaRPr lang="en-ID"/>
            </a:p>
          </p:txBody>
        </p:sp>
        <p:sp>
          <p:nvSpPr>
            <p:cNvPr id="35" name="Freeform: Shape 34">
              <a:extLst>
                <a:ext uri="{FF2B5EF4-FFF2-40B4-BE49-F238E27FC236}">
                  <a16:creationId xmlns:a16="http://schemas.microsoft.com/office/drawing/2014/main" id="{05308695-EC25-CF2B-C260-0DE366F54700}"/>
                </a:ext>
              </a:extLst>
            </p:cNvPr>
            <p:cNvSpPr/>
            <p:nvPr/>
          </p:nvSpPr>
          <p:spPr>
            <a:xfrm>
              <a:off x="9793567" y="3277564"/>
              <a:ext cx="459770" cy="321225"/>
            </a:xfrm>
            <a:custGeom>
              <a:avLst/>
              <a:gdLst>
                <a:gd name="connsiteX0" fmla="*/ 19391 w 591505"/>
                <a:gd name="connsiteY0" fmla="*/ 122881 h 413264"/>
                <a:gd name="connsiteX1" fmla="*/ 16124 w 591505"/>
                <a:gd name="connsiteY1" fmla="*/ 119100 h 413264"/>
                <a:gd name="connsiteX2" fmla="*/ 16971 w 591505"/>
                <a:gd name="connsiteY2" fmla="*/ 123577 h 413264"/>
                <a:gd name="connsiteX3" fmla="*/ 16698 w 591505"/>
                <a:gd name="connsiteY3" fmla="*/ 133802 h 413264"/>
                <a:gd name="connsiteX4" fmla="*/ 17576 w 591505"/>
                <a:gd name="connsiteY4" fmla="*/ 137099 h 413264"/>
                <a:gd name="connsiteX5" fmla="*/ 17032 w 591505"/>
                <a:gd name="connsiteY5" fmla="*/ 138642 h 413264"/>
                <a:gd name="connsiteX6" fmla="*/ 17576 w 591505"/>
                <a:gd name="connsiteY6" fmla="*/ 139429 h 413264"/>
                <a:gd name="connsiteX7" fmla="*/ 16941 w 591505"/>
                <a:gd name="connsiteY7" fmla="*/ 142212 h 413264"/>
                <a:gd name="connsiteX8" fmla="*/ 15882 w 591505"/>
                <a:gd name="connsiteY8" fmla="*/ 155946 h 413264"/>
                <a:gd name="connsiteX9" fmla="*/ 11767 w 591505"/>
                <a:gd name="connsiteY9" fmla="*/ 169226 h 413264"/>
                <a:gd name="connsiteX10" fmla="*/ 7533 w 591505"/>
                <a:gd name="connsiteY10" fmla="*/ 178846 h 413264"/>
                <a:gd name="connsiteX11" fmla="*/ 0 w 591505"/>
                <a:gd name="connsiteY11" fmla="*/ 190886 h 413264"/>
                <a:gd name="connsiteX12" fmla="*/ 0 w 591505"/>
                <a:gd name="connsiteY12" fmla="*/ 190886 h 413264"/>
                <a:gd name="connsiteX13" fmla="*/ 6534 w 591505"/>
                <a:gd name="connsiteY13" fmla="*/ 192490 h 413264"/>
                <a:gd name="connsiteX14" fmla="*/ 6473 w 591505"/>
                <a:gd name="connsiteY14" fmla="*/ 189525 h 413264"/>
                <a:gd name="connsiteX15" fmla="*/ 11375 w 591505"/>
                <a:gd name="connsiteY15" fmla="*/ 183475 h 413264"/>
                <a:gd name="connsiteX16" fmla="*/ 12705 w 591505"/>
                <a:gd name="connsiteY16" fmla="*/ 180177 h 413264"/>
                <a:gd name="connsiteX17" fmla="*/ 13371 w 591505"/>
                <a:gd name="connsiteY17" fmla="*/ 176819 h 413264"/>
                <a:gd name="connsiteX18" fmla="*/ 14974 w 591505"/>
                <a:gd name="connsiteY18" fmla="*/ 173189 h 413264"/>
                <a:gd name="connsiteX19" fmla="*/ 16820 w 591505"/>
                <a:gd name="connsiteY19" fmla="*/ 170104 h 413264"/>
                <a:gd name="connsiteX20" fmla="*/ 18272 w 591505"/>
                <a:gd name="connsiteY20" fmla="*/ 168410 h 413264"/>
                <a:gd name="connsiteX21" fmla="*/ 18272 w 591505"/>
                <a:gd name="connsiteY21" fmla="*/ 167381 h 413264"/>
                <a:gd name="connsiteX22" fmla="*/ 16366 w 591505"/>
                <a:gd name="connsiteY22" fmla="*/ 165173 h 413264"/>
                <a:gd name="connsiteX23" fmla="*/ 16910 w 591505"/>
                <a:gd name="connsiteY23" fmla="*/ 162632 h 413264"/>
                <a:gd name="connsiteX24" fmla="*/ 18484 w 591505"/>
                <a:gd name="connsiteY24" fmla="*/ 159939 h 413264"/>
                <a:gd name="connsiteX25" fmla="*/ 19633 w 591505"/>
                <a:gd name="connsiteY25" fmla="*/ 157277 h 413264"/>
                <a:gd name="connsiteX26" fmla="*/ 19633 w 591505"/>
                <a:gd name="connsiteY26" fmla="*/ 151136 h 413264"/>
                <a:gd name="connsiteX27" fmla="*/ 19845 w 591505"/>
                <a:gd name="connsiteY27" fmla="*/ 149170 h 413264"/>
                <a:gd name="connsiteX28" fmla="*/ 20783 w 591505"/>
                <a:gd name="connsiteY28" fmla="*/ 146447 h 413264"/>
                <a:gd name="connsiteX29" fmla="*/ 20994 w 591505"/>
                <a:gd name="connsiteY29" fmla="*/ 144390 h 413264"/>
                <a:gd name="connsiteX30" fmla="*/ 20783 w 591505"/>
                <a:gd name="connsiteY30" fmla="*/ 130111 h 413264"/>
                <a:gd name="connsiteX31" fmla="*/ 19361 w 591505"/>
                <a:gd name="connsiteY31" fmla="*/ 122881 h 413264"/>
                <a:gd name="connsiteX32" fmla="*/ 590387 w 591505"/>
                <a:gd name="connsiteY32" fmla="*/ 189707 h 413264"/>
                <a:gd name="connsiteX33" fmla="*/ 588088 w 591505"/>
                <a:gd name="connsiteY33" fmla="*/ 188073 h 413264"/>
                <a:gd name="connsiteX34" fmla="*/ 571389 w 591505"/>
                <a:gd name="connsiteY34" fmla="*/ 185381 h 413264"/>
                <a:gd name="connsiteX35" fmla="*/ 565309 w 591505"/>
                <a:gd name="connsiteY35" fmla="*/ 186893 h 413264"/>
                <a:gd name="connsiteX36" fmla="*/ 563614 w 591505"/>
                <a:gd name="connsiteY36" fmla="*/ 186803 h 413264"/>
                <a:gd name="connsiteX37" fmla="*/ 557594 w 591505"/>
                <a:gd name="connsiteY37" fmla="*/ 184745 h 413264"/>
                <a:gd name="connsiteX38" fmla="*/ 556021 w 591505"/>
                <a:gd name="connsiteY38" fmla="*/ 183747 h 413264"/>
                <a:gd name="connsiteX39" fmla="*/ 555567 w 591505"/>
                <a:gd name="connsiteY39" fmla="*/ 182053 h 413264"/>
                <a:gd name="connsiteX40" fmla="*/ 556566 w 591505"/>
                <a:gd name="connsiteY40" fmla="*/ 179028 h 413264"/>
                <a:gd name="connsiteX41" fmla="*/ 558955 w 591505"/>
                <a:gd name="connsiteY41" fmla="*/ 174914 h 413264"/>
                <a:gd name="connsiteX42" fmla="*/ 559652 w 591505"/>
                <a:gd name="connsiteY42" fmla="*/ 173371 h 413264"/>
                <a:gd name="connsiteX43" fmla="*/ 560982 w 591505"/>
                <a:gd name="connsiteY43" fmla="*/ 167320 h 413264"/>
                <a:gd name="connsiteX44" fmla="*/ 561860 w 591505"/>
                <a:gd name="connsiteY44" fmla="*/ 165505 h 413264"/>
                <a:gd name="connsiteX45" fmla="*/ 565429 w 591505"/>
                <a:gd name="connsiteY45" fmla="*/ 162178 h 413264"/>
                <a:gd name="connsiteX46" fmla="*/ 565732 w 591505"/>
                <a:gd name="connsiteY46" fmla="*/ 160272 h 413264"/>
                <a:gd name="connsiteX47" fmla="*/ 563856 w 591505"/>
                <a:gd name="connsiteY47" fmla="*/ 156854 h 413264"/>
                <a:gd name="connsiteX48" fmla="*/ 564310 w 591505"/>
                <a:gd name="connsiteY48" fmla="*/ 152921 h 413264"/>
                <a:gd name="connsiteX49" fmla="*/ 566276 w 591505"/>
                <a:gd name="connsiteY49" fmla="*/ 149956 h 413264"/>
                <a:gd name="connsiteX50" fmla="*/ 568727 w 591505"/>
                <a:gd name="connsiteY50" fmla="*/ 147324 h 413264"/>
                <a:gd name="connsiteX51" fmla="*/ 570663 w 591505"/>
                <a:gd name="connsiteY51" fmla="*/ 144481 h 413264"/>
                <a:gd name="connsiteX52" fmla="*/ 571631 w 591505"/>
                <a:gd name="connsiteY52" fmla="*/ 140881 h 413264"/>
                <a:gd name="connsiteX53" fmla="*/ 571873 w 591505"/>
                <a:gd name="connsiteY53" fmla="*/ 136585 h 413264"/>
                <a:gd name="connsiteX54" fmla="*/ 571480 w 591505"/>
                <a:gd name="connsiteY54" fmla="*/ 132199 h 413264"/>
                <a:gd name="connsiteX55" fmla="*/ 570542 w 591505"/>
                <a:gd name="connsiteY55" fmla="*/ 128326 h 413264"/>
                <a:gd name="connsiteX56" fmla="*/ 564794 w 591505"/>
                <a:gd name="connsiteY56" fmla="*/ 127903 h 413264"/>
                <a:gd name="connsiteX57" fmla="*/ 559137 w 591505"/>
                <a:gd name="connsiteY57" fmla="*/ 126451 h 413264"/>
                <a:gd name="connsiteX58" fmla="*/ 545191 w 591505"/>
                <a:gd name="connsiteY58" fmla="*/ 120219 h 413264"/>
                <a:gd name="connsiteX59" fmla="*/ 538869 w 591505"/>
                <a:gd name="connsiteY59" fmla="*/ 115802 h 413264"/>
                <a:gd name="connsiteX60" fmla="*/ 533575 w 591505"/>
                <a:gd name="connsiteY60" fmla="*/ 106969 h 413264"/>
                <a:gd name="connsiteX61" fmla="*/ 531245 w 591505"/>
                <a:gd name="connsiteY61" fmla="*/ 101947 h 413264"/>
                <a:gd name="connsiteX62" fmla="*/ 528704 w 591505"/>
                <a:gd name="connsiteY62" fmla="*/ 98317 h 413264"/>
                <a:gd name="connsiteX63" fmla="*/ 518721 w 591505"/>
                <a:gd name="connsiteY63" fmla="*/ 90331 h 413264"/>
                <a:gd name="connsiteX64" fmla="*/ 512520 w 591505"/>
                <a:gd name="connsiteY64" fmla="*/ 83857 h 413264"/>
                <a:gd name="connsiteX65" fmla="*/ 506832 w 591505"/>
                <a:gd name="connsiteY65" fmla="*/ 80378 h 413264"/>
                <a:gd name="connsiteX66" fmla="*/ 497787 w 591505"/>
                <a:gd name="connsiteY66" fmla="*/ 74812 h 413264"/>
                <a:gd name="connsiteX67" fmla="*/ 490164 w 591505"/>
                <a:gd name="connsiteY67" fmla="*/ 66886 h 413264"/>
                <a:gd name="connsiteX68" fmla="*/ 487229 w 591505"/>
                <a:gd name="connsiteY68" fmla="*/ 63830 h 413264"/>
                <a:gd name="connsiteX69" fmla="*/ 481451 w 591505"/>
                <a:gd name="connsiteY69" fmla="*/ 60110 h 413264"/>
                <a:gd name="connsiteX70" fmla="*/ 480242 w 591505"/>
                <a:gd name="connsiteY70" fmla="*/ 58960 h 413264"/>
                <a:gd name="connsiteX71" fmla="*/ 479364 w 591505"/>
                <a:gd name="connsiteY71" fmla="*/ 57235 h 413264"/>
                <a:gd name="connsiteX72" fmla="*/ 477489 w 591505"/>
                <a:gd name="connsiteY72" fmla="*/ 51639 h 413264"/>
                <a:gd name="connsiteX73" fmla="*/ 476763 w 591505"/>
                <a:gd name="connsiteY73" fmla="*/ 50187 h 413264"/>
                <a:gd name="connsiteX74" fmla="*/ 475552 w 591505"/>
                <a:gd name="connsiteY74" fmla="*/ 49703 h 413264"/>
                <a:gd name="connsiteX75" fmla="*/ 469532 w 591505"/>
                <a:gd name="connsiteY75" fmla="*/ 50157 h 413264"/>
                <a:gd name="connsiteX76" fmla="*/ 467808 w 591505"/>
                <a:gd name="connsiteY76" fmla="*/ 49854 h 413264"/>
                <a:gd name="connsiteX77" fmla="*/ 462756 w 591505"/>
                <a:gd name="connsiteY77" fmla="*/ 47616 h 413264"/>
                <a:gd name="connsiteX78" fmla="*/ 455919 w 591505"/>
                <a:gd name="connsiteY78" fmla="*/ 48765 h 413264"/>
                <a:gd name="connsiteX79" fmla="*/ 445301 w 591505"/>
                <a:gd name="connsiteY79" fmla="*/ 47071 h 413264"/>
                <a:gd name="connsiteX80" fmla="*/ 421160 w 591505"/>
                <a:gd name="connsiteY80" fmla="*/ 43229 h 413264"/>
                <a:gd name="connsiteX81" fmla="*/ 417530 w 591505"/>
                <a:gd name="connsiteY81" fmla="*/ 40779 h 413264"/>
                <a:gd name="connsiteX82" fmla="*/ 414596 w 591505"/>
                <a:gd name="connsiteY82" fmla="*/ 35757 h 413264"/>
                <a:gd name="connsiteX83" fmla="*/ 412811 w 591505"/>
                <a:gd name="connsiteY83" fmla="*/ 30402 h 413264"/>
                <a:gd name="connsiteX84" fmla="*/ 411843 w 591505"/>
                <a:gd name="connsiteY84" fmla="*/ 28799 h 413264"/>
                <a:gd name="connsiteX85" fmla="*/ 408485 w 591505"/>
                <a:gd name="connsiteY85" fmla="*/ 25381 h 413264"/>
                <a:gd name="connsiteX86" fmla="*/ 407487 w 591505"/>
                <a:gd name="connsiteY86" fmla="*/ 23656 h 413264"/>
                <a:gd name="connsiteX87" fmla="*/ 406367 w 591505"/>
                <a:gd name="connsiteY87" fmla="*/ 20571 h 413264"/>
                <a:gd name="connsiteX88" fmla="*/ 403766 w 591505"/>
                <a:gd name="connsiteY88" fmla="*/ 10467 h 413264"/>
                <a:gd name="connsiteX89" fmla="*/ 401134 w 591505"/>
                <a:gd name="connsiteY89" fmla="*/ 3448 h 413264"/>
                <a:gd name="connsiteX90" fmla="*/ 399319 w 591505"/>
                <a:gd name="connsiteY90" fmla="*/ 635 h 413264"/>
                <a:gd name="connsiteX91" fmla="*/ 397171 w 591505"/>
                <a:gd name="connsiteY91" fmla="*/ 0 h 413264"/>
                <a:gd name="connsiteX92" fmla="*/ 395779 w 591505"/>
                <a:gd name="connsiteY92" fmla="*/ 1210 h 413264"/>
                <a:gd name="connsiteX93" fmla="*/ 395386 w 591505"/>
                <a:gd name="connsiteY93" fmla="*/ 2995 h 413264"/>
                <a:gd name="connsiteX94" fmla="*/ 395265 w 591505"/>
                <a:gd name="connsiteY94" fmla="*/ 4840 h 413264"/>
                <a:gd name="connsiteX95" fmla="*/ 394630 w 591505"/>
                <a:gd name="connsiteY95" fmla="*/ 6292 h 413264"/>
                <a:gd name="connsiteX96" fmla="*/ 393813 w 591505"/>
                <a:gd name="connsiteY96" fmla="*/ 6444 h 413264"/>
                <a:gd name="connsiteX97" fmla="*/ 391574 w 591505"/>
                <a:gd name="connsiteY97" fmla="*/ 5627 h 413264"/>
                <a:gd name="connsiteX98" fmla="*/ 390576 w 591505"/>
                <a:gd name="connsiteY98" fmla="*/ 5687 h 413264"/>
                <a:gd name="connsiteX99" fmla="*/ 381471 w 591505"/>
                <a:gd name="connsiteY99" fmla="*/ 9408 h 413264"/>
                <a:gd name="connsiteX100" fmla="*/ 377810 w 591505"/>
                <a:gd name="connsiteY100" fmla="*/ 10921 h 413264"/>
                <a:gd name="connsiteX101" fmla="*/ 373847 w 591505"/>
                <a:gd name="connsiteY101" fmla="*/ 13794 h 413264"/>
                <a:gd name="connsiteX102" fmla="*/ 365679 w 591505"/>
                <a:gd name="connsiteY102" fmla="*/ 24019 h 413264"/>
                <a:gd name="connsiteX103" fmla="*/ 363773 w 591505"/>
                <a:gd name="connsiteY103" fmla="*/ 25834 h 413264"/>
                <a:gd name="connsiteX104" fmla="*/ 357965 w 591505"/>
                <a:gd name="connsiteY104" fmla="*/ 28950 h 413264"/>
                <a:gd name="connsiteX105" fmla="*/ 354547 w 591505"/>
                <a:gd name="connsiteY105" fmla="*/ 30342 h 413264"/>
                <a:gd name="connsiteX106" fmla="*/ 351249 w 591505"/>
                <a:gd name="connsiteY106" fmla="*/ 29495 h 413264"/>
                <a:gd name="connsiteX107" fmla="*/ 344866 w 591505"/>
                <a:gd name="connsiteY107" fmla="*/ 25169 h 413264"/>
                <a:gd name="connsiteX108" fmla="*/ 341599 w 591505"/>
                <a:gd name="connsiteY108" fmla="*/ 23989 h 413264"/>
                <a:gd name="connsiteX109" fmla="*/ 338513 w 591505"/>
                <a:gd name="connsiteY109" fmla="*/ 24504 h 413264"/>
                <a:gd name="connsiteX110" fmla="*/ 326352 w 591505"/>
                <a:gd name="connsiteY110" fmla="*/ 30372 h 413264"/>
                <a:gd name="connsiteX111" fmla="*/ 323690 w 591505"/>
                <a:gd name="connsiteY111" fmla="*/ 30826 h 413264"/>
                <a:gd name="connsiteX112" fmla="*/ 323539 w 591505"/>
                <a:gd name="connsiteY112" fmla="*/ 30826 h 413264"/>
                <a:gd name="connsiteX113" fmla="*/ 320484 w 591505"/>
                <a:gd name="connsiteY113" fmla="*/ 30312 h 413264"/>
                <a:gd name="connsiteX114" fmla="*/ 317126 w 591505"/>
                <a:gd name="connsiteY114" fmla="*/ 28557 h 413264"/>
                <a:gd name="connsiteX115" fmla="*/ 307687 w 591505"/>
                <a:gd name="connsiteY115" fmla="*/ 21690 h 413264"/>
                <a:gd name="connsiteX116" fmla="*/ 296585 w 591505"/>
                <a:gd name="connsiteY116" fmla="*/ 18393 h 413264"/>
                <a:gd name="connsiteX117" fmla="*/ 295284 w 591505"/>
                <a:gd name="connsiteY117" fmla="*/ 17999 h 413264"/>
                <a:gd name="connsiteX118" fmla="*/ 291957 w 591505"/>
                <a:gd name="connsiteY118" fmla="*/ 17909 h 413264"/>
                <a:gd name="connsiteX119" fmla="*/ 285029 w 591505"/>
                <a:gd name="connsiteY119" fmla="*/ 19391 h 413264"/>
                <a:gd name="connsiteX120" fmla="*/ 281883 w 591505"/>
                <a:gd name="connsiteY120" fmla="*/ 18937 h 413264"/>
                <a:gd name="connsiteX121" fmla="*/ 281762 w 591505"/>
                <a:gd name="connsiteY121" fmla="*/ 18393 h 413264"/>
                <a:gd name="connsiteX122" fmla="*/ 281883 w 591505"/>
                <a:gd name="connsiteY122" fmla="*/ 17334 h 413264"/>
                <a:gd name="connsiteX123" fmla="*/ 281762 w 591505"/>
                <a:gd name="connsiteY123" fmla="*/ 16094 h 413264"/>
                <a:gd name="connsiteX124" fmla="*/ 280915 w 591505"/>
                <a:gd name="connsiteY124" fmla="*/ 14944 h 413264"/>
                <a:gd name="connsiteX125" fmla="*/ 280068 w 591505"/>
                <a:gd name="connsiteY125" fmla="*/ 14672 h 413264"/>
                <a:gd name="connsiteX126" fmla="*/ 277315 w 591505"/>
                <a:gd name="connsiteY126" fmla="*/ 15095 h 413264"/>
                <a:gd name="connsiteX127" fmla="*/ 270327 w 591505"/>
                <a:gd name="connsiteY127" fmla="*/ 14763 h 413264"/>
                <a:gd name="connsiteX128" fmla="*/ 267090 w 591505"/>
                <a:gd name="connsiteY128" fmla="*/ 15640 h 413264"/>
                <a:gd name="connsiteX129" fmla="*/ 261009 w 591505"/>
                <a:gd name="connsiteY129" fmla="*/ 18967 h 413264"/>
                <a:gd name="connsiteX130" fmla="*/ 257409 w 591505"/>
                <a:gd name="connsiteY130" fmla="*/ 18725 h 413264"/>
                <a:gd name="connsiteX131" fmla="*/ 246972 w 591505"/>
                <a:gd name="connsiteY131" fmla="*/ 14642 h 413264"/>
                <a:gd name="connsiteX132" fmla="*/ 240196 w 591505"/>
                <a:gd name="connsiteY132" fmla="*/ 11979 h 413264"/>
                <a:gd name="connsiteX133" fmla="*/ 237958 w 591505"/>
                <a:gd name="connsiteY133" fmla="*/ 11556 h 413264"/>
                <a:gd name="connsiteX134" fmla="*/ 226311 w 591505"/>
                <a:gd name="connsiteY134" fmla="*/ 14067 h 413264"/>
                <a:gd name="connsiteX135" fmla="*/ 224465 w 591505"/>
                <a:gd name="connsiteY135" fmla="*/ 15156 h 413264"/>
                <a:gd name="connsiteX136" fmla="*/ 225343 w 591505"/>
                <a:gd name="connsiteY136" fmla="*/ 16880 h 413264"/>
                <a:gd name="connsiteX137" fmla="*/ 220291 w 591505"/>
                <a:gd name="connsiteY137" fmla="*/ 21902 h 413264"/>
                <a:gd name="connsiteX138" fmla="*/ 215208 w 591505"/>
                <a:gd name="connsiteY138" fmla="*/ 23021 h 413264"/>
                <a:gd name="connsiteX139" fmla="*/ 210610 w 591505"/>
                <a:gd name="connsiteY139" fmla="*/ 19754 h 413264"/>
                <a:gd name="connsiteX140" fmla="*/ 207041 w 591505"/>
                <a:gd name="connsiteY140" fmla="*/ 11526 h 413264"/>
                <a:gd name="connsiteX141" fmla="*/ 204590 w 591505"/>
                <a:gd name="connsiteY141" fmla="*/ 6716 h 413264"/>
                <a:gd name="connsiteX142" fmla="*/ 201323 w 591505"/>
                <a:gd name="connsiteY142" fmla="*/ 5021 h 413264"/>
                <a:gd name="connsiteX143" fmla="*/ 197754 w 591505"/>
                <a:gd name="connsiteY143" fmla="*/ 5627 h 413264"/>
                <a:gd name="connsiteX144" fmla="*/ 194789 w 591505"/>
                <a:gd name="connsiteY144" fmla="*/ 7533 h 413264"/>
                <a:gd name="connsiteX145" fmla="*/ 191098 w 591505"/>
                <a:gd name="connsiteY145" fmla="*/ 9922 h 413264"/>
                <a:gd name="connsiteX146" fmla="*/ 176850 w 591505"/>
                <a:gd name="connsiteY146" fmla="*/ 15337 h 413264"/>
                <a:gd name="connsiteX147" fmla="*/ 175337 w 591505"/>
                <a:gd name="connsiteY147" fmla="*/ 15549 h 413264"/>
                <a:gd name="connsiteX148" fmla="*/ 173613 w 591505"/>
                <a:gd name="connsiteY148" fmla="*/ 14883 h 413264"/>
                <a:gd name="connsiteX149" fmla="*/ 169166 w 591505"/>
                <a:gd name="connsiteY149" fmla="*/ 10558 h 413264"/>
                <a:gd name="connsiteX150" fmla="*/ 166504 w 591505"/>
                <a:gd name="connsiteY150" fmla="*/ 9226 h 413264"/>
                <a:gd name="connsiteX151" fmla="*/ 166262 w 591505"/>
                <a:gd name="connsiteY151" fmla="*/ 9106 h 413264"/>
                <a:gd name="connsiteX152" fmla="*/ 159818 w 591505"/>
                <a:gd name="connsiteY152" fmla="*/ 7714 h 413264"/>
                <a:gd name="connsiteX153" fmla="*/ 129960 w 591505"/>
                <a:gd name="connsiteY153" fmla="*/ 8652 h 413264"/>
                <a:gd name="connsiteX154" fmla="*/ 127963 w 591505"/>
                <a:gd name="connsiteY154" fmla="*/ 7896 h 413264"/>
                <a:gd name="connsiteX155" fmla="*/ 124242 w 591505"/>
                <a:gd name="connsiteY155" fmla="*/ 5324 h 413264"/>
                <a:gd name="connsiteX156" fmla="*/ 122337 w 591505"/>
                <a:gd name="connsiteY156" fmla="*/ 4417 h 413264"/>
                <a:gd name="connsiteX157" fmla="*/ 117799 w 591505"/>
                <a:gd name="connsiteY157" fmla="*/ 4144 h 413264"/>
                <a:gd name="connsiteX158" fmla="*/ 106636 w 591505"/>
                <a:gd name="connsiteY158" fmla="*/ 8985 h 413264"/>
                <a:gd name="connsiteX159" fmla="*/ 104851 w 591505"/>
                <a:gd name="connsiteY159" fmla="*/ 9771 h 413264"/>
                <a:gd name="connsiteX160" fmla="*/ 76596 w 591505"/>
                <a:gd name="connsiteY160" fmla="*/ 22023 h 413264"/>
                <a:gd name="connsiteX161" fmla="*/ 67703 w 591505"/>
                <a:gd name="connsiteY161" fmla="*/ 22386 h 413264"/>
                <a:gd name="connsiteX162" fmla="*/ 63981 w 591505"/>
                <a:gd name="connsiteY162" fmla="*/ 24141 h 413264"/>
                <a:gd name="connsiteX163" fmla="*/ 49945 w 591505"/>
                <a:gd name="connsiteY163" fmla="*/ 34093 h 413264"/>
                <a:gd name="connsiteX164" fmla="*/ 48372 w 591505"/>
                <a:gd name="connsiteY164" fmla="*/ 34577 h 413264"/>
                <a:gd name="connsiteX165" fmla="*/ 43804 w 591505"/>
                <a:gd name="connsiteY165" fmla="*/ 34789 h 413264"/>
                <a:gd name="connsiteX166" fmla="*/ 40718 w 591505"/>
                <a:gd name="connsiteY166" fmla="*/ 36271 h 413264"/>
                <a:gd name="connsiteX167" fmla="*/ 36967 w 591505"/>
                <a:gd name="connsiteY167" fmla="*/ 39175 h 413264"/>
                <a:gd name="connsiteX168" fmla="*/ 33397 w 591505"/>
                <a:gd name="connsiteY168" fmla="*/ 42775 h 413264"/>
                <a:gd name="connsiteX169" fmla="*/ 30856 w 591505"/>
                <a:gd name="connsiteY169" fmla="*/ 46436 h 413264"/>
                <a:gd name="connsiteX170" fmla="*/ 29132 w 591505"/>
                <a:gd name="connsiteY170" fmla="*/ 51790 h 413264"/>
                <a:gd name="connsiteX171" fmla="*/ 28406 w 591505"/>
                <a:gd name="connsiteY171" fmla="*/ 56358 h 413264"/>
                <a:gd name="connsiteX172" fmla="*/ 26893 w 591505"/>
                <a:gd name="connsiteY172" fmla="*/ 59504 h 413264"/>
                <a:gd name="connsiteX173" fmla="*/ 22840 w 591505"/>
                <a:gd name="connsiteY173" fmla="*/ 60533 h 413264"/>
                <a:gd name="connsiteX174" fmla="*/ 16941 w 591505"/>
                <a:gd name="connsiteY174" fmla="*/ 60593 h 413264"/>
                <a:gd name="connsiteX175" fmla="*/ 13129 w 591505"/>
                <a:gd name="connsiteY175" fmla="*/ 61471 h 413264"/>
                <a:gd name="connsiteX176" fmla="*/ 13613 w 591505"/>
                <a:gd name="connsiteY176" fmla="*/ 67279 h 413264"/>
                <a:gd name="connsiteX177" fmla="*/ 13613 w 591505"/>
                <a:gd name="connsiteY177" fmla="*/ 81437 h 413264"/>
                <a:gd name="connsiteX178" fmla="*/ 13371 w 591505"/>
                <a:gd name="connsiteY178" fmla="*/ 82979 h 413264"/>
                <a:gd name="connsiteX179" fmla="*/ 12433 w 591505"/>
                <a:gd name="connsiteY179" fmla="*/ 85279 h 413264"/>
                <a:gd name="connsiteX180" fmla="*/ 12221 w 591505"/>
                <a:gd name="connsiteY180" fmla="*/ 87094 h 413264"/>
                <a:gd name="connsiteX181" fmla="*/ 12221 w 591505"/>
                <a:gd name="connsiteY181" fmla="*/ 94354 h 413264"/>
                <a:gd name="connsiteX182" fmla="*/ 13825 w 591505"/>
                <a:gd name="connsiteY182" fmla="*/ 108270 h 413264"/>
                <a:gd name="connsiteX183" fmla="*/ 14763 w 591505"/>
                <a:gd name="connsiteY183" fmla="*/ 111476 h 413264"/>
                <a:gd name="connsiteX184" fmla="*/ 15246 w 591505"/>
                <a:gd name="connsiteY184" fmla="*/ 115530 h 413264"/>
                <a:gd name="connsiteX185" fmla="*/ 15882 w 591505"/>
                <a:gd name="connsiteY185" fmla="*/ 116558 h 413264"/>
                <a:gd name="connsiteX186" fmla="*/ 16759 w 591505"/>
                <a:gd name="connsiteY186" fmla="*/ 117103 h 413264"/>
                <a:gd name="connsiteX187" fmla="*/ 17758 w 591505"/>
                <a:gd name="connsiteY187" fmla="*/ 118132 h 413264"/>
                <a:gd name="connsiteX188" fmla="*/ 21932 w 591505"/>
                <a:gd name="connsiteY188" fmla="*/ 124847 h 413264"/>
                <a:gd name="connsiteX189" fmla="*/ 22567 w 591505"/>
                <a:gd name="connsiteY189" fmla="*/ 126481 h 413264"/>
                <a:gd name="connsiteX190" fmla="*/ 22870 w 591505"/>
                <a:gd name="connsiteY190" fmla="*/ 129567 h 413264"/>
                <a:gd name="connsiteX191" fmla="*/ 23626 w 591505"/>
                <a:gd name="connsiteY191" fmla="*/ 132441 h 413264"/>
                <a:gd name="connsiteX192" fmla="*/ 27408 w 591505"/>
                <a:gd name="connsiteY192" fmla="*/ 141698 h 413264"/>
                <a:gd name="connsiteX193" fmla="*/ 27710 w 591505"/>
                <a:gd name="connsiteY193" fmla="*/ 143392 h 413264"/>
                <a:gd name="connsiteX194" fmla="*/ 27710 w 591505"/>
                <a:gd name="connsiteY194" fmla="*/ 144602 h 413264"/>
                <a:gd name="connsiteX195" fmla="*/ 27529 w 591505"/>
                <a:gd name="connsiteY195" fmla="*/ 145903 h 413264"/>
                <a:gd name="connsiteX196" fmla="*/ 27438 w 591505"/>
                <a:gd name="connsiteY196" fmla="*/ 147899 h 413264"/>
                <a:gd name="connsiteX197" fmla="*/ 27861 w 591505"/>
                <a:gd name="connsiteY197" fmla="*/ 149442 h 413264"/>
                <a:gd name="connsiteX198" fmla="*/ 28829 w 591505"/>
                <a:gd name="connsiteY198" fmla="*/ 150743 h 413264"/>
                <a:gd name="connsiteX199" fmla="*/ 29767 w 591505"/>
                <a:gd name="connsiteY199" fmla="*/ 151711 h 413264"/>
                <a:gd name="connsiteX200" fmla="*/ 30221 w 591505"/>
                <a:gd name="connsiteY200" fmla="*/ 152255 h 413264"/>
                <a:gd name="connsiteX201" fmla="*/ 30342 w 591505"/>
                <a:gd name="connsiteY201" fmla="*/ 153526 h 413264"/>
                <a:gd name="connsiteX202" fmla="*/ 31582 w 591505"/>
                <a:gd name="connsiteY202" fmla="*/ 158366 h 413264"/>
                <a:gd name="connsiteX203" fmla="*/ 32762 w 591505"/>
                <a:gd name="connsiteY203" fmla="*/ 164931 h 413264"/>
                <a:gd name="connsiteX204" fmla="*/ 32762 w 591505"/>
                <a:gd name="connsiteY204" fmla="*/ 168924 h 413264"/>
                <a:gd name="connsiteX205" fmla="*/ 31189 w 591505"/>
                <a:gd name="connsiteY205" fmla="*/ 170709 h 413264"/>
                <a:gd name="connsiteX206" fmla="*/ 30342 w 591505"/>
                <a:gd name="connsiteY206" fmla="*/ 171949 h 413264"/>
                <a:gd name="connsiteX207" fmla="*/ 26500 w 591505"/>
                <a:gd name="connsiteY207" fmla="*/ 180087 h 413264"/>
                <a:gd name="connsiteX208" fmla="*/ 26228 w 591505"/>
                <a:gd name="connsiteY208" fmla="*/ 180238 h 413264"/>
                <a:gd name="connsiteX209" fmla="*/ 26228 w 591505"/>
                <a:gd name="connsiteY209" fmla="*/ 180601 h 413264"/>
                <a:gd name="connsiteX210" fmla="*/ 26772 w 591505"/>
                <a:gd name="connsiteY210" fmla="*/ 181841 h 413264"/>
                <a:gd name="connsiteX211" fmla="*/ 32611 w 591505"/>
                <a:gd name="connsiteY211" fmla="*/ 176698 h 413264"/>
                <a:gd name="connsiteX212" fmla="*/ 33670 w 591505"/>
                <a:gd name="connsiteY212" fmla="*/ 176819 h 413264"/>
                <a:gd name="connsiteX213" fmla="*/ 33609 w 591505"/>
                <a:gd name="connsiteY213" fmla="*/ 180510 h 413264"/>
                <a:gd name="connsiteX214" fmla="*/ 33912 w 591505"/>
                <a:gd name="connsiteY214" fmla="*/ 182204 h 413264"/>
                <a:gd name="connsiteX215" fmla="*/ 34729 w 591505"/>
                <a:gd name="connsiteY215" fmla="*/ 182900 h 413264"/>
                <a:gd name="connsiteX216" fmla="*/ 35394 w 591505"/>
                <a:gd name="connsiteY216" fmla="*/ 183626 h 413264"/>
                <a:gd name="connsiteX217" fmla="*/ 36241 w 591505"/>
                <a:gd name="connsiteY217" fmla="*/ 185320 h 413264"/>
                <a:gd name="connsiteX218" fmla="*/ 36907 w 591505"/>
                <a:gd name="connsiteY218" fmla="*/ 187196 h 413264"/>
                <a:gd name="connsiteX219" fmla="*/ 37118 w 591505"/>
                <a:gd name="connsiteY219" fmla="*/ 188527 h 413264"/>
                <a:gd name="connsiteX220" fmla="*/ 36513 w 591505"/>
                <a:gd name="connsiteY220" fmla="*/ 190160 h 413264"/>
                <a:gd name="connsiteX221" fmla="*/ 35787 w 591505"/>
                <a:gd name="connsiteY221" fmla="*/ 190221 h 413264"/>
                <a:gd name="connsiteX222" fmla="*/ 35061 w 591505"/>
                <a:gd name="connsiteY222" fmla="*/ 189979 h 413264"/>
                <a:gd name="connsiteX223" fmla="*/ 34396 w 591505"/>
                <a:gd name="connsiteY223" fmla="*/ 190644 h 413264"/>
                <a:gd name="connsiteX224" fmla="*/ 34396 w 591505"/>
                <a:gd name="connsiteY224" fmla="*/ 191854 h 413264"/>
                <a:gd name="connsiteX225" fmla="*/ 34880 w 591505"/>
                <a:gd name="connsiteY225" fmla="*/ 195575 h 413264"/>
                <a:gd name="connsiteX226" fmla="*/ 34729 w 591505"/>
                <a:gd name="connsiteY226" fmla="*/ 196362 h 413264"/>
                <a:gd name="connsiteX227" fmla="*/ 34729 w 591505"/>
                <a:gd name="connsiteY227" fmla="*/ 196362 h 413264"/>
                <a:gd name="connsiteX228" fmla="*/ 42987 w 591505"/>
                <a:gd name="connsiteY228" fmla="*/ 190009 h 413264"/>
                <a:gd name="connsiteX229" fmla="*/ 45498 w 591505"/>
                <a:gd name="connsiteY229" fmla="*/ 189646 h 413264"/>
                <a:gd name="connsiteX230" fmla="*/ 48584 w 591505"/>
                <a:gd name="connsiteY230" fmla="*/ 192490 h 413264"/>
                <a:gd name="connsiteX231" fmla="*/ 54846 w 591505"/>
                <a:gd name="connsiteY231" fmla="*/ 202412 h 413264"/>
                <a:gd name="connsiteX232" fmla="*/ 58506 w 591505"/>
                <a:gd name="connsiteY232" fmla="*/ 205105 h 413264"/>
                <a:gd name="connsiteX233" fmla="*/ 68701 w 591505"/>
                <a:gd name="connsiteY233" fmla="*/ 205407 h 413264"/>
                <a:gd name="connsiteX234" fmla="*/ 72785 w 591505"/>
                <a:gd name="connsiteY234" fmla="*/ 207253 h 413264"/>
                <a:gd name="connsiteX235" fmla="*/ 79863 w 591505"/>
                <a:gd name="connsiteY235" fmla="*/ 212365 h 413264"/>
                <a:gd name="connsiteX236" fmla="*/ 81588 w 591505"/>
                <a:gd name="connsiteY236" fmla="*/ 214482 h 413264"/>
                <a:gd name="connsiteX237" fmla="*/ 83312 w 591505"/>
                <a:gd name="connsiteY237" fmla="*/ 215844 h 413264"/>
                <a:gd name="connsiteX238" fmla="*/ 90300 w 591505"/>
                <a:gd name="connsiteY238" fmla="*/ 217235 h 413264"/>
                <a:gd name="connsiteX239" fmla="*/ 93719 w 591505"/>
                <a:gd name="connsiteY239" fmla="*/ 219988 h 413264"/>
                <a:gd name="connsiteX240" fmla="*/ 95655 w 591505"/>
                <a:gd name="connsiteY240" fmla="*/ 221168 h 413264"/>
                <a:gd name="connsiteX241" fmla="*/ 99194 w 591505"/>
                <a:gd name="connsiteY241" fmla="*/ 221985 h 413264"/>
                <a:gd name="connsiteX242" fmla="*/ 101645 w 591505"/>
                <a:gd name="connsiteY242" fmla="*/ 223498 h 413264"/>
                <a:gd name="connsiteX243" fmla="*/ 102643 w 591505"/>
                <a:gd name="connsiteY243" fmla="*/ 223861 h 413264"/>
                <a:gd name="connsiteX244" fmla="*/ 103520 w 591505"/>
                <a:gd name="connsiteY244" fmla="*/ 223498 h 413264"/>
                <a:gd name="connsiteX245" fmla="*/ 106152 w 591505"/>
                <a:gd name="connsiteY245" fmla="*/ 221622 h 413264"/>
                <a:gd name="connsiteX246" fmla="*/ 108754 w 591505"/>
                <a:gd name="connsiteY246" fmla="*/ 221380 h 413264"/>
                <a:gd name="connsiteX247" fmla="*/ 109964 w 591505"/>
                <a:gd name="connsiteY247" fmla="*/ 222197 h 413264"/>
                <a:gd name="connsiteX248" fmla="*/ 110297 w 591505"/>
                <a:gd name="connsiteY248" fmla="*/ 223981 h 413264"/>
                <a:gd name="connsiteX249" fmla="*/ 110297 w 591505"/>
                <a:gd name="connsiteY249" fmla="*/ 226644 h 413264"/>
                <a:gd name="connsiteX250" fmla="*/ 111204 w 591505"/>
                <a:gd name="connsiteY250" fmla="*/ 229306 h 413264"/>
                <a:gd name="connsiteX251" fmla="*/ 113443 w 591505"/>
                <a:gd name="connsiteY251" fmla="*/ 231060 h 413264"/>
                <a:gd name="connsiteX252" fmla="*/ 116165 w 591505"/>
                <a:gd name="connsiteY252" fmla="*/ 231877 h 413264"/>
                <a:gd name="connsiteX253" fmla="*/ 118464 w 591505"/>
                <a:gd name="connsiteY253" fmla="*/ 231665 h 413264"/>
                <a:gd name="connsiteX254" fmla="*/ 120340 w 591505"/>
                <a:gd name="connsiteY254" fmla="*/ 230395 h 413264"/>
                <a:gd name="connsiteX255" fmla="*/ 121489 w 591505"/>
                <a:gd name="connsiteY255" fmla="*/ 228912 h 413264"/>
                <a:gd name="connsiteX256" fmla="*/ 122760 w 591505"/>
                <a:gd name="connsiteY256" fmla="*/ 227672 h 413264"/>
                <a:gd name="connsiteX257" fmla="*/ 133711 w 591505"/>
                <a:gd name="connsiteY257" fmla="*/ 225040 h 413264"/>
                <a:gd name="connsiteX258" fmla="*/ 135587 w 591505"/>
                <a:gd name="connsiteY258" fmla="*/ 225252 h 413264"/>
                <a:gd name="connsiteX259" fmla="*/ 152346 w 591505"/>
                <a:gd name="connsiteY259" fmla="*/ 227128 h 413264"/>
                <a:gd name="connsiteX260" fmla="*/ 162874 w 591505"/>
                <a:gd name="connsiteY260" fmla="*/ 224224 h 413264"/>
                <a:gd name="connsiteX261" fmla="*/ 165324 w 591505"/>
                <a:gd name="connsiteY261" fmla="*/ 225524 h 413264"/>
                <a:gd name="connsiteX262" fmla="*/ 165899 w 591505"/>
                <a:gd name="connsiteY262" fmla="*/ 226129 h 413264"/>
                <a:gd name="connsiteX263" fmla="*/ 166836 w 591505"/>
                <a:gd name="connsiteY263" fmla="*/ 227158 h 413264"/>
                <a:gd name="connsiteX264" fmla="*/ 167956 w 591505"/>
                <a:gd name="connsiteY264" fmla="*/ 230395 h 413264"/>
                <a:gd name="connsiteX265" fmla="*/ 169650 w 591505"/>
                <a:gd name="connsiteY265" fmla="*/ 237685 h 413264"/>
                <a:gd name="connsiteX266" fmla="*/ 170981 w 591505"/>
                <a:gd name="connsiteY266" fmla="*/ 241285 h 413264"/>
                <a:gd name="connsiteX267" fmla="*/ 172161 w 591505"/>
                <a:gd name="connsiteY267" fmla="*/ 243252 h 413264"/>
                <a:gd name="connsiteX268" fmla="*/ 173794 w 591505"/>
                <a:gd name="connsiteY268" fmla="*/ 244068 h 413264"/>
                <a:gd name="connsiteX269" fmla="*/ 179451 w 591505"/>
                <a:gd name="connsiteY269" fmla="*/ 244068 h 413264"/>
                <a:gd name="connsiteX270" fmla="*/ 180389 w 591505"/>
                <a:gd name="connsiteY270" fmla="*/ 244311 h 413264"/>
                <a:gd name="connsiteX271" fmla="*/ 181024 w 591505"/>
                <a:gd name="connsiteY271" fmla="*/ 244976 h 413264"/>
                <a:gd name="connsiteX272" fmla="*/ 181750 w 591505"/>
                <a:gd name="connsiteY272" fmla="*/ 246065 h 413264"/>
                <a:gd name="connsiteX273" fmla="*/ 182718 w 591505"/>
                <a:gd name="connsiteY273" fmla="*/ 247063 h 413264"/>
                <a:gd name="connsiteX274" fmla="*/ 184050 w 591505"/>
                <a:gd name="connsiteY274" fmla="*/ 247547 h 413264"/>
                <a:gd name="connsiteX275" fmla="*/ 182930 w 591505"/>
                <a:gd name="connsiteY275" fmla="*/ 249725 h 413264"/>
                <a:gd name="connsiteX276" fmla="*/ 183777 w 591505"/>
                <a:gd name="connsiteY276" fmla="*/ 250966 h 413264"/>
                <a:gd name="connsiteX277" fmla="*/ 189767 w 591505"/>
                <a:gd name="connsiteY277" fmla="*/ 253567 h 413264"/>
                <a:gd name="connsiteX278" fmla="*/ 191007 w 591505"/>
                <a:gd name="connsiteY278" fmla="*/ 254899 h 413264"/>
                <a:gd name="connsiteX279" fmla="*/ 191824 w 591505"/>
                <a:gd name="connsiteY279" fmla="*/ 256956 h 413264"/>
                <a:gd name="connsiteX280" fmla="*/ 193337 w 591505"/>
                <a:gd name="connsiteY280" fmla="*/ 263460 h 413264"/>
                <a:gd name="connsiteX281" fmla="*/ 193760 w 591505"/>
                <a:gd name="connsiteY281" fmla="*/ 266424 h 413264"/>
                <a:gd name="connsiteX282" fmla="*/ 193488 w 591505"/>
                <a:gd name="connsiteY282" fmla="*/ 269268 h 413264"/>
                <a:gd name="connsiteX283" fmla="*/ 192187 w 591505"/>
                <a:gd name="connsiteY283" fmla="*/ 272081 h 413264"/>
                <a:gd name="connsiteX284" fmla="*/ 190675 w 591505"/>
                <a:gd name="connsiteY284" fmla="*/ 273594 h 413264"/>
                <a:gd name="connsiteX285" fmla="*/ 187559 w 591505"/>
                <a:gd name="connsiteY285" fmla="*/ 275711 h 413264"/>
                <a:gd name="connsiteX286" fmla="*/ 186167 w 591505"/>
                <a:gd name="connsiteY286" fmla="*/ 277859 h 413264"/>
                <a:gd name="connsiteX287" fmla="*/ 185350 w 591505"/>
                <a:gd name="connsiteY287" fmla="*/ 278736 h 413264"/>
                <a:gd name="connsiteX288" fmla="*/ 183596 w 591505"/>
                <a:gd name="connsiteY288" fmla="*/ 279614 h 413264"/>
                <a:gd name="connsiteX289" fmla="*/ 182537 w 591505"/>
                <a:gd name="connsiteY289" fmla="*/ 280461 h 413264"/>
                <a:gd name="connsiteX290" fmla="*/ 181690 w 591505"/>
                <a:gd name="connsiteY290" fmla="*/ 280642 h 413264"/>
                <a:gd name="connsiteX291" fmla="*/ 181357 w 591505"/>
                <a:gd name="connsiteY291" fmla="*/ 280915 h 413264"/>
                <a:gd name="connsiteX292" fmla="*/ 181146 w 591505"/>
                <a:gd name="connsiteY292" fmla="*/ 281671 h 413264"/>
                <a:gd name="connsiteX293" fmla="*/ 181357 w 591505"/>
                <a:gd name="connsiteY293" fmla="*/ 282458 h 413264"/>
                <a:gd name="connsiteX294" fmla="*/ 181629 w 591505"/>
                <a:gd name="connsiteY294" fmla="*/ 283153 h 413264"/>
                <a:gd name="connsiteX295" fmla="*/ 181629 w 591505"/>
                <a:gd name="connsiteY295" fmla="*/ 283789 h 413264"/>
                <a:gd name="connsiteX296" fmla="*/ 179360 w 591505"/>
                <a:gd name="connsiteY296" fmla="*/ 286783 h 413264"/>
                <a:gd name="connsiteX297" fmla="*/ 178937 w 591505"/>
                <a:gd name="connsiteY297" fmla="*/ 287903 h 413264"/>
                <a:gd name="connsiteX298" fmla="*/ 178937 w 591505"/>
                <a:gd name="connsiteY298" fmla="*/ 289536 h 413264"/>
                <a:gd name="connsiteX299" fmla="*/ 179542 w 591505"/>
                <a:gd name="connsiteY299" fmla="*/ 293166 h 413264"/>
                <a:gd name="connsiteX300" fmla="*/ 179663 w 591505"/>
                <a:gd name="connsiteY300" fmla="*/ 294891 h 413264"/>
                <a:gd name="connsiteX301" fmla="*/ 179209 w 591505"/>
                <a:gd name="connsiteY301" fmla="*/ 297765 h 413264"/>
                <a:gd name="connsiteX302" fmla="*/ 177001 w 591505"/>
                <a:gd name="connsiteY302" fmla="*/ 305358 h 413264"/>
                <a:gd name="connsiteX303" fmla="*/ 176305 w 591505"/>
                <a:gd name="connsiteY303" fmla="*/ 317731 h 413264"/>
                <a:gd name="connsiteX304" fmla="*/ 176880 w 591505"/>
                <a:gd name="connsiteY304" fmla="*/ 323932 h 413264"/>
                <a:gd name="connsiteX305" fmla="*/ 179542 w 591505"/>
                <a:gd name="connsiteY305" fmla="*/ 329408 h 413264"/>
                <a:gd name="connsiteX306" fmla="*/ 185623 w 591505"/>
                <a:gd name="connsiteY306" fmla="*/ 339330 h 413264"/>
                <a:gd name="connsiteX307" fmla="*/ 187498 w 591505"/>
                <a:gd name="connsiteY307" fmla="*/ 337908 h 413264"/>
                <a:gd name="connsiteX308" fmla="*/ 190039 w 591505"/>
                <a:gd name="connsiteY308" fmla="*/ 333552 h 413264"/>
                <a:gd name="connsiteX309" fmla="*/ 190191 w 591505"/>
                <a:gd name="connsiteY309" fmla="*/ 333310 h 413264"/>
                <a:gd name="connsiteX310" fmla="*/ 192701 w 591505"/>
                <a:gd name="connsiteY310" fmla="*/ 332221 h 413264"/>
                <a:gd name="connsiteX311" fmla="*/ 194849 w 591505"/>
                <a:gd name="connsiteY311" fmla="*/ 332493 h 413264"/>
                <a:gd name="connsiteX312" fmla="*/ 200900 w 591505"/>
                <a:gd name="connsiteY312" fmla="*/ 335367 h 413264"/>
                <a:gd name="connsiteX313" fmla="*/ 201989 w 591505"/>
                <a:gd name="connsiteY313" fmla="*/ 335488 h 413264"/>
                <a:gd name="connsiteX314" fmla="*/ 204257 w 591505"/>
                <a:gd name="connsiteY314" fmla="*/ 335035 h 413264"/>
                <a:gd name="connsiteX315" fmla="*/ 205286 w 591505"/>
                <a:gd name="connsiteY315" fmla="*/ 335246 h 413264"/>
                <a:gd name="connsiteX316" fmla="*/ 206345 w 591505"/>
                <a:gd name="connsiteY316" fmla="*/ 336244 h 413264"/>
                <a:gd name="connsiteX317" fmla="*/ 206920 w 591505"/>
                <a:gd name="connsiteY317" fmla="*/ 337455 h 413264"/>
                <a:gd name="connsiteX318" fmla="*/ 207373 w 591505"/>
                <a:gd name="connsiteY318" fmla="*/ 338695 h 413264"/>
                <a:gd name="connsiteX319" fmla="*/ 208009 w 591505"/>
                <a:gd name="connsiteY319" fmla="*/ 339723 h 413264"/>
                <a:gd name="connsiteX320" fmla="*/ 209128 w 591505"/>
                <a:gd name="connsiteY320" fmla="*/ 340449 h 413264"/>
                <a:gd name="connsiteX321" fmla="*/ 212577 w 591505"/>
                <a:gd name="connsiteY321" fmla="*/ 340812 h 413264"/>
                <a:gd name="connsiteX322" fmla="*/ 213212 w 591505"/>
                <a:gd name="connsiteY322" fmla="*/ 341690 h 413264"/>
                <a:gd name="connsiteX323" fmla="*/ 212849 w 591505"/>
                <a:gd name="connsiteY323" fmla="*/ 343202 h 413264"/>
                <a:gd name="connsiteX324" fmla="*/ 212274 w 591505"/>
                <a:gd name="connsiteY324" fmla="*/ 345017 h 413264"/>
                <a:gd name="connsiteX325" fmla="*/ 212274 w 591505"/>
                <a:gd name="connsiteY325" fmla="*/ 346681 h 413264"/>
                <a:gd name="connsiteX326" fmla="*/ 214089 w 591505"/>
                <a:gd name="connsiteY326" fmla="*/ 349011 h 413264"/>
                <a:gd name="connsiteX327" fmla="*/ 216388 w 591505"/>
                <a:gd name="connsiteY327" fmla="*/ 349011 h 413264"/>
                <a:gd name="connsiteX328" fmla="*/ 218778 w 591505"/>
                <a:gd name="connsiteY328" fmla="*/ 348043 h 413264"/>
                <a:gd name="connsiteX329" fmla="*/ 220805 w 591505"/>
                <a:gd name="connsiteY329" fmla="*/ 347619 h 413264"/>
                <a:gd name="connsiteX330" fmla="*/ 222650 w 591505"/>
                <a:gd name="connsiteY330" fmla="*/ 348436 h 413264"/>
                <a:gd name="connsiteX331" fmla="*/ 228882 w 591505"/>
                <a:gd name="connsiteY331" fmla="*/ 353246 h 413264"/>
                <a:gd name="connsiteX332" fmla="*/ 232724 w 591505"/>
                <a:gd name="connsiteY332" fmla="*/ 355424 h 413264"/>
                <a:gd name="connsiteX333" fmla="*/ 240832 w 591505"/>
                <a:gd name="connsiteY333" fmla="*/ 358268 h 413264"/>
                <a:gd name="connsiteX334" fmla="*/ 242828 w 591505"/>
                <a:gd name="connsiteY334" fmla="*/ 359841 h 413264"/>
                <a:gd name="connsiteX335" fmla="*/ 244674 w 591505"/>
                <a:gd name="connsiteY335" fmla="*/ 361293 h 413264"/>
                <a:gd name="connsiteX336" fmla="*/ 245641 w 591505"/>
                <a:gd name="connsiteY336" fmla="*/ 362684 h 413264"/>
                <a:gd name="connsiteX337" fmla="*/ 247457 w 591505"/>
                <a:gd name="connsiteY337" fmla="*/ 365921 h 413264"/>
                <a:gd name="connsiteX338" fmla="*/ 248394 w 591505"/>
                <a:gd name="connsiteY338" fmla="*/ 367162 h 413264"/>
                <a:gd name="connsiteX339" fmla="*/ 249453 w 591505"/>
                <a:gd name="connsiteY339" fmla="*/ 367797 h 413264"/>
                <a:gd name="connsiteX340" fmla="*/ 251601 w 591505"/>
                <a:gd name="connsiteY340" fmla="*/ 368342 h 413264"/>
                <a:gd name="connsiteX341" fmla="*/ 252539 w 591505"/>
                <a:gd name="connsiteY341" fmla="*/ 368856 h 413264"/>
                <a:gd name="connsiteX342" fmla="*/ 254203 w 591505"/>
                <a:gd name="connsiteY342" fmla="*/ 371124 h 413264"/>
                <a:gd name="connsiteX343" fmla="*/ 255594 w 591505"/>
                <a:gd name="connsiteY343" fmla="*/ 374271 h 413264"/>
                <a:gd name="connsiteX344" fmla="*/ 256714 w 591505"/>
                <a:gd name="connsiteY344" fmla="*/ 377780 h 413264"/>
                <a:gd name="connsiteX345" fmla="*/ 257470 w 591505"/>
                <a:gd name="connsiteY345" fmla="*/ 381138 h 413264"/>
                <a:gd name="connsiteX346" fmla="*/ 258952 w 591505"/>
                <a:gd name="connsiteY346" fmla="*/ 388489 h 413264"/>
                <a:gd name="connsiteX347" fmla="*/ 258952 w 591505"/>
                <a:gd name="connsiteY347" fmla="*/ 392028 h 413264"/>
                <a:gd name="connsiteX348" fmla="*/ 257470 w 591505"/>
                <a:gd name="connsiteY348" fmla="*/ 394448 h 413264"/>
                <a:gd name="connsiteX349" fmla="*/ 256260 w 591505"/>
                <a:gd name="connsiteY349" fmla="*/ 395386 h 413264"/>
                <a:gd name="connsiteX350" fmla="*/ 255715 w 591505"/>
                <a:gd name="connsiteY350" fmla="*/ 396021 h 413264"/>
                <a:gd name="connsiteX351" fmla="*/ 255231 w 591505"/>
                <a:gd name="connsiteY351" fmla="*/ 396717 h 413264"/>
                <a:gd name="connsiteX352" fmla="*/ 255171 w 591505"/>
                <a:gd name="connsiteY352" fmla="*/ 398411 h 413264"/>
                <a:gd name="connsiteX353" fmla="*/ 255594 w 591505"/>
                <a:gd name="connsiteY353" fmla="*/ 399833 h 413264"/>
                <a:gd name="connsiteX354" fmla="*/ 256411 w 591505"/>
                <a:gd name="connsiteY354" fmla="*/ 400983 h 413264"/>
                <a:gd name="connsiteX355" fmla="*/ 257500 w 591505"/>
                <a:gd name="connsiteY355" fmla="*/ 401799 h 413264"/>
                <a:gd name="connsiteX356" fmla="*/ 258105 w 591505"/>
                <a:gd name="connsiteY356" fmla="*/ 402495 h 413264"/>
                <a:gd name="connsiteX357" fmla="*/ 258377 w 591505"/>
                <a:gd name="connsiteY357" fmla="*/ 403282 h 413264"/>
                <a:gd name="connsiteX358" fmla="*/ 258317 w 591505"/>
                <a:gd name="connsiteY358" fmla="*/ 404159 h 413264"/>
                <a:gd name="connsiteX359" fmla="*/ 257893 w 591505"/>
                <a:gd name="connsiteY359" fmla="*/ 405066 h 413264"/>
                <a:gd name="connsiteX360" fmla="*/ 261372 w 591505"/>
                <a:gd name="connsiteY360" fmla="*/ 405914 h 413264"/>
                <a:gd name="connsiteX361" fmla="*/ 270417 w 591505"/>
                <a:gd name="connsiteY361" fmla="*/ 410966 h 413264"/>
                <a:gd name="connsiteX362" fmla="*/ 272142 w 591505"/>
                <a:gd name="connsiteY362" fmla="*/ 411510 h 413264"/>
                <a:gd name="connsiteX363" fmla="*/ 273715 w 591505"/>
                <a:gd name="connsiteY363" fmla="*/ 411389 h 413264"/>
                <a:gd name="connsiteX364" fmla="*/ 278646 w 591505"/>
                <a:gd name="connsiteY364" fmla="*/ 409423 h 413264"/>
                <a:gd name="connsiteX365" fmla="*/ 284938 w 591505"/>
                <a:gd name="connsiteY365" fmla="*/ 408606 h 413264"/>
                <a:gd name="connsiteX366" fmla="*/ 286693 w 591505"/>
                <a:gd name="connsiteY366" fmla="*/ 407426 h 413264"/>
                <a:gd name="connsiteX367" fmla="*/ 288235 w 591505"/>
                <a:gd name="connsiteY367" fmla="*/ 406852 h 413264"/>
                <a:gd name="connsiteX368" fmla="*/ 288931 w 591505"/>
                <a:gd name="connsiteY368" fmla="*/ 406972 h 413264"/>
                <a:gd name="connsiteX369" fmla="*/ 290716 w 591505"/>
                <a:gd name="connsiteY369" fmla="*/ 407941 h 413264"/>
                <a:gd name="connsiteX370" fmla="*/ 291593 w 591505"/>
                <a:gd name="connsiteY370" fmla="*/ 408182 h 413264"/>
                <a:gd name="connsiteX371" fmla="*/ 292380 w 591505"/>
                <a:gd name="connsiteY371" fmla="*/ 408061 h 413264"/>
                <a:gd name="connsiteX372" fmla="*/ 300064 w 591505"/>
                <a:gd name="connsiteY372" fmla="*/ 403977 h 413264"/>
                <a:gd name="connsiteX373" fmla="*/ 301576 w 591505"/>
                <a:gd name="connsiteY373" fmla="*/ 403705 h 413264"/>
                <a:gd name="connsiteX374" fmla="*/ 303149 w 591505"/>
                <a:gd name="connsiteY374" fmla="*/ 404310 h 413264"/>
                <a:gd name="connsiteX375" fmla="*/ 306114 w 591505"/>
                <a:gd name="connsiteY375" fmla="*/ 406065 h 413264"/>
                <a:gd name="connsiteX376" fmla="*/ 307778 w 591505"/>
                <a:gd name="connsiteY376" fmla="*/ 406428 h 413264"/>
                <a:gd name="connsiteX377" fmla="*/ 314222 w 591505"/>
                <a:gd name="connsiteY377" fmla="*/ 406367 h 413264"/>
                <a:gd name="connsiteX378" fmla="*/ 317186 w 591505"/>
                <a:gd name="connsiteY378" fmla="*/ 405611 h 413264"/>
                <a:gd name="connsiteX379" fmla="*/ 323418 w 591505"/>
                <a:gd name="connsiteY379" fmla="*/ 402525 h 413264"/>
                <a:gd name="connsiteX380" fmla="*/ 326715 w 591505"/>
                <a:gd name="connsiteY380" fmla="*/ 401981 h 413264"/>
                <a:gd name="connsiteX381" fmla="*/ 329892 w 591505"/>
                <a:gd name="connsiteY381" fmla="*/ 403010 h 413264"/>
                <a:gd name="connsiteX382" fmla="*/ 332705 w 591505"/>
                <a:gd name="connsiteY382" fmla="*/ 406156 h 413264"/>
                <a:gd name="connsiteX383" fmla="*/ 334429 w 591505"/>
                <a:gd name="connsiteY383" fmla="*/ 410663 h 413264"/>
                <a:gd name="connsiteX384" fmla="*/ 335488 w 591505"/>
                <a:gd name="connsiteY384" fmla="*/ 412176 h 413264"/>
                <a:gd name="connsiteX385" fmla="*/ 337424 w 591505"/>
                <a:gd name="connsiteY385" fmla="*/ 412539 h 413264"/>
                <a:gd name="connsiteX386" fmla="*/ 340812 w 591505"/>
                <a:gd name="connsiteY386" fmla="*/ 412387 h 413264"/>
                <a:gd name="connsiteX387" fmla="*/ 344019 w 591505"/>
                <a:gd name="connsiteY387" fmla="*/ 413265 h 413264"/>
                <a:gd name="connsiteX388" fmla="*/ 347649 w 591505"/>
                <a:gd name="connsiteY388" fmla="*/ 413265 h 413264"/>
                <a:gd name="connsiteX389" fmla="*/ 351280 w 591505"/>
                <a:gd name="connsiteY389" fmla="*/ 411601 h 413264"/>
                <a:gd name="connsiteX390" fmla="*/ 362805 w 591505"/>
                <a:gd name="connsiteY390" fmla="*/ 402072 h 413264"/>
                <a:gd name="connsiteX391" fmla="*/ 367888 w 591505"/>
                <a:gd name="connsiteY391" fmla="*/ 399349 h 413264"/>
                <a:gd name="connsiteX392" fmla="*/ 374301 w 591505"/>
                <a:gd name="connsiteY392" fmla="*/ 398200 h 413264"/>
                <a:gd name="connsiteX393" fmla="*/ 376691 w 591505"/>
                <a:gd name="connsiteY393" fmla="*/ 396475 h 413264"/>
                <a:gd name="connsiteX394" fmla="*/ 377084 w 591505"/>
                <a:gd name="connsiteY394" fmla="*/ 396415 h 413264"/>
                <a:gd name="connsiteX395" fmla="*/ 377447 w 591505"/>
                <a:gd name="connsiteY395" fmla="*/ 396505 h 413264"/>
                <a:gd name="connsiteX396" fmla="*/ 377810 w 591505"/>
                <a:gd name="connsiteY396" fmla="*/ 396717 h 413264"/>
                <a:gd name="connsiteX397" fmla="*/ 379111 w 591505"/>
                <a:gd name="connsiteY397" fmla="*/ 399772 h 413264"/>
                <a:gd name="connsiteX398" fmla="*/ 380593 w 591505"/>
                <a:gd name="connsiteY398" fmla="*/ 401134 h 413264"/>
                <a:gd name="connsiteX399" fmla="*/ 382408 w 591505"/>
                <a:gd name="connsiteY399" fmla="*/ 401255 h 413264"/>
                <a:gd name="connsiteX400" fmla="*/ 388943 w 591505"/>
                <a:gd name="connsiteY400" fmla="*/ 400287 h 413264"/>
                <a:gd name="connsiteX401" fmla="*/ 390727 w 591505"/>
                <a:gd name="connsiteY401" fmla="*/ 399409 h 413264"/>
                <a:gd name="connsiteX402" fmla="*/ 391998 w 591505"/>
                <a:gd name="connsiteY402" fmla="*/ 396717 h 413264"/>
                <a:gd name="connsiteX403" fmla="*/ 391998 w 591505"/>
                <a:gd name="connsiteY403" fmla="*/ 396717 h 413264"/>
                <a:gd name="connsiteX404" fmla="*/ 392210 w 591505"/>
                <a:gd name="connsiteY404" fmla="*/ 392391 h 413264"/>
                <a:gd name="connsiteX405" fmla="*/ 391302 w 591505"/>
                <a:gd name="connsiteY405" fmla="*/ 389396 h 413264"/>
                <a:gd name="connsiteX406" fmla="*/ 389941 w 591505"/>
                <a:gd name="connsiteY406" fmla="*/ 386704 h 413264"/>
                <a:gd name="connsiteX407" fmla="*/ 388761 w 591505"/>
                <a:gd name="connsiteY407" fmla="*/ 383316 h 413264"/>
                <a:gd name="connsiteX408" fmla="*/ 388277 w 591505"/>
                <a:gd name="connsiteY408" fmla="*/ 380926 h 413264"/>
                <a:gd name="connsiteX409" fmla="*/ 388458 w 591505"/>
                <a:gd name="connsiteY409" fmla="*/ 380382 h 413264"/>
                <a:gd name="connsiteX410" fmla="*/ 389064 w 591505"/>
                <a:gd name="connsiteY410" fmla="*/ 380321 h 413264"/>
                <a:gd name="connsiteX411" fmla="*/ 389971 w 591505"/>
                <a:gd name="connsiteY411" fmla="*/ 379293 h 413264"/>
                <a:gd name="connsiteX412" fmla="*/ 391847 w 591505"/>
                <a:gd name="connsiteY412" fmla="*/ 378203 h 413264"/>
                <a:gd name="connsiteX413" fmla="*/ 391907 w 591505"/>
                <a:gd name="connsiteY413" fmla="*/ 377598 h 413264"/>
                <a:gd name="connsiteX414" fmla="*/ 391786 w 591505"/>
                <a:gd name="connsiteY414" fmla="*/ 376570 h 413264"/>
                <a:gd name="connsiteX415" fmla="*/ 391786 w 591505"/>
                <a:gd name="connsiteY415" fmla="*/ 375360 h 413264"/>
                <a:gd name="connsiteX416" fmla="*/ 392179 w 591505"/>
                <a:gd name="connsiteY416" fmla="*/ 374362 h 413264"/>
                <a:gd name="connsiteX417" fmla="*/ 395144 w 591505"/>
                <a:gd name="connsiteY417" fmla="*/ 372728 h 413264"/>
                <a:gd name="connsiteX418" fmla="*/ 395658 w 591505"/>
                <a:gd name="connsiteY418" fmla="*/ 372456 h 413264"/>
                <a:gd name="connsiteX419" fmla="*/ 400317 w 591505"/>
                <a:gd name="connsiteY419" fmla="*/ 371972 h 413264"/>
                <a:gd name="connsiteX420" fmla="*/ 404976 w 591505"/>
                <a:gd name="connsiteY420" fmla="*/ 372576 h 413264"/>
                <a:gd name="connsiteX421" fmla="*/ 412902 w 591505"/>
                <a:gd name="connsiteY421" fmla="*/ 375420 h 413264"/>
                <a:gd name="connsiteX422" fmla="*/ 417409 w 591505"/>
                <a:gd name="connsiteY422" fmla="*/ 374755 h 413264"/>
                <a:gd name="connsiteX423" fmla="*/ 421826 w 591505"/>
                <a:gd name="connsiteY423" fmla="*/ 372123 h 413264"/>
                <a:gd name="connsiteX424" fmla="*/ 425940 w 591505"/>
                <a:gd name="connsiteY424" fmla="*/ 367888 h 413264"/>
                <a:gd name="connsiteX425" fmla="*/ 427604 w 591505"/>
                <a:gd name="connsiteY425" fmla="*/ 364590 h 413264"/>
                <a:gd name="connsiteX426" fmla="*/ 429661 w 591505"/>
                <a:gd name="connsiteY426" fmla="*/ 357148 h 413264"/>
                <a:gd name="connsiteX427" fmla="*/ 430932 w 591505"/>
                <a:gd name="connsiteY427" fmla="*/ 355061 h 413264"/>
                <a:gd name="connsiteX428" fmla="*/ 432747 w 591505"/>
                <a:gd name="connsiteY428" fmla="*/ 354789 h 413264"/>
                <a:gd name="connsiteX429" fmla="*/ 439130 w 591505"/>
                <a:gd name="connsiteY429" fmla="*/ 356876 h 413264"/>
                <a:gd name="connsiteX430" fmla="*/ 447388 w 591505"/>
                <a:gd name="connsiteY430" fmla="*/ 356453 h 413264"/>
                <a:gd name="connsiteX431" fmla="*/ 449839 w 591505"/>
                <a:gd name="connsiteY431" fmla="*/ 355001 h 413264"/>
                <a:gd name="connsiteX432" fmla="*/ 453862 w 591505"/>
                <a:gd name="connsiteY432" fmla="*/ 349495 h 413264"/>
                <a:gd name="connsiteX433" fmla="*/ 456403 w 591505"/>
                <a:gd name="connsiteY433" fmla="*/ 348375 h 413264"/>
                <a:gd name="connsiteX434" fmla="*/ 457674 w 591505"/>
                <a:gd name="connsiteY434" fmla="*/ 348648 h 413264"/>
                <a:gd name="connsiteX435" fmla="*/ 458339 w 591505"/>
                <a:gd name="connsiteY435" fmla="*/ 349253 h 413264"/>
                <a:gd name="connsiteX436" fmla="*/ 458854 w 591505"/>
                <a:gd name="connsiteY436" fmla="*/ 350130 h 413264"/>
                <a:gd name="connsiteX437" fmla="*/ 465932 w 591505"/>
                <a:gd name="connsiteY437" fmla="*/ 359054 h 413264"/>
                <a:gd name="connsiteX438" fmla="*/ 465086 w 591505"/>
                <a:gd name="connsiteY438" fmla="*/ 359659 h 413264"/>
                <a:gd name="connsiteX439" fmla="*/ 462726 w 591505"/>
                <a:gd name="connsiteY439" fmla="*/ 359478 h 413264"/>
                <a:gd name="connsiteX440" fmla="*/ 460669 w 591505"/>
                <a:gd name="connsiteY440" fmla="*/ 360567 h 413264"/>
                <a:gd name="connsiteX441" fmla="*/ 460427 w 591505"/>
                <a:gd name="connsiteY441" fmla="*/ 362140 h 413264"/>
                <a:gd name="connsiteX442" fmla="*/ 462847 w 591505"/>
                <a:gd name="connsiteY442" fmla="*/ 363350 h 413264"/>
                <a:gd name="connsiteX443" fmla="*/ 463391 w 591505"/>
                <a:gd name="connsiteY443" fmla="*/ 364681 h 413264"/>
                <a:gd name="connsiteX444" fmla="*/ 462665 w 591505"/>
                <a:gd name="connsiteY444" fmla="*/ 365861 h 413264"/>
                <a:gd name="connsiteX445" fmla="*/ 459792 w 591505"/>
                <a:gd name="connsiteY445" fmla="*/ 366768 h 413264"/>
                <a:gd name="connsiteX446" fmla="*/ 459065 w 591505"/>
                <a:gd name="connsiteY446" fmla="*/ 367888 h 413264"/>
                <a:gd name="connsiteX447" fmla="*/ 459822 w 591505"/>
                <a:gd name="connsiteY447" fmla="*/ 370701 h 413264"/>
                <a:gd name="connsiteX448" fmla="*/ 462121 w 591505"/>
                <a:gd name="connsiteY448" fmla="*/ 372698 h 413264"/>
                <a:gd name="connsiteX449" fmla="*/ 464843 w 591505"/>
                <a:gd name="connsiteY449" fmla="*/ 373908 h 413264"/>
                <a:gd name="connsiteX450" fmla="*/ 473737 w 591505"/>
                <a:gd name="connsiteY450" fmla="*/ 375299 h 413264"/>
                <a:gd name="connsiteX451" fmla="*/ 475946 w 591505"/>
                <a:gd name="connsiteY451" fmla="*/ 375239 h 413264"/>
                <a:gd name="connsiteX452" fmla="*/ 477004 w 591505"/>
                <a:gd name="connsiteY452" fmla="*/ 374664 h 413264"/>
                <a:gd name="connsiteX453" fmla="*/ 478608 w 591505"/>
                <a:gd name="connsiteY453" fmla="*/ 372607 h 413264"/>
                <a:gd name="connsiteX454" fmla="*/ 479697 w 591505"/>
                <a:gd name="connsiteY454" fmla="*/ 372153 h 413264"/>
                <a:gd name="connsiteX455" fmla="*/ 483478 w 591505"/>
                <a:gd name="connsiteY455" fmla="*/ 372637 h 413264"/>
                <a:gd name="connsiteX456" fmla="*/ 484688 w 591505"/>
                <a:gd name="connsiteY456" fmla="*/ 372486 h 413264"/>
                <a:gd name="connsiteX457" fmla="*/ 486988 w 591505"/>
                <a:gd name="connsiteY457" fmla="*/ 370883 h 413264"/>
                <a:gd name="connsiteX458" fmla="*/ 487804 w 591505"/>
                <a:gd name="connsiteY458" fmla="*/ 368402 h 413264"/>
                <a:gd name="connsiteX459" fmla="*/ 487895 w 591505"/>
                <a:gd name="connsiteY459" fmla="*/ 361172 h 413264"/>
                <a:gd name="connsiteX460" fmla="*/ 488198 w 591505"/>
                <a:gd name="connsiteY460" fmla="*/ 360446 h 413264"/>
                <a:gd name="connsiteX461" fmla="*/ 489407 w 591505"/>
                <a:gd name="connsiteY461" fmla="*/ 358963 h 413264"/>
                <a:gd name="connsiteX462" fmla="*/ 489650 w 591505"/>
                <a:gd name="connsiteY462" fmla="*/ 358268 h 413264"/>
                <a:gd name="connsiteX463" fmla="*/ 489377 w 591505"/>
                <a:gd name="connsiteY463" fmla="*/ 357300 h 413264"/>
                <a:gd name="connsiteX464" fmla="*/ 488893 w 591505"/>
                <a:gd name="connsiteY464" fmla="*/ 356967 h 413264"/>
                <a:gd name="connsiteX465" fmla="*/ 488349 w 591505"/>
                <a:gd name="connsiteY465" fmla="*/ 356755 h 413264"/>
                <a:gd name="connsiteX466" fmla="*/ 487955 w 591505"/>
                <a:gd name="connsiteY466" fmla="*/ 356241 h 413264"/>
                <a:gd name="connsiteX467" fmla="*/ 487290 w 591505"/>
                <a:gd name="connsiteY467" fmla="*/ 354486 h 413264"/>
                <a:gd name="connsiteX468" fmla="*/ 486503 w 591505"/>
                <a:gd name="connsiteY468" fmla="*/ 353064 h 413264"/>
                <a:gd name="connsiteX469" fmla="*/ 485626 w 591505"/>
                <a:gd name="connsiteY469" fmla="*/ 351915 h 413264"/>
                <a:gd name="connsiteX470" fmla="*/ 484658 w 591505"/>
                <a:gd name="connsiteY470" fmla="*/ 350917 h 413264"/>
                <a:gd name="connsiteX471" fmla="*/ 484204 w 591505"/>
                <a:gd name="connsiteY471" fmla="*/ 350826 h 413264"/>
                <a:gd name="connsiteX472" fmla="*/ 483055 w 591505"/>
                <a:gd name="connsiteY472" fmla="*/ 351189 h 413264"/>
                <a:gd name="connsiteX473" fmla="*/ 482631 w 591505"/>
                <a:gd name="connsiteY473" fmla="*/ 351098 h 413264"/>
                <a:gd name="connsiteX474" fmla="*/ 482268 w 591505"/>
                <a:gd name="connsiteY474" fmla="*/ 350523 h 413264"/>
                <a:gd name="connsiteX475" fmla="*/ 481209 w 591505"/>
                <a:gd name="connsiteY475" fmla="*/ 347710 h 413264"/>
                <a:gd name="connsiteX476" fmla="*/ 480907 w 591505"/>
                <a:gd name="connsiteY476" fmla="*/ 346167 h 413264"/>
                <a:gd name="connsiteX477" fmla="*/ 480332 w 591505"/>
                <a:gd name="connsiteY477" fmla="*/ 344866 h 413264"/>
                <a:gd name="connsiteX478" fmla="*/ 478971 w 591505"/>
                <a:gd name="connsiteY478" fmla="*/ 344140 h 413264"/>
                <a:gd name="connsiteX479" fmla="*/ 477458 w 591505"/>
                <a:gd name="connsiteY479" fmla="*/ 344503 h 413264"/>
                <a:gd name="connsiteX480" fmla="*/ 471438 w 591505"/>
                <a:gd name="connsiteY480" fmla="*/ 347438 h 413264"/>
                <a:gd name="connsiteX481" fmla="*/ 467082 w 591505"/>
                <a:gd name="connsiteY481" fmla="*/ 347710 h 413264"/>
                <a:gd name="connsiteX482" fmla="*/ 464904 w 591505"/>
                <a:gd name="connsiteY482" fmla="*/ 346923 h 413264"/>
                <a:gd name="connsiteX483" fmla="*/ 463543 w 591505"/>
                <a:gd name="connsiteY483" fmla="*/ 344866 h 413264"/>
                <a:gd name="connsiteX484" fmla="*/ 463663 w 591505"/>
                <a:gd name="connsiteY484" fmla="*/ 340873 h 413264"/>
                <a:gd name="connsiteX485" fmla="*/ 465569 w 591505"/>
                <a:gd name="connsiteY485" fmla="*/ 337424 h 413264"/>
                <a:gd name="connsiteX486" fmla="*/ 470198 w 591505"/>
                <a:gd name="connsiteY486" fmla="*/ 332282 h 413264"/>
                <a:gd name="connsiteX487" fmla="*/ 471983 w 591505"/>
                <a:gd name="connsiteY487" fmla="*/ 328833 h 413264"/>
                <a:gd name="connsiteX488" fmla="*/ 472376 w 591505"/>
                <a:gd name="connsiteY488" fmla="*/ 325778 h 413264"/>
                <a:gd name="connsiteX489" fmla="*/ 472285 w 591505"/>
                <a:gd name="connsiteY489" fmla="*/ 322450 h 413264"/>
                <a:gd name="connsiteX490" fmla="*/ 472709 w 591505"/>
                <a:gd name="connsiteY490" fmla="*/ 318275 h 413264"/>
                <a:gd name="connsiteX491" fmla="*/ 473798 w 591505"/>
                <a:gd name="connsiteY491" fmla="*/ 315038 h 413264"/>
                <a:gd name="connsiteX492" fmla="*/ 475341 w 591505"/>
                <a:gd name="connsiteY492" fmla="*/ 313133 h 413264"/>
                <a:gd name="connsiteX493" fmla="*/ 481512 w 591505"/>
                <a:gd name="connsiteY493" fmla="*/ 309774 h 413264"/>
                <a:gd name="connsiteX494" fmla="*/ 483448 w 591505"/>
                <a:gd name="connsiteY494" fmla="*/ 307959 h 413264"/>
                <a:gd name="connsiteX495" fmla="*/ 484870 w 591505"/>
                <a:gd name="connsiteY495" fmla="*/ 305479 h 413264"/>
                <a:gd name="connsiteX496" fmla="*/ 485384 w 591505"/>
                <a:gd name="connsiteY496" fmla="*/ 302302 h 413264"/>
                <a:gd name="connsiteX497" fmla="*/ 484809 w 591505"/>
                <a:gd name="connsiteY497" fmla="*/ 299217 h 413264"/>
                <a:gd name="connsiteX498" fmla="*/ 482298 w 591505"/>
                <a:gd name="connsiteY498" fmla="*/ 293529 h 413264"/>
                <a:gd name="connsiteX499" fmla="*/ 481603 w 591505"/>
                <a:gd name="connsiteY499" fmla="*/ 290383 h 413264"/>
                <a:gd name="connsiteX500" fmla="*/ 481724 w 591505"/>
                <a:gd name="connsiteY500" fmla="*/ 288357 h 413264"/>
                <a:gd name="connsiteX501" fmla="*/ 482177 w 591505"/>
                <a:gd name="connsiteY501" fmla="*/ 286753 h 413264"/>
                <a:gd name="connsiteX502" fmla="*/ 482722 w 591505"/>
                <a:gd name="connsiteY502" fmla="*/ 285301 h 413264"/>
                <a:gd name="connsiteX503" fmla="*/ 483115 w 591505"/>
                <a:gd name="connsiteY503" fmla="*/ 283607 h 413264"/>
                <a:gd name="connsiteX504" fmla="*/ 483267 w 591505"/>
                <a:gd name="connsiteY504" fmla="*/ 281943 h 413264"/>
                <a:gd name="connsiteX505" fmla="*/ 482934 w 591505"/>
                <a:gd name="connsiteY505" fmla="*/ 273775 h 413264"/>
                <a:gd name="connsiteX506" fmla="*/ 483236 w 591505"/>
                <a:gd name="connsiteY506" fmla="*/ 271627 h 413264"/>
                <a:gd name="connsiteX507" fmla="*/ 484325 w 591505"/>
                <a:gd name="connsiteY507" fmla="*/ 270206 h 413264"/>
                <a:gd name="connsiteX508" fmla="*/ 486534 w 591505"/>
                <a:gd name="connsiteY508" fmla="*/ 268391 h 413264"/>
                <a:gd name="connsiteX509" fmla="*/ 487532 w 591505"/>
                <a:gd name="connsiteY509" fmla="*/ 267937 h 413264"/>
                <a:gd name="connsiteX510" fmla="*/ 488228 w 591505"/>
                <a:gd name="connsiteY510" fmla="*/ 267937 h 413264"/>
                <a:gd name="connsiteX511" fmla="*/ 488742 w 591505"/>
                <a:gd name="connsiteY511" fmla="*/ 267604 h 413264"/>
                <a:gd name="connsiteX512" fmla="*/ 489166 w 591505"/>
                <a:gd name="connsiteY512" fmla="*/ 266243 h 413264"/>
                <a:gd name="connsiteX513" fmla="*/ 489105 w 591505"/>
                <a:gd name="connsiteY513" fmla="*/ 264912 h 413264"/>
                <a:gd name="connsiteX514" fmla="*/ 488228 w 591505"/>
                <a:gd name="connsiteY514" fmla="*/ 261705 h 413264"/>
                <a:gd name="connsiteX515" fmla="*/ 488077 w 591505"/>
                <a:gd name="connsiteY515" fmla="*/ 260283 h 413264"/>
                <a:gd name="connsiteX516" fmla="*/ 489135 w 591505"/>
                <a:gd name="connsiteY516" fmla="*/ 257258 h 413264"/>
                <a:gd name="connsiteX517" fmla="*/ 491102 w 591505"/>
                <a:gd name="connsiteY517" fmla="*/ 255352 h 413264"/>
                <a:gd name="connsiteX518" fmla="*/ 493431 w 591505"/>
                <a:gd name="connsiteY518" fmla="*/ 253688 h 413264"/>
                <a:gd name="connsiteX519" fmla="*/ 495549 w 591505"/>
                <a:gd name="connsiteY519" fmla="*/ 251420 h 413264"/>
                <a:gd name="connsiteX520" fmla="*/ 496184 w 591505"/>
                <a:gd name="connsiteY520" fmla="*/ 249756 h 413264"/>
                <a:gd name="connsiteX521" fmla="*/ 496365 w 591505"/>
                <a:gd name="connsiteY521" fmla="*/ 248304 h 413264"/>
                <a:gd name="connsiteX522" fmla="*/ 496728 w 591505"/>
                <a:gd name="connsiteY522" fmla="*/ 247094 h 413264"/>
                <a:gd name="connsiteX523" fmla="*/ 497908 w 591505"/>
                <a:gd name="connsiteY523" fmla="*/ 246156 h 413264"/>
                <a:gd name="connsiteX524" fmla="*/ 501690 w 591505"/>
                <a:gd name="connsiteY524" fmla="*/ 244674 h 413264"/>
                <a:gd name="connsiteX525" fmla="*/ 503535 w 591505"/>
                <a:gd name="connsiteY525" fmla="*/ 244734 h 413264"/>
                <a:gd name="connsiteX526" fmla="*/ 507195 w 591505"/>
                <a:gd name="connsiteY526" fmla="*/ 245520 h 413264"/>
                <a:gd name="connsiteX527" fmla="*/ 509071 w 591505"/>
                <a:gd name="connsiteY527" fmla="*/ 245520 h 413264"/>
                <a:gd name="connsiteX528" fmla="*/ 521293 w 591505"/>
                <a:gd name="connsiteY528" fmla="*/ 243252 h 413264"/>
                <a:gd name="connsiteX529" fmla="*/ 524923 w 591505"/>
                <a:gd name="connsiteY529" fmla="*/ 241346 h 413264"/>
                <a:gd name="connsiteX530" fmla="*/ 526435 w 591505"/>
                <a:gd name="connsiteY530" fmla="*/ 239803 h 413264"/>
                <a:gd name="connsiteX531" fmla="*/ 528099 w 591505"/>
                <a:gd name="connsiteY531" fmla="*/ 237413 h 413264"/>
                <a:gd name="connsiteX532" fmla="*/ 529854 w 591505"/>
                <a:gd name="connsiteY532" fmla="*/ 234902 h 413264"/>
                <a:gd name="connsiteX533" fmla="*/ 533575 w 591505"/>
                <a:gd name="connsiteY533" fmla="*/ 227460 h 413264"/>
                <a:gd name="connsiteX534" fmla="*/ 534028 w 591505"/>
                <a:gd name="connsiteY534" fmla="*/ 226069 h 413264"/>
                <a:gd name="connsiteX535" fmla="*/ 534240 w 591505"/>
                <a:gd name="connsiteY535" fmla="*/ 224133 h 413264"/>
                <a:gd name="connsiteX536" fmla="*/ 534149 w 591505"/>
                <a:gd name="connsiteY536" fmla="*/ 220109 h 413264"/>
                <a:gd name="connsiteX537" fmla="*/ 534422 w 591505"/>
                <a:gd name="connsiteY537" fmla="*/ 218264 h 413264"/>
                <a:gd name="connsiteX538" fmla="*/ 537598 w 591505"/>
                <a:gd name="connsiteY538" fmla="*/ 213666 h 413264"/>
                <a:gd name="connsiteX539" fmla="*/ 542136 w 591505"/>
                <a:gd name="connsiteY539" fmla="*/ 212940 h 413264"/>
                <a:gd name="connsiteX540" fmla="*/ 553268 w 591505"/>
                <a:gd name="connsiteY540" fmla="*/ 215602 h 413264"/>
                <a:gd name="connsiteX541" fmla="*/ 554115 w 591505"/>
                <a:gd name="connsiteY541" fmla="*/ 215602 h 413264"/>
                <a:gd name="connsiteX542" fmla="*/ 555114 w 591505"/>
                <a:gd name="connsiteY542" fmla="*/ 215299 h 413264"/>
                <a:gd name="connsiteX543" fmla="*/ 555749 w 591505"/>
                <a:gd name="connsiteY543" fmla="*/ 214664 h 413264"/>
                <a:gd name="connsiteX544" fmla="*/ 556324 w 591505"/>
                <a:gd name="connsiteY544" fmla="*/ 213696 h 413264"/>
                <a:gd name="connsiteX545" fmla="*/ 557201 w 591505"/>
                <a:gd name="connsiteY545" fmla="*/ 212910 h 413264"/>
                <a:gd name="connsiteX546" fmla="*/ 558623 w 591505"/>
                <a:gd name="connsiteY546" fmla="*/ 212758 h 413264"/>
                <a:gd name="connsiteX547" fmla="*/ 569241 w 591505"/>
                <a:gd name="connsiteY547" fmla="*/ 217145 h 413264"/>
                <a:gd name="connsiteX548" fmla="*/ 571449 w 591505"/>
                <a:gd name="connsiteY548" fmla="*/ 216782 h 413264"/>
                <a:gd name="connsiteX549" fmla="*/ 572992 w 591505"/>
                <a:gd name="connsiteY549" fmla="*/ 214422 h 413264"/>
                <a:gd name="connsiteX550" fmla="*/ 574111 w 591505"/>
                <a:gd name="connsiteY550" fmla="*/ 209733 h 413264"/>
                <a:gd name="connsiteX551" fmla="*/ 574747 w 591505"/>
                <a:gd name="connsiteY551" fmla="*/ 205256 h 413264"/>
                <a:gd name="connsiteX552" fmla="*/ 575473 w 591505"/>
                <a:gd name="connsiteY552" fmla="*/ 203531 h 413264"/>
                <a:gd name="connsiteX553" fmla="*/ 577076 w 591505"/>
                <a:gd name="connsiteY553" fmla="*/ 201505 h 413264"/>
                <a:gd name="connsiteX554" fmla="*/ 579950 w 591505"/>
                <a:gd name="connsiteY554" fmla="*/ 198873 h 413264"/>
                <a:gd name="connsiteX555" fmla="*/ 581523 w 591505"/>
                <a:gd name="connsiteY555" fmla="*/ 198026 h 413264"/>
                <a:gd name="connsiteX556" fmla="*/ 585425 w 591505"/>
                <a:gd name="connsiteY556" fmla="*/ 197058 h 413264"/>
                <a:gd name="connsiteX557" fmla="*/ 587997 w 591505"/>
                <a:gd name="connsiteY557" fmla="*/ 196422 h 413264"/>
                <a:gd name="connsiteX558" fmla="*/ 590417 w 591505"/>
                <a:gd name="connsiteY558" fmla="*/ 194728 h 413264"/>
                <a:gd name="connsiteX559" fmla="*/ 591506 w 591505"/>
                <a:gd name="connsiteY559" fmla="*/ 192097 h 413264"/>
                <a:gd name="connsiteX560" fmla="*/ 590599 w 591505"/>
                <a:gd name="connsiteY560" fmla="*/ 189374 h 41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Lst>
              <a:rect l="l" t="t" r="r" b="b"/>
              <a:pathLst>
                <a:path w="591505" h="413264">
                  <a:moveTo>
                    <a:pt x="19391" y="122881"/>
                  </a:moveTo>
                  <a:lnTo>
                    <a:pt x="16124" y="119100"/>
                  </a:lnTo>
                  <a:lnTo>
                    <a:pt x="16971" y="123577"/>
                  </a:lnTo>
                  <a:lnTo>
                    <a:pt x="16698" y="133802"/>
                  </a:lnTo>
                  <a:lnTo>
                    <a:pt x="17576" y="137099"/>
                  </a:lnTo>
                  <a:lnTo>
                    <a:pt x="17032" y="138642"/>
                  </a:lnTo>
                  <a:lnTo>
                    <a:pt x="17576" y="139429"/>
                  </a:lnTo>
                  <a:lnTo>
                    <a:pt x="16941" y="142212"/>
                  </a:lnTo>
                  <a:lnTo>
                    <a:pt x="15882" y="155946"/>
                  </a:lnTo>
                  <a:lnTo>
                    <a:pt x="11767" y="169226"/>
                  </a:lnTo>
                  <a:lnTo>
                    <a:pt x="7533" y="178846"/>
                  </a:lnTo>
                  <a:lnTo>
                    <a:pt x="0" y="190886"/>
                  </a:lnTo>
                  <a:lnTo>
                    <a:pt x="0" y="190886"/>
                  </a:lnTo>
                  <a:lnTo>
                    <a:pt x="6534" y="192490"/>
                  </a:lnTo>
                  <a:lnTo>
                    <a:pt x="6473" y="189525"/>
                  </a:lnTo>
                  <a:lnTo>
                    <a:pt x="11375" y="183475"/>
                  </a:lnTo>
                  <a:lnTo>
                    <a:pt x="12705" y="180177"/>
                  </a:lnTo>
                  <a:lnTo>
                    <a:pt x="13371" y="176819"/>
                  </a:lnTo>
                  <a:lnTo>
                    <a:pt x="14974" y="173189"/>
                  </a:lnTo>
                  <a:lnTo>
                    <a:pt x="16820" y="170104"/>
                  </a:lnTo>
                  <a:lnTo>
                    <a:pt x="18272" y="168410"/>
                  </a:lnTo>
                  <a:lnTo>
                    <a:pt x="18272" y="167381"/>
                  </a:lnTo>
                  <a:lnTo>
                    <a:pt x="16366" y="165173"/>
                  </a:lnTo>
                  <a:lnTo>
                    <a:pt x="16910" y="162632"/>
                  </a:lnTo>
                  <a:lnTo>
                    <a:pt x="18484" y="159939"/>
                  </a:lnTo>
                  <a:lnTo>
                    <a:pt x="19633" y="157277"/>
                  </a:lnTo>
                  <a:lnTo>
                    <a:pt x="19633" y="151136"/>
                  </a:lnTo>
                  <a:lnTo>
                    <a:pt x="19845" y="149170"/>
                  </a:lnTo>
                  <a:lnTo>
                    <a:pt x="20783" y="146447"/>
                  </a:lnTo>
                  <a:lnTo>
                    <a:pt x="20994" y="144390"/>
                  </a:lnTo>
                  <a:lnTo>
                    <a:pt x="20783" y="130111"/>
                  </a:lnTo>
                  <a:lnTo>
                    <a:pt x="19361" y="122881"/>
                  </a:lnTo>
                  <a:close/>
                  <a:moveTo>
                    <a:pt x="590387" y="189707"/>
                  </a:moveTo>
                  <a:lnTo>
                    <a:pt x="588088" y="188073"/>
                  </a:lnTo>
                  <a:lnTo>
                    <a:pt x="571389" y="185381"/>
                  </a:lnTo>
                  <a:lnTo>
                    <a:pt x="565309" y="186893"/>
                  </a:lnTo>
                  <a:lnTo>
                    <a:pt x="563614" y="186803"/>
                  </a:lnTo>
                  <a:lnTo>
                    <a:pt x="557594" y="184745"/>
                  </a:lnTo>
                  <a:lnTo>
                    <a:pt x="556021" y="183747"/>
                  </a:lnTo>
                  <a:lnTo>
                    <a:pt x="555567" y="182053"/>
                  </a:lnTo>
                  <a:lnTo>
                    <a:pt x="556566" y="179028"/>
                  </a:lnTo>
                  <a:lnTo>
                    <a:pt x="558955" y="174914"/>
                  </a:lnTo>
                  <a:lnTo>
                    <a:pt x="559652" y="173371"/>
                  </a:lnTo>
                  <a:lnTo>
                    <a:pt x="560982" y="167320"/>
                  </a:lnTo>
                  <a:lnTo>
                    <a:pt x="561860" y="165505"/>
                  </a:lnTo>
                  <a:lnTo>
                    <a:pt x="565429" y="162178"/>
                  </a:lnTo>
                  <a:lnTo>
                    <a:pt x="565732" y="160272"/>
                  </a:lnTo>
                  <a:lnTo>
                    <a:pt x="563856" y="156854"/>
                  </a:lnTo>
                  <a:lnTo>
                    <a:pt x="564310" y="152921"/>
                  </a:lnTo>
                  <a:lnTo>
                    <a:pt x="566276" y="149956"/>
                  </a:lnTo>
                  <a:lnTo>
                    <a:pt x="568727" y="147324"/>
                  </a:lnTo>
                  <a:lnTo>
                    <a:pt x="570663" y="144481"/>
                  </a:lnTo>
                  <a:lnTo>
                    <a:pt x="571631" y="140881"/>
                  </a:lnTo>
                  <a:lnTo>
                    <a:pt x="571873" y="136585"/>
                  </a:lnTo>
                  <a:lnTo>
                    <a:pt x="571480" y="132199"/>
                  </a:lnTo>
                  <a:lnTo>
                    <a:pt x="570542" y="128326"/>
                  </a:lnTo>
                  <a:lnTo>
                    <a:pt x="564794" y="127903"/>
                  </a:lnTo>
                  <a:lnTo>
                    <a:pt x="559137" y="126451"/>
                  </a:lnTo>
                  <a:lnTo>
                    <a:pt x="545191" y="120219"/>
                  </a:lnTo>
                  <a:lnTo>
                    <a:pt x="538869" y="115802"/>
                  </a:lnTo>
                  <a:lnTo>
                    <a:pt x="533575" y="106969"/>
                  </a:lnTo>
                  <a:lnTo>
                    <a:pt x="531245" y="101947"/>
                  </a:lnTo>
                  <a:lnTo>
                    <a:pt x="528704" y="98317"/>
                  </a:lnTo>
                  <a:lnTo>
                    <a:pt x="518721" y="90331"/>
                  </a:lnTo>
                  <a:lnTo>
                    <a:pt x="512520" y="83857"/>
                  </a:lnTo>
                  <a:lnTo>
                    <a:pt x="506832" y="80378"/>
                  </a:lnTo>
                  <a:lnTo>
                    <a:pt x="497787" y="74812"/>
                  </a:lnTo>
                  <a:lnTo>
                    <a:pt x="490164" y="66886"/>
                  </a:lnTo>
                  <a:lnTo>
                    <a:pt x="487229" y="63830"/>
                  </a:lnTo>
                  <a:lnTo>
                    <a:pt x="481451" y="60110"/>
                  </a:lnTo>
                  <a:lnTo>
                    <a:pt x="480242" y="58960"/>
                  </a:lnTo>
                  <a:lnTo>
                    <a:pt x="479364" y="57235"/>
                  </a:lnTo>
                  <a:lnTo>
                    <a:pt x="477489" y="51639"/>
                  </a:lnTo>
                  <a:lnTo>
                    <a:pt x="476763" y="50187"/>
                  </a:lnTo>
                  <a:lnTo>
                    <a:pt x="475552" y="49703"/>
                  </a:lnTo>
                  <a:lnTo>
                    <a:pt x="469532" y="50157"/>
                  </a:lnTo>
                  <a:lnTo>
                    <a:pt x="467808" y="49854"/>
                  </a:lnTo>
                  <a:lnTo>
                    <a:pt x="462756" y="47616"/>
                  </a:lnTo>
                  <a:lnTo>
                    <a:pt x="455919" y="48765"/>
                  </a:lnTo>
                  <a:lnTo>
                    <a:pt x="445301" y="47071"/>
                  </a:lnTo>
                  <a:lnTo>
                    <a:pt x="421160" y="43229"/>
                  </a:lnTo>
                  <a:lnTo>
                    <a:pt x="417530" y="40779"/>
                  </a:lnTo>
                  <a:lnTo>
                    <a:pt x="414596" y="35757"/>
                  </a:lnTo>
                  <a:lnTo>
                    <a:pt x="412811" y="30402"/>
                  </a:lnTo>
                  <a:lnTo>
                    <a:pt x="411843" y="28799"/>
                  </a:lnTo>
                  <a:lnTo>
                    <a:pt x="408485" y="25381"/>
                  </a:lnTo>
                  <a:lnTo>
                    <a:pt x="407487" y="23656"/>
                  </a:lnTo>
                  <a:lnTo>
                    <a:pt x="406367" y="20571"/>
                  </a:lnTo>
                  <a:lnTo>
                    <a:pt x="403766" y="10467"/>
                  </a:lnTo>
                  <a:lnTo>
                    <a:pt x="401134" y="3448"/>
                  </a:lnTo>
                  <a:lnTo>
                    <a:pt x="399319" y="635"/>
                  </a:lnTo>
                  <a:lnTo>
                    <a:pt x="397171" y="0"/>
                  </a:lnTo>
                  <a:lnTo>
                    <a:pt x="395779" y="1210"/>
                  </a:lnTo>
                  <a:lnTo>
                    <a:pt x="395386" y="2995"/>
                  </a:lnTo>
                  <a:lnTo>
                    <a:pt x="395265" y="4840"/>
                  </a:lnTo>
                  <a:lnTo>
                    <a:pt x="394630" y="6292"/>
                  </a:lnTo>
                  <a:lnTo>
                    <a:pt x="393813" y="6444"/>
                  </a:lnTo>
                  <a:lnTo>
                    <a:pt x="391574" y="5627"/>
                  </a:lnTo>
                  <a:lnTo>
                    <a:pt x="390576" y="5687"/>
                  </a:lnTo>
                  <a:lnTo>
                    <a:pt x="381471" y="9408"/>
                  </a:lnTo>
                  <a:lnTo>
                    <a:pt x="377810" y="10921"/>
                  </a:lnTo>
                  <a:lnTo>
                    <a:pt x="373847" y="13794"/>
                  </a:lnTo>
                  <a:lnTo>
                    <a:pt x="365679" y="24019"/>
                  </a:lnTo>
                  <a:lnTo>
                    <a:pt x="363773" y="25834"/>
                  </a:lnTo>
                  <a:lnTo>
                    <a:pt x="357965" y="28950"/>
                  </a:lnTo>
                  <a:lnTo>
                    <a:pt x="354547" y="30342"/>
                  </a:lnTo>
                  <a:lnTo>
                    <a:pt x="351249" y="29495"/>
                  </a:lnTo>
                  <a:lnTo>
                    <a:pt x="344866" y="25169"/>
                  </a:lnTo>
                  <a:lnTo>
                    <a:pt x="341599" y="23989"/>
                  </a:lnTo>
                  <a:lnTo>
                    <a:pt x="338513" y="24504"/>
                  </a:lnTo>
                  <a:lnTo>
                    <a:pt x="326352" y="30372"/>
                  </a:lnTo>
                  <a:lnTo>
                    <a:pt x="323690" y="30826"/>
                  </a:lnTo>
                  <a:lnTo>
                    <a:pt x="323539" y="30826"/>
                  </a:lnTo>
                  <a:lnTo>
                    <a:pt x="320484" y="30312"/>
                  </a:lnTo>
                  <a:lnTo>
                    <a:pt x="317126" y="28557"/>
                  </a:lnTo>
                  <a:lnTo>
                    <a:pt x="307687" y="21690"/>
                  </a:lnTo>
                  <a:lnTo>
                    <a:pt x="296585" y="18393"/>
                  </a:lnTo>
                  <a:lnTo>
                    <a:pt x="295284" y="17999"/>
                  </a:lnTo>
                  <a:lnTo>
                    <a:pt x="291957" y="17909"/>
                  </a:lnTo>
                  <a:lnTo>
                    <a:pt x="285029" y="19391"/>
                  </a:lnTo>
                  <a:lnTo>
                    <a:pt x="281883" y="18937"/>
                  </a:lnTo>
                  <a:lnTo>
                    <a:pt x="281762" y="18393"/>
                  </a:lnTo>
                  <a:lnTo>
                    <a:pt x="281883" y="17334"/>
                  </a:lnTo>
                  <a:lnTo>
                    <a:pt x="281762" y="16094"/>
                  </a:lnTo>
                  <a:lnTo>
                    <a:pt x="280915" y="14944"/>
                  </a:lnTo>
                  <a:lnTo>
                    <a:pt x="280068" y="14672"/>
                  </a:lnTo>
                  <a:lnTo>
                    <a:pt x="277315" y="15095"/>
                  </a:lnTo>
                  <a:lnTo>
                    <a:pt x="270327" y="14763"/>
                  </a:lnTo>
                  <a:lnTo>
                    <a:pt x="267090" y="15640"/>
                  </a:lnTo>
                  <a:lnTo>
                    <a:pt x="261009" y="18967"/>
                  </a:lnTo>
                  <a:lnTo>
                    <a:pt x="257409" y="18725"/>
                  </a:lnTo>
                  <a:lnTo>
                    <a:pt x="246972" y="14642"/>
                  </a:lnTo>
                  <a:lnTo>
                    <a:pt x="240196" y="11979"/>
                  </a:lnTo>
                  <a:lnTo>
                    <a:pt x="237958" y="11556"/>
                  </a:lnTo>
                  <a:lnTo>
                    <a:pt x="226311" y="14067"/>
                  </a:lnTo>
                  <a:lnTo>
                    <a:pt x="224465" y="15156"/>
                  </a:lnTo>
                  <a:lnTo>
                    <a:pt x="225343" y="16880"/>
                  </a:lnTo>
                  <a:lnTo>
                    <a:pt x="220291" y="21902"/>
                  </a:lnTo>
                  <a:lnTo>
                    <a:pt x="215208" y="23021"/>
                  </a:lnTo>
                  <a:lnTo>
                    <a:pt x="210610" y="19754"/>
                  </a:lnTo>
                  <a:lnTo>
                    <a:pt x="207041" y="11526"/>
                  </a:lnTo>
                  <a:lnTo>
                    <a:pt x="204590" y="6716"/>
                  </a:lnTo>
                  <a:lnTo>
                    <a:pt x="201323" y="5021"/>
                  </a:lnTo>
                  <a:lnTo>
                    <a:pt x="197754" y="5627"/>
                  </a:lnTo>
                  <a:lnTo>
                    <a:pt x="194789" y="7533"/>
                  </a:lnTo>
                  <a:lnTo>
                    <a:pt x="191098" y="9922"/>
                  </a:lnTo>
                  <a:lnTo>
                    <a:pt x="176850" y="15337"/>
                  </a:lnTo>
                  <a:lnTo>
                    <a:pt x="175337" y="15549"/>
                  </a:lnTo>
                  <a:lnTo>
                    <a:pt x="173613" y="14883"/>
                  </a:lnTo>
                  <a:lnTo>
                    <a:pt x="169166" y="10558"/>
                  </a:lnTo>
                  <a:lnTo>
                    <a:pt x="166504" y="9226"/>
                  </a:lnTo>
                  <a:lnTo>
                    <a:pt x="166262" y="9106"/>
                  </a:lnTo>
                  <a:lnTo>
                    <a:pt x="159818" y="7714"/>
                  </a:lnTo>
                  <a:lnTo>
                    <a:pt x="129960" y="8652"/>
                  </a:lnTo>
                  <a:lnTo>
                    <a:pt x="127963" y="7896"/>
                  </a:lnTo>
                  <a:lnTo>
                    <a:pt x="124242" y="5324"/>
                  </a:lnTo>
                  <a:lnTo>
                    <a:pt x="122337" y="4417"/>
                  </a:lnTo>
                  <a:lnTo>
                    <a:pt x="117799" y="4144"/>
                  </a:lnTo>
                  <a:lnTo>
                    <a:pt x="106636" y="8985"/>
                  </a:lnTo>
                  <a:lnTo>
                    <a:pt x="104851" y="9771"/>
                  </a:lnTo>
                  <a:lnTo>
                    <a:pt x="76596" y="22023"/>
                  </a:lnTo>
                  <a:lnTo>
                    <a:pt x="67703" y="22386"/>
                  </a:lnTo>
                  <a:lnTo>
                    <a:pt x="63981" y="24141"/>
                  </a:lnTo>
                  <a:lnTo>
                    <a:pt x="49945" y="34093"/>
                  </a:lnTo>
                  <a:lnTo>
                    <a:pt x="48372" y="34577"/>
                  </a:lnTo>
                  <a:lnTo>
                    <a:pt x="43804" y="34789"/>
                  </a:lnTo>
                  <a:lnTo>
                    <a:pt x="40718" y="36271"/>
                  </a:lnTo>
                  <a:lnTo>
                    <a:pt x="36967" y="39175"/>
                  </a:lnTo>
                  <a:lnTo>
                    <a:pt x="33397" y="42775"/>
                  </a:lnTo>
                  <a:lnTo>
                    <a:pt x="30856" y="46436"/>
                  </a:lnTo>
                  <a:lnTo>
                    <a:pt x="29132" y="51790"/>
                  </a:lnTo>
                  <a:lnTo>
                    <a:pt x="28406" y="56358"/>
                  </a:lnTo>
                  <a:lnTo>
                    <a:pt x="26893" y="59504"/>
                  </a:lnTo>
                  <a:lnTo>
                    <a:pt x="22840" y="60533"/>
                  </a:lnTo>
                  <a:lnTo>
                    <a:pt x="16941" y="60593"/>
                  </a:lnTo>
                  <a:lnTo>
                    <a:pt x="13129" y="61471"/>
                  </a:lnTo>
                  <a:lnTo>
                    <a:pt x="13613" y="67279"/>
                  </a:lnTo>
                  <a:lnTo>
                    <a:pt x="13613" y="81437"/>
                  </a:lnTo>
                  <a:lnTo>
                    <a:pt x="13371" y="82979"/>
                  </a:lnTo>
                  <a:lnTo>
                    <a:pt x="12433" y="85279"/>
                  </a:lnTo>
                  <a:lnTo>
                    <a:pt x="12221" y="87094"/>
                  </a:lnTo>
                  <a:lnTo>
                    <a:pt x="12221" y="94354"/>
                  </a:lnTo>
                  <a:lnTo>
                    <a:pt x="13825" y="108270"/>
                  </a:lnTo>
                  <a:lnTo>
                    <a:pt x="14763" y="111476"/>
                  </a:lnTo>
                  <a:lnTo>
                    <a:pt x="15246" y="115530"/>
                  </a:lnTo>
                  <a:lnTo>
                    <a:pt x="15882" y="116558"/>
                  </a:lnTo>
                  <a:lnTo>
                    <a:pt x="16759" y="117103"/>
                  </a:lnTo>
                  <a:lnTo>
                    <a:pt x="17758" y="118132"/>
                  </a:lnTo>
                  <a:lnTo>
                    <a:pt x="21932" y="124847"/>
                  </a:lnTo>
                  <a:lnTo>
                    <a:pt x="22567" y="126481"/>
                  </a:lnTo>
                  <a:lnTo>
                    <a:pt x="22870" y="129567"/>
                  </a:lnTo>
                  <a:lnTo>
                    <a:pt x="23626" y="132441"/>
                  </a:lnTo>
                  <a:lnTo>
                    <a:pt x="27408" y="141698"/>
                  </a:lnTo>
                  <a:lnTo>
                    <a:pt x="27710" y="143392"/>
                  </a:lnTo>
                  <a:lnTo>
                    <a:pt x="27710" y="144602"/>
                  </a:lnTo>
                  <a:lnTo>
                    <a:pt x="27529" y="145903"/>
                  </a:lnTo>
                  <a:lnTo>
                    <a:pt x="27438" y="147899"/>
                  </a:lnTo>
                  <a:lnTo>
                    <a:pt x="27861" y="149442"/>
                  </a:lnTo>
                  <a:lnTo>
                    <a:pt x="28829" y="150743"/>
                  </a:lnTo>
                  <a:lnTo>
                    <a:pt x="29767" y="151711"/>
                  </a:lnTo>
                  <a:lnTo>
                    <a:pt x="30221" y="152255"/>
                  </a:lnTo>
                  <a:lnTo>
                    <a:pt x="30342" y="153526"/>
                  </a:lnTo>
                  <a:lnTo>
                    <a:pt x="31582" y="158366"/>
                  </a:lnTo>
                  <a:lnTo>
                    <a:pt x="32762" y="164931"/>
                  </a:lnTo>
                  <a:lnTo>
                    <a:pt x="32762" y="168924"/>
                  </a:lnTo>
                  <a:lnTo>
                    <a:pt x="31189" y="170709"/>
                  </a:lnTo>
                  <a:lnTo>
                    <a:pt x="30342" y="171949"/>
                  </a:lnTo>
                  <a:lnTo>
                    <a:pt x="26500" y="180087"/>
                  </a:lnTo>
                  <a:lnTo>
                    <a:pt x="26228" y="180238"/>
                  </a:lnTo>
                  <a:lnTo>
                    <a:pt x="26228" y="180601"/>
                  </a:lnTo>
                  <a:lnTo>
                    <a:pt x="26772" y="181841"/>
                  </a:lnTo>
                  <a:lnTo>
                    <a:pt x="32611" y="176698"/>
                  </a:lnTo>
                  <a:lnTo>
                    <a:pt x="33670" y="176819"/>
                  </a:lnTo>
                  <a:lnTo>
                    <a:pt x="33609" y="180510"/>
                  </a:lnTo>
                  <a:lnTo>
                    <a:pt x="33912" y="182204"/>
                  </a:lnTo>
                  <a:lnTo>
                    <a:pt x="34729" y="182900"/>
                  </a:lnTo>
                  <a:lnTo>
                    <a:pt x="35394" y="183626"/>
                  </a:lnTo>
                  <a:lnTo>
                    <a:pt x="36241" y="185320"/>
                  </a:lnTo>
                  <a:lnTo>
                    <a:pt x="36907" y="187196"/>
                  </a:lnTo>
                  <a:lnTo>
                    <a:pt x="37118" y="188527"/>
                  </a:lnTo>
                  <a:lnTo>
                    <a:pt x="36513" y="190160"/>
                  </a:lnTo>
                  <a:lnTo>
                    <a:pt x="35787" y="190221"/>
                  </a:lnTo>
                  <a:lnTo>
                    <a:pt x="35061" y="189979"/>
                  </a:lnTo>
                  <a:lnTo>
                    <a:pt x="34396" y="190644"/>
                  </a:lnTo>
                  <a:lnTo>
                    <a:pt x="34396" y="191854"/>
                  </a:lnTo>
                  <a:lnTo>
                    <a:pt x="34880" y="195575"/>
                  </a:lnTo>
                  <a:lnTo>
                    <a:pt x="34729" y="196362"/>
                  </a:lnTo>
                  <a:lnTo>
                    <a:pt x="34729" y="196362"/>
                  </a:lnTo>
                  <a:lnTo>
                    <a:pt x="42987" y="190009"/>
                  </a:lnTo>
                  <a:lnTo>
                    <a:pt x="45498" y="189646"/>
                  </a:lnTo>
                  <a:lnTo>
                    <a:pt x="48584" y="192490"/>
                  </a:lnTo>
                  <a:lnTo>
                    <a:pt x="54846" y="202412"/>
                  </a:lnTo>
                  <a:lnTo>
                    <a:pt x="58506" y="205105"/>
                  </a:lnTo>
                  <a:lnTo>
                    <a:pt x="68701" y="205407"/>
                  </a:lnTo>
                  <a:lnTo>
                    <a:pt x="72785" y="207253"/>
                  </a:lnTo>
                  <a:lnTo>
                    <a:pt x="79863" y="212365"/>
                  </a:lnTo>
                  <a:lnTo>
                    <a:pt x="81588" y="214482"/>
                  </a:lnTo>
                  <a:lnTo>
                    <a:pt x="83312" y="215844"/>
                  </a:lnTo>
                  <a:lnTo>
                    <a:pt x="90300" y="217235"/>
                  </a:lnTo>
                  <a:lnTo>
                    <a:pt x="93719" y="219988"/>
                  </a:lnTo>
                  <a:lnTo>
                    <a:pt x="95655" y="221168"/>
                  </a:lnTo>
                  <a:lnTo>
                    <a:pt x="99194" y="221985"/>
                  </a:lnTo>
                  <a:lnTo>
                    <a:pt x="101645" y="223498"/>
                  </a:lnTo>
                  <a:lnTo>
                    <a:pt x="102643" y="223861"/>
                  </a:lnTo>
                  <a:lnTo>
                    <a:pt x="103520" y="223498"/>
                  </a:lnTo>
                  <a:lnTo>
                    <a:pt x="106152" y="221622"/>
                  </a:lnTo>
                  <a:lnTo>
                    <a:pt x="108754" y="221380"/>
                  </a:lnTo>
                  <a:lnTo>
                    <a:pt x="109964" y="222197"/>
                  </a:lnTo>
                  <a:lnTo>
                    <a:pt x="110297" y="223981"/>
                  </a:lnTo>
                  <a:lnTo>
                    <a:pt x="110297" y="226644"/>
                  </a:lnTo>
                  <a:lnTo>
                    <a:pt x="111204" y="229306"/>
                  </a:lnTo>
                  <a:lnTo>
                    <a:pt x="113443" y="231060"/>
                  </a:lnTo>
                  <a:lnTo>
                    <a:pt x="116165" y="231877"/>
                  </a:lnTo>
                  <a:lnTo>
                    <a:pt x="118464" y="231665"/>
                  </a:lnTo>
                  <a:lnTo>
                    <a:pt x="120340" y="230395"/>
                  </a:lnTo>
                  <a:lnTo>
                    <a:pt x="121489" y="228912"/>
                  </a:lnTo>
                  <a:lnTo>
                    <a:pt x="122760" y="227672"/>
                  </a:lnTo>
                  <a:lnTo>
                    <a:pt x="133711" y="225040"/>
                  </a:lnTo>
                  <a:lnTo>
                    <a:pt x="135587" y="225252"/>
                  </a:lnTo>
                  <a:lnTo>
                    <a:pt x="152346" y="227128"/>
                  </a:lnTo>
                  <a:lnTo>
                    <a:pt x="162874" y="224224"/>
                  </a:lnTo>
                  <a:lnTo>
                    <a:pt x="165324" y="225524"/>
                  </a:lnTo>
                  <a:lnTo>
                    <a:pt x="165899" y="226129"/>
                  </a:lnTo>
                  <a:lnTo>
                    <a:pt x="166836" y="227158"/>
                  </a:lnTo>
                  <a:lnTo>
                    <a:pt x="167956" y="230395"/>
                  </a:lnTo>
                  <a:lnTo>
                    <a:pt x="169650" y="237685"/>
                  </a:lnTo>
                  <a:lnTo>
                    <a:pt x="170981" y="241285"/>
                  </a:lnTo>
                  <a:lnTo>
                    <a:pt x="172161" y="243252"/>
                  </a:lnTo>
                  <a:lnTo>
                    <a:pt x="173794" y="244068"/>
                  </a:lnTo>
                  <a:lnTo>
                    <a:pt x="179451" y="244068"/>
                  </a:lnTo>
                  <a:lnTo>
                    <a:pt x="180389" y="244311"/>
                  </a:lnTo>
                  <a:lnTo>
                    <a:pt x="181024" y="244976"/>
                  </a:lnTo>
                  <a:lnTo>
                    <a:pt x="181750" y="246065"/>
                  </a:lnTo>
                  <a:lnTo>
                    <a:pt x="182718" y="247063"/>
                  </a:lnTo>
                  <a:lnTo>
                    <a:pt x="184050" y="247547"/>
                  </a:lnTo>
                  <a:lnTo>
                    <a:pt x="182930" y="249725"/>
                  </a:lnTo>
                  <a:lnTo>
                    <a:pt x="183777" y="250966"/>
                  </a:lnTo>
                  <a:lnTo>
                    <a:pt x="189767" y="253567"/>
                  </a:lnTo>
                  <a:lnTo>
                    <a:pt x="191007" y="254899"/>
                  </a:lnTo>
                  <a:lnTo>
                    <a:pt x="191824" y="256956"/>
                  </a:lnTo>
                  <a:lnTo>
                    <a:pt x="193337" y="263460"/>
                  </a:lnTo>
                  <a:lnTo>
                    <a:pt x="193760" y="266424"/>
                  </a:lnTo>
                  <a:lnTo>
                    <a:pt x="193488" y="269268"/>
                  </a:lnTo>
                  <a:lnTo>
                    <a:pt x="192187" y="272081"/>
                  </a:lnTo>
                  <a:lnTo>
                    <a:pt x="190675" y="273594"/>
                  </a:lnTo>
                  <a:lnTo>
                    <a:pt x="187559" y="275711"/>
                  </a:lnTo>
                  <a:lnTo>
                    <a:pt x="186167" y="277859"/>
                  </a:lnTo>
                  <a:lnTo>
                    <a:pt x="185350" y="278736"/>
                  </a:lnTo>
                  <a:lnTo>
                    <a:pt x="183596" y="279614"/>
                  </a:lnTo>
                  <a:lnTo>
                    <a:pt x="182537" y="280461"/>
                  </a:lnTo>
                  <a:lnTo>
                    <a:pt x="181690" y="280642"/>
                  </a:lnTo>
                  <a:lnTo>
                    <a:pt x="181357" y="280915"/>
                  </a:lnTo>
                  <a:lnTo>
                    <a:pt x="181146" y="281671"/>
                  </a:lnTo>
                  <a:lnTo>
                    <a:pt x="181357" y="282458"/>
                  </a:lnTo>
                  <a:lnTo>
                    <a:pt x="181629" y="283153"/>
                  </a:lnTo>
                  <a:lnTo>
                    <a:pt x="181629" y="283789"/>
                  </a:lnTo>
                  <a:lnTo>
                    <a:pt x="179360" y="286783"/>
                  </a:lnTo>
                  <a:lnTo>
                    <a:pt x="178937" y="287903"/>
                  </a:lnTo>
                  <a:lnTo>
                    <a:pt x="178937" y="289536"/>
                  </a:lnTo>
                  <a:lnTo>
                    <a:pt x="179542" y="293166"/>
                  </a:lnTo>
                  <a:lnTo>
                    <a:pt x="179663" y="294891"/>
                  </a:lnTo>
                  <a:lnTo>
                    <a:pt x="179209" y="297765"/>
                  </a:lnTo>
                  <a:lnTo>
                    <a:pt x="177001" y="305358"/>
                  </a:lnTo>
                  <a:lnTo>
                    <a:pt x="176305" y="317731"/>
                  </a:lnTo>
                  <a:lnTo>
                    <a:pt x="176880" y="323932"/>
                  </a:lnTo>
                  <a:lnTo>
                    <a:pt x="179542" y="329408"/>
                  </a:lnTo>
                  <a:lnTo>
                    <a:pt x="185623" y="339330"/>
                  </a:lnTo>
                  <a:lnTo>
                    <a:pt x="187498" y="337908"/>
                  </a:lnTo>
                  <a:lnTo>
                    <a:pt x="190039" y="333552"/>
                  </a:lnTo>
                  <a:lnTo>
                    <a:pt x="190191" y="333310"/>
                  </a:lnTo>
                  <a:lnTo>
                    <a:pt x="192701" y="332221"/>
                  </a:lnTo>
                  <a:lnTo>
                    <a:pt x="194849" y="332493"/>
                  </a:lnTo>
                  <a:lnTo>
                    <a:pt x="200900" y="335367"/>
                  </a:lnTo>
                  <a:lnTo>
                    <a:pt x="201989" y="335488"/>
                  </a:lnTo>
                  <a:lnTo>
                    <a:pt x="204257" y="335035"/>
                  </a:lnTo>
                  <a:lnTo>
                    <a:pt x="205286" y="335246"/>
                  </a:lnTo>
                  <a:lnTo>
                    <a:pt x="206345" y="336244"/>
                  </a:lnTo>
                  <a:lnTo>
                    <a:pt x="206920" y="337455"/>
                  </a:lnTo>
                  <a:lnTo>
                    <a:pt x="207373" y="338695"/>
                  </a:lnTo>
                  <a:lnTo>
                    <a:pt x="208009" y="339723"/>
                  </a:lnTo>
                  <a:lnTo>
                    <a:pt x="209128" y="340449"/>
                  </a:lnTo>
                  <a:lnTo>
                    <a:pt x="212577" y="340812"/>
                  </a:lnTo>
                  <a:lnTo>
                    <a:pt x="213212" y="341690"/>
                  </a:lnTo>
                  <a:lnTo>
                    <a:pt x="212849" y="343202"/>
                  </a:lnTo>
                  <a:lnTo>
                    <a:pt x="212274" y="345017"/>
                  </a:lnTo>
                  <a:lnTo>
                    <a:pt x="212274" y="346681"/>
                  </a:lnTo>
                  <a:lnTo>
                    <a:pt x="214089" y="349011"/>
                  </a:lnTo>
                  <a:lnTo>
                    <a:pt x="216388" y="349011"/>
                  </a:lnTo>
                  <a:lnTo>
                    <a:pt x="218778" y="348043"/>
                  </a:lnTo>
                  <a:lnTo>
                    <a:pt x="220805" y="347619"/>
                  </a:lnTo>
                  <a:lnTo>
                    <a:pt x="222650" y="348436"/>
                  </a:lnTo>
                  <a:lnTo>
                    <a:pt x="228882" y="353246"/>
                  </a:lnTo>
                  <a:lnTo>
                    <a:pt x="232724" y="355424"/>
                  </a:lnTo>
                  <a:lnTo>
                    <a:pt x="240832" y="358268"/>
                  </a:lnTo>
                  <a:lnTo>
                    <a:pt x="242828" y="359841"/>
                  </a:lnTo>
                  <a:lnTo>
                    <a:pt x="244674" y="361293"/>
                  </a:lnTo>
                  <a:lnTo>
                    <a:pt x="245641" y="362684"/>
                  </a:lnTo>
                  <a:lnTo>
                    <a:pt x="247457" y="365921"/>
                  </a:lnTo>
                  <a:lnTo>
                    <a:pt x="248394" y="367162"/>
                  </a:lnTo>
                  <a:lnTo>
                    <a:pt x="249453" y="367797"/>
                  </a:lnTo>
                  <a:lnTo>
                    <a:pt x="251601" y="368342"/>
                  </a:lnTo>
                  <a:lnTo>
                    <a:pt x="252539" y="368856"/>
                  </a:lnTo>
                  <a:lnTo>
                    <a:pt x="254203" y="371124"/>
                  </a:lnTo>
                  <a:lnTo>
                    <a:pt x="255594" y="374271"/>
                  </a:lnTo>
                  <a:lnTo>
                    <a:pt x="256714" y="377780"/>
                  </a:lnTo>
                  <a:lnTo>
                    <a:pt x="257470" y="381138"/>
                  </a:lnTo>
                  <a:lnTo>
                    <a:pt x="258952" y="388489"/>
                  </a:lnTo>
                  <a:lnTo>
                    <a:pt x="258952" y="392028"/>
                  </a:lnTo>
                  <a:lnTo>
                    <a:pt x="257470" y="394448"/>
                  </a:lnTo>
                  <a:lnTo>
                    <a:pt x="256260" y="395386"/>
                  </a:lnTo>
                  <a:lnTo>
                    <a:pt x="255715" y="396021"/>
                  </a:lnTo>
                  <a:lnTo>
                    <a:pt x="255231" y="396717"/>
                  </a:lnTo>
                  <a:lnTo>
                    <a:pt x="255171" y="398411"/>
                  </a:lnTo>
                  <a:lnTo>
                    <a:pt x="255594" y="399833"/>
                  </a:lnTo>
                  <a:lnTo>
                    <a:pt x="256411" y="400983"/>
                  </a:lnTo>
                  <a:lnTo>
                    <a:pt x="257500" y="401799"/>
                  </a:lnTo>
                  <a:lnTo>
                    <a:pt x="258105" y="402495"/>
                  </a:lnTo>
                  <a:lnTo>
                    <a:pt x="258377" y="403282"/>
                  </a:lnTo>
                  <a:lnTo>
                    <a:pt x="258317" y="404159"/>
                  </a:lnTo>
                  <a:lnTo>
                    <a:pt x="257893" y="405066"/>
                  </a:lnTo>
                  <a:lnTo>
                    <a:pt x="261372" y="405914"/>
                  </a:lnTo>
                  <a:lnTo>
                    <a:pt x="270417" y="410966"/>
                  </a:lnTo>
                  <a:lnTo>
                    <a:pt x="272142" y="411510"/>
                  </a:lnTo>
                  <a:lnTo>
                    <a:pt x="273715" y="411389"/>
                  </a:lnTo>
                  <a:lnTo>
                    <a:pt x="278646" y="409423"/>
                  </a:lnTo>
                  <a:lnTo>
                    <a:pt x="284938" y="408606"/>
                  </a:lnTo>
                  <a:lnTo>
                    <a:pt x="286693" y="407426"/>
                  </a:lnTo>
                  <a:lnTo>
                    <a:pt x="288235" y="406852"/>
                  </a:lnTo>
                  <a:lnTo>
                    <a:pt x="288931" y="406972"/>
                  </a:lnTo>
                  <a:lnTo>
                    <a:pt x="290716" y="407941"/>
                  </a:lnTo>
                  <a:lnTo>
                    <a:pt x="291593" y="408182"/>
                  </a:lnTo>
                  <a:lnTo>
                    <a:pt x="292380" y="408061"/>
                  </a:lnTo>
                  <a:lnTo>
                    <a:pt x="300064" y="403977"/>
                  </a:lnTo>
                  <a:lnTo>
                    <a:pt x="301576" y="403705"/>
                  </a:lnTo>
                  <a:lnTo>
                    <a:pt x="303149" y="404310"/>
                  </a:lnTo>
                  <a:lnTo>
                    <a:pt x="306114" y="406065"/>
                  </a:lnTo>
                  <a:lnTo>
                    <a:pt x="307778" y="406428"/>
                  </a:lnTo>
                  <a:lnTo>
                    <a:pt x="314222" y="406367"/>
                  </a:lnTo>
                  <a:lnTo>
                    <a:pt x="317186" y="405611"/>
                  </a:lnTo>
                  <a:lnTo>
                    <a:pt x="323418" y="402525"/>
                  </a:lnTo>
                  <a:lnTo>
                    <a:pt x="326715" y="401981"/>
                  </a:lnTo>
                  <a:lnTo>
                    <a:pt x="329892" y="403010"/>
                  </a:lnTo>
                  <a:lnTo>
                    <a:pt x="332705" y="406156"/>
                  </a:lnTo>
                  <a:lnTo>
                    <a:pt x="334429" y="410663"/>
                  </a:lnTo>
                  <a:lnTo>
                    <a:pt x="335488" y="412176"/>
                  </a:lnTo>
                  <a:lnTo>
                    <a:pt x="337424" y="412539"/>
                  </a:lnTo>
                  <a:lnTo>
                    <a:pt x="340812" y="412387"/>
                  </a:lnTo>
                  <a:lnTo>
                    <a:pt x="344019" y="413265"/>
                  </a:lnTo>
                  <a:lnTo>
                    <a:pt x="347649" y="413265"/>
                  </a:lnTo>
                  <a:lnTo>
                    <a:pt x="351280" y="411601"/>
                  </a:lnTo>
                  <a:lnTo>
                    <a:pt x="362805" y="402072"/>
                  </a:lnTo>
                  <a:lnTo>
                    <a:pt x="367888" y="399349"/>
                  </a:lnTo>
                  <a:lnTo>
                    <a:pt x="374301" y="398200"/>
                  </a:lnTo>
                  <a:lnTo>
                    <a:pt x="376691" y="396475"/>
                  </a:lnTo>
                  <a:lnTo>
                    <a:pt x="377084" y="396415"/>
                  </a:lnTo>
                  <a:lnTo>
                    <a:pt x="377447" y="396505"/>
                  </a:lnTo>
                  <a:lnTo>
                    <a:pt x="377810" y="396717"/>
                  </a:lnTo>
                  <a:lnTo>
                    <a:pt x="379111" y="399772"/>
                  </a:lnTo>
                  <a:lnTo>
                    <a:pt x="380593" y="401134"/>
                  </a:lnTo>
                  <a:lnTo>
                    <a:pt x="382408" y="401255"/>
                  </a:lnTo>
                  <a:lnTo>
                    <a:pt x="388943" y="400287"/>
                  </a:lnTo>
                  <a:lnTo>
                    <a:pt x="390727" y="399409"/>
                  </a:lnTo>
                  <a:lnTo>
                    <a:pt x="391998" y="396717"/>
                  </a:lnTo>
                  <a:lnTo>
                    <a:pt x="391998" y="396717"/>
                  </a:lnTo>
                  <a:lnTo>
                    <a:pt x="392210" y="392391"/>
                  </a:lnTo>
                  <a:lnTo>
                    <a:pt x="391302" y="389396"/>
                  </a:lnTo>
                  <a:lnTo>
                    <a:pt x="389941" y="386704"/>
                  </a:lnTo>
                  <a:lnTo>
                    <a:pt x="388761" y="383316"/>
                  </a:lnTo>
                  <a:lnTo>
                    <a:pt x="388277" y="380926"/>
                  </a:lnTo>
                  <a:lnTo>
                    <a:pt x="388458" y="380382"/>
                  </a:lnTo>
                  <a:lnTo>
                    <a:pt x="389064" y="380321"/>
                  </a:lnTo>
                  <a:lnTo>
                    <a:pt x="389971" y="379293"/>
                  </a:lnTo>
                  <a:lnTo>
                    <a:pt x="391847" y="378203"/>
                  </a:lnTo>
                  <a:lnTo>
                    <a:pt x="391907" y="377598"/>
                  </a:lnTo>
                  <a:lnTo>
                    <a:pt x="391786" y="376570"/>
                  </a:lnTo>
                  <a:lnTo>
                    <a:pt x="391786" y="375360"/>
                  </a:lnTo>
                  <a:lnTo>
                    <a:pt x="392179" y="374362"/>
                  </a:lnTo>
                  <a:lnTo>
                    <a:pt x="395144" y="372728"/>
                  </a:lnTo>
                  <a:lnTo>
                    <a:pt x="395658" y="372456"/>
                  </a:lnTo>
                  <a:lnTo>
                    <a:pt x="400317" y="371972"/>
                  </a:lnTo>
                  <a:lnTo>
                    <a:pt x="404976" y="372576"/>
                  </a:lnTo>
                  <a:lnTo>
                    <a:pt x="412902" y="375420"/>
                  </a:lnTo>
                  <a:lnTo>
                    <a:pt x="417409" y="374755"/>
                  </a:lnTo>
                  <a:lnTo>
                    <a:pt x="421826" y="372123"/>
                  </a:lnTo>
                  <a:lnTo>
                    <a:pt x="425940" y="367888"/>
                  </a:lnTo>
                  <a:lnTo>
                    <a:pt x="427604" y="364590"/>
                  </a:lnTo>
                  <a:lnTo>
                    <a:pt x="429661" y="357148"/>
                  </a:lnTo>
                  <a:lnTo>
                    <a:pt x="430932" y="355061"/>
                  </a:lnTo>
                  <a:lnTo>
                    <a:pt x="432747" y="354789"/>
                  </a:lnTo>
                  <a:lnTo>
                    <a:pt x="439130" y="356876"/>
                  </a:lnTo>
                  <a:lnTo>
                    <a:pt x="447388" y="356453"/>
                  </a:lnTo>
                  <a:lnTo>
                    <a:pt x="449839" y="355001"/>
                  </a:lnTo>
                  <a:lnTo>
                    <a:pt x="453862" y="349495"/>
                  </a:lnTo>
                  <a:lnTo>
                    <a:pt x="456403" y="348375"/>
                  </a:lnTo>
                  <a:lnTo>
                    <a:pt x="457674" y="348648"/>
                  </a:lnTo>
                  <a:lnTo>
                    <a:pt x="458339" y="349253"/>
                  </a:lnTo>
                  <a:lnTo>
                    <a:pt x="458854" y="350130"/>
                  </a:lnTo>
                  <a:lnTo>
                    <a:pt x="465932" y="359054"/>
                  </a:lnTo>
                  <a:lnTo>
                    <a:pt x="465086" y="359659"/>
                  </a:lnTo>
                  <a:lnTo>
                    <a:pt x="462726" y="359478"/>
                  </a:lnTo>
                  <a:lnTo>
                    <a:pt x="460669" y="360567"/>
                  </a:lnTo>
                  <a:lnTo>
                    <a:pt x="460427" y="362140"/>
                  </a:lnTo>
                  <a:lnTo>
                    <a:pt x="462847" y="363350"/>
                  </a:lnTo>
                  <a:lnTo>
                    <a:pt x="463391" y="364681"/>
                  </a:lnTo>
                  <a:lnTo>
                    <a:pt x="462665" y="365861"/>
                  </a:lnTo>
                  <a:lnTo>
                    <a:pt x="459792" y="366768"/>
                  </a:lnTo>
                  <a:lnTo>
                    <a:pt x="459065" y="367888"/>
                  </a:lnTo>
                  <a:lnTo>
                    <a:pt x="459822" y="370701"/>
                  </a:lnTo>
                  <a:lnTo>
                    <a:pt x="462121" y="372698"/>
                  </a:lnTo>
                  <a:lnTo>
                    <a:pt x="464843" y="373908"/>
                  </a:lnTo>
                  <a:lnTo>
                    <a:pt x="473737" y="375299"/>
                  </a:lnTo>
                  <a:lnTo>
                    <a:pt x="475946" y="375239"/>
                  </a:lnTo>
                  <a:lnTo>
                    <a:pt x="477004" y="374664"/>
                  </a:lnTo>
                  <a:lnTo>
                    <a:pt x="478608" y="372607"/>
                  </a:lnTo>
                  <a:lnTo>
                    <a:pt x="479697" y="372153"/>
                  </a:lnTo>
                  <a:lnTo>
                    <a:pt x="483478" y="372637"/>
                  </a:lnTo>
                  <a:lnTo>
                    <a:pt x="484688" y="372486"/>
                  </a:lnTo>
                  <a:lnTo>
                    <a:pt x="486988" y="370883"/>
                  </a:lnTo>
                  <a:lnTo>
                    <a:pt x="487804" y="368402"/>
                  </a:lnTo>
                  <a:lnTo>
                    <a:pt x="487895" y="361172"/>
                  </a:lnTo>
                  <a:lnTo>
                    <a:pt x="488198" y="360446"/>
                  </a:lnTo>
                  <a:lnTo>
                    <a:pt x="489407" y="358963"/>
                  </a:lnTo>
                  <a:lnTo>
                    <a:pt x="489650" y="358268"/>
                  </a:lnTo>
                  <a:lnTo>
                    <a:pt x="489377" y="357300"/>
                  </a:lnTo>
                  <a:lnTo>
                    <a:pt x="488893" y="356967"/>
                  </a:lnTo>
                  <a:lnTo>
                    <a:pt x="488349" y="356755"/>
                  </a:lnTo>
                  <a:lnTo>
                    <a:pt x="487955" y="356241"/>
                  </a:lnTo>
                  <a:lnTo>
                    <a:pt x="487290" y="354486"/>
                  </a:lnTo>
                  <a:lnTo>
                    <a:pt x="486503" y="353064"/>
                  </a:lnTo>
                  <a:lnTo>
                    <a:pt x="485626" y="351915"/>
                  </a:lnTo>
                  <a:lnTo>
                    <a:pt x="484658" y="350917"/>
                  </a:lnTo>
                  <a:lnTo>
                    <a:pt x="484204" y="350826"/>
                  </a:lnTo>
                  <a:lnTo>
                    <a:pt x="483055" y="351189"/>
                  </a:lnTo>
                  <a:lnTo>
                    <a:pt x="482631" y="351098"/>
                  </a:lnTo>
                  <a:lnTo>
                    <a:pt x="482268" y="350523"/>
                  </a:lnTo>
                  <a:lnTo>
                    <a:pt x="481209" y="347710"/>
                  </a:lnTo>
                  <a:lnTo>
                    <a:pt x="480907" y="346167"/>
                  </a:lnTo>
                  <a:lnTo>
                    <a:pt x="480332" y="344866"/>
                  </a:lnTo>
                  <a:lnTo>
                    <a:pt x="478971" y="344140"/>
                  </a:lnTo>
                  <a:lnTo>
                    <a:pt x="477458" y="344503"/>
                  </a:lnTo>
                  <a:lnTo>
                    <a:pt x="471438" y="347438"/>
                  </a:lnTo>
                  <a:lnTo>
                    <a:pt x="467082" y="347710"/>
                  </a:lnTo>
                  <a:lnTo>
                    <a:pt x="464904" y="346923"/>
                  </a:lnTo>
                  <a:lnTo>
                    <a:pt x="463543" y="344866"/>
                  </a:lnTo>
                  <a:lnTo>
                    <a:pt x="463663" y="340873"/>
                  </a:lnTo>
                  <a:lnTo>
                    <a:pt x="465569" y="337424"/>
                  </a:lnTo>
                  <a:lnTo>
                    <a:pt x="470198" y="332282"/>
                  </a:lnTo>
                  <a:lnTo>
                    <a:pt x="471983" y="328833"/>
                  </a:lnTo>
                  <a:lnTo>
                    <a:pt x="472376" y="325778"/>
                  </a:lnTo>
                  <a:lnTo>
                    <a:pt x="472285" y="322450"/>
                  </a:lnTo>
                  <a:lnTo>
                    <a:pt x="472709" y="318275"/>
                  </a:lnTo>
                  <a:lnTo>
                    <a:pt x="473798" y="315038"/>
                  </a:lnTo>
                  <a:lnTo>
                    <a:pt x="475341" y="313133"/>
                  </a:lnTo>
                  <a:lnTo>
                    <a:pt x="481512" y="309774"/>
                  </a:lnTo>
                  <a:lnTo>
                    <a:pt x="483448" y="307959"/>
                  </a:lnTo>
                  <a:lnTo>
                    <a:pt x="484870" y="305479"/>
                  </a:lnTo>
                  <a:lnTo>
                    <a:pt x="485384" y="302302"/>
                  </a:lnTo>
                  <a:lnTo>
                    <a:pt x="484809" y="299217"/>
                  </a:lnTo>
                  <a:lnTo>
                    <a:pt x="482298" y="293529"/>
                  </a:lnTo>
                  <a:lnTo>
                    <a:pt x="481603" y="290383"/>
                  </a:lnTo>
                  <a:lnTo>
                    <a:pt x="481724" y="288357"/>
                  </a:lnTo>
                  <a:lnTo>
                    <a:pt x="482177" y="286753"/>
                  </a:lnTo>
                  <a:lnTo>
                    <a:pt x="482722" y="285301"/>
                  </a:lnTo>
                  <a:lnTo>
                    <a:pt x="483115" y="283607"/>
                  </a:lnTo>
                  <a:lnTo>
                    <a:pt x="483267" y="281943"/>
                  </a:lnTo>
                  <a:lnTo>
                    <a:pt x="482934" y="273775"/>
                  </a:lnTo>
                  <a:lnTo>
                    <a:pt x="483236" y="271627"/>
                  </a:lnTo>
                  <a:lnTo>
                    <a:pt x="484325" y="270206"/>
                  </a:lnTo>
                  <a:lnTo>
                    <a:pt x="486534" y="268391"/>
                  </a:lnTo>
                  <a:lnTo>
                    <a:pt x="487532" y="267937"/>
                  </a:lnTo>
                  <a:lnTo>
                    <a:pt x="488228" y="267937"/>
                  </a:lnTo>
                  <a:lnTo>
                    <a:pt x="488742" y="267604"/>
                  </a:lnTo>
                  <a:lnTo>
                    <a:pt x="489166" y="266243"/>
                  </a:lnTo>
                  <a:lnTo>
                    <a:pt x="489105" y="264912"/>
                  </a:lnTo>
                  <a:lnTo>
                    <a:pt x="488228" y="261705"/>
                  </a:lnTo>
                  <a:lnTo>
                    <a:pt x="488077" y="260283"/>
                  </a:lnTo>
                  <a:lnTo>
                    <a:pt x="489135" y="257258"/>
                  </a:lnTo>
                  <a:lnTo>
                    <a:pt x="491102" y="255352"/>
                  </a:lnTo>
                  <a:lnTo>
                    <a:pt x="493431" y="253688"/>
                  </a:lnTo>
                  <a:lnTo>
                    <a:pt x="495549" y="251420"/>
                  </a:lnTo>
                  <a:lnTo>
                    <a:pt x="496184" y="249756"/>
                  </a:lnTo>
                  <a:lnTo>
                    <a:pt x="496365" y="248304"/>
                  </a:lnTo>
                  <a:lnTo>
                    <a:pt x="496728" y="247094"/>
                  </a:lnTo>
                  <a:lnTo>
                    <a:pt x="497908" y="246156"/>
                  </a:lnTo>
                  <a:lnTo>
                    <a:pt x="501690" y="244674"/>
                  </a:lnTo>
                  <a:lnTo>
                    <a:pt x="503535" y="244734"/>
                  </a:lnTo>
                  <a:lnTo>
                    <a:pt x="507195" y="245520"/>
                  </a:lnTo>
                  <a:lnTo>
                    <a:pt x="509071" y="245520"/>
                  </a:lnTo>
                  <a:lnTo>
                    <a:pt x="521293" y="243252"/>
                  </a:lnTo>
                  <a:lnTo>
                    <a:pt x="524923" y="241346"/>
                  </a:lnTo>
                  <a:lnTo>
                    <a:pt x="526435" y="239803"/>
                  </a:lnTo>
                  <a:lnTo>
                    <a:pt x="528099" y="237413"/>
                  </a:lnTo>
                  <a:lnTo>
                    <a:pt x="529854" y="234902"/>
                  </a:lnTo>
                  <a:lnTo>
                    <a:pt x="533575" y="227460"/>
                  </a:lnTo>
                  <a:lnTo>
                    <a:pt x="534028" y="226069"/>
                  </a:lnTo>
                  <a:lnTo>
                    <a:pt x="534240" y="224133"/>
                  </a:lnTo>
                  <a:lnTo>
                    <a:pt x="534149" y="220109"/>
                  </a:lnTo>
                  <a:lnTo>
                    <a:pt x="534422" y="218264"/>
                  </a:lnTo>
                  <a:lnTo>
                    <a:pt x="537598" y="213666"/>
                  </a:lnTo>
                  <a:lnTo>
                    <a:pt x="542136" y="212940"/>
                  </a:lnTo>
                  <a:lnTo>
                    <a:pt x="553268" y="215602"/>
                  </a:lnTo>
                  <a:lnTo>
                    <a:pt x="554115" y="215602"/>
                  </a:lnTo>
                  <a:lnTo>
                    <a:pt x="555114" y="215299"/>
                  </a:lnTo>
                  <a:lnTo>
                    <a:pt x="555749" y="214664"/>
                  </a:lnTo>
                  <a:lnTo>
                    <a:pt x="556324" y="213696"/>
                  </a:lnTo>
                  <a:lnTo>
                    <a:pt x="557201" y="212910"/>
                  </a:lnTo>
                  <a:lnTo>
                    <a:pt x="558623" y="212758"/>
                  </a:lnTo>
                  <a:lnTo>
                    <a:pt x="569241" y="217145"/>
                  </a:lnTo>
                  <a:lnTo>
                    <a:pt x="571449" y="216782"/>
                  </a:lnTo>
                  <a:lnTo>
                    <a:pt x="572992" y="214422"/>
                  </a:lnTo>
                  <a:lnTo>
                    <a:pt x="574111" y="209733"/>
                  </a:lnTo>
                  <a:lnTo>
                    <a:pt x="574747" y="205256"/>
                  </a:lnTo>
                  <a:lnTo>
                    <a:pt x="575473" y="203531"/>
                  </a:lnTo>
                  <a:lnTo>
                    <a:pt x="577076" y="201505"/>
                  </a:lnTo>
                  <a:lnTo>
                    <a:pt x="579950" y="198873"/>
                  </a:lnTo>
                  <a:lnTo>
                    <a:pt x="581523" y="198026"/>
                  </a:lnTo>
                  <a:lnTo>
                    <a:pt x="585425" y="197058"/>
                  </a:lnTo>
                  <a:lnTo>
                    <a:pt x="587997" y="196422"/>
                  </a:lnTo>
                  <a:lnTo>
                    <a:pt x="590417" y="194728"/>
                  </a:lnTo>
                  <a:lnTo>
                    <a:pt x="591506" y="192097"/>
                  </a:lnTo>
                  <a:lnTo>
                    <a:pt x="590599" y="189374"/>
                  </a:lnTo>
                  <a:close/>
                </a:path>
              </a:pathLst>
            </a:custGeom>
            <a:solidFill>
              <a:srgbClr val="96A3AC"/>
            </a:solidFill>
            <a:ln w="3175" cap="rnd">
              <a:solidFill>
                <a:schemeClr val="bg1"/>
              </a:solidFill>
              <a:prstDash val="solid"/>
              <a:round/>
            </a:ln>
          </p:spPr>
          <p:txBody>
            <a:bodyPr rtlCol="0" anchor="ctr"/>
            <a:lstStyle/>
            <a:p>
              <a:endParaRPr lang="en-ID"/>
            </a:p>
          </p:txBody>
        </p:sp>
        <p:sp>
          <p:nvSpPr>
            <p:cNvPr id="37" name="Freeform: Shape 36">
              <a:extLst>
                <a:ext uri="{FF2B5EF4-FFF2-40B4-BE49-F238E27FC236}">
                  <a16:creationId xmlns:a16="http://schemas.microsoft.com/office/drawing/2014/main" id="{3D633A24-4DED-DD40-A187-1E9EB55511C4}"/>
                </a:ext>
              </a:extLst>
            </p:cNvPr>
            <p:cNvSpPr/>
            <p:nvPr/>
          </p:nvSpPr>
          <p:spPr>
            <a:xfrm>
              <a:off x="8898057" y="4349453"/>
              <a:ext cx="10933" cy="22221"/>
            </a:xfrm>
            <a:custGeom>
              <a:avLst/>
              <a:gdLst>
                <a:gd name="connsiteX0" fmla="*/ 13039 w 14066"/>
                <a:gd name="connsiteY0" fmla="*/ 17758 h 28587"/>
                <a:gd name="connsiteX1" fmla="*/ 10649 w 14066"/>
                <a:gd name="connsiteY1" fmla="*/ 14672 h 28587"/>
                <a:gd name="connsiteX2" fmla="*/ 7654 w 14066"/>
                <a:gd name="connsiteY2" fmla="*/ 13038 h 28587"/>
                <a:gd name="connsiteX3" fmla="*/ 7654 w 14066"/>
                <a:gd name="connsiteY3" fmla="*/ 11858 h 28587"/>
                <a:gd name="connsiteX4" fmla="*/ 8652 w 14066"/>
                <a:gd name="connsiteY4" fmla="*/ 9832 h 28587"/>
                <a:gd name="connsiteX5" fmla="*/ 8743 w 14066"/>
                <a:gd name="connsiteY5" fmla="*/ 8863 h 28587"/>
                <a:gd name="connsiteX6" fmla="*/ 7866 w 14066"/>
                <a:gd name="connsiteY6" fmla="*/ 6958 h 28587"/>
                <a:gd name="connsiteX7" fmla="*/ 6928 w 14066"/>
                <a:gd name="connsiteY7" fmla="*/ 5808 h 28587"/>
                <a:gd name="connsiteX8" fmla="*/ 6474 w 14066"/>
                <a:gd name="connsiteY8" fmla="*/ 4598 h 28587"/>
                <a:gd name="connsiteX9" fmla="*/ 7139 w 14066"/>
                <a:gd name="connsiteY9" fmla="*/ 2692 h 28587"/>
                <a:gd name="connsiteX10" fmla="*/ 5445 w 14066"/>
                <a:gd name="connsiteY10" fmla="*/ 1240 h 28587"/>
                <a:gd name="connsiteX11" fmla="*/ 4538 w 14066"/>
                <a:gd name="connsiteY11" fmla="*/ 0 h 28587"/>
                <a:gd name="connsiteX12" fmla="*/ 2874 w 14066"/>
                <a:gd name="connsiteY12" fmla="*/ 2602 h 28587"/>
                <a:gd name="connsiteX13" fmla="*/ 1150 w 14066"/>
                <a:gd name="connsiteY13" fmla="*/ 7200 h 28587"/>
                <a:gd name="connsiteX14" fmla="*/ 908 w 14066"/>
                <a:gd name="connsiteY14" fmla="*/ 11768 h 28587"/>
                <a:gd name="connsiteX15" fmla="*/ 1664 w 14066"/>
                <a:gd name="connsiteY15" fmla="*/ 14006 h 28587"/>
                <a:gd name="connsiteX16" fmla="*/ 2753 w 14066"/>
                <a:gd name="connsiteY16" fmla="*/ 15973 h 28587"/>
                <a:gd name="connsiteX17" fmla="*/ 3600 w 14066"/>
                <a:gd name="connsiteY17" fmla="*/ 18151 h 28587"/>
                <a:gd name="connsiteX18" fmla="*/ 3661 w 14066"/>
                <a:gd name="connsiteY18" fmla="*/ 21025 h 28587"/>
                <a:gd name="connsiteX19" fmla="*/ 2692 w 14066"/>
                <a:gd name="connsiteY19" fmla="*/ 22840 h 28587"/>
                <a:gd name="connsiteX20" fmla="*/ 1150 w 14066"/>
                <a:gd name="connsiteY20" fmla="*/ 24292 h 28587"/>
                <a:gd name="connsiteX21" fmla="*/ 0 w 14066"/>
                <a:gd name="connsiteY21" fmla="*/ 25744 h 28587"/>
                <a:gd name="connsiteX22" fmla="*/ 91 w 14066"/>
                <a:gd name="connsiteY22" fmla="*/ 27014 h 28587"/>
                <a:gd name="connsiteX23" fmla="*/ 2360 w 14066"/>
                <a:gd name="connsiteY23" fmla="*/ 27650 h 28587"/>
                <a:gd name="connsiteX24" fmla="*/ 8501 w 14066"/>
                <a:gd name="connsiteY24" fmla="*/ 28587 h 28587"/>
                <a:gd name="connsiteX25" fmla="*/ 10588 w 14066"/>
                <a:gd name="connsiteY25" fmla="*/ 27952 h 28587"/>
                <a:gd name="connsiteX26" fmla="*/ 13371 w 14066"/>
                <a:gd name="connsiteY26" fmla="*/ 24715 h 28587"/>
                <a:gd name="connsiteX27" fmla="*/ 14067 w 14066"/>
                <a:gd name="connsiteY27" fmla="*/ 21206 h 28587"/>
                <a:gd name="connsiteX28" fmla="*/ 13039 w 14066"/>
                <a:gd name="connsiteY28" fmla="*/ 17758 h 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066" h="28587">
                  <a:moveTo>
                    <a:pt x="13039" y="17758"/>
                  </a:moveTo>
                  <a:lnTo>
                    <a:pt x="10649" y="14672"/>
                  </a:lnTo>
                  <a:lnTo>
                    <a:pt x="7654" y="13038"/>
                  </a:lnTo>
                  <a:lnTo>
                    <a:pt x="7654" y="11858"/>
                  </a:lnTo>
                  <a:lnTo>
                    <a:pt x="8652" y="9832"/>
                  </a:lnTo>
                  <a:lnTo>
                    <a:pt x="8743" y="8863"/>
                  </a:lnTo>
                  <a:lnTo>
                    <a:pt x="7866" y="6958"/>
                  </a:lnTo>
                  <a:lnTo>
                    <a:pt x="6928" y="5808"/>
                  </a:lnTo>
                  <a:lnTo>
                    <a:pt x="6474" y="4598"/>
                  </a:lnTo>
                  <a:lnTo>
                    <a:pt x="7139" y="2692"/>
                  </a:lnTo>
                  <a:lnTo>
                    <a:pt x="5445" y="1240"/>
                  </a:lnTo>
                  <a:lnTo>
                    <a:pt x="4538" y="0"/>
                  </a:lnTo>
                  <a:lnTo>
                    <a:pt x="2874" y="2602"/>
                  </a:lnTo>
                  <a:lnTo>
                    <a:pt x="1150" y="7200"/>
                  </a:lnTo>
                  <a:lnTo>
                    <a:pt x="908" y="11768"/>
                  </a:lnTo>
                  <a:lnTo>
                    <a:pt x="1664" y="14006"/>
                  </a:lnTo>
                  <a:lnTo>
                    <a:pt x="2753" y="15973"/>
                  </a:lnTo>
                  <a:lnTo>
                    <a:pt x="3600" y="18151"/>
                  </a:lnTo>
                  <a:lnTo>
                    <a:pt x="3661" y="21025"/>
                  </a:lnTo>
                  <a:lnTo>
                    <a:pt x="2692" y="22840"/>
                  </a:lnTo>
                  <a:lnTo>
                    <a:pt x="1150" y="24292"/>
                  </a:lnTo>
                  <a:lnTo>
                    <a:pt x="0" y="25744"/>
                  </a:lnTo>
                  <a:lnTo>
                    <a:pt x="91" y="27014"/>
                  </a:lnTo>
                  <a:lnTo>
                    <a:pt x="2360" y="27650"/>
                  </a:lnTo>
                  <a:lnTo>
                    <a:pt x="8501" y="28587"/>
                  </a:lnTo>
                  <a:lnTo>
                    <a:pt x="10588" y="27952"/>
                  </a:lnTo>
                  <a:lnTo>
                    <a:pt x="13371" y="24715"/>
                  </a:lnTo>
                  <a:lnTo>
                    <a:pt x="14067" y="21206"/>
                  </a:lnTo>
                  <a:lnTo>
                    <a:pt x="13039" y="17758"/>
                  </a:lnTo>
                  <a:close/>
                </a:path>
              </a:pathLst>
            </a:custGeom>
            <a:solidFill>
              <a:srgbClr val="96A3AC"/>
            </a:solidFill>
            <a:ln w="3175" cap="flat">
              <a:solidFill>
                <a:schemeClr val="bg1"/>
              </a:solidFill>
              <a:prstDash val="solid"/>
              <a:miter/>
            </a:ln>
          </p:spPr>
          <p:txBody>
            <a:bodyPr rtlCol="0" anchor="ctr"/>
            <a:lstStyle/>
            <a:p>
              <a:endParaRPr lang="en-ID"/>
            </a:p>
          </p:txBody>
        </p:sp>
        <p:sp>
          <p:nvSpPr>
            <p:cNvPr id="38" name="Freeform: Shape 37">
              <a:extLst>
                <a:ext uri="{FF2B5EF4-FFF2-40B4-BE49-F238E27FC236}">
                  <a16:creationId xmlns:a16="http://schemas.microsoft.com/office/drawing/2014/main" id="{1BDCB090-542B-3D6C-0F05-3CE3CB05AA4E}"/>
                </a:ext>
              </a:extLst>
            </p:cNvPr>
            <p:cNvSpPr/>
            <p:nvPr/>
          </p:nvSpPr>
          <p:spPr>
            <a:xfrm>
              <a:off x="8898057" y="4349453"/>
              <a:ext cx="10933" cy="22221"/>
            </a:xfrm>
            <a:custGeom>
              <a:avLst/>
              <a:gdLst>
                <a:gd name="connsiteX0" fmla="*/ 13039 w 14066"/>
                <a:gd name="connsiteY0" fmla="*/ 17758 h 28587"/>
                <a:gd name="connsiteX1" fmla="*/ 10649 w 14066"/>
                <a:gd name="connsiteY1" fmla="*/ 14672 h 28587"/>
                <a:gd name="connsiteX2" fmla="*/ 7654 w 14066"/>
                <a:gd name="connsiteY2" fmla="*/ 13038 h 28587"/>
                <a:gd name="connsiteX3" fmla="*/ 7654 w 14066"/>
                <a:gd name="connsiteY3" fmla="*/ 11858 h 28587"/>
                <a:gd name="connsiteX4" fmla="*/ 8652 w 14066"/>
                <a:gd name="connsiteY4" fmla="*/ 9832 h 28587"/>
                <a:gd name="connsiteX5" fmla="*/ 8743 w 14066"/>
                <a:gd name="connsiteY5" fmla="*/ 8863 h 28587"/>
                <a:gd name="connsiteX6" fmla="*/ 7866 w 14066"/>
                <a:gd name="connsiteY6" fmla="*/ 6958 h 28587"/>
                <a:gd name="connsiteX7" fmla="*/ 6928 w 14066"/>
                <a:gd name="connsiteY7" fmla="*/ 5808 h 28587"/>
                <a:gd name="connsiteX8" fmla="*/ 6474 w 14066"/>
                <a:gd name="connsiteY8" fmla="*/ 4598 h 28587"/>
                <a:gd name="connsiteX9" fmla="*/ 7139 w 14066"/>
                <a:gd name="connsiteY9" fmla="*/ 2692 h 28587"/>
                <a:gd name="connsiteX10" fmla="*/ 5445 w 14066"/>
                <a:gd name="connsiteY10" fmla="*/ 1240 h 28587"/>
                <a:gd name="connsiteX11" fmla="*/ 4538 w 14066"/>
                <a:gd name="connsiteY11" fmla="*/ 0 h 28587"/>
                <a:gd name="connsiteX12" fmla="*/ 2874 w 14066"/>
                <a:gd name="connsiteY12" fmla="*/ 2602 h 28587"/>
                <a:gd name="connsiteX13" fmla="*/ 1150 w 14066"/>
                <a:gd name="connsiteY13" fmla="*/ 7200 h 28587"/>
                <a:gd name="connsiteX14" fmla="*/ 908 w 14066"/>
                <a:gd name="connsiteY14" fmla="*/ 11768 h 28587"/>
                <a:gd name="connsiteX15" fmla="*/ 1664 w 14066"/>
                <a:gd name="connsiteY15" fmla="*/ 14006 h 28587"/>
                <a:gd name="connsiteX16" fmla="*/ 2753 w 14066"/>
                <a:gd name="connsiteY16" fmla="*/ 15973 h 28587"/>
                <a:gd name="connsiteX17" fmla="*/ 3600 w 14066"/>
                <a:gd name="connsiteY17" fmla="*/ 18151 h 28587"/>
                <a:gd name="connsiteX18" fmla="*/ 3661 w 14066"/>
                <a:gd name="connsiteY18" fmla="*/ 21025 h 28587"/>
                <a:gd name="connsiteX19" fmla="*/ 2692 w 14066"/>
                <a:gd name="connsiteY19" fmla="*/ 22840 h 28587"/>
                <a:gd name="connsiteX20" fmla="*/ 1150 w 14066"/>
                <a:gd name="connsiteY20" fmla="*/ 24292 h 28587"/>
                <a:gd name="connsiteX21" fmla="*/ 0 w 14066"/>
                <a:gd name="connsiteY21" fmla="*/ 25744 h 28587"/>
                <a:gd name="connsiteX22" fmla="*/ 91 w 14066"/>
                <a:gd name="connsiteY22" fmla="*/ 27014 h 28587"/>
                <a:gd name="connsiteX23" fmla="*/ 2360 w 14066"/>
                <a:gd name="connsiteY23" fmla="*/ 27650 h 28587"/>
                <a:gd name="connsiteX24" fmla="*/ 8501 w 14066"/>
                <a:gd name="connsiteY24" fmla="*/ 28587 h 28587"/>
                <a:gd name="connsiteX25" fmla="*/ 10588 w 14066"/>
                <a:gd name="connsiteY25" fmla="*/ 27952 h 28587"/>
                <a:gd name="connsiteX26" fmla="*/ 13371 w 14066"/>
                <a:gd name="connsiteY26" fmla="*/ 24715 h 28587"/>
                <a:gd name="connsiteX27" fmla="*/ 14067 w 14066"/>
                <a:gd name="connsiteY27" fmla="*/ 21206 h 28587"/>
                <a:gd name="connsiteX28" fmla="*/ 13039 w 14066"/>
                <a:gd name="connsiteY28" fmla="*/ 17758 h 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066" h="28587">
                  <a:moveTo>
                    <a:pt x="13039" y="17758"/>
                  </a:moveTo>
                  <a:lnTo>
                    <a:pt x="10649" y="14672"/>
                  </a:lnTo>
                  <a:lnTo>
                    <a:pt x="7654" y="13038"/>
                  </a:lnTo>
                  <a:lnTo>
                    <a:pt x="7654" y="11858"/>
                  </a:lnTo>
                  <a:lnTo>
                    <a:pt x="8652" y="9832"/>
                  </a:lnTo>
                  <a:lnTo>
                    <a:pt x="8743" y="8863"/>
                  </a:lnTo>
                  <a:lnTo>
                    <a:pt x="7866" y="6958"/>
                  </a:lnTo>
                  <a:lnTo>
                    <a:pt x="6928" y="5808"/>
                  </a:lnTo>
                  <a:lnTo>
                    <a:pt x="6474" y="4598"/>
                  </a:lnTo>
                  <a:lnTo>
                    <a:pt x="7139" y="2692"/>
                  </a:lnTo>
                  <a:lnTo>
                    <a:pt x="5445" y="1240"/>
                  </a:lnTo>
                  <a:lnTo>
                    <a:pt x="4538" y="0"/>
                  </a:lnTo>
                  <a:lnTo>
                    <a:pt x="2874" y="2602"/>
                  </a:lnTo>
                  <a:lnTo>
                    <a:pt x="1150" y="7200"/>
                  </a:lnTo>
                  <a:lnTo>
                    <a:pt x="908" y="11768"/>
                  </a:lnTo>
                  <a:lnTo>
                    <a:pt x="1664" y="14006"/>
                  </a:lnTo>
                  <a:lnTo>
                    <a:pt x="2753" y="15973"/>
                  </a:lnTo>
                  <a:lnTo>
                    <a:pt x="3600" y="18151"/>
                  </a:lnTo>
                  <a:lnTo>
                    <a:pt x="3661" y="21025"/>
                  </a:lnTo>
                  <a:lnTo>
                    <a:pt x="2692" y="22840"/>
                  </a:lnTo>
                  <a:lnTo>
                    <a:pt x="1150" y="24292"/>
                  </a:lnTo>
                  <a:lnTo>
                    <a:pt x="0" y="25744"/>
                  </a:lnTo>
                  <a:lnTo>
                    <a:pt x="91" y="27014"/>
                  </a:lnTo>
                  <a:lnTo>
                    <a:pt x="2360" y="27650"/>
                  </a:lnTo>
                  <a:lnTo>
                    <a:pt x="8501" y="28587"/>
                  </a:lnTo>
                  <a:lnTo>
                    <a:pt x="10588" y="27952"/>
                  </a:lnTo>
                  <a:lnTo>
                    <a:pt x="13371" y="24715"/>
                  </a:lnTo>
                  <a:lnTo>
                    <a:pt x="14067" y="21206"/>
                  </a:lnTo>
                  <a:lnTo>
                    <a:pt x="13039" y="17758"/>
                  </a:lnTo>
                  <a:close/>
                </a:path>
              </a:pathLst>
            </a:custGeom>
            <a:solidFill>
              <a:srgbClr val="96A3AC"/>
            </a:solidFill>
            <a:ln w="3175" cap="rnd">
              <a:solidFill>
                <a:schemeClr val="bg1"/>
              </a:solidFill>
              <a:prstDash val="solid"/>
              <a:round/>
            </a:ln>
          </p:spPr>
          <p:txBody>
            <a:bodyPr rtlCol="0" anchor="ctr"/>
            <a:lstStyle/>
            <a:p>
              <a:endParaRPr lang="en-ID"/>
            </a:p>
          </p:txBody>
        </p:sp>
        <p:sp>
          <p:nvSpPr>
            <p:cNvPr id="39" name="Freeform: Shape 38">
              <a:extLst>
                <a:ext uri="{FF2B5EF4-FFF2-40B4-BE49-F238E27FC236}">
                  <a16:creationId xmlns:a16="http://schemas.microsoft.com/office/drawing/2014/main" id="{A0C0B24B-FB1E-063A-A4D6-88A92A968243}"/>
                </a:ext>
              </a:extLst>
            </p:cNvPr>
            <p:cNvSpPr/>
            <p:nvPr/>
          </p:nvSpPr>
          <p:spPr>
            <a:xfrm>
              <a:off x="9796977" y="3060575"/>
              <a:ext cx="566971" cy="316688"/>
            </a:xfrm>
            <a:custGeom>
              <a:avLst/>
              <a:gdLst>
                <a:gd name="connsiteX0" fmla="*/ 729181 w 729422"/>
                <a:gd name="connsiteY0" fmla="*/ 305933 h 407426"/>
                <a:gd name="connsiteX1" fmla="*/ 725127 w 729422"/>
                <a:gd name="connsiteY1" fmla="*/ 294558 h 407426"/>
                <a:gd name="connsiteX2" fmla="*/ 724401 w 729422"/>
                <a:gd name="connsiteY2" fmla="*/ 291200 h 407426"/>
                <a:gd name="connsiteX3" fmla="*/ 724098 w 729422"/>
                <a:gd name="connsiteY3" fmla="*/ 287358 h 407426"/>
                <a:gd name="connsiteX4" fmla="*/ 724461 w 729422"/>
                <a:gd name="connsiteY4" fmla="*/ 281641 h 407426"/>
                <a:gd name="connsiteX5" fmla="*/ 724098 w 729422"/>
                <a:gd name="connsiteY5" fmla="*/ 279826 h 407426"/>
                <a:gd name="connsiteX6" fmla="*/ 723312 w 729422"/>
                <a:gd name="connsiteY6" fmla="*/ 278434 h 407426"/>
                <a:gd name="connsiteX7" fmla="*/ 718078 w 729422"/>
                <a:gd name="connsiteY7" fmla="*/ 272263 h 407426"/>
                <a:gd name="connsiteX8" fmla="*/ 717292 w 729422"/>
                <a:gd name="connsiteY8" fmla="*/ 270781 h 407426"/>
                <a:gd name="connsiteX9" fmla="*/ 716959 w 729422"/>
                <a:gd name="connsiteY9" fmla="*/ 269177 h 407426"/>
                <a:gd name="connsiteX10" fmla="*/ 717564 w 729422"/>
                <a:gd name="connsiteY10" fmla="*/ 267181 h 407426"/>
                <a:gd name="connsiteX11" fmla="*/ 720166 w 729422"/>
                <a:gd name="connsiteY11" fmla="*/ 264881 h 407426"/>
                <a:gd name="connsiteX12" fmla="*/ 720892 w 729422"/>
                <a:gd name="connsiteY12" fmla="*/ 263399 h 407426"/>
                <a:gd name="connsiteX13" fmla="*/ 720287 w 729422"/>
                <a:gd name="connsiteY13" fmla="*/ 261433 h 407426"/>
                <a:gd name="connsiteX14" fmla="*/ 718532 w 729422"/>
                <a:gd name="connsiteY14" fmla="*/ 260193 h 407426"/>
                <a:gd name="connsiteX15" fmla="*/ 710455 w 729422"/>
                <a:gd name="connsiteY15" fmla="*/ 256562 h 407426"/>
                <a:gd name="connsiteX16" fmla="*/ 708670 w 729422"/>
                <a:gd name="connsiteY16" fmla="*/ 254747 h 407426"/>
                <a:gd name="connsiteX17" fmla="*/ 707309 w 729422"/>
                <a:gd name="connsiteY17" fmla="*/ 252025 h 407426"/>
                <a:gd name="connsiteX18" fmla="*/ 706795 w 729422"/>
                <a:gd name="connsiteY18" fmla="*/ 248485 h 407426"/>
                <a:gd name="connsiteX19" fmla="*/ 706704 w 729422"/>
                <a:gd name="connsiteY19" fmla="*/ 240892 h 407426"/>
                <a:gd name="connsiteX20" fmla="*/ 705675 w 729422"/>
                <a:gd name="connsiteY20" fmla="*/ 238048 h 407426"/>
                <a:gd name="connsiteX21" fmla="*/ 695783 w 729422"/>
                <a:gd name="connsiteY21" fmla="*/ 231575 h 407426"/>
                <a:gd name="connsiteX22" fmla="*/ 694029 w 729422"/>
                <a:gd name="connsiteY22" fmla="*/ 228670 h 407426"/>
                <a:gd name="connsiteX23" fmla="*/ 695118 w 729422"/>
                <a:gd name="connsiteY23" fmla="*/ 225857 h 407426"/>
                <a:gd name="connsiteX24" fmla="*/ 697537 w 729422"/>
                <a:gd name="connsiteY24" fmla="*/ 221864 h 407426"/>
                <a:gd name="connsiteX25" fmla="*/ 699413 w 729422"/>
                <a:gd name="connsiteY25" fmla="*/ 218022 h 407426"/>
                <a:gd name="connsiteX26" fmla="*/ 698869 w 729422"/>
                <a:gd name="connsiteY26" fmla="*/ 215602 h 407426"/>
                <a:gd name="connsiteX27" fmla="*/ 696660 w 729422"/>
                <a:gd name="connsiteY27" fmla="*/ 213968 h 407426"/>
                <a:gd name="connsiteX28" fmla="*/ 692697 w 729422"/>
                <a:gd name="connsiteY28" fmla="*/ 209824 h 407426"/>
                <a:gd name="connsiteX29" fmla="*/ 690550 w 729422"/>
                <a:gd name="connsiteY29" fmla="*/ 208130 h 407426"/>
                <a:gd name="connsiteX30" fmla="*/ 686072 w 729422"/>
                <a:gd name="connsiteY30" fmla="*/ 206950 h 407426"/>
                <a:gd name="connsiteX31" fmla="*/ 681807 w 729422"/>
                <a:gd name="connsiteY31" fmla="*/ 208039 h 407426"/>
                <a:gd name="connsiteX32" fmla="*/ 673488 w 729422"/>
                <a:gd name="connsiteY32" fmla="*/ 212365 h 407426"/>
                <a:gd name="connsiteX33" fmla="*/ 671793 w 729422"/>
                <a:gd name="connsiteY33" fmla="*/ 211941 h 407426"/>
                <a:gd name="connsiteX34" fmla="*/ 670160 w 729422"/>
                <a:gd name="connsiteY34" fmla="*/ 211548 h 407426"/>
                <a:gd name="connsiteX35" fmla="*/ 672217 w 729422"/>
                <a:gd name="connsiteY35" fmla="*/ 205589 h 407426"/>
                <a:gd name="connsiteX36" fmla="*/ 678903 w 729422"/>
                <a:gd name="connsiteY36" fmla="*/ 192369 h 407426"/>
                <a:gd name="connsiteX37" fmla="*/ 679236 w 729422"/>
                <a:gd name="connsiteY37" fmla="*/ 190463 h 407426"/>
                <a:gd name="connsiteX38" fmla="*/ 679477 w 729422"/>
                <a:gd name="connsiteY38" fmla="*/ 187075 h 407426"/>
                <a:gd name="connsiteX39" fmla="*/ 679719 w 729422"/>
                <a:gd name="connsiteY39" fmla="*/ 185350 h 407426"/>
                <a:gd name="connsiteX40" fmla="*/ 680355 w 729422"/>
                <a:gd name="connsiteY40" fmla="*/ 183475 h 407426"/>
                <a:gd name="connsiteX41" fmla="*/ 681988 w 729422"/>
                <a:gd name="connsiteY41" fmla="*/ 179815 h 407426"/>
                <a:gd name="connsiteX42" fmla="*/ 682503 w 729422"/>
                <a:gd name="connsiteY42" fmla="*/ 177969 h 407426"/>
                <a:gd name="connsiteX43" fmla="*/ 681958 w 729422"/>
                <a:gd name="connsiteY43" fmla="*/ 173613 h 407426"/>
                <a:gd name="connsiteX44" fmla="*/ 679599 w 729422"/>
                <a:gd name="connsiteY44" fmla="*/ 171889 h 407426"/>
                <a:gd name="connsiteX45" fmla="*/ 676997 w 729422"/>
                <a:gd name="connsiteY45" fmla="*/ 170648 h 407426"/>
                <a:gd name="connsiteX46" fmla="*/ 675605 w 729422"/>
                <a:gd name="connsiteY46" fmla="*/ 167532 h 407426"/>
                <a:gd name="connsiteX47" fmla="*/ 677481 w 729422"/>
                <a:gd name="connsiteY47" fmla="*/ 164961 h 407426"/>
                <a:gd name="connsiteX48" fmla="*/ 686859 w 729422"/>
                <a:gd name="connsiteY48" fmla="*/ 160786 h 407426"/>
                <a:gd name="connsiteX49" fmla="*/ 689884 w 729422"/>
                <a:gd name="connsiteY49" fmla="*/ 158094 h 407426"/>
                <a:gd name="connsiteX50" fmla="*/ 690852 w 729422"/>
                <a:gd name="connsiteY50" fmla="*/ 154434 h 407426"/>
                <a:gd name="connsiteX51" fmla="*/ 691608 w 729422"/>
                <a:gd name="connsiteY51" fmla="*/ 149200 h 407426"/>
                <a:gd name="connsiteX52" fmla="*/ 692092 w 729422"/>
                <a:gd name="connsiteY52" fmla="*/ 139610 h 407426"/>
                <a:gd name="connsiteX53" fmla="*/ 691517 w 729422"/>
                <a:gd name="connsiteY53" fmla="*/ 135647 h 407426"/>
                <a:gd name="connsiteX54" fmla="*/ 690247 w 729422"/>
                <a:gd name="connsiteY54" fmla="*/ 133197 h 407426"/>
                <a:gd name="connsiteX55" fmla="*/ 688372 w 729422"/>
                <a:gd name="connsiteY55" fmla="*/ 131654 h 407426"/>
                <a:gd name="connsiteX56" fmla="*/ 678177 w 729422"/>
                <a:gd name="connsiteY56" fmla="*/ 125785 h 407426"/>
                <a:gd name="connsiteX57" fmla="*/ 676815 w 729422"/>
                <a:gd name="connsiteY57" fmla="*/ 124394 h 407426"/>
                <a:gd name="connsiteX58" fmla="*/ 671430 w 729422"/>
                <a:gd name="connsiteY58" fmla="*/ 118797 h 407426"/>
                <a:gd name="connsiteX59" fmla="*/ 660903 w 729422"/>
                <a:gd name="connsiteY59" fmla="*/ 114199 h 407426"/>
                <a:gd name="connsiteX60" fmla="*/ 658392 w 729422"/>
                <a:gd name="connsiteY60" fmla="*/ 111688 h 407426"/>
                <a:gd name="connsiteX61" fmla="*/ 658755 w 729422"/>
                <a:gd name="connsiteY61" fmla="*/ 108663 h 407426"/>
                <a:gd name="connsiteX62" fmla="*/ 659844 w 729422"/>
                <a:gd name="connsiteY62" fmla="*/ 105154 h 407426"/>
                <a:gd name="connsiteX63" fmla="*/ 659542 w 729422"/>
                <a:gd name="connsiteY63" fmla="*/ 101100 h 407426"/>
                <a:gd name="connsiteX64" fmla="*/ 660086 w 729422"/>
                <a:gd name="connsiteY64" fmla="*/ 94808 h 407426"/>
                <a:gd name="connsiteX65" fmla="*/ 642450 w 729422"/>
                <a:gd name="connsiteY65" fmla="*/ 94959 h 407426"/>
                <a:gd name="connsiteX66" fmla="*/ 639152 w 729422"/>
                <a:gd name="connsiteY66" fmla="*/ 96956 h 407426"/>
                <a:gd name="connsiteX67" fmla="*/ 623603 w 729422"/>
                <a:gd name="connsiteY67" fmla="*/ 91692 h 407426"/>
                <a:gd name="connsiteX68" fmla="*/ 615526 w 729422"/>
                <a:gd name="connsiteY68" fmla="*/ 91208 h 407426"/>
                <a:gd name="connsiteX69" fmla="*/ 613136 w 729422"/>
                <a:gd name="connsiteY69" fmla="*/ 90149 h 407426"/>
                <a:gd name="connsiteX70" fmla="*/ 611109 w 729422"/>
                <a:gd name="connsiteY70" fmla="*/ 87941 h 407426"/>
                <a:gd name="connsiteX71" fmla="*/ 607419 w 729422"/>
                <a:gd name="connsiteY71" fmla="*/ 82677 h 407426"/>
                <a:gd name="connsiteX72" fmla="*/ 605029 w 729422"/>
                <a:gd name="connsiteY72" fmla="*/ 80953 h 407426"/>
                <a:gd name="connsiteX73" fmla="*/ 601580 w 729422"/>
                <a:gd name="connsiteY73" fmla="*/ 79833 h 407426"/>
                <a:gd name="connsiteX74" fmla="*/ 599826 w 729422"/>
                <a:gd name="connsiteY74" fmla="*/ 79803 h 407426"/>
                <a:gd name="connsiteX75" fmla="*/ 598040 w 729422"/>
                <a:gd name="connsiteY75" fmla="*/ 80166 h 407426"/>
                <a:gd name="connsiteX76" fmla="*/ 596498 w 729422"/>
                <a:gd name="connsiteY76" fmla="*/ 79894 h 407426"/>
                <a:gd name="connsiteX77" fmla="*/ 595379 w 729422"/>
                <a:gd name="connsiteY77" fmla="*/ 78684 h 407426"/>
                <a:gd name="connsiteX78" fmla="*/ 594138 w 729422"/>
                <a:gd name="connsiteY78" fmla="*/ 77807 h 407426"/>
                <a:gd name="connsiteX79" fmla="*/ 592263 w 729422"/>
                <a:gd name="connsiteY79" fmla="*/ 78593 h 407426"/>
                <a:gd name="connsiteX80" fmla="*/ 590690 w 729422"/>
                <a:gd name="connsiteY80" fmla="*/ 80801 h 407426"/>
                <a:gd name="connsiteX81" fmla="*/ 589661 w 729422"/>
                <a:gd name="connsiteY81" fmla="*/ 83343 h 407426"/>
                <a:gd name="connsiteX82" fmla="*/ 588451 w 729422"/>
                <a:gd name="connsiteY82" fmla="*/ 85732 h 407426"/>
                <a:gd name="connsiteX83" fmla="*/ 586394 w 729422"/>
                <a:gd name="connsiteY83" fmla="*/ 87427 h 407426"/>
                <a:gd name="connsiteX84" fmla="*/ 584609 w 729422"/>
                <a:gd name="connsiteY84" fmla="*/ 87911 h 407426"/>
                <a:gd name="connsiteX85" fmla="*/ 576804 w 729422"/>
                <a:gd name="connsiteY85" fmla="*/ 87548 h 407426"/>
                <a:gd name="connsiteX86" fmla="*/ 573416 w 729422"/>
                <a:gd name="connsiteY86" fmla="*/ 88546 h 407426"/>
                <a:gd name="connsiteX87" fmla="*/ 570149 w 729422"/>
                <a:gd name="connsiteY87" fmla="*/ 90331 h 407426"/>
                <a:gd name="connsiteX88" fmla="*/ 567184 w 729422"/>
                <a:gd name="connsiteY88" fmla="*/ 92781 h 407426"/>
                <a:gd name="connsiteX89" fmla="*/ 566519 w 729422"/>
                <a:gd name="connsiteY89" fmla="*/ 93900 h 407426"/>
                <a:gd name="connsiteX90" fmla="*/ 566186 w 729422"/>
                <a:gd name="connsiteY90" fmla="*/ 95171 h 407426"/>
                <a:gd name="connsiteX91" fmla="*/ 565702 w 729422"/>
                <a:gd name="connsiteY91" fmla="*/ 96200 h 407426"/>
                <a:gd name="connsiteX92" fmla="*/ 564673 w 729422"/>
                <a:gd name="connsiteY92" fmla="*/ 96653 h 407426"/>
                <a:gd name="connsiteX93" fmla="*/ 563705 w 729422"/>
                <a:gd name="connsiteY93" fmla="*/ 96351 h 407426"/>
                <a:gd name="connsiteX94" fmla="*/ 561830 w 729422"/>
                <a:gd name="connsiteY94" fmla="*/ 95111 h 407426"/>
                <a:gd name="connsiteX95" fmla="*/ 560862 w 729422"/>
                <a:gd name="connsiteY95" fmla="*/ 94868 h 407426"/>
                <a:gd name="connsiteX96" fmla="*/ 559530 w 729422"/>
                <a:gd name="connsiteY96" fmla="*/ 95594 h 407426"/>
                <a:gd name="connsiteX97" fmla="*/ 558139 w 729422"/>
                <a:gd name="connsiteY97" fmla="*/ 96744 h 407426"/>
                <a:gd name="connsiteX98" fmla="*/ 556596 w 729422"/>
                <a:gd name="connsiteY98" fmla="*/ 96986 h 407426"/>
                <a:gd name="connsiteX99" fmla="*/ 554721 w 729422"/>
                <a:gd name="connsiteY99" fmla="*/ 95050 h 407426"/>
                <a:gd name="connsiteX100" fmla="*/ 551332 w 729422"/>
                <a:gd name="connsiteY100" fmla="*/ 90603 h 407426"/>
                <a:gd name="connsiteX101" fmla="*/ 549668 w 729422"/>
                <a:gd name="connsiteY101" fmla="*/ 89090 h 407426"/>
                <a:gd name="connsiteX102" fmla="*/ 549668 w 729422"/>
                <a:gd name="connsiteY102" fmla="*/ 89090 h 407426"/>
                <a:gd name="connsiteX103" fmla="*/ 541682 w 729422"/>
                <a:gd name="connsiteY103" fmla="*/ 85914 h 407426"/>
                <a:gd name="connsiteX104" fmla="*/ 540412 w 729422"/>
                <a:gd name="connsiteY104" fmla="*/ 85400 h 407426"/>
                <a:gd name="connsiteX105" fmla="*/ 536207 w 729422"/>
                <a:gd name="connsiteY105" fmla="*/ 82647 h 407426"/>
                <a:gd name="connsiteX106" fmla="*/ 532788 w 729422"/>
                <a:gd name="connsiteY106" fmla="*/ 78896 h 407426"/>
                <a:gd name="connsiteX107" fmla="*/ 523259 w 729422"/>
                <a:gd name="connsiteY107" fmla="*/ 64526 h 407426"/>
                <a:gd name="connsiteX108" fmla="*/ 519931 w 729422"/>
                <a:gd name="connsiteY108" fmla="*/ 60926 h 407426"/>
                <a:gd name="connsiteX109" fmla="*/ 508799 w 729422"/>
                <a:gd name="connsiteY109" fmla="*/ 52335 h 407426"/>
                <a:gd name="connsiteX110" fmla="*/ 507952 w 729422"/>
                <a:gd name="connsiteY110" fmla="*/ 50217 h 407426"/>
                <a:gd name="connsiteX111" fmla="*/ 507619 w 729422"/>
                <a:gd name="connsiteY111" fmla="*/ 46648 h 407426"/>
                <a:gd name="connsiteX112" fmla="*/ 507952 w 729422"/>
                <a:gd name="connsiteY112" fmla="*/ 45044 h 407426"/>
                <a:gd name="connsiteX113" fmla="*/ 508496 w 729422"/>
                <a:gd name="connsiteY113" fmla="*/ 44016 h 407426"/>
                <a:gd name="connsiteX114" fmla="*/ 508859 w 729422"/>
                <a:gd name="connsiteY114" fmla="*/ 42957 h 407426"/>
                <a:gd name="connsiteX115" fmla="*/ 508527 w 729422"/>
                <a:gd name="connsiteY115" fmla="*/ 41323 h 407426"/>
                <a:gd name="connsiteX116" fmla="*/ 507801 w 729422"/>
                <a:gd name="connsiteY116" fmla="*/ 40476 h 407426"/>
                <a:gd name="connsiteX117" fmla="*/ 506590 w 729422"/>
                <a:gd name="connsiteY117" fmla="*/ 39932 h 407426"/>
                <a:gd name="connsiteX118" fmla="*/ 485445 w 729422"/>
                <a:gd name="connsiteY118" fmla="*/ 38177 h 407426"/>
                <a:gd name="connsiteX119" fmla="*/ 482934 w 729422"/>
                <a:gd name="connsiteY119" fmla="*/ 35939 h 407426"/>
                <a:gd name="connsiteX120" fmla="*/ 481633 w 729422"/>
                <a:gd name="connsiteY120" fmla="*/ 32460 h 407426"/>
                <a:gd name="connsiteX121" fmla="*/ 480695 w 729422"/>
                <a:gd name="connsiteY121" fmla="*/ 28920 h 407426"/>
                <a:gd name="connsiteX122" fmla="*/ 479183 w 729422"/>
                <a:gd name="connsiteY122" fmla="*/ 26500 h 407426"/>
                <a:gd name="connsiteX123" fmla="*/ 477640 w 729422"/>
                <a:gd name="connsiteY123" fmla="*/ 26440 h 407426"/>
                <a:gd name="connsiteX124" fmla="*/ 476521 w 729422"/>
                <a:gd name="connsiteY124" fmla="*/ 26803 h 407426"/>
                <a:gd name="connsiteX125" fmla="*/ 471106 w 729422"/>
                <a:gd name="connsiteY125" fmla="*/ 28527 h 407426"/>
                <a:gd name="connsiteX126" fmla="*/ 468564 w 729422"/>
                <a:gd name="connsiteY126" fmla="*/ 28739 h 407426"/>
                <a:gd name="connsiteX127" fmla="*/ 466235 w 729422"/>
                <a:gd name="connsiteY127" fmla="*/ 28406 h 407426"/>
                <a:gd name="connsiteX128" fmla="*/ 463996 w 729422"/>
                <a:gd name="connsiteY128" fmla="*/ 27135 h 407426"/>
                <a:gd name="connsiteX129" fmla="*/ 461879 w 729422"/>
                <a:gd name="connsiteY129" fmla="*/ 24564 h 407426"/>
                <a:gd name="connsiteX130" fmla="*/ 461334 w 729422"/>
                <a:gd name="connsiteY130" fmla="*/ 23203 h 407426"/>
                <a:gd name="connsiteX131" fmla="*/ 461244 w 729422"/>
                <a:gd name="connsiteY131" fmla="*/ 22023 h 407426"/>
                <a:gd name="connsiteX132" fmla="*/ 461213 w 729422"/>
                <a:gd name="connsiteY132" fmla="*/ 21841 h 407426"/>
                <a:gd name="connsiteX133" fmla="*/ 461062 w 729422"/>
                <a:gd name="connsiteY133" fmla="*/ 20904 h 407426"/>
                <a:gd name="connsiteX134" fmla="*/ 460185 w 729422"/>
                <a:gd name="connsiteY134" fmla="*/ 19603 h 407426"/>
                <a:gd name="connsiteX135" fmla="*/ 459217 w 729422"/>
                <a:gd name="connsiteY135" fmla="*/ 18968 h 407426"/>
                <a:gd name="connsiteX136" fmla="*/ 455647 w 729422"/>
                <a:gd name="connsiteY136" fmla="*/ 18242 h 407426"/>
                <a:gd name="connsiteX137" fmla="*/ 451684 w 729422"/>
                <a:gd name="connsiteY137" fmla="*/ 15882 h 407426"/>
                <a:gd name="connsiteX138" fmla="*/ 445604 w 729422"/>
                <a:gd name="connsiteY138" fmla="*/ 9075 h 407426"/>
                <a:gd name="connsiteX139" fmla="*/ 441550 w 729422"/>
                <a:gd name="connsiteY139" fmla="*/ 7048 h 407426"/>
                <a:gd name="connsiteX140" fmla="*/ 440552 w 729422"/>
                <a:gd name="connsiteY140" fmla="*/ 7109 h 407426"/>
                <a:gd name="connsiteX141" fmla="*/ 439886 w 729422"/>
                <a:gd name="connsiteY141" fmla="*/ 7411 h 407426"/>
                <a:gd name="connsiteX142" fmla="*/ 439251 w 729422"/>
                <a:gd name="connsiteY142" fmla="*/ 7563 h 407426"/>
                <a:gd name="connsiteX143" fmla="*/ 438343 w 729422"/>
                <a:gd name="connsiteY143" fmla="*/ 7048 h 407426"/>
                <a:gd name="connsiteX144" fmla="*/ 437708 w 729422"/>
                <a:gd name="connsiteY144" fmla="*/ 6020 h 407426"/>
                <a:gd name="connsiteX145" fmla="*/ 436528 w 729422"/>
                <a:gd name="connsiteY145" fmla="*/ 2844 h 407426"/>
                <a:gd name="connsiteX146" fmla="*/ 435832 w 729422"/>
                <a:gd name="connsiteY146" fmla="*/ 1664 h 407426"/>
                <a:gd name="connsiteX147" fmla="*/ 434048 w 729422"/>
                <a:gd name="connsiteY147" fmla="*/ 272 h 407426"/>
                <a:gd name="connsiteX148" fmla="*/ 432202 w 729422"/>
                <a:gd name="connsiteY148" fmla="*/ 0 h 407426"/>
                <a:gd name="connsiteX149" fmla="*/ 430932 w 729422"/>
                <a:gd name="connsiteY149" fmla="*/ 1150 h 407426"/>
                <a:gd name="connsiteX150" fmla="*/ 430780 w 729422"/>
                <a:gd name="connsiteY150" fmla="*/ 4175 h 407426"/>
                <a:gd name="connsiteX151" fmla="*/ 433624 w 729422"/>
                <a:gd name="connsiteY151" fmla="*/ 8894 h 407426"/>
                <a:gd name="connsiteX152" fmla="*/ 434320 w 729422"/>
                <a:gd name="connsiteY152" fmla="*/ 11677 h 407426"/>
                <a:gd name="connsiteX153" fmla="*/ 432293 w 729422"/>
                <a:gd name="connsiteY153" fmla="*/ 14127 h 407426"/>
                <a:gd name="connsiteX154" fmla="*/ 429086 w 729422"/>
                <a:gd name="connsiteY154" fmla="*/ 15640 h 407426"/>
                <a:gd name="connsiteX155" fmla="*/ 427513 w 729422"/>
                <a:gd name="connsiteY155" fmla="*/ 15640 h 407426"/>
                <a:gd name="connsiteX156" fmla="*/ 426031 w 729422"/>
                <a:gd name="connsiteY156" fmla="*/ 14490 h 407426"/>
                <a:gd name="connsiteX157" fmla="*/ 424791 w 729422"/>
                <a:gd name="connsiteY157" fmla="*/ 10739 h 407426"/>
                <a:gd name="connsiteX158" fmla="*/ 423883 w 729422"/>
                <a:gd name="connsiteY158" fmla="*/ 6444 h 407426"/>
                <a:gd name="connsiteX159" fmla="*/ 422492 w 729422"/>
                <a:gd name="connsiteY159" fmla="*/ 2844 h 407426"/>
                <a:gd name="connsiteX160" fmla="*/ 419860 w 729422"/>
                <a:gd name="connsiteY160" fmla="*/ 1240 h 407426"/>
                <a:gd name="connsiteX161" fmla="*/ 415171 w 729422"/>
                <a:gd name="connsiteY161" fmla="*/ 1361 h 407426"/>
                <a:gd name="connsiteX162" fmla="*/ 412811 w 729422"/>
                <a:gd name="connsiteY162" fmla="*/ 1997 h 407426"/>
                <a:gd name="connsiteX163" fmla="*/ 410603 w 729422"/>
                <a:gd name="connsiteY163" fmla="*/ 3297 h 407426"/>
                <a:gd name="connsiteX164" fmla="*/ 409211 w 729422"/>
                <a:gd name="connsiteY164" fmla="*/ 4628 h 407426"/>
                <a:gd name="connsiteX165" fmla="*/ 403161 w 729422"/>
                <a:gd name="connsiteY165" fmla="*/ 10346 h 407426"/>
                <a:gd name="connsiteX166" fmla="*/ 400590 w 729422"/>
                <a:gd name="connsiteY166" fmla="*/ 11979 h 407426"/>
                <a:gd name="connsiteX167" fmla="*/ 392845 w 729422"/>
                <a:gd name="connsiteY167" fmla="*/ 13038 h 407426"/>
                <a:gd name="connsiteX168" fmla="*/ 390425 w 729422"/>
                <a:gd name="connsiteY168" fmla="*/ 14490 h 407426"/>
                <a:gd name="connsiteX169" fmla="*/ 388307 w 729422"/>
                <a:gd name="connsiteY169" fmla="*/ 16275 h 407426"/>
                <a:gd name="connsiteX170" fmla="*/ 387249 w 729422"/>
                <a:gd name="connsiteY170" fmla="*/ 17183 h 407426"/>
                <a:gd name="connsiteX171" fmla="*/ 384647 w 729422"/>
                <a:gd name="connsiteY171" fmla="*/ 16759 h 407426"/>
                <a:gd name="connsiteX172" fmla="*/ 382015 w 729422"/>
                <a:gd name="connsiteY172" fmla="*/ 15216 h 407426"/>
                <a:gd name="connsiteX173" fmla="*/ 378869 w 729422"/>
                <a:gd name="connsiteY173" fmla="*/ 14460 h 407426"/>
                <a:gd name="connsiteX174" fmla="*/ 377387 w 729422"/>
                <a:gd name="connsiteY174" fmla="*/ 16275 h 407426"/>
                <a:gd name="connsiteX175" fmla="*/ 375541 w 729422"/>
                <a:gd name="connsiteY175" fmla="*/ 21085 h 407426"/>
                <a:gd name="connsiteX176" fmla="*/ 373968 w 729422"/>
                <a:gd name="connsiteY176" fmla="*/ 22235 h 407426"/>
                <a:gd name="connsiteX177" fmla="*/ 367857 w 729422"/>
                <a:gd name="connsiteY177" fmla="*/ 22870 h 407426"/>
                <a:gd name="connsiteX178" fmla="*/ 360809 w 729422"/>
                <a:gd name="connsiteY178" fmla="*/ 22265 h 407426"/>
                <a:gd name="connsiteX179" fmla="*/ 358782 w 729422"/>
                <a:gd name="connsiteY179" fmla="*/ 22689 h 407426"/>
                <a:gd name="connsiteX180" fmla="*/ 353488 w 729422"/>
                <a:gd name="connsiteY180" fmla="*/ 27166 h 407426"/>
                <a:gd name="connsiteX181" fmla="*/ 349495 w 729422"/>
                <a:gd name="connsiteY181" fmla="*/ 29102 h 407426"/>
                <a:gd name="connsiteX182" fmla="*/ 348254 w 729422"/>
                <a:gd name="connsiteY182" fmla="*/ 30463 h 407426"/>
                <a:gd name="connsiteX183" fmla="*/ 346591 w 729422"/>
                <a:gd name="connsiteY183" fmla="*/ 34608 h 407426"/>
                <a:gd name="connsiteX184" fmla="*/ 345471 w 729422"/>
                <a:gd name="connsiteY184" fmla="*/ 36362 h 407426"/>
                <a:gd name="connsiteX185" fmla="*/ 343112 w 729422"/>
                <a:gd name="connsiteY185" fmla="*/ 37572 h 407426"/>
                <a:gd name="connsiteX186" fmla="*/ 340238 w 729422"/>
                <a:gd name="connsiteY186" fmla="*/ 37723 h 407426"/>
                <a:gd name="connsiteX187" fmla="*/ 335851 w 729422"/>
                <a:gd name="connsiteY187" fmla="*/ 36060 h 407426"/>
                <a:gd name="connsiteX188" fmla="*/ 334853 w 729422"/>
                <a:gd name="connsiteY188" fmla="*/ 37935 h 407426"/>
                <a:gd name="connsiteX189" fmla="*/ 334127 w 729422"/>
                <a:gd name="connsiteY189" fmla="*/ 40023 h 407426"/>
                <a:gd name="connsiteX190" fmla="*/ 333824 w 729422"/>
                <a:gd name="connsiteY190" fmla="*/ 42231 h 407426"/>
                <a:gd name="connsiteX191" fmla="*/ 334127 w 729422"/>
                <a:gd name="connsiteY191" fmla="*/ 46345 h 407426"/>
                <a:gd name="connsiteX192" fmla="*/ 335186 w 729422"/>
                <a:gd name="connsiteY192" fmla="*/ 54513 h 407426"/>
                <a:gd name="connsiteX193" fmla="*/ 335186 w 729422"/>
                <a:gd name="connsiteY193" fmla="*/ 57629 h 407426"/>
                <a:gd name="connsiteX194" fmla="*/ 336638 w 729422"/>
                <a:gd name="connsiteY194" fmla="*/ 60896 h 407426"/>
                <a:gd name="connsiteX195" fmla="*/ 341055 w 729422"/>
                <a:gd name="connsiteY195" fmla="*/ 67733 h 407426"/>
                <a:gd name="connsiteX196" fmla="*/ 341599 w 729422"/>
                <a:gd name="connsiteY196" fmla="*/ 70002 h 407426"/>
                <a:gd name="connsiteX197" fmla="*/ 342779 w 729422"/>
                <a:gd name="connsiteY197" fmla="*/ 80166 h 407426"/>
                <a:gd name="connsiteX198" fmla="*/ 341569 w 729422"/>
                <a:gd name="connsiteY198" fmla="*/ 86519 h 407426"/>
                <a:gd name="connsiteX199" fmla="*/ 341145 w 729422"/>
                <a:gd name="connsiteY199" fmla="*/ 91057 h 407426"/>
                <a:gd name="connsiteX200" fmla="*/ 341720 w 729422"/>
                <a:gd name="connsiteY200" fmla="*/ 93114 h 407426"/>
                <a:gd name="connsiteX201" fmla="*/ 342809 w 729422"/>
                <a:gd name="connsiteY201" fmla="*/ 94808 h 407426"/>
                <a:gd name="connsiteX202" fmla="*/ 343293 w 729422"/>
                <a:gd name="connsiteY202" fmla="*/ 98589 h 407426"/>
                <a:gd name="connsiteX203" fmla="*/ 343445 w 729422"/>
                <a:gd name="connsiteY203" fmla="*/ 104972 h 407426"/>
                <a:gd name="connsiteX204" fmla="*/ 345865 w 729422"/>
                <a:gd name="connsiteY204" fmla="*/ 126421 h 407426"/>
                <a:gd name="connsiteX205" fmla="*/ 346197 w 729422"/>
                <a:gd name="connsiteY205" fmla="*/ 134347 h 407426"/>
                <a:gd name="connsiteX206" fmla="*/ 345381 w 729422"/>
                <a:gd name="connsiteY206" fmla="*/ 141183 h 407426"/>
                <a:gd name="connsiteX207" fmla="*/ 343202 w 729422"/>
                <a:gd name="connsiteY207" fmla="*/ 145963 h 407426"/>
                <a:gd name="connsiteX208" fmla="*/ 336517 w 729422"/>
                <a:gd name="connsiteY208" fmla="*/ 153102 h 407426"/>
                <a:gd name="connsiteX209" fmla="*/ 334127 w 729422"/>
                <a:gd name="connsiteY209" fmla="*/ 154706 h 407426"/>
                <a:gd name="connsiteX210" fmla="*/ 333098 w 729422"/>
                <a:gd name="connsiteY210" fmla="*/ 155916 h 407426"/>
                <a:gd name="connsiteX211" fmla="*/ 333098 w 729422"/>
                <a:gd name="connsiteY211" fmla="*/ 157761 h 407426"/>
                <a:gd name="connsiteX212" fmla="*/ 331344 w 729422"/>
                <a:gd name="connsiteY212" fmla="*/ 158366 h 407426"/>
                <a:gd name="connsiteX213" fmla="*/ 329075 w 729422"/>
                <a:gd name="connsiteY213" fmla="*/ 159697 h 407426"/>
                <a:gd name="connsiteX214" fmla="*/ 327109 w 729422"/>
                <a:gd name="connsiteY214" fmla="*/ 161694 h 407426"/>
                <a:gd name="connsiteX215" fmla="*/ 326262 w 729422"/>
                <a:gd name="connsiteY215" fmla="*/ 164114 h 407426"/>
                <a:gd name="connsiteX216" fmla="*/ 316430 w 729422"/>
                <a:gd name="connsiteY216" fmla="*/ 170073 h 407426"/>
                <a:gd name="connsiteX217" fmla="*/ 312558 w 729422"/>
                <a:gd name="connsiteY217" fmla="*/ 172433 h 407426"/>
                <a:gd name="connsiteX218" fmla="*/ 308655 w 729422"/>
                <a:gd name="connsiteY218" fmla="*/ 173431 h 407426"/>
                <a:gd name="connsiteX219" fmla="*/ 307264 w 729422"/>
                <a:gd name="connsiteY219" fmla="*/ 175125 h 407426"/>
                <a:gd name="connsiteX220" fmla="*/ 305993 w 729422"/>
                <a:gd name="connsiteY220" fmla="*/ 177394 h 407426"/>
                <a:gd name="connsiteX221" fmla="*/ 304178 w 729422"/>
                <a:gd name="connsiteY221" fmla="*/ 179845 h 407426"/>
                <a:gd name="connsiteX222" fmla="*/ 300306 w 729422"/>
                <a:gd name="connsiteY222" fmla="*/ 182900 h 407426"/>
                <a:gd name="connsiteX223" fmla="*/ 297704 w 729422"/>
                <a:gd name="connsiteY223" fmla="*/ 184080 h 407426"/>
                <a:gd name="connsiteX224" fmla="*/ 291594 w 729422"/>
                <a:gd name="connsiteY224" fmla="*/ 186803 h 407426"/>
                <a:gd name="connsiteX225" fmla="*/ 274380 w 729422"/>
                <a:gd name="connsiteY225" fmla="*/ 190705 h 407426"/>
                <a:gd name="connsiteX226" fmla="*/ 268028 w 729422"/>
                <a:gd name="connsiteY226" fmla="*/ 190070 h 407426"/>
                <a:gd name="connsiteX227" fmla="*/ 263309 w 729422"/>
                <a:gd name="connsiteY227" fmla="*/ 188708 h 407426"/>
                <a:gd name="connsiteX228" fmla="*/ 262643 w 729422"/>
                <a:gd name="connsiteY228" fmla="*/ 188194 h 407426"/>
                <a:gd name="connsiteX229" fmla="*/ 261735 w 729422"/>
                <a:gd name="connsiteY229" fmla="*/ 187468 h 407426"/>
                <a:gd name="connsiteX230" fmla="*/ 256835 w 729422"/>
                <a:gd name="connsiteY230" fmla="*/ 180813 h 407426"/>
                <a:gd name="connsiteX231" fmla="*/ 255594 w 729422"/>
                <a:gd name="connsiteY231" fmla="*/ 179845 h 407426"/>
                <a:gd name="connsiteX232" fmla="*/ 246973 w 729422"/>
                <a:gd name="connsiteY232" fmla="*/ 178332 h 407426"/>
                <a:gd name="connsiteX233" fmla="*/ 238654 w 729422"/>
                <a:gd name="connsiteY233" fmla="*/ 175216 h 407426"/>
                <a:gd name="connsiteX234" fmla="*/ 233874 w 729422"/>
                <a:gd name="connsiteY234" fmla="*/ 170043 h 407426"/>
                <a:gd name="connsiteX235" fmla="*/ 232089 w 729422"/>
                <a:gd name="connsiteY235" fmla="*/ 169408 h 407426"/>
                <a:gd name="connsiteX236" fmla="*/ 230667 w 729422"/>
                <a:gd name="connsiteY236" fmla="*/ 168319 h 407426"/>
                <a:gd name="connsiteX237" fmla="*/ 229639 w 729422"/>
                <a:gd name="connsiteY237" fmla="*/ 165687 h 407426"/>
                <a:gd name="connsiteX238" fmla="*/ 226825 w 729422"/>
                <a:gd name="connsiteY238" fmla="*/ 149926 h 407426"/>
                <a:gd name="connsiteX239" fmla="*/ 225918 w 729422"/>
                <a:gd name="connsiteY239" fmla="*/ 148353 h 407426"/>
                <a:gd name="connsiteX240" fmla="*/ 224435 w 729422"/>
                <a:gd name="connsiteY240" fmla="*/ 146992 h 407426"/>
                <a:gd name="connsiteX241" fmla="*/ 223558 w 729422"/>
                <a:gd name="connsiteY241" fmla="*/ 143876 h 407426"/>
                <a:gd name="connsiteX242" fmla="*/ 222772 w 729422"/>
                <a:gd name="connsiteY242" fmla="*/ 137856 h 407426"/>
                <a:gd name="connsiteX243" fmla="*/ 221985 w 729422"/>
                <a:gd name="connsiteY243" fmla="*/ 134498 h 407426"/>
                <a:gd name="connsiteX244" fmla="*/ 220987 w 729422"/>
                <a:gd name="connsiteY244" fmla="*/ 131684 h 407426"/>
                <a:gd name="connsiteX245" fmla="*/ 220533 w 729422"/>
                <a:gd name="connsiteY245" fmla="*/ 130837 h 407426"/>
                <a:gd name="connsiteX246" fmla="*/ 218325 w 729422"/>
                <a:gd name="connsiteY246" fmla="*/ 126632 h 407426"/>
                <a:gd name="connsiteX247" fmla="*/ 217871 w 729422"/>
                <a:gd name="connsiteY247" fmla="*/ 124938 h 407426"/>
                <a:gd name="connsiteX248" fmla="*/ 217841 w 729422"/>
                <a:gd name="connsiteY248" fmla="*/ 123244 h 407426"/>
                <a:gd name="connsiteX249" fmla="*/ 217538 w 729422"/>
                <a:gd name="connsiteY249" fmla="*/ 121913 h 407426"/>
                <a:gd name="connsiteX250" fmla="*/ 216237 w 729422"/>
                <a:gd name="connsiteY250" fmla="*/ 121369 h 407426"/>
                <a:gd name="connsiteX251" fmla="*/ 212819 w 729422"/>
                <a:gd name="connsiteY251" fmla="*/ 120643 h 407426"/>
                <a:gd name="connsiteX252" fmla="*/ 207585 w 729422"/>
                <a:gd name="connsiteY252" fmla="*/ 117859 h 407426"/>
                <a:gd name="connsiteX253" fmla="*/ 199448 w 729422"/>
                <a:gd name="connsiteY253" fmla="*/ 111265 h 407426"/>
                <a:gd name="connsiteX254" fmla="*/ 192248 w 729422"/>
                <a:gd name="connsiteY254" fmla="*/ 102946 h 407426"/>
                <a:gd name="connsiteX255" fmla="*/ 169832 w 729422"/>
                <a:gd name="connsiteY255" fmla="*/ 84946 h 407426"/>
                <a:gd name="connsiteX256" fmla="*/ 164265 w 729422"/>
                <a:gd name="connsiteY256" fmla="*/ 77292 h 407426"/>
                <a:gd name="connsiteX257" fmla="*/ 163267 w 729422"/>
                <a:gd name="connsiteY257" fmla="*/ 74751 h 407426"/>
                <a:gd name="connsiteX258" fmla="*/ 162874 w 729422"/>
                <a:gd name="connsiteY258" fmla="*/ 71272 h 407426"/>
                <a:gd name="connsiteX259" fmla="*/ 163237 w 729422"/>
                <a:gd name="connsiteY259" fmla="*/ 64163 h 407426"/>
                <a:gd name="connsiteX260" fmla="*/ 164205 w 729422"/>
                <a:gd name="connsiteY260" fmla="*/ 57629 h 407426"/>
                <a:gd name="connsiteX261" fmla="*/ 164689 w 729422"/>
                <a:gd name="connsiteY261" fmla="*/ 56389 h 407426"/>
                <a:gd name="connsiteX262" fmla="*/ 165203 w 729422"/>
                <a:gd name="connsiteY262" fmla="*/ 55965 h 407426"/>
                <a:gd name="connsiteX263" fmla="*/ 165233 w 729422"/>
                <a:gd name="connsiteY263" fmla="*/ 55753 h 407426"/>
                <a:gd name="connsiteX264" fmla="*/ 164205 w 729422"/>
                <a:gd name="connsiteY264" fmla="*/ 55179 h 407426"/>
                <a:gd name="connsiteX265" fmla="*/ 162753 w 729422"/>
                <a:gd name="connsiteY265" fmla="*/ 54876 h 407426"/>
                <a:gd name="connsiteX266" fmla="*/ 161422 w 729422"/>
                <a:gd name="connsiteY266" fmla="*/ 55390 h 407426"/>
                <a:gd name="connsiteX267" fmla="*/ 160181 w 729422"/>
                <a:gd name="connsiteY267" fmla="*/ 56086 h 407426"/>
                <a:gd name="connsiteX268" fmla="*/ 159062 w 729422"/>
                <a:gd name="connsiteY268" fmla="*/ 56449 h 407426"/>
                <a:gd name="connsiteX269" fmla="*/ 156733 w 729422"/>
                <a:gd name="connsiteY269" fmla="*/ 56631 h 407426"/>
                <a:gd name="connsiteX270" fmla="*/ 152467 w 729422"/>
                <a:gd name="connsiteY270" fmla="*/ 57871 h 407426"/>
                <a:gd name="connsiteX271" fmla="*/ 123365 w 729422"/>
                <a:gd name="connsiteY271" fmla="*/ 72543 h 407426"/>
                <a:gd name="connsiteX272" fmla="*/ 103702 w 729422"/>
                <a:gd name="connsiteY272" fmla="*/ 82435 h 407426"/>
                <a:gd name="connsiteX273" fmla="*/ 99376 w 729422"/>
                <a:gd name="connsiteY273" fmla="*/ 83706 h 407426"/>
                <a:gd name="connsiteX274" fmla="*/ 80832 w 729422"/>
                <a:gd name="connsiteY274" fmla="*/ 84886 h 407426"/>
                <a:gd name="connsiteX275" fmla="*/ 76596 w 729422"/>
                <a:gd name="connsiteY275" fmla="*/ 87003 h 407426"/>
                <a:gd name="connsiteX276" fmla="*/ 73541 w 729422"/>
                <a:gd name="connsiteY276" fmla="*/ 90180 h 407426"/>
                <a:gd name="connsiteX277" fmla="*/ 62439 w 729422"/>
                <a:gd name="connsiteY277" fmla="*/ 110236 h 407426"/>
                <a:gd name="connsiteX278" fmla="*/ 55269 w 729422"/>
                <a:gd name="connsiteY278" fmla="*/ 119039 h 407426"/>
                <a:gd name="connsiteX279" fmla="*/ 51488 w 729422"/>
                <a:gd name="connsiteY279" fmla="*/ 128266 h 407426"/>
                <a:gd name="connsiteX280" fmla="*/ 50126 w 729422"/>
                <a:gd name="connsiteY280" fmla="*/ 129658 h 407426"/>
                <a:gd name="connsiteX281" fmla="*/ 48402 w 729422"/>
                <a:gd name="connsiteY281" fmla="*/ 130595 h 407426"/>
                <a:gd name="connsiteX282" fmla="*/ 46799 w 729422"/>
                <a:gd name="connsiteY282" fmla="*/ 132925 h 407426"/>
                <a:gd name="connsiteX283" fmla="*/ 45589 w 729422"/>
                <a:gd name="connsiteY283" fmla="*/ 135950 h 407426"/>
                <a:gd name="connsiteX284" fmla="*/ 44923 w 729422"/>
                <a:gd name="connsiteY284" fmla="*/ 139005 h 407426"/>
                <a:gd name="connsiteX285" fmla="*/ 44681 w 729422"/>
                <a:gd name="connsiteY285" fmla="*/ 142575 h 407426"/>
                <a:gd name="connsiteX286" fmla="*/ 44923 w 729422"/>
                <a:gd name="connsiteY286" fmla="*/ 153708 h 407426"/>
                <a:gd name="connsiteX287" fmla="*/ 44681 w 729422"/>
                <a:gd name="connsiteY287" fmla="*/ 155160 h 407426"/>
                <a:gd name="connsiteX288" fmla="*/ 43743 w 729422"/>
                <a:gd name="connsiteY288" fmla="*/ 157580 h 407426"/>
                <a:gd name="connsiteX289" fmla="*/ 43532 w 729422"/>
                <a:gd name="connsiteY289" fmla="*/ 159425 h 407426"/>
                <a:gd name="connsiteX290" fmla="*/ 44621 w 729422"/>
                <a:gd name="connsiteY290" fmla="*/ 163993 h 407426"/>
                <a:gd name="connsiteX291" fmla="*/ 44923 w 729422"/>
                <a:gd name="connsiteY291" fmla="*/ 165808 h 407426"/>
                <a:gd name="connsiteX292" fmla="*/ 44772 w 729422"/>
                <a:gd name="connsiteY292" fmla="*/ 172736 h 407426"/>
                <a:gd name="connsiteX293" fmla="*/ 43592 w 729422"/>
                <a:gd name="connsiteY293" fmla="*/ 178786 h 407426"/>
                <a:gd name="connsiteX294" fmla="*/ 41656 w 729422"/>
                <a:gd name="connsiteY294" fmla="*/ 183626 h 407426"/>
                <a:gd name="connsiteX295" fmla="*/ 39418 w 729422"/>
                <a:gd name="connsiteY295" fmla="*/ 186893 h 407426"/>
                <a:gd name="connsiteX296" fmla="*/ 36211 w 729422"/>
                <a:gd name="connsiteY296" fmla="*/ 189616 h 407426"/>
                <a:gd name="connsiteX297" fmla="*/ 33367 w 729422"/>
                <a:gd name="connsiteY297" fmla="*/ 192006 h 407426"/>
                <a:gd name="connsiteX298" fmla="*/ 32127 w 729422"/>
                <a:gd name="connsiteY298" fmla="*/ 192701 h 407426"/>
                <a:gd name="connsiteX299" fmla="*/ 31099 w 729422"/>
                <a:gd name="connsiteY299" fmla="*/ 193791 h 407426"/>
                <a:gd name="connsiteX300" fmla="*/ 27408 w 729422"/>
                <a:gd name="connsiteY300" fmla="*/ 198994 h 407426"/>
                <a:gd name="connsiteX301" fmla="*/ 25623 w 729422"/>
                <a:gd name="connsiteY301" fmla="*/ 200809 h 407426"/>
                <a:gd name="connsiteX302" fmla="*/ 18937 w 729422"/>
                <a:gd name="connsiteY302" fmla="*/ 204530 h 407426"/>
                <a:gd name="connsiteX303" fmla="*/ 17969 w 729422"/>
                <a:gd name="connsiteY303" fmla="*/ 206103 h 407426"/>
                <a:gd name="connsiteX304" fmla="*/ 9711 w 729422"/>
                <a:gd name="connsiteY304" fmla="*/ 211185 h 407426"/>
                <a:gd name="connsiteX305" fmla="*/ 8471 w 729422"/>
                <a:gd name="connsiteY305" fmla="*/ 214120 h 407426"/>
                <a:gd name="connsiteX306" fmla="*/ 8622 w 729422"/>
                <a:gd name="connsiteY306" fmla="*/ 216993 h 407426"/>
                <a:gd name="connsiteX307" fmla="*/ 9317 w 729422"/>
                <a:gd name="connsiteY307" fmla="*/ 219988 h 407426"/>
                <a:gd name="connsiteX308" fmla="*/ 9711 w 729422"/>
                <a:gd name="connsiteY308" fmla="*/ 223346 h 407426"/>
                <a:gd name="connsiteX309" fmla="*/ 9045 w 729422"/>
                <a:gd name="connsiteY309" fmla="*/ 237746 h 407426"/>
                <a:gd name="connsiteX310" fmla="*/ 7805 w 729422"/>
                <a:gd name="connsiteY310" fmla="*/ 243222 h 407426"/>
                <a:gd name="connsiteX311" fmla="*/ 4235 w 729422"/>
                <a:gd name="connsiteY311" fmla="*/ 252902 h 407426"/>
                <a:gd name="connsiteX312" fmla="*/ 3207 w 729422"/>
                <a:gd name="connsiteY312" fmla="*/ 259769 h 407426"/>
                <a:gd name="connsiteX313" fmla="*/ 2692 w 729422"/>
                <a:gd name="connsiteY313" fmla="*/ 260495 h 407426"/>
                <a:gd name="connsiteX314" fmla="*/ 2390 w 729422"/>
                <a:gd name="connsiteY314" fmla="*/ 261251 h 407426"/>
                <a:gd name="connsiteX315" fmla="*/ 2814 w 729422"/>
                <a:gd name="connsiteY315" fmla="*/ 263097 h 407426"/>
                <a:gd name="connsiteX316" fmla="*/ 3479 w 729422"/>
                <a:gd name="connsiteY316" fmla="*/ 264398 h 407426"/>
                <a:gd name="connsiteX317" fmla="*/ 4235 w 729422"/>
                <a:gd name="connsiteY317" fmla="*/ 264791 h 407426"/>
                <a:gd name="connsiteX318" fmla="*/ 5143 w 729422"/>
                <a:gd name="connsiteY318" fmla="*/ 264912 h 407426"/>
                <a:gd name="connsiteX319" fmla="*/ 6232 w 729422"/>
                <a:gd name="connsiteY319" fmla="*/ 265396 h 407426"/>
                <a:gd name="connsiteX320" fmla="*/ 8017 w 729422"/>
                <a:gd name="connsiteY320" fmla="*/ 266818 h 407426"/>
                <a:gd name="connsiteX321" fmla="*/ 8501 w 729422"/>
                <a:gd name="connsiteY321" fmla="*/ 267574 h 407426"/>
                <a:gd name="connsiteX322" fmla="*/ 9045 w 729422"/>
                <a:gd name="connsiteY322" fmla="*/ 268814 h 407426"/>
                <a:gd name="connsiteX323" fmla="*/ 9529 w 729422"/>
                <a:gd name="connsiteY323" fmla="*/ 270448 h 407426"/>
                <a:gd name="connsiteX324" fmla="*/ 9983 w 729422"/>
                <a:gd name="connsiteY324" fmla="*/ 273382 h 407426"/>
                <a:gd name="connsiteX325" fmla="*/ 10437 w 729422"/>
                <a:gd name="connsiteY325" fmla="*/ 274532 h 407426"/>
                <a:gd name="connsiteX326" fmla="*/ 10013 w 729422"/>
                <a:gd name="connsiteY326" fmla="*/ 276317 h 407426"/>
                <a:gd name="connsiteX327" fmla="*/ 9892 w 729422"/>
                <a:gd name="connsiteY327" fmla="*/ 279160 h 407426"/>
                <a:gd name="connsiteX328" fmla="*/ 10074 w 729422"/>
                <a:gd name="connsiteY328" fmla="*/ 282125 h 407426"/>
                <a:gd name="connsiteX329" fmla="*/ 11193 w 729422"/>
                <a:gd name="connsiteY329" fmla="*/ 285634 h 407426"/>
                <a:gd name="connsiteX330" fmla="*/ 10921 w 729422"/>
                <a:gd name="connsiteY330" fmla="*/ 286965 h 407426"/>
                <a:gd name="connsiteX331" fmla="*/ 10225 w 729422"/>
                <a:gd name="connsiteY331" fmla="*/ 287933 h 407426"/>
                <a:gd name="connsiteX332" fmla="*/ 9378 w 729422"/>
                <a:gd name="connsiteY332" fmla="*/ 288326 h 407426"/>
                <a:gd name="connsiteX333" fmla="*/ 8561 w 729422"/>
                <a:gd name="connsiteY333" fmla="*/ 287842 h 407426"/>
                <a:gd name="connsiteX334" fmla="*/ 6232 w 729422"/>
                <a:gd name="connsiteY334" fmla="*/ 284817 h 407426"/>
                <a:gd name="connsiteX335" fmla="*/ 7654 w 729422"/>
                <a:gd name="connsiteY335" fmla="*/ 282639 h 407426"/>
                <a:gd name="connsiteX336" fmla="*/ 7654 w 729422"/>
                <a:gd name="connsiteY336" fmla="*/ 279100 h 407426"/>
                <a:gd name="connsiteX337" fmla="*/ 6928 w 729422"/>
                <a:gd name="connsiteY337" fmla="*/ 278706 h 407426"/>
                <a:gd name="connsiteX338" fmla="*/ 6232 w 729422"/>
                <a:gd name="connsiteY338" fmla="*/ 278071 h 407426"/>
                <a:gd name="connsiteX339" fmla="*/ 7654 w 729422"/>
                <a:gd name="connsiteY339" fmla="*/ 275772 h 407426"/>
                <a:gd name="connsiteX340" fmla="*/ 6776 w 729422"/>
                <a:gd name="connsiteY340" fmla="*/ 273806 h 407426"/>
                <a:gd name="connsiteX341" fmla="*/ 6232 w 729422"/>
                <a:gd name="connsiteY341" fmla="*/ 269419 h 407426"/>
                <a:gd name="connsiteX342" fmla="*/ 5627 w 729422"/>
                <a:gd name="connsiteY342" fmla="*/ 267695 h 407426"/>
                <a:gd name="connsiteX343" fmla="*/ 3812 w 729422"/>
                <a:gd name="connsiteY343" fmla="*/ 266092 h 407426"/>
                <a:gd name="connsiteX344" fmla="*/ 3207 w 729422"/>
                <a:gd name="connsiteY344" fmla="*/ 267665 h 407426"/>
                <a:gd name="connsiteX345" fmla="*/ 3509 w 729422"/>
                <a:gd name="connsiteY345" fmla="*/ 270690 h 407426"/>
                <a:gd name="connsiteX346" fmla="*/ 4235 w 729422"/>
                <a:gd name="connsiteY346" fmla="*/ 273503 h 407426"/>
                <a:gd name="connsiteX347" fmla="*/ 3721 w 729422"/>
                <a:gd name="connsiteY347" fmla="*/ 275197 h 407426"/>
                <a:gd name="connsiteX348" fmla="*/ 3721 w 729422"/>
                <a:gd name="connsiteY348" fmla="*/ 278495 h 407426"/>
                <a:gd name="connsiteX349" fmla="*/ 3479 w 729422"/>
                <a:gd name="connsiteY349" fmla="*/ 280340 h 407426"/>
                <a:gd name="connsiteX350" fmla="*/ 2995 w 729422"/>
                <a:gd name="connsiteY350" fmla="*/ 281883 h 407426"/>
                <a:gd name="connsiteX351" fmla="*/ 2420 w 729422"/>
                <a:gd name="connsiteY351" fmla="*/ 283153 h 407426"/>
                <a:gd name="connsiteX352" fmla="*/ 1059 w 729422"/>
                <a:gd name="connsiteY352" fmla="*/ 285422 h 407426"/>
                <a:gd name="connsiteX353" fmla="*/ 212 w 729422"/>
                <a:gd name="connsiteY353" fmla="*/ 287994 h 407426"/>
                <a:gd name="connsiteX354" fmla="*/ 0 w 729422"/>
                <a:gd name="connsiteY354" fmla="*/ 291200 h 407426"/>
                <a:gd name="connsiteX355" fmla="*/ 242 w 729422"/>
                <a:gd name="connsiteY355" fmla="*/ 294528 h 407426"/>
                <a:gd name="connsiteX356" fmla="*/ 1301 w 729422"/>
                <a:gd name="connsiteY356" fmla="*/ 301093 h 407426"/>
                <a:gd name="connsiteX357" fmla="*/ 1422 w 729422"/>
                <a:gd name="connsiteY357" fmla="*/ 302605 h 407426"/>
                <a:gd name="connsiteX358" fmla="*/ 1422 w 729422"/>
                <a:gd name="connsiteY358" fmla="*/ 304390 h 407426"/>
                <a:gd name="connsiteX359" fmla="*/ 1180 w 729422"/>
                <a:gd name="connsiteY359" fmla="*/ 306296 h 407426"/>
                <a:gd name="connsiteX360" fmla="*/ 242 w 729422"/>
                <a:gd name="connsiteY360" fmla="*/ 309563 h 407426"/>
                <a:gd name="connsiteX361" fmla="*/ 61 w 729422"/>
                <a:gd name="connsiteY361" fmla="*/ 310591 h 407426"/>
                <a:gd name="connsiteX362" fmla="*/ 484 w 729422"/>
                <a:gd name="connsiteY362" fmla="*/ 314161 h 407426"/>
                <a:gd name="connsiteX363" fmla="*/ 1573 w 729422"/>
                <a:gd name="connsiteY363" fmla="*/ 317731 h 407426"/>
                <a:gd name="connsiteX364" fmla="*/ 6050 w 729422"/>
                <a:gd name="connsiteY364" fmla="*/ 328198 h 407426"/>
                <a:gd name="connsiteX365" fmla="*/ 7472 w 729422"/>
                <a:gd name="connsiteY365" fmla="*/ 333643 h 407426"/>
                <a:gd name="connsiteX366" fmla="*/ 8471 w 729422"/>
                <a:gd name="connsiteY366" fmla="*/ 339784 h 407426"/>
                <a:gd name="connsiteX367" fmla="*/ 8561 w 729422"/>
                <a:gd name="connsiteY367" fmla="*/ 340540 h 407426"/>
                <a:gd name="connsiteX368" fmla="*/ 8561 w 729422"/>
                <a:gd name="connsiteY368" fmla="*/ 340601 h 407426"/>
                <a:gd name="connsiteX369" fmla="*/ 12373 w 729422"/>
                <a:gd name="connsiteY369" fmla="*/ 339723 h 407426"/>
                <a:gd name="connsiteX370" fmla="*/ 18272 w 729422"/>
                <a:gd name="connsiteY370" fmla="*/ 339693 h 407426"/>
                <a:gd name="connsiteX371" fmla="*/ 22326 w 729422"/>
                <a:gd name="connsiteY371" fmla="*/ 338634 h 407426"/>
                <a:gd name="connsiteX372" fmla="*/ 23838 w 729422"/>
                <a:gd name="connsiteY372" fmla="*/ 335488 h 407426"/>
                <a:gd name="connsiteX373" fmla="*/ 24564 w 729422"/>
                <a:gd name="connsiteY373" fmla="*/ 330920 h 407426"/>
                <a:gd name="connsiteX374" fmla="*/ 26288 w 729422"/>
                <a:gd name="connsiteY374" fmla="*/ 325596 h 407426"/>
                <a:gd name="connsiteX375" fmla="*/ 28799 w 729422"/>
                <a:gd name="connsiteY375" fmla="*/ 321936 h 407426"/>
                <a:gd name="connsiteX376" fmla="*/ 32399 w 729422"/>
                <a:gd name="connsiteY376" fmla="*/ 318336 h 407426"/>
                <a:gd name="connsiteX377" fmla="*/ 36120 w 729422"/>
                <a:gd name="connsiteY377" fmla="*/ 315432 h 407426"/>
                <a:gd name="connsiteX378" fmla="*/ 39236 w 729422"/>
                <a:gd name="connsiteY378" fmla="*/ 313949 h 407426"/>
                <a:gd name="connsiteX379" fmla="*/ 43804 w 729422"/>
                <a:gd name="connsiteY379" fmla="*/ 313738 h 407426"/>
                <a:gd name="connsiteX380" fmla="*/ 45377 w 729422"/>
                <a:gd name="connsiteY380" fmla="*/ 313253 h 407426"/>
                <a:gd name="connsiteX381" fmla="*/ 59414 w 729422"/>
                <a:gd name="connsiteY381" fmla="*/ 303301 h 407426"/>
                <a:gd name="connsiteX382" fmla="*/ 63135 w 729422"/>
                <a:gd name="connsiteY382" fmla="*/ 301516 h 407426"/>
                <a:gd name="connsiteX383" fmla="*/ 72059 w 729422"/>
                <a:gd name="connsiteY383" fmla="*/ 301153 h 407426"/>
                <a:gd name="connsiteX384" fmla="*/ 100314 w 729422"/>
                <a:gd name="connsiteY384" fmla="*/ 288901 h 407426"/>
                <a:gd name="connsiteX385" fmla="*/ 102099 w 729422"/>
                <a:gd name="connsiteY385" fmla="*/ 288115 h 407426"/>
                <a:gd name="connsiteX386" fmla="*/ 113261 w 729422"/>
                <a:gd name="connsiteY386" fmla="*/ 283244 h 407426"/>
                <a:gd name="connsiteX387" fmla="*/ 117799 w 729422"/>
                <a:gd name="connsiteY387" fmla="*/ 283547 h 407426"/>
                <a:gd name="connsiteX388" fmla="*/ 119705 w 729422"/>
                <a:gd name="connsiteY388" fmla="*/ 284454 h 407426"/>
                <a:gd name="connsiteX389" fmla="*/ 123456 w 729422"/>
                <a:gd name="connsiteY389" fmla="*/ 287026 h 407426"/>
                <a:gd name="connsiteX390" fmla="*/ 125422 w 729422"/>
                <a:gd name="connsiteY390" fmla="*/ 287752 h 407426"/>
                <a:gd name="connsiteX391" fmla="*/ 155280 w 729422"/>
                <a:gd name="connsiteY391" fmla="*/ 286844 h 407426"/>
                <a:gd name="connsiteX392" fmla="*/ 161754 w 729422"/>
                <a:gd name="connsiteY392" fmla="*/ 288205 h 407426"/>
                <a:gd name="connsiteX393" fmla="*/ 161997 w 729422"/>
                <a:gd name="connsiteY393" fmla="*/ 288326 h 407426"/>
                <a:gd name="connsiteX394" fmla="*/ 164659 w 729422"/>
                <a:gd name="connsiteY394" fmla="*/ 289657 h 407426"/>
                <a:gd name="connsiteX395" fmla="*/ 169106 w 729422"/>
                <a:gd name="connsiteY395" fmla="*/ 293983 h 407426"/>
                <a:gd name="connsiteX396" fmla="*/ 170860 w 729422"/>
                <a:gd name="connsiteY396" fmla="*/ 294649 h 407426"/>
                <a:gd name="connsiteX397" fmla="*/ 172373 w 729422"/>
                <a:gd name="connsiteY397" fmla="*/ 294437 h 407426"/>
                <a:gd name="connsiteX398" fmla="*/ 186591 w 729422"/>
                <a:gd name="connsiteY398" fmla="*/ 289022 h 407426"/>
                <a:gd name="connsiteX399" fmla="*/ 190282 w 729422"/>
                <a:gd name="connsiteY399" fmla="*/ 286632 h 407426"/>
                <a:gd name="connsiteX400" fmla="*/ 193276 w 729422"/>
                <a:gd name="connsiteY400" fmla="*/ 284757 h 407426"/>
                <a:gd name="connsiteX401" fmla="*/ 196846 w 729422"/>
                <a:gd name="connsiteY401" fmla="*/ 284121 h 407426"/>
                <a:gd name="connsiteX402" fmla="*/ 200083 w 729422"/>
                <a:gd name="connsiteY402" fmla="*/ 285816 h 407426"/>
                <a:gd name="connsiteX403" fmla="*/ 202563 w 729422"/>
                <a:gd name="connsiteY403" fmla="*/ 290656 h 407426"/>
                <a:gd name="connsiteX404" fmla="*/ 206103 w 729422"/>
                <a:gd name="connsiteY404" fmla="*/ 298854 h 407426"/>
                <a:gd name="connsiteX405" fmla="*/ 210701 w 729422"/>
                <a:gd name="connsiteY405" fmla="*/ 302151 h 407426"/>
                <a:gd name="connsiteX406" fmla="*/ 215783 w 729422"/>
                <a:gd name="connsiteY406" fmla="*/ 301032 h 407426"/>
                <a:gd name="connsiteX407" fmla="*/ 220805 w 729422"/>
                <a:gd name="connsiteY407" fmla="*/ 296010 h 407426"/>
                <a:gd name="connsiteX408" fmla="*/ 219958 w 729422"/>
                <a:gd name="connsiteY408" fmla="*/ 294256 h 407426"/>
                <a:gd name="connsiteX409" fmla="*/ 221773 w 729422"/>
                <a:gd name="connsiteY409" fmla="*/ 293167 h 407426"/>
                <a:gd name="connsiteX410" fmla="*/ 233450 w 729422"/>
                <a:gd name="connsiteY410" fmla="*/ 290656 h 407426"/>
                <a:gd name="connsiteX411" fmla="*/ 235689 w 729422"/>
                <a:gd name="connsiteY411" fmla="*/ 291079 h 407426"/>
                <a:gd name="connsiteX412" fmla="*/ 242465 w 729422"/>
                <a:gd name="connsiteY412" fmla="*/ 293741 h 407426"/>
                <a:gd name="connsiteX413" fmla="*/ 252902 w 729422"/>
                <a:gd name="connsiteY413" fmla="*/ 297825 h 407426"/>
                <a:gd name="connsiteX414" fmla="*/ 256502 w 729422"/>
                <a:gd name="connsiteY414" fmla="*/ 298067 h 407426"/>
                <a:gd name="connsiteX415" fmla="*/ 262552 w 729422"/>
                <a:gd name="connsiteY415" fmla="*/ 294740 h 407426"/>
                <a:gd name="connsiteX416" fmla="*/ 265789 w 729422"/>
                <a:gd name="connsiteY416" fmla="*/ 293862 h 407426"/>
                <a:gd name="connsiteX417" fmla="*/ 272808 w 729422"/>
                <a:gd name="connsiteY417" fmla="*/ 294195 h 407426"/>
                <a:gd name="connsiteX418" fmla="*/ 275530 w 729422"/>
                <a:gd name="connsiteY418" fmla="*/ 293772 h 407426"/>
                <a:gd name="connsiteX419" fmla="*/ 276407 w 729422"/>
                <a:gd name="connsiteY419" fmla="*/ 294044 h 407426"/>
                <a:gd name="connsiteX420" fmla="*/ 277224 w 729422"/>
                <a:gd name="connsiteY420" fmla="*/ 295193 h 407426"/>
                <a:gd name="connsiteX421" fmla="*/ 277375 w 729422"/>
                <a:gd name="connsiteY421" fmla="*/ 296434 h 407426"/>
                <a:gd name="connsiteX422" fmla="*/ 277254 w 729422"/>
                <a:gd name="connsiteY422" fmla="*/ 297493 h 407426"/>
                <a:gd name="connsiteX423" fmla="*/ 277375 w 729422"/>
                <a:gd name="connsiteY423" fmla="*/ 298037 h 407426"/>
                <a:gd name="connsiteX424" fmla="*/ 280521 w 729422"/>
                <a:gd name="connsiteY424" fmla="*/ 298521 h 407426"/>
                <a:gd name="connsiteX425" fmla="*/ 287449 w 729422"/>
                <a:gd name="connsiteY425" fmla="*/ 297008 h 407426"/>
                <a:gd name="connsiteX426" fmla="*/ 290777 w 729422"/>
                <a:gd name="connsiteY426" fmla="*/ 297099 h 407426"/>
                <a:gd name="connsiteX427" fmla="*/ 292078 w 729422"/>
                <a:gd name="connsiteY427" fmla="*/ 297493 h 407426"/>
                <a:gd name="connsiteX428" fmla="*/ 303180 w 729422"/>
                <a:gd name="connsiteY428" fmla="*/ 300760 h 407426"/>
                <a:gd name="connsiteX429" fmla="*/ 312618 w 729422"/>
                <a:gd name="connsiteY429" fmla="*/ 307627 h 407426"/>
                <a:gd name="connsiteX430" fmla="*/ 315976 w 729422"/>
                <a:gd name="connsiteY430" fmla="*/ 309381 h 407426"/>
                <a:gd name="connsiteX431" fmla="*/ 319032 w 729422"/>
                <a:gd name="connsiteY431" fmla="*/ 309926 h 407426"/>
                <a:gd name="connsiteX432" fmla="*/ 319183 w 729422"/>
                <a:gd name="connsiteY432" fmla="*/ 309896 h 407426"/>
                <a:gd name="connsiteX433" fmla="*/ 321845 w 729422"/>
                <a:gd name="connsiteY433" fmla="*/ 309442 h 407426"/>
                <a:gd name="connsiteX434" fmla="*/ 334006 w 729422"/>
                <a:gd name="connsiteY434" fmla="*/ 303573 h 407426"/>
                <a:gd name="connsiteX435" fmla="*/ 337122 w 729422"/>
                <a:gd name="connsiteY435" fmla="*/ 303059 h 407426"/>
                <a:gd name="connsiteX436" fmla="*/ 340359 w 729422"/>
                <a:gd name="connsiteY436" fmla="*/ 304239 h 407426"/>
                <a:gd name="connsiteX437" fmla="*/ 346742 w 729422"/>
                <a:gd name="connsiteY437" fmla="*/ 308565 h 407426"/>
                <a:gd name="connsiteX438" fmla="*/ 350070 w 729422"/>
                <a:gd name="connsiteY438" fmla="*/ 309412 h 407426"/>
                <a:gd name="connsiteX439" fmla="*/ 353488 w 729422"/>
                <a:gd name="connsiteY439" fmla="*/ 308020 h 407426"/>
                <a:gd name="connsiteX440" fmla="*/ 359296 w 729422"/>
                <a:gd name="connsiteY440" fmla="*/ 304904 h 407426"/>
                <a:gd name="connsiteX441" fmla="*/ 361202 w 729422"/>
                <a:gd name="connsiteY441" fmla="*/ 303059 h 407426"/>
                <a:gd name="connsiteX442" fmla="*/ 369370 w 729422"/>
                <a:gd name="connsiteY442" fmla="*/ 292834 h 407426"/>
                <a:gd name="connsiteX443" fmla="*/ 373333 w 729422"/>
                <a:gd name="connsiteY443" fmla="*/ 289960 h 407426"/>
                <a:gd name="connsiteX444" fmla="*/ 376993 w 729422"/>
                <a:gd name="connsiteY444" fmla="*/ 288447 h 407426"/>
                <a:gd name="connsiteX445" fmla="*/ 386129 w 729422"/>
                <a:gd name="connsiteY445" fmla="*/ 284726 h 407426"/>
                <a:gd name="connsiteX446" fmla="*/ 387128 w 729422"/>
                <a:gd name="connsiteY446" fmla="*/ 284696 h 407426"/>
                <a:gd name="connsiteX447" fmla="*/ 389366 w 729422"/>
                <a:gd name="connsiteY447" fmla="*/ 285513 h 407426"/>
                <a:gd name="connsiteX448" fmla="*/ 390183 w 729422"/>
                <a:gd name="connsiteY448" fmla="*/ 285331 h 407426"/>
                <a:gd name="connsiteX449" fmla="*/ 390818 w 729422"/>
                <a:gd name="connsiteY449" fmla="*/ 283879 h 407426"/>
                <a:gd name="connsiteX450" fmla="*/ 390939 w 729422"/>
                <a:gd name="connsiteY450" fmla="*/ 282034 h 407426"/>
                <a:gd name="connsiteX451" fmla="*/ 391302 w 729422"/>
                <a:gd name="connsiteY451" fmla="*/ 280249 h 407426"/>
                <a:gd name="connsiteX452" fmla="*/ 392694 w 729422"/>
                <a:gd name="connsiteY452" fmla="*/ 279039 h 407426"/>
                <a:gd name="connsiteX453" fmla="*/ 394842 w 729422"/>
                <a:gd name="connsiteY453" fmla="*/ 279674 h 407426"/>
                <a:gd name="connsiteX454" fmla="*/ 396657 w 729422"/>
                <a:gd name="connsiteY454" fmla="*/ 282488 h 407426"/>
                <a:gd name="connsiteX455" fmla="*/ 399289 w 729422"/>
                <a:gd name="connsiteY455" fmla="*/ 289506 h 407426"/>
                <a:gd name="connsiteX456" fmla="*/ 401890 w 729422"/>
                <a:gd name="connsiteY456" fmla="*/ 299640 h 407426"/>
                <a:gd name="connsiteX457" fmla="*/ 402979 w 729422"/>
                <a:gd name="connsiteY457" fmla="*/ 302726 h 407426"/>
                <a:gd name="connsiteX458" fmla="*/ 403978 w 729422"/>
                <a:gd name="connsiteY458" fmla="*/ 304420 h 407426"/>
                <a:gd name="connsiteX459" fmla="*/ 407366 w 729422"/>
                <a:gd name="connsiteY459" fmla="*/ 307839 h 407426"/>
                <a:gd name="connsiteX460" fmla="*/ 408334 w 729422"/>
                <a:gd name="connsiteY460" fmla="*/ 309472 h 407426"/>
                <a:gd name="connsiteX461" fmla="*/ 410119 w 729422"/>
                <a:gd name="connsiteY461" fmla="*/ 314827 h 407426"/>
                <a:gd name="connsiteX462" fmla="*/ 413053 w 729422"/>
                <a:gd name="connsiteY462" fmla="*/ 319848 h 407426"/>
                <a:gd name="connsiteX463" fmla="*/ 416683 w 729422"/>
                <a:gd name="connsiteY463" fmla="*/ 322269 h 407426"/>
                <a:gd name="connsiteX464" fmla="*/ 440824 w 729422"/>
                <a:gd name="connsiteY464" fmla="*/ 326141 h 407426"/>
                <a:gd name="connsiteX465" fmla="*/ 451442 w 729422"/>
                <a:gd name="connsiteY465" fmla="*/ 327835 h 407426"/>
                <a:gd name="connsiteX466" fmla="*/ 458309 w 729422"/>
                <a:gd name="connsiteY466" fmla="*/ 326685 h 407426"/>
                <a:gd name="connsiteX467" fmla="*/ 463331 w 729422"/>
                <a:gd name="connsiteY467" fmla="*/ 328924 h 407426"/>
                <a:gd name="connsiteX468" fmla="*/ 465055 w 729422"/>
                <a:gd name="connsiteY468" fmla="*/ 329257 h 407426"/>
                <a:gd name="connsiteX469" fmla="*/ 471075 w 729422"/>
                <a:gd name="connsiteY469" fmla="*/ 328803 h 407426"/>
                <a:gd name="connsiteX470" fmla="*/ 472285 w 729422"/>
                <a:gd name="connsiteY470" fmla="*/ 329287 h 407426"/>
                <a:gd name="connsiteX471" fmla="*/ 473011 w 729422"/>
                <a:gd name="connsiteY471" fmla="*/ 330769 h 407426"/>
                <a:gd name="connsiteX472" fmla="*/ 474887 w 729422"/>
                <a:gd name="connsiteY472" fmla="*/ 336335 h 407426"/>
                <a:gd name="connsiteX473" fmla="*/ 475795 w 729422"/>
                <a:gd name="connsiteY473" fmla="*/ 338060 h 407426"/>
                <a:gd name="connsiteX474" fmla="*/ 477005 w 729422"/>
                <a:gd name="connsiteY474" fmla="*/ 339209 h 407426"/>
                <a:gd name="connsiteX475" fmla="*/ 482783 w 729422"/>
                <a:gd name="connsiteY475" fmla="*/ 342930 h 407426"/>
                <a:gd name="connsiteX476" fmla="*/ 485747 w 729422"/>
                <a:gd name="connsiteY476" fmla="*/ 345986 h 407426"/>
                <a:gd name="connsiteX477" fmla="*/ 493371 w 729422"/>
                <a:gd name="connsiteY477" fmla="*/ 353912 h 407426"/>
                <a:gd name="connsiteX478" fmla="*/ 502416 w 729422"/>
                <a:gd name="connsiteY478" fmla="*/ 359478 h 407426"/>
                <a:gd name="connsiteX479" fmla="*/ 508103 w 729422"/>
                <a:gd name="connsiteY479" fmla="*/ 362957 h 407426"/>
                <a:gd name="connsiteX480" fmla="*/ 514305 w 729422"/>
                <a:gd name="connsiteY480" fmla="*/ 369431 h 407426"/>
                <a:gd name="connsiteX481" fmla="*/ 524288 w 729422"/>
                <a:gd name="connsiteY481" fmla="*/ 377417 h 407426"/>
                <a:gd name="connsiteX482" fmla="*/ 526829 w 729422"/>
                <a:gd name="connsiteY482" fmla="*/ 381077 h 407426"/>
                <a:gd name="connsiteX483" fmla="*/ 529158 w 729422"/>
                <a:gd name="connsiteY483" fmla="*/ 386099 h 407426"/>
                <a:gd name="connsiteX484" fmla="*/ 534452 w 729422"/>
                <a:gd name="connsiteY484" fmla="*/ 394902 h 407426"/>
                <a:gd name="connsiteX485" fmla="*/ 540775 w 729422"/>
                <a:gd name="connsiteY485" fmla="*/ 399319 h 407426"/>
                <a:gd name="connsiteX486" fmla="*/ 554721 w 729422"/>
                <a:gd name="connsiteY486" fmla="*/ 405551 h 407426"/>
                <a:gd name="connsiteX487" fmla="*/ 560408 w 729422"/>
                <a:gd name="connsiteY487" fmla="*/ 407003 h 407426"/>
                <a:gd name="connsiteX488" fmla="*/ 566125 w 729422"/>
                <a:gd name="connsiteY488" fmla="*/ 407426 h 407426"/>
                <a:gd name="connsiteX489" fmla="*/ 568273 w 729422"/>
                <a:gd name="connsiteY489" fmla="*/ 403978 h 407426"/>
                <a:gd name="connsiteX490" fmla="*/ 570724 w 729422"/>
                <a:gd name="connsiteY490" fmla="*/ 402737 h 407426"/>
                <a:gd name="connsiteX491" fmla="*/ 573416 w 729422"/>
                <a:gd name="connsiteY491" fmla="*/ 402979 h 407426"/>
                <a:gd name="connsiteX492" fmla="*/ 578770 w 729422"/>
                <a:gd name="connsiteY492" fmla="*/ 404976 h 407426"/>
                <a:gd name="connsiteX493" fmla="*/ 581100 w 729422"/>
                <a:gd name="connsiteY493" fmla="*/ 404825 h 407426"/>
                <a:gd name="connsiteX494" fmla="*/ 589116 w 729422"/>
                <a:gd name="connsiteY494" fmla="*/ 401013 h 407426"/>
                <a:gd name="connsiteX495" fmla="*/ 591113 w 729422"/>
                <a:gd name="connsiteY495" fmla="*/ 398835 h 407426"/>
                <a:gd name="connsiteX496" fmla="*/ 596891 w 729422"/>
                <a:gd name="connsiteY496" fmla="*/ 389094 h 407426"/>
                <a:gd name="connsiteX497" fmla="*/ 602699 w 729422"/>
                <a:gd name="connsiteY497" fmla="*/ 382529 h 407426"/>
                <a:gd name="connsiteX498" fmla="*/ 604877 w 729422"/>
                <a:gd name="connsiteY498" fmla="*/ 381259 h 407426"/>
                <a:gd name="connsiteX499" fmla="*/ 605029 w 729422"/>
                <a:gd name="connsiteY499" fmla="*/ 381168 h 407426"/>
                <a:gd name="connsiteX500" fmla="*/ 618097 w 729422"/>
                <a:gd name="connsiteY500" fmla="*/ 379595 h 407426"/>
                <a:gd name="connsiteX501" fmla="*/ 622181 w 729422"/>
                <a:gd name="connsiteY501" fmla="*/ 380230 h 407426"/>
                <a:gd name="connsiteX502" fmla="*/ 624390 w 729422"/>
                <a:gd name="connsiteY502" fmla="*/ 381349 h 407426"/>
                <a:gd name="connsiteX503" fmla="*/ 630652 w 729422"/>
                <a:gd name="connsiteY503" fmla="*/ 386280 h 407426"/>
                <a:gd name="connsiteX504" fmla="*/ 633435 w 729422"/>
                <a:gd name="connsiteY504" fmla="*/ 387672 h 407426"/>
                <a:gd name="connsiteX505" fmla="*/ 635371 w 729422"/>
                <a:gd name="connsiteY505" fmla="*/ 386916 h 407426"/>
                <a:gd name="connsiteX506" fmla="*/ 640060 w 729422"/>
                <a:gd name="connsiteY506" fmla="*/ 382681 h 407426"/>
                <a:gd name="connsiteX507" fmla="*/ 642147 w 729422"/>
                <a:gd name="connsiteY507" fmla="*/ 380442 h 407426"/>
                <a:gd name="connsiteX508" fmla="*/ 644658 w 729422"/>
                <a:gd name="connsiteY508" fmla="*/ 383134 h 407426"/>
                <a:gd name="connsiteX509" fmla="*/ 647804 w 729422"/>
                <a:gd name="connsiteY509" fmla="*/ 384859 h 407426"/>
                <a:gd name="connsiteX510" fmla="*/ 651102 w 729422"/>
                <a:gd name="connsiteY510" fmla="*/ 385797 h 407426"/>
                <a:gd name="connsiteX511" fmla="*/ 663747 w 729422"/>
                <a:gd name="connsiteY511" fmla="*/ 386855 h 407426"/>
                <a:gd name="connsiteX512" fmla="*/ 666590 w 729422"/>
                <a:gd name="connsiteY512" fmla="*/ 386523 h 407426"/>
                <a:gd name="connsiteX513" fmla="*/ 667468 w 729422"/>
                <a:gd name="connsiteY513" fmla="*/ 384012 h 407426"/>
                <a:gd name="connsiteX514" fmla="*/ 668345 w 729422"/>
                <a:gd name="connsiteY514" fmla="*/ 380503 h 407426"/>
                <a:gd name="connsiteX515" fmla="*/ 669041 w 729422"/>
                <a:gd name="connsiteY515" fmla="*/ 372667 h 407426"/>
                <a:gd name="connsiteX516" fmla="*/ 671854 w 729422"/>
                <a:gd name="connsiteY516" fmla="*/ 365347 h 407426"/>
                <a:gd name="connsiteX517" fmla="*/ 681867 w 729422"/>
                <a:gd name="connsiteY517" fmla="*/ 359266 h 407426"/>
                <a:gd name="connsiteX518" fmla="*/ 685134 w 729422"/>
                <a:gd name="connsiteY518" fmla="*/ 353851 h 407426"/>
                <a:gd name="connsiteX519" fmla="*/ 685558 w 729422"/>
                <a:gd name="connsiteY519" fmla="*/ 349918 h 407426"/>
                <a:gd name="connsiteX520" fmla="*/ 688704 w 729422"/>
                <a:gd name="connsiteY520" fmla="*/ 346893 h 407426"/>
                <a:gd name="connsiteX521" fmla="*/ 695571 w 729422"/>
                <a:gd name="connsiteY521" fmla="*/ 342053 h 407426"/>
                <a:gd name="connsiteX522" fmla="*/ 696781 w 729422"/>
                <a:gd name="connsiteY522" fmla="*/ 339875 h 407426"/>
                <a:gd name="connsiteX523" fmla="*/ 697659 w 729422"/>
                <a:gd name="connsiteY523" fmla="*/ 337848 h 407426"/>
                <a:gd name="connsiteX524" fmla="*/ 698657 w 729422"/>
                <a:gd name="connsiteY524" fmla="*/ 336033 h 407426"/>
                <a:gd name="connsiteX525" fmla="*/ 700230 w 729422"/>
                <a:gd name="connsiteY525" fmla="*/ 334520 h 407426"/>
                <a:gd name="connsiteX526" fmla="*/ 701501 w 729422"/>
                <a:gd name="connsiteY526" fmla="*/ 333885 h 407426"/>
                <a:gd name="connsiteX527" fmla="*/ 705675 w 729422"/>
                <a:gd name="connsiteY527" fmla="*/ 333068 h 407426"/>
                <a:gd name="connsiteX528" fmla="*/ 709971 w 729422"/>
                <a:gd name="connsiteY528" fmla="*/ 331162 h 407426"/>
                <a:gd name="connsiteX529" fmla="*/ 712724 w 729422"/>
                <a:gd name="connsiteY529" fmla="*/ 329317 h 407426"/>
                <a:gd name="connsiteX530" fmla="*/ 714448 w 729422"/>
                <a:gd name="connsiteY530" fmla="*/ 328168 h 407426"/>
                <a:gd name="connsiteX531" fmla="*/ 718744 w 729422"/>
                <a:gd name="connsiteY531" fmla="*/ 326655 h 407426"/>
                <a:gd name="connsiteX532" fmla="*/ 722555 w 729422"/>
                <a:gd name="connsiteY532" fmla="*/ 329015 h 407426"/>
                <a:gd name="connsiteX533" fmla="*/ 724613 w 729422"/>
                <a:gd name="connsiteY533" fmla="*/ 325838 h 407426"/>
                <a:gd name="connsiteX534" fmla="*/ 725550 w 729422"/>
                <a:gd name="connsiteY534" fmla="*/ 322148 h 407426"/>
                <a:gd name="connsiteX535" fmla="*/ 726125 w 729422"/>
                <a:gd name="connsiteY535" fmla="*/ 318215 h 407426"/>
                <a:gd name="connsiteX536" fmla="*/ 727002 w 729422"/>
                <a:gd name="connsiteY536" fmla="*/ 314312 h 407426"/>
                <a:gd name="connsiteX537" fmla="*/ 727819 w 729422"/>
                <a:gd name="connsiteY537" fmla="*/ 312558 h 407426"/>
                <a:gd name="connsiteX538" fmla="*/ 728666 w 729422"/>
                <a:gd name="connsiteY538" fmla="*/ 311469 h 407426"/>
                <a:gd name="connsiteX539" fmla="*/ 729241 w 729422"/>
                <a:gd name="connsiteY539" fmla="*/ 310168 h 407426"/>
                <a:gd name="connsiteX540" fmla="*/ 729423 w 729422"/>
                <a:gd name="connsiteY540" fmla="*/ 307718 h 407426"/>
                <a:gd name="connsiteX541" fmla="*/ 729181 w 729422"/>
                <a:gd name="connsiteY541" fmla="*/ 305933 h 40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729422" h="407426">
                  <a:moveTo>
                    <a:pt x="729181" y="305933"/>
                  </a:moveTo>
                  <a:lnTo>
                    <a:pt x="725127" y="294558"/>
                  </a:lnTo>
                  <a:lnTo>
                    <a:pt x="724401" y="291200"/>
                  </a:lnTo>
                  <a:lnTo>
                    <a:pt x="724098" y="287358"/>
                  </a:lnTo>
                  <a:lnTo>
                    <a:pt x="724461" y="281641"/>
                  </a:lnTo>
                  <a:lnTo>
                    <a:pt x="724098" y="279826"/>
                  </a:lnTo>
                  <a:lnTo>
                    <a:pt x="723312" y="278434"/>
                  </a:lnTo>
                  <a:lnTo>
                    <a:pt x="718078" y="272263"/>
                  </a:lnTo>
                  <a:lnTo>
                    <a:pt x="717292" y="270781"/>
                  </a:lnTo>
                  <a:lnTo>
                    <a:pt x="716959" y="269177"/>
                  </a:lnTo>
                  <a:lnTo>
                    <a:pt x="717564" y="267181"/>
                  </a:lnTo>
                  <a:lnTo>
                    <a:pt x="720166" y="264881"/>
                  </a:lnTo>
                  <a:lnTo>
                    <a:pt x="720892" y="263399"/>
                  </a:lnTo>
                  <a:lnTo>
                    <a:pt x="720287" y="261433"/>
                  </a:lnTo>
                  <a:lnTo>
                    <a:pt x="718532" y="260193"/>
                  </a:lnTo>
                  <a:lnTo>
                    <a:pt x="710455" y="256562"/>
                  </a:lnTo>
                  <a:lnTo>
                    <a:pt x="708670" y="254747"/>
                  </a:lnTo>
                  <a:lnTo>
                    <a:pt x="707309" y="252025"/>
                  </a:lnTo>
                  <a:lnTo>
                    <a:pt x="706795" y="248485"/>
                  </a:lnTo>
                  <a:lnTo>
                    <a:pt x="706704" y="240892"/>
                  </a:lnTo>
                  <a:lnTo>
                    <a:pt x="705675" y="238048"/>
                  </a:lnTo>
                  <a:lnTo>
                    <a:pt x="695783" y="231575"/>
                  </a:lnTo>
                  <a:lnTo>
                    <a:pt x="694029" y="228670"/>
                  </a:lnTo>
                  <a:lnTo>
                    <a:pt x="695118" y="225857"/>
                  </a:lnTo>
                  <a:lnTo>
                    <a:pt x="697537" y="221864"/>
                  </a:lnTo>
                  <a:lnTo>
                    <a:pt x="699413" y="218022"/>
                  </a:lnTo>
                  <a:lnTo>
                    <a:pt x="698869" y="215602"/>
                  </a:lnTo>
                  <a:lnTo>
                    <a:pt x="696660" y="213968"/>
                  </a:lnTo>
                  <a:lnTo>
                    <a:pt x="692697" y="209824"/>
                  </a:lnTo>
                  <a:lnTo>
                    <a:pt x="690550" y="208130"/>
                  </a:lnTo>
                  <a:lnTo>
                    <a:pt x="686072" y="206950"/>
                  </a:lnTo>
                  <a:lnTo>
                    <a:pt x="681807" y="208039"/>
                  </a:lnTo>
                  <a:lnTo>
                    <a:pt x="673488" y="212365"/>
                  </a:lnTo>
                  <a:lnTo>
                    <a:pt x="671793" y="211941"/>
                  </a:lnTo>
                  <a:lnTo>
                    <a:pt x="670160" y="211548"/>
                  </a:lnTo>
                  <a:lnTo>
                    <a:pt x="672217" y="205589"/>
                  </a:lnTo>
                  <a:lnTo>
                    <a:pt x="678903" y="192369"/>
                  </a:lnTo>
                  <a:lnTo>
                    <a:pt x="679236" y="190463"/>
                  </a:lnTo>
                  <a:lnTo>
                    <a:pt x="679477" y="187075"/>
                  </a:lnTo>
                  <a:lnTo>
                    <a:pt x="679719" y="185350"/>
                  </a:lnTo>
                  <a:lnTo>
                    <a:pt x="680355" y="183475"/>
                  </a:lnTo>
                  <a:lnTo>
                    <a:pt x="681988" y="179815"/>
                  </a:lnTo>
                  <a:lnTo>
                    <a:pt x="682503" y="177969"/>
                  </a:lnTo>
                  <a:lnTo>
                    <a:pt x="681958" y="173613"/>
                  </a:lnTo>
                  <a:lnTo>
                    <a:pt x="679599" y="171889"/>
                  </a:lnTo>
                  <a:lnTo>
                    <a:pt x="676997" y="170648"/>
                  </a:lnTo>
                  <a:lnTo>
                    <a:pt x="675605" y="167532"/>
                  </a:lnTo>
                  <a:lnTo>
                    <a:pt x="677481" y="164961"/>
                  </a:lnTo>
                  <a:lnTo>
                    <a:pt x="686859" y="160786"/>
                  </a:lnTo>
                  <a:lnTo>
                    <a:pt x="689884" y="158094"/>
                  </a:lnTo>
                  <a:lnTo>
                    <a:pt x="690852" y="154434"/>
                  </a:lnTo>
                  <a:lnTo>
                    <a:pt x="691608" y="149200"/>
                  </a:lnTo>
                  <a:lnTo>
                    <a:pt x="692092" y="139610"/>
                  </a:lnTo>
                  <a:lnTo>
                    <a:pt x="691517" y="135647"/>
                  </a:lnTo>
                  <a:lnTo>
                    <a:pt x="690247" y="133197"/>
                  </a:lnTo>
                  <a:lnTo>
                    <a:pt x="688372" y="131654"/>
                  </a:lnTo>
                  <a:lnTo>
                    <a:pt x="678177" y="125785"/>
                  </a:lnTo>
                  <a:lnTo>
                    <a:pt x="676815" y="124394"/>
                  </a:lnTo>
                  <a:lnTo>
                    <a:pt x="671430" y="118797"/>
                  </a:lnTo>
                  <a:lnTo>
                    <a:pt x="660903" y="114199"/>
                  </a:lnTo>
                  <a:lnTo>
                    <a:pt x="658392" y="111688"/>
                  </a:lnTo>
                  <a:lnTo>
                    <a:pt x="658755" y="108663"/>
                  </a:lnTo>
                  <a:lnTo>
                    <a:pt x="659844" y="105154"/>
                  </a:lnTo>
                  <a:lnTo>
                    <a:pt x="659542" y="101100"/>
                  </a:lnTo>
                  <a:lnTo>
                    <a:pt x="660086" y="94808"/>
                  </a:lnTo>
                  <a:lnTo>
                    <a:pt x="642450" y="94959"/>
                  </a:lnTo>
                  <a:lnTo>
                    <a:pt x="639152" y="96956"/>
                  </a:lnTo>
                  <a:lnTo>
                    <a:pt x="623603" y="91692"/>
                  </a:lnTo>
                  <a:lnTo>
                    <a:pt x="615526" y="91208"/>
                  </a:lnTo>
                  <a:lnTo>
                    <a:pt x="613136" y="90149"/>
                  </a:lnTo>
                  <a:lnTo>
                    <a:pt x="611109" y="87941"/>
                  </a:lnTo>
                  <a:lnTo>
                    <a:pt x="607419" y="82677"/>
                  </a:lnTo>
                  <a:lnTo>
                    <a:pt x="605029" y="80953"/>
                  </a:lnTo>
                  <a:lnTo>
                    <a:pt x="601580" y="79833"/>
                  </a:lnTo>
                  <a:lnTo>
                    <a:pt x="599826" y="79803"/>
                  </a:lnTo>
                  <a:lnTo>
                    <a:pt x="598040" y="80166"/>
                  </a:lnTo>
                  <a:lnTo>
                    <a:pt x="596498" y="79894"/>
                  </a:lnTo>
                  <a:lnTo>
                    <a:pt x="595379" y="78684"/>
                  </a:lnTo>
                  <a:lnTo>
                    <a:pt x="594138" y="77807"/>
                  </a:lnTo>
                  <a:lnTo>
                    <a:pt x="592263" y="78593"/>
                  </a:lnTo>
                  <a:lnTo>
                    <a:pt x="590690" y="80801"/>
                  </a:lnTo>
                  <a:lnTo>
                    <a:pt x="589661" y="83343"/>
                  </a:lnTo>
                  <a:lnTo>
                    <a:pt x="588451" y="85732"/>
                  </a:lnTo>
                  <a:lnTo>
                    <a:pt x="586394" y="87427"/>
                  </a:lnTo>
                  <a:lnTo>
                    <a:pt x="584609" y="87911"/>
                  </a:lnTo>
                  <a:lnTo>
                    <a:pt x="576804" y="87548"/>
                  </a:lnTo>
                  <a:lnTo>
                    <a:pt x="573416" y="88546"/>
                  </a:lnTo>
                  <a:lnTo>
                    <a:pt x="570149" y="90331"/>
                  </a:lnTo>
                  <a:lnTo>
                    <a:pt x="567184" y="92781"/>
                  </a:lnTo>
                  <a:lnTo>
                    <a:pt x="566519" y="93900"/>
                  </a:lnTo>
                  <a:lnTo>
                    <a:pt x="566186" y="95171"/>
                  </a:lnTo>
                  <a:lnTo>
                    <a:pt x="565702" y="96200"/>
                  </a:lnTo>
                  <a:lnTo>
                    <a:pt x="564673" y="96653"/>
                  </a:lnTo>
                  <a:lnTo>
                    <a:pt x="563705" y="96351"/>
                  </a:lnTo>
                  <a:lnTo>
                    <a:pt x="561830" y="95111"/>
                  </a:lnTo>
                  <a:lnTo>
                    <a:pt x="560862" y="94868"/>
                  </a:lnTo>
                  <a:lnTo>
                    <a:pt x="559530" y="95594"/>
                  </a:lnTo>
                  <a:lnTo>
                    <a:pt x="558139" y="96744"/>
                  </a:lnTo>
                  <a:lnTo>
                    <a:pt x="556596" y="96986"/>
                  </a:lnTo>
                  <a:lnTo>
                    <a:pt x="554721" y="95050"/>
                  </a:lnTo>
                  <a:lnTo>
                    <a:pt x="551332" y="90603"/>
                  </a:lnTo>
                  <a:lnTo>
                    <a:pt x="549668" y="89090"/>
                  </a:lnTo>
                  <a:lnTo>
                    <a:pt x="549668" y="89090"/>
                  </a:lnTo>
                  <a:lnTo>
                    <a:pt x="541682" y="85914"/>
                  </a:lnTo>
                  <a:lnTo>
                    <a:pt x="540412" y="85400"/>
                  </a:lnTo>
                  <a:lnTo>
                    <a:pt x="536207" y="82647"/>
                  </a:lnTo>
                  <a:lnTo>
                    <a:pt x="532788" y="78896"/>
                  </a:lnTo>
                  <a:lnTo>
                    <a:pt x="523259" y="64526"/>
                  </a:lnTo>
                  <a:lnTo>
                    <a:pt x="519931" y="60926"/>
                  </a:lnTo>
                  <a:lnTo>
                    <a:pt x="508799" y="52335"/>
                  </a:lnTo>
                  <a:lnTo>
                    <a:pt x="507952" y="50217"/>
                  </a:lnTo>
                  <a:lnTo>
                    <a:pt x="507619" y="46648"/>
                  </a:lnTo>
                  <a:lnTo>
                    <a:pt x="507952" y="45044"/>
                  </a:lnTo>
                  <a:lnTo>
                    <a:pt x="508496" y="44016"/>
                  </a:lnTo>
                  <a:lnTo>
                    <a:pt x="508859" y="42957"/>
                  </a:lnTo>
                  <a:lnTo>
                    <a:pt x="508527" y="41323"/>
                  </a:lnTo>
                  <a:lnTo>
                    <a:pt x="507801" y="40476"/>
                  </a:lnTo>
                  <a:lnTo>
                    <a:pt x="506590" y="39932"/>
                  </a:lnTo>
                  <a:lnTo>
                    <a:pt x="485445" y="38177"/>
                  </a:lnTo>
                  <a:lnTo>
                    <a:pt x="482934" y="35939"/>
                  </a:lnTo>
                  <a:lnTo>
                    <a:pt x="481633" y="32460"/>
                  </a:lnTo>
                  <a:lnTo>
                    <a:pt x="480695" y="28920"/>
                  </a:lnTo>
                  <a:lnTo>
                    <a:pt x="479183" y="26500"/>
                  </a:lnTo>
                  <a:lnTo>
                    <a:pt x="477640" y="26440"/>
                  </a:lnTo>
                  <a:lnTo>
                    <a:pt x="476521" y="26803"/>
                  </a:lnTo>
                  <a:lnTo>
                    <a:pt x="471106" y="28527"/>
                  </a:lnTo>
                  <a:lnTo>
                    <a:pt x="468564" y="28739"/>
                  </a:lnTo>
                  <a:lnTo>
                    <a:pt x="466235" y="28406"/>
                  </a:lnTo>
                  <a:lnTo>
                    <a:pt x="463996" y="27135"/>
                  </a:lnTo>
                  <a:lnTo>
                    <a:pt x="461879" y="24564"/>
                  </a:lnTo>
                  <a:lnTo>
                    <a:pt x="461334" y="23203"/>
                  </a:lnTo>
                  <a:lnTo>
                    <a:pt x="461244" y="22023"/>
                  </a:lnTo>
                  <a:lnTo>
                    <a:pt x="461213" y="21841"/>
                  </a:lnTo>
                  <a:lnTo>
                    <a:pt x="461062" y="20904"/>
                  </a:lnTo>
                  <a:lnTo>
                    <a:pt x="460185" y="19603"/>
                  </a:lnTo>
                  <a:lnTo>
                    <a:pt x="459217" y="18968"/>
                  </a:lnTo>
                  <a:lnTo>
                    <a:pt x="455647" y="18242"/>
                  </a:lnTo>
                  <a:lnTo>
                    <a:pt x="451684" y="15882"/>
                  </a:lnTo>
                  <a:lnTo>
                    <a:pt x="445604" y="9075"/>
                  </a:lnTo>
                  <a:lnTo>
                    <a:pt x="441550" y="7048"/>
                  </a:lnTo>
                  <a:lnTo>
                    <a:pt x="440552" y="7109"/>
                  </a:lnTo>
                  <a:lnTo>
                    <a:pt x="439886" y="7411"/>
                  </a:lnTo>
                  <a:lnTo>
                    <a:pt x="439251" y="7563"/>
                  </a:lnTo>
                  <a:lnTo>
                    <a:pt x="438343" y="7048"/>
                  </a:lnTo>
                  <a:lnTo>
                    <a:pt x="437708" y="6020"/>
                  </a:lnTo>
                  <a:lnTo>
                    <a:pt x="436528" y="2844"/>
                  </a:lnTo>
                  <a:lnTo>
                    <a:pt x="435832" y="1664"/>
                  </a:lnTo>
                  <a:lnTo>
                    <a:pt x="434048" y="272"/>
                  </a:lnTo>
                  <a:lnTo>
                    <a:pt x="432202" y="0"/>
                  </a:lnTo>
                  <a:lnTo>
                    <a:pt x="430932" y="1150"/>
                  </a:lnTo>
                  <a:lnTo>
                    <a:pt x="430780" y="4175"/>
                  </a:lnTo>
                  <a:lnTo>
                    <a:pt x="433624" y="8894"/>
                  </a:lnTo>
                  <a:lnTo>
                    <a:pt x="434320" y="11677"/>
                  </a:lnTo>
                  <a:lnTo>
                    <a:pt x="432293" y="14127"/>
                  </a:lnTo>
                  <a:lnTo>
                    <a:pt x="429086" y="15640"/>
                  </a:lnTo>
                  <a:lnTo>
                    <a:pt x="427513" y="15640"/>
                  </a:lnTo>
                  <a:lnTo>
                    <a:pt x="426031" y="14490"/>
                  </a:lnTo>
                  <a:lnTo>
                    <a:pt x="424791" y="10739"/>
                  </a:lnTo>
                  <a:lnTo>
                    <a:pt x="423883" y="6444"/>
                  </a:lnTo>
                  <a:lnTo>
                    <a:pt x="422492" y="2844"/>
                  </a:lnTo>
                  <a:lnTo>
                    <a:pt x="419860" y="1240"/>
                  </a:lnTo>
                  <a:lnTo>
                    <a:pt x="415171" y="1361"/>
                  </a:lnTo>
                  <a:lnTo>
                    <a:pt x="412811" y="1997"/>
                  </a:lnTo>
                  <a:lnTo>
                    <a:pt x="410603" y="3297"/>
                  </a:lnTo>
                  <a:lnTo>
                    <a:pt x="409211" y="4628"/>
                  </a:lnTo>
                  <a:lnTo>
                    <a:pt x="403161" y="10346"/>
                  </a:lnTo>
                  <a:lnTo>
                    <a:pt x="400590" y="11979"/>
                  </a:lnTo>
                  <a:lnTo>
                    <a:pt x="392845" y="13038"/>
                  </a:lnTo>
                  <a:lnTo>
                    <a:pt x="390425" y="14490"/>
                  </a:lnTo>
                  <a:lnTo>
                    <a:pt x="388307" y="16275"/>
                  </a:lnTo>
                  <a:lnTo>
                    <a:pt x="387249" y="17183"/>
                  </a:lnTo>
                  <a:lnTo>
                    <a:pt x="384647" y="16759"/>
                  </a:lnTo>
                  <a:lnTo>
                    <a:pt x="382015" y="15216"/>
                  </a:lnTo>
                  <a:lnTo>
                    <a:pt x="378869" y="14460"/>
                  </a:lnTo>
                  <a:lnTo>
                    <a:pt x="377387" y="16275"/>
                  </a:lnTo>
                  <a:lnTo>
                    <a:pt x="375541" y="21085"/>
                  </a:lnTo>
                  <a:lnTo>
                    <a:pt x="373968" y="22235"/>
                  </a:lnTo>
                  <a:lnTo>
                    <a:pt x="367857" y="22870"/>
                  </a:lnTo>
                  <a:lnTo>
                    <a:pt x="360809" y="22265"/>
                  </a:lnTo>
                  <a:lnTo>
                    <a:pt x="358782" y="22689"/>
                  </a:lnTo>
                  <a:lnTo>
                    <a:pt x="353488" y="27166"/>
                  </a:lnTo>
                  <a:lnTo>
                    <a:pt x="349495" y="29102"/>
                  </a:lnTo>
                  <a:lnTo>
                    <a:pt x="348254" y="30463"/>
                  </a:lnTo>
                  <a:lnTo>
                    <a:pt x="346591" y="34608"/>
                  </a:lnTo>
                  <a:lnTo>
                    <a:pt x="345471" y="36362"/>
                  </a:lnTo>
                  <a:lnTo>
                    <a:pt x="343112" y="37572"/>
                  </a:lnTo>
                  <a:lnTo>
                    <a:pt x="340238" y="37723"/>
                  </a:lnTo>
                  <a:lnTo>
                    <a:pt x="335851" y="36060"/>
                  </a:lnTo>
                  <a:lnTo>
                    <a:pt x="334853" y="37935"/>
                  </a:lnTo>
                  <a:lnTo>
                    <a:pt x="334127" y="40023"/>
                  </a:lnTo>
                  <a:lnTo>
                    <a:pt x="333824" y="42231"/>
                  </a:lnTo>
                  <a:lnTo>
                    <a:pt x="334127" y="46345"/>
                  </a:lnTo>
                  <a:lnTo>
                    <a:pt x="335186" y="54513"/>
                  </a:lnTo>
                  <a:lnTo>
                    <a:pt x="335186" y="57629"/>
                  </a:lnTo>
                  <a:lnTo>
                    <a:pt x="336638" y="60896"/>
                  </a:lnTo>
                  <a:lnTo>
                    <a:pt x="341055" y="67733"/>
                  </a:lnTo>
                  <a:lnTo>
                    <a:pt x="341599" y="70002"/>
                  </a:lnTo>
                  <a:lnTo>
                    <a:pt x="342779" y="80166"/>
                  </a:lnTo>
                  <a:lnTo>
                    <a:pt x="341569" y="86519"/>
                  </a:lnTo>
                  <a:lnTo>
                    <a:pt x="341145" y="91057"/>
                  </a:lnTo>
                  <a:lnTo>
                    <a:pt x="341720" y="93114"/>
                  </a:lnTo>
                  <a:lnTo>
                    <a:pt x="342809" y="94808"/>
                  </a:lnTo>
                  <a:lnTo>
                    <a:pt x="343293" y="98589"/>
                  </a:lnTo>
                  <a:lnTo>
                    <a:pt x="343445" y="104972"/>
                  </a:lnTo>
                  <a:lnTo>
                    <a:pt x="345865" y="126421"/>
                  </a:lnTo>
                  <a:lnTo>
                    <a:pt x="346197" y="134347"/>
                  </a:lnTo>
                  <a:lnTo>
                    <a:pt x="345381" y="141183"/>
                  </a:lnTo>
                  <a:lnTo>
                    <a:pt x="343202" y="145963"/>
                  </a:lnTo>
                  <a:lnTo>
                    <a:pt x="336517" y="153102"/>
                  </a:lnTo>
                  <a:lnTo>
                    <a:pt x="334127" y="154706"/>
                  </a:lnTo>
                  <a:lnTo>
                    <a:pt x="333098" y="155916"/>
                  </a:lnTo>
                  <a:lnTo>
                    <a:pt x="333098" y="157761"/>
                  </a:lnTo>
                  <a:lnTo>
                    <a:pt x="331344" y="158366"/>
                  </a:lnTo>
                  <a:lnTo>
                    <a:pt x="329075" y="159697"/>
                  </a:lnTo>
                  <a:lnTo>
                    <a:pt x="327109" y="161694"/>
                  </a:lnTo>
                  <a:lnTo>
                    <a:pt x="326262" y="164114"/>
                  </a:lnTo>
                  <a:lnTo>
                    <a:pt x="316430" y="170073"/>
                  </a:lnTo>
                  <a:lnTo>
                    <a:pt x="312558" y="172433"/>
                  </a:lnTo>
                  <a:lnTo>
                    <a:pt x="308655" y="173431"/>
                  </a:lnTo>
                  <a:lnTo>
                    <a:pt x="307264" y="175125"/>
                  </a:lnTo>
                  <a:lnTo>
                    <a:pt x="305993" y="177394"/>
                  </a:lnTo>
                  <a:lnTo>
                    <a:pt x="304178" y="179845"/>
                  </a:lnTo>
                  <a:lnTo>
                    <a:pt x="300306" y="182900"/>
                  </a:lnTo>
                  <a:lnTo>
                    <a:pt x="297704" y="184080"/>
                  </a:lnTo>
                  <a:lnTo>
                    <a:pt x="291594" y="186803"/>
                  </a:lnTo>
                  <a:lnTo>
                    <a:pt x="274380" y="190705"/>
                  </a:lnTo>
                  <a:lnTo>
                    <a:pt x="268028" y="190070"/>
                  </a:lnTo>
                  <a:lnTo>
                    <a:pt x="263309" y="188708"/>
                  </a:lnTo>
                  <a:lnTo>
                    <a:pt x="262643" y="188194"/>
                  </a:lnTo>
                  <a:lnTo>
                    <a:pt x="261735" y="187468"/>
                  </a:lnTo>
                  <a:lnTo>
                    <a:pt x="256835" y="180813"/>
                  </a:lnTo>
                  <a:lnTo>
                    <a:pt x="255594" y="179845"/>
                  </a:lnTo>
                  <a:lnTo>
                    <a:pt x="246973" y="178332"/>
                  </a:lnTo>
                  <a:lnTo>
                    <a:pt x="238654" y="175216"/>
                  </a:lnTo>
                  <a:lnTo>
                    <a:pt x="233874" y="170043"/>
                  </a:lnTo>
                  <a:lnTo>
                    <a:pt x="232089" y="169408"/>
                  </a:lnTo>
                  <a:lnTo>
                    <a:pt x="230667" y="168319"/>
                  </a:lnTo>
                  <a:lnTo>
                    <a:pt x="229639" y="165687"/>
                  </a:lnTo>
                  <a:lnTo>
                    <a:pt x="226825" y="149926"/>
                  </a:lnTo>
                  <a:lnTo>
                    <a:pt x="225918" y="148353"/>
                  </a:lnTo>
                  <a:lnTo>
                    <a:pt x="224435" y="146992"/>
                  </a:lnTo>
                  <a:lnTo>
                    <a:pt x="223558" y="143876"/>
                  </a:lnTo>
                  <a:lnTo>
                    <a:pt x="222772" y="137856"/>
                  </a:lnTo>
                  <a:lnTo>
                    <a:pt x="221985" y="134498"/>
                  </a:lnTo>
                  <a:lnTo>
                    <a:pt x="220987" y="131684"/>
                  </a:lnTo>
                  <a:lnTo>
                    <a:pt x="220533" y="130837"/>
                  </a:lnTo>
                  <a:lnTo>
                    <a:pt x="218325" y="126632"/>
                  </a:lnTo>
                  <a:lnTo>
                    <a:pt x="217871" y="124938"/>
                  </a:lnTo>
                  <a:lnTo>
                    <a:pt x="217841" y="123244"/>
                  </a:lnTo>
                  <a:lnTo>
                    <a:pt x="217538" y="121913"/>
                  </a:lnTo>
                  <a:lnTo>
                    <a:pt x="216237" y="121369"/>
                  </a:lnTo>
                  <a:lnTo>
                    <a:pt x="212819" y="120643"/>
                  </a:lnTo>
                  <a:lnTo>
                    <a:pt x="207585" y="117859"/>
                  </a:lnTo>
                  <a:lnTo>
                    <a:pt x="199448" y="111265"/>
                  </a:lnTo>
                  <a:lnTo>
                    <a:pt x="192248" y="102946"/>
                  </a:lnTo>
                  <a:lnTo>
                    <a:pt x="169832" y="84946"/>
                  </a:lnTo>
                  <a:lnTo>
                    <a:pt x="164265" y="77292"/>
                  </a:lnTo>
                  <a:lnTo>
                    <a:pt x="163267" y="74751"/>
                  </a:lnTo>
                  <a:lnTo>
                    <a:pt x="162874" y="71272"/>
                  </a:lnTo>
                  <a:lnTo>
                    <a:pt x="163237" y="64163"/>
                  </a:lnTo>
                  <a:lnTo>
                    <a:pt x="164205" y="57629"/>
                  </a:lnTo>
                  <a:lnTo>
                    <a:pt x="164689" y="56389"/>
                  </a:lnTo>
                  <a:lnTo>
                    <a:pt x="165203" y="55965"/>
                  </a:lnTo>
                  <a:lnTo>
                    <a:pt x="165233" y="55753"/>
                  </a:lnTo>
                  <a:lnTo>
                    <a:pt x="164205" y="55179"/>
                  </a:lnTo>
                  <a:lnTo>
                    <a:pt x="162753" y="54876"/>
                  </a:lnTo>
                  <a:lnTo>
                    <a:pt x="161422" y="55390"/>
                  </a:lnTo>
                  <a:lnTo>
                    <a:pt x="160181" y="56086"/>
                  </a:lnTo>
                  <a:lnTo>
                    <a:pt x="159062" y="56449"/>
                  </a:lnTo>
                  <a:lnTo>
                    <a:pt x="156733" y="56631"/>
                  </a:lnTo>
                  <a:lnTo>
                    <a:pt x="152467" y="57871"/>
                  </a:lnTo>
                  <a:lnTo>
                    <a:pt x="123365" y="72543"/>
                  </a:lnTo>
                  <a:lnTo>
                    <a:pt x="103702" y="82435"/>
                  </a:lnTo>
                  <a:lnTo>
                    <a:pt x="99376" y="83706"/>
                  </a:lnTo>
                  <a:lnTo>
                    <a:pt x="80832" y="84886"/>
                  </a:lnTo>
                  <a:lnTo>
                    <a:pt x="76596" y="87003"/>
                  </a:lnTo>
                  <a:lnTo>
                    <a:pt x="73541" y="90180"/>
                  </a:lnTo>
                  <a:lnTo>
                    <a:pt x="62439" y="110236"/>
                  </a:lnTo>
                  <a:lnTo>
                    <a:pt x="55269" y="119039"/>
                  </a:lnTo>
                  <a:lnTo>
                    <a:pt x="51488" y="128266"/>
                  </a:lnTo>
                  <a:lnTo>
                    <a:pt x="50126" y="129658"/>
                  </a:lnTo>
                  <a:lnTo>
                    <a:pt x="48402" y="130595"/>
                  </a:lnTo>
                  <a:lnTo>
                    <a:pt x="46799" y="132925"/>
                  </a:lnTo>
                  <a:lnTo>
                    <a:pt x="45589" y="135950"/>
                  </a:lnTo>
                  <a:lnTo>
                    <a:pt x="44923" y="139005"/>
                  </a:lnTo>
                  <a:lnTo>
                    <a:pt x="44681" y="142575"/>
                  </a:lnTo>
                  <a:lnTo>
                    <a:pt x="44923" y="153708"/>
                  </a:lnTo>
                  <a:lnTo>
                    <a:pt x="44681" y="155160"/>
                  </a:lnTo>
                  <a:lnTo>
                    <a:pt x="43743" y="157580"/>
                  </a:lnTo>
                  <a:lnTo>
                    <a:pt x="43532" y="159425"/>
                  </a:lnTo>
                  <a:lnTo>
                    <a:pt x="44621" y="163993"/>
                  </a:lnTo>
                  <a:lnTo>
                    <a:pt x="44923" y="165808"/>
                  </a:lnTo>
                  <a:lnTo>
                    <a:pt x="44772" y="172736"/>
                  </a:lnTo>
                  <a:lnTo>
                    <a:pt x="43592" y="178786"/>
                  </a:lnTo>
                  <a:lnTo>
                    <a:pt x="41656" y="183626"/>
                  </a:lnTo>
                  <a:lnTo>
                    <a:pt x="39418" y="186893"/>
                  </a:lnTo>
                  <a:lnTo>
                    <a:pt x="36211" y="189616"/>
                  </a:lnTo>
                  <a:lnTo>
                    <a:pt x="33367" y="192006"/>
                  </a:lnTo>
                  <a:lnTo>
                    <a:pt x="32127" y="192701"/>
                  </a:lnTo>
                  <a:lnTo>
                    <a:pt x="31099" y="193791"/>
                  </a:lnTo>
                  <a:lnTo>
                    <a:pt x="27408" y="198994"/>
                  </a:lnTo>
                  <a:lnTo>
                    <a:pt x="25623" y="200809"/>
                  </a:lnTo>
                  <a:lnTo>
                    <a:pt x="18937" y="204530"/>
                  </a:lnTo>
                  <a:lnTo>
                    <a:pt x="17969" y="206103"/>
                  </a:lnTo>
                  <a:lnTo>
                    <a:pt x="9711" y="211185"/>
                  </a:lnTo>
                  <a:lnTo>
                    <a:pt x="8471" y="214120"/>
                  </a:lnTo>
                  <a:lnTo>
                    <a:pt x="8622" y="216993"/>
                  </a:lnTo>
                  <a:lnTo>
                    <a:pt x="9317" y="219988"/>
                  </a:lnTo>
                  <a:lnTo>
                    <a:pt x="9711" y="223346"/>
                  </a:lnTo>
                  <a:lnTo>
                    <a:pt x="9045" y="237746"/>
                  </a:lnTo>
                  <a:lnTo>
                    <a:pt x="7805" y="243222"/>
                  </a:lnTo>
                  <a:lnTo>
                    <a:pt x="4235" y="252902"/>
                  </a:lnTo>
                  <a:lnTo>
                    <a:pt x="3207" y="259769"/>
                  </a:lnTo>
                  <a:lnTo>
                    <a:pt x="2692" y="260495"/>
                  </a:lnTo>
                  <a:lnTo>
                    <a:pt x="2390" y="261251"/>
                  </a:lnTo>
                  <a:lnTo>
                    <a:pt x="2814" y="263097"/>
                  </a:lnTo>
                  <a:lnTo>
                    <a:pt x="3479" y="264398"/>
                  </a:lnTo>
                  <a:lnTo>
                    <a:pt x="4235" y="264791"/>
                  </a:lnTo>
                  <a:lnTo>
                    <a:pt x="5143" y="264912"/>
                  </a:lnTo>
                  <a:lnTo>
                    <a:pt x="6232" y="265396"/>
                  </a:lnTo>
                  <a:lnTo>
                    <a:pt x="8017" y="266818"/>
                  </a:lnTo>
                  <a:lnTo>
                    <a:pt x="8501" y="267574"/>
                  </a:lnTo>
                  <a:lnTo>
                    <a:pt x="9045" y="268814"/>
                  </a:lnTo>
                  <a:lnTo>
                    <a:pt x="9529" y="270448"/>
                  </a:lnTo>
                  <a:lnTo>
                    <a:pt x="9983" y="273382"/>
                  </a:lnTo>
                  <a:lnTo>
                    <a:pt x="10437" y="274532"/>
                  </a:lnTo>
                  <a:lnTo>
                    <a:pt x="10013" y="276317"/>
                  </a:lnTo>
                  <a:lnTo>
                    <a:pt x="9892" y="279160"/>
                  </a:lnTo>
                  <a:lnTo>
                    <a:pt x="10074" y="282125"/>
                  </a:lnTo>
                  <a:lnTo>
                    <a:pt x="11193" y="285634"/>
                  </a:lnTo>
                  <a:lnTo>
                    <a:pt x="10921" y="286965"/>
                  </a:lnTo>
                  <a:lnTo>
                    <a:pt x="10225" y="287933"/>
                  </a:lnTo>
                  <a:lnTo>
                    <a:pt x="9378" y="288326"/>
                  </a:lnTo>
                  <a:lnTo>
                    <a:pt x="8561" y="287842"/>
                  </a:lnTo>
                  <a:lnTo>
                    <a:pt x="6232" y="284817"/>
                  </a:lnTo>
                  <a:lnTo>
                    <a:pt x="7654" y="282639"/>
                  </a:lnTo>
                  <a:lnTo>
                    <a:pt x="7654" y="279100"/>
                  </a:lnTo>
                  <a:lnTo>
                    <a:pt x="6928" y="278706"/>
                  </a:lnTo>
                  <a:lnTo>
                    <a:pt x="6232" y="278071"/>
                  </a:lnTo>
                  <a:lnTo>
                    <a:pt x="7654" y="275772"/>
                  </a:lnTo>
                  <a:lnTo>
                    <a:pt x="6776" y="273806"/>
                  </a:lnTo>
                  <a:lnTo>
                    <a:pt x="6232" y="269419"/>
                  </a:lnTo>
                  <a:lnTo>
                    <a:pt x="5627" y="267695"/>
                  </a:lnTo>
                  <a:lnTo>
                    <a:pt x="3812" y="266092"/>
                  </a:lnTo>
                  <a:lnTo>
                    <a:pt x="3207" y="267665"/>
                  </a:lnTo>
                  <a:lnTo>
                    <a:pt x="3509" y="270690"/>
                  </a:lnTo>
                  <a:lnTo>
                    <a:pt x="4235" y="273503"/>
                  </a:lnTo>
                  <a:lnTo>
                    <a:pt x="3721" y="275197"/>
                  </a:lnTo>
                  <a:lnTo>
                    <a:pt x="3721" y="278495"/>
                  </a:lnTo>
                  <a:lnTo>
                    <a:pt x="3479" y="280340"/>
                  </a:lnTo>
                  <a:lnTo>
                    <a:pt x="2995" y="281883"/>
                  </a:lnTo>
                  <a:lnTo>
                    <a:pt x="2420" y="283153"/>
                  </a:lnTo>
                  <a:lnTo>
                    <a:pt x="1059" y="285422"/>
                  </a:lnTo>
                  <a:lnTo>
                    <a:pt x="212" y="287994"/>
                  </a:lnTo>
                  <a:lnTo>
                    <a:pt x="0" y="291200"/>
                  </a:lnTo>
                  <a:lnTo>
                    <a:pt x="242" y="294528"/>
                  </a:lnTo>
                  <a:lnTo>
                    <a:pt x="1301" y="301093"/>
                  </a:lnTo>
                  <a:lnTo>
                    <a:pt x="1422" y="302605"/>
                  </a:lnTo>
                  <a:lnTo>
                    <a:pt x="1422" y="304390"/>
                  </a:lnTo>
                  <a:lnTo>
                    <a:pt x="1180" y="306296"/>
                  </a:lnTo>
                  <a:lnTo>
                    <a:pt x="242" y="309563"/>
                  </a:lnTo>
                  <a:lnTo>
                    <a:pt x="61" y="310591"/>
                  </a:lnTo>
                  <a:lnTo>
                    <a:pt x="484" y="314161"/>
                  </a:lnTo>
                  <a:lnTo>
                    <a:pt x="1573" y="317731"/>
                  </a:lnTo>
                  <a:lnTo>
                    <a:pt x="6050" y="328198"/>
                  </a:lnTo>
                  <a:lnTo>
                    <a:pt x="7472" y="333643"/>
                  </a:lnTo>
                  <a:lnTo>
                    <a:pt x="8471" y="339784"/>
                  </a:lnTo>
                  <a:lnTo>
                    <a:pt x="8561" y="340540"/>
                  </a:lnTo>
                  <a:lnTo>
                    <a:pt x="8561" y="340601"/>
                  </a:lnTo>
                  <a:lnTo>
                    <a:pt x="12373" y="339723"/>
                  </a:lnTo>
                  <a:lnTo>
                    <a:pt x="18272" y="339693"/>
                  </a:lnTo>
                  <a:lnTo>
                    <a:pt x="22326" y="338634"/>
                  </a:lnTo>
                  <a:lnTo>
                    <a:pt x="23838" y="335488"/>
                  </a:lnTo>
                  <a:lnTo>
                    <a:pt x="24564" y="330920"/>
                  </a:lnTo>
                  <a:lnTo>
                    <a:pt x="26288" y="325596"/>
                  </a:lnTo>
                  <a:lnTo>
                    <a:pt x="28799" y="321936"/>
                  </a:lnTo>
                  <a:lnTo>
                    <a:pt x="32399" y="318336"/>
                  </a:lnTo>
                  <a:lnTo>
                    <a:pt x="36120" y="315432"/>
                  </a:lnTo>
                  <a:lnTo>
                    <a:pt x="39236" y="313949"/>
                  </a:lnTo>
                  <a:lnTo>
                    <a:pt x="43804" y="313738"/>
                  </a:lnTo>
                  <a:lnTo>
                    <a:pt x="45377" y="313253"/>
                  </a:lnTo>
                  <a:lnTo>
                    <a:pt x="59414" y="303301"/>
                  </a:lnTo>
                  <a:lnTo>
                    <a:pt x="63135" y="301516"/>
                  </a:lnTo>
                  <a:lnTo>
                    <a:pt x="72059" y="301153"/>
                  </a:lnTo>
                  <a:lnTo>
                    <a:pt x="100314" y="288901"/>
                  </a:lnTo>
                  <a:lnTo>
                    <a:pt x="102099" y="288115"/>
                  </a:lnTo>
                  <a:lnTo>
                    <a:pt x="113261" y="283244"/>
                  </a:lnTo>
                  <a:lnTo>
                    <a:pt x="117799" y="283547"/>
                  </a:lnTo>
                  <a:lnTo>
                    <a:pt x="119705" y="284454"/>
                  </a:lnTo>
                  <a:lnTo>
                    <a:pt x="123456" y="287026"/>
                  </a:lnTo>
                  <a:lnTo>
                    <a:pt x="125422" y="287752"/>
                  </a:lnTo>
                  <a:lnTo>
                    <a:pt x="155280" y="286844"/>
                  </a:lnTo>
                  <a:lnTo>
                    <a:pt x="161754" y="288205"/>
                  </a:lnTo>
                  <a:lnTo>
                    <a:pt x="161997" y="288326"/>
                  </a:lnTo>
                  <a:lnTo>
                    <a:pt x="164659" y="289657"/>
                  </a:lnTo>
                  <a:lnTo>
                    <a:pt x="169106" y="293983"/>
                  </a:lnTo>
                  <a:lnTo>
                    <a:pt x="170860" y="294649"/>
                  </a:lnTo>
                  <a:lnTo>
                    <a:pt x="172373" y="294437"/>
                  </a:lnTo>
                  <a:lnTo>
                    <a:pt x="186591" y="289022"/>
                  </a:lnTo>
                  <a:lnTo>
                    <a:pt x="190282" y="286632"/>
                  </a:lnTo>
                  <a:lnTo>
                    <a:pt x="193276" y="284757"/>
                  </a:lnTo>
                  <a:lnTo>
                    <a:pt x="196846" y="284121"/>
                  </a:lnTo>
                  <a:lnTo>
                    <a:pt x="200083" y="285816"/>
                  </a:lnTo>
                  <a:lnTo>
                    <a:pt x="202563" y="290656"/>
                  </a:lnTo>
                  <a:lnTo>
                    <a:pt x="206103" y="298854"/>
                  </a:lnTo>
                  <a:lnTo>
                    <a:pt x="210701" y="302151"/>
                  </a:lnTo>
                  <a:lnTo>
                    <a:pt x="215783" y="301032"/>
                  </a:lnTo>
                  <a:lnTo>
                    <a:pt x="220805" y="296010"/>
                  </a:lnTo>
                  <a:lnTo>
                    <a:pt x="219958" y="294256"/>
                  </a:lnTo>
                  <a:lnTo>
                    <a:pt x="221773" y="293167"/>
                  </a:lnTo>
                  <a:lnTo>
                    <a:pt x="233450" y="290656"/>
                  </a:lnTo>
                  <a:lnTo>
                    <a:pt x="235689" y="291079"/>
                  </a:lnTo>
                  <a:lnTo>
                    <a:pt x="242465" y="293741"/>
                  </a:lnTo>
                  <a:lnTo>
                    <a:pt x="252902" y="297825"/>
                  </a:lnTo>
                  <a:lnTo>
                    <a:pt x="256502" y="298067"/>
                  </a:lnTo>
                  <a:lnTo>
                    <a:pt x="262552" y="294740"/>
                  </a:lnTo>
                  <a:lnTo>
                    <a:pt x="265789" y="293862"/>
                  </a:lnTo>
                  <a:lnTo>
                    <a:pt x="272808" y="294195"/>
                  </a:lnTo>
                  <a:lnTo>
                    <a:pt x="275530" y="293772"/>
                  </a:lnTo>
                  <a:lnTo>
                    <a:pt x="276407" y="294044"/>
                  </a:lnTo>
                  <a:lnTo>
                    <a:pt x="277224" y="295193"/>
                  </a:lnTo>
                  <a:lnTo>
                    <a:pt x="277375" y="296434"/>
                  </a:lnTo>
                  <a:lnTo>
                    <a:pt x="277254" y="297493"/>
                  </a:lnTo>
                  <a:lnTo>
                    <a:pt x="277375" y="298037"/>
                  </a:lnTo>
                  <a:lnTo>
                    <a:pt x="280521" y="298521"/>
                  </a:lnTo>
                  <a:lnTo>
                    <a:pt x="287449" y="297008"/>
                  </a:lnTo>
                  <a:lnTo>
                    <a:pt x="290777" y="297099"/>
                  </a:lnTo>
                  <a:lnTo>
                    <a:pt x="292078" y="297493"/>
                  </a:lnTo>
                  <a:lnTo>
                    <a:pt x="303180" y="300760"/>
                  </a:lnTo>
                  <a:lnTo>
                    <a:pt x="312618" y="307627"/>
                  </a:lnTo>
                  <a:lnTo>
                    <a:pt x="315976" y="309381"/>
                  </a:lnTo>
                  <a:lnTo>
                    <a:pt x="319032" y="309926"/>
                  </a:lnTo>
                  <a:lnTo>
                    <a:pt x="319183" y="309896"/>
                  </a:lnTo>
                  <a:lnTo>
                    <a:pt x="321845" y="309442"/>
                  </a:lnTo>
                  <a:lnTo>
                    <a:pt x="334006" y="303573"/>
                  </a:lnTo>
                  <a:lnTo>
                    <a:pt x="337122" y="303059"/>
                  </a:lnTo>
                  <a:lnTo>
                    <a:pt x="340359" y="304239"/>
                  </a:lnTo>
                  <a:lnTo>
                    <a:pt x="346742" y="308565"/>
                  </a:lnTo>
                  <a:lnTo>
                    <a:pt x="350070" y="309412"/>
                  </a:lnTo>
                  <a:lnTo>
                    <a:pt x="353488" y="308020"/>
                  </a:lnTo>
                  <a:lnTo>
                    <a:pt x="359296" y="304904"/>
                  </a:lnTo>
                  <a:lnTo>
                    <a:pt x="361202" y="303059"/>
                  </a:lnTo>
                  <a:lnTo>
                    <a:pt x="369370" y="292834"/>
                  </a:lnTo>
                  <a:lnTo>
                    <a:pt x="373333" y="289960"/>
                  </a:lnTo>
                  <a:lnTo>
                    <a:pt x="376993" y="288447"/>
                  </a:lnTo>
                  <a:lnTo>
                    <a:pt x="386129" y="284726"/>
                  </a:lnTo>
                  <a:lnTo>
                    <a:pt x="387128" y="284696"/>
                  </a:lnTo>
                  <a:lnTo>
                    <a:pt x="389366" y="285513"/>
                  </a:lnTo>
                  <a:lnTo>
                    <a:pt x="390183" y="285331"/>
                  </a:lnTo>
                  <a:lnTo>
                    <a:pt x="390818" y="283879"/>
                  </a:lnTo>
                  <a:lnTo>
                    <a:pt x="390939" y="282034"/>
                  </a:lnTo>
                  <a:lnTo>
                    <a:pt x="391302" y="280249"/>
                  </a:lnTo>
                  <a:lnTo>
                    <a:pt x="392694" y="279039"/>
                  </a:lnTo>
                  <a:lnTo>
                    <a:pt x="394842" y="279674"/>
                  </a:lnTo>
                  <a:lnTo>
                    <a:pt x="396657" y="282488"/>
                  </a:lnTo>
                  <a:lnTo>
                    <a:pt x="399289" y="289506"/>
                  </a:lnTo>
                  <a:lnTo>
                    <a:pt x="401890" y="299640"/>
                  </a:lnTo>
                  <a:lnTo>
                    <a:pt x="402979" y="302726"/>
                  </a:lnTo>
                  <a:lnTo>
                    <a:pt x="403978" y="304420"/>
                  </a:lnTo>
                  <a:lnTo>
                    <a:pt x="407366" y="307839"/>
                  </a:lnTo>
                  <a:lnTo>
                    <a:pt x="408334" y="309472"/>
                  </a:lnTo>
                  <a:lnTo>
                    <a:pt x="410119" y="314827"/>
                  </a:lnTo>
                  <a:lnTo>
                    <a:pt x="413053" y="319848"/>
                  </a:lnTo>
                  <a:lnTo>
                    <a:pt x="416683" y="322269"/>
                  </a:lnTo>
                  <a:lnTo>
                    <a:pt x="440824" y="326141"/>
                  </a:lnTo>
                  <a:lnTo>
                    <a:pt x="451442" y="327835"/>
                  </a:lnTo>
                  <a:lnTo>
                    <a:pt x="458309" y="326685"/>
                  </a:lnTo>
                  <a:lnTo>
                    <a:pt x="463331" y="328924"/>
                  </a:lnTo>
                  <a:lnTo>
                    <a:pt x="465055" y="329257"/>
                  </a:lnTo>
                  <a:lnTo>
                    <a:pt x="471075" y="328803"/>
                  </a:lnTo>
                  <a:lnTo>
                    <a:pt x="472285" y="329287"/>
                  </a:lnTo>
                  <a:lnTo>
                    <a:pt x="473011" y="330769"/>
                  </a:lnTo>
                  <a:lnTo>
                    <a:pt x="474887" y="336335"/>
                  </a:lnTo>
                  <a:lnTo>
                    <a:pt x="475795" y="338060"/>
                  </a:lnTo>
                  <a:lnTo>
                    <a:pt x="477005" y="339209"/>
                  </a:lnTo>
                  <a:lnTo>
                    <a:pt x="482783" y="342930"/>
                  </a:lnTo>
                  <a:lnTo>
                    <a:pt x="485747" y="345986"/>
                  </a:lnTo>
                  <a:lnTo>
                    <a:pt x="493371" y="353912"/>
                  </a:lnTo>
                  <a:lnTo>
                    <a:pt x="502416" y="359478"/>
                  </a:lnTo>
                  <a:lnTo>
                    <a:pt x="508103" y="362957"/>
                  </a:lnTo>
                  <a:lnTo>
                    <a:pt x="514305" y="369431"/>
                  </a:lnTo>
                  <a:lnTo>
                    <a:pt x="524288" y="377417"/>
                  </a:lnTo>
                  <a:lnTo>
                    <a:pt x="526829" y="381077"/>
                  </a:lnTo>
                  <a:lnTo>
                    <a:pt x="529158" y="386099"/>
                  </a:lnTo>
                  <a:lnTo>
                    <a:pt x="534452" y="394902"/>
                  </a:lnTo>
                  <a:lnTo>
                    <a:pt x="540775" y="399319"/>
                  </a:lnTo>
                  <a:lnTo>
                    <a:pt x="554721" y="405551"/>
                  </a:lnTo>
                  <a:lnTo>
                    <a:pt x="560408" y="407003"/>
                  </a:lnTo>
                  <a:lnTo>
                    <a:pt x="566125" y="407426"/>
                  </a:lnTo>
                  <a:lnTo>
                    <a:pt x="568273" y="403978"/>
                  </a:lnTo>
                  <a:lnTo>
                    <a:pt x="570724" y="402737"/>
                  </a:lnTo>
                  <a:lnTo>
                    <a:pt x="573416" y="402979"/>
                  </a:lnTo>
                  <a:lnTo>
                    <a:pt x="578770" y="404976"/>
                  </a:lnTo>
                  <a:lnTo>
                    <a:pt x="581100" y="404825"/>
                  </a:lnTo>
                  <a:lnTo>
                    <a:pt x="589116" y="401013"/>
                  </a:lnTo>
                  <a:lnTo>
                    <a:pt x="591113" y="398835"/>
                  </a:lnTo>
                  <a:lnTo>
                    <a:pt x="596891" y="389094"/>
                  </a:lnTo>
                  <a:lnTo>
                    <a:pt x="602699" y="382529"/>
                  </a:lnTo>
                  <a:lnTo>
                    <a:pt x="604877" y="381259"/>
                  </a:lnTo>
                  <a:lnTo>
                    <a:pt x="605029" y="381168"/>
                  </a:lnTo>
                  <a:lnTo>
                    <a:pt x="618097" y="379595"/>
                  </a:lnTo>
                  <a:lnTo>
                    <a:pt x="622181" y="380230"/>
                  </a:lnTo>
                  <a:lnTo>
                    <a:pt x="624390" y="381349"/>
                  </a:lnTo>
                  <a:lnTo>
                    <a:pt x="630652" y="386280"/>
                  </a:lnTo>
                  <a:lnTo>
                    <a:pt x="633435" y="387672"/>
                  </a:lnTo>
                  <a:lnTo>
                    <a:pt x="635371" y="386916"/>
                  </a:lnTo>
                  <a:lnTo>
                    <a:pt x="640060" y="382681"/>
                  </a:lnTo>
                  <a:lnTo>
                    <a:pt x="642147" y="380442"/>
                  </a:lnTo>
                  <a:lnTo>
                    <a:pt x="644658" y="383134"/>
                  </a:lnTo>
                  <a:lnTo>
                    <a:pt x="647804" y="384859"/>
                  </a:lnTo>
                  <a:lnTo>
                    <a:pt x="651102" y="385797"/>
                  </a:lnTo>
                  <a:lnTo>
                    <a:pt x="663747" y="386855"/>
                  </a:lnTo>
                  <a:lnTo>
                    <a:pt x="666590" y="386523"/>
                  </a:lnTo>
                  <a:lnTo>
                    <a:pt x="667468" y="384012"/>
                  </a:lnTo>
                  <a:lnTo>
                    <a:pt x="668345" y="380503"/>
                  </a:lnTo>
                  <a:lnTo>
                    <a:pt x="669041" y="372667"/>
                  </a:lnTo>
                  <a:lnTo>
                    <a:pt x="671854" y="365347"/>
                  </a:lnTo>
                  <a:lnTo>
                    <a:pt x="681867" y="359266"/>
                  </a:lnTo>
                  <a:lnTo>
                    <a:pt x="685134" y="353851"/>
                  </a:lnTo>
                  <a:lnTo>
                    <a:pt x="685558" y="349918"/>
                  </a:lnTo>
                  <a:lnTo>
                    <a:pt x="688704" y="346893"/>
                  </a:lnTo>
                  <a:lnTo>
                    <a:pt x="695571" y="342053"/>
                  </a:lnTo>
                  <a:lnTo>
                    <a:pt x="696781" y="339875"/>
                  </a:lnTo>
                  <a:lnTo>
                    <a:pt x="697659" y="337848"/>
                  </a:lnTo>
                  <a:lnTo>
                    <a:pt x="698657" y="336033"/>
                  </a:lnTo>
                  <a:lnTo>
                    <a:pt x="700230" y="334520"/>
                  </a:lnTo>
                  <a:lnTo>
                    <a:pt x="701501" y="333885"/>
                  </a:lnTo>
                  <a:lnTo>
                    <a:pt x="705675" y="333068"/>
                  </a:lnTo>
                  <a:lnTo>
                    <a:pt x="709971" y="331162"/>
                  </a:lnTo>
                  <a:lnTo>
                    <a:pt x="712724" y="329317"/>
                  </a:lnTo>
                  <a:lnTo>
                    <a:pt x="714448" y="328168"/>
                  </a:lnTo>
                  <a:lnTo>
                    <a:pt x="718744" y="326655"/>
                  </a:lnTo>
                  <a:lnTo>
                    <a:pt x="722555" y="329015"/>
                  </a:lnTo>
                  <a:lnTo>
                    <a:pt x="724613" y="325838"/>
                  </a:lnTo>
                  <a:lnTo>
                    <a:pt x="725550" y="322148"/>
                  </a:lnTo>
                  <a:lnTo>
                    <a:pt x="726125" y="318215"/>
                  </a:lnTo>
                  <a:lnTo>
                    <a:pt x="727002" y="314312"/>
                  </a:lnTo>
                  <a:lnTo>
                    <a:pt x="727819" y="312558"/>
                  </a:lnTo>
                  <a:lnTo>
                    <a:pt x="728666" y="311469"/>
                  </a:lnTo>
                  <a:lnTo>
                    <a:pt x="729241" y="310168"/>
                  </a:lnTo>
                  <a:lnTo>
                    <a:pt x="729423" y="307718"/>
                  </a:lnTo>
                  <a:lnTo>
                    <a:pt x="729181" y="305933"/>
                  </a:lnTo>
                  <a:close/>
                </a:path>
              </a:pathLst>
            </a:custGeom>
            <a:solidFill>
              <a:srgbClr val="96A3AC"/>
            </a:solidFill>
            <a:ln w="3175" cap="rnd">
              <a:solidFill>
                <a:schemeClr val="bg1"/>
              </a:solidFill>
              <a:prstDash val="solid"/>
              <a:round/>
            </a:ln>
          </p:spPr>
          <p:txBody>
            <a:bodyPr rtlCol="0" anchor="ctr"/>
            <a:lstStyle/>
            <a:p>
              <a:endParaRPr lang="en-ID"/>
            </a:p>
          </p:txBody>
        </p:sp>
        <p:sp>
          <p:nvSpPr>
            <p:cNvPr id="41" name="Freeform: Shape 40">
              <a:extLst>
                <a:ext uri="{FF2B5EF4-FFF2-40B4-BE49-F238E27FC236}">
                  <a16:creationId xmlns:a16="http://schemas.microsoft.com/office/drawing/2014/main" id="{BBC4DC58-2FD4-A376-73C8-29BA72B14179}"/>
                </a:ext>
              </a:extLst>
            </p:cNvPr>
            <p:cNvSpPr/>
            <p:nvPr/>
          </p:nvSpPr>
          <p:spPr>
            <a:xfrm>
              <a:off x="9723143" y="4757422"/>
              <a:ext cx="136734" cy="138169"/>
            </a:xfrm>
            <a:custGeom>
              <a:avLst/>
              <a:gdLst>
                <a:gd name="connsiteX0" fmla="*/ 175095 w 175912"/>
                <a:gd name="connsiteY0" fmla="*/ 74842 h 177757"/>
                <a:gd name="connsiteX1" fmla="*/ 173069 w 175912"/>
                <a:gd name="connsiteY1" fmla="*/ 73602 h 177757"/>
                <a:gd name="connsiteX2" fmla="*/ 172494 w 175912"/>
                <a:gd name="connsiteY2" fmla="*/ 73269 h 177757"/>
                <a:gd name="connsiteX3" fmla="*/ 169499 w 175912"/>
                <a:gd name="connsiteY3" fmla="*/ 72634 h 177757"/>
                <a:gd name="connsiteX4" fmla="*/ 167321 w 175912"/>
                <a:gd name="connsiteY4" fmla="*/ 72694 h 177757"/>
                <a:gd name="connsiteX5" fmla="*/ 162964 w 175912"/>
                <a:gd name="connsiteY5" fmla="*/ 74509 h 177757"/>
                <a:gd name="connsiteX6" fmla="*/ 161482 w 175912"/>
                <a:gd name="connsiteY6" fmla="*/ 74509 h 177757"/>
                <a:gd name="connsiteX7" fmla="*/ 159819 w 175912"/>
                <a:gd name="connsiteY7" fmla="*/ 73480 h 177757"/>
                <a:gd name="connsiteX8" fmla="*/ 156581 w 175912"/>
                <a:gd name="connsiteY8" fmla="*/ 69729 h 177757"/>
                <a:gd name="connsiteX9" fmla="*/ 155039 w 175912"/>
                <a:gd name="connsiteY9" fmla="*/ 68489 h 177757"/>
                <a:gd name="connsiteX10" fmla="*/ 152739 w 175912"/>
                <a:gd name="connsiteY10" fmla="*/ 67794 h 177757"/>
                <a:gd name="connsiteX11" fmla="*/ 142636 w 175912"/>
                <a:gd name="connsiteY11" fmla="*/ 66493 h 177757"/>
                <a:gd name="connsiteX12" fmla="*/ 140185 w 175912"/>
                <a:gd name="connsiteY12" fmla="*/ 66553 h 177757"/>
                <a:gd name="connsiteX13" fmla="*/ 138975 w 175912"/>
                <a:gd name="connsiteY13" fmla="*/ 66583 h 177757"/>
                <a:gd name="connsiteX14" fmla="*/ 137281 w 175912"/>
                <a:gd name="connsiteY14" fmla="*/ 66130 h 177757"/>
                <a:gd name="connsiteX15" fmla="*/ 136253 w 175912"/>
                <a:gd name="connsiteY15" fmla="*/ 65494 h 177757"/>
                <a:gd name="connsiteX16" fmla="*/ 136313 w 175912"/>
                <a:gd name="connsiteY16" fmla="*/ 65131 h 177757"/>
                <a:gd name="connsiteX17" fmla="*/ 136797 w 175912"/>
                <a:gd name="connsiteY17" fmla="*/ 64738 h 177757"/>
                <a:gd name="connsiteX18" fmla="*/ 137130 w 175912"/>
                <a:gd name="connsiteY18" fmla="*/ 64133 h 177757"/>
                <a:gd name="connsiteX19" fmla="*/ 137463 w 175912"/>
                <a:gd name="connsiteY19" fmla="*/ 62197 h 177757"/>
                <a:gd name="connsiteX20" fmla="*/ 138824 w 175912"/>
                <a:gd name="connsiteY20" fmla="*/ 57962 h 177757"/>
                <a:gd name="connsiteX21" fmla="*/ 139247 w 175912"/>
                <a:gd name="connsiteY21" fmla="*/ 55844 h 177757"/>
                <a:gd name="connsiteX22" fmla="*/ 139278 w 175912"/>
                <a:gd name="connsiteY22" fmla="*/ 53212 h 177757"/>
                <a:gd name="connsiteX23" fmla="*/ 139278 w 175912"/>
                <a:gd name="connsiteY23" fmla="*/ 52547 h 177757"/>
                <a:gd name="connsiteX24" fmla="*/ 138309 w 175912"/>
                <a:gd name="connsiteY24" fmla="*/ 51578 h 177757"/>
                <a:gd name="connsiteX25" fmla="*/ 136283 w 175912"/>
                <a:gd name="connsiteY25" fmla="*/ 51518 h 177757"/>
                <a:gd name="connsiteX26" fmla="*/ 133046 w 175912"/>
                <a:gd name="connsiteY26" fmla="*/ 50792 h 177757"/>
                <a:gd name="connsiteX27" fmla="*/ 132017 w 175912"/>
                <a:gd name="connsiteY27" fmla="*/ 50217 h 177757"/>
                <a:gd name="connsiteX28" fmla="*/ 130051 w 175912"/>
                <a:gd name="connsiteY28" fmla="*/ 48674 h 177757"/>
                <a:gd name="connsiteX29" fmla="*/ 128962 w 175912"/>
                <a:gd name="connsiteY29" fmla="*/ 48070 h 177757"/>
                <a:gd name="connsiteX30" fmla="*/ 127843 w 175912"/>
                <a:gd name="connsiteY30" fmla="*/ 47827 h 177757"/>
                <a:gd name="connsiteX31" fmla="*/ 125483 w 175912"/>
                <a:gd name="connsiteY31" fmla="*/ 47858 h 177757"/>
                <a:gd name="connsiteX32" fmla="*/ 124394 w 175912"/>
                <a:gd name="connsiteY32" fmla="*/ 47555 h 177757"/>
                <a:gd name="connsiteX33" fmla="*/ 121550 w 175912"/>
                <a:gd name="connsiteY33" fmla="*/ 44500 h 177757"/>
                <a:gd name="connsiteX34" fmla="*/ 120975 w 175912"/>
                <a:gd name="connsiteY34" fmla="*/ 40507 h 177757"/>
                <a:gd name="connsiteX35" fmla="*/ 120824 w 175912"/>
                <a:gd name="connsiteY35" fmla="*/ 36604 h 177757"/>
                <a:gd name="connsiteX36" fmla="*/ 119251 w 175912"/>
                <a:gd name="connsiteY36" fmla="*/ 33791 h 177757"/>
                <a:gd name="connsiteX37" fmla="*/ 117587 w 175912"/>
                <a:gd name="connsiteY37" fmla="*/ 33549 h 177757"/>
                <a:gd name="connsiteX38" fmla="*/ 116226 w 175912"/>
                <a:gd name="connsiteY38" fmla="*/ 34456 h 177757"/>
                <a:gd name="connsiteX39" fmla="*/ 114804 w 175912"/>
                <a:gd name="connsiteY39" fmla="*/ 35152 h 177757"/>
                <a:gd name="connsiteX40" fmla="*/ 113050 w 175912"/>
                <a:gd name="connsiteY40" fmla="*/ 34214 h 177757"/>
                <a:gd name="connsiteX41" fmla="*/ 112173 w 175912"/>
                <a:gd name="connsiteY41" fmla="*/ 32520 h 177757"/>
                <a:gd name="connsiteX42" fmla="*/ 110630 w 175912"/>
                <a:gd name="connsiteY42" fmla="*/ 25895 h 177757"/>
                <a:gd name="connsiteX43" fmla="*/ 109087 w 175912"/>
                <a:gd name="connsiteY43" fmla="*/ 22961 h 177757"/>
                <a:gd name="connsiteX44" fmla="*/ 107483 w 175912"/>
                <a:gd name="connsiteY44" fmla="*/ 21811 h 177757"/>
                <a:gd name="connsiteX45" fmla="*/ 100768 w 175912"/>
                <a:gd name="connsiteY45" fmla="*/ 21478 h 177757"/>
                <a:gd name="connsiteX46" fmla="*/ 98680 w 175912"/>
                <a:gd name="connsiteY46" fmla="*/ 20752 h 177757"/>
                <a:gd name="connsiteX47" fmla="*/ 97500 w 175912"/>
                <a:gd name="connsiteY47" fmla="*/ 20117 h 177757"/>
                <a:gd name="connsiteX48" fmla="*/ 89363 w 175912"/>
                <a:gd name="connsiteY48" fmla="*/ 15731 h 177757"/>
                <a:gd name="connsiteX49" fmla="*/ 81921 w 175912"/>
                <a:gd name="connsiteY49" fmla="*/ 11738 h 177757"/>
                <a:gd name="connsiteX50" fmla="*/ 81255 w 175912"/>
                <a:gd name="connsiteY50" fmla="*/ 10709 h 177757"/>
                <a:gd name="connsiteX51" fmla="*/ 81649 w 175912"/>
                <a:gd name="connsiteY51" fmla="*/ 10588 h 177757"/>
                <a:gd name="connsiteX52" fmla="*/ 81981 w 175912"/>
                <a:gd name="connsiteY52" fmla="*/ 8954 h 177757"/>
                <a:gd name="connsiteX53" fmla="*/ 82133 w 175912"/>
                <a:gd name="connsiteY53" fmla="*/ 7109 h 177757"/>
                <a:gd name="connsiteX54" fmla="*/ 82072 w 175912"/>
                <a:gd name="connsiteY54" fmla="*/ 6444 h 177757"/>
                <a:gd name="connsiteX55" fmla="*/ 83222 w 175912"/>
                <a:gd name="connsiteY55" fmla="*/ 5475 h 177757"/>
                <a:gd name="connsiteX56" fmla="*/ 84220 w 175912"/>
                <a:gd name="connsiteY56" fmla="*/ 5778 h 177757"/>
                <a:gd name="connsiteX57" fmla="*/ 84553 w 175912"/>
                <a:gd name="connsiteY57" fmla="*/ 5778 h 177757"/>
                <a:gd name="connsiteX58" fmla="*/ 83585 w 175912"/>
                <a:gd name="connsiteY58" fmla="*/ 3993 h 177757"/>
                <a:gd name="connsiteX59" fmla="*/ 82919 w 175912"/>
                <a:gd name="connsiteY59" fmla="*/ 3146 h 177757"/>
                <a:gd name="connsiteX60" fmla="*/ 81891 w 175912"/>
                <a:gd name="connsiteY60" fmla="*/ 2178 h 177757"/>
                <a:gd name="connsiteX61" fmla="*/ 79985 w 175912"/>
                <a:gd name="connsiteY61" fmla="*/ 696 h 177757"/>
                <a:gd name="connsiteX62" fmla="*/ 79017 w 175912"/>
                <a:gd name="connsiteY62" fmla="*/ 424 h 177757"/>
                <a:gd name="connsiteX63" fmla="*/ 77474 w 175912"/>
                <a:gd name="connsiteY63" fmla="*/ 0 h 177757"/>
                <a:gd name="connsiteX64" fmla="*/ 74963 w 175912"/>
                <a:gd name="connsiteY64" fmla="*/ 272 h 177757"/>
                <a:gd name="connsiteX65" fmla="*/ 72543 w 175912"/>
                <a:gd name="connsiteY65" fmla="*/ 1301 h 177757"/>
                <a:gd name="connsiteX66" fmla="*/ 64647 w 175912"/>
                <a:gd name="connsiteY66" fmla="*/ 6776 h 177757"/>
                <a:gd name="connsiteX67" fmla="*/ 62439 w 175912"/>
                <a:gd name="connsiteY67" fmla="*/ 7563 h 177757"/>
                <a:gd name="connsiteX68" fmla="*/ 59142 w 175912"/>
                <a:gd name="connsiteY68" fmla="*/ 7684 h 177757"/>
                <a:gd name="connsiteX69" fmla="*/ 58325 w 175912"/>
                <a:gd name="connsiteY69" fmla="*/ 8228 h 177757"/>
                <a:gd name="connsiteX70" fmla="*/ 57659 w 175912"/>
                <a:gd name="connsiteY70" fmla="*/ 9892 h 177757"/>
                <a:gd name="connsiteX71" fmla="*/ 57932 w 175912"/>
                <a:gd name="connsiteY71" fmla="*/ 11314 h 177757"/>
                <a:gd name="connsiteX72" fmla="*/ 59111 w 175912"/>
                <a:gd name="connsiteY72" fmla="*/ 13674 h 177757"/>
                <a:gd name="connsiteX73" fmla="*/ 59959 w 175912"/>
                <a:gd name="connsiteY73" fmla="*/ 16426 h 177757"/>
                <a:gd name="connsiteX74" fmla="*/ 60533 w 175912"/>
                <a:gd name="connsiteY74" fmla="*/ 17636 h 177757"/>
                <a:gd name="connsiteX75" fmla="*/ 61138 w 175912"/>
                <a:gd name="connsiteY75" fmla="*/ 18453 h 177757"/>
                <a:gd name="connsiteX76" fmla="*/ 62015 w 175912"/>
                <a:gd name="connsiteY76" fmla="*/ 18695 h 177757"/>
                <a:gd name="connsiteX77" fmla="*/ 63104 w 175912"/>
                <a:gd name="connsiteY77" fmla="*/ 18574 h 177757"/>
                <a:gd name="connsiteX78" fmla="*/ 64133 w 175912"/>
                <a:gd name="connsiteY78" fmla="*/ 18635 h 177757"/>
                <a:gd name="connsiteX79" fmla="*/ 64859 w 175912"/>
                <a:gd name="connsiteY79" fmla="*/ 19391 h 177757"/>
                <a:gd name="connsiteX80" fmla="*/ 64436 w 175912"/>
                <a:gd name="connsiteY80" fmla="*/ 22477 h 177757"/>
                <a:gd name="connsiteX81" fmla="*/ 62318 w 175912"/>
                <a:gd name="connsiteY81" fmla="*/ 26682 h 177757"/>
                <a:gd name="connsiteX82" fmla="*/ 59656 w 175912"/>
                <a:gd name="connsiteY82" fmla="*/ 30463 h 177757"/>
                <a:gd name="connsiteX83" fmla="*/ 57538 w 175912"/>
                <a:gd name="connsiteY83" fmla="*/ 32369 h 177757"/>
                <a:gd name="connsiteX84" fmla="*/ 56328 w 175912"/>
                <a:gd name="connsiteY84" fmla="*/ 32399 h 177757"/>
                <a:gd name="connsiteX85" fmla="*/ 55179 w 175912"/>
                <a:gd name="connsiteY85" fmla="*/ 32097 h 177757"/>
                <a:gd name="connsiteX86" fmla="*/ 54120 w 175912"/>
                <a:gd name="connsiteY86" fmla="*/ 32066 h 177757"/>
                <a:gd name="connsiteX87" fmla="*/ 53212 w 175912"/>
                <a:gd name="connsiteY87" fmla="*/ 32944 h 177757"/>
                <a:gd name="connsiteX88" fmla="*/ 52244 w 175912"/>
                <a:gd name="connsiteY88" fmla="*/ 34880 h 177757"/>
                <a:gd name="connsiteX89" fmla="*/ 51700 w 175912"/>
                <a:gd name="connsiteY89" fmla="*/ 35696 h 177757"/>
                <a:gd name="connsiteX90" fmla="*/ 50913 w 175912"/>
                <a:gd name="connsiteY90" fmla="*/ 36393 h 177757"/>
                <a:gd name="connsiteX91" fmla="*/ 48977 w 175912"/>
                <a:gd name="connsiteY91" fmla="*/ 37028 h 177757"/>
                <a:gd name="connsiteX92" fmla="*/ 47192 w 175912"/>
                <a:gd name="connsiteY92" fmla="*/ 37028 h 177757"/>
                <a:gd name="connsiteX93" fmla="*/ 45468 w 175912"/>
                <a:gd name="connsiteY93" fmla="*/ 37512 h 177757"/>
                <a:gd name="connsiteX94" fmla="*/ 43774 w 175912"/>
                <a:gd name="connsiteY94" fmla="*/ 39569 h 177757"/>
                <a:gd name="connsiteX95" fmla="*/ 42897 w 175912"/>
                <a:gd name="connsiteY95" fmla="*/ 43078 h 177757"/>
                <a:gd name="connsiteX96" fmla="*/ 44500 w 175912"/>
                <a:gd name="connsiteY96" fmla="*/ 44681 h 177757"/>
                <a:gd name="connsiteX97" fmla="*/ 46739 w 175912"/>
                <a:gd name="connsiteY97" fmla="*/ 45982 h 177757"/>
                <a:gd name="connsiteX98" fmla="*/ 47283 w 175912"/>
                <a:gd name="connsiteY98" fmla="*/ 47464 h 177757"/>
                <a:gd name="connsiteX99" fmla="*/ 47707 w 175912"/>
                <a:gd name="connsiteY99" fmla="*/ 48674 h 177757"/>
                <a:gd name="connsiteX100" fmla="*/ 45438 w 175912"/>
                <a:gd name="connsiteY100" fmla="*/ 51458 h 177757"/>
                <a:gd name="connsiteX101" fmla="*/ 40598 w 175912"/>
                <a:gd name="connsiteY101" fmla="*/ 53364 h 177757"/>
                <a:gd name="connsiteX102" fmla="*/ 32278 w 175912"/>
                <a:gd name="connsiteY102" fmla="*/ 54997 h 177757"/>
                <a:gd name="connsiteX103" fmla="*/ 24141 w 175912"/>
                <a:gd name="connsiteY103" fmla="*/ 56298 h 177757"/>
                <a:gd name="connsiteX104" fmla="*/ 20269 w 175912"/>
                <a:gd name="connsiteY104" fmla="*/ 57598 h 177757"/>
                <a:gd name="connsiteX105" fmla="*/ 19422 w 175912"/>
                <a:gd name="connsiteY105" fmla="*/ 58113 h 177757"/>
                <a:gd name="connsiteX106" fmla="*/ 18574 w 175912"/>
                <a:gd name="connsiteY106" fmla="*/ 59504 h 177757"/>
                <a:gd name="connsiteX107" fmla="*/ 18514 w 175912"/>
                <a:gd name="connsiteY107" fmla="*/ 60714 h 177757"/>
                <a:gd name="connsiteX108" fmla="*/ 18665 w 175912"/>
                <a:gd name="connsiteY108" fmla="*/ 61864 h 177757"/>
                <a:gd name="connsiteX109" fmla="*/ 18514 w 175912"/>
                <a:gd name="connsiteY109" fmla="*/ 63074 h 177757"/>
                <a:gd name="connsiteX110" fmla="*/ 16003 w 175912"/>
                <a:gd name="connsiteY110" fmla="*/ 65676 h 177757"/>
                <a:gd name="connsiteX111" fmla="*/ 12585 w 175912"/>
                <a:gd name="connsiteY111" fmla="*/ 64768 h 177757"/>
                <a:gd name="connsiteX112" fmla="*/ 8803 w 175912"/>
                <a:gd name="connsiteY112" fmla="*/ 62651 h 177757"/>
                <a:gd name="connsiteX113" fmla="*/ 5203 w 175912"/>
                <a:gd name="connsiteY113" fmla="*/ 61803 h 177757"/>
                <a:gd name="connsiteX114" fmla="*/ 4084 w 175912"/>
                <a:gd name="connsiteY114" fmla="*/ 62318 h 177757"/>
                <a:gd name="connsiteX115" fmla="*/ 3146 w 175912"/>
                <a:gd name="connsiteY115" fmla="*/ 63014 h 177757"/>
                <a:gd name="connsiteX116" fmla="*/ 1028 w 175912"/>
                <a:gd name="connsiteY116" fmla="*/ 64556 h 177757"/>
                <a:gd name="connsiteX117" fmla="*/ 212 w 175912"/>
                <a:gd name="connsiteY117" fmla="*/ 65615 h 177757"/>
                <a:gd name="connsiteX118" fmla="*/ 0 w 175912"/>
                <a:gd name="connsiteY118" fmla="*/ 68096 h 177757"/>
                <a:gd name="connsiteX119" fmla="*/ 1150 w 175912"/>
                <a:gd name="connsiteY119" fmla="*/ 70002 h 177757"/>
                <a:gd name="connsiteX120" fmla="*/ 1240 w 175912"/>
                <a:gd name="connsiteY120" fmla="*/ 70123 h 177757"/>
                <a:gd name="connsiteX121" fmla="*/ 7019 w 175912"/>
                <a:gd name="connsiteY121" fmla="*/ 75175 h 177757"/>
                <a:gd name="connsiteX122" fmla="*/ 7775 w 175912"/>
                <a:gd name="connsiteY122" fmla="*/ 76476 h 177757"/>
                <a:gd name="connsiteX123" fmla="*/ 7986 w 175912"/>
                <a:gd name="connsiteY123" fmla="*/ 76899 h 177757"/>
                <a:gd name="connsiteX124" fmla="*/ 6656 w 175912"/>
                <a:gd name="connsiteY124" fmla="*/ 80136 h 177757"/>
                <a:gd name="connsiteX125" fmla="*/ 5506 w 175912"/>
                <a:gd name="connsiteY125" fmla="*/ 82163 h 177757"/>
                <a:gd name="connsiteX126" fmla="*/ 5143 w 175912"/>
                <a:gd name="connsiteY126" fmla="*/ 83191 h 177757"/>
                <a:gd name="connsiteX127" fmla="*/ 5113 w 175912"/>
                <a:gd name="connsiteY127" fmla="*/ 85218 h 177757"/>
                <a:gd name="connsiteX128" fmla="*/ 5415 w 175912"/>
                <a:gd name="connsiteY128" fmla="*/ 86973 h 177757"/>
                <a:gd name="connsiteX129" fmla="*/ 5264 w 175912"/>
                <a:gd name="connsiteY129" fmla="*/ 88606 h 177757"/>
                <a:gd name="connsiteX130" fmla="*/ 4084 w 175912"/>
                <a:gd name="connsiteY130" fmla="*/ 90240 h 177757"/>
                <a:gd name="connsiteX131" fmla="*/ 6141 w 175912"/>
                <a:gd name="connsiteY131" fmla="*/ 92327 h 177757"/>
                <a:gd name="connsiteX132" fmla="*/ 11163 w 175912"/>
                <a:gd name="connsiteY132" fmla="*/ 94899 h 177757"/>
                <a:gd name="connsiteX133" fmla="*/ 12857 w 175912"/>
                <a:gd name="connsiteY133" fmla="*/ 96895 h 177757"/>
                <a:gd name="connsiteX134" fmla="*/ 12887 w 175912"/>
                <a:gd name="connsiteY134" fmla="*/ 96895 h 177757"/>
                <a:gd name="connsiteX135" fmla="*/ 12887 w 175912"/>
                <a:gd name="connsiteY135" fmla="*/ 96925 h 177757"/>
                <a:gd name="connsiteX136" fmla="*/ 15731 w 175912"/>
                <a:gd name="connsiteY136" fmla="*/ 103218 h 177757"/>
                <a:gd name="connsiteX137" fmla="*/ 16275 w 175912"/>
                <a:gd name="connsiteY137" fmla="*/ 103914 h 177757"/>
                <a:gd name="connsiteX138" fmla="*/ 17637 w 175912"/>
                <a:gd name="connsiteY138" fmla="*/ 105124 h 177757"/>
                <a:gd name="connsiteX139" fmla="*/ 18121 w 175912"/>
                <a:gd name="connsiteY139" fmla="*/ 106092 h 177757"/>
                <a:gd name="connsiteX140" fmla="*/ 18090 w 175912"/>
                <a:gd name="connsiteY140" fmla="*/ 107120 h 177757"/>
                <a:gd name="connsiteX141" fmla="*/ 17062 w 175912"/>
                <a:gd name="connsiteY141" fmla="*/ 108603 h 177757"/>
                <a:gd name="connsiteX142" fmla="*/ 16941 w 175912"/>
                <a:gd name="connsiteY142" fmla="*/ 109389 h 177757"/>
                <a:gd name="connsiteX143" fmla="*/ 17395 w 175912"/>
                <a:gd name="connsiteY143" fmla="*/ 110175 h 177757"/>
                <a:gd name="connsiteX144" fmla="*/ 18968 w 175912"/>
                <a:gd name="connsiteY144" fmla="*/ 111416 h 177757"/>
                <a:gd name="connsiteX145" fmla="*/ 19543 w 175912"/>
                <a:gd name="connsiteY145" fmla="*/ 112172 h 177757"/>
                <a:gd name="connsiteX146" fmla="*/ 19785 w 175912"/>
                <a:gd name="connsiteY146" fmla="*/ 113140 h 177757"/>
                <a:gd name="connsiteX147" fmla="*/ 19603 w 175912"/>
                <a:gd name="connsiteY147" fmla="*/ 114804 h 177757"/>
                <a:gd name="connsiteX148" fmla="*/ 19754 w 175912"/>
                <a:gd name="connsiteY148" fmla="*/ 115712 h 177757"/>
                <a:gd name="connsiteX149" fmla="*/ 20632 w 175912"/>
                <a:gd name="connsiteY149" fmla="*/ 117769 h 177757"/>
                <a:gd name="connsiteX150" fmla="*/ 21448 w 175912"/>
                <a:gd name="connsiteY150" fmla="*/ 118616 h 177757"/>
                <a:gd name="connsiteX151" fmla="*/ 22658 w 175912"/>
                <a:gd name="connsiteY151" fmla="*/ 118767 h 177757"/>
                <a:gd name="connsiteX152" fmla="*/ 29525 w 175912"/>
                <a:gd name="connsiteY152" fmla="*/ 118616 h 177757"/>
                <a:gd name="connsiteX153" fmla="*/ 31068 w 175912"/>
                <a:gd name="connsiteY153" fmla="*/ 118858 h 177757"/>
                <a:gd name="connsiteX154" fmla="*/ 43502 w 175912"/>
                <a:gd name="connsiteY154" fmla="*/ 127268 h 177757"/>
                <a:gd name="connsiteX155" fmla="*/ 45196 w 175912"/>
                <a:gd name="connsiteY155" fmla="*/ 128932 h 177757"/>
                <a:gd name="connsiteX156" fmla="*/ 46013 w 175912"/>
                <a:gd name="connsiteY156" fmla="*/ 129718 h 177757"/>
                <a:gd name="connsiteX157" fmla="*/ 47918 w 175912"/>
                <a:gd name="connsiteY157" fmla="*/ 132138 h 177757"/>
                <a:gd name="connsiteX158" fmla="*/ 51730 w 175912"/>
                <a:gd name="connsiteY158" fmla="*/ 139761 h 177757"/>
                <a:gd name="connsiteX159" fmla="*/ 52819 w 175912"/>
                <a:gd name="connsiteY159" fmla="*/ 143089 h 177757"/>
                <a:gd name="connsiteX160" fmla="*/ 53061 w 175912"/>
                <a:gd name="connsiteY160" fmla="*/ 145298 h 177757"/>
                <a:gd name="connsiteX161" fmla="*/ 53091 w 175912"/>
                <a:gd name="connsiteY161" fmla="*/ 149260 h 177757"/>
                <a:gd name="connsiteX162" fmla="*/ 53696 w 175912"/>
                <a:gd name="connsiteY162" fmla="*/ 151560 h 177757"/>
                <a:gd name="connsiteX163" fmla="*/ 56873 w 175912"/>
                <a:gd name="connsiteY163" fmla="*/ 159213 h 177757"/>
                <a:gd name="connsiteX164" fmla="*/ 57327 w 175912"/>
                <a:gd name="connsiteY164" fmla="*/ 161694 h 177757"/>
                <a:gd name="connsiteX165" fmla="*/ 57841 w 175912"/>
                <a:gd name="connsiteY165" fmla="*/ 163327 h 177757"/>
                <a:gd name="connsiteX166" fmla="*/ 57841 w 175912"/>
                <a:gd name="connsiteY166" fmla="*/ 164901 h 177757"/>
                <a:gd name="connsiteX167" fmla="*/ 56782 w 175912"/>
                <a:gd name="connsiteY167" fmla="*/ 167139 h 177757"/>
                <a:gd name="connsiteX168" fmla="*/ 55935 w 175912"/>
                <a:gd name="connsiteY168" fmla="*/ 168137 h 177757"/>
                <a:gd name="connsiteX169" fmla="*/ 55209 w 175912"/>
                <a:gd name="connsiteY169" fmla="*/ 168652 h 177757"/>
                <a:gd name="connsiteX170" fmla="*/ 54604 w 175912"/>
                <a:gd name="connsiteY170" fmla="*/ 169317 h 177757"/>
                <a:gd name="connsiteX171" fmla="*/ 54120 w 175912"/>
                <a:gd name="connsiteY171" fmla="*/ 170799 h 177757"/>
                <a:gd name="connsiteX172" fmla="*/ 54150 w 175912"/>
                <a:gd name="connsiteY172" fmla="*/ 171707 h 177757"/>
                <a:gd name="connsiteX173" fmla="*/ 54665 w 175912"/>
                <a:gd name="connsiteY173" fmla="*/ 173250 h 177757"/>
                <a:gd name="connsiteX174" fmla="*/ 54604 w 175912"/>
                <a:gd name="connsiteY174" fmla="*/ 174157 h 177757"/>
                <a:gd name="connsiteX175" fmla="*/ 56933 w 175912"/>
                <a:gd name="connsiteY175" fmla="*/ 176426 h 177757"/>
                <a:gd name="connsiteX176" fmla="*/ 58143 w 175912"/>
                <a:gd name="connsiteY176" fmla="*/ 177031 h 177757"/>
                <a:gd name="connsiteX177" fmla="*/ 59777 w 175912"/>
                <a:gd name="connsiteY177" fmla="*/ 176971 h 177757"/>
                <a:gd name="connsiteX178" fmla="*/ 60533 w 175912"/>
                <a:gd name="connsiteY178" fmla="*/ 176396 h 177757"/>
                <a:gd name="connsiteX179" fmla="*/ 61622 w 175912"/>
                <a:gd name="connsiteY179" fmla="*/ 174520 h 177757"/>
                <a:gd name="connsiteX180" fmla="*/ 62258 w 175912"/>
                <a:gd name="connsiteY180" fmla="*/ 174097 h 177757"/>
                <a:gd name="connsiteX181" fmla="*/ 63226 w 175912"/>
                <a:gd name="connsiteY181" fmla="*/ 174641 h 177757"/>
                <a:gd name="connsiteX182" fmla="*/ 65131 w 175912"/>
                <a:gd name="connsiteY182" fmla="*/ 177122 h 177757"/>
                <a:gd name="connsiteX183" fmla="*/ 66099 w 175912"/>
                <a:gd name="connsiteY183" fmla="*/ 177757 h 177757"/>
                <a:gd name="connsiteX184" fmla="*/ 68278 w 175912"/>
                <a:gd name="connsiteY184" fmla="*/ 177062 h 177757"/>
                <a:gd name="connsiteX185" fmla="*/ 69427 w 175912"/>
                <a:gd name="connsiteY185" fmla="*/ 175882 h 177757"/>
                <a:gd name="connsiteX186" fmla="*/ 70304 w 175912"/>
                <a:gd name="connsiteY186" fmla="*/ 174974 h 177757"/>
                <a:gd name="connsiteX187" fmla="*/ 71999 w 175912"/>
                <a:gd name="connsiteY187" fmla="*/ 172312 h 177757"/>
                <a:gd name="connsiteX188" fmla="*/ 73057 w 175912"/>
                <a:gd name="connsiteY188" fmla="*/ 169983 h 177757"/>
                <a:gd name="connsiteX189" fmla="*/ 73118 w 175912"/>
                <a:gd name="connsiteY189" fmla="*/ 169559 h 177757"/>
                <a:gd name="connsiteX190" fmla="*/ 73451 w 175912"/>
                <a:gd name="connsiteY190" fmla="*/ 166988 h 177757"/>
                <a:gd name="connsiteX191" fmla="*/ 73148 w 175912"/>
                <a:gd name="connsiteY191" fmla="*/ 165808 h 177757"/>
                <a:gd name="connsiteX192" fmla="*/ 72180 w 175912"/>
                <a:gd name="connsiteY192" fmla="*/ 162057 h 177757"/>
                <a:gd name="connsiteX193" fmla="*/ 72301 w 175912"/>
                <a:gd name="connsiteY193" fmla="*/ 159244 h 177757"/>
                <a:gd name="connsiteX194" fmla="*/ 73541 w 175912"/>
                <a:gd name="connsiteY194" fmla="*/ 153102 h 177757"/>
                <a:gd name="connsiteX195" fmla="*/ 74540 w 175912"/>
                <a:gd name="connsiteY195" fmla="*/ 150440 h 177757"/>
                <a:gd name="connsiteX196" fmla="*/ 76506 w 175912"/>
                <a:gd name="connsiteY196" fmla="*/ 148232 h 177757"/>
                <a:gd name="connsiteX197" fmla="*/ 79077 w 175912"/>
                <a:gd name="connsiteY197" fmla="*/ 146870 h 177757"/>
                <a:gd name="connsiteX198" fmla="*/ 88516 w 175912"/>
                <a:gd name="connsiteY198" fmla="*/ 143936 h 177757"/>
                <a:gd name="connsiteX199" fmla="*/ 95655 w 175912"/>
                <a:gd name="connsiteY199" fmla="*/ 141698 h 177757"/>
                <a:gd name="connsiteX200" fmla="*/ 98559 w 175912"/>
                <a:gd name="connsiteY200" fmla="*/ 140790 h 177757"/>
                <a:gd name="connsiteX201" fmla="*/ 101100 w 175912"/>
                <a:gd name="connsiteY201" fmla="*/ 139610 h 177757"/>
                <a:gd name="connsiteX202" fmla="*/ 102280 w 175912"/>
                <a:gd name="connsiteY202" fmla="*/ 138521 h 177757"/>
                <a:gd name="connsiteX203" fmla="*/ 105638 w 175912"/>
                <a:gd name="connsiteY203" fmla="*/ 135496 h 177757"/>
                <a:gd name="connsiteX204" fmla="*/ 108088 w 175912"/>
                <a:gd name="connsiteY204" fmla="*/ 134044 h 177757"/>
                <a:gd name="connsiteX205" fmla="*/ 108845 w 175912"/>
                <a:gd name="connsiteY205" fmla="*/ 134074 h 177757"/>
                <a:gd name="connsiteX206" fmla="*/ 109510 w 175912"/>
                <a:gd name="connsiteY206" fmla="*/ 134256 h 177757"/>
                <a:gd name="connsiteX207" fmla="*/ 110872 w 175912"/>
                <a:gd name="connsiteY207" fmla="*/ 134921 h 177757"/>
                <a:gd name="connsiteX208" fmla="*/ 114714 w 175912"/>
                <a:gd name="connsiteY208" fmla="*/ 137644 h 177757"/>
                <a:gd name="connsiteX209" fmla="*/ 118253 w 175912"/>
                <a:gd name="connsiteY209" fmla="*/ 140881 h 177757"/>
                <a:gd name="connsiteX210" fmla="*/ 119917 w 175912"/>
                <a:gd name="connsiteY210" fmla="*/ 143362 h 177757"/>
                <a:gd name="connsiteX211" fmla="*/ 120824 w 175912"/>
                <a:gd name="connsiteY211" fmla="*/ 145146 h 177757"/>
                <a:gd name="connsiteX212" fmla="*/ 121248 w 175912"/>
                <a:gd name="connsiteY212" fmla="*/ 145509 h 177757"/>
                <a:gd name="connsiteX213" fmla="*/ 122095 w 175912"/>
                <a:gd name="connsiteY213" fmla="*/ 146326 h 177757"/>
                <a:gd name="connsiteX214" fmla="*/ 122881 w 175912"/>
                <a:gd name="connsiteY214" fmla="*/ 146477 h 177757"/>
                <a:gd name="connsiteX215" fmla="*/ 127238 w 175912"/>
                <a:gd name="connsiteY215" fmla="*/ 147294 h 177757"/>
                <a:gd name="connsiteX216" fmla="*/ 128296 w 175912"/>
                <a:gd name="connsiteY216" fmla="*/ 147082 h 177757"/>
                <a:gd name="connsiteX217" fmla="*/ 128418 w 175912"/>
                <a:gd name="connsiteY217" fmla="*/ 146205 h 177757"/>
                <a:gd name="connsiteX218" fmla="*/ 128478 w 175912"/>
                <a:gd name="connsiteY218" fmla="*/ 145933 h 177757"/>
                <a:gd name="connsiteX219" fmla="*/ 128387 w 175912"/>
                <a:gd name="connsiteY219" fmla="*/ 143392 h 177757"/>
                <a:gd name="connsiteX220" fmla="*/ 128236 w 175912"/>
                <a:gd name="connsiteY220" fmla="*/ 142333 h 177757"/>
                <a:gd name="connsiteX221" fmla="*/ 127933 w 175912"/>
                <a:gd name="connsiteY221" fmla="*/ 141667 h 177757"/>
                <a:gd name="connsiteX222" fmla="*/ 127721 w 175912"/>
                <a:gd name="connsiteY222" fmla="*/ 141002 h 177757"/>
                <a:gd name="connsiteX223" fmla="*/ 127843 w 175912"/>
                <a:gd name="connsiteY223" fmla="*/ 139913 h 177757"/>
                <a:gd name="connsiteX224" fmla="*/ 133742 w 175912"/>
                <a:gd name="connsiteY224" fmla="*/ 131563 h 177757"/>
                <a:gd name="connsiteX225" fmla="*/ 134468 w 175912"/>
                <a:gd name="connsiteY225" fmla="*/ 131049 h 177757"/>
                <a:gd name="connsiteX226" fmla="*/ 135073 w 175912"/>
                <a:gd name="connsiteY226" fmla="*/ 130595 h 177757"/>
                <a:gd name="connsiteX227" fmla="*/ 136827 w 175912"/>
                <a:gd name="connsiteY227" fmla="*/ 130444 h 177757"/>
                <a:gd name="connsiteX228" fmla="*/ 140306 w 175912"/>
                <a:gd name="connsiteY228" fmla="*/ 131685 h 177757"/>
                <a:gd name="connsiteX229" fmla="*/ 141425 w 175912"/>
                <a:gd name="connsiteY229" fmla="*/ 131563 h 177757"/>
                <a:gd name="connsiteX230" fmla="*/ 141305 w 175912"/>
                <a:gd name="connsiteY230" fmla="*/ 130747 h 177757"/>
                <a:gd name="connsiteX231" fmla="*/ 140578 w 175912"/>
                <a:gd name="connsiteY231" fmla="*/ 129658 h 177757"/>
                <a:gd name="connsiteX232" fmla="*/ 140397 w 175912"/>
                <a:gd name="connsiteY232" fmla="*/ 128569 h 177757"/>
                <a:gd name="connsiteX233" fmla="*/ 142061 w 175912"/>
                <a:gd name="connsiteY233" fmla="*/ 127721 h 177757"/>
                <a:gd name="connsiteX234" fmla="*/ 143240 w 175912"/>
                <a:gd name="connsiteY234" fmla="*/ 128054 h 177757"/>
                <a:gd name="connsiteX235" fmla="*/ 144178 w 175912"/>
                <a:gd name="connsiteY235" fmla="*/ 128932 h 177757"/>
                <a:gd name="connsiteX236" fmla="*/ 145207 w 175912"/>
                <a:gd name="connsiteY236" fmla="*/ 129173 h 177757"/>
                <a:gd name="connsiteX237" fmla="*/ 145661 w 175912"/>
                <a:gd name="connsiteY237" fmla="*/ 128689 h 177757"/>
                <a:gd name="connsiteX238" fmla="*/ 146599 w 175912"/>
                <a:gd name="connsiteY238" fmla="*/ 127600 h 177757"/>
                <a:gd name="connsiteX239" fmla="*/ 148414 w 175912"/>
                <a:gd name="connsiteY239" fmla="*/ 128720 h 177757"/>
                <a:gd name="connsiteX240" fmla="*/ 150471 w 175912"/>
                <a:gd name="connsiteY240" fmla="*/ 128689 h 177757"/>
                <a:gd name="connsiteX241" fmla="*/ 154676 w 175912"/>
                <a:gd name="connsiteY241" fmla="*/ 127661 h 177757"/>
                <a:gd name="connsiteX242" fmla="*/ 154918 w 175912"/>
                <a:gd name="connsiteY242" fmla="*/ 127782 h 177757"/>
                <a:gd name="connsiteX243" fmla="*/ 153889 w 175912"/>
                <a:gd name="connsiteY243" fmla="*/ 124333 h 177757"/>
                <a:gd name="connsiteX244" fmla="*/ 149957 w 175912"/>
                <a:gd name="connsiteY244" fmla="*/ 118858 h 177757"/>
                <a:gd name="connsiteX245" fmla="*/ 150077 w 175912"/>
                <a:gd name="connsiteY245" fmla="*/ 115863 h 177757"/>
                <a:gd name="connsiteX246" fmla="*/ 152225 w 175912"/>
                <a:gd name="connsiteY246" fmla="*/ 113776 h 177757"/>
                <a:gd name="connsiteX247" fmla="*/ 158185 w 175912"/>
                <a:gd name="connsiteY247" fmla="*/ 112081 h 177757"/>
                <a:gd name="connsiteX248" fmla="*/ 160272 w 175912"/>
                <a:gd name="connsiteY248" fmla="*/ 110266 h 177757"/>
                <a:gd name="connsiteX249" fmla="*/ 160726 w 175912"/>
                <a:gd name="connsiteY249" fmla="*/ 108330 h 177757"/>
                <a:gd name="connsiteX250" fmla="*/ 160242 w 175912"/>
                <a:gd name="connsiteY250" fmla="*/ 104367 h 177757"/>
                <a:gd name="connsiteX251" fmla="*/ 160454 w 175912"/>
                <a:gd name="connsiteY251" fmla="*/ 102462 h 177757"/>
                <a:gd name="connsiteX252" fmla="*/ 161331 w 175912"/>
                <a:gd name="connsiteY252" fmla="*/ 101040 h 177757"/>
                <a:gd name="connsiteX253" fmla="*/ 165354 w 175912"/>
                <a:gd name="connsiteY253" fmla="*/ 97319 h 177757"/>
                <a:gd name="connsiteX254" fmla="*/ 170376 w 175912"/>
                <a:gd name="connsiteY254" fmla="*/ 89696 h 177757"/>
                <a:gd name="connsiteX255" fmla="*/ 171374 w 175912"/>
                <a:gd name="connsiteY255" fmla="*/ 86821 h 177757"/>
                <a:gd name="connsiteX256" fmla="*/ 171284 w 175912"/>
                <a:gd name="connsiteY256" fmla="*/ 86337 h 177757"/>
                <a:gd name="connsiteX257" fmla="*/ 170588 w 175912"/>
                <a:gd name="connsiteY257" fmla="*/ 85218 h 177757"/>
                <a:gd name="connsiteX258" fmla="*/ 170436 w 175912"/>
                <a:gd name="connsiteY258" fmla="*/ 84704 h 177757"/>
                <a:gd name="connsiteX259" fmla="*/ 170648 w 175912"/>
                <a:gd name="connsiteY259" fmla="*/ 84341 h 177757"/>
                <a:gd name="connsiteX260" fmla="*/ 171314 w 175912"/>
                <a:gd name="connsiteY260" fmla="*/ 84008 h 177757"/>
                <a:gd name="connsiteX261" fmla="*/ 171496 w 175912"/>
                <a:gd name="connsiteY261" fmla="*/ 83796 h 177757"/>
                <a:gd name="connsiteX262" fmla="*/ 171616 w 175912"/>
                <a:gd name="connsiteY262" fmla="*/ 83433 h 177757"/>
                <a:gd name="connsiteX263" fmla="*/ 172161 w 175912"/>
                <a:gd name="connsiteY263" fmla="*/ 80892 h 177757"/>
                <a:gd name="connsiteX264" fmla="*/ 172100 w 175912"/>
                <a:gd name="connsiteY264" fmla="*/ 80529 h 177757"/>
                <a:gd name="connsiteX265" fmla="*/ 173099 w 175912"/>
                <a:gd name="connsiteY265" fmla="*/ 79864 h 177757"/>
                <a:gd name="connsiteX266" fmla="*/ 174278 w 175912"/>
                <a:gd name="connsiteY266" fmla="*/ 79349 h 177757"/>
                <a:gd name="connsiteX267" fmla="*/ 175338 w 175912"/>
                <a:gd name="connsiteY267" fmla="*/ 78714 h 177757"/>
                <a:gd name="connsiteX268" fmla="*/ 175912 w 175912"/>
                <a:gd name="connsiteY268" fmla="*/ 77595 h 177757"/>
                <a:gd name="connsiteX269" fmla="*/ 175095 w 175912"/>
                <a:gd name="connsiteY269" fmla="*/ 74842 h 17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75912" h="177757">
                  <a:moveTo>
                    <a:pt x="175095" y="74842"/>
                  </a:moveTo>
                  <a:lnTo>
                    <a:pt x="173069" y="73602"/>
                  </a:lnTo>
                  <a:lnTo>
                    <a:pt x="172494" y="73269"/>
                  </a:lnTo>
                  <a:lnTo>
                    <a:pt x="169499" y="72634"/>
                  </a:lnTo>
                  <a:lnTo>
                    <a:pt x="167321" y="72694"/>
                  </a:lnTo>
                  <a:lnTo>
                    <a:pt x="162964" y="74509"/>
                  </a:lnTo>
                  <a:lnTo>
                    <a:pt x="161482" y="74509"/>
                  </a:lnTo>
                  <a:lnTo>
                    <a:pt x="159819" y="73480"/>
                  </a:lnTo>
                  <a:lnTo>
                    <a:pt x="156581" y="69729"/>
                  </a:lnTo>
                  <a:lnTo>
                    <a:pt x="155039" y="68489"/>
                  </a:lnTo>
                  <a:lnTo>
                    <a:pt x="152739" y="67794"/>
                  </a:lnTo>
                  <a:lnTo>
                    <a:pt x="142636" y="66493"/>
                  </a:lnTo>
                  <a:lnTo>
                    <a:pt x="140185" y="66553"/>
                  </a:lnTo>
                  <a:lnTo>
                    <a:pt x="138975" y="66583"/>
                  </a:lnTo>
                  <a:lnTo>
                    <a:pt x="137281" y="66130"/>
                  </a:lnTo>
                  <a:lnTo>
                    <a:pt x="136253" y="65494"/>
                  </a:lnTo>
                  <a:lnTo>
                    <a:pt x="136313" y="65131"/>
                  </a:lnTo>
                  <a:lnTo>
                    <a:pt x="136797" y="64738"/>
                  </a:lnTo>
                  <a:lnTo>
                    <a:pt x="137130" y="64133"/>
                  </a:lnTo>
                  <a:lnTo>
                    <a:pt x="137463" y="62197"/>
                  </a:lnTo>
                  <a:lnTo>
                    <a:pt x="138824" y="57962"/>
                  </a:lnTo>
                  <a:lnTo>
                    <a:pt x="139247" y="55844"/>
                  </a:lnTo>
                  <a:lnTo>
                    <a:pt x="139278" y="53212"/>
                  </a:lnTo>
                  <a:lnTo>
                    <a:pt x="139278" y="52547"/>
                  </a:lnTo>
                  <a:lnTo>
                    <a:pt x="138309" y="51578"/>
                  </a:lnTo>
                  <a:lnTo>
                    <a:pt x="136283" y="51518"/>
                  </a:lnTo>
                  <a:lnTo>
                    <a:pt x="133046" y="50792"/>
                  </a:lnTo>
                  <a:lnTo>
                    <a:pt x="132017" y="50217"/>
                  </a:lnTo>
                  <a:lnTo>
                    <a:pt x="130051" y="48674"/>
                  </a:lnTo>
                  <a:lnTo>
                    <a:pt x="128962" y="48070"/>
                  </a:lnTo>
                  <a:lnTo>
                    <a:pt x="127843" y="47827"/>
                  </a:lnTo>
                  <a:lnTo>
                    <a:pt x="125483" y="47858"/>
                  </a:lnTo>
                  <a:lnTo>
                    <a:pt x="124394" y="47555"/>
                  </a:lnTo>
                  <a:lnTo>
                    <a:pt x="121550" y="44500"/>
                  </a:lnTo>
                  <a:lnTo>
                    <a:pt x="120975" y="40507"/>
                  </a:lnTo>
                  <a:lnTo>
                    <a:pt x="120824" y="36604"/>
                  </a:lnTo>
                  <a:lnTo>
                    <a:pt x="119251" y="33791"/>
                  </a:lnTo>
                  <a:lnTo>
                    <a:pt x="117587" y="33549"/>
                  </a:lnTo>
                  <a:lnTo>
                    <a:pt x="116226" y="34456"/>
                  </a:lnTo>
                  <a:lnTo>
                    <a:pt x="114804" y="35152"/>
                  </a:lnTo>
                  <a:lnTo>
                    <a:pt x="113050" y="34214"/>
                  </a:lnTo>
                  <a:lnTo>
                    <a:pt x="112173" y="32520"/>
                  </a:lnTo>
                  <a:lnTo>
                    <a:pt x="110630" y="25895"/>
                  </a:lnTo>
                  <a:lnTo>
                    <a:pt x="109087" y="22961"/>
                  </a:lnTo>
                  <a:lnTo>
                    <a:pt x="107483" y="21811"/>
                  </a:lnTo>
                  <a:lnTo>
                    <a:pt x="100768" y="21478"/>
                  </a:lnTo>
                  <a:lnTo>
                    <a:pt x="98680" y="20752"/>
                  </a:lnTo>
                  <a:lnTo>
                    <a:pt x="97500" y="20117"/>
                  </a:lnTo>
                  <a:lnTo>
                    <a:pt x="89363" y="15731"/>
                  </a:lnTo>
                  <a:lnTo>
                    <a:pt x="81921" y="11738"/>
                  </a:lnTo>
                  <a:lnTo>
                    <a:pt x="81255" y="10709"/>
                  </a:lnTo>
                  <a:lnTo>
                    <a:pt x="81649" y="10588"/>
                  </a:lnTo>
                  <a:lnTo>
                    <a:pt x="81981" y="8954"/>
                  </a:lnTo>
                  <a:lnTo>
                    <a:pt x="82133" y="7109"/>
                  </a:lnTo>
                  <a:lnTo>
                    <a:pt x="82072" y="6444"/>
                  </a:lnTo>
                  <a:lnTo>
                    <a:pt x="83222" y="5475"/>
                  </a:lnTo>
                  <a:lnTo>
                    <a:pt x="84220" y="5778"/>
                  </a:lnTo>
                  <a:lnTo>
                    <a:pt x="84553" y="5778"/>
                  </a:lnTo>
                  <a:lnTo>
                    <a:pt x="83585" y="3993"/>
                  </a:lnTo>
                  <a:lnTo>
                    <a:pt x="82919" y="3146"/>
                  </a:lnTo>
                  <a:lnTo>
                    <a:pt x="81891" y="2178"/>
                  </a:lnTo>
                  <a:lnTo>
                    <a:pt x="79985" y="696"/>
                  </a:lnTo>
                  <a:lnTo>
                    <a:pt x="79017" y="424"/>
                  </a:lnTo>
                  <a:lnTo>
                    <a:pt x="77474" y="0"/>
                  </a:lnTo>
                  <a:lnTo>
                    <a:pt x="74963" y="272"/>
                  </a:lnTo>
                  <a:lnTo>
                    <a:pt x="72543" y="1301"/>
                  </a:lnTo>
                  <a:lnTo>
                    <a:pt x="64647" y="6776"/>
                  </a:lnTo>
                  <a:lnTo>
                    <a:pt x="62439" y="7563"/>
                  </a:lnTo>
                  <a:lnTo>
                    <a:pt x="59142" y="7684"/>
                  </a:lnTo>
                  <a:lnTo>
                    <a:pt x="58325" y="8228"/>
                  </a:lnTo>
                  <a:lnTo>
                    <a:pt x="57659" y="9892"/>
                  </a:lnTo>
                  <a:lnTo>
                    <a:pt x="57932" y="11314"/>
                  </a:lnTo>
                  <a:lnTo>
                    <a:pt x="59111" y="13674"/>
                  </a:lnTo>
                  <a:lnTo>
                    <a:pt x="59959" y="16426"/>
                  </a:lnTo>
                  <a:lnTo>
                    <a:pt x="60533" y="17636"/>
                  </a:lnTo>
                  <a:lnTo>
                    <a:pt x="61138" y="18453"/>
                  </a:lnTo>
                  <a:lnTo>
                    <a:pt x="62015" y="18695"/>
                  </a:lnTo>
                  <a:lnTo>
                    <a:pt x="63104" y="18574"/>
                  </a:lnTo>
                  <a:lnTo>
                    <a:pt x="64133" y="18635"/>
                  </a:lnTo>
                  <a:lnTo>
                    <a:pt x="64859" y="19391"/>
                  </a:lnTo>
                  <a:lnTo>
                    <a:pt x="64436" y="22477"/>
                  </a:lnTo>
                  <a:lnTo>
                    <a:pt x="62318" y="26682"/>
                  </a:lnTo>
                  <a:lnTo>
                    <a:pt x="59656" y="30463"/>
                  </a:lnTo>
                  <a:lnTo>
                    <a:pt x="57538" y="32369"/>
                  </a:lnTo>
                  <a:lnTo>
                    <a:pt x="56328" y="32399"/>
                  </a:lnTo>
                  <a:lnTo>
                    <a:pt x="55179" y="32097"/>
                  </a:lnTo>
                  <a:lnTo>
                    <a:pt x="54120" y="32066"/>
                  </a:lnTo>
                  <a:lnTo>
                    <a:pt x="53212" y="32944"/>
                  </a:lnTo>
                  <a:lnTo>
                    <a:pt x="52244" y="34880"/>
                  </a:lnTo>
                  <a:lnTo>
                    <a:pt x="51700" y="35696"/>
                  </a:lnTo>
                  <a:lnTo>
                    <a:pt x="50913" y="36393"/>
                  </a:lnTo>
                  <a:lnTo>
                    <a:pt x="48977" y="37028"/>
                  </a:lnTo>
                  <a:lnTo>
                    <a:pt x="47192" y="37028"/>
                  </a:lnTo>
                  <a:lnTo>
                    <a:pt x="45468" y="37512"/>
                  </a:lnTo>
                  <a:lnTo>
                    <a:pt x="43774" y="39569"/>
                  </a:lnTo>
                  <a:lnTo>
                    <a:pt x="42897" y="43078"/>
                  </a:lnTo>
                  <a:lnTo>
                    <a:pt x="44500" y="44681"/>
                  </a:lnTo>
                  <a:lnTo>
                    <a:pt x="46739" y="45982"/>
                  </a:lnTo>
                  <a:lnTo>
                    <a:pt x="47283" y="47464"/>
                  </a:lnTo>
                  <a:lnTo>
                    <a:pt x="47707" y="48674"/>
                  </a:lnTo>
                  <a:lnTo>
                    <a:pt x="45438" y="51458"/>
                  </a:lnTo>
                  <a:lnTo>
                    <a:pt x="40598" y="53364"/>
                  </a:lnTo>
                  <a:lnTo>
                    <a:pt x="32278" y="54997"/>
                  </a:lnTo>
                  <a:lnTo>
                    <a:pt x="24141" y="56298"/>
                  </a:lnTo>
                  <a:lnTo>
                    <a:pt x="20269" y="57598"/>
                  </a:lnTo>
                  <a:lnTo>
                    <a:pt x="19422" y="58113"/>
                  </a:lnTo>
                  <a:lnTo>
                    <a:pt x="18574" y="59504"/>
                  </a:lnTo>
                  <a:lnTo>
                    <a:pt x="18514" y="60714"/>
                  </a:lnTo>
                  <a:lnTo>
                    <a:pt x="18665" y="61864"/>
                  </a:lnTo>
                  <a:lnTo>
                    <a:pt x="18514" y="63074"/>
                  </a:lnTo>
                  <a:lnTo>
                    <a:pt x="16003" y="65676"/>
                  </a:lnTo>
                  <a:lnTo>
                    <a:pt x="12585" y="64768"/>
                  </a:lnTo>
                  <a:lnTo>
                    <a:pt x="8803" y="62651"/>
                  </a:lnTo>
                  <a:lnTo>
                    <a:pt x="5203" y="61803"/>
                  </a:lnTo>
                  <a:lnTo>
                    <a:pt x="4084" y="62318"/>
                  </a:lnTo>
                  <a:lnTo>
                    <a:pt x="3146" y="63014"/>
                  </a:lnTo>
                  <a:lnTo>
                    <a:pt x="1028" y="64556"/>
                  </a:lnTo>
                  <a:lnTo>
                    <a:pt x="212" y="65615"/>
                  </a:lnTo>
                  <a:lnTo>
                    <a:pt x="0" y="68096"/>
                  </a:lnTo>
                  <a:lnTo>
                    <a:pt x="1150" y="70002"/>
                  </a:lnTo>
                  <a:lnTo>
                    <a:pt x="1240" y="70123"/>
                  </a:lnTo>
                  <a:lnTo>
                    <a:pt x="7019" y="75175"/>
                  </a:lnTo>
                  <a:lnTo>
                    <a:pt x="7775" y="76476"/>
                  </a:lnTo>
                  <a:lnTo>
                    <a:pt x="7986" y="76899"/>
                  </a:lnTo>
                  <a:lnTo>
                    <a:pt x="6656" y="80136"/>
                  </a:lnTo>
                  <a:lnTo>
                    <a:pt x="5506" y="82163"/>
                  </a:lnTo>
                  <a:lnTo>
                    <a:pt x="5143" y="83191"/>
                  </a:lnTo>
                  <a:lnTo>
                    <a:pt x="5113" y="85218"/>
                  </a:lnTo>
                  <a:lnTo>
                    <a:pt x="5415" y="86973"/>
                  </a:lnTo>
                  <a:lnTo>
                    <a:pt x="5264" y="88606"/>
                  </a:lnTo>
                  <a:lnTo>
                    <a:pt x="4084" y="90240"/>
                  </a:lnTo>
                  <a:lnTo>
                    <a:pt x="6141" y="92327"/>
                  </a:lnTo>
                  <a:lnTo>
                    <a:pt x="11163" y="94899"/>
                  </a:lnTo>
                  <a:lnTo>
                    <a:pt x="12857" y="96895"/>
                  </a:lnTo>
                  <a:lnTo>
                    <a:pt x="12887" y="96895"/>
                  </a:lnTo>
                  <a:lnTo>
                    <a:pt x="12887" y="96925"/>
                  </a:lnTo>
                  <a:lnTo>
                    <a:pt x="15731" y="103218"/>
                  </a:lnTo>
                  <a:lnTo>
                    <a:pt x="16275" y="103914"/>
                  </a:lnTo>
                  <a:lnTo>
                    <a:pt x="17637" y="105124"/>
                  </a:lnTo>
                  <a:lnTo>
                    <a:pt x="18121" y="106092"/>
                  </a:lnTo>
                  <a:lnTo>
                    <a:pt x="18090" y="107120"/>
                  </a:lnTo>
                  <a:lnTo>
                    <a:pt x="17062" y="108603"/>
                  </a:lnTo>
                  <a:lnTo>
                    <a:pt x="16941" y="109389"/>
                  </a:lnTo>
                  <a:lnTo>
                    <a:pt x="17395" y="110175"/>
                  </a:lnTo>
                  <a:lnTo>
                    <a:pt x="18968" y="111416"/>
                  </a:lnTo>
                  <a:lnTo>
                    <a:pt x="19543" y="112172"/>
                  </a:lnTo>
                  <a:lnTo>
                    <a:pt x="19785" y="113140"/>
                  </a:lnTo>
                  <a:lnTo>
                    <a:pt x="19603" y="114804"/>
                  </a:lnTo>
                  <a:lnTo>
                    <a:pt x="19754" y="115712"/>
                  </a:lnTo>
                  <a:lnTo>
                    <a:pt x="20632" y="117769"/>
                  </a:lnTo>
                  <a:lnTo>
                    <a:pt x="21448" y="118616"/>
                  </a:lnTo>
                  <a:lnTo>
                    <a:pt x="22658" y="118767"/>
                  </a:lnTo>
                  <a:lnTo>
                    <a:pt x="29525" y="118616"/>
                  </a:lnTo>
                  <a:lnTo>
                    <a:pt x="31068" y="118858"/>
                  </a:lnTo>
                  <a:lnTo>
                    <a:pt x="43502" y="127268"/>
                  </a:lnTo>
                  <a:lnTo>
                    <a:pt x="45196" y="128932"/>
                  </a:lnTo>
                  <a:lnTo>
                    <a:pt x="46013" y="129718"/>
                  </a:lnTo>
                  <a:lnTo>
                    <a:pt x="47918" y="132138"/>
                  </a:lnTo>
                  <a:lnTo>
                    <a:pt x="51730" y="139761"/>
                  </a:lnTo>
                  <a:lnTo>
                    <a:pt x="52819" y="143089"/>
                  </a:lnTo>
                  <a:lnTo>
                    <a:pt x="53061" y="145298"/>
                  </a:lnTo>
                  <a:lnTo>
                    <a:pt x="53091" y="149260"/>
                  </a:lnTo>
                  <a:lnTo>
                    <a:pt x="53696" y="151560"/>
                  </a:lnTo>
                  <a:lnTo>
                    <a:pt x="56873" y="159213"/>
                  </a:lnTo>
                  <a:lnTo>
                    <a:pt x="57327" y="161694"/>
                  </a:lnTo>
                  <a:lnTo>
                    <a:pt x="57841" y="163327"/>
                  </a:lnTo>
                  <a:lnTo>
                    <a:pt x="57841" y="164901"/>
                  </a:lnTo>
                  <a:lnTo>
                    <a:pt x="56782" y="167139"/>
                  </a:lnTo>
                  <a:lnTo>
                    <a:pt x="55935" y="168137"/>
                  </a:lnTo>
                  <a:lnTo>
                    <a:pt x="55209" y="168652"/>
                  </a:lnTo>
                  <a:lnTo>
                    <a:pt x="54604" y="169317"/>
                  </a:lnTo>
                  <a:lnTo>
                    <a:pt x="54120" y="170799"/>
                  </a:lnTo>
                  <a:lnTo>
                    <a:pt x="54150" y="171707"/>
                  </a:lnTo>
                  <a:lnTo>
                    <a:pt x="54665" y="173250"/>
                  </a:lnTo>
                  <a:lnTo>
                    <a:pt x="54604" y="174157"/>
                  </a:lnTo>
                  <a:lnTo>
                    <a:pt x="56933" y="176426"/>
                  </a:lnTo>
                  <a:lnTo>
                    <a:pt x="58143" y="177031"/>
                  </a:lnTo>
                  <a:lnTo>
                    <a:pt x="59777" y="176971"/>
                  </a:lnTo>
                  <a:lnTo>
                    <a:pt x="60533" y="176396"/>
                  </a:lnTo>
                  <a:lnTo>
                    <a:pt x="61622" y="174520"/>
                  </a:lnTo>
                  <a:lnTo>
                    <a:pt x="62258" y="174097"/>
                  </a:lnTo>
                  <a:lnTo>
                    <a:pt x="63226" y="174641"/>
                  </a:lnTo>
                  <a:lnTo>
                    <a:pt x="65131" y="177122"/>
                  </a:lnTo>
                  <a:lnTo>
                    <a:pt x="66099" y="177757"/>
                  </a:lnTo>
                  <a:lnTo>
                    <a:pt x="68278" y="177062"/>
                  </a:lnTo>
                  <a:lnTo>
                    <a:pt x="69427" y="175882"/>
                  </a:lnTo>
                  <a:lnTo>
                    <a:pt x="70304" y="174974"/>
                  </a:lnTo>
                  <a:lnTo>
                    <a:pt x="71999" y="172312"/>
                  </a:lnTo>
                  <a:lnTo>
                    <a:pt x="73057" y="169983"/>
                  </a:lnTo>
                  <a:lnTo>
                    <a:pt x="73118" y="169559"/>
                  </a:lnTo>
                  <a:lnTo>
                    <a:pt x="73451" y="166988"/>
                  </a:lnTo>
                  <a:lnTo>
                    <a:pt x="73148" y="165808"/>
                  </a:lnTo>
                  <a:lnTo>
                    <a:pt x="72180" y="162057"/>
                  </a:lnTo>
                  <a:lnTo>
                    <a:pt x="72301" y="159244"/>
                  </a:lnTo>
                  <a:lnTo>
                    <a:pt x="73541" y="153102"/>
                  </a:lnTo>
                  <a:lnTo>
                    <a:pt x="74540" y="150440"/>
                  </a:lnTo>
                  <a:lnTo>
                    <a:pt x="76506" y="148232"/>
                  </a:lnTo>
                  <a:lnTo>
                    <a:pt x="79077" y="146870"/>
                  </a:lnTo>
                  <a:lnTo>
                    <a:pt x="88516" y="143936"/>
                  </a:lnTo>
                  <a:lnTo>
                    <a:pt x="95655" y="141698"/>
                  </a:lnTo>
                  <a:lnTo>
                    <a:pt x="98559" y="140790"/>
                  </a:lnTo>
                  <a:lnTo>
                    <a:pt x="101100" y="139610"/>
                  </a:lnTo>
                  <a:lnTo>
                    <a:pt x="102280" y="138521"/>
                  </a:lnTo>
                  <a:lnTo>
                    <a:pt x="105638" y="135496"/>
                  </a:lnTo>
                  <a:lnTo>
                    <a:pt x="108088" y="134044"/>
                  </a:lnTo>
                  <a:lnTo>
                    <a:pt x="108845" y="134074"/>
                  </a:lnTo>
                  <a:lnTo>
                    <a:pt x="109510" y="134256"/>
                  </a:lnTo>
                  <a:lnTo>
                    <a:pt x="110872" y="134921"/>
                  </a:lnTo>
                  <a:lnTo>
                    <a:pt x="114714" y="137644"/>
                  </a:lnTo>
                  <a:lnTo>
                    <a:pt x="118253" y="140881"/>
                  </a:lnTo>
                  <a:lnTo>
                    <a:pt x="119917" y="143362"/>
                  </a:lnTo>
                  <a:lnTo>
                    <a:pt x="120824" y="145146"/>
                  </a:lnTo>
                  <a:lnTo>
                    <a:pt x="121248" y="145509"/>
                  </a:lnTo>
                  <a:lnTo>
                    <a:pt x="122095" y="146326"/>
                  </a:lnTo>
                  <a:lnTo>
                    <a:pt x="122881" y="146477"/>
                  </a:lnTo>
                  <a:lnTo>
                    <a:pt x="127238" y="147294"/>
                  </a:lnTo>
                  <a:lnTo>
                    <a:pt x="128296" y="147082"/>
                  </a:lnTo>
                  <a:lnTo>
                    <a:pt x="128418" y="146205"/>
                  </a:lnTo>
                  <a:lnTo>
                    <a:pt x="128478" y="145933"/>
                  </a:lnTo>
                  <a:lnTo>
                    <a:pt x="128387" y="143392"/>
                  </a:lnTo>
                  <a:lnTo>
                    <a:pt x="128236" y="142333"/>
                  </a:lnTo>
                  <a:lnTo>
                    <a:pt x="127933" y="141667"/>
                  </a:lnTo>
                  <a:lnTo>
                    <a:pt x="127721" y="141002"/>
                  </a:lnTo>
                  <a:lnTo>
                    <a:pt x="127843" y="139913"/>
                  </a:lnTo>
                  <a:lnTo>
                    <a:pt x="133742" y="131563"/>
                  </a:lnTo>
                  <a:lnTo>
                    <a:pt x="134468" y="131049"/>
                  </a:lnTo>
                  <a:lnTo>
                    <a:pt x="135073" y="130595"/>
                  </a:lnTo>
                  <a:lnTo>
                    <a:pt x="136827" y="130444"/>
                  </a:lnTo>
                  <a:lnTo>
                    <a:pt x="140306" y="131685"/>
                  </a:lnTo>
                  <a:lnTo>
                    <a:pt x="141425" y="131563"/>
                  </a:lnTo>
                  <a:lnTo>
                    <a:pt x="141305" y="130747"/>
                  </a:lnTo>
                  <a:lnTo>
                    <a:pt x="140578" y="129658"/>
                  </a:lnTo>
                  <a:lnTo>
                    <a:pt x="140397" y="128569"/>
                  </a:lnTo>
                  <a:lnTo>
                    <a:pt x="142061" y="127721"/>
                  </a:lnTo>
                  <a:lnTo>
                    <a:pt x="143240" y="128054"/>
                  </a:lnTo>
                  <a:lnTo>
                    <a:pt x="144178" y="128932"/>
                  </a:lnTo>
                  <a:lnTo>
                    <a:pt x="145207" y="129173"/>
                  </a:lnTo>
                  <a:lnTo>
                    <a:pt x="145661" y="128689"/>
                  </a:lnTo>
                  <a:lnTo>
                    <a:pt x="146599" y="127600"/>
                  </a:lnTo>
                  <a:lnTo>
                    <a:pt x="148414" y="128720"/>
                  </a:lnTo>
                  <a:lnTo>
                    <a:pt x="150471" y="128689"/>
                  </a:lnTo>
                  <a:lnTo>
                    <a:pt x="154676" y="127661"/>
                  </a:lnTo>
                  <a:lnTo>
                    <a:pt x="154918" y="127782"/>
                  </a:lnTo>
                  <a:lnTo>
                    <a:pt x="153889" y="124333"/>
                  </a:lnTo>
                  <a:lnTo>
                    <a:pt x="149957" y="118858"/>
                  </a:lnTo>
                  <a:lnTo>
                    <a:pt x="150077" y="115863"/>
                  </a:lnTo>
                  <a:lnTo>
                    <a:pt x="152225" y="113776"/>
                  </a:lnTo>
                  <a:lnTo>
                    <a:pt x="158185" y="112081"/>
                  </a:lnTo>
                  <a:lnTo>
                    <a:pt x="160272" y="110266"/>
                  </a:lnTo>
                  <a:lnTo>
                    <a:pt x="160726" y="108330"/>
                  </a:lnTo>
                  <a:lnTo>
                    <a:pt x="160242" y="104367"/>
                  </a:lnTo>
                  <a:lnTo>
                    <a:pt x="160454" y="102462"/>
                  </a:lnTo>
                  <a:lnTo>
                    <a:pt x="161331" y="101040"/>
                  </a:lnTo>
                  <a:lnTo>
                    <a:pt x="165354" y="97319"/>
                  </a:lnTo>
                  <a:lnTo>
                    <a:pt x="170376" y="89696"/>
                  </a:lnTo>
                  <a:lnTo>
                    <a:pt x="171374" y="86821"/>
                  </a:lnTo>
                  <a:lnTo>
                    <a:pt x="171284" y="86337"/>
                  </a:lnTo>
                  <a:lnTo>
                    <a:pt x="170588" y="85218"/>
                  </a:lnTo>
                  <a:lnTo>
                    <a:pt x="170436" y="84704"/>
                  </a:lnTo>
                  <a:lnTo>
                    <a:pt x="170648" y="84341"/>
                  </a:lnTo>
                  <a:lnTo>
                    <a:pt x="171314" y="84008"/>
                  </a:lnTo>
                  <a:lnTo>
                    <a:pt x="171496" y="83796"/>
                  </a:lnTo>
                  <a:lnTo>
                    <a:pt x="171616" y="83433"/>
                  </a:lnTo>
                  <a:lnTo>
                    <a:pt x="172161" y="80892"/>
                  </a:lnTo>
                  <a:lnTo>
                    <a:pt x="172100" y="80529"/>
                  </a:lnTo>
                  <a:lnTo>
                    <a:pt x="173099" y="79864"/>
                  </a:lnTo>
                  <a:lnTo>
                    <a:pt x="174278" y="79349"/>
                  </a:lnTo>
                  <a:lnTo>
                    <a:pt x="175338" y="78714"/>
                  </a:lnTo>
                  <a:lnTo>
                    <a:pt x="175912" y="77595"/>
                  </a:lnTo>
                  <a:lnTo>
                    <a:pt x="175095" y="74842"/>
                  </a:lnTo>
                  <a:close/>
                </a:path>
              </a:pathLst>
            </a:custGeom>
            <a:solidFill>
              <a:srgbClr val="96A3AC"/>
            </a:solidFill>
            <a:ln w="3175" cap="flat">
              <a:solidFill>
                <a:schemeClr val="bg1"/>
              </a:solidFill>
              <a:prstDash val="solid"/>
              <a:miter/>
            </a:ln>
          </p:spPr>
          <p:txBody>
            <a:bodyPr rtlCol="0" anchor="ctr"/>
            <a:lstStyle/>
            <a:p>
              <a:endParaRPr lang="en-ID"/>
            </a:p>
          </p:txBody>
        </p:sp>
        <p:sp>
          <p:nvSpPr>
            <p:cNvPr id="42" name="Freeform: Shape 41">
              <a:extLst>
                <a:ext uri="{FF2B5EF4-FFF2-40B4-BE49-F238E27FC236}">
                  <a16:creationId xmlns:a16="http://schemas.microsoft.com/office/drawing/2014/main" id="{6ED67138-20DC-C268-4866-B5EC4EAD252F}"/>
                </a:ext>
              </a:extLst>
            </p:cNvPr>
            <p:cNvSpPr/>
            <p:nvPr/>
          </p:nvSpPr>
          <p:spPr>
            <a:xfrm>
              <a:off x="9723143" y="4757422"/>
              <a:ext cx="136734" cy="138169"/>
            </a:xfrm>
            <a:custGeom>
              <a:avLst/>
              <a:gdLst>
                <a:gd name="connsiteX0" fmla="*/ 175095 w 175912"/>
                <a:gd name="connsiteY0" fmla="*/ 74842 h 177757"/>
                <a:gd name="connsiteX1" fmla="*/ 173069 w 175912"/>
                <a:gd name="connsiteY1" fmla="*/ 73602 h 177757"/>
                <a:gd name="connsiteX2" fmla="*/ 172494 w 175912"/>
                <a:gd name="connsiteY2" fmla="*/ 73269 h 177757"/>
                <a:gd name="connsiteX3" fmla="*/ 169499 w 175912"/>
                <a:gd name="connsiteY3" fmla="*/ 72634 h 177757"/>
                <a:gd name="connsiteX4" fmla="*/ 167321 w 175912"/>
                <a:gd name="connsiteY4" fmla="*/ 72694 h 177757"/>
                <a:gd name="connsiteX5" fmla="*/ 162964 w 175912"/>
                <a:gd name="connsiteY5" fmla="*/ 74509 h 177757"/>
                <a:gd name="connsiteX6" fmla="*/ 161482 w 175912"/>
                <a:gd name="connsiteY6" fmla="*/ 74509 h 177757"/>
                <a:gd name="connsiteX7" fmla="*/ 159819 w 175912"/>
                <a:gd name="connsiteY7" fmla="*/ 73480 h 177757"/>
                <a:gd name="connsiteX8" fmla="*/ 156581 w 175912"/>
                <a:gd name="connsiteY8" fmla="*/ 69729 h 177757"/>
                <a:gd name="connsiteX9" fmla="*/ 155039 w 175912"/>
                <a:gd name="connsiteY9" fmla="*/ 68489 h 177757"/>
                <a:gd name="connsiteX10" fmla="*/ 152739 w 175912"/>
                <a:gd name="connsiteY10" fmla="*/ 67794 h 177757"/>
                <a:gd name="connsiteX11" fmla="*/ 142636 w 175912"/>
                <a:gd name="connsiteY11" fmla="*/ 66493 h 177757"/>
                <a:gd name="connsiteX12" fmla="*/ 140185 w 175912"/>
                <a:gd name="connsiteY12" fmla="*/ 66553 h 177757"/>
                <a:gd name="connsiteX13" fmla="*/ 138975 w 175912"/>
                <a:gd name="connsiteY13" fmla="*/ 66583 h 177757"/>
                <a:gd name="connsiteX14" fmla="*/ 137281 w 175912"/>
                <a:gd name="connsiteY14" fmla="*/ 66130 h 177757"/>
                <a:gd name="connsiteX15" fmla="*/ 136253 w 175912"/>
                <a:gd name="connsiteY15" fmla="*/ 65494 h 177757"/>
                <a:gd name="connsiteX16" fmla="*/ 136313 w 175912"/>
                <a:gd name="connsiteY16" fmla="*/ 65131 h 177757"/>
                <a:gd name="connsiteX17" fmla="*/ 136797 w 175912"/>
                <a:gd name="connsiteY17" fmla="*/ 64738 h 177757"/>
                <a:gd name="connsiteX18" fmla="*/ 137130 w 175912"/>
                <a:gd name="connsiteY18" fmla="*/ 64133 h 177757"/>
                <a:gd name="connsiteX19" fmla="*/ 137463 w 175912"/>
                <a:gd name="connsiteY19" fmla="*/ 62197 h 177757"/>
                <a:gd name="connsiteX20" fmla="*/ 138824 w 175912"/>
                <a:gd name="connsiteY20" fmla="*/ 57962 h 177757"/>
                <a:gd name="connsiteX21" fmla="*/ 139247 w 175912"/>
                <a:gd name="connsiteY21" fmla="*/ 55844 h 177757"/>
                <a:gd name="connsiteX22" fmla="*/ 139278 w 175912"/>
                <a:gd name="connsiteY22" fmla="*/ 53212 h 177757"/>
                <a:gd name="connsiteX23" fmla="*/ 139278 w 175912"/>
                <a:gd name="connsiteY23" fmla="*/ 52547 h 177757"/>
                <a:gd name="connsiteX24" fmla="*/ 138309 w 175912"/>
                <a:gd name="connsiteY24" fmla="*/ 51578 h 177757"/>
                <a:gd name="connsiteX25" fmla="*/ 136283 w 175912"/>
                <a:gd name="connsiteY25" fmla="*/ 51518 h 177757"/>
                <a:gd name="connsiteX26" fmla="*/ 133046 w 175912"/>
                <a:gd name="connsiteY26" fmla="*/ 50792 h 177757"/>
                <a:gd name="connsiteX27" fmla="*/ 132017 w 175912"/>
                <a:gd name="connsiteY27" fmla="*/ 50217 h 177757"/>
                <a:gd name="connsiteX28" fmla="*/ 130051 w 175912"/>
                <a:gd name="connsiteY28" fmla="*/ 48674 h 177757"/>
                <a:gd name="connsiteX29" fmla="*/ 128962 w 175912"/>
                <a:gd name="connsiteY29" fmla="*/ 48070 h 177757"/>
                <a:gd name="connsiteX30" fmla="*/ 127843 w 175912"/>
                <a:gd name="connsiteY30" fmla="*/ 47827 h 177757"/>
                <a:gd name="connsiteX31" fmla="*/ 125483 w 175912"/>
                <a:gd name="connsiteY31" fmla="*/ 47858 h 177757"/>
                <a:gd name="connsiteX32" fmla="*/ 124394 w 175912"/>
                <a:gd name="connsiteY32" fmla="*/ 47555 h 177757"/>
                <a:gd name="connsiteX33" fmla="*/ 121550 w 175912"/>
                <a:gd name="connsiteY33" fmla="*/ 44500 h 177757"/>
                <a:gd name="connsiteX34" fmla="*/ 120975 w 175912"/>
                <a:gd name="connsiteY34" fmla="*/ 40507 h 177757"/>
                <a:gd name="connsiteX35" fmla="*/ 120824 w 175912"/>
                <a:gd name="connsiteY35" fmla="*/ 36604 h 177757"/>
                <a:gd name="connsiteX36" fmla="*/ 119251 w 175912"/>
                <a:gd name="connsiteY36" fmla="*/ 33791 h 177757"/>
                <a:gd name="connsiteX37" fmla="*/ 117587 w 175912"/>
                <a:gd name="connsiteY37" fmla="*/ 33549 h 177757"/>
                <a:gd name="connsiteX38" fmla="*/ 116226 w 175912"/>
                <a:gd name="connsiteY38" fmla="*/ 34456 h 177757"/>
                <a:gd name="connsiteX39" fmla="*/ 114804 w 175912"/>
                <a:gd name="connsiteY39" fmla="*/ 35152 h 177757"/>
                <a:gd name="connsiteX40" fmla="*/ 113050 w 175912"/>
                <a:gd name="connsiteY40" fmla="*/ 34214 h 177757"/>
                <a:gd name="connsiteX41" fmla="*/ 112173 w 175912"/>
                <a:gd name="connsiteY41" fmla="*/ 32520 h 177757"/>
                <a:gd name="connsiteX42" fmla="*/ 110630 w 175912"/>
                <a:gd name="connsiteY42" fmla="*/ 25895 h 177757"/>
                <a:gd name="connsiteX43" fmla="*/ 109087 w 175912"/>
                <a:gd name="connsiteY43" fmla="*/ 22961 h 177757"/>
                <a:gd name="connsiteX44" fmla="*/ 107483 w 175912"/>
                <a:gd name="connsiteY44" fmla="*/ 21811 h 177757"/>
                <a:gd name="connsiteX45" fmla="*/ 100768 w 175912"/>
                <a:gd name="connsiteY45" fmla="*/ 21478 h 177757"/>
                <a:gd name="connsiteX46" fmla="*/ 98680 w 175912"/>
                <a:gd name="connsiteY46" fmla="*/ 20752 h 177757"/>
                <a:gd name="connsiteX47" fmla="*/ 97500 w 175912"/>
                <a:gd name="connsiteY47" fmla="*/ 20117 h 177757"/>
                <a:gd name="connsiteX48" fmla="*/ 89363 w 175912"/>
                <a:gd name="connsiteY48" fmla="*/ 15731 h 177757"/>
                <a:gd name="connsiteX49" fmla="*/ 81921 w 175912"/>
                <a:gd name="connsiteY49" fmla="*/ 11738 h 177757"/>
                <a:gd name="connsiteX50" fmla="*/ 81255 w 175912"/>
                <a:gd name="connsiteY50" fmla="*/ 10709 h 177757"/>
                <a:gd name="connsiteX51" fmla="*/ 81649 w 175912"/>
                <a:gd name="connsiteY51" fmla="*/ 10588 h 177757"/>
                <a:gd name="connsiteX52" fmla="*/ 81981 w 175912"/>
                <a:gd name="connsiteY52" fmla="*/ 8954 h 177757"/>
                <a:gd name="connsiteX53" fmla="*/ 82133 w 175912"/>
                <a:gd name="connsiteY53" fmla="*/ 7109 h 177757"/>
                <a:gd name="connsiteX54" fmla="*/ 82072 w 175912"/>
                <a:gd name="connsiteY54" fmla="*/ 6444 h 177757"/>
                <a:gd name="connsiteX55" fmla="*/ 83222 w 175912"/>
                <a:gd name="connsiteY55" fmla="*/ 5475 h 177757"/>
                <a:gd name="connsiteX56" fmla="*/ 84220 w 175912"/>
                <a:gd name="connsiteY56" fmla="*/ 5778 h 177757"/>
                <a:gd name="connsiteX57" fmla="*/ 84553 w 175912"/>
                <a:gd name="connsiteY57" fmla="*/ 5778 h 177757"/>
                <a:gd name="connsiteX58" fmla="*/ 83585 w 175912"/>
                <a:gd name="connsiteY58" fmla="*/ 3993 h 177757"/>
                <a:gd name="connsiteX59" fmla="*/ 82919 w 175912"/>
                <a:gd name="connsiteY59" fmla="*/ 3146 h 177757"/>
                <a:gd name="connsiteX60" fmla="*/ 81891 w 175912"/>
                <a:gd name="connsiteY60" fmla="*/ 2178 h 177757"/>
                <a:gd name="connsiteX61" fmla="*/ 79985 w 175912"/>
                <a:gd name="connsiteY61" fmla="*/ 696 h 177757"/>
                <a:gd name="connsiteX62" fmla="*/ 79017 w 175912"/>
                <a:gd name="connsiteY62" fmla="*/ 424 h 177757"/>
                <a:gd name="connsiteX63" fmla="*/ 77474 w 175912"/>
                <a:gd name="connsiteY63" fmla="*/ 0 h 177757"/>
                <a:gd name="connsiteX64" fmla="*/ 74963 w 175912"/>
                <a:gd name="connsiteY64" fmla="*/ 272 h 177757"/>
                <a:gd name="connsiteX65" fmla="*/ 72543 w 175912"/>
                <a:gd name="connsiteY65" fmla="*/ 1301 h 177757"/>
                <a:gd name="connsiteX66" fmla="*/ 64647 w 175912"/>
                <a:gd name="connsiteY66" fmla="*/ 6776 h 177757"/>
                <a:gd name="connsiteX67" fmla="*/ 62439 w 175912"/>
                <a:gd name="connsiteY67" fmla="*/ 7563 h 177757"/>
                <a:gd name="connsiteX68" fmla="*/ 59142 w 175912"/>
                <a:gd name="connsiteY68" fmla="*/ 7684 h 177757"/>
                <a:gd name="connsiteX69" fmla="*/ 58325 w 175912"/>
                <a:gd name="connsiteY69" fmla="*/ 8228 h 177757"/>
                <a:gd name="connsiteX70" fmla="*/ 57659 w 175912"/>
                <a:gd name="connsiteY70" fmla="*/ 9892 h 177757"/>
                <a:gd name="connsiteX71" fmla="*/ 57932 w 175912"/>
                <a:gd name="connsiteY71" fmla="*/ 11314 h 177757"/>
                <a:gd name="connsiteX72" fmla="*/ 59111 w 175912"/>
                <a:gd name="connsiteY72" fmla="*/ 13674 h 177757"/>
                <a:gd name="connsiteX73" fmla="*/ 59959 w 175912"/>
                <a:gd name="connsiteY73" fmla="*/ 16426 h 177757"/>
                <a:gd name="connsiteX74" fmla="*/ 60533 w 175912"/>
                <a:gd name="connsiteY74" fmla="*/ 17636 h 177757"/>
                <a:gd name="connsiteX75" fmla="*/ 61138 w 175912"/>
                <a:gd name="connsiteY75" fmla="*/ 18453 h 177757"/>
                <a:gd name="connsiteX76" fmla="*/ 62015 w 175912"/>
                <a:gd name="connsiteY76" fmla="*/ 18695 h 177757"/>
                <a:gd name="connsiteX77" fmla="*/ 63104 w 175912"/>
                <a:gd name="connsiteY77" fmla="*/ 18574 h 177757"/>
                <a:gd name="connsiteX78" fmla="*/ 64133 w 175912"/>
                <a:gd name="connsiteY78" fmla="*/ 18635 h 177757"/>
                <a:gd name="connsiteX79" fmla="*/ 64859 w 175912"/>
                <a:gd name="connsiteY79" fmla="*/ 19391 h 177757"/>
                <a:gd name="connsiteX80" fmla="*/ 64436 w 175912"/>
                <a:gd name="connsiteY80" fmla="*/ 22477 h 177757"/>
                <a:gd name="connsiteX81" fmla="*/ 62318 w 175912"/>
                <a:gd name="connsiteY81" fmla="*/ 26682 h 177757"/>
                <a:gd name="connsiteX82" fmla="*/ 59656 w 175912"/>
                <a:gd name="connsiteY82" fmla="*/ 30463 h 177757"/>
                <a:gd name="connsiteX83" fmla="*/ 57538 w 175912"/>
                <a:gd name="connsiteY83" fmla="*/ 32369 h 177757"/>
                <a:gd name="connsiteX84" fmla="*/ 56328 w 175912"/>
                <a:gd name="connsiteY84" fmla="*/ 32399 h 177757"/>
                <a:gd name="connsiteX85" fmla="*/ 55179 w 175912"/>
                <a:gd name="connsiteY85" fmla="*/ 32097 h 177757"/>
                <a:gd name="connsiteX86" fmla="*/ 54120 w 175912"/>
                <a:gd name="connsiteY86" fmla="*/ 32066 h 177757"/>
                <a:gd name="connsiteX87" fmla="*/ 53212 w 175912"/>
                <a:gd name="connsiteY87" fmla="*/ 32944 h 177757"/>
                <a:gd name="connsiteX88" fmla="*/ 52244 w 175912"/>
                <a:gd name="connsiteY88" fmla="*/ 34880 h 177757"/>
                <a:gd name="connsiteX89" fmla="*/ 51700 w 175912"/>
                <a:gd name="connsiteY89" fmla="*/ 35696 h 177757"/>
                <a:gd name="connsiteX90" fmla="*/ 50913 w 175912"/>
                <a:gd name="connsiteY90" fmla="*/ 36393 h 177757"/>
                <a:gd name="connsiteX91" fmla="*/ 48977 w 175912"/>
                <a:gd name="connsiteY91" fmla="*/ 37028 h 177757"/>
                <a:gd name="connsiteX92" fmla="*/ 47192 w 175912"/>
                <a:gd name="connsiteY92" fmla="*/ 37028 h 177757"/>
                <a:gd name="connsiteX93" fmla="*/ 45468 w 175912"/>
                <a:gd name="connsiteY93" fmla="*/ 37512 h 177757"/>
                <a:gd name="connsiteX94" fmla="*/ 43774 w 175912"/>
                <a:gd name="connsiteY94" fmla="*/ 39569 h 177757"/>
                <a:gd name="connsiteX95" fmla="*/ 42897 w 175912"/>
                <a:gd name="connsiteY95" fmla="*/ 43078 h 177757"/>
                <a:gd name="connsiteX96" fmla="*/ 44500 w 175912"/>
                <a:gd name="connsiteY96" fmla="*/ 44681 h 177757"/>
                <a:gd name="connsiteX97" fmla="*/ 46739 w 175912"/>
                <a:gd name="connsiteY97" fmla="*/ 45982 h 177757"/>
                <a:gd name="connsiteX98" fmla="*/ 47283 w 175912"/>
                <a:gd name="connsiteY98" fmla="*/ 47464 h 177757"/>
                <a:gd name="connsiteX99" fmla="*/ 47707 w 175912"/>
                <a:gd name="connsiteY99" fmla="*/ 48674 h 177757"/>
                <a:gd name="connsiteX100" fmla="*/ 45438 w 175912"/>
                <a:gd name="connsiteY100" fmla="*/ 51458 h 177757"/>
                <a:gd name="connsiteX101" fmla="*/ 40598 w 175912"/>
                <a:gd name="connsiteY101" fmla="*/ 53364 h 177757"/>
                <a:gd name="connsiteX102" fmla="*/ 32278 w 175912"/>
                <a:gd name="connsiteY102" fmla="*/ 54997 h 177757"/>
                <a:gd name="connsiteX103" fmla="*/ 24141 w 175912"/>
                <a:gd name="connsiteY103" fmla="*/ 56298 h 177757"/>
                <a:gd name="connsiteX104" fmla="*/ 20269 w 175912"/>
                <a:gd name="connsiteY104" fmla="*/ 57598 h 177757"/>
                <a:gd name="connsiteX105" fmla="*/ 19422 w 175912"/>
                <a:gd name="connsiteY105" fmla="*/ 58113 h 177757"/>
                <a:gd name="connsiteX106" fmla="*/ 18574 w 175912"/>
                <a:gd name="connsiteY106" fmla="*/ 59504 h 177757"/>
                <a:gd name="connsiteX107" fmla="*/ 18514 w 175912"/>
                <a:gd name="connsiteY107" fmla="*/ 60714 h 177757"/>
                <a:gd name="connsiteX108" fmla="*/ 18665 w 175912"/>
                <a:gd name="connsiteY108" fmla="*/ 61864 h 177757"/>
                <a:gd name="connsiteX109" fmla="*/ 18514 w 175912"/>
                <a:gd name="connsiteY109" fmla="*/ 63074 h 177757"/>
                <a:gd name="connsiteX110" fmla="*/ 16003 w 175912"/>
                <a:gd name="connsiteY110" fmla="*/ 65676 h 177757"/>
                <a:gd name="connsiteX111" fmla="*/ 12585 w 175912"/>
                <a:gd name="connsiteY111" fmla="*/ 64768 h 177757"/>
                <a:gd name="connsiteX112" fmla="*/ 8803 w 175912"/>
                <a:gd name="connsiteY112" fmla="*/ 62651 h 177757"/>
                <a:gd name="connsiteX113" fmla="*/ 5203 w 175912"/>
                <a:gd name="connsiteY113" fmla="*/ 61803 h 177757"/>
                <a:gd name="connsiteX114" fmla="*/ 4084 w 175912"/>
                <a:gd name="connsiteY114" fmla="*/ 62318 h 177757"/>
                <a:gd name="connsiteX115" fmla="*/ 3146 w 175912"/>
                <a:gd name="connsiteY115" fmla="*/ 63014 h 177757"/>
                <a:gd name="connsiteX116" fmla="*/ 1028 w 175912"/>
                <a:gd name="connsiteY116" fmla="*/ 64556 h 177757"/>
                <a:gd name="connsiteX117" fmla="*/ 212 w 175912"/>
                <a:gd name="connsiteY117" fmla="*/ 65615 h 177757"/>
                <a:gd name="connsiteX118" fmla="*/ 0 w 175912"/>
                <a:gd name="connsiteY118" fmla="*/ 68096 h 177757"/>
                <a:gd name="connsiteX119" fmla="*/ 1150 w 175912"/>
                <a:gd name="connsiteY119" fmla="*/ 70002 h 177757"/>
                <a:gd name="connsiteX120" fmla="*/ 1240 w 175912"/>
                <a:gd name="connsiteY120" fmla="*/ 70123 h 177757"/>
                <a:gd name="connsiteX121" fmla="*/ 7019 w 175912"/>
                <a:gd name="connsiteY121" fmla="*/ 75175 h 177757"/>
                <a:gd name="connsiteX122" fmla="*/ 7775 w 175912"/>
                <a:gd name="connsiteY122" fmla="*/ 76476 h 177757"/>
                <a:gd name="connsiteX123" fmla="*/ 7986 w 175912"/>
                <a:gd name="connsiteY123" fmla="*/ 76899 h 177757"/>
                <a:gd name="connsiteX124" fmla="*/ 6656 w 175912"/>
                <a:gd name="connsiteY124" fmla="*/ 80136 h 177757"/>
                <a:gd name="connsiteX125" fmla="*/ 5506 w 175912"/>
                <a:gd name="connsiteY125" fmla="*/ 82163 h 177757"/>
                <a:gd name="connsiteX126" fmla="*/ 5143 w 175912"/>
                <a:gd name="connsiteY126" fmla="*/ 83191 h 177757"/>
                <a:gd name="connsiteX127" fmla="*/ 5113 w 175912"/>
                <a:gd name="connsiteY127" fmla="*/ 85218 h 177757"/>
                <a:gd name="connsiteX128" fmla="*/ 5415 w 175912"/>
                <a:gd name="connsiteY128" fmla="*/ 86973 h 177757"/>
                <a:gd name="connsiteX129" fmla="*/ 5264 w 175912"/>
                <a:gd name="connsiteY129" fmla="*/ 88606 h 177757"/>
                <a:gd name="connsiteX130" fmla="*/ 4084 w 175912"/>
                <a:gd name="connsiteY130" fmla="*/ 90240 h 177757"/>
                <a:gd name="connsiteX131" fmla="*/ 6141 w 175912"/>
                <a:gd name="connsiteY131" fmla="*/ 92327 h 177757"/>
                <a:gd name="connsiteX132" fmla="*/ 11163 w 175912"/>
                <a:gd name="connsiteY132" fmla="*/ 94899 h 177757"/>
                <a:gd name="connsiteX133" fmla="*/ 12857 w 175912"/>
                <a:gd name="connsiteY133" fmla="*/ 96895 h 177757"/>
                <a:gd name="connsiteX134" fmla="*/ 12887 w 175912"/>
                <a:gd name="connsiteY134" fmla="*/ 96895 h 177757"/>
                <a:gd name="connsiteX135" fmla="*/ 12887 w 175912"/>
                <a:gd name="connsiteY135" fmla="*/ 96925 h 177757"/>
                <a:gd name="connsiteX136" fmla="*/ 15731 w 175912"/>
                <a:gd name="connsiteY136" fmla="*/ 103218 h 177757"/>
                <a:gd name="connsiteX137" fmla="*/ 16275 w 175912"/>
                <a:gd name="connsiteY137" fmla="*/ 103914 h 177757"/>
                <a:gd name="connsiteX138" fmla="*/ 17637 w 175912"/>
                <a:gd name="connsiteY138" fmla="*/ 105124 h 177757"/>
                <a:gd name="connsiteX139" fmla="*/ 18121 w 175912"/>
                <a:gd name="connsiteY139" fmla="*/ 106092 h 177757"/>
                <a:gd name="connsiteX140" fmla="*/ 18090 w 175912"/>
                <a:gd name="connsiteY140" fmla="*/ 107120 h 177757"/>
                <a:gd name="connsiteX141" fmla="*/ 17062 w 175912"/>
                <a:gd name="connsiteY141" fmla="*/ 108603 h 177757"/>
                <a:gd name="connsiteX142" fmla="*/ 16941 w 175912"/>
                <a:gd name="connsiteY142" fmla="*/ 109389 h 177757"/>
                <a:gd name="connsiteX143" fmla="*/ 17395 w 175912"/>
                <a:gd name="connsiteY143" fmla="*/ 110175 h 177757"/>
                <a:gd name="connsiteX144" fmla="*/ 18968 w 175912"/>
                <a:gd name="connsiteY144" fmla="*/ 111416 h 177757"/>
                <a:gd name="connsiteX145" fmla="*/ 19543 w 175912"/>
                <a:gd name="connsiteY145" fmla="*/ 112172 h 177757"/>
                <a:gd name="connsiteX146" fmla="*/ 19785 w 175912"/>
                <a:gd name="connsiteY146" fmla="*/ 113140 h 177757"/>
                <a:gd name="connsiteX147" fmla="*/ 19603 w 175912"/>
                <a:gd name="connsiteY147" fmla="*/ 114804 h 177757"/>
                <a:gd name="connsiteX148" fmla="*/ 19754 w 175912"/>
                <a:gd name="connsiteY148" fmla="*/ 115712 h 177757"/>
                <a:gd name="connsiteX149" fmla="*/ 20632 w 175912"/>
                <a:gd name="connsiteY149" fmla="*/ 117769 h 177757"/>
                <a:gd name="connsiteX150" fmla="*/ 21448 w 175912"/>
                <a:gd name="connsiteY150" fmla="*/ 118616 h 177757"/>
                <a:gd name="connsiteX151" fmla="*/ 22658 w 175912"/>
                <a:gd name="connsiteY151" fmla="*/ 118767 h 177757"/>
                <a:gd name="connsiteX152" fmla="*/ 29525 w 175912"/>
                <a:gd name="connsiteY152" fmla="*/ 118616 h 177757"/>
                <a:gd name="connsiteX153" fmla="*/ 31068 w 175912"/>
                <a:gd name="connsiteY153" fmla="*/ 118858 h 177757"/>
                <a:gd name="connsiteX154" fmla="*/ 43502 w 175912"/>
                <a:gd name="connsiteY154" fmla="*/ 127268 h 177757"/>
                <a:gd name="connsiteX155" fmla="*/ 45196 w 175912"/>
                <a:gd name="connsiteY155" fmla="*/ 128932 h 177757"/>
                <a:gd name="connsiteX156" fmla="*/ 46013 w 175912"/>
                <a:gd name="connsiteY156" fmla="*/ 129718 h 177757"/>
                <a:gd name="connsiteX157" fmla="*/ 47918 w 175912"/>
                <a:gd name="connsiteY157" fmla="*/ 132138 h 177757"/>
                <a:gd name="connsiteX158" fmla="*/ 51730 w 175912"/>
                <a:gd name="connsiteY158" fmla="*/ 139761 h 177757"/>
                <a:gd name="connsiteX159" fmla="*/ 52819 w 175912"/>
                <a:gd name="connsiteY159" fmla="*/ 143089 h 177757"/>
                <a:gd name="connsiteX160" fmla="*/ 53061 w 175912"/>
                <a:gd name="connsiteY160" fmla="*/ 145298 h 177757"/>
                <a:gd name="connsiteX161" fmla="*/ 53091 w 175912"/>
                <a:gd name="connsiteY161" fmla="*/ 149260 h 177757"/>
                <a:gd name="connsiteX162" fmla="*/ 53696 w 175912"/>
                <a:gd name="connsiteY162" fmla="*/ 151560 h 177757"/>
                <a:gd name="connsiteX163" fmla="*/ 56873 w 175912"/>
                <a:gd name="connsiteY163" fmla="*/ 159213 h 177757"/>
                <a:gd name="connsiteX164" fmla="*/ 57327 w 175912"/>
                <a:gd name="connsiteY164" fmla="*/ 161694 h 177757"/>
                <a:gd name="connsiteX165" fmla="*/ 57841 w 175912"/>
                <a:gd name="connsiteY165" fmla="*/ 163327 h 177757"/>
                <a:gd name="connsiteX166" fmla="*/ 57841 w 175912"/>
                <a:gd name="connsiteY166" fmla="*/ 164901 h 177757"/>
                <a:gd name="connsiteX167" fmla="*/ 56782 w 175912"/>
                <a:gd name="connsiteY167" fmla="*/ 167139 h 177757"/>
                <a:gd name="connsiteX168" fmla="*/ 55935 w 175912"/>
                <a:gd name="connsiteY168" fmla="*/ 168137 h 177757"/>
                <a:gd name="connsiteX169" fmla="*/ 55209 w 175912"/>
                <a:gd name="connsiteY169" fmla="*/ 168652 h 177757"/>
                <a:gd name="connsiteX170" fmla="*/ 54604 w 175912"/>
                <a:gd name="connsiteY170" fmla="*/ 169317 h 177757"/>
                <a:gd name="connsiteX171" fmla="*/ 54120 w 175912"/>
                <a:gd name="connsiteY171" fmla="*/ 170799 h 177757"/>
                <a:gd name="connsiteX172" fmla="*/ 54150 w 175912"/>
                <a:gd name="connsiteY172" fmla="*/ 171707 h 177757"/>
                <a:gd name="connsiteX173" fmla="*/ 54665 w 175912"/>
                <a:gd name="connsiteY173" fmla="*/ 173250 h 177757"/>
                <a:gd name="connsiteX174" fmla="*/ 54604 w 175912"/>
                <a:gd name="connsiteY174" fmla="*/ 174157 h 177757"/>
                <a:gd name="connsiteX175" fmla="*/ 56933 w 175912"/>
                <a:gd name="connsiteY175" fmla="*/ 176426 h 177757"/>
                <a:gd name="connsiteX176" fmla="*/ 58143 w 175912"/>
                <a:gd name="connsiteY176" fmla="*/ 177031 h 177757"/>
                <a:gd name="connsiteX177" fmla="*/ 59777 w 175912"/>
                <a:gd name="connsiteY177" fmla="*/ 176971 h 177757"/>
                <a:gd name="connsiteX178" fmla="*/ 60533 w 175912"/>
                <a:gd name="connsiteY178" fmla="*/ 176396 h 177757"/>
                <a:gd name="connsiteX179" fmla="*/ 61622 w 175912"/>
                <a:gd name="connsiteY179" fmla="*/ 174520 h 177757"/>
                <a:gd name="connsiteX180" fmla="*/ 62258 w 175912"/>
                <a:gd name="connsiteY180" fmla="*/ 174097 h 177757"/>
                <a:gd name="connsiteX181" fmla="*/ 63226 w 175912"/>
                <a:gd name="connsiteY181" fmla="*/ 174641 h 177757"/>
                <a:gd name="connsiteX182" fmla="*/ 65131 w 175912"/>
                <a:gd name="connsiteY182" fmla="*/ 177122 h 177757"/>
                <a:gd name="connsiteX183" fmla="*/ 66099 w 175912"/>
                <a:gd name="connsiteY183" fmla="*/ 177757 h 177757"/>
                <a:gd name="connsiteX184" fmla="*/ 68278 w 175912"/>
                <a:gd name="connsiteY184" fmla="*/ 177062 h 177757"/>
                <a:gd name="connsiteX185" fmla="*/ 69427 w 175912"/>
                <a:gd name="connsiteY185" fmla="*/ 175882 h 177757"/>
                <a:gd name="connsiteX186" fmla="*/ 70304 w 175912"/>
                <a:gd name="connsiteY186" fmla="*/ 174974 h 177757"/>
                <a:gd name="connsiteX187" fmla="*/ 71999 w 175912"/>
                <a:gd name="connsiteY187" fmla="*/ 172312 h 177757"/>
                <a:gd name="connsiteX188" fmla="*/ 73057 w 175912"/>
                <a:gd name="connsiteY188" fmla="*/ 169983 h 177757"/>
                <a:gd name="connsiteX189" fmla="*/ 73118 w 175912"/>
                <a:gd name="connsiteY189" fmla="*/ 169559 h 177757"/>
                <a:gd name="connsiteX190" fmla="*/ 73451 w 175912"/>
                <a:gd name="connsiteY190" fmla="*/ 166988 h 177757"/>
                <a:gd name="connsiteX191" fmla="*/ 73148 w 175912"/>
                <a:gd name="connsiteY191" fmla="*/ 165808 h 177757"/>
                <a:gd name="connsiteX192" fmla="*/ 72180 w 175912"/>
                <a:gd name="connsiteY192" fmla="*/ 162057 h 177757"/>
                <a:gd name="connsiteX193" fmla="*/ 72301 w 175912"/>
                <a:gd name="connsiteY193" fmla="*/ 159244 h 177757"/>
                <a:gd name="connsiteX194" fmla="*/ 73541 w 175912"/>
                <a:gd name="connsiteY194" fmla="*/ 153102 h 177757"/>
                <a:gd name="connsiteX195" fmla="*/ 74540 w 175912"/>
                <a:gd name="connsiteY195" fmla="*/ 150440 h 177757"/>
                <a:gd name="connsiteX196" fmla="*/ 76506 w 175912"/>
                <a:gd name="connsiteY196" fmla="*/ 148232 h 177757"/>
                <a:gd name="connsiteX197" fmla="*/ 79077 w 175912"/>
                <a:gd name="connsiteY197" fmla="*/ 146870 h 177757"/>
                <a:gd name="connsiteX198" fmla="*/ 88516 w 175912"/>
                <a:gd name="connsiteY198" fmla="*/ 143936 h 177757"/>
                <a:gd name="connsiteX199" fmla="*/ 95655 w 175912"/>
                <a:gd name="connsiteY199" fmla="*/ 141698 h 177757"/>
                <a:gd name="connsiteX200" fmla="*/ 98559 w 175912"/>
                <a:gd name="connsiteY200" fmla="*/ 140790 h 177757"/>
                <a:gd name="connsiteX201" fmla="*/ 101100 w 175912"/>
                <a:gd name="connsiteY201" fmla="*/ 139610 h 177757"/>
                <a:gd name="connsiteX202" fmla="*/ 102280 w 175912"/>
                <a:gd name="connsiteY202" fmla="*/ 138521 h 177757"/>
                <a:gd name="connsiteX203" fmla="*/ 105638 w 175912"/>
                <a:gd name="connsiteY203" fmla="*/ 135496 h 177757"/>
                <a:gd name="connsiteX204" fmla="*/ 108088 w 175912"/>
                <a:gd name="connsiteY204" fmla="*/ 134044 h 177757"/>
                <a:gd name="connsiteX205" fmla="*/ 108845 w 175912"/>
                <a:gd name="connsiteY205" fmla="*/ 134074 h 177757"/>
                <a:gd name="connsiteX206" fmla="*/ 109510 w 175912"/>
                <a:gd name="connsiteY206" fmla="*/ 134256 h 177757"/>
                <a:gd name="connsiteX207" fmla="*/ 110872 w 175912"/>
                <a:gd name="connsiteY207" fmla="*/ 134921 h 177757"/>
                <a:gd name="connsiteX208" fmla="*/ 114714 w 175912"/>
                <a:gd name="connsiteY208" fmla="*/ 137644 h 177757"/>
                <a:gd name="connsiteX209" fmla="*/ 118253 w 175912"/>
                <a:gd name="connsiteY209" fmla="*/ 140881 h 177757"/>
                <a:gd name="connsiteX210" fmla="*/ 119917 w 175912"/>
                <a:gd name="connsiteY210" fmla="*/ 143362 h 177757"/>
                <a:gd name="connsiteX211" fmla="*/ 120824 w 175912"/>
                <a:gd name="connsiteY211" fmla="*/ 145146 h 177757"/>
                <a:gd name="connsiteX212" fmla="*/ 121248 w 175912"/>
                <a:gd name="connsiteY212" fmla="*/ 145509 h 177757"/>
                <a:gd name="connsiteX213" fmla="*/ 122095 w 175912"/>
                <a:gd name="connsiteY213" fmla="*/ 146326 h 177757"/>
                <a:gd name="connsiteX214" fmla="*/ 122881 w 175912"/>
                <a:gd name="connsiteY214" fmla="*/ 146477 h 177757"/>
                <a:gd name="connsiteX215" fmla="*/ 127238 w 175912"/>
                <a:gd name="connsiteY215" fmla="*/ 147294 h 177757"/>
                <a:gd name="connsiteX216" fmla="*/ 128296 w 175912"/>
                <a:gd name="connsiteY216" fmla="*/ 147082 h 177757"/>
                <a:gd name="connsiteX217" fmla="*/ 128418 w 175912"/>
                <a:gd name="connsiteY217" fmla="*/ 146205 h 177757"/>
                <a:gd name="connsiteX218" fmla="*/ 128478 w 175912"/>
                <a:gd name="connsiteY218" fmla="*/ 145933 h 177757"/>
                <a:gd name="connsiteX219" fmla="*/ 128387 w 175912"/>
                <a:gd name="connsiteY219" fmla="*/ 143392 h 177757"/>
                <a:gd name="connsiteX220" fmla="*/ 128236 w 175912"/>
                <a:gd name="connsiteY220" fmla="*/ 142333 h 177757"/>
                <a:gd name="connsiteX221" fmla="*/ 127933 w 175912"/>
                <a:gd name="connsiteY221" fmla="*/ 141667 h 177757"/>
                <a:gd name="connsiteX222" fmla="*/ 127721 w 175912"/>
                <a:gd name="connsiteY222" fmla="*/ 141002 h 177757"/>
                <a:gd name="connsiteX223" fmla="*/ 127843 w 175912"/>
                <a:gd name="connsiteY223" fmla="*/ 139913 h 177757"/>
                <a:gd name="connsiteX224" fmla="*/ 133742 w 175912"/>
                <a:gd name="connsiteY224" fmla="*/ 131563 h 177757"/>
                <a:gd name="connsiteX225" fmla="*/ 134468 w 175912"/>
                <a:gd name="connsiteY225" fmla="*/ 131049 h 177757"/>
                <a:gd name="connsiteX226" fmla="*/ 135073 w 175912"/>
                <a:gd name="connsiteY226" fmla="*/ 130595 h 177757"/>
                <a:gd name="connsiteX227" fmla="*/ 136827 w 175912"/>
                <a:gd name="connsiteY227" fmla="*/ 130444 h 177757"/>
                <a:gd name="connsiteX228" fmla="*/ 140306 w 175912"/>
                <a:gd name="connsiteY228" fmla="*/ 131685 h 177757"/>
                <a:gd name="connsiteX229" fmla="*/ 141425 w 175912"/>
                <a:gd name="connsiteY229" fmla="*/ 131563 h 177757"/>
                <a:gd name="connsiteX230" fmla="*/ 141305 w 175912"/>
                <a:gd name="connsiteY230" fmla="*/ 130747 h 177757"/>
                <a:gd name="connsiteX231" fmla="*/ 140578 w 175912"/>
                <a:gd name="connsiteY231" fmla="*/ 129658 h 177757"/>
                <a:gd name="connsiteX232" fmla="*/ 140397 w 175912"/>
                <a:gd name="connsiteY232" fmla="*/ 128569 h 177757"/>
                <a:gd name="connsiteX233" fmla="*/ 142061 w 175912"/>
                <a:gd name="connsiteY233" fmla="*/ 127721 h 177757"/>
                <a:gd name="connsiteX234" fmla="*/ 143240 w 175912"/>
                <a:gd name="connsiteY234" fmla="*/ 128054 h 177757"/>
                <a:gd name="connsiteX235" fmla="*/ 144178 w 175912"/>
                <a:gd name="connsiteY235" fmla="*/ 128932 h 177757"/>
                <a:gd name="connsiteX236" fmla="*/ 145207 w 175912"/>
                <a:gd name="connsiteY236" fmla="*/ 129173 h 177757"/>
                <a:gd name="connsiteX237" fmla="*/ 145661 w 175912"/>
                <a:gd name="connsiteY237" fmla="*/ 128689 h 177757"/>
                <a:gd name="connsiteX238" fmla="*/ 146599 w 175912"/>
                <a:gd name="connsiteY238" fmla="*/ 127600 h 177757"/>
                <a:gd name="connsiteX239" fmla="*/ 148414 w 175912"/>
                <a:gd name="connsiteY239" fmla="*/ 128720 h 177757"/>
                <a:gd name="connsiteX240" fmla="*/ 150471 w 175912"/>
                <a:gd name="connsiteY240" fmla="*/ 128689 h 177757"/>
                <a:gd name="connsiteX241" fmla="*/ 154676 w 175912"/>
                <a:gd name="connsiteY241" fmla="*/ 127661 h 177757"/>
                <a:gd name="connsiteX242" fmla="*/ 154918 w 175912"/>
                <a:gd name="connsiteY242" fmla="*/ 127782 h 177757"/>
                <a:gd name="connsiteX243" fmla="*/ 153889 w 175912"/>
                <a:gd name="connsiteY243" fmla="*/ 124333 h 177757"/>
                <a:gd name="connsiteX244" fmla="*/ 149957 w 175912"/>
                <a:gd name="connsiteY244" fmla="*/ 118858 h 177757"/>
                <a:gd name="connsiteX245" fmla="*/ 150077 w 175912"/>
                <a:gd name="connsiteY245" fmla="*/ 115863 h 177757"/>
                <a:gd name="connsiteX246" fmla="*/ 152225 w 175912"/>
                <a:gd name="connsiteY246" fmla="*/ 113776 h 177757"/>
                <a:gd name="connsiteX247" fmla="*/ 158185 w 175912"/>
                <a:gd name="connsiteY247" fmla="*/ 112081 h 177757"/>
                <a:gd name="connsiteX248" fmla="*/ 160272 w 175912"/>
                <a:gd name="connsiteY248" fmla="*/ 110266 h 177757"/>
                <a:gd name="connsiteX249" fmla="*/ 160726 w 175912"/>
                <a:gd name="connsiteY249" fmla="*/ 108330 h 177757"/>
                <a:gd name="connsiteX250" fmla="*/ 160242 w 175912"/>
                <a:gd name="connsiteY250" fmla="*/ 104367 h 177757"/>
                <a:gd name="connsiteX251" fmla="*/ 160454 w 175912"/>
                <a:gd name="connsiteY251" fmla="*/ 102462 h 177757"/>
                <a:gd name="connsiteX252" fmla="*/ 161331 w 175912"/>
                <a:gd name="connsiteY252" fmla="*/ 101040 h 177757"/>
                <a:gd name="connsiteX253" fmla="*/ 165354 w 175912"/>
                <a:gd name="connsiteY253" fmla="*/ 97319 h 177757"/>
                <a:gd name="connsiteX254" fmla="*/ 170376 w 175912"/>
                <a:gd name="connsiteY254" fmla="*/ 89696 h 177757"/>
                <a:gd name="connsiteX255" fmla="*/ 171374 w 175912"/>
                <a:gd name="connsiteY255" fmla="*/ 86821 h 177757"/>
                <a:gd name="connsiteX256" fmla="*/ 171284 w 175912"/>
                <a:gd name="connsiteY256" fmla="*/ 86337 h 177757"/>
                <a:gd name="connsiteX257" fmla="*/ 170588 w 175912"/>
                <a:gd name="connsiteY257" fmla="*/ 85218 h 177757"/>
                <a:gd name="connsiteX258" fmla="*/ 170436 w 175912"/>
                <a:gd name="connsiteY258" fmla="*/ 84704 h 177757"/>
                <a:gd name="connsiteX259" fmla="*/ 170648 w 175912"/>
                <a:gd name="connsiteY259" fmla="*/ 84341 h 177757"/>
                <a:gd name="connsiteX260" fmla="*/ 171314 w 175912"/>
                <a:gd name="connsiteY260" fmla="*/ 84008 h 177757"/>
                <a:gd name="connsiteX261" fmla="*/ 171496 w 175912"/>
                <a:gd name="connsiteY261" fmla="*/ 83796 h 177757"/>
                <a:gd name="connsiteX262" fmla="*/ 171616 w 175912"/>
                <a:gd name="connsiteY262" fmla="*/ 83433 h 177757"/>
                <a:gd name="connsiteX263" fmla="*/ 172161 w 175912"/>
                <a:gd name="connsiteY263" fmla="*/ 80892 h 177757"/>
                <a:gd name="connsiteX264" fmla="*/ 172100 w 175912"/>
                <a:gd name="connsiteY264" fmla="*/ 80529 h 177757"/>
                <a:gd name="connsiteX265" fmla="*/ 173099 w 175912"/>
                <a:gd name="connsiteY265" fmla="*/ 79864 h 177757"/>
                <a:gd name="connsiteX266" fmla="*/ 174278 w 175912"/>
                <a:gd name="connsiteY266" fmla="*/ 79349 h 177757"/>
                <a:gd name="connsiteX267" fmla="*/ 175338 w 175912"/>
                <a:gd name="connsiteY267" fmla="*/ 78714 h 177757"/>
                <a:gd name="connsiteX268" fmla="*/ 175912 w 175912"/>
                <a:gd name="connsiteY268" fmla="*/ 77595 h 177757"/>
                <a:gd name="connsiteX269" fmla="*/ 175095 w 175912"/>
                <a:gd name="connsiteY269" fmla="*/ 74842 h 17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75912" h="177757">
                  <a:moveTo>
                    <a:pt x="175095" y="74842"/>
                  </a:moveTo>
                  <a:lnTo>
                    <a:pt x="173069" y="73602"/>
                  </a:lnTo>
                  <a:lnTo>
                    <a:pt x="172494" y="73269"/>
                  </a:lnTo>
                  <a:lnTo>
                    <a:pt x="169499" y="72634"/>
                  </a:lnTo>
                  <a:lnTo>
                    <a:pt x="167321" y="72694"/>
                  </a:lnTo>
                  <a:lnTo>
                    <a:pt x="162964" y="74509"/>
                  </a:lnTo>
                  <a:lnTo>
                    <a:pt x="161482" y="74509"/>
                  </a:lnTo>
                  <a:lnTo>
                    <a:pt x="159819" y="73480"/>
                  </a:lnTo>
                  <a:lnTo>
                    <a:pt x="156581" y="69729"/>
                  </a:lnTo>
                  <a:lnTo>
                    <a:pt x="155039" y="68489"/>
                  </a:lnTo>
                  <a:lnTo>
                    <a:pt x="152739" y="67794"/>
                  </a:lnTo>
                  <a:lnTo>
                    <a:pt x="142636" y="66493"/>
                  </a:lnTo>
                  <a:lnTo>
                    <a:pt x="140185" y="66553"/>
                  </a:lnTo>
                  <a:lnTo>
                    <a:pt x="138975" y="66583"/>
                  </a:lnTo>
                  <a:lnTo>
                    <a:pt x="137281" y="66130"/>
                  </a:lnTo>
                  <a:lnTo>
                    <a:pt x="136253" y="65494"/>
                  </a:lnTo>
                  <a:lnTo>
                    <a:pt x="136313" y="65131"/>
                  </a:lnTo>
                  <a:lnTo>
                    <a:pt x="136797" y="64738"/>
                  </a:lnTo>
                  <a:lnTo>
                    <a:pt x="137130" y="64133"/>
                  </a:lnTo>
                  <a:lnTo>
                    <a:pt x="137463" y="62197"/>
                  </a:lnTo>
                  <a:lnTo>
                    <a:pt x="138824" y="57962"/>
                  </a:lnTo>
                  <a:lnTo>
                    <a:pt x="139247" y="55844"/>
                  </a:lnTo>
                  <a:lnTo>
                    <a:pt x="139278" y="53212"/>
                  </a:lnTo>
                  <a:lnTo>
                    <a:pt x="139278" y="52547"/>
                  </a:lnTo>
                  <a:lnTo>
                    <a:pt x="138309" y="51578"/>
                  </a:lnTo>
                  <a:lnTo>
                    <a:pt x="136283" y="51518"/>
                  </a:lnTo>
                  <a:lnTo>
                    <a:pt x="133046" y="50792"/>
                  </a:lnTo>
                  <a:lnTo>
                    <a:pt x="132017" y="50217"/>
                  </a:lnTo>
                  <a:lnTo>
                    <a:pt x="130051" y="48674"/>
                  </a:lnTo>
                  <a:lnTo>
                    <a:pt x="128962" y="48070"/>
                  </a:lnTo>
                  <a:lnTo>
                    <a:pt x="127843" y="47827"/>
                  </a:lnTo>
                  <a:lnTo>
                    <a:pt x="125483" y="47858"/>
                  </a:lnTo>
                  <a:lnTo>
                    <a:pt x="124394" y="47555"/>
                  </a:lnTo>
                  <a:lnTo>
                    <a:pt x="121550" y="44500"/>
                  </a:lnTo>
                  <a:lnTo>
                    <a:pt x="120975" y="40507"/>
                  </a:lnTo>
                  <a:lnTo>
                    <a:pt x="120824" y="36604"/>
                  </a:lnTo>
                  <a:lnTo>
                    <a:pt x="119251" y="33791"/>
                  </a:lnTo>
                  <a:lnTo>
                    <a:pt x="117587" y="33549"/>
                  </a:lnTo>
                  <a:lnTo>
                    <a:pt x="116226" y="34456"/>
                  </a:lnTo>
                  <a:lnTo>
                    <a:pt x="114804" y="35152"/>
                  </a:lnTo>
                  <a:lnTo>
                    <a:pt x="113050" y="34214"/>
                  </a:lnTo>
                  <a:lnTo>
                    <a:pt x="112173" y="32520"/>
                  </a:lnTo>
                  <a:lnTo>
                    <a:pt x="110630" y="25895"/>
                  </a:lnTo>
                  <a:lnTo>
                    <a:pt x="109087" y="22961"/>
                  </a:lnTo>
                  <a:lnTo>
                    <a:pt x="107483" y="21811"/>
                  </a:lnTo>
                  <a:lnTo>
                    <a:pt x="100768" y="21478"/>
                  </a:lnTo>
                  <a:lnTo>
                    <a:pt x="98680" y="20752"/>
                  </a:lnTo>
                  <a:lnTo>
                    <a:pt x="97500" y="20117"/>
                  </a:lnTo>
                  <a:lnTo>
                    <a:pt x="89363" y="15731"/>
                  </a:lnTo>
                  <a:lnTo>
                    <a:pt x="81921" y="11738"/>
                  </a:lnTo>
                  <a:lnTo>
                    <a:pt x="81255" y="10709"/>
                  </a:lnTo>
                  <a:lnTo>
                    <a:pt x="81649" y="10588"/>
                  </a:lnTo>
                  <a:lnTo>
                    <a:pt x="81981" y="8954"/>
                  </a:lnTo>
                  <a:lnTo>
                    <a:pt x="82133" y="7109"/>
                  </a:lnTo>
                  <a:lnTo>
                    <a:pt x="82072" y="6444"/>
                  </a:lnTo>
                  <a:lnTo>
                    <a:pt x="83222" y="5475"/>
                  </a:lnTo>
                  <a:lnTo>
                    <a:pt x="84220" y="5778"/>
                  </a:lnTo>
                  <a:lnTo>
                    <a:pt x="84553" y="5778"/>
                  </a:lnTo>
                  <a:lnTo>
                    <a:pt x="83585" y="3993"/>
                  </a:lnTo>
                  <a:lnTo>
                    <a:pt x="82919" y="3146"/>
                  </a:lnTo>
                  <a:lnTo>
                    <a:pt x="81891" y="2178"/>
                  </a:lnTo>
                  <a:lnTo>
                    <a:pt x="79985" y="696"/>
                  </a:lnTo>
                  <a:lnTo>
                    <a:pt x="79017" y="424"/>
                  </a:lnTo>
                  <a:lnTo>
                    <a:pt x="77474" y="0"/>
                  </a:lnTo>
                  <a:lnTo>
                    <a:pt x="74963" y="272"/>
                  </a:lnTo>
                  <a:lnTo>
                    <a:pt x="72543" y="1301"/>
                  </a:lnTo>
                  <a:lnTo>
                    <a:pt x="64647" y="6776"/>
                  </a:lnTo>
                  <a:lnTo>
                    <a:pt x="62439" y="7563"/>
                  </a:lnTo>
                  <a:lnTo>
                    <a:pt x="59142" y="7684"/>
                  </a:lnTo>
                  <a:lnTo>
                    <a:pt x="58325" y="8228"/>
                  </a:lnTo>
                  <a:lnTo>
                    <a:pt x="57659" y="9892"/>
                  </a:lnTo>
                  <a:lnTo>
                    <a:pt x="57932" y="11314"/>
                  </a:lnTo>
                  <a:lnTo>
                    <a:pt x="59111" y="13674"/>
                  </a:lnTo>
                  <a:lnTo>
                    <a:pt x="59959" y="16426"/>
                  </a:lnTo>
                  <a:lnTo>
                    <a:pt x="60533" y="17636"/>
                  </a:lnTo>
                  <a:lnTo>
                    <a:pt x="61138" y="18453"/>
                  </a:lnTo>
                  <a:lnTo>
                    <a:pt x="62015" y="18695"/>
                  </a:lnTo>
                  <a:lnTo>
                    <a:pt x="63104" y="18574"/>
                  </a:lnTo>
                  <a:lnTo>
                    <a:pt x="64133" y="18635"/>
                  </a:lnTo>
                  <a:lnTo>
                    <a:pt x="64859" y="19391"/>
                  </a:lnTo>
                  <a:lnTo>
                    <a:pt x="64436" y="22477"/>
                  </a:lnTo>
                  <a:lnTo>
                    <a:pt x="62318" y="26682"/>
                  </a:lnTo>
                  <a:lnTo>
                    <a:pt x="59656" y="30463"/>
                  </a:lnTo>
                  <a:lnTo>
                    <a:pt x="57538" y="32369"/>
                  </a:lnTo>
                  <a:lnTo>
                    <a:pt x="56328" y="32399"/>
                  </a:lnTo>
                  <a:lnTo>
                    <a:pt x="55179" y="32097"/>
                  </a:lnTo>
                  <a:lnTo>
                    <a:pt x="54120" y="32066"/>
                  </a:lnTo>
                  <a:lnTo>
                    <a:pt x="53212" y="32944"/>
                  </a:lnTo>
                  <a:lnTo>
                    <a:pt x="52244" y="34880"/>
                  </a:lnTo>
                  <a:lnTo>
                    <a:pt x="51700" y="35696"/>
                  </a:lnTo>
                  <a:lnTo>
                    <a:pt x="50913" y="36393"/>
                  </a:lnTo>
                  <a:lnTo>
                    <a:pt x="48977" y="37028"/>
                  </a:lnTo>
                  <a:lnTo>
                    <a:pt x="47192" y="37028"/>
                  </a:lnTo>
                  <a:lnTo>
                    <a:pt x="45468" y="37512"/>
                  </a:lnTo>
                  <a:lnTo>
                    <a:pt x="43774" y="39569"/>
                  </a:lnTo>
                  <a:lnTo>
                    <a:pt x="42897" y="43078"/>
                  </a:lnTo>
                  <a:lnTo>
                    <a:pt x="44500" y="44681"/>
                  </a:lnTo>
                  <a:lnTo>
                    <a:pt x="46739" y="45982"/>
                  </a:lnTo>
                  <a:lnTo>
                    <a:pt x="47283" y="47464"/>
                  </a:lnTo>
                  <a:lnTo>
                    <a:pt x="47707" y="48674"/>
                  </a:lnTo>
                  <a:lnTo>
                    <a:pt x="45438" y="51458"/>
                  </a:lnTo>
                  <a:lnTo>
                    <a:pt x="40598" y="53364"/>
                  </a:lnTo>
                  <a:lnTo>
                    <a:pt x="32278" y="54997"/>
                  </a:lnTo>
                  <a:lnTo>
                    <a:pt x="24141" y="56298"/>
                  </a:lnTo>
                  <a:lnTo>
                    <a:pt x="20269" y="57598"/>
                  </a:lnTo>
                  <a:lnTo>
                    <a:pt x="19422" y="58113"/>
                  </a:lnTo>
                  <a:lnTo>
                    <a:pt x="18574" y="59504"/>
                  </a:lnTo>
                  <a:lnTo>
                    <a:pt x="18514" y="60714"/>
                  </a:lnTo>
                  <a:lnTo>
                    <a:pt x="18665" y="61864"/>
                  </a:lnTo>
                  <a:lnTo>
                    <a:pt x="18514" y="63074"/>
                  </a:lnTo>
                  <a:lnTo>
                    <a:pt x="16003" y="65676"/>
                  </a:lnTo>
                  <a:lnTo>
                    <a:pt x="12585" y="64768"/>
                  </a:lnTo>
                  <a:lnTo>
                    <a:pt x="8803" y="62651"/>
                  </a:lnTo>
                  <a:lnTo>
                    <a:pt x="5203" y="61803"/>
                  </a:lnTo>
                  <a:lnTo>
                    <a:pt x="4084" y="62318"/>
                  </a:lnTo>
                  <a:lnTo>
                    <a:pt x="3146" y="63014"/>
                  </a:lnTo>
                  <a:lnTo>
                    <a:pt x="1028" y="64556"/>
                  </a:lnTo>
                  <a:lnTo>
                    <a:pt x="212" y="65615"/>
                  </a:lnTo>
                  <a:lnTo>
                    <a:pt x="0" y="68096"/>
                  </a:lnTo>
                  <a:lnTo>
                    <a:pt x="1150" y="70002"/>
                  </a:lnTo>
                  <a:lnTo>
                    <a:pt x="1240" y="70123"/>
                  </a:lnTo>
                  <a:lnTo>
                    <a:pt x="7019" y="75175"/>
                  </a:lnTo>
                  <a:lnTo>
                    <a:pt x="7775" y="76476"/>
                  </a:lnTo>
                  <a:lnTo>
                    <a:pt x="7986" y="76899"/>
                  </a:lnTo>
                  <a:lnTo>
                    <a:pt x="6656" y="80136"/>
                  </a:lnTo>
                  <a:lnTo>
                    <a:pt x="5506" y="82163"/>
                  </a:lnTo>
                  <a:lnTo>
                    <a:pt x="5143" y="83191"/>
                  </a:lnTo>
                  <a:lnTo>
                    <a:pt x="5113" y="85218"/>
                  </a:lnTo>
                  <a:lnTo>
                    <a:pt x="5415" y="86973"/>
                  </a:lnTo>
                  <a:lnTo>
                    <a:pt x="5264" y="88606"/>
                  </a:lnTo>
                  <a:lnTo>
                    <a:pt x="4084" y="90240"/>
                  </a:lnTo>
                  <a:lnTo>
                    <a:pt x="6141" y="92327"/>
                  </a:lnTo>
                  <a:lnTo>
                    <a:pt x="11163" y="94899"/>
                  </a:lnTo>
                  <a:lnTo>
                    <a:pt x="12857" y="96895"/>
                  </a:lnTo>
                  <a:lnTo>
                    <a:pt x="12887" y="96895"/>
                  </a:lnTo>
                  <a:lnTo>
                    <a:pt x="12887" y="96925"/>
                  </a:lnTo>
                  <a:lnTo>
                    <a:pt x="15731" y="103218"/>
                  </a:lnTo>
                  <a:lnTo>
                    <a:pt x="16275" y="103914"/>
                  </a:lnTo>
                  <a:lnTo>
                    <a:pt x="17637" y="105124"/>
                  </a:lnTo>
                  <a:lnTo>
                    <a:pt x="18121" y="106092"/>
                  </a:lnTo>
                  <a:lnTo>
                    <a:pt x="18090" y="107120"/>
                  </a:lnTo>
                  <a:lnTo>
                    <a:pt x="17062" y="108603"/>
                  </a:lnTo>
                  <a:lnTo>
                    <a:pt x="16941" y="109389"/>
                  </a:lnTo>
                  <a:lnTo>
                    <a:pt x="17395" y="110175"/>
                  </a:lnTo>
                  <a:lnTo>
                    <a:pt x="18968" y="111416"/>
                  </a:lnTo>
                  <a:lnTo>
                    <a:pt x="19543" y="112172"/>
                  </a:lnTo>
                  <a:lnTo>
                    <a:pt x="19785" y="113140"/>
                  </a:lnTo>
                  <a:lnTo>
                    <a:pt x="19603" y="114804"/>
                  </a:lnTo>
                  <a:lnTo>
                    <a:pt x="19754" y="115712"/>
                  </a:lnTo>
                  <a:lnTo>
                    <a:pt x="20632" y="117769"/>
                  </a:lnTo>
                  <a:lnTo>
                    <a:pt x="21448" y="118616"/>
                  </a:lnTo>
                  <a:lnTo>
                    <a:pt x="22658" y="118767"/>
                  </a:lnTo>
                  <a:lnTo>
                    <a:pt x="29525" y="118616"/>
                  </a:lnTo>
                  <a:lnTo>
                    <a:pt x="31068" y="118858"/>
                  </a:lnTo>
                  <a:lnTo>
                    <a:pt x="43502" y="127268"/>
                  </a:lnTo>
                  <a:lnTo>
                    <a:pt x="45196" y="128932"/>
                  </a:lnTo>
                  <a:lnTo>
                    <a:pt x="46013" y="129718"/>
                  </a:lnTo>
                  <a:lnTo>
                    <a:pt x="47918" y="132138"/>
                  </a:lnTo>
                  <a:lnTo>
                    <a:pt x="51730" y="139761"/>
                  </a:lnTo>
                  <a:lnTo>
                    <a:pt x="52819" y="143089"/>
                  </a:lnTo>
                  <a:lnTo>
                    <a:pt x="53061" y="145298"/>
                  </a:lnTo>
                  <a:lnTo>
                    <a:pt x="53091" y="149260"/>
                  </a:lnTo>
                  <a:lnTo>
                    <a:pt x="53696" y="151560"/>
                  </a:lnTo>
                  <a:lnTo>
                    <a:pt x="56873" y="159213"/>
                  </a:lnTo>
                  <a:lnTo>
                    <a:pt x="57327" y="161694"/>
                  </a:lnTo>
                  <a:lnTo>
                    <a:pt x="57841" y="163327"/>
                  </a:lnTo>
                  <a:lnTo>
                    <a:pt x="57841" y="164901"/>
                  </a:lnTo>
                  <a:lnTo>
                    <a:pt x="56782" y="167139"/>
                  </a:lnTo>
                  <a:lnTo>
                    <a:pt x="55935" y="168137"/>
                  </a:lnTo>
                  <a:lnTo>
                    <a:pt x="55209" y="168652"/>
                  </a:lnTo>
                  <a:lnTo>
                    <a:pt x="54604" y="169317"/>
                  </a:lnTo>
                  <a:lnTo>
                    <a:pt x="54120" y="170799"/>
                  </a:lnTo>
                  <a:lnTo>
                    <a:pt x="54150" y="171707"/>
                  </a:lnTo>
                  <a:lnTo>
                    <a:pt x="54665" y="173250"/>
                  </a:lnTo>
                  <a:lnTo>
                    <a:pt x="54604" y="174157"/>
                  </a:lnTo>
                  <a:lnTo>
                    <a:pt x="56933" y="176426"/>
                  </a:lnTo>
                  <a:lnTo>
                    <a:pt x="58143" y="177031"/>
                  </a:lnTo>
                  <a:lnTo>
                    <a:pt x="59777" y="176971"/>
                  </a:lnTo>
                  <a:lnTo>
                    <a:pt x="60533" y="176396"/>
                  </a:lnTo>
                  <a:lnTo>
                    <a:pt x="61622" y="174520"/>
                  </a:lnTo>
                  <a:lnTo>
                    <a:pt x="62258" y="174097"/>
                  </a:lnTo>
                  <a:lnTo>
                    <a:pt x="63226" y="174641"/>
                  </a:lnTo>
                  <a:lnTo>
                    <a:pt x="65131" y="177122"/>
                  </a:lnTo>
                  <a:lnTo>
                    <a:pt x="66099" y="177757"/>
                  </a:lnTo>
                  <a:lnTo>
                    <a:pt x="68278" y="177062"/>
                  </a:lnTo>
                  <a:lnTo>
                    <a:pt x="69427" y="175882"/>
                  </a:lnTo>
                  <a:lnTo>
                    <a:pt x="70304" y="174974"/>
                  </a:lnTo>
                  <a:lnTo>
                    <a:pt x="71999" y="172312"/>
                  </a:lnTo>
                  <a:lnTo>
                    <a:pt x="73057" y="169983"/>
                  </a:lnTo>
                  <a:lnTo>
                    <a:pt x="73118" y="169559"/>
                  </a:lnTo>
                  <a:lnTo>
                    <a:pt x="73451" y="166988"/>
                  </a:lnTo>
                  <a:lnTo>
                    <a:pt x="73148" y="165808"/>
                  </a:lnTo>
                  <a:lnTo>
                    <a:pt x="72180" y="162057"/>
                  </a:lnTo>
                  <a:lnTo>
                    <a:pt x="72301" y="159244"/>
                  </a:lnTo>
                  <a:lnTo>
                    <a:pt x="73541" y="153102"/>
                  </a:lnTo>
                  <a:lnTo>
                    <a:pt x="74540" y="150440"/>
                  </a:lnTo>
                  <a:lnTo>
                    <a:pt x="76506" y="148232"/>
                  </a:lnTo>
                  <a:lnTo>
                    <a:pt x="79077" y="146870"/>
                  </a:lnTo>
                  <a:lnTo>
                    <a:pt x="88516" y="143936"/>
                  </a:lnTo>
                  <a:lnTo>
                    <a:pt x="95655" y="141698"/>
                  </a:lnTo>
                  <a:lnTo>
                    <a:pt x="98559" y="140790"/>
                  </a:lnTo>
                  <a:lnTo>
                    <a:pt x="101100" y="139610"/>
                  </a:lnTo>
                  <a:lnTo>
                    <a:pt x="102280" y="138521"/>
                  </a:lnTo>
                  <a:lnTo>
                    <a:pt x="105638" y="135496"/>
                  </a:lnTo>
                  <a:lnTo>
                    <a:pt x="108088" y="134044"/>
                  </a:lnTo>
                  <a:lnTo>
                    <a:pt x="108845" y="134074"/>
                  </a:lnTo>
                  <a:lnTo>
                    <a:pt x="109510" y="134256"/>
                  </a:lnTo>
                  <a:lnTo>
                    <a:pt x="110872" y="134921"/>
                  </a:lnTo>
                  <a:lnTo>
                    <a:pt x="114714" y="137644"/>
                  </a:lnTo>
                  <a:lnTo>
                    <a:pt x="118253" y="140881"/>
                  </a:lnTo>
                  <a:lnTo>
                    <a:pt x="119917" y="143362"/>
                  </a:lnTo>
                  <a:lnTo>
                    <a:pt x="120824" y="145146"/>
                  </a:lnTo>
                  <a:lnTo>
                    <a:pt x="121248" y="145509"/>
                  </a:lnTo>
                  <a:lnTo>
                    <a:pt x="122095" y="146326"/>
                  </a:lnTo>
                  <a:lnTo>
                    <a:pt x="122881" y="146477"/>
                  </a:lnTo>
                  <a:lnTo>
                    <a:pt x="127238" y="147294"/>
                  </a:lnTo>
                  <a:lnTo>
                    <a:pt x="128296" y="147082"/>
                  </a:lnTo>
                  <a:lnTo>
                    <a:pt x="128418" y="146205"/>
                  </a:lnTo>
                  <a:lnTo>
                    <a:pt x="128478" y="145933"/>
                  </a:lnTo>
                  <a:lnTo>
                    <a:pt x="128387" y="143392"/>
                  </a:lnTo>
                  <a:lnTo>
                    <a:pt x="128236" y="142333"/>
                  </a:lnTo>
                  <a:lnTo>
                    <a:pt x="127933" y="141667"/>
                  </a:lnTo>
                  <a:lnTo>
                    <a:pt x="127721" y="141002"/>
                  </a:lnTo>
                  <a:lnTo>
                    <a:pt x="127843" y="139913"/>
                  </a:lnTo>
                  <a:lnTo>
                    <a:pt x="133742" y="131563"/>
                  </a:lnTo>
                  <a:lnTo>
                    <a:pt x="134468" y="131049"/>
                  </a:lnTo>
                  <a:lnTo>
                    <a:pt x="135073" y="130595"/>
                  </a:lnTo>
                  <a:lnTo>
                    <a:pt x="136827" y="130444"/>
                  </a:lnTo>
                  <a:lnTo>
                    <a:pt x="140306" y="131685"/>
                  </a:lnTo>
                  <a:lnTo>
                    <a:pt x="141425" y="131563"/>
                  </a:lnTo>
                  <a:lnTo>
                    <a:pt x="141305" y="130747"/>
                  </a:lnTo>
                  <a:lnTo>
                    <a:pt x="140578" y="129658"/>
                  </a:lnTo>
                  <a:lnTo>
                    <a:pt x="140397" y="128569"/>
                  </a:lnTo>
                  <a:lnTo>
                    <a:pt x="142061" y="127721"/>
                  </a:lnTo>
                  <a:lnTo>
                    <a:pt x="143240" y="128054"/>
                  </a:lnTo>
                  <a:lnTo>
                    <a:pt x="144178" y="128932"/>
                  </a:lnTo>
                  <a:lnTo>
                    <a:pt x="145207" y="129173"/>
                  </a:lnTo>
                  <a:lnTo>
                    <a:pt x="145661" y="128689"/>
                  </a:lnTo>
                  <a:lnTo>
                    <a:pt x="146599" y="127600"/>
                  </a:lnTo>
                  <a:lnTo>
                    <a:pt x="148414" y="128720"/>
                  </a:lnTo>
                  <a:lnTo>
                    <a:pt x="150471" y="128689"/>
                  </a:lnTo>
                  <a:lnTo>
                    <a:pt x="154676" y="127661"/>
                  </a:lnTo>
                  <a:lnTo>
                    <a:pt x="154918" y="127782"/>
                  </a:lnTo>
                  <a:lnTo>
                    <a:pt x="153889" y="124333"/>
                  </a:lnTo>
                  <a:lnTo>
                    <a:pt x="149957" y="118858"/>
                  </a:lnTo>
                  <a:lnTo>
                    <a:pt x="150077" y="115863"/>
                  </a:lnTo>
                  <a:lnTo>
                    <a:pt x="152225" y="113776"/>
                  </a:lnTo>
                  <a:lnTo>
                    <a:pt x="158185" y="112081"/>
                  </a:lnTo>
                  <a:lnTo>
                    <a:pt x="160272" y="110266"/>
                  </a:lnTo>
                  <a:lnTo>
                    <a:pt x="160726" y="108330"/>
                  </a:lnTo>
                  <a:lnTo>
                    <a:pt x="160242" y="104367"/>
                  </a:lnTo>
                  <a:lnTo>
                    <a:pt x="160454" y="102462"/>
                  </a:lnTo>
                  <a:lnTo>
                    <a:pt x="161331" y="101040"/>
                  </a:lnTo>
                  <a:lnTo>
                    <a:pt x="165354" y="97319"/>
                  </a:lnTo>
                  <a:lnTo>
                    <a:pt x="170376" y="89696"/>
                  </a:lnTo>
                  <a:lnTo>
                    <a:pt x="171374" y="86821"/>
                  </a:lnTo>
                  <a:lnTo>
                    <a:pt x="171284" y="86337"/>
                  </a:lnTo>
                  <a:lnTo>
                    <a:pt x="170588" y="85218"/>
                  </a:lnTo>
                  <a:lnTo>
                    <a:pt x="170436" y="84704"/>
                  </a:lnTo>
                  <a:lnTo>
                    <a:pt x="170648" y="84341"/>
                  </a:lnTo>
                  <a:lnTo>
                    <a:pt x="171314" y="84008"/>
                  </a:lnTo>
                  <a:lnTo>
                    <a:pt x="171496" y="83796"/>
                  </a:lnTo>
                  <a:lnTo>
                    <a:pt x="171616" y="83433"/>
                  </a:lnTo>
                  <a:lnTo>
                    <a:pt x="172161" y="80892"/>
                  </a:lnTo>
                  <a:lnTo>
                    <a:pt x="172100" y="80529"/>
                  </a:lnTo>
                  <a:lnTo>
                    <a:pt x="173099" y="79864"/>
                  </a:lnTo>
                  <a:lnTo>
                    <a:pt x="174278" y="79349"/>
                  </a:lnTo>
                  <a:lnTo>
                    <a:pt x="175338" y="78714"/>
                  </a:lnTo>
                  <a:lnTo>
                    <a:pt x="175912" y="77595"/>
                  </a:lnTo>
                  <a:lnTo>
                    <a:pt x="175095" y="74842"/>
                  </a:lnTo>
                  <a:close/>
                </a:path>
              </a:pathLst>
            </a:custGeom>
            <a:solidFill>
              <a:srgbClr val="96A3AC"/>
            </a:solidFill>
            <a:ln w="3175" cap="rnd">
              <a:solidFill>
                <a:schemeClr val="bg1"/>
              </a:solidFill>
              <a:prstDash val="solid"/>
              <a:round/>
            </a:ln>
          </p:spPr>
          <p:txBody>
            <a:bodyPr rtlCol="0" anchor="ctr"/>
            <a:lstStyle/>
            <a:p>
              <a:endParaRPr lang="en-ID"/>
            </a:p>
          </p:txBody>
        </p:sp>
        <p:sp>
          <p:nvSpPr>
            <p:cNvPr id="43" name="Freeform: Shape 42">
              <a:extLst>
                <a:ext uri="{FF2B5EF4-FFF2-40B4-BE49-F238E27FC236}">
                  <a16:creationId xmlns:a16="http://schemas.microsoft.com/office/drawing/2014/main" id="{787CE0AF-6895-B762-18E8-9FBFAE4EB982}"/>
                </a:ext>
              </a:extLst>
            </p:cNvPr>
            <p:cNvSpPr/>
            <p:nvPr/>
          </p:nvSpPr>
          <p:spPr>
            <a:xfrm>
              <a:off x="8673239" y="4368265"/>
              <a:ext cx="932074" cy="1111534"/>
            </a:xfrm>
            <a:custGeom>
              <a:avLst/>
              <a:gdLst>
                <a:gd name="connsiteX0" fmla="*/ 351189 w 1199136"/>
                <a:gd name="connsiteY0" fmla="*/ 584760 h 1430015"/>
                <a:gd name="connsiteX1" fmla="*/ 350796 w 1199136"/>
                <a:gd name="connsiteY1" fmla="*/ 583732 h 1430015"/>
                <a:gd name="connsiteX2" fmla="*/ 350463 w 1199136"/>
                <a:gd name="connsiteY2" fmla="*/ 582401 h 1430015"/>
                <a:gd name="connsiteX3" fmla="*/ 349979 w 1199136"/>
                <a:gd name="connsiteY3" fmla="*/ 582491 h 1430015"/>
                <a:gd name="connsiteX4" fmla="*/ 349283 w 1199136"/>
                <a:gd name="connsiteY4" fmla="*/ 584185 h 1430015"/>
                <a:gd name="connsiteX5" fmla="*/ 348315 w 1199136"/>
                <a:gd name="connsiteY5" fmla="*/ 585214 h 1430015"/>
                <a:gd name="connsiteX6" fmla="*/ 347287 w 1199136"/>
                <a:gd name="connsiteY6" fmla="*/ 585607 h 1430015"/>
                <a:gd name="connsiteX7" fmla="*/ 347075 w 1199136"/>
                <a:gd name="connsiteY7" fmla="*/ 586485 h 1430015"/>
                <a:gd name="connsiteX8" fmla="*/ 347922 w 1199136"/>
                <a:gd name="connsiteY8" fmla="*/ 587241 h 1430015"/>
                <a:gd name="connsiteX9" fmla="*/ 349253 w 1199136"/>
                <a:gd name="connsiteY9" fmla="*/ 587634 h 1430015"/>
                <a:gd name="connsiteX10" fmla="*/ 350644 w 1199136"/>
                <a:gd name="connsiteY10" fmla="*/ 587634 h 1430015"/>
                <a:gd name="connsiteX11" fmla="*/ 351612 w 1199136"/>
                <a:gd name="connsiteY11" fmla="*/ 587120 h 1430015"/>
                <a:gd name="connsiteX12" fmla="*/ 351855 w 1199136"/>
                <a:gd name="connsiteY12" fmla="*/ 586242 h 1430015"/>
                <a:gd name="connsiteX13" fmla="*/ 351855 w 1199136"/>
                <a:gd name="connsiteY13" fmla="*/ 585728 h 1430015"/>
                <a:gd name="connsiteX14" fmla="*/ 351673 w 1199136"/>
                <a:gd name="connsiteY14" fmla="*/ 585396 h 1430015"/>
                <a:gd name="connsiteX15" fmla="*/ 351219 w 1199136"/>
                <a:gd name="connsiteY15" fmla="*/ 584760 h 1430015"/>
                <a:gd name="connsiteX16" fmla="*/ 385827 w 1199136"/>
                <a:gd name="connsiteY16" fmla="*/ 554327 h 1430015"/>
                <a:gd name="connsiteX17" fmla="*/ 386583 w 1199136"/>
                <a:gd name="connsiteY17" fmla="*/ 553389 h 1430015"/>
                <a:gd name="connsiteX18" fmla="*/ 386099 w 1199136"/>
                <a:gd name="connsiteY18" fmla="*/ 552149 h 1430015"/>
                <a:gd name="connsiteX19" fmla="*/ 385343 w 1199136"/>
                <a:gd name="connsiteY19" fmla="*/ 551000 h 1430015"/>
                <a:gd name="connsiteX20" fmla="*/ 384465 w 1199136"/>
                <a:gd name="connsiteY20" fmla="*/ 550213 h 1430015"/>
                <a:gd name="connsiteX21" fmla="*/ 383497 w 1199136"/>
                <a:gd name="connsiteY21" fmla="*/ 549880 h 1430015"/>
                <a:gd name="connsiteX22" fmla="*/ 382257 w 1199136"/>
                <a:gd name="connsiteY22" fmla="*/ 550455 h 1430015"/>
                <a:gd name="connsiteX23" fmla="*/ 381471 w 1199136"/>
                <a:gd name="connsiteY23" fmla="*/ 551817 h 1430015"/>
                <a:gd name="connsiteX24" fmla="*/ 380381 w 1199136"/>
                <a:gd name="connsiteY24" fmla="*/ 555023 h 1430015"/>
                <a:gd name="connsiteX25" fmla="*/ 379716 w 1199136"/>
                <a:gd name="connsiteY25" fmla="*/ 555688 h 1430015"/>
                <a:gd name="connsiteX26" fmla="*/ 378839 w 1199136"/>
                <a:gd name="connsiteY26" fmla="*/ 556203 h 1430015"/>
                <a:gd name="connsiteX27" fmla="*/ 378052 w 1199136"/>
                <a:gd name="connsiteY27" fmla="*/ 556899 h 1430015"/>
                <a:gd name="connsiteX28" fmla="*/ 377719 w 1199136"/>
                <a:gd name="connsiteY28" fmla="*/ 558078 h 1430015"/>
                <a:gd name="connsiteX29" fmla="*/ 376993 w 1199136"/>
                <a:gd name="connsiteY29" fmla="*/ 558351 h 1430015"/>
                <a:gd name="connsiteX30" fmla="*/ 375511 w 1199136"/>
                <a:gd name="connsiteY30" fmla="*/ 558351 h 1430015"/>
                <a:gd name="connsiteX31" fmla="*/ 374452 w 1199136"/>
                <a:gd name="connsiteY31" fmla="*/ 557625 h 1430015"/>
                <a:gd name="connsiteX32" fmla="*/ 374906 w 1199136"/>
                <a:gd name="connsiteY32" fmla="*/ 555810 h 1430015"/>
                <a:gd name="connsiteX33" fmla="*/ 371125 w 1199136"/>
                <a:gd name="connsiteY33" fmla="*/ 555900 h 1430015"/>
                <a:gd name="connsiteX34" fmla="*/ 369400 w 1199136"/>
                <a:gd name="connsiteY34" fmla="*/ 555688 h 1430015"/>
                <a:gd name="connsiteX35" fmla="*/ 369400 w 1199136"/>
                <a:gd name="connsiteY35" fmla="*/ 556777 h 1430015"/>
                <a:gd name="connsiteX36" fmla="*/ 368069 w 1199136"/>
                <a:gd name="connsiteY36" fmla="*/ 557655 h 1430015"/>
                <a:gd name="connsiteX37" fmla="*/ 368432 w 1199136"/>
                <a:gd name="connsiteY37" fmla="*/ 557867 h 1430015"/>
                <a:gd name="connsiteX38" fmla="*/ 368614 w 1199136"/>
                <a:gd name="connsiteY38" fmla="*/ 557867 h 1430015"/>
                <a:gd name="connsiteX39" fmla="*/ 368674 w 1199136"/>
                <a:gd name="connsiteY39" fmla="*/ 557957 h 1430015"/>
                <a:gd name="connsiteX40" fmla="*/ 368765 w 1199136"/>
                <a:gd name="connsiteY40" fmla="*/ 558593 h 1430015"/>
                <a:gd name="connsiteX41" fmla="*/ 366375 w 1199136"/>
                <a:gd name="connsiteY41" fmla="*/ 558744 h 1430015"/>
                <a:gd name="connsiteX42" fmla="*/ 364560 w 1199136"/>
                <a:gd name="connsiteY42" fmla="*/ 558593 h 1430015"/>
                <a:gd name="connsiteX43" fmla="*/ 363350 w 1199136"/>
                <a:gd name="connsiteY43" fmla="*/ 558169 h 1430015"/>
                <a:gd name="connsiteX44" fmla="*/ 361111 w 1199136"/>
                <a:gd name="connsiteY44" fmla="*/ 557020 h 1430015"/>
                <a:gd name="connsiteX45" fmla="*/ 360053 w 1199136"/>
                <a:gd name="connsiteY45" fmla="*/ 556777 h 1430015"/>
                <a:gd name="connsiteX46" fmla="*/ 357905 w 1199136"/>
                <a:gd name="connsiteY46" fmla="*/ 556959 h 1430015"/>
                <a:gd name="connsiteX47" fmla="*/ 355364 w 1199136"/>
                <a:gd name="connsiteY47" fmla="*/ 557655 h 1430015"/>
                <a:gd name="connsiteX48" fmla="*/ 353216 w 1199136"/>
                <a:gd name="connsiteY48" fmla="*/ 558986 h 1430015"/>
                <a:gd name="connsiteX49" fmla="*/ 352187 w 1199136"/>
                <a:gd name="connsiteY49" fmla="*/ 561164 h 1430015"/>
                <a:gd name="connsiteX50" fmla="*/ 352732 w 1199136"/>
                <a:gd name="connsiteY50" fmla="*/ 564492 h 1430015"/>
                <a:gd name="connsiteX51" fmla="*/ 354547 w 1199136"/>
                <a:gd name="connsiteY51" fmla="*/ 566276 h 1430015"/>
                <a:gd name="connsiteX52" fmla="*/ 356816 w 1199136"/>
                <a:gd name="connsiteY52" fmla="*/ 567002 h 1430015"/>
                <a:gd name="connsiteX53" fmla="*/ 365105 w 1199136"/>
                <a:gd name="connsiteY53" fmla="*/ 567245 h 1430015"/>
                <a:gd name="connsiteX54" fmla="*/ 365649 w 1199136"/>
                <a:gd name="connsiteY54" fmla="*/ 567184 h 1430015"/>
                <a:gd name="connsiteX55" fmla="*/ 366133 w 1199136"/>
                <a:gd name="connsiteY55" fmla="*/ 566428 h 1430015"/>
                <a:gd name="connsiteX56" fmla="*/ 366678 w 1199136"/>
                <a:gd name="connsiteY56" fmla="*/ 564492 h 1430015"/>
                <a:gd name="connsiteX57" fmla="*/ 368704 w 1199136"/>
                <a:gd name="connsiteY57" fmla="*/ 566095 h 1430015"/>
                <a:gd name="connsiteX58" fmla="*/ 372637 w 1199136"/>
                <a:gd name="connsiteY58" fmla="*/ 564189 h 1430015"/>
                <a:gd name="connsiteX59" fmla="*/ 373545 w 1199136"/>
                <a:gd name="connsiteY59" fmla="*/ 566307 h 1430015"/>
                <a:gd name="connsiteX60" fmla="*/ 374694 w 1199136"/>
                <a:gd name="connsiteY60" fmla="*/ 563554 h 1430015"/>
                <a:gd name="connsiteX61" fmla="*/ 375995 w 1199136"/>
                <a:gd name="connsiteY61" fmla="*/ 563554 h 1430015"/>
                <a:gd name="connsiteX62" fmla="*/ 377326 w 1199136"/>
                <a:gd name="connsiteY62" fmla="*/ 564703 h 1430015"/>
                <a:gd name="connsiteX63" fmla="*/ 378657 w 1199136"/>
                <a:gd name="connsiteY63" fmla="*/ 565460 h 1430015"/>
                <a:gd name="connsiteX64" fmla="*/ 378960 w 1199136"/>
                <a:gd name="connsiteY64" fmla="*/ 565944 h 1430015"/>
                <a:gd name="connsiteX65" fmla="*/ 379958 w 1199136"/>
                <a:gd name="connsiteY65" fmla="*/ 568182 h 1430015"/>
                <a:gd name="connsiteX66" fmla="*/ 380381 w 1199136"/>
                <a:gd name="connsiteY66" fmla="*/ 568848 h 1430015"/>
                <a:gd name="connsiteX67" fmla="*/ 381561 w 1199136"/>
                <a:gd name="connsiteY67" fmla="*/ 569392 h 1430015"/>
                <a:gd name="connsiteX68" fmla="*/ 382590 w 1199136"/>
                <a:gd name="connsiteY68" fmla="*/ 569332 h 1430015"/>
                <a:gd name="connsiteX69" fmla="*/ 383346 w 1199136"/>
                <a:gd name="connsiteY69" fmla="*/ 569453 h 1430015"/>
                <a:gd name="connsiteX70" fmla="*/ 383800 w 1199136"/>
                <a:gd name="connsiteY70" fmla="*/ 570572 h 1430015"/>
                <a:gd name="connsiteX71" fmla="*/ 385312 w 1199136"/>
                <a:gd name="connsiteY71" fmla="*/ 568908 h 1430015"/>
                <a:gd name="connsiteX72" fmla="*/ 384768 w 1199136"/>
                <a:gd name="connsiteY72" fmla="*/ 566549 h 1430015"/>
                <a:gd name="connsiteX73" fmla="*/ 383044 w 1199136"/>
                <a:gd name="connsiteY73" fmla="*/ 564461 h 1430015"/>
                <a:gd name="connsiteX74" fmla="*/ 381107 w 1199136"/>
                <a:gd name="connsiteY74" fmla="*/ 563675 h 1430015"/>
                <a:gd name="connsiteX75" fmla="*/ 382923 w 1199136"/>
                <a:gd name="connsiteY75" fmla="*/ 562979 h 1430015"/>
                <a:gd name="connsiteX76" fmla="*/ 384254 w 1199136"/>
                <a:gd name="connsiteY76" fmla="*/ 562041 h 1430015"/>
                <a:gd name="connsiteX77" fmla="*/ 385222 w 1199136"/>
                <a:gd name="connsiteY77" fmla="*/ 560650 h 1430015"/>
                <a:gd name="connsiteX78" fmla="*/ 385887 w 1199136"/>
                <a:gd name="connsiteY78" fmla="*/ 558532 h 1430015"/>
                <a:gd name="connsiteX79" fmla="*/ 385282 w 1199136"/>
                <a:gd name="connsiteY79" fmla="*/ 557050 h 1430015"/>
                <a:gd name="connsiteX80" fmla="*/ 385282 w 1199136"/>
                <a:gd name="connsiteY80" fmla="*/ 555568 h 1430015"/>
                <a:gd name="connsiteX81" fmla="*/ 385827 w 1199136"/>
                <a:gd name="connsiteY81" fmla="*/ 554267 h 1430015"/>
                <a:gd name="connsiteX82" fmla="*/ 371851 w 1199136"/>
                <a:gd name="connsiteY82" fmla="*/ 616161 h 1430015"/>
                <a:gd name="connsiteX83" fmla="*/ 371579 w 1199136"/>
                <a:gd name="connsiteY83" fmla="*/ 618279 h 1430015"/>
                <a:gd name="connsiteX84" fmla="*/ 373484 w 1199136"/>
                <a:gd name="connsiteY84" fmla="*/ 618793 h 1430015"/>
                <a:gd name="connsiteX85" fmla="*/ 373757 w 1199136"/>
                <a:gd name="connsiteY85" fmla="*/ 616706 h 1430015"/>
                <a:gd name="connsiteX86" fmla="*/ 372788 w 1199136"/>
                <a:gd name="connsiteY86" fmla="*/ 615374 h 1430015"/>
                <a:gd name="connsiteX87" fmla="*/ 371851 w 1199136"/>
                <a:gd name="connsiteY87" fmla="*/ 616191 h 1430015"/>
                <a:gd name="connsiteX88" fmla="*/ 435258 w 1199136"/>
                <a:gd name="connsiteY88" fmla="*/ 615102 h 1430015"/>
                <a:gd name="connsiteX89" fmla="*/ 433866 w 1199136"/>
                <a:gd name="connsiteY89" fmla="*/ 612380 h 1430015"/>
                <a:gd name="connsiteX90" fmla="*/ 432081 w 1199136"/>
                <a:gd name="connsiteY90" fmla="*/ 610928 h 1430015"/>
                <a:gd name="connsiteX91" fmla="*/ 430780 w 1199136"/>
                <a:gd name="connsiteY91" fmla="*/ 610262 h 1430015"/>
                <a:gd name="connsiteX92" fmla="*/ 430054 w 1199136"/>
                <a:gd name="connsiteY92" fmla="*/ 610928 h 1430015"/>
                <a:gd name="connsiteX93" fmla="*/ 430115 w 1199136"/>
                <a:gd name="connsiteY93" fmla="*/ 612470 h 1430015"/>
                <a:gd name="connsiteX94" fmla="*/ 428633 w 1199136"/>
                <a:gd name="connsiteY94" fmla="*/ 613499 h 1430015"/>
                <a:gd name="connsiteX95" fmla="*/ 429631 w 1199136"/>
                <a:gd name="connsiteY95" fmla="*/ 615011 h 1430015"/>
                <a:gd name="connsiteX96" fmla="*/ 433382 w 1199136"/>
                <a:gd name="connsiteY96" fmla="*/ 618612 h 1430015"/>
                <a:gd name="connsiteX97" fmla="*/ 434834 w 1199136"/>
                <a:gd name="connsiteY97" fmla="*/ 619428 h 1430015"/>
                <a:gd name="connsiteX98" fmla="*/ 436498 w 1199136"/>
                <a:gd name="connsiteY98" fmla="*/ 617946 h 1430015"/>
                <a:gd name="connsiteX99" fmla="*/ 435470 w 1199136"/>
                <a:gd name="connsiteY99" fmla="*/ 616706 h 1430015"/>
                <a:gd name="connsiteX100" fmla="*/ 435227 w 1199136"/>
                <a:gd name="connsiteY100" fmla="*/ 615102 h 1430015"/>
                <a:gd name="connsiteX101" fmla="*/ 577107 w 1199136"/>
                <a:gd name="connsiteY101" fmla="*/ 1148859 h 1430015"/>
                <a:gd name="connsiteX102" fmla="*/ 575534 w 1199136"/>
                <a:gd name="connsiteY102" fmla="*/ 1147981 h 1430015"/>
                <a:gd name="connsiteX103" fmla="*/ 574808 w 1199136"/>
                <a:gd name="connsiteY103" fmla="*/ 1147316 h 1430015"/>
                <a:gd name="connsiteX104" fmla="*/ 573930 w 1199136"/>
                <a:gd name="connsiteY104" fmla="*/ 1147467 h 1430015"/>
                <a:gd name="connsiteX105" fmla="*/ 573083 w 1199136"/>
                <a:gd name="connsiteY105" fmla="*/ 1147891 h 1430015"/>
                <a:gd name="connsiteX106" fmla="*/ 572055 w 1199136"/>
                <a:gd name="connsiteY106" fmla="*/ 1148223 h 1430015"/>
                <a:gd name="connsiteX107" fmla="*/ 570663 w 1199136"/>
                <a:gd name="connsiteY107" fmla="*/ 1148103 h 1430015"/>
                <a:gd name="connsiteX108" fmla="*/ 571208 w 1199136"/>
                <a:gd name="connsiteY108" fmla="*/ 1149312 h 1430015"/>
                <a:gd name="connsiteX109" fmla="*/ 572115 w 1199136"/>
                <a:gd name="connsiteY109" fmla="*/ 1150220 h 1430015"/>
                <a:gd name="connsiteX110" fmla="*/ 573295 w 1199136"/>
                <a:gd name="connsiteY110" fmla="*/ 1150462 h 1430015"/>
                <a:gd name="connsiteX111" fmla="*/ 574747 w 1199136"/>
                <a:gd name="connsiteY111" fmla="*/ 1149766 h 1430015"/>
                <a:gd name="connsiteX112" fmla="*/ 575957 w 1199136"/>
                <a:gd name="connsiteY112" fmla="*/ 1150553 h 1430015"/>
                <a:gd name="connsiteX113" fmla="*/ 577561 w 1199136"/>
                <a:gd name="connsiteY113" fmla="*/ 1151158 h 1430015"/>
                <a:gd name="connsiteX114" fmla="*/ 579103 w 1199136"/>
                <a:gd name="connsiteY114" fmla="*/ 1151067 h 1430015"/>
                <a:gd name="connsiteX115" fmla="*/ 580223 w 1199136"/>
                <a:gd name="connsiteY115" fmla="*/ 1149766 h 1430015"/>
                <a:gd name="connsiteX116" fmla="*/ 578801 w 1199136"/>
                <a:gd name="connsiteY116" fmla="*/ 1149555 h 1430015"/>
                <a:gd name="connsiteX117" fmla="*/ 577016 w 1199136"/>
                <a:gd name="connsiteY117" fmla="*/ 1148859 h 1430015"/>
                <a:gd name="connsiteX118" fmla="*/ 550485 w 1199136"/>
                <a:gd name="connsiteY118" fmla="*/ 1144775 h 1430015"/>
                <a:gd name="connsiteX119" fmla="*/ 549699 w 1199136"/>
                <a:gd name="connsiteY119" fmla="*/ 1142627 h 1430015"/>
                <a:gd name="connsiteX120" fmla="*/ 548610 w 1199136"/>
                <a:gd name="connsiteY120" fmla="*/ 1141901 h 1430015"/>
                <a:gd name="connsiteX121" fmla="*/ 546825 w 1199136"/>
                <a:gd name="connsiteY121" fmla="*/ 1142052 h 1430015"/>
                <a:gd name="connsiteX122" fmla="*/ 546281 w 1199136"/>
                <a:gd name="connsiteY122" fmla="*/ 1142839 h 1430015"/>
                <a:gd name="connsiteX123" fmla="*/ 546946 w 1199136"/>
                <a:gd name="connsiteY123" fmla="*/ 1144079 h 1430015"/>
                <a:gd name="connsiteX124" fmla="*/ 548005 w 1199136"/>
                <a:gd name="connsiteY124" fmla="*/ 1145591 h 1430015"/>
                <a:gd name="connsiteX125" fmla="*/ 549729 w 1199136"/>
                <a:gd name="connsiteY125" fmla="*/ 1146741 h 1430015"/>
                <a:gd name="connsiteX126" fmla="*/ 551181 w 1199136"/>
                <a:gd name="connsiteY126" fmla="*/ 1146802 h 1430015"/>
                <a:gd name="connsiteX127" fmla="*/ 551060 w 1199136"/>
                <a:gd name="connsiteY127" fmla="*/ 1145652 h 1430015"/>
                <a:gd name="connsiteX128" fmla="*/ 550485 w 1199136"/>
                <a:gd name="connsiteY128" fmla="*/ 1144745 h 1430015"/>
                <a:gd name="connsiteX129" fmla="*/ 547007 w 1199136"/>
                <a:gd name="connsiteY129" fmla="*/ 1279575 h 1430015"/>
                <a:gd name="connsiteX130" fmla="*/ 543165 w 1199136"/>
                <a:gd name="connsiteY130" fmla="*/ 1276187 h 1430015"/>
                <a:gd name="connsiteX131" fmla="*/ 542529 w 1199136"/>
                <a:gd name="connsiteY131" fmla="*/ 1277397 h 1430015"/>
                <a:gd name="connsiteX132" fmla="*/ 541955 w 1199136"/>
                <a:gd name="connsiteY132" fmla="*/ 1277548 h 1430015"/>
                <a:gd name="connsiteX133" fmla="*/ 541289 w 1199136"/>
                <a:gd name="connsiteY133" fmla="*/ 1277215 h 1430015"/>
                <a:gd name="connsiteX134" fmla="*/ 540351 w 1199136"/>
                <a:gd name="connsiteY134" fmla="*/ 1277004 h 1430015"/>
                <a:gd name="connsiteX135" fmla="*/ 539958 w 1199136"/>
                <a:gd name="connsiteY135" fmla="*/ 1276762 h 1430015"/>
                <a:gd name="connsiteX136" fmla="*/ 538990 w 1199136"/>
                <a:gd name="connsiteY136" fmla="*/ 1275703 h 1430015"/>
                <a:gd name="connsiteX137" fmla="*/ 538355 w 1199136"/>
                <a:gd name="connsiteY137" fmla="*/ 1275431 h 1430015"/>
                <a:gd name="connsiteX138" fmla="*/ 537840 w 1199136"/>
                <a:gd name="connsiteY138" fmla="*/ 1275552 h 1430015"/>
                <a:gd name="connsiteX139" fmla="*/ 537114 w 1199136"/>
                <a:gd name="connsiteY139" fmla="*/ 1276096 h 1430015"/>
                <a:gd name="connsiteX140" fmla="*/ 536661 w 1199136"/>
                <a:gd name="connsiteY140" fmla="*/ 1276217 h 1430015"/>
                <a:gd name="connsiteX141" fmla="*/ 535450 w 1199136"/>
                <a:gd name="connsiteY141" fmla="*/ 1277095 h 1430015"/>
                <a:gd name="connsiteX142" fmla="*/ 535723 w 1199136"/>
                <a:gd name="connsiteY142" fmla="*/ 1279000 h 1430015"/>
                <a:gd name="connsiteX143" fmla="*/ 536509 w 1199136"/>
                <a:gd name="connsiteY143" fmla="*/ 1280876 h 1430015"/>
                <a:gd name="connsiteX144" fmla="*/ 536933 w 1199136"/>
                <a:gd name="connsiteY144" fmla="*/ 1281662 h 1430015"/>
                <a:gd name="connsiteX145" fmla="*/ 539353 w 1199136"/>
                <a:gd name="connsiteY145" fmla="*/ 1284385 h 1430015"/>
                <a:gd name="connsiteX146" fmla="*/ 542862 w 1199136"/>
                <a:gd name="connsiteY146" fmla="*/ 1286714 h 1430015"/>
                <a:gd name="connsiteX147" fmla="*/ 546341 w 1199136"/>
                <a:gd name="connsiteY147" fmla="*/ 1287138 h 1430015"/>
                <a:gd name="connsiteX148" fmla="*/ 548640 w 1199136"/>
                <a:gd name="connsiteY148" fmla="*/ 1284113 h 1430015"/>
                <a:gd name="connsiteX149" fmla="*/ 548459 w 1199136"/>
                <a:gd name="connsiteY149" fmla="*/ 1281511 h 1430015"/>
                <a:gd name="connsiteX150" fmla="*/ 547067 w 1199136"/>
                <a:gd name="connsiteY150" fmla="*/ 1279636 h 1430015"/>
                <a:gd name="connsiteX151" fmla="*/ 171465 w 1199136"/>
                <a:gd name="connsiteY151" fmla="*/ 1000203 h 1430015"/>
                <a:gd name="connsiteX152" fmla="*/ 169922 w 1199136"/>
                <a:gd name="connsiteY152" fmla="*/ 1000778 h 1430015"/>
                <a:gd name="connsiteX153" fmla="*/ 165385 w 1199136"/>
                <a:gd name="connsiteY153" fmla="*/ 1001655 h 1430015"/>
                <a:gd name="connsiteX154" fmla="*/ 163842 w 1199136"/>
                <a:gd name="connsiteY154" fmla="*/ 1002623 h 1430015"/>
                <a:gd name="connsiteX155" fmla="*/ 163297 w 1199136"/>
                <a:gd name="connsiteY155" fmla="*/ 1004499 h 1430015"/>
                <a:gd name="connsiteX156" fmla="*/ 164114 w 1199136"/>
                <a:gd name="connsiteY156" fmla="*/ 1006042 h 1430015"/>
                <a:gd name="connsiteX157" fmla="*/ 166595 w 1199136"/>
                <a:gd name="connsiteY157" fmla="*/ 1008371 h 1430015"/>
                <a:gd name="connsiteX158" fmla="*/ 166595 w 1199136"/>
                <a:gd name="connsiteY158" fmla="*/ 1009127 h 1430015"/>
                <a:gd name="connsiteX159" fmla="*/ 166322 w 1199136"/>
                <a:gd name="connsiteY159" fmla="*/ 1010458 h 1430015"/>
                <a:gd name="connsiteX160" fmla="*/ 167805 w 1199136"/>
                <a:gd name="connsiteY160" fmla="*/ 1011275 h 1430015"/>
                <a:gd name="connsiteX161" fmla="*/ 169892 w 1199136"/>
                <a:gd name="connsiteY161" fmla="*/ 1011426 h 1430015"/>
                <a:gd name="connsiteX162" fmla="*/ 171465 w 1199136"/>
                <a:gd name="connsiteY162" fmla="*/ 1010731 h 1430015"/>
                <a:gd name="connsiteX163" fmla="*/ 172100 w 1199136"/>
                <a:gd name="connsiteY163" fmla="*/ 1008855 h 1430015"/>
                <a:gd name="connsiteX164" fmla="*/ 171526 w 1199136"/>
                <a:gd name="connsiteY164" fmla="*/ 1004045 h 1430015"/>
                <a:gd name="connsiteX165" fmla="*/ 171465 w 1199136"/>
                <a:gd name="connsiteY165" fmla="*/ 1000173 h 1430015"/>
                <a:gd name="connsiteX166" fmla="*/ 326231 w 1199136"/>
                <a:gd name="connsiteY166" fmla="*/ 526284 h 1430015"/>
                <a:gd name="connsiteX167" fmla="*/ 326020 w 1199136"/>
                <a:gd name="connsiteY167" fmla="*/ 525951 h 1430015"/>
                <a:gd name="connsiteX168" fmla="*/ 325838 w 1199136"/>
                <a:gd name="connsiteY168" fmla="*/ 525739 h 1430015"/>
                <a:gd name="connsiteX169" fmla="*/ 324386 w 1199136"/>
                <a:gd name="connsiteY169" fmla="*/ 524530 h 1430015"/>
                <a:gd name="connsiteX170" fmla="*/ 322510 w 1199136"/>
                <a:gd name="connsiteY170" fmla="*/ 525588 h 1430015"/>
                <a:gd name="connsiteX171" fmla="*/ 320272 w 1199136"/>
                <a:gd name="connsiteY171" fmla="*/ 530368 h 1430015"/>
                <a:gd name="connsiteX172" fmla="*/ 321966 w 1199136"/>
                <a:gd name="connsiteY172" fmla="*/ 532970 h 1430015"/>
                <a:gd name="connsiteX173" fmla="*/ 324114 w 1199136"/>
                <a:gd name="connsiteY173" fmla="*/ 532879 h 1430015"/>
                <a:gd name="connsiteX174" fmla="*/ 326050 w 1199136"/>
                <a:gd name="connsiteY174" fmla="*/ 530822 h 1430015"/>
                <a:gd name="connsiteX175" fmla="*/ 327321 w 1199136"/>
                <a:gd name="connsiteY175" fmla="*/ 528372 h 1430015"/>
                <a:gd name="connsiteX176" fmla="*/ 326595 w 1199136"/>
                <a:gd name="connsiteY176" fmla="*/ 526556 h 1430015"/>
                <a:gd name="connsiteX177" fmla="*/ 326231 w 1199136"/>
                <a:gd name="connsiteY177" fmla="*/ 526284 h 1430015"/>
                <a:gd name="connsiteX178" fmla="*/ 605755 w 1199136"/>
                <a:gd name="connsiteY178" fmla="*/ 1427686 h 1430015"/>
                <a:gd name="connsiteX179" fmla="*/ 605936 w 1199136"/>
                <a:gd name="connsiteY179" fmla="*/ 1427444 h 1430015"/>
                <a:gd name="connsiteX180" fmla="*/ 605694 w 1199136"/>
                <a:gd name="connsiteY180" fmla="*/ 1427262 h 1430015"/>
                <a:gd name="connsiteX181" fmla="*/ 604847 w 1199136"/>
                <a:gd name="connsiteY181" fmla="*/ 1427051 h 1430015"/>
                <a:gd name="connsiteX182" fmla="*/ 600249 w 1199136"/>
                <a:gd name="connsiteY182" fmla="*/ 1426627 h 1430015"/>
                <a:gd name="connsiteX183" fmla="*/ 599130 w 1199136"/>
                <a:gd name="connsiteY183" fmla="*/ 1426385 h 1430015"/>
                <a:gd name="connsiteX184" fmla="*/ 596921 w 1199136"/>
                <a:gd name="connsiteY184" fmla="*/ 1426385 h 1430015"/>
                <a:gd name="connsiteX185" fmla="*/ 596135 w 1199136"/>
                <a:gd name="connsiteY185" fmla="*/ 1426899 h 1430015"/>
                <a:gd name="connsiteX186" fmla="*/ 597133 w 1199136"/>
                <a:gd name="connsiteY186" fmla="*/ 1427353 h 1430015"/>
                <a:gd name="connsiteX187" fmla="*/ 599100 w 1199136"/>
                <a:gd name="connsiteY187" fmla="*/ 1427868 h 1430015"/>
                <a:gd name="connsiteX188" fmla="*/ 602942 w 1199136"/>
                <a:gd name="connsiteY188" fmla="*/ 1429411 h 1430015"/>
                <a:gd name="connsiteX189" fmla="*/ 603395 w 1199136"/>
                <a:gd name="connsiteY189" fmla="*/ 1429411 h 1430015"/>
                <a:gd name="connsiteX190" fmla="*/ 603849 w 1199136"/>
                <a:gd name="connsiteY190" fmla="*/ 1429774 h 1430015"/>
                <a:gd name="connsiteX191" fmla="*/ 604666 w 1199136"/>
                <a:gd name="connsiteY191" fmla="*/ 1430015 h 1430015"/>
                <a:gd name="connsiteX192" fmla="*/ 605694 w 1199136"/>
                <a:gd name="connsiteY192" fmla="*/ 1429652 h 1430015"/>
                <a:gd name="connsiteX193" fmla="*/ 605967 w 1199136"/>
                <a:gd name="connsiteY193" fmla="*/ 1428594 h 1430015"/>
                <a:gd name="connsiteX194" fmla="*/ 605694 w 1199136"/>
                <a:gd name="connsiteY194" fmla="*/ 1427837 h 1430015"/>
                <a:gd name="connsiteX195" fmla="*/ 605755 w 1199136"/>
                <a:gd name="connsiteY195" fmla="*/ 1427656 h 1430015"/>
                <a:gd name="connsiteX196" fmla="*/ 323872 w 1199136"/>
                <a:gd name="connsiteY196" fmla="*/ 838782 h 1430015"/>
                <a:gd name="connsiteX197" fmla="*/ 321028 w 1199136"/>
                <a:gd name="connsiteY197" fmla="*/ 836301 h 1430015"/>
                <a:gd name="connsiteX198" fmla="*/ 320484 w 1199136"/>
                <a:gd name="connsiteY198" fmla="*/ 835060 h 1430015"/>
                <a:gd name="connsiteX199" fmla="*/ 320363 w 1199136"/>
                <a:gd name="connsiteY199" fmla="*/ 834002 h 1430015"/>
                <a:gd name="connsiteX200" fmla="*/ 319969 w 1199136"/>
                <a:gd name="connsiteY200" fmla="*/ 833245 h 1430015"/>
                <a:gd name="connsiteX201" fmla="*/ 318578 w 1199136"/>
                <a:gd name="connsiteY201" fmla="*/ 832943 h 1430015"/>
                <a:gd name="connsiteX202" fmla="*/ 317912 w 1199136"/>
                <a:gd name="connsiteY202" fmla="*/ 832580 h 1430015"/>
                <a:gd name="connsiteX203" fmla="*/ 317398 w 1199136"/>
                <a:gd name="connsiteY203" fmla="*/ 831612 h 1430015"/>
                <a:gd name="connsiteX204" fmla="*/ 317065 w 1199136"/>
                <a:gd name="connsiteY204" fmla="*/ 830402 h 1430015"/>
                <a:gd name="connsiteX205" fmla="*/ 316581 w 1199136"/>
                <a:gd name="connsiteY205" fmla="*/ 822869 h 1430015"/>
                <a:gd name="connsiteX206" fmla="*/ 316188 w 1199136"/>
                <a:gd name="connsiteY206" fmla="*/ 821236 h 1430015"/>
                <a:gd name="connsiteX207" fmla="*/ 313133 w 1199136"/>
                <a:gd name="connsiteY207" fmla="*/ 815548 h 1430015"/>
                <a:gd name="connsiteX208" fmla="*/ 312739 w 1199136"/>
                <a:gd name="connsiteY208" fmla="*/ 813310 h 1430015"/>
                <a:gd name="connsiteX209" fmla="*/ 312104 w 1199136"/>
                <a:gd name="connsiteY209" fmla="*/ 811615 h 1430015"/>
                <a:gd name="connsiteX210" fmla="*/ 309291 w 1199136"/>
                <a:gd name="connsiteY210" fmla="*/ 808046 h 1430015"/>
                <a:gd name="connsiteX211" fmla="*/ 308686 w 1199136"/>
                <a:gd name="connsiteY211" fmla="*/ 806503 h 1430015"/>
                <a:gd name="connsiteX212" fmla="*/ 308595 w 1199136"/>
                <a:gd name="connsiteY212" fmla="*/ 807864 h 1430015"/>
                <a:gd name="connsiteX213" fmla="*/ 307506 w 1199136"/>
                <a:gd name="connsiteY213" fmla="*/ 806715 h 1430015"/>
                <a:gd name="connsiteX214" fmla="*/ 307899 w 1199136"/>
                <a:gd name="connsiteY214" fmla="*/ 805595 h 1430015"/>
                <a:gd name="connsiteX215" fmla="*/ 309170 w 1199136"/>
                <a:gd name="connsiteY215" fmla="*/ 805021 h 1430015"/>
                <a:gd name="connsiteX216" fmla="*/ 310713 w 1199136"/>
                <a:gd name="connsiteY216" fmla="*/ 805384 h 1430015"/>
                <a:gd name="connsiteX217" fmla="*/ 310713 w 1199136"/>
                <a:gd name="connsiteY217" fmla="*/ 804628 h 1430015"/>
                <a:gd name="connsiteX218" fmla="*/ 309835 w 1199136"/>
                <a:gd name="connsiteY218" fmla="*/ 803085 h 1430015"/>
                <a:gd name="connsiteX219" fmla="*/ 310864 w 1199136"/>
                <a:gd name="connsiteY219" fmla="*/ 802298 h 1430015"/>
                <a:gd name="connsiteX220" fmla="*/ 314161 w 1199136"/>
                <a:gd name="connsiteY220" fmla="*/ 801239 h 1430015"/>
                <a:gd name="connsiteX221" fmla="*/ 312860 w 1199136"/>
                <a:gd name="connsiteY221" fmla="*/ 800998 h 1430015"/>
                <a:gd name="connsiteX222" fmla="*/ 311711 w 1199136"/>
                <a:gd name="connsiteY222" fmla="*/ 800604 h 1430015"/>
                <a:gd name="connsiteX223" fmla="*/ 310743 w 1199136"/>
                <a:gd name="connsiteY223" fmla="*/ 799908 h 1430015"/>
                <a:gd name="connsiteX224" fmla="*/ 310077 w 1199136"/>
                <a:gd name="connsiteY224" fmla="*/ 798729 h 1430015"/>
                <a:gd name="connsiteX225" fmla="*/ 308928 w 1199136"/>
                <a:gd name="connsiteY225" fmla="*/ 799545 h 1430015"/>
                <a:gd name="connsiteX226" fmla="*/ 308080 w 1199136"/>
                <a:gd name="connsiteY226" fmla="*/ 799606 h 1430015"/>
                <a:gd name="connsiteX227" fmla="*/ 307536 w 1199136"/>
                <a:gd name="connsiteY227" fmla="*/ 798910 h 1430015"/>
                <a:gd name="connsiteX228" fmla="*/ 307354 w 1199136"/>
                <a:gd name="connsiteY228" fmla="*/ 797428 h 1430015"/>
                <a:gd name="connsiteX229" fmla="*/ 306780 w 1199136"/>
                <a:gd name="connsiteY229" fmla="*/ 797004 h 1430015"/>
                <a:gd name="connsiteX230" fmla="*/ 303150 w 1199136"/>
                <a:gd name="connsiteY230" fmla="*/ 795310 h 1430015"/>
                <a:gd name="connsiteX231" fmla="*/ 303150 w 1199136"/>
                <a:gd name="connsiteY231" fmla="*/ 794554 h 1430015"/>
                <a:gd name="connsiteX232" fmla="*/ 304148 w 1199136"/>
                <a:gd name="connsiteY232" fmla="*/ 794403 h 1430015"/>
                <a:gd name="connsiteX233" fmla="*/ 304904 w 1199136"/>
                <a:gd name="connsiteY233" fmla="*/ 793888 h 1430015"/>
                <a:gd name="connsiteX234" fmla="*/ 305479 w 1199136"/>
                <a:gd name="connsiteY234" fmla="*/ 793072 h 1430015"/>
                <a:gd name="connsiteX235" fmla="*/ 305963 w 1199136"/>
                <a:gd name="connsiteY235" fmla="*/ 791952 h 1430015"/>
                <a:gd name="connsiteX236" fmla="*/ 303997 w 1199136"/>
                <a:gd name="connsiteY236" fmla="*/ 791589 h 1430015"/>
                <a:gd name="connsiteX237" fmla="*/ 302514 w 1199136"/>
                <a:gd name="connsiteY237" fmla="*/ 792315 h 1430015"/>
                <a:gd name="connsiteX238" fmla="*/ 301032 w 1199136"/>
                <a:gd name="connsiteY238" fmla="*/ 793283 h 1430015"/>
                <a:gd name="connsiteX239" fmla="*/ 299066 w 1199136"/>
                <a:gd name="connsiteY239" fmla="*/ 793707 h 1430015"/>
                <a:gd name="connsiteX240" fmla="*/ 298461 w 1199136"/>
                <a:gd name="connsiteY240" fmla="*/ 793465 h 1430015"/>
                <a:gd name="connsiteX241" fmla="*/ 296646 w 1199136"/>
                <a:gd name="connsiteY241" fmla="*/ 792376 h 1430015"/>
                <a:gd name="connsiteX242" fmla="*/ 295617 w 1199136"/>
                <a:gd name="connsiteY242" fmla="*/ 791952 h 1430015"/>
                <a:gd name="connsiteX243" fmla="*/ 294588 w 1199136"/>
                <a:gd name="connsiteY243" fmla="*/ 792134 h 1430015"/>
                <a:gd name="connsiteX244" fmla="*/ 293681 w 1199136"/>
                <a:gd name="connsiteY244" fmla="*/ 792648 h 1430015"/>
                <a:gd name="connsiteX245" fmla="*/ 292864 w 1199136"/>
                <a:gd name="connsiteY245" fmla="*/ 792648 h 1430015"/>
                <a:gd name="connsiteX246" fmla="*/ 292078 w 1199136"/>
                <a:gd name="connsiteY246" fmla="*/ 791196 h 1430015"/>
                <a:gd name="connsiteX247" fmla="*/ 292925 w 1199136"/>
                <a:gd name="connsiteY247" fmla="*/ 791075 h 1430015"/>
                <a:gd name="connsiteX248" fmla="*/ 292804 w 1199136"/>
                <a:gd name="connsiteY248" fmla="*/ 790893 h 1430015"/>
                <a:gd name="connsiteX249" fmla="*/ 292864 w 1199136"/>
                <a:gd name="connsiteY249" fmla="*/ 790288 h 1430015"/>
                <a:gd name="connsiteX250" fmla="*/ 297432 w 1199136"/>
                <a:gd name="connsiteY250" fmla="*/ 790682 h 1430015"/>
                <a:gd name="connsiteX251" fmla="*/ 298824 w 1199136"/>
                <a:gd name="connsiteY251" fmla="*/ 790228 h 1430015"/>
                <a:gd name="connsiteX252" fmla="*/ 298340 w 1199136"/>
                <a:gd name="connsiteY252" fmla="*/ 788534 h 1430015"/>
                <a:gd name="connsiteX253" fmla="*/ 299610 w 1199136"/>
                <a:gd name="connsiteY253" fmla="*/ 786900 h 1430015"/>
                <a:gd name="connsiteX254" fmla="*/ 299973 w 1199136"/>
                <a:gd name="connsiteY254" fmla="*/ 784692 h 1430015"/>
                <a:gd name="connsiteX255" fmla="*/ 300488 w 1199136"/>
                <a:gd name="connsiteY255" fmla="*/ 782756 h 1430015"/>
                <a:gd name="connsiteX256" fmla="*/ 302151 w 1199136"/>
                <a:gd name="connsiteY256" fmla="*/ 781909 h 1430015"/>
                <a:gd name="connsiteX257" fmla="*/ 303694 w 1199136"/>
                <a:gd name="connsiteY257" fmla="*/ 782393 h 1430015"/>
                <a:gd name="connsiteX258" fmla="*/ 305328 w 1199136"/>
                <a:gd name="connsiteY258" fmla="*/ 783179 h 1430015"/>
                <a:gd name="connsiteX259" fmla="*/ 306871 w 1199136"/>
                <a:gd name="connsiteY259" fmla="*/ 783330 h 1430015"/>
                <a:gd name="connsiteX260" fmla="*/ 308020 w 1199136"/>
                <a:gd name="connsiteY260" fmla="*/ 781909 h 1430015"/>
                <a:gd name="connsiteX261" fmla="*/ 306175 w 1199136"/>
                <a:gd name="connsiteY261" fmla="*/ 780820 h 1430015"/>
                <a:gd name="connsiteX262" fmla="*/ 303301 w 1199136"/>
                <a:gd name="connsiteY262" fmla="*/ 779851 h 1430015"/>
                <a:gd name="connsiteX263" fmla="*/ 300518 w 1199136"/>
                <a:gd name="connsiteY263" fmla="*/ 779731 h 1430015"/>
                <a:gd name="connsiteX264" fmla="*/ 299035 w 1199136"/>
                <a:gd name="connsiteY264" fmla="*/ 781122 h 1430015"/>
                <a:gd name="connsiteX265" fmla="*/ 298552 w 1199136"/>
                <a:gd name="connsiteY265" fmla="*/ 781122 h 1430015"/>
                <a:gd name="connsiteX266" fmla="*/ 298249 w 1199136"/>
                <a:gd name="connsiteY266" fmla="*/ 780941 h 1430015"/>
                <a:gd name="connsiteX267" fmla="*/ 297644 w 1199136"/>
                <a:gd name="connsiteY267" fmla="*/ 780275 h 1430015"/>
                <a:gd name="connsiteX268" fmla="*/ 297523 w 1199136"/>
                <a:gd name="connsiteY268" fmla="*/ 780608 h 1430015"/>
                <a:gd name="connsiteX269" fmla="*/ 297523 w 1199136"/>
                <a:gd name="connsiteY269" fmla="*/ 780941 h 1430015"/>
                <a:gd name="connsiteX270" fmla="*/ 297463 w 1199136"/>
                <a:gd name="connsiteY270" fmla="*/ 781122 h 1430015"/>
                <a:gd name="connsiteX271" fmla="*/ 296948 w 1199136"/>
                <a:gd name="connsiteY271" fmla="*/ 781122 h 1430015"/>
                <a:gd name="connsiteX272" fmla="*/ 297463 w 1199136"/>
                <a:gd name="connsiteY272" fmla="*/ 779216 h 1430015"/>
                <a:gd name="connsiteX273" fmla="*/ 297100 w 1199136"/>
                <a:gd name="connsiteY273" fmla="*/ 778036 h 1430015"/>
                <a:gd name="connsiteX274" fmla="*/ 295980 w 1199136"/>
                <a:gd name="connsiteY274" fmla="*/ 777764 h 1430015"/>
                <a:gd name="connsiteX275" fmla="*/ 294135 w 1199136"/>
                <a:gd name="connsiteY275" fmla="*/ 778551 h 1430015"/>
                <a:gd name="connsiteX276" fmla="*/ 294891 w 1199136"/>
                <a:gd name="connsiteY276" fmla="*/ 780305 h 1430015"/>
                <a:gd name="connsiteX277" fmla="*/ 292834 w 1199136"/>
                <a:gd name="connsiteY277" fmla="*/ 780305 h 1430015"/>
                <a:gd name="connsiteX278" fmla="*/ 293772 w 1199136"/>
                <a:gd name="connsiteY278" fmla="*/ 778430 h 1430015"/>
                <a:gd name="connsiteX279" fmla="*/ 295557 w 1199136"/>
                <a:gd name="connsiteY279" fmla="*/ 771049 h 1430015"/>
                <a:gd name="connsiteX280" fmla="*/ 295738 w 1199136"/>
                <a:gd name="connsiteY280" fmla="*/ 771593 h 1430015"/>
                <a:gd name="connsiteX281" fmla="*/ 296040 w 1199136"/>
                <a:gd name="connsiteY281" fmla="*/ 772198 h 1430015"/>
                <a:gd name="connsiteX282" fmla="*/ 296252 w 1199136"/>
                <a:gd name="connsiteY282" fmla="*/ 772773 h 1430015"/>
                <a:gd name="connsiteX283" fmla="*/ 297311 w 1199136"/>
                <a:gd name="connsiteY283" fmla="*/ 771532 h 1430015"/>
                <a:gd name="connsiteX284" fmla="*/ 297916 w 1199136"/>
                <a:gd name="connsiteY284" fmla="*/ 770413 h 1430015"/>
                <a:gd name="connsiteX285" fmla="*/ 298189 w 1199136"/>
                <a:gd name="connsiteY285" fmla="*/ 769173 h 1430015"/>
                <a:gd name="connsiteX286" fmla="*/ 298309 w 1199136"/>
                <a:gd name="connsiteY286" fmla="*/ 767660 h 1430015"/>
                <a:gd name="connsiteX287" fmla="*/ 297977 w 1199136"/>
                <a:gd name="connsiteY287" fmla="*/ 767418 h 1430015"/>
                <a:gd name="connsiteX288" fmla="*/ 297856 w 1199136"/>
                <a:gd name="connsiteY288" fmla="*/ 767418 h 1430015"/>
                <a:gd name="connsiteX289" fmla="*/ 297795 w 1199136"/>
                <a:gd name="connsiteY289" fmla="*/ 767358 h 1430015"/>
                <a:gd name="connsiteX290" fmla="*/ 297614 w 1199136"/>
                <a:gd name="connsiteY290" fmla="*/ 766844 h 1430015"/>
                <a:gd name="connsiteX291" fmla="*/ 296918 w 1199136"/>
                <a:gd name="connsiteY291" fmla="*/ 766844 h 1430015"/>
                <a:gd name="connsiteX292" fmla="*/ 296252 w 1199136"/>
                <a:gd name="connsiteY292" fmla="*/ 767479 h 1430015"/>
                <a:gd name="connsiteX293" fmla="*/ 295708 w 1199136"/>
                <a:gd name="connsiteY293" fmla="*/ 767237 h 1430015"/>
                <a:gd name="connsiteX294" fmla="*/ 295073 w 1199136"/>
                <a:gd name="connsiteY294" fmla="*/ 766602 h 1430015"/>
                <a:gd name="connsiteX295" fmla="*/ 294104 w 1199136"/>
                <a:gd name="connsiteY295" fmla="*/ 765996 h 1430015"/>
                <a:gd name="connsiteX296" fmla="*/ 294861 w 1199136"/>
                <a:gd name="connsiteY296" fmla="*/ 765089 h 1430015"/>
                <a:gd name="connsiteX297" fmla="*/ 294014 w 1199136"/>
                <a:gd name="connsiteY297" fmla="*/ 763940 h 1430015"/>
                <a:gd name="connsiteX298" fmla="*/ 293439 w 1199136"/>
                <a:gd name="connsiteY298" fmla="*/ 764060 h 1430015"/>
                <a:gd name="connsiteX299" fmla="*/ 292985 w 1199136"/>
                <a:gd name="connsiteY299" fmla="*/ 764696 h 1430015"/>
                <a:gd name="connsiteX300" fmla="*/ 292410 w 1199136"/>
                <a:gd name="connsiteY300" fmla="*/ 765089 h 1430015"/>
                <a:gd name="connsiteX301" fmla="*/ 291049 w 1199136"/>
                <a:gd name="connsiteY301" fmla="*/ 764847 h 1430015"/>
                <a:gd name="connsiteX302" fmla="*/ 289748 w 1199136"/>
                <a:gd name="connsiteY302" fmla="*/ 764454 h 1430015"/>
                <a:gd name="connsiteX303" fmla="*/ 288508 w 1199136"/>
                <a:gd name="connsiteY303" fmla="*/ 764363 h 1430015"/>
                <a:gd name="connsiteX304" fmla="*/ 287238 w 1199136"/>
                <a:gd name="connsiteY304" fmla="*/ 765089 h 1430015"/>
                <a:gd name="connsiteX305" fmla="*/ 287812 w 1199136"/>
                <a:gd name="connsiteY305" fmla="*/ 765422 h 1430015"/>
                <a:gd name="connsiteX306" fmla="*/ 288084 w 1199136"/>
                <a:gd name="connsiteY306" fmla="*/ 765815 h 1430015"/>
                <a:gd name="connsiteX307" fmla="*/ 288266 w 1199136"/>
                <a:gd name="connsiteY307" fmla="*/ 766269 h 1430015"/>
                <a:gd name="connsiteX308" fmla="*/ 288599 w 1199136"/>
                <a:gd name="connsiteY308" fmla="*/ 766844 h 1430015"/>
                <a:gd name="connsiteX309" fmla="*/ 287631 w 1199136"/>
                <a:gd name="connsiteY309" fmla="*/ 767539 h 1430015"/>
                <a:gd name="connsiteX310" fmla="*/ 286995 w 1199136"/>
                <a:gd name="connsiteY310" fmla="*/ 768598 h 1430015"/>
                <a:gd name="connsiteX311" fmla="*/ 285876 w 1199136"/>
                <a:gd name="connsiteY311" fmla="*/ 771049 h 1430015"/>
                <a:gd name="connsiteX312" fmla="*/ 285271 w 1199136"/>
                <a:gd name="connsiteY312" fmla="*/ 768174 h 1430015"/>
                <a:gd name="connsiteX313" fmla="*/ 285271 w 1199136"/>
                <a:gd name="connsiteY313" fmla="*/ 766965 h 1430015"/>
                <a:gd name="connsiteX314" fmla="*/ 285876 w 1199136"/>
                <a:gd name="connsiteY314" fmla="*/ 766027 h 1430015"/>
                <a:gd name="connsiteX315" fmla="*/ 284878 w 1199136"/>
                <a:gd name="connsiteY315" fmla="*/ 765089 h 1430015"/>
                <a:gd name="connsiteX316" fmla="*/ 284243 w 1199136"/>
                <a:gd name="connsiteY316" fmla="*/ 764060 h 1430015"/>
                <a:gd name="connsiteX317" fmla="*/ 283607 w 1199136"/>
                <a:gd name="connsiteY317" fmla="*/ 763183 h 1430015"/>
                <a:gd name="connsiteX318" fmla="*/ 282458 w 1199136"/>
                <a:gd name="connsiteY318" fmla="*/ 762699 h 1430015"/>
                <a:gd name="connsiteX319" fmla="*/ 282790 w 1199136"/>
                <a:gd name="connsiteY319" fmla="*/ 762185 h 1430015"/>
                <a:gd name="connsiteX320" fmla="*/ 283002 w 1199136"/>
                <a:gd name="connsiteY320" fmla="*/ 761731 h 1430015"/>
                <a:gd name="connsiteX321" fmla="*/ 283274 w 1199136"/>
                <a:gd name="connsiteY321" fmla="*/ 761308 h 1430015"/>
                <a:gd name="connsiteX322" fmla="*/ 283819 w 1199136"/>
                <a:gd name="connsiteY322" fmla="*/ 760944 h 1430015"/>
                <a:gd name="connsiteX323" fmla="*/ 283819 w 1199136"/>
                <a:gd name="connsiteY323" fmla="*/ 760188 h 1430015"/>
                <a:gd name="connsiteX324" fmla="*/ 282790 w 1199136"/>
                <a:gd name="connsiteY324" fmla="*/ 760188 h 1430015"/>
                <a:gd name="connsiteX325" fmla="*/ 281974 w 1199136"/>
                <a:gd name="connsiteY325" fmla="*/ 760067 h 1430015"/>
                <a:gd name="connsiteX326" fmla="*/ 281218 w 1199136"/>
                <a:gd name="connsiteY326" fmla="*/ 759795 h 1430015"/>
                <a:gd name="connsiteX327" fmla="*/ 280370 w 1199136"/>
                <a:gd name="connsiteY327" fmla="*/ 759372 h 1430015"/>
                <a:gd name="connsiteX328" fmla="*/ 280370 w 1199136"/>
                <a:gd name="connsiteY328" fmla="*/ 760188 h 1430015"/>
                <a:gd name="connsiteX329" fmla="*/ 276740 w 1199136"/>
                <a:gd name="connsiteY329" fmla="*/ 756951 h 1430015"/>
                <a:gd name="connsiteX330" fmla="*/ 275046 w 1199136"/>
                <a:gd name="connsiteY330" fmla="*/ 756407 h 1430015"/>
                <a:gd name="connsiteX331" fmla="*/ 274834 w 1199136"/>
                <a:gd name="connsiteY331" fmla="*/ 759372 h 1430015"/>
                <a:gd name="connsiteX332" fmla="*/ 273171 w 1199136"/>
                <a:gd name="connsiteY332" fmla="*/ 758283 h 1430015"/>
                <a:gd name="connsiteX333" fmla="*/ 272747 w 1199136"/>
                <a:gd name="connsiteY333" fmla="*/ 757708 h 1430015"/>
                <a:gd name="connsiteX334" fmla="*/ 272051 w 1199136"/>
                <a:gd name="connsiteY334" fmla="*/ 758101 h 1430015"/>
                <a:gd name="connsiteX335" fmla="*/ 271476 w 1199136"/>
                <a:gd name="connsiteY335" fmla="*/ 758283 h 1430015"/>
                <a:gd name="connsiteX336" fmla="*/ 270024 w 1199136"/>
                <a:gd name="connsiteY336" fmla="*/ 758464 h 1430015"/>
                <a:gd name="connsiteX337" fmla="*/ 270024 w 1199136"/>
                <a:gd name="connsiteY337" fmla="*/ 757708 h 1430015"/>
                <a:gd name="connsiteX338" fmla="*/ 270327 w 1199136"/>
                <a:gd name="connsiteY338" fmla="*/ 757163 h 1430015"/>
                <a:gd name="connsiteX339" fmla="*/ 270418 w 1199136"/>
                <a:gd name="connsiteY339" fmla="*/ 756800 h 1430015"/>
                <a:gd name="connsiteX340" fmla="*/ 270024 w 1199136"/>
                <a:gd name="connsiteY340" fmla="*/ 755197 h 1430015"/>
                <a:gd name="connsiteX341" fmla="*/ 269329 w 1199136"/>
                <a:gd name="connsiteY341" fmla="*/ 755197 h 1430015"/>
                <a:gd name="connsiteX342" fmla="*/ 268996 w 1199136"/>
                <a:gd name="connsiteY342" fmla="*/ 756346 h 1430015"/>
                <a:gd name="connsiteX343" fmla="*/ 268844 w 1199136"/>
                <a:gd name="connsiteY343" fmla="*/ 757223 h 1430015"/>
                <a:gd name="connsiteX344" fmla="*/ 268966 w 1199136"/>
                <a:gd name="connsiteY344" fmla="*/ 757889 h 1430015"/>
                <a:gd name="connsiteX345" fmla="*/ 269329 w 1199136"/>
                <a:gd name="connsiteY345" fmla="*/ 758464 h 1430015"/>
                <a:gd name="connsiteX346" fmla="*/ 268240 w 1199136"/>
                <a:gd name="connsiteY346" fmla="*/ 757586 h 1430015"/>
                <a:gd name="connsiteX347" fmla="*/ 268300 w 1199136"/>
                <a:gd name="connsiteY347" fmla="*/ 753352 h 1430015"/>
                <a:gd name="connsiteX348" fmla="*/ 267271 w 1199136"/>
                <a:gd name="connsiteY348" fmla="*/ 751748 h 1430015"/>
                <a:gd name="connsiteX349" fmla="*/ 266182 w 1199136"/>
                <a:gd name="connsiteY349" fmla="*/ 751990 h 1430015"/>
                <a:gd name="connsiteX350" fmla="*/ 265305 w 1199136"/>
                <a:gd name="connsiteY350" fmla="*/ 751869 h 1430015"/>
                <a:gd name="connsiteX351" fmla="*/ 264730 w 1199136"/>
                <a:gd name="connsiteY351" fmla="*/ 751264 h 1430015"/>
                <a:gd name="connsiteX352" fmla="*/ 264519 w 1199136"/>
                <a:gd name="connsiteY352" fmla="*/ 750145 h 1430015"/>
                <a:gd name="connsiteX353" fmla="*/ 262673 w 1199136"/>
                <a:gd name="connsiteY353" fmla="*/ 750992 h 1430015"/>
                <a:gd name="connsiteX354" fmla="*/ 260405 w 1199136"/>
                <a:gd name="connsiteY354" fmla="*/ 751566 h 1430015"/>
                <a:gd name="connsiteX355" fmla="*/ 258499 w 1199136"/>
                <a:gd name="connsiteY355" fmla="*/ 752565 h 1430015"/>
                <a:gd name="connsiteX356" fmla="*/ 257682 w 1199136"/>
                <a:gd name="connsiteY356" fmla="*/ 754713 h 1430015"/>
                <a:gd name="connsiteX357" fmla="*/ 257742 w 1199136"/>
                <a:gd name="connsiteY357" fmla="*/ 759765 h 1430015"/>
                <a:gd name="connsiteX358" fmla="*/ 257167 w 1199136"/>
                <a:gd name="connsiteY358" fmla="*/ 761640 h 1430015"/>
                <a:gd name="connsiteX359" fmla="*/ 255594 w 1199136"/>
                <a:gd name="connsiteY359" fmla="*/ 763606 h 1430015"/>
                <a:gd name="connsiteX360" fmla="*/ 254959 w 1199136"/>
                <a:gd name="connsiteY360" fmla="*/ 762699 h 1430015"/>
                <a:gd name="connsiteX361" fmla="*/ 252146 w 1199136"/>
                <a:gd name="connsiteY361" fmla="*/ 765240 h 1430015"/>
                <a:gd name="connsiteX362" fmla="*/ 250663 w 1199136"/>
                <a:gd name="connsiteY362" fmla="*/ 765755 h 1430015"/>
                <a:gd name="connsiteX363" fmla="*/ 243796 w 1199136"/>
                <a:gd name="connsiteY363" fmla="*/ 766541 h 1430015"/>
                <a:gd name="connsiteX364" fmla="*/ 241860 w 1199136"/>
                <a:gd name="connsiteY364" fmla="*/ 767388 h 1430015"/>
                <a:gd name="connsiteX365" fmla="*/ 240378 w 1199136"/>
                <a:gd name="connsiteY365" fmla="*/ 770413 h 1430015"/>
                <a:gd name="connsiteX366" fmla="*/ 238866 w 1199136"/>
                <a:gd name="connsiteY366" fmla="*/ 772198 h 1430015"/>
                <a:gd name="connsiteX367" fmla="*/ 237141 w 1199136"/>
                <a:gd name="connsiteY367" fmla="*/ 773741 h 1430015"/>
                <a:gd name="connsiteX368" fmla="*/ 235901 w 1199136"/>
                <a:gd name="connsiteY368" fmla="*/ 774406 h 1430015"/>
                <a:gd name="connsiteX369" fmla="*/ 235265 w 1199136"/>
                <a:gd name="connsiteY369" fmla="*/ 774830 h 1430015"/>
                <a:gd name="connsiteX370" fmla="*/ 234207 w 1199136"/>
                <a:gd name="connsiteY370" fmla="*/ 776978 h 1430015"/>
                <a:gd name="connsiteX371" fmla="*/ 233541 w 1199136"/>
                <a:gd name="connsiteY371" fmla="*/ 777825 h 1430015"/>
                <a:gd name="connsiteX372" fmla="*/ 232573 w 1199136"/>
                <a:gd name="connsiteY372" fmla="*/ 778309 h 1430015"/>
                <a:gd name="connsiteX373" fmla="*/ 229367 w 1199136"/>
                <a:gd name="connsiteY373" fmla="*/ 779398 h 1430015"/>
                <a:gd name="connsiteX374" fmla="*/ 229790 w 1199136"/>
                <a:gd name="connsiteY374" fmla="*/ 779640 h 1430015"/>
                <a:gd name="connsiteX375" fmla="*/ 229850 w 1199136"/>
                <a:gd name="connsiteY375" fmla="*/ 779700 h 1430015"/>
                <a:gd name="connsiteX376" fmla="*/ 229850 w 1199136"/>
                <a:gd name="connsiteY376" fmla="*/ 779851 h 1430015"/>
                <a:gd name="connsiteX377" fmla="*/ 230062 w 1199136"/>
                <a:gd name="connsiteY377" fmla="*/ 780305 h 1430015"/>
                <a:gd name="connsiteX378" fmla="*/ 228792 w 1199136"/>
                <a:gd name="connsiteY378" fmla="*/ 781304 h 1430015"/>
                <a:gd name="connsiteX379" fmla="*/ 225192 w 1199136"/>
                <a:gd name="connsiteY379" fmla="*/ 786991 h 1430015"/>
                <a:gd name="connsiteX380" fmla="*/ 223467 w 1199136"/>
                <a:gd name="connsiteY380" fmla="*/ 788746 h 1430015"/>
                <a:gd name="connsiteX381" fmla="*/ 217629 w 1199136"/>
                <a:gd name="connsiteY381" fmla="*/ 792829 h 1430015"/>
                <a:gd name="connsiteX382" fmla="*/ 216298 w 1199136"/>
                <a:gd name="connsiteY382" fmla="*/ 792194 h 1430015"/>
                <a:gd name="connsiteX383" fmla="*/ 214543 w 1199136"/>
                <a:gd name="connsiteY383" fmla="*/ 791922 h 1430015"/>
                <a:gd name="connsiteX384" fmla="*/ 212062 w 1199136"/>
                <a:gd name="connsiteY384" fmla="*/ 792013 h 1430015"/>
                <a:gd name="connsiteX385" fmla="*/ 205196 w 1199136"/>
                <a:gd name="connsiteY385" fmla="*/ 794977 h 1430015"/>
                <a:gd name="connsiteX386" fmla="*/ 204530 w 1199136"/>
                <a:gd name="connsiteY386" fmla="*/ 796793 h 1430015"/>
                <a:gd name="connsiteX387" fmla="*/ 202927 w 1199136"/>
                <a:gd name="connsiteY387" fmla="*/ 798668 h 1430015"/>
                <a:gd name="connsiteX388" fmla="*/ 200930 w 1199136"/>
                <a:gd name="connsiteY388" fmla="*/ 800271 h 1430015"/>
                <a:gd name="connsiteX389" fmla="*/ 193095 w 1199136"/>
                <a:gd name="connsiteY389" fmla="*/ 803417 h 1430015"/>
                <a:gd name="connsiteX390" fmla="*/ 191129 w 1199136"/>
                <a:gd name="connsiteY390" fmla="*/ 803720 h 1430015"/>
                <a:gd name="connsiteX391" fmla="*/ 188799 w 1199136"/>
                <a:gd name="connsiteY391" fmla="*/ 803508 h 1430015"/>
                <a:gd name="connsiteX392" fmla="*/ 183173 w 1199136"/>
                <a:gd name="connsiteY392" fmla="*/ 801965 h 1430015"/>
                <a:gd name="connsiteX393" fmla="*/ 171949 w 1199136"/>
                <a:gd name="connsiteY393" fmla="*/ 800513 h 1430015"/>
                <a:gd name="connsiteX394" fmla="*/ 168682 w 1199136"/>
                <a:gd name="connsiteY394" fmla="*/ 798698 h 1430015"/>
                <a:gd name="connsiteX395" fmla="*/ 164175 w 1199136"/>
                <a:gd name="connsiteY395" fmla="*/ 793253 h 1430015"/>
                <a:gd name="connsiteX396" fmla="*/ 163781 w 1199136"/>
                <a:gd name="connsiteY396" fmla="*/ 791862 h 1430015"/>
                <a:gd name="connsiteX397" fmla="*/ 164023 w 1199136"/>
                <a:gd name="connsiteY397" fmla="*/ 790288 h 1430015"/>
                <a:gd name="connsiteX398" fmla="*/ 164416 w 1199136"/>
                <a:gd name="connsiteY398" fmla="*/ 788836 h 1430015"/>
                <a:gd name="connsiteX399" fmla="*/ 164477 w 1199136"/>
                <a:gd name="connsiteY399" fmla="*/ 787808 h 1430015"/>
                <a:gd name="connsiteX400" fmla="*/ 163751 w 1199136"/>
                <a:gd name="connsiteY400" fmla="*/ 786870 h 1430015"/>
                <a:gd name="connsiteX401" fmla="*/ 162844 w 1199136"/>
                <a:gd name="connsiteY401" fmla="*/ 786870 h 1430015"/>
                <a:gd name="connsiteX402" fmla="*/ 162087 w 1199136"/>
                <a:gd name="connsiteY402" fmla="*/ 786749 h 1430015"/>
                <a:gd name="connsiteX403" fmla="*/ 161785 w 1199136"/>
                <a:gd name="connsiteY403" fmla="*/ 785297 h 1430015"/>
                <a:gd name="connsiteX404" fmla="*/ 161028 w 1199136"/>
                <a:gd name="connsiteY404" fmla="*/ 785297 h 1430015"/>
                <a:gd name="connsiteX405" fmla="*/ 160121 w 1199136"/>
                <a:gd name="connsiteY405" fmla="*/ 786719 h 1430015"/>
                <a:gd name="connsiteX406" fmla="*/ 159032 w 1199136"/>
                <a:gd name="connsiteY406" fmla="*/ 788987 h 1430015"/>
                <a:gd name="connsiteX407" fmla="*/ 158699 w 1199136"/>
                <a:gd name="connsiteY407" fmla="*/ 791075 h 1430015"/>
                <a:gd name="connsiteX408" fmla="*/ 160030 w 1199136"/>
                <a:gd name="connsiteY408" fmla="*/ 791982 h 1430015"/>
                <a:gd name="connsiteX409" fmla="*/ 161785 w 1199136"/>
                <a:gd name="connsiteY409" fmla="*/ 792739 h 1430015"/>
                <a:gd name="connsiteX410" fmla="*/ 162450 w 1199136"/>
                <a:gd name="connsiteY410" fmla="*/ 794554 h 1430015"/>
                <a:gd name="connsiteX411" fmla="*/ 162360 w 1199136"/>
                <a:gd name="connsiteY411" fmla="*/ 796762 h 1430015"/>
                <a:gd name="connsiteX412" fmla="*/ 161785 w 1199136"/>
                <a:gd name="connsiteY412" fmla="*/ 798698 h 1430015"/>
                <a:gd name="connsiteX413" fmla="*/ 154162 w 1199136"/>
                <a:gd name="connsiteY413" fmla="*/ 815337 h 1430015"/>
                <a:gd name="connsiteX414" fmla="*/ 155371 w 1199136"/>
                <a:gd name="connsiteY414" fmla="*/ 815700 h 1430015"/>
                <a:gd name="connsiteX415" fmla="*/ 156128 w 1199136"/>
                <a:gd name="connsiteY415" fmla="*/ 816456 h 1430015"/>
                <a:gd name="connsiteX416" fmla="*/ 157610 w 1199136"/>
                <a:gd name="connsiteY416" fmla="*/ 818664 h 1430015"/>
                <a:gd name="connsiteX417" fmla="*/ 158215 w 1199136"/>
                <a:gd name="connsiteY417" fmla="*/ 819239 h 1430015"/>
                <a:gd name="connsiteX418" fmla="*/ 158729 w 1199136"/>
                <a:gd name="connsiteY418" fmla="*/ 819511 h 1430015"/>
                <a:gd name="connsiteX419" fmla="*/ 160060 w 1199136"/>
                <a:gd name="connsiteY419" fmla="*/ 819602 h 1430015"/>
                <a:gd name="connsiteX420" fmla="*/ 160605 w 1199136"/>
                <a:gd name="connsiteY420" fmla="*/ 819965 h 1430015"/>
                <a:gd name="connsiteX421" fmla="*/ 160423 w 1199136"/>
                <a:gd name="connsiteY421" fmla="*/ 820691 h 1430015"/>
                <a:gd name="connsiteX422" fmla="*/ 159970 w 1199136"/>
                <a:gd name="connsiteY422" fmla="*/ 821266 h 1430015"/>
                <a:gd name="connsiteX423" fmla="*/ 159697 w 1199136"/>
                <a:gd name="connsiteY423" fmla="*/ 821266 h 1430015"/>
                <a:gd name="connsiteX424" fmla="*/ 159365 w 1199136"/>
                <a:gd name="connsiteY424" fmla="*/ 824170 h 1430015"/>
                <a:gd name="connsiteX425" fmla="*/ 158215 w 1199136"/>
                <a:gd name="connsiteY425" fmla="*/ 825985 h 1430015"/>
                <a:gd name="connsiteX426" fmla="*/ 156581 w 1199136"/>
                <a:gd name="connsiteY426" fmla="*/ 827134 h 1430015"/>
                <a:gd name="connsiteX427" fmla="*/ 154857 w 1199136"/>
                <a:gd name="connsiteY427" fmla="*/ 827982 h 1430015"/>
                <a:gd name="connsiteX428" fmla="*/ 154857 w 1199136"/>
                <a:gd name="connsiteY428" fmla="*/ 828738 h 1430015"/>
                <a:gd name="connsiteX429" fmla="*/ 155523 w 1199136"/>
                <a:gd name="connsiteY429" fmla="*/ 831854 h 1430015"/>
                <a:gd name="connsiteX430" fmla="*/ 156128 w 1199136"/>
                <a:gd name="connsiteY430" fmla="*/ 833729 h 1430015"/>
                <a:gd name="connsiteX431" fmla="*/ 157005 w 1199136"/>
                <a:gd name="connsiteY431" fmla="*/ 835424 h 1430015"/>
                <a:gd name="connsiteX432" fmla="*/ 157429 w 1199136"/>
                <a:gd name="connsiteY432" fmla="*/ 832671 h 1430015"/>
                <a:gd name="connsiteX433" fmla="*/ 158487 w 1199136"/>
                <a:gd name="connsiteY433" fmla="*/ 830220 h 1430015"/>
                <a:gd name="connsiteX434" fmla="*/ 160182 w 1199136"/>
                <a:gd name="connsiteY434" fmla="*/ 828889 h 1430015"/>
                <a:gd name="connsiteX435" fmla="*/ 162511 w 1199136"/>
                <a:gd name="connsiteY435" fmla="*/ 829555 h 1430015"/>
                <a:gd name="connsiteX436" fmla="*/ 161391 w 1199136"/>
                <a:gd name="connsiteY436" fmla="*/ 831309 h 1430015"/>
                <a:gd name="connsiteX437" fmla="*/ 160454 w 1199136"/>
                <a:gd name="connsiteY437" fmla="*/ 833699 h 1430015"/>
                <a:gd name="connsiteX438" fmla="*/ 162511 w 1199136"/>
                <a:gd name="connsiteY438" fmla="*/ 834607 h 1430015"/>
                <a:gd name="connsiteX439" fmla="*/ 167654 w 1199136"/>
                <a:gd name="connsiteY439" fmla="*/ 831763 h 1430015"/>
                <a:gd name="connsiteX440" fmla="*/ 170073 w 1199136"/>
                <a:gd name="connsiteY440" fmla="*/ 831612 h 1430015"/>
                <a:gd name="connsiteX441" fmla="*/ 172131 w 1199136"/>
                <a:gd name="connsiteY441" fmla="*/ 833729 h 1430015"/>
                <a:gd name="connsiteX442" fmla="*/ 172887 w 1199136"/>
                <a:gd name="connsiteY442" fmla="*/ 836452 h 1430015"/>
                <a:gd name="connsiteX443" fmla="*/ 173311 w 1199136"/>
                <a:gd name="connsiteY443" fmla="*/ 839477 h 1430015"/>
                <a:gd name="connsiteX444" fmla="*/ 174097 w 1199136"/>
                <a:gd name="connsiteY444" fmla="*/ 841927 h 1430015"/>
                <a:gd name="connsiteX445" fmla="*/ 175912 w 1199136"/>
                <a:gd name="connsiteY445" fmla="*/ 842926 h 1430015"/>
                <a:gd name="connsiteX446" fmla="*/ 177485 w 1199136"/>
                <a:gd name="connsiteY446" fmla="*/ 844166 h 1430015"/>
                <a:gd name="connsiteX447" fmla="*/ 178937 w 1199136"/>
                <a:gd name="connsiteY447" fmla="*/ 847010 h 1430015"/>
                <a:gd name="connsiteX448" fmla="*/ 179996 w 1199136"/>
                <a:gd name="connsiteY448" fmla="*/ 850216 h 1430015"/>
                <a:gd name="connsiteX449" fmla="*/ 180389 w 1199136"/>
                <a:gd name="connsiteY449" fmla="*/ 852455 h 1430015"/>
                <a:gd name="connsiteX450" fmla="*/ 179270 w 1199136"/>
                <a:gd name="connsiteY450" fmla="*/ 858778 h 1430015"/>
                <a:gd name="connsiteX451" fmla="*/ 179512 w 1199136"/>
                <a:gd name="connsiteY451" fmla="*/ 861198 h 1430015"/>
                <a:gd name="connsiteX452" fmla="*/ 181751 w 1199136"/>
                <a:gd name="connsiteY452" fmla="*/ 862892 h 1430015"/>
                <a:gd name="connsiteX453" fmla="*/ 182507 w 1199136"/>
                <a:gd name="connsiteY453" fmla="*/ 861984 h 1430015"/>
                <a:gd name="connsiteX454" fmla="*/ 185078 w 1199136"/>
                <a:gd name="connsiteY454" fmla="*/ 863648 h 1430015"/>
                <a:gd name="connsiteX455" fmla="*/ 187256 w 1199136"/>
                <a:gd name="connsiteY455" fmla="*/ 865705 h 1430015"/>
                <a:gd name="connsiteX456" fmla="*/ 188587 w 1199136"/>
                <a:gd name="connsiteY456" fmla="*/ 868428 h 1430015"/>
                <a:gd name="connsiteX457" fmla="*/ 188587 w 1199136"/>
                <a:gd name="connsiteY457" fmla="*/ 872028 h 1430015"/>
                <a:gd name="connsiteX458" fmla="*/ 186924 w 1199136"/>
                <a:gd name="connsiteY458" fmla="*/ 877624 h 1430015"/>
                <a:gd name="connsiteX459" fmla="*/ 187287 w 1199136"/>
                <a:gd name="connsiteY459" fmla="*/ 884007 h 1430015"/>
                <a:gd name="connsiteX460" fmla="*/ 187680 w 1199136"/>
                <a:gd name="connsiteY460" fmla="*/ 886216 h 1430015"/>
                <a:gd name="connsiteX461" fmla="*/ 189465 w 1199136"/>
                <a:gd name="connsiteY461" fmla="*/ 889422 h 1430015"/>
                <a:gd name="connsiteX462" fmla="*/ 189949 w 1199136"/>
                <a:gd name="connsiteY462" fmla="*/ 891056 h 1430015"/>
                <a:gd name="connsiteX463" fmla="*/ 189677 w 1199136"/>
                <a:gd name="connsiteY463" fmla="*/ 892841 h 1430015"/>
                <a:gd name="connsiteX464" fmla="*/ 188830 w 1199136"/>
                <a:gd name="connsiteY464" fmla="*/ 894686 h 1430015"/>
                <a:gd name="connsiteX465" fmla="*/ 187771 w 1199136"/>
                <a:gd name="connsiteY465" fmla="*/ 896138 h 1430015"/>
                <a:gd name="connsiteX466" fmla="*/ 186863 w 1199136"/>
                <a:gd name="connsiteY466" fmla="*/ 896713 h 1430015"/>
                <a:gd name="connsiteX467" fmla="*/ 186137 w 1199136"/>
                <a:gd name="connsiteY467" fmla="*/ 896864 h 1430015"/>
                <a:gd name="connsiteX468" fmla="*/ 184383 w 1199136"/>
                <a:gd name="connsiteY468" fmla="*/ 897469 h 1430015"/>
                <a:gd name="connsiteX469" fmla="*/ 181327 w 1199136"/>
                <a:gd name="connsiteY469" fmla="*/ 897651 h 1430015"/>
                <a:gd name="connsiteX470" fmla="*/ 181024 w 1199136"/>
                <a:gd name="connsiteY470" fmla="*/ 897651 h 1430015"/>
                <a:gd name="connsiteX471" fmla="*/ 179331 w 1199136"/>
                <a:gd name="connsiteY471" fmla="*/ 898558 h 1430015"/>
                <a:gd name="connsiteX472" fmla="*/ 178574 w 1199136"/>
                <a:gd name="connsiteY472" fmla="*/ 899526 h 1430015"/>
                <a:gd name="connsiteX473" fmla="*/ 178877 w 1199136"/>
                <a:gd name="connsiteY473" fmla="*/ 899980 h 1430015"/>
                <a:gd name="connsiteX474" fmla="*/ 180329 w 1199136"/>
                <a:gd name="connsiteY474" fmla="*/ 899254 h 1430015"/>
                <a:gd name="connsiteX475" fmla="*/ 181599 w 1199136"/>
                <a:gd name="connsiteY475" fmla="*/ 900918 h 1430015"/>
                <a:gd name="connsiteX476" fmla="*/ 181539 w 1199136"/>
                <a:gd name="connsiteY476" fmla="*/ 902400 h 1430015"/>
                <a:gd name="connsiteX477" fmla="*/ 180329 w 1199136"/>
                <a:gd name="connsiteY477" fmla="*/ 904972 h 1430015"/>
                <a:gd name="connsiteX478" fmla="*/ 180238 w 1199136"/>
                <a:gd name="connsiteY478" fmla="*/ 906363 h 1430015"/>
                <a:gd name="connsiteX479" fmla="*/ 181024 w 1199136"/>
                <a:gd name="connsiteY479" fmla="*/ 910810 h 1430015"/>
                <a:gd name="connsiteX480" fmla="*/ 180873 w 1199136"/>
                <a:gd name="connsiteY480" fmla="*/ 911627 h 1430015"/>
                <a:gd name="connsiteX481" fmla="*/ 180510 w 1199136"/>
                <a:gd name="connsiteY481" fmla="*/ 912383 h 1430015"/>
                <a:gd name="connsiteX482" fmla="*/ 180238 w 1199136"/>
                <a:gd name="connsiteY482" fmla="*/ 913139 h 1430015"/>
                <a:gd name="connsiteX483" fmla="*/ 180329 w 1199136"/>
                <a:gd name="connsiteY483" fmla="*/ 914077 h 1430015"/>
                <a:gd name="connsiteX484" fmla="*/ 180692 w 1199136"/>
                <a:gd name="connsiteY484" fmla="*/ 914954 h 1430015"/>
                <a:gd name="connsiteX485" fmla="*/ 180934 w 1199136"/>
                <a:gd name="connsiteY485" fmla="*/ 915197 h 1430015"/>
                <a:gd name="connsiteX486" fmla="*/ 181206 w 1199136"/>
                <a:gd name="connsiteY486" fmla="*/ 915257 h 1430015"/>
                <a:gd name="connsiteX487" fmla="*/ 182688 w 1199136"/>
                <a:gd name="connsiteY487" fmla="*/ 916528 h 1430015"/>
                <a:gd name="connsiteX488" fmla="*/ 183959 w 1199136"/>
                <a:gd name="connsiteY488" fmla="*/ 917375 h 1430015"/>
                <a:gd name="connsiteX489" fmla="*/ 184625 w 1199136"/>
                <a:gd name="connsiteY489" fmla="*/ 918403 h 1430015"/>
                <a:gd name="connsiteX490" fmla="*/ 183747 w 1199136"/>
                <a:gd name="connsiteY490" fmla="*/ 919764 h 1430015"/>
                <a:gd name="connsiteX491" fmla="*/ 184413 w 1199136"/>
                <a:gd name="connsiteY491" fmla="*/ 920672 h 1430015"/>
                <a:gd name="connsiteX492" fmla="*/ 185351 w 1199136"/>
                <a:gd name="connsiteY492" fmla="*/ 917617 h 1430015"/>
                <a:gd name="connsiteX493" fmla="*/ 186077 w 1199136"/>
                <a:gd name="connsiteY493" fmla="*/ 916497 h 1430015"/>
                <a:gd name="connsiteX494" fmla="*/ 187256 w 1199136"/>
                <a:gd name="connsiteY494" fmla="*/ 915771 h 1430015"/>
                <a:gd name="connsiteX495" fmla="*/ 186500 w 1199136"/>
                <a:gd name="connsiteY495" fmla="*/ 915832 h 1430015"/>
                <a:gd name="connsiteX496" fmla="*/ 185926 w 1199136"/>
                <a:gd name="connsiteY496" fmla="*/ 915741 h 1430015"/>
                <a:gd name="connsiteX497" fmla="*/ 185472 w 1199136"/>
                <a:gd name="connsiteY497" fmla="*/ 915862 h 1430015"/>
                <a:gd name="connsiteX498" fmla="*/ 185139 w 1199136"/>
                <a:gd name="connsiteY498" fmla="*/ 916497 h 1430015"/>
                <a:gd name="connsiteX499" fmla="*/ 184443 w 1199136"/>
                <a:gd name="connsiteY499" fmla="*/ 915741 h 1430015"/>
                <a:gd name="connsiteX500" fmla="*/ 187226 w 1199136"/>
                <a:gd name="connsiteY500" fmla="*/ 913926 h 1430015"/>
                <a:gd name="connsiteX501" fmla="*/ 190372 w 1199136"/>
                <a:gd name="connsiteY501" fmla="*/ 914138 h 1430015"/>
                <a:gd name="connsiteX502" fmla="*/ 193307 w 1199136"/>
                <a:gd name="connsiteY502" fmla="*/ 915741 h 1430015"/>
                <a:gd name="connsiteX503" fmla="*/ 195485 w 1199136"/>
                <a:gd name="connsiteY503" fmla="*/ 918192 h 1430015"/>
                <a:gd name="connsiteX504" fmla="*/ 196332 w 1199136"/>
                <a:gd name="connsiteY504" fmla="*/ 919946 h 1430015"/>
                <a:gd name="connsiteX505" fmla="*/ 196483 w 1199136"/>
                <a:gd name="connsiteY505" fmla="*/ 921307 h 1430015"/>
                <a:gd name="connsiteX506" fmla="*/ 196180 w 1199136"/>
                <a:gd name="connsiteY506" fmla="*/ 925119 h 1430015"/>
                <a:gd name="connsiteX507" fmla="*/ 195848 w 1199136"/>
                <a:gd name="connsiteY507" fmla="*/ 926753 h 1430015"/>
                <a:gd name="connsiteX508" fmla="*/ 195031 w 1199136"/>
                <a:gd name="connsiteY508" fmla="*/ 928900 h 1430015"/>
                <a:gd name="connsiteX509" fmla="*/ 193912 w 1199136"/>
                <a:gd name="connsiteY509" fmla="*/ 930927 h 1430015"/>
                <a:gd name="connsiteX510" fmla="*/ 192732 w 1199136"/>
                <a:gd name="connsiteY510" fmla="*/ 932137 h 1430015"/>
                <a:gd name="connsiteX511" fmla="*/ 193398 w 1199136"/>
                <a:gd name="connsiteY511" fmla="*/ 931744 h 1430015"/>
                <a:gd name="connsiteX512" fmla="*/ 193972 w 1199136"/>
                <a:gd name="connsiteY512" fmla="*/ 931199 h 1430015"/>
                <a:gd name="connsiteX513" fmla="*/ 194426 w 1199136"/>
                <a:gd name="connsiteY513" fmla="*/ 930534 h 1430015"/>
                <a:gd name="connsiteX514" fmla="*/ 194789 w 1199136"/>
                <a:gd name="connsiteY514" fmla="*/ 929687 h 1430015"/>
                <a:gd name="connsiteX515" fmla="*/ 195454 w 1199136"/>
                <a:gd name="connsiteY515" fmla="*/ 929687 h 1430015"/>
                <a:gd name="connsiteX516" fmla="*/ 194487 w 1199136"/>
                <a:gd name="connsiteY516" fmla="*/ 931139 h 1430015"/>
                <a:gd name="connsiteX517" fmla="*/ 192913 w 1199136"/>
                <a:gd name="connsiteY517" fmla="*/ 932985 h 1430015"/>
                <a:gd name="connsiteX518" fmla="*/ 191583 w 1199136"/>
                <a:gd name="connsiteY518" fmla="*/ 935011 h 1430015"/>
                <a:gd name="connsiteX519" fmla="*/ 191340 w 1199136"/>
                <a:gd name="connsiteY519" fmla="*/ 937038 h 1430015"/>
                <a:gd name="connsiteX520" fmla="*/ 192369 w 1199136"/>
                <a:gd name="connsiteY520" fmla="*/ 937976 h 1430015"/>
                <a:gd name="connsiteX521" fmla="*/ 197512 w 1199136"/>
                <a:gd name="connsiteY521" fmla="*/ 939488 h 1430015"/>
                <a:gd name="connsiteX522" fmla="*/ 194759 w 1199136"/>
                <a:gd name="connsiteY522" fmla="*/ 940094 h 1430015"/>
                <a:gd name="connsiteX523" fmla="*/ 192611 w 1199136"/>
                <a:gd name="connsiteY523" fmla="*/ 939368 h 1430015"/>
                <a:gd name="connsiteX524" fmla="*/ 190886 w 1199136"/>
                <a:gd name="connsiteY524" fmla="*/ 937673 h 1430015"/>
                <a:gd name="connsiteX525" fmla="*/ 187741 w 1199136"/>
                <a:gd name="connsiteY525" fmla="*/ 933015 h 1430015"/>
                <a:gd name="connsiteX526" fmla="*/ 186833 w 1199136"/>
                <a:gd name="connsiteY526" fmla="*/ 932349 h 1430015"/>
                <a:gd name="connsiteX527" fmla="*/ 185472 w 1199136"/>
                <a:gd name="connsiteY527" fmla="*/ 932107 h 1430015"/>
                <a:gd name="connsiteX528" fmla="*/ 185260 w 1199136"/>
                <a:gd name="connsiteY528" fmla="*/ 932773 h 1430015"/>
                <a:gd name="connsiteX529" fmla="*/ 185502 w 1199136"/>
                <a:gd name="connsiteY529" fmla="*/ 935919 h 1430015"/>
                <a:gd name="connsiteX530" fmla="*/ 185078 w 1199136"/>
                <a:gd name="connsiteY530" fmla="*/ 937038 h 1430015"/>
                <a:gd name="connsiteX531" fmla="*/ 185078 w 1199136"/>
                <a:gd name="connsiteY531" fmla="*/ 937855 h 1430015"/>
                <a:gd name="connsiteX532" fmla="*/ 185532 w 1199136"/>
                <a:gd name="connsiteY532" fmla="*/ 939125 h 1430015"/>
                <a:gd name="connsiteX533" fmla="*/ 185835 w 1199136"/>
                <a:gd name="connsiteY533" fmla="*/ 944540 h 1430015"/>
                <a:gd name="connsiteX534" fmla="*/ 187105 w 1199136"/>
                <a:gd name="connsiteY534" fmla="*/ 949532 h 1430015"/>
                <a:gd name="connsiteX535" fmla="*/ 187287 w 1199136"/>
                <a:gd name="connsiteY535" fmla="*/ 951831 h 1430015"/>
                <a:gd name="connsiteX536" fmla="*/ 186500 w 1199136"/>
                <a:gd name="connsiteY536" fmla="*/ 953434 h 1430015"/>
                <a:gd name="connsiteX537" fmla="*/ 187256 w 1199136"/>
                <a:gd name="connsiteY537" fmla="*/ 954342 h 1430015"/>
                <a:gd name="connsiteX538" fmla="*/ 186077 w 1199136"/>
                <a:gd name="connsiteY538" fmla="*/ 956550 h 1430015"/>
                <a:gd name="connsiteX539" fmla="*/ 184443 w 1199136"/>
                <a:gd name="connsiteY539" fmla="*/ 960513 h 1430015"/>
                <a:gd name="connsiteX540" fmla="*/ 183082 w 1199136"/>
                <a:gd name="connsiteY540" fmla="*/ 962510 h 1430015"/>
                <a:gd name="connsiteX541" fmla="*/ 180329 w 1199136"/>
                <a:gd name="connsiteY541" fmla="*/ 965777 h 1430015"/>
                <a:gd name="connsiteX542" fmla="*/ 179572 w 1199136"/>
                <a:gd name="connsiteY542" fmla="*/ 967168 h 1430015"/>
                <a:gd name="connsiteX543" fmla="*/ 179482 w 1199136"/>
                <a:gd name="connsiteY543" fmla="*/ 967683 h 1430015"/>
                <a:gd name="connsiteX544" fmla="*/ 179845 w 1199136"/>
                <a:gd name="connsiteY544" fmla="*/ 968046 h 1430015"/>
                <a:gd name="connsiteX545" fmla="*/ 181297 w 1199136"/>
                <a:gd name="connsiteY545" fmla="*/ 971222 h 1430015"/>
                <a:gd name="connsiteX546" fmla="*/ 181418 w 1199136"/>
                <a:gd name="connsiteY546" fmla="*/ 972251 h 1430015"/>
                <a:gd name="connsiteX547" fmla="*/ 181055 w 1199136"/>
                <a:gd name="connsiteY547" fmla="*/ 974005 h 1430015"/>
                <a:gd name="connsiteX548" fmla="*/ 180480 w 1199136"/>
                <a:gd name="connsiteY548" fmla="*/ 974973 h 1430015"/>
                <a:gd name="connsiteX549" fmla="*/ 178726 w 1199136"/>
                <a:gd name="connsiteY549" fmla="*/ 976909 h 1430015"/>
                <a:gd name="connsiteX550" fmla="*/ 178302 w 1199136"/>
                <a:gd name="connsiteY550" fmla="*/ 977998 h 1430015"/>
                <a:gd name="connsiteX551" fmla="*/ 179119 w 1199136"/>
                <a:gd name="connsiteY551" fmla="*/ 980298 h 1430015"/>
                <a:gd name="connsiteX552" fmla="*/ 182658 w 1199136"/>
                <a:gd name="connsiteY552" fmla="*/ 982748 h 1430015"/>
                <a:gd name="connsiteX553" fmla="*/ 182507 w 1199136"/>
                <a:gd name="connsiteY553" fmla="*/ 984593 h 1430015"/>
                <a:gd name="connsiteX554" fmla="*/ 184171 w 1199136"/>
                <a:gd name="connsiteY554" fmla="*/ 987195 h 1430015"/>
                <a:gd name="connsiteX555" fmla="*/ 183596 w 1199136"/>
                <a:gd name="connsiteY555" fmla="*/ 989403 h 1430015"/>
                <a:gd name="connsiteX556" fmla="*/ 178574 w 1199136"/>
                <a:gd name="connsiteY556" fmla="*/ 994818 h 1430015"/>
                <a:gd name="connsiteX557" fmla="*/ 178090 w 1199136"/>
                <a:gd name="connsiteY557" fmla="*/ 995665 h 1430015"/>
                <a:gd name="connsiteX558" fmla="*/ 178211 w 1199136"/>
                <a:gd name="connsiteY558" fmla="*/ 996694 h 1430015"/>
                <a:gd name="connsiteX559" fmla="*/ 178937 w 1199136"/>
                <a:gd name="connsiteY559" fmla="*/ 998418 h 1430015"/>
                <a:gd name="connsiteX560" fmla="*/ 179482 w 1199136"/>
                <a:gd name="connsiteY560" fmla="*/ 998781 h 1430015"/>
                <a:gd name="connsiteX561" fmla="*/ 180178 w 1199136"/>
                <a:gd name="connsiteY561" fmla="*/ 998781 h 1430015"/>
                <a:gd name="connsiteX562" fmla="*/ 180783 w 1199136"/>
                <a:gd name="connsiteY562" fmla="*/ 999174 h 1430015"/>
                <a:gd name="connsiteX563" fmla="*/ 181055 w 1199136"/>
                <a:gd name="connsiteY563" fmla="*/ 1000475 h 1430015"/>
                <a:gd name="connsiteX564" fmla="*/ 181146 w 1199136"/>
                <a:gd name="connsiteY564" fmla="*/ 1001504 h 1430015"/>
                <a:gd name="connsiteX565" fmla="*/ 181418 w 1199136"/>
                <a:gd name="connsiteY565" fmla="*/ 1002351 h 1430015"/>
                <a:gd name="connsiteX566" fmla="*/ 181872 w 1199136"/>
                <a:gd name="connsiteY566" fmla="*/ 1002956 h 1430015"/>
                <a:gd name="connsiteX567" fmla="*/ 182507 w 1199136"/>
                <a:gd name="connsiteY567" fmla="*/ 1003349 h 1430015"/>
                <a:gd name="connsiteX568" fmla="*/ 182204 w 1199136"/>
                <a:gd name="connsiteY568" fmla="*/ 1002200 h 1430015"/>
                <a:gd name="connsiteX569" fmla="*/ 182840 w 1199136"/>
                <a:gd name="connsiteY569" fmla="*/ 1001988 h 1430015"/>
                <a:gd name="connsiteX570" fmla="*/ 183808 w 1199136"/>
                <a:gd name="connsiteY570" fmla="*/ 1002472 h 1430015"/>
                <a:gd name="connsiteX571" fmla="*/ 184503 w 1199136"/>
                <a:gd name="connsiteY571" fmla="*/ 1003319 h 1430015"/>
                <a:gd name="connsiteX572" fmla="*/ 184836 w 1199136"/>
                <a:gd name="connsiteY572" fmla="*/ 1004832 h 1430015"/>
                <a:gd name="connsiteX573" fmla="*/ 184776 w 1199136"/>
                <a:gd name="connsiteY573" fmla="*/ 1007766 h 1430015"/>
                <a:gd name="connsiteX574" fmla="*/ 185199 w 1199136"/>
                <a:gd name="connsiteY574" fmla="*/ 1009006 h 1430015"/>
                <a:gd name="connsiteX575" fmla="*/ 186409 w 1199136"/>
                <a:gd name="connsiteY575" fmla="*/ 1008220 h 1430015"/>
                <a:gd name="connsiteX576" fmla="*/ 187498 w 1199136"/>
                <a:gd name="connsiteY576" fmla="*/ 1008855 h 1430015"/>
                <a:gd name="connsiteX577" fmla="*/ 188315 w 1199136"/>
                <a:gd name="connsiteY577" fmla="*/ 1010307 h 1430015"/>
                <a:gd name="connsiteX578" fmla="*/ 188739 w 1199136"/>
                <a:gd name="connsiteY578" fmla="*/ 1012304 h 1430015"/>
                <a:gd name="connsiteX579" fmla="*/ 189193 w 1199136"/>
                <a:gd name="connsiteY579" fmla="*/ 1013060 h 1430015"/>
                <a:gd name="connsiteX580" fmla="*/ 189253 w 1199136"/>
                <a:gd name="connsiteY580" fmla="*/ 1013514 h 1430015"/>
                <a:gd name="connsiteX581" fmla="*/ 191431 w 1199136"/>
                <a:gd name="connsiteY581" fmla="*/ 1012273 h 1430015"/>
                <a:gd name="connsiteX582" fmla="*/ 192823 w 1199136"/>
                <a:gd name="connsiteY582" fmla="*/ 1013151 h 1430015"/>
                <a:gd name="connsiteX583" fmla="*/ 191915 w 1199136"/>
                <a:gd name="connsiteY583" fmla="*/ 1014996 h 1430015"/>
                <a:gd name="connsiteX584" fmla="*/ 191461 w 1199136"/>
                <a:gd name="connsiteY584" fmla="*/ 1015601 h 1430015"/>
                <a:gd name="connsiteX585" fmla="*/ 193125 w 1199136"/>
                <a:gd name="connsiteY585" fmla="*/ 1015843 h 1430015"/>
                <a:gd name="connsiteX586" fmla="*/ 195485 w 1199136"/>
                <a:gd name="connsiteY586" fmla="*/ 1016962 h 1430015"/>
                <a:gd name="connsiteX587" fmla="*/ 196271 w 1199136"/>
                <a:gd name="connsiteY587" fmla="*/ 1016327 h 1430015"/>
                <a:gd name="connsiteX588" fmla="*/ 197028 w 1199136"/>
                <a:gd name="connsiteY588" fmla="*/ 1016327 h 1430015"/>
                <a:gd name="connsiteX589" fmla="*/ 198298 w 1199136"/>
                <a:gd name="connsiteY589" fmla="*/ 1021440 h 1430015"/>
                <a:gd name="connsiteX590" fmla="*/ 199085 w 1199136"/>
                <a:gd name="connsiteY590" fmla="*/ 1027732 h 1430015"/>
                <a:gd name="connsiteX591" fmla="*/ 201414 w 1199136"/>
                <a:gd name="connsiteY591" fmla="*/ 1027218 h 1430015"/>
                <a:gd name="connsiteX592" fmla="*/ 202654 w 1199136"/>
                <a:gd name="connsiteY592" fmla="*/ 1029275 h 1430015"/>
                <a:gd name="connsiteX593" fmla="*/ 202594 w 1199136"/>
                <a:gd name="connsiteY593" fmla="*/ 1032179 h 1430015"/>
                <a:gd name="connsiteX594" fmla="*/ 201081 w 1199136"/>
                <a:gd name="connsiteY594" fmla="*/ 1034206 h 1430015"/>
                <a:gd name="connsiteX595" fmla="*/ 201081 w 1199136"/>
                <a:gd name="connsiteY595" fmla="*/ 1035023 h 1430015"/>
                <a:gd name="connsiteX596" fmla="*/ 202654 w 1199136"/>
                <a:gd name="connsiteY596" fmla="*/ 1035386 h 1430015"/>
                <a:gd name="connsiteX597" fmla="*/ 204439 w 1199136"/>
                <a:gd name="connsiteY597" fmla="*/ 1035446 h 1430015"/>
                <a:gd name="connsiteX598" fmla="*/ 205407 w 1199136"/>
                <a:gd name="connsiteY598" fmla="*/ 1036112 h 1430015"/>
                <a:gd name="connsiteX599" fmla="*/ 204590 w 1199136"/>
                <a:gd name="connsiteY599" fmla="*/ 1038320 h 1430015"/>
                <a:gd name="connsiteX600" fmla="*/ 205196 w 1199136"/>
                <a:gd name="connsiteY600" fmla="*/ 1039137 h 1430015"/>
                <a:gd name="connsiteX601" fmla="*/ 206617 w 1199136"/>
                <a:gd name="connsiteY601" fmla="*/ 1038320 h 1430015"/>
                <a:gd name="connsiteX602" fmla="*/ 206285 w 1199136"/>
                <a:gd name="connsiteY602" fmla="*/ 1035900 h 1430015"/>
                <a:gd name="connsiteX603" fmla="*/ 208009 w 1199136"/>
                <a:gd name="connsiteY603" fmla="*/ 1033631 h 1430015"/>
                <a:gd name="connsiteX604" fmla="*/ 210580 w 1199136"/>
                <a:gd name="connsiteY604" fmla="*/ 1031907 h 1430015"/>
                <a:gd name="connsiteX605" fmla="*/ 212788 w 1199136"/>
                <a:gd name="connsiteY605" fmla="*/ 1031029 h 1430015"/>
                <a:gd name="connsiteX606" fmla="*/ 215088 w 1199136"/>
                <a:gd name="connsiteY606" fmla="*/ 1031271 h 1430015"/>
                <a:gd name="connsiteX607" fmla="*/ 217810 w 1199136"/>
                <a:gd name="connsiteY607" fmla="*/ 1032481 h 1430015"/>
                <a:gd name="connsiteX608" fmla="*/ 220261 w 1199136"/>
                <a:gd name="connsiteY608" fmla="*/ 1034387 h 1430015"/>
                <a:gd name="connsiteX609" fmla="*/ 221713 w 1199136"/>
                <a:gd name="connsiteY609" fmla="*/ 1036656 h 1430015"/>
                <a:gd name="connsiteX610" fmla="*/ 221713 w 1199136"/>
                <a:gd name="connsiteY610" fmla="*/ 1034206 h 1430015"/>
                <a:gd name="connsiteX611" fmla="*/ 223982 w 1199136"/>
                <a:gd name="connsiteY611" fmla="*/ 1036232 h 1430015"/>
                <a:gd name="connsiteX612" fmla="*/ 225343 w 1199136"/>
                <a:gd name="connsiteY612" fmla="*/ 1037201 h 1430015"/>
                <a:gd name="connsiteX613" fmla="*/ 226523 w 1199136"/>
                <a:gd name="connsiteY613" fmla="*/ 1037503 h 1430015"/>
                <a:gd name="connsiteX614" fmla="*/ 227340 w 1199136"/>
                <a:gd name="connsiteY614" fmla="*/ 1037019 h 1430015"/>
                <a:gd name="connsiteX615" fmla="*/ 228459 w 1199136"/>
                <a:gd name="connsiteY615" fmla="*/ 1035355 h 1430015"/>
                <a:gd name="connsiteX616" fmla="*/ 228973 w 1199136"/>
                <a:gd name="connsiteY616" fmla="*/ 1034992 h 1430015"/>
                <a:gd name="connsiteX617" fmla="*/ 230032 w 1199136"/>
                <a:gd name="connsiteY617" fmla="*/ 1034902 h 1430015"/>
                <a:gd name="connsiteX618" fmla="*/ 230697 w 1199136"/>
                <a:gd name="connsiteY618" fmla="*/ 1034629 h 1430015"/>
                <a:gd name="connsiteX619" fmla="*/ 240922 w 1199136"/>
                <a:gd name="connsiteY619" fmla="*/ 1025070 h 1430015"/>
                <a:gd name="connsiteX620" fmla="*/ 241770 w 1199136"/>
                <a:gd name="connsiteY620" fmla="*/ 1023587 h 1430015"/>
                <a:gd name="connsiteX621" fmla="*/ 242526 w 1199136"/>
                <a:gd name="connsiteY621" fmla="*/ 1024132 h 1430015"/>
                <a:gd name="connsiteX622" fmla="*/ 242828 w 1199136"/>
                <a:gd name="connsiteY622" fmla="*/ 1024253 h 1430015"/>
                <a:gd name="connsiteX623" fmla="*/ 243887 w 1199136"/>
                <a:gd name="connsiteY623" fmla="*/ 1023587 h 1430015"/>
                <a:gd name="connsiteX624" fmla="*/ 243131 w 1199136"/>
                <a:gd name="connsiteY624" fmla="*/ 1023587 h 1430015"/>
                <a:gd name="connsiteX625" fmla="*/ 244250 w 1199136"/>
                <a:gd name="connsiteY625" fmla="*/ 1019443 h 1430015"/>
                <a:gd name="connsiteX626" fmla="*/ 245823 w 1199136"/>
                <a:gd name="connsiteY626" fmla="*/ 1016962 h 1430015"/>
                <a:gd name="connsiteX627" fmla="*/ 245702 w 1199136"/>
                <a:gd name="connsiteY627" fmla="*/ 1016115 h 1430015"/>
                <a:gd name="connsiteX628" fmla="*/ 245097 w 1199136"/>
                <a:gd name="connsiteY628" fmla="*/ 1015480 h 1430015"/>
                <a:gd name="connsiteX629" fmla="*/ 244523 w 1199136"/>
                <a:gd name="connsiteY629" fmla="*/ 1014754 h 1430015"/>
                <a:gd name="connsiteX630" fmla="*/ 243766 w 1199136"/>
                <a:gd name="connsiteY630" fmla="*/ 1012818 h 1430015"/>
                <a:gd name="connsiteX631" fmla="*/ 243191 w 1199136"/>
                <a:gd name="connsiteY631" fmla="*/ 1010700 h 1430015"/>
                <a:gd name="connsiteX632" fmla="*/ 242919 w 1199136"/>
                <a:gd name="connsiteY632" fmla="*/ 1008341 h 1430015"/>
                <a:gd name="connsiteX633" fmla="*/ 243161 w 1199136"/>
                <a:gd name="connsiteY633" fmla="*/ 1005679 h 1430015"/>
                <a:gd name="connsiteX634" fmla="*/ 243948 w 1199136"/>
                <a:gd name="connsiteY634" fmla="*/ 1003410 h 1430015"/>
                <a:gd name="connsiteX635" fmla="*/ 245188 w 1199136"/>
                <a:gd name="connsiteY635" fmla="*/ 1001776 h 1430015"/>
                <a:gd name="connsiteX636" fmla="*/ 249242 w 1199136"/>
                <a:gd name="connsiteY636" fmla="*/ 997813 h 1430015"/>
                <a:gd name="connsiteX637" fmla="*/ 249332 w 1199136"/>
                <a:gd name="connsiteY637" fmla="*/ 997299 h 1430015"/>
                <a:gd name="connsiteX638" fmla="*/ 249332 w 1199136"/>
                <a:gd name="connsiteY638" fmla="*/ 996361 h 1430015"/>
                <a:gd name="connsiteX639" fmla="*/ 248848 w 1199136"/>
                <a:gd name="connsiteY639" fmla="*/ 995726 h 1430015"/>
                <a:gd name="connsiteX640" fmla="*/ 246338 w 1199136"/>
                <a:gd name="connsiteY640" fmla="*/ 996210 h 1430015"/>
                <a:gd name="connsiteX641" fmla="*/ 245218 w 1199136"/>
                <a:gd name="connsiteY641" fmla="*/ 995938 h 1430015"/>
                <a:gd name="connsiteX642" fmla="*/ 245127 w 1199136"/>
                <a:gd name="connsiteY642" fmla="*/ 996059 h 1430015"/>
                <a:gd name="connsiteX643" fmla="*/ 244855 w 1199136"/>
                <a:gd name="connsiteY643" fmla="*/ 995454 h 1430015"/>
                <a:gd name="connsiteX644" fmla="*/ 244008 w 1199136"/>
                <a:gd name="connsiteY644" fmla="*/ 995000 h 1430015"/>
                <a:gd name="connsiteX645" fmla="*/ 243433 w 1199136"/>
                <a:gd name="connsiteY645" fmla="*/ 994455 h 1430015"/>
                <a:gd name="connsiteX646" fmla="*/ 243917 w 1199136"/>
                <a:gd name="connsiteY646" fmla="*/ 993517 h 1430015"/>
                <a:gd name="connsiteX647" fmla="*/ 243917 w 1199136"/>
                <a:gd name="connsiteY647" fmla="*/ 992610 h 1430015"/>
                <a:gd name="connsiteX648" fmla="*/ 242586 w 1199136"/>
                <a:gd name="connsiteY648" fmla="*/ 992096 h 1430015"/>
                <a:gd name="connsiteX649" fmla="*/ 242707 w 1199136"/>
                <a:gd name="connsiteY649" fmla="*/ 991702 h 1430015"/>
                <a:gd name="connsiteX650" fmla="*/ 243766 w 1199136"/>
                <a:gd name="connsiteY650" fmla="*/ 991612 h 1430015"/>
                <a:gd name="connsiteX651" fmla="*/ 245218 w 1199136"/>
                <a:gd name="connsiteY651" fmla="*/ 991914 h 1430015"/>
                <a:gd name="connsiteX652" fmla="*/ 246095 w 1199136"/>
                <a:gd name="connsiteY652" fmla="*/ 992640 h 1430015"/>
                <a:gd name="connsiteX653" fmla="*/ 246882 w 1199136"/>
                <a:gd name="connsiteY653" fmla="*/ 993669 h 1430015"/>
                <a:gd name="connsiteX654" fmla="*/ 247699 w 1199136"/>
                <a:gd name="connsiteY654" fmla="*/ 994183 h 1430015"/>
                <a:gd name="connsiteX655" fmla="*/ 248637 w 1199136"/>
                <a:gd name="connsiteY655" fmla="*/ 993548 h 1430015"/>
                <a:gd name="connsiteX656" fmla="*/ 252721 w 1199136"/>
                <a:gd name="connsiteY656" fmla="*/ 997934 h 1430015"/>
                <a:gd name="connsiteX657" fmla="*/ 255080 w 1199136"/>
                <a:gd name="connsiteY657" fmla="*/ 999991 h 1430015"/>
                <a:gd name="connsiteX658" fmla="*/ 258015 w 1199136"/>
                <a:gd name="connsiteY658" fmla="*/ 1000838 h 1430015"/>
                <a:gd name="connsiteX659" fmla="*/ 258378 w 1199136"/>
                <a:gd name="connsiteY659" fmla="*/ 1000082 h 1430015"/>
                <a:gd name="connsiteX660" fmla="*/ 259497 w 1199136"/>
                <a:gd name="connsiteY660" fmla="*/ 998448 h 1430015"/>
                <a:gd name="connsiteX661" fmla="*/ 261161 w 1199136"/>
                <a:gd name="connsiteY661" fmla="*/ 996785 h 1430015"/>
                <a:gd name="connsiteX662" fmla="*/ 263067 w 1199136"/>
                <a:gd name="connsiteY662" fmla="*/ 995968 h 1430015"/>
                <a:gd name="connsiteX663" fmla="*/ 266697 w 1199136"/>
                <a:gd name="connsiteY663" fmla="*/ 996301 h 1430015"/>
                <a:gd name="connsiteX664" fmla="*/ 268572 w 1199136"/>
                <a:gd name="connsiteY664" fmla="*/ 996845 h 1430015"/>
                <a:gd name="connsiteX665" fmla="*/ 269994 w 1199136"/>
                <a:gd name="connsiteY665" fmla="*/ 997632 h 1430015"/>
                <a:gd name="connsiteX666" fmla="*/ 270690 w 1199136"/>
                <a:gd name="connsiteY666" fmla="*/ 996754 h 1430015"/>
                <a:gd name="connsiteX667" fmla="*/ 271446 w 1199136"/>
                <a:gd name="connsiteY667" fmla="*/ 997571 h 1430015"/>
                <a:gd name="connsiteX668" fmla="*/ 272717 w 1199136"/>
                <a:gd name="connsiteY668" fmla="*/ 998358 h 1430015"/>
                <a:gd name="connsiteX669" fmla="*/ 274108 w 1199136"/>
                <a:gd name="connsiteY669" fmla="*/ 998963 h 1430015"/>
                <a:gd name="connsiteX670" fmla="*/ 275167 w 1199136"/>
                <a:gd name="connsiteY670" fmla="*/ 999205 h 1430015"/>
                <a:gd name="connsiteX671" fmla="*/ 276014 w 1199136"/>
                <a:gd name="connsiteY671" fmla="*/ 999719 h 1430015"/>
                <a:gd name="connsiteX672" fmla="*/ 278313 w 1199136"/>
                <a:gd name="connsiteY672" fmla="*/ 1002018 h 1430015"/>
                <a:gd name="connsiteX673" fmla="*/ 279312 w 1199136"/>
                <a:gd name="connsiteY673" fmla="*/ 1002533 h 1430015"/>
                <a:gd name="connsiteX674" fmla="*/ 279886 w 1199136"/>
                <a:gd name="connsiteY674" fmla="*/ 1002986 h 1430015"/>
                <a:gd name="connsiteX675" fmla="*/ 282427 w 1199136"/>
                <a:gd name="connsiteY675" fmla="*/ 1005709 h 1430015"/>
                <a:gd name="connsiteX676" fmla="*/ 284485 w 1199136"/>
                <a:gd name="connsiteY676" fmla="*/ 1006616 h 1430015"/>
                <a:gd name="connsiteX677" fmla="*/ 285392 w 1199136"/>
                <a:gd name="connsiteY677" fmla="*/ 1007252 h 1430015"/>
                <a:gd name="connsiteX678" fmla="*/ 285876 w 1199136"/>
                <a:gd name="connsiteY678" fmla="*/ 1008310 h 1430015"/>
                <a:gd name="connsiteX679" fmla="*/ 286632 w 1199136"/>
                <a:gd name="connsiteY679" fmla="*/ 1008310 h 1430015"/>
                <a:gd name="connsiteX680" fmla="*/ 288145 w 1199136"/>
                <a:gd name="connsiteY680" fmla="*/ 1007403 h 1430015"/>
                <a:gd name="connsiteX681" fmla="*/ 289688 w 1199136"/>
                <a:gd name="connsiteY681" fmla="*/ 1006979 h 1430015"/>
                <a:gd name="connsiteX682" fmla="*/ 291261 w 1199136"/>
                <a:gd name="connsiteY682" fmla="*/ 1007191 h 1430015"/>
                <a:gd name="connsiteX683" fmla="*/ 292834 w 1199136"/>
                <a:gd name="connsiteY683" fmla="*/ 1008280 h 1430015"/>
                <a:gd name="connsiteX684" fmla="*/ 292410 w 1199136"/>
                <a:gd name="connsiteY684" fmla="*/ 1009248 h 1430015"/>
                <a:gd name="connsiteX685" fmla="*/ 292350 w 1199136"/>
                <a:gd name="connsiteY685" fmla="*/ 1009823 h 1430015"/>
                <a:gd name="connsiteX686" fmla="*/ 292743 w 1199136"/>
                <a:gd name="connsiteY686" fmla="*/ 1010216 h 1430015"/>
                <a:gd name="connsiteX687" fmla="*/ 293530 w 1199136"/>
                <a:gd name="connsiteY687" fmla="*/ 1010610 h 1430015"/>
                <a:gd name="connsiteX688" fmla="*/ 293953 w 1199136"/>
                <a:gd name="connsiteY688" fmla="*/ 1008190 h 1430015"/>
                <a:gd name="connsiteX689" fmla="*/ 295647 w 1199136"/>
                <a:gd name="connsiteY689" fmla="*/ 1007101 h 1430015"/>
                <a:gd name="connsiteX690" fmla="*/ 297492 w 1199136"/>
                <a:gd name="connsiteY690" fmla="*/ 1006435 h 1430015"/>
                <a:gd name="connsiteX691" fmla="*/ 298370 w 1199136"/>
                <a:gd name="connsiteY691" fmla="*/ 1005285 h 1430015"/>
                <a:gd name="connsiteX692" fmla="*/ 298582 w 1199136"/>
                <a:gd name="connsiteY692" fmla="*/ 1004075 h 1430015"/>
                <a:gd name="connsiteX693" fmla="*/ 299519 w 1199136"/>
                <a:gd name="connsiteY693" fmla="*/ 1001685 h 1430015"/>
                <a:gd name="connsiteX694" fmla="*/ 299731 w 1199136"/>
                <a:gd name="connsiteY694" fmla="*/ 1000778 h 1430015"/>
                <a:gd name="connsiteX695" fmla="*/ 299338 w 1199136"/>
                <a:gd name="connsiteY695" fmla="*/ 999961 h 1430015"/>
                <a:gd name="connsiteX696" fmla="*/ 298612 w 1199136"/>
                <a:gd name="connsiteY696" fmla="*/ 999326 h 1430015"/>
                <a:gd name="connsiteX697" fmla="*/ 298279 w 1199136"/>
                <a:gd name="connsiteY697" fmla="*/ 998630 h 1430015"/>
                <a:gd name="connsiteX698" fmla="*/ 299066 w 1199136"/>
                <a:gd name="connsiteY698" fmla="*/ 997571 h 1430015"/>
                <a:gd name="connsiteX699" fmla="*/ 298491 w 1199136"/>
                <a:gd name="connsiteY699" fmla="*/ 994697 h 1430015"/>
                <a:gd name="connsiteX700" fmla="*/ 299943 w 1199136"/>
                <a:gd name="connsiteY700" fmla="*/ 991339 h 1430015"/>
                <a:gd name="connsiteX701" fmla="*/ 302484 w 1199136"/>
                <a:gd name="connsiteY701" fmla="*/ 988647 h 1430015"/>
                <a:gd name="connsiteX702" fmla="*/ 305237 w 1199136"/>
                <a:gd name="connsiteY702" fmla="*/ 987709 h 1430015"/>
                <a:gd name="connsiteX703" fmla="*/ 305237 w 1199136"/>
                <a:gd name="connsiteY703" fmla="*/ 986953 h 1430015"/>
                <a:gd name="connsiteX704" fmla="*/ 302908 w 1199136"/>
                <a:gd name="connsiteY704" fmla="*/ 985350 h 1430015"/>
                <a:gd name="connsiteX705" fmla="*/ 302091 w 1199136"/>
                <a:gd name="connsiteY705" fmla="*/ 984200 h 1430015"/>
                <a:gd name="connsiteX706" fmla="*/ 301788 w 1199136"/>
                <a:gd name="connsiteY706" fmla="*/ 982415 h 1430015"/>
                <a:gd name="connsiteX707" fmla="*/ 301940 w 1199136"/>
                <a:gd name="connsiteY707" fmla="*/ 980661 h 1430015"/>
                <a:gd name="connsiteX708" fmla="*/ 303150 w 1199136"/>
                <a:gd name="connsiteY708" fmla="*/ 975457 h 1430015"/>
                <a:gd name="connsiteX709" fmla="*/ 305661 w 1199136"/>
                <a:gd name="connsiteY709" fmla="*/ 969105 h 1430015"/>
                <a:gd name="connsiteX710" fmla="*/ 306235 w 1199136"/>
                <a:gd name="connsiteY710" fmla="*/ 965323 h 1430015"/>
                <a:gd name="connsiteX711" fmla="*/ 304572 w 1199136"/>
                <a:gd name="connsiteY711" fmla="*/ 963206 h 1430015"/>
                <a:gd name="connsiteX712" fmla="*/ 307052 w 1199136"/>
                <a:gd name="connsiteY712" fmla="*/ 955431 h 1430015"/>
                <a:gd name="connsiteX713" fmla="*/ 307324 w 1199136"/>
                <a:gd name="connsiteY713" fmla="*/ 952103 h 1430015"/>
                <a:gd name="connsiteX714" fmla="*/ 306628 w 1199136"/>
                <a:gd name="connsiteY714" fmla="*/ 946779 h 1430015"/>
                <a:gd name="connsiteX715" fmla="*/ 306840 w 1199136"/>
                <a:gd name="connsiteY715" fmla="*/ 945176 h 1430015"/>
                <a:gd name="connsiteX716" fmla="*/ 307294 w 1199136"/>
                <a:gd name="connsiteY716" fmla="*/ 943936 h 1430015"/>
                <a:gd name="connsiteX717" fmla="*/ 307748 w 1199136"/>
                <a:gd name="connsiteY717" fmla="*/ 942998 h 1430015"/>
                <a:gd name="connsiteX718" fmla="*/ 307960 w 1199136"/>
                <a:gd name="connsiteY718" fmla="*/ 942272 h 1430015"/>
                <a:gd name="connsiteX719" fmla="*/ 308171 w 1199136"/>
                <a:gd name="connsiteY719" fmla="*/ 940517 h 1430015"/>
                <a:gd name="connsiteX720" fmla="*/ 309109 w 1199136"/>
                <a:gd name="connsiteY720" fmla="*/ 938520 h 1430015"/>
                <a:gd name="connsiteX721" fmla="*/ 309351 w 1199136"/>
                <a:gd name="connsiteY721" fmla="*/ 937310 h 1430015"/>
                <a:gd name="connsiteX722" fmla="*/ 309230 w 1199136"/>
                <a:gd name="connsiteY722" fmla="*/ 935616 h 1430015"/>
                <a:gd name="connsiteX723" fmla="*/ 308716 w 1199136"/>
                <a:gd name="connsiteY723" fmla="*/ 932682 h 1430015"/>
                <a:gd name="connsiteX724" fmla="*/ 308595 w 1199136"/>
                <a:gd name="connsiteY724" fmla="*/ 931169 h 1430015"/>
                <a:gd name="connsiteX725" fmla="*/ 308746 w 1199136"/>
                <a:gd name="connsiteY725" fmla="*/ 928235 h 1430015"/>
                <a:gd name="connsiteX726" fmla="*/ 309260 w 1199136"/>
                <a:gd name="connsiteY726" fmla="*/ 925240 h 1430015"/>
                <a:gd name="connsiteX727" fmla="*/ 310138 w 1199136"/>
                <a:gd name="connsiteY727" fmla="*/ 922699 h 1430015"/>
                <a:gd name="connsiteX728" fmla="*/ 311378 w 1199136"/>
                <a:gd name="connsiteY728" fmla="*/ 921277 h 1430015"/>
                <a:gd name="connsiteX729" fmla="*/ 311378 w 1199136"/>
                <a:gd name="connsiteY729" fmla="*/ 920521 h 1430015"/>
                <a:gd name="connsiteX730" fmla="*/ 310894 w 1199136"/>
                <a:gd name="connsiteY730" fmla="*/ 920279 h 1430015"/>
                <a:gd name="connsiteX731" fmla="*/ 310470 w 1199136"/>
                <a:gd name="connsiteY731" fmla="*/ 919855 h 1430015"/>
                <a:gd name="connsiteX732" fmla="*/ 310017 w 1199136"/>
                <a:gd name="connsiteY732" fmla="*/ 919613 h 1430015"/>
                <a:gd name="connsiteX733" fmla="*/ 310017 w 1199136"/>
                <a:gd name="connsiteY733" fmla="*/ 918857 h 1430015"/>
                <a:gd name="connsiteX734" fmla="*/ 310682 w 1199136"/>
                <a:gd name="connsiteY734" fmla="*/ 918857 h 1430015"/>
                <a:gd name="connsiteX735" fmla="*/ 310077 w 1199136"/>
                <a:gd name="connsiteY735" fmla="*/ 917556 h 1430015"/>
                <a:gd name="connsiteX736" fmla="*/ 310138 w 1199136"/>
                <a:gd name="connsiteY736" fmla="*/ 916134 h 1430015"/>
                <a:gd name="connsiteX737" fmla="*/ 310652 w 1199136"/>
                <a:gd name="connsiteY737" fmla="*/ 914652 h 1430015"/>
                <a:gd name="connsiteX738" fmla="*/ 311378 w 1199136"/>
                <a:gd name="connsiteY738" fmla="*/ 913109 h 1430015"/>
                <a:gd name="connsiteX739" fmla="*/ 311862 w 1199136"/>
                <a:gd name="connsiteY739" fmla="*/ 912807 h 1430015"/>
                <a:gd name="connsiteX740" fmla="*/ 312528 w 1199136"/>
                <a:gd name="connsiteY740" fmla="*/ 912807 h 1430015"/>
                <a:gd name="connsiteX741" fmla="*/ 313163 w 1199136"/>
                <a:gd name="connsiteY741" fmla="*/ 912504 h 1430015"/>
                <a:gd name="connsiteX742" fmla="*/ 313496 w 1199136"/>
                <a:gd name="connsiteY742" fmla="*/ 911385 h 1430015"/>
                <a:gd name="connsiteX743" fmla="*/ 313284 w 1199136"/>
                <a:gd name="connsiteY743" fmla="*/ 910629 h 1430015"/>
                <a:gd name="connsiteX744" fmla="*/ 312679 w 1199136"/>
                <a:gd name="connsiteY744" fmla="*/ 910629 h 1430015"/>
                <a:gd name="connsiteX745" fmla="*/ 311953 w 1199136"/>
                <a:gd name="connsiteY745" fmla="*/ 910961 h 1430015"/>
                <a:gd name="connsiteX746" fmla="*/ 311348 w 1199136"/>
                <a:gd name="connsiteY746" fmla="*/ 911385 h 1430015"/>
                <a:gd name="connsiteX747" fmla="*/ 310410 w 1199136"/>
                <a:gd name="connsiteY747" fmla="*/ 908087 h 1430015"/>
                <a:gd name="connsiteX748" fmla="*/ 311015 w 1199136"/>
                <a:gd name="connsiteY748" fmla="*/ 904276 h 1430015"/>
                <a:gd name="connsiteX749" fmla="*/ 314736 w 1199136"/>
                <a:gd name="connsiteY749" fmla="*/ 895170 h 1430015"/>
                <a:gd name="connsiteX750" fmla="*/ 314917 w 1199136"/>
                <a:gd name="connsiteY750" fmla="*/ 893325 h 1430015"/>
                <a:gd name="connsiteX751" fmla="*/ 312709 w 1199136"/>
                <a:gd name="connsiteY751" fmla="*/ 891812 h 1430015"/>
                <a:gd name="connsiteX752" fmla="*/ 310470 w 1199136"/>
                <a:gd name="connsiteY752" fmla="*/ 888878 h 1430015"/>
                <a:gd name="connsiteX753" fmla="*/ 309654 w 1199136"/>
                <a:gd name="connsiteY753" fmla="*/ 888212 h 1430015"/>
                <a:gd name="connsiteX754" fmla="*/ 308171 w 1199136"/>
                <a:gd name="connsiteY754" fmla="*/ 887547 h 1430015"/>
                <a:gd name="connsiteX755" fmla="*/ 307113 w 1199136"/>
                <a:gd name="connsiteY755" fmla="*/ 885974 h 1430015"/>
                <a:gd name="connsiteX756" fmla="*/ 304753 w 1199136"/>
                <a:gd name="connsiteY756" fmla="*/ 879742 h 1430015"/>
                <a:gd name="connsiteX757" fmla="*/ 304541 w 1199136"/>
                <a:gd name="connsiteY757" fmla="*/ 878622 h 1430015"/>
                <a:gd name="connsiteX758" fmla="*/ 304118 w 1199136"/>
                <a:gd name="connsiteY758" fmla="*/ 873510 h 1430015"/>
                <a:gd name="connsiteX759" fmla="*/ 304239 w 1199136"/>
                <a:gd name="connsiteY759" fmla="*/ 871665 h 1430015"/>
                <a:gd name="connsiteX760" fmla="*/ 305086 w 1199136"/>
                <a:gd name="connsiteY760" fmla="*/ 869305 h 1430015"/>
                <a:gd name="connsiteX761" fmla="*/ 306175 w 1199136"/>
                <a:gd name="connsiteY761" fmla="*/ 867671 h 1430015"/>
                <a:gd name="connsiteX762" fmla="*/ 308655 w 1199136"/>
                <a:gd name="connsiteY762" fmla="*/ 865675 h 1430015"/>
                <a:gd name="connsiteX763" fmla="*/ 309956 w 1199136"/>
                <a:gd name="connsiteY763" fmla="*/ 864283 h 1430015"/>
                <a:gd name="connsiteX764" fmla="*/ 311741 w 1199136"/>
                <a:gd name="connsiteY764" fmla="*/ 860804 h 1430015"/>
                <a:gd name="connsiteX765" fmla="*/ 312891 w 1199136"/>
                <a:gd name="connsiteY765" fmla="*/ 859171 h 1430015"/>
                <a:gd name="connsiteX766" fmla="*/ 314403 w 1199136"/>
                <a:gd name="connsiteY766" fmla="*/ 858505 h 1430015"/>
                <a:gd name="connsiteX767" fmla="*/ 316612 w 1199136"/>
                <a:gd name="connsiteY767" fmla="*/ 857870 h 1430015"/>
                <a:gd name="connsiteX768" fmla="*/ 317852 w 1199136"/>
                <a:gd name="connsiteY768" fmla="*/ 856236 h 1430015"/>
                <a:gd name="connsiteX769" fmla="*/ 319485 w 1199136"/>
                <a:gd name="connsiteY769" fmla="*/ 851820 h 1430015"/>
                <a:gd name="connsiteX770" fmla="*/ 321724 w 1199136"/>
                <a:gd name="connsiteY770" fmla="*/ 848401 h 1430015"/>
                <a:gd name="connsiteX771" fmla="*/ 322571 w 1199136"/>
                <a:gd name="connsiteY771" fmla="*/ 846556 h 1430015"/>
                <a:gd name="connsiteX772" fmla="*/ 322904 w 1199136"/>
                <a:gd name="connsiteY772" fmla="*/ 843924 h 1430015"/>
                <a:gd name="connsiteX773" fmla="*/ 323206 w 1199136"/>
                <a:gd name="connsiteY773" fmla="*/ 842684 h 1430015"/>
                <a:gd name="connsiteX774" fmla="*/ 324356 w 1199136"/>
                <a:gd name="connsiteY774" fmla="*/ 840597 h 1430015"/>
                <a:gd name="connsiteX775" fmla="*/ 324356 w 1199136"/>
                <a:gd name="connsiteY775" fmla="*/ 839386 h 1430015"/>
                <a:gd name="connsiteX776" fmla="*/ 323751 w 1199136"/>
                <a:gd name="connsiteY776" fmla="*/ 838570 h 1430015"/>
                <a:gd name="connsiteX777" fmla="*/ 188708 w 1199136"/>
                <a:gd name="connsiteY777" fmla="*/ 1014784 h 1430015"/>
                <a:gd name="connsiteX778" fmla="*/ 188618 w 1199136"/>
                <a:gd name="connsiteY778" fmla="*/ 1014905 h 1430015"/>
                <a:gd name="connsiteX779" fmla="*/ 187952 w 1199136"/>
                <a:gd name="connsiteY779" fmla="*/ 1015389 h 1430015"/>
                <a:gd name="connsiteX780" fmla="*/ 187287 w 1199136"/>
                <a:gd name="connsiteY780" fmla="*/ 1015450 h 1430015"/>
                <a:gd name="connsiteX781" fmla="*/ 186772 w 1199136"/>
                <a:gd name="connsiteY781" fmla="*/ 1015117 h 1430015"/>
                <a:gd name="connsiteX782" fmla="*/ 186561 w 1199136"/>
                <a:gd name="connsiteY782" fmla="*/ 1014482 h 1430015"/>
                <a:gd name="connsiteX783" fmla="*/ 185411 w 1199136"/>
                <a:gd name="connsiteY783" fmla="*/ 1011033 h 1430015"/>
                <a:gd name="connsiteX784" fmla="*/ 182688 w 1199136"/>
                <a:gd name="connsiteY784" fmla="*/ 1010549 h 1430015"/>
                <a:gd name="connsiteX785" fmla="*/ 179512 w 1199136"/>
                <a:gd name="connsiteY785" fmla="*/ 1010761 h 1430015"/>
                <a:gd name="connsiteX786" fmla="*/ 176941 w 1199136"/>
                <a:gd name="connsiteY786" fmla="*/ 1009188 h 1430015"/>
                <a:gd name="connsiteX787" fmla="*/ 175489 w 1199136"/>
                <a:gd name="connsiteY787" fmla="*/ 1011608 h 1430015"/>
                <a:gd name="connsiteX788" fmla="*/ 175489 w 1199136"/>
                <a:gd name="connsiteY788" fmla="*/ 1012425 h 1430015"/>
                <a:gd name="connsiteX789" fmla="*/ 176245 w 1199136"/>
                <a:gd name="connsiteY789" fmla="*/ 1012425 h 1430015"/>
                <a:gd name="connsiteX790" fmla="*/ 176245 w 1199136"/>
                <a:gd name="connsiteY790" fmla="*/ 1013302 h 1430015"/>
                <a:gd name="connsiteX791" fmla="*/ 175821 w 1199136"/>
                <a:gd name="connsiteY791" fmla="*/ 1015843 h 1430015"/>
                <a:gd name="connsiteX792" fmla="*/ 177394 w 1199136"/>
                <a:gd name="connsiteY792" fmla="*/ 1019715 h 1430015"/>
                <a:gd name="connsiteX793" fmla="*/ 181055 w 1199136"/>
                <a:gd name="connsiteY793" fmla="*/ 1025463 h 1430015"/>
                <a:gd name="connsiteX794" fmla="*/ 181418 w 1199136"/>
                <a:gd name="connsiteY794" fmla="*/ 1026280 h 1430015"/>
                <a:gd name="connsiteX795" fmla="*/ 181509 w 1199136"/>
                <a:gd name="connsiteY795" fmla="*/ 1027127 h 1430015"/>
                <a:gd name="connsiteX796" fmla="*/ 181902 w 1199136"/>
                <a:gd name="connsiteY796" fmla="*/ 1027732 h 1430015"/>
                <a:gd name="connsiteX797" fmla="*/ 183112 w 1199136"/>
                <a:gd name="connsiteY797" fmla="*/ 1027883 h 1430015"/>
                <a:gd name="connsiteX798" fmla="*/ 184171 w 1199136"/>
                <a:gd name="connsiteY798" fmla="*/ 1027611 h 1430015"/>
                <a:gd name="connsiteX799" fmla="*/ 184625 w 1199136"/>
                <a:gd name="connsiteY799" fmla="*/ 1027097 h 1430015"/>
                <a:gd name="connsiteX800" fmla="*/ 185562 w 1199136"/>
                <a:gd name="connsiteY800" fmla="*/ 1023860 h 1430015"/>
                <a:gd name="connsiteX801" fmla="*/ 186318 w 1199136"/>
                <a:gd name="connsiteY801" fmla="*/ 1019867 h 1430015"/>
                <a:gd name="connsiteX802" fmla="*/ 187287 w 1199136"/>
                <a:gd name="connsiteY802" fmla="*/ 1018172 h 1430015"/>
                <a:gd name="connsiteX803" fmla="*/ 186863 w 1199136"/>
                <a:gd name="connsiteY803" fmla="*/ 1017295 h 1430015"/>
                <a:gd name="connsiteX804" fmla="*/ 187347 w 1199136"/>
                <a:gd name="connsiteY804" fmla="*/ 1016509 h 1430015"/>
                <a:gd name="connsiteX805" fmla="*/ 189344 w 1199136"/>
                <a:gd name="connsiteY805" fmla="*/ 1014936 h 1430015"/>
                <a:gd name="connsiteX806" fmla="*/ 188860 w 1199136"/>
                <a:gd name="connsiteY806" fmla="*/ 1014663 h 1430015"/>
                <a:gd name="connsiteX807" fmla="*/ 188678 w 1199136"/>
                <a:gd name="connsiteY807" fmla="*/ 1014815 h 1430015"/>
                <a:gd name="connsiteX808" fmla="*/ 166928 w 1199136"/>
                <a:gd name="connsiteY808" fmla="*/ 774406 h 1430015"/>
                <a:gd name="connsiteX809" fmla="*/ 164991 w 1199136"/>
                <a:gd name="connsiteY809" fmla="*/ 775949 h 1430015"/>
                <a:gd name="connsiteX810" fmla="*/ 163721 w 1199136"/>
                <a:gd name="connsiteY810" fmla="*/ 777220 h 1430015"/>
                <a:gd name="connsiteX811" fmla="*/ 163146 w 1199136"/>
                <a:gd name="connsiteY811" fmla="*/ 778218 h 1430015"/>
                <a:gd name="connsiteX812" fmla="*/ 163146 w 1199136"/>
                <a:gd name="connsiteY812" fmla="*/ 779398 h 1430015"/>
                <a:gd name="connsiteX813" fmla="*/ 162995 w 1199136"/>
                <a:gd name="connsiteY813" fmla="*/ 780578 h 1430015"/>
                <a:gd name="connsiteX814" fmla="*/ 162571 w 1199136"/>
                <a:gd name="connsiteY814" fmla="*/ 781727 h 1430015"/>
                <a:gd name="connsiteX815" fmla="*/ 161785 w 1199136"/>
                <a:gd name="connsiteY815" fmla="*/ 782847 h 1430015"/>
                <a:gd name="connsiteX816" fmla="*/ 165476 w 1199136"/>
                <a:gd name="connsiteY816" fmla="*/ 783119 h 1430015"/>
                <a:gd name="connsiteX817" fmla="*/ 165929 w 1199136"/>
                <a:gd name="connsiteY817" fmla="*/ 780366 h 1430015"/>
                <a:gd name="connsiteX818" fmla="*/ 165929 w 1199136"/>
                <a:gd name="connsiteY818" fmla="*/ 776978 h 1430015"/>
                <a:gd name="connsiteX819" fmla="*/ 168319 w 1199136"/>
                <a:gd name="connsiteY819" fmla="*/ 775314 h 1430015"/>
                <a:gd name="connsiteX820" fmla="*/ 174127 w 1199136"/>
                <a:gd name="connsiteY820" fmla="*/ 774406 h 1430015"/>
                <a:gd name="connsiteX821" fmla="*/ 175035 w 1199136"/>
                <a:gd name="connsiteY821" fmla="*/ 773257 h 1430015"/>
                <a:gd name="connsiteX822" fmla="*/ 175367 w 1199136"/>
                <a:gd name="connsiteY822" fmla="*/ 771775 h 1430015"/>
                <a:gd name="connsiteX823" fmla="*/ 175095 w 1199136"/>
                <a:gd name="connsiteY823" fmla="*/ 770353 h 1430015"/>
                <a:gd name="connsiteX824" fmla="*/ 174127 w 1199136"/>
                <a:gd name="connsiteY824" fmla="*/ 769385 h 1430015"/>
                <a:gd name="connsiteX825" fmla="*/ 173674 w 1199136"/>
                <a:gd name="connsiteY825" fmla="*/ 768537 h 1430015"/>
                <a:gd name="connsiteX826" fmla="*/ 173462 w 1199136"/>
                <a:gd name="connsiteY826" fmla="*/ 767811 h 1430015"/>
                <a:gd name="connsiteX827" fmla="*/ 173462 w 1199136"/>
                <a:gd name="connsiteY827" fmla="*/ 766844 h 1430015"/>
                <a:gd name="connsiteX828" fmla="*/ 172191 w 1199136"/>
                <a:gd name="connsiteY828" fmla="*/ 767751 h 1430015"/>
                <a:gd name="connsiteX829" fmla="*/ 171647 w 1199136"/>
                <a:gd name="connsiteY829" fmla="*/ 768356 h 1430015"/>
                <a:gd name="connsiteX830" fmla="*/ 171435 w 1199136"/>
                <a:gd name="connsiteY830" fmla="*/ 768931 h 1430015"/>
                <a:gd name="connsiteX831" fmla="*/ 171072 w 1199136"/>
                <a:gd name="connsiteY831" fmla="*/ 769415 h 1430015"/>
                <a:gd name="connsiteX832" fmla="*/ 169287 w 1199136"/>
                <a:gd name="connsiteY832" fmla="*/ 769203 h 1430015"/>
                <a:gd name="connsiteX833" fmla="*/ 168621 w 1199136"/>
                <a:gd name="connsiteY833" fmla="*/ 769354 h 1430015"/>
                <a:gd name="connsiteX834" fmla="*/ 168410 w 1199136"/>
                <a:gd name="connsiteY834" fmla="*/ 770595 h 1430015"/>
                <a:gd name="connsiteX835" fmla="*/ 168621 w 1199136"/>
                <a:gd name="connsiteY835" fmla="*/ 772259 h 1430015"/>
                <a:gd name="connsiteX836" fmla="*/ 168410 w 1199136"/>
                <a:gd name="connsiteY836" fmla="*/ 773711 h 1430015"/>
                <a:gd name="connsiteX837" fmla="*/ 166897 w 1199136"/>
                <a:gd name="connsiteY837" fmla="*/ 774346 h 1430015"/>
                <a:gd name="connsiteX838" fmla="*/ 285755 w 1199136"/>
                <a:gd name="connsiteY838" fmla="*/ 759916 h 1430015"/>
                <a:gd name="connsiteX839" fmla="*/ 286451 w 1199136"/>
                <a:gd name="connsiteY839" fmla="*/ 759613 h 1430015"/>
                <a:gd name="connsiteX840" fmla="*/ 287238 w 1199136"/>
                <a:gd name="connsiteY840" fmla="*/ 760218 h 1430015"/>
                <a:gd name="connsiteX841" fmla="*/ 288024 w 1199136"/>
                <a:gd name="connsiteY841" fmla="*/ 761187 h 1430015"/>
                <a:gd name="connsiteX842" fmla="*/ 288629 w 1199136"/>
                <a:gd name="connsiteY842" fmla="*/ 761247 h 1430015"/>
                <a:gd name="connsiteX843" fmla="*/ 289083 w 1199136"/>
                <a:gd name="connsiteY843" fmla="*/ 760370 h 1430015"/>
                <a:gd name="connsiteX844" fmla="*/ 289022 w 1199136"/>
                <a:gd name="connsiteY844" fmla="*/ 759765 h 1430015"/>
                <a:gd name="connsiteX845" fmla="*/ 288690 w 1199136"/>
                <a:gd name="connsiteY845" fmla="*/ 759129 h 1430015"/>
                <a:gd name="connsiteX846" fmla="*/ 289506 w 1199136"/>
                <a:gd name="connsiteY846" fmla="*/ 755771 h 1430015"/>
                <a:gd name="connsiteX847" fmla="*/ 289506 w 1199136"/>
                <a:gd name="connsiteY847" fmla="*/ 754864 h 1430015"/>
                <a:gd name="connsiteX848" fmla="*/ 289416 w 1199136"/>
                <a:gd name="connsiteY848" fmla="*/ 754350 h 1430015"/>
                <a:gd name="connsiteX849" fmla="*/ 289053 w 1199136"/>
                <a:gd name="connsiteY849" fmla="*/ 753412 h 1430015"/>
                <a:gd name="connsiteX850" fmla="*/ 288357 w 1199136"/>
                <a:gd name="connsiteY850" fmla="*/ 752807 h 1430015"/>
                <a:gd name="connsiteX851" fmla="*/ 287540 w 1199136"/>
                <a:gd name="connsiteY851" fmla="*/ 752655 h 1430015"/>
                <a:gd name="connsiteX852" fmla="*/ 286935 w 1199136"/>
                <a:gd name="connsiteY852" fmla="*/ 753684 h 1430015"/>
                <a:gd name="connsiteX853" fmla="*/ 286178 w 1199136"/>
                <a:gd name="connsiteY853" fmla="*/ 755348 h 1430015"/>
                <a:gd name="connsiteX854" fmla="*/ 285876 w 1199136"/>
                <a:gd name="connsiteY854" fmla="*/ 756437 h 1430015"/>
                <a:gd name="connsiteX855" fmla="*/ 286300 w 1199136"/>
                <a:gd name="connsiteY855" fmla="*/ 757223 h 1430015"/>
                <a:gd name="connsiteX856" fmla="*/ 285211 w 1199136"/>
                <a:gd name="connsiteY856" fmla="*/ 759583 h 1430015"/>
                <a:gd name="connsiteX857" fmla="*/ 285695 w 1199136"/>
                <a:gd name="connsiteY857" fmla="*/ 759946 h 1430015"/>
                <a:gd name="connsiteX858" fmla="*/ 284636 w 1199136"/>
                <a:gd name="connsiteY858" fmla="*/ 752172 h 1430015"/>
                <a:gd name="connsiteX859" fmla="*/ 284333 w 1199136"/>
                <a:gd name="connsiteY859" fmla="*/ 751203 h 1430015"/>
                <a:gd name="connsiteX860" fmla="*/ 283789 w 1199136"/>
                <a:gd name="connsiteY860" fmla="*/ 750387 h 1430015"/>
                <a:gd name="connsiteX861" fmla="*/ 283033 w 1199136"/>
                <a:gd name="connsiteY861" fmla="*/ 750205 h 1430015"/>
                <a:gd name="connsiteX862" fmla="*/ 282397 w 1199136"/>
                <a:gd name="connsiteY862" fmla="*/ 750750 h 1430015"/>
                <a:gd name="connsiteX863" fmla="*/ 281822 w 1199136"/>
                <a:gd name="connsiteY863" fmla="*/ 750810 h 1430015"/>
                <a:gd name="connsiteX864" fmla="*/ 281399 w 1199136"/>
                <a:gd name="connsiteY864" fmla="*/ 750992 h 1430015"/>
                <a:gd name="connsiteX865" fmla="*/ 281218 w 1199136"/>
                <a:gd name="connsiteY865" fmla="*/ 752020 h 1430015"/>
                <a:gd name="connsiteX866" fmla="*/ 280794 w 1199136"/>
                <a:gd name="connsiteY866" fmla="*/ 752898 h 1430015"/>
                <a:gd name="connsiteX867" fmla="*/ 280098 w 1199136"/>
                <a:gd name="connsiteY867" fmla="*/ 753412 h 1430015"/>
                <a:gd name="connsiteX868" fmla="*/ 279372 w 1199136"/>
                <a:gd name="connsiteY868" fmla="*/ 753745 h 1430015"/>
                <a:gd name="connsiteX869" fmla="*/ 278918 w 1199136"/>
                <a:gd name="connsiteY869" fmla="*/ 754229 h 1430015"/>
                <a:gd name="connsiteX870" fmla="*/ 278918 w 1199136"/>
                <a:gd name="connsiteY870" fmla="*/ 755197 h 1430015"/>
                <a:gd name="connsiteX871" fmla="*/ 279312 w 1199136"/>
                <a:gd name="connsiteY871" fmla="*/ 756256 h 1430015"/>
                <a:gd name="connsiteX872" fmla="*/ 281157 w 1199136"/>
                <a:gd name="connsiteY872" fmla="*/ 756588 h 1430015"/>
                <a:gd name="connsiteX873" fmla="*/ 285180 w 1199136"/>
                <a:gd name="connsiteY873" fmla="*/ 755802 h 1430015"/>
                <a:gd name="connsiteX874" fmla="*/ 285089 w 1199136"/>
                <a:gd name="connsiteY874" fmla="*/ 755348 h 1430015"/>
                <a:gd name="connsiteX875" fmla="*/ 284757 w 1199136"/>
                <a:gd name="connsiteY875" fmla="*/ 754834 h 1430015"/>
                <a:gd name="connsiteX876" fmla="*/ 284575 w 1199136"/>
                <a:gd name="connsiteY876" fmla="*/ 754259 h 1430015"/>
                <a:gd name="connsiteX877" fmla="*/ 284696 w 1199136"/>
                <a:gd name="connsiteY877" fmla="*/ 753230 h 1430015"/>
                <a:gd name="connsiteX878" fmla="*/ 284696 w 1199136"/>
                <a:gd name="connsiteY878" fmla="*/ 752202 h 1430015"/>
                <a:gd name="connsiteX879" fmla="*/ 840960 w 1199136"/>
                <a:gd name="connsiteY879" fmla="*/ 1090232 h 1430015"/>
                <a:gd name="connsiteX880" fmla="*/ 839598 w 1199136"/>
                <a:gd name="connsiteY880" fmla="*/ 1092651 h 1430015"/>
                <a:gd name="connsiteX881" fmla="*/ 839901 w 1199136"/>
                <a:gd name="connsiteY881" fmla="*/ 1094527 h 1430015"/>
                <a:gd name="connsiteX882" fmla="*/ 841444 w 1199136"/>
                <a:gd name="connsiteY882" fmla="*/ 1096252 h 1430015"/>
                <a:gd name="connsiteX883" fmla="*/ 843773 w 1199136"/>
                <a:gd name="connsiteY883" fmla="*/ 1098308 h 1430015"/>
                <a:gd name="connsiteX884" fmla="*/ 844953 w 1199136"/>
                <a:gd name="connsiteY884" fmla="*/ 1097492 h 1430015"/>
                <a:gd name="connsiteX885" fmla="*/ 845860 w 1199136"/>
                <a:gd name="connsiteY885" fmla="*/ 1096705 h 1430015"/>
                <a:gd name="connsiteX886" fmla="*/ 845286 w 1199136"/>
                <a:gd name="connsiteY886" fmla="*/ 1095102 h 1430015"/>
                <a:gd name="connsiteX887" fmla="*/ 844469 w 1199136"/>
                <a:gd name="connsiteY887" fmla="*/ 1093710 h 1430015"/>
                <a:gd name="connsiteX888" fmla="*/ 843319 w 1199136"/>
                <a:gd name="connsiteY888" fmla="*/ 1092591 h 1430015"/>
                <a:gd name="connsiteX889" fmla="*/ 841716 w 1199136"/>
                <a:gd name="connsiteY889" fmla="*/ 1091835 h 1430015"/>
                <a:gd name="connsiteX890" fmla="*/ 841716 w 1199136"/>
                <a:gd name="connsiteY890" fmla="*/ 1090171 h 1430015"/>
                <a:gd name="connsiteX891" fmla="*/ 840960 w 1199136"/>
                <a:gd name="connsiteY891" fmla="*/ 1090171 h 1430015"/>
                <a:gd name="connsiteX892" fmla="*/ 866976 w 1199136"/>
                <a:gd name="connsiteY892" fmla="*/ 1050088 h 1430015"/>
                <a:gd name="connsiteX893" fmla="*/ 867702 w 1199136"/>
                <a:gd name="connsiteY893" fmla="*/ 1049634 h 1430015"/>
                <a:gd name="connsiteX894" fmla="*/ 868216 w 1199136"/>
                <a:gd name="connsiteY894" fmla="*/ 1048908 h 1430015"/>
                <a:gd name="connsiteX895" fmla="*/ 868488 w 1199136"/>
                <a:gd name="connsiteY895" fmla="*/ 1048152 h 1430015"/>
                <a:gd name="connsiteX896" fmla="*/ 869003 w 1199136"/>
                <a:gd name="connsiteY896" fmla="*/ 1047365 h 1430015"/>
                <a:gd name="connsiteX897" fmla="*/ 869184 w 1199136"/>
                <a:gd name="connsiteY897" fmla="*/ 1046427 h 1430015"/>
                <a:gd name="connsiteX898" fmla="*/ 868700 w 1199136"/>
                <a:gd name="connsiteY898" fmla="*/ 1045974 h 1430015"/>
                <a:gd name="connsiteX899" fmla="*/ 868005 w 1199136"/>
                <a:gd name="connsiteY899" fmla="*/ 1045701 h 1430015"/>
                <a:gd name="connsiteX900" fmla="*/ 867097 w 1199136"/>
                <a:gd name="connsiteY900" fmla="*/ 1045490 h 1430015"/>
                <a:gd name="connsiteX901" fmla="*/ 866431 w 1199136"/>
                <a:gd name="connsiteY901" fmla="*/ 1045671 h 1430015"/>
                <a:gd name="connsiteX902" fmla="*/ 866099 w 1199136"/>
                <a:gd name="connsiteY902" fmla="*/ 1046216 h 1430015"/>
                <a:gd name="connsiteX903" fmla="*/ 865584 w 1199136"/>
                <a:gd name="connsiteY903" fmla="*/ 1046730 h 1430015"/>
                <a:gd name="connsiteX904" fmla="*/ 864616 w 1199136"/>
                <a:gd name="connsiteY904" fmla="*/ 1047153 h 1430015"/>
                <a:gd name="connsiteX905" fmla="*/ 863921 w 1199136"/>
                <a:gd name="connsiteY905" fmla="*/ 1047789 h 1430015"/>
                <a:gd name="connsiteX906" fmla="*/ 863921 w 1199136"/>
                <a:gd name="connsiteY906" fmla="*/ 1048212 h 1430015"/>
                <a:gd name="connsiteX907" fmla="*/ 865827 w 1199136"/>
                <a:gd name="connsiteY907" fmla="*/ 1049846 h 1430015"/>
                <a:gd name="connsiteX908" fmla="*/ 866976 w 1199136"/>
                <a:gd name="connsiteY908" fmla="*/ 1050088 h 1430015"/>
                <a:gd name="connsiteX909" fmla="*/ 840839 w 1199136"/>
                <a:gd name="connsiteY909" fmla="*/ 1079734 h 1430015"/>
                <a:gd name="connsiteX910" fmla="*/ 837511 w 1199136"/>
                <a:gd name="connsiteY910" fmla="*/ 1079734 h 1430015"/>
                <a:gd name="connsiteX911" fmla="*/ 835998 w 1199136"/>
                <a:gd name="connsiteY911" fmla="*/ 1080521 h 1430015"/>
                <a:gd name="connsiteX912" fmla="*/ 835091 w 1199136"/>
                <a:gd name="connsiteY912" fmla="*/ 1082487 h 1430015"/>
                <a:gd name="connsiteX913" fmla="*/ 834970 w 1199136"/>
                <a:gd name="connsiteY913" fmla="*/ 1084484 h 1430015"/>
                <a:gd name="connsiteX914" fmla="*/ 835817 w 1199136"/>
                <a:gd name="connsiteY914" fmla="*/ 1085391 h 1430015"/>
                <a:gd name="connsiteX915" fmla="*/ 837208 w 1199136"/>
                <a:gd name="connsiteY915" fmla="*/ 1085996 h 1430015"/>
                <a:gd name="connsiteX916" fmla="*/ 838509 w 1199136"/>
                <a:gd name="connsiteY916" fmla="*/ 1087206 h 1430015"/>
                <a:gd name="connsiteX917" fmla="*/ 839931 w 1199136"/>
                <a:gd name="connsiteY917" fmla="*/ 1088114 h 1430015"/>
                <a:gd name="connsiteX918" fmla="*/ 841686 w 1199136"/>
                <a:gd name="connsiteY918" fmla="*/ 1087811 h 1430015"/>
                <a:gd name="connsiteX919" fmla="*/ 841686 w 1199136"/>
                <a:gd name="connsiteY919" fmla="*/ 1086934 h 1430015"/>
                <a:gd name="connsiteX920" fmla="*/ 841172 w 1199136"/>
                <a:gd name="connsiteY920" fmla="*/ 1086450 h 1430015"/>
                <a:gd name="connsiteX921" fmla="*/ 840839 w 1199136"/>
                <a:gd name="connsiteY921" fmla="*/ 1085905 h 1430015"/>
                <a:gd name="connsiteX922" fmla="*/ 840324 w 1199136"/>
                <a:gd name="connsiteY922" fmla="*/ 1084514 h 1430015"/>
                <a:gd name="connsiteX923" fmla="*/ 842987 w 1199136"/>
                <a:gd name="connsiteY923" fmla="*/ 1084514 h 1430015"/>
                <a:gd name="connsiteX924" fmla="*/ 842987 w 1199136"/>
                <a:gd name="connsiteY924" fmla="*/ 1083788 h 1430015"/>
                <a:gd name="connsiteX925" fmla="*/ 842472 w 1199136"/>
                <a:gd name="connsiteY925" fmla="*/ 1083486 h 1430015"/>
                <a:gd name="connsiteX926" fmla="*/ 841625 w 1199136"/>
                <a:gd name="connsiteY926" fmla="*/ 1082608 h 1430015"/>
                <a:gd name="connsiteX927" fmla="*/ 840960 w 1199136"/>
                <a:gd name="connsiteY927" fmla="*/ 1082094 h 1430015"/>
                <a:gd name="connsiteX928" fmla="*/ 841686 w 1199136"/>
                <a:gd name="connsiteY928" fmla="*/ 1080400 h 1430015"/>
                <a:gd name="connsiteX929" fmla="*/ 840869 w 1199136"/>
                <a:gd name="connsiteY929" fmla="*/ 1079704 h 1430015"/>
                <a:gd name="connsiteX930" fmla="*/ 1198653 w 1199136"/>
                <a:gd name="connsiteY930" fmla="*/ 889120 h 1430015"/>
                <a:gd name="connsiteX931" fmla="*/ 1198380 w 1199136"/>
                <a:gd name="connsiteY931" fmla="*/ 888273 h 1430015"/>
                <a:gd name="connsiteX932" fmla="*/ 1198895 w 1199136"/>
                <a:gd name="connsiteY932" fmla="*/ 886881 h 1430015"/>
                <a:gd name="connsiteX933" fmla="*/ 1198229 w 1199136"/>
                <a:gd name="connsiteY933" fmla="*/ 886548 h 1430015"/>
                <a:gd name="connsiteX934" fmla="*/ 1197715 w 1199136"/>
                <a:gd name="connsiteY934" fmla="*/ 885974 h 1430015"/>
                <a:gd name="connsiteX935" fmla="*/ 1197291 w 1199136"/>
                <a:gd name="connsiteY935" fmla="*/ 885248 h 1430015"/>
                <a:gd name="connsiteX936" fmla="*/ 1190969 w 1199136"/>
                <a:gd name="connsiteY936" fmla="*/ 871302 h 1430015"/>
                <a:gd name="connsiteX937" fmla="*/ 1184223 w 1199136"/>
                <a:gd name="connsiteY937" fmla="*/ 862740 h 1430015"/>
                <a:gd name="connsiteX938" fmla="*/ 1183315 w 1199136"/>
                <a:gd name="connsiteY938" fmla="*/ 861954 h 1430015"/>
                <a:gd name="connsiteX939" fmla="*/ 1181530 w 1199136"/>
                <a:gd name="connsiteY939" fmla="*/ 861167 h 1430015"/>
                <a:gd name="connsiteX940" fmla="*/ 1180048 w 1199136"/>
                <a:gd name="connsiteY940" fmla="*/ 859352 h 1430015"/>
                <a:gd name="connsiteX941" fmla="*/ 1177446 w 1199136"/>
                <a:gd name="connsiteY941" fmla="*/ 855329 h 1430015"/>
                <a:gd name="connsiteX942" fmla="*/ 1174149 w 1199136"/>
                <a:gd name="connsiteY942" fmla="*/ 852758 h 1430015"/>
                <a:gd name="connsiteX943" fmla="*/ 1172999 w 1199136"/>
                <a:gd name="connsiteY943" fmla="*/ 851608 h 1430015"/>
                <a:gd name="connsiteX944" fmla="*/ 1170942 w 1199136"/>
                <a:gd name="connsiteY944" fmla="*/ 848341 h 1430015"/>
                <a:gd name="connsiteX945" fmla="*/ 1170246 w 1199136"/>
                <a:gd name="connsiteY945" fmla="*/ 847887 h 1430015"/>
                <a:gd name="connsiteX946" fmla="*/ 1168250 w 1199136"/>
                <a:gd name="connsiteY946" fmla="*/ 847494 h 1430015"/>
                <a:gd name="connsiteX947" fmla="*/ 1159023 w 1199136"/>
                <a:gd name="connsiteY947" fmla="*/ 842684 h 1430015"/>
                <a:gd name="connsiteX948" fmla="*/ 1150704 w 1199136"/>
                <a:gd name="connsiteY948" fmla="*/ 836331 h 1430015"/>
                <a:gd name="connsiteX949" fmla="*/ 1151309 w 1199136"/>
                <a:gd name="connsiteY949" fmla="*/ 830856 h 1430015"/>
                <a:gd name="connsiteX950" fmla="*/ 1150886 w 1199136"/>
                <a:gd name="connsiteY950" fmla="*/ 830099 h 1430015"/>
                <a:gd name="connsiteX951" fmla="*/ 1148526 w 1199136"/>
                <a:gd name="connsiteY951" fmla="*/ 828042 h 1430015"/>
                <a:gd name="connsiteX952" fmla="*/ 1148102 w 1199136"/>
                <a:gd name="connsiteY952" fmla="*/ 826802 h 1430015"/>
                <a:gd name="connsiteX953" fmla="*/ 1148042 w 1199136"/>
                <a:gd name="connsiteY953" fmla="*/ 825713 h 1430015"/>
                <a:gd name="connsiteX954" fmla="*/ 1147618 w 1199136"/>
                <a:gd name="connsiteY954" fmla="*/ 824926 h 1430015"/>
                <a:gd name="connsiteX955" fmla="*/ 1146106 w 1199136"/>
                <a:gd name="connsiteY955" fmla="*/ 824624 h 1430015"/>
                <a:gd name="connsiteX956" fmla="*/ 1143534 w 1199136"/>
                <a:gd name="connsiteY956" fmla="*/ 825410 h 1430015"/>
                <a:gd name="connsiteX957" fmla="*/ 1142385 w 1199136"/>
                <a:gd name="connsiteY957" fmla="*/ 825410 h 1430015"/>
                <a:gd name="connsiteX958" fmla="*/ 1142476 w 1199136"/>
                <a:gd name="connsiteY958" fmla="*/ 822537 h 1430015"/>
                <a:gd name="connsiteX959" fmla="*/ 1139057 w 1199136"/>
                <a:gd name="connsiteY959" fmla="*/ 821024 h 1430015"/>
                <a:gd name="connsiteX960" fmla="*/ 1131222 w 1199136"/>
                <a:gd name="connsiteY960" fmla="*/ 819662 h 1430015"/>
                <a:gd name="connsiteX961" fmla="*/ 1121602 w 1199136"/>
                <a:gd name="connsiteY961" fmla="*/ 813158 h 1430015"/>
                <a:gd name="connsiteX962" fmla="*/ 1111226 w 1199136"/>
                <a:gd name="connsiteY962" fmla="*/ 809256 h 1430015"/>
                <a:gd name="connsiteX963" fmla="*/ 1110137 w 1199136"/>
                <a:gd name="connsiteY963" fmla="*/ 808621 h 1430015"/>
                <a:gd name="connsiteX964" fmla="*/ 1101455 w 1199136"/>
                <a:gd name="connsiteY964" fmla="*/ 806533 h 1430015"/>
                <a:gd name="connsiteX965" fmla="*/ 1097825 w 1199136"/>
                <a:gd name="connsiteY965" fmla="*/ 804295 h 1430015"/>
                <a:gd name="connsiteX966" fmla="*/ 1095767 w 1199136"/>
                <a:gd name="connsiteY966" fmla="*/ 803780 h 1430015"/>
                <a:gd name="connsiteX967" fmla="*/ 1094164 w 1199136"/>
                <a:gd name="connsiteY967" fmla="*/ 803085 h 1430015"/>
                <a:gd name="connsiteX968" fmla="*/ 1087872 w 1199136"/>
                <a:gd name="connsiteY968" fmla="*/ 796883 h 1430015"/>
                <a:gd name="connsiteX969" fmla="*/ 1084242 w 1199136"/>
                <a:gd name="connsiteY969" fmla="*/ 794281 h 1430015"/>
                <a:gd name="connsiteX970" fmla="*/ 1082578 w 1199136"/>
                <a:gd name="connsiteY970" fmla="*/ 793767 h 1430015"/>
                <a:gd name="connsiteX971" fmla="*/ 1081247 w 1199136"/>
                <a:gd name="connsiteY971" fmla="*/ 793072 h 1430015"/>
                <a:gd name="connsiteX972" fmla="*/ 1077435 w 1199136"/>
                <a:gd name="connsiteY972" fmla="*/ 787838 h 1430015"/>
                <a:gd name="connsiteX973" fmla="*/ 1074047 w 1199136"/>
                <a:gd name="connsiteY973" fmla="*/ 784722 h 1430015"/>
                <a:gd name="connsiteX974" fmla="*/ 1066665 w 1199136"/>
                <a:gd name="connsiteY974" fmla="*/ 779761 h 1430015"/>
                <a:gd name="connsiteX975" fmla="*/ 1051963 w 1199136"/>
                <a:gd name="connsiteY975" fmla="*/ 772319 h 1430015"/>
                <a:gd name="connsiteX976" fmla="*/ 1034660 w 1199136"/>
                <a:gd name="connsiteY976" fmla="*/ 767146 h 1430015"/>
                <a:gd name="connsiteX977" fmla="*/ 1032572 w 1199136"/>
                <a:gd name="connsiteY977" fmla="*/ 765149 h 1430015"/>
                <a:gd name="connsiteX978" fmla="*/ 1031937 w 1199136"/>
                <a:gd name="connsiteY978" fmla="*/ 765149 h 1430015"/>
                <a:gd name="connsiteX979" fmla="*/ 1031937 w 1199136"/>
                <a:gd name="connsiteY979" fmla="*/ 766057 h 1430015"/>
                <a:gd name="connsiteX980" fmla="*/ 1031271 w 1199136"/>
                <a:gd name="connsiteY980" fmla="*/ 766057 h 1430015"/>
                <a:gd name="connsiteX981" fmla="*/ 1029184 w 1199136"/>
                <a:gd name="connsiteY981" fmla="*/ 764423 h 1430015"/>
                <a:gd name="connsiteX982" fmla="*/ 1005346 w 1199136"/>
                <a:gd name="connsiteY982" fmla="*/ 756982 h 1430015"/>
                <a:gd name="connsiteX983" fmla="*/ 1001383 w 1199136"/>
                <a:gd name="connsiteY983" fmla="*/ 754471 h 1430015"/>
                <a:gd name="connsiteX984" fmla="*/ 999780 w 1199136"/>
                <a:gd name="connsiteY984" fmla="*/ 753018 h 1430015"/>
                <a:gd name="connsiteX985" fmla="*/ 997995 w 1199136"/>
                <a:gd name="connsiteY985" fmla="*/ 751688 h 1430015"/>
                <a:gd name="connsiteX986" fmla="*/ 991914 w 1199136"/>
                <a:gd name="connsiteY986" fmla="*/ 750145 h 1430015"/>
                <a:gd name="connsiteX987" fmla="*/ 975941 w 1199136"/>
                <a:gd name="connsiteY987" fmla="*/ 742128 h 1430015"/>
                <a:gd name="connsiteX988" fmla="*/ 957095 w 1199136"/>
                <a:gd name="connsiteY988" fmla="*/ 734142 h 1430015"/>
                <a:gd name="connsiteX989" fmla="*/ 955703 w 1199136"/>
                <a:gd name="connsiteY989" fmla="*/ 732811 h 1430015"/>
                <a:gd name="connsiteX990" fmla="*/ 954161 w 1199136"/>
                <a:gd name="connsiteY990" fmla="*/ 731722 h 1430015"/>
                <a:gd name="connsiteX991" fmla="*/ 947778 w 1199136"/>
                <a:gd name="connsiteY991" fmla="*/ 729846 h 1430015"/>
                <a:gd name="connsiteX992" fmla="*/ 941697 w 1199136"/>
                <a:gd name="connsiteY992" fmla="*/ 725944 h 1430015"/>
                <a:gd name="connsiteX993" fmla="*/ 938914 w 1199136"/>
                <a:gd name="connsiteY993" fmla="*/ 723493 h 1430015"/>
                <a:gd name="connsiteX994" fmla="*/ 936705 w 1199136"/>
                <a:gd name="connsiteY994" fmla="*/ 720619 h 1430015"/>
                <a:gd name="connsiteX995" fmla="*/ 935163 w 1199136"/>
                <a:gd name="connsiteY995" fmla="*/ 716475 h 1430015"/>
                <a:gd name="connsiteX996" fmla="*/ 934649 w 1199136"/>
                <a:gd name="connsiteY996" fmla="*/ 711483 h 1430015"/>
                <a:gd name="connsiteX997" fmla="*/ 935526 w 1199136"/>
                <a:gd name="connsiteY997" fmla="*/ 706825 h 1430015"/>
                <a:gd name="connsiteX998" fmla="*/ 938067 w 1199136"/>
                <a:gd name="connsiteY998" fmla="*/ 703679 h 1430015"/>
                <a:gd name="connsiteX999" fmla="*/ 948352 w 1199136"/>
                <a:gd name="connsiteY999" fmla="*/ 698748 h 1430015"/>
                <a:gd name="connsiteX1000" fmla="*/ 951952 w 1199136"/>
                <a:gd name="connsiteY1000" fmla="*/ 696085 h 1430015"/>
                <a:gd name="connsiteX1001" fmla="*/ 954614 w 1199136"/>
                <a:gd name="connsiteY1001" fmla="*/ 693060 h 1430015"/>
                <a:gd name="connsiteX1002" fmla="*/ 956369 w 1199136"/>
                <a:gd name="connsiteY1002" fmla="*/ 691639 h 1430015"/>
                <a:gd name="connsiteX1003" fmla="*/ 958426 w 1199136"/>
                <a:gd name="connsiteY1003" fmla="*/ 691033 h 1430015"/>
                <a:gd name="connsiteX1004" fmla="*/ 960271 w 1199136"/>
                <a:gd name="connsiteY1004" fmla="*/ 690247 h 1430015"/>
                <a:gd name="connsiteX1005" fmla="*/ 962389 w 1199136"/>
                <a:gd name="connsiteY1005" fmla="*/ 688462 h 1430015"/>
                <a:gd name="connsiteX1006" fmla="*/ 964144 w 1199136"/>
                <a:gd name="connsiteY1006" fmla="*/ 686465 h 1430015"/>
                <a:gd name="connsiteX1007" fmla="*/ 964990 w 1199136"/>
                <a:gd name="connsiteY1007" fmla="*/ 685074 h 1430015"/>
                <a:gd name="connsiteX1008" fmla="*/ 964990 w 1199136"/>
                <a:gd name="connsiteY1008" fmla="*/ 682896 h 1430015"/>
                <a:gd name="connsiteX1009" fmla="*/ 964930 w 1199136"/>
                <a:gd name="connsiteY1009" fmla="*/ 681292 h 1430015"/>
                <a:gd name="connsiteX1010" fmla="*/ 964053 w 1199136"/>
                <a:gd name="connsiteY1010" fmla="*/ 676694 h 1430015"/>
                <a:gd name="connsiteX1011" fmla="*/ 963297 w 1199136"/>
                <a:gd name="connsiteY1011" fmla="*/ 674335 h 1430015"/>
                <a:gd name="connsiteX1012" fmla="*/ 963599 w 1199136"/>
                <a:gd name="connsiteY1012" fmla="*/ 672368 h 1430015"/>
                <a:gd name="connsiteX1013" fmla="*/ 961784 w 1199136"/>
                <a:gd name="connsiteY1013" fmla="*/ 672459 h 1430015"/>
                <a:gd name="connsiteX1014" fmla="*/ 959727 w 1199136"/>
                <a:gd name="connsiteY1014" fmla="*/ 669071 h 1430015"/>
                <a:gd name="connsiteX1015" fmla="*/ 956853 w 1199136"/>
                <a:gd name="connsiteY1015" fmla="*/ 668285 h 1430015"/>
                <a:gd name="connsiteX1016" fmla="*/ 956732 w 1199136"/>
                <a:gd name="connsiteY1016" fmla="*/ 668073 h 1430015"/>
                <a:gd name="connsiteX1017" fmla="*/ 948292 w 1199136"/>
                <a:gd name="connsiteY1017" fmla="*/ 666076 h 1430015"/>
                <a:gd name="connsiteX1018" fmla="*/ 922850 w 1199136"/>
                <a:gd name="connsiteY1018" fmla="*/ 668920 h 1430015"/>
                <a:gd name="connsiteX1019" fmla="*/ 906454 w 1199136"/>
                <a:gd name="connsiteY1019" fmla="*/ 668073 h 1430015"/>
                <a:gd name="connsiteX1020" fmla="*/ 889816 w 1199136"/>
                <a:gd name="connsiteY1020" fmla="*/ 670704 h 1430015"/>
                <a:gd name="connsiteX1021" fmla="*/ 885248 w 1199136"/>
                <a:gd name="connsiteY1021" fmla="*/ 670614 h 1430015"/>
                <a:gd name="connsiteX1022" fmla="*/ 873299 w 1199136"/>
                <a:gd name="connsiteY1022" fmla="*/ 668103 h 1430015"/>
                <a:gd name="connsiteX1023" fmla="*/ 861591 w 1199136"/>
                <a:gd name="connsiteY1023" fmla="*/ 668103 h 1430015"/>
                <a:gd name="connsiteX1024" fmla="*/ 859413 w 1199136"/>
                <a:gd name="connsiteY1024" fmla="*/ 667710 h 1430015"/>
                <a:gd name="connsiteX1025" fmla="*/ 857356 w 1199136"/>
                <a:gd name="connsiteY1025" fmla="*/ 667316 h 1430015"/>
                <a:gd name="connsiteX1026" fmla="*/ 855450 w 1199136"/>
                <a:gd name="connsiteY1026" fmla="*/ 666379 h 1430015"/>
                <a:gd name="connsiteX1027" fmla="*/ 851306 w 1199136"/>
                <a:gd name="connsiteY1027" fmla="*/ 663595 h 1430015"/>
                <a:gd name="connsiteX1028" fmla="*/ 849491 w 1199136"/>
                <a:gd name="connsiteY1028" fmla="*/ 663020 h 1430015"/>
                <a:gd name="connsiteX1029" fmla="*/ 848432 w 1199136"/>
                <a:gd name="connsiteY1029" fmla="*/ 662325 h 1430015"/>
                <a:gd name="connsiteX1030" fmla="*/ 845709 w 1199136"/>
                <a:gd name="connsiteY1030" fmla="*/ 658997 h 1430015"/>
                <a:gd name="connsiteX1031" fmla="*/ 844348 w 1199136"/>
                <a:gd name="connsiteY1031" fmla="*/ 657848 h 1430015"/>
                <a:gd name="connsiteX1032" fmla="*/ 840143 w 1199136"/>
                <a:gd name="connsiteY1032" fmla="*/ 656547 h 1430015"/>
                <a:gd name="connsiteX1033" fmla="*/ 832005 w 1199136"/>
                <a:gd name="connsiteY1033" fmla="*/ 655185 h 1430015"/>
                <a:gd name="connsiteX1034" fmla="*/ 828405 w 1199136"/>
                <a:gd name="connsiteY1034" fmla="*/ 653673 h 1430015"/>
                <a:gd name="connsiteX1035" fmla="*/ 824805 w 1199136"/>
                <a:gd name="connsiteY1035" fmla="*/ 650920 h 1430015"/>
                <a:gd name="connsiteX1036" fmla="*/ 822839 w 1199136"/>
                <a:gd name="connsiteY1036" fmla="*/ 649831 h 1430015"/>
                <a:gd name="connsiteX1037" fmla="*/ 821145 w 1199136"/>
                <a:gd name="connsiteY1037" fmla="*/ 649498 h 1430015"/>
                <a:gd name="connsiteX1038" fmla="*/ 820540 w 1199136"/>
                <a:gd name="connsiteY1038" fmla="*/ 649377 h 1430015"/>
                <a:gd name="connsiteX1039" fmla="*/ 818846 w 1199136"/>
                <a:gd name="connsiteY1039" fmla="*/ 648651 h 1430015"/>
                <a:gd name="connsiteX1040" fmla="*/ 817696 w 1199136"/>
                <a:gd name="connsiteY1040" fmla="*/ 646866 h 1430015"/>
                <a:gd name="connsiteX1041" fmla="*/ 817031 w 1199136"/>
                <a:gd name="connsiteY1041" fmla="*/ 644416 h 1430015"/>
                <a:gd name="connsiteX1042" fmla="*/ 816456 w 1199136"/>
                <a:gd name="connsiteY1042" fmla="*/ 639273 h 1430015"/>
                <a:gd name="connsiteX1043" fmla="*/ 815669 w 1199136"/>
                <a:gd name="connsiteY1043" fmla="*/ 637367 h 1430015"/>
                <a:gd name="connsiteX1044" fmla="*/ 814096 w 1199136"/>
                <a:gd name="connsiteY1044" fmla="*/ 636127 h 1430015"/>
                <a:gd name="connsiteX1045" fmla="*/ 810073 w 1199136"/>
                <a:gd name="connsiteY1045" fmla="*/ 635401 h 1430015"/>
                <a:gd name="connsiteX1046" fmla="*/ 804265 w 1199136"/>
                <a:gd name="connsiteY1046" fmla="*/ 633223 h 1430015"/>
                <a:gd name="connsiteX1047" fmla="*/ 800665 w 1199136"/>
                <a:gd name="connsiteY1047" fmla="*/ 631075 h 1430015"/>
                <a:gd name="connsiteX1048" fmla="*/ 787475 w 1199136"/>
                <a:gd name="connsiteY1048" fmla="*/ 619096 h 1430015"/>
                <a:gd name="connsiteX1049" fmla="*/ 783301 w 1199136"/>
                <a:gd name="connsiteY1049" fmla="*/ 612682 h 1430015"/>
                <a:gd name="connsiteX1050" fmla="*/ 780154 w 1199136"/>
                <a:gd name="connsiteY1050" fmla="*/ 610202 h 1430015"/>
                <a:gd name="connsiteX1051" fmla="*/ 772894 w 1199136"/>
                <a:gd name="connsiteY1051" fmla="*/ 605785 h 1430015"/>
                <a:gd name="connsiteX1052" fmla="*/ 766511 w 1199136"/>
                <a:gd name="connsiteY1052" fmla="*/ 600521 h 1430015"/>
                <a:gd name="connsiteX1053" fmla="*/ 751900 w 1199136"/>
                <a:gd name="connsiteY1053" fmla="*/ 584427 h 1430015"/>
                <a:gd name="connsiteX1054" fmla="*/ 751234 w 1199136"/>
                <a:gd name="connsiteY1054" fmla="*/ 583096 h 1430015"/>
                <a:gd name="connsiteX1055" fmla="*/ 750689 w 1199136"/>
                <a:gd name="connsiteY1055" fmla="*/ 581191 h 1430015"/>
                <a:gd name="connsiteX1056" fmla="*/ 744457 w 1199136"/>
                <a:gd name="connsiteY1056" fmla="*/ 571964 h 1430015"/>
                <a:gd name="connsiteX1057" fmla="*/ 742370 w 1199136"/>
                <a:gd name="connsiteY1057" fmla="*/ 567940 h 1430015"/>
                <a:gd name="connsiteX1058" fmla="*/ 738771 w 1199136"/>
                <a:gd name="connsiteY1058" fmla="*/ 559409 h 1430015"/>
                <a:gd name="connsiteX1059" fmla="*/ 734838 w 1199136"/>
                <a:gd name="connsiteY1059" fmla="*/ 546401 h 1430015"/>
                <a:gd name="connsiteX1060" fmla="*/ 730814 w 1199136"/>
                <a:gd name="connsiteY1060" fmla="*/ 533091 h 1430015"/>
                <a:gd name="connsiteX1061" fmla="*/ 729120 w 1199136"/>
                <a:gd name="connsiteY1061" fmla="*/ 522412 h 1430015"/>
                <a:gd name="connsiteX1062" fmla="*/ 727729 w 1199136"/>
                <a:gd name="connsiteY1062" fmla="*/ 517904 h 1430015"/>
                <a:gd name="connsiteX1063" fmla="*/ 724492 w 1199136"/>
                <a:gd name="connsiteY1063" fmla="*/ 511491 h 1430015"/>
                <a:gd name="connsiteX1064" fmla="*/ 723281 w 1199136"/>
                <a:gd name="connsiteY1064" fmla="*/ 509737 h 1430015"/>
                <a:gd name="connsiteX1065" fmla="*/ 722858 w 1199136"/>
                <a:gd name="connsiteY1065" fmla="*/ 508678 h 1430015"/>
                <a:gd name="connsiteX1066" fmla="*/ 722223 w 1199136"/>
                <a:gd name="connsiteY1066" fmla="*/ 504140 h 1430015"/>
                <a:gd name="connsiteX1067" fmla="*/ 721799 w 1199136"/>
                <a:gd name="connsiteY1067" fmla="*/ 503233 h 1430015"/>
                <a:gd name="connsiteX1068" fmla="*/ 720226 w 1199136"/>
                <a:gd name="connsiteY1068" fmla="*/ 500692 h 1430015"/>
                <a:gd name="connsiteX1069" fmla="*/ 705796 w 1199136"/>
                <a:gd name="connsiteY1069" fmla="*/ 466719 h 1430015"/>
                <a:gd name="connsiteX1070" fmla="*/ 706553 w 1199136"/>
                <a:gd name="connsiteY1070" fmla="*/ 464692 h 1430015"/>
                <a:gd name="connsiteX1071" fmla="*/ 705645 w 1199136"/>
                <a:gd name="connsiteY1071" fmla="*/ 462998 h 1430015"/>
                <a:gd name="connsiteX1072" fmla="*/ 703860 w 1199136"/>
                <a:gd name="connsiteY1072" fmla="*/ 461848 h 1430015"/>
                <a:gd name="connsiteX1073" fmla="*/ 701924 w 1199136"/>
                <a:gd name="connsiteY1073" fmla="*/ 461425 h 1430015"/>
                <a:gd name="connsiteX1074" fmla="*/ 700956 w 1199136"/>
                <a:gd name="connsiteY1074" fmla="*/ 460487 h 1430015"/>
                <a:gd name="connsiteX1075" fmla="*/ 699807 w 1199136"/>
                <a:gd name="connsiteY1075" fmla="*/ 458370 h 1430015"/>
                <a:gd name="connsiteX1076" fmla="*/ 698354 w 1199136"/>
                <a:gd name="connsiteY1076" fmla="*/ 456282 h 1430015"/>
                <a:gd name="connsiteX1077" fmla="*/ 696419 w 1199136"/>
                <a:gd name="connsiteY1077" fmla="*/ 455345 h 1430015"/>
                <a:gd name="connsiteX1078" fmla="*/ 696116 w 1199136"/>
                <a:gd name="connsiteY1078" fmla="*/ 455072 h 1430015"/>
                <a:gd name="connsiteX1079" fmla="*/ 695904 w 1199136"/>
                <a:gd name="connsiteY1079" fmla="*/ 454498 h 1430015"/>
                <a:gd name="connsiteX1080" fmla="*/ 695602 w 1199136"/>
                <a:gd name="connsiteY1080" fmla="*/ 453923 h 1430015"/>
                <a:gd name="connsiteX1081" fmla="*/ 695027 w 1199136"/>
                <a:gd name="connsiteY1081" fmla="*/ 453650 h 1430015"/>
                <a:gd name="connsiteX1082" fmla="*/ 694422 w 1199136"/>
                <a:gd name="connsiteY1082" fmla="*/ 453772 h 1430015"/>
                <a:gd name="connsiteX1083" fmla="*/ 694119 w 1199136"/>
                <a:gd name="connsiteY1083" fmla="*/ 454044 h 1430015"/>
                <a:gd name="connsiteX1084" fmla="*/ 693877 w 1199136"/>
                <a:gd name="connsiteY1084" fmla="*/ 454316 h 1430015"/>
                <a:gd name="connsiteX1085" fmla="*/ 693605 w 1199136"/>
                <a:gd name="connsiteY1085" fmla="*/ 454437 h 1430015"/>
                <a:gd name="connsiteX1086" fmla="*/ 693060 w 1199136"/>
                <a:gd name="connsiteY1086" fmla="*/ 454921 h 1430015"/>
                <a:gd name="connsiteX1087" fmla="*/ 692304 w 1199136"/>
                <a:gd name="connsiteY1087" fmla="*/ 455859 h 1430015"/>
                <a:gd name="connsiteX1088" fmla="*/ 691336 w 1199136"/>
                <a:gd name="connsiteY1088" fmla="*/ 456403 h 1430015"/>
                <a:gd name="connsiteX1089" fmla="*/ 688644 w 1199136"/>
                <a:gd name="connsiteY1089" fmla="*/ 454921 h 1430015"/>
                <a:gd name="connsiteX1090" fmla="*/ 683925 w 1199136"/>
                <a:gd name="connsiteY1090" fmla="*/ 453409 h 1430015"/>
                <a:gd name="connsiteX1091" fmla="*/ 682926 w 1199136"/>
                <a:gd name="connsiteY1091" fmla="*/ 452259 h 1430015"/>
                <a:gd name="connsiteX1092" fmla="*/ 680929 w 1199136"/>
                <a:gd name="connsiteY1092" fmla="*/ 451503 h 1430015"/>
                <a:gd name="connsiteX1093" fmla="*/ 669162 w 1199136"/>
                <a:gd name="connsiteY1093" fmla="*/ 444757 h 1430015"/>
                <a:gd name="connsiteX1094" fmla="*/ 638366 w 1199136"/>
                <a:gd name="connsiteY1094" fmla="*/ 419890 h 1430015"/>
                <a:gd name="connsiteX1095" fmla="*/ 637488 w 1199136"/>
                <a:gd name="connsiteY1095" fmla="*/ 419013 h 1430015"/>
                <a:gd name="connsiteX1096" fmla="*/ 636490 w 1199136"/>
                <a:gd name="connsiteY1096" fmla="*/ 417591 h 1430015"/>
                <a:gd name="connsiteX1097" fmla="*/ 629775 w 1199136"/>
                <a:gd name="connsiteY1097" fmla="*/ 415080 h 1430015"/>
                <a:gd name="connsiteX1098" fmla="*/ 625842 w 1199136"/>
                <a:gd name="connsiteY1098" fmla="*/ 412115 h 1430015"/>
                <a:gd name="connsiteX1099" fmla="*/ 623936 w 1199136"/>
                <a:gd name="connsiteY1099" fmla="*/ 411057 h 1430015"/>
                <a:gd name="connsiteX1100" fmla="*/ 619126 w 1199136"/>
                <a:gd name="connsiteY1100" fmla="*/ 410391 h 1430015"/>
                <a:gd name="connsiteX1101" fmla="*/ 618914 w 1199136"/>
                <a:gd name="connsiteY1101" fmla="*/ 410331 h 1430015"/>
                <a:gd name="connsiteX1102" fmla="*/ 614528 w 1199136"/>
                <a:gd name="connsiteY1102" fmla="*/ 408969 h 1430015"/>
                <a:gd name="connsiteX1103" fmla="*/ 612652 w 1199136"/>
                <a:gd name="connsiteY1103" fmla="*/ 407971 h 1430015"/>
                <a:gd name="connsiteX1104" fmla="*/ 609566 w 1199136"/>
                <a:gd name="connsiteY1104" fmla="*/ 405702 h 1430015"/>
                <a:gd name="connsiteX1105" fmla="*/ 606602 w 1199136"/>
                <a:gd name="connsiteY1105" fmla="*/ 402919 h 1430015"/>
                <a:gd name="connsiteX1106" fmla="*/ 600854 w 1199136"/>
                <a:gd name="connsiteY1106" fmla="*/ 395779 h 1430015"/>
                <a:gd name="connsiteX1107" fmla="*/ 598162 w 1199136"/>
                <a:gd name="connsiteY1107" fmla="*/ 394781 h 1430015"/>
                <a:gd name="connsiteX1108" fmla="*/ 594501 w 1199136"/>
                <a:gd name="connsiteY1108" fmla="*/ 392059 h 1430015"/>
                <a:gd name="connsiteX1109" fmla="*/ 591264 w 1199136"/>
                <a:gd name="connsiteY1109" fmla="*/ 388882 h 1430015"/>
                <a:gd name="connsiteX1110" fmla="*/ 589177 w 1199136"/>
                <a:gd name="connsiteY1110" fmla="*/ 385403 h 1430015"/>
                <a:gd name="connsiteX1111" fmla="*/ 585063 w 1199136"/>
                <a:gd name="connsiteY1111" fmla="*/ 381652 h 1430015"/>
                <a:gd name="connsiteX1112" fmla="*/ 582340 w 1199136"/>
                <a:gd name="connsiteY1112" fmla="*/ 378143 h 1430015"/>
                <a:gd name="connsiteX1113" fmla="*/ 580223 w 1199136"/>
                <a:gd name="connsiteY1113" fmla="*/ 374543 h 1430015"/>
                <a:gd name="connsiteX1114" fmla="*/ 578347 w 1199136"/>
                <a:gd name="connsiteY1114" fmla="*/ 369703 h 1430015"/>
                <a:gd name="connsiteX1115" fmla="*/ 577742 w 1199136"/>
                <a:gd name="connsiteY1115" fmla="*/ 367101 h 1430015"/>
                <a:gd name="connsiteX1116" fmla="*/ 577530 w 1199136"/>
                <a:gd name="connsiteY1116" fmla="*/ 364378 h 1430015"/>
                <a:gd name="connsiteX1117" fmla="*/ 577228 w 1199136"/>
                <a:gd name="connsiteY1117" fmla="*/ 363743 h 1430015"/>
                <a:gd name="connsiteX1118" fmla="*/ 575836 w 1199136"/>
                <a:gd name="connsiteY1118" fmla="*/ 362019 h 1430015"/>
                <a:gd name="connsiteX1119" fmla="*/ 575413 w 1199136"/>
                <a:gd name="connsiteY1119" fmla="*/ 361262 h 1430015"/>
                <a:gd name="connsiteX1120" fmla="*/ 575140 w 1199136"/>
                <a:gd name="connsiteY1120" fmla="*/ 360325 h 1430015"/>
                <a:gd name="connsiteX1121" fmla="*/ 574747 w 1199136"/>
                <a:gd name="connsiteY1121" fmla="*/ 356967 h 1430015"/>
                <a:gd name="connsiteX1122" fmla="*/ 571692 w 1199136"/>
                <a:gd name="connsiteY1122" fmla="*/ 343989 h 1430015"/>
                <a:gd name="connsiteX1123" fmla="*/ 571329 w 1199136"/>
                <a:gd name="connsiteY1123" fmla="*/ 338241 h 1430015"/>
                <a:gd name="connsiteX1124" fmla="*/ 571904 w 1199136"/>
                <a:gd name="connsiteY1124" fmla="*/ 329075 h 1430015"/>
                <a:gd name="connsiteX1125" fmla="*/ 571661 w 1199136"/>
                <a:gd name="connsiteY1125" fmla="*/ 327653 h 1430015"/>
                <a:gd name="connsiteX1126" fmla="*/ 570814 w 1199136"/>
                <a:gd name="connsiteY1126" fmla="*/ 326776 h 1430015"/>
                <a:gd name="connsiteX1127" fmla="*/ 569907 w 1199136"/>
                <a:gd name="connsiteY1127" fmla="*/ 324749 h 1430015"/>
                <a:gd name="connsiteX1128" fmla="*/ 568576 w 1199136"/>
                <a:gd name="connsiteY1128" fmla="*/ 320574 h 1430015"/>
                <a:gd name="connsiteX1129" fmla="*/ 567971 w 1199136"/>
                <a:gd name="connsiteY1129" fmla="*/ 314978 h 1430015"/>
                <a:gd name="connsiteX1130" fmla="*/ 568666 w 1199136"/>
                <a:gd name="connsiteY1130" fmla="*/ 309805 h 1430015"/>
                <a:gd name="connsiteX1131" fmla="*/ 571329 w 1199136"/>
                <a:gd name="connsiteY1131" fmla="*/ 300790 h 1430015"/>
                <a:gd name="connsiteX1132" fmla="*/ 569967 w 1199136"/>
                <a:gd name="connsiteY1132" fmla="*/ 300790 h 1430015"/>
                <a:gd name="connsiteX1133" fmla="*/ 569967 w 1199136"/>
                <a:gd name="connsiteY1133" fmla="*/ 300003 h 1430015"/>
                <a:gd name="connsiteX1134" fmla="*/ 572569 w 1199136"/>
                <a:gd name="connsiteY1134" fmla="*/ 297825 h 1430015"/>
                <a:gd name="connsiteX1135" fmla="*/ 573658 w 1199136"/>
                <a:gd name="connsiteY1135" fmla="*/ 297825 h 1430015"/>
                <a:gd name="connsiteX1136" fmla="*/ 575473 w 1199136"/>
                <a:gd name="connsiteY1136" fmla="*/ 299096 h 1430015"/>
                <a:gd name="connsiteX1137" fmla="*/ 578075 w 1199136"/>
                <a:gd name="connsiteY1137" fmla="*/ 301456 h 1430015"/>
                <a:gd name="connsiteX1138" fmla="*/ 579134 w 1199136"/>
                <a:gd name="connsiteY1138" fmla="*/ 302908 h 1430015"/>
                <a:gd name="connsiteX1139" fmla="*/ 580979 w 1199136"/>
                <a:gd name="connsiteY1139" fmla="*/ 304450 h 1430015"/>
                <a:gd name="connsiteX1140" fmla="*/ 583218 w 1199136"/>
                <a:gd name="connsiteY1140" fmla="*/ 304239 h 1430015"/>
                <a:gd name="connsiteX1141" fmla="*/ 585033 w 1199136"/>
                <a:gd name="connsiteY1141" fmla="*/ 302998 h 1430015"/>
                <a:gd name="connsiteX1142" fmla="*/ 585819 w 1199136"/>
                <a:gd name="connsiteY1142" fmla="*/ 300760 h 1430015"/>
                <a:gd name="connsiteX1143" fmla="*/ 585033 w 1199136"/>
                <a:gd name="connsiteY1143" fmla="*/ 300639 h 1430015"/>
                <a:gd name="connsiteX1144" fmla="*/ 583762 w 1199136"/>
                <a:gd name="connsiteY1144" fmla="*/ 300124 h 1430015"/>
                <a:gd name="connsiteX1145" fmla="*/ 583066 w 1199136"/>
                <a:gd name="connsiteY1145" fmla="*/ 299973 h 1430015"/>
                <a:gd name="connsiteX1146" fmla="*/ 583066 w 1199136"/>
                <a:gd name="connsiteY1146" fmla="*/ 299096 h 1430015"/>
                <a:gd name="connsiteX1147" fmla="*/ 584216 w 1199136"/>
                <a:gd name="connsiteY1147" fmla="*/ 298733 h 1430015"/>
                <a:gd name="connsiteX1148" fmla="*/ 584972 w 1199136"/>
                <a:gd name="connsiteY1148" fmla="*/ 297795 h 1430015"/>
                <a:gd name="connsiteX1149" fmla="*/ 585063 w 1199136"/>
                <a:gd name="connsiteY1149" fmla="*/ 296797 h 1430015"/>
                <a:gd name="connsiteX1150" fmla="*/ 582552 w 1199136"/>
                <a:gd name="connsiteY1150" fmla="*/ 295799 h 1430015"/>
                <a:gd name="connsiteX1151" fmla="*/ 582552 w 1199136"/>
                <a:gd name="connsiteY1151" fmla="*/ 294558 h 1430015"/>
                <a:gd name="connsiteX1152" fmla="*/ 583762 w 1199136"/>
                <a:gd name="connsiteY1152" fmla="*/ 292440 h 1430015"/>
                <a:gd name="connsiteX1153" fmla="*/ 584095 w 1199136"/>
                <a:gd name="connsiteY1153" fmla="*/ 291594 h 1430015"/>
                <a:gd name="connsiteX1154" fmla="*/ 584972 w 1199136"/>
                <a:gd name="connsiteY1154" fmla="*/ 290474 h 1430015"/>
                <a:gd name="connsiteX1155" fmla="*/ 586122 w 1199136"/>
                <a:gd name="connsiteY1155" fmla="*/ 289809 h 1430015"/>
                <a:gd name="connsiteX1156" fmla="*/ 587271 w 1199136"/>
                <a:gd name="connsiteY1156" fmla="*/ 290323 h 1430015"/>
                <a:gd name="connsiteX1157" fmla="*/ 587755 w 1199136"/>
                <a:gd name="connsiteY1157" fmla="*/ 291745 h 1430015"/>
                <a:gd name="connsiteX1158" fmla="*/ 587362 w 1199136"/>
                <a:gd name="connsiteY1158" fmla="*/ 293378 h 1430015"/>
                <a:gd name="connsiteX1159" fmla="*/ 585819 w 1199136"/>
                <a:gd name="connsiteY1159" fmla="*/ 296373 h 1430015"/>
                <a:gd name="connsiteX1160" fmla="*/ 586636 w 1199136"/>
                <a:gd name="connsiteY1160" fmla="*/ 297493 h 1430015"/>
                <a:gd name="connsiteX1161" fmla="*/ 587301 w 1199136"/>
                <a:gd name="connsiteY1161" fmla="*/ 298945 h 1430015"/>
                <a:gd name="connsiteX1162" fmla="*/ 587725 w 1199136"/>
                <a:gd name="connsiteY1162" fmla="*/ 300215 h 1430015"/>
                <a:gd name="connsiteX1163" fmla="*/ 587876 w 1199136"/>
                <a:gd name="connsiteY1163" fmla="*/ 300790 h 1430015"/>
                <a:gd name="connsiteX1164" fmla="*/ 590841 w 1199136"/>
                <a:gd name="connsiteY1164" fmla="*/ 297493 h 1430015"/>
                <a:gd name="connsiteX1165" fmla="*/ 592172 w 1199136"/>
                <a:gd name="connsiteY1165" fmla="*/ 295345 h 1430015"/>
                <a:gd name="connsiteX1166" fmla="*/ 592747 w 1199136"/>
                <a:gd name="connsiteY1166" fmla="*/ 293257 h 1430015"/>
                <a:gd name="connsiteX1167" fmla="*/ 592958 w 1199136"/>
                <a:gd name="connsiteY1167" fmla="*/ 289052 h 1430015"/>
                <a:gd name="connsiteX1168" fmla="*/ 593382 w 1199136"/>
                <a:gd name="connsiteY1168" fmla="*/ 287631 h 1430015"/>
                <a:gd name="connsiteX1169" fmla="*/ 594138 w 1199136"/>
                <a:gd name="connsiteY1169" fmla="*/ 287509 h 1430015"/>
                <a:gd name="connsiteX1170" fmla="*/ 594743 w 1199136"/>
                <a:gd name="connsiteY1170" fmla="*/ 287509 h 1430015"/>
                <a:gd name="connsiteX1171" fmla="*/ 595016 w 1199136"/>
                <a:gd name="connsiteY1171" fmla="*/ 286723 h 1430015"/>
                <a:gd name="connsiteX1172" fmla="*/ 595348 w 1199136"/>
                <a:gd name="connsiteY1172" fmla="*/ 286027 h 1430015"/>
                <a:gd name="connsiteX1173" fmla="*/ 596195 w 1199136"/>
                <a:gd name="connsiteY1173" fmla="*/ 284787 h 1430015"/>
                <a:gd name="connsiteX1174" fmla="*/ 595802 w 1199136"/>
                <a:gd name="connsiteY1174" fmla="*/ 283910 h 1430015"/>
                <a:gd name="connsiteX1175" fmla="*/ 596800 w 1199136"/>
                <a:gd name="connsiteY1175" fmla="*/ 282488 h 1430015"/>
                <a:gd name="connsiteX1176" fmla="*/ 596891 w 1199136"/>
                <a:gd name="connsiteY1176" fmla="*/ 281278 h 1430015"/>
                <a:gd name="connsiteX1177" fmla="*/ 596256 w 1199136"/>
                <a:gd name="connsiteY1177" fmla="*/ 279947 h 1430015"/>
                <a:gd name="connsiteX1178" fmla="*/ 595167 w 1199136"/>
                <a:gd name="connsiteY1178" fmla="*/ 278979 h 1430015"/>
                <a:gd name="connsiteX1179" fmla="*/ 593745 w 1199136"/>
                <a:gd name="connsiteY1179" fmla="*/ 278495 h 1430015"/>
                <a:gd name="connsiteX1180" fmla="*/ 592081 w 1199136"/>
                <a:gd name="connsiteY1180" fmla="*/ 278495 h 1430015"/>
                <a:gd name="connsiteX1181" fmla="*/ 592081 w 1199136"/>
                <a:gd name="connsiteY1181" fmla="*/ 279523 h 1430015"/>
                <a:gd name="connsiteX1182" fmla="*/ 592384 w 1199136"/>
                <a:gd name="connsiteY1182" fmla="*/ 279584 h 1430015"/>
                <a:gd name="connsiteX1183" fmla="*/ 593049 w 1199136"/>
                <a:gd name="connsiteY1183" fmla="*/ 279493 h 1430015"/>
                <a:gd name="connsiteX1184" fmla="*/ 593382 w 1199136"/>
                <a:gd name="connsiteY1184" fmla="*/ 279493 h 1430015"/>
                <a:gd name="connsiteX1185" fmla="*/ 592081 w 1199136"/>
                <a:gd name="connsiteY1185" fmla="*/ 280491 h 1430015"/>
                <a:gd name="connsiteX1186" fmla="*/ 589903 w 1199136"/>
                <a:gd name="connsiteY1186" fmla="*/ 278464 h 1430015"/>
                <a:gd name="connsiteX1187" fmla="*/ 587906 w 1199136"/>
                <a:gd name="connsiteY1187" fmla="*/ 275984 h 1430015"/>
                <a:gd name="connsiteX1188" fmla="*/ 586848 w 1199136"/>
                <a:gd name="connsiteY1188" fmla="*/ 275379 h 1430015"/>
                <a:gd name="connsiteX1189" fmla="*/ 586061 w 1199136"/>
                <a:gd name="connsiteY1189" fmla="*/ 274804 h 1430015"/>
                <a:gd name="connsiteX1190" fmla="*/ 584458 w 1199136"/>
                <a:gd name="connsiteY1190" fmla="*/ 273201 h 1430015"/>
                <a:gd name="connsiteX1191" fmla="*/ 584760 w 1199136"/>
                <a:gd name="connsiteY1191" fmla="*/ 271809 h 1430015"/>
                <a:gd name="connsiteX1192" fmla="*/ 583550 w 1199136"/>
                <a:gd name="connsiteY1192" fmla="*/ 270901 h 1430015"/>
                <a:gd name="connsiteX1193" fmla="*/ 581735 w 1199136"/>
                <a:gd name="connsiteY1193" fmla="*/ 270055 h 1430015"/>
                <a:gd name="connsiteX1194" fmla="*/ 580283 w 1199136"/>
                <a:gd name="connsiteY1194" fmla="*/ 268844 h 1430015"/>
                <a:gd name="connsiteX1195" fmla="*/ 581463 w 1199136"/>
                <a:gd name="connsiteY1195" fmla="*/ 270750 h 1430015"/>
                <a:gd name="connsiteX1196" fmla="*/ 582068 w 1199136"/>
                <a:gd name="connsiteY1196" fmla="*/ 272354 h 1430015"/>
                <a:gd name="connsiteX1197" fmla="*/ 581766 w 1199136"/>
                <a:gd name="connsiteY1197" fmla="*/ 273957 h 1430015"/>
                <a:gd name="connsiteX1198" fmla="*/ 580283 w 1199136"/>
                <a:gd name="connsiteY1198" fmla="*/ 275984 h 1430015"/>
                <a:gd name="connsiteX1199" fmla="*/ 578922 w 1199136"/>
                <a:gd name="connsiteY1199" fmla="*/ 274199 h 1430015"/>
                <a:gd name="connsiteX1200" fmla="*/ 579497 w 1199136"/>
                <a:gd name="connsiteY1200" fmla="*/ 273896 h 1430015"/>
                <a:gd name="connsiteX1201" fmla="*/ 579829 w 1199136"/>
                <a:gd name="connsiteY1201" fmla="*/ 273594 h 1430015"/>
                <a:gd name="connsiteX1202" fmla="*/ 580253 w 1199136"/>
                <a:gd name="connsiteY1202" fmla="*/ 273352 h 1430015"/>
                <a:gd name="connsiteX1203" fmla="*/ 581039 w 1199136"/>
                <a:gd name="connsiteY1203" fmla="*/ 273231 h 1430015"/>
                <a:gd name="connsiteX1204" fmla="*/ 581039 w 1199136"/>
                <a:gd name="connsiteY1204" fmla="*/ 272354 h 1430015"/>
                <a:gd name="connsiteX1205" fmla="*/ 579739 w 1199136"/>
                <a:gd name="connsiteY1205" fmla="*/ 270629 h 1430015"/>
                <a:gd name="connsiteX1206" fmla="*/ 578710 w 1199136"/>
                <a:gd name="connsiteY1206" fmla="*/ 268693 h 1430015"/>
                <a:gd name="connsiteX1207" fmla="*/ 577470 w 1199136"/>
                <a:gd name="connsiteY1207" fmla="*/ 266787 h 1430015"/>
                <a:gd name="connsiteX1208" fmla="*/ 575473 w 1199136"/>
                <a:gd name="connsiteY1208" fmla="*/ 265214 h 1430015"/>
                <a:gd name="connsiteX1209" fmla="*/ 575715 w 1199136"/>
                <a:gd name="connsiteY1209" fmla="*/ 266122 h 1430015"/>
                <a:gd name="connsiteX1210" fmla="*/ 575866 w 1199136"/>
                <a:gd name="connsiteY1210" fmla="*/ 266515 h 1430015"/>
                <a:gd name="connsiteX1211" fmla="*/ 576199 w 1199136"/>
                <a:gd name="connsiteY1211" fmla="*/ 267029 h 1430015"/>
                <a:gd name="connsiteX1212" fmla="*/ 573991 w 1199136"/>
                <a:gd name="connsiteY1212" fmla="*/ 267211 h 1430015"/>
                <a:gd name="connsiteX1213" fmla="*/ 572993 w 1199136"/>
                <a:gd name="connsiteY1213" fmla="*/ 265910 h 1430015"/>
                <a:gd name="connsiteX1214" fmla="*/ 573053 w 1199136"/>
                <a:gd name="connsiteY1214" fmla="*/ 263581 h 1430015"/>
                <a:gd name="connsiteX1215" fmla="*/ 574051 w 1199136"/>
                <a:gd name="connsiteY1215" fmla="*/ 260707 h 1430015"/>
                <a:gd name="connsiteX1216" fmla="*/ 574051 w 1199136"/>
                <a:gd name="connsiteY1216" fmla="*/ 261251 h 1430015"/>
                <a:gd name="connsiteX1217" fmla="*/ 574172 w 1199136"/>
                <a:gd name="connsiteY1217" fmla="*/ 262522 h 1430015"/>
                <a:gd name="connsiteX1218" fmla="*/ 574051 w 1199136"/>
                <a:gd name="connsiteY1218" fmla="*/ 263399 h 1430015"/>
                <a:gd name="connsiteX1219" fmla="*/ 575171 w 1199136"/>
                <a:gd name="connsiteY1219" fmla="*/ 263974 h 1430015"/>
                <a:gd name="connsiteX1220" fmla="*/ 576199 w 1199136"/>
                <a:gd name="connsiteY1220" fmla="*/ 264276 h 1430015"/>
                <a:gd name="connsiteX1221" fmla="*/ 575534 w 1199136"/>
                <a:gd name="connsiteY1221" fmla="*/ 259345 h 1430015"/>
                <a:gd name="connsiteX1222" fmla="*/ 575443 w 1199136"/>
                <a:gd name="connsiteY1222" fmla="*/ 254929 h 1430015"/>
                <a:gd name="connsiteX1223" fmla="*/ 574838 w 1199136"/>
                <a:gd name="connsiteY1223" fmla="*/ 253084 h 1430015"/>
                <a:gd name="connsiteX1224" fmla="*/ 573719 w 1199136"/>
                <a:gd name="connsiteY1224" fmla="*/ 251208 h 1430015"/>
                <a:gd name="connsiteX1225" fmla="*/ 573114 w 1199136"/>
                <a:gd name="connsiteY1225" fmla="*/ 249302 h 1430015"/>
                <a:gd name="connsiteX1226" fmla="*/ 574021 w 1199136"/>
                <a:gd name="connsiteY1226" fmla="*/ 247305 h 1430015"/>
                <a:gd name="connsiteX1227" fmla="*/ 572902 w 1199136"/>
                <a:gd name="connsiteY1227" fmla="*/ 247820 h 1430015"/>
                <a:gd name="connsiteX1228" fmla="*/ 570663 w 1199136"/>
                <a:gd name="connsiteY1228" fmla="*/ 249877 h 1430015"/>
                <a:gd name="connsiteX1229" fmla="*/ 569181 w 1199136"/>
                <a:gd name="connsiteY1229" fmla="*/ 250936 h 1430015"/>
                <a:gd name="connsiteX1230" fmla="*/ 569544 w 1199136"/>
                <a:gd name="connsiteY1230" fmla="*/ 251208 h 1430015"/>
                <a:gd name="connsiteX1231" fmla="*/ 569635 w 1199136"/>
                <a:gd name="connsiteY1231" fmla="*/ 251268 h 1430015"/>
                <a:gd name="connsiteX1232" fmla="*/ 569907 w 1199136"/>
                <a:gd name="connsiteY1232" fmla="*/ 251783 h 1430015"/>
                <a:gd name="connsiteX1233" fmla="*/ 568001 w 1199136"/>
                <a:gd name="connsiteY1233" fmla="*/ 251783 h 1430015"/>
                <a:gd name="connsiteX1234" fmla="*/ 566307 w 1199136"/>
                <a:gd name="connsiteY1234" fmla="*/ 250784 h 1430015"/>
                <a:gd name="connsiteX1235" fmla="*/ 565399 w 1199136"/>
                <a:gd name="connsiteY1235" fmla="*/ 249211 h 1430015"/>
                <a:gd name="connsiteX1236" fmla="*/ 565732 w 1199136"/>
                <a:gd name="connsiteY1236" fmla="*/ 247336 h 1430015"/>
                <a:gd name="connsiteX1237" fmla="*/ 564764 w 1199136"/>
                <a:gd name="connsiteY1237" fmla="*/ 246519 h 1430015"/>
                <a:gd name="connsiteX1238" fmla="*/ 564341 w 1199136"/>
                <a:gd name="connsiteY1238" fmla="*/ 245702 h 1430015"/>
                <a:gd name="connsiteX1239" fmla="*/ 564613 w 1199136"/>
                <a:gd name="connsiteY1239" fmla="*/ 245037 h 1430015"/>
                <a:gd name="connsiteX1240" fmla="*/ 565702 w 1199136"/>
                <a:gd name="connsiteY1240" fmla="*/ 244643 h 1430015"/>
                <a:gd name="connsiteX1241" fmla="*/ 565278 w 1199136"/>
                <a:gd name="connsiteY1241" fmla="*/ 242344 h 1430015"/>
                <a:gd name="connsiteX1242" fmla="*/ 565369 w 1199136"/>
                <a:gd name="connsiteY1242" fmla="*/ 240438 h 1430015"/>
                <a:gd name="connsiteX1243" fmla="*/ 564976 w 1199136"/>
                <a:gd name="connsiteY1243" fmla="*/ 239047 h 1430015"/>
                <a:gd name="connsiteX1244" fmla="*/ 562979 w 1199136"/>
                <a:gd name="connsiteY1244" fmla="*/ 238291 h 1430015"/>
                <a:gd name="connsiteX1245" fmla="*/ 563433 w 1199136"/>
                <a:gd name="connsiteY1245" fmla="*/ 239773 h 1430015"/>
                <a:gd name="connsiteX1246" fmla="*/ 563191 w 1199136"/>
                <a:gd name="connsiteY1246" fmla="*/ 241558 h 1430015"/>
                <a:gd name="connsiteX1247" fmla="*/ 562405 w 1199136"/>
                <a:gd name="connsiteY1247" fmla="*/ 243100 h 1430015"/>
                <a:gd name="connsiteX1248" fmla="*/ 561285 w 1199136"/>
                <a:gd name="connsiteY1248" fmla="*/ 243736 h 1430015"/>
                <a:gd name="connsiteX1249" fmla="*/ 560105 w 1199136"/>
                <a:gd name="connsiteY1249" fmla="*/ 243191 h 1430015"/>
                <a:gd name="connsiteX1250" fmla="*/ 559198 w 1199136"/>
                <a:gd name="connsiteY1250" fmla="*/ 240438 h 1430015"/>
                <a:gd name="connsiteX1251" fmla="*/ 558109 w 1199136"/>
                <a:gd name="connsiteY1251" fmla="*/ 239258 h 1430015"/>
                <a:gd name="connsiteX1252" fmla="*/ 558653 w 1199136"/>
                <a:gd name="connsiteY1252" fmla="*/ 236475 h 1430015"/>
                <a:gd name="connsiteX1253" fmla="*/ 559500 w 1199136"/>
                <a:gd name="connsiteY1253" fmla="*/ 236112 h 1430015"/>
                <a:gd name="connsiteX1254" fmla="*/ 560650 w 1199136"/>
                <a:gd name="connsiteY1254" fmla="*/ 236869 h 1430015"/>
                <a:gd name="connsiteX1255" fmla="*/ 561981 w 1199136"/>
                <a:gd name="connsiteY1255" fmla="*/ 237413 h 1430015"/>
                <a:gd name="connsiteX1256" fmla="*/ 564129 w 1199136"/>
                <a:gd name="connsiteY1256" fmla="*/ 237080 h 1430015"/>
                <a:gd name="connsiteX1257" fmla="*/ 564885 w 1199136"/>
                <a:gd name="connsiteY1257" fmla="*/ 236143 h 1430015"/>
                <a:gd name="connsiteX1258" fmla="*/ 565339 w 1199136"/>
                <a:gd name="connsiteY1258" fmla="*/ 234721 h 1430015"/>
                <a:gd name="connsiteX1259" fmla="*/ 566458 w 1199136"/>
                <a:gd name="connsiteY1259" fmla="*/ 232936 h 1430015"/>
                <a:gd name="connsiteX1260" fmla="*/ 565611 w 1199136"/>
                <a:gd name="connsiteY1260" fmla="*/ 231181 h 1430015"/>
                <a:gd name="connsiteX1261" fmla="*/ 566065 w 1199136"/>
                <a:gd name="connsiteY1261" fmla="*/ 230697 h 1430015"/>
                <a:gd name="connsiteX1262" fmla="*/ 567033 w 1199136"/>
                <a:gd name="connsiteY1262" fmla="*/ 230697 h 1430015"/>
                <a:gd name="connsiteX1263" fmla="*/ 567789 w 1199136"/>
                <a:gd name="connsiteY1263" fmla="*/ 230244 h 1430015"/>
                <a:gd name="connsiteX1264" fmla="*/ 568062 w 1199136"/>
                <a:gd name="connsiteY1264" fmla="*/ 228943 h 1430015"/>
                <a:gd name="connsiteX1265" fmla="*/ 568001 w 1199136"/>
                <a:gd name="connsiteY1265" fmla="*/ 227975 h 1430015"/>
                <a:gd name="connsiteX1266" fmla="*/ 568183 w 1199136"/>
                <a:gd name="connsiteY1266" fmla="*/ 227037 h 1430015"/>
                <a:gd name="connsiteX1267" fmla="*/ 569181 w 1199136"/>
                <a:gd name="connsiteY1267" fmla="*/ 225766 h 1430015"/>
                <a:gd name="connsiteX1268" fmla="*/ 568122 w 1199136"/>
                <a:gd name="connsiteY1268" fmla="*/ 224798 h 1430015"/>
                <a:gd name="connsiteX1269" fmla="*/ 567850 w 1199136"/>
                <a:gd name="connsiteY1269" fmla="*/ 223649 h 1430015"/>
                <a:gd name="connsiteX1270" fmla="*/ 568243 w 1199136"/>
                <a:gd name="connsiteY1270" fmla="*/ 222409 h 1430015"/>
                <a:gd name="connsiteX1271" fmla="*/ 569151 w 1199136"/>
                <a:gd name="connsiteY1271" fmla="*/ 221198 h 1430015"/>
                <a:gd name="connsiteX1272" fmla="*/ 568515 w 1199136"/>
                <a:gd name="connsiteY1272" fmla="*/ 221198 h 1430015"/>
                <a:gd name="connsiteX1273" fmla="*/ 568515 w 1199136"/>
                <a:gd name="connsiteY1273" fmla="*/ 220382 h 1430015"/>
                <a:gd name="connsiteX1274" fmla="*/ 570512 w 1199136"/>
                <a:gd name="connsiteY1274" fmla="*/ 216782 h 1430015"/>
                <a:gd name="connsiteX1275" fmla="*/ 574233 w 1199136"/>
                <a:gd name="connsiteY1275" fmla="*/ 213454 h 1430015"/>
                <a:gd name="connsiteX1276" fmla="*/ 578347 w 1199136"/>
                <a:gd name="connsiteY1276" fmla="*/ 211336 h 1430015"/>
                <a:gd name="connsiteX1277" fmla="*/ 581614 w 1199136"/>
                <a:gd name="connsiteY1277" fmla="*/ 211397 h 1430015"/>
                <a:gd name="connsiteX1278" fmla="*/ 581372 w 1199136"/>
                <a:gd name="connsiteY1278" fmla="*/ 212667 h 1430015"/>
                <a:gd name="connsiteX1279" fmla="*/ 582673 w 1199136"/>
                <a:gd name="connsiteY1279" fmla="*/ 213061 h 1430015"/>
                <a:gd name="connsiteX1280" fmla="*/ 584488 w 1199136"/>
                <a:gd name="connsiteY1280" fmla="*/ 212849 h 1430015"/>
                <a:gd name="connsiteX1281" fmla="*/ 585728 w 1199136"/>
                <a:gd name="connsiteY1281" fmla="*/ 212214 h 1430015"/>
                <a:gd name="connsiteX1282" fmla="*/ 585728 w 1199136"/>
                <a:gd name="connsiteY1282" fmla="*/ 211397 h 1430015"/>
                <a:gd name="connsiteX1283" fmla="*/ 582340 w 1199136"/>
                <a:gd name="connsiteY1283" fmla="*/ 210157 h 1430015"/>
                <a:gd name="connsiteX1284" fmla="*/ 581705 w 1199136"/>
                <a:gd name="connsiteY1284" fmla="*/ 208946 h 1430015"/>
                <a:gd name="connsiteX1285" fmla="*/ 582976 w 1199136"/>
                <a:gd name="connsiteY1285" fmla="*/ 206829 h 1430015"/>
                <a:gd name="connsiteX1286" fmla="*/ 583671 w 1199136"/>
                <a:gd name="connsiteY1286" fmla="*/ 209612 h 1430015"/>
                <a:gd name="connsiteX1287" fmla="*/ 584367 w 1199136"/>
                <a:gd name="connsiteY1287" fmla="*/ 209612 h 1430015"/>
                <a:gd name="connsiteX1288" fmla="*/ 585093 w 1199136"/>
                <a:gd name="connsiteY1288" fmla="*/ 208886 h 1430015"/>
                <a:gd name="connsiteX1289" fmla="*/ 586817 w 1199136"/>
                <a:gd name="connsiteY1289" fmla="*/ 210368 h 1430015"/>
                <a:gd name="connsiteX1290" fmla="*/ 588481 w 1199136"/>
                <a:gd name="connsiteY1290" fmla="*/ 210429 h 1430015"/>
                <a:gd name="connsiteX1291" fmla="*/ 588481 w 1199136"/>
                <a:gd name="connsiteY1291" fmla="*/ 209612 h 1430015"/>
                <a:gd name="connsiteX1292" fmla="*/ 587543 w 1199136"/>
                <a:gd name="connsiteY1292" fmla="*/ 208009 h 1430015"/>
                <a:gd name="connsiteX1293" fmla="*/ 589207 w 1199136"/>
                <a:gd name="connsiteY1293" fmla="*/ 205619 h 1430015"/>
                <a:gd name="connsiteX1294" fmla="*/ 591900 w 1199136"/>
                <a:gd name="connsiteY1294" fmla="*/ 203411 h 1430015"/>
                <a:gd name="connsiteX1295" fmla="*/ 594047 w 1199136"/>
                <a:gd name="connsiteY1295" fmla="*/ 202322 h 1430015"/>
                <a:gd name="connsiteX1296" fmla="*/ 594441 w 1199136"/>
                <a:gd name="connsiteY1296" fmla="*/ 204197 h 1430015"/>
                <a:gd name="connsiteX1297" fmla="*/ 595227 w 1199136"/>
                <a:gd name="connsiteY1297" fmla="*/ 205377 h 1430015"/>
                <a:gd name="connsiteX1298" fmla="*/ 597133 w 1199136"/>
                <a:gd name="connsiteY1298" fmla="*/ 207253 h 1430015"/>
                <a:gd name="connsiteX1299" fmla="*/ 597829 w 1199136"/>
                <a:gd name="connsiteY1299" fmla="*/ 207162 h 1430015"/>
                <a:gd name="connsiteX1300" fmla="*/ 600400 w 1199136"/>
                <a:gd name="connsiteY1300" fmla="*/ 205468 h 1430015"/>
                <a:gd name="connsiteX1301" fmla="*/ 601610 w 1199136"/>
                <a:gd name="connsiteY1301" fmla="*/ 205014 h 1430015"/>
                <a:gd name="connsiteX1302" fmla="*/ 600793 w 1199136"/>
                <a:gd name="connsiteY1302" fmla="*/ 206708 h 1430015"/>
                <a:gd name="connsiteX1303" fmla="*/ 599674 w 1199136"/>
                <a:gd name="connsiteY1303" fmla="*/ 207797 h 1430015"/>
                <a:gd name="connsiteX1304" fmla="*/ 598222 w 1199136"/>
                <a:gd name="connsiteY1304" fmla="*/ 208402 h 1430015"/>
                <a:gd name="connsiteX1305" fmla="*/ 596437 w 1199136"/>
                <a:gd name="connsiteY1305" fmla="*/ 208583 h 1430015"/>
                <a:gd name="connsiteX1306" fmla="*/ 595530 w 1199136"/>
                <a:gd name="connsiteY1306" fmla="*/ 209461 h 1430015"/>
                <a:gd name="connsiteX1307" fmla="*/ 595439 w 1199136"/>
                <a:gd name="connsiteY1307" fmla="*/ 211306 h 1430015"/>
                <a:gd name="connsiteX1308" fmla="*/ 594895 w 1199136"/>
                <a:gd name="connsiteY1308" fmla="*/ 212910 h 1430015"/>
                <a:gd name="connsiteX1309" fmla="*/ 592656 w 1199136"/>
                <a:gd name="connsiteY1309" fmla="*/ 213182 h 1430015"/>
                <a:gd name="connsiteX1310" fmla="*/ 592656 w 1199136"/>
                <a:gd name="connsiteY1310" fmla="*/ 212214 h 1430015"/>
                <a:gd name="connsiteX1311" fmla="*/ 594047 w 1199136"/>
                <a:gd name="connsiteY1311" fmla="*/ 212214 h 1430015"/>
                <a:gd name="connsiteX1312" fmla="*/ 594047 w 1199136"/>
                <a:gd name="connsiteY1312" fmla="*/ 212093 h 1430015"/>
                <a:gd name="connsiteX1313" fmla="*/ 593684 w 1199136"/>
                <a:gd name="connsiteY1313" fmla="*/ 211578 h 1430015"/>
                <a:gd name="connsiteX1314" fmla="*/ 593352 w 1199136"/>
                <a:gd name="connsiteY1314" fmla="*/ 211185 h 1430015"/>
                <a:gd name="connsiteX1315" fmla="*/ 593291 w 1199136"/>
                <a:gd name="connsiteY1315" fmla="*/ 211367 h 1430015"/>
                <a:gd name="connsiteX1316" fmla="*/ 593110 w 1199136"/>
                <a:gd name="connsiteY1316" fmla="*/ 211064 h 1430015"/>
                <a:gd name="connsiteX1317" fmla="*/ 592081 w 1199136"/>
                <a:gd name="connsiteY1317" fmla="*/ 211397 h 1430015"/>
                <a:gd name="connsiteX1318" fmla="*/ 590992 w 1199136"/>
                <a:gd name="connsiteY1318" fmla="*/ 211488 h 1430015"/>
                <a:gd name="connsiteX1319" fmla="*/ 589842 w 1199136"/>
                <a:gd name="connsiteY1319" fmla="*/ 211367 h 1430015"/>
                <a:gd name="connsiteX1320" fmla="*/ 591234 w 1199136"/>
                <a:gd name="connsiteY1320" fmla="*/ 213182 h 1430015"/>
                <a:gd name="connsiteX1321" fmla="*/ 590538 w 1199136"/>
                <a:gd name="connsiteY1321" fmla="*/ 213817 h 1430015"/>
                <a:gd name="connsiteX1322" fmla="*/ 590054 w 1199136"/>
                <a:gd name="connsiteY1322" fmla="*/ 213817 h 1430015"/>
                <a:gd name="connsiteX1323" fmla="*/ 589631 w 1199136"/>
                <a:gd name="connsiteY1323" fmla="*/ 213303 h 1430015"/>
                <a:gd name="connsiteX1324" fmla="*/ 589147 w 1199136"/>
                <a:gd name="connsiteY1324" fmla="*/ 212184 h 1430015"/>
                <a:gd name="connsiteX1325" fmla="*/ 588481 w 1199136"/>
                <a:gd name="connsiteY1325" fmla="*/ 212184 h 1430015"/>
                <a:gd name="connsiteX1326" fmla="*/ 588481 w 1199136"/>
                <a:gd name="connsiteY1326" fmla="*/ 213393 h 1430015"/>
                <a:gd name="connsiteX1327" fmla="*/ 588058 w 1199136"/>
                <a:gd name="connsiteY1327" fmla="*/ 213999 h 1430015"/>
                <a:gd name="connsiteX1328" fmla="*/ 587392 w 1199136"/>
                <a:gd name="connsiteY1328" fmla="*/ 214180 h 1430015"/>
                <a:gd name="connsiteX1329" fmla="*/ 586424 w 1199136"/>
                <a:gd name="connsiteY1329" fmla="*/ 214029 h 1430015"/>
                <a:gd name="connsiteX1330" fmla="*/ 586908 w 1199136"/>
                <a:gd name="connsiteY1330" fmla="*/ 215239 h 1430015"/>
                <a:gd name="connsiteX1331" fmla="*/ 586243 w 1199136"/>
                <a:gd name="connsiteY1331" fmla="*/ 216661 h 1430015"/>
                <a:gd name="connsiteX1332" fmla="*/ 585123 w 1199136"/>
                <a:gd name="connsiteY1332" fmla="*/ 218355 h 1430015"/>
                <a:gd name="connsiteX1333" fmla="*/ 584337 w 1199136"/>
                <a:gd name="connsiteY1333" fmla="*/ 220321 h 1430015"/>
                <a:gd name="connsiteX1334" fmla="*/ 585668 w 1199136"/>
                <a:gd name="connsiteY1334" fmla="*/ 220079 h 1430015"/>
                <a:gd name="connsiteX1335" fmla="*/ 588451 w 1199136"/>
                <a:gd name="connsiteY1335" fmla="*/ 218445 h 1430015"/>
                <a:gd name="connsiteX1336" fmla="*/ 592111 w 1199136"/>
                <a:gd name="connsiteY1336" fmla="*/ 217629 h 1430015"/>
                <a:gd name="connsiteX1337" fmla="*/ 592928 w 1199136"/>
                <a:gd name="connsiteY1337" fmla="*/ 217145 h 1430015"/>
                <a:gd name="connsiteX1338" fmla="*/ 594622 w 1199136"/>
                <a:gd name="connsiteY1338" fmla="*/ 215814 h 1430015"/>
                <a:gd name="connsiteX1339" fmla="*/ 604575 w 1199136"/>
                <a:gd name="connsiteY1339" fmla="*/ 212425 h 1430015"/>
                <a:gd name="connsiteX1340" fmla="*/ 621576 w 1199136"/>
                <a:gd name="connsiteY1340" fmla="*/ 204863 h 1430015"/>
                <a:gd name="connsiteX1341" fmla="*/ 637973 w 1199136"/>
                <a:gd name="connsiteY1341" fmla="*/ 194970 h 1430015"/>
                <a:gd name="connsiteX1342" fmla="*/ 641784 w 1199136"/>
                <a:gd name="connsiteY1342" fmla="*/ 194154 h 1430015"/>
                <a:gd name="connsiteX1343" fmla="*/ 649710 w 1199136"/>
                <a:gd name="connsiteY1343" fmla="*/ 193912 h 1430015"/>
                <a:gd name="connsiteX1344" fmla="*/ 652161 w 1199136"/>
                <a:gd name="connsiteY1344" fmla="*/ 193216 h 1430015"/>
                <a:gd name="connsiteX1345" fmla="*/ 653219 w 1199136"/>
                <a:gd name="connsiteY1345" fmla="*/ 191854 h 1430015"/>
                <a:gd name="connsiteX1346" fmla="*/ 653219 w 1199136"/>
                <a:gd name="connsiteY1346" fmla="*/ 191854 h 1430015"/>
                <a:gd name="connsiteX1347" fmla="*/ 653976 w 1199136"/>
                <a:gd name="connsiteY1347" fmla="*/ 189616 h 1430015"/>
                <a:gd name="connsiteX1348" fmla="*/ 657485 w 1199136"/>
                <a:gd name="connsiteY1348" fmla="*/ 186923 h 1430015"/>
                <a:gd name="connsiteX1349" fmla="*/ 658664 w 1199136"/>
                <a:gd name="connsiteY1349" fmla="*/ 185048 h 1430015"/>
                <a:gd name="connsiteX1350" fmla="*/ 654823 w 1199136"/>
                <a:gd name="connsiteY1350" fmla="*/ 186681 h 1430015"/>
                <a:gd name="connsiteX1351" fmla="*/ 652796 w 1199136"/>
                <a:gd name="connsiteY1351" fmla="*/ 186954 h 1430015"/>
                <a:gd name="connsiteX1352" fmla="*/ 651132 w 1199136"/>
                <a:gd name="connsiteY1352" fmla="*/ 185955 h 1430015"/>
                <a:gd name="connsiteX1353" fmla="*/ 650588 w 1199136"/>
                <a:gd name="connsiteY1353" fmla="*/ 183717 h 1430015"/>
                <a:gd name="connsiteX1354" fmla="*/ 651707 w 1199136"/>
                <a:gd name="connsiteY1354" fmla="*/ 181872 h 1430015"/>
                <a:gd name="connsiteX1355" fmla="*/ 653733 w 1199136"/>
                <a:gd name="connsiteY1355" fmla="*/ 180722 h 1430015"/>
                <a:gd name="connsiteX1356" fmla="*/ 655972 w 1199136"/>
                <a:gd name="connsiteY1356" fmla="*/ 180601 h 1430015"/>
                <a:gd name="connsiteX1357" fmla="*/ 655972 w 1199136"/>
                <a:gd name="connsiteY1357" fmla="*/ 179633 h 1430015"/>
                <a:gd name="connsiteX1358" fmla="*/ 654853 w 1199136"/>
                <a:gd name="connsiteY1358" fmla="*/ 179058 h 1430015"/>
                <a:gd name="connsiteX1359" fmla="*/ 654490 w 1199136"/>
                <a:gd name="connsiteY1359" fmla="*/ 177818 h 1430015"/>
                <a:gd name="connsiteX1360" fmla="*/ 654762 w 1199136"/>
                <a:gd name="connsiteY1360" fmla="*/ 176578 h 1430015"/>
                <a:gd name="connsiteX1361" fmla="*/ 655609 w 1199136"/>
                <a:gd name="connsiteY1361" fmla="*/ 176003 h 1430015"/>
                <a:gd name="connsiteX1362" fmla="*/ 656819 w 1199136"/>
                <a:gd name="connsiteY1362" fmla="*/ 176396 h 1430015"/>
                <a:gd name="connsiteX1363" fmla="*/ 657666 w 1199136"/>
                <a:gd name="connsiteY1363" fmla="*/ 178241 h 1430015"/>
                <a:gd name="connsiteX1364" fmla="*/ 658664 w 1199136"/>
                <a:gd name="connsiteY1364" fmla="*/ 178695 h 1430015"/>
                <a:gd name="connsiteX1365" fmla="*/ 659481 w 1199136"/>
                <a:gd name="connsiteY1365" fmla="*/ 178302 h 1430015"/>
                <a:gd name="connsiteX1366" fmla="*/ 660661 w 1199136"/>
                <a:gd name="connsiteY1366" fmla="*/ 176426 h 1430015"/>
                <a:gd name="connsiteX1367" fmla="*/ 664231 w 1199136"/>
                <a:gd name="connsiteY1367" fmla="*/ 175246 h 1430015"/>
                <a:gd name="connsiteX1368" fmla="*/ 665290 w 1199136"/>
                <a:gd name="connsiteY1368" fmla="*/ 175095 h 1430015"/>
                <a:gd name="connsiteX1369" fmla="*/ 665925 w 1199136"/>
                <a:gd name="connsiteY1369" fmla="*/ 175458 h 1430015"/>
                <a:gd name="connsiteX1370" fmla="*/ 668345 w 1199136"/>
                <a:gd name="connsiteY1370" fmla="*/ 177727 h 1430015"/>
                <a:gd name="connsiteX1371" fmla="*/ 669252 w 1199136"/>
                <a:gd name="connsiteY1371" fmla="*/ 178090 h 1430015"/>
                <a:gd name="connsiteX1372" fmla="*/ 678994 w 1199136"/>
                <a:gd name="connsiteY1372" fmla="*/ 180177 h 1430015"/>
                <a:gd name="connsiteX1373" fmla="*/ 680778 w 1199136"/>
                <a:gd name="connsiteY1373" fmla="*/ 179603 h 1430015"/>
                <a:gd name="connsiteX1374" fmla="*/ 682019 w 1199136"/>
                <a:gd name="connsiteY1374" fmla="*/ 181539 h 1430015"/>
                <a:gd name="connsiteX1375" fmla="*/ 686133 w 1199136"/>
                <a:gd name="connsiteY1375" fmla="*/ 182325 h 1430015"/>
                <a:gd name="connsiteX1376" fmla="*/ 687010 w 1199136"/>
                <a:gd name="connsiteY1376" fmla="*/ 184594 h 1430015"/>
                <a:gd name="connsiteX1377" fmla="*/ 686345 w 1199136"/>
                <a:gd name="connsiteY1377" fmla="*/ 185683 h 1430015"/>
                <a:gd name="connsiteX1378" fmla="*/ 684771 w 1199136"/>
                <a:gd name="connsiteY1378" fmla="*/ 186651 h 1430015"/>
                <a:gd name="connsiteX1379" fmla="*/ 682926 w 1199136"/>
                <a:gd name="connsiteY1379" fmla="*/ 187377 h 1430015"/>
                <a:gd name="connsiteX1380" fmla="*/ 681504 w 1199136"/>
                <a:gd name="connsiteY1380" fmla="*/ 187710 h 1430015"/>
                <a:gd name="connsiteX1381" fmla="*/ 684015 w 1199136"/>
                <a:gd name="connsiteY1381" fmla="*/ 188739 h 1430015"/>
                <a:gd name="connsiteX1382" fmla="*/ 686677 w 1199136"/>
                <a:gd name="connsiteY1382" fmla="*/ 187982 h 1430015"/>
                <a:gd name="connsiteX1383" fmla="*/ 689067 w 1199136"/>
                <a:gd name="connsiteY1383" fmla="*/ 186318 h 1430015"/>
                <a:gd name="connsiteX1384" fmla="*/ 690852 w 1199136"/>
                <a:gd name="connsiteY1384" fmla="*/ 184594 h 1430015"/>
                <a:gd name="connsiteX1385" fmla="*/ 691941 w 1199136"/>
                <a:gd name="connsiteY1385" fmla="*/ 184080 h 1430015"/>
                <a:gd name="connsiteX1386" fmla="*/ 694724 w 1199136"/>
                <a:gd name="connsiteY1386" fmla="*/ 183566 h 1430015"/>
                <a:gd name="connsiteX1387" fmla="*/ 695299 w 1199136"/>
                <a:gd name="connsiteY1387" fmla="*/ 182719 h 1430015"/>
                <a:gd name="connsiteX1388" fmla="*/ 695813 w 1199136"/>
                <a:gd name="connsiteY1388" fmla="*/ 182174 h 1430015"/>
                <a:gd name="connsiteX1389" fmla="*/ 699504 w 1199136"/>
                <a:gd name="connsiteY1389" fmla="*/ 180540 h 1430015"/>
                <a:gd name="connsiteX1390" fmla="*/ 696811 w 1199136"/>
                <a:gd name="connsiteY1390" fmla="*/ 180087 h 1430015"/>
                <a:gd name="connsiteX1391" fmla="*/ 696388 w 1199136"/>
                <a:gd name="connsiteY1391" fmla="*/ 177515 h 1430015"/>
                <a:gd name="connsiteX1392" fmla="*/ 697417 w 1199136"/>
                <a:gd name="connsiteY1392" fmla="*/ 174611 h 1430015"/>
                <a:gd name="connsiteX1393" fmla="*/ 699111 w 1199136"/>
                <a:gd name="connsiteY1393" fmla="*/ 173250 h 1430015"/>
                <a:gd name="connsiteX1394" fmla="*/ 701410 w 1199136"/>
                <a:gd name="connsiteY1394" fmla="*/ 173643 h 1430015"/>
                <a:gd name="connsiteX1395" fmla="*/ 706916 w 1199136"/>
                <a:gd name="connsiteY1395" fmla="*/ 175882 h 1430015"/>
                <a:gd name="connsiteX1396" fmla="*/ 708761 w 1199136"/>
                <a:gd name="connsiteY1396" fmla="*/ 177273 h 1430015"/>
                <a:gd name="connsiteX1397" fmla="*/ 716717 w 1199136"/>
                <a:gd name="connsiteY1397" fmla="*/ 184988 h 1430015"/>
                <a:gd name="connsiteX1398" fmla="*/ 718018 w 1199136"/>
                <a:gd name="connsiteY1398" fmla="*/ 186591 h 1430015"/>
                <a:gd name="connsiteX1399" fmla="*/ 719470 w 1199136"/>
                <a:gd name="connsiteY1399" fmla="*/ 189132 h 1430015"/>
                <a:gd name="connsiteX1400" fmla="*/ 719863 w 1199136"/>
                <a:gd name="connsiteY1400" fmla="*/ 191431 h 1430015"/>
                <a:gd name="connsiteX1401" fmla="*/ 718018 w 1199136"/>
                <a:gd name="connsiteY1401" fmla="*/ 192187 h 1430015"/>
                <a:gd name="connsiteX1402" fmla="*/ 721829 w 1199136"/>
                <a:gd name="connsiteY1402" fmla="*/ 193972 h 1430015"/>
                <a:gd name="connsiteX1403" fmla="*/ 722798 w 1199136"/>
                <a:gd name="connsiteY1403" fmla="*/ 195454 h 1430015"/>
                <a:gd name="connsiteX1404" fmla="*/ 723705 w 1199136"/>
                <a:gd name="connsiteY1404" fmla="*/ 196422 h 1430015"/>
                <a:gd name="connsiteX1405" fmla="*/ 724976 w 1199136"/>
                <a:gd name="connsiteY1405" fmla="*/ 196785 h 1430015"/>
                <a:gd name="connsiteX1406" fmla="*/ 722858 w 1199136"/>
                <a:gd name="connsiteY1406" fmla="*/ 197209 h 1430015"/>
                <a:gd name="connsiteX1407" fmla="*/ 719833 w 1199136"/>
                <a:gd name="connsiteY1407" fmla="*/ 196876 h 1430015"/>
                <a:gd name="connsiteX1408" fmla="*/ 717110 w 1199136"/>
                <a:gd name="connsiteY1408" fmla="*/ 196937 h 1430015"/>
                <a:gd name="connsiteX1409" fmla="*/ 715961 w 1199136"/>
                <a:gd name="connsiteY1409" fmla="*/ 198570 h 1430015"/>
                <a:gd name="connsiteX1410" fmla="*/ 715265 w 1199136"/>
                <a:gd name="connsiteY1410" fmla="*/ 199538 h 1430015"/>
                <a:gd name="connsiteX1411" fmla="*/ 720226 w 1199136"/>
                <a:gd name="connsiteY1411" fmla="*/ 199145 h 1430015"/>
                <a:gd name="connsiteX1412" fmla="*/ 724189 w 1199136"/>
                <a:gd name="connsiteY1412" fmla="*/ 201111 h 1430015"/>
                <a:gd name="connsiteX1413" fmla="*/ 728969 w 1199136"/>
                <a:gd name="connsiteY1413" fmla="*/ 200658 h 1430015"/>
                <a:gd name="connsiteX1414" fmla="*/ 730996 w 1199136"/>
                <a:gd name="connsiteY1414" fmla="*/ 198358 h 1430015"/>
                <a:gd name="connsiteX1415" fmla="*/ 732902 w 1199136"/>
                <a:gd name="connsiteY1415" fmla="*/ 196150 h 1430015"/>
                <a:gd name="connsiteX1416" fmla="*/ 733688 w 1199136"/>
                <a:gd name="connsiteY1416" fmla="*/ 194426 h 1430015"/>
                <a:gd name="connsiteX1417" fmla="*/ 733567 w 1199136"/>
                <a:gd name="connsiteY1417" fmla="*/ 194154 h 1430015"/>
                <a:gd name="connsiteX1418" fmla="*/ 733506 w 1199136"/>
                <a:gd name="connsiteY1418" fmla="*/ 194033 h 1430015"/>
                <a:gd name="connsiteX1419" fmla="*/ 732599 w 1199136"/>
                <a:gd name="connsiteY1419" fmla="*/ 193972 h 1430015"/>
                <a:gd name="connsiteX1420" fmla="*/ 731087 w 1199136"/>
                <a:gd name="connsiteY1420" fmla="*/ 193186 h 1430015"/>
                <a:gd name="connsiteX1421" fmla="*/ 729998 w 1199136"/>
                <a:gd name="connsiteY1421" fmla="*/ 192097 h 1430015"/>
                <a:gd name="connsiteX1422" fmla="*/ 721981 w 1199136"/>
                <a:gd name="connsiteY1422" fmla="*/ 179663 h 1430015"/>
                <a:gd name="connsiteX1423" fmla="*/ 714993 w 1199136"/>
                <a:gd name="connsiteY1423" fmla="*/ 176759 h 1430015"/>
                <a:gd name="connsiteX1424" fmla="*/ 714025 w 1199136"/>
                <a:gd name="connsiteY1424" fmla="*/ 176063 h 1430015"/>
                <a:gd name="connsiteX1425" fmla="*/ 710062 w 1199136"/>
                <a:gd name="connsiteY1425" fmla="*/ 173220 h 1430015"/>
                <a:gd name="connsiteX1426" fmla="*/ 708368 w 1199136"/>
                <a:gd name="connsiteY1426" fmla="*/ 172736 h 1430015"/>
                <a:gd name="connsiteX1427" fmla="*/ 704919 w 1199136"/>
                <a:gd name="connsiteY1427" fmla="*/ 172342 h 1430015"/>
                <a:gd name="connsiteX1428" fmla="*/ 702105 w 1199136"/>
                <a:gd name="connsiteY1428" fmla="*/ 170921 h 1430015"/>
                <a:gd name="connsiteX1429" fmla="*/ 701410 w 1199136"/>
                <a:gd name="connsiteY1429" fmla="*/ 169620 h 1430015"/>
                <a:gd name="connsiteX1430" fmla="*/ 700593 w 1199136"/>
                <a:gd name="connsiteY1430" fmla="*/ 168137 h 1430015"/>
                <a:gd name="connsiteX1431" fmla="*/ 700926 w 1199136"/>
                <a:gd name="connsiteY1431" fmla="*/ 163600 h 1430015"/>
                <a:gd name="connsiteX1432" fmla="*/ 703951 w 1199136"/>
                <a:gd name="connsiteY1432" fmla="*/ 157277 h 1430015"/>
                <a:gd name="connsiteX1433" fmla="*/ 704828 w 1199136"/>
                <a:gd name="connsiteY1433" fmla="*/ 155371 h 1430015"/>
                <a:gd name="connsiteX1434" fmla="*/ 705524 w 1199136"/>
                <a:gd name="connsiteY1434" fmla="*/ 152800 h 1430015"/>
                <a:gd name="connsiteX1435" fmla="*/ 706280 w 1199136"/>
                <a:gd name="connsiteY1435" fmla="*/ 150077 h 1430015"/>
                <a:gd name="connsiteX1436" fmla="*/ 704586 w 1199136"/>
                <a:gd name="connsiteY1436" fmla="*/ 147536 h 1430015"/>
                <a:gd name="connsiteX1437" fmla="*/ 704072 w 1199136"/>
                <a:gd name="connsiteY1437" fmla="*/ 147657 h 1430015"/>
                <a:gd name="connsiteX1438" fmla="*/ 701138 w 1199136"/>
                <a:gd name="connsiteY1438" fmla="*/ 148293 h 1430015"/>
                <a:gd name="connsiteX1439" fmla="*/ 697901 w 1199136"/>
                <a:gd name="connsiteY1439" fmla="*/ 149714 h 1430015"/>
                <a:gd name="connsiteX1440" fmla="*/ 694906 w 1199136"/>
                <a:gd name="connsiteY1440" fmla="*/ 149926 h 1430015"/>
                <a:gd name="connsiteX1441" fmla="*/ 692183 w 1199136"/>
                <a:gd name="connsiteY1441" fmla="*/ 147022 h 1430015"/>
                <a:gd name="connsiteX1442" fmla="*/ 692123 w 1199136"/>
                <a:gd name="connsiteY1442" fmla="*/ 146870 h 1430015"/>
                <a:gd name="connsiteX1443" fmla="*/ 692062 w 1199136"/>
                <a:gd name="connsiteY1443" fmla="*/ 146750 h 1430015"/>
                <a:gd name="connsiteX1444" fmla="*/ 691971 w 1199136"/>
                <a:gd name="connsiteY1444" fmla="*/ 146629 h 1430015"/>
                <a:gd name="connsiteX1445" fmla="*/ 691881 w 1199136"/>
                <a:gd name="connsiteY1445" fmla="*/ 146538 h 1430015"/>
                <a:gd name="connsiteX1446" fmla="*/ 691397 w 1199136"/>
                <a:gd name="connsiteY1446" fmla="*/ 146175 h 1430015"/>
                <a:gd name="connsiteX1447" fmla="*/ 690096 w 1199136"/>
                <a:gd name="connsiteY1447" fmla="*/ 144753 h 1430015"/>
                <a:gd name="connsiteX1448" fmla="*/ 691639 w 1199136"/>
                <a:gd name="connsiteY1448" fmla="*/ 143452 h 1430015"/>
                <a:gd name="connsiteX1449" fmla="*/ 692183 w 1199136"/>
                <a:gd name="connsiteY1449" fmla="*/ 143150 h 1430015"/>
                <a:gd name="connsiteX1450" fmla="*/ 692970 w 1199136"/>
                <a:gd name="connsiteY1450" fmla="*/ 142182 h 1430015"/>
                <a:gd name="connsiteX1451" fmla="*/ 693242 w 1199136"/>
                <a:gd name="connsiteY1451" fmla="*/ 141274 h 1430015"/>
                <a:gd name="connsiteX1452" fmla="*/ 693000 w 1199136"/>
                <a:gd name="connsiteY1452" fmla="*/ 140397 h 1430015"/>
                <a:gd name="connsiteX1453" fmla="*/ 692214 w 1199136"/>
                <a:gd name="connsiteY1453" fmla="*/ 139610 h 1430015"/>
                <a:gd name="connsiteX1454" fmla="*/ 694513 w 1199136"/>
                <a:gd name="connsiteY1454" fmla="*/ 136797 h 1430015"/>
                <a:gd name="connsiteX1455" fmla="*/ 696267 w 1199136"/>
                <a:gd name="connsiteY1455" fmla="*/ 135556 h 1430015"/>
                <a:gd name="connsiteX1456" fmla="*/ 705706 w 1199136"/>
                <a:gd name="connsiteY1456" fmla="*/ 128932 h 1430015"/>
                <a:gd name="connsiteX1457" fmla="*/ 708579 w 1199136"/>
                <a:gd name="connsiteY1457" fmla="*/ 124061 h 1430015"/>
                <a:gd name="connsiteX1458" fmla="*/ 708186 w 1199136"/>
                <a:gd name="connsiteY1458" fmla="*/ 122760 h 1430015"/>
                <a:gd name="connsiteX1459" fmla="*/ 707823 w 1199136"/>
                <a:gd name="connsiteY1459" fmla="*/ 121550 h 1430015"/>
                <a:gd name="connsiteX1460" fmla="*/ 706825 w 1199136"/>
                <a:gd name="connsiteY1460" fmla="*/ 121369 h 1430015"/>
                <a:gd name="connsiteX1461" fmla="*/ 705464 w 1199136"/>
                <a:gd name="connsiteY1461" fmla="*/ 121126 h 1430015"/>
                <a:gd name="connsiteX1462" fmla="*/ 702499 w 1199136"/>
                <a:gd name="connsiteY1462" fmla="*/ 121429 h 1430015"/>
                <a:gd name="connsiteX1463" fmla="*/ 699958 w 1199136"/>
                <a:gd name="connsiteY1463" fmla="*/ 121066 h 1430015"/>
                <a:gd name="connsiteX1464" fmla="*/ 696933 w 1199136"/>
                <a:gd name="connsiteY1464" fmla="*/ 118283 h 1430015"/>
                <a:gd name="connsiteX1465" fmla="*/ 695057 w 1199136"/>
                <a:gd name="connsiteY1465" fmla="*/ 117073 h 1430015"/>
                <a:gd name="connsiteX1466" fmla="*/ 692244 w 1199136"/>
                <a:gd name="connsiteY1466" fmla="*/ 116559 h 1430015"/>
                <a:gd name="connsiteX1467" fmla="*/ 690822 w 1199136"/>
                <a:gd name="connsiteY1467" fmla="*/ 115803 h 1430015"/>
                <a:gd name="connsiteX1468" fmla="*/ 687797 w 1199136"/>
                <a:gd name="connsiteY1468" fmla="*/ 115621 h 1430015"/>
                <a:gd name="connsiteX1469" fmla="*/ 686223 w 1199136"/>
                <a:gd name="connsiteY1469" fmla="*/ 115137 h 1430015"/>
                <a:gd name="connsiteX1470" fmla="*/ 687706 w 1199136"/>
                <a:gd name="connsiteY1470" fmla="*/ 117496 h 1430015"/>
                <a:gd name="connsiteX1471" fmla="*/ 684953 w 1199136"/>
                <a:gd name="connsiteY1471" fmla="*/ 117890 h 1430015"/>
                <a:gd name="connsiteX1472" fmla="*/ 684106 w 1199136"/>
                <a:gd name="connsiteY1472" fmla="*/ 116740 h 1430015"/>
                <a:gd name="connsiteX1473" fmla="*/ 683743 w 1199136"/>
                <a:gd name="connsiteY1473" fmla="*/ 114895 h 1430015"/>
                <a:gd name="connsiteX1474" fmla="*/ 682412 w 1199136"/>
                <a:gd name="connsiteY1474" fmla="*/ 113201 h 1430015"/>
                <a:gd name="connsiteX1475" fmla="*/ 682412 w 1199136"/>
                <a:gd name="connsiteY1475" fmla="*/ 113201 h 1430015"/>
                <a:gd name="connsiteX1476" fmla="*/ 681777 w 1199136"/>
                <a:gd name="connsiteY1476" fmla="*/ 109812 h 1430015"/>
                <a:gd name="connsiteX1477" fmla="*/ 681232 w 1199136"/>
                <a:gd name="connsiteY1477" fmla="*/ 108240 h 1430015"/>
                <a:gd name="connsiteX1478" fmla="*/ 680446 w 1199136"/>
                <a:gd name="connsiteY1478" fmla="*/ 106878 h 1430015"/>
                <a:gd name="connsiteX1479" fmla="*/ 683078 w 1199136"/>
                <a:gd name="connsiteY1479" fmla="*/ 105396 h 1430015"/>
                <a:gd name="connsiteX1480" fmla="*/ 683501 w 1199136"/>
                <a:gd name="connsiteY1480" fmla="*/ 104700 h 1430015"/>
                <a:gd name="connsiteX1481" fmla="*/ 684923 w 1199136"/>
                <a:gd name="connsiteY1481" fmla="*/ 102431 h 1430015"/>
                <a:gd name="connsiteX1482" fmla="*/ 686284 w 1199136"/>
                <a:gd name="connsiteY1482" fmla="*/ 99618 h 1430015"/>
                <a:gd name="connsiteX1483" fmla="*/ 687373 w 1199136"/>
                <a:gd name="connsiteY1483" fmla="*/ 98408 h 1430015"/>
                <a:gd name="connsiteX1484" fmla="*/ 688704 w 1199136"/>
                <a:gd name="connsiteY1484" fmla="*/ 98287 h 1430015"/>
                <a:gd name="connsiteX1485" fmla="*/ 689945 w 1199136"/>
                <a:gd name="connsiteY1485" fmla="*/ 97742 h 1430015"/>
                <a:gd name="connsiteX1486" fmla="*/ 692365 w 1199136"/>
                <a:gd name="connsiteY1486" fmla="*/ 96139 h 1430015"/>
                <a:gd name="connsiteX1487" fmla="*/ 697023 w 1199136"/>
                <a:gd name="connsiteY1487" fmla="*/ 93840 h 1430015"/>
                <a:gd name="connsiteX1488" fmla="*/ 699474 w 1199136"/>
                <a:gd name="connsiteY1488" fmla="*/ 91480 h 1430015"/>
                <a:gd name="connsiteX1489" fmla="*/ 701622 w 1199136"/>
                <a:gd name="connsiteY1489" fmla="*/ 88697 h 1430015"/>
                <a:gd name="connsiteX1490" fmla="*/ 704072 w 1199136"/>
                <a:gd name="connsiteY1490" fmla="*/ 86580 h 1430015"/>
                <a:gd name="connsiteX1491" fmla="*/ 707490 w 1199136"/>
                <a:gd name="connsiteY1491" fmla="*/ 86156 h 1430015"/>
                <a:gd name="connsiteX1492" fmla="*/ 710001 w 1199136"/>
                <a:gd name="connsiteY1492" fmla="*/ 86247 h 1430015"/>
                <a:gd name="connsiteX1493" fmla="*/ 711877 w 1199136"/>
                <a:gd name="connsiteY1493" fmla="*/ 85309 h 1430015"/>
                <a:gd name="connsiteX1494" fmla="*/ 712724 w 1199136"/>
                <a:gd name="connsiteY1494" fmla="*/ 83705 h 1430015"/>
                <a:gd name="connsiteX1495" fmla="*/ 712966 w 1199136"/>
                <a:gd name="connsiteY1495" fmla="*/ 83191 h 1430015"/>
                <a:gd name="connsiteX1496" fmla="*/ 713117 w 1199136"/>
                <a:gd name="connsiteY1496" fmla="*/ 79773 h 1430015"/>
                <a:gd name="connsiteX1497" fmla="*/ 713692 w 1199136"/>
                <a:gd name="connsiteY1497" fmla="*/ 79047 h 1430015"/>
                <a:gd name="connsiteX1498" fmla="*/ 714055 w 1199136"/>
                <a:gd name="connsiteY1498" fmla="*/ 78230 h 1430015"/>
                <a:gd name="connsiteX1499" fmla="*/ 714267 w 1199136"/>
                <a:gd name="connsiteY1499" fmla="*/ 77262 h 1430015"/>
                <a:gd name="connsiteX1500" fmla="*/ 714267 w 1199136"/>
                <a:gd name="connsiteY1500" fmla="*/ 76203 h 1430015"/>
                <a:gd name="connsiteX1501" fmla="*/ 712664 w 1199136"/>
                <a:gd name="connsiteY1501" fmla="*/ 76506 h 1430015"/>
                <a:gd name="connsiteX1502" fmla="*/ 711151 w 1199136"/>
                <a:gd name="connsiteY1502" fmla="*/ 76355 h 1430015"/>
                <a:gd name="connsiteX1503" fmla="*/ 698960 w 1199136"/>
                <a:gd name="connsiteY1503" fmla="*/ 72724 h 1430015"/>
                <a:gd name="connsiteX1504" fmla="*/ 694694 w 1199136"/>
                <a:gd name="connsiteY1504" fmla="*/ 72573 h 1430015"/>
                <a:gd name="connsiteX1505" fmla="*/ 693907 w 1199136"/>
                <a:gd name="connsiteY1505" fmla="*/ 72089 h 1430015"/>
                <a:gd name="connsiteX1506" fmla="*/ 692486 w 1199136"/>
                <a:gd name="connsiteY1506" fmla="*/ 70607 h 1430015"/>
                <a:gd name="connsiteX1507" fmla="*/ 691790 w 1199136"/>
                <a:gd name="connsiteY1507" fmla="*/ 70365 h 1430015"/>
                <a:gd name="connsiteX1508" fmla="*/ 685649 w 1199136"/>
                <a:gd name="connsiteY1508" fmla="*/ 70758 h 1430015"/>
                <a:gd name="connsiteX1509" fmla="*/ 681263 w 1199136"/>
                <a:gd name="connsiteY1509" fmla="*/ 70062 h 1430015"/>
                <a:gd name="connsiteX1510" fmla="*/ 671007 w 1199136"/>
                <a:gd name="connsiteY1510" fmla="*/ 72089 h 1430015"/>
                <a:gd name="connsiteX1511" fmla="*/ 666953 w 1199136"/>
                <a:gd name="connsiteY1511" fmla="*/ 71908 h 1430015"/>
                <a:gd name="connsiteX1512" fmla="*/ 664836 w 1199136"/>
                <a:gd name="connsiteY1512" fmla="*/ 71121 h 1430015"/>
                <a:gd name="connsiteX1513" fmla="*/ 658453 w 1199136"/>
                <a:gd name="connsiteY1513" fmla="*/ 67521 h 1430015"/>
                <a:gd name="connsiteX1514" fmla="*/ 650194 w 1199136"/>
                <a:gd name="connsiteY1514" fmla="*/ 65767 h 1430015"/>
                <a:gd name="connsiteX1515" fmla="*/ 626628 w 1199136"/>
                <a:gd name="connsiteY1515" fmla="*/ 64224 h 1430015"/>
                <a:gd name="connsiteX1516" fmla="*/ 620911 w 1199136"/>
                <a:gd name="connsiteY1516" fmla="*/ 60775 h 1430015"/>
                <a:gd name="connsiteX1517" fmla="*/ 618370 w 1199136"/>
                <a:gd name="connsiteY1517" fmla="*/ 60019 h 1430015"/>
                <a:gd name="connsiteX1518" fmla="*/ 617492 w 1199136"/>
                <a:gd name="connsiteY1518" fmla="*/ 59747 h 1430015"/>
                <a:gd name="connsiteX1519" fmla="*/ 616706 w 1199136"/>
                <a:gd name="connsiteY1519" fmla="*/ 59867 h 1430015"/>
                <a:gd name="connsiteX1520" fmla="*/ 615103 w 1199136"/>
                <a:gd name="connsiteY1520" fmla="*/ 60442 h 1430015"/>
                <a:gd name="connsiteX1521" fmla="*/ 614165 w 1199136"/>
                <a:gd name="connsiteY1521" fmla="*/ 60442 h 1430015"/>
                <a:gd name="connsiteX1522" fmla="*/ 613227 w 1199136"/>
                <a:gd name="connsiteY1522" fmla="*/ 60079 h 1430015"/>
                <a:gd name="connsiteX1523" fmla="*/ 611412 w 1199136"/>
                <a:gd name="connsiteY1523" fmla="*/ 58809 h 1430015"/>
                <a:gd name="connsiteX1524" fmla="*/ 610625 w 1199136"/>
                <a:gd name="connsiteY1524" fmla="*/ 58476 h 1430015"/>
                <a:gd name="connsiteX1525" fmla="*/ 610444 w 1199136"/>
                <a:gd name="connsiteY1525" fmla="*/ 58385 h 1430015"/>
                <a:gd name="connsiteX1526" fmla="*/ 605483 w 1199136"/>
                <a:gd name="connsiteY1526" fmla="*/ 57932 h 1430015"/>
                <a:gd name="connsiteX1527" fmla="*/ 599614 w 1199136"/>
                <a:gd name="connsiteY1527" fmla="*/ 58627 h 1430015"/>
                <a:gd name="connsiteX1528" fmla="*/ 598131 w 1199136"/>
                <a:gd name="connsiteY1528" fmla="*/ 58506 h 1430015"/>
                <a:gd name="connsiteX1529" fmla="*/ 596468 w 1199136"/>
                <a:gd name="connsiteY1529" fmla="*/ 57780 h 1430015"/>
                <a:gd name="connsiteX1530" fmla="*/ 593352 w 1199136"/>
                <a:gd name="connsiteY1530" fmla="*/ 55844 h 1430015"/>
                <a:gd name="connsiteX1531" fmla="*/ 590296 w 1199136"/>
                <a:gd name="connsiteY1531" fmla="*/ 55360 h 1430015"/>
                <a:gd name="connsiteX1532" fmla="*/ 587876 w 1199136"/>
                <a:gd name="connsiteY1532" fmla="*/ 54967 h 1430015"/>
                <a:gd name="connsiteX1533" fmla="*/ 583792 w 1199136"/>
                <a:gd name="connsiteY1533" fmla="*/ 53424 h 1430015"/>
                <a:gd name="connsiteX1534" fmla="*/ 580313 w 1199136"/>
                <a:gd name="connsiteY1534" fmla="*/ 50580 h 1430015"/>
                <a:gd name="connsiteX1535" fmla="*/ 578408 w 1199136"/>
                <a:gd name="connsiteY1535" fmla="*/ 46254 h 1430015"/>
                <a:gd name="connsiteX1536" fmla="*/ 577530 w 1199136"/>
                <a:gd name="connsiteY1536" fmla="*/ 43320 h 1430015"/>
                <a:gd name="connsiteX1537" fmla="*/ 575866 w 1199136"/>
                <a:gd name="connsiteY1537" fmla="*/ 42322 h 1430015"/>
                <a:gd name="connsiteX1538" fmla="*/ 573779 w 1199136"/>
                <a:gd name="connsiteY1538" fmla="*/ 42050 h 1430015"/>
                <a:gd name="connsiteX1539" fmla="*/ 571692 w 1199136"/>
                <a:gd name="connsiteY1539" fmla="*/ 41293 h 1430015"/>
                <a:gd name="connsiteX1540" fmla="*/ 570724 w 1199136"/>
                <a:gd name="connsiteY1540" fmla="*/ 40658 h 1430015"/>
                <a:gd name="connsiteX1541" fmla="*/ 570149 w 1199136"/>
                <a:gd name="connsiteY1541" fmla="*/ 40113 h 1430015"/>
                <a:gd name="connsiteX1542" fmla="*/ 569907 w 1199136"/>
                <a:gd name="connsiteY1542" fmla="*/ 39206 h 1430015"/>
                <a:gd name="connsiteX1543" fmla="*/ 569907 w 1199136"/>
                <a:gd name="connsiteY1543" fmla="*/ 37482 h 1430015"/>
                <a:gd name="connsiteX1544" fmla="*/ 570179 w 1199136"/>
                <a:gd name="connsiteY1544" fmla="*/ 35908 h 1430015"/>
                <a:gd name="connsiteX1545" fmla="*/ 570542 w 1199136"/>
                <a:gd name="connsiteY1545" fmla="*/ 34970 h 1430015"/>
                <a:gd name="connsiteX1546" fmla="*/ 570814 w 1199136"/>
                <a:gd name="connsiteY1546" fmla="*/ 34003 h 1430015"/>
                <a:gd name="connsiteX1547" fmla="*/ 570814 w 1199136"/>
                <a:gd name="connsiteY1547" fmla="*/ 32339 h 1430015"/>
                <a:gd name="connsiteX1548" fmla="*/ 569877 w 1199136"/>
                <a:gd name="connsiteY1548" fmla="*/ 29374 h 1430015"/>
                <a:gd name="connsiteX1549" fmla="*/ 568273 w 1199136"/>
                <a:gd name="connsiteY1549" fmla="*/ 28376 h 1430015"/>
                <a:gd name="connsiteX1550" fmla="*/ 564038 w 1199136"/>
                <a:gd name="connsiteY1550" fmla="*/ 28255 h 1430015"/>
                <a:gd name="connsiteX1551" fmla="*/ 562677 w 1199136"/>
                <a:gd name="connsiteY1551" fmla="*/ 27771 h 1430015"/>
                <a:gd name="connsiteX1552" fmla="*/ 562072 w 1199136"/>
                <a:gd name="connsiteY1552" fmla="*/ 27135 h 1430015"/>
                <a:gd name="connsiteX1553" fmla="*/ 561527 w 1199136"/>
                <a:gd name="connsiteY1553" fmla="*/ 26288 h 1430015"/>
                <a:gd name="connsiteX1554" fmla="*/ 560378 w 1199136"/>
                <a:gd name="connsiteY1554" fmla="*/ 25199 h 1430015"/>
                <a:gd name="connsiteX1555" fmla="*/ 559258 w 1199136"/>
                <a:gd name="connsiteY1555" fmla="*/ 24685 h 1430015"/>
                <a:gd name="connsiteX1556" fmla="*/ 556899 w 1199136"/>
                <a:gd name="connsiteY1556" fmla="*/ 24292 h 1430015"/>
                <a:gd name="connsiteX1557" fmla="*/ 555840 w 1199136"/>
                <a:gd name="connsiteY1557" fmla="*/ 23899 h 1430015"/>
                <a:gd name="connsiteX1558" fmla="*/ 557322 w 1199136"/>
                <a:gd name="connsiteY1558" fmla="*/ 22537 h 1430015"/>
                <a:gd name="connsiteX1559" fmla="*/ 557322 w 1199136"/>
                <a:gd name="connsiteY1559" fmla="*/ 21297 h 1430015"/>
                <a:gd name="connsiteX1560" fmla="*/ 556657 w 1199136"/>
                <a:gd name="connsiteY1560" fmla="*/ 20026 h 1430015"/>
                <a:gd name="connsiteX1561" fmla="*/ 555991 w 1199136"/>
                <a:gd name="connsiteY1561" fmla="*/ 18514 h 1430015"/>
                <a:gd name="connsiteX1562" fmla="*/ 555356 w 1199136"/>
                <a:gd name="connsiteY1562" fmla="*/ 15368 h 1430015"/>
                <a:gd name="connsiteX1563" fmla="*/ 554932 w 1199136"/>
                <a:gd name="connsiteY1563" fmla="*/ 13825 h 1430015"/>
                <a:gd name="connsiteX1564" fmla="*/ 554267 w 1199136"/>
                <a:gd name="connsiteY1564" fmla="*/ 12494 h 1430015"/>
                <a:gd name="connsiteX1565" fmla="*/ 555326 w 1199136"/>
                <a:gd name="connsiteY1565" fmla="*/ 10104 h 1430015"/>
                <a:gd name="connsiteX1566" fmla="*/ 561406 w 1199136"/>
                <a:gd name="connsiteY1566" fmla="*/ 6988 h 1430015"/>
                <a:gd name="connsiteX1567" fmla="*/ 563554 w 1199136"/>
                <a:gd name="connsiteY1567" fmla="*/ 4326 h 1430015"/>
                <a:gd name="connsiteX1568" fmla="*/ 563554 w 1199136"/>
                <a:gd name="connsiteY1568" fmla="*/ 2480 h 1430015"/>
                <a:gd name="connsiteX1569" fmla="*/ 563615 w 1199136"/>
                <a:gd name="connsiteY1569" fmla="*/ 756 h 1430015"/>
                <a:gd name="connsiteX1570" fmla="*/ 561255 w 1199136"/>
                <a:gd name="connsiteY1570" fmla="*/ 0 h 1430015"/>
                <a:gd name="connsiteX1571" fmla="*/ 556475 w 1199136"/>
                <a:gd name="connsiteY1571" fmla="*/ 877 h 1430015"/>
                <a:gd name="connsiteX1572" fmla="*/ 554781 w 1199136"/>
                <a:gd name="connsiteY1572" fmla="*/ 1180 h 1430015"/>
                <a:gd name="connsiteX1573" fmla="*/ 544586 w 1199136"/>
                <a:gd name="connsiteY1573" fmla="*/ 6050 h 1430015"/>
                <a:gd name="connsiteX1574" fmla="*/ 537417 w 1199136"/>
                <a:gd name="connsiteY1574" fmla="*/ 6383 h 1430015"/>
                <a:gd name="connsiteX1575" fmla="*/ 532970 w 1199136"/>
                <a:gd name="connsiteY1575" fmla="*/ 7805 h 1430015"/>
                <a:gd name="connsiteX1576" fmla="*/ 528674 w 1199136"/>
                <a:gd name="connsiteY1576" fmla="*/ 9923 h 1430015"/>
                <a:gd name="connsiteX1577" fmla="*/ 525195 w 1199136"/>
                <a:gd name="connsiteY1577" fmla="*/ 12464 h 1430015"/>
                <a:gd name="connsiteX1578" fmla="*/ 520627 w 1199136"/>
                <a:gd name="connsiteY1578" fmla="*/ 13129 h 1430015"/>
                <a:gd name="connsiteX1579" fmla="*/ 519508 w 1199136"/>
                <a:gd name="connsiteY1579" fmla="*/ 13794 h 1430015"/>
                <a:gd name="connsiteX1580" fmla="*/ 517542 w 1199136"/>
                <a:gd name="connsiteY1580" fmla="*/ 15277 h 1430015"/>
                <a:gd name="connsiteX1581" fmla="*/ 516392 w 1199136"/>
                <a:gd name="connsiteY1581" fmla="*/ 15519 h 1430015"/>
                <a:gd name="connsiteX1582" fmla="*/ 514517 w 1199136"/>
                <a:gd name="connsiteY1582" fmla="*/ 14854 h 1430015"/>
                <a:gd name="connsiteX1583" fmla="*/ 511249 w 1199136"/>
                <a:gd name="connsiteY1583" fmla="*/ 12615 h 1430015"/>
                <a:gd name="connsiteX1584" fmla="*/ 509343 w 1199136"/>
                <a:gd name="connsiteY1584" fmla="*/ 12433 h 1430015"/>
                <a:gd name="connsiteX1585" fmla="*/ 508587 w 1199136"/>
                <a:gd name="connsiteY1585" fmla="*/ 12554 h 1430015"/>
                <a:gd name="connsiteX1586" fmla="*/ 507831 w 1199136"/>
                <a:gd name="connsiteY1586" fmla="*/ 12494 h 1430015"/>
                <a:gd name="connsiteX1587" fmla="*/ 507649 w 1199136"/>
                <a:gd name="connsiteY1587" fmla="*/ 12494 h 1430015"/>
                <a:gd name="connsiteX1588" fmla="*/ 502476 w 1199136"/>
                <a:gd name="connsiteY1588" fmla="*/ 11495 h 1430015"/>
                <a:gd name="connsiteX1589" fmla="*/ 500087 w 1199136"/>
                <a:gd name="connsiteY1589" fmla="*/ 11707 h 1430015"/>
                <a:gd name="connsiteX1590" fmla="*/ 497182 w 1199136"/>
                <a:gd name="connsiteY1590" fmla="*/ 12494 h 1430015"/>
                <a:gd name="connsiteX1591" fmla="*/ 497152 w 1199136"/>
                <a:gd name="connsiteY1591" fmla="*/ 12494 h 1430015"/>
                <a:gd name="connsiteX1592" fmla="*/ 496214 w 1199136"/>
                <a:gd name="connsiteY1592" fmla="*/ 12978 h 1430015"/>
                <a:gd name="connsiteX1593" fmla="*/ 495276 w 1199136"/>
                <a:gd name="connsiteY1593" fmla="*/ 13129 h 1430015"/>
                <a:gd name="connsiteX1594" fmla="*/ 494369 w 1199136"/>
                <a:gd name="connsiteY1594" fmla="*/ 12978 h 1430015"/>
                <a:gd name="connsiteX1595" fmla="*/ 493522 w 1199136"/>
                <a:gd name="connsiteY1595" fmla="*/ 12494 h 1430015"/>
                <a:gd name="connsiteX1596" fmla="*/ 493008 w 1199136"/>
                <a:gd name="connsiteY1596" fmla="*/ 11828 h 1430015"/>
                <a:gd name="connsiteX1597" fmla="*/ 492433 w 1199136"/>
                <a:gd name="connsiteY1597" fmla="*/ 11314 h 1430015"/>
                <a:gd name="connsiteX1598" fmla="*/ 491767 w 1199136"/>
                <a:gd name="connsiteY1598" fmla="*/ 10951 h 1430015"/>
                <a:gd name="connsiteX1599" fmla="*/ 489982 w 1199136"/>
                <a:gd name="connsiteY1599" fmla="*/ 10558 h 1430015"/>
                <a:gd name="connsiteX1600" fmla="*/ 488984 w 1199136"/>
                <a:gd name="connsiteY1600" fmla="*/ 10769 h 1430015"/>
                <a:gd name="connsiteX1601" fmla="*/ 488077 w 1199136"/>
                <a:gd name="connsiteY1601" fmla="*/ 11405 h 1430015"/>
                <a:gd name="connsiteX1602" fmla="*/ 487320 w 1199136"/>
                <a:gd name="connsiteY1602" fmla="*/ 12464 h 1430015"/>
                <a:gd name="connsiteX1603" fmla="*/ 487320 w 1199136"/>
                <a:gd name="connsiteY1603" fmla="*/ 12464 h 1430015"/>
                <a:gd name="connsiteX1604" fmla="*/ 483902 w 1199136"/>
                <a:gd name="connsiteY1604" fmla="*/ 15519 h 1430015"/>
                <a:gd name="connsiteX1605" fmla="*/ 480816 w 1199136"/>
                <a:gd name="connsiteY1605" fmla="*/ 15368 h 1430015"/>
                <a:gd name="connsiteX1606" fmla="*/ 477700 w 1199136"/>
                <a:gd name="connsiteY1606" fmla="*/ 13976 h 1430015"/>
                <a:gd name="connsiteX1607" fmla="*/ 474131 w 1199136"/>
                <a:gd name="connsiteY1607" fmla="*/ 13250 h 1430015"/>
                <a:gd name="connsiteX1608" fmla="*/ 467052 w 1199136"/>
                <a:gd name="connsiteY1608" fmla="*/ 14339 h 1430015"/>
                <a:gd name="connsiteX1609" fmla="*/ 460094 w 1199136"/>
                <a:gd name="connsiteY1609" fmla="*/ 16426 h 1430015"/>
                <a:gd name="connsiteX1610" fmla="*/ 458279 w 1199136"/>
                <a:gd name="connsiteY1610" fmla="*/ 17425 h 1430015"/>
                <a:gd name="connsiteX1611" fmla="*/ 451775 w 1199136"/>
                <a:gd name="connsiteY1611" fmla="*/ 23384 h 1430015"/>
                <a:gd name="connsiteX1612" fmla="*/ 450928 w 1199136"/>
                <a:gd name="connsiteY1612" fmla="*/ 25048 h 1430015"/>
                <a:gd name="connsiteX1613" fmla="*/ 449869 w 1199136"/>
                <a:gd name="connsiteY1613" fmla="*/ 29798 h 1430015"/>
                <a:gd name="connsiteX1614" fmla="*/ 447963 w 1199136"/>
                <a:gd name="connsiteY1614" fmla="*/ 33972 h 1430015"/>
                <a:gd name="connsiteX1615" fmla="*/ 447873 w 1199136"/>
                <a:gd name="connsiteY1615" fmla="*/ 34487 h 1430015"/>
                <a:gd name="connsiteX1616" fmla="*/ 447993 w 1199136"/>
                <a:gd name="connsiteY1616" fmla="*/ 35878 h 1430015"/>
                <a:gd name="connsiteX1617" fmla="*/ 447812 w 1199136"/>
                <a:gd name="connsiteY1617" fmla="*/ 36544 h 1430015"/>
                <a:gd name="connsiteX1618" fmla="*/ 447388 w 1199136"/>
                <a:gd name="connsiteY1618" fmla="*/ 36967 h 1430015"/>
                <a:gd name="connsiteX1619" fmla="*/ 446269 w 1199136"/>
                <a:gd name="connsiteY1619" fmla="*/ 37451 h 1430015"/>
                <a:gd name="connsiteX1620" fmla="*/ 445846 w 1199136"/>
                <a:gd name="connsiteY1620" fmla="*/ 37814 h 1430015"/>
                <a:gd name="connsiteX1621" fmla="*/ 443607 w 1199136"/>
                <a:gd name="connsiteY1621" fmla="*/ 41353 h 1430015"/>
                <a:gd name="connsiteX1622" fmla="*/ 442185 w 1199136"/>
                <a:gd name="connsiteY1622" fmla="*/ 42715 h 1430015"/>
                <a:gd name="connsiteX1623" fmla="*/ 440764 w 1199136"/>
                <a:gd name="connsiteY1623" fmla="*/ 42896 h 1430015"/>
                <a:gd name="connsiteX1624" fmla="*/ 439069 w 1199136"/>
                <a:gd name="connsiteY1624" fmla="*/ 42382 h 1430015"/>
                <a:gd name="connsiteX1625" fmla="*/ 435560 w 1199136"/>
                <a:gd name="connsiteY1625" fmla="*/ 42080 h 1430015"/>
                <a:gd name="connsiteX1626" fmla="*/ 433836 w 1199136"/>
                <a:gd name="connsiteY1626" fmla="*/ 42291 h 1430015"/>
                <a:gd name="connsiteX1627" fmla="*/ 430478 w 1199136"/>
                <a:gd name="connsiteY1627" fmla="*/ 43350 h 1430015"/>
                <a:gd name="connsiteX1628" fmla="*/ 429480 w 1199136"/>
                <a:gd name="connsiteY1628" fmla="*/ 43411 h 1430015"/>
                <a:gd name="connsiteX1629" fmla="*/ 428451 w 1199136"/>
                <a:gd name="connsiteY1629" fmla="*/ 43017 h 1430015"/>
                <a:gd name="connsiteX1630" fmla="*/ 426727 w 1199136"/>
                <a:gd name="connsiteY1630" fmla="*/ 41656 h 1430015"/>
                <a:gd name="connsiteX1631" fmla="*/ 425819 w 1199136"/>
                <a:gd name="connsiteY1631" fmla="*/ 41233 h 1430015"/>
                <a:gd name="connsiteX1632" fmla="*/ 424791 w 1199136"/>
                <a:gd name="connsiteY1632" fmla="*/ 41233 h 1430015"/>
                <a:gd name="connsiteX1633" fmla="*/ 422855 w 1199136"/>
                <a:gd name="connsiteY1633" fmla="*/ 41716 h 1430015"/>
                <a:gd name="connsiteX1634" fmla="*/ 421887 w 1199136"/>
                <a:gd name="connsiteY1634" fmla="*/ 41716 h 1430015"/>
                <a:gd name="connsiteX1635" fmla="*/ 418982 w 1199136"/>
                <a:gd name="connsiteY1635" fmla="*/ 40174 h 1430015"/>
                <a:gd name="connsiteX1636" fmla="*/ 417833 w 1199136"/>
                <a:gd name="connsiteY1636" fmla="*/ 39841 h 1430015"/>
                <a:gd name="connsiteX1637" fmla="*/ 415715 w 1199136"/>
                <a:gd name="connsiteY1637" fmla="*/ 40446 h 1430015"/>
                <a:gd name="connsiteX1638" fmla="*/ 414626 w 1199136"/>
                <a:gd name="connsiteY1638" fmla="*/ 40446 h 1430015"/>
                <a:gd name="connsiteX1639" fmla="*/ 414021 w 1199136"/>
                <a:gd name="connsiteY1639" fmla="*/ 39236 h 1430015"/>
                <a:gd name="connsiteX1640" fmla="*/ 414505 w 1199136"/>
                <a:gd name="connsiteY1640" fmla="*/ 38571 h 1430015"/>
                <a:gd name="connsiteX1641" fmla="*/ 416744 w 1199136"/>
                <a:gd name="connsiteY1641" fmla="*/ 36907 h 1430015"/>
                <a:gd name="connsiteX1642" fmla="*/ 417228 w 1199136"/>
                <a:gd name="connsiteY1642" fmla="*/ 35969 h 1430015"/>
                <a:gd name="connsiteX1643" fmla="*/ 416260 w 1199136"/>
                <a:gd name="connsiteY1643" fmla="*/ 34607 h 1430015"/>
                <a:gd name="connsiteX1644" fmla="*/ 408546 w 1199136"/>
                <a:gd name="connsiteY1644" fmla="*/ 30372 h 1430015"/>
                <a:gd name="connsiteX1645" fmla="*/ 407003 w 1199136"/>
                <a:gd name="connsiteY1645" fmla="*/ 29979 h 1430015"/>
                <a:gd name="connsiteX1646" fmla="*/ 405218 w 1199136"/>
                <a:gd name="connsiteY1646" fmla="*/ 30161 h 1430015"/>
                <a:gd name="connsiteX1647" fmla="*/ 394993 w 1199136"/>
                <a:gd name="connsiteY1647" fmla="*/ 32762 h 1430015"/>
                <a:gd name="connsiteX1648" fmla="*/ 390818 w 1199136"/>
                <a:gd name="connsiteY1648" fmla="*/ 32339 h 1430015"/>
                <a:gd name="connsiteX1649" fmla="*/ 387551 w 1199136"/>
                <a:gd name="connsiteY1649" fmla="*/ 29888 h 1430015"/>
                <a:gd name="connsiteX1650" fmla="*/ 387037 w 1199136"/>
                <a:gd name="connsiteY1650" fmla="*/ 34244 h 1430015"/>
                <a:gd name="connsiteX1651" fmla="*/ 386674 w 1199136"/>
                <a:gd name="connsiteY1651" fmla="*/ 35455 h 1430015"/>
                <a:gd name="connsiteX1652" fmla="*/ 386069 w 1199136"/>
                <a:gd name="connsiteY1652" fmla="*/ 36302 h 1430015"/>
                <a:gd name="connsiteX1653" fmla="*/ 383891 w 1199136"/>
                <a:gd name="connsiteY1653" fmla="*/ 38722 h 1430015"/>
                <a:gd name="connsiteX1654" fmla="*/ 384072 w 1199136"/>
                <a:gd name="connsiteY1654" fmla="*/ 40718 h 1430015"/>
                <a:gd name="connsiteX1655" fmla="*/ 384768 w 1199136"/>
                <a:gd name="connsiteY1655" fmla="*/ 42685 h 1430015"/>
                <a:gd name="connsiteX1656" fmla="*/ 385040 w 1199136"/>
                <a:gd name="connsiteY1656" fmla="*/ 44530 h 1430015"/>
                <a:gd name="connsiteX1657" fmla="*/ 383830 w 1199136"/>
                <a:gd name="connsiteY1657" fmla="*/ 46224 h 1430015"/>
                <a:gd name="connsiteX1658" fmla="*/ 382136 w 1199136"/>
                <a:gd name="connsiteY1658" fmla="*/ 47222 h 1430015"/>
                <a:gd name="connsiteX1659" fmla="*/ 381713 w 1199136"/>
                <a:gd name="connsiteY1659" fmla="*/ 48433 h 1430015"/>
                <a:gd name="connsiteX1660" fmla="*/ 381804 w 1199136"/>
                <a:gd name="connsiteY1660" fmla="*/ 49975 h 1430015"/>
                <a:gd name="connsiteX1661" fmla="*/ 381592 w 1199136"/>
                <a:gd name="connsiteY1661" fmla="*/ 51881 h 1430015"/>
                <a:gd name="connsiteX1662" fmla="*/ 380624 w 1199136"/>
                <a:gd name="connsiteY1662" fmla="*/ 53484 h 1430015"/>
                <a:gd name="connsiteX1663" fmla="*/ 379535 w 1199136"/>
                <a:gd name="connsiteY1663" fmla="*/ 54422 h 1430015"/>
                <a:gd name="connsiteX1664" fmla="*/ 379081 w 1199136"/>
                <a:gd name="connsiteY1664" fmla="*/ 55693 h 1430015"/>
                <a:gd name="connsiteX1665" fmla="*/ 379928 w 1199136"/>
                <a:gd name="connsiteY1665" fmla="*/ 58264 h 1430015"/>
                <a:gd name="connsiteX1666" fmla="*/ 381743 w 1199136"/>
                <a:gd name="connsiteY1666" fmla="*/ 60200 h 1430015"/>
                <a:gd name="connsiteX1667" fmla="*/ 386038 w 1199136"/>
                <a:gd name="connsiteY1667" fmla="*/ 60624 h 1430015"/>
                <a:gd name="connsiteX1668" fmla="*/ 388156 w 1199136"/>
                <a:gd name="connsiteY1668" fmla="*/ 62227 h 1430015"/>
                <a:gd name="connsiteX1669" fmla="*/ 388913 w 1199136"/>
                <a:gd name="connsiteY1669" fmla="*/ 64829 h 1430015"/>
                <a:gd name="connsiteX1670" fmla="*/ 388852 w 1199136"/>
                <a:gd name="connsiteY1670" fmla="*/ 68277 h 1430015"/>
                <a:gd name="connsiteX1671" fmla="*/ 388065 w 1199136"/>
                <a:gd name="connsiteY1671" fmla="*/ 71605 h 1430015"/>
                <a:gd name="connsiteX1672" fmla="*/ 387430 w 1199136"/>
                <a:gd name="connsiteY1672" fmla="*/ 72543 h 1430015"/>
                <a:gd name="connsiteX1673" fmla="*/ 386644 w 1199136"/>
                <a:gd name="connsiteY1673" fmla="*/ 73753 h 1430015"/>
                <a:gd name="connsiteX1674" fmla="*/ 384829 w 1199136"/>
                <a:gd name="connsiteY1674" fmla="*/ 74055 h 1430015"/>
                <a:gd name="connsiteX1675" fmla="*/ 377629 w 1199136"/>
                <a:gd name="connsiteY1675" fmla="*/ 72331 h 1430015"/>
                <a:gd name="connsiteX1676" fmla="*/ 374120 w 1199136"/>
                <a:gd name="connsiteY1676" fmla="*/ 72634 h 1430015"/>
                <a:gd name="connsiteX1677" fmla="*/ 372819 w 1199136"/>
                <a:gd name="connsiteY1677" fmla="*/ 72452 h 1430015"/>
                <a:gd name="connsiteX1678" fmla="*/ 371669 w 1199136"/>
                <a:gd name="connsiteY1678" fmla="*/ 71968 h 1430015"/>
                <a:gd name="connsiteX1679" fmla="*/ 371034 w 1199136"/>
                <a:gd name="connsiteY1679" fmla="*/ 71363 h 1430015"/>
                <a:gd name="connsiteX1680" fmla="*/ 370519 w 1199136"/>
                <a:gd name="connsiteY1680" fmla="*/ 70698 h 1430015"/>
                <a:gd name="connsiteX1681" fmla="*/ 369733 w 1199136"/>
                <a:gd name="connsiteY1681" fmla="*/ 70062 h 1430015"/>
                <a:gd name="connsiteX1682" fmla="*/ 365588 w 1199136"/>
                <a:gd name="connsiteY1682" fmla="*/ 68761 h 1430015"/>
                <a:gd name="connsiteX1683" fmla="*/ 365135 w 1199136"/>
                <a:gd name="connsiteY1683" fmla="*/ 67309 h 1430015"/>
                <a:gd name="connsiteX1684" fmla="*/ 365679 w 1199136"/>
                <a:gd name="connsiteY1684" fmla="*/ 64556 h 1430015"/>
                <a:gd name="connsiteX1685" fmla="*/ 365468 w 1199136"/>
                <a:gd name="connsiteY1685" fmla="*/ 63044 h 1430015"/>
                <a:gd name="connsiteX1686" fmla="*/ 363864 w 1199136"/>
                <a:gd name="connsiteY1686" fmla="*/ 61834 h 1430015"/>
                <a:gd name="connsiteX1687" fmla="*/ 361263 w 1199136"/>
                <a:gd name="connsiteY1687" fmla="*/ 61834 h 1430015"/>
                <a:gd name="connsiteX1688" fmla="*/ 351733 w 1199136"/>
                <a:gd name="connsiteY1688" fmla="*/ 64375 h 1430015"/>
                <a:gd name="connsiteX1689" fmla="*/ 350766 w 1199136"/>
                <a:gd name="connsiteY1689" fmla="*/ 64859 h 1430015"/>
                <a:gd name="connsiteX1690" fmla="*/ 350342 w 1199136"/>
                <a:gd name="connsiteY1690" fmla="*/ 65857 h 1430015"/>
                <a:gd name="connsiteX1691" fmla="*/ 349102 w 1199136"/>
                <a:gd name="connsiteY1691" fmla="*/ 70244 h 1430015"/>
                <a:gd name="connsiteX1692" fmla="*/ 348285 w 1199136"/>
                <a:gd name="connsiteY1692" fmla="*/ 71272 h 1430015"/>
                <a:gd name="connsiteX1693" fmla="*/ 346107 w 1199136"/>
                <a:gd name="connsiteY1693" fmla="*/ 73269 h 1430015"/>
                <a:gd name="connsiteX1694" fmla="*/ 345260 w 1199136"/>
                <a:gd name="connsiteY1694" fmla="*/ 74449 h 1430015"/>
                <a:gd name="connsiteX1695" fmla="*/ 345139 w 1199136"/>
                <a:gd name="connsiteY1695" fmla="*/ 75417 h 1430015"/>
                <a:gd name="connsiteX1696" fmla="*/ 345139 w 1199136"/>
                <a:gd name="connsiteY1696" fmla="*/ 78382 h 1430015"/>
                <a:gd name="connsiteX1697" fmla="*/ 344685 w 1199136"/>
                <a:gd name="connsiteY1697" fmla="*/ 79803 h 1430015"/>
                <a:gd name="connsiteX1698" fmla="*/ 344806 w 1199136"/>
                <a:gd name="connsiteY1698" fmla="*/ 81043 h 1430015"/>
                <a:gd name="connsiteX1699" fmla="*/ 345048 w 1199136"/>
                <a:gd name="connsiteY1699" fmla="*/ 82012 h 1430015"/>
                <a:gd name="connsiteX1700" fmla="*/ 345532 w 1199136"/>
                <a:gd name="connsiteY1700" fmla="*/ 82768 h 1430015"/>
                <a:gd name="connsiteX1701" fmla="*/ 346409 w 1199136"/>
                <a:gd name="connsiteY1701" fmla="*/ 83312 h 1430015"/>
                <a:gd name="connsiteX1702" fmla="*/ 344624 w 1199136"/>
                <a:gd name="connsiteY1702" fmla="*/ 86065 h 1430015"/>
                <a:gd name="connsiteX1703" fmla="*/ 346198 w 1199136"/>
                <a:gd name="connsiteY1703" fmla="*/ 87880 h 1430015"/>
                <a:gd name="connsiteX1704" fmla="*/ 349132 w 1199136"/>
                <a:gd name="connsiteY1704" fmla="*/ 88939 h 1430015"/>
                <a:gd name="connsiteX1705" fmla="*/ 353639 w 1199136"/>
                <a:gd name="connsiteY1705" fmla="*/ 89756 h 1430015"/>
                <a:gd name="connsiteX1706" fmla="*/ 355394 w 1199136"/>
                <a:gd name="connsiteY1706" fmla="*/ 90391 h 1430015"/>
                <a:gd name="connsiteX1707" fmla="*/ 356120 w 1199136"/>
                <a:gd name="connsiteY1707" fmla="*/ 91874 h 1430015"/>
                <a:gd name="connsiteX1708" fmla="*/ 355364 w 1199136"/>
                <a:gd name="connsiteY1708" fmla="*/ 94808 h 1430015"/>
                <a:gd name="connsiteX1709" fmla="*/ 354637 w 1199136"/>
                <a:gd name="connsiteY1709" fmla="*/ 95716 h 1430015"/>
                <a:gd name="connsiteX1710" fmla="*/ 352520 w 1199136"/>
                <a:gd name="connsiteY1710" fmla="*/ 97440 h 1430015"/>
                <a:gd name="connsiteX1711" fmla="*/ 351764 w 1199136"/>
                <a:gd name="connsiteY1711" fmla="*/ 98741 h 1430015"/>
                <a:gd name="connsiteX1712" fmla="*/ 351249 w 1199136"/>
                <a:gd name="connsiteY1712" fmla="*/ 100556 h 1430015"/>
                <a:gd name="connsiteX1713" fmla="*/ 351189 w 1199136"/>
                <a:gd name="connsiteY1713" fmla="*/ 101766 h 1430015"/>
                <a:gd name="connsiteX1714" fmla="*/ 351582 w 1199136"/>
                <a:gd name="connsiteY1714" fmla="*/ 102885 h 1430015"/>
                <a:gd name="connsiteX1715" fmla="*/ 352490 w 1199136"/>
                <a:gd name="connsiteY1715" fmla="*/ 104398 h 1430015"/>
                <a:gd name="connsiteX1716" fmla="*/ 356634 w 1199136"/>
                <a:gd name="connsiteY1716" fmla="*/ 108300 h 1430015"/>
                <a:gd name="connsiteX1717" fmla="*/ 357905 w 1199136"/>
                <a:gd name="connsiteY1717" fmla="*/ 110690 h 1430015"/>
                <a:gd name="connsiteX1718" fmla="*/ 356574 w 1199136"/>
                <a:gd name="connsiteY1718" fmla="*/ 113231 h 1430015"/>
                <a:gd name="connsiteX1719" fmla="*/ 353760 w 1199136"/>
                <a:gd name="connsiteY1719" fmla="*/ 114865 h 1430015"/>
                <a:gd name="connsiteX1720" fmla="*/ 349525 w 1199136"/>
                <a:gd name="connsiteY1720" fmla="*/ 116347 h 1430015"/>
                <a:gd name="connsiteX1721" fmla="*/ 346198 w 1199136"/>
                <a:gd name="connsiteY1721" fmla="*/ 116286 h 1430015"/>
                <a:gd name="connsiteX1722" fmla="*/ 346107 w 1199136"/>
                <a:gd name="connsiteY1722" fmla="*/ 113261 h 1430015"/>
                <a:gd name="connsiteX1723" fmla="*/ 345078 w 1199136"/>
                <a:gd name="connsiteY1723" fmla="*/ 110992 h 1430015"/>
                <a:gd name="connsiteX1724" fmla="*/ 341115 w 1199136"/>
                <a:gd name="connsiteY1724" fmla="*/ 107756 h 1430015"/>
                <a:gd name="connsiteX1725" fmla="*/ 339633 w 1199136"/>
                <a:gd name="connsiteY1725" fmla="*/ 105910 h 1430015"/>
                <a:gd name="connsiteX1726" fmla="*/ 338967 w 1199136"/>
                <a:gd name="connsiteY1726" fmla="*/ 102976 h 1430015"/>
                <a:gd name="connsiteX1727" fmla="*/ 338967 w 1199136"/>
                <a:gd name="connsiteY1727" fmla="*/ 100314 h 1430015"/>
                <a:gd name="connsiteX1728" fmla="*/ 338241 w 1199136"/>
                <a:gd name="connsiteY1728" fmla="*/ 98135 h 1430015"/>
                <a:gd name="connsiteX1729" fmla="*/ 335730 w 1199136"/>
                <a:gd name="connsiteY1729" fmla="*/ 96623 h 1430015"/>
                <a:gd name="connsiteX1730" fmla="*/ 333643 w 1199136"/>
                <a:gd name="connsiteY1730" fmla="*/ 96139 h 1430015"/>
                <a:gd name="connsiteX1731" fmla="*/ 331707 w 1199136"/>
                <a:gd name="connsiteY1731" fmla="*/ 96018 h 1430015"/>
                <a:gd name="connsiteX1732" fmla="*/ 327321 w 1199136"/>
                <a:gd name="connsiteY1732" fmla="*/ 96714 h 1430015"/>
                <a:gd name="connsiteX1733" fmla="*/ 320605 w 1199136"/>
                <a:gd name="connsiteY1733" fmla="*/ 99860 h 1430015"/>
                <a:gd name="connsiteX1734" fmla="*/ 318517 w 1199136"/>
                <a:gd name="connsiteY1734" fmla="*/ 100495 h 1430015"/>
                <a:gd name="connsiteX1735" fmla="*/ 317216 w 1199136"/>
                <a:gd name="connsiteY1735" fmla="*/ 100253 h 1430015"/>
                <a:gd name="connsiteX1736" fmla="*/ 314766 w 1199136"/>
                <a:gd name="connsiteY1736" fmla="*/ 98861 h 1430015"/>
                <a:gd name="connsiteX1737" fmla="*/ 313677 w 1199136"/>
                <a:gd name="connsiteY1737" fmla="*/ 98861 h 1430015"/>
                <a:gd name="connsiteX1738" fmla="*/ 312588 w 1199136"/>
                <a:gd name="connsiteY1738" fmla="*/ 99981 h 1430015"/>
                <a:gd name="connsiteX1739" fmla="*/ 312376 w 1199136"/>
                <a:gd name="connsiteY1739" fmla="*/ 101493 h 1430015"/>
                <a:gd name="connsiteX1740" fmla="*/ 312528 w 1199136"/>
                <a:gd name="connsiteY1740" fmla="*/ 103006 h 1430015"/>
                <a:gd name="connsiteX1741" fmla="*/ 312528 w 1199136"/>
                <a:gd name="connsiteY1741" fmla="*/ 104065 h 1430015"/>
                <a:gd name="connsiteX1742" fmla="*/ 310955 w 1199136"/>
                <a:gd name="connsiteY1742" fmla="*/ 106031 h 1430015"/>
                <a:gd name="connsiteX1743" fmla="*/ 309049 w 1199136"/>
                <a:gd name="connsiteY1743" fmla="*/ 106727 h 1430015"/>
                <a:gd name="connsiteX1744" fmla="*/ 297523 w 1199136"/>
                <a:gd name="connsiteY1744" fmla="*/ 106606 h 1430015"/>
                <a:gd name="connsiteX1745" fmla="*/ 295194 w 1199136"/>
                <a:gd name="connsiteY1745" fmla="*/ 105819 h 1430015"/>
                <a:gd name="connsiteX1746" fmla="*/ 293076 w 1199136"/>
                <a:gd name="connsiteY1746" fmla="*/ 104488 h 1430015"/>
                <a:gd name="connsiteX1747" fmla="*/ 291806 w 1199136"/>
                <a:gd name="connsiteY1747" fmla="*/ 102855 h 1430015"/>
                <a:gd name="connsiteX1748" fmla="*/ 289809 w 1199136"/>
                <a:gd name="connsiteY1748" fmla="*/ 98045 h 1430015"/>
                <a:gd name="connsiteX1749" fmla="*/ 288931 w 1199136"/>
                <a:gd name="connsiteY1749" fmla="*/ 97379 h 1430015"/>
                <a:gd name="connsiteX1750" fmla="*/ 286693 w 1199136"/>
                <a:gd name="connsiteY1750" fmla="*/ 96260 h 1430015"/>
                <a:gd name="connsiteX1751" fmla="*/ 285967 w 1199136"/>
                <a:gd name="connsiteY1751" fmla="*/ 95594 h 1430015"/>
                <a:gd name="connsiteX1752" fmla="*/ 285755 w 1199136"/>
                <a:gd name="connsiteY1752" fmla="*/ 94838 h 1430015"/>
                <a:gd name="connsiteX1753" fmla="*/ 285906 w 1199136"/>
                <a:gd name="connsiteY1753" fmla="*/ 92811 h 1430015"/>
                <a:gd name="connsiteX1754" fmla="*/ 285301 w 1199136"/>
                <a:gd name="connsiteY1754" fmla="*/ 79954 h 1430015"/>
                <a:gd name="connsiteX1755" fmla="*/ 284969 w 1199136"/>
                <a:gd name="connsiteY1755" fmla="*/ 79108 h 1430015"/>
                <a:gd name="connsiteX1756" fmla="*/ 284182 w 1199136"/>
                <a:gd name="connsiteY1756" fmla="*/ 79259 h 1430015"/>
                <a:gd name="connsiteX1757" fmla="*/ 282548 w 1199136"/>
                <a:gd name="connsiteY1757" fmla="*/ 80348 h 1430015"/>
                <a:gd name="connsiteX1758" fmla="*/ 281853 w 1199136"/>
                <a:gd name="connsiteY1758" fmla="*/ 81195 h 1430015"/>
                <a:gd name="connsiteX1759" fmla="*/ 281490 w 1199136"/>
                <a:gd name="connsiteY1759" fmla="*/ 82133 h 1430015"/>
                <a:gd name="connsiteX1760" fmla="*/ 281006 w 1199136"/>
                <a:gd name="connsiteY1760" fmla="*/ 82949 h 1430015"/>
                <a:gd name="connsiteX1761" fmla="*/ 279917 w 1199136"/>
                <a:gd name="connsiteY1761" fmla="*/ 83342 h 1430015"/>
                <a:gd name="connsiteX1762" fmla="*/ 279160 w 1199136"/>
                <a:gd name="connsiteY1762" fmla="*/ 83040 h 1430015"/>
                <a:gd name="connsiteX1763" fmla="*/ 276589 w 1199136"/>
                <a:gd name="connsiteY1763" fmla="*/ 80801 h 1430015"/>
                <a:gd name="connsiteX1764" fmla="*/ 276528 w 1199136"/>
                <a:gd name="connsiteY1764" fmla="*/ 79138 h 1430015"/>
                <a:gd name="connsiteX1765" fmla="*/ 274532 w 1199136"/>
                <a:gd name="connsiteY1765" fmla="*/ 78654 h 1430015"/>
                <a:gd name="connsiteX1766" fmla="*/ 269631 w 1199136"/>
                <a:gd name="connsiteY1766" fmla="*/ 79198 h 1430015"/>
                <a:gd name="connsiteX1767" fmla="*/ 267725 w 1199136"/>
                <a:gd name="connsiteY1767" fmla="*/ 80832 h 1430015"/>
                <a:gd name="connsiteX1768" fmla="*/ 265971 w 1199136"/>
                <a:gd name="connsiteY1768" fmla="*/ 84068 h 1430015"/>
                <a:gd name="connsiteX1769" fmla="*/ 265184 w 1199136"/>
                <a:gd name="connsiteY1769" fmla="*/ 87336 h 1430015"/>
                <a:gd name="connsiteX1770" fmla="*/ 266152 w 1199136"/>
                <a:gd name="connsiteY1770" fmla="*/ 89151 h 1430015"/>
                <a:gd name="connsiteX1771" fmla="*/ 267483 w 1199136"/>
                <a:gd name="connsiteY1771" fmla="*/ 89998 h 1430015"/>
                <a:gd name="connsiteX1772" fmla="*/ 267695 w 1199136"/>
                <a:gd name="connsiteY1772" fmla="*/ 91359 h 1430015"/>
                <a:gd name="connsiteX1773" fmla="*/ 267423 w 1199136"/>
                <a:gd name="connsiteY1773" fmla="*/ 93053 h 1430015"/>
                <a:gd name="connsiteX1774" fmla="*/ 267423 w 1199136"/>
                <a:gd name="connsiteY1774" fmla="*/ 94959 h 1430015"/>
                <a:gd name="connsiteX1775" fmla="*/ 268784 w 1199136"/>
                <a:gd name="connsiteY1775" fmla="*/ 99678 h 1430015"/>
                <a:gd name="connsiteX1776" fmla="*/ 268905 w 1199136"/>
                <a:gd name="connsiteY1776" fmla="*/ 101403 h 1430015"/>
                <a:gd name="connsiteX1777" fmla="*/ 268270 w 1199136"/>
                <a:gd name="connsiteY1777" fmla="*/ 104367 h 1430015"/>
                <a:gd name="connsiteX1778" fmla="*/ 265336 w 1199136"/>
                <a:gd name="connsiteY1778" fmla="*/ 110024 h 1430015"/>
                <a:gd name="connsiteX1779" fmla="*/ 263853 w 1199136"/>
                <a:gd name="connsiteY1779" fmla="*/ 114804 h 1430015"/>
                <a:gd name="connsiteX1780" fmla="*/ 262946 w 1199136"/>
                <a:gd name="connsiteY1780" fmla="*/ 116135 h 1430015"/>
                <a:gd name="connsiteX1781" fmla="*/ 261766 w 1199136"/>
                <a:gd name="connsiteY1781" fmla="*/ 117133 h 1430015"/>
                <a:gd name="connsiteX1782" fmla="*/ 260556 w 1199136"/>
                <a:gd name="connsiteY1782" fmla="*/ 117648 h 1430015"/>
                <a:gd name="connsiteX1783" fmla="*/ 259467 w 1199136"/>
                <a:gd name="connsiteY1783" fmla="*/ 118404 h 1430015"/>
                <a:gd name="connsiteX1784" fmla="*/ 258892 w 1199136"/>
                <a:gd name="connsiteY1784" fmla="*/ 119735 h 1430015"/>
                <a:gd name="connsiteX1785" fmla="*/ 258408 w 1199136"/>
                <a:gd name="connsiteY1785" fmla="*/ 121278 h 1430015"/>
                <a:gd name="connsiteX1786" fmla="*/ 257682 w 1199136"/>
                <a:gd name="connsiteY1786" fmla="*/ 122579 h 1430015"/>
                <a:gd name="connsiteX1787" fmla="*/ 257621 w 1199136"/>
                <a:gd name="connsiteY1787" fmla="*/ 122669 h 1430015"/>
                <a:gd name="connsiteX1788" fmla="*/ 250300 w 1199136"/>
                <a:gd name="connsiteY1788" fmla="*/ 127207 h 1430015"/>
                <a:gd name="connsiteX1789" fmla="*/ 248425 w 1199136"/>
                <a:gd name="connsiteY1789" fmla="*/ 129779 h 1430015"/>
                <a:gd name="connsiteX1790" fmla="*/ 248031 w 1199136"/>
                <a:gd name="connsiteY1790" fmla="*/ 131503 h 1430015"/>
                <a:gd name="connsiteX1791" fmla="*/ 248243 w 1199136"/>
                <a:gd name="connsiteY1791" fmla="*/ 134498 h 1430015"/>
                <a:gd name="connsiteX1792" fmla="*/ 247941 w 1199136"/>
                <a:gd name="connsiteY1792" fmla="*/ 136131 h 1430015"/>
                <a:gd name="connsiteX1793" fmla="*/ 247124 w 1199136"/>
                <a:gd name="connsiteY1793" fmla="*/ 137372 h 1430015"/>
                <a:gd name="connsiteX1794" fmla="*/ 246156 w 1199136"/>
                <a:gd name="connsiteY1794" fmla="*/ 137886 h 1430015"/>
                <a:gd name="connsiteX1795" fmla="*/ 243948 w 1199136"/>
                <a:gd name="connsiteY1795" fmla="*/ 138521 h 1430015"/>
                <a:gd name="connsiteX1796" fmla="*/ 241376 w 1199136"/>
                <a:gd name="connsiteY1796" fmla="*/ 140336 h 1430015"/>
                <a:gd name="connsiteX1797" fmla="*/ 240953 w 1199136"/>
                <a:gd name="connsiteY1797" fmla="*/ 141849 h 1430015"/>
                <a:gd name="connsiteX1798" fmla="*/ 242737 w 1199136"/>
                <a:gd name="connsiteY1798" fmla="*/ 146477 h 1430015"/>
                <a:gd name="connsiteX1799" fmla="*/ 239410 w 1199136"/>
                <a:gd name="connsiteY1799" fmla="*/ 149260 h 1430015"/>
                <a:gd name="connsiteX1800" fmla="*/ 239198 w 1199136"/>
                <a:gd name="connsiteY1800" fmla="*/ 149593 h 1430015"/>
                <a:gd name="connsiteX1801" fmla="*/ 239138 w 1199136"/>
                <a:gd name="connsiteY1801" fmla="*/ 149956 h 1430015"/>
                <a:gd name="connsiteX1802" fmla="*/ 239198 w 1199136"/>
                <a:gd name="connsiteY1802" fmla="*/ 150289 h 1430015"/>
                <a:gd name="connsiteX1803" fmla="*/ 239410 w 1199136"/>
                <a:gd name="connsiteY1803" fmla="*/ 150622 h 1430015"/>
                <a:gd name="connsiteX1804" fmla="*/ 240499 w 1199136"/>
                <a:gd name="connsiteY1804" fmla="*/ 151620 h 1430015"/>
                <a:gd name="connsiteX1805" fmla="*/ 241316 w 1199136"/>
                <a:gd name="connsiteY1805" fmla="*/ 154040 h 1430015"/>
                <a:gd name="connsiteX1806" fmla="*/ 242223 w 1199136"/>
                <a:gd name="connsiteY1806" fmla="*/ 155280 h 1430015"/>
                <a:gd name="connsiteX1807" fmla="*/ 243191 w 1199136"/>
                <a:gd name="connsiteY1807" fmla="*/ 155795 h 1430015"/>
                <a:gd name="connsiteX1808" fmla="*/ 245369 w 1199136"/>
                <a:gd name="connsiteY1808" fmla="*/ 156188 h 1430015"/>
                <a:gd name="connsiteX1809" fmla="*/ 246307 w 1199136"/>
                <a:gd name="connsiteY1809" fmla="*/ 156763 h 1430015"/>
                <a:gd name="connsiteX1810" fmla="*/ 247457 w 1199136"/>
                <a:gd name="connsiteY1810" fmla="*/ 158971 h 1430015"/>
                <a:gd name="connsiteX1811" fmla="*/ 247064 w 1199136"/>
                <a:gd name="connsiteY1811" fmla="*/ 161210 h 1430015"/>
                <a:gd name="connsiteX1812" fmla="*/ 244552 w 1199136"/>
                <a:gd name="connsiteY1812" fmla="*/ 165687 h 1430015"/>
                <a:gd name="connsiteX1813" fmla="*/ 241346 w 1199136"/>
                <a:gd name="connsiteY1813" fmla="*/ 169317 h 1430015"/>
                <a:gd name="connsiteX1814" fmla="*/ 238321 w 1199136"/>
                <a:gd name="connsiteY1814" fmla="*/ 168803 h 1430015"/>
                <a:gd name="connsiteX1815" fmla="*/ 235024 w 1199136"/>
                <a:gd name="connsiteY1815" fmla="*/ 167472 h 1430015"/>
                <a:gd name="connsiteX1816" fmla="*/ 231030 w 1199136"/>
                <a:gd name="connsiteY1816" fmla="*/ 168591 h 1430015"/>
                <a:gd name="connsiteX1817" fmla="*/ 231393 w 1199136"/>
                <a:gd name="connsiteY1817" fmla="*/ 166534 h 1430015"/>
                <a:gd name="connsiteX1818" fmla="*/ 231998 w 1199136"/>
                <a:gd name="connsiteY1818" fmla="*/ 164961 h 1430015"/>
                <a:gd name="connsiteX1819" fmla="*/ 232392 w 1199136"/>
                <a:gd name="connsiteY1819" fmla="*/ 163327 h 1430015"/>
                <a:gd name="connsiteX1820" fmla="*/ 232210 w 1199136"/>
                <a:gd name="connsiteY1820" fmla="*/ 161028 h 1430015"/>
                <a:gd name="connsiteX1821" fmla="*/ 231666 w 1199136"/>
                <a:gd name="connsiteY1821" fmla="*/ 159304 h 1430015"/>
                <a:gd name="connsiteX1822" fmla="*/ 230819 w 1199136"/>
                <a:gd name="connsiteY1822" fmla="*/ 157549 h 1430015"/>
                <a:gd name="connsiteX1823" fmla="*/ 229064 w 1199136"/>
                <a:gd name="connsiteY1823" fmla="*/ 154676 h 1430015"/>
                <a:gd name="connsiteX1824" fmla="*/ 228066 w 1199136"/>
                <a:gd name="connsiteY1824" fmla="*/ 152558 h 1430015"/>
                <a:gd name="connsiteX1825" fmla="*/ 227400 w 1199136"/>
                <a:gd name="connsiteY1825" fmla="*/ 151711 h 1430015"/>
                <a:gd name="connsiteX1826" fmla="*/ 226735 w 1199136"/>
                <a:gd name="connsiteY1826" fmla="*/ 151227 h 1430015"/>
                <a:gd name="connsiteX1827" fmla="*/ 220957 w 1199136"/>
                <a:gd name="connsiteY1827" fmla="*/ 148383 h 1430015"/>
                <a:gd name="connsiteX1828" fmla="*/ 219414 w 1199136"/>
                <a:gd name="connsiteY1828" fmla="*/ 147899 h 1430015"/>
                <a:gd name="connsiteX1829" fmla="*/ 217690 w 1199136"/>
                <a:gd name="connsiteY1829" fmla="*/ 147778 h 1430015"/>
                <a:gd name="connsiteX1830" fmla="*/ 217871 w 1199136"/>
                <a:gd name="connsiteY1830" fmla="*/ 147415 h 1430015"/>
                <a:gd name="connsiteX1831" fmla="*/ 218264 w 1199136"/>
                <a:gd name="connsiteY1831" fmla="*/ 146780 h 1430015"/>
                <a:gd name="connsiteX1832" fmla="*/ 220019 w 1199136"/>
                <a:gd name="connsiteY1832" fmla="*/ 143029 h 1430015"/>
                <a:gd name="connsiteX1833" fmla="*/ 222893 w 1199136"/>
                <a:gd name="connsiteY1833" fmla="*/ 139822 h 1430015"/>
                <a:gd name="connsiteX1834" fmla="*/ 224375 w 1199136"/>
                <a:gd name="connsiteY1834" fmla="*/ 136676 h 1430015"/>
                <a:gd name="connsiteX1835" fmla="*/ 221804 w 1199136"/>
                <a:gd name="connsiteY1835" fmla="*/ 133560 h 1430015"/>
                <a:gd name="connsiteX1836" fmla="*/ 220291 w 1199136"/>
                <a:gd name="connsiteY1836" fmla="*/ 133076 h 1430015"/>
                <a:gd name="connsiteX1837" fmla="*/ 217205 w 1199136"/>
                <a:gd name="connsiteY1837" fmla="*/ 133137 h 1430015"/>
                <a:gd name="connsiteX1838" fmla="*/ 215602 w 1199136"/>
                <a:gd name="connsiteY1838" fmla="*/ 132925 h 1430015"/>
                <a:gd name="connsiteX1839" fmla="*/ 214846 w 1199136"/>
                <a:gd name="connsiteY1839" fmla="*/ 132441 h 1430015"/>
                <a:gd name="connsiteX1840" fmla="*/ 214120 w 1199136"/>
                <a:gd name="connsiteY1840" fmla="*/ 131200 h 1430015"/>
                <a:gd name="connsiteX1841" fmla="*/ 213817 w 1199136"/>
                <a:gd name="connsiteY1841" fmla="*/ 131079 h 1430015"/>
                <a:gd name="connsiteX1842" fmla="*/ 213303 w 1199136"/>
                <a:gd name="connsiteY1842" fmla="*/ 130898 h 1430015"/>
                <a:gd name="connsiteX1843" fmla="*/ 212668 w 1199136"/>
                <a:gd name="connsiteY1843" fmla="*/ 131170 h 1430015"/>
                <a:gd name="connsiteX1844" fmla="*/ 211125 w 1199136"/>
                <a:gd name="connsiteY1844" fmla="*/ 132441 h 1430015"/>
                <a:gd name="connsiteX1845" fmla="*/ 210399 w 1199136"/>
                <a:gd name="connsiteY1845" fmla="*/ 132804 h 1430015"/>
                <a:gd name="connsiteX1846" fmla="*/ 208644 w 1199136"/>
                <a:gd name="connsiteY1846" fmla="*/ 132713 h 1430015"/>
                <a:gd name="connsiteX1847" fmla="*/ 203955 w 1199136"/>
                <a:gd name="connsiteY1847" fmla="*/ 130202 h 1430015"/>
                <a:gd name="connsiteX1848" fmla="*/ 202019 w 1199136"/>
                <a:gd name="connsiteY1848" fmla="*/ 129567 h 1430015"/>
                <a:gd name="connsiteX1849" fmla="*/ 201051 w 1199136"/>
                <a:gd name="connsiteY1849" fmla="*/ 129113 h 1430015"/>
                <a:gd name="connsiteX1850" fmla="*/ 194698 w 1199136"/>
                <a:gd name="connsiteY1850" fmla="*/ 120461 h 1430015"/>
                <a:gd name="connsiteX1851" fmla="*/ 191855 w 1199136"/>
                <a:gd name="connsiteY1851" fmla="*/ 117769 h 1430015"/>
                <a:gd name="connsiteX1852" fmla="*/ 189071 w 1199136"/>
                <a:gd name="connsiteY1852" fmla="*/ 116498 h 1430015"/>
                <a:gd name="connsiteX1853" fmla="*/ 186440 w 1199136"/>
                <a:gd name="connsiteY1853" fmla="*/ 115530 h 1430015"/>
                <a:gd name="connsiteX1854" fmla="*/ 184594 w 1199136"/>
                <a:gd name="connsiteY1854" fmla="*/ 114108 h 1430015"/>
                <a:gd name="connsiteX1855" fmla="*/ 183505 w 1199136"/>
                <a:gd name="connsiteY1855" fmla="*/ 111961 h 1430015"/>
                <a:gd name="connsiteX1856" fmla="*/ 183112 w 1199136"/>
                <a:gd name="connsiteY1856" fmla="*/ 108693 h 1430015"/>
                <a:gd name="connsiteX1857" fmla="*/ 183445 w 1199136"/>
                <a:gd name="connsiteY1857" fmla="*/ 105275 h 1430015"/>
                <a:gd name="connsiteX1858" fmla="*/ 185078 w 1199136"/>
                <a:gd name="connsiteY1858" fmla="*/ 98347 h 1430015"/>
                <a:gd name="connsiteX1859" fmla="*/ 185441 w 1199136"/>
                <a:gd name="connsiteY1859" fmla="*/ 94505 h 1430015"/>
                <a:gd name="connsiteX1860" fmla="*/ 185381 w 1199136"/>
                <a:gd name="connsiteY1860" fmla="*/ 90452 h 1430015"/>
                <a:gd name="connsiteX1861" fmla="*/ 184957 w 1199136"/>
                <a:gd name="connsiteY1861" fmla="*/ 87427 h 1430015"/>
                <a:gd name="connsiteX1862" fmla="*/ 183566 w 1199136"/>
                <a:gd name="connsiteY1862" fmla="*/ 85581 h 1430015"/>
                <a:gd name="connsiteX1863" fmla="*/ 180661 w 1199136"/>
                <a:gd name="connsiteY1863" fmla="*/ 85128 h 1430015"/>
                <a:gd name="connsiteX1864" fmla="*/ 179331 w 1199136"/>
                <a:gd name="connsiteY1864" fmla="*/ 85400 h 1430015"/>
                <a:gd name="connsiteX1865" fmla="*/ 175065 w 1199136"/>
                <a:gd name="connsiteY1865" fmla="*/ 86247 h 1430015"/>
                <a:gd name="connsiteX1866" fmla="*/ 172342 w 1199136"/>
                <a:gd name="connsiteY1866" fmla="*/ 87608 h 1430015"/>
                <a:gd name="connsiteX1867" fmla="*/ 170195 w 1199136"/>
                <a:gd name="connsiteY1867" fmla="*/ 89696 h 1430015"/>
                <a:gd name="connsiteX1868" fmla="*/ 169347 w 1199136"/>
                <a:gd name="connsiteY1868" fmla="*/ 91389 h 1430015"/>
                <a:gd name="connsiteX1869" fmla="*/ 169741 w 1199136"/>
                <a:gd name="connsiteY1869" fmla="*/ 91964 h 1430015"/>
                <a:gd name="connsiteX1870" fmla="*/ 170407 w 1199136"/>
                <a:gd name="connsiteY1870" fmla="*/ 92418 h 1430015"/>
                <a:gd name="connsiteX1871" fmla="*/ 170407 w 1199136"/>
                <a:gd name="connsiteY1871" fmla="*/ 93779 h 1430015"/>
                <a:gd name="connsiteX1872" fmla="*/ 169832 w 1199136"/>
                <a:gd name="connsiteY1872" fmla="*/ 95020 h 1430015"/>
                <a:gd name="connsiteX1873" fmla="*/ 168833 w 1199136"/>
                <a:gd name="connsiteY1873" fmla="*/ 96109 h 1430015"/>
                <a:gd name="connsiteX1874" fmla="*/ 167684 w 1199136"/>
                <a:gd name="connsiteY1874" fmla="*/ 96925 h 1430015"/>
                <a:gd name="connsiteX1875" fmla="*/ 164840 w 1199136"/>
                <a:gd name="connsiteY1875" fmla="*/ 98257 h 1430015"/>
                <a:gd name="connsiteX1876" fmla="*/ 159879 w 1199136"/>
                <a:gd name="connsiteY1876" fmla="*/ 104277 h 1430015"/>
                <a:gd name="connsiteX1877" fmla="*/ 157792 w 1199136"/>
                <a:gd name="connsiteY1877" fmla="*/ 105608 h 1430015"/>
                <a:gd name="connsiteX1878" fmla="*/ 153435 w 1199136"/>
                <a:gd name="connsiteY1878" fmla="*/ 106515 h 1430015"/>
                <a:gd name="connsiteX1879" fmla="*/ 151257 w 1199136"/>
                <a:gd name="connsiteY1879" fmla="*/ 107453 h 1430015"/>
                <a:gd name="connsiteX1880" fmla="*/ 149291 w 1199136"/>
                <a:gd name="connsiteY1880" fmla="*/ 109268 h 1430015"/>
                <a:gd name="connsiteX1881" fmla="*/ 148262 w 1199136"/>
                <a:gd name="connsiteY1881" fmla="*/ 110569 h 1430015"/>
                <a:gd name="connsiteX1882" fmla="*/ 147839 w 1199136"/>
                <a:gd name="connsiteY1882" fmla="*/ 111718 h 1430015"/>
                <a:gd name="connsiteX1883" fmla="*/ 148202 w 1199136"/>
                <a:gd name="connsiteY1883" fmla="*/ 112233 h 1430015"/>
                <a:gd name="connsiteX1884" fmla="*/ 150561 w 1199136"/>
                <a:gd name="connsiteY1884" fmla="*/ 114108 h 1430015"/>
                <a:gd name="connsiteX1885" fmla="*/ 153526 w 1199136"/>
                <a:gd name="connsiteY1885" fmla="*/ 119402 h 1430015"/>
                <a:gd name="connsiteX1886" fmla="*/ 153798 w 1199136"/>
                <a:gd name="connsiteY1886" fmla="*/ 124303 h 1430015"/>
                <a:gd name="connsiteX1887" fmla="*/ 151620 w 1199136"/>
                <a:gd name="connsiteY1887" fmla="*/ 128629 h 1430015"/>
                <a:gd name="connsiteX1888" fmla="*/ 147234 w 1199136"/>
                <a:gd name="connsiteY1888" fmla="*/ 132138 h 1430015"/>
                <a:gd name="connsiteX1889" fmla="*/ 146145 w 1199136"/>
                <a:gd name="connsiteY1889" fmla="*/ 132471 h 1430015"/>
                <a:gd name="connsiteX1890" fmla="*/ 144057 w 1199136"/>
                <a:gd name="connsiteY1890" fmla="*/ 132683 h 1430015"/>
                <a:gd name="connsiteX1891" fmla="*/ 143029 w 1199136"/>
                <a:gd name="connsiteY1891" fmla="*/ 133409 h 1430015"/>
                <a:gd name="connsiteX1892" fmla="*/ 142303 w 1199136"/>
                <a:gd name="connsiteY1892" fmla="*/ 134770 h 1430015"/>
                <a:gd name="connsiteX1893" fmla="*/ 142091 w 1199136"/>
                <a:gd name="connsiteY1893" fmla="*/ 136282 h 1430015"/>
                <a:gd name="connsiteX1894" fmla="*/ 142091 w 1199136"/>
                <a:gd name="connsiteY1894" fmla="*/ 137765 h 1430015"/>
                <a:gd name="connsiteX1895" fmla="*/ 141547 w 1199136"/>
                <a:gd name="connsiteY1895" fmla="*/ 141546 h 1430015"/>
                <a:gd name="connsiteX1896" fmla="*/ 141365 w 1199136"/>
                <a:gd name="connsiteY1896" fmla="*/ 141819 h 1430015"/>
                <a:gd name="connsiteX1897" fmla="*/ 140397 w 1199136"/>
                <a:gd name="connsiteY1897" fmla="*/ 143785 h 1430015"/>
                <a:gd name="connsiteX1898" fmla="*/ 140336 w 1199136"/>
                <a:gd name="connsiteY1898" fmla="*/ 144057 h 1430015"/>
                <a:gd name="connsiteX1899" fmla="*/ 139066 w 1199136"/>
                <a:gd name="connsiteY1899" fmla="*/ 145570 h 1430015"/>
                <a:gd name="connsiteX1900" fmla="*/ 138340 w 1199136"/>
                <a:gd name="connsiteY1900" fmla="*/ 146114 h 1430015"/>
                <a:gd name="connsiteX1901" fmla="*/ 137372 w 1199136"/>
                <a:gd name="connsiteY1901" fmla="*/ 146387 h 1430015"/>
                <a:gd name="connsiteX1902" fmla="*/ 130233 w 1199136"/>
                <a:gd name="connsiteY1902" fmla="*/ 147869 h 1430015"/>
                <a:gd name="connsiteX1903" fmla="*/ 127570 w 1199136"/>
                <a:gd name="connsiteY1903" fmla="*/ 149563 h 1430015"/>
                <a:gd name="connsiteX1904" fmla="*/ 125362 w 1199136"/>
                <a:gd name="connsiteY1904" fmla="*/ 153465 h 1430015"/>
                <a:gd name="connsiteX1905" fmla="*/ 125241 w 1199136"/>
                <a:gd name="connsiteY1905" fmla="*/ 153677 h 1430015"/>
                <a:gd name="connsiteX1906" fmla="*/ 124939 w 1199136"/>
                <a:gd name="connsiteY1906" fmla="*/ 155039 h 1430015"/>
                <a:gd name="connsiteX1907" fmla="*/ 125029 w 1199136"/>
                <a:gd name="connsiteY1907" fmla="*/ 155734 h 1430015"/>
                <a:gd name="connsiteX1908" fmla="*/ 124787 w 1199136"/>
                <a:gd name="connsiteY1908" fmla="*/ 156188 h 1430015"/>
                <a:gd name="connsiteX1909" fmla="*/ 123517 w 1199136"/>
                <a:gd name="connsiteY1909" fmla="*/ 156823 h 1430015"/>
                <a:gd name="connsiteX1910" fmla="*/ 122942 w 1199136"/>
                <a:gd name="connsiteY1910" fmla="*/ 156823 h 1430015"/>
                <a:gd name="connsiteX1911" fmla="*/ 121157 w 1199136"/>
                <a:gd name="connsiteY1911" fmla="*/ 156279 h 1430015"/>
                <a:gd name="connsiteX1912" fmla="*/ 118374 w 1199136"/>
                <a:gd name="connsiteY1912" fmla="*/ 156339 h 1430015"/>
                <a:gd name="connsiteX1913" fmla="*/ 113534 w 1199136"/>
                <a:gd name="connsiteY1913" fmla="*/ 154706 h 1430015"/>
                <a:gd name="connsiteX1914" fmla="*/ 112536 w 1199136"/>
                <a:gd name="connsiteY1914" fmla="*/ 154796 h 1430015"/>
                <a:gd name="connsiteX1915" fmla="*/ 111779 w 1199136"/>
                <a:gd name="connsiteY1915" fmla="*/ 155129 h 1430015"/>
                <a:gd name="connsiteX1916" fmla="*/ 110932 w 1199136"/>
                <a:gd name="connsiteY1916" fmla="*/ 155341 h 1430015"/>
                <a:gd name="connsiteX1917" fmla="*/ 109692 w 1199136"/>
                <a:gd name="connsiteY1917" fmla="*/ 154948 h 1430015"/>
                <a:gd name="connsiteX1918" fmla="*/ 109541 w 1199136"/>
                <a:gd name="connsiteY1918" fmla="*/ 154615 h 1430015"/>
                <a:gd name="connsiteX1919" fmla="*/ 107635 w 1199136"/>
                <a:gd name="connsiteY1919" fmla="*/ 152074 h 1430015"/>
                <a:gd name="connsiteX1920" fmla="*/ 106122 w 1199136"/>
                <a:gd name="connsiteY1920" fmla="*/ 150803 h 1430015"/>
                <a:gd name="connsiteX1921" fmla="*/ 104549 w 1199136"/>
                <a:gd name="connsiteY1921" fmla="*/ 149956 h 1430015"/>
                <a:gd name="connsiteX1922" fmla="*/ 94294 w 1199136"/>
                <a:gd name="connsiteY1922" fmla="*/ 147597 h 1430015"/>
                <a:gd name="connsiteX1923" fmla="*/ 92630 w 1199136"/>
                <a:gd name="connsiteY1923" fmla="*/ 148413 h 1430015"/>
                <a:gd name="connsiteX1924" fmla="*/ 91662 w 1199136"/>
                <a:gd name="connsiteY1924" fmla="*/ 149926 h 1430015"/>
                <a:gd name="connsiteX1925" fmla="*/ 90573 w 1199136"/>
                <a:gd name="connsiteY1925" fmla="*/ 151257 h 1430015"/>
                <a:gd name="connsiteX1926" fmla="*/ 88455 w 1199136"/>
                <a:gd name="connsiteY1926" fmla="*/ 151499 h 1430015"/>
                <a:gd name="connsiteX1927" fmla="*/ 85460 w 1199136"/>
                <a:gd name="connsiteY1927" fmla="*/ 152709 h 1430015"/>
                <a:gd name="connsiteX1928" fmla="*/ 79501 w 1199136"/>
                <a:gd name="connsiteY1928" fmla="*/ 156702 h 1430015"/>
                <a:gd name="connsiteX1929" fmla="*/ 76294 w 1199136"/>
                <a:gd name="connsiteY1929" fmla="*/ 157761 h 1430015"/>
                <a:gd name="connsiteX1930" fmla="*/ 68731 w 1199136"/>
                <a:gd name="connsiteY1930" fmla="*/ 157035 h 1430015"/>
                <a:gd name="connsiteX1931" fmla="*/ 67400 w 1199136"/>
                <a:gd name="connsiteY1931" fmla="*/ 157458 h 1430015"/>
                <a:gd name="connsiteX1932" fmla="*/ 64587 w 1199136"/>
                <a:gd name="connsiteY1932" fmla="*/ 159062 h 1430015"/>
                <a:gd name="connsiteX1933" fmla="*/ 58385 w 1199136"/>
                <a:gd name="connsiteY1933" fmla="*/ 161422 h 1430015"/>
                <a:gd name="connsiteX1934" fmla="*/ 55330 w 1199136"/>
                <a:gd name="connsiteY1934" fmla="*/ 161936 h 1430015"/>
                <a:gd name="connsiteX1935" fmla="*/ 52033 w 1199136"/>
                <a:gd name="connsiteY1935" fmla="*/ 161996 h 1430015"/>
                <a:gd name="connsiteX1936" fmla="*/ 48947 w 1199136"/>
                <a:gd name="connsiteY1936" fmla="*/ 161391 h 1430015"/>
                <a:gd name="connsiteX1937" fmla="*/ 46618 w 1199136"/>
                <a:gd name="connsiteY1937" fmla="*/ 160090 h 1430015"/>
                <a:gd name="connsiteX1938" fmla="*/ 42110 w 1199136"/>
                <a:gd name="connsiteY1938" fmla="*/ 155462 h 1430015"/>
                <a:gd name="connsiteX1939" fmla="*/ 40658 w 1199136"/>
                <a:gd name="connsiteY1939" fmla="*/ 156097 h 1430015"/>
                <a:gd name="connsiteX1940" fmla="*/ 39599 w 1199136"/>
                <a:gd name="connsiteY1940" fmla="*/ 157307 h 1430015"/>
                <a:gd name="connsiteX1941" fmla="*/ 38783 w 1199136"/>
                <a:gd name="connsiteY1941" fmla="*/ 158911 h 1430015"/>
                <a:gd name="connsiteX1942" fmla="*/ 38147 w 1199136"/>
                <a:gd name="connsiteY1942" fmla="*/ 160696 h 1430015"/>
                <a:gd name="connsiteX1943" fmla="*/ 36786 w 1199136"/>
                <a:gd name="connsiteY1943" fmla="*/ 162813 h 1430015"/>
                <a:gd name="connsiteX1944" fmla="*/ 34759 w 1199136"/>
                <a:gd name="connsiteY1944" fmla="*/ 164386 h 1430015"/>
                <a:gd name="connsiteX1945" fmla="*/ 32490 w 1199136"/>
                <a:gd name="connsiteY1945" fmla="*/ 165445 h 1430015"/>
                <a:gd name="connsiteX1946" fmla="*/ 30342 w 1199136"/>
                <a:gd name="connsiteY1946" fmla="*/ 166020 h 1430015"/>
                <a:gd name="connsiteX1947" fmla="*/ 27862 w 1199136"/>
                <a:gd name="connsiteY1947" fmla="*/ 166020 h 1430015"/>
                <a:gd name="connsiteX1948" fmla="*/ 27166 w 1199136"/>
                <a:gd name="connsiteY1948" fmla="*/ 166080 h 1430015"/>
                <a:gd name="connsiteX1949" fmla="*/ 26803 w 1199136"/>
                <a:gd name="connsiteY1949" fmla="*/ 166020 h 1430015"/>
                <a:gd name="connsiteX1950" fmla="*/ 25986 w 1199136"/>
                <a:gd name="connsiteY1950" fmla="*/ 165536 h 1430015"/>
                <a:gd name="connsiteX1951" fmla="*/ 25593 w 1199136"/>
                <a:gd name="connsiteY1951" fmla="*/ 165536 h 1430015"/>
                <a:gd name="connsiteX1952" fmla="*/ 25109 w 1199136"/>
                <a:gd name="connsiteY1952" fmla="*/ 165868 h 1430015"/>
                <a:gd name="connsiteX1953" fmla="*/ 24685 w 1199136"/>
                <a:gd name="connsiteY1953" fmla="*/ 166474 h 1430015"/>
                <a:gd name="connsiteX1954" fmla="*/ 24383 w 1199136"/>
                <a:gd name="connsiteY1954" fmla="*/ 167048 h 1430015"/>
                <a:gd name="connsiteX1955" fmla="*/ 24383 w 1199136"/>
                <a:gd name="connsiteY1955" fmla="*/ 167290 h 1430015"/>
                <a:gd name="connsiteX1956" fmla="*/ 21388 w 1199136"/>
                <a:gd name="connsiteY1956" fmla="*/ 167683 h 1430015"/>
                <a:gd name="connsiteX1957" fmla="*/ 19845 w 1199136"/>
                <a:gd name="connsiteY1957" fmla="*/ 168531 h 1430015"/>
                <a:gd name="connsiteX1958" fmla="*/ 18574 w 1199136"/>
                <a:gd name="connsiteY1958" fmla="*/ 170467 h 1430015"/>
                <a:gd name="connsiteX1959" fmla="*/ 18030 w 1199136"/>
                <a:gd name="connsiteY1959" fmla="*/ 172645 h 1430015"/>
                <a:gd name="connsiteX1960" fmla="*/ 17970 w 1199136"/>
                <a:gd name="connsiteY1960" fmla="*/ 175004 h 1430015"/>
                <a:gd name="connsiteX1961" fmla="*/ 18242 w 1199136"/>
                <a:gd name="connsiteY1961" fmla="*/ 177364 h 1430015"/>
                <a:gd name="connsiteX1962" fmla="*/ 19361 w 1199136"/>
                <a:gd name="connsiteY1962" fmla="*/ 182839 h 1430015"/>
                <a:gd name="connsiteX1963" fmla="*/ 21388 w 1199136"/>
                <a:gd name="connsiteY1963" fmla="*/ 185653 h 1430015"/>
                <a:gd name="connsiteX1964" fmla="*/ 24110 w 1199136"/>
                <a:gd name="connsiteY1964" fmla="*/ 187529 h 1430015"/>
                <a:gd name="connsiteX1965" fmla="*/ 26742 w 1199136"/>
                <a:gd name="connsiteY1965" fmla="*/ 188013 h 1430015"/>
                <a:gd name="connsiteX1966" fmla="*/ 28073 w 1199136"/>
                <a:gd name="connsiteY1966" fmla="*/ 188496 h 1430015"/>
                <a:gd name="connsiteX1967" fmla="*/ 30373 w 1199136"/>
                <a:gd name="connsiteY1967" fmla="*/ 190584 h 1430015"/>
                <a:gd name="connsiteX1968" fmla="*/ 31703 w 1199136"/>
                <a:gd name="connsiteY1968" fmla="*/ 191522 h 1430015"/>
                <a:gd name="connsiteX1969" fmla="*/ 34971 w 1199136"/>
                <a:gd name="connsiteY1969" fmla="*/ 192308 h 1430015"/>
                <a:gd name="connsiteX1970" fmla="*/ 36211 w 1199136"/>
                <a:gd name="connsiteY1970" fmla="*/ 193095 h 1430015"/>
                <a:gd name="connsiteX1971" fmla="*/ 36816 w 1199136"/>
                <a:gd name="connsiteY1971" fmla="*/ 195061 h 1430015"/>
                <a:gd name="connsiteX1972" fmla="*/ 36574 w 1199136"/>
                <a:gd name="connsiteY1972" fmla="*/ 195817 h 1430015"/>
                <a:gd name="connsiteX1973" fmla="*/ 35425 w 1199136"/>
                <a:gd name="connsiteY1973" fmla="*/ 198147 h 1430015"/>
                <a:gd name="connsiteX1974" fmla="*/ 35152 w 1199136"/>
                <a:gd name="connsiteY1974" fmla="*/ 199236 h 1430015"/>
                <a:gd name="connsiteX1975" fmla="*/ 35364 w 1199136"/>
                <a:gd name="connsiteY1975" fmla="*/ 200295 h 1430015"/>
                <a:gd name="connsiteX1976" fmla="*/ 36453 w 1199136"/>
                <a:gd name="connsiteY1976" fmla="*/ 201837 h 1430015"/>
                <a:gd name="connsiteX1977" fmla="*/ 36846 w 1199136"/>
                <a:gd name="connsiteY1977" fmla="*/ 202805 h 1430015"/>
                <a:gd name="connsiteX1978" fmla="*/ 37391 w 1199136"/>
                <a:gd name="connsiteY1978" fmla="*/ 208251 h 1430015"/>
                <a:gd name="connsiteX1979" fmla="*/ 38147 w 1199136"/>
                <a:gd name="connsiteY1979" fmla="*/ 210157 h 1430015"/>
                <a:gd name="connsiteX1980" fmla="*/ 42745 w 1199136"/>
                <a:gd name="connsiteY1980" fmla="*/ 212516 h 1430015"/>
                <a:gd name="connsiteX1981" fmla="*/ 47132 w 1199136"/>
                <a:gd name="connsiteY1981" fmla="*/ 215541 h 1430015"/>
                <a:gd name="connsiteX1982" fmla="*/ 47465 w 1199136"/>
                <a:gd name="connsiteY1982" fmla="*/ 216026 h 1430015"/>
                <a:gd name="connsiteX1983" fmla="*/ 48130 w 1199136"/>
                <a:gd name="connsiteY1983" fmla="*/ 216993 h 1430015"/>
                <a:gd name="connsiteX1984" fmla="*/ 48826 w 1199136"/>
                <a:gd name="connsiteY1984" fmla="*/ 218627 h 1430015"/>
                <a:gd name="connsiteX1985" fmla="*/ 49643 w 1199136"/>
                <a:gd name="connsiteY1985" fmla="*/ 220109 h 1430015"/>
                <a:gd name="connsiteX1986" fmla="*/ 50974 w 1199136"/>
                <a:gd name="connsiteY1986" fmla="*/ 221047 h 1430015"/>
                <a:gd name="connsiteX1987" fmla="*/ 55269 w 1199136"/>
                <a:gd name="connsiteY1987" fmla="*/ 222802 h 1430015"/>
                <a:gd name="connsiteX1988" fmla="*/ 56056 w 1199136"/>
                <a:gd name="connsiteY1988" fmla="*/ 223346 h 1430015"/>
                <a:gd name="connsiteX1989" fmla="*/ 55965 w 1199136"/>
                <a:gd name="connsiteY1989" fmla="*/ 224980 h 1430015"/>
                <a:gd name="connsiteX1990" fmla="*/ 55058 w 1199136"/>
                <a:gd name="connsiteY1990" fmla="*/ 226977 h 1430015"/>
                <a:gd name="connsiteX1991" fmla="*/ 52970 w 1199136"/>
                <a:gd name="connsiteY1991" fmla="*/ 230395 h 1430015"/>
                <a:gd name="connsiteX1992" fmla="*/ 49703 w 1199136"/>
                <a:gd name="connsiteY1992" fmla="*/ 233964 h 1430015"/>
                <a:gd name="connsiteX1993" fmla="*/ 49189 w 1199136"/>
                <a:gd name="connsiteY1993" fmla="*/ 234751 h 1430015"/>
                <a:gd name="connsiteX1994" fmla="*/ 49703 w 1199136"/>
                <a:gd name="connsiteY1994" fmla="*/ 238563 h 1430015"/>
                <a:gd name="connsiteX1995" fmla="*/ 50792 w 1199136"/>
                <a:gd name="connsiteY1995" fmla="*/ 241195 h 1430015"/>
                <a:gd name="connsiteX1996" fmla="*/ 50792 w 1199136"/>
                <a:gd name="connsiteY1996" fmla="*/ 243252 h 1430015"/>
                <a:gd name="connsiteX1997" fmla="*/ 48070 w 1199136"/>
                <a:gd name="connsiteY1997" fmla="*/ 245369 h 1430015"/>
                <a:gd name="connsiteX1998" fmla="*/ 46164 w 1199136"/>
                <a:gd name="connsiteY1998" fmla="*/ 248606 h 1430015"/>
                <a:gd name="connsiteX1999" fmla="*/ 45498 w 1199136"/>
                <a:gd name="connsiteY1999" fmla="*/ 249242 h 1430015"/>
                <a:gd name="connsiteX2000" fmla="*/ 44984 w 1199136"/>
                <a:gd name="connsiteY2000" fmla="*/ 249060 h 1430015"/>
                <a:gd name="connsiteX2001" fmla="*/ 43744 w 1199136"/>
                <a:gd name="connsiteY2001" fmla="*/ 247668 h 1430015"/>
                <a:gd name="connsiteX2002" fmla="*/ 42957 w 1199136"/>
                <a:gd name="connsiteY2002" fmla="*/ 247366 h 1430015"/>
                <a:gd name="connsiteX2003" fmla="*/ 39418 w 1199136"/>
                <a:gd name="connsiteY2003" fmla="*/ 248273 h 1430015"/>
                <a:gd name="connsiteX2004" fmla="*/ 35818 w 1199136"/>
                <a:gd name="connsiteY2004" fmla="*/ 249786 h 1430015"/>
                <a:gd name="connsiteX2005" fmla="*/ 34517 w 1199136"/>
                <a:gd name="connsiteY2005" fmla="*/ 250905 h 1430015"/>
                <a:gd name="connsiteX2006" fmla="*/ 32763 w 1199136"/>
                <a:gd name="connsiteY2006" fmla="*/ 253719 h 1430015"/>
                <a:gd name="connsiteX2007" fmla="*/ 31280 w 1199136"/>
                <a:gd name="connsiteY2007" fmla="*/ 254929 h 1430015"/>
                <a:gd name="connsiteX2008" fmla="*/ 30373 w 1199136"/>
                <a:gd name="connsiteY2008" fmla="*/ 255140 h 1430015"/>
                <a:gd name="connsiteX2009" fmla="*/ 28043 w 1199136"/>
                <a:gd name="connsiteY2009" fmla="*/ 255140 h 1430015"/>
                <a:gd name="connsiteX2010" fmla="*/ 27257 w 1199136"/>
                <a:gd name="connsiteY2010" fmla="*/ 255503 h 1430015"/>
                <a:gd name="connsiteX2011" fmla="*/ 26712 w 1199136"/>
                <a:gd name="connsiteY2011" fmla="*/ 256623 h 1430015"/>
                <a:gd name="connsiteX2012" fmla="*/ 27196 w 1199136"/>
                <a:gd name="connsiteY2012" fmla="*/ 257319 h 1430015"/>
                <a:gd name="connsiteX2013" fmla="*/ 27771 w 1199136"/>
                <a:gd name="connsiteY2013" fmla="*/ 257924 h 1430015"/>
                <a:gd name="connsiteX2014" fmla="*/ 27589 w 1199136"/>
                <a:gd name="connsiteY2014" fmla="*/ 258741 h 1430015"/>
                <a:gd name="connsiteX2015" fmla="*/ 24322 w 1199136"/>
                <a:gd name="connsiteY2015" fmla="*/ 260193 h 1430015"/>
                <a:gd name="connsiteX2016" fmla="*/ 20692 w 1199136"/>
                <a:gd name="connsiteY2016" fmla="*/ 259013 h 1430015"/>
                <a:gd name="connsiteX2017" fmla="*/ 17001 w 1199136"/>
                <a:gd name="connsiteY2017" fmla="*/ 257167 h 1430015"/>
                <a:gd name="connsiteX2018" fmla="*/ 13462 w 1199136"/>
                <a:gd name="connsiteY2018" fmla="*/ 256623 h 1430015"/>
                <a:gd name="connsiteX2019" fmla="*/ 12706 w 1199136"/>
                <a:gd name="connsiteY2019" fmla="*/ 256986 h 1430015"/>
                <a:gd name="connsiteX2020" fmla="*/ 10890 w 1199136"/>
                <a:gd name="connsiteY2020" fmla="*/ 258287 h 1430015"/>
                <a:gd name="connsiteX2021" fmla="*/ 10013 w 1199136"/>
                <a:gd name="connsiteY2021" fmla="*/ 258741 h 1430015"/>
                <a:gd name="connsiteX2022" fmla="*/ 9227 w 1199136"/>
                <a:gd name="connsiteY2022" fmla="*/ 258861 h 1430015"/>
                <a:gd name="connsiteX2023" fmla="*/ 7412 w 1199136"/>
                <a:gd name="connsiteY2023" fmla="*/ 258801 h 1430015"/>
                <a:gd name="connsiteX2024" fmla="*/ 6504 w 1199136"/>
                <a:gd name="connsiteY2024" fmla="*/ 258952 h 1430015"/>
                <a:gd name="connsiteX2025" fmla="*/ 3025 w 1199136"/>
                <a:gd name="connsiteY2025" fmla="*/ 260797 h 1430015"/>
                <a:gd name="connsiteX2026" fmla="*/ 2692 w 1199136"/>
                <a:gd name="connsiteY2026" fmla="*/ 261070 h 1430015"/>
                <a:gd name="connsiteX2027" fmla="*/ 1210 w 1199136"/>
                <a:gd name="connsiteY2027" fmla="*/ 262219 h 1430015"/>
                <a:gd name="connsiteX2028" fmla="*/ 0 w 1199136"/>
                <a:gd name="connsiteY2028" fmla="*/ 263702 h 1430015"/>
                <a:gd name="connsiteX2029" fmla="*/ 1755 w 1199136"/>
                <a:gd name="connsiteY2029" fmla="*/ 266182 h 1430015"/>
                <a:gd name="connsiteX2030" fmla="*/ 3388 w 1199136"/>
                <a:gd name="connsiteY2030" fmla="*/ 267483 h 1430015"/>
                <a:gd name="connsiteX2031" fmla="*/ 3540 w 1199136"/>
                <a:gd name="connsiteY2031" fmla="*/ 268391 h 1430015"/>
                <a:gd name="connsiteX2032" fmla="*/ 3418 w 1199136"/>
                <a:gd name="connsiteY2032" fmla="*/ 269419 h 1430015"/>
                <a:gd name="connsiteX2033" fmla="*/ 3691 w 1199136"/>
                <a:gd name="connsiteY2033" fmla="*/ 270599 h 1430015"/>
                <a:gd name="connsiteX2034" fmla="*/ 4901 w 1199136"/>
                <a:gd name="connsiteY2034" fmla="*/ 272535 h 1430015"/>
                <a:gd name="connsiteX2035" fmla="*/ 5959 w 1199136"/>
                <a:gd name="connsiteY2035" fmla="*/ 273382 h 1430015"/>
                <a:gd name="connsiteX2036" fmla="*/ 9469 w 1199136"/>
                <a:gd name="connsiteY2036" fmla="*/ 273685 h 1430015"/>
                <a:gd name="connsiteX2037" fmla="*/ 12131 w 1199136"/>
                <a:gd name="connsiteY2037" fmla="*/ 275469 h 1430015"/>
                <a:gd name="connsiteX2038" fmla="*/ 12766 w 1199136"/>
                <a:gd name="connsiteY2038" fmla="*/ 279221 h 1430015"/>
                <a:gd name="connsiteX2039" fmla="*/ 12554 w 1199136"/>
                <a:gd name="connsiteY2039" fmla="*/ 286511 h 1430015"/>
                <a:gd name="connsiteX2040" fmla="*/ 14309 w 1199136"/>
                <a:gd name="connsiteY2040" fmla="*/ 289234 h 1430015"/>
                <a:gd name="connsiteX2041" fmla="*/ 17607 w 1199136"/>
                <a:gd name="connsiteY2041" fmla="*/ 291866 h 1430015"/>
                <a:gd name="connsiteX2042" fmla="*/ 24534 w 1199136"/>
                <a:gd name="connsiteY2042" fmla="*/ 295587 h 1430015"/>
                <a:gd name="connsiteX2043" fmla="*/ 26440 w 1199136"/>
                <a:gd name="connsiteY2043" fmla="*/ 296041 h 1430015"/>
                <a:gd name="connsiteX2044" fmla="*/ 31401 w 1199136"/>
                <a:gd name="connsiteY2044" fmla="*/ 295133 h 1430015"/>
                <a:gd name="connsiteX2045" fmla="*/ 33156 w 1199136"/>
                <a:gd name="connsiteY2045" fmla="*/ 295284 h 1430015"/>
                <a:gd name="connsiteX2046" fmla="*/ 38208 w 1199136"/>
                <a:gd name="connsiteY2046" fmla="*/ 297190 h 1430015"/>
                <a:gd name="connsiteX2047" fmla="*/ 40023 w 1199136"/>
                <a:gd name="connsiteY2047" fmla="*/ 299005 h 1430015"/>
                <a:gd name="connsiteX2048" fmla="*/ 40446 w 1199136"/>
                <a:gd name="connsiteY2048" fmla="*/ 299671 h 1430015"/>
                <a:gd name="connsiteX2049" fmla="*/ 40658 w 1199136"/>
                <a:gd name="connsiteY2049" fmla="*/ 300427 h 1430015"/>
                <a:gd name="connsiteX2050" fmla="*/ 40658 w 1199136"/>
                <a:gd name="connsiteY2050" fmla="*/ 300820 h 1430015"/>
                <a:gd name="connsiteX2051" fmla="*/ 40537 w 1199136"/>
                <a:gd name="connsiteY2051" fmla="*/ 301183 h 1430015"/>
                <a:gd name="connsiteX2052" fmla="*/ 40537 w 1199136"/>
                <a:gd name="connsiteY2052" fmla="*/ 301819 h 1430015"/>
                <a:gd name="connsiteX2053" fmla="*/ 40355 w 1199136"/>
                <a:gd name="connsiteY2053" fmla="*/ 301909 h 1430015"/>
                <a:gd name="connsiteX2054" fmla="*/ 39872 w 1199136"/>
                <a:gd name="connsiteY2054" fmla="*/ 303936 h 1430015"/>
                <a:gd name="connsiteX2055" fmla="*/ 39781 w 1199136"/>
                <a:gd name="connsiteY2055" fmla="*/ 304118 h 1430015"/>
                <a:gd name="connsiteX2056" fmla="*/ 40930 w 1199136"/>
                <a:gd name="connsiteY2056" fmla="*/ 306931 h 1430015"/>
                <a:gd name="connsiteX2057" fmla="*/ 41475 w 1199136"/>
                <a:gd name="connsiteY2057" fmla="*/ 310138 h 1430015"/>
                <a:gd name="connsiteX2058" fmla="*/ 41838 w 1199136"/>
                <a:gd name="connsiteY2058" fmla="*/ 311257 h 1430015"/>
                <a:gd name="connsiteX2059" fmla="*/ 44893 w 1199136"/>
                <a:gd name="connsiteY2059" fmla="*/ 316581 h 1430015"/>
                <a:gd name="connsiteX2060" fmla="*/ 45468 w 1199136"/>
                <a:gd name="connsiteY2060" fmla="*/ 318275 h 1430015"/>
                <a:gd name="connsiteX2061" fmla="*/ 43683 w 1199136"/>
                <a:gd name="connsiteY2061" fmla="*/ 318275 h 1430015"/>
                <a:gd name="connsiteX2062" fmla="*/ 40053 w 1199136"/>
                <a:gd name="connsiteY2062" fmla="*/ 317307 h 1430015"/>
                <a:gd name="connsiteX2063" fmla="*/ 38208 w 1199136"/>
                <a:gd name="connsiteY2063" fmla="*/ 317307 h 1430015"/>
                <a:gd name="connsiteX2064" fmla="*/ 35908 w 1199136"/>
                <a:gd name="connsiteY2064" fmla="*/ 318487 h 1430015"/>
                <a:gd name="connsiteX2065" fmla="*/ 34063 w 1199136"/>
                <a:gd name="connsiteY2065" fmla="*/ 320605 h 1430015"/>
                <a:gd name="connsiteX2066" fmla="*/ 33337 w 1199136"/>
                <a:gd name="connsiteY2066" fmla="*/ 323237 h 1430015"/>
                <a:gd name="connsiteX2067" fmla="*/ 34487 w 1199136"/>
                <a:gd name="connsiteY2067" fmla="*/ 325989 h 1430015"/>
                <a:gd name="connsiteX2068" fmla="*/ 33065 w 1199136"/>
                <a:gd name="connsiteY2068" fmla="*/ 326957 h 1430015"/>
                <a:gd name="connsiteX2069" fmla="*/ 29616 w 1199136"/>
                <a:gd name="connsiteY2069" fmla="*/ 332463 h 1430015"/>
                <a:gd name="connsiteX2070" fmla="*/ 24504 w 1199136"/>
                <a:gd name="connsiteY2070" fmla="*/ 336093 h 1430015"/>
                <a:gd name="connsiteX2071" fmla="*/ 23445 w 1199136"/>
                <a:gd name="connsiteY2071" fmla="*/ 337848 h 1430015"/>
                <a:gd name="connsiteX2072" fmla="*/ 23747 w 1199136"/>
                <a:gd name="connsiteY2072" fmla="*/ 341871 h 1430015"/>
                <a:gd name="connsiteX2073" fmla="*/ 26016 w 1199136"/>
                <a:gd name="connsiteY2073" fmla="*/ 345471 h 1430015"/>
                <a:gd name="connsiteX2074" fmla="*/ 29072 w 1199136"/>
                <a:gd name="connsiteY2074" fmla="*/ 348436 h 1430015"/>
                <a:gd name="connsiteX2075" fmla="*/ 31703 w 1199136"/>
                <a:gd name="connsiteY2075" fmla="*/ 350463 h 1430015"/>
                <a:gd name="connsiteX2076" fmla="*/ 28315 w 1199136"/>
                <a:gd name="connsiteY2076" fmla="*/ 352187 h 1430015"/>
                <a:gd name="connsiteX2077" fmla="*/ 27589 w 1199136"/>
                <a:gd name="connsiteY2077" fmla="*/ 353306 h 1430015"/>
                <a:gd name="connsiteX2078" fmla="*/ 26742 w 1199136"/>
                <a:gd name="connsiteY2078" fmla="*/ 357330 h 1430015"/>
                <a:gd name="connsiteX2079" fmla="*/ 26500 w 1199136"/>
                <a:gd name="connsiteY2079" fmla="*/ 358117 h 1430015"/>
                <a:gd name="connsiteX2080" fmla="*/ 26500 w 1199136"/>
                <a:gd name="connsiteY2080" fmla="*/ 358782 h 1430015"/>
                <a:gd name="connsiteX2081" fmla="*/ 26863 w 1199136"/>
                <a:gd name="connsiteY2081" fmla="*/ 359962 h 1430015"/>
                <a:gd name="connsiteX2082" fmla="*/ 27287 w 1199136"/>
                <a:gd name="connsiteY2082" fmla="*/ 360567 h 1430015"/>
                <a:gd name="connsiteX2083" fmla="*/ 29495 w 1199136"/>
                <a:gd name="connsiteY2083" fmla="*/ 362957 h 1430015"/>
                <a:gd name="connsiteX2084" fmla="*/ 30282 w 1199136"/>
                <a:gd name="connsiteY2084" fmla="*/ 364227 h 1430015"/>
                <a:gd name="connsiteX2085" fmla="*/ 31462 w 1199136"/>
                <a:gd name="connsiteY2085" fmla="*/ 366829 h 1430015"/>
                <a:gd name="connsiteX2086" fmla="*/ 32036 w 1199136"/>
                <a:gd name="connsiteY2086" fmla="*/ 367797 h 1430015"/>
                <a:gd name="connsiteX2087" fmla="*/ 32944 w 1199136"/>
                <a:gd name="connsiteY2087" fmla="*/ 368674 h 1430015"/>
                <a:gd name="connsiteX2088" fmla="*/ 34941 w 1199136"/>
                <a:gd name="connsiteY2088" fmla="*/ 370005 h 1430015"/>
                <a:gd name="connsiteX2089" fmla="*/ 35878 w 1199136"/>
                <a:gd name="connsiteY2089" fmla="*/ 371004 h 1430015"/>
                <a:gd name="connsiteX2090" fmla="*/ 36514 w 1199136"/>
                <a:gd name="connsiteY2090" fmla="*/ 372274 h 1430015"/>
                <a:gd name="connsiteX2091" fmla="*/ 36846 w 1199136"/>
                <a:gd name="connsiteY2091" fmla="*/ 373484 h 1430015"/>
                <a:gd name="connsiteX2092" fmla="*/ 37300 w 1199136"/>
                <a:gd name="connsiteY2092" fmla="*/ 374634 h 1430015"/>
                <a:gd name="connsiteX2093" fmla="*/ 38238 w 1199136"/>
                <a:gd name="connsiteY2093" fmla="*/ 375632 h 1430015"/>
                <a:gd name="connsiteX2094" fmla="*/ 39569 w 1199136"/>
                <a:gd name="connsiteY2094" fmla="*/ 376116 h 1430015"/>
                <a:gd name="connsiteX2095" fmla="*/ 40779 w 1199136"/>
                <a:gd name="connsiteY2095" fmla="*/ 375935 h 1430015"/>
                <a:gd name="connsiteX2096" fmla="*/ 41989 w 1199136"/>
                <a:gd name="connsiteY2096" fmla="*/ 375572 h 1430015"/>
                <a:gd name="connsiteX2097" fmla="*/ 43320 w 1199136"/>
                <a:gd name="connsiteY2097" fmla="*/ 375451 h 1430015"/>
                <a:gd name="connsiteX2098" fmla="*/ 44591 w 1199136"/>
                <a:gd name="connsiteY2098" fmla="*/ 375783 h 1430015"/>
                <a:gd name="connsiteX2099" fmla="*/ 50490 w 1199136"/>
                <a:gd name="connsiteY2099" fmla="*/ 378687 h 1430015"/>
                <a:gd name="connsiteX2100" fmla="*/ 54513 w 1199136"/>
                <a:gd name="connsiteY2100" fmla="*/ 380049 h 1430015"/>
                <a:gd name="connsiteX2101" fmla="*/ 65222 w 1199136"/>
                <a:gd name="connsiteY2101" fmla="*/ 386099 h 1430015"/>
                <a:gd name="connsiteX2102" fmla="*/ 67098 w 1199136"/>
                <a:gd name="connsiteY2102" fmla="*/ 386855 h 1430015"/>
                <a:gd name="connsiteX2103" fmla="*/ 69730 w 1199136"/>
                <a:gd name="connsiteY2103" fmla="*/ 387249 h 1430015"/>
                <a:gd name="connsiteX2104" fmla="*/ 71061 w 1199136"/>
                <a:gd name="connsiteY2104" fmla="*/ 387732 h 1430015"/>
                <a:gd name="connsiteX2105" fmla="*/ 71756 w 1199136"/>
                <a:gd name="connsiteY2105" fmla="*/ 388670 h 1430015"/>
                <a:gd name="connsiteX2106" fmla="*/ 72301 w 1199136"/>
                <a:gd name="connsiteY2106" fmla="*/ 389729 h 1430015"/>
                <a:gd name="connsiteX2107" fmla="*/ 73239 w 1199136"/>
                <a:gd name="connsiteY2107" fmla="*/ 390576 h 1430015"/>
                <a:gd name="connsiteX2108" fmla="*/ 74207 w 1199136"/>
                <a:gd name="connsiteY2108" fmla="*/ 390788 h 1430015"/>
                <a:gd name="connsiteX2109" fmla="*/ 78260 w 1199136"/>
                <a:gd name="connsiteY2109" fmla="*/ 390879 h 1430015"/>
                <a:gd name="connsiteX2110" fmla="*/ 95746 w 1199136"/>
                <a:gd name="connsiteY2110" fmla="*/ 386220 h 1430015"/>
                <a:gd name="connsiteX2111" fmla="*/ 98650 w 1199136"/>
                <a:gd name="connsiteY2111" fmla="*/ 386008 h 1430015"/>
                <a:gd name="connsiteX2112" fmla="*/ 102794 w 1199136"/>
                <a:gd name="connsiteY2112" fmla="*/ 383497 h 1430015"/>
                <a:gd name="connsiteX2113" fmla="*/ 105910 w 1199136"/>
                <a:gd name="connsiteY2113" fmla="*/ 384012 h 1430015"/>
                <a:gd name="connsiteX2114" fmla="*/ 104519 w 1199136"/>
                <a:gd name="connsiteY2114" fmla="*/ 388217 h 1430015"/>
                <a:gd name="connsiteX2115" fmla="*/ 105759 w 1199136"/>
                <a:gd name="connsiteY2115" fmla="*/ 390607 h 1430015"/>
                <a:gd name="connsiteX2116" fmla="*/ 107968 w 1199136"/>
                <a:gd name="connsiteY2116" fmla="*/ 392663 h 1430015"/>
                <a:gd name="connsiteX2117" fmla="*/ 109147 w 1199136"/>
                <a:gd name="connsiteY2117" fmla="*/ 394993 h 1430015"/>
                <a:gd name="connsiteX2118" fmla="*/ 109541 w 1199136"/>
                <a:gd name="connsiteY2118" fmla="*/ 395779 h 1430015"/>
                <a:gd name="connsiteX2119" fmla="*/ 109329 w 1199136"/>
                <a:gd name="connsiteY2119" fmla="*/ 398018 h 1430015"/>
                <a:gd name="connsiteX2120" fmla="*/ 108209 w 1199136"/>
                <a:gd name="connsiteY2120" fmla="*/ 399410 h 1430015"/>
                <a:gd name="connsiteX2121" fmla="*/ 106757 w 1199136"/>
                <a:gd name="connsiteY2121" fmla="*/ 400438 h 1430015"/>
                <a:gd name="connsiteX2122" fmla="*/ 105668 w 1199136"/>
                <a:gd name="connsiteY2122" fmla="*/ 401588 h 1430015"/>
                <a:gd name="connsiteX2123" fmla="*/ 105033 w 1199136"/>
                <a:gd name="connsiteY2123" fmla="*/ 403161 h 1430015"/>
                <a:gd name="connsiteX2124" fmla="*/ 104186 w 1199136"/>
                <a:gd name="connsiteY2124" fmla="*/ 406035 h 1430015"/>
                <a:gd name="connsiteX2125" fmla="*/ 103400 w 1199136"/>
                <a:gd name="connsiteY2125" fmla="*/ 407517 h 1430015"/>
                <a:gd name="connsiteX2126" fmla="*/ 101161 w 1199136"/>
                <a:gd name="connsiteY2126" fmla="*/ 409816 h 1430015"/>
                <a:gd name="connsiteX2127" fmla="*/ 95957 w 1199136"/>
                <a:gd name="connsiteY2127" fmla="*/ 413839 h 1430015"/>
                <a:gd name="connsiteX2128" fmla="*/ 93931 w 1199136"/>
                <a:gd name="connsiteY2128" fmla="*/ 416834 h 1430015"/>
                <a:gd name="connsiteX2129" fmla="*/ 89574 w 1199136"/>
                <a:gd name="connsiteY2129" fmla="*/ 421251 h 1430015"/>
                <a:gd name="connsiteX2130" fmla="*/ 88001 w 1199136"/>
                <a:gd name="connsiteY2130" fmla="*/ 423913 h 1430015"/>
                <a:gd name="connsiteX2131" fmla="*/ 88485 w 1199136"/>
                <a:gd name="connsiteY2131" fmla="*/ 427150 h 1430015"/>
                <a:gd name="connsiteX2132" fmla="*/ 90452 w 1199136"/>
                <a:gd name="connsiteY2132" fmla="*/ 433291 h 1430015"/>
                <a:gd name="connsiteX2133" fmla="*/ 91511 w 1199136"/>
                <a:gd name="connsiteY2133" fmla="*/ 433291 h 1430015"/>
                <a:gd name="connsiteX2134" fmla="*/ 92539 w 1199136"/>
                <a:gd name="connsiteY2134" fmla="*/ 433685 h 1430015"/>
                <a:gd name="connsiteX2135" fmla="*/ 93326 w 1199136"/>
                <a:gd name="connsiteY2135" fmla="*/ 434289 h 1430015"/>
                <a:gd name="connsiteX2136" fmla="*/ 94627 w 1199136"/>
                <a:gd name="connsiteY2136" fmla="*/ 434289 h 1430015"/>
                <a:gd name="connsiteX2137" fmla="*/ 97440 w 1199136"/>
                <a:gd name="connsiteY2137" fmla="*/ 433412 h 1430015"/>
                <a:gd name="connsiteX2138" fmla="*/ 109813 w 1199136"/>
                <a:gd name="connsiteY2138" fmla="*/ 433412 h 1430015"/>
                <a:gd name="connsiteX2139" fmla="*/ 114018 w 1199136"/>
                <a:gd name="connsiteY2139" fmla="*/ 432535 h 1430015"/>
                <a:gd name="connsiteX2140" fmla="*/ 118979 w 1199136"/>
                <a:gd name="connsiteY2140" fmla="*/ 429510 h 1430015"/>
                <a:gd name="connsiteX2141" fmla="*/ 136494 w 1199136"/>
                <a:gd name="connsiteY2141" fmla="*/ 425577 h 1430015"/>
                <a:gd name="connsiteX2142" fmla="*/ 143725 w 1199136"/>
                <a:gd name="connsiteY2142" fmla="*/ 421130 h 1430015"/>
                <a:gd name="connsiteX2143" fmla="*/ 146175 w 1199136"/>
                <a:gd name="connsiteY2143" fmla="*/ 420556 h 1430015"/>
                <a:gd name="connsiteX2144" fmla="*/ 147385 w 1199136"/>
                <a:gd name="connsiteY2144" fmla="*/ 419981 h 1430015"/>
                <a:gd name="connsiteX2145" fmla="*/ 147930 w 1199136"/>
                <a:gd name="connsiteY2145" fmla="*/ 418982 h 1430015"/>
                <a:gd name="connsiteX2146" fmla="*/ 148171 w 1199136"/>
                <a:gd name="connsiteY2146" fmla="*/ 418317 h 1430015"/>
                <a:gd name="connsiteX2147" fmla="*/ 148777 w 1199136"/>
                <a:gd name="connsiteY2147" fmla="*/ 417621 h 1430015"/>
                <a:gd name="connsiteX2148" fmla="*/ 149563 w 1199136"/>
                <a:gd name="connsiteY2148" fmla="*/ 417016 h 1430015"/>
                <a:gd name="connsiteX2149" fmla="*/ 152195 w 1199136"/>
                <a:gd name="connsiteY2149" fmla="*/ 416018 h 1430015"/>
                <a:gd name="connsiteX2150" fmla="*/ 155160 w 1199136"/>
                <a:gd name="connsiteY2150" fmla="*/ 412841 h 1430015"/>
                <a:gd name="connsiteX2151" fmla="*/ 157489 w 1199136"/>
                <a:gd name="connsiteY2151" fmla="*/ 412327 h 1430015"/>
                <a:gd name="connsiteX2152" fmla="*/ 157489 w 1199136"/>
                <a:gd name="connsiteY2152" fmla="*/ 411540 h 1430015"/>
                <a:gd name="connsiteX2153" fmla="*/ 155946 w 1199136"/>
                <a:gd name="connsiteY2153" fmla="*/ 408908 h 1430015"/>
                <a:gd name="connsiteX2154" fmla="*/ 157610 w 1199136"/>
                <a:gd name="connsiteY2154" fmla="*/ 405883 h 1430015"/>
                <a:gd name="connsiteX2155" fmla="*/ 162360 w 1199136"/>
                <a:gd name="connsiteY2155" fmla="*/ 400952 h 1430015"/>
                <a:gd name="connsiteX2156" fmla="*/ 163116 w 1199136"/>
                <a:gd name="connsiteY2156" fmla="*/ 399410 h 1430015"/>
                <a:gd name="connsiteX2157" fmla="*/ 163751 w 1199136"/>
                <a:gd name="connsiteY2157" fmla="*/ 397443 h 1430015"/>
                <a:gd name="connsiteX2158" fmla="*/ 163872 w 1199136"/>
                <a:gd name="connsiteY2158" fmla="*/ 396445 h 1430015"/>
                <a:gd name="connsiteX2159" fmla="*/ 163751 w 1199136"/>
                <a:gd name="connsiteY2159" fmla="*/ 394388 h 1430015"/>
                <a:gd name="connsiteX2160" fmla="*/ 164053 w 1199136"/>
                <a:gd name="connsiteY2160" fmla="*/ 393450 h 1430015"/>
                <a:gd name="connsiteX2161" fmla="*/ 166413 w 1199136"/>
                <a:gd name="connsiteY2161" fmla="*/ 390274 h 1430015"/>
                <a:gd name="connsiteX2162" fmla="*/ 167714 w 1199136"/>
                <a:gd name="connsiteY2162" fmla="*/ 388912 h 1430015"/>
                <a:gd name="connsiteX2163" fmla="*/ 169227 w 1199136"/>
                <a:gd name="connsiteY2163" fmla="*/ 387702 h 1430015"/>
                <a:gd name="connsiteX2164" fmla="*/ 172131 w 1199136"/>
                <a:gd name="connsiteY2164" fmla="*/ 386129 h 1430015"/>
                <a:gd name="connsiteX2165" fmla="*/ 177757 w 1199136"/>
                <a:gd name="connsiteY2165" fmla="*/ 384465 h 1430015"/>
                <a:gd name="connsiteX2166" fmla="*/ 180298 w 1199136"/>
                <a:gd name="connsiteY2166" fmla="*/ 383316 h 1430015"/>
                <a:gd name="connsiteX2167" fmla="*/ 181690 w 1199136"/>
                <a:gd name="connsiteY2167" fmla="*/ 381894 h 1430015"/>
                <a:gd name="connsiteX2168" fmla="*/ 181690 w 1199136"/>
                <a:gd name="connsiteY2168" fmla="*/ 380533 h 1430015"/>
                <a:gd name="connsiteX2169" fmla="*/ 181509 w 1199136"/>
                <a:gd name="connsiteY2169" fmla="*/ 379111 h 1430015"/>
                <a:gd name="connsiteX2170" fmla="*/ 182053 w 1199136"/>
                <a:gd name="connsiteY2170" fmla="*/ 377568 h 1430015"/>
                <a:gd name="connsiteX2171" fmla="*/ 182598 w 1199136"/>
                <a:gd name="connsiteY2171" fmla="*/ 377084 h 1430015"/>
                <a:gd name="connsiteX2172" fmla="*/ 184110 w 1199136"/>
                <a:gd name="connsiteY2172" fmla="*/ 376146 h 1430015"/>
                <a:gd name="connsiteX2173" fmla="*/ 184413 w 1199136"/>
                <a:gd name="connsiteY2173" fmla="*/ 375844 h 1430015"/>
                <a:gd name="connsiteX2174" fmla="*/ 184534 w 1199136"/>
                <a:gd name="connsiteY2174" fmla="*/ 374906 h 1430015"/>
                <a:gd name="connsiteX2175" fmla="*/ 184836 w 1199136"/>
                <a:gd name="connsiteY2175" fmla="*/ 374180 h 1430015"/>
                <a:gd name="connsiteX2176" fmla="*/ 185865 w 1199136"/>
                <a:gd name="connsiteY2176" fmla="*/ 372728 h 1430015"/>
                <a:gd name="connsiteX2177" fmla="*/ 185351 w 1199136"/>
                <a:gd name="connsiteY2177" fmla="*/ 370217 h 1430015"/>
                <a:gd name="connsiteX2178" fmla="*/ 187529 w 1199136"/>
                <a:gd name="connsiteY2178" fmla="*/ 367585 h 1430015"/>
                <a:gd name="connsiteX2179" fmla="*/ 195001 w 1199136"/>
                <a:gd name="connsiteY2179" fmla="*/ 362987 h 1430015"/>
                <a:gd name="connsiteX2180" fmla="*/ 197451 w 1199136"/>
                <a:gd name="connsiteY2180" fmla="*/ 360748 h 1430015"/>
                <a:gd name="connsiteX2181" fmla="*/ 198631 w 1199136"/>
                <a:gd name="connsiteY2181" fmla="*/ 360325 h 1430015"/>
                <a:gd name="connsiteX2182" fmla="*/ 200355 w 1199136"/>
                <a:gd name="connsiteY2182" fmla="*/ 360022 h 1430015"/>
                <a:gd name="connsiteX2183" fmla="*/ 206527 w 1199136"/>
                <a:gd name="connsiteY2183" fmla="*/ 355908 h 1430015"/>
                <a:gd name="connsiteX2184" fmla="*/ 207313 w 1199136"/>
                <a:gd name="connsiteY2184" fmla="*/ 355787 h 1430015"/>
                <a:gd name="connsiteX2185" fmla="*/ 208130 w 1199136"/>
                <a:gd name="connsiteY2185" fmla="*/ 355908 h 1430015"/>
                <a:gd name="connsiteX2186" fmla="*/ 208917 w 1199136"/>
                <a:gd name="connsiteY2186" fmla="*/ 355908 h 1430015"/>
                <a:gd name="connsiteX2187" fmla="*/ 209612 w 1199136"/>
                <a:gd name="connsiteY2187" fmla="*/ 355454 h 1430015"/>
                <a:gd name="connsiteX2188" fmla="*/ 210671 w 1199136"/>
                <a:gd name="connsiteY2188" fmla="*/ 354335 h 1430015"/>
                <a:gd name="connsiteX2189" fmla="*/ 213575 w 1199136"/>
                <a:gd name="connsiteY2189" fmla="*/ 352096 h 1430015"/>
                <a:gd name="connsiteX2190" fmla="*/ 214815 w 1199136"/>
                <a:gd name="connsiteY2190" fmla="*/ 351461 h 1430015"/>
                <a:gd name="connsiteX2191" fmla="*/ 217356 w 1199136"/>
                <a:gd name="connsiteY2191" fmla="*/ 351037 h 1430015"/>
                <a:gd name="connsiteX2192" fmla="*/ 223861 w 1199136"/>
                <a:gd name="connsiteY2192" fmla="*/ 351522 h 1430015"/>
                <a:gd name="connsiteX2193" fmla="*/ 224950 w 1199136"/>
                <a:gd name="connsiteY2193" fmla="*/ 352974 h 1430015"/>
                <a:gd name="connsiteX2194" fmla="*/ 225706 w 1199136"/>
                <a:gd name="connsiteY2194" fmla="*/ 353458 h 1430015"/>
                <a:gd name="connsiteX2195" fmla="*/ 228035 w 1199136"/>
                <a:gd name="connsiteY2195" fmla="*/ 353942 h 1430015"/>
                <a:gd name="connsiteX2196" fmla="*/ 232664 w 1199136"/>
                <a:gd name="connsiteY2196" fmla="*/ 354063 h 1430015"/>
                <a:gd name="connsiteX2197" fmla="*/ 233572 w 1199136"/>
                <a:gd name="connsiteY2197" fmla="*/ 353730 h 1430015"/>
                <a:gd name="connsiteX2198" fmla="*/ 236506 w 1199136"/>
                <a:gd name="connsiteY2198" fmla="*/ 355242 h 1430015"/>
                <a:gd name="connsiteX2199" fmla="*/ 241376 w 1199136"/>
                <a:gd name="connsiteY2199" fmla="*/ 356876 h 1430015"/>
                <a:gd name="connsiteX2200" fmla="*/ 251510 w 1199136"/>
                <a:gd name="connsiteY2200" fmla="*/ 358600 h 1430015"/>
                <a:gd name="connsiteX2201" fmla="*/ 254324 w 1199136"/>
                <a:gd name="connsiteY2201" fmla="*/ 359962 h 1430015"/>
                <a:gd name="connsiteX2202" fmla="*/ 256200 w 1199136"/>
                <a:gd name="connsiteY2202" fmla="*/ 362987 h 1430015"/>
                <a:gd name="connsiteX2203" fmla="*/ 255988 w 1199136"/>
                <a:gd name="connsiteY2203" fmla="*/ 364469 h 1430015"/>
                <a:gd name="connsiteX2204" fmla="*/ 257833 w 1199136"/>
                <a:gd name="connsiteY2204" fmla="*/ 365800 h 1430015"/>
                <a:gd name="connsiteX2205" fmla="*/ 262431 w 1199136"/>
                <a:gd name="connsiteY2205" fmla="*/ 367464 h 1430015"/>
                <a:gd name="connsiteX2206" fmla="*/ 262340 w 1199136"/>
                <a:gd name="connsiteY2206" fmla="*/ 365467 h 1430015"/>
                <a:gd name="connsiteX2207" fmla="*/ 262734 w 1199136"/>
                <a:gd name="connsiteY2207" fmla="*/ 363834 h 1430015"/>
                <a:gd name="connsiteX2208" fmla="*/ 263460 w 1199136"/>
                <a:gd name="connsiteY2208" fmla="*/ 362473 h 1430015"/>
                <a:gd name="connsiteX2209" fmla="*/ 264428 w 1199136"/>
                <a:gd name="connsiteY2209" fmla="*/ 361232 h 1430015"/>
                <a:gd name="connsiteX2210" fmla="*/ 267665 w 1199136"/>
                <a:gd name="connsiteY2210" fmla="*/ 363471 h 1430015"/>
                <a:gd name="connsiteX2211" fmla="*/ 278222 w 1199136"/>
                <a:gd name="connsiteY2211" fmla="*/ 368886 h 1430015"/>
                <a:gd name="connsiteX2212" fmla="*/ 278918 w 1199136"/>
                <a:gd name="connsiteY2212" fmla="*/ 371820 h 1430015"/>
                <a:gd name="connsiteX2213" fmla="*/ 283728 w 1199136"/>
                <a:gd name="connsiteY2213" fmla="*/ 373756 h 1430015"/>
                <a:gd name="connsiteX2214" fmla="*/ 284424 w 1199136"/>
                <a:gd name="connsiteY2214" fmla="*/ 374997 h 1430015"/>
                <a:gd name="connsiteX2215" fmla="*/ 285180 w 1199136"/>
                <a:gd name="connsiteY2215" fmla="*/ 375995 h 1430015"/>
                <a:gd name="connsiteX2216" fmla="*/ 286904 w 1199136"/>
                <a:gd name="connsiteY2216" fmla="*/ 376237 h 1430015"/>
                <a:gd name="connsiteX2217" fmla="*/ 288780 w 1199136"/>
                <a:gd name="connsiteY2217" fmla="*/ 375965 h 1430015"/>
                <a:gd name="connsiteX2218" fmla="*/ 289960 w 1199136"/>
                <a:gd name="connsiteY2218" fmla="*/ 375451 h 1430015"/>
                <a:gd name="connsiteX2219" fmla="*/ 290505 w 1199136"/>
                <a:gd name="connsiteY2219" fmla="*/ 377114 h 1430015"/>
                <a:gd name="connsiteX2220" fmla="*/ 291442 w 1199136"/>
                <a:gd name="connsiteY2220" fmla="*/ 378264 h 1430015"/>
                <a:gd name="connsiteX2221" fmla="*/ 292683 w 1199136"/>
                <a:gd name="connsiteY2221" fmla="*/ 379111 h 1430015"/>
                <a:gd name="connsiteX2222" fmla="*/ 297251 w 1199136"/>
                <a:gd name="connsiteY2222" fmla="*/ 381047 h 1430015"/>
                <a:gd name="connsiteX2223" fmla="*/ 298915 w 1199136"/>
                <a:gd name="connsiteY2223" fmla="*/ 382136 h 1430015"/>
                <a:gd name="connsiteX2224" fmla="*/ 299610 w 1199136"/>
                <a:gd name="connsiteY2224" fmla="*/ 383770 h 1430015"/>
                <a:gd name="connsiteX2225" fmla="*/ 300245 w 1199136"/>
                <a:gd name="connsiteY2225" fmla="*/ 383921 h 1430015"/>
                <a:gd name="connsiteX2226" fmla="*/ 303755 w 1199136"/>
                <a:gd name="connsiteY2226" fmla="*/ 387702 h 1430015"/>
                <a:gd name="connsiteX2227" fmla="*/ 304753 w 1199136"/>
                <a:gd name="connsiteY2227" fmla="*/ 388186 h 1430015"/>
                <a:gd name="connsiteX2228" fmla="*/ 305993 w 1199136"/>
                <a:gd name="connsiteY2228" fmla="*/ 388459 h 1430015"/>
                <a:gd name="connsiteX2229" fmla="*/ 308928 w 1199136"/>
                <a:gd name="connsiteY2229" fmla="*/ 388640 h 1430015"/>
                <a:gd name="connsiteX2230" fmla="*/ 309926 w 1199136"/>
                <a:gd name="connsiteY2230" fmla="*/ 389185 h 1430015"/>
                <a:gd name="connsiteX2231" fmla="*/ 312648 w 1199136"/>
                <a:gd name="connsiteY2231" fmla="*/ 391605 h 1430015"/>
                <a:gd name="connsiteX2232" fmla="*/ 313768 w 1199136"/>
                <a:gd name="connsiteY2232" fmla="*/ 392149 h 1430015"/>
                <a:gd name="connsiteX2233" fmla="*/ 318880 w 1199136"/>
                <a:gd name="connsiteY2233" fmla="*/ 396536 h 1430015"/>
                <a:gd name="connsiteX2234" fmla="*/ 323721 w 1199136"/>
                <a:gd name="connsiteY2234" fmla="*/ 398593 h 1430015"/>
                <a:gd name="connsiteX2235" fmla="*/ 324386 w 1199136"/>
                <a:gd name="connsiteY2235" fmla="*/ 399621 h 1430015"/>
                <a:gd name="connsiteX2236" fmla="*/ 324991 w 1199136"/>
                <a:gd name="connsiteY2236" fmla="*/ 401316 h 1430015"/>
                <a:gd name="connsiteX2237" fmla="*/ 326020 w 1199136"/>
                <a:gd name="connsiteY2237" fmla="*/ 401467 h 1430015"/>
                <a:gd name="connsiteX2238" fmla="*/ 326413 w 1199136"/>
                <a:gd name="connsiteY2238" fmla="*/ 400832 h 1430015"/>
                <a:gd name="connsiteX2239" fmla="*/ 325112 w 1199136"/>
                <a:gd name="connsiteY2239" fmla="*/ 400075 h 1430015"/>
                <a:gd name="connsiteX2240" fmla="*/ 325657 w 1199136"/>
                <a:gd name="connsiteY2240" fmla="*/ 399016 h 1430015"/>
                <a:gd name="connsiteX2241" fmla="*/ 325929 w 1199136"/>
                <a:gd name="connsiteY2241" fmla="*/ 398623 h 1430015"/>
                <a:gd name="connsiteX2242" fmla="*/ 326534 w 1199136"/>
                <a:gd name="connsiteY2242" fmla="*/ 398260 h 1430015"/>
                <a:gd name="connsiteX2243" fmla="*/ 326534 w 1199136"/>
                <a:gd name="connsiteY2243" fmla="*/ 397474 h 1430015"/>
                <a:gd name="connsiteX2244" fmla="*/ 325596 w 1199136"/>
                <a:gd name="connsiteY2244" fmla="*/ 397171 h 1430015"/>
                <a:gd name="connsiteX2245" fmla="*/ 324840 w 1199136"/>
                <a:gd name="connsiteY2245" fmla="*/ 396657 h 1430015"/>
                <a:gd name="connsiteX2246" fmla="*/ 324235 w 1199136"/>
                <a:gd name="connsiteY2246" fmla="*/ 395901 h 1430015"/>
                <a:gd name="connsiteX2247" fmla="*/ 323751 w 1199136"/>
                <a:gd name="connsiteY2247" fmla="*/ 394872 h 1430015"/>
                <a:gd name="connsiteX2248" fmla="*/ 324205 w 1199136"/>
                <a:gd name="connsiteY2248" fmla="*/ 394600 h 1430015"/>
                <a:gd name="connsiteX2249" fmla="*/ 324659 w 1199136"/>
                <a:gd name="connsiteY2249" fmla="*/ 394206 h 1430015"/>
                <a:gd name="connsiteX2250" fmla="*/ 325142 w 1199136"/>
                <a:gd name="connsiteY2250" fmla="*/ 393995 h 1430015"/>
                <a:gd name="connsiteX2251" fmla="*/ 324447 w 1199136"/>
                <a:gd name="connsiteY2251" fmla="*/ 393057 h 1430015"/>
                <a:gd name="connsiteX2252" fmla="*/ 326292 w 1199136"/>
                <a:gd name="connsiteY2252" fmla="*/ 392875 h 1430015"/>
                <a:gd name="connsiteX2253" fmla="*/ 329529 w 1199136"/>
                <a:gd name="connsiteY2253" fmla="*/ 395538 h 1430015"/>
                <a:gd name="connsiteX2254" fmla="*/ 330648 w 1199136"/>
                <a:gd name="connsiteY2254" fmla="*/ 394872 h 1430015"/>
                <a:gd name="connsiteX2255" fmla="*/ 332282 w 1199136"/>
                <a:gd name="connsiteY2255" fmla="*/ 396536 h 1430015"/>
                <a:gd name="connsiteX2256" fmla="*/ 335670 w 1199136"/>
                <a:gd name="connsiteY2256" fmla="*/ 399047 h 1430015"/>
                <a:gd name="connsiteX2257" fmla="*/ 337273 w 1199136"/>
                <a:gd name="connsiteY2257" fmla="*/ 400559 h 1430015"/>
                <a:gd name="connsiteX2258" fmla="*/ 338181 w 1199136"/>
                <a:gd name="connsiteY2258" fmla="*/ 401073 h 1430015"/>
                <a:gd name="connsiteX2259" fmla="*/ 339179 w 1199136"/>
                <a:gd name="connsiteY2259" fmla="*/ 400922 h 1430015"/>
                <a:gd name="connsiteX2260" fmla="*/ 339996 w 1199136"/>
                <a:gd name="connsiteY2260" fmla="*/ 400378 h 1430015"/>
                <a:gd name="connsiteX2261" fmla="*/ 340359 w 1199136"/>
                <a:gd name="connsiteY2261" fmla="*/ 399652 h 1430015"/>
                <a:gd name="connsiteX2262" fmla="*/ 340782 w 1199136"/>
                <a:gd name="connsiteY2262" fmla="*/ 399107 h 1430015"/>
                <a:gd name="connsiteX2263" fmla="*/ 341781 w 1199136"/>
                <a:gd name="connsiteY2263" fmla="*/ 399319 h 1430015"/>
                <a:gd name="connsiteX2264" fmla="*/ 343414 w 1199136"/>
                <a:gd name="connsiteY2264" fmla="*/ 400075 h 1430015"/>
                <a:gd name="connsiteX2265" fmla="*/ 345472 w 1199136"/>
                <a:gd name="connsiteY2265" fmla="*/ 400620 h 1430015"/>
                <a:gd name="connsiteX2266" fmla="*/ 349162 w 1199136"/>
                <a:gd name="connsiteY2266" fmla="*/ 402979 h 1430015"/>
                <a:gd name="connsiteX2267" fmla="*/ 351038 w 1199136"/>
                <a:gd name="connsiteY2267" fmla="*/ 403494 h 1430015"/>
                <a:gd name="connsiteX2268" fmla="*/ 352581 w 1199136"/>
                <a:gd name="connsiteY2268" fmla="*/ 404613 h 1430015"/>
                <a:gd name="connsiteX2269" fmla="*/ 355666 w 1199136"/>
                <a:gd name="connsiteY2269" fmla="*/ 409483 h 1430015"/>
                <a:gd name="connsiteX2270" fmla="*/ 360113 w 1199136"/>
                <a:gd name="connsiteY2270" fmla="*/ 412478 h 1430015"/>
                <a:gd name="connsiteX2271" fmla="*/ 363078 w 1199136"/>
                <a:gd name="connsiteY2271" fmla="*/ 416955 h 1430015"/>
                <a:gd name="connsiteX2272" fmla="*/ 367252 w 1199136"/>
                <a:gd name="connsiteY2272" fmla="*/ 426394 h 1430015"/>
                <a:gd name="connsiteX2273" fmla="*/ 368493 w 1199136"/>
                <a:gd name="connsiteY2273" fmla="*/ 431144 h 1430015"/>
                <a:gd name="connsiteX2274" fmla="*/ 371609 w 1199136"/>
                <a:gd name="connsiteY2274" fmla="*/ 461879 h 1430015"/>
                <a:gd name="connsiteX2275" fmla="*/ 373877 w 1199136"/>
                <a:gd name="connsiteY2275" fmla="*/ 471529 h 1430015"/>
                <a:gd name="connsiteX2276" fmla="*/ 374785 w 1199136"/>
                <a:gd name="connsiteY2276" fmla="*/ 473556 h 1430015"/>
                <a:gd name="connsiteX2277" fmla="*/ 378082 w 1199136"/>
                <a:gd name="connsiteY2277" fmla="*/ 475038 h 1430015"/>
                <a:gd name="connsiteX2278" fmla="*/ 379504 w 1199136"/>
                <a:gd name="connsiteY2278" fmla="*/ 476581 h 1430015"/>
                <a:gd name="connsiteX2279" fmla="*/ 385918 w 1199136"/>
                <a:gd name="connsiteY2279" fmla="*/ 484779 h 1430015"/>
                <a:gd name="connsiteX2280" fmla="*/ 393964 w 1199136"/>
                <a:gd name="connsiteY2280" fmla="*/ 500238 h 1430015"/>
                <a:gd name="connsiteX2281" fmla="*/ 395114 w 1199136"/>
                <a:gd name="connsiteY2281" fmla="*/ 502779 h 1430015"/>
                <a:gd name="connsiteX2282" fmla="*/ 395568 w 1199136"/>
                <a:gd name="connsiteY2282" fmla="*/ 505380 h 1430015"/>
                <a:gd name="connsiteX2283" fmla="*/ 395719 w 1199136"/>
                <a:gd name="connsiteY2283" fmla="*/ 510554 h 1430015"/>
                <a:gd name="connsiteX2284" fmla="*/ 396112 w 1199136"/>
                <a:gd name="connsiteY2284" fmla="*/ 513216 h 1430015"/>
                <a:gd name="connsiteX2285" fmla="*/ 396929 w 1199136"/>
                <a:gd name="connsiteY2285" fmla="*/ 515394 h 1430015"/>
                <a:gd name="connsiteX2286" fmla="*/ 396203 w 1199136"/>
                <a:gd name="connsiteY2286" fmla="*/ 517027 h 1430015"/>
                <a:gd name="connsiteX2287" fmla="*/ 395840 w 1199136"/>
                <a:gd name="connsiteY2287" fmla="*/ 519750 h 1430015"/>
                <a:gd name="connsiteX2288" fmla="*/ 395840 w 1199136"/>
                <a:gd name="connsiteY2288" fmla="*/ 522442 h 1430015"/>
                <a:gd name="connsiteX2289" fmla="*/ 396173 w 1199136"/>
                <a:gd name="connsiteY2289" fmla="*/ 523955 h 1430015"/>
                <a:gd name="connsiteX2290" fmla="*/ 393964 w 1199136"/>
                <a:gd name="connsiteY2290" fmla="*/ 530973 h 1430015"/>
                <a:gd name="connsiteX2291" fmla="*/ 392512 w 1199136"/>
                <a:gd name="connsiteY2291" fmla="*/ 533272 h 1430015"/>
                <a:gd name="connsiteX2292" fmla="*/ 390002 w 1199136"/>
                <a:gd name="connsiteY2292" fmla="*/ 535238 h 1430015"/>
                <a:gd name="connsiteX2293" fmla="*/ 392210 w 1199136"/>
                <a:gd name="connsiteY2293" fmla="*/ 541501 h 1430015"/>
                <a:gd name="connsiteX2294" fmla="*/ 394116 w 1199136"/>
                <a:gd name="connsiteY2294" fmla="*/ 543407 h 1430015"/>
                <a:gd name="connsiteX2295" fmla="*/ 396929 w 1199136"/>
                <a:gd name="connsiteY2295" fmla="*/ 542227 h 1430015"/>
                <a:gd name="connsiteX2296" fmla="*/ 396626 w 1199136"/>
                <a:gd name="connsiteY2296" fmla="*/ 541712 h 1430015"/>
                <a:gd name="connsiteX2297" fmla="*/ 396173 w 1199136"/>
                <a:gd name="connsiteY2297" fmla="*/ 540412 h 1430015"/>
                <a:gd name="connsiteX2298" fmla="*/ 400620 w 1199136"/>
                <a:gd name="connsiteY2298" fmla="*/ 539080 h 1430015"/>
                <a:gd name="connsiteX2299" fmla="*/ 405581 w 1199136"/>
                <a:gd name="connsiteY2299" fmla="*/ 539232 h 1430015"/>
                <a:gd name="connsiteX2300" fmla="*/ 410512 w 1199136"/>
                <a:gd name="connsiteY2300" fmla="*/ 540442 h 1430015"/>
                <a:gd name="connsiteX2301" fmla="*/ 417500 w 1199136"/>
                <a:gd name="connsiteY2301" fmla="*/ 543437 h 1430015"/>
                <a:gd name="connsiteX2302" fmla="*/ 418801 w 1199136"/>
                <a:gd name="connsiteY2302" fmla="*/ 544314 h 1430015"/>
                <a:gd name="connsiteX2303" fmla="*/ 419739 w 1199136"/>
                <a:gd name="connsiteY2303" fmla="*/ 545585 h 1430015"/>
                <a:gd name="connsiteX2304" fmla="*/ 420192 w 1199136"/>
                <a:gd name="connsiteY2304" fmla="*/ 547279 h 1430015"/>
                <a:gd name="connsiteX2305" fmla="*/ 419890 w 1199136"/>
                <a:gd name="connsiteY2305" fmla="*/ 548095 h 1430015"/>
                <a:gd name="connsiteX2306" fmla="*/ 419315 w 1199136"/>
                <a:gd name="connsiteY2306" fmla="*/ 548640 h 1430015"/>
                <a:gd name="connsiteX2307" fmla="*/ 419013 w 1199136"/>
                <a:gd name="connsiteY2307" fmla="*/ 549517 h 1430015"/>
                <a:gd name="connsiteX2308" fmla="*/ 419073 w 1199136"/>
                <a:gd name="connsiteY2308" fmla="*/ 552391 h 1430015"/>
                <a:gd name="connsiteX2309" fmla="*/ 418922 w 1199136"/>
                <a:gd name="connsiteY2309" fmla="*/ 554781 h 1430015"/>
                <a:gd name="connsiteX2310" fmla="*/ 417954 w 1199136"/>
                <a:gd name="connsiteY2310" fmla="*/ 556808 h 1430015"/>
                <a:gd name="connsiteX2311" fmla="*/ 415534 w 1199136"/>
                <a:gd name="connsiteY2311" fmla="*/ 558653 h 1430015"/>
                <a:gd name="connsiteX2312" fmla="*/ 431597 w 1199136"/>
                <a:gd name="connsiteY2312" fmla="*/ 563735 h 1430015"/>
                <a:gd name="connsiteX2313" fmla="*/ 436891 w 1199136"/>
                <a:gd name="connsiteY2313" fmla="*/ 566367 h 1430015"/>
                <a:gd name="connsiteX2314" fmla="*/ 439795 w 1199136"/>
                <a:gd name="connsiteY2314" fmla="*/ 569241 h 1430015"/>
                <a:gd name="connsiteX2315" fmla="*/ 440703 w 1199136"/>
                <a:gd name="connsiteY2315" fmla="*/ 569725 h 1430015"/>
                <a:gd name="connsiteX2316" fmla="*/ 441580 w 1199136"/>
                <a:gd name="connsiteY2316" fmla="*/ 570481 h 1430015"/>
                <a:gd name="connsiteX2317" fmla="*/ 442155 w 1199136"/>
                <a:gd name="connsiteY2317" fmla="*/ 572266 h 1430015"/>
                <a:gd name="connsiteX2318" fmla="*/ 442609 w 1199136"/>
                <a:gd name="connsiteY2318" fmla="*/ 574293 h 1430015"/>
                <a:gd name="connsiteX2319" fmla="*/ 443153 w 1199136"/>
                <a:gd name="connsiteY2319" fmla="*/ 575806 h 1430015"/>
                <a:gd name="connsiteX2320" fmla="*/ 447963 w 1199136"/>
                <a:gd name="connsiteY2320" fmla="*/ 578438 h 1430015"/>
                <a:gd name="connsiteX2321" fmla="*/ 450414 w 1199136"/>
                <a:gd name="connsiteY2321" fmla="*/ 580283 h 1430015"/>
                <a:gd name="connsiteX2322" fmla="*/ 450716 w 1199136"/>
                <a:gd name="connsiteY2322" fmla="*/ 582733 h 1430015"/>
                <a:gd name="connsiteX2323" fmla="*/ 452380 w 1199136"/>
                <a:gd name="connsiteY2323" fmla="*/ 583459 h 1430015"/>
                <a:gd name="connsiteX2324" fmla="*/ 453378 w 1199136"/>
                <a:gd name="connsiteY2324" fmla="*/ 585456 h 1430015"/>
                <a:gd name="connsiteX2325" fmla="*/ 454256 w 1199136"/>
                <a:gd name="connsiteY2325" fmla="*/ 587815 h 1430015"/>
                <a:gd name="connsiteX2326" fmla="*/ 455526 w 1199136"/>
                <a:gd name="connsiteY2326" fmla="*/ 589540 h 1430015"/>
                <a:gd name="connsiteX2327" fmla="*/ 456403 w 1199136"/>
                <a:gd name="connsiteY2327" fmla="*/ 589449 h 1430015"/>
                <a:gd name="connsiteX2328" fmla="*/ 457553 w 1199136"/>
                <a:gd name="connsiteY2328" fmla="*/ 588904 h 1430015"/>
                <a:gd name="connsiteX2329" fmla="*/ 458521 w 1199136"/>
                <a:gd name="connsiteY2329" fmla="*/ 588814 h 1430015"/>
                <a:gd name="connsiteX2330" fmla="*/ 459277 w 1199136"/>
                <a:gd name="connsiteY2330" fmla="*/ 591053 h 1430015"/>
                <a:gd name="connsiteX2331" fmla="*/ 461365 w 1199136"/>
                <a:gd name="connsiteY2331" fmla="*/ 594229 h 1430015"/>
                <a:gd name="connsiteX2332" fmla="*/ 461577 w 1199136"/>
                <a:gd name="connsiteY2332" fmla="*/ 596256 h 1430015"/>
                <a:gd name="connsiteX2333" fmla="*/ 461516 w 1199136"/>
                <a:gd name="connsiteY2333" fmla="*/ 599311 h 1430015"/>
                <a:gd name="connsiteX2334" fmla="*/ 460639 w 1199136"/>
                <a:gd name="connsiteY2334" fmla="*/ 602276 h 1430015"/>
                <a:gd name="connsiteX2335" fmla="*/ 459096 w 1199136"/>
                <a:gd name="connsiteY2335" fmla="*/ 604363 h 1430015"/>
                <a:gd name="connsiteX2336" fmla="*/ 456827 w 1199136"/>
                <a:gd name="connsiteY2336" fmla="*/ 604484 h 1430015"/>
                <a:gd name="connsiteX2337" fmla="*/ 453923 w 1199136"/>
                <a:gd name="connsiteY2337" fmla="*/ 603546 h 1430015"/>
                <a:gd name="connsiteX2338" fmla="*/ 452501 w 1199136"/>
                <a:gd name="connsiteY2338" fmla="*/ 603970 h 1430015"/>
                <a:gd name="connsiteX2339" fmla="*/ 451291 w 1199136"/>
                <a:gd name="connsiteY2339" fmla="*/ 605634 h 1430015"/>
                <a:gd name="connsiteX2340" fmla="*/ 451291 w 1199136"/>
                <a:gd name="connsiteY2340" fmla="*/ 607025 h 1430015"/>
                <a:gd name="connsiteX2341" fmla="*/ 452047 w 1199136"/>
                <a:gd name="connsiteY2341" fmla="*/ 608961 h 1430015"/>
                <a:gd name="connsiteX2342" fmla="*/ 453257 w 1199136"/>
                <a:gd name="connsiteY2342" fmla="*/ 610383 h 1430015"/>
                <a:gd name="connsiteX2343" fmla="*/ 456071 w 1199136"/>
                <a:gd name="connsiteY2343" fmla="*/ 611260 h 1430015"/>
                <a:gd name="connsiteX2344" fmla="*/ 457402 w 1199136"/>
                <a:gd name="connsiteY2344" fmla="*/ 612864 h 1430015"/>
                <a:gd name="connsiteX2345" fmla="*/ 458218 w 1199136"/>
                <a:gd name="connsiteY2345" fmla="*/ 613499 h 1430015"/>
                <a:gd name="connsiteX2346" fmla="*/ 458370 w 1199136"/>
                <a:gd name="connsiteY2346" fmla="*/ 613318 h 1430015"/>
                <a:gd name="connsiteX2347" fmla="*/ 459096 w 1199136"/>
                <a:gd name="connsiteY2347" fmla="*/ 613106 h 1430015"/>
                <a:gd name="connsiteX2348" fmla="*/ 460094 w 1199136"/>
                <a:gd name="connsiteY2348" fmla="*/ 613106 h 1430015"/>
                <a:gd name="connsiteX2349" fmla="*/ 461032 w 1199136"/>
                <a:gd name="connsiteY2349" fmla="*/ 613499 h 1430015"/>
                <a:gd name="connsiteX2350" fmla="*/ 461274 w 1199136"/>
                <a:gd name="connsiteY2350" fmla="*/ 611866 h 1430015"/>
                <a:gd name="connsiteX2351" fmla="*/ 462756 w 1199136"/>
                <a:gd name="connsiteY2351" fmla="*/ 609839 h 1430015"/>
                <a:gd name="connsiteX2352" fmla="*/ 463089 w 1199136"/>
                <a:gd name="connsiteY2352" fmla="*/ 607902 h 1430015"/>
                <a:gd name="connsiteX2353" fmla="*/ 463785 w 1199136"/>
                <a:gd name="connsiteY2353" fmla="*/ 606904 h 1430015"/>
                <a:gd name="connsiteX2354" fmla="*/ 465388 w 1199136"/>
                <a:gd name="connsiteY2354" fmla="*/ 606481 h 1430015"/>
                <a:gd name="connsiteX2355" fmla="*/ 467234 w 1199136"/>
                <a:gd name="connsiteY2355" fmla="*/ 606481 h 1430015"/>
                <a:gd name="connsiteX2356" fmla="*/ 468564 w 1199136"/>
                <a:gd name="connsiteY2356" fmla="*/ 606662 h 1430015"/>
                <a:gd name="connsiteX2357" fmla="*/ 476006 w 1199136"/>
                <a:gd name="connsiteY2357" fmla="*/ 609203 h 1430015"/>
                <a:gd name="connsiteX2358" fmla="*/ 478911 w 1199136"/>
                <a:gd name="connsiteY2358" fmla="*/ 609203 h 1430015"/>
                <a:gd name="connsiteX2359" fmla="*/ 478185 w 1199136"/>
                <a:gd name="connsiteY2359" fmla="*/ 608356 h 1430015"/>
                <a:gd name="connsiteX2360" fmla="*/ 479304 w 1199136"/>
                <a:gd name="connsiteY2360" fmla="*/ 608265 h 1430015"/>
                <a:gd name="connsiteX2361" fmla="*/ 480393 w 1199136"/>
                <a:gd name="connsiteY2361" fmla="*/ 608387 h 1430015"/>
                <a:gd name="connsiteX2362" fmla="*/ 481421 w 1199136"/>
                <a:gd name="connsiteY2362" fmla="*/ 608719 h 1430015"/>
                <a:gd name="connsiteX2363" fmla="*/ 482359 w 1199136"/>
                <a:gd name="connsiteY2363" fmla="*/ 609203 h 1430015"/>
                <a:gd name="connsiteX2364" fmla="*/ 482359 w 1199136"/>
                <a:gd name="connsiteY2364" fmla="*/ 610141 h 1430015"/>
                <a:gd name="connsiteX2365" fmla="*/ 484840 w 1199136"/>
                <a:gd name="connsiteY2365" fmla="*/ 610928 h 1430015"/>
                <a:gd name="connsiteX2366" fmla="*/ 491737 w 1199136"/>
                <a:gd name="connsiteY2366" fmla="*/ 614316 h 1430015"/>
                <a:gd name="connsiteX2367" fmla="*/ 496759 w 1199136"/>
                <a:gd name="connsiteY2367" fmla="*/ 615647 h 1430015"/>
                <a:gd name="connsiteX2368" fmla="*/ 508738 w 1199136"/>
                <a:gd name="connsiteY2368" fmla="*/ 624329 h 1430015"/>
                <a:gd name="connsiteX2369" fmla="*/ 511128 w 1199136"/>
                <a:gd name="connsiteY2369" fmla="*/ 627717 h 1430015"/>
                <a:gd name="connsiteX2370" fmla="*/ 516574 w 1199136"/>
                <a:gd name="connsiteY2370" fmla="*/ 638093 h 1430015"/>
                <a:gd name="connsiteX2371" fmla="*/ 517239 w 1199136"/>
                <a:gd name="connsiteY2371" fmla="*/ 640151 h 1430015"/>
                <a:gd name="connsiteX2372" fmla="*/ 517511 w 1199136"/>
                <a:gd name="connsiteY2372" fmla="*/ 642117 h 1430015"/>
                <a:gd name="connsiteX2373" fmla="*/ 517965 w 1199136"/>
                <a:gd name="connsiteY2373" fmla="*/ 643206 h 1430015"/>
                <a:gd name="connsiteX2374" fmla="*/ 520174 w 1199136"/>
                <a:gd name="connsiteY2374" fmla="*/ 645898 h 1430015"/>
                <a:gd name="connsiteX2375" fmla="*/ 520960 w 1199136"/>
                <a:gd name="connsiteY2375" fmla="*/ 647623 h 1430015"/>
                <a:gd name="connsiteX2376" fmla="*/ 522352 w 1199136"/>
                <a:gd name="connsiteY2376" fmla="*/ 648621 h 1430015"/>
                <a:gd name="connsiteX2377" fmla="*/ 523925 w 1199136"/>
                <a:gd name="connsiteY2377" fmla="*/ 650860 h 1430015"/>
                <a:gd name="connsiteX2378" fmla="*/ 525225 w 1199136"/>
                <a:gd name="connsiteY2378" fmla="*/ 653310 h 1430015"/>
                <a:gd name="connsiteX2379" fmla="*/ 525770 w 1199136"/>
                <a:gd name="connsiteY2379" fmla="*/ 654883 h 1430015"/>
                <a:gd name="connsiteX2380" fmla="*/ 526980 w 1199136"/>
                <a:gd name="connsiteY2380" fmla="*/ 654611 h 1430015"/>
                <a:gd name="connsiteX2381" fmla="*/ 534755 w 1199136"/>
                <a:gd name="connsiteY2381" fmla="*/ 654429 h 1430015"/>
                <a:gd name="connsiteX2382" fmla="*/ 536539 w 1199136"/>
                <a:gd name="connsiteY2382" fmla="*/ 655216 h 1430015"/>
                <a:gd name="connsiteX2383" fmla="*/ 538355 w 1199136"/>
                <a:gd name="connsiteY2383" fmla="*/ 656365 h 1430015"/>
                <a:gd name="connsiteX2384" fmla="*/ 539988 w 1199136"/>
                <a:gd name="connsiteY2384" fmla="*/ 657697 h 1430015"/>
                <a:gd name="connsiteX2385" fmla="*/ 541319 w 1199136"/>
                <a:gd name="connsiteY2385" fmla="*/ 659149 h 1430015"/>
                <a:gd name="connsiteX2386" fmla="*/ 542318 w 1199136"/>
                <a:gd name="connsiteY2386" fmla="*/ 659572 h 1430015"/>
                <a:gd name="connsiteX2387" fmla="*/ 545161 w 1199136"/>
                <a:gd name="connsiteY2387" fmla="*/ 659965 h 1430015"/>
                <a:gd name="connsiteX2388" fmla="*/ 545736 w 1199136"/>
                <a:gd name="connsiteY2388" fmla="*/ 660873 h 1430015"/>
                <a:gd name="connsiteX2389" fmla="*/ 546099 w 1199136"/>
                <a:gd name="connsiteY2389" fmla="*/ 662476 h 1430015"/>
                <a:gd name="connsiteX2390" fmla="*/ 547007 w 1199136"/>
                <a:gd name="connsiteY2390" fmla="*/ 663414 h 1430015"/>
                <a:gd name="connsiteX2391" fmla="*/ 548126 w 1199136"/>
                <a:gd name="connsiteY2391" fmla="*/ 664049 h 1430015"/>
                <a:gd name="connsiteX2392" fmla="*/ 557927 w 1199136"/>
                <a:gd name="connsiteY2392" fmla="*/ 671098 h 1430015"/>
                <a:gd name="connsiteX2393" fmla="*/ 560196 w 1199136"/>
                <a:gd name="connsiteY2393" fmla="*/ 674032 h 1430015"/>
                <a:gd name="connsiteX2394" fmla="*/ 562646 w 1199136"/>
                <a:gd name="connsiteY2394" fmla="*/ 678025 h 1430015"/>
                <a:gd name="connsiteX2395" fmla="*/ 563796 w 1199136"/>
                <a:gd name="connsiteY2395" fmla="*/ 680506 h 1430015"/>
                <a:gd name="connsiteX2396" fmla="*/ 564280 w 1199136"/>
                <a:gd name="connsiteY2396" fmla="*/ 682896 h 1430015"/>
                <a:gd name="connsiteX2397" fmla="*/ 564341 w 1199136"/>
                <a:gd name="connsiteY2397" fmla="*/ 685437 h 1430015"/>
                <a:gd name="connsiteX2398" fmla="*/ 564673 w 1199136"/>
                <a:gd name="connsiteY2398" fmla="*/ 687827 h 1430015"/>
                <a:gd name="connsiteX2399" fmla="*/ 565520 w 1199136"/>
                <a:gd name="connsiteY2399" fmla="*/ 689975 h 1430015"/>
                <a:gd name="connsiteX2400" fmla="*/ 567094 w 1199136"/>
                <a:gd name="connsiteY2400" fmla="*/ 691759 h 1430015"/>
                <a:gd name="connsiteX2401" fmla="*/ 567880 w 1199136"/>
                <a:gd name="connsiteY2401" fmla="*/ 692062 h 1430015"/>
                <a:gd name="connsiteX2402" fmla="*/ 570875 w 1199136"/>
                <a:gd name="connsiteY2402" fmla="*/ 692576 h 1430015"/>
                <a:gd name="connsiteX2403" fmla="*/ 571722 w 1199136"/>
                <a:gd name="connsiteY2403" fmla="*/ 692879 h 1430015"/>
                <a:gd name="connsiteX2404" fmla="*/ 573295 w 1199136"/>
                <a:gd name="connsiteY2404" fmla="*/ 694058 h 1430015"/>
                <a:gd name="connsiteX2405" fmla="*/ 575957 w 1199136"/>
                <a:gd name="connsiteY2405" fmla="*/ 694815 h 1430015"/>
                <a:gd name="connsiteX2406" fmla="*/ 577530 w 1199136"/>
                <a:gd name="connsiteY2406" fmla="*/ 695934 h 1430015"/>
                <a:gd name="connsiteX2407" fmla="*/ 588118 w 1199136"/>
                <a:gd name="connsiteY2407" fmla="*/ 704768 h 1430015"/>
                <a:gd name="connsiteX2408" fmla="*/ 597920 w 1199136"/>
                <a:gd name="connsiteY2408" fmla="*/ 715446 h 1430015"/>
                <a:gd name="connsiteX2409" fmla="*/ 605361 w 1199136"/>
                <a:gd name="connsiteY2409" fmla="*/ 725913 h 1430015"/>
                <a:gd name="connsiteX2410" fmla="*/ 606965 w 1199136"/>
                <a:gd name="connsiteY2410" fmla="*/ 727365 h 1430015"/>
                <a:gd name="connsiteX2411" fmla="*/ 607691 w 1199136"/>
                <a:gd name="connsiteY2411" fmla="*/ 726034 h 1430015"/>
                <a:gd name="connsiteX2412" fmla="*/ 608871 w 1199136"/>
                <a:gd name="connsiteY2412" fmla="*/ 725127 h 1430015"/>
                <a:gd name="connsiteX2413" fmla="*/ 611321 w 1199136"/>
                <a:gd name="connsiteY2413" fmla="*/ 726095 h 1430015"/>
                <a:gd name="connsiteX2414" fmla="*/ 618370 w 1199136"/>
                <a:gd name="connsiteY2414" fmla="*/ 730300 h 1430015"/>
                <a:gd name="connsiteX2415" fmla="*/ 619822 w 1199136"/>
                <a:gd name="connsiteY2415" fmla="*/ 730602 h 1430015"/>
                <a:gd name="connsiteX2416" fmla="*/ 627748 w 1199136"/>
                <a:gd name="connsiteY2416" fmla="*/ 730965 h 1430015"/>
                <a:gd name="connsiteX2417" fmla="*/ 629805 w 1199136"/>
                <a:gd name="connsiteY2417" fmla="*/ 731570 h 1430015"/>
                <a:gd name="connsiteX2418" fmla="*/ 632981 w 1199136"/>
                <a:gd name="connsiteY2418" fmla="*/ 733295 h 1430015"/>
                <a:gd name="connsiteX2419" fmla="*/ 636006 w 1199136"/>
                <a:gd name="connsiteY2419" fmla="*/ 735684 h 1430015"/>
                <a:gd name="connsiteX2420" fmla="*/ 641603 w 1199136"/>
                <a:gd name="connsiteY2420" fmla="*/ 741674 h 1430015"/>
                <a:gd name="connsiteX2421" fmla="*/ 642934 w 1199136"/>
                <a:gd name="connsiteY2421" fmla="*/ 743550 h 1430015"/>
                <a:gd name="connsiteX2422" fmla="*/ 644870 w 1199136"/>
                <a:gd name="connsiteY2422" fmla="*/ 747120 h 1430015"/>
                <a:gd name="connsiteX2423" fmla="*/ 646050 w 1199136"/>
                <a:gd name="connsiteY2423" fmla="*/ 748723 h 1430015"/>
                <a:gd name="connsiteX2424" fmla="*/ 647018 w 1199136"/>
                <a:gd name="connsiteY2424" fmla="*/ 750780 h 1430015"/>
                <a:gd name="connsiteX2425" fmla="*/ 647350 w 1199136"/>
                <a:gd name="connsiteY2425" fmla="*/ 752807 h 1430015"/>
                <a:gd name="connsiteX2426" fmla="*/ 648137 w 1199136"/>
                <a:gd name="connsiteY2426" fmla="*/ 754380 h 1430015"/>
                <a:gd name="connsiteX2427" fmla="*/ 650527 w 1199136"/>
                <a:gd name="connsiteY2427" fmla="*/ 755106 h 1430015"/>
                <a:gd name="connsiteX2428" fmla="*/ 652766 w 1199136"/>
                <a:gd name="connsiteY2428" fmla="*/ 754501 h 1430015"/>
                <a:gd name="connsiteX2429" fmla="*/ 655186 w 1199136"/>
                <a:gd name="connsiteY2429" fmla="*/ 751536 h 1430015"/>
                <a:gd name="connsiteX2430" fmla="*/ 658876 w 1199136"/>
                <a:gd name="connsiteY2430" fmla="*/ 750387 h 1430015"/>
                <a:gd name="connsiteX2431" fmla="*/ 662476 w 1199136"/>
                <a:gd name="connsiteY2431" fmla="*/ 748178 h 1430015"/>
                <a:gd name="connsiteX2432" fmla="*/ 664261 w 1199136"/>
                <a:gd name="connsiteY2432" fmla="*/ 747483 h 1430015"/>
                <a:gd name="connsiteX2433" fmla="*/ 672429 w 1199136"/>
                <a:gd name="connsiteY2433" fmla="*/ 746000 h 1430015"/>
                <a:gd name="connsiteX2434" fmla="*/ 676301 w 1199136"/>
                <a:gd name="connsiteY2434" fmla="*/ 746091 h 1430015"/>
                <a:gd name="connsiteX2435" fmla="*/ 691971 w 1199136"/>
                <a:gd name="connsiteY2435" fmla="*/ 752928 h 1430015"/>
                <a:gd name="connsiteX2436" fmla="*/ 693938 w 1199136"/>
                <a:gd name="connsiteY2436" fmla="*/ 755076 h 1430015"/>
                <a:gd name="connsiteX2437" fmla="*/ 694664 w 1199136"/>
                <a:gd name="connsiteY2437" fmla="*/ 755076 h 1430015"/>
                <a:gd name="connsiteX2438" fmla="*/ 695390 w 1199136"/>
                <a:gd name="connsiteY2438" fmla="*/ 754108 h 1430015"/>
                <a:gd name="connsiteX2439" fmla="*/ 695904 w 1199136"/>
                <a:gd name="connsiteY2439" fmla="*/ 754652 h 1430015"/>
                <a:gd name="connsiteX2440" fmla="*/ 696479 w 1199136"/>
                <a:gd name="connsiteY2440" fmla="*/ 755862 h 1430015"/>
                <a:gd name="connsiteX2441" fmla="*/ 697417 w 1199136"/>
                <a:gd name="connsiteY2441" fmla="*/ 756770 h 1430015"/>
                <a:gd name="connsiteX2442" fmla="*/ 698385 w 1199136"/>
                <a:gd name="connsiteY2442" fmla="*/ 756951 h 1430015"/>
                <a:gd name="connsiteX2443" fmla="*/ 701561 w 1199136"/>
                <a:gd name="connsiteY2443" fmla="*/ 756770 h 1430015"/>
                <a:gd name="connsiteX2444" fmla="*/ 700381 w 1199136"/>
                <a:gd name="connsiteY2444" fmla="*/ 753109 h 1430015"/>
                <a:gd name="connsiteX2445" fmla="*/ 703497 w 1199136"/>
                <a:gd name="connsiteY2445" fmla="*/ 751264 h 1430015"/>
                <a:gd name="connsiteX2446" fmla="*/ 709759 w 1199136"/>
                <a:gd name="connsiteY2446" fmla="*/ 750477 h 1430015"/>
                <a:gd name="connsiteX2447" fmla="*/ 710455 w 1199136"/>
                <a:gd name="connsiteY2447" fmla="*/ 751566 h 1430015"/>
                <a:gd name="connsiteX2448" fmla="*/ 711998 w 1199136"/>
                <a:gd name="connsiteY2448" fmla="*/ 751566 h 1430015"/>
                <a:gd name="connsiteX2449" fmla="*/ 714993 w 1199136"/>
                <a:gd name="connsiteY2449" fmla="*/ 750871 h 1430015"/>
                <a:gd name="connsiteX2450" fmla="*/ 716354 w 1199136"/>
                <a:gd name="connsiteY2450" fmla="*/ 751355 h 1430015"/>
                <a:gd name="connsiteX2451" fmla="*/ 723252 w 1199136"/>
                <a:gd name="connsiteY2451" fmla="*/ 757072 h 1430015"/>
                <a:gd name="connsiteX2452" fmla="*/ 729423 w 1199136"/>
                <a:gd name="connsiteY2452" fmla="*/ 764242 h 1430015"/>
                <a:gd name="connsiteX2453" fmla="*/ 732690 w 1199136"/>
                <a:gd name="connsiteY2453" fmla="*/ 769445 h 1430015"/>
                <a:gd name="connsiteX2454" fmla="*/ 735352 w 1199136"/>
                <a:gd name="connsiteY2454" fmla="*/ 774346 h 1430015"/>
                <a:gd name="connsiteX2455" fmla="*/ 735564 w 1199136"/>
                <a:gd name="connsiteY2455" fmla="*/ 775586 h 1430015"/>
                <a:gd name="connsiteX2456" fmla="*/ 735745 w 1199136"/>
                <a:gd name="connsiteY2456" fmla="*/ 778188 h 1430015"/>
                <a:gd name="connsiteX2457" fmla="*/ 736078 w 1199136"/>
                <a:gd name="connsiteY2457" fmla="*/ 779337 h 1430015"/>
                <a:gd name="connsiteX2458" fmla="*/ 737288 w 1199136"/>
                <a:gd name="connsiteY2458" fmla="*/ 780517 h 1430015"/>
                <a:gd name="connsiteX2459" fmla="*/ 740827 w 1199136"/>
                <a:gd name="connsiteY2459" fmla="*/ 782665 h 1430015"/>
                <a:gd name="connsiteX2460" fmla="*/ 746454 w 1199136"/>
                <a:gd name="connsiteY2460" fmla="*/ 791771 h 1430015"/>
                <a:gd name="connsiteX2461" fmla="*/ 748784 w 1199136"/>
                <a:gd name="connsiteY2461" fmla="*/ 797579 h 1430015"/>
                <a:gd name="connsiteX2462" fmla="*/ 749570 w 1199136"/>
                <a:gd name="connsiteY2462" fmla="*/ 802026 h 1430015"/>
                <a:gd name="connsiteX2463" fmla="*/ 748451 w 1199136"/>
                <a:gd name="connsiteY2463" fmla="*/ 807048 h 1430015"/>
                <a:gd name="connsiteX2464" fmla="*/ 749116 w 1199136"/>
                <a:gd name="connsiteY2464" fmla="*/ 807895 h 1430015"/>
                <a:gd name="connsiteX2465" fmla="*/ 751900 w 1199136"/>
                <a:gd name="connsiteY2465" fmla="*/ 808288 h 1430015"/>
                <a:gd name="connsiteX2466" fmla="*/ 752626 w 1199136"/>
                <a:gd name="connsiteY2466" fmla="*/ 808621 h 1430015"/>
                <a:gd name="connsiteX2467" fmla="*/ 752504 w 1199136"/>
                <a:gd name="connsiteY2467" fmla="*/ 806987 h 1430015"/>
                <a:gd name="connsiteX2468" fmla="*/ 752111 w 1199136"/>
                <a:gd name="connsiteY2468" fmla="*/ 805354 h 1430015"/>
                <a:gd name="connsiteX2469" fmla="*/ 751990 w 1199136"/>
                <a:gd name="connsiteY2469" fmla="*/ 803902 h 1430015"/>
                <a:gd name="connsiteX2470" fmla="*/ 752626 w 1199136"/>
                <a:gd name="connsiteY2470" fmla="*/ 802782 h 1430015"/>
                <a:gd name="connsiteX2471" fmla="*/ 753987 w 1199136"/>
                <a:gd name="connsiteY2471" fmla="*/ 802480 h 1430015"/>
                <a:gd name="connsiteX2472" fmla="*/ 755560 w 1199136"/>
                <a:gd name="connsiteY2472" fmla="*/ 802994 h 1430015"/>
                <a:gd name="connsiteX2473" fmla="*/ 757950 w 1199136"/>
                <a:gd name="connsiteY2473" fmla="*/ 804325 h 1430015"/>
                <a:gd name="connsiteX2474" fmla="*/ 761005 w 1199136"/>
                <a:gd name="connsiteY2474" fmla="*/ 804658 h 1430015"/>
                <a:gd name="connsiteX2475" fmla="*/ 762669 w 1199136"/>
                <a:gd name="connsiteY2475" fmla="*/ 806473 h 1430015"/>
                <a:gd name="connsiteX2476" fmla="*/ 764817 w 1199136"/>
                <a:gd name="connsiteY2476" fmla="*/ 806412 h 1430015"/>
                <a:gd name="connsiteX2477" fmla="*/ 765755 w 1199136"/>
                <a:gd name="connsiteY2477" fmla="*/ 804053 h 1430015"/>
                <a:gd name="connsiteX2478" fmla="*/ 766844 w 1199136"/>
                <a:gd name="connsiteY2478" fmla="*/ 802752 h 1430015"/>
                <a:gd name="connsiteX2479" fmla="*/ 769324 w 1199136"/>
                <a:gd name="connsiteY2479" fmla="*/ 801996 h 1430015"/>
                <a:gd name="connsiteX2480" fmla="*/ 772077 w 1199136"/>
                <a:gd name="connsiteY2480" fmla="*/ 801724 h 1430015"/>
                <a:gd name="connsiteX2481" fmla="*/ 773923 w 1199136"/>
                <a:gd name="connsiteY2481" fmla="*/ 801875 h 1430015"/>
                <a:gd name="connsiteX2482" fmla="*/ 775738 w 1199136"/>
                <a:gd name="connsiteY2482" fmla="*/ 803176 h 1430015"/>
                <a:gd name="connsiteX2483" fmla="*/ 779398 w 1199136"/>
                <a:gd name="connsiteY2483" fmla="*/ 806987 h 1430015"/>
                <a:gd name="connsiteX2484" fmla="*/ 781183 w 1199136"/>
                <a:gd name="connsiteY2484" fmla="*/ 809014 h 1430015"/>
                <a:gd name="connsiteX2485" fmla="*/ 782816 w 1199136"/>
                <a:gd name="connsiteY2485" fmla="*/ 809952 h 1430015"/>
                <a:gd name="connsiteX2486" fmla="*/ 783996 w 1199136"/>
                <a:gd name="connsiteY2486" fmla="*/ 811252 h 1430015"/>
                <a:gd name="connsiteX2487" fmla="*/ 785116 w 1199136"/>
                <a:gd name="connsiteY2487" fmla="*/ 811827 h 1430015"/>
                <a:gd name="connsiteX2488" fmla="*/ 786689 w 1199136"/>
                <a:gd name="connsiteY2488" fmla="*/ 812553 h 1430015"/>
                <a:gd name="connsiteX2489" fmla="*/ 788836 w 1199136"/>
                <a:gd name="connsiteY2489" fmla="*/ 812039 h 1430015"/>
                <a:gd name="connsiteX2490" fmla="*/ 790651 w 1199136"/>
                <a:gd name="connsiteY2490" fmla="*/ 813370 h 1430015"/>
                <a:gd name="connsiteX2491" fmla="*/ 792013 w 1199136"/>
                <a:gd name="connsiteY2491" fmla="*/ 815155 h 1430015"/>
                <a:gd name="connsiteX2492" fmla="*/ 792588 w 1199136"/>
                <a:gd name="connsiteY2492" fmla="*/ 817363 h 1430015"/>
                <a:gd name="connsiteX2493" fmla="*/ 792255 w 1199136"/>
                <a:gd name="connsiteY2493" fmla="*/ 819360 h 1430015"/>
                <a:gd name="connsiteX2494" fmla="*/ 789018 w 1199136"/>
                <a:gd name="connsiteY2494" fmla="*/ 820479 h 1430015"/>
                <a:gd name="connsiteX2495" fmla="*/ 785055 w 1199136"/>
                <a:gd name="connsiteY2495" fmla="*/ 824109 h 1430015"/>
                <a:gd name="connsiteX2496" fmla="*/ 784390 w 1199136"/>
                <a:gd name="connsiteY2496" fmla="*/ 825592 h 1430015"/>
                <a:gd name="connsiteX2497" fmla="*/ 783301 w 1199136"/>
                <a:gd name="connsiteY2497" fmla="*/ 826439 h 1430015"/>
                <a:gd name="connsiteX2498" fmla="*/ 782514 w 1199136"/>
                <a:gd name="connsiteY2498" fmla="*/ 826802 h 1430015"/>
                <a:gd name="connsiteX2499" fmla="*/ 780517 w 1199136"/>
                <a:gd name="connsiteY2499" fmla="*/ 826953 h 1430015"/>
                <a:gd name="connsiteX2500" fmla="*/ 778309 w 1199136"/>
                <a:gd name="connsiteY2500" fmla="*/ 827951 h 1430015"/>
                <a:gd name="connsiteX2501" fmla="*/ 777341 w 1199136"/>
                <a:gd name="connsiteY2501" fmla="*/ 830250 h 1430015"/>
                <a:gd name="connsiteX2502" fmla="*/ 777522 w 1199136"/>
                <a:gd name="connsiteY2502" fmla="*/ 832791 h 1430015"/>
                <a:gd name="connsiteX2503" fmla="*/ 778823 w 1199136"/>
                <a:gd name="connsiteY2503" fmla="*/ 834486 h 1430015"/>
                <a:gd name="connsiteX2504" fmla="*/ 780154 w 1199136"/>
                <a:gd name="connsiteY2504" fmla="*/ 832882 h 1430015"/>
                <a:gd name="connsiteX2505" fmla="*/ 784753 w 1199136"/>
                <a:gd name="connsiteY2505" fmla="*/ 830644 h 1430015"/>
                <a:gd name="connsiteX2506" fmla="*/ 786809 w 1199136"/>
                <a:gd name="connsiteY2506" fmla="*/ 829010 h 1430015"/>
                <a:gd name="connsiteX2507" fmla="*/ 791771 w 1199136"/>
                <a:gd name="connsiteY2507" fmla="*/ 827921 h 1430015"/>
                <a:gd name="connsiteX2508" fmla="*/ 793314 w 1199136"/>
                <a:gd name="connsiteY2508" fmla="*/ 826953 h 1430015"/>
                <a:gd name="connsiteX2509" fmla="*/ 796308 w 1199136"/>
                <a:gd name="connsiteY2509" fmla="*/ 828496 h 1430015"/>
                <a:gd name="connsiteX2510" fmla="*/ 799092 w 1199136"/>
                <a:gd name="connsiteY2510" fmla="*/ 829252 h 1430015"/>
                <a:gd name="connsiteX2511" fmla="*/ 801814 w 1199136"/>
                <a:gd name="connsiteY2511" fmla="*/ 828738 h 1430015"/>
                <a:gd name="connsiteX2512" fmla="*/ 806050 w 1199136"/>
                <a:gd name="connsiteY2512" fmla="*/ 825319 h 1430015"/>
                <a:gd name="connsiteX2513" fmla="*/ 807290 w 1199136"/>
                <a:gd name="connsiteY2513" fmla="*/ 824926 h 1430015"/>
                <a:gd name="connsiteX2514" fmla="*/ 812553 w 1199136"/>
                <a:gd name="connsiteY2514" fmla="*/ 825229 h 1430015"/>
                <a:gd name="connsiteX2515" fmla="*/ 813794 w 1199136"/>
                <a:gd name="connsiteY2515" fmla="*/ 824926 h 1430015"/>
                <a:gd name="connsiteX2516" fmla="*/ 816758 w 1199136"/>
                <a:gd name="connsiteY2516" fmla="*/ 822778 h 1430015"/>
                <a:gd name="connsiteX2517" fmla="*/ 819996 w 1199136"/>
                <a:gd name="connsiteY2517" fmla="*/ 821568 h 1430015"/>
                <a:gd name="connsiteX2518" fmla="*/ 823021 w 1199136"/>
                <a:gd name="connsiteY2518" fmla="*/ 822385 h 1430015"/>
                <a:gd name="connsiteX2519" fmla="*/ 825804 w 1199136"/>
                <a:gd name="connsiteY2519" fmla="*/ 824442 h 1430015"/>
                <a:gd name="connsiteX2520" fmla="*/ 828375 w 1199136"/>
                <a:gd name="connsiteY2520" fmla="*/ 826923 h 1430015"/>
                <a:gd name="connsiteX2521" fmla="*/ 831007 w 1199136"/>
                <a:gd name="connsiteY2521" fmla="*/ 830039 h 1430015"/>
                <a:gd name="connsiteX2522" fmla="*/ 833760 w 1199136"/>
                <a:gd name="connsiteY2522" fmla="*/ 834183 h 1430015"/>
                <a:gd name="connsiteX2523" fmla="*/ 842533 w 1199136"/>
                <a:gd name="connsiteY2523" fmla="*/ 851366 h 1430015"/>
                <a:gd name="connsiteX2524" fmla="*/ 844771 w 1199136"/>
                <a:gd name="connsiteY2524" fmla="*/ 855480 h 1430015"/>
                <a:gd name="connsiteX2525" fmla="*/ 845014 w 1199136"/>
                <a:gd name="connsiteY2525" fmla="*/ 858959 h 1430015"/>
                <a:gd name="connsiteX2526" fmla="*/ 844408 w 1199136"/>
                <a:gd name="connsiteY2526" fmla="*/ 860230 h 1430015"/>
                <a:gd name="connsiteX2527" fmla="*/ 842230 w 1199136"/>
                <a:gd name="connsiteY2527" fmla="*/ 861016 h 1430015"/>
                <a:gd name="connsiteX2528" fmla="*/ 841353 w 1199136"/>
                <a:gd name="connsiteY2528" fmla="*/ 861833 h 1430015"/>
                <a:gd name="connsiteX2529" fmla="*/ 840294 w 1199136"/>
                <a:gd name="connsiteY2529" fmla="*/ 862468 h 1430015"/>
                <a:gd name="connsiteX2530" fmla="*/ 839084 w 1199136"/>
                <a:gd name="connsiteY2530" fmla="*/ 862710 h 1430015"/>
                <a:gd name="connsiteX2531" fmla="*/ 838116 w 1199136"/>
                <a:gd name="connsiteY2531" fmla="*/ 863194 h 1430015"/>
                <a:gd name="connsiteX2532" fmla="*/ 838116 w 1199136"/>
                <a:gd name="connsiteY2532" fmla="*/ 864344 h 1430015"/>
                <a:gd name="connsiteX2533" fmla="*/ 838812 w 1199136"/>
                <a:gd name="connsiteY2533" fmla="*/ 866431 h 1430015"/>
                <a:gd name="connsiteX2534" fmla="*/ 838086 w 1199136"/>
                <a:gd name="connsiteY2534" fmla="*/ 869033 h 1430015"/>
                <a:gd name="connsiteX2535" fmla="*/ 835575 w 1199136"/>
                <a:gd name="connsiteY2535" fmla="*/ 872300 h 1430015"/>
                <a:gd name="connsiteX2536" fmla="*/ 835998 w 1199136"/>
                <a:gd name="connsiteY2536" fmla="*/ 874357 h 1430015"/>
                <a:gd name="connsiteX2537" fmla="*/ 837088 w 1199136"/>
                <a:gd name="connsiteY2537" fmla="*/ 874811 h 1430015"/>
                <a:gd name="connsiteX2538" fmla="*/ 838721 w 1199136"/>
                <a:gd name="connsiteY2538" fmla="*/ 876021 h 1430015"/>
                <a:gd name="connsiteX2539" fmla="*/ 840627 w 1199136"/>
                <a:gd name="connsiteY2539" fmla="*/ 875567 h 1430015"/>
                <a:gd name="connsiteX2540" fmla="*/ 841565 w 1199136"/>
                <a:gd name="connsiteY2540" fmla="*/ 876414 h 1430015"/>
                <a:gd name="connsiteX2541" fmla="*/ 842533 w 1199136"/>
                <a:gd name="connsiteY2541" fmla="*/ 877049 h 1430015"/>
                <a:gd name="connsiteX2542" fmla="*/ 845255 w 1199136"/>
                <a:gd name="connsiteY2542" fmla="*/ 878139 h 1430015"/>
                <a:gd name="connsiteX2543" fmla="*/ 847252 w 1199136"/>
                <a:gd name="connsiteY2543" fmla="*/ 879893 h 1430015"/>
                <a:gd name="connsiteX2544" fmla="*/ 848462 w 1199136"/>
                <a:gd name="connsiteY2544" fmla="*/ 882343 h 1430015"/>
                <a:gd name="connsiteX2545" fmla="*/ 849702 w 1199136"/>
                <a:gd name="connsiteY2545" fmla="*/ 883100 h 1430015"/>
                <a:gd name="connsiteX2546" fmla="*/ 851578 w 1199136"/>
                <a:gd name="connsiteY2546" fmla="*/ 883372 h 1430015"/>
                <a:gd name="connsiteX2547" fmla="*/ 854603 w 1199136"/>
                <a:gd name="connsiteY2547" fmla="*/ 882586 h 1430015"/>
                <a:gd name="connsiteX2548" fmla="*/ 856297 w 1199136"/>
                <a:gd name="connsiteY2548" fmla="*/ 882374 h 1430015"/>
                <a:gd name="connsiteX2549" fmla="*/ 857749 w 1199136"/>
                <a:gd name="connsiteY2549" fmla="*/ 883009 h 1430015"/>
                <a:gd name="connsiteX2550" fmla="*/ 864072 w 1199136"/>
                <a:gd name="connsiteY2550" fmla="*/ 889120 h 1430015"/>
                <a:gd name="connsiteX2551" fmla="*/ 866038 w 1199136"/>
                <a:gd name="connsiteY2551" fmla="*/ 889997 h 1430015"/>
                <a:gd name="connsiteX2552" fmla="*/ 868488 w 1199136"/>
                <a:gd name="connsiteY2552" fmla="*/ 891419 h 1430015"/>
                <a:gd name="connsiteX2553" fmla="*/ 871453 w 1199136"/>
                <a:gd name="connsiteY2553" fmla="*/ 894595 h 1430015"/>
                <a:gd name="connsiteX2554" fmla="*/ 873056 w 1199136"/>
                <a:gd name="connsiteY2554" fmla="*/ 897742 h 1430015"/>
                <a:gd name="connsiteX2555" fmla="*/ 871241 w 1199136"/>
                <a:gd name="connsiteY2555" fmla="*/ 899133 h 1430015"/>
                <a:gd name="connsiteX2556" fmla="*/ 871241 w 1199136"/>
                <a:gd name="connsiteY2556" fmla="*/ 899950 h 1430015"/>
                <a:gd name="connsiteX2557" fmla="*/ 872361 w 1199136"/>
                <a:gd name="connsiteY2557" fmla="*/ 900041 h 1430015"/>
                <a:gd name="connsiteX2558" fmla="*/ 873450 w 1199136"/>
                <a:gd name="connsiteY2558" fmla="*/ 899889 h 1430015"/>
                <a:gd name="connsiteX2559" fmla="*/ 874478 w 1199136"/>
                <a:gd name="connsiteY2559" fmla="*/ 899587 h 1430015"/>
                <a:gd name="connsiteX2560" fmla="*/ 875416 w 1199136"/>
                <a:gd name="connsiteY2560" fmla="*/ 899133 h 1430015"/>
                <a:gd name="connsiteX2561" fmla="*/ 876596 w 1199136"/>
                <a:gd name="connsiteY2561" fmla="*/ 899405 h 1430015"/>
                <a:gd name="connsiteX2562" fmla="*/ 879500 w 1199136"/>
                <a:gd name="connsiteY2562" fmla="*/ 902975 h 1430015"/>
                <a:gd name="connsiteX2563" fmla="*/ 881285 w 1199136"/>
                <a:gd name="connsiteY2563" fmla="*/ 903610 h 1430015"/>
                <a:gd name="connsiteX2564" fmla="*/ 886246 w 1199136"/>
                <a:gd name="connsiteY2564" fmla="*/ 904215 h 1430015"/>
                <a:gd name="connsiteX2565" fmla="*/ 888212 w 1199136"/>
                <a:gd name="connsiteY2565" fmla="*/ 903519 h 1430015"/>
                <a:gd name="connsiteX2566" fmla="*/ 891268 w 1199136"/>
                <a:gd name="connsiteY2566" fmla="*/ 899950 h 1430015"/>
                <a:gd name="connsiteX2567" fmla="*/ 894838 w 1199136"/>
                <a:gd name="connsiteY2567" fmla="*/ 897862 h 1430015"/>
                <a:gd name="connsiteX2568" fmla="*/ 896622 w 1199136"/>
                <a:gd name="connsiteY2568" fmla="*/ 895321 h 1430015"/>
                <a:gd name="connsiteX2569" fmla="*/ 898800 w 1199136"/>
                <a:gd name="connsiteY2569" fmla="*/ 894111 h 1430015"/>
                <a:gd name="connsiteX2570" fmla="*/ 906363 w 1199136"/>
                <a:gd name="connsiteY2570" fmla="*/ 894656 h 1430015"/>
                <a:gd name="connsiteX2571" fmla="*/ 907785 w 1199136"/>
                <a:gd name="connsiteY2571" fmla="*/ 894111 h 1430015"/>
                <a:gd name="connsiteX2572" fmla="*/ 907785 w 1199136"/>
                <a:gd name="connsiteY2572" fmla="*/ 895654 h 1430015"/>
                <a:gd name="connsiteX2573" fmla="*/ 908390 w 1199136"/>
                <a:gd name="connsiteY2573" fmla="*/ 896531 h 1430015"/>
                <a:gd name="connsiteX2574" fmla="*/ 910538 w 1199136"/>
                <a:gd name="connsiteY2574" fmla="*/ 898195 h 1430015"/>
                <a:gd name="connsiteX2575" fmla="*/ 913291 w 1199136"/>
                <a:gd name="connsiteY2575" fmla="*/ 902400 h 1430015"/>
                <a:gd name="connsiteX2576" fmla="*/ 916740 w 1199136"/>
                <a:gd name="connsiteY2576" fmla="*/ 905758 h 1430015"/>
                <a:gd name="connsiteX2577" fmla="*/ 918252 w 1199136"/>
                <a:gd name="connsiteY2577" fmla="*/ 907785 h 1430015"/>
                <a:gd name="connsiteX2578" fmla="*/ 918857 w 1199136"/>
                <a:gd name="connsiteY2578" fmla="*/ 910235 h 1430015"/>
                <a:gd name="connsiteX2579" fmla="*/ 919613 w 1199136"/>
                <a:gd name="connsiteY2579" fmla="*/ 911929 h 1430015"/>
                <a:gd name="connsiteX2580" fmla="*/ 922911 w 1199136"/>
                <a:gd name="connsiteY2580" fmla="*/ 916558 h 1430015"/>
                <a:gd name="connsiteX2581" fmla="*/ 923667 w 1199136"/>
                <a:gd name="connsiteY2581" fmla="*/ 919250 h 1430015"/>
                <a:gd name="connsiteX2582" fmla="*/ 922457 w 1199136"/>
                <a:gd name="connsiteY2582" fmla="*/ 923879 h 1430015"/>
                <a:gd name="connsiteX2583" fmla="*/ 922608 w 1199136"/>
                <a:gd name="connsiteY2583" fmla="*/ 924544 h 1430015"/>
                <a:gd name="connsiteX2584" fmla="*/ 923364 w 1199136"/>
                <a:gd name="connsiteY2584" fmla="*/ 925058 h 1430015"/>
                <a:gd name="connsiteX2585" fmla="*/ 923879 w 1199136"/>
                <a:gd name="connsiteY2585" fmla="*/ 926299 h 1430015"/>
                <a:gd name="connsiteX2586" fmla="*/ 924363 w 1199136"/>
                <a:gd name="connsiteY2586" fmla="*/ 928658 h 1430015"/>
                <a:gd name="connsiteX2587" fmla="*/ 924363 w 1199136"/>
                <a:gd name="connsiteY2587" fmla="*/ 927902 h 1430015"/>
                <a:gd name="connsiteX2588" fmla="*/ 926148 w 1199136"/>
                <a:gd name="connsiteY2588" fmla="*/ 940033 h 1430015"/>
                <a:gd name="connsiteX2589" fmla="*/ 927086 w 1199136"/>
                <a:gd name="connsiteY2589" fmla="*/ 942030 h 1430015"/>
                <a:gd name="connsiteX2590" fmla="*/ 929173 w 1199136"/>
                <a:gd name="connsiteY2590" fmla="*/ 945176 h 1430015"/>
                <a:gd name="connsiteX2591" fmla="*/ 930564 w 1199136"/>
                <a:gd name="connsiteY2591" fmla="*/ 949713 h 1430015"/>
                <a:gd name="connsiteX2592" fmla="*/ 931502 w 1199136"/>
                <a:gd name="connsiteY2592" fmla="*/ 952829 h 1430015"/>
                <a:gd name="connsiteX2593" fmla="*/ 932289 w 1199136"/>
                <a:gd name="connsiteY2593" fmla="*/ 955794 h 1430015"/>
                <a:gd name="connsiteX2594" fmla="*/ 933166 w 1199136"/>
                <a:gd name="connsiteY2594" fmla="*/ 957276 h 1430015"/>
                <a:gd name="connsiteX2595" fmla="*/ 936040 w 1199136"/>
                <a:gd name="connsiteY2595" fmla="*/ 959122 h 1430015"/>
                <a:gd name="connsiteX2596" fmla="*/ 938883 w 1199136"/>
                <a:gd name="connsiteY2596" fmla="*/ 961784 h 1430015"/>
                <a:gd name="connsiteX2597" fmla="*/ 941395 w 1199136"/>
                <a:gd name="connsiteY2597" fmla="*/ 966110 h 1430015"/>
                <a:gd name="connsiteX2598" fmla="*/ 945146 w 1199136"/>
                <a:gd name="connsiteY2598" fmla="*/ 970738 h 1430015"/>
                <a:gd name="connsiteX2599" fmla="*/ 949018 w 1199136"/>
                <a:gd name="connsiteY2599" fmla="*/ 981901 h 1430015"/>
                <a:gd name="connsiteX2600" fmla="*/ 949834 w 1199136"/>
                <a:gd name="connsiteY2600" fmla="*/ 986045 h 1430015"/>
                <a:gd name="connsiteX2601" fmla="*/ 953949 w 1199136"/>
                <a:gd name="connsiteY2601" fmla="*/ 1014058 h 1430015"/>
                <a:gd name="connsiteX2602" fmla="*/ 959636 w 1199136"/>
                <a:gd name="connsiteY2602" fmla="*/ 1026098 h 1430015"/>
                <a:gd name="connsiteX2603" fmla="*/ 961119 w 1199136"/>
                <a:gd name="connsiteY2603" fmla="*/ 1028307 h 1430015"/>
                <a:gd name="connsiteX2604" fmla="*/ 962601 w 1199136"/>
                <a:gd name="connsiteY2604" fmla="*/ 1029305 h 1430015"/>
                <a:gd name="connsiteX2605" fmla="*/ 964658 w 1199136"/>
                <a:gd name="connsiteY2605" fmla="*/ 1029698 h 1430015"/>
                <a:gd name="connsiteX2606" fmla="*/ 966170 w 1199136"/>
                <a:gd name="connsiteY2606" fmla="*/ 1030818 h 1430015"/>
                <a:gd name="connsiteX2607" fmla="*/ 967169 w 1199136"/>
                <a:gd name="connsiteY2607" fmla="*/ 1032602 h 1430015"/>
                <a:gd name="connsiteX2608" fmla="*/ 967713 w 1199136"/>
                <a:gd name="connsiteY2608" fmla="*/ 1034962 h 1430015"/>
                <a:gd name="connsiteX2609" fmla="*/ 967895 w 1199136"/>
                <a:gd name="connsiteY2609" fmla="*/ 1039984 h 1430015"/>
                <a:gd name="connsiteX2610" fmla="*/ 967229 w 1199136"/>
                <a:gd name="connsiteY2610" fmla="*/ 1045005 h 1430015"/>
                <a:gd name="connsiteX2611" fmla="*/ 965807 w 1199136"/>
                <a:gd name="connsiteY2611" fmla="*/ 1049453 h 1430015"/>
                <a:gd name="connsiteX2612" fmla="*/ 963599 w 1199136"/>
                <a:gd name="connsiteY2612" fmla="*/ 1052811 h 1430015"/>
                <a:gd name="connsiteX2613" fmla="*/ 960937 w 1199136"/>
                <a:gd name="connsiteY2613" fmla="*/ 1054867 h 1430015"/>
                <a:gd name="connsiteX2614" fmla="*/ 959273 w 1199136"/>
                <a:gd name="connsiteY2614" fmla="*/ 1055684 h 1430015"/>
                <a:gd name="connsiteX2615" fmla="*/ 957730 w 1199136"/>
                <a:gd name="connsiteY2615" fmla="*/ 1056017 h 1430015"/>
                <a:gd name="connsiteX2616" fmla="*/ 950470 w 1199136"/>
                <a:gd name="connsiteY2616" fmla="*/ 1055230 h 1430015"/>
                <a:gd name="connsiteX2617" fmla="*/ 945811 w 1199136"/>
                <a:gd name="connsiteY2617" fmla="*/ 1055503 h 1430015"/>
                <a:gd name="connsiteX2618" fmla="*/ 942332 w 1199136"/>
                <a:gd name="connsiteY2618" fmla="*/ 1057016 h 1430015"/>
                <a:gd name="connsiteX2619" fmla="*/ 935979 w 1199136"/>
                <a:gd name="connsiteY2619" fmla="*/ 1060948 h 1430015"/>
                <a:gd name="connsiteX2620" fmla="*/ 931805 w 1199136"/>
                <a:gd name="connsiteY2620" fmla="*/ 1062249 h 1430015"/>
                <a:gd name="connsiteX2621" fmla="*/ 929929 w 1199136"/>
                <a:gd name="connsiteY2621" fmla="*/ 1063187 h 1430015"/>
                <a:gd name="connsiteX2622" fmla="*/ 929143 w 1199136"/>
                <a:gd name="connsiteY2622" fmla="*/ 1064548 h 1430015"/>
                <a:gd name="connsiteX2623" fmla="*/ 929021 w 1199136"/>
                <a:gd name="connsiteY2623" fmla="*/ 1065698 h 1430015"/>
                <a:gd name="connsiteX2624" fmla="*/ 928870 w 1199136"/>
                <a:gd name="connsiteY2624" fmla="*/ 1066333 h 1430015"/>
                <a:gd name="connsiteX2625" fmla="*/ 929021 w 1199136"/>
                <a:gd name="connsiteY2625" fmla="*/ 1066998 h 1430015"/>
                <a:gd name="connsiteX2626" fmla="*/ 929899 w 1199136"/>
                <a:gd name="connsiteY2626" fmla="*/ 1068239 h 1430015"/>
                <a:gd name="connsiteX2627" fmla="*/ 930504 w 1199136"/>
                <a:gd name="connsiteY2627" fmla="*/ 1068783 h 1430015"/>
                <a:gd name="connsiteX2628" fmla="*/ 931865 w 1199136"/>
                <a:gd name="connsiteY2628" fmla="*/ 1069388 h 1430015"/>
                <a:gd name="connsiteX2629" fmla="*/ 932591 w 1199136"/>
                <a:gd name="connsiteY2629" fmla="*/ 1069872 h 1430015"/>
                <a:gd name="connsiteX2630" fmla="*/ 935526 w 1199136"/>
                <a:gd name="connsiteY2630" fmla="*/ 1072927 h 1430015"/>
                <a:gd name="connsiteX2631" fmla="*/ 937129 w 1199136"/>
                <a:gd name="connsiteY2631" fmla="*/ 1076225 h 1430015"/>
                <a:gd name="connsiteX2632" fmla="*/ 937310 w 1199136"/>
                <a:gd name="connsiteY2632" fmla="*/ 1080188 h 1430015"/>
                <a:gd name="connsiteX2633" fmla="*/ 936010 w 1199136"/>
                <a:gd name="connsiteY2633" fmla="*/ 1085240 h 1430015"/>
                <a:gd name="connsiteX2634" fmla="*/ 928477 w 1199136"/>
                <a:gd name="connsiteY2634" fmla="*/ 1099700 h 1430015"/>
                <a:gd name="connsiteX2635" fmla="*/ 927086 w 1199136"/>
                <a:gd name="connsiteY2635" fmla="*/ 1104994 h 1430015"/>
                <a:gd name="connsiteX2636" fmla="*/ 926753 w 1199136"/>
                <a:gd name="connsiteY2636" fmla="*/ 1105660 h 1430015"/>
                <a:gd name="connsiteX2637" fmla="*/ 925331 w 1199136"/>
                <a:gd name="connsiteY2637" fmla="*/ 1106809 h 1430015"/>
                <a:gd name="connsiteX2638" fmla="*/ 925028 w 1199136"/>
                <a:gd name="connsiteY2638" fmla="*/ 1107414 h 1430015"/>
                <a:gd name="connsiteX2639" fmla="*/ 924121 w 1199136"/>
                <a:gd name="connsiteY2639" fmla="*/ 1108292 h 1430015"/>
                <a:gd name="connsiteX2640" fmla="*/ 913805 w 1199136"/>
                <a:gd name="connsiteY2640" fmla="*/ 1111226 h 1430015"/>
                <a:gd name="connsiteX2641" fmla="*/ 910417 w 1199136"/>
                <a:gd name="connsiteY2641" fmla="*/ 1112648 h 1430015"/>
                <a:gd name="connsiteX2642" fmla="*/ 908632 w 1199136"/>
                <a:gd name="connsiteY2642" fmla="*/ 1115068 h 1430015"/>
                <a:gd name="connsiteX2643" fmla="*/ 909146 w 1199136"/>
                <a:gd name="connsiteY2643" fmla="*/ 1119091 h 1430015"/>
                <a:gd name="connsiteX2644" fmla="*/ 909994 w 1199136"/>
                <a:gd name="connsiteY2644" fmla="*/ 1121905 h 1430015"/>
                <a:gd name="connsiteX2645" fmla="*/ 910145 w 1199136"/>
                <a:gd name="connsiteY2645" fmla="*/ 1124113 h 1430015"/>
                <a:gd name="connsiteX2646" fmla="*/ 909509 w 1199136"/>
                <a:gd name="connsiteY2646" fmla="*/ 1126140 h 1430015"/>
                <a:gd name="connsiteX2647" fmla="*/ 908088 w 1199136"/>
                <a:gd name="connsiteY2647" fmla="*/ 1128318 h 1430015"/>
                <a:gd name="connsiteX2648" fmla="*/ 907755 w 1199136"/>
                <a:gd name="connsiteY2648" fmla="*/ 1130103 h 1430015"/>
                <a:gd name="connsiteX2649" fmla="*/ 908632 w 1199136"/>
                <a:gd name="connsiteY2649" fmla="*/ 1132221 h 1430015"/>
                <a:gd name="connsiteX2650" fmla="*/ 911234 w 1199136"/>
                <a:gd name="connsiteY2650" fmla="*/ 1135911 h 1430015"/>
                <a:gd name="connsiteX2651" fmla="*/ 909207 w 1199136"/>
                <a:gd name="connsiteY2651" fmla="*/ 1137666 h 1430015"/>
                <a:gd name="connsiteX2652" fmla="*/ 908874 w 1199136"/>
                <a:gd name="connsiteY2652" fmla="*/ 1139844 h 1430015"/>
                <a:gd name="connsiteX2653" fmla="*/ 909903 w 1199136"/>
                <a:gd name="connsiteY2653" fmla="*/ 1142264 h 1430015"/>
                <a:gd name="connsiteX2654" fmla="*/ 911930 w 1199136"/>
                <a:gd name="connsiteY2654" fmla="*/ 1144775 h 1430015"/>
                <a:gd name="connsiteX2655" fmla="*/ 913805 w 1199136"/>
                <a:gd name="connsiteY2655" fmla="*/ 1146317 h 1430015"/>
                <a:gd name="connsiteX2656" fmla="*/ 916225 w 1199136"/>
                <a:gd name="connsiteY2656" fmla="*/ 1147800 h 1430015"/>
                <a:gd name="connsiteX2657" fmla="*/ 918918 w 1199136"/>
                <a:gd name="connsiteY2657" fmla="*/ 1148949 h 1430015"/>
                <a:gd name="connsiteX2658" fmla="*/ 921580 w 1199136"/>
                <a:gd name="connsiteY2658" fmla="*/ 1149615 h 1430015"/>
                <a:gd name="connsiteX2659" fmla="*/ 939761 w 1199136"/>
                <a:gd name="connsiteY2659" fmla="*/ 1148677 h 1430015"/>
                <a:gd name="connsiteX2660" fmla="*/ 945690 w 1199136"/>
                <a:gd name="connsiteY2660" fmla="*/ 1150341 h 1430015"/>
                <a:gd name="connsiteX2661" fmla="*/ 947172 w 1199136"/>
                <a:gd name="connsiteY2661" fmla="*/ 1149675 h 1430015"/>
                <a:gd name="connsiteX2662" fmla="*/ 951922 w 1199136"/>
                <a:gd name="connsiteY2662" fmla="*/ 1148738 h 1430015"/>
                <a:gd name="connsiteX2663" fmla="*/ 953344 w 1199136"/>
                <a:gd name="connsiteY2663" fmla="*/ 1147891 h 1430015"/>
                <a:gd name="connsiteX2664" fmla="*/ 954645 w 1199136"/>
                <a:gd name="connsiteY2664" fmla="*/ 1146802 h 1430015"/>
                <a:gd name="connsiteX2665" fmla="*/ 955764 w 1199136"/>
                <a:gd name="connsiteY2665" fmla="*/ 1145501 h 1430015"/>
                <a:gd name="connsiteX2666" fmla="*/ 956732 w 1199136"/>
                <a:gd name="connsiteY2666" fmla="*/ 1143958 h 1430015"/>
                <a:gd name="connsiteX2667" fmla="*/ 958214 w 1199136"/>
                <a:gd name="connsiteY2667" fmla="*/ 1140297 h 1430015"/>
                <a:gd name="connsiteX2668" fmla="*/ 960876 w 1199136"/>
                <a:gd name="connsiteY2668" fmla="*/ 1127894 h 1430015"/>
                <a:gd name="connsiteX2669" fmla="*/ 962661 w 1199136"/>
                <a:gd name="connsiteY2669" fmla="*/ 1124083 h 1430015"/>
                <a:gd name="connsiteX2670" fmla="*/ 976426 w 1199136"/>
                <a:gd name="connsiteY2670" fmla="*/ 1108382 h 1430015"/>
                <a:gd name="connsiteX2671" fmla="*/ 979814 w 1199136"/>
                <a:gd name="connsiteY2671" fmla="*/ 1105599 h 1430015"/>
                <a:gd name="connsiteX2672" fmla="*/ 989404 w 1199136"/>
                <a:gd name="connsiteY2672" fmla="*/ 1101001 h 1430015"/>
                <a:gd name="connsiteX2673" fmla="*/ 992610 w 1199136"/>
                <a:gd name="connsiteY2673" fmla="*/ 1099972 h 1430015"/>
                <a:gd name="connsiteX2674" fmla="*/ 995696 w 1199136"/>
                <a:gd name="connsiteY2674" fmla="*/ 1097552 h 1430015"/>
                <a:gd name="connsiteX2675" fmla="*/ 996754 w 1199136"/>
                <a:gd name="connsiteY2675" fmla="*/ 1097280 h 1430015"/>
                <a:gd name="connsiteX2676" fmla="*/ 998146 w 1199136"/>
                <a:gd name="connsiteY2676" fmla="*/ 1095465 h 1430015"/>
                <a:gd name="connsiteX2677" fmla="*/ 1002109 w 1199136"/>
                <a:gd name="connsiteY2677" fmla="*/ 1092016 h 1430015"/>
                <a:gd name="connsiteX2678" fmla="*/ 1002956 w 1199136"/>
                <a:gd name="connsiteY2678" fmla="*/ 1090473 h 1430015"/>
                <a:gd name="connsiteX2679" fmla="*/ 1003712 w 1199136"/>
                <a:gd name="connsiteY2679" fmla="*/ 1081822 h 1430015"/>
                <a:gd name="connsiteX2680" fmla="*/ 1003712 w 1199136"/>
                <a:gd name="connsiteY2680" fmla="*/ 1078796 h 1430015"/>
                <a:gd name="connsiteX2681" fmla="*/ 1001867 w 1199136"/>
                <a:gd name="connsiteY2681" fmla="*/ 1070840 h 1430015"/>
                <a:gd name="connsiteX2682" fmla="*/ 1000838 w 1199136"/>
                <a:gd name="connsiteY2682" fmla="*/ 1061856 h 1430015"/>
                <a:gd name="connsiteX2683" fmla="*/ 1000899 w 1199136"/>
                <a:gd name="connsiteY2683" fmla="*/ 1059738 h 1430015"/>
                <a:gd name="connsiteX2684" fmla="*/ 1000687 w 1199136"/>
                <a:gd name="connsiteY2684" fmla="*/ 1059375 h 1430015"/>
                <a:gd name="connsiteX2685" fmla="*/ 999477 w 1199136"/>
                <a:gd name="connsiteY2685" fmla="*/ 1058588 h 1430015"/>
                <a:gd name="connsiteX2686" fmla="*/ 999870 w 1199136"/>
                <a:gd name="connsiteY2686" fmla="*/ 1055805 h 1430015"/>
                <a:gd name="connsiteX2687" fmla="*/ 1001081 w 1199136"/>
                <a:gd name="connsiteY2687" fmla="*/ 1053657 h 1430015"/>
                <a:gd name="connsiteX2688" fmla="*/ 1002381 w 1199136"/>
                <a:gd name="connsiteY2688" fmla="*/ 1051842 h 1430015"/>
                <a:gd name="connsiteX2689" fmla="*/ 1003471 w 1199136"/>
                <a:gd name="connsiteY2689" fmla="*/ 1048484 h 1430015"/>
                <a:gd name="connsiteX2690" fmla="*/ 1004590 w 1199136"/>
                <a:gd name="connsiteY2690" fmla="*/ 1046972 h 1430015"/>
                <a:gd name="connsiteX2691" fmla="*/ 1007131 w 1199136"/>
                <a:gd name="connsiteY2691" fmla="*/ 1044763 h 1430015"/>
                <a:gd name="connsiteX2692" fmla="*/ 1013181 w 1199136"/>
                <a:gd name="connsiteY2692" fmla="*/ 1041890 h 1430015"/>
                <a:gd name="connsiteX2693" fmla="*/ 1014059 w 1199136"/>
                <a:gd name="connsiteY2693" fmla="*/ 1041073 h 1430015"/>
                <a:gd name="connsiteX2694" fmla="*/ 1014905 w 1199136"/>
                <a:gd name="connsiteY2694" fmla="*/ 1040105 h 1430015"/>
                <a:gd name="connsiteX2695" fmla="*/ 1018929 w 1199136"/>
                <a:gd name="connsiteY2695" fmla="*/ 1037382 h 1430015"/>
                <a:gd name="connsiteX2696" fmla="*/ 1030061 w 1199136"/>
                <a:gd name="connsiteY2696" fmla="*/ 1032723 h 1430015"/>
                <a:gd name="connsiteX2697" fmla="*/ 1039772 w 1199136"/>
                <a:gd name="connsiteY2697" fmla="*/ 1030303 h 1430015"/>
                <a:gd name="connsiteX2698" fmla="*/ 1042011 w 1199136"/>
                <a:gd name="connsiteY2698" fmla="*/ 1030122 h 1430015"/>
                <a:gd name="connsiteX2699" fmla="*/ 1044431 w 1199136"/>
                <a:gd name="connsiteY2699" fmla="*/ 1030455 h 1430015"/>
                <a:gd name="connsiteX2700" fmla="*/ 1045943 w 1199136"/>
                <a:gd name="connsiteY2700" fmla="*/ 1031362 h 1430015"/>
                <a:gd name="connsiteX2701" fmla="*/ 1048515 w 1199136"/>
                <a:gd name="connsiteY2701" fmla="*/ 1034145 h 1430015"/>
                <a:gd name="connsiteX2702" fmla="*/ 1050542 w 1199136"/>
                <a:gd name="connsiteY2702" fmla="*/ 1032935 h 1430015"/>
                <a:gd name="connsiteX2703" fmla="*/ 1053385 w 1199136"/>
                <a:gd name="connsiteY2703" fmla="*/ 1032149 h 1430015"/>
                <a:gd name="connsiteX2704" fmla="*/ 1055836 w 1199136"/>
                <a:gd name="connsiteY2704" fmla="*/ 1032602 h 1430015"/>
                <a:gd name="connsiteX2705" fmla="*/ 1056743 w 1199136"/>
                <a:gd name="connsiteY2705" fmla="*/ 1034992 h 1430015"/>
                <a:gd name="connsiteX2706" fmla="*/ 1058256 w 1199136"/>
                <a:gd name="connsiteY2706" fmla="*/ 1032542 h 1430015"/>
                <a:gd name="connsiteX2707" fmla="*/ 1059133 w 1199136"/>
                <a:gd name="connsiteY2707" fmla="*/ 1031453 h 1430015"/>
                <a:gd name="connsiteX2708" fmla="*/ 1059859 w 1199136"/>
                <a:gd name="connsiteY2708" fmla="*/ 1030999 h 1430015"/>
                <a:gd name="connsiteX2709" fmla="*/ 1060252 w 1199136"/>
                <a:gd name="connsiteY2709" fmla="*/ 1030515 h 1430015"/>
                <a:gd name="connsiteX2710" fmla="*/ 1063640 w 1199136"/>
                <a:gd name="connsiteY2710" fmla="*/ 1027702 h 1430015"/>
                <a:gd name="connsiteX2711" fmla="*/ 1063550 w 1199136"/>
                <a:gd name="connsiteY2711" fmla="*/ 1027036 h 1430015"/>
                <a:gd name="connsiteX2712" fmla="*/ 1063640 w 1199136"/>
                <a:gd name="connsiteY2712" fmla="*/ 1022377 h 1430015"/>
                <a:gd name="connsiteX2713" fmla="*/ 1064064 w 1199136"/>
                <a:gd name="connsiteY2713" fmla="*/ 1021561 h 1430015"/>
                <a:gd name="connsiteX2714" fmla="*/ 1065093 w 1199136"/>
                <a:gd name="connsiteY2714" fmla="*/ 1020744 h 1430015"/>
                <a:gd name="connsiteX2715" fmla="*/ 1067059 w 1199136"/>
                <a:gd name="connsiteY2715" fmla="*/ 1019504 h 1430015"/>
                <a:gd name="connsiteX2716" fmla="*/ 1065667 w 1199136"/>
                <a:gd name="connsiteY2716" fmla="*/ 1019322 h 1430015"/>
                <a:gd name="connsiteX2717" fmla="*/ 1062249 w 1199136"/>
                <a:gd name="connsiteY2717" fmla="*/ 1018203 h 1430015"/>
                <a:gd name="connsiteX2718" fmla="*/ 1061583 w 1199136"/>
                <a:gd name="connsiteY2718" fmla="*/ 1017567 h 1430015"/>
                <a:gd name="connsiteX2719" fmla="*/ 1061190 w 1199136"/>
                <a:gd name="connsiteY2719" fmla="*/ 1016569 h 1430015"/>
                <a:gd name="connsiteX2720" fmla="*/ 1058830 w 1199136"/>
                <a:gd name="connsiteY2720" fmla="*/ 1012213 h 1430015"/>
                <a:gd name="connsiteX2721" fmla="*/ 1058589 w 1199136"/>
                <a:gd name="connsiteY2721" fmla="*/ 1008613 h 1430015"/>
                <a:gd name="connsiteX2722" fmla="*/ 1060404 w 1199136"/>
                <a:gd name="connsiteY2722" fmla="*/ 1001716 h 1430015"/>
                <a:gd name="connsiteX2723" fmla="*/ 1060948 w 1199136"/>
                <a:gd name="connsiteY2723" fmla="*/ 997934 h 1430015"/>
                <a:gd name="connsiteX2724" fmla="*/ 1060585 w 1199136"/>
                <a:gd name="connsiteY2724" fmla="*/ 996543 h 1430015"/>
                <a:gd name="connsiteX2725" fmla="*/ 1058830 w 1199136"/>
                <a:gd name="connsiteY2725" fmla="*/ 993880 h 1430015"/>
                <a:gd name="connsiteX2726" fmla="*/ 1058104 w 1199136"/>
                <a:gd name="connsiteY2726" fmla="*/ 992519 h 1430015"/>
                <a:gd name="connsiteX2727" fmla="*/ 1057772 w 1199136"/>
                <a:gd name="connsiteY2727" fmla="*/ 990946 h 1430015"/>
                <a:gd name="connsiteX2728" fmla="*/ 1057772 w 1199136"/>
                <a:gd name="connsiteY2728" fmla="*/ 989343 h 1430015"/>
                <a:gd name="connsiteX2729" fmla="*/ 1058558 w 1199136"/>
                <a:gd name="connsiteY2729" fmla="*/ 982718 h 1430015"/>
                <a:gd name="connsiteX2730" fmla="*/ 1062219 w 1199136"/>
                <a:gd name="connsiteY2730" fmla="*/ 974610 h 1430015"/>
                <a:gd name="connsiteX2731" fmla="*/ 1058740 w 1199136"/>
                <a:gd name="connsiteY2731" fmla="*/ 974278 h 1430015"/>
                <a:gd name="connsiteX2732" fmla="*/ 1055140 w 1199136"/>
                <a:gd name="connsiteY2732" fmla="*/ 972674 h 1430015"/>
                <a:gd name="connsiteX2733" fmla="*/ 1051994 w 1199136"/>
                <a:gd name="connsiteY2733" fmla="*/ 970406 h 1430015"/>
                <a:gd name="connsiteX2734" fmla="*/ 1049846 w 1199136"/>
                <a:gd name="connsiteY2734" fmla="*/ 968106 h 1430015"/>
                <a:gd name="connsiteX2735" fmla="*/ 1048605 w 1199136"/>
                <a:gd name="connsiteY2735" fmla="*/ 966352 h 1430015"/>
                <a:gd name="connsiteX2736" fmla="*/ 1047395 w 1199136"/>
                <a:gd name="connsiteY2736" fmla="*/ 965051 h 1430015"/>
                <a:gd name="connsiteX2737" fmla="*/ 1045762 w 1199136"/>
                <a:gd name="connsiteY2737" fmla="*/ 964264 h 1430015"/>
                <a:gd name="connsiteX2738" fmla="*/ 1043281 w 1199136"/>
                <a:gd name="connsiteY2738" fmla="*/ 963992 h 1430015"/>
                <a:gd name="connsiteX2739" fmla="*/ 1041496 w 1199136"/>
                <a:gd name="connsiteY2739" fmla="*/ 963478 h 1430015"/>
                <a:gd name="connsiteX2740" fmla="*/ 1036777 w 1199136"/>
                <a:gd name="connsiteY2740" fmla="*/ 959818 h 1430015"/>
                <a:gd name="connsiteX2741" fmla="*/ 1030757 w 1199136"/>
                <a:gd name="connsiteY2741" fmla="*/ 957065 h 1430015"/>
                <a:gd name="connsiteX2742" fmla="*/ 1029850 w 1199136"/>
                <a:gd name="connsiteY2742" fmla="*/ 956127 h 1430015"/>
                <a:gd name="connsiteX2743" fmla="*/ 1029214 w 1199136"/>
                <a:gd name="connsiteY2743" fmla="*/ 954251 h 1430015"/>
                <a:gd name="connsiteX2744" fmla="*/ 1027732 w 1199136"/>
                <a:gd name="connsiteY2744" fmla="*/ 952466 h 1430015"/>
                <a:gd name="connsiteX2745" fmla="*/ 1025917 w 1199136"/>
                <a:gd name="connsiteY2745" fmla="*/ 950984 h 1430015"/>
                <a:gd name="connsiteX2746" fmla="*/ 1024344 w 1199136"/>
                <a:gd name="connsiteY2746" fmla="*/ 950016 h 1430015"/>
                <a:gd name="connsiteX2747" fmla="*/ 1021046 w 1199136"/>
                <a:gd name="connsiteY2747" fmla="*/ 949018 h 1430015"/>
                <a:gd name="connsiteX2748" fmla="*/ 1008492 w 1199136"/>
                <a:gd name="connsiteY2748" fmla="*/ 948382 h 1430015"/>
                <a:gd name="connsiteX2749" fmla="*/ 1005134 w 1199136"/>
                <a:gd name="connsiteY2749" fmla="*/ 946991 h 1430015"/>
                <a:gd name="connsiteX2750" fmla="*/ 1000566 w 1199136"/>
                <a:gd name="connsiteY2750" fmla="*/ 944117 h 1430015"/>
                <a:gd name="connsiteX2751" fmla="*/ 997511 w 1199136"/>
                <a:gd name="connsiteY2751" fmla="*/ 940668 h 1430015"/>
                <a:gd name="connsiteX2752" fmla="*/ 998812 w 1199136"/>
                <a:gd name="connsiteY2752" fmla="*/ 937673 h 1430015"/>
                <a:gd name="connsiteX2753" fmla="*/ 998812 w 1199136"/>
                <a:gd name="connsiteY2753" fmla="*/ 936857 h 1430015"/>
                <a:gd name="connsiteX2754" fmla="*/ 996150 w 1199136"/>
                <a:gd name="connsiteY2754" fmla="*/ 933771 h 1430015"/>
                <a:gd name="connsiteX2755" fmla="*/ 994909 w 1199136"/>
                <a:gd name="connsiteY2755" fmla="*/ 930413 h 1430015"/>
                <a:gd name="connsiteX2756" fmla="*/ 995121 w 1199136"/>
                <a:gd name="connsiteY2756" fmla="*/ 926783 h 1430015"/>
                <a:gd name="connsiteX2757" fmla="*/ 996785 w 1199136"/>
                <a:gd name="connsiteY2757" fmla="*/ 922941 h 1430015"/>
                <a:gd name="connsiteX2758" fmla="*/ 1000233 w 1199136"/>
                <a:gd name="connsiteY2758" fmla="*/ 917193 h 1430015"/>
                <a:gd name="connsiteX2759" fmla="*/ 1004953 w 1199136"/>
                <a:gd name="connsiteY2759" fmla="*/ 913049 h 1430015"/>
                <a:gd name="connsiteX2760" fmla="*/ 1006586 w 1199136"/>
                <a:gd name="connsiteY2760" fmla="*/ 910266 h 1430015"/>
                <a:gd name="connsiteX2761" fmla="*/ 1008220 w 1199136"/>
                <a:gd name="connsiteY2761" fmla="*/ 908995 h 1430015"/>
                <a:gd name="connsiteX2762" fmla="*/ 1009218 w 1199136"/>
                <a:gd name="connsiteY2762" fmla="*/ 907482 h 1430015"/>
                <a:gd name="connsiteX2763" fmla="*/ 1007403 w 1199136"/>
                <a:gd name="connsiteY2763" fmla="*/ 903822 h 1430015"/>
                <a:gd name="connsiteX2764" fmla="*/ 1005981 w 1199136"/>
                <a:gd name="connsiteY2764" fmla="*/ 899315 h 1430015"/>
                <a:gd name="connsiteX2765" fmla="*/ 1005739 w 1199136"/>
                <a:gd name="connsiteY2765" fmla="*/ 897802 h 1430015"/>
                <a:gd name="connsiteX2766" fmla="*/ 1006526 w 1199136"/>
                <a:gd name="connsiteY2766" fmla="*/ 893264 h 1430015"/>
                <a:gd name="connsiteX2767" fmla="*/ 1008522 w 1199136"/>
                <a:gd name="connsiteY2767" fmla="*/ 890451 h 1430015"/>
                <a:gd name="connsiteX2768" fmla="*/ 1010095 w 1199136"/>
                <a:gd name="connsiteY2768" fmla="*/ 889150 h 1430015"/>
                <a:gd name="connsiteX2769" fmla="*/ 1014059 w 1199136"/>
                <a:gd name="connsiteY2769" fmla="*/ 885853 h 1430015"/>
                <a:gd name="connsiteX2770" fmla="*/ 1017719 w 1199136"/>
                <a:gd name="connsiteY2770" fmla="*/ 880105 h 1430015"/>
                <a:gd name="connsiteX2771" fmla="*/ 1019201 w 1199136"/>
                <a:gd name="connsiteY2771" fmla="*/ 879258 h 1430015"/>
                <a:gd name="connsiteX2772" fmla="*/ 1019867 w 1199136"/>
                <a:gd name="connsiteY2772" fmla="*/ 878018 h 1430015"/>
                <a:gd name="connsiteX2773" fmla="*/ 1022287 w 1199136"/>
                <a:gd name="connsiteY2773" fmla="*/ 870939 h 1430015"/>
                <a:gd name="connsiteX2774" fmla="*/ 1024435 w 1199136"/>
                <a:gd name="connsiteY2774" fmla="*/ 867067 h 1430015"/>
                <a:gd name="connsiteX2775" fmla="*/ 1032542 w 1199136"/>
                <a:gd name="connsiteY2775" fmla="*/ 856236 h 1430015"/>
                <a:gd name="connsiteX2776" fmla="*/ 1037443 w 1199136"/>
                <a:gd name="connsiteY2776" fmla="*/ 849672 h 1430015"/>
                <a:gd name="connsiteX2777" fmla="*/ 1043886 w 1199136"/>
                <a:gd name="connsiteY2777" fmla="*/ 843924 h 1430015"/>
                <a:gd name="connsiteX2778" fmla="*/ 1051298 w 1199136"/>
                <a:gd name="connsiteY2778" fmla="*/ 840718 h 1430015"/>
                <a:gd name="connsiteX2779" fmla="*/ 1058830 w 1199136"/>
                <a:gd name="connsiteY2779" fmla="*/ 841171 h 1430015"/>
                <a:gd name="connsiteX2780" fmla="*/ 1059738 w 1199136"/>
                <a:gd name="connsiteY2780" fmla="*/ 841504 h 1430015"/>
                <a:gd name="connsiteX2781" fmla="*/ 1062007 w 1199136"/>
                <a:gd name="connsiteY2781" fmla="*/ 841504 h 1430015"/>
                <a:gd name="connsiteX2782" fmla="*/ 1063035 w 1199136"/>
                <a:gd name="connsiteY2782" fmla="*/ 841927 h 1430015"/>
                <a:gd name="connsiteX2783" fmla="*/ 1063580 w 1199136"/>
                <a:gd name="connsiteY2783" fmla="*/ 842744 h 1430015"/>
                <a:gd name="connsiteX2784" fmla="*/ 1064064 w 1199136"/>
                <a:gd name="connsiteY2784" fmla="*/ 843864 h 1430015"/>
                <a:gd name="connsiteX2785" fmla="*/ 1064609 w 1199136"/>
                <a:gd name="connsiteY2785" fmla="*/ 844832 h 1430015"/>
                <a:gd name="connsiteX2786" fmla="*/ 1065425 w 1199136"/>
                <a:gd name="connsiteY2786" fmla="*/ 845255 h 1430015"/>
                <a:gd name="connsiteX2787" fmla="*/ 1067513 w 1199136"/>
                <a:gd name="connsiteY2787" fmla="*/ 844620 h 1430015"/>
                <a:gd name="connsiteX2788" fmla="*/ 1069358 w 1199136"/>
                <a:gd name="connsiteY2788" fmla="*/ 843410 h 1430015"/>
                <a:gd name="connsiteX2789" fmla="*/ 1071203 w 1199136"/>
                <a:gd name="connsiteY2789" fmla="*/ 842684 h 1430015"/>
                <a:gd name="connsiteX2790" fmla="*/ 1073351 w 1199136"/>
                <a:gd name="connsiteY2790" fmla="*/ 843501 h 1430015"/>
                <a:gd name="connsiteX2791" fmla="*/ 1072867 w 1199136"/>
                <a:gd name="connsiteY2791" fmla="*/ 844136 h 1430015"/>
                <a:gd name="connsiteX2792" fmla="*/ 1072685 w 1199136"/>
                <a:gd name="connsiteY2792" fmla="*/ 844408 h 1430015"/>
                <a:gd name="connsiteX2793" fmla="*/ 1076951 w 1199136"/>
                <a:gd name="connsiteY2793" fmla="*/ 843107 h 1430015"/>
                <a:gd name="connsiteX2794" fmla="*/ 1078887 w 1199136"/>
                <a:gd name="connsiteY2794" fmla="*/ 843228 h 1430015"/>
                <a:gd name="connsiteX2795" fmla="*/ 1078191 w 1199136"/>
                <a:gd name="connsiteY2795" fmla="*/ 845225 h 1430015"/>
                <a:gd name="connsiteX2796" fmla="*/ 1076134 w 1199136"/>
                <a:gd name="connsiteY2796" fmla="*/ 846284 h 1430015"/>
                <a:gd name="connsiteX2797" fmla="*/ 1071264 w 1199136"/>
                <a:gd name="connsiteY2797" fmla="*/ 845437 h 1430015"/>
                <a:gd name="connsiteX2798" fmla="*/ 1069297 w 1199136"/>
                <a:gd name="connsiteY2798" fmla="*/ 846132 h 1430015"/>
                <a:gd name="connsiteX2799" fmla="*/ 1071324 w 1199136"/>
                <a:gd name="connsiteY2799" fmla="*/ 848220 h 1430015"/>
                <a:gd name="connsiteX2800" fmla="*/ 1070840 w 1199136"/>
                <a:gd name="connsiteY2800" fmla="*/ 850156 h 1430015"/>
                <a:gd name="connsiteX2801" fmla="*/ 1068874 w 1199136"/>
                <a:gd name="connsiteY2801" fmla="*/ 851729 h 1430015"/>
                <a:gd name="connsiteX2802" fmla="*/ 1066514 w 1199136"/>
                <a:gd name="connsiteY2802" fmla="*/ 852697 h 1430015"/>
                <a:gd name="connsiteX2803" fmla="*/ 1067815 w 1199136"/>
                <a:gd name="connsiteY2803" fmla="*/ 854421 h 1430015"/>
                <a:gd name="connsiteX2804" fmla="*/ 1070538 w 1199136"/>
                <a:gd name="connsiteY2804" fmla="*/ 855753 h 1430015"/>
                <a:gd name="connsiteX2805" fmla="*/ 1076225 w 1199136"/>
                <a:gd name="connsiteY2805" fmla="*/ 857658 h 1430015"/>
                <a:gd name="connsiteX2806" fmla="*/ 1081731 w 1199136"/>
                <a:gd name="connsiteY2806" fmla="*/ 860653 h 1430015"/>
                <a:gd name="connsiteX2807" fmla="*/ 1083425 w 1199136"/>
                <a:gd name="connsiteY2807" fmla="*/ 861047 h 1430015"/>
                <a:gd name="connsiteX2808" fmla="*/ 1084090 w 1199136"/>
                <a:gd name="connsiteY2808" fmla="*/ 861410 h 1430015"/>
                <a:gd name="connsiteX2809" fmla="*/ 1085845 w 1199136"/>
                <a:gd name="connsiteY2809" fmla="*/ 863043 h 1430015"/>
                <a:gd name="connsiteX2810" fmla="*/ 1086571 w 1199136"/>
                <a:gd name="connsiteY2810" fmla="*/ 863527 h 1430015"/>
                <a:gd name="connsiteX2811" fmla="*/ 1087600 w 1199136"/>
                <a:gd name="connsiteY2811" fmla="*/ 863648 h 1430015"/>
                <a:gd name="connsiteX2812" fmla="*/ 1089687 w 1199136"/>
                <a:gd name="connsiteY2812" fmla="*/ 863466 h 1430015"/>
                <a:gd name="connsiteX2813" fmla="*/ 1090685 w 1199136"/>
                <a:gd name="connsiteY2813" fmla="*/ 863527 h 1430015"/>
                <a:gd name="connsiteX2814" fmla="*/ 1096070 w 1199136"/>
                <a:gd name="connsiteY2814" fmla="*/ 866371 h 1430015"/>
                <a:gd name="connsiteX2815" fmla="*/ 1097885 w 1199136"/>
                <a:gd name="connsiteY2815" fmla="*/ 866824 h 1430015"/>
                <a:gd name="connsiteX2816" fmla="*/ 1131676 w 1199136"/>
                <a:gd name="connsiteY2816" fmla="*/ 868488 h 1430015"/>
                <a:gd name="connsiteX2817" fmla="*/ 1133249 w 1199136"/>
                <a:gd name="connsiteY2817" fmla="*/ 869033 h 1430015"/>
                <a:gd name="connsiteX2818" fmla="*/ 1138240 w 1199136"/>
                <a:gd name="connsiteY2818" fmla="*/ 872693 h 1430015"/>
                <a:gd name="connsiteX2819" fmla="*/ 1138240 w 1199136"/>
                <a:gd name="connsiteY2819" fmla="*/ 873419 h 1430015"/>
                <a:gd name="connsiteX2820" fmla="*/ 1136940 w 1199136"/>
                <a:gd name="connsiteY2820" fmla="*/ 873419 h 1430015"/>
                <a:gd name="connsiteX2821" fmla="*/ 1138089 w 1199136"/>
                <a:gd name="connsiteY2821" fmla="*/ 874508 h 1430015"/>
                <a:gd name="connsiteX2822" fmla="*/ 1138694 w 1199136"/>
                <a:gd name="connsiteY2822" fmla="*/ 876112 h 1430015"/>
                <a:gd name="connsiteX2823" fmla="*/ 1138906 w 1199136"/>
                <a:gd name="connsiteY2823" fmla="*/ 878169 h 1430015"/>
                <a:gd name="connsiteX2824" fmla="*/ 1138906 w 1199136"/>
                <a:gd name="connsiteY2824" fmla="*/ 880498 h 1430015"/>
                <a:gd name="connsiteX2825" fmla="*/ 1139602 w 1199136"/>
                <a:gd name="connsiteY2825" fmla="*/ 882253 h 1430015"/>
                <a:gd name="connsiteX2826" fmla="*/ 1141084 w 1199136"/>
                <a:gd name="connsiteY2826" fmla="*/ 883826 h 1430015"/>
                <a:gd name="connsiteX2827" fmla="*/ 1143776 w 1199136"/>
                <a:gd name="connsiteY2827" fmla="*/ 885883 h 1430015"/>
                <a:gd name="connsiteX2828" fmla="*/ 1146772 w 1199136"/>
                <a:gd name="connsiteY2828" fmla="*/ 888969 h 1430015"/>
                <a:gd name="connsiteX2829" fmla="*/ 1148163 w 1199136"/>
                <a:gd name="connsiteY2829" fmla="*/ 891903 h 1430015"/>
                <a:gd name="connsiteX2830" fmla="*/ 1147346 w 1199136"/>
                <a:gd name="connsiteY2830" fmla="*/ 894504 h 1430015"/>
                <a:gd name="connsiteX2831" fmla="*/ 1143776 w 1199136"/>
                <a:gd name="connsiteY2831" fmla="*/ 896562 h 1430015"/>
                <a:gd name="connsiteX2832" fmla="*/ 1144866 w 1199136"/>
                <a:gd name="connsiteY2832" fmla="*/ 897227 h 1430015"/>
                <a:gd name="connsiteX2833" fmla="*/ 1147558 w 1199136"/>
                <a:gd name="connsiteY2833" fmla="*/ 898044 h 1430015"/>
                <a:gd name="connsiteX2834" fmla="*/ 1148647 w 1199136"/>
                <a:gd name="connsiteY2834" fmla="*/ 899103 h 1430015"/>
                <a:gd name="connsiteX2835" fmla="*/ 1149282 w 1199136"/>
                <a:gd name="connsiteY2835" fmla="*/ 900857 h 1430015"/>
                <a:gd name="connsiteX2836" fmla="*/ 1149101 w 1199136"/>
                <a:gd name="connsiteY2836" fmla="*/ 902249 h 1430015"/>
                <a:gd name="connsiteX2837" fmla="*/ 1148163 w 1199136"/>
                <a:gd name="connsiteY2837" fmla="*/ 903066 h 1430015"/>
                <a:gd name="connsiteX2838" fmla="*/ 1146590 w 1199136"/>
                <a:gd name="connsiteY2838" fmla="*/ 903156 h 1430015"/>
                <a:gd name="connsiteX2839" fmla="*/ 1146590 w 1199136"/>
                <a:gd name="connsiteY2839" fmla="*/ 904064 h 1430015"/>
                <a:gd name="connsiteX2840" fmla="*/ 1147800 w 1199136"/>
                <a:gd name="connsiteY2840" fmla="*/ 905183 h 1430015"/>
                <a:gd name="connsiteX2841" fmla="*/ 1154274 w 1199136"/>
                <a:gd name="connsiteY2841" fmla="*/ 914138 h 1430015"/>
                <a:gd name="connsiteX2842" fmla="*/ 1155211 w 1199136"/>
                <a:gd name="connsiteY2842" fmla="*/ 914743 h 1430015"/>
                <a:gd name="connsiteX2843" fmla="*/ 1156543 w 1199136"/>
                <a:gd name="connsiteY2843" fmla="*/ 915197 h 1430015"/>
                <a:gd name="connsiteX2844" fmla="*/ 1160203 w 1199136"/>
                <a:gd name="connsiteY2844" fmla="*/ 917496 h 1430015"/>
                <a:gd name="connsiteX2845" fmla="*/ 1163349 w 1199136"/>
                <a:gd name="connsiteY2845" fmla="*/ 920248 h 1430015"/>
                <a:gd name="connsiteX2846" fmla="*/ 1165830 w 1199136"/>
                <a:gd name="connsiteY2846" fmla="*/ 921307 h 1430015"/>
                <a:gd name="connsiteX2847" fmla="*/ 1168341 w 1199136"/>
                <a:gd name="connsiteY2847" fmla="*/ 922820 h 1430015"/>
                <a:gd name="connsiteX2848" fmla="*/ 1169641 w 1199136"/>
                <a:gd name="connsiteY2848" fmla="*/ 923032 h 1430015"/>
                <a:gd name="connsiteX2849" fmla="*/ 1173816 w 1199136"/>
                <a:gd name="connsiteY2849" fmla="*/ 923032 h 1430015"/>
                <a:gd name="connsiteX2850" fmla="*/ 1175450 w 1199136"/>
                <a:gd name="connsiteY2850" fmla="*/ 923546 h 1430015"/>
                <a:gd name="connsiteX2851" fmla="*/ 1180320 w 1199136"/>
                <a:gd name="connsiteY2851" fmla="*/ 927116 h 1430015"/>
                <a:gd name="connsiteX2852" fmla="*/ 1181137 w 1199136"/>
                <a:gd name="connsiteY2852" fmla="*/ 927509 h 1430015"/>
                <a:gd name="connsiteX2853" fmla="*/ 1181954 w 1199136"/>
                <a:gd name="connsiteY2853" fmla="*/ 927781 h 1430015"/>
                <a:gd name="connsiteX2854" fmla="*/ 1184132 w 1199136"/>
                <a:gd name="connsiteY2854" fmla="*/ 927932 h 1430015"/>
                <a:gd name="connsiteX2855" fmla="*/ 1184676 w 1199136"/>
                <a:gd name="connsiteY2855" fmla="*/ 927539 h 1430015"/>
                <a:gd name="connsiteX2856" fmla="*/ 1185675 w 1199136"/>
                <a:gd name="connsiteY2856" fmla="*/ 925845 h 1430015"/>
                <a:gd name="connsiteX2857" fmla="*/ 1186219 w 1199136"/>
                <a:gd name="connsiteY2857" fmla="*/ 925452 h 1430015"/>
                <a:gd name="connsiteX2858" fmla="*/ 1185947 w 1199136"/>
                <a:gd name="connsiteY2858" fmla="*/ 924453 h 1430015"/>
                <a:gd name="connsiteX2859" fmla="*/ 1187308 w 1199136"/>
                <a:gd name="connsiteY2859" fmla="*/ 918070 h 1430015"/>
                <a:gd name="connsiteX2860" fmla="*/ 1187308 w 1199136"/>
                <a:gd name="connsiteY2860" fmla="*/ 916679 h 1430015"/>
                <a:gd name="connsiteX2861" fmla="*/ 1186552 w 1199136"/>
                <a:gd name="connsiteY2861" fmla="*/ 913593 h 1430015"/>
                <a:gd name="connsiteX2862" fmla="*/ 1186764 w 1199136"/>
                <a:gd name="connsiteY2862" fmla="*/ 912444 h 1430015"/>
                <a:gd name="connsiteX2863" fmla="*/ 1187701 w 1199136"/>
                <a:gd name="connsiteY2863" fmla="*/ 909812 h 1430015"/>
                <a:gd name="connsiteX2864" fmla="*/ 1188095 w 1199136"/>
                <a:gd name="connsiteY2864" fmla="*/ 907301 h 1430015"/>
                <a:gd name="connsiteX2865" fmla="*/ 1188458 w 1199136"/>
                <a:gd name="connsiteY2865" fmla="*/ 906061 h 1430015"/>
                <a:gd name="connsiteX2866" fmla="*/ 1190757 w 1199136"/>
                <a:gd name="connsiteY2866" fmla="*/ 900797 h 1430015"/>
                <a:gd name="connsiteX2867" fmla="*/ 1194418 w 1199136"/>
                <a:gd name="connsiteY2867" fmla="*/ 898286 h 1430015"/>
                <a:gd name="connsiteX2868" fmla="*/ 1195718 w 1199136"/>
                <a:gd name="connsiteY2868" fmla="*/ 896864 h 1430015"/>
                <a:gd name="connsiteX2869" fmla="*/ 1196565 w 1199136"/>
                <a:gd name="connsiteY2869" fmla="*/ 893294 h 1430015"/>
                <a:gd name="connsiteX2870" fmla="*/ 1198199 w 1199136"/>
                <a:gd name="connsiteY2870" fmla="*/ 892115 h 1430015"/>
                <a:gd name="connsiteX2871" fmla="*/ 1199016 w 1199136"/>
                <a:gd name="connsiteY2871" fmla="*/ 890905 h 1430015"/>
                <a:gd name="connsiteX2872" fmla="*/ 1199137 w 1199136"/>
                <a:gd name="connsiteY2872" fmla="*/ 889725 h 1430015"/>
                <a:gd name="connsiteX2873" fmla="*/ 1198774 w 1199136"/>
                <a:gd name="connsiteY2873" fmla="*/ 888969 h 1430015"/>
                <a:gd name="connsiteX2874" fmla="*/ 592535 w 1199136"/>
                <a:gd name="connsiteY2874" fmla="*/ 414565 h 1430015"/>
                <a:gd name="connsiteX2875" fmla="*/ 591809 w 1199136"/>
                <a:gd name="connsiteY2875" fmla="*/ 415836 h 1430015"/>
                <a:gd name="connsiteX2876" fmla="*/ 591718 w 1199136"/>
                <a:gd name="connsiteY2876" fmla="*/ 416018 h 1430015"/>
                <a:gd name="connsiteX2877" fmla="*/ 591476 w 1199136"/>
                <a:gd name="connsiteY2877" fmla="*/ 416290 h 1430015"/>
                <a:gd name="connsiteX2878" fmla="*/ 591325 w 1199136"/>
                <a:gd name="connsiteY2878" fmla="*/ 416623 h 1430015"/>
                <a:gd name="connsiteX2879" fmla="*/ 591264 w 1199136"/>
                <a:gd name="connsiteY2879" fmla="*/ 417016 h 1430015"/>
                <a:gd name="connsiteX2880" fmla="*/ 591355 w 1199136"/>
                <a:gd name="connsiteY2880" fmla="*/ 417409 h 1430015"/>
                <a:gd name="connsiteX2881" fmla="*/ 589570 w 1199136"/>
                <a:gd name="connsiteY2881" fmla="*/ 420193 h 1430015"/>
                <a:gd name="connsiteX2882" fmla="*/ 586454 w 1199136"/>
                <a:gd name="connsiteY2882" fmla="*/ 420586 h 1430015"/>
                <a:gd name="connsiteX2883" fmla="*/ 583459 w 1199136"/>
                <a:gd name="connsiteY2883" fmla="*/ 419164 h 1430015"/>
                <a:gd name="connsiteX2884" fmla="*/ 582068 w 1199136"/>
                <a:gd name="connsiteY2884" fmla="*/ 416441 h 1430015"/>
                <a:gd name="connsiteX2885" fmla="*/ 583066 w 1199136"/>
                <a:gd name="connsiteY2885" fmla="*/ 413386 h 1430015"/>
                <a:gd name="connsiteX2886" fmla="*/ 584609 w 1199136"/>
                <a:gd name="connsiteY2886" fmla="*/ 411934 h 1430015"/>
                <a:gd name="connsiteX2887" fmla="*/ 585637 w 1199136"/>
                <a:gd name="connsiteY2887" fmla="*/ 410966 h 1430015"/>
                <a:gd name="connsiteX2888" fmla="*/ 588844 w 1199136"/>
                <a:gd name="connsiteY2888" fmla="*/ 409453 h 1430015"/>
                <a:gd name="connsiteX2889" fmla="*/ 591748 w 1199136"/>
                <a:gd name="connsiteY2889" fmla="*/ 408999 h 1430015"/>
                <a:gd name="connsiteX2890" fmla="*/ 592474 w 1199136"/>
                <a:gd name="connsiteY2890" fmla="*/ 410209 h 1430015"/>
                <a:gd name="connsiteX2891" fmla="*/ 592807 w 1199136"/>
                <a:gd name="connsiteY2891" fmla="*/ 412357 h 1430015"/>
                <a:gd name="connsiteX2892" fmla="*/ 592595 w 1199136"/>
                <a:gd name="connsiteY2892" fmla="*/ 414596 h 1430015"/>
                <a:gd name="connsiteX2893" fmla="*/ 578650 w 1199136"/>
                <a:gd name="connsiteY2893" fmla="*/ 220472 h 1430015"/>
                <a:gd name="connsiteX2894" fmla="*/ 579648 w 1199136"/>
                <a:gd name="connsiteY2894" fmla="*/ 219928 h 1430015"/>
                <a:gd name="connsiteX2895" fmla="*/ 579799 w 1199136"/>
                <a:gd name="connsiteY2895" fmla="*/ 218415 h 1430015"/>
                <a:gd name="connsiteX2896" fmla="*/ 578135 w 1199136"/>
                <a:gd name="connsiteY2896" fmla="*/ 217205 h 1430015"/>
                <a:gd name="connsiteX2897" fmla="*/ 576411 w 1199136"/>
                <a:gd name="connsiteY2897" fmla="*/ 217205 h 1430015"/>
                <a:gd name="connsiteX2898" fmla="*/ 575080 w 1199136"/>
                <a:gd name="connsiteY2898" fmla="*/ 219293 h 1430015"/>
                <a:gd name="connsiteX2899" fmla="*/ 575503 w 1199136"/>
                <a:gd name="connsiteY2899" fmla="*/ 221017 h 1430015"/>
                <a:gd name="connsiteX2900" fmla="*/ 577167 w 1199136"/>
                <a:gd name="connsiteY2900" fmla="*/ 221350 h 1430015"/>
                <a:gd name="connsiteX2901" fmla="*/ 578680 w 1199136"/>
                <a:gd name="connsiteY2901" fmla="*/ 220472 h 1430015"/>
                <a:gd name="connsiteX2902" fmla="*/ 581070 w 1199136"/>
                <a:gd name="connsiteY2902" fmla="*/ 221985 h 1430015"/>
                <a:gd name="connsiteX2903" fmla="*/ 583944 w 1199136"/>
                <a:gd name="connsiteY2903" fmla="*/ 221985 h 1430015"/>
                <a:gd name="connsiteX2904" fmla="*/ 585274 w 1199136"/>
                <a:gd name="connsiteY2904" fmla="*/ 222287 h 1430015"/>
                <a:gd name="connsiteX2905" fmla="*/ 586575 w 1199136"/>
                <a:gd name="connsiteY2905" fmla="*/ 222892 h 1430015"/>
                <a:gd name="connsiteX2906" fmla="*/ 584216 w 1199136"/>
                <a:gd name="connsiteY2906" fmla="*/ 220926 h 1430015"/>
                <a:gd name="connsiteX2907" fmla="*/ 582370 w 1199136"/>
                <a:gd name="connsiteY2907" fmla="*/ 220563 h 1430015"/>
                <a:gd name="connsiteX2908" fmla="*/ 580616 w 1199136"/>
                <a:gd name="connsiteY2908" fmla="*/ 221683 h 1430015"/>
                <a:gd name="connsiteX2909" fmla="*/ 578619 w 1199136"/>
                <a:gd name="connsiteY2909" fmla="*/ 224254 h 1430015"/>
                <a:gd name="connsiteX2910" fmla="*/ 576199 w 1199136"/>
                <a:gd name="connsiteY2910" fmla="*/ 228610 h 1430015"/>
                <a:gd name="connsiteX2911" fmla="*/ 575413 w 1199136"/>
                <a:gd name="connsiteY2911" fmla="*/ 231000 h 1430015"/>
                <a:gd name="connsiteX2912" fmla="*/ 575564 w 1199136"/>
                <a:gd name="connsiteY2912" fmla="*/ 231786 h 1430015"/>
                <a:gd name="connsiteX2913" fmla="*/ 581070 w 1199136"/>
                <a:gd name="connsiteY2913" fmla="*/ 221985 h 1430015"/>
                <a:gd name="connsiteX2914" fmla="*/ 831158 w 1199136"/>
                <a:gd name="connsiteY2914" fmla="*/ 1077707 h 1430015"/>
                <a:gd name="connsiteX2915" fmla="*/ 831340 w 1199136"/>
                <a:gd name="connsiteY2915" fmla="*/ 1076558 h 1430015"/>
                <a:gd name="connsiteX2916" fmla="*/ 831914 w 1199136"/>
                <a:gd name="connsiteY2916" fmla="*/ 1075196 h 1430015"/>
                <a:gd name="connsiteX2917" fmla="*/ 832217 w 1199136"/>
                <a:gd name="connsiteY2917" fmla="*/ 1074622 h 1430015"/>
                <a:gd name="connsiteX2918" fmla="*/ 832731 w 1199136"/>
                <a:gd name="connsiteY2918" fmla="*/ 1074107 h 1430015"/>
                <a:gd name="connsiteX2919" fmla="*/ 831733 w 1199136"/>
                <a:gd name="connsiteY2919" fmla="*/ 1072746 h 1430015"/>
                <a:gd name="connsiteX2920" fmla="*/ 830160 w 1199136"/>
                <a:gd name="connsiteY2920" fmla="*/ 1072292 h 1430015"/>
                <a:gd name="connsiteX2921" fmla="*/ 826500 w 1199136"/>
                <a:gd name="connsiteY2921" fmla="*/ 1072413 h 1430015"/>
                <a:gd name="connsiteX2922" fmla="*/ 824382 w 1199136"/>
                <a:gd name="connsiteY2922" fmla="*/ 1073865 h 1430015"/>
                <a:gd name="connsiteX2923" fmla="*/ 827407 w 1199136"/>
                <a:gd name="connsiteY2923" fmla="*/ 1076195 h 1430015"/>
                <a:gd name="connsiteX2924" fmla="*/ 831188 w 1199136"/>
                <a:gd name="connsiteY2924" fmla="*/ 1077677 h 1430015"/>
                <a:gd name="connsiteX2925" fmla="*/ 686496 w 1199136"/>
                <a:gd name="connsiteY2925" fmla="*/ 806715 h 1430015"/>
                <a:gd name="connsiteX2926" fmla="*/ 685982 w 1199136"/>
                <a:gd name="connsiteY2926" fmla="*/ 807290 h 1430015"/>
                <a:gd name="connsiteX2927" fmla="*/ 685558 w 1199136"/>
                <a:gd name="connsiteY2927" fmla="*/ 808470 h 1430015"/>
                <a:gd name="connsiteX2928" fmla="*/ 686768 w 1199136"/>
                <a:gd name="connsiteY2928" fmla="*/ 807864 h 1430015"/>
                <a:gd name="connsiteX2929" fmla="*/ 687283 w 1199136"/>
                <a:gd name="connsiteY2929" fmla="*/ 806564 h 1430015"/>
                <a:gd name="connsiteX2930" fmla="*/ 686496 w 1199136"/>
                <a:gd name="connsiteY2930" fmla="*/ 806715 h 1430015"/>
                <a:gd name="connsiteX2931" fmla="*/ 661599 w 1199136"/>
                <a:gd name="connsiteY2931" fmla="*/ 1059557 h 1430015"/>
                <a:gd name="connsiteX2932" fmla="*/ 663686 w 1199136"/>
                <a:gd name="connsiteY2932" fmla="*/ 1057742 h 1430015"/>
                <a:gd name="connsiteX2933" fmla="*/ 663535 w 1199136"/>
                <a:gd name="connsiteY2933" fmla="*/ 1057348 h 1430015"/>
                <a:gd name="connsiteX2934" fmla="*/ 662506 w 1199136"/>
                <a:gd name="connsiteY2934" fmla="*/ 1056622 h 1430015"/>
                <a:gd name="connsiteX2935" fmla="*/ 660843 w 1199136"/>
                <a:gd name="connsiteY2935" fmla="*/ 1056622 h 1430015"/>
                <a:gd name="connsiteX2936" fmla="*/ 659693 w 1199136"/>
                <a:gd name="connsiteY2936" fmla="*/ 1057530 h 1430015"/>
                <a:gd name="connsiteX2937" fmla="*/ 659209 w 1199136"/>
                <a:gd name="connsiteY2937" fmla="*/ 1058437 h 1430015"/>
                <a:gd name="connsiteX2938" fmla="*/ 659209 w 1199136"/>
                <a:gd name="connsiteY2938" fmla="*/ 1059314 h 1430015"/>
                <a:gd name="connsiteX2939" fmla="*/ 660419 w 1199136"/>
                <a:gd name="connsiteY2939" fmla="*/ 1059738 h 1430015"/>
                <a:gd name="connsiteX2940" fmla="*/ 661569 w 1199136"/>
                <a:gd name="connsiteY2940" fmla="*/ 1059526 h 1430015"/>
                <a:gd name="connsiteX2941" fmla="*/ 802177 w 1199136"/>
                <a:gd name="connsiteY2941" fmla="*/ 1075680 h 1430015"/>
                <a:gd name="connsiteX2942" fmla="*/ 803357 w 1199136"/>
                <a:gd name="connsiteY2942" fmla="*/ 1075590 h 1430015"/>
                <a:gd name="connsiteX2943" fmla="*/ 803357 w 1199136"/>
                <a:gd name="connsiteY2943" fmla="*/ 1075166 h 1430015"/>
                <a:gd name="connsiteX2944" fmla="*/ 802782 w 1199136"/>
                <a:gd name="connsiteY2944" fmla="*/ 1074561 h 1430015"/>
                <a:gd name="connsiteX2945" fmla="*/ 802419 w 1199136"/>
                <a:gd name="connsiteY2945" fmla="*/ 1073321 h 1430015"/>
                <a:gd name="connsiteX2946" fmla="*/ 801209 w 1199136"/>
                <a:gd name="connsiteY2946" fmla="*/ 1072383 h 1430015"/>
                <a:gd name="connsiteX2947" fmla="*/ 799424 w 1199136"/>
                <a:gd name="connsiteY2947" fmla="*/ 1071990 h 1430015"/>
                <a:gd name="connsiteX2948" fmla="*/ 799061 w 1199136"/>
                <a:gd name="connsiteY2948" fmla="*/ 1072111 h 1430015"/>
                <a:gd name="connsiteX2949" fmla="*/ 799183 w 1199136"/>
                <a:gd name="connsiteY2949" fmla="*/ 1073563 h 1430015"/>
                <a:gd name="connsiteX2950" fmla="*/ 799969 w 1199136"/>
                <a:gd name="connsiteY2950" fmla="*/ 1075076 h 1430015"/>
                <a:gd name="connsiteX2951" fmla="*/ 802177 w 1199136"/>
                <a:gd name="connsiteY2951" fmla="*/ 1075680 h 1430015"/>
                <a:gd name="connsiteX2952" fmla="*/ 902400 w 1199136"/>
                <a:gd name="connsiteY2952" fmla="*/ 1114463 h 1430015"/>
                <a:gd name="connsiteX2953" fmla="*/ 903822 w 1199136"/>
                <a:gd name="connsiteY2953" fmla="*/ 1112890 h 1430015"/>
                <a:gd name="connsiteX2954" fmla="*/ 907906 w 1199136"/>
                <a:gd name="connsiteY2954" fmla="*/ 1110409 h 1430015"/>
                <a:gd name="connsiteX2955" fmla="*/ 908905 w 1199136"/>
                <a:gd name="connsiteY2955" fmla="*/ 1110500 h 1430015"/>
                <a:gd name="connsiteX2956" fmla="*/ 909721 w 1199136"/>
                <a:gd name="connsiteY2956" fmla="*/ 1110348 h 1430015"/>
                <a:gd name="connsiteX2957" fmla="*/ 910296 w 1199136"/>
                <a:gd name="connsiteY2957" fmla="*/ 1109804 h 1430015"/>
                <a:gd name="connsiteX2958" fmla="*/ 910629 w 1199136"/>
                <a:gd name="connsiteY2958" fmla="*/ 1108806 h 1430015"/>
                <a:gd name="connsiteX2959" fmla="*/ 907029 w 1199136"/>
                <a:gd name="connsiteY2959" fmla="*/ 1108231 h 1430015"/>
                <a:gd name="connsiteX2960" fmla="*/ 901311 w 1199136"/>
                <a:gd name="connsiteY2960" fmla="*/ 1105902 h 1430015"/>
                <a:gd name="connsiteX2961" fmla="*/ 898226 w 1199136"/>
                <a:gd name="connsiteY2961" fmla="*/ 1105599 h 1430015"/>
                <a:gd name="connsiteX2962" fmla="*/ 896622 w 1199136"/>
                <a:gd name="connsiteY2962" fmla="*/ 1106204 h 1430015"/>
                <a:gd name="connsiteX2963" fmla="*/ 892599 w 1199136"/>
                <a:gd name="connsiteY2963" fmla="*/ 1109713 h 1430015"/>
                <a:gd name="connsiteX2964" fmla="*/ 888666 w 1199136"/>
                <a:gd name="connsiteY2964" fmla="*/ 1111438 h 1430015"/>
                <a:gd name="connsiteX2965" fmla="*/ 887456 w 1199136"/>
                <a:gd name="connsiteY2965" fmla="*/ 1112436 h 1430015"/>
                <a:gd name="connsiteX2966" fmla="*/ 885217 w 1199136"/>
                <a:gd name="connsiteY2966" fmla="*/ 1113858 h 1430015"/>
                <a:gd name="connsiteX2967" fmla="*/ 877292 w 1199136"/>
                <a:gd name="connsiteY2967" fmla="*/ 1116399 h 1430015"/>
                <a:gd name="connsiteX2968" fmla="*/ 874357 w 1199136"/>
                <a:gd name="connsiteY2968" fmla="*/ 1116853 h 1430015"/>
                <a:gd name="connsiteX2969" fmla="*/ 872573 w 1199136"/>
                <a:gd name="connsiteY2969" fmla="*/ 1116792 h 1430015"/>
                <a:gd name="connsiteX2970" fmla="*/ 870909 w 1199136"/>
                <a:gd name="connsiteY2970" fmla="*/ 1116490 h 1430015"/>
                <a:gd name="connsiteX2971" fmla="*/ 869668 w 1199136"/>
                <a:gd name="connsiteY2971" fmla="*/ 1115673 h 1430015"/>
                <a:gd name="connsiteX2972" fmla="*/ 869215 w 1199136"/>
                <a:gd name="connsiteY2972" fmla="*/ 1114130 h 1430015"/>
                <a:gd name="connsiteX2973" fmla="*/ 869789 w 1199136"/>
                <a:gd name="connsiteY2973" fmla="*/ 1111317 h 1430015"/>
                <a:gd name="connsiteX2974" fmla="*/ 869457 w 1199136"/>
                <a:gd name="connsiteY2974" fmla="*/ 1110107 h 1430015"/>
                <a:gd name="connsiteX2975" fmla="*/ 868852 w 1199136"/>
                <a:gd name="connsiteY2975" fmla="*/ 1110107 h 1430015"/>
                <a:gd name="connsiteX2976" fmla="*/ 869215 w 1199136"/>
                <a:gd name="connsiteY2976" fmla="*/ 1110470 h 1430015"/>
                <a:gd name="connsiteX2977" fmla="*/ 868821 w 1199136"/>
                <a:gd name="connsiteY2977" fmla="*/ 1111438 h 1430015"/>
                <a:gd name="connsiteX2978" fmla="*/ 868731 w 1199136"/>
                <a:gd name="connsiteY2978" fmla="*/ 1111740 h 1430015"/>
                <a:gd name="connsiteX2979" fmla="*/ 868882 w 1199136"/>
                <a:gd name="connsiteY2979" fmla="*/ 1111982 h 1430015"/>
                <a:gd name="connsiteX2980" fmla="*/ 869184 w 1199136"/>
                <a:gd name="connsiteY2980" fmla="*/ 1112890 h 1430015"/>
                <a:gd name="connsiteX2981" fmla="*/ 865403 w 1199136"/>
                <a:gd name="connsiteY2981" fmla="*/ 1119696 h 1430015"/>
                <a:gd name="connsiteX2982" fmla="*/ 862801 w 1199136"/>
                <a:gd name="connsiteY2982" fmla="*/ 1122873 h 1430015"/>
                <a:gd name="connsiteX2983" fmla="*/ 857295 w 1199136"/>
                <a:gd name="connsiteY2983" fmla="*/ 1124658 h 1430015"/>
                <a:gd name="connsiteX2984" fmla="*/ 855541 w 1199136"/>
                <a:gd name="connsiteY2984" fmla="*/ 1125535 h 1430015"/>
                <a:gd name="connsiteX2985" fmla="*/ 853786 w 1199136"/>
                <a:gd name="connsiteY2985" fmla="*/ 1126140 h 1430015"/>
                <a:gd name="connsiteX2986" fmla="*/ 851850 w 1199136"/>
                <a:gd name="connsiteY2986" fmla="*/ 1125777 h 1430015"/>
                <a:gd name="connsiteX2987" fmla="*/ 851306 w 1199136"/>
                <a:gd name="connsiteY2987" fmla="*/ 1125263 h 1430015"/>
                <a:gd name="connsiteX2988" fmla="*/ 850277 w 1199136"/>
                <a:gd name="connsiteY2988" fmla="*/ 1123780 h 1430015"/>
                <a:gd name="connsiteX2989" fmla="*/ 849884 w 1199136"/>
                <a:gd name="connsiteY2989" fmla="*/ 1123387 h 1430015"/>
                <a:gd name="connsiteX2990" fmla="*/ 848885 w 1199136"/>
                <a:gd name="connsiteY2990" fmla="*/ 1123205 h 1430015"/>
                <a:gd name="connsiteX2991" fmla="*/ 845679 w 1199136"/>
                <a:gd name="connsiteY2991" fmla="*/ 1123387 h 1430015"/>
                <a:gd name="connsiteX2992" fmla="*/ 843108 w 1199136"/>
                <a:gd name="connsiteY2992" fmla="*/ 1122631 h 1430015"/>
                <a:gd name="connsiteX2993" fmla="*/ 841898 w 1199136"/>
                <a:gd name="connsiteY2993" fmla="*/ 1122510 h 1430015"/>
                <a:gd name="connsiteX2994" fmla="*/ 841232 w 1199136"/>
                <a:gd name="connsiteY2994" fmla="*/ 1122026 h 1430015"/>
                <a:gd name="connsiteX2995" fmla="*/ 839417 w 1199136"/>
                <a:gd name="connsiteY2995" fmla="*/ 1119847 h 1430015"/>
                <a:gd name="connsiteX2996" fmla="*/ 838449 w 1199136"/>
                <a:gd name="connsiteY2996" fmla="*/ 1119364 h 1430015"/>
                <a:gd name="connsiteX2997" fmla="*/ 835605 w 1199136"/>
                <a:gd name="connsiteY2997" fmla="*/ 1119152 h 1430015"/>
                <a:gd name="connsiteX2998" fmla="*/ 834637 w 1199136"/>
                <a:gd name="connsiteY2998" fmla="*/ 1119364 h 1430015"/>
                <a:gd name="connsiteX2999" fmla="*/ 833699 w 1199136"/>
                <a:gd name="connsiteY2999" fmla="*/ 1119757 h 1430015"/>
                <a:gd name="connsiteX3000" fmla="*/ 832308 w 1199136"/>
                <a:gd name="connsiteY3000" fmla="*/ 1120573 h 1430015"/>
                <a:gd name="connsiteX3001" fmla="*/ 824654 w 1199136"/>
                <a:gd name="connsiteY3001" fmla="*/ 1122359 h 1430015"/>
                <a:gd name="connsiteX3002" fmla="*/ 822597 w 1199136"/>
                <a:gd name="connsiteY3002" fmla="*/ 1122479 h 1430015"/>
                <a:gd name="connsiteX3003" fmla="*/ 819300 w 1199136"/>
                <a:gd name="connsiteY3003" fmla="*/ 1122237 h 1430015"/>
                <a:gd name="connsiteX3004" fmla="*/ 818181 w 1199136"/>
                <a:gd name="connsiteY3004" fmla="*/ 1122691 h 1430015"/>
                <a:gd name="connsiteX3005" fmla="*/ 814399 w 1199136"/>
                <a:gd name="connsiteY3005" fmla="*/ 1126957 h 1430015"/>
                <a:gd name="connsiteX3006" fmla="*/ 811555 w 1199136"/>
                <a:gd name="connsiteY3006" fmla="*/ 1129528 h 1430015"/>
                <a:gd name="connsiteX3007" fmla="*/ 808228 w 1199136"/>
                <a:gd name="connsiteY3007" fmla="*/ 1131615 h 1430015"/>
                <a:gd name="connsiteX3008" fmla="*/ 795855 w 1199136"/>
                <a:gd name="connsiteY3008" fmla="*/ 1135972 h 1430015"/>
                <a:gd name="connsiteX3009" fmla="*/ 791045 w 1199136"/>
                <a:gd name="connsiteY3009" fmla="*/ 1136789 h 1430015"/>
                <a:gd name="connsiteX3010" fmla="*/ 787808 w 1199136"/>
                <a:gd name="connsiteY3010" fmla="*/ 1135366 h 1430015"/>
                <a:gd name="connsiteX3011" fmla="*/ 783028 w 1199136"/>
                <a:gd name="connsiteY3011" fmla="*/ 1137696 h 1430015"/>
                <a:gd name="connsiteX3012" fmla="*/ 777644 w 1199136"/>
                <a:gd name="connsiteY3012" fmla="*/ 1139057 h 1430015"/>
                <a:gd name="connsiteX3013" fmla="*/ 771805 w 1199136"/>
                <a:gd name="connsiteY3013" fmla="*/ 1139390 h 1430015"/>
                <a:gd name="connsiteX3014" fmla="*/ 759523 w 1199136"/>
                <a:gd name="connsiteY3014" fmla="*/ 1137787 h 1430015"/>
                <a:gd name="connsiteX3015" fmla="*/ 756468 w 1199136"/>
                <a:gd name="connsiteY3015" fmla="*/ 1138513 h 1430015"/>
                <a:gd name="connsiteX3016" fmla="*/ 754985 w 1199136"/>
                <a:gd name="connsiteY3016" fmla="*/ 1138664 h 1430015"/>
                <a:gd name="connsiteX3017" fmla="*/ 752686 w 1199136"/>
                <a:gd name="connsiteY3017" fmla="*/ 1138361 h 1430015"/>
                <a:gd name="connsiteX3018" fmla="*/ 750568 w 1199136"/>
                <a:gd name="connsiteY3018" fmla="*/ 1137605 h 1430015"/>
                <a:gd name="connsiteX3019" fmla="*/ 746333 w 1199136"/>
                <a:gd name="connsiteY3019" fmla="*/ 1135366 h 1430015"/>
                <a:gd name="connsiteX3020" fmla="*/ 745002 w 1199136"/>
                <a:gd name="connsiteY3020" fmla="*/ 1136667 h 1430015"/>
                <a:gd name="connsiteX3021" fmla="*/ 738074 w 1199136"/>
                <a:gd name="connsiteY3021" fmla="*/ 1137787 h 1430015"/>
                <a:gd name="connsiteX3022" fmla="*/ 736713 w 1199136"/>
                <a:gd name="connsiteY3022" fmla="*/ 1138604 h 1430015"/>
                <a:gd name="connsiteX3023" fmla="*/ 735443 w 1199136"/>
                <a:gd name="connsiteY3023" fmla="*/ 1139693 h 1430015"/>
                <a:gd name="connsiteX3024" fmla="*/ 734051 w 1199136"/>
                <a:gd name="connsiteY3024" fmla="*/ 1140660 h 1430015"/>
                <a:gd name="connsiteX3025" fmla="*/ 729907 w 1199136"/>
                <a:gd name="connsiteY3025" fmla="*/ 1141568 h 1430015"/>
                <a:gd name="connsiteX3026" fmla="*/ 725430 w 1199136"/>
                <a:gd name="connsiteY3026" fmla="*/ 1143776 h 1430015"/>
                <a:gd name="connsiteX3027" fmla="*/ 723221 w 1199136"/>
                <a:gd name="connsiteY3027" fmla="*/ 1144261 h 1430015"/>
                <a:gd name="connsiteX3028" fmla="*/ 716778 w 1199136"/>
                <a:gd name="connsiteY3028" fmla="*/ 1143413 h 1430015"/>
                <a:gd name="connsiteX3029" fmla="*/ 714599 w 1199136"/>
                <a:gd name="connsiteY3029" fmla="*/ 1143474 h 1430015"/>
                <a:gd name="connsiteX3030" fmla="*/ 714811 w 1199136"/>
                <a:gd name="connsiteY3030" fmla="*/ 1143050 h 1430015"/>
                <a:gd name="connsiteX3031" fmla="*/ 714811 w 1199136"/>
                <a:gd name="connsiteY3031" fmla="*/ 1142899 h 1430015"/>
                <a:gd name="connsiteX3032" fmla="*/ 715295 w 1199136"/>
                <a:gd name="connsiteY3032" fmla="*/ 1142566 h 1430015"/>
                <a:gd name="connsiteX3033" fmla="*/ 713843 w 1199136"/>
                <a:gd name="connsiteY3033" fmla="*/ 1141901 h 1430015"/>
                <a:gd name="connsiteX3034" fmla="*/ 709154 w 1199136"/>
                <a:gd name="connsiteY3034" fmla="*/ 1141054 h 1430015"/>
                <a:gd name="connsiteX3035" fmla="*/ 706250 w 1199136"/>
                <a:gd name="connsiteY3035" fmla="*/ 1139390 h 1430015"/>
                <a:gd name="connsiteX3036" fmla="*/ 702711 w 1199136"/>
                <a:gd name="connsiteY3036" fmla="*/ 1136607 h 1430015"/>
                <a:gd name="connsiteX3037" fmla="*/ 699746 w 1199136"/>
                <a:gd name="connsiteY3037" fmla="*/ 1135427 h 1430015"/>
                <a:gd name="connsiteX3038" fmla="*/ 698717 w 1199136"/>
                <a:gd name="connsiteY3038" fmla="*/ 1134580 h 1430015"/>
                <a:gd name="connsiteX3039" fmla="*/ 698052 w 1199136"/>
                <a:gd name="connsiteY3039" fmla="*/ 1133249 h 1430015"/>
                <a:gd name="connsiteX3040" fmla="*/ 697901 w 1199136"/>
                <a:gd name="connsiteY3040" fmla="*/ 1132160 h 1430015"/>
                <a:gd name="connsiteX3041" fmla="*/ 698082 w 1199136"/>
                <a:gd name="connsiteY3041" fmla="*/ 1130133 h 1430015"/>
                <a:gd name="connsiteX3042" fmla="*/ 695299 w 1199136"/>
                <a:gd name="connsiteY3042" fmla="*/ 1128197 h 1430015"/>
                <a:gd name="connsiteX3043" fmla="*/ 683017 w 1199136"/>
                <a:gd name="connsiteY3043" fmla="*/ 1129044 h 1430015"/>
                <a:gd name="connsiteX3044" fmla="*/ 681535 w 1199136"/>
                <a:gd name="connsiteY3044" fmla="*/ 1125747 h 1430015"/>
                <a:gd name="connsiteX3045" fmla="*/ 681202 w 1199136"/>
                <a:gd name="connsiteY3045" fmla="*/ 1124658 h 1430015"/>
                <a:gd name="connsiteX3046" fmla="*/ 681051 w 1199136"/>
                <a:gd name="connsiteY3046" fmla="*/ 1120876 h 1430015"/>
                <a:gd name="connsiteX3047" fmla="*/ 680476 w 1199136"/>
                <a:gd name="connsiteY3047" fmla="*/ 1120090 h 1430015"/>
                <a:gd name="connsiteX3048" fmla="*/ 676664 w 1199136"/>
                <a:gd name="connsiteY3048" fmla="*/ 1117669 h 1430015"/>
                <a:gd name="connsiteX3049" fmla="*/ 676422 w 1199136"/>
                <a:gd name="connsiteY3049" fmla="*/ 1117125 h 1430015"/>
                <a:gd name="connsiteX3050" fmla="*/ 676332 w 1199136"/>
                <a:gd name="connsiteY3050" fmla="*/ 1116308 h 1430015"/>
                <a:gd name="connsiteX3051" fmla="*/ 676150 w 1199136"/>
                <a:gd name="connsiteY3051" fmla="*/ 1115552 h 1430015"/>
                <a:gd name="connsiteX3052" fmla="*/ 675635 w 1199136"/>
                <a:gd name="connsiteY3052" fmla="*/ 1115250 h 1430015"/>
                <a:gd name="connsiteX3053" fmla="*/ 674849 w 1199136"/>
                <a:gd name="connsiteY3053" fmla="*/ 1115370 h 1430015"/>
                <a:gd name="connsiteX3054" fmla="*/ 673488 w 1199136"/>
                <a:gd name="connsiteY3054" fmla="*/ 1115976 h 1430015"/>
                <a:gd name="connsiteX3055" fmla="*/ 671521 w 1199136"/>
                <a:gd name="connsiteY3055" fmla="*/ 1116459 h 1430015"/>
                <a:gd name="connsiteX3056" fmla="*/ 670402 w 1199136"/>
                <a:gd name="connsiteY3056" fmla="*/ 1117065 h 1430015"/>
                <a:gd name="connsiteX3057" fmla="*/ 669252 w 1199136"/>
                <a:gd name="connsiteY3057" fmla="*/ 1117397 h 1430015"/>
                <a:gd name="connsiteX3058" fmla="*/ 667710 w 1199136"/>
                <a:gd name="connsiteY3058" fmla="*/ 1116883 h 1430015"/>
                <a:gd name="connsiteX3059" fmla="*/ 666833 w 1199136"/>
                <a:gd name="connsiteY3059" fmla="*/ 1119515 h 1430015"/>
                <a:gd name="connsiteX3060" fmla="*/ 664503 w 1199136"/>
                <a:gd name="connsiteY3060" fmla="*/ 1120513 h 1430015"/>
                <a:gd name="connsiteX3061" fmla="*/ 661720 w 1199136"/>
                <a:gd name="connsiteY3061" fmla="*/ 1120513 h 1430015"/>
                <a:gd name="connsiteX3062" fmla="*/ 659451 w 1199136"/>
                <a:gd name="connsiteY3062" fmla="*/ 1120090 h 1430015"/>
                <a:gd name="connsiteX3063" fmla="*/ 655972 w 1199136"/>
                <a:gd name="connsiteY3063" fmla="*/ 1118758 h 1430015"/>
                <a:gd name="connsiteX3064" fmla="*/ 654974 w 1199136"/>
                <a:gd name="connsiteY3064" fmla="*/ 1118547 h 1430015"/>
                <a:gd name="connsiteX3065" fmla="*/ 653824 w 1199136"/>
                <a:gd name="connsiteY3065" fmla="*/ 1118880 h 1430015"/>
                <a:gd name="connsiteX3066" fmla="*/ 652705 w 1199136"/>
                <a:gd name="connsiteY3066" fmla="*/ 1119666 h 1430015"/>
                <a:gd name="connsiteX3067" fmla="*/ 652100 w 1199136"/>
                <a:gd name="connsiteY3067" fmla="*/ 1120664 h 1430015"/>
                <a:gd name="connsiteX3068" fmla="*/ 652675 w 1199136"/>
                <a:gd name="connsiteY3068" fmla="*/ 1121693 h 1430015"/>
                <a:gd name="connsiteX3069" fmla="*/ 649165 w 1199136"/>
                <a:gd name="connsiteY3069" fmla="*/ 1124537 h 1430015"/>
                <a:gd name="connsiteX3070" fmla="*/ 649377 w 1199136"/>
                <a:gd name="connsiteY3070" fmla="*/ 1125626 h 1430015"/>
                <a:gd name="connsiteX3071" fmla="*/ 650315 w 1199136"/>
                <a:gd name="connsiteY3071" fmla="*/ 1126745 h 1430015"/>
                <a:gd name="connsiteX3072" fmla="*/ 650527 w 1199136"/>
                <a:gd name="connsiteY3072" fmla="*/ 1127804 h 1430015"/>
                <a:gd name="connsiteX3073" fmla="*/ 650678 w 1199136"/>
                <a:gd name="connsiteY3073" fmla="*/ 1129256 h 1430015"/>
                <a:gd name="connsiteX3074" fmla="*/ 650860 w 1199136"/>
                <a:gd name="connsiteY3074" fmla="*/ 1129952 h 1430015"/>
                <a:gd name="connsiteX3075" fmla="*/ 650678 w 1199136"/>
                <a:gd name="connsiteY3075" fmla="*/ 1130466 h 1430015"/>
                <a:gd name="connsiteX3076" fmla="*/ 649831 w 1199136"/>
                <a:gd name="connsiteY3076" fmla="*/ 1131373 h 1430015"/>
                <a:gd name="connsiteX3077" fmla="*/ 646413 w 1199136"/>
                <a:gd name="connsiteY3077" fmla="*/ 1133824 h 1430015"/>
                <a:gd name="connsiteX3078" fmla="*/ 638033 w 1199136"/>
                <a:gd name="connsiteY3078" fmla="*/ 1137272 h 1430015"/>
                <a:gd name="connsiteX3079" fmla="*/ 633707 w 1199136"/>
                <a:gd name="connsiteY3079" fmla="*/ 1137817 h 1430015"/>
                <a:gd name="connsiteX3080" fmla="*/ 630531 w 1199136"/>
                <a:gd name="connsiteY3080" fmla="*/ 1136123 h 1430015"/>
                <a:gd name="connsiteX3081" fmla="*/ 630470 w 1199136"/>
                <a:gd name="connsiteY3081" fmla="*/ 1135094 h 1430015"/>
                <a:gd name="connsiteX3082" fmla="*/ 629260 w 1199136"/>
                <a:gd name="connsiteY3082" fmla="*/ 1134247 h 1430015"/>
                <a:gd name="connsiteX3083" fmla="*/ 626417 w 1199136"/>
                <a:gd name="connsiteY3083" fmla="*/ 1132916 h 1430015"/>
                <a:gd name="connsiteX3084" fmla="*/ 625358 w 1199136"/>
                <a:gd name="connsiteY3084" fmla="*/ 1131978 h 1430015"/>
                <a:gd name="connsiteX3085" fmla="*/ 622575 w 1199136"/>
                <a:gd name="connsiteY3085" fmla="*/ 1127410 h 1430015"/>
                <a:gd name="connsiteX3086" fmla="*/ 620094 w 1199136"/>
                <a:gd name="connsiteY3086" fmla="*/ 1122056 h 1430015"/>
                <a:gd name="connsiteX3087" fmla="*/ 619580 w 1199136"/>
                <a:gd name="connsiteY3087" fmla="*/ 1119908 h 1430015"/>
                <a:gd name="connsiteX3088" fmla="*/ 618430 w 1199136"/>
                <a:gd name="connsiteY3088" fmla="*/ 1119787 h 1430015"/>
                <a:gd name="connsiteX3089" fmla="*/ 617281 w 1199136"/>
                <a:gd name="connsiteY3089" fmla="*/ 1119908 h 1430015"/>
                <a:gd name="connsiteX3090" fmla="*/ 616675 w 1199136"/>
                <a:gd name="connsiteY3090" fmla="*/ 1118517 h 1430015"/>
                <a:gd name="connsiteX3091" fmla="*/ 615466 w 1199136"/>
                <a:gd name="connsiteY3091" fmla="*/ 1120544 h 1430015"/>
                <a:gd name="connsiteX3092" fmla="*/ 615889 w 1199136"/>
                <a:gd name="connsiteY3092" fmla="*/ 1123478 h 1430015"/>
                <a:gd name="connsiteX3093" fmla="*/ 616040 w 1199136"/>
                <a:gd name="connsiteY3093" fmla="*/ 1126352 h 1430015"/>
                <a:gd name="connsiteX3094" fmla="*/ 613953 w 1199136"/>
                <a:gd name="connsiteY3094" fmla="*/ 1128106 h 1430015"/>
                <a:gd name="connsiteX3095" fmla="*/ 612682 w 1199136"/>
                <a:gd name="connsiteY3095" fmla="*/ 1127955 h 1430015"/>
                <a:gd name="connsiteX3096" fmla="*/ 611079 w 1199136"/>
                <a:gd name="connsiteY3096" fmla="*/ 1127531 h 1430015"/>
                <a:gd name="connsiteX3097" fmla="*/ 609718 w 1199136"/>
                <a:gd name="connsiteY3097" fmla="*/ 1127471 h 1430015"/>
                <a:gd name="connsiteX3098" fmla="*/ 609143 w 1199136"/>
                <a:gd name="connsiteY3098" fmla="*/ 1128499 h 1430015"/>
                <a:gd name="connsiteX3099" fmla="*/ 608629 w 1199136"/>
                <a:gd name="connsiteY3099" fmla="*/ 1130375 h 1430015"/>
                <a:gd name="connsiteX3100" fmla="*/ 607328 w 1199136"/>
                <a:gd name="connsiteY3100" fmla="*/ 1131767 h 1430015"/>
                <a:gd name="connsiteX3101" fmla="*/ 604272 w 1199136"/>
                <a:gd name="connsiteY3101" fmla="*/ 1133763 h 1430015"/>
                <a:gd name="connsiteX3102" fmla="*/ 601066 w 1199136"/>
                <a:gd name="connsiteY3102" fmla="*/ 1132674 h 1430015"/>
                <a:gd name="connsiteX3103" fmla="*/ 598374 w 1199136"/>
                <a:gd name="connsiteY3103" fmla="*/ 1134671 h 1430015"/>
                <a:gd name="connsiteX3104" fmla="*/ 595742 w 1199136"/>
                <a:gd name="connsiteY3104" fmla="*/ 1137393 h 1430015"/>
                <a:gd name="connsiteX3105" fmla="*/ 592686 w 1199136"/>
                <a:gd name="connsiteY3105" fmla="*/ 1138573 h 1430015"/>
                <a:gd name="connsiteX3106" fmla="*/ 593806 w 1199136"/>
                <a:gd name="connsiteY3106" fmla="*/ 1139753 h 1430015"/>
                <a:gd name="connsiteX3107" fmla="*/ 593684 w 1199136"/>
                <a:gd name="connsiteY3107" fmla="*/ 1141417 h 1430015"/>
                <a:gd name="connsiteX3108" fmla="*/ 593049 w 1199136"/>
                <a:gd name="connsiteY3108" fmla="*/ 1143353 h 1430015"/>
                <a:gd name="connsiteX3109" fmla="*/ 592414 w 1199136"/>
                <a:gd name="connsiteY3109" fmla="*/ 1146469 h 1430015"/>
                <a:gd name="connsiteX3110" fmla="*/ 590054 w 1199136"/>
                <a:gd name="connsiteY3110" fmla="*/ 1150885 h 1430015"/>
                <a:gd name="connsiteX3111" fmla="*/ 589782 w 1199136"/>
                <a:gd name="connsiteY3111" fmla="*/ 1151128 h 1430015"/>
                <a:gd name="connsiteX3112" fmla="*/ 589782 w 1199136"/>
                <a:gd name="connsiteY3112" fmla="*/ 1151279 h 1430015"/>
                <a:gd name="connsiteX3113" fmla="*/ 589842 w 1199136"/>
                <a:gd name="connsiteY3113" fmla="*/ 1152065 h 1430015"/>
                <a:gd name="connsiteX3114" fmla="*/ 590115 w 1199136"/>
                <a:gd name="connsiteY3114" fmla="*/ 1153124 h 1430015"/>
                <a:gd name="connsiteX3115" fmla="*/ 591022 w 1199136"/>
                <a:gd name="connsiteY3115" fmla="*/ 1154425 h 1430015"/>
                <a:gd name="connsiteX3116" fmla="*/ 591234 w 1199136"/>
                <a:gd name="connsiteY3116" fmla="*/ 1154969 h 1430015"/>
                <a:gd name="connsiteX3117" fmla="*/ 591143 w 1199136"/>
                <a:gd name="connsiteY3117" fmla="*/ 1155998 h 1430015"/>
                <a:gd name="connsiteX3118" fmla="*/ 590599 w 1199136"/>
                <a:gd name="connsiteY3118" fmla="*/ 1158146 h 1430015"/>
                <a:gd name="connsiteX3119" fmla="*/ 590387 w 1199136"/>
                <a:gd name="connsiteY3119" fmla="*/ 1158237 h 1430015"/>
                <a:gd name="connsiteX3120" fmla="*/ 589661 w 1199136"/>
                <a:gd name="connsiteY3120" fmla="*/ 1161473 h 1430015"/>
                <a:gd name="connsiteX3121" fmla="*/ 589873 w 1199136"/>
                <a:gd name="connsiteY3121" fmla="*/ 1161836 h 1430015"/>
                <a:gd name="connsiteX3122" fmla="*/ 589419 w 1199136"/>
                <a:gd name="connsiteY3122" fmla="*/ 1162290 h 1430015"/>
                <a:gd name="connsiteX3123" fmla="*/ 587967 w 1199136"/>
                <a:gd name="connsiteY3123" fmla="*/ 1163107 h 1430015"/>
                <a:gd name="connsiteX3124" fmla="*/ 587816 w 1199136"/>
                <a:gd name="connsiteY3124" fmla="*/ 1162623 h 1430015"/>
                <a:gd name="connsiteX3125" fmla="*/ 586091 w 1199136"/>
                <a:gd name="connsiteY3125" fmla="*/ 1163410 h 1430015"/>
                <a:gd name="connsiteX3126" fmla="*/ 586031 w 1199136"/>
                <a:gd name="connsiteY3126" fmla="*/ 1164831 h 1430015"/>
                <a:gd name="connsiteX3127" fmla="*/ 586969 w 1199136"/>
                <a:gd name="connsiteY3127" fmla="*/ 1166465 h 1430015"/>
                <a:gd name="connsiteX3128" fmla="*/ 588149 w 1199136"/>
                <a:gd name="connsiteY3128" fmla="*/ 1167856 h 1430015"/>
                <a:gd name="connsiteX3129" fmla="*/ 588996 w 1199136"/>
                <a:gd name="connsiteY3129" fmla="*/ 1169218 h 1430015"/>
                <a:gd name="connsiteX3130" fmla="*/ 589268 w 1199136"/>
                <a:gd name="connsiteY3130" fmla="*/ 1170609 h 1430015"/>
                <a:gd name="connsiteX3131" fmla="*/ 589389 w 1199136"/>
                <a:gd name="connsiteY3131" fmla="*/ 1172122 h 1430015"/>
                <a:gd name="connsiteX3132" fmla="*/ 589842 w 1199136"/>
                <a:gd name="connsiteY3132" fmla="*/ 1173876 h 1430015"/>
                <a:gd name="connsiteX3133" fmla="*/ 590780 w 1199136"/>
                <a:gd name="connsiteY3133" fmla="*/ 1175843 h 1430015"/>
                <a:gd name="connsiteX3134" fmla="*/ 592263 w 1199136"/>
                <a:gd name="connsiteY3134" fmla="*/ 1178203 h 1430015"/>
                <a:gd name="connsiteX3135" fmla="*/ 593987 w 1199136"/>
                <a:gd name="connsiteY3135" fmla="*/ 1180199 h 1430015"/>
                <a:gd name="connsiteX3136" fmla="*/ 595742 w 1199136"/>
                <a:gd name="connsiteY3136" fmla="*/ 1181046 h 1430015"/>
                <a:gd name="connsiteX3137" fmla="*/ 599765 w 1199136"/>
                <a:gd name="connsiteY3137" fmla="*/ 1181107 h 1430015"/>
                <a:gd name="connsiteX3138" fmla="*/ 601217 w 1199136"/>
                <a:gd name="connsiteY3138" fmla="*/ 1181772 h 1430015"/>
                <a:gd name="connsiteX3139" fmla="*/ 602911 w 1199136"/>
                <a:gd name="connsiteY3139" fmla="*/ 1183406 h 1430015"/>
                <a:gd name="connsiteX3140" fmla="*/ 607086 w 1199136"/>
                <a:gd name="connsiteY3140" fmla="*/ 1189880 h 1430015"/>
                <a:gd name="connsiteX3141" fmla="*/ 609415 w 1199136"/>
                <a:gd name="connsiteY3141" fmla="*/ 1191876 h 1430015"/>
                <a:gd name="connsiteX3142" fmla="*/ 613287 w 1199136"/>
                <a:gd name="connsiteY3142" fmla="*/ 1192148 h 1430015"/>
                <a:gd name="connsiteX3143" fmla="*/ 621667 w 1199136"/>
                <a:gd name="connsiteY3143" fmla="*/ 1190818 h 1430015"/>
                <a:gd name="connsiteX3144" fmla="*/ 629835 w 1199136"/>
                <a:gd name="connsiteY3144" fmla="*/ 1190545 h 1430015"/>
                <a:gd name="connsiteX3145" fmla="*/ 637942 w 1199136"/>
                <a:gd name="connsiteY3145" fmla="*/ 1191483 h 1430015"/>
                <a:gd name="connsiteX3146" fmla="*/ 641089 w 1199136"/>
                <a:gd name="connsiteY3146" fmla="*/ 1192754 h 1430015"/>
                <a:gd name="connsiteX3147" fmla="*/ 643690 w 1199136"/>
                <a:gd name="connsiteY3147" fmla="*/ 1195295 h 1430015"/>
                <a:gd name="connsiteX3148" fmla="*/ 644114 w 1199136"/>
                <a:gd name="connsiteY3148" fmla="*/ 1196263 h 1430015"/>
                <a:gd name="connsiteX3149" fmla="*/ 644749 w 1199136"/>
                <a:gd name="connsiteY3149" fmla="*/ 1198622 h 1430015"/>
                <a:gd name="connsiteX3150" fmla="*/ 645384 w 1199136"/>
                <a:gd name="connsiteY3150" fmla="*/ 1199711 h 1430015"/>
                <a:gd name="connsiteX3151" fmla="*/ 646352 w 1199136"/>
                <a:gd name="connsiteY3151" fmla="*/ 1200195 h 1430015"/>
                <a:gd name="connsiteX3152" fmla="*/ 647411 w 1199136"/>
                <a:gd name="connsiteY3152" fmla="*/ 1200014 h 1430015"/>
                <a:gd name="connsiteX3153" fmla="*/ 648893 w 1199136"/>
                <a:gd name="connsiteY3153" fmla="*/ 1199348 h 1430015"/>
                <a:gd name="connsiteX3154" fmla="*/ 661236 w 1199136"/>
                <a:gd name="connsiteY3154" fmla="*/ 1200952 h 1430015"/>
                <a:gd name="connsiteX3155" fmla="*/ 661780 w 1199136"/>
                <a:gd name="connsiteY3155" fmla="*/ 1201315 h 1430015"/>
                <a:gd name="connsiteX3156" fmla="*/ 662779 w 1199136"/>
                <a:gd name="connsiteY3156" fmla="*/ 1202979 h 1430015"/>
                <a:gd name="connsiteX3157" fmla="*/ 663323 w 1199136"/>
                <a:gd name="connsiteY3157" fmla="*/ 1203342 h 1430015"/>
                <a:gd name="connsiteX3158" fmla="*/ 664473 w 1199136"/>
                <a:gd name="connsiteY3158" fmla="*/ 1203644 h 1430015"/>
                <a:gd name="connsiteX3159" fmla="*/ 665290 w 1199136"/>
                <a:gd name="connsiteY3159" fmla="*/ 1204310 h 1430015"/>
                <a:gd name="connsiteX3160" fmla="*/ 666439 w 1199136"/>
                <a:gd name="connsiteY3160" fmla="*/ 1205701 h 1430015"/>
                <a:gd name="connsiteX3161" fmla="*/ 668648 w 1199136"/>
                <a:gd name="connsiteY3161" fmla="*/ 1206851 h 1430015"/>
                <a:gd name="connsiteX3162" fmla="*/ 669252 w 1199136"/>
                <a:gd name="connsiteY3162" fmla="*/ 1207335 h 1430015"/>
                <a:gd name="connsiteX3163" fmla="*/ 671733 w 1199136"/>
                <a:gd name="connsiteY3163" fmla="*/ 1211751 h 1430015"/>
                <a:gd name="connsiteX3164" fmla="*/ 672853 w 1199136"/>
                <a:gd name="connsiteY3164" fmla="*/ 1212296 h 1430015"/>
                <a:gd name="connsiteX3165" fmla="*/ 674153 w 1199136"/>
                <a:gd name="connsiteY3165" fmla="*/ 1212689 h 1430015"/>
                <a:gd name="connsiteX3166" fmla="*/ 675091 w 1199136"/>
                <a:gd name="connsiteY3166" fmla="*/ 1213264 h 1430015"/>
                <a:gd name="connsiteX3167" fmla="*/ 676936 w 1199136"/>
                <a:gd name="connsiteY3167" fmla="*/ 1214958 h 1430015"/>
                <a:gd name="connsiteX3168" fmla="*/ 681232 w 1199136"/>
                <a:gd name="connsiteY3168" fmla="*/ 1217288 h 1430015"/>
                <a:gd name="connsiteX3169" fmla="*/ 686194 w 1199136"/>
                <a:gd name="connsiteY3169" fmla="*/ 1220978 h 1430015"/>
                <a:gd name="connsiteX3170" fmla="*/ 689339 w 1199136"/>
                <a:gd name="connsiteY3170" fmla="*/ 1222793 h 1430015"/>
                <a:gd name="connsiteX3171" fmla="*/ 692970 w 1199136"/>
                <a:gd name="connsiteY3171" fmla="*/ 1224003 h 1430015"/>
                <a:gd name="connsiteX3172" fmla="*/ 697568 w 1199136"/>
                <a:gd name="connsiteY3172" fmla="*/ 1224729 h 1430015"/>
                <a:gd name="connsiteX3173" fmla="*/ 701077 w 1199136"/>
                <a:gd name="connsiteY3173" fmla="*/ 1225727 h 1430015"/>
                <a:gd name="connsiteX3174" fmla="*/ 704042 w 1199136"/>
                <a:gd name="connsiteY3174" fmla="*/ 1227664 h 1430015"/>
                <a:gd name="connsiteX3175" fmla="*/ 712573 w 1199136"/>
                <a:gd name="connsiteY3175" fmla="*/ 1235469 h 1430015"/>
                <a:gd name="connsiteX3176" fmla="*/ 715809 w 1199136"/>
                <a:gd name="connsiteY3176" fmla="*/ 1237556 h 1430015"/>
                <a:gd name="connsiteX3177" fmla="*/ 719410 w 1199136"/>
                <a:gd name="connsiteY3177" fmla="*/ 1238978 h 1430015"/>
                <a:gd name="connsiteX3178" fmla="*/ 723735 w 1199136"/>
                <a:gd name="connsiteY3178" fmla="*/ 1239825 h 1430015"/>
                <a:gd name="connsiteX3179" fmla="*/ 727577 w 1199136"/>
                <a:gd name="connsiteY3179" fmla="*/ 1241246 h 1430015"/>
                <a:gd name="connsiteX3180" fmla="*/ 733779 w 1199136"/>
                <a:gd name="connsiteY3180" fmla="*/ 1245724 h 1430015"/>
                <a:gd name="connsiteX3181" fmla="*/ 738226 w 1199136"/>
                <a:gd name="connsiteY3181" fmla="*/ 1246299 h 1430015"/>
                <a:gd name="connsiteX3182" fmla="*/ 739254 w 1199136"/>
                <a:gd name="connsiteY3182" fmla="*/ 1245966 h 1430015"/>
                <a:gd name="connsiteX3183" fmla="*/ 741130 w 1199136"/>
                <a:gd name="connsiteY3183" fmla="*/ 1244877 h 1430015"/>
                <a:gd name="connsiteX3184" fmla="*/ 742038 w 1199136"/>
                <a:gd name="connsiteY3184" fmla="*/ 1244635 h 1430015"/>
                <a:gd name="connsiteX3185" fmla="*/ 753352 w 1199136"/>
                <a:gd name="connsiteY3185" fmla="*/ 1243758 h 1430015"/>
                <a:gd name="connsiteX3186" fmla="*/ 757133 w 1199136"/>
                <a:gd name="connsiteY3186" fmla="*/ 1244393 h 1430015"/>
                <a:gd name="connsiteX3187" fmla="*/ 765422 w 1199136"/>
                <a:gd name="connsiteY3187" fmla="*/ 1247992 h 1430015"/>
                <a:gd name="connsiteX3188" fmla="*/ 772501 w 1199136"/>
                <a:gd name="connsiteY3188" fmla="*/ 1252288 h 1430015"/>
                <a:gd name="connsiteX3189" fmla="*/ 781667 w 1199136"/>
                <a:gd name="connsiteY3189" fmla="*/ 1260456 h 1430015"/>
                <a:gd name="connsiteX3190" fmla="*/ 784148 w 1199136"/>
                <a:gd name="connsiteY3190" fmla="*/ 1263723 h 1430015"/>
                <a:gd name="connsiteX3191" fmla="*/ 792315 w 1199136"/>
                <a:gd name="connsiteY3191" fmla="*/ 1279878 h 1430015"/>
                <a:gd name="connsiteX3192" fmla="*/ 793495 w 1199136"/>
                <a:gd name="connsiteY3192" fmla="*/ 1281209 h 1430015"/>
                <a:gd name="connsiteX3193" fmla="*/ 801391 w 1199136"/>
                <a:gd name="connsiteY3193" fmla="*/ 1282933 h 1430015"/>
                <a:gd name="connsiteX3194" fmla="*/ 803025 w 1199136"/>
                <a:gd name="connsiteY3194" fmla="*/ 1282570 h 1430015"/>
                <a:gd name="connsiteX3195" fmla="*/ 804809 w 1199136"/>
                <a:gd name="connsiteY3195" fmla="*/ 1283629 h 1430015"/>
                <a:gd name="connsiteX3196" fmla="*/ 810738 w 1199136"/>
                <a:gd name="connsiteY3196" fmla="*/ 1285747 h 1430015"/>
                <a:gd name="connsiteX3197" fmla="*/ 812009 w 1199136"/>
                <a:gd name="connsiteY3197" fmla="*/ 1286896 h 1430015"/>
                <a:gd name="connsiteX3198" fmla="*/ 813310 w 1199136"/>
                <a:gd name="connsiteY3198" fmla="*/ 1288923 h 1430015"/>
                <a:gd name="connsiteX3199" fmla="*/ 819300 w 1199136"/>
                <a:gd name="connsiteY3199" fmla="*/ 1289709 h 1430015"/>
                <a:gd name="connsiteX3200" fmla="*/ 820963 w 1199136"/>
                <a:gd name="connsiteY3200" fmla="*/ 1291192 h 1430015"/>
                <a:gd name="connsiteX3201" fmla="*/ 822234 w 1199136"/>
                <a:gd name="connsiteY3201" fmla="*/ 1290738 h 1430015"/>
                <a:gd name="connsiteX3202" fmla="*/ 822506 w 1199136"/>
                <a:gd name="connsiteY3202" fmla="*/ 1291010 h 1430015"/>
                <a:gd name="connsiteX3203" fmla="*/ 822960 w 1199136"/>
                <a:gd name="connsiteY3203" fmla="*/ 1291978 h 1430015"/>
                <a:gd name="connsiteX3204" fmla="*/ 829615 w 1199136"/>
                <a:gd name="connsiteY3204" fmla="*/ 1288892 h 1430015"/>
                <a:gd name="connsiteX3205" fmla="*/ 833185 w 1199136"/>
                <a:gd name="connsiteY3205" fmla="*/ 1288378 h 1430015"/>
                <a:gd name="connsiteX3206" fmla="*/ 836845 w 1199136"/>
                <a:gd name="connsiteY3206" fmla="*/ 1289618 h 1430015"/>
                <a:gd name="connsiteX3207" fmla="*/ 840748 w 1199136"/>
                <a:gd name="connsiteY3207" fmla="*/ 1292160 h 1430015"/>
                <a:gd name="connsiteX3208" fmla="*/ 843259 w 1199136"/>
                <a:gd name="connsiteY3208" fmla="*/ 1293188 h 1430015"/>
                <a:gd name="connsiteX3209" fmla="*/ 844408 w 1199136"/>
                <a:gd name="connsiteY3209" fmla="*/ 1292371 h 1430015"/>
                <a:gd name="connsiteX3210" fmla="*/ 844802 w 1199136"/>
                <a:gd name="connsiteY3210" fmla="*/ 1291645 h 1430015"/>
                <a:gd name="connsiteX3211" fmla="*/ 845740 w 1199136"/>
                <a:gd name="connsiteY3211" fmla="*/ 1291585 h 1430015"/>
                <a:gd name="connsiteX3212" fmla="*/ 847131 w 1199136"/>
                <a:gd name="connsiteY3212" fmla="*/ 1291978 h 1430015"/>
                <a:gd name="connsiteX3213" fmla="*/ 848341 w 1199136"/>
                <a:gd name="connsiteY3213" fmla="*/ 1292613 h 1430015"/>
                <a:gd name="connsiteX3214" fmla="*/ 849128 w 1199136"/>
                <a:gd name="connsiteY3214" fmla="*/ 1293340 h 1430015"/>
                <a:gd name="connsiteX3215" fmla="*/ 850580 w 1199136"/>
                <a:gd name="connsiteY3215" fmla="*/ 1295185 h 1430015"/>
                <a:gd name="connsiteX3216" fmla="*/ 852425 w 1199136"/>
                <a:gd name="connsiteY3216" fmla="*/ 1296607 h 1430015"/>
                <a:gd name="connsiteX3217" fmla="*/ 854482 w 1199136"/>
                <a:gd name="connsiteY3217" fmla="*/ 1297091 h 1430015"/>
                <a:gd name="connsiteX3218" fmla="*/ 856539 w 1199136"/>
                <a:gd name="connsiteY3218" fmla="*/ 1296516 h 1430015"/>
                <a:gd name="connsiteX3219" fmla="*/ 858536 w 1199136"/>
                <a:gd name="connsiteY3219" fmla="*/ 1294761 h 1430015"/>
                <a:gd name="connsiteX3220" fmla="*/ 858596 w 1199136"/>
                <a:gd name="connsiteY3220" fmla="*/ 1293340 h 1430015"/>
                <a:gd name="connsiteX3221" fmla="*/ 856811 w 1199136"/>
                <a:gd name="connsiteY3221" fmla="*/ 1286503 h 1430015"/>
                <a:gd name="connsiteX3222" fmla="*/ 854966 w 1199136"/>
                <a:gd name="connsiteY3222" fmla="*/ 1282782 h 1430015"/>
                <a:gd name="connsiteX3223" fmla="*/ 854482 w 1199136"/>
                <a:gd name="connsiteY3223" fmla="*/ 1280483 h 1430015"/>
                <a:gd name="connsiteX3224" fmla="*/ 855753 w 1199136"/>
                <a:gd name="connsiteY3224" fmla="*/ 1279454 h 1430015"/>
                <a:gd name="connsiteX3225" fmla="*/ 855874 w 1199136"/>
                <a:gd name="connsiteY3225" fmla="*/ 1278123 h 1430015"/>
                <a:gd name="connsiteX3226" fmla="*/ 860986 w 1199136"/>
                <a:gd name="connsiteY3226" fmla="*/ 1266143 h 1430015"/>
                <a:gd name="connsiteX3227" fmla="*/ 862620 w 1199136"/>
                <a:gd name="connsiteY3227" fmla="*/ 1263845 h 1430015"/>
                <a:gd name="connsiteX3228" fmla="*/ 864767 w 1199136"/>
                <a:gd name="connsiteY3228" fmla="*/ 1262876 h 1430015"/>
                <a:gd name="connsiteX3229" fmla="*/ 866341 w 1199136"/>
                <a:gd name="connsiteY3229" fmla="*/ 1262422 h 1430015"/>
                <a:gd name="connsiteX3230" fmla="*/ 867853 w 1199136"/>
                <a:gd name="connsiteY3230" fmla="*/ 1261485 h 1430015"/>
                <a:gd name="connsiteX3231" fmla="*/ 869638 w 1199136"/>
                <a:gd name="connsiteY3231" fmla="*/ 1260638 h 1430015"/>
                <a:gd name="connsiteX3232" fmla="*/ 871998 w 1199136"/>
                <a:gd name="connsiteY3232" fmla="*/ 1260517 h 1430015"/>
                <a:gd name="connsiteX3233" fmla="*/ 871998 w 1199136"/>
                <a:gd name="connsiteY3233" fmla="*/ 1259670 h 1430015"/>
                <a:gd name="connsiteX3234" fmla="*/ 871574 w 1199136"/>
                <a:gd name="connsiteY3234" fmla="*/ 1258914 h 1430015"/>
                <a:gd name="connsiteX3235" fmla="*/ 871816 w 1199136"/>
                <a:gd name="connsiteY3235" fmla="*/ 1258671 h 1430015"/>
                <a:gd name="connsiteX3236" fmla="*/ 872693 w 1199136"/>
                <a:gd name="connsiteY3236" fmla="*/ 1258188 h 1430015"/>
                <a:gd name="connsiteX3237" fmla="*/ 871998 w 1199136"/>
                <a:gd name="connsiteY3237" fmla="*/ 1257401 h 1430015"/>
                <a:gd name="connsiteX3238" fmla="*/ 875537 w 1199136"/>
                <a:gd name="connsiteY3238" fmla="*/ 1255555 h 1430015"/>
                <a:gd name="connsiteX3239" fmla="*/ 876081 w 1199136"/>
                <a:gd name="connsiteY3239" fmla="*/ 1255374 h 1430015"/>
                <a:gd name="connsiteX3240" fmla="*/ 876596 w 1199136"/>
                <a:gd name="connsiteY3240" fmla="*/ 1255979 h 1430015"/>
                <a:gd name="connsiteX3241" fmla="*/ 877655 w 1199136"/>
                <a:gd name="connsiteY3241" fmla="*/ 1256433 h 1430015"/>
                <a:gd name="connsiteX3242" fmla="*/ 878411 w 1199136"/>
                <a:gd name="connsiteY3242" fmla="*/ 1256070 h 1430015"/>
                <a:gd name="connsiteX3243" fmla="*/ 878108 w 1199136"/>
                <a:gd name="connsiteY3243" fmla="*/ 1254194 h 1430015"/>
                <a:gd name="connsiteX3244" fmla="*/ 877261 w 1199136"/>
                <a:gd name="connsiteY3244" fmla="*/ 1252742 h 1430015"/>
                <a:gd name="connsiteX3245" fmla="*/ 876384 w 1199136"/>
                <a:gd name="connsiteY3245" fmla="*/ 1252319 h 1430015"/>
                <a:gd name="connsiteX3246" fmla="*/ 874327 w 1199136"/>
                <a:gd name="connsiteY3246" fmla="*/ 1252560 h 1430015"/>
                <a:gd name="connsiteX3247" fmla="*/ 873510 w 1199136"/>
                <a:gd name="connsiteY3247" fmla="*/ 1251804 h 1430015"/>
                <a:gd name="connsiteX3248" fmla="*/ 873329 w 1199136"/>
                <a:gd name="connsiteY3248" fmla="*/ 1250382 h 1430015"/>
                <a:gd name="connsiteX3249" fmla="*/ 873934 w 1199136"/>
                <a:gd name="connsiteY3249" fmla="*/ 1249445 h 1430015"/>
                <a:gd name="connsiteX3250" fmla="*/ 875416 w 1199136"/>
                <a:gd name="connsiteY3250" fmla="*/ 1250171 h 1430015"/>
                <a:gd name="connsiteX3251" fmla="*/ 875930 w 1199136"/>
                <a:gd name="connsiteY3251" fmla="*/ 1247388 h 1430015"/>
                <a:gd name="connsiteX3252" fmla="*/ 875477 w 1199136"/>
                <a:gd name="connsiteY3252" fmla="*/ 1245694 h 1430015"/>
                <a:gd name="connsiteX3253" fmla="*/ 874025 w 1199136"/>
                <a:gd name="connsiteY3253" fmla="*/ 1244877 h 1430015"/>
                <a:gd name="connsiteX3254" fmla="*/ 871604 w 1199136"/>
                <a:gd name="connsiteY3254" fmla="*/ 1244665 h 1430015"/>
                <a:gd name="connsiteX3255" fmla="*/ 869789 w 1199136"/>
                <a:gd name="connsiteY3255" fmla="*/ 1243758 h 1430015"/>
                <a:gd name="connsiteX3256" fmla="*/ 868307 w 1199136"/>
                <a:gd name="connsiteY3256" fmla="*/ 1241821 h 1430015"/>
                <a:gd name="connsiteX3257" fmla="*/ 868035 w 1199136"/>
                <a:gd name="connsiteY3257" fmla="*/ 1240097 h 1430015"/>
                <a:gd name="connsiteX3258" fmla="*/ 869880 w 1199136"/>
                <a:gd name="connsiteY3258" fmla="*/ 1239855 h 1430015"/>
                <a:gd name="connsiteX3259" fmla="*/ 869880 w 1199136"/>
                <a:gd name="connsiteY3259" fmla="*/ 1239068 h 1430015"/>
                <a:gd name="connsiteX3260" fmla="*/ 868428 w 1199136"/>
                <a:gd name="connsiteY3260" fmla="*/ 1238342 h 1430015"/>
                <a:gd name="connsiteX3261" fmla="*/ 866734 w 1199136"/>
                <a:gd name="connsiteY3261" fmla="*/ 1239462 h 1430015"/>
                <a:gd name="connsiteX3262" fmla="*/ 864556 w 1199136"/>
                <a:gd name="connsiteY3262" fmla="*/ 1237012 h 1430015"/>
                <a:gd name="connsiteX3263" fmla="*/ 863437 w 1199136"/>
                <a:gd name="connsiteY3263" fmla="*/ 1233381 h 1430015"/>
                <a:gd name="connsiteX3264" fmla="*/ 865010 w 1199136"/>
                <a:gd name="connsiteY3264" fmla="*/ 1231052 h 1430015"/>
                <a:gd name="connsiteX3265" fmla="*/ 864404 w 1199136"/>
                <a:gd name="connsiteY3265" fmla="*/ 1229630 h 1430015"/>
                <a:gd name="connsiteX3266" fmla="*/ 865675 w 1199136"/>
                <a:gd name="connsiteY3266" fmla="*/ 1229085 h 1430015"/>
                <a:gd name="connsiteX3267" fmla="*/ 866734 w 1199136"/>
                <a:gd name="connsiteY3267" fmla="*/ 1229085 h 1430015"/>
                <a:gd name="connsiteX3268" fmla="*/ 867339 w 1199136"/>
                <a:gd name="connsiteY3268" fmla="*/ 1229932 h 1430015"/>
                <a:gd name="connsiteX3269" fmla="*/ 867188 w 1199136"/>
                <a:gd name="connsiteY3269" fmla="*/ 1231929 h 1430015"/>
                <a:gd name="connsiteX3270" fmla="*/ 868065 w 1199136"/>
                <a:gd name="connsiteY3270" fmla="*/ 1230749 h 1430015"/>
                <a:gd name="connsiteX3271" fmla="*/ 868761 w 1199136"/>
                <a:gd name="connsiteY3271" fmla="*/ 1229418 h 1430015"/>
                <a:gd name="connsiteX3272" fmla="*/ 869698 w 1199136"/>
                <a:gd name="connsiteY3272" fmla="*/ 1228934 h 1430015"/>
                <a:gd name="connsiteX3273" fmla="*/ 871332 w 1199136"/>
                <a:gd name="connsiteY3273" fmla="*/ 1230356 h 1430015"/>
                <a:gd name="connsiteX3274" fmla="*/ 870394 w 1199136"/>
                <a:gd name="connsiteY3274" fmla="*/ 1227573 h 1430015"/>
                <a:gd name="connsiteX3275" fmla="*/ 868852 w 1199136"/>
                <a:gd name="connsiteY3275" fmla="*/ 1225607 h 1430015"/>
                <a:gd name="connsiteX3276" fmla="*/ 866916 w 1199136"/>
                <a:gd name="connsiteY3276" fmla="*/ 1224397 h 1430015"/>
                <a:gd name="connsiteX3277" fmla="*/ 863134 w 1199136"/>
                <a:gd name="connsiteY3277" fmla="*/ 1223731 h 1430015"/>
                <a:gd name="connsiteX3278" fmla="*/ 856146 w 1199136"/>
                <a:gd name="connsiteY3278" fmla="*/ 1220131 h 1430015"/>
                <a:gd name="connsiteX3279" fmla="*/ 855420 w 1199136"/>
                <a:gd name="connsiteY3279" fmla="*/ 1219193 h 1430015"/>
                <a:gd name="connsiteX3280" fmla="*/ 854724 w 1199136"/>
                <a:gd name="connsiteY3280" fmla="*/ 1217590 h 1430015"/>
                <a:gd name="connsiteX3281" fmla="*/ 854270 w 1199136"/>
                <a:gd name="connsiteY3281" fmla="*/ 1215624 h 1430015"/>
                <a:gd name="connsiteX3282" fmla="*/ 854028 w 1199136"/>
                <a:gd name="connsiteY3282" fmla="*/ 1204128 h 1430015"/>
                <a:gd name="connsiteX3283" fmla="*/ 854240 w 1199136"/>
                <a:gd name="connsiteY3283" fmla="*/ 1202041 h 1430015"/>
                <a:gd name="connsiteX3284" fmla="*/ 854754 w 1199136"/>
                <a:gd name="connsiteY3284" fmla="*/ 1200074 h 1430015"/>
                <a:gd name="connsiteX3285" fmla="*/ 856691 w 1199136"/>
                <a:gd name="connsiteY3285" fmla="*/ 1196838 h 1430015"/>
                <a:gd name="connsiteX3286" fmla="*/ 861500 w 1199136"/>
                <a:gd name="connsiteY3286" fmla="*/ 1191544 h 1430015"/>
                <a:gd name="connsiteX3287" fmla="*/ 862983 w 1199136"/>
                <a:gd name="connsiteY3287" fmla="*/ 1187278 h 1430015"/>
                <a:gd name="connsiteX3288" fmla="*/ 863588 w 1199136"/>
                <a:gd name="connsiteY3288" fmla="*/ 1184798 h 1430015"/>
                <a:gd name="connsiteX3289" fmla="*/ 864798 w 1199136"/>
                <a:gd name="connsiteY3289" fmla="*/ 1181379 h 1430015"/>
                <a:gd name="connsiteX3290" fmla="*/ 865040 w 1199136"/>
                <a:gd name="connsiteY3290" fmla="*/ 1178989 h 1430015"/>
                <a:gd name="connsiteX3291" fmla="*/ 865342 w 1199136"/>
                <a:gd name="connsiteY3291" fmla="*/ 1177870 h 1430015"/>
                <a:gd name="connsiteX3292" fmla="*/ 866734 w 1199136"/>
                <a:gd name="connsiteY3292" fmla="*/ 1176569 h 1430015"/>
                <a:gd name="connsiteX3293" fmla="*/ 867157 w 1199136"/>
                <a:gd name="connsiteY3293" fmla="*/ 1175389 h 1430015"/>
                <a:gd name="connsiteX3294" fmla="*/ 866976 w 1199136"/>
                <a:gd name="connsiteY3294" fmla="*/ 1174058 h 1430015"/>
                <a:gd name="connsiteX3295" fmla="*/ 865947 w 1199136"/>
                <a:gd name="connsiteY3295" fmla="*/ 1171850 h 1430015"/>
                <a:gd name="connsiteX3296" fmla="*/ 865766 w 1199136"/>
                <a:gd name="connsiteY3296" fmla="*/ 1170609 h 1430015"/>
                <a:gd name="connsiteX3297" fmla="*/ 866401 w 1199136"/>
                <a:gd name="connsiteY3297" fmla="*/ 1169006 h 1430015"/>
                <a:gd name="connsiteX3298" fmla="*/ 869215 w 1199136"/>
                <a:gd name="connsiteY3298" fmla="*/ 1165043 h 1430015"/>
                <a:gd name="connsiteX3299" fmla="*/ 871756 w 1199136"/>
                <a:gd name="connsiteY3299" fmla="*/ 1163137 h 1430015"/>
                <a:gd name="connsiteX3300" fmla="*/ 873480 w 1199136"/>
                <a:gd name="connsiteY3300" fmla="*/ 1160687 h 1430015"/>
                <a:gd name="connsiteX3301" fmla="*/ 875416 w 1199136"/>
                <a:gd name="connsiteY3301" fmla="*/ 1157027 h 1430015"/>
                <a:gd name="connsiteX3302" fmla="*/ 884461 w 1199136"/>
                <a:gd name="connsiteY3302" fmla="*/ 1143958 h 1430015"/>
                <a:gd name="connsiteX3303" fmla="*/ 895291 w 1199136"/>
                <a:gd name="connsiteY3303" fmla="*/ 1131222 h 1430015"/>
                <a:gd name="connsiteX3304" fmla="*/ 897983 w 1199136"/>
                <a:gd name="connsiteY3304" fmla="*/ 1125141 h 1430015"/>
                <a:gd name="connsiteX3305" fmla="*/ 902885 w 1199136"/>
                <a:gd name="connsiteY3305" fmla="*/ 1117700 h 1430015"/>
                <a:gd name="connsiteX3306" fmla="*/ 901281 w 1199136"/>
                <a:gd name="connsiteY3306" fmla="*/ 1117760 h 1430015"/>
                <a:gd name="connsiteX3307" fmla="*/ 901584 w 1199136"/>
                <a:gd name="connsiteY3307" fmla="*/ 1116066 h 1430015"/>
                <a:gd name="connsiteX3308" fmla="*/ 902249 w 1199136"/>
                <a:gd name="connsiteY3308" fmla="*/ 1114584 h 1430015"/>
                <a:gd name="connsiteX3309" fmla="*/ 630440 w 1199136"/>
                <a:gd name="connsiteY3309" fmla="*/ 1386574 h 1430015"/>
                <a:gd name="connsiteX3310" fmla="*/ 629714 w 1199136"/>
                <a:gd name="connsiteY3310" fmla="*/ 1386574 h 1430015"/>
                <a:gd name="connsiteX3311" fmla="*/ 629079 w 1199136"/>
                <a:gd name="connsiteY3311" fmla="*/ 1386696 h 1430015"/>
                <a:gd name="connsiteX3312" fmla="*/ 628413 w 1199136"/>
                <a:gd name="connsiteY3312" fmla="*/ 1387028 h 1430015"/>
                <a:gd name="connsiteX3313" fmla="*/ 628292 w 1199136"/>
                <a:gd name="connsiteY3313" fmla="*/ 1387663 h 1430015"/>
                <a:gd name="connsiteX3314" fmla="*/ 628806 w 1199136"/>
                <a:gd name="connsiteY3314" fmla="*/ 1388420 h 1430015"/>
                <a:gd name="connsiteX3315" fmla="*/ 629412 w 1199136"/>
                <a:gd name="connsiteY3315" fmla="*/ 1388843 h 1430015"/>
                <a:gd name="connsiteX3316" fmla="*/ 630985 w 1199136"/>
                <a:gd name="connsiteY3316" fmla="*/ 1388843 h 1430015"/>
                <a:gd name="connsiteX3317" fmla="*/ 631408 w 1199136"/>
                <a:gd name="connsiteY3317" fmla="*/ 1388420 h 1430015"/>
                <a:gd name="connsiteX3318" fmla="*/ 631136 w 1199136"/>
                <a:gd name="connsiteY3318" fmla="*/ 1387210 h 1430015"/>
                <a:gd name="connsiteX3319" fmla="*/ 630440 w 1199136"/>
                <a:gd name="connsiteY3319" fmla="*/ 1386544 h 1430015"/>
                <a:gd name="connsiteX3320" fmla="*/ 780396 w 1199136"/>
                <a:gd name="connsiteY3320" fmla="*/ 1076316 h 1430015"/>
                <a:gd name="connsiteX3321" fmla="*/ 778944 w 1199136"/>
                <a:gd name="connsiteY3321" fmla="*/ 1076769 h 1430015"/>
                <a:gd name="connsiteX3322" fmla="*/ 779307 w 1199136"/>
                <a:gd name="connsiteY3322" fmla="*/ 1078192 h 1430015"/>
                <a:gd name="connsiteX3323" fmla="*/ 780759 w 1199136"/>
                <a:gd name="connsiteY3323" fmla="*/ 1077738 h 1430015"/>
                <a:gd name="connsiteX3324" fmla="*/ 780396 w 1199136"/>
                <a:gd name="connsiteY3324" fmla="*/ 1076286 h 1430015"/>
                <a:gd name="connsiteX3325" fmla="*/ 729967 w 1199136"/>
                <a:gd name="connsiteY3325" fmla="*/ 814701 h 1430015"/>
                <a:gd name="connsiteX3326" fmla="*/ 729241 w 1199136"/>
                <a:gd name="connsiteY3326" fmla="*/ 817091 h 1430015"/>
                <a:gd name="connsiteX3327" fmla="*/ 730300 w 1199136"/>
                <a:gd name="connsiteY3327" fmla="*/ 817999 h 1430015"/>
                <a:gd name="connsiteX3328" fmla="*/ 732569 w 1199136"/>
                <a:gd name="connsiteY3328" fmla="*/ 818997 h 1430015"/>
                <a:gd name="connsiteX3329" fmla="*/ 733386 w 1199136"/>
                <a:gd name="connsiteY3329" fmla="*/ 819662 h 1430015"/>
                <a:gd name="connsiteX3330" fmla="*/ 734747 w 1199136"/>
                <a:gd name="connsiteY3330" fmla="*/ 818936 h 1430015"/>
                <a:gd name="connsiteX3331" fmla="*/ 736381 w 1199136"/>
                <a:gd name="connsiteY3331" fmla="*/ 818422 h 1430015"/>
                <a:gd name="connsiteX3332" fmla="*/ 737893 w 1199136"/>
                <a:gd name="connsiteY3332" fmla="*/ 818271 h 1430015"/>
                <a:gd name="connsiteX3333" fmla="*/ 738891 w 1199136"/>
                <a:gd name="connsiteY3333" fmla="*/ 818785 h 1430015"/>
                <a:gd name="connsiteX3334" fmla="*/ 740313 w 1199136"/>
                <a:gd name="connsiteY3334" fmla="*/ 817515 h 1430015"/>
                <a:gd name="connsiteX3335" fmla="*/ 741009 w 1199136"/>
                <a:gd name="connsiteY3335" fmla="*/ 817091 h 1430015"/>
                <a:gd name="connsiteX3336" fmla="*/ 740676 w 1199136"/>
                <a:gd name="connsiteY3336" fmla="*/ 816123 h 1430015"/>
                <a:gd name="connsiteX3337" fmla="*/ 740676 w 1199136"/>
                <a:gd name="connsiteY3337" fmla="*/ 815427 h 1430015"/>
                <a:gd name="connsiteX3338" fmla="*/ 741009 w 1199136"/>
                <a:gd name="connsiteY3338" fmla="*/ 814671 h 1430015"/>
                <a:gd name="connsiteX3339" fmla="*/ 739043 w 1199136"/>
                <a:gd name="connsiteY3339" fmla="*/ 813431 h 1430015"/>
                <a:gd name="connsiteX3340" fmla="*/ 732690 w 1199136"/>
                <a:gd name="connsiteY3340" fmla="*/ 811313 h 1430015"/>
                <a:gd name="connsiteX3341" fmla="*/ 730633 w 1199136"/>
                <a:gd name="connsiteY3341" fmla="*/ 811313 h 1430015"/>
                <a:gd name="connsiteX3342" fmla="*/ 731056 w 1199136"/>
                <a:gd name="connsiteY3342" fmla="*/ 812523 h 1430015"/>
                <a:gd name="connsiteX3343" fmla="*/ 731359 w 1199136"/>
                <a:gd name="connsiteY3343" fmla="*/ 813007 h 1430015"/>
                <a:gd name="connsiteX3344" fmla="*/ 730481 w 1199136"/>
                <a:gd name="connsiteY3344" fmla="*/ 813582 h 1430015"/>
                <a:gd name="connsiteX3345" fmla="*/ 729937 w 1199136"/>
                <a:gd name="connsiteY3345" fmla="*/ 814701 h 143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Lst>
              <a:rect l="l" t="t" r="r" b="b"/>
              <a:pathLst>
                <a:path w="1199136" h="1430015">
                  <a:moveTo>
                    <a:pt x="351189" y="584760"/>
                  </a:moveTo>
                  <a:lnTo>
                    <a:pt x="350796" y="583732"/>
                  </a:lnTo>
                  <a:lnTo>
                    <a:pt x="350463" y="582401"/>
                  </a:lnTo>
                  <a:lnTo>
                    <a:pt x="349979" y="582491"/>
                  </a:lnTo>
                  <a:lnTo>
                    <a:pt x="349283" y="584185"/>
                  </a:lnTo>
                  <a:lnTo>
                    <a:pt x="348315" y="585214"/>
                  </a:lnTo>
                  <a:lnTo>
                    <a:pt x="347287" y="585607"/>
                  </a:lnTo>
                  <a:lnTo>
                    <a:pt x="347075" y="586485"/>
                  </a:lnTo>
                  <a:lnTo>
                    <a:pt x="347922" y="587241"/>
                  </a:lnTo>
                  <a:lnTo>
                    <a:pt x="349253" y="587634"/>
                  </a:lnTo>
                  <a:lnTo>
                    <a:pt x="350644" y="587634"/>
                  </a:lnTo>
                  <a:lnTo>
                    <a:pt x="351612" y="587120"/>
                  </a:lnTo>
                  <a:lnTo>
                    <a:pt x="351855" y="586242"/>
                  </a:lnTo>
                  <a:lnTo>
                    <a:pt x="351855" y="585728"/>
                  </a:lnTo>
                  <a:lnTo>
                    <a:pt x="351673" y="585396"/>
                  </a:lnTo>
                  <a:lnTo>
                    <a:pt x="351219" y="584760"/>
                  </a:lnTo>
                  <a:close/>
                  <a:moveTo>
                    <a:pt x="385827" y="554327"/>
                  </a:moveTo>
                  <a:lnTo>
                    <a:pt x="386583" y="553389"/>
                  </a:lnTo>
                  <a:lnTo>
                    <a:pt x="386099" y="552149"/>
                  </a:lnTo>
                  <a:lnTo>
                    <a:pt x="385343" y="551000"/>
                  </a:lnTo>
                  <a:lnTo>
                    <a:pt x="384465" y="550213"/>
                  </a:lnTo>
                  <a:lnTo>
                    <a:pt x="383497" y="549880"/>
                  </a:lnTo>
                  <a:lnTo>
                    <a:pt x="382257" y="550455"/>
                  </a:lnTo>
                  <a:lnTo>
                    <a:pt x="381471" y="551817"/>
                  </a:lnTo>
                  <a:lnTo>
                    <a:pt x="380381" y="555023"/>
                  </a:lnTo>
                  <a:lnTo>
                    <a:pt x="379716" y="555688"/>
                  </a:lnTo>
                  <a:lnTo>
                    <a:pt x="378839" y="556203"/>
                  </a:lnTo>
                  <a:lnTo>
                    <a:pt x="378052" y="556899"/>
                  </a:lnTo>
                  <a:lnTo>
                    <a:pt x="377719" y="558078"/>
                  </a:lnTo>
                  <a:lnTo>
                    <a:pt x="376993" y="558351"/>
                  </a:lnTo>
                  <a:lnTo>
                    <a:pt x="375511" y="558351"/>
                  </a:lnTo>
                  <a:lnTo>
                    <a:pt x="374452" y="557625"/>
                  </a:lnTo>
                  <a:lnTo>
                    <a:pt x="374906" y="555810"/>
                  </a:lnTo>
                  <a:lnTo>
                    <a:pt x="371125" y="555900"/>
                  </a:lnTo>
                  <a:lnTo>
                    <a:pt x="369400" y="555688"/>
                  </a:lnTo>
                  <a:lnTo>
                    <a:pt x="369400" y="556777"/>
                  </a:lnTo>
                  <a:lnTo>
                    <a:pt x="368069" y="557655"/>
                  </a:lnTo>
                  <a:lnTo>
                    <a:pt x="368432" y="557867"/>
                  </a:lnTo>
                  <a:lnTo>
                    <a:pt x="368614" y="557867"/>
                  </a:lnTo>
                  <a:lnTo>
                    <a:pt x="368674" y="557957"/>
                  </a:lnTo>
                  <a:lnTo>
                    <a:pt x="368765" y="558593"/>
                  </a:lnTo>
                  <a:lnTo>
                    <a:pt x="366375" y="558744"/>
                  </a:lnTo>
                  <a:lnTo>
                    <a:pt x="364560" y="558593"/>
                  </a:lnTo>
                  <a:lnTo>
                    <a:pt x="363350" y="558169"/>
                  </a:lnTo>
                  <a:lnTo>
                    <a:pt x="361111" y="557020"/>
                  </a:lnTo>
                  <a:lnTo>
                    <a:pt x="360053" y="556777"/>
                  </a:lnTo>
                  <a:lnTo>
                    <a:pt x="357905" y="556959"/>
                  </a:lnTo>
                  <a:lnTo>
                    <a:pt x="355364" y="557655"/>
                  </a:lnTo>
                  <a:lnTo>
                    <a:pt x="353216" y="558986"/>
                  </a:lnTo>
                  <a:lnTo>
                    <a:pt x="352187" y="561164"/>
                  </a:lnTo>
                  <a:lnTo>
                    <a:pt x="352732" y="564492"/>
                  </a:lnTo>
                  <a:lnTo>
                    <a:pt x="354547" y="566276"/>
                  </a:lnTo>
                  <a:lnTo>
                    <a:pt x="356816" y="567002"/>
                  </a:lnTo>
                  <a:lnTo>
                    <a:pt x="365105" y="567245"/>
                  </a:lnTo>
                  <a:lnTo>
                    <a:pt x="365649" y="567184"/>
                  </a:lnTo>
                  <a:lnTo>
                    <a:pt x="366133" y="566428"/>
                  </a:lnTo>
                  <a:lnTo>
                    <a:pt x="366678" y="564492"/>
                  </a:lnTo>
                  <a:lnTo>
                    <a:pt x="368704" y="566095"/>
                  </a:lnTo>
                  <a:lnTo>
                    <a:pt x="372637" y="564189"/>
                  </a:lnTo>
                  <a:lnTo>
                    <a:pt x="373545" y="566307"/>
                  </a:lnTo>
                  <a:lnTo>
                    <a:pt x="374694" y="563554"/>
                  </a:lnTo>
                  <a:lnTo>
                    <a:pt x="375995" y="563554"/>
                  </a:lnTo>
                  <a:lnTo>
                    <a:pt x="377326" y="564703"/>
                  </a:lnTo>
                  <a:lnTo>
                    <a:pt x="378657" y="565460"/>
                  </a:lnTo>
                  <a:lnTo>
                    <a:pt x="378960" y="565944"/>
                  </a:lnTo>
                  <a:lnTo>
                    <a:pt x="379958" y="568182"/>
                  </a:lnTo>
                  <a:lnTo>
                    <a:pt x="380381" y="568848"/>
                  </a:lnTo>
                  <a:lnTo>
                    <a:pt x="381561" y="569392"/>
                  </a:lnTo>
                  <a:lnTo>
                    <a:pt x="382590" y="569332"/>
                  </a:lnTo>
                  <a:lnTo>
                    <a:pt x="383346" y="569453"/>
                  </a:lnTo>
                  <a:lnTo>
                    <a:pt x="383800" y="570572"/>
                  </a:lnTo>
                  <a:lnTo>
                    <a:pt x="385312" y="568908"/>
                  </a:lnTo>
                  <a:lnTo>
                    <a:pt x="384768" y="566549"/>
                  </a:lnTo>
                  <a:lnTo>
                    <a:pt x="383044" y="564461"/>
                  </a:lnTo>
                  <a:lnTo>
                    <a:pt x="381107" y="563675"/>
                  </a:lnTo>
                  <a:lnTo>
                    <a:pt x="382923" y="562979"/>
                  </a:lnTo>
                  <a:lnTo>
                    <a:pt x="384254" y="562041"/>
                  </a:lnTo>
                  <a:lnTo>
                    <a:pt x="385222" y="560650"/>
                  </a:lnTo>
                  <a:lnTo>
                    <a:pt x="385887" y="558532"/>
                  </a:lnTo>
                  <a:lnTo>
                    <a:pt x="385282" y="557050"/>
                  </a:lnTo>
                  <a:lnTo>
                    <a:pt x="385282" y="555568"/>
                  </a:lnTo>
                  <a:lnTo>
                    <a:pt x="385827" y="554267"/>
                  </a:lnTo>
                  <a:close/>
                  <a:moveTo>
                    <a:pt x="371851" y="616161"/>
                  </a:moveTo>
                  <a:lnTo>
                    <a:pt x="371579" y="618279"/>
                  </a:lnTo>
                  <a:lnTo>
                    <a:pt x="373484" y="618793"/>
                  </a:lnTo>
                  <a:lnTo>
                    <a:pt x="373757" y="616706"/>
                  </a:lnTo>
                  <a:lnTo>
                    <a:pt x="372788" y="615374"/>
                  </a:lnTo>
                  <a:lnTo>
                    <a:pt x="371851" y="616191"/>
                  </a:lnTo>
                  <a:close/>
                  <a:moveTo>
                    <a:pt x="435258" y="615102"/>
                  </a:moveTo>
                  <a:lnTo>
                    <a:pt x="433866" y="612380"/>
                  </a:lnTo>
                  <a:lnTo>
                    <a:pt x="432081" y="610928"/>
                  </a:lnTo>
                  <a:lnTo>
                    <a:pt x="430780" y="610262"/>
                  </a:lnTo>
                  <a:lnTo>
                    <a:pt x="430054" y="610928"/>
                  </a:lnTo>
                  <a:lnTo>
                    <a:pt x="430115" y="612470"/>
                  </a:lnTo>
                  <a:lnTo>
                    <a:pt x="428633" y="613499"/>
                  </a:lnTo>
                  <a:lnTo>
                    <a:pt x="429631" y="615011"/>
                  </a:lnTo>
                  <a:lnTo>
                    <a:pt x="433382" y="618612"/>
                  </a:lnTo>
                  <a:lnTo>
                    <a:pt x="434834" y="619428"/>
                  </a:lnTo>
                  <a:lnTo>
                    <a:pt x="436498" y="617946"/>
                  </a:lnTo>
                  <a:lnTo>
                    <a:pt x="435470" y="616706"/>
                  </a:lnTo>
                  <a:lnTo>
                    <a:pt x="435227" y="615102"/>
                  </a:lnTo>
                  <a:close/>
                  <a:moveTo>
                    <a:pt x="577107" y="1148859"/>
                  </a:moveTo>
                  <a:lnTo>
                    <a:pt x="575534" y="1147981"/>
                  </a:lnTo>
                  <a:lnTo>
                    <a:pt x="574808" y="1147316"/>
                  </a:lnTo>
                  <a:lnTo>
                    <a:pt x="573930" y="1147467"/>
                  </a:lnTo>
                  <a:lnTo>
                    <a:pt x="573083" y="1147891"/>
                  </a:lnTo>
                  <a:lnTo>
                    <a:pt x="572055" y="1148223"/>
                  </a:lnTo>
                  <a:lnTo>
                    <a:pt x="570663" y="1148103"/>
                  </a:lnTo>
                  <a:lnTo>
                    <a:pt x="571208" y="1149312"/>
                  </a:lnTo>
                  <a:lnTo>
                    <a:pt x="572115" y="1150220"/>
                  </a:lnTo>
                  <a:lnTo>
                    <a:pt x="573295" y="1150462"/>
                  </a:lnTo>
                  <a:lnTo>
                    <a:pt x="574747" y="1149766"/>
                  </a:lnTo>
                  <a:lnTo>
                    <a:pt x="575957" y="1150553"/>
                  </a:lnTo>
                  <a:lnTo>
                    <a:pt x="577561" y="1151158"/>
                  </a:lnTo>
                  <a:lnTo>
                    <a:pt x="579103" y="1151067"/>
                  </a:lnTo>
                  <a:lnTo>
                    <a:pt x="580223" y="1149766"/>
                  </a:lnTo>
                  <a:lnTo>
                    <a:pt x="578801" y="1149555"/>
                  </a:lnTo>
                  <a:lnTo>
                    <a:pt x="577016" y="1148859"/>
                  </a:lnTo>
                  <a:close/>
                  <a:moveTo>
                    <a:pt x="550485" y="1144775"/>
                  </a:moveTo>
                  <a:lnTo>
                    <a:pt x="549699" y="1142627"/>
                  </a:lnTo>
                  <a:lnTo>
                    <a:pt x="548610" y="1141901"/>
                  </a:lnTo>
                  <a:lnTo>
                    <a:pt x="546825" y="1142052"/>
                  </a:lnTo>
                  <a:lnTo>
                    <a:pt x="546281" y="1142839"/>
                  </a:lnTo>
                  <a:lnTo>
                    <a:pt x="546946" y="1144079"/>
                  </a:lnTo>
                  <a:lnTo>
                    <a:pt x="548005" y="1145591"/>
                  </a:lnTo>
                  <a:lnTo>
                    <a:pt x="549729" y="1146741"/>
                  </a:lnTo>
                  <a:lnTo>
                    <a:pt x="551181" y="1146802"/>
                  </a:lnTo>
                  <a:lnTo>
                    <a:pt x="551060" y="1145652"/>
                  </a:lnTo>
                  <a:lnTo>
                    <a:pt x="550485" y="1144745"/>
                  </a:lnTo>
                  <a:close/>
                  <a:moveTo>
                    <a:pt x="547007" y="1279575"/>
                  </a:moveTo>
                  <a:lnTo>
                    <a:pt x="543165" y="1276187"/>
                  </a:lnTo>
                  <a:lnTo>
                    <a:pt x="542529" y="1277397"/>
                  </a:lnTo>
                  <a:lnTo>
                    <a:pt x="541955" y="1277548"/>
                  </a:lnTo>
                  <a:lnTo>
                    <a:pt x="541289" y="1277215"/>
                  </a:lnTo>
                  <a:lnTo>
                    <a:pt x="540351" y="1277004"/>
                  </a:lnTo>
                  <a:lnTo>
                    <a:pt x="539958" y="1276762"/>
                  </a:lnTo>
                  <a:lnTo>
                    <a:pt x="538990" y="1275703"/>
                  </a:lnTo>
                  <a:lnTo>
                    <a:pt x="538355" y="1275431"/>
                  </a:lnTo>
                  <a:lnTo>
                    <a:pt x="537840" y="1275552"/>
                  </a:lnTo>
                  <a:lnTo>
                    <a:pt x="537114" y="1276096"/>
                  </a:lnTo>
                  <a:lnTo>
                    <a:pt x="536661" y="1276217"/>
                  </a:lnTo>
                  <a:lnTo>
                    <a:pt x="535450" y="1277095"/>
                  </a:lnTo>
                  <a:lnTo>
                    <a:pt x="535723" y="1279000"/>
                  </a:lnTo>
                  <a:lnTo>
                    <a:pt x="536509" y="1280876"/>
                  </a:lnTo>
                  <a:lnTo>
                    <a:pt x="536933" y="1281662"/>
                  </a:lnTo>
                  <a:lnTo>
                    <a:pt x="539353" y="1284385"/>
                  </a:lnTo>
                  <a:lnTo>
                    <a:pt x="542862" y="1286714"/>
                  </a:lnTo>
                  <a:lnTo>
                    <a:pt x="546341" y="1287138"/>
                  </a:lnTo>
                  <a:lnTo>
                    <a:pt x="548640" y="1284113"/>
                  </a:lnTo>
                  <a:lnTo>
                    <a:pt x="548459" y="1281511"/>
                  </a:lnTo>
                  <a:lnTo>
                    <a:pt x="547067" y="1279636"/>
                  </a:lnTo>
                  <a:close/>
                  <a:moveTo>
                    <a:pt x="171465" y="1000203"/>
                  </a:moveTo>
                  <a:lnTo>
                    <a:pt x="169922" y="1000778"/>
                  </a:lnTo>
                  <a:lnTo>
                    <a:pt x="165385" y="1001655"/>
                  </a:lnTo>
                  <a:lnTo>
                    <a:pt x="163842" y="1002623"/>
                  </a:lnTo>
                  <a:lnTo>
                    <a:pt x="163297" y="1004499"/>
                  </a:lnTo>
                  <a:lnTo>
                    <a:pt x="164114" y="1006042"/>
                  </a:lnTo>
                  <a:lnTo>
                    <a:pt x="166595" y="1008371"/>
                  </a:lnTo>
                  <a:lnTo>
                    <a:pt x="166595" y="1009127"/>
                  </a:lnTo>
                  <a:lnTo>
                    <a:pt x="166322" y="1010458"/>
                  </a:lnTo>
                  <a:lnTo>
                    <a:pt x="167805" y="1011275"/>
                  </a:lnTo>
                  <a:lnTo>
                    <a:pt x="169892" y="1011426"/>
                  </a:lnTo>
                  <a:lnTo>
                    <a:pt x="171465" y="1010731"/>
                  </a:lnTo>
                  <a:lnTo>
                    <a:pt x="172100" y="1008855"/>
                  </a:lnTo>
                  <a:lnTo>
                    <a:pt x="171526" y="1004045"/>
                  </a:lnTo>
                  <a:lnTo>
                    <a:pt x="171465" y="1000173"/>
                  </a:lnTo>
                  <a:close/>
                  <a:moveTo>
                    <a:pt x="326231" y="526284"/>
                  </a:moveTo>
                  <a:lnTo>
                    <a:pt x="326020" y="525951"/>
                  </a:lnTo>
                  <a:lnTo>
                    <a:pt x="325838" y="525739"/>
                  </a:lnTo>
                  <a:lnTo>
                    <a:pt x="324386" y="524530"/>
                  </a:lnTo>
                  <a:lnTo>
                    <a:pt x="322510" y="525588"/>
                  </a:lnTo>
                  <a:lnTo>
                    <a:pt x="320272" y="530368"/>
                  </a:lnTo>
                  <a:lnTo>
                    <a:pt x="321966" y="532970"/>
                  </a:lnTo>
                  <a:lnTo>
                    <a:pt x="324114" y="532879"/>
                  </a:lnTo>
                  <a:lnTo>
                    <a:pt x="326050" y="530822"/>
                  </a:lnTo>
                  <a:lnTo>
                    <a:pt x="327321" y="528372"/>
                  </a:lnTo>
                  <a:lnTo>
                    <a:pt x="326595" y="526556"/>
                  </a:lnTo>
                  <a:lnTo>
                    <a:pt x="326231" y="526284"/>
                  </a:lnTo>
                  <a:close/>
                  <a:moveTo>
                    <a:pt x="605755" y="1427686"/>
                  </a:moveTo>
                  <a:lnTo>
                    <a:pt x="605936" y="1427444"/>
                  </a:lnTo>
                  <a:lnTo>
                    <a:pt x="605694" y="1427262"/>
                  </a:lnTo>
                  <a:lnTo>
                    <a:pt x="604847" y="1427051"/>
                  </a:lnTo>
                  <a:lnTo>
                    <a:pt x="600249" y="1426627"/>
                  </a:lnTo>
                  <a:lnTo>
                    <a:pt x="599130" y="1426385"/>
                  </a:lnTo>
                  <a:lnTo>
                    <a:pt x="596921" y="1426385"/>
                  </a:lnTo>
                  <a:lnTo>
                    <a:pt x="596135" y="1426899"/>
                  </a:lnTo>
                  <a:lnTo>
                    <a:pt x="597133" y="1427353"/>
                  </a:lnTo>
                  <a:lnTo>
                    <a:pt x="599100" y="1427868"/>
                  </a:lnTo>
                  <a:lnTo>
                    <a:pt x="602942" y="1429411"/>
                  </a:lnTo>
                  <a:lnTo>
                    <a:pt x="603395" y="1429411"/>
                  </a:lnTo>
                  <a:lnTo>
                    <a:pt x="603849" y="1429774"/>
                  </a:lnTo>
                  <a:lnTo>
                    <a:pt x="604666" y="1430015"/>
                  </a:lnTo>
                  <a:lnTo>
                    <a:pt x="605694" y="1429652"/>
                  </a:lnTo>
                  <a:lnTo>
                    <a:pt x="605967" y="1428594"/>
                  </a:lnTo>
                  <a:lnTo>
                    <a:pt x="605694" y="1427837"/>
                  </a:lnTo>
                  <a:lnTo>
                    <a:pt x="605755" y="1427656"/>
                  </a:lnTo>
                  <a:close/>
                  <a:moveTo>
                    <a:pt x="323872" y="838782"/>
                  </a:moveTo>
                  <a:lnTo>
                    <a:pt x="321028" y="836301"/>
                  </a:lnTo>
                  <a:lnTo>
                    <a:pt x="320484" y="835060"/>
                  </a:lnTo>
                  <a:lnTo>
                    <a:pt x="320363" y="834002"/>
                  </a:lnTo>
                  <a:lnTo>
                    <a:pt x="319969" y="833245"/>
                  </a:lnTo>
                  <a:lnTo>
                    <a:pt x="318578" y="832943"/>
                  </a:lnTo>
                  <a:lnTo>
                    <a:pt x="317912" y="832580"/>
                  </a:lnTo>
                  <a:lnTo>
                    <a:pt x="317398" y="831612"/>
                  </a:lnTo>
                  <a:lnTo>
                    <a:pt x="317065" y="830402"/>
                  </a:lnTo>
                  <a:lnTo>
                    <a:pt x="316581" y="822869"/>
                  </a:lnTo>
                  <a:lnTo>
                    <a:pt x="316188" y="821236"/>
                  </a:lnTo>
                  <a:lnTo>
                    <a:pt x="313133" y="815548"/>
                  </a:lnTo>
                  <a:lnTo>
                    <a:pt x="312739" y="813310"/>
                  </a:lnTo>
                  <a:lnTo>
                    <a:pt x="312104" y="811615"/>
                  </a:lnTo>
                  <a:lnTo>
                    <a:pt x="309291" y="808046"/>
                  </a:lnTo>
                  <a:lnTo>
                    <a:pt x="308686" y="806503"/>
                  </a:lnTo>
                  <a:lnTo>
                    <a:pt x="308595" y="807864"/>
                  </a:lnTo>
                  <a:lnTo>
                    <a:pt x="307506" y="806715"/>
                  </a:lnTo>
                  <a:lnTo>
                    <a:pt x="307899" y="805595"/>
                  </a:lnTo>
                  <a:lnTo>
                    <a:pt x="309170" y="805021"/>
                  </a:lnTo>
                  <a:lnTo>
                    <a:pt x="310713" y="805384"/>
                  </a:lnTo>
                  <a:lnTo>
                    <a:pt x="310713" y="804628"/>
                  </a:lnTo>
                  <a:lnTo>
                    <a:pt x="309835" y="803085"/>
                  </a:lnTo>
                  <a:lnTo>
                    <a:pt x="310864" y="802298"/>
                  </a:lnTo>
                  <a:lnTo>
                    <a:pt x="314161" y="801239"/>
                  </a:lnTo>
                  <a:lnTo>
                    <a:pt x="312860" y="800998"/>
                  </a:lnTo>
                  <a:lnTo>
                    <a:pt x="311711" y="800604"/>
                  </a:lnTo>
                  <a:lnTo>
                    <a:pt x="310743" y="799908"/>
                  </a:lnTo>
                  <a:lnTo>
                    <a:pt x="310077" y="798729"/>
                  </a:lnTo>
                  <a:lnTo>
                    <a:pt x="308928" y="799545"/>
                  </a:lnTo>
                  <a:lnTo>
                    <a:pt x="308080" y="799606"/>
                  </a:lnTo>
                  <a:lnTo>
                    <a:pt x="307536" y="798910"/>
                  </a:lnTo>
                  <a:lnTo>
                    <a:pt x="307354" y="797428"/>
                  </a:lnTo>
                  <a:lnTo>
                    <a:pt x="306780" y="797004"/>
                  </a:lnTo>
                  <a:lnTo>
                    <a:pt x="303150" y="795310"/>
                  </a:lnTo>
                  <a:lnTo>
                    <a:pt x="303150" y="794554"/>
                  </a:lnTo>
                  <a:lnTo>
                    <a:pt x="304148" y="794403"/>
                  </a:lnTo>
                  <a:lnTo>
                    <a:pt x="304904" y="793888"/>
                  </a:lnTo>
                  <a:lnTo>
                    <a:pt x="305479" y="793072"/>
                  </a:lnTo>
                  <a:lnTo>
                    <a:pt x="305963" y="791952"/>
                  </a:lnTo>
                  <a:lnTo>
                    <a:pt x="303997" y="791589"/>
                  </a:lnTo>
                  <a:lnTo>
                    <a:pt x="302514" y="792315"/>
                  </a:lnTo>
                  <a:lnTo>
                    <a:pt x="301032" y="793283"/>
                  </a:lnTo>
                  <a:lnTo>
                    <a:pt x="299066" y="793707"/>
                  </a:lnTo>
                  <a:lnTo>
                    <a:pt x="298461" y="793465"/>
                  </a:lnTo>
                  <a:lnTo>
                    <a:pt x="296646" y="792376"/>
                  </a:lnTo>
                  <a:lnTo>
                    <a:pt x="295617" y="791952"/>
                  </a:lnTo>
                  <a:lnTo>
                    <a:pt x="294588" y="792134"/>
                  </a:lnTo>
                  <a:lnTo>
                    <a:pt x="293681" y="792648"/>
                  </a:lnTo>
                  <a:lnTo>
                    <a:pt x="292864" y="792648"/>
                  </a:lnTo>
                  <a:lnTo>
                    <a:pt x="292078" y="791196"/>
                  </a:lnTo>
                  <a:lnTo>
                    <a:pt x="292925" y="791075"/>
                  </a:lnTo>
                  <a:lnTo>
                    <a:pt x="292804" y="790893"/>
                  </a:lnTo>
                  <a:lnTo>
                    <a:pt x="292864" y="790288"/>
                  </a:lnTo>
                  <a:lnTo>
                    <a:pt x="297432" y="790682"/>
                  </a:lnTo>
                  <a:lnTo>
                    <a:pt x="298824" y="790228"/>
                  </a:lnTo>
                  <a:lnTo>
                    <a:pt x="298340" y="788534"/>
                  </a:lnTo>
                  <a:lnTo>
                    <a:pt x="299610" y="786900"/>
                  </a:lnTo>
                  <a:lnTo>
                    <a:pt x="299973" y="784692"/>
                  </a:lnTo>
                  <a:lnTo>
                    <a:pt x="300488" y="782756"/>
                  </a:lnTo>
                  <a:lnTo>
                    <a:pt x="302151" y="781909"/>
                  </a:lnTo>
                  <a:lnTo>
                    <a:pt x="303694" y="782393"/>
                  </a:lnTo>
                  <a:lnTo>
                    <a:pt x="305328" y="783179"/>
                  </a:lnTo>
                  <a:lnTo>
                    <a:pt x="306871" y="783330"/>
                  </a:lnTo>
                  <a:lnTo>
                    <a:pt x="308020" y="781909"/>
                  </a:lnTo>
                  <a:lnTo>
                    <a:pt x="306175" y="780820"/>
                  </a:lnTo>
                  <a:lnTo>
                    <a:pt x="303301" y="779851"/>
                  </a:lnTo>
                  <a:lnTo>
                    <a:pt x="300518" y="779731"/>
                  </a:lnTo>
                  <a:lnTo>
                    <a:pt x="299035" y="781122"/>
                  </a:lnTo>
                  <a:lnTo>
                    <a:pt x="298552" y="781122"/>
                  </a:lnTo>
                  <a:lnTo>
                    <a:pt x="298249" y="780941"/>
                  </a:lnTo>
                  <a:lnTo>
                    <a:pt x="297644" y="780275"/>
                  </a:lnTo>
                  <a:lnTo>
                    <a:pt x="297523" y="780608"/>
                  </a:lnTo>
                  <a:lnTo>
                    <a:pt x="297523" y="780941"/>
                  </a:lnTo>
                  <a:lnTo>
                    <a:pt x="297463" y="781122"/>
                  </a:lnTo>
                  <a:lnTo>
                    <a:pt x="296948" y="781122"/>
                  </a:lnTo>
                  <a:lnTo>
                    <a:pt x="297463" y="779216"/>
                  </a:lnTo>
                  <a:lnTo>
                    <a:pt x="297100" y="778036"/>
                  </a:lnTo>
                  <a:lnTo>
                    <a:pt x="295980" y="777764"/>
                  </a:lnTo>
                  <a:lnTo>
                    <a:pt x="294135" y="778551"/>
                  </a:lnTo>
                  <a:lnTo>
                    <a:pt x="294891" y="780305"/>
                  </a:lnTo>
                  <a:lnTo>
                    <a:pt x="292834" y="780305"/>
                  </a:lnTo>
                  <a:lnTo>
                    <a:pt x="293772" y="778430"/>
                  </a:lnTo>
                  <a:lnTo>
                    <a:pt x="295557" y="771049"/>
                  </a:lnTo>
                  <a:lnTo>
                    <a:pt x="295738" y="771593"/>
                  </a:lnTo>
                  <a:lnTo>
                    <a:pt x="296040" y="772198"/>
                  </a:lnTo>
                  <a:lnTo>
                    <a:pt x="296252" y="772773"/>
                  </a:lnTo>
                  <a:lnTo>
                    <a:pt x="297311" y="771532"/>
                  </a:lnTo>
                  <a:lnTo>
                    <a:pt x="297916" y="770413"/>
                  </a:lnTo>
                  <a:lnTo>
                    <a:pt x="298189" y="769173"/>
                  </a:lnTo>
                  <a:lnTo>
                    <a:pt x="298309" y="767660"/>
                  </a:lnTo>
                  <a:lnTo>
                    <a:pt x="297977" y="767418"/>
                  </a:lnTo>
                  <a:lnTo>
                    <a:pt x="297856" y="767418"/>
                  </a:lnTo>
                  <a:lnTo>
                    <a:pt x="297795" y="767358"/>
                  </a:lnTo>
                  <a:lnTo>
                    <a:pt x="297614" y="766844"/>
                  </a:lnTo>
                  <a:lnTo>
                    <a:pt x="296918" y="766844"/>
                  </a:lnTo>
                  <a:lnTo>
                    <a:pt x="296252" y="767479"/>
                  </a:lnTo>
                  <a:lnTo>
                    <a:pt x="295708" y="767237"/>
                  </a:lnTo>
                  <a:lnTo>
                    <a:pt x="295073" y="766602"/>
                  </a:lnTo>
                  <a:lnTo>
                    <a:pt x="294104" y="765996"/>
                  </a:lnTo>
                  <a:lnTo>
                    <a:pt x="294861" y="765089"/>
                  </a:lnTo>
                  <a:lnTo>
                    <a:pt x="294014" y="763940"/>
                  </a:lnTo>
                  <a:lnTo>
                    <a:pt x="293439" y="764060"/>
                  </a:lnTo>
                  <a:lnTo>
                    <a:pt x="292985" y="764696"/>
                  </a:lnTo>
                  <a:lnTo>
                    <a:pt x="292410" y="765089"/>
                  </a:lnTo>
                  <a:lnTo>
                    <a:pt x="291049" y="764847"/>
                  </a:lnTo>
                  <a:lnTo>
                    <a:pt x="289748" y="764454"/>
                  </a:lnTo>
                  <a:lnTo>
                    <a:pt x="288508" y="764363"/>
                  </a:lnTo>
                  <a:lnTo>
                    <a:pt x="287238" y="765089"/>
                  </a:lnTo>
                  <a:lnTo>
                    <a:pt x="287812" y="765422"/>
                  </a:lnTo>
                  <a:lnTo>
                    <a:pt x="288084" y="765815"/>
                  </a:lnTo>
                  <a:lnTo>
                    <a:pt x="288266" y="766269"/>
                  </a:lnTo>
                  <a:lnTo>
                    <a:pt x="288599" y="766844"/>
                  </a:lnTo>
                  <a:lnTo>
                    <a:pt x="287631" y="767539"/>
                  </a:lnTo>
                  <a:lnTo>
                    <a:pt x="286995" y="768598"/>
                  </a:lnTo>
                  <a:lnTo>
                    <a:pt x="285876" y="771049"/>
                  </a:lnTo>
                  <a:lnTo>
                    <a:pt x="285271" y="768174"/>
                  </a:lnTo>
                  <a:lnTo>
                    <a:pt x="285271" y="766965"/>
                  </a:lnTo>
                  <a:lnTo>
                    <a:pt x="285876" y="766027"/>
                  </a:lnTo>
                  <a:lnTo>
                    <a:pt x="284878" y="765089"/>
                  </a:lnTo>
                  <a:lnTo>
                    <a:pt x="284243" y="764060"/>
                  </a:lnTo>
                  <a:lnTo>
                    <a:pt x="283607" y="763183"/>
                  </a:lnTo>
                  <a:lnTo>
                    <a:pt x="282458" y="762699"/>
                  </a:lnTo>
                  <a:lnTo>
                    <a:pt x="282790" y="762185"/>
                  </a:lnTo>
                  <a:lnTo>
                    <a:pt x="283002" y="761731"/>
                  </a:lnTo>
                  <a:lnTo>
                    <a:pt x="283274" y="761308"/>
                  </a:lnTo>
                  <a:lnTo>
                    <a:pt x="283819" y="760944"/>
                  </a:lnTo>
                  <a:lnTo>
                    <a:pt x="283819" y="760188"/>
                  </a:lnTo>
                  <a:lnTo>
                    <a:pt x="282790" y="760188"/>
                  </a:lnTo>
                  <a:lnTo>
                    <a:pt x="281974" y="760067"/>
                  </a:lnTo>
                  <a:lnTo>
                    <a:pt x="281218" y="759795"/>
                  </a:lnTo>
                  <a:lnTo>
                    <a:pt x="280370" y="759372"/>
                  </a:lnTo>
                  <a:lnTo>
                    <a:pt x="280370" y="760188"/>
                  </a:lnTo>
                  <a:lnTo>
                    <a:pt x="276740" y="756951"/>
                  </a:lnTo>
                  <a:lnTo>
                    <a:pt x="275046" y="756407"/>
                  </a:lnTo>
                  <a:lnTo>
                    <a:pt x="274834" y="759372"/>
                  </a:lnTo>
                  <a:lnTo>
                    <a:pt x="273171" y="758283"/>
                  </a:lnTo>
                  <a:lnTo>
                    <a:pt x="272747" y="757708"/>
                  </a:lnTo>
                  <a:lnTo>
                    <a:pt x="272051" y="758101"/>
                  </a:lnTo>
                  <a:lnTo>
                    <a:pt x="271476" y="758283"/>
                  </a:lnTo>
                  <a:lnTo>
                    <a:pt x="270024" y="758464"/>
                  </a:lnTo>
                  <a:lnTo>
                    <a:pt x="270024" y="757708"/>
                  </a:lnTo>
                  <a:lnTo>
                    <a:pt x="270327" y="757163"/>
                  </a:lnTo>
                  <a:lnTo>
                    <a:pt x="270418" y="756800"/>
                  </a:lnTo>
                  <a:lnTo>
                    <a:pt x="270024" y="755197"/>
                  </a:lnTo>
                  <a:lnTo>
                    <a:pt x="269329" y="755197"/>
                  </a:lnTo>
                  <a:lnTo>
                    <a:pt x="268996" y="756346"/>
                  </a:lnTo>
                  <a:lnTo>
                    <a:pt x="268844" y="757223"/>
                  </a:lnTo>
                  <a:lnTo>
                    <a:pt x="268966" y="757889"/>
                  </a:lnTo>
                  <a:lnTo>
                    <a:pt x="269329" y="758464"/>
                  </a:lnTo>
                  <a:lnTo>
                    <a:pt x="268240" y="757586"/>
                  </a:lnTo>
                  <a:lnTo>
                    <a:pt x="268300" y="753352"/>
                  </a:lnTo>
                  <a:lnTo>
                    <a:pt x="267271" y="751748"/>
                  </a:lnTo>
                  <a:lnTo>
                    <a:pt x="266182" y="751990"/>
                  </a:lnTo>
                  <a:lnTo>
                    <a:pt x="265305" y="751869"/>
                  </a:lnTo>
                  <a:lnTo>
                    <a:pt x="264730" y="751264"/>
                  </a:lnTo>
                  <a:lnTo>
                    <a:pt x="264519" y="750145"/>
                  </a:lnTo>
                  <a:lnTo>
                    <a:pt x="262673" y="750992"/>
                  </a:lnTo>
                  <a:lnTo>
                    <a:pt x="260405" y="751566"/>
                  </a:lnTo>
                  <a:lnTo>
                    <a:pt x="258499" y="752565"/>
                  </a:lnTo>
                  <a:lnTo>
                    <a:pt x="257682" y="754713"/>
                  </a:lnTo>
                  <a:lnTo>
                    <a:pt x="257742" y="759765"/>
                  </a:lnTo>
                  <a:lnTo>
                    <a:pt x="257167" y="761640"/>
                  </a:lnTo>
                  <a:lnTo>
                    <a:pt x="255594" y="763606"/>
                  </a:lnTo>
                  <a:lnTo>
                    <a:pt x="254959" y="762699"/>
                  </a:lnTo>
                  <a:lnTo>
                    <a:pt x="252146" y="765240"/>
                  </a:lnTo>
                  <a:lnTo>
                    <a:pt x="250663" y="765755"/>
                  </a:lnTo>
                  <a:lnTo>
                    <a:pt x="243796" y="766541"/>
                  </a:lnTo>
                  <a:lnTo>
                    <a:pt x="241860" y="767388"/>
                  </a:lnTo>
                  <a:lnTo>
                    <a:pt x="240378" y="770413"/>
                  </a:lnTo>
                  <a:lnTo>
                    <a:pt x="238866" y="772198"/>
                  </a:lnTo>
                  <a:lnTo>
                    <a:pt x="237141" y="773741"/>
                  </a:lnTo>
                  <a:lnTo>
                    <a:pt x="235901" y="774406"/>
                  </a:lnTo>
                  <a:lnTo>
                    <a:pt x="235265" y="774830"/>
                  </a:lnTo>
                  <a:lnTo>
                    <a:pt x="234207" y="776978"/>
                  </a:lnTo>
                  <a:lnTo>
                    <a:pt x="233541" y="777825"/>
                  </a:lnTo>
                  <a:lnTo>
                    <a:pt x="232573" y="778309"/>
                  </a:lnTo>
                  <a:lnTo>
                    <a:pt x="229367" y="779398"/>
                  </a:lnTo>
                  <a:lnTo>
                    <a:pt x="229790" y="779640"/>
                  </a:lnTo>
                  <a:lnTo>
                    <a:pt x="229850" y="779700"/>
                  </a:lnTo>
                  <a:lnTo>
                    <a:pt x="229850" y="779851"/>
                  </a:lnTo>
                  <a:lnTo>
                    <a:pt x="230062" y="780305"/>
                  </a:lnTo>
                  <a:lnTo>
                    <a:pt x="228792" y="781304"/>
                  </a:lnTo>
                  <a:lnTo>
                    <a:pt x="225192" y="786991"/>
                  </a:lnTo>
                  <a:lnTo>
                    <a:pt x="223467" y="788746"/>
                  </a:lnTo>
                  <a:lnTo>
                    <a:pt x="217629" y="792829"/>
                  </a:lnTo>
                  <a:lnTo>
                    <a:pt x="216298" y="792194"/>
                  </a:lnTo>
                  <a:lnTo>
                    <a:pt x="214543" y="791922"/>
                  </a:lnTo>
                  <a:lnTo>
                    <a:pt x="212062" y="792013"/>
                  </a:lnTo>
                  <a:lnTo>
                    <a:pt x="205196" y="794977"/>
                  </a:lnTo>
                  <a:lnTo>
                    <a:pt x="204530" y="796793"/>
                  </a:lnTo>
                  <a:lnTo>
                    <a:pt x="202927" y="798668"/>
                  </a:lnTo>
                  <a:lnTo>
                    <a:pt x="200930" y="800271"/>
                  </a:lnTo>
                  <a:lnTo>
                    <a:pt x="193095" y="803417"/>
                  </a:lnTo>
                  <a:lnTo>
                    <a:pt x="191129" y="803720"/>
                  </a:lnTo>
                  <a:lnTo>
                    <a:pt x="188799" y="803508"/>
                  </a:lnTo>
                  <a:lnTo>
                    <a:pt x="183173" y="801965"/>
                  </a:lnTo>
                  <a:lnTo>
                    <a:pt x="171949" y="800513"/>
                  </a:lnTo>
                  <a:lnTo>
                    <a:pt x="168682" y="798698"/>
                  </a:lnTo>
                  <a:lnTo>
                    <a:pt x="164175" y="793253"/>
                  </a:lnTo>
                  <a:lnTo>
                    <a:pt x="163781" y="791862"/>
                  </a:lnTo>
                  <a:lnTo>
                    <a:pt x="164023" y="790288"/>
                  </a:lnTo>
                  <a:lnTo>
                    <a:pt x="164416" y="788836"/>
                  </a:lnTo>
                  <a:lnTo>
                    <a:pt x="164477" y="787808"/>
                  </a:lnTo>
                  <a:lnTo>
                    <a:pt x="163751" y="786870"/>
                  </a:lnTo>
                  <a:lnTo>
                    <a:pt x="162844" y="786870"/>
                  </a:lnTo>
                  <a:lnTo>
                    <a:pt x="162087" y="786749"/>
                  </a:lnTo>
                  <a:lnTo>
                    <a:pt x="161785" y="785297"/>
                  </a:lnTo>
                  <a:lnTo>
                    <a:pt x="161028" y="785297"/>
                  </a:lnTo>
                  <a:lnTo>
                    <a:pt x="160121" y="786719"/>
                  </a:lnTo>
                  <a:lnTo>
                    <a:pt x="159032" y="788987"/>
                  </a:lnTo>
                  <a:lnTo>
                    <a:pt x="158699" y="791075"/>
                  </a:lnTo>
                  <a:lnTo>
                    <a:pt x="160030" y="791982"/>
                  </a:lnTo>
                  <a:lnTo>
                    <a:pt x="161785" y="792739"/>
                  </a:lnTo>
                  <a:lnTo>
                    <a:pt x="162450" y="794554"/>
                  </a:lnTo>
                  <a:lnTo>
                    <a:pt x="162360" y="796762"/>
                  </a:lnTo>
                  <a:lnTo>
                    <a:pt x="161785" y="798698"/>
                  </a:lnTo>
                  <a:lnTo>
                    <a:pt x="154162" y="815337"/>
                  </a:lnTo>
                  <a:lnTo>
                    <a:pt x="155371" y="815700"/>
                  </a:lnTo>
                  <a:lnTo>
                    <a:pt x="156128" y="816456"/>
                  </a:lnTo>
                  <a:lnTo>
                    <a:pt x="157610" y="818664"/>
                  </a:lnTo>
                  <a:lnTo>
                    <a:pt x="158215" y="819239"/>
                  </a:lnTo>
                  <a:lnTo>
                    <a:pt x="158729" y="819511"/>
                  </a:lnTo>
                  <a:lnTo>
                    <a:pt x="160060" y="819602"/>
                  </a:lnTo>
                  <a:lnTo>
                    <a:pt x="160605" y="819965"/>
                  </a:lnTo>
                  <a:lnTo>
                    <a:pt x="160423" y="820691"/>
                  </a:lnTo>
                  <a:lnTo>
                    <a:pt x="159970" y="821266"/>
                  </a:lnTo>
                  <a:lnTo>
                    <a:pt x="159697" y="821266"/>
                  </a:lnTo>
                  <a:lnTo>
                    <a:pt x="159365" y="824170"/>
                  </a:lnTo>
                  <a:lnTo>
                    <a:pt x="158215" y="825985"/>
                  </a:lnTo>
                  <a:lnTo>
                    <a:pt x="156581" y="827134"/>
                  </a:lnTo>
                  <a:lnTo>
                    <a:pt x="154857" y="827982"/>
                  </a:lnTo>
                  <a:lnTo>
                    <a:pt x="154857" y="828738"/>
                  </a:lnTo>
                  <a:lnTo>
                    <a:pt x="155523" y="831854"/>
                  </a:lnTo>
                  <a:lnTo>
                    <a:pt x="156128" y="833729"/>
                  </a:lnTo>
                  <a:lnTo>
                    <a:pt x="157005" y="835424"/>
                  </a:lnTo>
                  <a:lnTo>
                    <a:pt x="157429" y="832671"/>
                  </a:lnTo>
                  <a:lnTo>
                    <a:pt x="158487" y="830220"/>
                  </a:lnTo>
                  <a:lnTo>
                    <a:pt x="160182" y="828889"/>
                  </a:lnTo>
                  <a:lnTo>
                    <a:pt x="162511" y="829555"/>
                  </a:lnTo>
                  <a:lnTo>
                    <a:pt x="161391" y="831309"/>
                  </a:lnTo>
                  <a:lnTo>
                    <a:pt x="160454" y="833699"/>
                  </a:lnTo>
                  <a:lnTo>
                    <a:pt x="162511" y="834607"/>
                  </a:lnTo>
                  <a:lnTo>
                    <a:pt x="167654" y="831763"/>
                  </a:lnTo>
                  <a:lnTo>
                    <a:pt x="170073" y="831612"/>
                  </a:lnTo>
                  <a:lnTo>
                    <a:pt x="172131" y="833729"/>
                  </a:lnTo>
                  <a:lnTo>
                    <a:pt x="172887" y="836452"/>
                  </a:lnTo>
                  <a:lnTo>
                    <a:pt x="173311" y="839477"/>
                  </a:lnTo>
                  <a:lnTo>
                    <a:pt x="174097" y="841927"/>
                  </a:lnTo>
                  <a:lnTo>
                    <a:pt x="175912" y="842926"/>
                  </a:lnTo>
                  <a:lnTo>
                    <a:pt x="177485" y="844166"/>
                  </a:lnTo>
                  <a:lnTo>
                    <a:pt x="178937" y="847010"/>
                  </a:lnTo>
                  <a:lnTo>
                    <a:pt x="179996" y="850216"/>
                  </a:lnTo>
                  <a:lnTo>
                    <a:pt x="180389" y="852455"/>
                  </a:lnTo>
                  <a:lnTo>
                    <a:pt x="179270" y="858778"/>
                  </a:lnTo>
                  <a:lnTo>
                    <a:pt x="179512" y="861198"/>
                  </a:lnTo>
                  <a:lnTo>
                    <a:pt x="181751" y="862892"/>
                  </a:lnTo>
                  <a:lnTo>
                    <a:pt x="182507" y="861984"/>
                  </a:lnTo>
                  <a:lnTo>
                    <a:pt x="185078" y="863648"/>
                  </a:lnTo>
                  <a:lnTo>
                    <a:pt x="187256" y="865705"/>
                  </a:lnTo>
                  <a:lnTo>
                    <a:pt x="188587" y="868428"/>
                  </a:lnTo>
                  <a:lnTo>
                    <a:pt x="188587" y="872028"/>
                  </a:lnTo>
                  <a:lnTo>
                    <a:pt x="186924" y="877624"/>
                  </a:lnTo>
                  <a:lnTo>
                    <a:pt x="187287" y="884007"/>
                  </a:lnTo>
                  <a:lnTo>
                    <a:pt x="187680" y="886216"/>
                  </a:lnTo>
                  <a:lnTo>
                    <a:pt x="189465" y="889422"/>
                  </a:lnTo>
                  <a:lnTo>
                    <a:pt x="189949" y="891056"/>
                  </a:lnTo>
                  <a:lnTo>
                    <a:pt x="189677" y="892841"/>
                  </a:lnTo>
                  <a:lnTo>
                    <a:pt x="188830" y="894686"/>
                  </a:lnTo>
                  <a:lnTo>
                    <a:pt x="187771" y="896138"/>
                  </a:lnTo>
                  <a:lnTo>
                    <a:pt x="186863" y="896713"/>
                  </a:lnTo>
                  <a:lnTo>
                    <a:pt x="186137" y="896864"/>
                  </a:lnTo>
                  <a:lnTo>
                    <a:pt x="184383" y="897469"/>
                  </a:lnTo>
                  <a:lnTo>
                    <a:pt x="181327" y="897651"/>
                  </a:lnTo>
                  <a:lnTo>
                    <a:pt x="181024" y="897651"/>
                  </a:lnTo>
                  <a:lnTo>
                    <a:pt x="179331" y="898558"/>
                  </a:lnTo>
                  <a:lnTo>
                    <a:pt x="178574" y="899526"/>
                  </a:lnTo>
                  <a:lnTo>
                    <a:pt x="178877" y="899980"/>
                  </a:lnTo>
                  <a:lnTo>
                    <a:pt x="180329" y="899254"/>
                  </a:lnTo>
                  <a:lnTo>
                    <a:pt x="181599" y="900918"/>
                  </a:lnTo>
                  <a:lnTo>
                    <a:pt x="181539" y="902400"/>
                  </a:lnTo>
                  <a:lnTo>
                    <a:pt x="180329" y="904972"/>
                  </a:lnTo>
                  <a:lnTo>
                    <a:pt x="180238" y="906363"/>
                  </a:lnTo>
                  <a:lnTo>
                    <a:pt x="181024" y="910810"/>
                  </a:lnTo>
                  <a:lnTo>
                    <a:pt x="180873" y="911627"/>
                  </a:lnTo>
                  <a:lnTo>
                    <a:pt x="180510" y="912383"/>
                  </a:lnTo>
                  <a:lnTo>
                    <a:pt x="180238" y="913139"/>
                  </a:lnTo>
                  <a:lnTo>
                    <a:pt x="180329" y="914077"/>
                  </a:lnTo>
                  <a:lnTo>
                    <a:pt x="180692" y="914954"/>
                  </a:lnTo>
                  <a:lnTo>
                    <a:pt x="180934" y="915197"/>
                  </a:lnTo>
                  <a:lnTo>
                    <a:pt x="181206" y="915257"/>
                  </a:lnTo>
                  <a:lnTo>
                    <a:pt x="182688" y="916528"/>
                  </a:lnTo>
                  <a:lnTo>
                    <a:pt x="183959" y="917375"/>
                  </a:lnTo>
                  <a:lnTo>
                    <a:pt x="184625" y="918403"/>
                  </a:lnTo>
                  <a:lnTo>
                    <a:pt x="183747" y="919764"/>
                  </a:lnTo>
                  <a:lnTo>
                    <a:pt x="184413" y="920672"/>
                  </a:lnTo>
                  <a:lnTo>
                    <a:pt x="185351" y="917617"/>
                  </a:lnTo>
                  <a:lnTo>
                    <a:pt x="186077" y="916497"/>
                  </a:lnTo>
                  <a:lnTo>
                    <a:pt x="187256" y="915771"/>
                  </a:lnTo>
                  <a:lnTo>
                    <a:pt x="186500" y="915832"/>
                  </a:lnTo>
                  <a:lnTo>
                    <a:pt x="185926" y="915741"/>
                  </a:lnTo>
                  <a:lnTo>
                    <a:pt x="185472" y="915862"/>
                  </a:lnTo>
                  <a:lnTo>
                    <a:pt x="185139" y="916497"/>
                  </a:lnTo>
                  <a:lnTo>
                    <a:pt x="184443" y="915741"/>
                  </a:lnTo>
                  <a:lnTo>
                    <a:pt x="187226" y="913926"/>
                  </a:lnTo>
                  <a:lnTo>
                    <a:pt x="190372" y="914138"/>
                  </a:lnTo>
                  <a:lnTo>
                    <a:pt x="193307" y="915741"/>
                  </a:lnTo>
                  <a:lnTo>
                    <a:pt x="195485" y="918192"/>
                  </a:lnTo>
                  <a:lnTo>
                    <a:pt x="196332" y="919946"/>
                  </a:lnTo>
                  <a:lnTo>
                    <a:pt x="196483" y="921307"/>
                  </a:lnTo>
                  <a:lnTo>
                    <a:pt x="196180" y="925119"/>
                  </a:lnTo>
                  <a:lnTo>
                    <a:pt x="195848" y="926753"/>
                  </a:lnTo>
                  <a:lnTo>
                    <a:pt x="195031" y="928900"/>
                  </a:lnTo>
                  <a:lnTo>
                    <a:pt x="193912" y="930927"/>
                  </a:lnTo>
                  <a:lnTo>
                    <a:pt x="192732" y="932137"/>
                  </a:lnTo>
                  <a:lnTo>
                    <a:pt x="193398" y="931744"/>
                  </a:lnTo>
                  <a:lnTo>
                    <a:pt x="193972" y="931199"/>
                  </a:lnTo>
                  <a:lnTo>
                    <a:pt x="194426" y="930534"/>
                  </a:lnTo>
                  <a:lnTo>
                    <a:pt x="194789" y="929687"/>
                  </a:lnTo>
                  <a:lnTo>
                    <a:pt x="195454" y="929687"/>
                  </a:lnTo>
                  <a:lnTo>
                    <a:pt x="194487" y="931139"/>
                  </a:lnTo>
                  <a:lnTo>
                    <a:pt x="192913" y="932985"/>
                  </a:lnTo>
                  <a:lnTo>
                    <a:pt x="191583" y="935011"/>
                  </a:lnTo>
                  <a:lnTo>
                    <a:pt x="191340" y="937038"/>
                  </a:lnTo>
                  <a:lnTo>
                    <a:pt x="192369" y="937976"/>
                  </a:lnTo>
                  <a:lnTo>
                    <a:pt x="197512" y="939488"/>
                  </a:lnTo>
                  <a:lnTo>
                    <a:pt x="194759" y="940094"/>
                  </a:lnTo>
                  <a:lnTo>
                    <a:pt x="192611" y="939368"/>
                  </a:lnTo>
                  <a:lnTo>
                    <a:pt x="190886" y="937673"/>
                  </a:lnTo>
                  <a:lnTo>
                    <a:pt x="187741" y="933015"/>
                  </a:lnTo>
                  <a:lnTo>
                    <a:pt x="186833" y="932349"/>
                  </a:lnTo>
                  <a:lnTo>
                    <a:pt x="185472" y="932107"/>
                  </a:lnTo>
                  <a:lnTo>
                    <a:pt x="185260" y="932773"/>
                  </a:lnTo>
                  <a:lnTo>
                    <a:pt x="185502" y="935919"/>
                  </a:lnTo>
                  <a:lnTo>
                    <a:pt x="185078" y="937038"/>
                  </a:lnTo>
                  <a:lnTo>
                    <a:pt x="185078" y="937855"/>
                  </a:lnTo>
                  <a:lnTo>
                    <a:pt x="185532" y="939125"/>
                  </a:lnTo>
                  <a:lnTo>
                    <a:pt x="185835" y="944540"/>
                  </a:lnTo>
                  <a:lnTo>
                    <a:pt x="187105" y="949532"/>
                  </a:lnTo>
                  <a:lnTo>
                    <a:pt x="187287" y="951831"/>
                  </a:lnTo>
                  <a:lnTo>
                    <a:pt x="186500" y="953434"/>
                  </a:lnTo>
                  <a:lnTo>
                    <a:pt x="187256" y="954342"/>
                  </a:lnTo>
                  <a:lnTo>
                    <a:pt x="186077" y="956550"/>
                  </a:lnTo>
                  <a:lnTo>
                    <a:pt x="184443" y="960513"/>
                  </a:lnTo>
                  <a:lnTo>
                    <a:pt x="183082" y="962510"/>
                  </a:lnTo>
                  <a:lnTo>
                    <a:pt x="180329" y="965777"/>
                  </a:lnTo>
                  <a:lnTo>
                    <a:pt x="179572" y="967168"/>
                  </a:lnTo>
                  <a:lnTo>
                    <a:pt x="179482" y="967683"/>
                  </a:lnTo>
                  <a:lnTo>
                    <a:pt x="179845" y="968046"/>
                  </a:lnTo>
                  <a:lnTo>
                    <a:pt x="181297" y="971222"/>
                  </a:lnTo>
                  <a:lnTo>
                    <a:pt x="181418" y="972251"/>
                  </a:lnTo>
                  <a:lnTo>
                    <a:pt x="181055" y="974005"/>
                  </a:lnTo>
                  <a:lnTo>
                    <a:pt x="180480" y="974973"/>
                  </a:lnTo>
                  <a:lnTo>
                    <a:pt x="178726" y="976909"/>
                  </a:lnTo>
                  <a:lnTo>
                    <a:pt x="178302" y="977998"/>
                  </a:lnTo>
                  <a:lnTo>
                    <a:pt x="179119" y="980298"/>
                  </a:lnTo>
                  <a:lnTo>
                    <a:pt x="182658" y="982748"/>
                  </a:lnTo>
                  <a:lnTo>
                    <a:pt x="182507" y="984593"/>
                  </a:lnTo>
                  <a:lnTo>
                    <a:pt x="184171" y="987195"/>
                  </a:lnTo>
                  <a:lnTo>
                    <a:pt x="183596" y="989403"/>
                  </a:lnTo>
                  <a:lnTo>
                    <a:pt x="178574" y="994818"/>
                  </a:lnTo>
                  <a:lnTo>
                    <a:pt x="178090" y="995665"/>
                  </a:lnTo>
                  <a:lnTo>
                    <a:pt x="178211" y="996694"/>
                  </a:lnTo>
                  <a:lnTo>
                    <a:pt x="178937" y="998418"/>
                  </a:lnTo>
                  <a:lnTo>
                    <a:pt x="179482" y="998781"/>
                  </a:lnTo>
                  <a:lnTo>
                    <a:pt x="180178" y="998781"/>
                  </a:lnTo>
                  <a:lnTo>
                    <a:pt x="180783" y="999174"/>
                  </a:lnTo>
                  <a:lnTo>
                    <a:pt x="181055" y="1000475"/>
                  </a:lnTo>
                  <a:lnTo>
                    <a:pt x="181146" y="1001504"/>
                  </a:lnTo>
                  <a:lnTo>
                    <a:pt x="181418" y="1002351"/>
                  </a:lnTo>
                  <a:lnTo>
                    <a:pt x="181872" y="1002956"/>
                  </a:lnTo>
                  <a:lnTo>
                    <a:pt x="182507" y="1003349"/>
                  </a:lnTo>
                  <a:lnTo>
                    <a:pt x="182204" y="1002200"/>
                  </a:lnTo>
                  <a:lnTo>
                    <a:pt x="182840" y="1001988"/>
                  </a:lnTo>
                  <a:lnTo>
                    <a:pt x="183808" y="1002472"/>
                  </a:lnTo>
                  <a:lnTo>
                    <a:pt x="184503" y="1003319"/>
                  </a:lnTo>
                  <a:lnTo>
                    <a:pt x="184836" y="1004832"/>
                  </a:lnTo>
                  <a:lnTo>
                    <a:pt x="184776" y="1007766"/>
                  </a:lnTo>
                  <a:lnTo>
                    <a:pt x="185199" y="1009006"/>
                  </a:lnTo>
                  <a:lnTo>
                    <a:pt x="186409" y="1008220"/>
                  </a:lnTo>
                  <a:lnTo>
                    <a:pt x="187498" y="1008855"/>
                  </a:lnTo>
                  <a:lnTo>
                    <a:pt x="188315" y="1010307"/>
                  </a:lnTo>
                  <a:lnTo>
                    <a:pt x="188739" y="1012304"/>
                  </a:lnTo>
                  <a:lnTo>
                    <a:pt x="189193" y="1013060"/>
                  </a:lnTo>
                  <a:lnTo>
                    <a:pt x="189253" y="1013514"/>
                  </a:lnTo>
                  <a:lnTo>
                    <a:pt x="191431" y="1012273"/>
                  </a:lnTo>
                  <a:lnTo>
                    <a:pt x="192823" y="1013151"/>
                  </a:lnTo>
                  <a:lnTo>
                    <a:pt x="191915" y="1014996"/>
                  </a:lnTo>
                  <a:lnTo>
                    <a:pt x="191461" y="1015601"/>
                  </a:lnTo>
                  <a:lnTo>
                    <a:pt x="193125" y="1015843"/>
                  </a:lnTo>
                  <a:lnTo>
                    <a:pt x="195485" y="1016962"/>
                  </a:lnTo>
                  <a:lnTo>
                    <a:pt x="196271" y="1016327"/>
                  </a:lnTo>
                  <a:lnTo>
                    <a:pt x="197028" y="1016327"/>
                  </a:lnTo>
                  <a:lnTo>
                    <a:pt x="198298" y="1021440"/>
                  </a:lnTo>
                  <a:lnTo>
                    <a:pt x="199085" y="1027732"/>
                  </a:lnTo>
                  <a:lnTo>
                    <a:pt x="201414" y="1027218"/>
                  </a:lnTo>
                  <a:lnTo>
                    <a:pt x="202654" y="1029275"/>
                  </a:lnTo>
                  <a:lnTo>
                    <a:pt x="202594" y="1032179"/>
                  </a:lnTo>
                  <a:lnTo>
                    <a:pt x="201081" y="1034206"/>
                  </a:lnTo>
                  <a:lnTo>
                    <a:pt x="201081" y="1035023"/>
                  </a:lnTo>
                  <a:lnTo>
                    <a:pt x="202654" y="1035386"/>
                  </a:lnTo>
                  <a:lnTo>
                    <a:pt x="204439" y="1035446"/>
                  </a:lnTo>
                  <a:lnTo>
                    <a:pt x="205407" y="1036112"/>
                  </a:lnTo>
                  <a:lnTo>
                    <a:pt x="204590" y="1038320"/>
                  </a:lnTo>
                  <a:lnTo>
                    <a:pt x="205196" y="1039137"/>
                  </a:lnTo>
                  <a:lnTo>
                    <a:pt x="206617" y="1038320"/>
                  </a:lnTo>
                  <a:lnTo>
                    <a:pt x="206285" y="1035900"/>
                  </a:lnTo>
                  <a:lnTo>
                    <a:pt x="208009" y="1033631"/>
                  </a:lnTo>
                  <a:lnTo>
                    <a:pt x="210580" y="1031907"/>
                  </a:lnTo>
                  <a:lnTo>
                    <a:pt x="212788" y="1031029"/>
                  </a:lnTo>
                  <a:lnTo>
                    <a:pt x="215088" y="1031271"/>
                  </a:lnTo>
                  <a:lnTo>
                    <a:pt x="217810" y="1032481"/>
                  </a:lnTo>
                  <a:lnTo>
                    <a:pt x="220261" y="1034387"/>
                  </a:lnTo>
                  <a:lnTo>
                    <a:pt x="221713" y="1036656"/>
                  </a:lnTo>
                  <a:lnTo>
                    <a:pt x="221713" y="1034206"/>
                  </a:lnTo>
                  <a:lnTo>
                    <a:pt x="223982" y="1036232"/>
                  </a:lnTo>
                  <a:lnTo>
                    <a:pt x="225343" y="1037201"/>
                  </a:lnTo>
                  <a:lnTo>
                    <a:pt x="226523" y="1037503"/>
                  </a:lnTo>
                  <a:lnTo>
                    <a:pt x="227340" y="1037019"/>
                  </a:lnTo>
                  <a:lnTo>
                    <a:pt x="228459" y="1035355"/>
                  </a:lnTo>
                  <a:lnTo>
                    <a:pt x="228973" y="1034992"/>
                  </a:lnTo>
                  <a:lnTo>
                    <a:pt x="230032" y="1034902"/>
                  </a:lnTo>
                  <a:lnTo>
                    <a:pt x="230697" y="1034629"/>
                  </a:lnTo>
                  <a:lnTo>
                    <a:pt x="240922" y="1025070"/>
                  </a:lnTo>
                  <a:lnTo>
                    <a:pt x="241770" y="1023587"/>
                  </a:lnTo>
                  <a:lnTo>
                    <a:pt x="242526" y="1024132"/>
                  </a:lnTo>
                  <a:lnTo>
                    <a:pt x="242828" y="1024253"/>
                  </a:lnTo>
                  <a:lnTo>
                    <a:pt x="243887" y="1023587"/>
                  </a:lnTo>
                  <a:lnTo>
                    <a:pt x="243131" y="1023587"/>
                  </a:lnTo>
                  <a:lnTo>
                    <a:pt x="244250" y="1019443"/>
                  </a:lnTo>
                  <a:lnTo>
                    <a:pt x="245823" y="1016962"/>
                  </a:lnTo>
                  <a:lnTo>
                    <a:pt x="245702" y="1016115"/>
                  </a:lnTo>
                  <a:lnTo>
                    <a:pt x="245097" y="1015480"/>
                  </a:lnTo>
                  <a:lnTo>
                    <a:pt x="244523" y="1014754"/>
                  </a:lnTo>
                  <a:lnTo>
                    <a:pt x="243766" y="1012818"/>
                  </a:lnTo>
                  <a:lnTo>
                    <a:pt x="243191" y="1010700"/>
                  </a:lnTo>
                  <a:lnTo>
                    <a:pt x="242919" y="1008341"/>
                  </a:lnTo>
                  <a:lnTo>
                    <a:pt x="243161" y="1005679"/>
                  </a:lnTo>
                  <a:lnTo>
                    <a:pt x="243948" y="1003410"/>
                  </a:lnTo>
                  <a:lnTo>
                    <a:pt x="245188" y="1001776"/>
                  </a:lnTo>
                  <a:lnTo>
                    <a:pt x="249242" y="997813"/>
                  </a:lnTo>
                  <a:lnTo>
                    <a:pt x="249332" y="997299"/>
                  </a:lnTo>
                  <a:lnTo>
                    <a:pt x="249332" y="996361"/>
                  </a:lnTo>
                  <a:lnTo>
                    <a:pt x="248848" y="995726"/>
                  </a:lnTo>
                  <a:lnTo>
                    <a:pt x="246338" y="996210"/>
                  </a:lnTo>
                  <a:lnTo>
                    <a:pt x="245218" y="995938"/>
                  </a:lnTo>
                  <a:lnTo>
                    <a:pt x="245127" y="996059"/>
                  </a:lnTo>
                  <a:lnTo>
                    <a:pt x="244855" y="995454"/>
                  </a:lnTo>
                  <a:lnTo>
                    <a:pt x="244008" y="995000"/>
                  </a:lnTo>
                  <a:lnTo>
                    <a:pt x="243433" y="994455"/>
                  </a:lnTo>
                  <a:lnTo>
                    <a:pt x="243917" y="993517"/>
                  </a:lnTo>
                  <a:lnTo>
                    <a:pt x="243917" y="992610"/>
                  </a:lnTo>
                  <a:lnTo>
                    <a:pt x="242586" y="992096"/>
                  </a:lnTo>
                  <a:lnTo>
                    <a:pt x="242707" y="991702"/>
                  </a:lnTo>
                  <a:lnTo>
                    <a:pt x="243766" y="991612"/>
                  </a:lnTo>
                  <a:lnTo>
                    <a:pt x="245218" y="991914"/>
                  </a:lnTo>
                  <a:lnTo>
                    <a:pt x="246095" y="992640"/>
                  </a:lnTo>
                  <a:lnTo>
                    <a:pt x="246882" y="993669"/>
                  </a:lnTo>
                  <a:lnTo>
                    <a:pt x="247699" y="994183"/>
                  </a:lnTo>
                  <a:lnTo>
                    <a:pt x="248637" y="993548"/>
                  </a:lnTo>
                  <a:lnTo>
                    <a:pt x="252721" y="997934"/>
                  </a:lnTo>
                  <a:lnTo>
                    <a:pt x="255080" y="999991"/>
                  </a:lnTo>
                  <a:lnTo>
                    <a:pt x="258015" y="1000838"/>
                  </a:lnTo>
                  <a:lnTo>
                    <a:pt x="258378" y="1000082"/>
                  </a:lnTo>
                  <a:lnTo>
                    <a:pt x="259497" y="998448"/>
                  </a:lnTo>
                  <a:lnTo>
                    <a:pt x="261161" y="996785"/>
                  </a:lnTo>
                  <a:lnTo>
                    <a:pt x="263067" y="995968"/>
                  </a:lnTo>
                  <a:lnTo>
                    <a:pt x="266697" y="996301"/>
                  </a:lnTo>
                  <a:lnTo>
                    <a:pt x="268572" y="996845"/>
                  </a:lnTo>
                  <a:lnTo>
                    <a:pt x="269994" y="997632"/>
                  </a:lnTo>
                  <a:lnTo>
                    <a:pt x="270690" y="996754"/>
                  </a:lnTo>
                  <a:lnTo>
                    <a:pt x="271446" y="997571"/>
                  </a:lnTo>
                  <a:lnTo>
                    <a:pt x="272717" y="998358"/>
                  </a:lnTo>
                  <a:lnTo>
                    <a:pt x="274108" y="998963"/>
                  </a:lnTo>
                  <a:lnTo>
                    <a:pt x="275167" y="999205"/>
                  </a:lnTo>
                  <a:lnTo>
                    <a:pt x="276014" y="999719"/>
                  </a:lnTo>
                  <a:lnTo>
                    <a:pt x="278313" y="1002018"/>
                  </a:lnTo>
                  <a:lnTo>
                    <a:pt x="279312" y="1002533"/>
                  </a:lnTo>
                  <a:lnTo>
                    <a:pt x="279886" y="1002986"/>
                  </a:lnTo>
                  <a:lnTo>
                    <a:pt x="282427" y="1005709"/>
                  </a:lnTo>
                  <a:lnTo>
                    <a:pt x="284485" y="1006616"/>
                  </a:lnTo>
                  <a:lnTo>
                    <a:pt x="285392" y="1007252"/>
                  </a:lnTo>
                  <a:lnTo>
                    <a:pt x="285876" y="1008310"/>
                  </a:lnTo>
                  <a:lnTo>
                    <a:pt x="286632" y="1008310"/>
                  </a:lnTo>
                  <a:lnTo>
                    <a:pt x="288145" y="1007403"/>
                  </a:lnTo>
                  <a:lnTo>
                    <a:pt x="289688" y="1006979"/>
                  </a:lnTo>
                  <a:lnTo>
                    <a:pt x="291261" y="1007191"/>
                  </a:lnTo>
                  <a:lnTo>
                    <a:pt x="292834" y="1008280"/>
                  </a:lnTo>
                  <a:lnTo>
                    <a:pt x="292410" y="1009248"/>
                  </a:lnTo>
                  <a:lnTo>
                    <a:pt x="292350" y="1009823"/>
                  </a:lnTo>
                  <a:lnTo>
                    <a:pt x="292743" y="1010216"/>
                  </a:lnTo>
                  <a:lnTo>
                    <a:pt x="293530" y="1010610"/>
                  </a:lnTo>
                  <a:lnTo>
                    <a:pt x="293953" y="1008190"/>
                  </a:lnTo>
                  <a:lnTo>
                    <a:pt x="295647" y="1007101"/>
                  </a:lnTo>
                  <a:lnTo>
                    <a:pt x="297492" y="1006435"/>
                  </a:lnTo>
                  <a:lnTo>
                    <a:pt x="298370" y="1005285"/>
                  </a:lnTo>
                  <a:lnTo>
                    <a:pt x="298582" y="1004075"/>
                  </a:lnTo>
                  <a:lnTo>
                    <a:pt x="299519" y="1001685"/>
                  </a:lnTo>
                  <a:lnTo>
                    <a:pt x="299731" y="1000778"/>
                  </a:lnTo>
                  <a:lnTo>
                    <a:pt x="299338" y="999961"/>
                  </a:lnTo>
                  <a:lnTo>
                    <a:pt x="298612" y="999326"/>
                  </a:lnTo>
                  <a:lnTo>
                    <a:pt x="298279" y="998630"/>
                  </a:lnTo>
                  <a:lnTo>
                    <a:pt x="299066" y="997571"/>
                  </a:lnTo>
                  <a:lnTo>
                    <a:pt x="298491" y="994697"/>
                  </a:lnTo>
                  <a:lnTo>
                    <a:pt x="299943" y="991339"/>
                  </a:lnTo>
                  <a:lnTo>
                    <a:pt x="302484" y="988647"/>
                  </a:lnTo>
                  <a:lnTo>
                    <a:pt x="305237" y="987709"/>
                  </a:lnTo>
                  <a:lnTo>
                    <a:pt x="305237" y="986953"/>
                  </a:lnTo>
                  <a:lnTo>
                    <a:pt x="302908" y="985350"/>
                  </a:lnTo>
                  <a:lnTo>
                    <a:pt x="302091" y="984200"/>
                  </a:lnTo>
                  <a:lnTo>
                    <a:pt x="301788" y="982415"/>
                  </a:lnTo>
                  <a:lnTo>
                    <a:pt x="301940" y="980661"/>
                  </a:lnTo>
                  <a:lnTo>
                    <a:pt x="303150" y="975457"/>
                  </a:lnTo>
                  <a:lnTo>
                    <a:pt x="305661" y="969105"/>
                  </a:lnTo>
                  <a:lnTo>
                    <a:pt x="306235" y="965323"/>
                  </a:lnTo>
                  <a:lnTo>
                    <a:pt x="304572" y="963206"/>
                  </a:lnTo>
                  <a:lnTo>
                    <a:pt x="307052" y="955431"/>
                  </a:lnTo>
                  <a:lnTo>
                    <a:pt x="307324" y="952103"/>
                  </a:lnTo>
                  <a:lnTo>
                    <a:pt x="306628" y="946779"/>
                  </a:lnTo>
                  <a:lnTo>
                    <a:pt x="306840" y="945176"/>
                  </a:lnTo>
                  <a:lnTo>
                    <a:pt x="307294" y="943936"/>
                  </a:lnTo>
                  <a:lnTo>
                    <a:pt x="307748" y="942998"/>
                  </a:lnTo>
                  <a:lnTo>
                    <a:pt x="307960" y="942272"/>
                  </a:lnTo>
                  <a:lnTo>
                    <a:pt x="308171" y="940517"/>
                  </a:lnTo>
                  <a:lnTo>
                    <a:pt x="309109" y="938520"/>
                  </a:lnTo>
                  <a:lnTo>
                    <a:pt x="309351" y="937310"/>
                  </a:lnTo>
                  <a:lnTo>
                    <a:pt x="309230" y="935616"/>
                  </a:lnTo>
                  <a:lnTo>
                    <a:pt x="308716" y="932682"/>
                  </a:lnTo>
                  <a:lnTo>
                    <a:pt x="308595" y="931169"/>
                  </a:lnTo>
                  <a:lnTo>
                    <a:pt x="308746" y="928235"/>
                  </a:lnTo>
                  <a:lnTo>
                    <a:pt x="309260" y="925240"/>
                  </a:lnTo>
                  <a:lnTo>
                    <a:pt x="310138" y="922699"/>
                  </a:lnTo>
                  <a:lnTo>
                    <a:pt x="311378" y="921277"/>
                  </a:lnTo>
                  <a:lnTo>
                    <a:pt x="311378" y="920521"/>
                  </a:lnTo>
                  <a:lnTo>
                    <a:pt x="310894" y="920279"/>
                  </a:lnTo>
                  <a:lnTo>
                    <a:pt x="310470" y="919855"/>
                  </a:lnTo>
                  <a:lnTo>
                    <a:pt x="310017" y="919613"/>
                  </a:lnTo>
                  <a:lnTo>
                    <a:pt x="310017" y="918857"/>
                  </a:lnTo>
                  <a:lnTo>
                    <a:pt x="310682" y="918857"/>
                  </a:lnTo>
                  <a:lnTo>
                    <a:pt x="310077" y="917556"/>
                  </a:lnTo>
                  <a:lnTo>
                    <a:pt x="310138" y="916134"/>
                  </a:lnTo>
                  <a:lnTo>
                    <a:pt x="310652" y="914652"/>
                  </a:lnTo>
                  <a:lnTo>
                    <a:pt x="311378" y="913109"/>
                  </a:lnTo>
                  <a:lnTo>
                    <a:pt x="311862" y="912807"/>
                  </a:lnTo>
                  <a:lnTo>
                    <a:pt x="312528" y="912807"/>
                  </a:lnTo>
                  <a:lnTo>
                    <a:pt x="313163" y="912504"/>
                  </a:lnTo>
                  <a:lnTo>
                    <a:pt x="313496" y="911385"/>
                  </a:lnTo>
                  <a:lnTo>
                    <a:pt x="313284" y="910629"/>
                  </a:lnTo>
                  <a:lnTo>
                    <a:pt x="312679" y="910629"/>
                  </a:lnTo>
                  <a:lnTo>
                    <a:pt x="311953" y="910961"/>
                  </a:lnTo>
                  <a:lnTo>
                    <a:pt x="311348" y="911385"/>
                  </a:lnTo>
                  <a:lnTo>
                    <a:pt x="310410" y="908087"/>
                  </a:lnTo>
                  <a:lnTo>
                    <a:pt x="311015" y="904276"/>
                  </a:lnTo>
                  <a:lnTo>
                    <a:pt x="314736" y="895170"/>
                  </a:lnTo>
                  <a:lnTo>
                    <a:pt x="314917" y="893325"/>
                  </a:lnTo>
                  <a:lnTo>
                    <a:pt x="312709" y="891812"/>
                  </a:lnTo>
                  <a:lnTo>
                    <a:pt x="310470" y="888878"/>
                  </a:lnTo>
                  <a:lnTo>
                    <a:pt x="309654" y="888212"/>
                  </a:lnTo>
                  <a:lnTo>
                    <a:pt x="308171" y="887547"/>
                  </a:lnTo>
                  <a:lnTo>
                    <a:pt x="307113" y="885974"/>
                  </a:lnTo>
                  <a:lnTo>
                    <a:pt x="304753" y="879742"/>
                  </a:lnTo>
                  <a:lnTo>
                    <a:pt x="304541" y="878622"/>
                  </a:lnTo>
                  <a:lnTo>
                    <a:pt x="304118" y="873510"/>
                  </a:lnTo>
                  <a:lnTo>
                    <a:pt x="304239" y="871665"/>
                  </a:lnTo>
                  <a:lnTo>
                    <a:pt x="305086" y="869305"/>
                  </a:lnTo>
                  <a:lnTo>
                    <a:pt x="306175" y="867671"/>
                  </a:lnTo>
                  <a:lnTo>
                    <a:pt x="308655" y="865675"/>
                  </a:lnTo>
                  <a:lnTo>
                    <a:pt x="309956" y="864283"/>
                  </a:lnTo>
                  <a:lnTo>
                    <a:pt x="311741" y="860804"/>
                  </a:lnTo>
                  <a:lnTo>
                    <a:pt x="312891" y="859171"/>
                  </a:lnTo>
                  <a:lnTo>
                    <a:pt x="314403" y="858505"/>
                  </a:lnTo>
                  <a:lnTo>
                    <a:pt x="316612" y="857870"/>
                  </a:lnTo>
                  <a:lnTo>
                    <a:pt x="317852" y="856236"/>
                  </a:lnTo>
                  <a:lnTo>
                    <a:pt x="319485" y="851820"/>
                  </a:lnTo>
                  <a:lnTo>
                    <a:pt x="321724" y="848401"/>
                  </a:lnTo>
                  <a:lnTo>
                    <a:pt x="322571" y="846556"/>
                  </a:lnTo>
                  <a:lnTo>
                    <a:pt x="322904" y="843924"/>
                  </a:lnTo>
                  <a:lnTo>
                    <a:pt x="323206" y="842684"/>
                  </a:lnTo>
                  <a:lnTo>
                    <a:pt x="324356" y="840597"/>
                  </a:lnTo>
                  <a:lnTo>
                    <a:pt x="324356" y="839386"/>
                  </a:lnTo>
                  <a:lnTo>
                    <a:pt x="323751" y="838570"/>
                  </a:lnTo>
                  <a:close/>
                  <a:moveTo>
                    <a:pt x="188708" y="1014784"/>
                  </a:moveTo>
                  <a:lnTo>
                    <a:pt x="188618" y="1014905"/>
                  </a:lnTo>
                  <a:lnTo>
                    <a:pt x="187952" y="1015389"/>
                  </a:lnTo>
                  <a:lnTo>
                    <a:pt x="187287" y="1015450"/>
                  </a:lnTo>
                  <a:lnTo>
                    <a:pt x="186772" y="1015117"/>
                  </a:lnTo>
                  <a:lnTo>
                    <a:pt x="186561" y="1014482"/>
                  </a:lnTo>
                  <a:lnTo>
                    <a:pt x="185411" y="1011033"/>
                  </a:lnTo>
                  <a:lnTo>
                    <a:pt x="182688" y="1010549"/>
                  </a:lnTo>
                  <a:lnTo>
                    <a:pt x="179512" y="1010761"/>
                  </a:lnTo>
                  <a:lnTo>
                    <a:pt x="176941" y="1009188"/>
                  </a:lnTo>
                  <a:lnTo>
                    <a:pt x="175489" y="1011608"/>
                  </a:lnTo>
                  <a:lnTo>
                    <a:pt x="175489" y="1012425"/>
                  </a:lnTo>
                  <a:lnTo>
                    <a:pt x="176245" y="1012425"/>
                  </a:lnTo>
                  <a:lnTo>
                    <a:pt x="176245" y="1013302"/>
                  </a:lnTo>
                  <a:lnTo>
                    <a:pt x="175821" y="1015843"/>
                  </a:lnTo>
                  <a:lnTo>
                    <a:pt x="177394" y="1019715"/>
                  </a:lnTo>
                  <a:lnTo>
                    <a:pt x="181055" y="1025463"/>
                  </a:lnTo>
                  <a:lnTo>
                    <a:pt x="181418" y="1026280"/>
                  </a:lnTo>
                  <a:lnTo>
                    <a:pt x="181509" y="1027127"/>
                  </a:lnTo>
                  <a:lnTo>
                    <a:pt x="181902" y="1027732"/>
                  </a:lnTo>
                  <a:lnTo>
                    <a:pt x="183112" y="1027883"/>
                  </a:lnTo>
                  <a:lnTo>
                    <a:pt x="184171" y="1027611"/>
                  </a:lnTo>
                  <a:lnTo>
                    <a:pt x="184625" y="1027097"/>
                  </a:lnTo>
                  <a:lnTo>
                    <a:pt x="185562" y="1023860"/>
                  </a:lnTo>
                  <a:lnTo>
                    <a:pt x="186318" y="1019867"/>
                  </a:lnTo>
                  <a:lnTo>
                    <a:pt x="187287" y="1018172"/>
                  </a:lnTo>
                  <a:lnTo>
                    <a:pt x="186863" y="1017295"/>
                  </a:lnTo>
                  <a:lnTo>
                    <a:pt x="187347" y="1016509"/>
                  </a:lnTo>
                  <a:lnTo>
                    <a:pt x="189344" y="1014936"/>
                  </a:lnTo>
                  <a:lnTo>
                    <a:pt x="188860" y="1014663"/>
                  </a:lnTo>
                  <a:lnTo>
                    <a:pt x="188678" y="1014815"/>
                  </a:lnTo>
                  <a:close/>
                  <a:moveTo>
                    <a:pt x="166928" y="774406"/>
                  </a:moveTo>
                  <a:lnTo>
                    <a:pt x="164991" y="775949"/>
                  </a:lnTo>
                  <a:lnTo>
                    <a:pt x="163721" y="777220"/>
                  </a:lnTo>
                  <a:lnTo>
                    <a:pt x="163146" y="778218"/>
                  </a:lnTo>
                  <a:lnTo>
                    <a:pt x="163146" y="779398"/>
                  </a:lnTo>
                  <a:lnTo>
                    <a:pt x="162995" y="780578"/>
                  </a:lnTo>
                  <a:lnTo>
                    <a:pt x="162571" y="781727"/>
                  </a:lnTo>
                  <a:lnTo>
                    <a:pt x="161785" y="782847"/>
                  </a:lnTo>
                  <a:lnTo>
                    <a:pt x="165476" y="783119"/>
                  </a:lnTo>
                  <a:lnTo>
                    <a:pt x="165929" y="780366"/>
                  </a:lnTo>
                  <a:lnTo>
                    <a:pt x="165929" y="776978"/>
                  </a:lnTo>
                  <a:lnTo>
                    <a:pt x="168319" y="775314"/>
                  </a:lnTo>
                  <a:lnTo>
                    <a:pt x="174127" y="774406"/>
                  </a:lnTo>
                  <a:lnTo>
                    <a:pt x="175035" y="773257"/>
                  </a:lnTo>
                  <a:lnTo>
                    <a:pt x="175367" y="771775"/>
                  </a:lnTo>
                  <a:lnTo>
                    <a:pt x="175095" y="770353"/>
                  </a:lnTo>
                  <a:lnTo>
                    <a:pt x="174127" y="769385"/>
                  </a:lnTo>
                  <a:lnTo>
                    <a:pt x="173674" y="768537"/>
                  </a:lnTo>
                  <a:lnTo>
                    <a:pt x="173462" y="767811"/>
                  </a:lnTo>
                  <a:lnTo>
                    <a:pt x="173462" y="766844"/>
                  </a:lnTo>
                  <a:lnTo>
                    <a:pt x="172191" y="767751"/>
                  </a:lnTo>
                  <a:lnTo>
                    <a:pt x="171647" y="768356"/>
                  </a:lnTo>
                  <a:lnTo>
                    <a:pt x="171435" y="768931"/>
                  </a:lnTo>
                  <a:lnTo>
                    <a:pt x="171072" y="769415"/>
                  </a:lnTo>
                  <a:lnTo>
                    <a:pt x="169287" y="769203"/>
                  </a:lnTo>
                  <a:lnTo>
                    <a:pt x="168621" y="769354"/>
                  </a:lnTo>
                  <a:lnTo>
                    <a:pt x="168410" y="770595"/>
                  </a:lnTo>
                  <a:lnTo>
                    <a:pt x="168621" y="772259"/>
                  </a:lnTo>
                  <a:lnTo>
                    <a:pt x="168410" y="773711"/>
                  </a:lnTo>
                  <a:lnTo>
                    <a:pt x="166897" y="774346"/>
                  </a:lnTo>
                  <a:close/>
                  <a:moveTo>
                    <a:pt x="285755" y="759916"/>
                  </a:moveTo>
                  <a:lnTo>
                    <a:pt x="286451" y="759613"/>
                  </a:lnTo>
                  <a:lnTo>
                    <a:pt x="287238" y="760218"/>
                  </a:lnTo>
                  <a:lnTo>
                    <a:pt x="288024" y="761187"/>
                  </a:lnTo>
                  <a:lnTo>
                    <a:pt x="288629" y="761247"/>
                  </a:lnTo>
                  <a:lnTo>
                    <a:pt x="289083" y="760370"/>
                  </a:lnTo>
                  <a:lnTo>
                    <a:pt x="289022" y="759765"/>
                  </a:lnTo>
                  <a:lnTo>
                    <a:pt x="288690" y="759129"/>
                  </a:lnTo>
                  <a:lnTo>
                    <a:pt x="289506" y="755771"/>
                  </a:lnTo>
                  <a:lnTo>
                    <a:pt x="289506" y="754864"/>
                  </a:lnTo>
                  <a:lnTo>
                    <a:pt x="289416" y="754350"/>
                  </a:lnTo>
                  <a:lnTo>
                    <a:pt x="289053" y="753412"/>
                  </a:lnTo>
                  <a:lnTo>
                    <a:pt x="288357" y="752807"/>
                  </a:lnTo>
                  <a:lnTo>
                    <a:pt x="287540" y="752655"/>
                  </a:lnTo>
                  <a:lnTo>
                    <a:pt x="286935" y="753684"/>
                  </a:lnTo>
                  <a:lnTo>
                    <a:pt x="286178" y="755348"/>
                  </a:lnTo>
                  <a:lnTo>
                    <a:pt x="285876" y="756437"/>
                  </a:lnTo>
                  <a:lnTo>
                    <a:pt x="286300" y="757223"/>
                  </a:lnTo>
                  <a:lnTo>
                    <a:pt x="285211" y="759583"/>
                  </a:lnTo>
                  <a:lnTo>
                    <a:pt x="285695" y="759946"/>
                  </a:lnTo>
                  <a:close/>
                  <a:moveTo>
                    <a:pt x="284636" y="752172"/>
                  </a:moveTo>
                  <a:lnTo>
                    <a:pt x="284333" y="751203"/>
                  </a:lnTo>
                  <a:lnTo>
                    <a:pt x="283789" y="750387"/>
                  </a:lnTo>
                  <a:lnTo>
                    <a:pt x="283033" y="750205"/>
                  </a:lnTo>
                  <a:lnTo>
                    <a:pt x="282397" y="750750"/>
                  </a:lnTo>
                  <a:lnTo>
                    <a:pt x="281822" y="750810"/>
                  </a:lnTo>
                  <a:lnTo>
                    <a:pt x="281399" y="750992"/>
                  </a:lnTo>
                  <a:lnTo>
                    <a:pt x="281218" y="752020"/>
                  </a:lnTo>
                  <a:lnTo>
                    <a:pt x="280794" y="752898"/>
                  </a:lnTo>
                  <a:lnTo>
                    <a:pt x="280098" y="753412"/>
                  </a:lnTo>
                  <a:lnTo>
                    <a:pt x="279372" y="753745"/>
                  </a:lnTo>
                  <a:lnTo>
                    <a:pt x="278918" y="754229"/>
                  </a:lnTo>
                  <a:lnTo>
                    <a:pt x="278918" y="755197"/>
                  </a:lnTo>
                  <a:lnTo>
                    <a:pt x="279312" y="756256"/>
                  </a:lnTo>
                  <a:lnTo>
                    <a:pt x="281157" y="756588"/>
                  </a:lnTo>
                  <a:lnTo>
                    <a:pt x="285180" y="755802"/>
                  </a:lnTo>
                  <a:lnTo>
                    <a:pt x="285089" y="755348"/>
                  </a:lnTo>
                  <a:lnTo>
                    <a:pt x="284757" y="754834"/>
                  </a:lnTo>
                  <a:lnTo>
                    <a:pt x="284575" y="754259"/>
                  </a:lnTo>
                  <a:lnTo>
                    <a:pt x="284696" y="753230"/>
                  </a:lnTo>
                  <a:lnTo>
                    <a:pt x="284696" y="752202"/>
                  </a:lnTo>
                  <a:close/>
                  <a:moveTo>
                    <a:pt x="840960" y="1090232"/>
                  </a:moveTo>
                  <a:lnTo>
                    <a:pt x="839598" y="1092651"/>
                  </a:lnTo>
                  <a:lnTo>
                    <a:pt x="839901" y="1094527"/>
                  </a:lnTo>
                  <a:lnTo>
                    <a:pt x="841444" y="1096252"/>
                  </a:lnTo>
                  <a:lnTo>
                    <a:pt x="843773" y="1098308"/>
                  </a:lnTo>
                  <a:lnTo>
                    <a:pt x="844953" y="1097492"/>
                  </a:lnTo>
                  <a:lnTo>
                    <a:pt x="845860" y="1096705"/>
                  </a:lnTo>
                  <a:lnTo>
                    <a:pt x="845286" y="1095102"/>
                  </a:lnTo>
                  <a:lnTo>
                    <a:pt x="844469" y="1093710"/>
                  </a:lnTo>
                  <a:lnTo>
                    <a:pt x="843319" y="1092591"/>
                  </a:lnTo>
                  <a:lnTo>
                    <a:pt x="841716" y="1091835"/>
                  </a:lnTo>
                  <a:lnTo>
                    <a:pt x="841716" y="1090171"/>
                  </a:lnTo>
                  <a:lnTo>
                    <a:pt x="840960" y="1090171"/>
                  </a:lnTo>
                  <a:close/>
                  <a:moveTo>
                    <a:pt x="866976" y="1050088"/>
                  </a:moveTo>
                  <a:lnTo>
                    <a:pt x="867702" y="1049634"/>
                  </a:lnTo>
                  <a:lnTo>
                    <a:pt x="868216" y="1048908"/>
                  </a:lnTo>
                  <a:lnTo>
                    <a:pt x="868488" y="1048152"/>
                  </a:lnTo>
                  <a:lnTo>
                    <a:pt x="869003" y="1047365"/>
                  </a:lnTo>
                  <a:lnTo>
                    <a:pt x="869184" y="1046427"/>
                  </a:lnTo>
                  <a:lnTo>
                    <a:pt x="868700" y="1045974"/>
                  </a:lnTo>
                  <a:lnTo>
                    <a:pt x="868005" y="1045701"/>
                  </a:lnTo>
                  <a:lnTo>
                    <a:pt x="867097" y="1045490"/>
                  </a:lnTo>
                  <a:lnTo>
                    <a:pt x="866431" y="1045671"/>
                  </a:lnTo>
                  <a:lnTo>
                    <a:pt x="866099" y="1046216"/>
                  </a:lnTo>
                  <a:lnTo>
                    <a:pt x="865584" y="1046730"/>
                  </a:lnTo>
                  <a:lnTo>
                    <a:pt x="864616" y="1047153"/>
                  </a:lnTo>
                  <a:lnTo>
                    <a:pt x="863921" y="1047789"/>
                  </a:lnTo>
                  <a:lnTo>
                    <a:pt x="863921" y="1048212"/>
                  </a:lnTo>
                  <a:lnTo>
                    <a:pt x="865827" y="1049846"/>
                  </a:lnTo>
                  <a:lnTo>
                    <a:pt x="866976" y="1050088"/>
                  </a:lnTo>
                  <a:close/>
                  <a:moveTo>
                    <a:pt x="840839" y="1079734"/>
                  </a:moveTo>
                  <a:lnTo>
                    <a:pt x="837511" y="1079734"/>
                  </a:lnTo>
                  <a:lnTo>
                    <a:pt x="835998" y="1080521"/>
                  </a:lnTo>
                  <a:lnTo>
                    <a:pt x="835091" y="1082487"/>
                  </a:lnTo>
                  <a:lnTo>
                    <a:pt x="834970" y="1084484"/>
                  </a:lnTo>
                  <a:lnTo>
                    <a:pt x="835817" y="1085391"/>
                  </a:lnTo>
                  <a:lnTo>
                    <a:pt x="837208" y="1085996"/>
                  </a:lnTo>
                  <a:lnTo>
                    <a:pt x="838509" y="1087206"/>
                  </a:lnTo>
                  <a:lnTo>
                    <a:pt x="839931" y="1088114"/>
                  </a:lnTo>
                  <a:lnTo>
                    <a:pt x="841686" y="1087811"/>
                  </a:lnTo>
                  <a:lnTo>
                    <a:pt x="841686" y="1086934"/>
                  </a:lnTo>
                  <a:lnTo>
                    <a:pt x="841172" y="1086450"/>
                  </a:lnTo>
                  <a:lnTo>
                    <a:pt x="840839" y="1085905"/>
                  </a:lnTo>
                  <a:lnTo>
                    <a:pt x="840324" y="1084514"/>
                  </a:lnTo>
                  <a:lnTo>
                    <a:pt x="842987" y="1084514"/>
                  </a:lnTo>
                  <a:lnTo>
                    <a:pt x="842987" y="1083788"/>
                  </a:lnTo>
                  <a:lnTo>
                    <a:pt x="842472" y="1083486"/>
                  </a:lnTo>
                  <a:lnTo>
                    <a:pt x="841625" y="1082608"/>
                  </a:lnTo>
                  <a:lnTo>
                    <a:pt x="840960" y="1082094"/>
                  </a:lnTo>
                  <a:lnTo>
                    <a:pt x="841686" y="1080400"/>
                  </a:lnTo>
                  <a:lnTo>
                    <a:pt x="840869" y="1079704"/>
                  </a:lnTo>
                  <a:close/>
                  <a:moveTo>
                    <a:pt x="1198653" y="889120"/>
                  </a:moveTo>
                  <a:lnTo>
                    <a:pt x="1198380" y="888273"/>
                  </a:lnTo>
                  <a:lnTo>
                    <a:pt x="1198895" y="886881"/>
                  </a:lnTo>
                  <a:lnTo>
                    <a:pt x="1198229" y="886548"/>
                  </a:lnTo>
                  <a:lnTo>
                    <a:pt x="1197715" y="885974"/>
                  </a:lnTo>
                  <a:lnTo>
                    <a:pt x="1197291" y="885248"/>
                  </a:lnTo>
                  <a:lnTo>
                    <a:pt x="1190969" y="871302"/>
                  </a:lnTo>
                  <a:lnTo>
                    <a:pt x="1184223" y="862740"/>
                  </a:lnTo>
                  <a:lnTo>
                    <a:pt x="1183315" y="861954"/>
                  </a:lnTo>
                  <a:lnTo>
                    <a:pt x="1181530" y="861167"/>
                  </a:lnTo>
                  <a:lnTo>
                    <a:pt x="1180048" y="859352"/>
                  </a:lnTo>
                  <a:lnTo>
                    <a:pt x="1177446" y="855329"/>
                  </a:lnTo>
                  <a:lnTo>
                    <a:pt x="1174149" y="852758"/>
                  </a:lnTo>
                  <a:lnTo>
                    <a:pt x="1172999" y="851608"/>
                  </a:lnTo>
                  <a:lnTo>
                    <a:pt x="1170942" y="848341"/>
                  </a:lnTo>
                  <a:lnTo>
                    <a:pt x="1170246" y="847887"/>
                  </a:lnTo>
                  <a:lnTo>
                    <a:pt x="1168250" y="847494"/>
                  </a:lnTo>
                  <a:lnTo>
                    <a:pt x="1159023" y="842684"/>
                  </a:lnTo>
                  <a:lnTo>
                    <a:pt x="1150704" y="836331"/>
                  </a:lnTo>
                  <a:lnTo>
                    <a:pt x="1151309" y="830856"/>
                  </a:lnTo>
                  <a:lnTo>
                    <a:pt x="1150886" y="830099"/>
                  </a:lnTo>
                  <a:lnTo>
                    <a:pt x="1148526" y="828042"/>
                  </a:lnTo>
                  <a:lnTo>
                    <a:pt x="1148102" y="826802"/>
                  </a:lnTo>
                  <a:lnTo>
                    <a:pt x="1148042" y="825713"/>
                  </a:lnTo>
                  <a:lnTo>
                    <a:pt x="1147618" y="824926"/>
                  </a:lnTo>
                  <a:lnTo>
                    <a:pt x="1146106" y="824624"/>
                  </a:lnTo>
                  <a:lnTo>
                    <a:pt x="1143534" y="825410"/>
                  </a:lnTo>
                  <a:lnTo>
                    <a:pt x="1142385" y="825410"/>
                  </a:lnTo>
                  <a:lnTo>
                    <a:pt x="1142476" y="822537"/>
                  </a:lnTo>
                  <a:lnTo>
                    <a:pt x="1139057" y="821024"/>
                  </a:lnTo>
                  <a:lnTo>
                    <a:pt x="1131222" y="819662"/>
                  </a:lnTo>
                  <a:lnTo>
                    <a:pt x="1121602" y="813158"/>
                  </a:lnTo>
                  <a:lnTo>
                    <a:pt x="1111226" y="809256"/>
                  </a:lnTo>
                  <a:lnTo>
                    <a:pt x="1110137" y="808621"/>
                  </a:lnTo>
                  <a:lnTo>
                    <a:pt x="1101455" y="806533"/>
                  </a:lnTo>
                  <a:lnTo>
                    <a:pt x="1097825" y="804295"/>
                  </a:lnTo>
                  <a:lnTo>
                    <a:pt x="1095767" y="803780"/>
                  </a:lnTo>
                  <a:lnTo>
                    <a:pt x="1094164" y="803085"/>
                  </a:lnTo>
                  <a:lnTo>
                    <a:pt x="1087872" y="796883"/>
                  </a:lnTo>
                  <a:lnTo>
                    <a:pt x="1084242" y="794281"/>
                  </a:lnTo>
                  <a:lnTo>
                    <a:pt x="1082578" y="793767"/>
                  </a:lnTo>
                  <a:lnTo>
                    <a:pt x="1081247" y="793072"/>
                  </a:lnTo>
                  <a:lnTo>
                    <a:pt x="1077435" y="787838"/>
                  </a:lnTo>
                  <a:lnTo>
                    <a:pt x="1074047" y="784722"/>
                  </a:lnTo>
                  <a:lnTo>
                    <a:pt x="1066665" y="779761"/>
                  </a:lnTo>
                  <a:lnTo>
                    <a:pt x="1051963" y="772319"/>
                  </a:lnTo>
                  <a:lnTo>
                    <a:pt x="1034660" y="767146"/>
                  </a:lnTo>
                  <a:lnTo>
                    <a:pt x="1032572" y="765149"/>
                  </a:lnTo>
                  <a:lnTo>
                    <a:pt x="1031937" y="765149"/>
                  </a:lnTo>
                  <a:lnTo>
                    <a:pt x="1031937" y="766057"/>
                  </a:lnTo>
                  <a:lnTo>
                    <a:pt x="1031271" y="766057"/>
                  </a:lnTo>
                  <a:lnTo>
                    <a:pt x="1029184" y="764423"/>
                  </a:lnTo>
                  <a:lnTo>
                    <a:pt x="1005346" y="756982"/>
                  </a:lnTo>
                  <a:lnTo>
                    <a:pt x="1001383" y="754471"/>
                  </a:lnTo>
                  <a:lnTo>
                    <a:pt x="999780" y="753018"/>
                  </a:lnTo>
                  <a:lnTo>
                    <a:pt x="997995" y="751688"/>
                  </a:lnTo>
                  <a:lnTo>
                    <a:pt x="991914" y="750145"/>
                  </a:lnTo>
                  <a:lnTo>
                    <a:pt x="975941" y="742128"/>
                  </a:lnTo>
                  <a:lnTo>
                    <a:pt x="957095" y="734142"/>
                  </a:lnTo>
                  <a:lnTo>
                    <a:pt x="955703" y="732811"/>
                  </a:lnTo>
                  <a:lnTo>
                    <a:pt x="954161" y="731722"/>
                  </a:lnTo>
                  <a:lnTo>
                    <a:pt x="947778" y="729846"/>
                  </a:lnTo>
                  <a:lnTo>
                    <a:pt x="941697" y="725944"/>
                  </a:lnTo>
                  <a:lnTo>
                    <a:pt x="938914" y="723493"/>
                  </a:lnTo>
                  <a:lnTo>
                    <a:pt x="936705" y="720619"/>
                  </a:lnTo>
                  <a:lnTo>
                    <a:pt x="935163" y="716475"/>
                  </a:lnTo>
                  <a:lnTo>
                    <a:pt x="934649" y="711483"/>
                  </a:lnTo>
                  <a:lnTo>
                    <a:pt x="935526" y="706825"/>
                  </a:lnTo>
                  <a:lnTo>
                    <a:pt x="938067" y="703679"/>
                  </a:lnTo>
                  <a:lnTo>
                    <a:pt x="948352" y="698748"/>
                  </a:lnTo>
                  <a:lnTo>
                    <a:pt x="951952" y="696085"/>
                  </a:lnTo>
                  <a:lnTo>
                    <a:pt x="954614" y="693060"/>
                  </a:lnTo>
                  <a:lnTo>
                    <a:pt x="956369" y="691639"/>
                  </a:lnTo>
                  <a:lnTo>
                    <a:pt x="958426" y="691033"/>
                  </a:lnTo>
                  <a:lnTo>
                    <a:pt x="960271" y="690247"/>
                  </a:lnTo>
                  <a:lnTo>
                    <a:pt x="962389" y="688462"/>
                  </a:lnTo>
                  <a:lnTo>
                    <a:pt x="964144" y="686465"/>
                  </a:lnTo>
                  <a:lnTo>
                    <a:pt x="964990" y="685074"/>
                  </a:lnTo>
                  <a:lnTo>
                    <a:pt x="964990" y="682896"/>
                  </a:lnTo>
                  <a:lnTo>
                    <a:pt x="964930" y="681292"/>
                  </a:lnTo>
                  <a:lnTo>
                    <a:pt x="964053" y="676694"/>
                  </a:lnTo>
                  <a:lnTo>
                    <a:pt x="963297" y="674335"/>
                  </a:lnTo>
                  <a:lnTo>
                    <a:pt x="963599" y="672368"/>
                  </a:lnTo>
                  <a:lnTo>
                    <a:pt x="961784" y="672459"/>
                  </a:lnTo>
                  <a:lnTo>
                    <a:pt x="959727" y="669071"/>
                  </a:lnTo>
                  <a:lnTo>
                    <a:pt x="956853" y="668285"/>
                  </a:lnTo>
                  <a:lnTo>
                    <a:pt x="956732" y="668073"/>
                  </a:lnTo>
                  <a:lnTo>
                    <a:pt x="948292" y="666076"/>
                  </a:lnTo>
                  <a:lnTo>
                    <a:pt x="922850" y="668920"/>
                  </a:lnTo>
                  <a:lnTo>
                    <a:pt x="906454" y="668073"/>
                  </a:lnTo>
                  <a:lnTo>
                    <a:pt x="889816" y="670704"/>
                  </a:lnTo>
                  <a:lnTo>
                    <a:pt x="885248" y="670614"/>
                  </a:lnTo>
                  <a:lnTo>
                    <a:pt x="873299" y="668103"/>
                  </a:lnTo>
                  <a:lnTo>
                    <a:pt x="861591" y="668103"/>
                  </a:lnTo>
                  <a:lnTo>
                    <a:pt x="859413" y="667710"/>
                  </a:lnTo>
                  <a:lnTo>
                    <a:pt x="857356" y="667316"/>
                  </a:lnTo>
                  <a:lnTo>
                    <a:pt x="855450" y="666379"/>
                  </a:lnTo>
                  <a:lnTo>
                    <a:pt x="851306" y="663595"/>
                  </a:lnTo>
                  <a:lnTo>
                    <a:pt x="849491" y="663020"/>
                  </a:lnTo>
                  <a:lnTo>
                    <a:pt x="848432" y="662325"/>
                  </a:lnTo>
                  <a:lnTo>
                    <a:pt x="845709" y="658997"/>
                  </a:lnTo>
                  <a:lnTo>
                    <a:pt x="844348" y="657848"/>
                  </a:lnTo>
                  <a:lnTo>
                    <a:pt x="840143" y="656547"/>
                  </a:lnTo>
                  <a:lnTo>
                    <a:pt x="832005" y="655185"/>
                  </a:lnTo>
                  <a:lnTo>
                    <a:pt x="828405" y="653673"/>
                  </a:lnTo>
                  <a:lnTo>
                    <a:pt x="824805" y="650920"/>
                  </a:lnTo>
                  <a:lnTo>
                    <a:pt x="822839" y="649831"/>
                  </a:lnTo>
                  <a:lnTo>
                    <a:pt x="821145" y="649498"/>
                  </a:lnTo>
                  <a:lnTo>
                    <a:pt x="820540" y="649377"/>
                  </a:lnTo>
                  <a:lnTo>
                    <a:pt x="818846" y="648651"/>
                  </a:lnTo>
                  <a:lnTo>
                    <a:pt x="817696" y="646866"/>
                  </a:lnTo>
                  <a:lnTo>
                    <a:pt x="817031" y="644416"/>
                  </a:lnTo>
                  <a:lnTo>
                    <a:pt x="816456" y="639273"/>
                  </a:lnTo>
                  <a:lnTo>
                    <a:pt x="815669" y="637367"/>
                  </a:lnTo>
                  <a:lnTo>
                    <a:pt x="814096" y="636127"/>
                  </a:lnTo>
                  <a:lnTo>
                    <a:pt x="810073" y="635401"/>
                  </a:lnTo>
                  <a:lnTo>
                    <a:pt x="804265" y="633223"/>
                  </a:lnTo>
                  <a:lnTo>
                    <a:pt x="800665" y="631075"/>
                  </a:lnTo>
                  <a:lnTo>
                    <a:pt x="787475" y="619096"/>
                  </a:lnTo>
                  <a:lnTo>
                    <a:pt x="783301" y="612682"/>
                  </a:lnTo>
                  <a:lnTo>
                    <a:pt x="780154" y="610202"/>
                  </a:lnTo>
                  <a:lnTo>
                    <a:pt x="772894" y="605785"/>
                  </a:lnTo>
                  <a:lnTo>
                    <a:pt x="766511" y="600521"/>
                  </a:lnTo>
                  <a:lnTo>
                    <a:pt x="751900" y="584427"/>
                  </a:lnTo>
                  <a:lnTo>
                    <a:pt x="751234" y="583096"/>
                  </a:lnTo>
                  <a:lnTo>
                    <a:pt x="750689" y="581191"/>
                  </a:lnTo>
                  <a:lnTo>
                    <a:pt x="744457" y="571964"/>
                  </a:lnTo>
                  <a:lnTo>
                    <a:pt x="742370" y="567940"/>
                  </a:lnTo>
                  <a:lnTo>
                    <a:pt x="738771" y="559409"/>
                  </a:lnTo>
                  <a:lnTo>
                    <a:pt x="734838" y="546401"/>
                  </a:lnTo>
                  <a:lnTo>
                    <a:pt x="730814" y="533091"/>
                  </a:lnTo>
                  <a:lnTo>
                    <a:pt x="729120" y="522412"/>
                  </a:lnTo>
                  <a:lnTo>
                    <a:pt x="727729" y="517904"/>
                  </a:lnTo>
                  <a:lnTo>
                    <a:pt x="724492" y="511491"/>
                  </a:lnTo>
                  <a:lnTo>
                    <a:pt x="723281" y="509737"/>
                  </a:lnTo>
                  <a:lnTo>
                    <a:pt x="722858" y="508678"/>
                  </a:lnTo>
                  <a:lnTo>
                    <a:pt x="722223" y="504140"/>
                  </a:lnTo>
                  <a:lnTo>
                    <a:pt x="721799" y="503233"/>
                  </a:lnTo>
                  <a:lnTo>
                    <a:pt x="720226" y="500692"/>
                  </a:lnTo>
                  <a:lnTo>
                    <a:pt x="705796" y="466719"/>
                  </a:lnTo>
                  <a:lnTo>
                    <a:pt x="706553" y="464692"/>
                  </a:lnTo>
                  <a:lnTo>
                    <a:pt x="705645" y="462998"/>
                  </a:lnTo>
                  <a:lnTo>
                    <a:pt x="703860" y="461848"/>
                  </a:lnTo>
                  <a:lnTo>
                    <a:pt x="701924" y="461425"/>
                  </a:lnTo>
                  <a:lnTo>
                    <a:pt x="700956" y="460487"/>
                  </a:lnTo>
                  <a:lnTo>
                    <a:pt x="699807" y="458370"/>
                  </a:lnTo>
                  <a:lnTo>
                    <a:pt x="698354" y="456282"/>
                  </a:lnTo>
                  <a:lnTo>
                    <a:pt x="696419" y="455345"/>
                  </a:lnTo>
                  <a:lnTo>
                    <a:pt x="696116" y="455072"/>
                  </a:lnTo>
                  <a:lnTo>
                    <a:pt x="695904" y="454498"/>
                  </a:lnTo>
                  <a:lnTo>
                    <a:pt x="695602" y="453923"/>
                  </a:lnTo>
                  <a:lnTo>
                    <a:pt x="695027" y="453650"/>
                  </a:lnTo>
                  <a:lnTo>
                    <a:pt x="694422" y="453772"/>
                  </a:lnTo>
                  <a:lnTo>
                    <a:pt x="694119" y="454044"/>
                  </a:lnTo>
                  <a:lnTo>
                    <a:pt x="693877" y="454316"/>
                  </a:lnTo>
                  <a:lnTo>
                    <a:pt x="693605" y="454437"/>
                  </a:lnTo>
                  <a:lnTo>
                    <a:pt x="693060" y="454921"/>
                  </a:lnTo>
                  <a:lnTo>
                    <a:pt x="692304" y="455859"/>
                  </a:lnTo>
                  <a:lnTo>
                    <a:pt x="691336" y="456403"/>
                  </a:lnTo>
                  <a:lnTo>
                    <a:pt x="688644" y="454921"/>
                  </a:lnTo>
                  <a:lnTo>
                    <a:pt x="683925" y="453409"/>
                  </a:lnTo>
                  <a:lnTo>
                    <a:pt x="682926" y="452259"/>
                  </a:lnTo>
                  <a:lnTo>
                    <a:pt x="680929" y="451503"/>
                  </a:lnTo>
                  <a:lnTo>
                    <a:pt x="669162" y="444757"/>
                  </a:lnTo>
                  <a:lnTo>
                    <a:pt x="638366" y="419890"/>
                  </a:lnTo>
                  <a:lnTo>
                    <a:pt x="637488" y="419013"/>
                  </a:lnTo>
                  <a:lnTo>
                    <a:pt x="636490" y="417591"/>
                  </a:lnTo>
                  <a:lnTo>
                    <a:pt x="629775" y="415080"/>
                  </a:lnTo>
                  <a:lnTo>
                    <a:pt x="625842" y="412115"/>
                  </a:lnTo>
                  <a:lnTo>
                    <a:pt x="623936" y="411057"/>
                  </a:lnTo>
                  <a:lnTo>
                    <a:pt x="619126" y="410391"/>
                  </a:lnTo>
                  <a:lnTo>
                    <a:pt x="618914" y="410331"/>
                  </a:lnTo>
                  <a:lnTo>
                    <a:pt x="614528" y="408969"/>
                  </a:lnTo>
                  <a:lnTo>
                    <a:pt x="612652" y="407971"/>
                  </a:lnTo>
                  <a:lnTo>
                    <a:pt x="609566" y="405702"/>
                  </a:lnTo>
                  <a:lnTo>
                    <a:pt x="606602" y="402919"/>
                  </a:lnTo>
                  <a:lnTo>
                    <a:pt x="600854" y="395779"/>
                  </a:lnTo>
                  <a:lnTo>
                    <a:pt x="598162" y="394781"/>
                  </a:lnTo>
                  <a:lnTo>
                    <a:pt x="594501" y="392059"/>
                  </a:lnTo>
                  <a:lnTo>
                    <a:pt x="591264" y="388882"/>
                  </a:lnTo>
                  <a:lnTo>
                    <a:pt x="589177" y="385403"/>
                  </a:lnTo>
                  <a:lnTo>
                    <a:pt x="585063" y="381652"/>
                  </a:lnTo>
                  <a:lnTo>
                    <a:pt x="582340" y="378143"/>
                  </a:lnTo>
                  <a:lnTo>
                    <a:pt x="580223" y="374543"/>
                  </a:lnTo>
                  <a:lnTo>
                    <a:pt x="578347" y="369703"/>
                  </a:lnTo>
                  <a:lnTo>
                    <a:pt x="577742" y="367101"/>
                  </a:lnTo>
                  <a:lnTo>
                    <a:pt x="577530" y="364378"/>
                  </a:lnTo>
                  <a:lnTo>
                    <a:pt x="577228" y="363743"/>
                  </a:lnTo>
                  <a:lnTo>
                    <a:pt x="575836" y="362019"/>
                  </a:lnTo>
                  <a:lnTo>
                    <a:pt x="575413" y="361262"/>
                  </a:lnTo>
                  <a:lnTo>
                    <a:pt x="575140" y="360325"/>
                  </a:lnTo>
                  <a:lnTo>
                    <a:pt x="574747" y="356967"/>
                  </a:lnTo>
                  <a:lnTo>
                    <a:pt x="571692" y="343989"/>
                  </a:lnTo>
                  <a:lnTo>
                    <a:pt x="571329" y="338241"/>
                  </a:lnTo>
                  <a:lnTo>
                    <a:pt x="571904" y="329075"/>
                  </a:lnTo>
                  <a:lnTo>
                    <a:pt x="571661" y="327653"/>
                  </a:lnTo>
                  <a:lnTo>
                    <a:pt x="570814" y="326776"/>
                  </a:lnTo>
                  <a:lnTo>
                    <a:pt x="569907" y="324749"/>
                  </a:lnTo>
                  <a:lnTo>
                    <a:pt x="568576" y="320574"/>
                  </a:lnTo>
                  <a:lnTo>
                    <a:pt x="567971" y="314978"/>
                  </a:lnTo>
                  <a:lnTo>
                    <a:pt x="568666" y="309805"/>
                  </a:lnTo>
                  <a:lnTo>
                    <a:pt x="571329" y="300790"/>
                  </a:lnTo>
                  <a:lnTo>
                    <a:pt x="569967" y="300790"/>
                  </a:lnTo>
                  <a:lnTo>
                    <a:pt x="569967" y="300003"/>
                  </a:lnTo>
                  <a:lnTo>
                    <a:pt x="572569" y="297825"/>
                  </a:lnTo>
                  <a:lnTo>
                    <a:pt x="573658" y="297825"/>
                  </a:lnTo>
                  <a:lnTo>
                    <a:pt x="575473" y="299096"/>
                  </a:lnTo>
                  <a:lnTo>
                    <a:pt x="578075" y="301456"/>
                  </a:lnTo>
                  <a:lnTo>
                    <a:pt x="579134" y="302908"/>
                  </a:lnTo>
                  <a:lnTo>
                    <a:pt x="580979" y="304450"/>
                  </a:lnTo>
                  <a:lnTo>
                    <a:pt x="583218" y="304239"/>
                  </a:lnTo>
                  <a:lnTo>
                    <a:pt x="585033" y="302998"/>
                  </a:lnTo>
                  <a:lnTo>
                    <a:pt x="585819" y="300760"/>
                  </a:lnTo>
                  <a:lnTo>
                    <a:pt x="585033" y="300639"/>
                  </a:lnTo>
                  <a:lnTo>
                    <a:pt x="583762" y="300124"/>
                  </a:lnTo>
                  <a:lnTo>
                    <a:pt x="583066" y="299973"/>
                  </a:lnTo>
                  <a:lnTo>
                    <a:pt x="583066" y="299096"/>
                  </a:lnTo>
                  <a:lnTo>
                    <a:pt x="584216" y="298733"/>
                  </a:lnTo>
                  <a:lnTo>
                    <a:pt x="584972" y="297795"/>
                  </a:lnTo>
                  <a:lnTo>
                    <a:pt x="585063" y="296797"/>
                  </a:lnTo>
                  <a:lnTo>
                    <a:pt x="582552" y="295799"/>
                  </a:lnTo>
                  <a:lnTo>
                    <a:pt x="582552" y="294558"/>
                  </a:lnTo>
                  <a:lnTo>
                    <a:pt x="583762" y="292440"/>
                  </a:lnTo>
                  <a:lnTo>
                    <a:pt x="584095" y="291594"/>
                  </a:lnTo>
                  <a:lnTo>
                    <a:pt x="584972" y="290474"/>
                  </a:lnTo>
                  <a:lnTo>
                    <a:pt x="586122" y="289809"/>
                  </a:lnTo>
                  <a:lnTo>
                    <a:pt x="587271" y="290323"/>
                  </a:lnTo>
                  <a:lnTo>
                    <a:pt x="587755" y="291745"/>
                  </a:lnTo>
                  <a:lnTo>
                    <a:pt x="587362" y="293378"/>
                  </a:lnTo>
                  <a:lnTo>
                    <a:pt x="585819" y="296373"/>
                  </a:lnTo>
                  <a:lnTo>
                    <a:pt x="586636" y="297493"/>
                  </a:lnTo>
                  <a:lnTo>
                    <a:pt x="587301" y="298945"/>
                  </a:lnTo>
                  <a:lnTo>
                    <a:pt x="587725" y="300215"/>
                  </a:lnTo>
                  <a:lnTo>
                    <a:pt x="587876" y="300790"/>
                  </a:lnTo>
                  <a:lnTo>
                    <a:pt x="590841" y="297493"/>
                  </a:lnTo>
                  <a:lnTo>
                    <a:pt x="592172" y="295345"/>
                  </a:lnTo>
                  <a:lnTo>
                    <a:pt x="592747" y="293257"/>
                  </a:lnTo>
                  <a:lnTo>
                    <a:pt x="592958" y="289052"/>
                  </a:lnTo>
                  <a:lnTo>
                    <a:pt x="593382" y="287631"/>
                  </a:lnTo>
                  <a:lnTo>
                    <a:pt x="594138" y="287509"/>
                  </a:lnTo>
                  <a:lnTo>
                    <a:pt x="594743" y="287509"/>
                  </a:lnTo>
                  <a:lnTo>
                    <a:pt x="595016" y="286723"/>
                  </a:lnTo>
                  <a:lnTo>
                    <a:pt x="595348" y="286027"/>
                  </a:lnTo>
                  <a:lnTo>
                    <a:pt x="596195" y="284787"/>
                  </a:lnTo>
                  <a:lnTo>
                    <a:pt x="595802" y="283910"/>
                  </a:lnTo>
                  <a:lnTo>
                    <a:pt x="596800" y="282488"/>
                  </a:lnTo>
                  <a:lnTo>
                    <a:pt x="596891" y="281278"/>
                  </a:lnTo>
                  <a:lnTo>
                    <a:pt x="596256" y="279947"/>
                  </a:lnTo>
                  <a:lnTo>
                    <a:pt x="595167" y="278979"/>
                  </a:lnTo>
                  <a:lnTo>
                    <a:pt x="593745" y="278495"/>
                  </a:lnTo>
                  <a:lnTo>
                    <a:pt x="592081" y="278495"/>
                  </a:lnTo>
                  <a:lnTo>
                    <a:pt x="592081" y="279523"/>
                  </a:lnTo>
                  <a:lnTo>
                    <a:pt x="592384" y="279584"/>
                  </a:lnTo>
                  <a:lnTo>
                    <a:pt x="593049" y="279493"/>
                  </a:lnTo>
                  <a:lnTo>
                    <a:pt x="593382" y="279493"/>
                  </a:lnTo>
                  <a:lnTo>
                    <a:pt x="592081" y="280491"/>
                  </a:lnTo>
                  <a:lnTo>
                    <a:pt x="589903" y="278464"/>
                  </a:lnTo>
                  <a:lnTo>
                    <a:pt x="587906" y="275984"/>
                  </a:lnTo>
                  <a:lnTo>
                    <a:pt x="586848" y="275379"/>
                  </a:lnTo>
                  <a:lnTo>
                    <a:pt x="586061" y="274804"/>
                  </a:lnTo>
                  <a:lnTo>
                    <a:pt x="584458" y="273201"/>
                  </a:lnTo>
                  <a:lnTo>
                    <a:pt x="584760" y="271809"/>
                  </a:lnTo>
                  <a:lnTo>
                    <a:pt x="583550" y="270901"/>
                  </a:lnTo>
                  <a:lnTo>
                    <a:pt x="581735" y="270055"/>
                  </a:lnTo>
                  <a:lnTo>
                    <a:pt x="580283" y="268844"/>
                  </a:lnTo>
                  <a:lnTo>
                    <a:pt x="581463" y="270750"/>
                  </a:lnTo>
                  <a:lnTo>
                    <a:pt x="582068" y="272354"/>
                  </a:lnTo>
                  <a:lnTo>
                    <a:pt x="581766" y="273957"/>
                  </a:lnTo>
                  <a:lnTo>
                    <a:pt x="580283" y="275984"/>
                  </a:lnTo>
                  <a:lnTo>
                    <a:pt x="578922" y="274199"/>
                  </a:lnTo>
                  <a:lnTo>
                    <a:pt x="579497" y="273896"/>
                  </a:lnTo>
                  <a:lnTo>
                    <a:pt x="579829" y="273594"/>
                  </a:lnTo>
                  <a:lnTo>
                    <a:pt x="580253" y="273352"/>
                  </a:lnTo>
                  <a:lnTo>
                    <a:pt x="581039" y="273231"/>
                  </a:lnTo>
                  <a:lnTo>
                    <a:pt x="581039" y="272354"/>
                  </a:lnTo>
                  <a:lnTo>
                    <a:pt x="579739" y="270629"/>
                  </a:lnTo>
                  <a:lnTo>
                    <a:pt x="578710" y="268693"/>
                  </a:lnTo>
                  <a:lnTo>
                    <a:pt x="577470" y="266787"/>
                  </a:lnTo>
                  <a:lnTo>
                    <a:pt x="575473" y="265214"/>
                  </a:lnTo>
                  <a:lnTo>
                    <a:pt x="575715" y="266122"/>
                  </a:lnTo>
                  <a:lnTo>
                    <a:pt x="575866" y="266515"/>
                  </a:lnTo>
                  <a:lnTo>
                    <a:pt x="576199" y="267029"/>
                  </a:lnTo>
                  <a:lnTo>
                    <a:pt x="573991" y="267211"/>
                  </a:lnTo>
                  <a:lnTo>
                    <a:pt x="572993" y="265910"/>
                  </a:lnTo>
                  <a:lnTo>
                    <a:pt x="573053" y="263581"/>
                  </a:lnTo>
                  <a:lnTo>
                    <a:pt x="574051" y="260707"/>
                  </a:lnTo>
                  <a:lnTo>
                    <a:pt x="574051" y="261251"/>
                  </a:lnTo>
                  <a:lnTo>
                    <a:pt x="574172" y="262522"/>
                  </a:lnTo>
                  <a:lnTo>
                    <a:pt x="574051" y="263399"/>
                  </a:lnTo>
                  <a:lnTo>
                    <a:pt x="575171" y="263974"/>
                  </a:lnTo>
                  <a:lnTo>
                    <a:pt x="576199" y="264276"/>
                  </a:lnTo>
                  <a:lnTo>
                    <a:pt x="575534" y="259345"/>
                  </a:lnTo>
                  <a:lnTo>
                    <a:pt x="575443" y="254929"/>
                  </a:lnTo>
                  <a:lnTo>
                    <a:pt x="574838" y="253084"/>
                  </a:lnTo>
                  <a:lnTo>
                    <a:pt x="573719" y="251208"/>
                  </a:lnTo>
                  <a:lnTo>
                    <a:pt x="573114" y="249302"/>
                  </a:lnTo>
                  <a:lnTo>
                    <a:pt x="574021" y="247305"/>
                  </a:lnTo>
                  <a:lnTo>
                    <a:pt x="572902" y="247820"/>
                  </a:lnTo>
                  <a:lnTo>
                    <a:pt x="570663" y="249877"/>
                  </a:lnTo>
                  <a:lnTo>
                    <a:pt x="569181" y="250936"/>
                  </a:lnTo>
                  <a:lnTo>
                    <a:pt x="569544" y="251208"/>
                  </a:lnTo>
                  <a:lnTo>
                    <a:pt x="569635" y="251268"/>
                  </a:lnTo>
                  <a:lnTo>
                    <a:pt x="569907" y="251783"/>
                  </a:lnTo>
                  <a:lnTo>
                    <a:pt x="568001" y="251783"/>
                  </a:lnTo>
                  <a:lnTo>
                    <a:pt x="566307" y="250784"/>
                  </a:lnTo>
                  <a:lnTo>
                    <a:pt x="565399" y="249211"/>
                  </a:lnTo>
                  <a:lnTo>
                    <a:pt x="565732" y="247336"/>
                  </a:lnTo>
                  <a:lnTo>
                    <a:pt x="564764" y="246519"/>
                  </a:lnTo>
                  <a:lnTo>
                    <a:pt x="564341" y="245702"/>
                  </a:lnTo>
                  <a:lnTo>
                    <a:pt x="564613" y="245037"/>
                  </a:lnTo>
                  <a:lnTo>
                    <a:pt x="565702" y="244643"/>
                  </a:lnTo>
                  <a:lnTo>
                    <a:pt x="565278" y="242344"/>
                  </a:lnTo>
                  <a:lnTo>
                    <a:pt x="565369" y="240438"/>
                  </a:lnTo>
                  <a:lnTo>
                    <a:pt x="564976" y="239047"/>
                  </a:lnTo>
                  <a:lnTo>
                    <a:pt x="562979" y="238291"/>
                  </a:lnTo>
                  <a:lnTo>
                    <a:pt x="563433" y="239773"/>
                  </a:lnTo>
                  <a:lnTo>
                    <a:pt x="563191" y="241558"/>
                  </a:lnTo>
                  <a:lnTo>
                    <a:pt x="562405" y="243100"/>
                  </a:lnTo>
                  <a:lnTo>
                    <a:pt x="561285" y="243736"/>
                  </a:lnTo>
                  <a:lnTo>
                    <a:pt x="560105" y="243191"/>
                  </a:lnTo>
                  <a:lnTo>
                    <a:pt x="559198" y="240438"/>
                  </a:lnTo>
                  <a:lnTo>
                    <a:pt x="558109" y="239258"/>
                  </a:lnTo>
                  <a:lnTo>
                    <a:pt x="558653" y="236475"/>
                  </a:lnTo>
                  <a:lnTo>
                    <a:pt x="559500" y="236112"/>
                  </a:lnTo>
                  <a:lnTo>
                    <a:pt x="560650" y="236869"/>
                  </a:lnTo>
                  <a:lnTo>
                    <a:pt x="561981" y="237413"/>
                  </a:lnTo>
                  <a:lnTo>
                    <a:pt x="564129" y="237080"/>
                  </a:lnTo>
                  <a:lnTo>
                    <a:pt x="564885" y="236143"/>
                  </a:lnTo>
                  <a:lnTo>
                    <a:pt x="565339" y="234721"/>
                  </a:lnTo>
                  <a:lnTo>
                    <a:pt x="566458" y="232936"/>
                  </a:lnTo>
                  <a:lnTo>
                    <a:pt x="565611" y="231181"/>
                  </a:lnTo>
                  <a:lnTo>
                    <a:pt x="566065" y="230697"/>
                  </a:lnTo>
                  <a:lnTo>
                    <a:pt x="567033" y="230697"/>
                  </a:lnTo>
                  <a:lnTo>
                    <a:pt x="567789" y="230244"/>
                  </a:lnTo>
                  <a:lnTo>
                    <a:pt x="568062" y="228943"/>
                  </a:lnTo>
                  <a:lnTo>
                    <a:pt x="568001" y="227975"/>
                  </a:lnTo>
                  <a:lnTo>
                    <a:pt x="568183" y="227037"/>
                  </a:lnTo>
                  <a:lnTo>
                    <a:pt x="569181" y="225766"/>
                  </a:lnTo>
                  <a:lnTo>
                    <a:pt x="568122" y="224798"/>
                  </a:lnTo>
                  <a:lnTo>
                    <a:pt x="567850" y="223649"/>
                  </a:lnTo>
                  <a:lnTo>
                    <a:pt x="568243" y="222409"/>
                  </a:lnTo>
                  <a:lnTo>
                    <a:pt x="569151" y="221198"/>
                  </a:lnTo>
                  <a:lnTo>
                    <a:pt x="568515" y="221198"/>
                  </a:lnTo>
                  <a:lnTo>
                    <a:pt x="568515" y="220382"/>
                  </a:lnTo>
                  <a:lnTo>
                    <a:pt x="570512" y="216782"/>
                  </a:lnTo>
                  <a:lnTo>
                    <a:pt x="574233" y="213454"/>
                  </a:lnTo>
                  <a:lnTo>
                    <a:pt x="578347" y="211336"/>
                  </a:lnTo>
                  <a:lnTo>
                    <a:pt x="581614" y="211397"/>
                  </a:lnTo>
                  <a:lnTo>
                    <a:pt x="581372" y="212667"/>
                  </a:lnTo>
                  <a:lnTo>
                    <a:pt x="582673" y="213061"/>
                  </a:lnTo>
                  <a:lnTo>
                    <a:pt x="584488" y="212849"/>
                  </a:lnTo>
                  <a:lnTo>
                    <a:pt x="585728" y="212214"/>
                  </a:lnTo>
                  <a:lnTo>
                    <a:pt x="585728" y="211397"/>
                  </a:lnTo>
                  <a:lnTo>
                    <a:pt x="582340" y="210157"/>
                  </a:lnTo>
                  <a:lnTo>
                    <a:pt x="581705" y="208946"/>
                  </a:lnTo>
                  <a:lnTo>
                    <a:pt x="582976" y="206829"/>
                  </a:lnTo>
                  <a:lnTo>
                    <a:pt x="583671" y="209612"/>
                  </a:lnTo>
                  <a:lnTo>
                    <a:pt x="584367" y="209612"/>
                  </a:lnTo>
                  <a:lnTo>
                    <a:pt x="585093" y="208886"/>
                  </a:lnTo>
                  <a:lnTo>
                    <a:pt x="586817" y="210368"/>
                  </a:lnTo>
                  <a:lnTo>
                    <a:pt x="588481" y="210429"/>
                  </a:lnTo>
                  <a:lnTo>
                    <a:pt x="588481" y="209612"/>
                  </a:lnTo>
                  <a:lnTo>
                    <a:pt x="587543" y="208009"/>
                  </a:lnTo>
                  <a:lnTo>
                    <a:pt x="589207" y="205619"/>
                  </a:lnTo>
                  <a:lnTo>
                    <a:pt x="591900" y="203411"/>
                  </a:lnTo>
                  <a:lnTo>
                    <a:pt x="594047" y="202322"/>
                  </a:lnTo>
                  <a:lnTo>
                    <a:pt x="594441" y="204197"/>
                  </a:lnTo>
                  <a:lnTo>
                    <a:pt x="595227" y="205377"/>
                  </a:lnTo>
                  <a:lnTo>
                    <a:pt x="597133" y="207253"/>
                  </a:lnTo>
                  <a:lnTo>
                    <a:pt x="597829" y="207162"/>
                  </a:lnTo>
                  <a:lnTo>
                    <a:pt x="600400" y="205468"/>
                  </a:lnTo>
                  <a:lnTo>
                    <a:pt x="601610" y="205014"/>
                  </a:lnTo>
                  <a:lnTo>
                    <a:pt x="600793" y="206708"/>
                  </a:lnTo>
                  <a:lnTo>
                    <a:pt x="599674" y="207797"/>
                  </a:lnTo>
                  <a:lnTo>
                    <a:pt x="598222" y="208402"/>
                  </a:lnTo>
                  <a:lnTo>
                    <a:pt x="596437" y="208583"/>
                  </a:lnTo>
                  <a:lnTo>
                    <a:pt x="595530" y="209461"/>
                  </a:lnTo>
                  <a:lnTo>
                    <a:pt x="595439" y="211306"/>
                  </a:lnTo>
                  <a:lnTo>
                    <a:pt x="594895" y="212910"/>
                  </a:lnTo>
                  <a:lnTo>
                    <a:pt x="592656" y="213182"/>
                  </a:lnTo>
                  <a:lnTo>
                    <a:pt x="592656" y="212214"/>
                  </a:lnTo>
                  <a:lnTo>
                    <a:pt x="594047" y="212214"/>
                  </a:lnTo>
                  <a:lnTo>
                    <a:pt x="594047" y="212093"/>
                  </a:lnTo>
                  <a:lnTo>
                    <a:pt x="593684" y="211578"/>
                  </a:lnTo>
                  <a:lnTo>
                    <a:pt x="593352" y="211185"/>
                  </a:lnTo>
                  <a:lnTo>
                    <a:pt x="593291" y="211367"/>
                  </a:lnTo>
                  <a:lnTo>
                    <a:pt x="593110" y="211064"/>
                  </a:lnTo>
                  <a:lnTo>
                    <a:pt x="592081" y="211397"/>
                  </a:lnTo>
                  <a:lnTo>
                    <a:pt x="590992" y="211488"/>
                  </a:lnTo>
                  <a:lnTo>
                    <a:pt x="589842" y="211367"/>
                  </a:lnTo>
                  <a:lnTo>
                    <a:pt x="591234" y="213182"/>
                  </a:lnTo>
                  <a:lnTo>
                    <a:pt x="590538" y="213817"/>
                  </a:lnTo>
                  <a:lnTo>
                    <a:pt x="590054" y="213817"/>
                  </a:lnTo>
                  <a:lnTo>
                    <a:pt x="589631" y="213303"/>
                  </a:lnTo>
                  <a:lnTo>
                    <a:pt x="589147" y="212184"/>
                  </a:lnTo>
                  <a:lnTo>
                    <a:pt x="588481" y="212184"/>
                  </a:lnTo>
                  <a:lnTo>
                    <a:pt x="588481" y="213393"/>
                  </a:lnTo>
                  <a:lnTo>
                    <a:pt x="588058" y="213999"/>
                  </a:lnTo>
                  <a:lnTo>
                    <a:pt x="587392" y="214180"/>
                  </a:lnTo>
                  <a:lnTo>
                    <a:pt x="586424" y="214029"/>
                  </a:lnTo>
                  <a:lnTo>
                    <a:pt x="586908" y="215239"/>
                  </a:lnTo>
                  <a:lnTo>
                    <a:pt x="586243" y="216661"/>
                  </a:lnTo>
                  <a:lnTo>
                    <a:pt x="585123" y="218355"/>
                  </a:lnTo>
                  <a:lnTo>
                    <a:pt x="584337" y="220321"/>
                  </a:lnTo>
                  <a:lnTo>
                    <a:pt x="585668" y="220079"/>
                  </a:lnTo>
                  <a:lnTo>
                    <a:pt x="588451" y="218445"/>
                  </a:lnTo>
                  <a:lnTo>
                    <a:pt x="592111" y="217629"/>
                  </a:lnTo>
                  <a:lnTo>
                    <a:pt x="592928" y="217145"/>
                  </a:lnTo>
                  <a:lnTo>
                    <a:pt x="594622" y="215814"/>
                  </a:lnTo>
                  <a:lnTo>
                    <a:pt x="604575" y="212425"/>
                  </a:lnTo>
                  <a:lnTo>
                    <a:pt x="621576" y="204863"/>
                  </a:lnTo>
                  <a:lnTo>
                    <a:pt x="637973" y="194970"/>
                  </a:lnTo>
                  <a:lnTo>
                    <a:pt x="641784" y="194154"/>
                  </a:lnTo>
                  <a:lnTo>
                    <a:pt x="649710" y="193912"/>
                  </a:lnTo>
                  <a:lnTo>
                    <a:pt x="652161" y="193216"/>
                  </a:lnTo>
                  <a:lnTo>
                    <a:pt x="653219" y="191854"/>
                  </a:lnTo>
                  <a:lnTo>
                    <a:pt x="653219" y="191854"/>
                  </a:lnTo>
                  <a:lnTo>
                    <a:pt x="653976" y="189616"/>
                  </a:lnTo>
                  <a:lnTo>
                    <a:pt x="657485" y="186923"/>
                  </a:lnTo>
                  <a:lnTo>
                    <a:pt x="658664" y="185048"/>
                  </a:lnTo>
                  <a:lnTo>
                    <a:pt x="654823" y="186681"/>
                  </a:lnTo>
                  <a:lnTo>
                    <a:pt x="652796" y="186954"/>
                  </a:lnTo>
                  <a:lnTo>
                    <a:pt x="651132" y="185955"/>
                  </a:lnTo>
                  <a:lnTo>
                    <a:pt x="650588" y="183717"/>
                  </a:lnTo>
                  <a:lnTo>
                    <a:pt x="651707" y="181872"/>
                  </a:lnTo>
                  <a:lnTo>
                    <a:pt x="653733" y="180722"/>
                  </a:lnTo>
                  <a:lnTo>
                    <a:pt x="655972" y="180601"/>
                  </a:lnTo>
                  <a:lnTo>
                    <a:pt x="655972" y="179633"/>
                  </a:lnTo>
                  <a:lnTo>
                    <a:pt x="654853" y="179058"/>
                  </a:lnTo>
                  <a:lnTo>
                    <a:pt x="654490" y="177818"/>
                  </a:lnTo>
                  <a:lnTo>
                    <a:pt x="654762" y="176578"/>
                  </a:lnTo>
                  <a:lnTo>
                    <a:pt x="655609" y="176003"/>
                  </a:lnTo>
                  <a:lnTo>
                    <a:pt x="656819" y="176396"/>
                  </a:lnTo>
                  <a:lnTo>
                    <a:pt x="657666" y="178241"/>
                  </a:lnTo>
                  <a:lnTo>
                    <a:pt x="658664" y="178695"/>
                  </a:lnTo>
                  <a:lnTo>
                    <a:pt x="659481" y="178302"/>
                  </a:lnTo>
                  <a:lnTo>
                    <a:pt x="660661" y="176426"/>
                  </a:lnTo>
                  <a:lnTo>
                    <a:pt x="664231" y="175246"/>
                  </a:lnTo>
                  <a:lnTo>
                    <a:pt x="665290" y="175095"/>
                  </a:lnTo>
                  <a:lnTo>
                    <a:pt x="665925" y="175458"/>
                  </a:lnTo>
                  <a:lnTo>
                    <a:pt x="668345" y="177727"/>
                  </a:lnTo>
                  <a:lnTo>
                    <a:pt x="669252" y="178090"/>
                  </a:lnTo>
                  <a:lnTo>
                    <a:pt x="678994" y="180177"/>
                  </a:lnTo>
                  <a:lnTo>
                    <a:pt x="680778" y="179603"/>
                  </a:lnTo>
                  <a:lnTo>
                    <a:pt x="682019" y="181539"/>
                  </a:lnTo>
                  <a:lnTo>
                    <a:pt x="686133" y="182325"/>
                  </a:lnTo>
                  <a:lnTo>
                    <a:pt x="687010" y="184594"/>
                  </a:lnTo>
                  <a:lnTo>
                    <a:pt x="686345" y="185683"/>
                  </a:lnTo>
                  <a:lnTo>
                    <a:pt x="684771" y="186651"/>
                  </a:lnTo>
                  <a:lnTo>
                    <a:pt x="682926" y="187377"/>
                  </a:lnTo>
                  <a:lnTo>
                    <a:pt x="681504" y="187710"/>
                  </a:lnTo>
                  <a:lnTo>
                    <a:pt x="684015" y="188739"/>
                  </a:lnTo>
                  <a:lnTo>
                    <a:pt x="686677" y="187982"/>
                  </a:lnTo>
                  <a:lnTo>
                    <a:pt x="689067" y="186318"/>
                  </a:lnTo>
                  <a:lnTo>
                    <a:pt x="690852" y="184594"/>
                  </a:lnTo>
                  <a:lnTo>
                    <a:pt x="691941" y="184080"/>
                  </a:lnTo>
                  <a:lnTo>
                    <a:pt x="694724" y="183566"/>
                  </a:lnTo>
                  <a:lnTo>
                    <a:pt x="695299" y="182719"/>
                  </a:lnTo>
                  <a:lnTo>
                    <a:pt x="695813" y="182174"/>
                  </a:lnTo>
                  <a:lnTo>
                    <a:pt x="699504" y="180540"/>
                  </a:lnTo>
                  <a:lnTo>
                    <a:pt x="696811" y="180087"/>
                  </a:lnTo>
                  <a:lnTo>
                    <a:pt x="696388" y="177515"/>
                  </a:lnTo>
                  <a:lnTo>
                    <a:pt x="697417" y="174611"/>
                  </a:lnTo>
                  <a:lnTo>
                    <a:pt x="699111" y="173250"/>
                  </a:lnTo>
                  <a:lnTo>
                    <a:pt x="701410" y="173643"/>
                  </a:lnTo>
                  <a:lnTo>
                    <a:pt x="706916" y="175882"/>
                  </a:lnTo>
                  <a:lnTo>
                    <a:pt x="708761" y="177273"/>
                  </a:lnTo>
                  <a:lnTo>
                    <a:pt x="716717" y="184988"/>
                  </a:lnTo>
                  <a:lnTo>
                    <a:pt x="718018" y="186591"/>
                  </a:lnTo>
                  <a:lnTo>
                    <a:pt x="719470" y="189132"/>
                  </a:lnTo>
                  <a:lnTo>
                    <a:pt x="719863" y="191431"/>
                  </a:lnTo>
                  <a:lnTo>
                    <a:pt x="718018" y="192187"/>
                  </a:lnTo>
                  <a:lnTo>
                    <a:pt x="721829" y="193972"/>
                  </a:lnTo>
                  <a:lnTo>
                    <a:pt x="722798" y="195454"/>
                  </a:lnTo>
                  <a:lnTo>
                    <a:pt x="723705" y="196422"/>
                  </a:lnTo>
                  <a:lnTo>
                    <a:pt x="724976" y="196785"/>
                  </a:lnTo>
                  <a:lnTo>
                    <a:pt x="722858" y="197209"/>
                  </a:lnTo>
                  <a:lnTo>
                    <a:pt x="719833" y="196876"/>
                  </a:lnTo>
                  <a:lnTo>
                    <a:pt x="717110" y="196937"/>
                  </a:lnTo>
                  <a:lnTo>
                    <a:pt x="715961" y="198570"/>
                  </a:lnTo>
                  <a:lnTo>
                    <a:pt x="715265" y="199538"/>
                  </a:lnTo>
                  <a:lnTo>
                    <a:pt x="720226" y="199145"/>
                  </a:lnTo>
                  <a:lnTo>
                    <a:pt x="724189" y="201111"/>
                  </a:lnTo>
                  <a:lnTo>
                    <a:pt x="728969" y="200658"/>
                  </a:lnTo>
                  <a:lnTo>
                    <a:pt x="730996" y="198358"/>
                  </a:lnTo>
                  <a:lnTo>
                    <a:pt x="732902" y="196150"/>
                  </a:lnTo>
                  <a:lnTo>
                    <a:pt x="733688" y="194426"/>
                  </a:lnTo>
                  <a:lnTo>
                    <a:pt x="733567" y="194154"/>
                  </a:lnTo>
                  <a:lnTo>
                    <a:pt x="733506" y="194033"/>
                  </a:lnTo>
                  <a:lnTo>
                    <a:pt x="732599" y="193972"/>
                  </a:lnTo>
                  <a:lnTo>
                    <a:pt x="731087" y="193186"/>
                  </a:lnTo>
                  <a:lnTo>
                    <a:pt x="729998" y="192097"/>
                  </a:lnTo>
                  <a:lnTo>
                    <a:pt x="721981" y="179663"/>
                  </a:lnTo>
                  <a:lnTo>
                    <a:pt x="714993" y="176759"/>
                  </a:lnTo>
                  <a:lnTo>
                    <a:pt x="714025" y="176063"/>
                  </a:lnTo>
                  <a:lnTo>
                    <a:pt x="710062" y="173220"/>
                  </a:lnTo>
                  <a:lnTo>
                    <a:pt x="708368" y="172736"/>
                  </a:lnTo>
                  <a:lnTo>
                    <a:pt x="704919" y="172342"/>
                  </a:lnTo>
                  <a:lnTo>
                    <a:pt x="702105" y="170921"/>
                  </a:lnTo>
                  <a:lnTo>
                    <a:pt x="701410" y="169620"/>
                  </a:lnTo>
                  <a:lnTo>
                    <a:pt x="700593" y="168137"/>
                  </a:lnTo>
                  <a:lnTo>
                    <a:pt x="700926" y="163600"/>
                  </a:lnTo>
                  <a:lnTo>
                    <a:pt x="703951" y="157277"/>
                  </a:lnTo>
                  <a:lnTo>
                    <a:pt x="704828" y="155371"/>
                  </a:lnTo>
                  <a:lnTo>
                    <a:pt x="705524" y="152800"/>
                  </a:lnTo>
                  <a:lnTo>
                    <a:pt x="706280" y="150077"/>
                  </a:lnTo>
                  <a:lnTo>
                    <a:pt x="704586" y="147536"/>
                  </a:lnTo>
                  <a:lnTo>
                    <a:pt x="704072" y="147657"/>
                  </a:lnTo>
                  <a:lnTo>
                    <a:pt x="701138" y="148293"/>
                  </a:lnTo>
                  <a:lnTo>
                    <a:pt x="697901" y="149714"/>
                  </a:lnTo>
                  <a:lnTo>
                    <a:pt x="694906" y="149926"/>
                  </a:lnTo>
                  <a:lnTo>
                    <a:pt x="692183" y="147022"/>
                  </a:lnTo>
                  <a:lnTo>
                    <a:pt x="692123" y="146870"/>
                  </a:lnTo>
                  <a:lnTo>
                    <a:pt x="692062" y="146750"/>
                  </a:lnTo>
                  <a:lnTo>
                    <a:pt x="691971" y="146629"/>
                  </a:lnTo>
                  <a:lnTo>
                    <a:pt x="691881" y="146538"/>
                  </a:lnTo>
                  <a:lnTo>
                    <a:pt x="691397" y="146175"/>
                  </a:lnTo>
                  <a:lnTo>
                    <a:pt x="690096" y="144753"/>
                  </a:lnTo>
                  <a:lnTo>
                    <a:pt x="691639" y="143452"/>
                  </a:lnTo>
                  <a:lnTo>
                    <a:pt x="692183" y="143150"/>
                  </a:lnTo>
                  <a:lnTo>
                    <a:pt x="692970" y="142182"/>
                  </a:lnTo>
                  <a:lnTo>
                    <a:pt x="693242" y="141274"/>
                  </a:lnTo>
                  <a:lnTo>
                    <a:pt x="693000" y="140397"/>
                  </a:lnTo>
                  <a:lnTo>
                    <a:pt x="692214" y="139610"/>
                  </a:lnTo>
                  <a:lnTo>
                    <a:pt x="694513" y="136797"/>
                  </a:lnTo>
                  <a:lnTo>
                    <a:pt x="696267" y="135556"/>
                  </a:lnTo>
                  <a:lnTo>
                    <a:pt x="705706" y="128932"/>
                  </a:lnTo>
                  <a:lnTo>
                    <a:pt x="708579" y="124061"/>
                  </a:lnTo>
                  <a:lnTo>
                    <a:pt x="708186" y="122760"/>
                  </a:lnTo>
                  <a:lnTo>
                    <a:pt x="707823" y="121550"/>
                  </a:lnTo>
                  <a:lnTo>
                    <a:pt x="706825" y="121369"/>
                  </a:lnTo>
                  <a:lnTo>
                    <a:pt x="705464" y="121126"/>
                  </a:lnTo>
                  <a:lnTo>
                    <a:pt x="702499" y="121429"/>
                  </a:lnTo>
                  <a:lnTo>
                    <a:pt x="699958" y="121066"/>
                  </a:lnTo>
                  <a:lnTo>
                    <a:pt x="696933" y="118283"/>
                  </a:lnTo>
                  <a:lnTo>
                    <a:pt x="695057" y="117073"/>
                  </a:lnTo>
                  <a:lnTo>
                    <a:pt x="692244" y="116559"/>
                  </a:lnTo>
                  <a:lnTo>
                    <a:pt x="690822" y="115803"/>
                  </a:lnTo>
                  <a:lnTo>
                    <a:pt x="687797" y="115621"/>
                  </a:lnTo>
                  <a:lnTo>
                    <a:pt x="686223" y="115137"/>
                  </a:lnTo>
                  <a:lnTo>
                    <a:pt x="687706" y="117496"/>
                  </a:lnTo>
                  <a:lnTo>
                    <a:pt x="684953" y="117890"/>
                  </a:lnTo>
                  <a:lnTo>
                    <a:pt x="684106" y="116740"/>
                  </a:lnTo>
                  <a:lnTo>
                    <a:pt x="683743" y="114895"/>
                  </a:lnTo>
                  <a:lnTo>
                    <a:pt x="682412" y="113201"/>
                  </a:lnTo>
                  <a:lnTo>
                    <a:pt x="682412" y="113201"/>
                  </a:lnTo>
                  <a:lnTo>
                    <a:pt x="681777" y="109812"/>
                  </a:lnTo>
                  <a:lnTo>
                    <a:pt x="681232" y="108240"/>
                  </a:lnTo>
                  <a:lnTo>
                    <a:pt x="680446" y="106878"/>
                  </a:lnTo>
                  <a:lnTo>
                    <a:pt x="683078" y="105396"/>
                  </a:lnTo>
                  <a:lnTo>
                    <a:pt x="683501" y="104700"/>
                  </a:lnTo>
                  <a:lnTo>
                    <a:pt x="684923" y="102431"/>
                  </a:lnTo>
                  <a:lnTo>
                    <a:pt x="686284" y="99618"/>
                  </a:lnTo>
                  <a:lnTo>
                    <a:pt x="687373" y="98408"/>
                  </a:lnTo>
                  <a:lnTo>
                    <a:pt x="688704" y="98287"/>
                  </a:lnTo>
                  <a:lnTo>
                    <a:pt x="689945" y="97742"/>
                  </a:lnTo>
                  <a:lnTo>
                    <a:pt x="692365" y="96139"/>
                  </a:lnTo>
                  <a:lnTo>
                    <a:pt x="697023" y="93840"/>
                  </a:lnTo>
                  <a:lnTo>
                    <a:pt x="699474" y="91480"/>
                  </a:lnTo>
                  <a:lnTo>
                    <a:pt x="701622" y="88697"/>
                  </a:lnTo>
                  <a:lnTo>
                    <a:pt x="704072" y="86580"/>
                  </a:lnTo>
                  <a:lnTo>
                    <a:pt x="707490" y="86156"/>
                  </a:lnTo>
                  <a:lnTo>
                    <a:pt x="710001" y="86247"/>
                  </a:lnTo>
                  <a:lnTo>
                    <a:pt x="711877" y="85309"/>
                  </a:lnTo>
                  <a:lnTo>
                    <a:pt x="712724" y="83705"/>
                  </a:lnTo>
                  <a:lnTo>
                    <a:pt x="712966" y="83191"/>
                  </a:lnTo>
                  <a:lnTo>
                    <a:pt x="713117" y="79773"/>
                  </a:lnTo>
                  <a:lnTo>
                    <a:pt x="713692" y="79047"/>
                  </a:lnTo>
                  <a:lnTo>
                    <a:pt x="714055" y="78230"/>
                  </a:lnTo>
                  <a:lnTo>
                    <a:pt x="714267" y="77262"/>
                  </a:lnTo>
                  <a:lnTo>
                    <a:pt x="714267" y="76203"/>
                  </a:lnTo>
                  <a:lnTo>
                    <a:pt x="712664" y="76506"/>
                  </a:lnTo>
                  <a:lnTo>
                    <a:pt x="711151" y="76355"/>
                  </a:lnTo>
                  <a:lnTo>
                    <a:pt x="698960" y="72724"/>
                  </a:lnTo>
                  <a:lnTo>
                    <a:pt x="694694" y="72573"/>
                  </a:lnTo>
                  <a:lnTo>
                    <a:pt x="693907" y="72089"/>
                  </a:lnTo>
                  <a:lnTo>
                    <a:pt x="692486" y="70607"/>
                  </a:lnTo>
                  <a:lnTo>
                    <a:pt x="691790" y="70365"/>
                  </a:lnTo>
                  <a:lnTo>
                    <a:pt x="685649" y="70758"/>
                  </a:lnTo>
                  <a:lnTo>
                    <a:pt x="681263" y="70062"/>
                  </a:lnTo>
                  <a:lnTo>
                    <a:pt x="671007" y="72089"/>
                  </a:lnTo>
                  <a:lnTo>
                    <a:pt x="666953" y="71908"/>
                  </a:lnTo>
                  <a:lnTo>
                    <a:pt x="664836" y="71121"/>
                  </a:lnTo>
                  <a:lnTo>
                    <a:pt x="658453" y="67521"/>
                  </a:lnTo>
                  <a:lnTo>
                    <a:pt x="650194" y="65767"/>
                  </a:lnTo>
                  <a:lnTo>
                    <a:pt x="626628" y="64224"/>
                  </a:lnTo>
                  <a:lnTo>
                    <a:pt x="620911" y="60775"/>
                  </a:lnTo>
                  <a:lnTo>
                    <a:pt x="618370" y="60019"/>
                  </a:lnTo>
                  <a:lnTo>
                    <a:pt x="617492" y="59747"/>
                  </a:lnTo>
                  <a:lnTo>
                    <a:pt x="616706" y="59867"/>
                  </a:lnTo>
                  <a:lnTo>
                    <a:pt x="615103" y="60442"/>
                  </a:lnTo>
                  <a:lnTo>
                    <a:pt x="614165" y="60442"/>
                  </a:lnTo>
                  <a:lnTo>
                    <a:pt x="613227" y="60079"/>
                  </a:lnTo>
                  <a:lnTo>
                    <a:pt x="611412" y="58809"/>
                  </a:lnTo>
                  <a:lnTo>
                    <a:pt x="610625" y="58476"/>
                  </a:lnTo>
                  <a:lnTo>
                    <a:pt x="610444" y="58385"/>
                  </a:lnTo>
                  <a:lnTo>
                    <a:pt x="605483" y="57932"/>
                  </a:lnTo>
                  <a:lnTo>
                    <a:pt x="599614" y="58627"/>
                  </a:lnTo>
                  <a:lnTo>
                    <a:pt x="598131" y="58506"/>
                  </a:lnTo>
                  <a:lnTo>
                    <a:pt x="596468" y="57780"/>
                  </a:lnTo>
                  <a:lnTo>
                    <a:pt x="593352" y="55844"/>
                  </a:lnTo>
                  <a:lnTo>
                    <a:pt x="590296" y="55360"/>
                  </a:lnTo>
                  <a:lnTo>
                    <a:pt x="587876" y="54967"/>
                  </a:lnTo>
                  <a:lnTo>
                    <a:pt x="583792" y="53424"/>
                  </a:lnTo>
                  <a:lnTo>
                    <a:pt x="580313" y="50580"/>
                  </a:lnTo>
                  <a:lnTo>
                    <a:pt x="578408" y="46254"/>
                  </a:lnTo>
                  <a:lnTo>
                    <a:pt x="577530" y="43320"/>
                  </a:lnTo>
                  <a:lnTo>
                    <a:pt x="575866" y="42322"/>
                  </a:lnTo>
                  <a:lnTo>
                    <a:pt x="573779" y="42050"/>
                  </a:lnTo>
                  <a:lnTo>
                    <a:pt x="571692" y="41293"/>
                  </a:lnTo>
                  <a:lnTo>
                    <a:pt x="570724" y="40658"/>
                  </a:lnTo>
                  <a:lnTo>
                    <a:pt x="570149" y="40113"/>
                  </a:lnTo>
                  <a:lnTo>
                    <a:pt x="569907" y="39206"/>
                  </a:lnTo>
                  <a:lnTo>
                    <a:pt x="569907" y="37482"/>
                  </a:lnTo>
                  <a:lnTo>
                    <a:pt x="570179" y="35908"/>
                  </a:lnTo>
                  <a:lnTo>
                    <a:pt x="570542" y="34970"/>
                  </a:lnTo>
                  <a:lnTo>
                    <a:pt x="570814" y="34003"/>
                  </a:lnTo>
                  <a:lnTo>
                    <a:pt x="570814" y="32339"/>
                  </a:lnTo>
                  <a:lnTo>
                    <a:pt x="569877" y="29374"/>
                  </a:lnTo>
                  <a:lnTo>
                    <a:pt x="568273" y="28376"/>
                  </a:lnTo>
                  <a:lnTo>
                    <a:pt x="564038" y="28255"/>
                  </a:lnTo>
                  <a:lnTo>
                    <a:pt x="562677" y="27771"/>
                  </a:lnTo>
                  <a:lnTo>
                    <a:pt x="562072" y="27135"/>
                  </a:lnTo>
                  <a:lnTo>
                    <a:pt x="561527" y="26288"/>
                  </a:lnTo>
                  <a:lnTo>
                    <a:pt x="560378" y="25199"/>
                  </a:lnTo>
                  <a:lnTo>
                    <a:pt x="559258" y="24685"/>
                  </a:lnTo>
                  <a:lnTo>
                    <a:pt x="556899" y="24292"/>
                  </a:lnTo>
                  <a:lnTo>
                    <a:pt x="555840" y="23899"/>
                  </a:lnTo>
                  <a:lnTo>
                    <a:pt x="557322" y="22537"/>
                  </a:lnTo>
                  <a:lnTo>
                    <a:pt x="557322" y="21297"/>
                  </a:lnTo>
                  <a:lnTo>
                    <a:pt x="556657" y="20026"/>
                  </a:lnTo>
                  <a:lnTo>
                    <a:pt x="555991" y="18514"/>
                  </a:lnTo>
                  <a:lnTo>
                    <a:pt x="555356" y="15368"/>
                  </a:lnTo>
                  <a:lnTo>
                    <a:pt x="554932" y="13825"/>
                  </a:lnTo>
                  <a:lnTo>
                    <a:pt x="554267" y="12494"/>
                  </a:lnTo>
                  <a:lnTo>
                    <a:pt x="555326" y="10104"/>
                  </a:lnTo>
                  <a:lnTo>
                    <a:pt x="561406" y="6988"/>
                  </a:lnTo>
                  <a:lnTo>
                    <a:pt x="563554" y="4326"/>
                  </a:lnTo>
                  <a:lnTo>
                    <a:pt x="563554" y="2480"/>
                  </a:lnTo>
                  <a:lnTo>
                    <a:pt x="563615" y="756"/>
                  </a:lnTo>
                  <a:lnTo>
                    <a:pt x="561255" y="0"/>
                  </a:lnTo>
                  <a:lnTo>
                    <a:pt x="556475" y="877"/>
                  </a:lnTo>
                  <a:lnTo>
                    <a:pt x="554781" y="1180"/>
                  </a:lnTo>
                  <a:lnTo>
                    <a:pt x="544586" y="6050"/>
                  </a:lnTo>
                  <a:lnTo>
                    <a:pt x="537417" y="6383"/>
                  </a:lnTo>
                  <a:lnTo>
                    <a:pt x="532970" y="7805"/>
                  </a:lnTo>
                  <a:lnTo>
                    <a:pt x="528674" y="9923"/>
                  </a:lnTo>
                  <a:lnTo>
                    <a:pt x="525195" y="12464"/>
                  </a:lnTo>
                  <a:lnTo>
                    <a:pt x="520627" y="13129"/>
                  </a:lnTo>
                  <a:lnTo>
                    <a:pt x="519508" y="13794"/>
                  </a:lnTo>
                  <a:lnTo>
                    <a:pt x="517542" y="15277"/>
                  </a:lnTo>
                  <a:lnTo>
                    <a:pt x="516392" y="15519"/>
                  </a:lnTo>
                  <a:lnTo>
                    <a:pt x="514517" y="14854"/>
                  </a:lnTo>
                  <a:lnTo>
                    <a:pt x="511249" y="12615"/>
                  </a:lnTo>
                  <a:lnTo>
                    <a:pt x="509343" y="12433"/>
                  </a:lnTo>
                  <a:lnTo>
                    <a:pt x="508587" y="12554"/>
                  </a:lnTo>
                  <a:lnTo>
                    <a:pt x="507831" y="12494"/>
                  </a:lnTo>
                  <a:lnTo>
                    <a:pt x="507649" y="12494"/>
                  </a:lnTo>
                  <a:lnTo>
                    <a:pt x="502476" y="11495"/>
                  </a:lnTo>
                  <a:lnTo>
                    <a:pt x="500087" y="11707"/>
                  </a:lnTo>
                  <a:lnTo>
                    <a:pt x="497182" y="12494"/>
                  </a:lnTo>
                  <a:lnTo>
                    <a:pt x="497152" y="12494"/>
                  </a:lnTo>
                  <a:lnTo>
                    <a:pt x="496214" y="12978"/>
                  </a:lnTo>
                  <a:lnTo>
                    <a:pt x="495276" y="13129"/>
                  </a:lnTo>
                  <a:lnTo>
                    <a:pt x="494369" y="12978"/>
                  </a:lnTo>
                  <a:lnTo>
                    <a:pt x="493522" y="12494"/>
                  </a:lnTo>
                  <a:lnTo>
                    <a:pt x="493008" y="11828"/>
                  </a:lnTo>
                  <a:lnTo>
                    <a:pt x="492433" y="11314"/>
                  </a:lnTo>
                  <a:lnTo>
                    <a:pt x="491767" y="10951"/>
                  </a:lnTo>
                  <a:lnTo>
                    <a:pt x="489982" y="10558"/>
                  </a:lnTo>
                  <a:lnTo>
                    <a:pt x="488984" y="10769"/>
                  </a:lnTo>
                  <a:lnTo>
                    <a:pt x="488077" y="11405"/>
                  </a:lnTo>
                  <a:lnTo>
                    <a:pt x="487320" y="12464"/>
                  </a:lnTo>
                  <a:lnTo>
                    <a:pt x="487320" y="12464"/>
                  </a:lnTo>
                  <a:lnTo>
                    <a:pt x="483902" y="15519"/>
                  </a:lnTo>
                  <a:lnTo>
                    <a:pt x="480816" y="15368"/>
                  </a:lnTo>
                  <a:lnTo>
                    <a:pt x="477700" y="13976"/>
                  </a:lnTo>
                  <a:lnTo>
                    <a:pt x="474131" y="13250"/>
                  </a:lnTo>
                  <a:lnTo>
                    <a:pt x="467052" y="14339"/>
                  </a:lnTo>
                  <a:lnTo>
                    <a:pt x="460094" y="16426"/>
                  </a:lnTo>
                  <a:lnTo>
                    <a:pt x="458279" y="17425"/>
                  </a:lnTo>
                  <a:lnTo>
                    <a:pt x="451775" y="23384"/>
                  </a:lnTo>
                  <a:lnTo>
                    <a:pt x="450928" y="25048"/>
                  </a:lnTo>
                  <a:lnTo>
                    <a:pt x="449869" y="29798"/>
                  </a:lnTo>
                  <a:lnTo>
                    <a:pt x="447963" y="33972"/>
                  </a:lnTo>
                  <a:lnTo>
                    <a:pt x="447873" y="34487"/>
                  </a:lnTo>
                  <a:lnTo>
                    <a:pt x="447993" y="35878"/>
                  </a:lnTo>
                  <a:lnTo>
                    <a:pt x="447812" y="36544"/>
                  </a:lnTo>
                  <a:lnTo>
                    <a:pt x="447388" y="36967"/>
                  </a:lnTo>
                  <a:lnTo>
                    <a:pt x="446269" y="37451"/>
                  </a:lnTo>
                  <a:lnTo>
                    <a:pt x="445846" y="37814"/>
                  </a:lnTo>
                  <a:lnTo>
                    <a:pt x="443607" y="41353"/>
                  </a:lnTo>
                  <a:lnTo>
                    <a:pt x="442185" y="42715"/>
                  </a:lnTo>
                  <a:lnTo>
                    <a:pt x="440764" y="42896"/>
                  </a:lnTo>
                  <a:lnTo>
                    <a:pt x="439069" y="42382"/>
                  </a:lnTo>
                  <a:lnTo>
                    <a:pt x="435560" y="42080"/>
                  </a:lnTo>
                  <a:lnTo>
                    <a:pt x="433836" y="42291"/>
                  </a:lnTo>
                  <a:lnTo>
                    <a:pt x="430478" y="43350"/>
                  </a:lnTo>
                  <a:lnTo>
                    <a:pt x="429480" y="43411"/>
                  </a:lnTo>
                  <a:lnTo>
                    <a:pt x="428451" y="43017"/>
                  </a:lnTo>
                  <a:lnTo>
                    <a:pt x="426727" y="41656"/>
                  </a:lnTo>
                  <a:lnTo>
                    <a:pt x="425819" y="41233"/>
                  </a:lnTo>
                  <a:lnTo>
                    <a:pt x="424791" y="41233"/>
                  </a:lnTo>
                  <a:lnTo>
                    <a:pt x="422855" y="41716"/>
                  </a:lnTo>
                  <a:lnTo>
                    <a:pt x="421887" y="41716"/>
                  </a:lnTo>
                  <a:lnTo>
                    <a:pt x="418982" y="40174"/>
                  </a:lnTo>
                  <a:lnTo>
                    <a:pt x="417833" y="39841"/>
                  </a:lnTo>
                  <a:lnTo>
                    <a:pt x="415715" y="40446"/>
                  </a:lnTo>
                  <a:lnTo>
                    <a:pt x="414626" y="40446"/>
                  </a:lnTo>
                  <a:lnTo>
                    <a:pt x="414021" y="39236"/>
                  </a:lnTo>
                  <a:lnTo>
                    <a:pt x="414505" y="38571"/>
                  </a:lnTo>
                  <a:lnTo>
                    <a:pt x="416744" y="36907"/>
                  </a:lnTo>
                  <a:lnTo>
                    <a:pt x="417228" y="35969"/>
                  </a:lnTo>
                  <a:lnTo>
                    <a:pt x="416260" y="34607"/>
                  </a:lnTo>
                  <a:lnTo>
                    <a:pt x="408546" y="30372"/>
                  </a:lnTo>
                  <a:lnTo>
                    <a:pt x="407003" y="29979"/>
                  </a:lnTo>
                  <a:lnTo>
                    <a:pt x="405218" y="30161"/>
                  </a:lnTo>
                  <a:lnTo>
                    <a:pt x="394993" y="32762"/>
                  </a:lnTo>
                  <a:lnTo>
                    <a:pt x="390818" y="32339"/>
                  </a:lnTo>
                  <a:lnTo>
                    <a:pt x="387551" y="29888"/>
                  </a:lnTo>
                  <a:lnTo>
                    <a:pt x="387037" y="34244"/>
                  </a:lnTo>
                  <a:lnTo>
                    <a:pt x="386674" y="35455"/>
                  </a:lnTo>
                  <a:lnTo>
                    <a:pt x="386069" y="36302"/>
                  </a:lnTo>
                  <a:lnTo>
                    <a:pt x="383891" y="38722"/>
                  </a:lnTo>
                  <a:lnTo>
                    <a:pt x="384072" y="40718"/>
                  </a:lnTo>
                  <a:lnTo>
                    <a:pt x="384768" y="42685"/>
                  </a:lnTo>
                  <a:lnTo>
                    <a:pt x="385040" y="44530"/>
                  </a:lnTo>
                  <a:lnTo>
                    <a:pt x="383830" y="46224"/>
                  </a:lnTo>
                  <a:lnTo>
                    <a:pt x="382136" y="47222"/>
                  </a:lnTo>
                  <a:lnTo>
                    <a:pt x="381713" y="48433"/>
                  </a:lnTo>
                  <a:lnTo>
                    <a:pt x="381804" y="49975"/>
                  </a:lnTo>
                  <a:lnTo>
                    <a:pt x="381592" y="51881"/>
                  </a:lnTo>
                  <a:lnTo>
                    <a:pt x="380624" y="53484"/>
                  </a:lnTo>
                  <a:lnTo>
                    <a:pt x="379535" y="54422"/>
                  </a:lnTo>
                  <a:lnTo>
                    <a:pt x="379081" y="55693"/>
                  </a:lnTo>
                  <a:lnTo>
                    <a:pt x="379928" y="58264"/>
                  </a:lnTo>
                  <a:lnTo>
                    <a:pt x="381743" y="60200"/>
                  </a:lnTo>
                  <a:lnTo>
                    <a:pt x="386038" y="60624"/>
                  </a:lnTo>
                  <a:lnTo>
                    <a:pt x="388156" y="62227"/>
                  </a:lnTo>
                  <a:lnTo>
                    <a:pt x="388913" y="64829"/>
                  </a:lnTo>
                  <a:lnTo>
                    <a:pt x="388852" y="68277"/>
                  </a:lnTo>
                  <a:lnTo>
                    <a:pt x="388065" y="71605"/>
                  </a:lnTo>
                  <a:lnTo>
                    <a:pt x="387430" y="72543"/>
                  </a:lnTo>
                  <a:lnTo>
                    <a:pt x="386644" y="73753"/>
                  </a:lnTo>
                  <a:lnTo>
                    <a:pt x="384829" y="74055"/>
                  </a:lnTo>
                  <a:lnTo>
                    <a:pt x="377629" y="72331"/>
                  </a:lnTo>
                  <a:lnTo>
                    <a:pt x="374120" y="72634"/>
                  </a:lnTo>
                  <a:lnTo>
                    <a:pt x="372819" y="72452"/>
                  </a:lnTo>
                  <a:lnTo>
                    <a:pt x="371669" y="71968"/>
                  </a:lnTo>
                  <a:lnTo>
                    <a:pt x="371034" y="71363"/>
                  </a:lnTo>
                  <a:lnTo>
                    <a:pt x="370519" y="70698"/>
                  </a:lnTo>
                  <a:lnTo>
                    <a:pt x="369733" y="70062"/>
                  </a:lnTo>
                  <a:lnTo>
                    <a:pt x="365588" y="68761"/>
                  </a:lnTo>
                  <a:lnTo>
                    <a:pt x="365135" y="67309"/>
                  </a:lnTo>
                  <a:lnTo>
                    <a:pt x="365679" y="64556"/>
                  </a:lnTo>
                  <a:lnTo>
                    <a:pt x="365468" y="63044"/>
                  </a:lnTo>
                  <a:lnTo>
                    <a:pt x="363864" y="61834"/>
                  </a:lnTo>
                  <a:lnTo>
                    <a:pt x="361263" y="61834"/>
                  </a:lnTo>
                  <a:lnTo>
                    <a:pt x="351733" y="64375"/>
                  </a:lnTo>
                  <a:lnTo>
                    <a:pt x="350766" y="64859"/>
                  </a:lnTo>
                  <a:lnTo>
                    <a:pt x="350342" y="65857"/>
                  </a:lnTo>
                  <a:lnTo>
                    <a:pt x="349102" y="70244"/>
                  </a:lnTo>
                  <a:lnTo>
                    <a:pt x="348285" y="71272"/>
                  </a:lnTo>
                  <a:lnTo>
                    <a:pt x="346107" y="73269"/>
                  </a:lnTo>
                  <a:lnTo>
                    <a:pt x="345260" y="74449"/>
                  </a:lnTo>
                  <a:lnTo>
                    <a:pt x="345139" y="75417"/>
                  </a:lnTo>
                  <a:lnTo>
                    <a:pt x="345139" y="78382"/>
                  </a:lnTo>
                  <a:lnTo>
                    <a:pt x="344685" y="79803"/>
                  </a:lnTo>
                  <a:lnTo>
                    <a:pt x="344806" y="81043"/>
                  </a:lnTo>
                  <a:lnTo>
                    <a:pt x="345048" y="82012"/>
                  </a:lnTo>
                  <a:lnTo>
                    <a:pt x="345532" y="82768"/>
                  </a:lnTo>
                  <a:lnTo>
                    <a:pt x="346409" y="83312"/>
                  </a:lnTo>
                  <a:lnTo>
                    <a:pt x="344624" y="86065"/>
                  </a:lnTo>
                  <a:lnTo>
                    <a:pt x="346198" y="87880"/>
                  </a:lnTo>
                  <a:lnTo>
                    <a:pt x="349132" y="88939"/>
                  </a:lnTo>
                  <a:lnTo>
                    <a:pt x="353639" y="89756"/>
                  </a:lnTo>
                  <a:lnTo>
                    <a:pt x="355394" y="90391"/>
                  </a:lnTo>
                  <a:lnTo>
                    <a:pt x="356120" y="91874"/>
                  </a:lnTo>
                  <a:lnTo>
                    <a:pt x="355364" y="94808"/>
                  </a:lnTo>
                  <a:lnTo>
                    <a:pt x="354637" y="95716"/>
                  </a:lnTo>
                  <a:lnTo>
                    <a:pt x="352520" y="97440"/>
                  </a:lnTo>
                  <a:lnTo>
                    <a:pt x="351764" y="98741"/>
                  </a:lnTo>
                  <a:lnTo>
                    <a:pt x="351249" y="100556"/>
                  </a:lnTo>
                  <a:lnTo>
                    <a:pt x="351189" y="101766"/>
                  </a:lnTo>
                  <a:lnTo>
                    <a:pt x="351582" y="102885"/>
                  </a:lnTo>
                  <a:lnTo>
                    <a:pt x="352490" y="104398"/>
                  </a:lnTo>
                  <a:lnTo>
                    <a:pt x="356634" y="108300"/>
                  </a:lnTo>
                  <a:lnTo>
                    <a:pt x="357905" y="110690"/>
                  </a:lnTo>
                  <a:lnTo>
                    <a:pt x="356574" y="113231"/>
                  </a:lnTo>
                  <a:lnTo>
                    <a:pt x="353760" y="114865"/>
                  </a:lnTo>
                  <a:lnTo>
                    <a:pt x="349525" y="116347"/>
                  </a:lnTo>
                  <a:lnTo>
                    <a:pt x="346198" y="116286"/>
                  </a:lnTo>
                  <a:lnTo>
                    <a:pt x="346107" y="113261"/>
                  </a:lnTo>
                  <a:lnTo>
                    <a:pt x="345078" y="110992"/>
                  </a:lnTo>
                  <a:lnTo>
                    <a:pt x="341115" y="107756"/>
                  </a:lnTo>
                  <a:lnTo>
                    <a:pt x="339633" y="105910"/>
                  </a:lnTo>
                  <a:lnTo>
                    <a:pt x="338967" y="102976"/>
                  </a:lnTo>
                  <a:lnTo>
                    <a:pt x="338967" y="100314"/>
                  </a:lnTo>
                  <a:lnTo>
                    <a:pt x="338241" y="98135"/>
                  </a:lnTo>
                  <a:lnTo>
                    <a:pt x="335730" y="96623"/>
                  </a:lnTo>
                  <a:lnTo>
                    <a:pt x="333643" y="96139"/>
                  </a:lnTo>
                  <a:lnTo>
                    <a:pt x="331707" y="96018"/>
                  </a:lnTo>
                  <a:lnTo>
                    <a:pt x="327321" y="96714"/>
                  </a:lnTo>
                  <a:lnTo>
                    <a:pt x="320605" y="99860"/>
                  </a:lnTo>
                  <a:lnTo>
                    <a:pt x="318517" y="100495"/>
                  </a:lnTo>
                  <a:lnTo>
                    <a:pt x="317216" y="100253"/>
                  </a:lnTo>
                  <a:lnTo>
                    <a:pt x="314766" y="98861"/>
                  </a:lnTo>
                  <a:lnTo>
                    <a:pt x="313677" y="98861"/>
                  </a:lnTo>
                  <a:lnTo>
                    <a:pt x="312588" y="99981"/>
                  </a:lnTo>
                  <a:lnTo>
                    <a:pt x="312376" y="101493"/>
                  </a:lnTo>
                  <a:lnTo>
                    <a:pt x="312528" y="103006"/>
                  </a:lnTo>
                  <a:lnTo>
                    <a:pt x="312528" y="104065"/>
                  </a:lnTo>
                  <a:lnTo>
                    <a:pt x="310955" y="106031"/>
                  </a:lnTo>
                  <a:lnTo>
                    <a:pt x="309049" y="106727"/>
                  </a:lnTo>
                  <a:lnTo>
                    <a:pt x="297523" y="106606"/>
                  </a:lnTo>
                  <a:lnTo>
                    <a:pt x="295194" y="105819"/>
                  </a:lnTo>
                  <a:lnTo>
                    <a:pt x="293076" y="104488"/>
                  </a:lnTo>
                  <a:lnTo>
                    <a:pt x="291806" y="102855"/>
                  </a:lnTo>
                  <a:lnTo>
                    <a:pt x="289809" y="98045"/>
                  </a:lnTo>
                  <a:lnTo>
                    <a:pt x="288931" y="97379"/>
                  </a:lnTo>
                  <a:lnTo>
                    <a:pt x="286693" y="96260"/>
                  </a:lnTo>
                  <a:lnTo>
                    <a:pt x="285967" y="95594"/>
                  </a:lnTo>
                  <a:lnTo>
                    <a:pt x="285755" y="94838"/>
                  </a:lnTo>
                  <a:lnTo>
                    <a:pt x="285906" y="92811"/>
                  </a:lnTo>
                  <a:lnTo>
                    <a:pt x="285301" y="79954"/>
                  </a:lnTo>
                  <a:lnTo>
                    <a:pt x="284969" y="79108"/>
                  </a:lnTo>
                  <a:lnTo>
                    <a:pt x="284182" y="79259"/>
                  </a:lnTo>
                  <a:lnTo>
                    <a:pt x="282548" y="80348"/>
                  </a:lnTo>
                  <a:lnTo>
                    <a:pt x="281853" y="81195"/>
                  </a:lnTo>
                  <a:lnTo>
                    <a:pt x="281490" y="82133"/>
                  </a:lnTo>
                  <a:lnTo>
                    <a:pt x="281006" y="82949"/>
                  </a:lnTo>
                  <a:lnTo>
                    <a:pt x="279917" y="83342"/>
                  </a:lnTo>
                  <a:lnTo>
                    <a:pt x="279160" y="83040"/>
                  </a:lnTo>
                  <a:lnTo>
                    <a:pt x="276589" y="80801"/>
                  </a:lnTo>
                  <a:lnTo>
                    <a:pt x="276528" y="79138"/>
                  </a:lnTo>
                  <a:lnTo>
                    <a:pt x="274532" y="78654"/>
                  </a:lnTo>
                  <a:lnTo>
                    <a:pt x="269631" y="79198"/>
                  </a:lnTo>
                  <a:lnTo>
                    <a:pt x="267725" y="80832"/>
                  </a:lnTo>
                  <a:lnTo>
                    <a:pt x="265971" y="84068"/>
                  </a:lnTo>
                  <a:lnTo>
                    <a:pt x="265184" y="87336"/>
                  </a:lnTo>
                  <a:lnTo>
                    <a:pt x="266152" y="89151"/>
                  </a:lnTo>
                  <a:lnTo>
                    <a:pt x="267483" y="89998"/>
                  </a:lnTo>
                  <a:lnTo>
                    <a:pt x="267695" y="91359"/>
                  </a:lnTo>
                  <a:lnTo>
                    <a:pt x="267423" y="93053"/>
                  </a:lnTo>
                  <a:lnTo>
                    <a:pt x="267423" y="94959"/>
                  </a:lnTo>
                  <a:lnTo>
                    <a:pt x="268784" y="99678"/>
                  </a:lnTo>
                  <a:lnTo>
                    <a:pt x="268905" y="101403"/>
                  </a:lnTo>
                  <a:lnTo>
                    <a:pt x="268270" y="104367"/>
                  </a:lnTo>
                  <a:lnTo>
                    <a:pt x="265336" y="110024"/>
                  </a:lnTo>
                  <a:lnTo>
                    <a:pt x="263853" y="114804"/>
                  </a:lnTo>
                  <a:lnTo>
                    <a:pt x="262946" y="116135"/>
                  </a:lnTo>
                  <a:lnTo>
                    <a:pt x="261766" y="117133"/>
                  </a:lnTo>
                  <a:lnTo>
                    <a:pt x="260556" y="117648"/>
                  </a:lnTo>
                  <a:lnTo>
                    <a:pt x="259467" y="118404"/>
                  </a:lnTo>
                  <a:lnTo>
                    <a:pt x="258892" y="119735"/>
                  </a:lnTo>
                  <a:lnTo>
                    <a:pt x="258408" y="121278"/>
                  </a:lnTo>
                  <a:lnTo>
                    <a:pt x="257682" y="122579"/>
                  </a:lnTo>
                  <a:lnTo>
                    <a:pt x="257621" y="122669"/>
                  </a:lnTo>
                  <a:lnTo>
                    <a:pt x="250300" y="127207"/>
                  </a:lnTo>
                  <a:lnTo>
                    <a:pt x="248425" y="129779"/>
                  </a:lnTo>
                  <a:lnTo>
                    <a:pt x="248031" y="131503"/>
                  </a:lnTo>
                  <a:lnTo>
                    <a:pt x="248243" y="134498"/>
                  </a:lnTo>
                  <a:lnTo>
                    <a:pt x="247941" y="136131"/>
                  </a:lnTo>
                  <a:lnTo>
                    <a:pt x="247124" y="137372"/>
                  </a:lnTo>
                  <a:lnTo>
                    <a:pt x="246156" y="137886"/>
                  </a:lnTo>
                  <a:lnTo>
                    <a:pt x="243948" y="138521"/>
                  </a:lnTo>
                  <a:lnTo>
                    <a:pt x="241376" y="140336"/>
                  </a:lnTo>
                  <a:lnTo>
                    <a:pt x="240953" y="141849"/>
                  </a:lnTo>
                  <a:lnTo>
                    <a:pt x="242737" y="146477"/>
                  </a:lnTo>
                  <a:lnTo>
                    <a:pt x="239410" y="149260"/>
                  </a:lnTo>
                  <a:lnTo>
                    <a:pt x="239198" y="149593"/>
                  </a:lnTo>
                  <a:lnTo>
                    <a:pt x="239138" y="149956"/>
                  </a:lnTo>
                  <a:lnTo>
                    <a:pt x="239198" y="150289"/>
                  </a:lnTo>
                  <a:lnTo>
                    <a:pt x="239410" y="150622"/>
                  </a:lnTo>
                  <a:lnTo>
                    <a:pt x="240499" y="151620"/>
                  </a:lnTo>
                  <a:lnTo>
                    <a:pt x="241316" y="154040"/>
                  </a:lnTo>
                  <a:lnTo>
                    <a:pt x="242223" y="155280"/>
                  </a:lnTo>
                  <a:lnTo>
                    <a:pt x="243191" y="155795"/>
                  </a:lnTo>
                  <a:lnTo>
                    <a:pt x="245369" y="156188"/>
                  </a:lnTo>
                  <a:lnTo>
                    <a:pt x="246307" y="156763"/>
                  </a:lnTo>
                  <a:lnTo>
                    <a:pt x="247457" y="158971"/>
                  </a:lnTo>
                  <a:lnTo>
                    <a:pt x="247064" y="161210"/>
                  </a:lnTo>
                  <a:lnTo>
                    <a:pt x="244552" y="165687"/>
                  </a:lnTo>
                  <a:lnTo>
                    <a:pt x="241346" y="169317"/>
                  </a:lnTo>
                  <a:lnTo>
                    <a:pt x="238321" y="168803"/>
                  </a:lnTo>
                  <a:lnTo>
                    <a:pt x="235024" y="167472"/>
                  </a:lnTo>
                  <a:lnTo>
                    <a:pt x="231030" y="168591"/>
                  </a:lnTo>
                  <a:lnTo>
                    <a:pt x="231393" y="166534"/>
                  </a:lnTo>
                  <a:lnTo>
                    <a:pt x="231998" y="164961"/>
                  </a:lnTo>
                  <a:lnTo>
                    <a:pt x="232392" y="163327"/>
                  </a:lnTo>
                  <a:lnTo>
                    <a:pt x="232210" y="161028"/>
                  </a:lnTo>
                  <a:lnTo>
                    <a:pt x="231666" y="159304"/>
                  </a:lnTo>
                  <a:lnTo>
                    <a:pt x="230819" y="157549"/>
                  </a:lnTo>
                  <a:lnTo>
                    <a:pt x="229064" y="154676"/>
                  </a:lnTo>
                  <a:lnTo>
                    <a:pt x="228066" y="152558"/>
                  </a:lnTo>
                  <a:lnTo>
                    <a:pt x="227400" y="151711"/>
                  </a:lnTo>
                  <a:lnTo>
                    <a:pt x="226735" y="151227"/>
                  </a:lnTo>
                  <a:lnTo>
                    <a:pt x="220957" y="148383"/>
                  </a:lnTo>
                  <a:lnTo>
                    <a:pt x="219414" y="147899"/>
                  </a:lnTo>
                  <a:lnTo>
                    <a:pt x="217690" y="147778"/>
                  </a:lnTo>
                  <a:lnTo>
                    <a:pt x="217871" y="147415"/>
                  </a:lnTo>
                  <a:lnTo>
                    <a:pt x="218264" y="146780"/>
                  </a:lnTo>
                  <a:lnTo>
                    <a:pt x="220019" y="143029"/>
                  </a:lnTo>
                  <a:lnTo>
                    <a:pt x="222893" y="139822"/>
                  </a:lnTo>
                  <a:lnTo>
                    <a:pt x="224375" y="136676"/>
                  </a:lnTo>
                  <a:lnTo>
                    <a:pt x="221804" y="133560"/>
                  </a:lnTo>
                  <a:lnTo>
                    <a:pt x="220291" y="133076"/>
                  </a:lnTo>
                  <a:lnTo>
                    <a:pt x="217205" y="133137"/>
                  </a:lnTo>
                  <a:lnTo>
                    <a:pt x="215602" y="132925"/>
                  </a:lnTo>
                  <a:lnTo>
                    <a:pt x="214846" y="132441"/>
                  </a:lnTo>
                  <a:lnTo>
                    <a:pt x="214120" y="131200"/>
                  </a:lnTo>
                  <a:lnTo>
                    <a:pt x="213817" y="131079"/>
                  </a:lnTo>
                  <a:lnTo>
                    <a:pt x="213303" y="130898"/>
                  </a:lnTo>
                  <a:lnTo>
                    <a:pt x="212668" y="131170"/>
                  </a:lnTo>
                  <a:lnTo>
                    <a:pt x="211125" y="132441"/>
                  </a:lnTo>
                  <a:lnTo>
                    <a:pt x="210399" y="132804"/>
                  </a:lnTo>
                  <a:lnTo>
                    <a:pt x="208644" y="132713"/>
                  </a:lnTo>
                  <a:lnTo>
                    <a:pt x="203955" y="130202"/>
                  </a:lnTo>
                  <a:lnTo>
                    <a:pt x="202019" y="129567"/>
                  </a:lnTo>
                  <a:lnTo>
                    <a:pt x="201051" y="129113"/>
                  </a:lnTo>
                  <a:lnTo>
                    <a:pt x="194698" y="120461"/>
                  </a:lnTo>
                  <a:lnTo>
                    <a:pt x="191855" y="117769"/>
                  </a:lnTo>
                  <a:lnTo>
                    <a:pt x="189071" y="116498"/>
                  </a:lnTo>
                  <a:lnTo>
                    <a:pt x="186440" y="115530"/>
                  </a:lnTo>
                  <a:lnTo>
                    <a:pt x="184594" y="114108"/>
                  </a:lnTo>
                  <a:lnTo>
                    <a:pt x="183505" y="111961"/>
                  </a:lnTo>
                  <a:lnTo>
                    <a:pt x="183112" y="108693"/>
                  </a:lnTo>
                  <a:lnTo>
                    <a:pt x="183445" y="105275"/>
                  </a:lnTo>
                  <a:lnTo>
                    <a:pt x="185078" y="98347"/>
                  </a:lnTo>
                  <a:lnTo>
                    <a:pt x="185441" y="94505"/>
                  </a:lnTo>
                  <a:lnTo>
                    <a:pt x="185381" y="90452"/>
                  </a:lnTo>
                  <a:lnTo>
                    <a:pt x="184957" y="87427"/>
                  </a:lnTo>
                  <a:lnTo>
                    <a:pt x="183566" y="85581"/>
                  </a:lnTo>
                  <a:lnTo>
                    <a:pt x="180661" y="85128"/>
                  </a:lnTo>
                  <a:lnTo>
                    <a:pt x="179331" y="85400"/>
                  </a:lnTo>
                  <a:lnTo>
                    <a:pt x="175065" y="86247"/>
                  </a:lnTo>
                  <a:lnTo>
                    <a:pt x="172342" y="87608"/>
                  </a:lnTo>
                  <a:lnTo>
                    <a:pt x="170195" y="89696"/>
                  </a:lnTo>
                  <a:lnTo>
                    <a:pt x="169347" y="91389"/>
                  </a:lnTo>
                  <a:lnTo>
                    <a:pt x="169741" y="91964"/>
                  </a:lnTo>
                  <a:lnTo>
                    <a:pt x="170407" y="92418"/>
                  </a:lnTo>
                  <a:lnTo>
                    <a:pt x="170407" y="93779"/>
                  </a:lnTo>
                  <a:lnTo>
                    <a:pt x="169832" y="95020"/>
                  </a:lnTo>
                  <a:lnTo>
                    <a:pt x="168833" y="96109"/>
                  </a:lnTo>
                  <a:lnTo>
                    <a:pt x="167684" y="96925"/>
                  </a:lnTo>
                  <a:lnTo>
                    <a:pt x="164840" y="98257"/>
                  </a:lnTo>
                  <a:lnTo>
                    <a:pt x="159879" y="104277"/>
                  </a:lnTo>
                  <a:lnTo>
                    <a:pt x="157792" y="105608"/>
                  </a:lnTo>
                  <a:lnTo>
                    <a:pt x="153435" y="106515"/>
                  </a:lnTo>
                  <a:lnTo>
                    <a:pt x="151257" y="107453"/>
                  </a:lnTo>
                  <a:lnTo>
                    <a:pt x="149291" y="109268"/>
                  </a:lnTo>
                  <a:lnTo>
                    <a:pt x="148262" y="110569"/>
                  </a:lnTo>
                  <a:lnTo>
                    <a:pt x="147839" y="111718"/>
                  </a:lnTo>
                  <a:lnTo>
                    <a:pt x="148202" y="112233"/>
                  </a:lnTo>
                  <a:lnTo>
                    <a:pt x="150561" y="114108"/>
                  </a:lnTo>
                  <a:lnTo>
                    <a:pt x="153526" y="119402"/>
                  </a:lnTo>
                  <a:lnTo>
                    <a:pt x="153798" y="124303"/>
                  </a:lnTo>
                  <a:lnTo>
                    <a:pt x="151620" y="128629"/>
                  </a:lnTo>
                  <a:lnTo>
                    <a:pt x="147234" y="132138"/>
                  </a:lnTo>
                  <a:lnTo>
                    <a:pt x="146145" y="132471"/>
                  </a:lnTo>
                  <a:lnTo>
                    <a:pt x="144057" y="132683"/>
                  </a:lnTo>
                  <a:lnTo>
                    <a:pt x="143029" y="133409"/>
                  </a:lnTo>
                  <a:lnTo>
                    <a:pt x="142303" y="134770"/>
                  </a:lnTo>
                  <a:lnTo>
                    <a:pt x="142091" y="136282"/>
                  </a:lnTo>
                  <a:lnTo>
                    <a:pt x="142091" y="137765"/>
                  </a:lnTo>
                  <a:lnTo>
                    <a:pt x="141547" y="141546"/>
                  </a:lnTo>
                  <a:lnTo>
                    <a:pt x="141365" y="141819"/>
                  </a:lnTo>
                  <a:lnTo>
                    <a:pt x="140397" y="143785"/>
                  </a:lnTo>
                  <a:lnTo>
                    <a:pt x="140336" y="144057"/>
                  </a:lnTo>
                  <a:lnTo>
                    <a:pt x="139066" y="145570"/>
                  </a:lnTo>
                  <a:lnTo>
                    <a:pt x="138340" y="146114"/>
                  </a:lnTo>
                  <a:lnTo>
                    <a:pt x="137372" y="146387"/>
                  </a:lnTo>
                  <a:lnTo>
                    <a:pt x="130233" y="147869"/>
                  </a:lnTo>
                  <a:lnTo>
                    <a:pt x="127570" y="149563"/>
                  </a:lnTo>
                  <a:lnTo>
                    <a:pt x="125362" y="153465"/>
                  </a:lnTo>
                  <a:lnTo>
                    <a:pt x="125241" y="153677"/>
                  </a:lnTo>
                  <a:lnTo>
                    <a:pt x="124939" y="155039"/>
                  </a:lnTo>
                  <a:lnTo>
                    <a:pt x="125029" y="155734"/>
                  </a:lnTo>
                  <a:lnTo>
                    <a:pt x="124787" y="156188"/>
                  </a:lnTo>
                  <a:lnTo>
                    <a:pt x="123517" y="156823"/>
                  </a:lnTo>
                  <a:lnTo>
                    <a:pt x="122942" y="156823"/>
                  </a:lnTo>
                  <a:lnTo>
                    <a:pt x="121157" y="156279"/>
                  </a:lnTo>
                  <a:lnTo>
                    <a:pt x="118374" y="156339"/>
                  </a:lnTo>
                  <a:lnTo>
                    <a:pt x="113534" y="154706"/>
                  </a:lnTo>
                  <a:lnTo>
                    <a:pt x="112536" y="154796"/>
                  </a:lnTo>
                  <a:lnTo>
                    <a:pt x="111779" y="155129"/>
                  </a:lnTo>
                  <a:lnTo>
                    <a:pt x="110932" y="155341"/>
                  </a:lnTo>
                  <a:lnTo>
                    <a:pt x="109692" y="154948"/>
                  </a:lnTo>
                  <a:lnTo>
                    <a:pt x="109541" y="154615"/>
                  </a:lnTo>
                  <a:lnTo>
                    <a:pt x="107635" y="152074"/>
                  </a:lnTo>
                  <a:lnTo>
                    <a:pt x="106122" y="150803"/>
                  </a:lnTo>
                  <a:lnTo>
                    <a:pt x="104549" y="149956"/>
                  </a:lnTo>
                  <a:lnTo>
                    <a:pt x="94294" y="147597"/>
                  </a:lnTo>
                  <a:lnTo>
                    <a:pt x="92630" y="148413"/>
                  </a:lnTo>
                  <a:lnTo>
                    <a:pt x="91662" y="149926"/>
                  </a:lnTo>
                  <a:lnTo>
                    <a:pt x="90573" y="151257"/>
                  </a:lnTo>
                  <a:lnTo>
                    <a:pt x="88455" y="151499"/>
                  </a:lnTo>
                  <a:lnTo>
                    <a:pt x="85460" y="152709"/>
                  </a:lnTo>
                  <a:lnTo>
                    <a:pt x="79501" y="156702"/>
                  </a:lnTo>
                  <a:lnTo>
                    <a:pt x="76294" y="157761"/>
                  </a:lnTo>
                  <a:lnTo>
                    <a:pt x="68731" y="157035"/>
                  </a:lnTo>
                  <a:lnTo>
                    <a:pt x="67400" y="157458"/>
                  </a:lnTo>
                  <a:lnTo>
                    <a:pt x="64587" y="159062"/>
                  </a:lnTo>
                  <a:lnTo>
                    <a:pt x="58385" y="161422"/>
                  </a:lnTo>
                  <a:lnTo>
                    <a:pt x="55330" y="161936"/>
                  </a:lnTo>
                  <a:lnTo>
                    <a:pt x="52033" y="161996"/>
                  </a:lnTo>
                  <a:lnTo>
                    <a:pt x="48947" y="161391"/>
                  </a:lnTo>
                  <a:lnTo>
                    <a:pt x="46618" y="160090"/>
                  </a:lnTo>
                  <a:lnTo>
                    <a:pt x="42110" y="155462"/>
                  </a:lnTo>
                  <a:lnTo>
                    <a:pt x="40658" y="156097"/>
                  </a:lnTo>
                  <a:lnTo>
                    <a:pt x="39599" y="157307"/>
                  </a:lnTo>
                  <a:lnTo>
                    <a:pt x="38783" y="158911"/>
                  </a:lnTo>
                  <a:lnTo>
                    <a:pt x="38147" y="160696"/>
                  </a:lnTo>
                  <a:lnTo>
                    <a:pt x="36786" y="162813"/>
                  </a:lnTo>
                  <a:lnTo>
                    <a:pt x="34759" y="164386"/>
                  </a:lnTo>
                  <a:lnTo>
                    <a:pt x="32490" y="165445"/>
                  </a:lnTo>
                  <a:lnTo>
                    <a:pt x="30342" y="166020"/>
                  </a:lnTo>
                  <a:lnTo>
                    <a:pt x="27862" y="166020"/>
                  </a:lnTo>
                  <a:lnTo>
                    <a:pt x="27166" y="166080"/>
                  </a:lnTo>
                  <a:lnTo>
                    <a:pt x="26803" y="166020"/>
                  </a:lnTo>
                  <a:lnTo>
                    <a:pt x="25986" y="165536"/>
                  </a:lnTo>
                  <a:lnTo>
                    <a:pt x="25593" y="165536"/>
                  </a:lnTo>
                  <a:lnTo>
                    <a:pt x="25109" y="165868"/>
                  </a:lnTo>
                  <a:lnTo>
                    <a:pt x="24685" y="166474"/>
                  </a:lnTo>
                  <a:lnTo>
                    <a:pt x="24383" y="167048"/>
                  </a:lnTo>
                  <a:lnTo>
                    <a:pt x="24383" y="167290"/>
                  </a:lnTo>
                  <a:lnTo>
                    <a:pt x="21388" y="167683"/>
                  </a:lnTo>
                  <a:lnTo>
                    <a:pt x="19845" y="168531"/>
                  </a:lnTo>
                  <a:lnTo>
                    <a:pt x="18574" y="170467"/>
                  </a:lnTo>
                  <a:lnTo>
                    <a:pt x="18030" y="172645"/>
                  </a:lnTo>
                  <a:lnTo>
                    <a:pt x="17970" y="175004"/>
                  </a:lnTo>
                  <a:lnTo>
                    <a:pt x="18242" y="177364"/>
                  </a:lnTo>
                  <a:lnTo>
                    <a:pt x="19361" y="182839"/>
                  </a:lnTo>
                  <a:lnTo>
                    <a:pt x="21388" y="185653"/>
                  </a:lnTo>
                  <a:lnTo>
                    <a:pt x="24110" y="187529"/>
                  </a:lnTo>
                  <a:lnTo>
                    <a:pt x="26742" y="188013"/>
                  </a:lnTo>
                  <a:lnTo>
                    <a:pt x="28073" y="188496"/>
                  </a:lnTo>
                  <a:lnTo>
                    <a:pt x="30373" y="190584"/>
                  </a:lnTo>
                  <a:lnTo>
                    <a:pt x="31703" y="191522"/>
                  </a:lnTo>
                  <a:lnTo>
                    <a:pt x="34971" y="192308"/>
                  </a:lnTo>
                  <a:lnTo>
                    <a:pt x="36211" y="193095"/>
                  </a:lnTo>
                  <a:lnTo>
                    <a:pt x="36816" y="195061"/>
                  </a:lnTo>
                  <a:lnTo>
                    <a:pt x="36574" y="195817"/>
                  </a:lnTo>
                  <a:lnTo>
                    <a:pt x="35425" y="198147"/>
                  </a:lnTo>
                  <a:lnTo>
                    <a:pt x="35152" y="199236"/>
                  </a:lnTo>
                  <a:lnTo>
                    <a:pt x="35364" y="200295"/>
                  </a:lnTo>
                  <a:lnTo>
                    <a:pt x="36453" y="201837"/>
                  </a:lnTo>
                  <a:lnTo>
                    <a:pt x="36846" y="202805"/>
                  </a:lnTo>
                  <a:lnTo>
                    <a:pt x="37391" y="208251"/>
                  </a:lnTo>
                  <a:lnTo>
                    <a:pt x="38147" y="210157"/>
                  </a:lnTo>
                  <a:lnTo>
                    <a:pt x="42745" y="212516"/>
                  </a:lnTo>
                  <a:lnTo>
                    <a:pt x="47132" y="215541"/>
                  </a:lnTo>
                  <a:lnTo>
                    <a:pt x="47465" y="216026"/>
                  </a:lnTo>
                  <a:lnTo>
                    <a:pt x="48130" y="216993"/>
                  </a:lnTo>
                  <a:lnTo>
                    <a:pt x="48826" y="218627"/>
                  </a:lnTo>
                  <a:lnTo>
                    <a:pt x="49643" y="220109"/>
                  </a:lnTo>
                  <a:lnTo>
                    <a:pt x="50974" y="221047"/>
                  </a:lnTo>
                  <a:lnTo>
                    <a:pt x="55269" y="222802"/>
                  </a:lnTo>
                  <a:lnTo>
                    <a:pt x="56056" y="223346"/>
                  </a:lnTo>
                  <a:lnTo>
                    <a:pt x="55965" y="224980"/>
                  </a:lnTo>
                  <a:lnTo>
                    <a:pt x="55058" y="226977"/>
                  </a:lnTo>
                  <a:lnTo>
                    <a:pt x="52970" y="230395"/>
                  </a:lnTo>
                  <a:lnTo>
                    <a:pt x="49703" y="233964"/>
                  </a:lnTo>
                  <a:lnTo>
                    <a:pt x="49189" y="234751"/>
                  </a:lnTo>
                  <a:lnTo>
                    <a:pt x="49703" y="238563"/>
                  </a:lnTo>
                  <a:lnTo>
                    <a:pt x="50792" y="241195"/>
                  </a:lnTo>
                  <a:lnTo>
                    <a:pt x="50792" y="243252"/>
                  </a:lnTo>
                  <a:lnTo>
                    <a:pt x="48070" y="245369"/>
                  </a:lnTo>
                  <a:lnTo>
                    <a:pt x="46164" y="248606"/>
                  </a:lnTo>
                  <a:lnTo>
                    <a:pt x="45498" y="249242"/>
                  </a:lnTo>
                  <a:lnTo>
                    <a:pt x="44984" y="249060"/>
                  </a:lnTo>
                  <a:lnTo>
                    <a:pt x="43744" y="247668"/>
                  </a:lnTo>
                  <a:lnTo>
                    <a:pt x="42957" y="247366"/>
                  </a:lnTo>
                  <a:lnTo>
                    <a:pt x="39418" y="248273"/>
                  </a:lnTo>
                  <a:lnTo>
                    <a:pt x="35818" y="249786"/>
                  </a:lnTo>
                  <a:lnTo>
                    <a:pt x="34517" y="250905"/>
                  </a:lnTo>
                  <a:lnTo>
                    <a:pt x="32763" y="253719"/>
                  </a:lnTo>
                  <a:lnTo>
                    <a:pt x="31280" y="254929"/>
                  </a:lnTo>
                  <a:lnTo>
                    <a:pt x="30373" y="255140"/>
                  </a:lnTo>
                  <a:lnTo>
                    <a:pt x="28043" y="255140"/>
                  </a:lnTo>
                  <a:lnTo>
                    <a:pt x="27257" y="255503"/>
                  </a:lnTo>
                  <a:lnTo>
                    <a:pt x="26712" y="256623"/>
                  </a:lnTo>
                  <a:lnTo>
                    <a:pt x="27196" y="257319"/>
                  </a:lnTo>
                  <a:lnTo>
                    <a:pt x="27771" y="257924"/>
                  </a:lnTo>
                  <a:lnTo>
                    <a:pt x="27589" y="258741"/>
                  </a:lnTo>
                  <a:lnTo>
                    <a:pt x="24322" y="260193"/>
                  </a:lnTo>
                  <a:lnTo>
                    <a:pt x="20692" y="259013"/>
                  </a:lnTo>
                  <a:lnTo>
                    <a:pt x="17001" y="257167"/>
                  </a:lnTo>
                  <a:lnTo>
                    <a:pt x="13462" y="256623"/>
                  </a:lnTo>
                  <a:lnTo>
                    <a:pt x="12706" y="256986"/>
                  </a:lnTo>
                  <a:lnTo>
                    <a:pt x="10890" y="258287"/>
                  </a:lnTo>
                  <a:lnTo>
                    <a:pt x="10013" y="258741"/>
                  </a:lnTo>
                  <a:lnTo>
                    <a:pt x="9227" y="258861"/>
                  </a:lnTo>
                  <a:lnTo>
                    <a:pt x="7412" y="258801"/>
                  </a:lnTo>
                  <a:lnTo>
                    <a:pt x="6504" y="258952"/>
                  </a:lnTo>
                  <a:lnTo>
                    <a:pt x="3025" y="260797"/>
                  </a:lnTo>
                  <a:lnTo>
                    <a:pt x="2692" y="261070"/>
                  </a:lnTo>
                  <a:lnTo>
                    <a:pt x="1210" y="262219"/>
                  </a:lnTo>
                  <a:lnTo>
                    <a:pt x="0" y="263702"/>
                  </a:lnTo>
                  <a:lnTo>
                    <a:pt x="1755" y="266182"/>
                  </a:lnTo>
                  <a:lnTo>
                    <a:pt x="3388" y="267483"/>
                  </a:lnTo>
                  <a:lnTo>
                    <a:pt x="3540" y="268391"/>
                  </a:lnTo>
                  <a:lnTo>
                    <a:pt x="3418" y="269419"/>
                  </a:lnTo>
                  <a:lnTo>
                    <a:pt x="3691" y="270599"/>
                  </a:lnTo>
                  <a:lnTo>
                    <a:pt x="4901" y="272535"/>
                  </a:lnTo>
                  <a:lnTo>
                    <a:pt x="5959" y="273382"/>
                  </a:lnTo>
                  <a:lnTo>
                    <a:pt x="9469" y="273685"/>
                  </a:lnTo>
                  <a:lnTo>
                    <a:pt x="12131" y="275469"/>
                  </a:lnTo>
                  <a:lnTo>
                    <a:pt x="12766" y="279221"/>
                  </a:lnTo>
                  <a:lnTo>
                    <a:pt x="12554" y="286511"/>
                  </a:lnTo>
                  <a:lnTo>
                    <a:pt x="14309" y="289234"/>
                  </a:lnTo>
                  <a:lnTo>
                    <a:pt x="17607" y="291866"/>
                  </a:lnTo>
                  <a:lnTo>
                    <a:pt x="24534" y="295587"/>
                  </a:lnTo>
                  <a:lnTo>
                    <a:pt x="26440" y="296041"/>
                  </a:lnTo>
                  <a:lnTo>
                    <a:pt x="31401" y="295133"/>
                  </a:lnTo>
                  <a:lnTo>
                    <a:pt x="33156" y="295284"/>
                  </a:lnTo>
                  <a:lnTo>
                    <a:pt x="38208" y="297190"/>
                  </a:lnTo>
                  <a:lnTo>
                    <a:pt x="40023" y="299005"/>
                  </a:lnTo>
                  <a:lnTo>
                    <a:pt x="40446" y="299671"/>
                  </a:lnTo>
                  <a:lnTo>
                    <a:pt x="40658" y="300427"/>
                  </a:lnTo>
                  <a:lnTo>
                    <a:pt x="40658" y="300820"/>
                  </a:lnTo>
                  <a:lnTo>
                    <a:pt x="40537" y="301183"/>
                  </a:lnTo>
                  <a:lnTo>
                    <a:pt x="40537" y="301819"/>
                  </a:lnTo>
                  <a:lnTo>
                    <a:pt x="40355" y="301909"/>
                  </a:lnTo>
                  <a:lnTo>
                    <a:pt x="39872" y="303936"/>
                  </a:lnTo>
                  <a:lnTo>
                    <a:pt x="39781" y="304118"/>
                  </a:lnTo>
                  <a:lnTo>
                    <a:pt x="40930" y="306931"/>
                  </a:lnTo>
                  <a:lnTo>
                    <a:pt x="41475" y="310138"/>
                  </a:lnTo>
                  <a:lnTo>
                    <a:pt x="41838" y="311257"/>
                  </a:lnTo>
                  <a:lnTo>
                    <a:pt x="44893" y="316581"/>
                  </a:lnTo>
                  <a:lnTo>
                    <a:pt x="45468" y="318275"/>
                  </a:lnTo>
                  <a:lnTo>
                    <a:pt x="43683" y="318275"/>
                  </a:lnTo>
                  <a:lnTo>
                    <a:pt x="40053" y="317307"/>
                  </a:lnTo>
                  <a:lnTo>
                    <a:pt x="38208" y="317307"/>
                  </a:lnTo>
                  <a:lnTo>
                    <a:pt x="35908" y="318487"/>
                  </a:lnTo>
                  <a:lnTo>
                    <a:pt x="34063" y="320605"/>
                  </a:lnTo>
                  <a:lnTo>
                    <a:pt x="33337" y="323237"/>
                  </a:lnTo>
                  <a:lnTo>
                    <a:pt x="34487" y="325989"/>
                  </a:lnTo>
                  <a:lnTo>
                    <a:pt x="33065" y="326957"/>
                  </a:lnTo>
                  <a:lnTo>
                    <a:pt x="29616" y="332463"/>
                  </a:lnTo>
                  <a:lnTo>
                    <a:pt x="24504" y="336093"/>
                  </a:lnTo>
                  <a:lnTo>
                    <a:pt x="23445" y="337848"/>
                  </a:lnTo>
                  <a:lnTo>
                    <a:pt x="23747" y="341871"/>
                  </a:lnTo>
                  <a:lnTo>
                    <a:pt x="26016" y="345471"/>
                  </a:lnTo>
                  <a:lnTo>
                    <a:pt x="29072" y="348436"/>
                  </a:lnTo>
                  <a:lnTo>
                    <a:pt x="31703" y="350463"/>
                  </a:lnTo>
                  <a:lnTo>
                    <a:pt x="28315" y="352187"/>
                  </a:lnTo>
                  <a:lnTo>
                    <a:pt x="27589" y="353306"/>
                  </a:lnTo>
                  <a:lnTo>
                    <a:pt x="26742" y="357330"/>
                  </a:lnTo>
                  <a:lnTo>
                    <a:pt x="26500" y="358117"/>
                  </a:lnTo>
                  <a:lnTo>
                    <a:pt x="26500" y="358782"/>
                  </a:lnTo>
                  <a:lnTo>
                    <a:pt x="26863" y="359962"/>
                  </a:lnTo>
                  <a:lnTo>
                    <a:pt x="27287" y="360567"/>
                  </a:lnTo>
                  <a:lnTo>
                    <a:pt x="29495" y="362957"/>
                  </a:lnTo>
                  <a:lnTo>
                    <a:pt x="30282" y="364227"/>
                  </a:lnTo>
                  <a:lnTo>
                    <a:pt x="31462" y="366829"/>
                  </a:lnTo>
                  <a:lnTo>
                    <a:pt x="32036" y="367797"/>
                  </a:lnTo>
                  <a:lnTo>
                    <a:pt x="32944" y="368674"/>
                  </a:lnTo>
                  <a:lnTo>
                    <a:pt x="34941" y="370005"/>
                  </a:lnTo>
                  <a:lnTo>
                    <a:pt x="35878" y="371004"/>
                  </a:lnTo>
                  <a:lnTo>
                    <a:pt x="36514" y="372274"/>
                  </a:lnTo>
                  <a:lnTo>
                    <a:pt x="36846" y="373484"/>
                  </a:lnTo>
                  <a:lnTo>
                    <a:pt x="37300" y="374634"/>
                  </a:lnTo>
                  <a:lnTo>
                    <a:pt x="38238" y="375632"/>
                  </a:lnTo>
                  <a:lnTo>
                    <a:pt x="39569" y="376116"/>
                  </a:lnTo>
                  <a:lnTo>
                    <a:pt x="40779" y="375935"/>
                  </a:lnTo>
                  <a:lnTo>
                    <a:pt x="41989" y="375572"/>
                  </a:lnTo>
                  <a:lnTo>
                    <a:pt x="43320" y="375451"/>
                  </a:lnTo>
                  <a:lnTo>
                    <a:pt x="44591" y="375783"/>
                  </a:lnTo>
                  <a:lnTo>
                    <a:pt x="50490" y="378687"/>
                  </a:lnTo>
                  <a:lnTo>
                    <a:pt x="54513" y="380049"/>
                  </a:lnTo>
                  <a:lnTo>
                    <a:pt x="65222" y="386099"/>
                  </a:lnTo>
                  <a:lnTo>
                    <a:pt x="67098" y="386855"/>
                  </a:lnTo>
                  <a:lnTo>
                    <a:pt x="69730" y="387249"/>
                  </a:lnTo>
                  <a:lnTo>
                    <a:pt x="71061" y="387732"/>
                  </a:lnTo>
                  <a:lnTo>
                    <a:pt x="71756" y="388670"/>
                  </a:lnTo>
                  <a:lnTo>
                    <a:pt x="72301" y="389729"/>
                  </a:lnTo>
                  <a:lnTo>
                    <a:pt x="73239" y="390576"/>
                  </a:lnTo>
                  <a:lnTo>
                    <a:pt x="74207" y="390788"/>
                  </a:lnTo>
                  <a:lnTo>
                    <a:pt x="78260" y="390879"/>
                  </a:lnTo>
                  <a:lnTo>
                    <a:pt x="95746" y="386220"/>
                  </a:lnTo>
                  <a:lnTo>
                    <a:pt x="98650" y="386008"/>
                  </a:lnTo>
                  <a:lnTo>
                    <a:pt x="102794" y="383497"/>
                  </a:lnTo>
                  <a:lnTo>
                    <a:pt x="105910" y="384012"/>
                  </a:lnTo>
                  <a:lnTo>
                    <a:pt x="104519" y="388217"/>
                  </a:lnTo>
                  <a:lnTo>
                    <a:pt x="105759" y="390607"/>
                  </a:lnTo>
                  <a:lnTo>
                    <a:pt x="107968" y="392663"/>
                  </a:lnTo>
                  <a:lnTo>
                    <a:pt x="109147" y="394993"/>
                  </a:lnTo>
                  <a:lnTo>
                    <a:pt x="109541" y="395779"/>
                  </a:lnTo>
                  <a:lnTo>
                    <a:pt x="109329" y="398018"/>
                  </a:lnTo>
                  <a:lnTo>
                    <a:pt x="108209" y="399410"/>
                  </a:lnTo>
                  <a:lnTo>
                    <a:pt x="106757" y="400438"/>
                  </a:lnTo>
                  <a:lnTo>
                    <a:pt x="105668" y="401588"/>
                  </a:lnTo>
                  <a:lnTo>
                    <a:pt x="105033" y="403161"/>
                  </a:lnTo>
                  <a:lnTo>
                    <a:pt x="104186" y="406035"/>
                  </a:lnTo>
                  <a:lnTo>
                    <a:pt x="103400" y="407517"/>
                  </a:lnTo>
                  <a:lnTo>
                    <a:pt x="101161" y="409816"/>
                  </a:lnTo>
                  <a:lnTo>
                    <a:pt x="95957" y="413839"/>
                  </a:lnTo>
                  <a:lnTo>
                    <a:pt x="93931" y="416834"/>
                  </a:lnTo>
                  <a:lnTo>
                    <a:pt x="89574" y="421251"/>
                  </a:lnTo>
                  <a:lnTo>
                    <a:pt x="88001" y="423913"/>
                  </a:lnTo>
                  <a:lnTo>
                    <a:pt x="88485" y="427150"/>
                  </a:lnTo>
                  <a:lnTo>
                    <a:pt x="90452" y="433291"/>
                  </a:lnTo>
                  <a:lnTo>
                    <a:pt x="91511" y="433291"/>
                  </a:lnTo>
                  <a:lnTo>
                    <a:pt x="92539" y="433685"/>
                  </a:lnTo>
                  <a:lnTo>
                    <a:pt x="93326" y="434289"/>
                  </a:lnTo>
                  <a:lnTo>
                    <a:pt x="94627" y="434289"/>
                  </a:lnTo>
                  <a:lnTo>
                    <a:pt x="97440" y="433412"/>
                  </a:lnTo>
                  <a:lnTo>
                    <a:pt x="109813" y="433412"/>
                  </a:lnTo>
                  <a:lnTo>
                    <a:pt x="114018" y="432535"/>
                  </a:lnTo>
                  <a:lnTo>
                    <a:pt x="118979" y="429510"/>
                  </a:lnTo>
                  <a:lnTo>
                    <a:pt x="136494" y="425577"/>
                  </a:lnTo>
                  <a:lnTo>
                    <a:pt x="143725" y="421130"/>
                  </a:lnTo>
                  <a:lnTo>
                    <a:pt x="146175" y="420556"/>
                  </a:lnTo>
                  <a:lnTo>
                    <a:pt x="147385" y="419981"/>
                  </a:lnTo>
                  <a:lnTo>
                    <a:pt x="147930" y="418982"/>
                  </a:lnTo>
                  <a:lnTo>
                    <a:pt x="148171" y="418317"/>
                  </a:lnTo>
                  <a:lnTo>
                    <a:pt x="148777" y="417621"/>
                  </a:lnTo>
                  <a:lnTo>
                    <a:pt x="149563" y="417016"/>
                  </a:lnTo>
                  <a:lnTo>
                    <a:pt x="152195" y="416018"/>
                  </a:lnTo>
                  <a:lnTo>
                    <a:pt x="155160" y="412841"/>
                  </a:lnTo>
                  <a:lnTo>
                    <a:pt x="157489" y="412327"/>
                  </a:lnTo>
                  <a:lnTo>
                    <a:pt x="157489" y="411540"/>
                  </a:lnTo>
                  <a:lnTo>
                    <a:pt x="155946" y="408908"/>
                  </a:lnTo>
                  <a:lnTo>
                    <a:pt x="157610" y="405883"/>
                  </a:lnTo>
                  <a:lnTo>
                    <a:pt x="162360" y="400952"/>
                  </a:lnTo>
                  <a:lnTo>
                    <a:pt x="163116" y="399410"/>
                  </a:lnTo>
                  <a:lnTo>
                    <a:pt x="163751" y="397443"/>
                  </a:lnTo>
                  <a:lnTo>
                    <a:pt x="163872" y="396445"/>
                  </a:lnTo>
                  <a:lnTo>
                    <a:pt x="163751" y="394388"/>
                  </a:lnTo>
                  <a:lnTo>
                    <a:pt x="164053" y="393450"/>
                  </a:lnTo>
                  <a:lnTo>
                    <a:pt x="166413" y="390274"/>
                  </a:lnTo>
                  <a:lnTo>
                    <a:pt x="167714" y="388912"/>
                  </a:lnTo>
                  <a:lnTo>
                    <a:pt x="169227" y="387702"/>
                  </a:lnTo>
                  <a:lnTo>
                    <a:pt x="172131" y="386129"/>
                  </a:lnTo>
                  <a:lnTo>
                    <a:pt x="177757" y="384465"/>
                  </a:lnTo>
                  <a:lnTo>
                    <a:pt x="180298" y="383316"/>
                  </a:lnTo>
                  <a:lnTo>
                    <a:pt x="181690" y="381894"/>
                  </a:lnTo>
                  <a:lnTo>
                    <a:pt x="181690" y="380533"/>
                  </a:lnTo>
                  <a:lnTo>
                    <a:pt x="181509" y="379111"/>
                  </a:lnTo>
                  <a:lnTo>
                    <a:pt x="182053" y="377568"/>
                  </a:lnTo>
                  <a:lnTo>
                    <a:pt x="182598" y="377084"/>
                  </a:lnTo>
                  <a:lnTo>
                    <a:pt x="184110" y="376146"/>
                  </a:lnTo>
                  <a:lnTo>
                    <a:pt x="184413" y="375844"/>
                  </a:lnTo>
                  <a:lnTo>
                    <a:pt x="184534" y="374906"/>
                  </a:lnTo>
                  <a:lnTo>
                    <a:pt x="184836" y="374180"/>
                  </a:lnTo>
                  <a:lnTo>
                    <a:pt x="185865" y="372728"/>
                  </a:lnTo>
                  <a:lnTo>
                    <a:pt x="185351" y="370217"/>
                  </a:lnTo>
                  <a:lnTo>
                    <a:pt x="187529" y="367585"/>
                  </a:lnTo>
                  <a:lnTo>
                    <a:pt x="195001" y="362987"/>
                  </a:lnTo>
                  <a:lnTo>
                    <a:pt x="197451" y="360748"/>
                  </a:lnTo>
                  <a:lnTo>
                    <a:pt x="198631" y="360325"/>
                  </a:lnTo>
                  <a:lnTo>
                    <a:pt x="200355" y="360022"/>
                  </a:lnTo>
                  <a:lnTo>
                    <a:pt x="206527" y="355908"/>
                  </a:lnTo>
                  <a:lnTo>
                    <a:pt x="207313" y="355787"/>
                  </a:lnTo>
                  <a:lnTo>
                    <a:pt x="208130" y="355908"/>
                  </a:lnTo>
                  <a:lnTo>
                    <a:pt x="208917" y="355908"/>
                  </a:lnTo>
                  <a:lnTo>
                    <a:pt x="209612" y="355454"/>
                  </a:lnTo>
                  <a:lnTo>
                    <a:pt x="210671" y="354335"/>
                  </a:lnTo>
                  <a:lnTo>
                    <a:pt x="213575" y="352096"/>
                  </a:lnTo>
                  <a:lnTo>
                    <a:pt x="214815" y="351461"/>
                  </a:lnTo>
                  <a:lnTo>
                    <a:pt x="217356" y="351037"/>
                  </a:lnTo>
                  <a:lnTo>
                    <a:pt x="223861" y="351522"/>
                  </a:lnTo>
                  <a:lnTo>
                    <a:pt x="224950" y="352974"/>
                  </a:lnTo>
                  <a:lnTo>
                    <a:pt x="225706" y="353458"/>
                  </a:lnTo>
                  <a:lnTo>
                    <a:pt x="228035" y="353942"/>
                  </a:lnTo>
                  <a:lnTo>
                    <a:pt x="232664" y="354063"/>
                  </a:lnTo>
                  <a:lnTo>
                    <a:pt x="233572" y="353730"/>
                  </a:lnTo>
                  <a:lnTo>
                    <a:pt x="236506" y="355242"/>
                  </a:lnTo>
                  <a:lnTo>
                    <a:pt x="241376" y="356876"/>
                  </a:lnTo>
                  <a:lnTo>
                    <a:pt x="251510" y="358600"/>
                  </a:lnTo>
                  <a:lnTo>
                    <a:pt x="254324" y="359962"/>
                  </a:lnTo>
                  <a:lnTo>
                    <a:pt x="256200" y="362987"/>
                  </a:lnTo>
                  <a:lnTo>
                    <a:pt x="255988" y="364469"/>
                  </a:lnTo>
                  <a:lnTo>
                    <a:pt x="257833" y="365800"/>
                  </a:lnTo>
                  <a:lnTo>
                    <a:pt x="262431" y="367464"/>
                  </a:lnTo>
                  <a:lnTo>
                    <a:pt x="262340" y="365467"/>
                  </a:lnTo>
                  <a:lnTo>
                    <a:pt x="262734" y="363834"/>
                  </a:lnTo>
                  <a:lnTo>
                    <a:pt x="263460" y="362473"/>
                  </a:lnTo>
                  <a:lnTo>
                    <a:pt x="264428" y="361232"/>
                  </a:lnTo>
                  <a:lnTo>
                    <a:pt x="267665" y="363471"/>
                  </a:lnTo>
                  <a:lnTo>
                    <a:pt x="278222" y="368886"/>
                  </a:lnTo>
                  <a:lnTo>
                    <a:pt x="278918" y="371820"/>
                  </a:lnTo>
                  <a:lnTo>
                    <a:pt x="283728" y="373756"/>
                  </a:lnTo>
                  <a:lnTo>
                    <a:pt x="284424" y="374997"/>
                  </a:lnTo>
                  <a:lnTo>
                    <a:pt x="285180" y="375995"/>
                  </a:lnTo>
                  <a:lnTo>
                    <a:pt x="286904" y="376237"/>
                  </a:lnTo>
                  <a:lnTo>
                    <a:pt x="288780" y="375965"/>
                  </a:lnTo>
                  <a:lnTo>
                    <a:pt x="289960" y="375451"/>
                  </a:lnTo>
                  <a:lnTo>
                    <a:pt x="290505" y="377114"/>
                  </a:lnTo>
                  <a:lnTo>
                    <a:pt x="291442" y="378264"/>
                  </a:lnTo>
                  <a:lnTo>
                    <a:pt x="292683" y="379111"/>
                  </a:lnTo>
                  <a:lnTo>
                    <a:pt x="297251" y="381047"/>
                  </a:lnTo>
                  <a:lnTo>
                    <a:pt x="298915" y="382136"/>
                  </a:lnTo>
                  <a:lnTo>
                    <a:pt x="299610" y="383770"/>
                  </a:lnTo>
                  <a:lnTo>
                    <a:pt x="300245" y="383921"/>
                  </a:lnTo>
                  <a:lnTo>
                    <a:pt x="303755" y="387702"/>
                  </a:lnTo>
                  <a:lnTo>
                    <a:pt x="304753" y="388186"/>
                  </a:lnTo>
                  <a:lnTo>
                    <a:pt x="305993" y="388459"/>
                  </a:lnTo>
                  <a:lnTo>
                    <a:pt x="308928" y="388640"/>
                  </a:lnTo>
                  <a:lnTo>
                    <a:pt x="309926" y="389185"/>
                  </a:lnTo>
                  <a:lnTo>
                    <a:pt x="312648" y="391605"/>
                  </a:lnTo>
                  <a:lnTo>
                    <a:pt x="313768" y="392149"/>
                  </a:lnTo>
                  <a:lnTo>
                    <a:pt x="318880" y="396536"/>
                  </a:lnTo>
                  <a:lnTo>
                    <a:pt x="323721" y="398593"/>
                  </a:lnTo>
                  <a:lnTo>
                    <a:pt x="324386" y="399621"/>
                  </a:lnTo>
                  <a:lnTo>
                    <a:pt x="324991" y="401316"/>
                  </a:lnTo>
                  <a:lnTo>
                    <a:pt x="326020" y="401467"/>
                  </a:lnTo>
                  <a:lnTo>
                    <a:pt x="326413" y="400832"/>
                  </a:lnTo>
                  <a:lnTo>
                    <a:pt x="325112" y="400075"/>
                  </a:lnTo>
                  <a:lnTo>
                    <a:pt x="325657" y="399016"/>
                  </a:lnTo>
                  <a:lnTo>
                    <a:pt x="325929" y="398623"/>
                  </a:lnTo>
                  <a:lnTo>
                    <a:pt x="326534" y="398260"/>
                  </a:lnTo>
                  <a:lnTo>
                    <a:pt x="326534" y="397474"/>
                  </a:lnTo>
                  <a:lnTo>
                    <a:pt x="325596" y="397171"/>
                  </a:lnTo>
                  <a:lnTo>
                    <a:pt x="324840" y="396657"/>
                  </a:lnTo>
                  <a:lnTo>
                    <a:pt x="324235" y="395901"/>
                  </a:lnTo>
                  <a:lnTo>
                    <a:pt x="323751" y="394872"/>
                  </a:lnTo>
                  <a:lnTo>
                    <a:pt x="324205" y="394600"/>
                  </a:lnTo>
                  <a:lnTo>
                    <a:pt x="324659" y="394206"/>
                  </a:lnTo>
                  <a:lnTo>
                    <a:pt x="325142" y="393995"/>
                  </a:lnTo>
                  <a:lnTo>
                    <a:pt x="324447" y="393057"/>
                  </a:lnTo>
                  <a:lnTo>
                    <a:pt x="326292" y="392875"/>
                  </a:lnTo>
                  <a:lnTo>
                    <a:pt x="329529" y="395538"/>
                  </a:lnTo>
                  <a:lnTo>
                    <a:pt x="330648" y="394872"/>
                  </a:lnTo>
                  <a:lnTo>
                    <a:pt x="332282" y="396536"/>
                  </a:lnTo>
                  <a:lnTo>
                    <a:pt x="335670" y="399047"/>
                  </a:lnTo>
                  <a:lnTo>
                    <a:pt x="337273" y="400559"/>
                  </a:lnTo>
                  <a:lnTo>
                    <a:pt x="338181" y="401073"/>
                  </a:lnTo>
                  <a:lnTo>
                    <a:pt x="339179" y="400922"/>
                  </a:lnTo>
                  <a:lnTo>
                    <a:pt x="339996" y="400378"/>
                  </a:lnTo>
                  <a:lnTo>
                    <a:pt x="340359" y="399652"/>
                  </a:lnTo>
                  <a:lnTo>
                    <a:pt x="340782" y="399107"/>
                  </a:lnTo>
                  <a:lnTo>
                    <a:pt x="341781" y="399319"/>
                  </a:lnTo>
                  <a:lnTo>
                    <a:pt x="343414" y="400075"/>
                  </a:lnTo>
                  <a:lnTo>
                    <a:pt x="345472" y="400620"/>
                  </a:lnTo>
                  <a:lnTo>
                    <a:pt x="349162" y="402979"/>
                  </a:lnTo>
                  <a:lnTo>
                    <a:pt x="351038" y="403494"/>
                  </a:lnTo>
                  <a:lnTo>
                    <a:pt x="352581" y="404613"/>
                  </a:lnTo>
                  <a:lnTo>
                    <a:pt x="355666" y="409483"/>
                  </a:lnTo>
                  <a:lnTo>
                    <a:pt x="360113" y="412478"/>
                  </a:lnTo>
                  <a:lnTo>
                    <a:pt x="363078" y="416955"/>
                  </a:lnTo>
                  <a:lnTo>
                    <a:pt x="367252" y="426394"/>
                  </a:lnTo>
                  <a:lnTo>
                    <a:pt x="368493" y="431144"/>
                  </a:lnTo>
                  <a:lnTo>
                    <a:pt x="371609" y="461879"/>
                  </a:lnTo>
                  <a:lnTo>
                    <a:pt x="373877" y="471529"/>
                  </a:lnTo>
                  <a:lnTo>
                    <a:pt x="374785" y="473556"/>
                  </a:lnTo>
                  <a:lnTo>
                    <a:pt x="378082" y="475038"/>
                  </a:lnTo>
                  <a:lnTo>
                    <a:pt x="379504" y="476581"/>
                  </a:lnTo>
                  <a:lnTo>
                    <a:pt x="385918" y="484779"/>
                  </a:lnTo>
                  <a:lnTo>
                    <a:pt x="393964" y="500238"/>
                  </a:lnTo>
                  <a:lnTo>
                    <a:pt x="395114" y="502779"/>
                  </a:lnTo>
                  <a:lnTo>
                    <a:pt x="395568" y="505380"/>
                  </a:lnTo>
                  <a:lnTo>
                    <a:pt x="395719" y="510554"/>
                  </a:lnTo>
                  <a:lnTo>
                    <a:pt x="396112" y="513216"/>
                  </a:lnTo>
                  <a:lnTo>
                    <a:pt x="396929" y="515394"/>
                  </a:lnTo>
                  <a:lnTo>
                    <a:pt x="396203" y="517027"/>
                  </a:lnTo>
                  <a:lnTo>
                    <a:pt x="395840" y="519750"/>
                  </a:lnTo>
                  <a:lnTo>
                    <a:pt x="395840" y="522442"/>
                  </a:lnTo>
                  <a:lnTo>
                    <a:pt x="396173" y="523955"/>
                  </a:lnTo>
                  <a:lnTo>
                    <a:pt x="393964" y="530973"/>
                  </a:lnTo>
                  <a:lnTo>
                    <a:pt x="392512" y="533272"/>
                  </a:lnTo>
                  <a:lnTo>
                    <a:pt x="390002" y="535238"/>
                  </a:lnTo>
                  <a:lnTo>
                    <a:pt x="392210" y="541501"/>
                  </a:lnTo>
                  <a:lnTo>
                    <a:pt x="394116" y="543407"/>
                  </a:lnTo>
                  <a:lnTo>
                    <a:pt x="396929" y="542227"/>
                  </a:lnTo>
                  <a:lnTo>
                    <a:pt x="396626" y="541712"/>
                  </a:lnTo>
                  <a:lnTo>
                    <a:pt x="396173" y="540412"/>
                  </a:lnTo>
                  <a:lnTo>
                    <a:pt x="400620" y="539080"/>
                  </a:lnTo>
                  <a:lnTo>
                    <a:pt x="405581" y="539232"/>
                  </a:lnTo>
                  <a:lnTo>
                    <a:pt x="410512" y="540442"/>
                  </a:lnTo>
                  <a:lnTo>
                    <a:pt x="417500" y="543437"/>
                  </a:lnTo>
                  <a:lnTo>
                    <a:pt x="418801" y="544314"/>
                  </a:lnTo>
                  <a:lnTo>
                    <a:pt x="419739" y="545585"/>
                  </a:lnTo>
                  <a:lnTo>
                    <a:pt x="420192" y="547279"/>
                  </a:lnTo>
                  <a:lnTo>
                    <a:pt x="419890" y="548095"/>
                  </a:lnTo>
                  <a:lnTo>
                    <a:pt x="419315" y="548640"/>
                  </a:lnTo>
                  <a:lnTo>
                    <a:pt x="419013" y="549517"/>
                  </a:lnTo>
                  <a:lnTo>
                    <a:pt x="419073" y="552391"/>
                  </a:lnTo>
                  <a:lnTo>
                    <a:pt x="418922" y="554781"/>
                  </a:lnTo>
                  <a:lnTo>
                    <a:pt x="417954" y="556808"/>
                  </a:lnTo>
                  <a:lnTo>
                    <a:pt x="415534" y="558653"/>
                  </a:lnTo>
                  <a:lnTo>
                    <a:pt x="431597" y="563735"/>
                  </a:lnTo>
                  <a:lnTo>
                    <a:pt x="436891" y="566367"/>
                  </a:lnTo>
                  <a:lnTo>
                    <a:pt x="439795" y="569241"/>
                  </a:lnTo>
                  <a:lnTo>
                    <a:pt x="440703" y="569725"/>
                  </a:lnTo>
                  <a:lnTo>
                    <a:pt x="441580" y="570481"/>
                  </a:lnTo>
                  <a:lnTo>
                    <a:pt x="442155" y="572266"/>
                  </a:lnTo>
                  <a:lnTo>
                    <a:pt x="442609" y="574293"/>
                  </a:lnTo>
                  <a:lnTo>
                    <a:pt x="443153" y="575806"/>
                  </a:lnTo>
                  <a:lnTo>
                    <a:pt x="447963" y="578438"/>
                  </a:lnTo>
                  <a:lnTo>
                    <a:pt x="450414" y="580283"/>
                  </a:lnTo>
                  <a:lnTo>
                    <a:pt x="450716" y="582733"/>
                  </a:lnTo>
                  <a:lnTo>
                    <a:pt x="452380" y="583459"/>
                  </a:lnTo>
                  <a:lnTo>
                    <a:pt x="453378" y="585456"/>
                  </a:lnTo>
                  <a:lnTo>
                    <a:pt x="454256" y="587815"/>
                  </a:lnTo>
                  <a:lnTo>
                    <a:pt x="455526" y="589540"/>
                  </a:lnTo>
                  <a:lnTo>
                    <a:pt x="456403" y="589449"/>
                  </a:lnTo>
                  <a:lnTo>
                    <a:pt x="457553" y="588904"/>
                  </a:lnTo>
                  <a:lnTo>
                    <a:pt x="458521" y="588814"/>
                  </a:lnTo>
                  <a:lnTo>
                    <a:pt x="459277" y="591053"/>
                  </a:lnTo>
                  <a:lnTo>
                    <a:pt x="461365" y="594229"/>
                  </a:lnTo>
                  <a:lnTo>
                    <a:pt x="461577" y="596256"/>
                  </a:lnTo>
                  <a:lnTo>
                    <a:pt x="461516" y="599311"/>
                  </a:lnTo>
                  <a:lnTo>
                    <a:pt x="460639" y="602276"/>
                  </a:lnTo>
                  <a:lnTo>
                    <a:pt x="459096" y="604363"/>
                  </a:lnTo>
                  <a:lnTo>
                    <a:pt x="456827" y="604484"/>
                  </a:lnTo>
                  <a:lnTo>
                    <a:pt x="453923" y="603546"/>
                  </a:lnTo>
                  <a:lnTo>
                    <a:pt x="452501" y="603970"/>
                  </a:lnTo>
                  <a:lnTo>
                    <a:pt x="451291" y="605634"/>
                  </a:lnTo>
                  <a:lnTo>
                    <a:pt x="451291" y="607025"/>
                  </a:lnTo>
                  <a:lnTo>
                    <a:pt x="452047" y="608961"/>
                  </a:lnTo>
                  <a:lnTo>
                    <a:pt x="453257" y="610383"/>
                  </a:lnTo>
                  <a:lnTo>
                    <a:pt x="456071" y="611260"/>
                  </a:lnTo>
                  <a:lnTo>
                    <a:pt x="457402" y="612864"/>
                  </a:lnTo>
                  <a:lnTo>
                    <a:pt x="458218" y="613499"/>
                  </a:lnTo>
                  <a:lnTo>
                    <a:pt x="458370" y="613318"/>
                  </a:lnTo>
                  <a:lnTo>
                    <a:pt x="459096" y="613106"/>
                  </a:lnTo>
                  <a:lnTo>
                    <a:pt x="460094" y="613106"/>
                  </a:lnTo>
                  <a:lnTo>
                    <a:pt x="461032" y="613499"/>
                  </a:lnTo>
                  <a:lnTo>
                    <a:pt x="461274" y="611866"/>
                  </a:lnTo>
                  <a:lnTo>
                    <a:pt x="462756" y="609839"/>
                  </a:lnTo>
                  <a:lnTo>
                    <a:pt x="463089" y="607902"/>
                  </a:lnTo>
                  <a:lnTo>
                    <a:pt x="463785" y="606904"/>
                  </a:lnTo>
                  <a:lnTo>
                    <a:pt x="465388" y="606481"/>
                  </a:lnTo>
                  <a:lnTo>
                    <a:pt x="467234" y="606481"/>
                  </a:lnTo>
                  <a:lnTo>
                    <a:pt x="468564" y="606662"/>
                  </a:lnTo>
                  <a:lnTo>
                    <a:pt x="476006" y="609203"/>
                  </a:lnTo>
                  <a:lnTo>
                    <a:pt x="478911" y="609203"/>
                  </a:lnTo>
                  <a:lnTo>
                    <a:pt x="478185" y="608356"/>
                  </a:lnTo>
                  <a:lnTo>
                    <a:pt x="479304" y="608265"/>
                  </a:lnTo>
                  <a:lnTo>
                    <a:pt x="480393" y="608387"/>
                  </a:lnTo>
                  <a:lnTo>
                    <a:pt x="481421" y="608719"/>
                  </a:lnTo>
                  <a:lnTo>
                    <a:pt x="482359" y="609203"/>
                  </a:lnTo>
                  <a:lnTo>
                    <a:pt x="482359" y="610141"/>
                  </a:lnTo>
                  <a:lnTo>
                    <a:pt x="484840" y="610928"/>
                  </a:lnTo>
                  <a:lnTo>
                    <a:pt x="491737" y="614316"/>
                  </a:lnTo>
                  <a:lnTo>
                    <a:pt x="496759" y="615647"/>
                  </a:lnTo>
                  <a:lnTo>
                    <a:pt x="508738" y="624329"/>
                  </a:lnTo>
                  <a:lnTo>
                    <a:pt x="511128" y="627717"/>
                  </a:lnTo>
                  <a:lnTo>
                    <a:pt x="516574" y="638093"/>
                  </a:lnTo>
                  <a:lnTo>
                    <a:pt x="517239" y="640151"/>
                  </a:lnTo>
                  <a:lnTo>
                    <a:pt x="517511" y="642117"/>
                  </a:lnTo>
                  <a:lnTo>
                    <a:pt x="517965" y="643206"/>
                  </a:lnTo>
                  <a:lnTo>
                    <a:pt x="520174" y="645898"/>
                  </a:lnTo>
                  <a:lnTo>
                    <a:pt x="520960" y="647623"/>
                  </a:lnTo>
                  <a:lnTo>
                    <a:pt x="522352" y="648621"/>
                  </a:lnTo>
                  <a:lnTo>
                    <a:pt x="523925" y="650860"/>
                  </a:lnTo>
                  <a:lnTo>
                    <a:pt x="525225" y="653310"/>
                  </a:lnTo>
                  <a:lnTo>
                    <a:pt x="525770" y="654883"/>
                  </a:lnTo>
                  <a:lnTo>
                    <a:pt x="526980" y="654611"/>
                  </a:lnTo>
                  <a:lnTo>
                    <a:pt x="534755" y="654429"/>
                  </a:lnTo>
                  <a:lnTo>
                    <a:pt x="536539" y="655216"/>
                  </a:lnTo>
                  <a:lnTo>
                    <a:pt x="538355" y="656365"/>
                  </a:lnTo>
                  <a:lnTo>
                    <a:pt x="539988" y="657697"/>
                  </a:lnTo>
                  <a:lnTo>
                    <a:pt x="541319" y="659149"/>
                  </a:lnTo>
                  <a:lnTo>
                    <a:pt x="542318" y="659572"/>
                  </a:lnTo>
                  <a:lnTo>
                    <a:pt x="545161" y="659965"/>
                  </a:lnTo>
                  <a:lnTo>
                    <a:pt x="545736" y="660873"/>
                  </a:lnTo>
                  <a:lnTo>
                    <a:pt x="546099" y="662476"/>
                  </a:lnTo>
                  <a:lnTo>
                    <a:pt x="547007" y="663414"/>
                  </a:lnTo>
                  <a:lnTo>
                    <a:pt x="548126" y="664049"/>
                  </a:lnTo>
                  <a:lnTo>
                    <a:pt x="557927" y="671098"/>
                  </a:lnTo>
                  <a:lnTo>
                    <a:pt x="560196" y="674032"/>
                  </a:lnTo>
                  <a:lnTo>
                    <a:pt x="562646" y="678025"/>
                  </a:lnTo>
                  <a:lnTo>
                    <a:pt x="563796" y="680506"/>
                  </a:lnTo>
                  <a:lnTo>
                    <a:pt x="564280" y="682896"/>
                  </a:lnTo>
                  <a:lnTo>
                    <a:pt x="564341" y="685437"/>
                  </a:lnTo>
                  <a:lnTo>
                    <a:pt x="564673" y="687827"/>
                  </a:lnTo>
                  <a:lnTo>
                    <a:pt x="565520" y="689975"/>
                  </a:lnTo>
                  <a:lnTo>
                    <a:pt x="567094" y="691759"/>
                  </a:lnTo>
                  <a:lnTo>
                    <a:pt x="567880" y="692062"/>
                  </a:lnTo>
                  <a:lnTo>
                    <a:pt x="570875" y="692576"/>
                  </a:lnTo>
                  <a:lnTo>
                    <a:pt x="571722" y="692879"/>
                  </a:lnTo>
                  <a:lnTo>
                    <a:pt x="573295" y="694058"/>
                  </a:lnTo>
                  <a:lnTo>
                    <a:pt x="575957" y="694815"/>
                  </a:lnTo>
                  <a:lnTo>
                    <a:pt x="577530" y="695934"/>
                  </a:lnTo>
                  <a:lnTo>
                    <a:pt x="588118" y="704768"/>
                  </a:lnTo>
                  <a:lnTo>
                    <a:pt x="597920" y="715446"/>
                  </a:lnTo>
                  <a:lnTo>
                    <a:pt x="605361" y="725913"/>
                  </a:lnTo>
                  <a:lnTo>
                    <a:pt x="606965" y="727365"/>
                  </a:lnTo>
                  <a:lnTo>
                    <a:pt x="607691" y="726034"/>
                  </a:lnTo>
                  <a:lnTo>
                    <a:pt x="608871" y="725127"/>
                  </a:lnTo>
                  <a:lnTo>
                    <a:pt x="611321" y="726095"/>
                  </a:lnTo>
                  <a:lnTo>
                    <a:pt x="618370" y="730300"/>
                  </a:lnTo>
                  <a:lnTo>
                    <a:pt x="619822" y="730602"/>
                  </a:lnTo>
                  <a:lnTo>
                    <a:pt x="627748" y="730965"/>
                  </a:lnTo>
                  <a:lnTo>
                    <a:pt x="629805" y="731570"/>
                  </a:lnTo>
                  <a:lnTo>
                    <a:pt x="632981" y="733295"/>
                  </a:lnTo>
                  <a:lnTo>
                    <a:pt x="636006" y="735684"/>
                  </a:lnTo>
                  <a:lnTo>
                    <a:pt x="641603" y="741674"/>
                  </a:lnTo>
                  <a:lnTo>
                    <a:pt x="642934" y="743550"/>
                  </a:lnTo>
                  <a:lnTo>
                    <a:pt x="644870" y="747120"/>
                  </a:lnTo>
                  <a:lnTo>
                    <a:pt x="646050" y="748723"/>
                  </a:lnTo>
                  <a:lnTo>
                    <a:pt x="647018" y="750780"/>
                  </a:lnTo>
                  <a:lnTo>
                    <a:pt x="647350" y="752807"/>
                  </a:lnTo>
                  <a:lnTo>
                    <a:pt x="648137" y="754380"/>
                  </a:lnTo>
                  <a:lnTo>
                    <a:pt x="650527" y="755106"/>
                  </a:lnTo>
                  <a:lnTo>
                    <a:pt x="652766" y="754501"/>
                  </a:lnTo>
                  <a:lnTo>
                    <a:pt x="655186" y="751536"/>
                  </a:lnTo>
                  <a:lnTo>
                    <a:pt x="658876" y="750387"/>
                  </a:lnTo>
                  <a:lnTo>
                    <a:pt x="662476" y="748178"/>
                  </a:lnTo>
                  <a:lnTo>
                    <a:pt x="664261" y="747483"/>
                  </a:lnTo>
                  <a:lnTo>
                    <a:pt x="672429" y="746000"/>
                  </a:lnTo>
                  <a:lnTo>
                    <a:pt x="676301" y="746091"/>
                  </a:lnTo>
                  <a:lnTo>
                    <a:pt x="691971" y="752928"/>
                  </a:lnTo>
                  <a:lnTo>
                    <a:pt x="693938" y="755076"/>
                  </a:lnTo>
                  <a:lnTo>
                    <a:pt x="694664" y="755076"/>
                  </a:lnTo>
                  <a:lnTo>
                    <a:pt x="695390" y="754108"/>
                  </a:lnTo>
                  <a:lnTo>
                    <a:pt x="695904" y="754652"/>
                  </a:lnTo>
                  <a:lnTo>
                    <a:pt x="696479" y="755862"/>
                  </a:lnTo>
                  <a:lnTo>
                    <a:pt x="697417" y="756770"/>
                  </a:lnTo>
                  <a:lnTo>
                    <a:pt x="698385" y="756951"/>
                  </a:lnTo>
                  <a:lnTo>
                    <a:pt x="701561" y="756770"/>
                  </a:lnTo>
                  <a:lnTo>
                    <a:pt x="700381" y="753109"/>
                  </a:lnTo>
                  <a:lnTo>
                    <a:pt x="703497" y="751264"/>
                  </a:lnTo>
                  <a:lnTo>
                    <a:pt x="709759" y="750477"/>
                  </a:lnTo>
                  <a:lnTo>
                    <a:pt x="710455" y="751566"/>
                  </a:lnTo>
                  <a:lnTo>
                    <a:pt x="711998" y="751566"/>
                  </a:lnTo>
                  <a:lnTo>
                    <a:pt x="714993" y="750871"/>
                  </a:lnTo>
                  <a:lnTo>
                    <a:pt x="716354" y="751355"/>
                  </a:lnTo>
                  <a:lnTo>
                    <a:pt x="723252" y="757072"/>
                  </a:lnTo>
                  <a:lnTo>
                    <a:pt x="729423" y="764242"/>
                  </a:lnTo>
                  <a:lnTo>
                    <a:pt x="732690" y="769445"/>
                  </a:lnTo>
                  <a:lnTo>
                    <a:pt x="735352" y="774346"/>
                  </a:lnTo>
                  <a:lnTo>
                    <a:pt x="735564" y="775586"/>
                  </a:lnTo>
                  <a:lnTo>
                    <a:pt x="735745" y="778188"/>
                  </a:lnTo>
                  <a:lnTo>
                    <a:pt x="736078" y="779337"/>
                  </a:lnTo>
                  <a:lnTo>
                    <a:pt x="737288" y="780517"/>
                  </a:lnTo>
                  <a:lnTo>
                    <a:pt x="740827" y="782665"/>
                  </a:lnTo>
                  <a:lnTo>
                    <a:pt x="746454" y="791771"/>
                  </a:lnTo>
                  <a:lnTo>
                    <a:pt x="748784" y="797579"/>
                  </a:lnTo>
                  <a:lnTo>
                    <a:pt x="749570" y="802026"/>
                  </a:lnTo>
                  <a:lnTo>
                    <a:pt x="748451" y="807048"/>
                  </a:lnTo>
                  <a:lnTo>
                    <a:pt x="749116" y="807895"/>
                  </a:lnTo>
                  <a:lnTo>
                    <a:pt x="751900" y="808288"/>
                  </a:lnTo>
                  <a:lnTo>
                    <a:pt x="752626" y="808621"/>
                  </a:lnTo>
                  <a:lnTo>
                    <a:pt x="752504" y="806987"/>
                  </a:lnTo>
                  <a:lnTo>
                    <a:pt x="752111" y="805354"/>
                  </a:lnTo>
                  <a:lnTo>
                    <a:pt x="751990" y="803902"/>
                  </a:lnTo>
                  <a:lnTo>
                    <a:pt x="752626" y="802782"/>
                  </a:lnTo>
                  <a:lnTo>
                    <a:pt x="753987" y="802480"/>
                  </a:lnTo>
                  <a:lnTo>
                    <a:pt x="755560" y="802994"/>
                  </a:lnTo>
                  <a:lnTo>
                    <a:pt x="757950" y="804325"/>
                  </a:lnTo>
                  <a:lnTo>
                    <a:pt x="761005" y="804658"/>
                  </a:lnTo>
                  <a:lnTo>
                    <a:pt x="762669" y="806473"/>
                  </a:lnTo>
                  <a:lnTo>
                    <a:pt x="764817" y="806412"/>
                  </a:lnTo>
                  <a:lnTo>
                    <a:pt x="765755" y="804053"/>
                  </a:lnTo>
                  <a:lnTo>
                    <a:pt x="766844" y="802752"/>
                  </a:lnTo>
                  <a:lnTo>
                    <a:pt x="769324" y="801996"/>
                  </a:lnTo>
                  <a:lnTo>
                    <a:pt x="772077" y="801724"/>
                  </a:lnTo>
                  <a:lnTo>
                    <a:pt x="773923" y="801875"/>
                  </a:lnTo>
                  <a:lnTo>
                    <a:pt x="775738" y="803176"/>
                  </a:lnTo>
                  <a:lnTo>
                    <a:pt x="779398" y="806987"/>
                  </a:lnTo>
                  <a:lnTo>
                    <a:pt x="781183" y="809014"/>
                  </a:lnTo>
                  <a:lnTo>
                    <a:pt x="782816" y="809952"/>
                  </a:lnTo>
                  <a:lnTo>
                    <a:pt x="783996" y="811252"/>
                  </a:lnTo>
                  <a:lnTo>
                    <a:pt x="785116" y="811827"/>
                  </a:lnTo>
                  <a:lnTo>
                    <a:pt x="786689" y="812553"/>
                  </a:lnTo>
                  <a:lnTo>
                    <a:pt x="788836" y="812039"/>
                  </a:lnTo>
                  <a:lnTo>
                    <a:pt x="790651" y="813370"/>
                  </a:lnTo>
                  <a:lnTo>
                    <a:pt x="792013" y="815155"/>
                  </a:lnTo>
                  <a:lnTo>
                    <a:pt x="792588" y="817363"/>
                  </a:lnTo>
                  <a:lnTo>
                    <a:pt x="792255" y="819360"/>
                  </a:lnTo>
                  <a:lnTo>
                    <a:pt x="789018" y="820479"/>
                  </a:lnTo>
                  <a:lnTo>
                    <a:pt x="785055" y="824109"/>
                  </a:lnTo>
                  <a:lnTo>
                    <a:pt x="784390" y="825592"/>
                  </a:lnTo>
                  <a:lnTo>
                    <a:pt x="783301" y="826439"/>
                  </a:lnTo>
                  <a:lnTo>
                    <a:pt x="782514" y="826802"/>
                  </a:lnTo>
                  <a:lnTo>
                    <a:pt x="780517" y="826953"/>
                  </a:lnTo>
                  <a:lnTo>
                    <a:pt x="778309" y="827951"/>
                  </a:lnTo>
                  <a:lnTo>
                    <a:pt x="777341" y="830250"/>
                  </a:lnTo>
                  <a:lnTo>
                    <a:pt x="777522" y="832791"/>
                  </a:lnTo>
                  <a:lnTo>
                    <a:pt x="778823" y="834486"/>
                  </a:lnTo>
                  <a:lnTo>
                    <a:pt x="780154" y="832882"/>
                  </a:lnTo>
                  <a:lnTo>
                    <a:pt x="784753" y="830644"/>
                  </a:lnTo>
                  <a:lnTo>
                    <a:pt x="786809" y="829010"/>
                  </a:lnTo>
                  <a:lnTo>
                    <a:pt x="791771" y="827921"/>
                  </a:lnTo>
                  <a:lnTo>
                    <a:pt x="793314" y="826953"/>
                  </a:lnTo>
                  <a:lnTo>
                    <a:pt x="796308" y="828496"/>
                  </a:lnTo>
                  <a:lnTo>
                    <a:pt x="799092" y="829252"/>
                  </a:lnTo>
                  <a:lnTo>
                    <a:pt x="801814" y="828738"/>
                  </a:lnTo>
                  <a:lnTo>
                    <a:pt x="806050" y="825319"/>
                  </a:lnTo>
                  <a:lnTo>
                    <a:pt x="807290" y="824926"/>
                  </a:lnTo>
                  <a:lnTo>
                    <a:pt x="812553" y="825229"/>
                  </a:lnTo>
                  <a:lnTo>
                    <a:pt x="813794" y="824926"/>
                  </a:lnTo>
                  <a:lnTo>
                    <a:pt x="816758" y="822778"/>
                  </a:lnTo>
                  <a:lnTo>
                    <a:pt x="819996" y="821568"/>
                  </a:lnTo>
                  <a:lnTo>
                    <a:pt x="823021" y="822385"/>
                  </a:lnTo>
                  <a:lnTo>
                    <a:pt x="825804" y="824442"/>
                  </a:lnTo>
                  <a:lnTo>
                    <a:pt x="828375" y="826923"/>
                  </a:lnTo>
                  <a:lnTo>
                    <a:pt x="831007" y="830039"/>
                  </a:lnTo>
                  <a:lnTo>
                    <a:pt x="833760" y="834183"/>
                  </a:lnTo>
                  <a:lnTo>
                    <a:pt x="842533" y="851366"/>
                  </a:lnTo>
                  <a:lnTo>
                    <a:pt x="844771" y="855480"/>
                  </a:lnTo>
                  <a:lnTo>
                    <a:pt x="845014" y="858959"/>
                  </a:lnTo>
                  <a:lnTo>
                    <a:pt x="844408" y="860230"/>
                  </a:lnTo>
                  <a:lnTo>
                    <a:pt x="842230" y="861016"/>
                  </a:lnTo>
                  <a:lnTo>
                    <a:pt x="841353" y="861833"/>
                  </a:lnTo>
                  <a:lnTo>
                    <a:pt x="840294" y="862468"/>
                  </a:lnTo>
                  <a:lnTo>
                    <a:pt x="839084" y="862710"/>
                  </a:lnTo>
                  <a:lnTo>
                    <a:pt x="838116" y="863194"/>
                  </a:lnTo>
                  <a:lnTo>
                    <a:pt x="838116" y="864344"/>
                  </a:lnTo>
                  <a:lnTo>
                    <a:pt x="838812" y="866431"/>
                  </a:lnTo>
                  <a:lnTo>
                    <a:pt x="838086" y="869033"/>
                  </a:lnTo>
                  <a:lnTo>
                    <a:pt x="835575" y="872300"/>
                  </a:lnTo>
                  <a:lnTo>
                    <a:pt x="835998" y="874357"/>
                  </a:lnTo>
                  <a:lnTo>
                    <a:pt x="837088" y="874811"/>
                  </a:lnTo>
                  <a:lnTo>
                    <a:pt x="838721" y="876021"/>
                  </a:lnTo>
                  <a:lnTo>
                    <a:pt x="840627" y="875567"/>
                  </a:lnTo>
                  <a:lnTo>
                    <a:pt x="841565" y="876414"/>
                  </a:lnTo>
                  <a:lnTo>
                    <a:pt x="842533" y="877049"/>
                  </a:lnTo>
                  <a:lnTo>
                    <a:pt x="845255" y="878139"/>
                  </a:lnTo>
                  <a:lnTo>
                    <a:pt x="847252" y="879893"/>
                  </a:lnTo>
                  <a:lnTo>
                    <a:pt x="848462" y="882343"/>
                  </a:lnTo>
                  <a:lnTo>
                    <a:pt x="849702" y="883100"/>
                  </a:lnTo>
                  <a:lnTo>
                    <a:pt x="851578" y="883372"/>
                  </a:lnTo>
                  <a:lnTo>
                    <a:pt x="854603" y="882586"/>
                  </a:lnTo>
                  <a:lnTo>
                    <a:pt x="856297" y="882374"/>
                  </a:lnTo>
                  <a:lnTo>
                    <a:pt x="857749" y="883009"/>
                  </a:lnTo>
                  <a:lnTo>
                    <a:pt x="864072" y="889120"/>
                  </a:lnTo>
                  <a:lnTo>
                    <a:pt x="866038" y="889997"/>
                  </a:lnTo>
                  <a:lnTo>
                    <a:pt x="868488" y="891419"/>
                  </a:lnTo>
                  <a:lnTo>
                    <a:pt x="871453" y="894595"/>
                  </a:lnTo>
                  <a:lnTo>
                    <a:pt x="873056" y="897742"/>
                  </a:lnTo>
                  <a:lnTo>
                    <a:pt x="871241" y="899133"/>
                  </a:lnTo>
                  <a:lnTo>
                    <a:pt x="871241" y="899950"/>
                  </a:lnTo>
                  <a:lnTo>
                    <a:pt x="872361" y="900041"/>
                  </a:lnTo>
                  <a:lnTo>
                    <a:pt x="873450" y="899889"/>
                  </a:lnTo>
                  <a:lnTo>
                    <a:pt x="874478" y="899587"/>
                  </a:lnTo>
                  <a:lnTo>
                    <a:pt x="875416" y="899133"/>
                  </a:lnTo>
                  <a:lnTo>
                    <a:pt x="876596" y="899405"/>
                  </a:lnTo>
                  <a:lnTo>
                    <a:pt x="879500" y="902975"/>
                  </a:lnTo>
                  <a:lnTo>
                    <a:pt x="881285" y="903610"/>
                  </a:lnTo>
                  <a:lnTo>
                    <a:pt x="886246" y="904215"/>
                  </a:lnTo>
                  <a:lnTo>
                    <a:pt x="888212" y="903519"/>
                  </a:lnTo>
                  <a:lnTo>
                    <a:pt x="891268" y="899950"/>
                  </a:lnTo>
                  <a:lnTo>
                    <a:pt x="894838" y="897862"/>
                  </a:lnTo>
                  <a:lnTo>
                    <a:pt x="896622" y="895321"/>
                  </a:lnTo>
                  <a:lnTo>
                    <a:pt x="898800" y="894111"/>
                  </a:lnTo>
                  <a:lnTo>
                    <a:pt x="906363" y="894656"/>
                  </a:lnTo>
                  <a:lnTo>
                    <a:pt x="907785" y="894111"/>
                  </a:lnTo>
                  <a:lnTo>
                    <a:pt x="907785" y="895654"/>
                  </a:lnTo>
                  <a:lnTo>
                    <a:pt x="908390" y="896531"/>
                  </a:lnTo>
                  <a:lnTo>
                    <a:pt x="910538" y="898195"/>
                  </a:lnTo>
                  <a:lnTo>
                    <a:pt x="913291" y="902400"/>
                  </a:lnTo>
                  <a:lnTo>
                    <a:pt x="916740" y="905758"/>
                  </a:lnTo>
                  <a:lnTo>
                    <a:pt x="918252" y="907785"/>
                  </a:lnTo>
                  <a:lnTo>
                    <a:pt x="918857" y="910235"/>
                  </a:lnTo>
                  <a:lnTo>
                    <a:pt x="919613" y="911929"/>
                  </a:lnTo>
                  <a:lnTo>
                    <a:pt x="922911" y="916558"/>
                  </a:lnTo>
                  <a:lnTo>
                    <a:pt x="923667" y="919250"/>
                  </a:lnTo>
                  <a:lnTo>
                    <a:pt x="922457" y="923879"/>
                  </a:lnTo>
                  <a:lnTo>
                    <a:pt x="922608" y="924544"/>
                  </a:lnTo>
                  <a:lnTo>
                    <a:pt x="923364" y="925058"/>
                  </a:lnTo>
                  <a:lnTo>
                    <a:pt x="923879" y="926299"/>
                  </a:lnTo>
                  <a:lnTo>
                    <a:pt x="924363" y="928658"/>
                  </a:lnTo>
                  <a:lnTo>
                    <a:pt x="924363" y="927902"/>
                  </a:lnTo>
                  <a:lnTo>
                    <a:pt x="926148" y="940033"/>
                  </a:lnTo>
                  <a:lnTo>
                    <a:pt x="927086" y="942030"/>
                  </a:lnTo>
                  <a:lnTo>
                    <a:pt x="929173" y="945176"/>
                  </a:lnTo>
                  <a:lnTo>
                    <a:pt x="930564" y="949713"/>
                  </a:lnTo>
                  <a:lnTo>
                    <a:pt x="931502" y="952829"/>
                  </a:lnTo>
                  <a:lnTo>
                    <a:pt x="932289" y="955794"/>
                  </a:lnTo>
                  <a:lnTo>
                    <a:pt x="933166" y="957276"/>
                  </a:lnTo>
                  <a:lnTo>
                    <a:pt x="936040" y="959122"/>
                  </a:lnTo>
                  <a:lnTo>
                    <a:pt x="938883" y="961784"/>
                  </a:lnTo>
                  <a:lnTo>
                    <a:pt x="941395" y="966110"/>
                  </a:lnTo>
                  <a:lnTo>
                    <a:pt x="945146" y="970738"/>
                  </a:lnTo>
                  <a:lnTo>
                    <a:pt x="949018" y="981901"/>
                  </a:lnTo>
                  <a:lnTo>
                    <a:pt x="949834" y="986045"/>
                  </a:lnTo>
                  <a:lnTo>
                    <a:pt x="953949" y="1014058"/>
                  </a:lnTo>
                  <a:lnTo>
                    <a:pt x="959636" y="1026098"/>
                  </a:lnTo>
                  <a:lnTo>
                    <a:pt x="961119" y="1028307"/>
                  </a:lnTo>
                  <a:lnTo>
                    <a:pt x="962601" y="1029305"/>
                  </a:lnTo>
                  <a:lnTo>
                    <a:pt x="964658" y="1029698"/>
                  </a:lnTo>
                  <a:lnTo>
                    <a:pt x="966170" y="1030818"/>
                  </a:lnTo>
                  <a:lnTo>
                    <a:pt x="967169" y="1032602"/>
                  </a:lnTo>
                  <a:lnTo>
                    <a:pt x="967713" y="1034962"/>
                  </a:lnTo>
                  <a:lnTo>
                    <a:pt x="967895" y="1039984"/>
                  </a:lnTo>
                  <a:lnTo>
                    <a:pt x="967229" y="1045005"/>
                  </a:lnTo>
                  <a:lnTo>
                    <a:pt x="965807" y="1049453"/>
                  </a:lnTo>
                  <a:lnTo>
                    <a:pt x="963599" y="1052811"/>
                  </a:lnTo>
                  <a:lnTo>
                    <a:pt x="960937" y="1054867"/>
                  </a:lnTo>
                  <a:lnTo>
                    <a:pt x="959273" y="1055684"/>
                  </a:lnTo>
                  <a:lnTo>
                    <a:pt x="957730" y="1056017"/>
                  </a:lnTo>
                  <a:lnTo>
                    <a:pt x="950470" y="1055230"/>
                  </a:lnTo>
                  <a:lnTo>
                    <a:pt x="945811" y="1055503"/>
                  </a:lnTo>
                  <a:lnTo>
                    <a:pt x="942332" y="1057016"/>
                  </a:lnTo>
                  <a:lnTo>
                    <a:pt x="935979" y="1060948"/>
                  </a:lnTo>
                  <a:lnTo>
                    <a:pt x="931805" y="1062249"/>
                  </a:lnTo>
                  <a:lnTo>
                    <a:pt x="929929" y="1063187"/>
                  </a:lnTo>
                  <a:lnTo>
                    <a:pt x="929143" y="1064548"/>
                  </a:lnTo>
                  <a:lnTo>
                    <a:pt x="929021" y="1065698"/>
                  </a:lnTo>
                  <a:lnTo>
                    <a:pt x="928870" y="1066333"/>
                  </a:lnTo>
                  <a:lnTo>
                    <a:pt x="929021" y="1066998"/>
                  </a:lnTo>
                  <a:lnTo>
                    <a:pt x="929899" y="1068239"/>
                  </a:lnTo>
                  <a:lnTo>
                    <a:pt x="930504" y="1068783"/>
                  </a:lnTo>
                  <a:lnTo>
                    <a:pt x="931865" y="1069388"/>
                  </a:lnTo>
                  <a:lnTo>
                    <a:pt x="932591" y="1069872"/>
                  </a:lnTo>
                  <a:lnTo>
                    <a:pt x="935526" y="1072927"/>
                  </a:lnTo>
                  <a:lnTo>
                    <a:pt x="937129" y="1076225"/>
                  </a:lnTo>
                  <a:lnTo>
                    <a:pt x="937310" y="1080188"/>
                  </a:lnTo>
                  <a:lnTo>
                    <a:pt x="936010" y="1085240"/>
                  </a:lnTo>
                  <a:lnTo>
                    <a:pt x="928477" y="1099700"/>
                  </a:lnTo>
                  <a:lnTo>
                    <a:pt x="927086" y="1104994"/>
                  </a:lnTo>
                  <a:lnTo>
                    <a:pt x="926753" y="1105660"/>
                  </a:lnTo>
                  <a:lnTo>
                    <a:pt x="925331" y="1106809"/>
                  </a:lnTo>
                  <a:lnTo>
                    <a:pt x="925028" y="1107414"/>
                  </a:lnTo>
                  <a:lnTo>
                    <a:pt x="924121" y="1108292"/>
                  </a:lnTo>
                  <a:lnTo>
                    <a:pt x="913805" y="1111226"/>
                  </a:lnTo>
                  <a:lnTo>
                    <a:pt x="910417" y="1112648"/>
                  </a:lnTo>
                  <a:lnTo>
                    <a:pt x="908632" y="1115068"/>
                  </a:lnTo>
                  <a:lnTo>
                    <a:pt x="909146" y="1119091"/>
                  </a:lnTo>
                  <a:lnTo>
                    <a:pt x="909994" y="1121905"/>
                  </a:lnTo>
                  <a:lnTo>
                    <a:pt x="910145" y="1124113"/>
                  </a:lnTo>
                  <a:lnTo>
                    <a:pt x="909509" y="1126140"/>
                  </a:lnTo>
                  <a:lnTo>
                    <a:pt x="908088" y="1128318"/>
                  </a:lnTo>
                  <a:lnTo>
                    <a:pt x="907755" y="1130103"/>
                  </a:lnTo>
                  <a:lnTo>
                    <a:pt x="908632" y="1132221"/>
                  </a:lnTo>
                  <a:lnTo>
                    <a:pt x="911234" y="1135911"/>
                  </a:lnTo>
                  <a:lnTo>
                    <a:pt x="909207" y="1137666"/>
                  </a:lnTo>
                  <a:lnTo>
                    <a:pt x="908874" y="1139844"/>
                  </a:lnTo>
                  <a:lnTo>
                    <a:pt x="909903" y="1142264"/>
                  </a:lnTo>
                  <a:lnTo>
                    <a:pt x="911930" y="1144775"/>
                  </a:lnTo>
                  <a:lnTo>
                    <a:pt x="913805" y="1146317"/>
                  </a:lnTo>
                  <a:lnTo>
                    <a:pt x="916225" y="1147800"/>
                  </a:lnTo>
                  <a:lnTo>
                    <a:pt x="918918" y="1148949"/>
                  </a:lnTo>
                  <a:lnTo>
                    <a:pt x="921580" y="1149615"/>
                  </a:lnTo>
                  <a:lnTo>
                    <a:pt x="939761" y="1148677"/>
                  </a:lnTo>
                  <a:lnTo>
                    <a:pt x="945690" y="1150341"/>
                  </a:lnTo>
                  <a:lnTo>
                    <a:pt x="947172" y="1149675"/>
                  </a:lnTo>
                  <a:lnTo>
                    <a:pt x="951922" y="1148738"/>
                  </a:lnTo>
                  <a:lnTo>
                    <a:pt x="953344" y="1147891"/>
                  </a:lnTo>
                  <a:lnTo>
                    <a:pt x="954645" y="1146802"/>
                  </a:lnTo>
                  <a:lnTo>
                    <a:pt x="955764" y="1145501"/>
                  </a:lnTo>
                  <a:lnTo>
                    <a:pt x="956732" y="1143958"/>
                  </a:lnTo>
                  <a:lnTo>
                    <a:pt x="958214" y="1140297"/>
                  </a:lnTo>
                  <a:lnTo>
                    <a:pt x="960876" y="1127894"/>
                  </a:lnTo>
                  <a:lnTo>
                    <a:pt x="962661" y="1124083"/>
                  </a:lnTo>
                  <a:lnTo>
                    <a:pt x="976426" y="1108382"/>
                  </a:lnTo>
                  <a:lnTo>
                    <a:pt x="979814" y="1105599"/>
                  </a:lnTo>
                  <a:lnTo>
                    <a:pt x="989404" y="1101001"/>
                  </a:lnTo>
                  <a:lnTo>
                    <a:pt x="992610" y="1099972"/>
                  </a:lnTo>
                  <a:lnTo>
                    <a:pt x="995696" y="1097552"/>
                  </a:lnTo>
                  <a:lnTo>
                    <a:pt x="996754" y="1097280"/>
                  </a:lnTo>
                  <a:lnTo>
                    <a:pt x="998146" y="1095465"/>
                  </a:lnTo>
                  <a:lnTo>
                    <a:pt x="1002109" y="1092016"/>
                  </a:lnTo>
                  <a:lnTo>
                    <a:pt x="1002956" y="1090473"/>
                  </a:lnTo>
                  <a:lnTo>
                    <a:pt x="1003712" y="1081822"/>
                  </a:lnTo>
                  <a:lnTo>
                    <a:pt x="1003712" y="1078796"/>
                  </a:lnTo>
                  <a:lnTo>
                    <a:pt x="1001867" y="1070840"/>
                  </a:lnTo>
                  <a:lnTo>
                    <a:pt x="1000838" y="1061856"/>
                  </a:lnTo>
                  <a:lnTo>
                    <a:pt x="1000899" y="1059738"/>
                  </a:lnTo>
                  <a:lnTo>
                    <a:pt x="1000687" y="1059375"/>
                  </a:lnTo>
                  <a:lnTo>
                    <a:pt x="999477" y="1058588"/>
                  </a:lnTo>
                  <a:lnTo>
                    <a:pt x="999870" y="1055805"/>
                  </a:lnTo>
                  <a:lnTo>
                    <a:pt x="1001081" y="1053657"/>
                  </a:lnTo>
                  <a:lnTo>
                    <a:pt x="1002381" y="1051842"/>
                  </a:lnTo>
                  <a:lnTo>
                    <a:pt x="1003471" y="1048484"/>
                  </a:lnTo>
                  <a:lnTo>
                    <a:pt x="1004590" y="1046972"/>
                  </a:lnTo>
                  <a:lnTo>
                    <a:pt x="1007131" y="1044763"/>
                  </a:lnTo>
                  <a:lnTo>
                    <a:pt x="1013181" y="1041890"/>
                  </a:lnTo>
                  <a:lnTo>
                    <a:pt x="1014059" y="1041073"/>
                  </a:lnTo>
                  <a:lnTo>
                    <a:pt x="1014905" y="1040105"/>
                  </a:lnTo>
                  <a:lnTo>
                    <a:pt x="1018929" y="1037382"/>
                  </a:lnTo>
                  <a:lnTo>
                    <a:pt x="1030061" y="1032723"/>
                  </a:lnTo>
                  <a:lnTo>
                    <a:pt x="1039772" y="1030303"/>
                  </a:lnTo>
                  <a:lnTo>
                    <a:pt x="1042011" y="1030122"/>
                  </a:lnTo>
                  <a:lnTo>
                    <a:pt x="1044431" y="1030455"/>
                  </a:lnTo>
                  <a:lnTo>
                    <a:pt x="1045943" y="1031362"/>
                  </a:lnTo>
                  <a:lnTo>
                    <a:pt x="1048515" y="1034145"/>
                  </a:lnTo>
                  <a:lnTo>
                    <a:pt x="1050542" y="1032935"/>
                  </a:lnTo>
                  <a:lnTo>
                    <a:pt x="1053385" y="1032149"/>
                  </a:lnTo>
                  <a:lnTo>
                    <a:pt x="1055836" y="1032602"/>
                  </a:lnTo>
                  <a:lnTo>
                    <a:pt x="1056743" y="1034992"/>
                  </a:lnTo>
                  <a:lnTo>
                    <a:pt x="1058256" y="1032542"/>
                  </a:lnTo>
                  <a:lnTo>
                    <a:pt x="1059133" y="1031453"/>
                  </a:lnTo>
                  <a:lnTo>
                    <a:pt x="1059859" y="1030999"/>
                  </a:lnTo>
                  <a:lnTo>
                    <a:pt x="1060252" y="1030515"/>
                  </a:lnTo>
                  <a:lnTo>
                    <a:pt x="1063640" y="1027702"/>
                  </a:lnTo>
                  <a:lnTo>
                    <a:pt x="1063550" y="1027036"/>
                  </a:lnTo>
                  <a:lnTo>
                    <a:pt x="1063640" y="1022377"/>
                  </a:lnTo>
                  <a:lnTo>
                    <a:pt x="1064064" y="1021561"/>
                  </a:lnTo>
                  <a:lnTo>
                    <a:pt x="1065093" y="1020744"/>
                  </a:lnTo>
                  <a:lnTo>
                    <a:pt x="1067059" y="1019504"/>
                  </a:lnTo>
                  <a:lnTo>
                    <a:pt x="1065667" y="1019322"/>
                  </a:lnTo>
                  <a:lnTo>
                    <a:pt x="1062249" y="1018203"/>
                  </a:lnTo>
                  <a:lnTo>
                    <a:pt x="1061583" y="1017567"/>
                  </a:lnTo>
                  <a:lnTo>
                    <a:pt x="1061190" y="1016569"/>
                  </a:lnTo>
                  <a:lnTo>
                    <a:pt x="1058830" y="1012213"/>
                  </a:lnTo>
                  <a:lnTo>
                    <a:pt x="1058589" y="1008613"/>
                  </a:lnTo>
                  <a:lnTo>
                    <a:pt x="1060404" y="1001716"/>
                  </a:lnTo>
                  <a:lnTo>
                    <a:pt x="1060948" y="997934"/>
                  </a:lnTo>
                  <a:lnTo>
                    <a:pt x="1060585" y="996543"/>
                  </a:lnTo>
                  <a:lnTo>
                    <a:pt x="1058830" y="993880"/>
                  </a:lnTo>
                  <a:lnTo>
                    <a:pt x="1058104" y="992519"/>
                  </a:lnTo>
                  <a:lnTo>
                    <a:pt x="1057772" y="990946"/>
                  </a:lnTo>
                  <a:lnTo>
                    <a:pt x="1057772" y="989343"/>
                  </a:lnTo>
                  <a:lnTo>
                    <a:pt x="1058558" y="982718"/>
                  </a:lnTo>
                  <a:lnTo>
                    <a:pt x="1062219" y="974610"/>
                  </a:lnTo>
                  <a:lnTo>
                    <a:pt x="1058740" y="974278"/>
                  </a:lnTo>
                  <a:lnTo>
                    <a:pt x="1055140" y="972674"/>
                  </a:lnTo>
                  <a:lnTo>
                    <a:pt x="1051994" y="970406"/>
                  </a:lnTo>
                  <a:lnTo>
                    <a:pt x="1049846" y="968106"/>
                  </a:lnTo>
                  <a:lnTo>
                    <a:pt x="1048605" y="966352"/>
                  </a:lnTo>
                  <a:lnTo>
                    <a:pt x="1047395" y="965051"/>
                  </a:lnTo>
                  <a:lnTo>
                    <a:pt x="1045762" y="964264"/>
                  </a:lnTo>
                  <a:lnTo>
                    <a:pt x="1043281" y="963992"/>
                  </a:lnTo>
                  <a:lnTo>
                    <a:pt x="1041496" y="963478"/>
                  </a:lnTo>
                  <a:lnTo>
                    <a:pt x="1036777" y="959818"/>
                  </a:lnTo>
                  <a:lnTo>
                    <a:pt x="1030757" y="957065"/>
                  </a:lnTo>
                  <a:lnTo>
                    <a:pt x="1029850" y="956127"/>
                  </a:lnTo>
                  <a:lnTo>
                    <a:pt x="1029214" y="954251"/>
                  </a:lnTo>
                  <a:lnTo>
                    <a:pt x="1027732" y="952466"/>
                  </a:lnTo>
                  <a:lnTo>
                    <a:pt x="1025917" y="950984"/>
                  </a:lnTo>
                  <a:lnTo>
                    <a:pt x="1024344" y="950016"/>
                  </a:lnTo>
                  <a:lnTo>
                    <a:pt x="1021046" y="949018"/>
                  </a:lnTo>
                  <a:lnTo>
                    <a:pt x="1008492" y="948382"/>
                  </a:lnTo>
                  <a:lnTo>
                    <a:pt x="1005134" y="946991"/>
                  </a:lnTo>
                  <a:lnTo>
                    <a:pt x="1000566" y="944117"/>
                  </a:lnTo>
                  <a:lnTo>
                    <a:pt x="997511" y="940668"/>
                  </a:lnTo>
                  <a:lnTo>
                    <a:pt x="998812" y="937673"/>
                  </a:lnTo>
                  <a:lnTo>
                    <a:pt x="998812" y="936857"/>
                  </a:lnTo>
                  <a:lnTo>
                    <a:pt x="996150" y="933771"/>
                  </a:lnTo>
                  <a:lnTo>
                    <a:pt x="994909" y="930413"/>
                  </a:lnTo>
                  <a:lnTo>
                    <a:pt x="995121" y="926783"/>
                  </a:lnTo>
                  <a:lnTo>
                    <a:pt x="996785" y="922941"/>
                  </a:lnTo>
                  <a:lnTo>
                    <a:pt x="1000233" y="917193"/>
                  </a:lnTo>
                  <a:lnTo>
                    <a:pt x="1004953" y="913049"/>
                  </a:lnTo>
                  <a:lnTo>
                    <a:pt x="1006586" y="910266"/>
                  </a:lnTo>
                  <a:lnTo>
                    <a:pt x="1008220" y="908995"/>
                  </a:lnTo>
                  <a:lnTo>
                    <a:pt x="1009218" y="907482"/>
                  </a:lnTo>
                  <a:lnTo>
                    <a:pt x="1007403" y="903822"/>
                  </a:lnTo>
                  <a:lnTo>
                    <a:pt x="1005981" y="899315"/>
                  </a:lnTo>
                  <a:lnTo>
                    <a:pt x="1005739" y="897802"/>
                  </a:lnTo>
                  <a:lnTo>
                    <a:pt x="1006526" y="893264"/>
                  </a:lnTo>
                  <a:lnTo>
                    <a:pt x="1008522" y="890451"/>
                  </a:lnTo>
                  <a:lnTo>
                    <a:pt x="1010095" y="889150"/>
                  </a:lnTo>
                  <a:lnTo>
                    <a:pt x="1014059" y="885853"/>
                  </a:lnTo>
                  <a:lnTo>
                    <a:pt x="1017719" y="880105"/>
                  </a:lnTo>
                  <a:lnTo>
                    <a:pt x="1019201" y="879258"/>
                  </a:lnTo>
                  <a:lnTo>
                    <a:pt x="1019867" y="878018"/>
                  </a:lnTo>
                  <a:lnTo>
                    <a:pt x="1022287" y="870939"/>
                  </a:lnTo>
                  <a:lnTo>
                    <a:pt x="1024435" y="867067"/>
                  </a:lnTo>
                  <a:lnTo>
                    <a:pt x="1032542" y="856236"/>
                  </a:lnTo>
                  <a:lnTo>
                    <a:pt x="1037443" y="849672"/>
                  </a:lnTo>
                  <a:lnTo>
                    <a:pt x="1043886" y="843924"/>
                  </a:lnTo>
                  <a:lnTo>
                    <a:pt x="1051298" y="840718"/>
                  </a:lnTo>
                  <a:lnTo>
                    <a:pt x="1058830" y="841171"/>
                  </a:lnTo>
                  <a:lnTo>
                    <a:pt x="1059738" y="841504"/>
                  </a:lnTo>
                  <a:lnTo>
                    <a:pt x="1062007" y="841504"/>
                  </a:lnTo>
                  <a:lnTo>
                    <a:pt x="1063035" y="841927"/>
                  </a:lnTo>
                  <a:lnTo>
                    <a:pt x="1063580" y="842744"/>
                  </a:lnTo>
                  <a:lnTo>
                    <a:pt x="1064064" y="843864"/>
                  </a:lnTo>
                  <a:lnTo>
                    <a:pt x="1064609" y="844832"/>
                  </a:lnTo>
                  <a:lnTo>
                    <a:pt x="1065425" y="845255"/>
                  </a:lnTo>
                  <a:lnTo>
                    <a:pt x="1067513" y="844620"/>
                  </a:lnTo>
                  <a:lnTo>
                    <a:pt x="1069358" y="843410"/>
                  </a:lnTo>
                  <a:lnTo>
                    <a:pt x="1071203" y="842684"/>
                  </a:lnTo>
                  <a:lnTo>
                    <a:pt x="1073351" y="843501"/>
                  </a:lnTo>
                  <a:lnTo>
                    <a:pt x="1072867" y="844136"/>
                  </a:lnTo>
                  <a:lnTo>
                    <a:pt x="1072685" y="844408"/>
                  </a:lnTo>
                  <a:lnTo>
                    <a:pt x="1076951" y="843107"/>
                  </a:lnTo>
                  <a:lnTo>
                    <a:pt x="1078887" y="843228"/>
                  </a:lnTo>
                  <a:lnTo>
                    <a:pt x="1078191" y="845225"/>
                  </a:lnTo>
                  <a:lnTo>
                    <a:pt x="1076134" y="846284"/>
                  </a:lnTo>
                  <a:lnTo>
                    <a:pt x="1071264" y="845437"/>
                  </a:lnTo>
                  <a:lnTo>
                    <a:pt x="1069297" y="846132"/>
                  </a:lnTo>
                  <a:lnTo>
                    <a:pt x="1071324" y="848220"/>
                  </a:lnTo>
                  <a:lnTo>
                    <a:pt x="1070840" y="850156"/>
                  </a:lnTo>
                  <a:lnTo>
                    <a:pt x="1068874" y="851729"/>
                  </a:lnTo>
                  <a:lnTo>
                    <a:pt x="1066514" y="852697"/>
                  </a:lnTo>
                  <a:lnTo>
                    <a:pt x="1067815" y="854421"/>
                  </a:lnTo>
                  <a:lnTo>
                    <a:pt x="1070538" y="855753"/>
                  </a:lnTo>
                  <a:lnTo>
                    <a:pt x="1076225" y="857658"/>
                  </a:lnTo>
                  <a:lnTo>
                    <a:pt x="1081731" y="860653"/>
                  </a:lnTo>
                  <a:lnTo>
                    <a:pt x="1083425" y="861047"/>
                  </a:lnTo>
                  <a:lnTo>
                    <a:pt x="1084090" y="861410"/>
                  </a:lnTo>
                  <a:lnTo>
                    <a:pt x="1085845" y="863043"/>
                  </a:lnTo>
                  <a:lnTo>
                    <a:pt x="1086571" y="863527"/>
                  </a:lnTo>
                  <a:lnTo>
                    <a:pt x="1087600" y="863648"/>
                  </a:lnTo>
                  <a:lnTo>
                    <a:pt x="1089687" y="863466"/>
                  </a:lnTo>
                  <a:lnTo>
                    <a:pt x="1090685" y="863527"/>
                  </a:lnTo>
                  <a:lnTo>
                    <a:pt x="1096070" y="866371"/>
                  </a:lnTo>
                  <a:lnTo>
                    <a:pt x="1097885" y="866824"/>
                  </a:lnTo>
                  <a:lnTo>
                    <a:pt x="1131676" y="868488"/>
                  </a:lnTo>
                  <a:lnTo>
                    <a:pt x="1133249" y="869033"/>
                  </a:lnTo>
                  <a:lnTo>
                    <a:pt x="1138240" y="872693"/>
                  </a:lnTo>
                  <a:lnTo>
                    <a:pt x="1138240" y="873419"/>
                  </a:lnTo>
                  <a:lnTo>
                    <a:pt x="1136940" y="873419"/>
                  </a:lnTo>
                  <a:lnTo>
                    <a:pt x="1138089" y="874508"/>
                  </a:lnTo>
                  <a:lnTo>
                    <a:pt x="1138694" y="876112"/>
                  </a:lnTo>
                  <a:lnTo>
                    <a:pt x="1138906" y="878169"/>
                  </a:lnTo>
                  <a:lnTo>
                    <a:pt x="1138906" y="880498"/>
                  </a:lnTo>
                  <a:lnTo>
                    <a:pt x="1139602" y="882253"/>
                  </a:lnTo>
                  <a:lnTo>
                    <a:pt x="1141084" y="883826"/>
                  </a:lnTo>
                  <a:lnTo>
                    <a:pt x="1143776" y="885883"/>
                  </a:lnTo>
                  <a:lnTo>
                    <a:pt x="1146772" y="888969"/>
                  </a:lnTo>
                  <a:lnTo>
                    <a:pt x="1148163" y="891903"/>
                  </a:lnTo>
                  <a:lnTo>
                    <a:pt x="1147346" y="894504"/>
                  </a:lnTo>
                  <a:lnTo>
                    <a:pt x="1143776" y="896562"/>
                  </a:lnTo>
                  <a:lnTo>
                    <a:pt x="1144866" y="897227"/>
                  </a:lnTo>
                  <a:lnTo>
                    <a:pt x="1147558" y="898044"/>
                  </a:lnTo>
                  <a:lnTo>
                    <a:pt x="1148647" y="899103"/>
                  </a:lnTo>
                  <a:lnTo>
                    <a:pt x="1149282" y="900857"/>
                  </a:lnTo>
                  <a:lnTo>
                    <a:pt x="1149101" y="902249"/>
                  </a:lnTo>
                  <a:lnTo>
                    <a:pt x="1148163" y="903066"/>
                  </a:lnTo>
                  <a:lnTo>
                    <a:pt x="1146590" y="903156"/>
                  </a:lnTo>
                  <a:lnTo>
                    <a:pt x="1146590" y="904064"/>
                  </a:lnTo>
                  <a:lnTo>
                    <a:pt x="1147800" y="905183"/>
                  </a:lnTo>
                  <a:lnTo>
                    <a:pt x="1154274" y="914138"/>
                  </a:lnTo>
                  <a:lnTo>
                    <a:pt x="1155211" y="914743"/>
                  </a:lnTo>
                  <a:lnTo>
                    <a:pt x="1156543" y="915197"/>
                  </a:lnTo>
                  <a:lnTo>
                    <a:pt x="1160203" y="917496"/>
                  </a:lnTo>
                  <a:lnTo>
                    <a:pt x="1163349" y="920248"/>
                  </a:lnTo>
                  <a:lnTo>
                    <a:pt x="1165830" y="921307"/>
                  </a:lnTo>
                  <a:lnTo>
                    <a:pt x="1168341" y="922820"/>
                  </a:lnTo>
                  <a:lnTo>
                    <a:pt x="1169641" y="923032"/>
                  </a:lnTo>
                  <a:lnTo>
                    <a:pt x="1173816" y="923032"/>
                  </a:lnTo>
                  <a:lnTo>
                    <a:pt x="1175450" y="923546"/>
                  </a:lnTo>
                  <a:lnTo>
                    <a:pt x="1180320" y="927116"/>
                  </a:lnTo>
                  <a:lnTo>
                    <a:pt x="1181137" y="927509"/>
                  </a:lnTo>
                  <a:lnTo>
                    <a:pt x="1181954" y="927781"/>
                  </a:lnTo>
                  <a:lnTo>
                    <a:pt x="1184132" y="927932"/>
                  </a:lnTo>
                  <a:lnTo>
                    <a:pt x="1184676" y="927539"/>
                  </a:lnTo>
                  <a:lnTo>
                    <a:pt x="1185675" y="925845"/>
                  </a:lnTo>
                  <a:lnTo>
                    <a:pt x="1186219" y="925452"/>
                  </a:lnTo>
                  <a:lnTo>
                    <a:pt x="1185947" y="924453"/>
                  </a:lnTo>
                  <a:lnTo>
                    <a:pt x="1187308" y="918070"/>
                  </a:lnTo>
                  <a:lnTo>
                    <a:pt x="1187308" y="916679"/>
                  </a:lnTo>
                  <a:lnTo>
                    <a:pt x="1186552" y="913593"/>
                  </a:lnTo>
                  <a:lnTo>
                    <a:pt x="1186764" y="912444"/>
                  </a:lnTo>
                  <a:lnTo>
                    <a:pt x="1187701" y="909812"/>
                  </a:lnTo>
                  <a:lnTo>
                    <a:pt x="1188095" y="907301"/>
                  </a:lnTo>
                  <a:lnTo>
                    <a:pt x="1188458" y="906061"/>
                  </a:lnTo>
                  <a:lnTo>
                    <a:pt x="1190757" y="900797"/>
                  </a:lnTo>
                  <a:lnTo>
                    <a:pt x="1194418" y="898286"/>
                  </a:lnTo>
                  <a:lnTo>
                    <a:pt x="1195718" y="896864"/>
                  </a:lnTo>
                  <a:lnTo>
                    <a:pt x="1196565" y="893294"/>
                  </a:lnTo>
                  <a:lnTo>
                    <a:pt x="1198199" y="892115"/>
                  </a:lnTo>
                  <a:lnTo>
                    <a:pt x="1199016" y="890905"/>
                  </a:lnTo>
                  <a:lnTo>
                    <a:pt x="1199137" y="889725"/>
                  </a:lnTo>
                  <a:lnTo>
                    <a:pt x="1198774" y="888969"/>
                  </a:lnTo>
                  <a:close/>
                  <a:moveTo>
                    <a:pt x="592535" y="414565"/>
                  </a:moveTo>
                  <a:lnTo>
                    <a:pt x="591809" y="415836"/>
                  </a:lnTo>
                  <a:lnTo>
                    <a:pt x="591718" y="416018"/>
                  </a:lnTo>
                  <a:lnTo>
                    <a:pt x="591476" y="416290"/>
                  </a:lnTo>
                  <a:lnTo>
                    <a:pt x="591325" y="416623"/>
                  </a:lnTo>
                  <a:lnTo>
                    <a:pt x="591264" y="417016"/>
                  </a:lnTo>
                  <a:lnTo>
                    <a:pt x="591355" y="417409"/>
                  </a:lnTo>
                  <a:lnTo>
                    <a:pt x="589570" y="420193"/>
                  </a:lnTo>
                  <a:lnTo>
                    <a:pt x="586454" y="420586"/>
                  </a:lnTo>
                  <a:lnTo>
                    <a:pt x="583459" y="419164"/>
                  </a:lnTo>
                  <a:lnTo>
                    <a:pt x="582068" y="416441"/>
                  </a:lnTo>
                  <a:lnTo>
                    <a:pt x="583066" y="413386"/>
                  </a:lnTo>
                  <a:lnTo>
                    <a:pt x="584609" y="411934"/>
                  </a:lnTo>
                  <a:lnTo>
                    <a:pt x="585637" y="410966"/>
                  </a:lnTo>
                  <a:lnTo>
                    <a:pt x="588844" y="409453"/>
                  </a:lnTo>
                  <a:lnTo>
                    <a:pt x="591748" y="408999"/>
                  </a:lnTo>
                  <a:lnTo>
                    <a:pt x="592474" y="410209"/>
                  </a:lnTo>
                  <a:lnTo>
                    <a:pt x="592807" y="412357"/>
                  </a:lnTo>
                  <a:lnTo>
                    <a:pt x="592595" y="414596"/>
                  </a:lnTo>
                  <a:close/>
                  <a:moveTo>
                    <a:pt x="578650" y="220472"/>
                  </a:moveTo>
                  <a:lnTo>
                    <a:pt x="579648" y="219928"/>
                  </a:lnTo>
                  <a:lnTo>
                    <a:pt x="579799" y="218415"/>
                  </a:lnTo>
                  <a:lnTo>
                    <a:pt x="578135" y="217205"/>
                  </a:lnTo>
                  <a:lnTo>
                    <a:pt x="576411" y="217205"/>
                  </a:lnTo>
                  <a:lnTo>
                    <a:pt x="575080" y="219293"/>
                  </a:lnTo>
                  <a:lnTo>
                    <a:pt x="575503" y="221017"/>
                  </a:lnTo>
                  <a:lnTo>
                    <a:pt x="577167" y="221350"/>
                  </a:lnTo>
                  <a:lnTo>
                    <a:pt x="578680" y="220472"/>
                  </a:lnTo>
                  <a:close/>
                  <a:moveTo>
                    <a:pt x="581070" y="221985"/>
                  </a:moveTo>
                  <a:lnTo>
                    <a:pt x="583944" y="221985"/>
                  </a:lnTo>
                  <a:lnTo>
                    <a:pt x="585274" y="222287"/>
                  </a:lnTo>
                  <a:lnTo>
                    <a:pt x="586575" y="222892"/>
                  </a:lnTo>
                  <a:lnTo>
                    <a:pt x="584216" y="220926"/>
                  </a:lnTo>
                  <a:lnTo>
                    <a:pt x="582370" y="220563"/>
                  </a:lnTo>
                  <a:lnTo>
                    <a:pt x="580616" y="221683"/>
                  </a:lnTo>
                  <a:lnTo>
                    <a:pt x="578619" y="224254"/>
                  </a:lnTo>
                  <a:lnTo>
                    <a:pt x="576199" y="228610"/>
                  </a:lnTo>
                  <a:lnTo>
                    <a:pt x="575413" y="231000"/>
                  </a:lnTo>
                  <a:lnTo>
                    <a:pt x="575564" y="231786"/>
                  </a:lnTo>
                  <a:lnTo>
                    <a:pt x="581070" y="221985"/>
                  </a:lnTo>
                  <a:close/>
                  <a:moveTo>
                    <a:pt x="831158" y="1077707"/>
                  </a:moveTo>
                  <a:lnTo>
                    <a:pt x="831340" y="1076558"/>
                  </a:lnTo>
                  <a:lnTo>
                    <a:pt x="831914" y="1075196"/>
                  </a:lnTo>
                  <a:lnTo>
                    <a:pt x="832217" y="1074622"/>
                  </a:lnTo>
                  <a:lnTo>
                    <a:pt x="832731" y="1074107"/>
                  </a:lnTo>
                  <a:lnTo>
                    <a:pt x="831733" y="1072746"/>
                  </a:lnTo>
                  <a:lnTo>
                    <a:pt x="830160" y="1072292"/>
                  </a:lnTo>
                  <a:lnTo>
                    <a:pt x="826500" y="1072413"/>
                  </a:lnTo>
                  <a:lnTo>
                    <a:pt x="824382" y="1073865"/>
                  </a:lnTo>
                  <a:lnTo>
                    <a:pt x="827407" y="1076195"/>
                  </a:lnTo>
                  <a:lnTo>
                    <a:pt x="831188" y="1077677"/>
                  </a:lnTo>
                  <a:close/>
                  <a:moveTo>
                    <a:pt x="686496" y="806715"/>
                  </a:moveTo>
                  <a:lnTo>
                    <a:pt x="685982" y="807290"/>
                  </a:lnTo>
                  <a:lnTo>
                    <a:pt x="685558" y="808470"/>
                  </a:lnTo>
                  <a:lnTo>
                    <a:pt x="686768" y="807864"/>
                  </a:lnTo>
                  <a:lnTo>
                    <a:pt x="687283" y="806564"/>
                  </a:lnTo>
                  <a:lnTo>
                    <a:pt x="686496" y="806715"/>
                  </a:lnTo>
                  <a:close/>
                  <a:moveTo>
                    <a:pt x="661599" y="1059557"/>
                  </a:moveTo>
                  <a:lnTo>
                    <a:pt x="663686" y="1057742"/>
                  </a:lnTo>
                  <a:lnTo>
                    <a:pt x="663535" y="1057348"/>
                  </a:lnTo>
                  <a:lnTo>
                    <a:pt x="662506" y="1056622"/>
                  </a:lnTo>
                  <a:lnTo>
                    <a:pt x="660843" y="1056622"/>
                  </a:lnTo>
                  <a:lnTo>
                    <a:pt x="659693" y="1057530"/>
                  </a:lnTo>
                  <a:lnTo>
                    <a:pt x="659209" y="1058437"/>
                  </a:lnTo>
                  <a:lnTo>
                    <a:pt x="659209" y="1059314"/>
                  </a:lnTo>
                  <a:lnTo>
                    <a:pt x="660419" y="1059738"/>
                  </a:lnTo>
                  <a:lnTo>
                    <a:pt x="661569" y="1059526"/>
                  </a:lnTo>
                  <a:close/>
                  <a:moveTo>
                    <a:pt x="802177" y="1075680"/>
                  </a:moveTo>
                  <a:lnTo>
                    <a:pt x="803357" y="1075590"/>
                  </a:lnTo>
                  <a:lnTo>
                    <a:pt x="803357" y="1075166"/>
                  </a:lnTo>
                  <a:lnTo>
                    <a:pt x="802782" y="1074561"/>
                  </a:lnTo>
                  <a:lnTo>
                    <a:pt x="802419" y="1073321"/>
                  </a:lnTo>
                  <a:lnTo>
                    <a:pt x="801209" y="1072383"/>
                  </a:lnTo>
                  <a:lnTo>
                    <a:pt x="799424" y="1071990"/>
                  </a:lnTo>
                  <a:lnTo>
                    <a:pt x="799061" y="1072111"/>
                  </a:lnTo>
                  <a:lnTo>
                    <a:pt x="799183" y="1073563"/>
                  </a:lnTo>
                  <a:lnTo>
                    <a:pt x="799969" y="1075076"/>
                  </a:lnTo>
                  <a:lnTo>
                    <a:pt x="802177" y="1075680"/>
                  </a:lnTo>
                  <a:close/>
                  <a:moveTo>
                    <a:pt x="902400" y="1114463"/>
                  </a:moveTo>
                  <a:lnTo>
                    <a:pt x="903822" y="1112890"/>
                  </a:lnTo>
                  <a:lnTo>
                    <a:pt x="907906" y="1110409"/>
                  </a:lnTo>
                  <a:lnTo>
                    <a:pt x="908905" y="1110500"/>
                  </a:lnTo>
                  <a:lnTo>
                    <a:pt x="909721" y="1110348"/>
                  </a:lnTo>
                  <a:lnTo>
                    <a:pt x="910296" y="1109804"/>
                  </a:lnTo>
                  <a:lnTo>
                    <a:pt x="910629" y="1108806"/>
                  </a:lnTo>
                  <a:lnTo>
                    <a:pt x="907029" y="1108231"/>
                  </a:lnTo>
                  <a:lnTo>
                    <a:pt x="901311" y="1105902"/>
                  </a:lnTo>
                  <a:lnTo>
                    <a:pt x="898226" y="1105599"/>
                  </a:lnTo>
                  <a:lnTo>
                    <a:pt x="896622" y="1106204"/>
                  </a:lnTo>
                  <a:lnTo>
                    <a:pt x="892599" y="1109713"/>
                  </a:lnTo>
                  <a:lnTo>
                    <a:pt x="888666" y="1111438"/>
                  </a:lnTo>
                  <a:lnTo>
                    <a:pt x="887456" y="1112436"/>
                  </a:lnTo>
                  <a:lnTo>
                    <a:pt x="885217" y="1113858"/>
                  </a:lnTo>
                  <a:lnTo>
                    <a:pt x="877292" y="1116399"/>
                  </a:lnTo>
                  <a:lnTo>
                    <a:pt x="874357" y="1116853"/>
                  </a:lnTo>
                  <a:lnTo>
                    <a:pt x="872573" y="1116792"/>
                  </a:lnTo>
                  <a:lnTo>
                    <a:pt x="870909" y="1116490"/>
                  </a:lnTo>
                  <a:lnTo>
                    <a:pt x="869668" y="1115673"/>
                  </a:lnTo>
                  <a:lnTo>
                    <a:pt x="869215" y="1114130"/>
                  </a:lnTo>
                  <a:lnTo>
                    <a:pt x="869789" y="1111317"/>
                  </a:lnTo>
                  <a:lnTo>
                    <a:pt x="869457" y="1110107"/>
                  </a:lnTo>
                  <a:lnTo>
                    <a:pt x="868852" y="1110107"/>
                  </a:lnTo>
                  <a:lnTo>
                    <a:pt x="869215" y="1110470"/>
                  </a:lnTo>
                  <a:lnTo>
                    <a:pt x="868821" y="1111438"/>
                  </a:lnTo>
                  <a:lnTo>
                    <a:pt x="868731" y="1111740"/>
                  </a:lnTo>
                  <a:lnTo>
                    <a:pt x="868882" y="1111982"/>
                  </a:lnTo>
                  <a:lnTo>
                    <a:pt x="869184" y="1112890"/>
                  </a:lnTo>
                  <a:lnTo>
                    <a:pt x="865403" y="1119696"/>
                  </a:lnTo>
                  <a:lnTo>
                    <a:pt x="862801" y="1122873"/>
                  </a:lnTo>
                  <a:lnTo>
                    <a:pt x="857295" y="1124658"/>
                  </a:lnTo>
                  <a:lnTo>
                    <a:pt x="855541" y="1125535"/>
                  </a:lnTo>
                  <a:lnTo>
                    <a:pt x="853786" y="1126140"/>
                  </a:lnTo>
                  <a:lnTo>
                    <a:pt x="851850" y="1125777"/>
                  </a:lnTo>
                  <a:lnTo>
                    <a:pt x="851306" y="1125263"/>
                  </a:lnTo>
                  <a:lnTo>
                    <a:pt x="850277" y="1123780"/>
                  </a:lnTo>
                  <a:lnTo>
                    <a:pt x="849884" y="1123387"/>
                  </a:lnTo>
                  <a:lnTo>
                    <a:pt x="848885" y="1123205"/>
                  </a:lnTo>
                  <a:lnTo>
                    <a:pt x="845679" y="1123387"/>
                  </a:lnTo>
                  <a:lnTo>
                    <a:pt x="843108" y="1122631"/>
                  </a:lnTo>
                  <a:lnTo>
                    <a:pt x="841898" y="1122510"/>
                  </a:lnTo>
                  <a:lnTo>
                    <a:pt x="841232" y="1122026"/>
                  </a:lnTo>
                  <a:lnTo>
                    <a:pt x="839417" y="1119847"/>
                  </a:lnTo>
                  <a:lnTo>
                    <a:pt x="838449" y="1119364"/>
                  </a:lnTo>
                  <a:lnTo>
                    <a:pt x="835605" y="1119152"/>
                  </a:lnTo>
                  <a:lnTo>
                    <a:pt x="834637" y="1119364"/>
                  </a:lnTo>
                  <a:lnTo>
                    <a:pt x="833699" y="1119757"/>
                  </a:lnTo>
                  <a:lnTo>
                    <a:pt x="832308" y="1120573"/>
                  </a:lnTo>
                  <a:lnTo>
                    <a:pt x="824654" y="1122359"/>
                  </a:lnTo>
                  <a:lnTo>
                    <a:pt x="822597" y="1122479"/>
                  </a:lnTo>
                  <a:lnTo>
                    <a:pt x="819300" y="1122237"/>
                  </a:lnTo>
                  <a:lnTo>
                    <a:pt x="818181" y="1122691"/>
                  </a:lnTo>
                  <a:lnTo>
                    <a:pt x="814399" y="1126957"/>
                  </a:lnTo>
                  <a:lnTo>
                    <a:pt x="811555" y="1129528"/>
                  </a:lnTo>
                  <a:lnTo>
                    <a:pt x="808228" y="1131615"/>
                  </a:lnTo>
                  <a:lnTo>
                    <a:pt x="795855" y="1135972"/>
                  </a:lnTo>
                  <a:lnTo>
                    <a:pt x="791045" y="1136789"/>
                  </a:lnTo>
                  <a:lnTo>
                    <a:pt x="787808" y="1135366"/>
                  </a:lnTo>
                  <a:lnTo>
                    <a:pt x="783028" y="1137696"/>
                  </a:lnTo>
                  <a:lnTo>
                    <a:pt x="777644" y="1139057"/>
                  </a:lnTo>
                  <a:lnTo>
                    <a:pt x="771805" y="1139390"/>
                  </a:lnTo>
                  <a:lnTo>
                    <a:pt x="759523" y="1137787"/>
                  </a:lnTo>
                  <a:lnTo>
                    <a:pt x="756468" y="1138513"/>
                  </a:lnTo>
                  <a:lnTo>
                    <a:pt x="754985" y="1138664"/>
                  </a:lnTo>
                  <a:lnTo>
                    <a:pt x="752686" y="1138361"/>
                  </a:lnTo>
                  <a:lnTo>
                    <a:pt x="750568" y="1137605"/>
                  </a:lnTo>
                  <a:lnTo>
                    <a:pt x="746333" y="1135366"/>
                  </a:lnTo>
                  <a:lnTo>
                    <a:pt x="745002" y="1136667"/>
                  </a:lnTo>
                  <a:lnTo>
                    <a:pt x="738074" y="1137787"/>
                  </a:lnTo>
                  <a:lnTo>
                    <a:pt x="736713" y="1138604"/>
                  </a:lnTo>
                  <a:lnTo>
                    <a:pt x="735443" y="1139693"/>
                  </a:lnTo>
                  <a:lnTo>
                    <a:pt x="734051" y="1140660"/>
                  </a:lnTo>
                  <a:lnTo>
                    <a:pt x="729907" y="1141568"/>
                  </a:lnTo>
                  <a:lnTo>
                    <a:pt x="725430" y="1143776"/>
                  </a:lnTo>
                  <a:lnTo>
                    <a:pt x="723221" y="1144261"/>
                  </a:lnTo>
                  <a:lnTo>
                    <a:pt x="716778" y="1143413"/>
                  </a:lnTo>
                  <a:lnTo>
                    <a:pt x="714599" y="1143474"/>
                  </a:lnTo>
                  <a:lnTo>
                    <a:pt x="714811" y="1143050"/>
                  </a:lnTo>
                  <a:lnTo>
                    <a:pt x="714811" y="1142899"/>
                  </a:lnTo>
                  <a:lnTo>
                    <a:pt x="715295" y="1142566"/>
                  </a:lnTo>
                  <a:lnTo>
                    <a:pt x="713843" y="1141901"/>
                  </a:lnTo>
                  <a:lnTo>
                    <a:pt x="709154" y="1141054"/>
                  </a:lnTo>
                  <a:lnTo>
                    <a:pt x="706250" y="1139390"/>
                  </a:lnTo>
                  <a:lnTo>
                    <a:pt x="702711" y="1136607"/>
                  </a:lnTo>
                  <a:lnTo>
                    <a:pt x="699746" y="1135427"/>
                  </a:lnTo>
                  <a:lnTo>
                    <a:pt x="698717" y="1134580"/>
                  </a:lnTo>
                  <a:lnTo>
                    <a:pt x="698052" y="1133249"/>
                  </a:lnTo>
                  <a:lnTo>
                    <a:pt x="697901" y="1132160"/>
                  </a:lnTo>
                  <a:lnTo>
                    <a:pt x="698082" y="1130133"/>
                  </a:lnTo>
                  <a:lnTo>
                    <a:pt x="695299" y="1128197"/>
                  </a:lnTo>
                  <a:lnTo>
                    <a:pt x="683017" y="1129044"/>
                  </a:lnTo>
                  <a:lnTo>
                    <a:pt x="681535" y="1125747"/>
                  </a:lnTo>
                  <a:lnTo>
                    <a:pt x="681202" y="1124658"/>
                  </a:lnTo>
                  <a:lnTo>
                    <a:pt x="681051" y="1120876"/>
                  </a:lnTo>
                  <a:lnTo>
                    <a:pt x="680476" y="1120090"/>
                  </a:lnTo>
                  <a:lnTo>
                    <a:pt x="676664" y="1117669"/>
                  </a:lnTo>
                  <a:lnTo>
                    <a:pt x="676422" y="1117125"/>
                  </a:lnTo>
                  <a:lnTo>
                    <a:pt x="676332" y="1116308"/>
                  </a:lnTo>
                  <a:lnTo>
                    <a:pt x="676150" y="1115552"/>
                  </a:lnTo>
                  <a:lnTo>
                    <a:pt x="675635" y="1115250"/>
                  </a:lnTo>
                  <a:lnTo>
                    <a:pt x="674849" y="1115370"/>
                  </a:lnTo>
                  <a:lnTo>
                    <a:pt x="673488" y="1115976"/>
                  </a:lnTo>
                  <a:lnTo>
                    <a:pt x="671521" y="1116459"/>
                  </a:lnTo>
                  <a:lnTo>
                    <a:pt x="670402" y="1117065"/>
                  </a:lnTo>
                  <a:lnTo>
                    <a:pt x="669252" y="1117397"/>
                  </a:lnTo>
                  <a:lnTo>
                    <a:pt x="667710" y="1116883"/>
                  </a:lnTo>
                  <a:lnTo>
                    <a:pt x="666833" y="1119515"/>
                  </a:lnTo>
                  <a:lnTo>
                    <a:pt x="664503" y="1120513"/>
                  </a:lnTo>
                  <a:lnTo>
                    <a:pt x="661720" y="1120513"/>
                  </a:lnTo>
                  <a:lnTo>
                    <a:pt x="659451" y="1120090"/>
                  </a:lnTo>
                  <a:lnTo>
                    <a:pt x="655972" y="1118758"/>
                  </a:lnTo>
                  <a:lnTo>
                    <a:pt x="654974" y="1118547"/>
                  </a:lnTo>
                  <a:lnTo>
                    <a:pt x="653824" y="1118880"/>
                  </a:lnTo>
                  <a:lnTo>
                    <a:pt x="652705" y="1119666"/>
                  </a:lnTo>
                  <a:lnTo>
                    <a:pt x="652100" y="1120664"/>
                  </a:lnTo>
                  <a:lnTo>
                    <a:pt x="652675" y="1121693"/>
                  </a:lnTo>
                  <a:lnTo>
                    <a:pt x="649165" y="1124537"/>
                  </a:lnTo>
                  <a:lnTo>
                    <a:pt x="649377" y="1125626"/>
                  </a:lnTo>
                  <a:lnTo>
                    <a:pt x="650315" y="1126745"/>
                  </a:lnTo>
                  <a:lnTo>
                    <a:pt x="650527" y="1127804"/>
                  </a:lnTo>
                  <a:lnTo>
                    <a:pt x="650678" y="1129256"/>
                  </a:lnTo>
                  <a:lnTo>
                    <a:pt x="650860" y="1129952"/>
                  </a:lnTo>
                  <a:lnTo>
                    <a:pt x="650678" y="1130466"/>
                  </a:lnTo>
                  <a:lnTo>
                    <a:pt x="649831" y="1131373"/>
                  </a:lnTo>
                  <a:lnTo>
                    <a:pt x="646413" y="1133824"/>
                  </a:lnTo>
                  <a:lnTo>
                    <a:pt x="638033" y="1137272"/>
                  </a:lnTo>
                  <a:lnTo>
                    <a:pt x="633707" y="1137817"/>
                  </a:lnTo>
                  <a:lnTo>
                    <a:pt x="630531" y="1136123"/>
                  </a:lnTo>
                  <a:lnTo>
                    <a:pt x="630470" y="1135094"/>
                  </a:lnTo>
                  <a:lnTo>
                    <a:pt x="629260" y="1134247"/>
                  </a:lnTo>
                  <a:lnTo>
                    <a:pt x="626417" y="1132916"/>
                  </a:lnTo>
                  <a:lnTo>
                    <a:pt x="625358" y="1131978"/>
                  </a:lnTo>
                  <a:lnTo>
                    <a:pt x="622575" y="1127410"/>
                  </a:lnTo>
                  <a:lnTo>
                    <a:pt x="620094" y="1122056"/>
                  </a:lnTo>
                  <a:lnTo>
                    <a:pt x="619580" y="1119908"/>
                  </a:lnTo>
                  <a:lnTo>
                    <a:pt x="618430" y="1119787"/>
                  </a:lnTo>
                  <a:lnTo>
                    <a:pt x="617281" y="1119908"/>
                  </a:lnTo>
                  <a:lnTo>
                    <a:pt x="616675" y="1118517"/>
                  </a:lnTo>
                  <a:lnTo>
                    <a:pt x="615466" y="1120544"/>
                  </a:lnTo>
                  <a:lnTo>
                    <a:pt x="615889" y="1123478"/>
                  </a:lnTo>
                  <a:lnTo>
                    <a:pt x="616040" y="1126352"/>
                  </a:lnTo>
                  <a:lnTo>
                    <a:pt x="613953" y="1128106"/>
                  </a:lnTo>
                  <a:lnTo>
                    <a:pt x="612682" y="1127955"/>
                  </a:lnTo>
                  <a:lnTo>
                    <a:pt x="611079" y="1127531"/>
                  </a:lnTo>
                  <a:lnTo>
                    <a:pt x="609718" y="1127471"/>
                  </a:lnTo>
                  <a:lnTo>
                    <a:pt x="609143" y="1128499"/>
                  </a:lnTo>
                  <a:lnTo>
                    <a:pt x="608629" y="1130375"/>
                  </a:lnTo>
                  <a:lnTo>
                    <a:pt x="607328" y="1131767"/>
                  </a:lnTo>
                  <a:lnTo>
                    <a:pt x="604272" y="1133763"/>
                  </a:lnTo>
                  <a:lnTo>
                    <a:pt x="601066" y="1132674"/>
                  </a:lnTo>
                  <a:lnTo>
                    <a:pt x="598374" y="1134671"/>
                  </a:lnTo>
                  <a:lnTo>
                    <a:pt x="595742" y="1137393"/>
                  </a:lnTo>
                  <a:lnTo>
                    <a:pt x="592686" y="1138573"/>
                  </a:lnTo>
                  <a:lnTo>
                    <a:pt x="593806" y="1139753"/>
                  </a:lnTo>
                  <a:lnTo>
                    <a:pt x="593684" y="1141417"/>
                  </a:lnTo>
                  <a:lnTo>
                    <a:pt x="593049" y="1143353"/>
                  </a:lnTo>
                  <a:lnTo>
                    <a:pt x="592414" y="1146469"/>
                  </a:lnTo>
                  <a:lnTo>
                    <a:pt x="590054" y="1150885"/>
                  </a:lnTo>
                  <a:lnTo>
                    <a:pt x="589782" y="1151128"/>
                  </a:lnTo>
                  <a:lnTo>
                    <a:pt x="589782" y="1151279"/>
                  </a:lnTo>
                  <a:lnTo>
                    <a:pt x="589842" y="1152065"/>
                  </a:lnTo>
                  <a:lnTo>
                    <a:pt x="590115" y="1153124"/>
                  </a:lnTo>
                  <a:lnTo>
                    <a:pt x="591022" y="1154425"/>
                  </a:lnTo>
                  <a:lnTo>
                    <a:pt x="591234" y="1154969"/>
                  </a:lnTo>
                  <a:lnTo>
                    <a:pt x="591143" y="1155998"/>
                  </a:lnTo>
                  <a:lnTo>
                    <a:pt x="590599" y="1158146"/>
                  </a:lnTo>
                  <a:lnTo>
                    <a:pt x="590387" y="1158237"/>
                  </a:lnTo>
                  <a:lnTo>
                    <a:pt x="589661" y="1161473"/>
                  </a:lnTo>
                  <a:lnTo>
                    <a:pt x="589873" y="1161836"/>
                  </a:lnTo>
                  <a:lnTo>
                    <a:pt x="589419" y="1162290"/>
                  </a:lnTo>
                  <a:lnTo>
                    <a:pt x="587967" y="1163107"/>
                  </a:lnTo>
                  <a:lnTo>
                    <a:pt x="587816" y="1162623"/>
                  </a:lnTo>
                  <a:lnTo>
                    <a:pt x="586091" y="1163410"/>
                  </a:lnTo>
                  <a:lnTo>
                    <a:pt x="586031" y="1164831"/>
                  </a:lnTo>
                  <a:lnTo>
                    <a:pt x="586969" y="1166465"/>
                  </a:lnTo>
                  <a:lnTo>
                    <a:pt x="588149" y="1167856"/>
                  </a:lnTo>
                  <a:lnTo>
                    <a:pt x="588996" y="1169218"/>
                  </a:lnTo>
                  <a:lnTo>
                    <a:pt x="589268" y="1170609"/>
                  </a:lnTo>
                  <a:lnTo>
                    <a:pt x="589389" y="1172122"/>
                  </a:lnTo>
                  <a:lnTo>
                    <a:pt x="589842" y="1173876"/>
                  </a:lnTo>
                  <a:lnTo>
                    <a:pt x="590780" y="1175843"/>
                  </a:lnTo>
                  <a:lnTo>
                    <a:pt x="592263" y="1178203"/>
                  </a:lnTo>
                  <a:lnTo>
                    <a:pt x="593987" y="1180199"/>
                  </a:lnTo>
                  <a:lnTo>
                    <a:pt x="595742" y="1181046"/>
                  </a:lnTo>
                  <a:lnTo>
                    <a:pt x="599765" y="1181107"/>
                  </a:lnTo>
                  <a:lnTo>
                    <a:pt x="601217" y="1181772"/>
                  </a:lnTo>
                  <a:lnTo>
                    <a:pt x="602911" y="1183406"/>
                  </a:lnTo>
                  <a:lnTo>
                    <a:pt x="607086" y="1189880"/>
                  </a:lnTo>
                  <a:lnTo>
                    <a:pt x="609415" y="1191876"/>
                  </a:lnTo>
                  <a:lnTo>
                    <a:pt x="613287" y="1192148"/>
                  </a:lnTo>
                  <a:lnTo>
                    <a:pt x="621667" y="1190818"/>
                  </a:lnTo>
                  <a:lnTo>
                    <a:pt x="629835" y="1190545"/>
                  </a:lnTo>
                  <a:lnTo>
                    <a:pt x="637942" y="1191483"/>
                  </a:lnTo>
                  <a:lnTo>
                    <a:pt x="641089" y="1192754"/>
                  </a:lnTo>
                  <a:lnTo>
                    <a:pt x="643690" y="1195295"/>
                  </a:lnTo>
                  <a:lnTo>
                    <a:pt x="644114" y="1196263"/>
                  </a:lnTo>
                  <a:lnTo>
                    <a:pt x="644749" y="1198622"/>
                  </a:lnTo>
                  <a:lnTo>
                    <a:pt x="645384" y="1199711"/>
                  </a:lnTo>
                  <a:lnTo>
                    <a:pt x="646352" y="1200195"/>
                  </a:lnTo>
                  <a:lnTo>
                    <a:pt x="647411" y="1200014"/>
                  </a:lnTo>
                  <a:lnTo>
                    <a:pt x="648893" y="1199348"/>
                  </a:lnTo>
                  <a:lnTo>
                    <a:pt x="661236" y="1200952"/>
                  </a:lnTo>
                  <a:lnTo>
                    <a:pt x="661780" y="1201315"/>
                  </a:lnTo>
                  <a:lnTo>
                    <a:pt x="662779" y="1202979"/>
                  </a:lnTo>
                  <a:lnTo>
                    <a:pt x="663323" y="1203342"/>
                  </a:lnTo>
                  <a:lnTo>
                    <a:pt x="664473" y="1203644"/>
                  </a:lnTo>
                  <a:lnTo>
                    <a:pt x="665290" y="1204310"/>
                  </a:lnTo>
                  <a:lnTo>
                    <a:pt x="666439" y="1205701"/>
                  </a:lnTo>
                  <a:lnTo>
                    <a:pt x="668648" y="1206851"/>
                  </a:lnTo>
                  <a:lnTo>
                    <a:pt x="669252" y="1207335"/>
                  </a:lnTo>
                  <a:lnTo>
                    <a:pt x="671733" y="1211751"/>
                  </a:lnTo>
                  <a:lnTo>
                    <a:pt x="672853" y="1212296"/>
                  </a:lnTo>
                  <a:lnTo>
                    <a:pt x="674153" y="1212689"/>
                  </a:lnTo>
                  <a:lnTo>
                    <a:pt x="675091" y="1213264"/>
                  </a:lnTo>
                  <a:lnTo>
                    <a:pt x="676936" y="1214958"/>
                  </a:lnTo>
                  <a:lnTo>
                    <a:pt x="681232" y="1217288"/>
                  </a:lnTo>
                  <a:lnTo>
                    <a:pt x="686194" y="1220978"/>
                  </a:lnTo>
                  <a:lnTo>
                    <a:pt x="689339" y="1222793"/>
                  </a:lnTo>
                  <a:lnTo>
                    <a:pt x="692970" y="1224003"/>
                  </a:lnTo>
                  <a:lnTo>
                    <a:pt x="697568" y="1224729"/>
                  </a:lnTo>
                  <a:lnTo>
                    <a:pt x="701077" y="1225727"/>
                  </a:lnTo>
                  <a:lnTo>
                    <a:pt x="704042" y="1227664"/>
                  </a:lnTo>
                  <a:lnTo>
                    <a:pt x="712573" y="1235469"/>
                  </a:lnTo>
                  <a:lnTo>
                    <a:pt x="715809" y="1237556"/>
                  </a:lnTo>
                  <a:lnTo>
                    <a:pt x="719410" y="1238978"/>
                  </a:lnTo>
                  <a:lnTo>
                    <a:pt x="723735" y="1239825"/>
                  </a:lnTo>
                  <a:lnTo>
                    <a:pt x="727577" y="1241246"/>
                  </a:lnTo>
                  <a:lnTo>
                    <a:pt x="733779" y="1245724"/>
                  </a:lnTo>
                  <a:lnTo>
                    <a:pt x="738226" y="1246299"/>
                  </a:lnTo>
                  <a:lnTo>
                    <a:pt x="739254" y="1245966"/>
                  </a:lnTo>
                  <a:lnTo>
                    <a:pt x="741130" y="1244877"/>
                  </a:lnTo>
                  <a:lnTo>
                    <a:pt x="742038" y="1244635"/>
                  </a:lnTo>
                  <a:lnTo>
                    <a:pt x="753352" y="1243758"/>
                  </a:lnTo>
                  <a:lnTo>
                    <a:pt x="757133" y="1244393"/>
                  </a:lnTo>
                  <a:lnTo>
                    <a:pt x="765422" y="1247992"/>
                  </a:lnTo>
                  <a:lnTo>
                    <a:pt x="772501" y="1252288"/>
                  </a:lnTo>
                  <a:lnTo>
                    <a:pt x="781667" y="1260456"/>
                  </a:lnTo>
                  <a:lnTo>
                    <a:pt x="784148" y="1263723"/>
                  </a:lnTo>
                  <a:lnTo>
                    <a:pt x="792315" y="1279878"/>
                  </a:lnTo>
                  <a:lnTo>
                    <a:pt x="793495" y="1281209"/>
                  </a:lnTo>
                  <a:lnTo>
                    <a:pt x="801391" y="1282933"/>
                  </a:lnTo>
                  <a:lnTo>
                    <a:pt x="803025" y="1282570"/>
                  </a:lnTo>
                  <a:lnTo>
                    <a:pt x="804809" y="1283629"/>
                  </a:lnTo>
                  <a:lnTo>
                    <a:pt x="810738" y="1285747"/>
                  </a:lnTo>
                  <a:lnTo>
                    <a:pt x="812009" y="1286896"/>
                  </a:lnTo>
                  <a:lnTo>
                    <a:pt x="813310" y="1288923"/>
                  </a:lnTo>
                  <a:lnTo>
                    <a:pt x="819300" y="1289709"/>
                  </a:lnTo>
                  <a:lnTo>
                    <a:pt x="820963" y="1291192"/>
                  </a:lnTo>
                  <a:lnTo>
                    <a:pt x="822234" y="1290738"/>
                  </a:lnTo>
                  <a:lnTo>
                    <a:pt x="822506" y="1291010"/>
                  </a:lnTo>
                  <a:lnTo>
                    <a:pt x="822960" y="1291978"/>
                  </a:lnTo>
                  <a:lnTo>
                    <a:pt x="829615" y="1288892"/>
                  </a:lnTo>
                  <a:lnTo>
                    <a:pt x="833185" y="1288378"/>
                  </a:lnTo>
                  <a:lnTo>
                    <a:pt x="836845" y="1289618"/>
                  </a:lnTo>
                  <a:lnTo>
                    <a:pt x="840748" y="1292160"/>
                  </a:lnTo>
                  <a:lnTo>
                    <a:pt x="843259" y="1293188"/>
                  </a:lnTo>
                  <a:lnTo>
                    <a:pt x="844408" y="1292371"/>
                  </a:lnTo>
                  <a:lnTo>
                    <a:pt x="844802" y="1291645"/>
                  </a:lnTo>
                  <a:lnTo>
                    <a:pt x="845740" y="1291585"/>
                  </a:lnTo>
                  <a:lnTo>
                    <a:pt x="847131" y="1291978"/>
                  </a:lnTo>
                  <a:lnTo>
                    <a:pt x="848341" y="1292613"/>
                  </a:lnTo>
                  <a:lnTo>
                    <a:pt x="849128" y="1293340"/>
                  </a:lnTo>
                  <a:lnTo>
                    <a:pt x="850580" y="1295185"/>
                  </a:lnTo>
                  <a:lnTo>
                    <a:pt x="852425" y="1296607"/>
                  </a:lnTo>
                  <a:lnTo>
                    <a:pt x="854482" y="1297091"/>
                  </a:lnTo>
                  <a:lnTo>
                    <a:pt x="856539" y="1296516"/>
                  </a:lnTo>
                  <a:lnTo>
                    <a:pt x="858536" y="1294761"/>
                  </a:lnTo>
                  <a:lnTo>
                    <a:pt x="858596" y="1293340"/>
                  </a:lnTo>
                  <a:lnTo>
                    <a:pt x="856811" y="1286503"/>
                  </a:lnTo>
                  <a:lnTo>
                    <a:pt x="854966" y="1282782"/>
                  </a:lnTo>
                  <a:lnTo>
                    <a:pt x="854482" y="1280483"/>
                  </a:lnTo>
                  <a:lnTo>
                    <a:pt x="855753" y="1279454"/>
                  </a:lnTo>
                  <a:lnTo>
                    <a:pt x="855874" y="1278123"/>
                  </a:lnTo>
                  <a:lnTo>
                    <a:pt x="860986" y="1266143"/>
                  </a:lnTo>
                  <a:lnTo>
                    <a:pt x="862620" y="1263845"/>
                  </a:lnTo>
                  <a:lnTo>
                    <a:pt x="864767" y="1262876"/>
                  </a:lnTo>
                  <a:lnTo>
                    <a:pt x="866341" y="1262422"/>
                  </a:lnTo>
                  <a:lnTo>
                    <a:pt x="867853" y="1261485"/>
                  </a:lnTo>
                  <a:lnTo>
                    <a:pt x="869638" y="1260638"/>
                  </a:lnTo>
                  <a:lnTo>
                    <a:pt x="871998" y="1260517"/>
                  </a:lnTo>
                  <a:lnTo>
                    <a:pt x="871998" y="1259670"/>
                  </a:lnTo>
                  <a:lnTo>
                    <a:pt x="871574" y="1258914"/>
                  </a:lnTo>
                  <a:lnTo>
                    <a:pt x="871816" y="1258671"/>
                  </a:lnTo>
                  <a:lnTo>
                    <a:pt x="872693" y="1258188"/>
                  </a:lnTo>
                  <a:lnTo>
                    <a:pt x="871998" y="1257401"/>
                  </a:lnTo>
                  <a:lnTo>
                    <a:pt x="875537" y="1255555"/>
                  </a:lnTo>
                  <a:lnTo>
                    <a:pt x="876081" y="1255374"/>
                  </a:lnTo>
                  <a:lnTo>
                    <a:pt x="876596" y="1255979"/>
                  </a:lnTo>
                  <a:lnTo>
                    <a:pt x="877655" y="1256433"/>
                  </a:lnTo>
                  <a:lnTo>
                    <a:pt x="878411" y="1256070"/>
                  </a:lnTo>
                  <a:lnTo>
                    <a:pt x="878108" y="1254194"/>
                  </a:lnTo>
                  <a:lnTo>
                    <a:pt x="877261" y="1252742"/>
                  </a:lnTo>
                  <a:lnTo>
                    <a:pt x="876384" y="1252319"/>
                  </a:lnTo>
                  <a:lnTo>
                    <a:pt x="874327" y="1252560"/>
                  </a:lnTo>
                  <a:lnTo>
                    <a:pt x="873510" y="1251804"/>
                  </a:lnTo>
                  <a:lnTo>
                    <a:pt x="873329" y="1250382"/>
                  </a:lnTo>
                  <a:lnTo>
                    <a:pt x="873934" y="1249445"/>
                  </a:lnTo>
                  <a:lnTo>
                    <a:pt x="875416" y="1250171"/>
                  </a:lnTo>
                  <a:lnTo>
                    <a:pt x="875930" y="1247388"/>
                  </a:lnTo>
                  <a:lnTo>
                    <a:pt x="875477" y="1245694"/>
                  </a:lnTo>
                  <a:lnTo>
                    <a:pt x="874025" y="1244877"/>
                  </a:lnTo>
                  <a:lnTo>
                    <a:pt x="871604" y="1244665"/>
                  </a:lnTo>
                  <a:lnTo>
                    <a:pt x="869789" y="1243758"/>
                  </a:lnTo>
                  <a:lnTo>
                    <a:pt x="868307" y="1241821"/>
                  </a:lnTo>
                  <a:lnTo>
                    <a:pt x="868035" y="1240097"/>
                  </a:lnTo>
                  <a:lnTo>
                    <a:pt x="869880" y="1239855"/>
                  </a:lnTo>
                  <a:lnTo>
                    <a:pt x="869880" y="1239068"/>
                  </a:lnTo>
                  <a:lnTo>
                    <a:pt x="868428" y="1238342"/>
                  </a:lnTo>
                  <a:lnTo>
                    <a:pt x="866734" y="1239462"/>
                  </a:lnTo>
                  <a:lnTo>
                    <a:pt x="864556" y="1237012"/>
                  </a:lnTo>
                  <a:lnTo>
                    <a:pt x="863437" y="1233381"/>
                  </a:lnTo>
                  <a:lnTo>
                    <a:pt x="865010" y="1231052"/>
                  </a:lnTo>
                  <a:lnTo>
                    <a:pt x="864404" y="1229630"/>
                  </a:lnTo>
                  <a:lnTo>
                    <a:pt x="865675" y="1229085"/>
                  </a:lnTo>
                  <a:lnTo>
                    <a:pt x="866734" y="1229085"/>
                  </a:lnTo>
                  <a:lnTo>
                    <a:pt x="867339" y="1229932"/>
                  </a:lnTo>
                  <a:lnTo>
                    <a:pt x="867188" y="1231929"/>
                  </a:lnTo>
                  <a:lnTo>
                    <a:pt x="868065" y="1230749"/>
                  </a:lnTo>
                  <a:lnTo>
                    <a:pt x="868761" y="1229418"/>
                  </a:lnTo>
                  <a:lnTo>
                    <a:pt x="869698" y="1228934"/>
                  </a:lnTo>
                  <a:lnTo>
                    <a:pt x="871332" y="1230356"/>
                  </a:lnTo>
                  <a:lnTo>
                    <a:pt x="870394" y="1227573"/>
                  </a:lnTo>
                  <a:lnTo>
                    <a:pt x="868852" y="1225607"/>
                  </a:lnTo>
                  <a:lnTo>
                    <a:pt x="866916" y="1224397"/>
                  </a:lnTo>
                  <a:lnTo>
                    <a:pt x="863134" y="1223731"/>
                  </a:lnTo>
                  <a:lnTo>
                    <a:pt x="856146" y="1220131"/>
                  </a:lnTo>
                  <a:lnTo>
                    <a:pt x="855420" y="1219193"/>
                  </a:lnTo>
                  <a:lnTo>
                    <a:pt x="854724" y="1217590"/>
                  </a:lnTo>
                  <a:lnTo>
                    <a:pt x="854270" y="1215624"/>
                  </a:lnTo>
                  <a:lnTo>
                    <a:pt x="854028" y="1204128"/>
                  </a:lnTo>
                  <a:lnTo>
                    <a:pt x="854240" y="1202041"/>
                  </a:lnTo>
                  <a:lnTo>
                    <a:pt x="854754" y="1200074"/>
                  </a:lnTo>
                  <a:lnTo>
                    <a:pt x="856691" y="1196838"/>
                  </a:lnTo>
                  <a:lnTo>
                    <a:pt x="861500" y="1191544"/>
                  </a:lnTo>
                  <a:lnTo>
                    <a:pt x="862983" y="1187278"/>
                  </a:lnTo>
                  <a:lnTo>
                    <a:pt x="863588" y="1184798"/>
                  </a:lnTo>
                  <a:lnTo>
                    <a:pt x="864798" y="1181379"/>
                  </a:lnTo>
                  <a:lnTo>
                    <a:pt x="865040" y="1178989"/>
                  </a:lnTo>
                  <a:lnTo>
                    <a:pt x="865342" y="1177870"/>
                  </a:lnTo>
                  <a:lnTo>
                    <a:pt x="866734" y="1176569"/>
                  </a:lnTo>
                  <a:lnTo>
                    <a:pt x="867157" y="1175389"/>
                  </a:lnTo>
                  <a:lnTo>
                    <a:pt x="866976" y="1174058"/>
                  </a:lnTo>
                  <a:lnTo>
                    <a:pt x="865947" y="1171850"/>
                  </a:lnTo>
                  <a:lnTo>
                    <a:pt x="865766" y="1170609"/>
                  </a:lnTo>
                  <a:lnTo>
                    <a:pt x="866401" y="1169006"/>
                  </a:lnTo>
                  <a:lnTo>
                    <a:pt x="869215" y="1165043"/>
                  </a:lnTo>
                  <a:lnTo>
                    <a:pt x="871756" y="1163137"/>
                  </a:lnTo>
                  <a:lnTo>
                    <a:pt x="873480" y="1160687"/>
                  </a:lnTo>
                  <a:lnTo>
                    <a:pt x="875416" y="1157027"/>
                  </a:lnTo>
                  <a:lnTo>
                    <a:pt x="884461" y="1143958"/>
                  </a:lnTo>
                  <a:lnTo>
                    <a:pt x="895291" y="1131222"/>
                  </a:lnTo>
                  <a:lnTo>
                    <a:pt x="897983" y="1125141"/>
                  </a:lnTo>
                  <a:lnTo>
                    <a:pt x="902885" y="1117700"/>
                  </a:lnTo>
                  <a:lnTo>
                    <a:pt x="901281" y="1117760"/>
                  </a:lnTo>
                  <a:lnTo>
                    <a:pt x="901584" y="1116066"/>
                  </a:lnTo>
                  <a:lnTo>
                    <a:pt x="902249" y="1114584"/>
                  </a:lnTo>
                  <a:close/>
                  <a:moveTo>
                    <a:pt x="630440" y="1386574"/>
                  </a:moveTo>
                  <a:lnTo>
                    <a:pt x="629714" y="1386574"/>
                  </a:lnTo>
                  <a:lnTo>
                    <a:pt x="629079" y="1386696"/>
                  </a:lnTo>
                  <a:lnTo>
                    <a:pt x="628413" y="1387028"/>
                  </a:lnTo>
                  <a:lnTo>
                    <a:pt x="628292" y="1387663"/>
                  </a:lnTo>
                  <a:lnTo>
                    <a:pt x="628806" y="1388420"/>
                  </a:lnTo>
                  <a:lnTo>
                    <a:pt x="629412" y="1388843"/>
                  </a:lnTo>
                  <a:lnTo>
                    <a:pt x="630985" y="1388843"/>
                  </a:lnTo>
                  <a:lnTo>
                    <a:pt x="631408" y="1388420"/>
                  </a:lnTo>
                  <a:lnTo>
                    <a:pt x="631136" y="1387210"/>
                  </a:lnTo>
                  <a:lnTo>
                    <a:pt x="630440" y="1386544"/>
                  </a:lnTo>
                  <a:close/>
                  <a:moveTo>
                    <a:pt x="780396" y="1076316"/>
                  </a:moveTo>
                  <a:lnTo>
                    <a:pt x="778944" y="1076769"/>
                  </a:lnTo>
                  <a:lnTo>
                    <a:pt x="779307" y="1078192"/>
                  </a:lnTo>
                  <a:lnTo>
                    <a:pt x="780759" y="1077738"/>
                  </a:lnTo>
                  <a:lnTo>
                    <a:pt x="780396" y="1076286"/>
                  </a:lnTo>
                  <a:close/>
                  <a:moveTo>
                    <a:pt x="729967" y="814701"/>
                  </a:moveTo>
                  <a:lnTo>
                    <a:pt x="729241" y="817091"/>
                  </a:lnTo>
                  <a:lnTo>
                    <a:pt x="730300" y="817999"/>
                  </a:lnTo>
                  <a:lnTo>
                    <a:pt x="732569" y="818997"/>
                  </a:lnTo>
                  <a:lnTo>
                    <a:pt x="733386" y="819662"/>
                  </a:lnTo>
                  <a:lnTo>
                    <a:pt x="734747" y="818936"/>
                  </a:lnTo>
                  <a:lnTo>
                    <a:pt x="736381" y="818422"/>
                  </a:lnTo>
                  <a:lnTo>
                    <a:pt x="737893" y="818271"/>
                  </a:lnTo>
                  <a:lnTo>
                    <a:pt x="738891" y="818785"/>
                  </a:lnTo>
                  <a:lnTo>
                    <a:pt x="740313" y="817515"/>
                  </a:lnTo>
                  <a:lnTo>
                    <a:pt x="741009" y="817091"/>
                  </a:lnTo>
                  <a:lnTo>
                    <a:pt x="740676" y="816123"/>
                  </a:lnTo>
                  <a:lnTo>
                    <a:pt x="740676" y="815427"/>
                  </a:lnTo>
                  <a:lnTo>
                    <a:pt x="741009" y="814671"/>
                  </a:lnTo>
                  <a:lnTo>
                    <a:pt x="739043" y="813431"/>
                  </a:lnTo>
                  <a:lnTo>
                    <a:pt x="732690" y="811313"/>
                  </a:lnTo>
                  <a:lnTo>
                    <a:pt x="730633" y="811313"/>
                  </a:lnTo>
                  <a:lnTo>
                    <a:pt x="731056" y="812523"/>
                  </a:lnTo>
                  <a:lnTo>
                    <a:pt x="731359" y="813007"/>
                  </a:lnTo>
                  <a:lnTo>
                    <a:pt x="730481" y="813582"/>
                  </a:lnTo>
                  <a:lnTo>
                    <a:pt x="729937" y="814701"/>
                  </a:lnTo>
                  <a:close/>
                </a:path>
              </a:pathLst>
            </a:custGeom>
            <a:solidFill>
              <a:srgbClr val="96A3AC"/>
            </a:solidFill>
            <a:ln w="3175" cap="rnd">
              <a:solidFill>
                <a:schemeClr val="bg1"/>
              </a:solidFill>
              <a:prstDash val="solid"/>
              <a:round/>
            </a:ln>
          </p:spPr>
          <p:txBody>
            <a:bodyPr rtlCol="0" anchor="ctr"/>
            <a:lstStyle/>
            <a:p>
              <a:endParaRPr lang="en-ID"/>
            </a:p>
          </p:txBody>
        </p:sp>
        <p:sp>
          <p:nvSpPr>
            <p:cNvPr id="44" name="Freeform: Shape 43">
              <a:extLst>
                <a:ext uri="{FF2B5EF4-FFF2-40B4-BE49-F238E27FC236}">
                  <a16:creationId xmlns:a16="http://schemas.microsoft.com/office/drawing/2014/main" id="{2BE19518-5E3C-40D4-73FB-B0A2061ABD8C}"/>
                </a:ext>
              </a:extLst>
            </p:cNvPr>
            <p:cNvSpPr/>
            <p:nvPr/>
          </p:nvSpPr>
          <p:spPr>
            <a:xfrm>
              <a:off x="7337145" y="3412677"/>
              <a:ext cx="350807" cy="475431"/>
            </a:xfrm>
            <a:custGeom>
              <a:avLst/>
              <a:gdLst>
                <a:gd name="connsiteX0" fmla="*/ 67672 w 451321"/>
                <a:gd name="connsiteY0" fmla="*/ 584367 h 611653"/>
                <a:gd name="connsiteX1" fmla="*/ 68489 w 451321"/>
                <a:gd name="connsiteY1" fmla="*/ 583308 h 611653"/>
                <a:gd name="connsiteX2" fmla="*/ 67703 w 451321"/>
                <a:gd name="connsiteY2" fmla="*/ 582794 h 611653"/>
                <a:gd name="connsiteX3" fmla="*/ 66704 w 451321"/>
                <a:gd name="connsiteY3" fmla="*/ 583006 h 611653"/>
                <a:gd name="connsiteX4" fmla="*/ 65978 w 451321"/>
                <a:gd name="connsiteY4" fmla="*/ 583006 h 611653"/>
                <a:gd name="connsiteX5" fmla="*/ 62530 w 451321"/>
                <a:gd name="connsiteY5" fmla="*/ 582461 h 611653"/>
                <a:gd name="connsiteX6" fmla="*/ 60170 w 451321"/>
                <a:gd name="connsiteY6" fmla="*/ 582673 h 611653"/>
                <a:gd name="connsiteX7" fmla="*/ 58234 w 451321"/>
                <a:gd name="connsiteY7" fmla="*/ 583338 h 611653"/>
                <a:gd name="connsiteX8" fmla="*/ 56782 w 451321"/>
                <a:gd name="connsiteY8" fmla="*/ 584458 h 611653"/>
                <a:gd name="connsiteX9" fmla="*/ 56540 w 451321"/>
                <a:gd name="connsiteY9" fmla="*/ 585910 h 611653"/>
                <a:gd name="connsiteX10" fmla="*/ 58083 w 451321"/>
                <a:gd name="connsiteY10" fmla="*/ 586666 h 611653"/>
                <a:gd name="connsiteX11" fmla="*/ 59142 w 451321"/>
                <a:gd name="connsiteY11" fmla="*/ 587120 h 611653"/>
                <a:gd name="connsiteX12" fmla="*/ 67067 w 451321"/>
                <a:gd name="connsiteY12" fmla="*/ 584700 h 611653"/>
                <a:gd name="connsiteX13" fmla="*/ 67703 w 451321"/>
                <a:gd name="connsiteY13" fmla="*/ 584367 h 611653"/>
                <a:gd name="connsiteX14" fmla="*/ 15821 w 451321"/>
                <a:gd name="connsiteY14" fmla="*/ 543528 h 611653"/>
                <a:gd name="connsiteX15" fmla="*/ 17636 w 451321"/>
                <a:gd name="connsiteY15" fmla="*/ 542408 h 611653"/>
                <a:gd name="connsiteX16" fmla="*/ 18332 w 451321"/>
                <a:gd name="connsiteY16" fmla="*/ 541259 h 611653"/>
                <a:gd name="connsiteX17" fmla="*/ 17939 w 451321"/>
                <a:gd name="connsiteY17" fmla="*/ 540291 h 611653"/>
                <a:gd name="connsiteX18" fmla="*/ 16820 w 451321"/>
                <a:gd name="connsiteY18" fmla="*/ 540200 h 611653"/>
                <a:gd name="connsiteX19" fmla="*/ 16275 w 451321"/>
                <a:gd name="connsiteY19" fmla="*/ 540291 h 611653"/>
                <a:gd name="connsiteX20" fmla="*/ 15489 w 451321"/>
                <a:gd name="connsiteY20" fmla="*/ 539595 h 611653"/>
                <a:gd name="connsiteX21" fmla="*/ 14763 w 451321"/>
                <a:gd name="connsiteY21" fmla="*/ 539443 h 611653"/>
                <a:gd name="connsiteX22" fmla="*/ 12887 w 451321"/>
                <a:gd name="connsiteY22" fmla="*/ 539353 h 611653"/>
                <a:gd name="connsiteX23" fmla="*/ 11949 w 451321"/>
                <a:gd name="connsiteY23" fmla="*/ 540169 h 611653"/>
                <a:gd name="connsiteX24" fmla="*/ 6807 w 451321"/>
                <a:gd name="connsiteY24" fmla="*/ 543407 h 611653"/>
                <a:gd name="connsiteX25" fmla="*/ 5112 w 451321"/>
                <a:gd name="connsiteY25" fmla="*/ 545524 h 611653"/>
                <a:gd name="connsiteX26" fmla="*/ 5415 w 451321"/>
                <a:gd name="connsiteY26" fmla="*/ 546674 h 611653"/>
                <a:gd name="connsiteX27" fmla="*/ 7442 w 451321"/>
                <a:gd name="connsiteY27" fmla="*/ 546401 h 611653"/>
                <a:gd name="connsiteX28" fmla="*/ 8410 w 451321"/>
                <a:gd name="connsiteY28" fmla="*/ 545554 h 611653"/>
                <a:gd name="connsiteX29" fmla="*/ 11889 w 451321"/>
                <a:gd name="connsiteY29" fmla="*/ 545222 h 611653"/>
                <a:gd name="connsiteX30" fmla="*/ 15791 w 451321"/>
                <a:gd name="connsiteY30" fmla="*/ 543528 h 611653"/>
                <a:gd name="connsiteX31" fmla="*/ 73239 w 451321"/>
                <a:gd name="connsiteY31" fmla="*/ 356453 h 611653"/>
                <a:gd name="connsiteX32" fmla="*/ 70698 w 451321"/>
                <a:gd name="connsiteY32" fmla="*/ 354698 h 611653"/>
                <a:gd name="connsiteX33" fmla="*/ 68308 w 451321"/>
                <a:gd name="connsiteY33" fmla="*/ 354759 h 611653"/>
                <a:gd name="connsiteX34" fmla="*/ 67279 w 451321"/>
                <a:gd name="connsiteY34" fmla="*/ 356120 h 611653"/>
                <a:gd name="connsiteX35" fmla="*/ 70576 w 451321"/>
                <a:gd name="connsiteY35" fmla="*/ 358298 h 611653"/>
                <a:gd name="connsiteX36" fmla="*/ 82465 w 451321"/>
                <a:gd name="connsiteY36" fmla="*/ 363350 h 611653"/>
                <a:gd name="connsiteX37" fmla="*/ 84280 w 451321"/>
                <a:gd name="connsiteY37" fmla="*/ 362866 h 611653"/>
                <a:gd name="connsiteX38" fmla="*/ 84432 w 451321"/>
                <a:gd name="connsiteY38" fmla="*/ 361686 h 611653"/>
                <a:gd name="connsiteX39" fmla="*/ 84008 w 451321"/>
                <a:gd name="connsiteY39" fmla="*/ 361505 h 611653"/>
                <a:gd name="connsiteX40" fmla="*/ 83675 w 451321"/>
                <a:gd name="connsiteY40" fmla="*/ 361656 h 611653"/>
                <a:gd name="connsiteX41" fmla="*/ 81346 w 451321"/>
                <a:gd name="connsiteY41" fmla="*/ 360506 h 611653"/>
                <a:gd name="connsiteX42" fmla="*/ 81286 w 451321"/>
                <a:gd name="connsiteY42" fmla="*/ 359478 h 611653"/>
                <a:gd name="connsiteX43" fmla="*/ 82163 w 451321"/>
                <a:gd name="connsiteY43" fmla="*/ 358358 h 611653"/>
                <a:gd name="connsiteX44" fmla="*/ 81407 w 451321"/>
                <a:gd name="connsiteY44" fmla="*/ 357239 h 611653"/>
                <a:gd name="connsiteX45" fmla="*/ 78835 w 451321"/>
                <a:gd name="connsiteY45" fmla="*/ 356301 h 611653"/>
                <a:gd name="connsiteX46" fmla="*/ 76929 w 451321"/>
                <a:gd name="connsiteY46" fmla="*/ 356029 h 611653"/>
                <a:gd name="connsiteX47" fmla="*/ 74479 w 451321"/>
                <a:gd name="connsiteY47" fmla="*/ 356483 h 611653"/>
                <a:gd name="connsiteX48" fmla="*/ 73269 w 451321"/>
                <a:gd name="connsiteY48" fmla="*/ 356483 h 611653"/>
                <a:gd name="connsiteX49" fmla="*/ 77444 w 451321"/>
                <a:gd name="connsiteY49" fmla="*/ 340510 h 611653"/>
                <a:gd name="connsiteX50" fmla="*/ 79259 w 451321"/>
                <a:gd name="connsiteY50" fmla="*/ 342416 h 611653"/>
                <a:gd name="connsiteX51" fmla="*/ 82677 w 451321"/>
                <a:gd name="connsiteY51" fmla="*/ 341448 h 611653"/>
                <a:gd name="connsiteX52" fmla="*/ 84674 w 451321"/>
                <a:gd name="connsiteY52" fmla="*/ 338604 h 611653"/>
                <a:gd name="connsiteX53" fmla="*/ 82223 w 451321"/>
                <a:gd name="connsiteY53" fmla="*/ 334823 h 611653"/>
                <a:gd name="connsiteX54" fmla="*/ 81346 w 451321"/>
                <a:gd name="connsiteY54" fmla="*/ 334006 h 611653"/>
                <a:gd name="connsiteX55" fmla="*/ 80015 w 451321"/>
                <a:gd name="connsiteY55" fmla="*/ 333764 h 611653"/>
                <a:gd name="connsiteX56" fmla="*/ 78593 w 451321"/>
                <a:gd name="connsiteY56" fmla="*/ 334036 h 611653"/>
                <a:gd name="connsiteX57" fmla="*/ 77444 w 451321"/>
                <a:gd name="connsiteY57" fmla="*/ 334853 h 611653"/>
                <a:gd name="connsiteX58" fmla="*/ 76476 w 451321"/>
                <a:gd name="connsiteY58" fmla="*/ 336305 h 611653"/>
                <a:gd name="connsiteX59" fmla="*/ 76597 w 451321"/>
                <a:gd name="connsiteY59" fmla="*/ 337182 h 611653"/>
                <a:gd name="connsiteX60" fmla="*/ 77141 w 451321"/>
                <a:gd name="connsiteY60" fmla="*/ 338302 h 611653"/>
                <a:gd name="connsiteX61" fmla="*/ 77474 w 451321"/>
                <a:gd name="connsiteY61" fmla="*/ 340540 h 611653"/>
                <a:gd name="connsiteX62" fmla="*/ 29162 w 451321"/>
                <a:gd name="connsiteY62" fmla="*/ 227642 h 611653"/>
                <a:gd name="connsiteX63" fmla="*/ 31915 w 451321"/>
                <a:gd name="connsiteY63" fmla="*/ 227975 h 611653"/>
                <a:gd name="connsiteX64" fmla="*/ 39539 w 451321"/>
                <a:gd name="connsiteY64" fmla="*/ 226402 h 611653"/>
                <a:gd name="connsiteX65" fmla="*/ 41596 w 451321"/>
                <a:gd name="connsiteY65" fmla="*/ 227007 h 611653"/>
                <a:gd name="connsiteX66" fmla="*/ 42685 w 451321"/>
                <a:gd name="connsiteY66" fmla="*/ 228368 h 611653"/>
                <a:gd name="connsiteX67" fmla="*/ 42806 w 451321"/>
                <a:gd name="connsiteY67" fmla="*/ 229820 h 611653"/>
                <a:gd name="connsiteX68" fmla="*/ 42503 w 451321"/>
                <a:gd name="connsiteY68" fmla="*/ 231605 h 611653"/>
                <a:gd name="connsiteX69" fmla="*/ 42291 w 451321"/>
                <a:gd name="connsiteY69" fmla="*/ 233904 h 611653"/>
                <a:gd name="connsiteX70" fmla="*/ 42715 w 451321"/>
                <a:gd name="connsiteY70" fmla="*/ 235447 h 611653"/>
                <a:gd name="connsiteX71" fmla="*/ 43804 w 451321"/>
                <a:gd name="connsiteY71" fmla="*/ 235689 h 611653"/>
                <a:gd name="connsiteX72" fmla="*/ 45165 w 451321"/>
                <a:gd name="connsiteY72" fmla="*/ 235447 h 611653"/>
                <a:gd name="connsiteX73" fmla="*/ 46466 w 451321"/>
                <a:gd name="connsiteY73" fmla="*/ 235568 h 611653"/>
                <a:gd name="connsiteX74" fmla="*/ 48735 w 451321"/>
                <a:gd name="connsiteY74" fmla="*/ 237443 h 611653"/>
                <a:gd name="connsiteX75" fmla="*/ 50641 w 451321"/>
                <a:gd name="connsiteY75" fmla="*/ 239652 h 611653"/>
                <a:gd name="connsiteX76" fmla="*/ 52547 w 451321"/>
                <a:gd name="connsiteY76" fmla="*/ 240650 h 611653"/>
                <a:gd name="connsiteX77" fmla="*/ 54725 w 451321"/>
                <a:gd name="connsiteY77" fmla="*/ 238774 h 611653"/>
                <a:gd name="connsiteX78" fmla="*/ 54331 w 451321"/>
                <a:gd name="connsiteY78" fmla="*/ 236657 h 611653"/>
                <a:gd name="connsiteX79" fmla="*/ 54604 w 451321"/>
                <a:gd name="connsiteY79" fmla="*/ 233904 h 611653"/>
                <a:gd name="connsiteX80" fmla="*/ 55269 w 451321"/>
                <a:gd name="connsiteY80" fmla="*/ 231423 h 611653"/>
                <a:gd name="connsiteX81" fmla="*/ 56086 w 451321"/>
                <a:gd name="connsiteY81" fmla="*/ 230213 h 611653"/>
                <a:gd name="connsiteX82" fmla="*/ 56086 w 451321"/>
                <a:gd name="connsiteY82" fmla="*/ 229155 h 611653"/>
                <a:gd name="connsiteX83" fmla="*/ 55300 w 451321"/>
                <a:gd name="connsiteY83" fmla="*/ 228338 h 611653"/>
                <a:gd name="connsiteX84" fmla="*/ 54301 w 451321"/>
                <a:gd name="connsiteY84" fmla="*/ 228186 h 611653"/>
                <a:gd name="connsiteX85" fmla="*/ 53182 w 451321"/>
                <a:gd name="connsiteY85" fmla="*/ 228519 h 611653"/>
                <a:gd name="connsiteX86" fmla="*/ 52002 w 451321"/>
                <a:gd name="connsiteY86" fmla="*/ 229155 h 611653"/>
                <a:gd name="connsiteX87" fmla="*/ 52002 w 451321"/>
                <a:gd name="connsiteY87" fmla="*/ 227975 h 611653"/>
                <a:gd name="connsiteX88" fmla="*/ 52577 w 451321"/>
                <a:gd name="connsiteY88" fmla="*/ 227158 h 611653"/>
                <a:gd name="connsiteX89" fmla="*/ 52910 w 451321"/>
                <a:gd name="connsiteY89" fmla="*/ 226099 h 611653"/>
                <a:gd name="connsiteX90" fmla="*/ 52910 w 451321"/>
                <a:gd name="connsiteY90" fmla="*/ 224859 h 611653"/>
                <a:gd name="connsiteX91" fmla="*/ 52698 w 451321"/>
                <a:gd name="connsiteY91" fmla="*/ 223588 h 611653"/>
                <a:gd name="connsiteX92" fmla="*/ 54755 w 451321"/>
                <a:gd name="connsiteY92" fmla="*/ 223588 h 611653"/>
                <a:gd name="connsiteX93" fmla="*/ 52698 w 451321"/>
                <a:gd name="connsiteY93" fmla="*/ 219383 h 611653"/>
                <a:gd name="connsiteX94" fmla="*/ 50792 w 451321"/>
                <a:gd name="connsiteY94" fmla="*/ 218567 h 611653"/>
                <a:gd name="connsiteX95" fmla="*/ 41989 w 451321"/>
                <a:gd name="connsiteY95" fmla="*/ 218294 h 611653"/>
                <a:gd name="connsiteX96" fmla="*/ 39932 w 451321"/>
                <a:gd name="connsiteY96" fmla="*/ 219353 h 611653"/>
                <a:gd name="connsiteX97" fmla="*/ 37421 w 451321"/>
                <a:gd name="connsiteY97" fmla="*/ 221138 h 611653"/>
                <a:gd name="connsiteX98" fmla="*/ 34850 w 451321"/>
                <a:gd name="connsiteY98" fmla="*/ 221834 h 611653"/>
                <a:gd name="connsiteX99" fmla="*/ 32672 w 451321"/>
                <a:gd name="connsiteY99" fmla="*/ 219353 h 611653"/>
                <a:gd name="connsiteX100" fmla="*/ 31794 w 451321"/>
                <a:gd name="connsiteY100" fmla="*/ 220231 h 611653"/>
                <a:gd name="connsiteX101" fmla="*/ 30917 w 451321"/>
                <a:gd name="connsiteY101" fmla="*/ 220533 h 611653"/>
                <a:gd name="connsiteX102" fmla="*/ 30100 w 451321"/>
                <a:gd name="connsiteY102" fmla="*/ 220231 h 611653"/>
                <a:gd name="connsiteX103" fmla="*/ 29314 w 451321"/>
                <a:gd name="connsiteY103" fmla="*/ 219323 h 611653"/>
                <a:gd name="connsiteX104" fmla="*/ 28134 w 451321"/>
                <a:gd name="connsiteY104" fmla="*/ 222439 h 611653"/>
                <a:gd name="connsiteX105" fmla="*/ 26409 w 451321"/>
                <a:gd name="connsiteY105" fmla="*/ 224042 h 611653"/>
                <a:gd name="connsiteX106" fmla="*/ 24231 w 451321"/>
                <a:gd name="connsiteY106" fmla="*/ 224617 h 611653"/>
                <a:gd name="connsiteX107" fmla="*/ 21630 w 451321"/>
                <a:gd name="connsiteY107" fmla="*/ 224708 h 611653"/>
                <a:gd name="connsiteX108" fmla="*/ 21630 w 451321"/>
                <a:gd name="connsiteY108" fmla="*/ 225797 h 611653"/>
                <a:gd name="connsiteX109" fmla="*/ 24292 w 451321"/>
                <a:gd name="connsiteY109" fmla="*/ 225797 h 611653"/>
                <a:gd name="connsiteX110" fmla="*/ 29253 w 451321"/>
                <a:gd name="connsiteY110" fmla="*/ 227612 h 611653"/>
                <a:gd name="connsiteX111" fmla="*/ 196483 w 451321"/>
                <a:gd name="connsiteY111" fmla="*/ 68005 h 611653"/>
                <a:gd name="connsiteX112" fmla="*/ 200869 w 451321"/>
                <a:gd name="connsiteY112" fmla="*/ 66705 h 611653"/>
                <a:gd name="connsiteX113" fmla="*/ 200446 w 451321"/>
                <a:gd name="connsiteY113" fmla="*/ 64072 h 611653"/>
                <a:gd name="connsiteX114" fmla="*/ 199599 w 451321"/>
                <a:gd name="connsiteY114" fmla="*/ 62651 h 611653"/>
                <a:gd name="connsiteX115" fmla="*/ 198359 w 451321"/>
                <a:gd name="connsiteY115" fmla="*/ 61864 h 611653"/>
                <a:gd name="connsiteX116" fmla="*/ 196755 w 451321"/>
                <a:gd name="connsiteY116" fmla="*/ 61199 h 611653"/>
                <a:gd name="connsiteX117" fmla="*/ 196211 w 451321"/>
                <a:gd name="connsiteY117" fmla="*/ 60442 h 611653"/>
                <a:gd name="connsiteX118" fmla="*/ 195606 w 451321"/>
                <a:gd name="connsiteY118" fmla="*/ 60079 h 611653"/>
                <a:gd name="connsiteX119" fmla="*/ 194880 w 451321"/>
                <a:gd name="connsiteY119" fmla="*/ 60291 h 611653"/>
                <a:gd name="connsiteX120" fmla="*/ 194002 w 451321"/>
                <a:gd name="connsiteY120" fmla="*/ 61199 h 611653"/>
                <a:gd name="connsiteX121" fmla="*/ 194184 w 451321"/>
                <a:gd name="connsiteY121" fmla="*/ 61471 h 611653"/>
                <a:gd name="connsiteX122" fmla="*/ 194486 w 451321"/>
                <a:gd name="connsiteY122" fmla="*/ 61894 h 611653"/>
                <a:gd name="connsiteX123" fmla="*/ 194668 w 451321"/>
                <a:gd name="connsiteY123" fmla="*/ 62288 h 611653"/>
                <a:gd name="connsiteX124" fmla="*/ 194123 w 451321"/>
                <a:gd name="connsiteY124" fmla="*/ 62500 h 611653"/>
                <a:gd name="connsiteX125" fmla="*/ 192611 w 451321"/>
                <a:gd name="connsiteY125" fmla="*/ 63467 h 611653"/>
                <a:gd name="connsiteX126" fmla="*/ 192853 w 451321"/>
                <a:gd name="connsiteY126" fmla="*/ 64708 h 611653"/>
                <a:gd name="connsiteX127" fmla="*/ 192944 w 451321"/>
                <a:gd name="connsiteY127" fmla="*/ 64919 h 611653"/>
                <a:gd name="connsiteX128" fmla="*/ 192883 w 451321"/>
                <a:gd name="connsiteY128" fmla="*/ 64980 h 611653"/>
                <a:gd name="connsiteX129" fmla="*/ 192641 w 451321"/>
                <a:gd name="connsiteY129" fmla="*/ 65676 h 611653"/>
                <a:gd name="connsiteX130" fmla="*/ 192641 w 451321"/>
                <a:gd name="connsiteY130" fmla="*/ 66674 h 611653"/>
                <a:gd name="connsiteX131" fmla="*/ 194305 w 451321"/>
                <a:gd name="connsiteY131" fmla="*/ 67824 h 611653"/>
                <a:gd name="connsiteX132" fmla="*/ 196513 w 451321"/>
                <a:gd name="connsiteY132" fmla="*/ 67975 h 611653"/>
                <a:gd name="connsiteX133" fmla="*/ 451170 w 451321"/>
                <a:gd name="connsiteY133" fmla="*/ 382620 h 611653"/>
                <a:gd name="connsiteX134" fmla="*/ 446965 w 451321"/>
                <a:gd name="connsiteY134" fmla="*/ 378173 h 611653"/>
                <a:gd name="connsiteX135" fmla="*/ 445664 w 451321"/>
                <a:gd name="connsiteY135" fmla="*/ 375783 h 611653"/>
                <a:gd name="connsiteX136" fmla="*/ 446088 w 451321"/>
                <a:gd name="connsiteY136" fmla="*/ 373333 h 611653"/>
                <a:gd name="connsiteX137" fmla="*/ 446904 w 451321"/>
                <a:gd name="connsiteY137" fmla="*/ 371034 h 611653"/>
                <a:gd name="connsiteX138" fmla="*/ 447479 w 451321"/>
                <a:gd name="connsiteY138" fmla="*/ 367373 h 611653"/>
                <a:gd name="connsiteX139" fmla="*/ 447600 w 451321"/>
                <a:gd name="connsiteY139" fmla="*/ 363652 h 611653"/>
                <a:gd name="connsiteX140" fmla="*/ 447146 w 451321"/>
                <a:gd name="connsiteY140" fmla="*/ 361142 h 611653"/>
                <a:gd name="connsiteX141" fmla="*/ 447479 w 451321"/>
                <a:gd name="connsiteY141" fmla="*/ 360869 h 611653"/>
                <a:gd name="connsiteX142" fmla="*/ 447570 w 451321"/>
                <a:gd name="connsiteY142" fmla="*/ 360869 h 611653"/>
                <a:gd name="connsiteX143" fmla="*/ 447630 w 451321"/>
                <a:gd name="connsiteY143" fmla="*/ 360779 h 611653"/>
                <a:gd name="connsiteX144" fmla="*/ 447812 w 451321"/>
                <a:gd name="connsiteY144" fmla="*/ 360204 h 611653"/>
                <a:gd name="connsiteX145" fmla="*/ 444363 w 451321"/>
                <a:gd name="connsiteY145" fmla="*/ 353518 h 611653"/>
                <a:gd name="connsiteX146" fmla="*/ 443002 w 451321"/>
                <a:gd name="connsiteY146" fmla="*/ 351703 h 611653"/>
                <a:gd name="connsiteX147" fmla="*/ 443698 w 451321"/>
                <a:gd name="connsiteY147" fmla="*/ 348920 h 611653"/>
                <a:gd name="connsiteX148" fmla="*/ 443093 w 451321"/>
                <a:gd name="connsiteY148" fmla="*/ 347226 h 611653"/>
                <a:gd name="connsiteX149" fmla="*/ 441913 w 451321"/>
                <a:gd name="connsiteY149" fmla="*/ 345895 h 611653"/>
                <a:gd name="connsiteX150" fmla="*/ 441913 w 451321"/>
                <a:gd name="connsiteY150" fmla="*/ 345834 h 611653"/>
                <a:gd name="connsiteX151" fmla="*/ 440854 w 451321"/>
                <a:gd name="connsiteY151" fmla="*/ 344201 h 611653"/>
                <a:gd name="connsiteX152" fmla="*/ 440279 w 451321"/>
                <a:gd name="connsiteY152" fmla="*/ 341932 h 611653"/>
                <a:gd name="connsiteX153" fmla="*/ 440098 w 451321"/>
                <a:gd name="connsiteY153" fmla="*/ 339814 h 611653"/>
                <a:gd name="connsiteX154" fmla="*/ 440219 w 451321"/>
                <a:gd name="connsiteY154" fmla="*/ 336396 h 611653"/>
                <a:gd name="connsiteX155" fmla="*/ 440552 w 451321"/>
                <a:gd name="connsiteY155" fmla="*/ 335761 h 611653"/>
                <a:gd name="connsiteX156" fmla="*/ 441066 w 451321"/>
                <a:gd name="connsiteY156" fmla="*/ 334490 h 611653"/>
                <a:gd name="connsiteX157" fmla="*/ 441066 w 451321"/>
                <a:gd name="connsiteY157" fmla="*/ 333280 h 611653"/>
                <a:gd name="connsiteX158" fmla="*/ 439856 w 451321"/>
                <a:gd name="connsiteY158" fmla="*/ 332736 h 611653"/>
                <a:gd name="connsiteX159" fmla="*/ 439099 w 451321"/>
                <a:gd name="connsiteY159" fmla="*/ 332554 h 611653"/>
                <a:gd name="connsiteX160" fmla="*/ 438041 w 451321"/>
                <a:gd name="connsiteY160" fmla="*/ 331768 h 611653"/>
                <a:gd name="connsiteX161" fmla="*/ 435197 w 451321"/>
                <a:gd name="connsiteY161" fmla="*/ 331162 h 611653"/>
                <a:gd name="connsiteX162" fmla="*/ 433866 w 451321"/>
                <a:gd name="connsiteY162" fmla="*/ 330073 h 611653"/>
                <a:gd name="connsiteX163" fmla="*/ 431900 w 451321"/>
                <a:gd name="connsiteY163" fmla="*/ 327351 h 611653"/>
                <a:gd name="connsiteX164" fmla="*/ 429540 w 451321"/>
                <a:gd name="connsiteY164" fmla="*/ 325082 h 611653"/>
                <a:gd name="connsiteX165" fmla="*/ 428844 w 451321"/>
                <a:gd name="connsiteY165" fmla="*/ 323781 h 611653"/>
                <a:gd name="connsiteX166" fmla="*/ 429147 w 451321"/>
                <a:gd name="connsiteY166" fmla="*/ 322087 h 611653"/>
                <a:gd name="connsiteX167" fmla="*/ 435016 w 451321"/>
                <a:gd name="connsiteY167" fmla="*/ 317852 h 611653"/>
                <a:gd name="connsiteX168" fmla="*/ 435742 w 451321"/>
                <a:gd name="connsiteY168" fmla="*/ 317670 h 611653"/>
                <a:gd name="connsiteX169" fmla="*/ 437496 w 451321"/>
                <a:gd name="connsiteY169" fmla="*/ 316884 h 611653"/>
                <a:gd name="connsiteX170" fmla="*/ 438464 w 451321"/>
                <a:gd name="connsiteY170" fmla="*/ 316702 h 611653"/>
                <a:gd name="connsiteX171" fmla="*/ 438858 w 451321"/>
                <a:gd name="connsiteY171" fmla="*/ 317035 h 611653"/>
                <a:gd name="connsiteX172" fmla="*/ 440128 w 451321"/>
                <a:gd name="connsiteY172" fmla="*/ 318548 h 611653"/>
                <a:gd name="connsiteX173" fmla="*/ 440552 w 451321"/>
                <a:gd name="connsiteY173" fmla="*/ 318911 h 611653"/>
                <a:gd name="connsiteX174" fmla="*/ 441973 w 451321"/>
                <a:gd name="connsiteY174" fmla="*/ 319606 h 611653"/>
                <a:gd name="connsiteX175" fmla="*/ 443335 w 451321"/>
                <a:gd name="connsiteY175" fmla="*/ 320695 h 611653"/>
                <a:gd name="connsiteX176" fmla="*/ 444605 w 451321"/>
                <a:gd name="connsiteY176" fmla="*/ 320635 h 611653"/>
                <a:gd name="connsiteX177" fmla="*/ 445725 w 451321"/>
                <a:gd name="connsiteY177" fmla="*/ 317852 h 611653"/>
                <a:gd name="connsiteX178" fmla="*/ 443879 w 451321"/>
                <a:gd name="connsiteY178" fmla="*/ 316732 h 611653"/>
                <a:gd name="connsiteX179" fmla="*/ 439735 w 451321"/>
                <a:gd name="connsiteY179" fmla="*/ 316490 h 611653"/>
                <a:gd name="connsiteX180" fmla="*/ 438101 w 451321"/>
                <a:gd name="connsiteY180" fmla="*/ 315734 h 611653"/>
                <a:gd name="connsiteX181" fmla="*/ 438464 w 451321"/>
                <a:gd name="connsiteY181" fmla="*/ 315250 h 611653"/>
                <a:gd name="connsiteX182" fmla="*/ 439130 w 451321"/>
                <a:gd name="connsiteY182" fmla="*/ 314101 h 611653"/>
                <a:gd name="connsiteX183" fmla="*/ 439493 w 451321"/>
                <a:gd name="connsiteY183" fmla="*/ 313617 h 611653"/>
                <a:gd name="connsiteX184" fmla="*/ 438555 w 451321"/>
                <a:gd name="connsiteY184" fmla="*/ 312497 h 611653"/>
                <a:gd name="connsiteX185" fmla="*/ 438192 w 451321"/>
                <a:gd name="connsiteY185" fmla="*/ 310682 h 611653"/>
                <a:gd name="connsiteX186" fmla="*/ 437708 w 451321"/>
                <a:gd name="connsiteY186" fmla="*/ 308958 h 611653"/>
                <a:gd name="connsiteX187" fmla="*/ 431264 w 451321"/>
                <a:gd name="connsiteY187" fmla="*/ 306114 h 611653"/>
                <a:gd name="connsiteX188" fmla="*/ 432898 w 451321"/>
                <a:gd name="connsiteY188" fmla="*/ 304935 h 611653"/>
                <a:gd name="connsiteX189" fmla="*/ 434925 w 451321"/>
                <a:gd name="connsiteY189" fmla="*/ 304269 h 611653"/>
                <a:gd name="connsiteX190" fmla="*/ 436679 w 451321"/>
                <a:gd name="connsiteY190" fmla="*/ 304541 h 611653"/>
                <a:gd name="connsiteX191" fmla="*/ 437436 w 451321"/>
                <a:gd name="connsiteY191" fmla="*/ 306114 h 611653"/>
                <a:gd name="connsiteX192" fmla="*/ 438343 w 451321"/>
                <a:gd name="connsiteY192" fmla="*/ 304965 h 611653"/>
                <a:gd name="connsiteX193" fmla="*/ 439523 w 451321"/>
                <a:gd name="connsiteY193" fmla="*/ 302151 h 611653"/>
                <a:gd name="connsiteX194" fmla="*/ 440249 w 451321"/>
                <a:gd name="connsiteY194" fmla="*/ 300820 h 611653"/>
                <a:gd name="connsiteX195" fmla="*/ 440491 w 451321"/>
                <a:gd name="connsiteY195" fmla="*/ 299580 h 611653"/>
                <a:gd name="connsiteX196" fmla="*/ 440945 w 451321"/>
                <a:gd name="connsiteY196" fmla="*/ 298551 h 611653"/>
                <a:gd name="connsiteX197" fmla="*/ 442669 w 451321"/>
                <a:gd name="connsiteY197" fmla="*/ 296041 h 611653"/>
                <a:gd name="connsiteX198" fmla="*/ 443335 w 451321"/>
                <a:gd name="connsiteY198" fmla="*/ 293893 h 611653"/>
                <a:gd name="connsiteX199" fmla="*/ 443093 w 451321"/>
                <a:gd name="connsiteY199" fmla="*/ 291563 h 611653"/>
                <a:gd name="connsiteX200" fmla="*/ 442367 w 451321"/>
                <a:gd name="connsiteY200" fmla="*/ 289476 h 611653"/>
                <a:gd name="connsiteX201" fmla="*/ 441550 w 451321"/>
                <a:gd name="connsiteY201" fmla="*/ 288054 h 611653"/>
                <a:gd name="connsiteX202" fmla="*/ 439523 w 451321"/>
                <a:gd name="connsiteY202" fmla="*/ 286693 h 611653"/>
                <a:gd name="connsiteX203" fmla="*/ 436498 w 451321"/>
                <a:gd name="connsiteY203" fmla="*/ 285331 h 611653"/>
                <a:gd name="connsiteX204" fmla="*/ 433745 w 451321"/>
                <a:gd name="connsiteY204" fmla="*/ 283607 h 611653"/>
                <a:gd name="connsiteX205" fmla="*/ 431990 w 451321"/>
                <a:gd name="connsiteY205" fmla="*/ 279795 h 611653"/>
                <a:gd name="connsiteX206" fmla="*/ 430901 w 451321"/>
                <a:gd name="connsiteY206" fmla="*/ 279130 h 611653"/>
                <a:gd name="connsiteX207" fmla="*/ 429389 w 451321"/>
                <a:gd name="connsiteY207" fmla="*/ 278162 h 611653"/>
                <a:gd name="connsiteX208" fmla="*/ 428421 w 451321"/>
                <a:gd name="connsiteY208" fmla="*/ 277315 h 611653"/>
                <a:gd name="connsiteX209" fmla="*/ 427695 w 451321"/>
                <a:gd name="connsiteY209" fmla="*/ 275681 h 611653"/>
                <a:gd name="connsiteX210" fmla="*/ 427029 w 451321"/>
                <a:gd name="connsiteY210" fmla="*/ 273443 h 611653"/>
                <a:gd name="connsiteX211" fmla="*/ 426545 w 451321"/>
                <a:gd name="connsiteY211" fmla="*/ 271144 h 611653"/>
                <a:gd name="connsiteX212" fmla="*/ 426091 w 451321"/>
                <a:gd name="connsiteY212" fmla="*/ 264276 h 611653"/>
                <a:gd name="connsiteX213" fmla="*/ 425819 w 451321"/>
                <a:gd name="connsiteY213" fmla="*/ 260193 h 611653"/>
                <a:gd name="connsiteX214" fmla="*/ 426333 w 451321"/>
                <a:gd name="connsiteY214" fmla="*/ 256018 h 611653"/>
                <a:gd name="connsiteX215" fmla="*/ 428391 w 451321"/>
                <a:gd name="connsiteY215" fmla="*/ 253870 h 611653"/>
                <a:gd name="connsiteX216" fmla="*/ 426152 w 451321"/>
                <a:gd name="connsiteY216" fmla="*/ 252206 h 611653"/>
                <a:gd name="connsiteX217" fmla="*/ 425154 w 451321"/>
                <a:gd name="connsiteY217" fmla="*/ 249816 h 611653"/>
                <a:gd name="connsiteX218" fmla="*/ 425244 w 451321"/>
                <a:gd name="connsiteY218" fmla="*/ 247064 h 611653"/>
                <a:gd name="connsiteX219" fmla="*/ 426333 w 451321"/>
                <a:gd name="connsiteY219" fmla="*/ 244280 h 611653"/>
                <a:gd name="connsiteX220" fmla="*/ 426333 w 451321"/>
                <a:gd name="connsiteY220" fmla="*/ 243100 h 611653"/>
                <a:gd name="connsiteX221" fmla="*/ 418892 w 451321"/>
                <a:gd name="connsiteY221" fmla="*/ 242163 h 611653"/>
                <a:gd name="connsiteX222" fmla="*/ 415503 w 451321"/>
                <a:gd name="connsiteY222" fmla="*/ 240559 h 611653"/>
                <a:gd name="connsiteX223" fmla="*/ 413265 w 451321"/>
                <a:gd name="connsiteY223" fmla="*/ 237746 h 611653"/>
                <a:gd name="connsiteX224" fmla="*/ 412660 w 451321"/>
                <a:gd name="connsiteY224" fmla="*/ 234963 h 611653"/>
                <a:gd name="connsiteX225" fmla="*/ 412720 w 451321"/>
                <a:gd name="connsiteY225" fmla="*/ 232149 h 611653"/>
                <a:gd name="connsiteX226" fmla="*/ 413265 w 451321"/>
                <a:gd name="connsiteY226" fmla="*/ 227521 h 611653"/>
                <a:gd name="connsiteX227" fmla="*/ 413930 w 451321"/>
                <a:gd name="connsiteY227" fmla="*/ 224919 h 611653"/>
                <a:gd name="connsiteX228" fmla="*/ 415171 w 451321"/>
                <a:gd name="connsiteY228" fmla="*/ 222832 h 611653"/>
                <a:gd name="connsiteX229" fmla="*/ 415776 w 451321"/>
                <a:gd name="connsiteY229" fmla="*/ 221350 h 611653"/>
                <a:gd name="connsiteX230" fmla="*/ 414566 w 451321"/>
                <a:gd name="connsiteY230" fmla="*/ 220563 h 611653"/>
                <a:gd name="connsiteX231" fmla="*/ 414566 w 451321"/>
                <a:gd name="connsiteY231" fmla="*/ 219383 h 611653"/>
                <a:gd name="connsiteX232" fmla="*/ 419890 w 451321"/>
                <a:gd name="connsiteY232" fmla="*/ 220049 h 611653"/>
                <a:gd name="connsiteX233" fmla="*/ 426938 w 451321"/>
                <a:gd name="connsiteY233" fmla="*/ 222892 h 611653"/>
                <a:gd name="connsiteX234" fmla="*/ 428360 w 451321"/>
                <a:gd name="connsiteY234" fmla="*/ 222650 h 611653"/>
                <a:gd name="connsiteX235" fmla="*/ 429752 w 451321"/>
                <a:gd name="connsiteY235" fmla="*/ 223709 h 611653"/>
                <a:gd name="connsiteX236" fmla="*/ 432111 w 451321"/>
                <a:gd name="connsiteY236" fmla="*/ 225101 h 611653"/>
                <a:gd name="connsiteX237" fmla="*/ 434622 w 451321"/>
                <a:gd name="connsiteY237" fmla="*/ 225918 h 611653"/>
                <a:gd name="connsiteX238" fmla="*/ 436347 w 451321"/>
                <a:gd name="connsiteY238" fmla="*/ 225282 h 611653"/>
                <a:gd name="connsiteX239" fmla="*/ 439614 w 451321"/>
                <a:gd name="connsiteY239" fmla="*/ 221683 h 611653"/>
                <a:gd name="connsiteX240" fmla="*/ 440007 w 451321"/>
                <a:gd name="connsiteY240" fmla="*/ 219746 h 611653"/>
                <a:gd name="connsiteX241" fmla="*/ 438071 w 451321"/>
                <a:gd name="connsiteY241" fmla="*/ 217145 h 611653"/>
                <a:gd name="connsiteX242" fmla="*/ 437345 w 451321"/>
                <a:gd name="connsiteY242" fmla="*/ 216661 h 611653"/>
                <a:gd name="connsiteX243" fmla="*/ 436468 w 451321"/>
                <a:gd name="connsiteY243" fmla="*/ 216358 h 611653"/>
                <a:gd name="connsiteX244" fmla="*/ 434320 w 451321"/>
                <a:gd name="connsiteY244" fmla="*/ 216146 h 611653"/>
                <a:gd name="connsiteX245" fmla="*/ 433715 w 451321"/>
                <a:gd name="connsiteY245" fmla="*/ 215663 h 611653"/>
                <a:gd name="connsiteX246" fmla="*/ 432263 w 451321"/>
                <a:gd name="connsiteY246" fmla="*/ 213424 h 611653"/>
                <a:gd name="connsiteX247" fmla="*/ 431537 w 451321"/>
                <a:gd name="connsiteY247" fmla="*/ 212940 h 611653"/>
                <a:gd name="connsiteX248" fmla="*/ 429964 w 451321"/>
                <a:gd name="connsiteY248" fmla="*/ 212184 h 611653"/>
                <a:gd name="connsiteX249" fmla="*/ 423641 w 451321"/>
                <a:gd name="connsiteY249" fmla="*/ 206496 h 611653"/>
                <a:gd name="connsiteX250" fmla="*/ 423641 w 451321"/>
                <a:gd name="connsiteY250" fmla="*/ 206496 h 611653"/>
                <a:gd name="connsiteX251" fmla="*/ 422159 w 451321"/>
                <a:gd name="connsiteY251" fmla="*/ 205347 h 611653"/>
                <a:gd name="connsiteX252" fmla="*/ 420646 w 451321"/>
                <a:gd name="connsiteY252" fmla="*/ 205528 h 611653"/>
                <a:gd name="connsiteX253" fmla="*/ 419224 w 451321"/>
                <a:gd name="connsiteY253" fmla="*/ 206194 h 611653"/>
                <a:gd name="connsiteX254" fmla="*/ 417893 w 451321"/>
                <a:gd name="connsiteY254" fmla="*/ 206466 h 611653"/>
                <a:gd name="connsiteX255" fmla="*/ 416713 w 451321"/>
                <a:gd name="connsiteY255" fmla="*/ 205679 h 611653"/>
                <a:gd name="connsiteX256" fmla="*/ 415957 w 451321"/>
                <a:gd name="connsiteY256" fmla="*/ 204590 h 611653"/>
                <a:gd name="connsiteX257" fmla="*/ 415140 w 451321"/>
                <a:gd name="connsiteY257" fmla="*/ 204469 h 611653"/>
                <a:gd name="connsiteX258" fmla="*/ 413809 w 451321"/>
                <a:gd name="connsiteY258" fmla="*/ 206587 h 611653"/>
                <a:gd name="connsiteX259" fmla="*/ 413688 w 451321"/>
                <a:gd name="connsiteY259" fmla="*/ 207555 h 611653"/>
                <a:gd name="connsiteX260" fmla="*/ 413870 w 451321"/>
                <a:gd name="connsiteY260" fmla="*/ 208765 h 611653"/>
                <a:gd name="connsiteX261" fmla="*/ 413930 w 451321"/>
                <a:gd name="connsiteY261" fmla="*/ 210066 h 611653"/>
                <a:gd name="connsiteX262" fmla="*/ 413507 w 451321"/>
                <a:gd name="connsiteY262" fmla="*/ 211397 h 611653"/>
                <a:gd name="connsiteX263" fmla="*/ 412872 w 451321"/>
                <a:gd name="connsiteY263" fmla="*/ 211941 h 611653"/>
                <a:gd name="connsiteX264" fmla="*/ 410512 w 451321"/>
                <a:gd name="connsiteY264" fmla="*/ 212304 h 611653"/>
                <a:gd name="connsiteX265" fmla="*/ 407941 w 451321"/>
                <a:gd name="connsiteY265" fmla="*/ 213182 h 611653"/>
                <a:gd name="connsiteX266" fmla="*/ 407215 w 451321"/>
                <a:gd name="connsiteY266" fmla="*/ 213182 h 611653"/>
                <a:gd name="connsiteX267" fmla="*/ 406579 w 451321"/>
                <a:gd name="connsiteY267" fmla="*/ 212788 h 611653"/>
                <a:gd name="connsiteX268" fmla="*/ 405974 w 451321"/>
                <a:gd name="connsiteY268" fmla="*/ 212093 h 611653"/>
                <a:gd name="connsiteX269" fmla="*/ 405581 w 451321"/>
                <a:gd name="connsiteY269" fmla="*/ 211427 h 611653"/>
                <a:gd name="connsiteX270" fmla="*/ 405520 w 451321"/>
                <a:gd name="connsiteY270" fmla="*/ 211155 h 611653"/>
                <a:gd name="connsiteX271" fmla="*/ 402737 w 451321"/>
                <a:gd name="connsiteY271" fmla="*/ 211246 h 611653"/>
                <a:gd name="connsiteX272" fmla="*/ 394146 w 451321"/>
                <a:gd name="connsiteY272" fmla="*/ 214210 h 611653"/>
                <a:gd name="connsiteX273" fmla="*/ 393359 w 451321"/>
                <a:gd name="connsiteY273" fmla="*/ 214120 h 611653"/>
                <a:gd name="connsiteX274" fmla="*/ 391816 w 451321"/>
                <a:gd name="connsiteY274" fmla="*/ 213514 h 611653"/>
                <a:gd name="connsiteX275" fmla="*/ 391030 w 451321"/>
                <a:gd name="connsiteY275" fmla="*/ 213666 h 611653"/>
                <a:gd name="connsiteX276" fmla="*/ 390516 w 451321"/>
                <a:gd name="connsiteY276" fmla="*/ 214210 h 611653"/>
                <a:gd name="connsiteX277" fmla="*/ 390032 w 451321"/>
                <a:gd name="connsiteY277" fmla="*/ 214906 h 611653"/>
                <a:gd name="connsiteX278" fmla="*/ 389457 w 451321"/>
                <a:gd name="connsiteY278" fmla="*/ 215723 h 611653"/>
                <a:gd name="connsiteX279" fmla="*/ 388912 w 451321"/>
                <a:gd name="connsiteY279" fmla="*/ 216026 h 611653"/>
                <a:gd name="connsiteX280" fmla="*/ 387491 w 451321"/>
                <a:gd name="connsiteY280" fmla="*/ 215330 h 611653"/>
                <a:gd name="connsiteX281" fmla="*/ 384798 w 451321"/>
                <a:gd name="connsiteY281" fmla="*/ 212274 h 611653"/>
                <a:gd name="connsiteX282" fmla="*/ 383255 w 451321"/>
                <a:gd name="connsiteY282" fmla="*/ 211125 h 611653"/>
                <a:gd name="connsiteX283" fmla="*/ 384798 w 451321"/>
                <a:gd name="connsiteY283" fmla="*/ 207404 h 611653"/>
                <a:gd name="connsiteX284" fmla="*/ 384919 w 451321"/>
                <a:gd name="connsiteY284" fmla="*/ 205619 h 611653"/>
                <a:gd name="connsiteX285" fmla="*/ 383830 w 451321"/>
                <a:gd name="connsiteY285" fmla="*/ 203804 h 611653"/>
                <a:gd name="connsiteX286" fmla="*/ 386099 w 451321"/>
                <a:gd name="connsiteY286" fmla="*/ 201111 h 611653"/>
                <a:gd name="connsiteX287" fmla="*/ 387037 w 451321"/>
                <a:gd name="connsiteY287" fmla="*/ 198238 h 611653"/>
                <a:gd name="connsiteX288" fmla="*/ 386462 w 451321"/>
                <a:gd name="connsiteY288" fmla="*/ 195424 h 611653"/>
                <a:gd name="connsiteX289" fmla="*/ 385645 w 451321"/>
                <a:gd name="connsiteY289" fmla="*/ 194517 h 611653"/>
                <a:gd name="connsiteX290" fmla="*/ 384193 w 451321"/>
                <a:gd name="connsiteY290" fmla="*/ 192913 h 611653"/>
                <a:gd name="connsiteX291" fmla="*/ 382076 w 451321"/>
                <a:gd name="connsiteY291" fmla="*/ 191249 h 611653"/>
                <a:gd name="connsiteX292" fmla="*/ 380987 w 451321"/>
                <a:gd name="connsiteY292" fmla="*/ 190675 h 611653"/>
                <a:gd name="connsiteX293" fmla="*/ 379776 w 451321"/>
                <a:gd name="connsiteY293" fmla="*/ 190523 h 611653"/>
                <a:gd name="connsiteX294" fmla="*/ 378718 w 451321"/>
                <a:gd name="connsiteY294" fmla="*/ 191128 h 611653"/>
                <a:gd name="connsiteX295" fmla="*/ 377961 w 451321"/>
                <a:gd name="connsiteY295" fmla="*/ 192157 h 611653"/>
                <a:gd name="connsiteX296" fmla="*/ 377145 w 451321"/>
                <a:gd name="connsiteY296" fmla="*/ 192944 h 611653"/>
                <a:gd name="connsiteX297" fmla="*/ 375934 w 451321"/>
                <a:gd name="connsiteY297" fmla="*/ 192823 h 611653"/>
                <a:gd name="connsiteX298" fmla="*/ 373756 w 451321"/>
                <a:gd name="connsiteY298" fmla="*/ 191552 h 611653"/>
                <a:gd name="connsiteX299" fmla="*/ 371609 w 451321"/>
                <a:gd name="connsiteY299" fmla="*/ 189888 h 611653"/>
                <a:gd name="connsiteX300" fmla="*/ 369642 w 451321"/>
                <a:gd name="connsiteY300" fmla="*/ 187770 h 611653"/>
                <a:gd name="connsiteX301" fmla="*/ 367978 w 451321"/>
                <a:gd name="connsiteY301" fmla="*/ 185229 h 611653"/>
                <a:gd name="connsiteX302" fmla="*/ 367404 w 451321"/>
                <a:gd name="connsiteY302" fmla="*/ 183656 h 611653"/>
                <a:gd name="connsiteX303" fmla="*/ 367041 w 451321"/>
                <a:gd name="connsiteY303" fmla="*/ 182113 h 611653"/>
                <a:gd name="connsiteX304" fmla="*/ 366587 w 451321"/>
                <a:gd name="connsiteY304" fmla="*/ 180783 h 611653"/>
                <a:gd name="connsiteX305" fmla="*/ 365679 w 451321"/>
                <a:gd name="connsiteY305" fmla="*/ 179845 h 611653"/>
                <a:gd name="connsiteX306" fmla="*/ 362110 w 451321"/>
                <a:gd name="connsiteY306" fmla="*/ 178120 h 611653"/>
                <a:gd name="connsiteX307" fmla="*/ 363864 w 451321"/>
                <a:gd name="connsiteY307" fmla="*/ 177243 h 611653"/>
                <a:gd name="connsiteX308" fmla="*/ 364681 w 451321"/>
                <a:gd name="connsiteY308" fmla="*/ 175640 h 611653"/>
                <a:gd name="connsiteX309" fmla="*/ 364499 w 451321"/>
                <a:gd name="connsiteY309" fmla="*/ 173341 h 611653"/>
                <a:gd name="connsiteX310" fmla="*/ 363320 w 451321"/>
                <a:gd name="connsiteY310" fmla="*/ 170376 h 611653"/>
                <a:gd name="connsiteX311" fmla="*/ 362352 w 451321"/>
                <a:gd name="connsiteY311" fmla="*/ 167895 h 611653"/>
                <a:gd name="connsiteX312" fmla="*/ 361716 w 451321"/>
                <a:gd name="connsiteY312" fmla="*/ 167260 h 611653"/>
                <a:gd name="connsiteX313" fmla="*/ 360506 w 451321"/>
                <a:gd name="connsiteY313" fmla="*/ 167169 h 611653"/>
                <a:gd name="connsiteX314" fmla="*/ 359689 w 451321"/>
                <a:gd name="connsiteY314" fmla="*/ 166716 h 611653"/>
                <a:gd name="connsiteX315" fmla="*/ 358782 w 451321"/>
                <a:gd name="connsiteY315" fmla="*/ 164053 h 611653"/>
                <a:gd name="connsiteX316" fmla="*/ 358086 w 451321"/>
                <a:gd name="connsiteY316" fmla="*/ 162964 h 611653"/>
                <a:gd name="connsiteX317" fmla="*/ 351854 w 451321"/>
                <a:gd name="connsiteY317" fmla="*/ 158155 h 611653"/>
                <a:gd name="connsiteX318" fmla="*/ 348466 w 451321"/>
                <a:gd name="connsiteY318" fmla="*/ 156551 h 611653"/>
                <a:gd name="connsiteX319" fmla="*/ 345320 w 451321"/>
                <a:gd name="connsiteY319" fmla="*/ 156823 h 611653"/>
                <a:gd name="connsiteX320" fmla="*/ 342355 w 451321"/>
                <a:gd name="connsiteY320" fmla="*/ 159516 h 611653"/>
                <a:gd name="connsiteX321" fmla="*/ 337485 w 451321"/>
                <a:gd name="connsiteY321" fmla="*/ 166625 h 611653"/>
                <a:gd name="connsiteX322" fmla="*/ 334187 w 451321"/>
                <a:gd name="connsiteY322" fmla="*/ 168924 h 611653"/>
                <a:gd name="connsiteX323" fmla="*/ 333371 w 451321"/>
                <a:gd name="connsiteY323" fmla="*/ 168924 h 611653"/>
                <a:gd name="connsiteX324" fmla="*/ 331586 w 451321"/>
                <a:gd name="connsiteY324" fmla="*/ 168652 h 611653"/>
                <a:gd name="connsiteX325" fmla="*/ 331193 w 451321"/>
                <a:gd name="connsiteY325" fmla="*/ 168833 h 611653"/>
                <a:gd name="connsiteX326" fmla="*/ 330890 w 451321"/>
                <a:gd name="connsiteY326" fmla="*/ 168984 h 611653"/>
                <a:gd name="connsiteX327" fmla="*/ 330739 w 451321"/>
                <a:gd name="connsiteY327" fmla="*/ 169710 h 611653"/>
                <a:gd name="connsiteX328" fmla="*/ 330981 w 451321"/>
                <a:gd name="connsiteY328" fmla="*/ 170679 h 611653"/>
                <a:gd name="connsiteX329" fmla="*/ 331374 w 451321"/>
                <a:gd name="connsiteY329" fmla="*/ 171495 h 611653"/>
                <a:gd name="connsiteX330" fmla="*/ 331646 w 451321"/>
                <a:gd name="connsiteY330" fmla="*/ 171737 h 611653"/>
                <a:gd name="connsiteX331" fmla="*/ 331646 w 451321"/>
                <a:gd name="connsiteY331" fmla="*/ 171828 h 611653"/>
                <a:gd name="connsiteX332" fmla="*/ 330890 w 451321"/>
                <a:gd name="connsiteY332" fmla="*/ 173280 h 611653"/>
                <a:gd name="connsiteX333" fmla="*/ 330769 w 451321"/>
                <a:gd name="connsiteY333" fmla="*/ 173280 h 611653"/>
                <a:gd name="connsiteX334" fmla="*/ 330225 w 451321"/>
                <a:gd name="connsiteY334" fmla="*/ 173915 h 611653"/>
                <a:gd name="connsiteX335" fmla="*/ 329468 w 451321"/>
                <a:gd name="connsiteY335" fmla="*/ 173704 h 611653"/>
                <a:gd name="connsiteX336" fmla="*/ 328984 w 451321"/>
                <a:gd name="connsiteY336" fmla="*/ 173794 h 611653"/>
                <a:gd name="connsiteX337" fmla="*/ 329226 w 451321"/>
                <a:gd name="connsiteY337" fmla="*/ 175519 h 611653"/>
                <a:gd name="connsiteX338" fmla="*/ 332584 w 451321"/>
                <a:gd name="connsiteY338" fmla="*/ 177062 h 611653"/>
                <a:gd name="connsiteX339" fmla="*/ 331979 w 451321"/>
                <a:gd name="connsiteY339" fmla="*/ 179270 h 611653"/>
                <a:gd name="connsiteX340" fmla="*/ 335549 w 451321"/>
                <a:gd name="connsiteY340" fmla="*/ 182053 h 611653"/>
                <a:gd name="connsiteX341" fmla="*/ 334157 w 451321"/>
                <a:gd name="connsiteY341" fmla="*/ 183838 h 611653"/>
                <a:gd name="connsiteX342" fmla="*/ 334793 w 451321"/>
                <a:gd name="connsiteY342" fmla="*/ 186440 h 611653"/>
                <a:gd name="connsiteX343" fmla="*/ 332645 w 451321"/>
                <a:gd name="connsiteY343" fmla="*/ 187740 h 611653"/>
                <a:gd name="connsiteX344" fmla="*/ 327139 w 451321"/>
                <a:gd name="connsiteY344" fmla="*/ 189102 h 611653"/>
                <a:gd name="connsiteX345" fmla="*/ 325989 w 451321"/>
                <a:gd name="connsiteY345" fmla="*/ 189919 h 611653"/>
                <a:gd name="connsiteX346" fmla="*/ 325142 w 451321"/>
                <a:gd name="connsiteY346" fmla="*/ 190675 h 611653"/>
                <a:gd name="connsiteX347" fmla="*/ 324507 w 451321"/>
                <a:gd name="connsiteY347" fmla="*/ 191703 h 611653"/>
                <a:gd name="connsiteX348" fmla="*/ 323932 w 451321"/>
                <a:gd name="connsiteY348" fmla="*/ 193276 h 611653"/>
                <a:gd name="connsiteX349" fmla="*/ 324416 w 451321"/>
                <a:gd name="connsiteY349" fmla="*/ 193912 h 611653"/>
                <a:gd name="connsiteX350" fmla="*/ 325354 w 451321"/>
                <a:gd name="connsiteY350" fmla="*/ 194668 h 611653"/>
                <a:gd name="connsiteX351" fmla="*/ 325475 w 451321"/>
                <a:gd name="connsiteY351" fmla="*/ 195485 h 611653"/>
                <a:gd name="connsiteX352" fmla="*/ 323509 w 451321"/>
                <a:gd name="connsiteY352" fmla="*/ 196422 h 611653"/>
                <a:gd name="connsiteX353" fmla="*/ 323962 w 451321"/>
                <a:gd name="connsiteY353" fmla="*/ 197995 h 611653"/>
                <a:gd name="connsiteX354" fmla="*/ 323690 w 451321"/>
                <a:gd name="connsiteY354" fmla="*/ 199629 h 611653"/>
                <a:gd name="connsiteX355" fmla="*/ 322964 w 451321"/>
                <a:gd name="connsiteY355" fmla="*/ 200990 h 611653"/>
                <a:gd name="connsiteX356" fmla="*/ 322027 w 451321"/>
                <a:gd name="connsiteY356" fmla="*/ 201959 h 611653"/>
                <a:gd name="connsiteX357" fmla="*/ 320635 w 451321"/>
                <a:gd name="connsiteY357" fmla="*/ 202624 h 611653"/>
                <a:gd name="connsiteX358" fmla="*/ 320272 w 451321"/>
                <a:gd name="connsiteY358" fmla="*/ 202019 h 611653"/>
                <a:gd name="connsiteX359" fmla="*/ 320363 w 451321"/>
                <a:gd name="connsiteY359" fmla="*/ 200567 h 611653"/>
                <a:gd name="connsiteX360" fmla="*/ 320363 w 451321"/>
                <a:gd name="connsiteY360" fmla="*/ 198752 h 611653"/>
                <a:gd name="connsiteX361" fmla="*/ 320484 w 451321"/>
                <a:gd name="connsiteY361" fmla="*/ 197330 h 611653"/>
                <a:gd name="connsiteX362" fmla="*/ 320786 w 451321"/>
                <a:gd name="connsiteY362" fmla="*/ 196211 h 611653"/>
                <a:gd name="connsiteX363" fmla="*/ 320423 w 451321"/>
                <a:gd name="connsiteY363" fmla="*/ 195817 h 611653"/>
                <a:gd name="connsiteX364" fmla="*/ 317368 w 451321"/>
                <a:gd name="connsiteY364" fmla="*/ 197481 h 611653"/>
                <a:gd name="connsiteX365" fmla="*/ 316642 w 451321"/>
                <a:gd name="connsiteY365" fmla="*/ 198298 h 611653"/>
                <a:gd name="connsiteX366" fmla="*/ 316642 w 451321"/>
                <a:gd name="connsiteY366" fmla="*/ 199357 h 611653"/>
                <a:gd name="connsiteX367" fmla="*/ 318941 w 451321"/>
                <a:gd name="connsiteY367" fmla="*/ 203774 h 611653"/>
                <a:gd name="connsiteX368" fmla="*/ 318336 w 451321"/>
                <a:gd name="connsiteY368" fmla="*/ 203834 h 611653"/>
                <a:gd name="connsiteX369" fmla="*/ 317277 w 451321"/>
                <a:gd name="connsiteY369" fmla="*/ 203925 h 611653"/>
                <a:gd name="connsiteX370" fmla="*/ 312406 w 451321"/>
                <a:gd name="connsiteY370" fmla="*/ 202412 h 611653"/>
                <a:gd name="connsiteX371" fmla="*/ 310924 w 451321"/>
                <a:gd name="connsiteY371" fmla="*/ 202745 h 611653"/>
                <a:gd name="connsiteX372" fmla="*/ 310470 w 451321"/>
                <a:gd name="connsiteY372" fmla="*/ 202624 h 611653"/>
                <a:gd name="connsiteX373" fmla="*/ 310289 w 451321"/>
                <a:gd name="connsiteY373" fmla="*/ 201928 h 611653"/>
                <a:gd name="connsiteX374" fmla="*/ 309563 w 451321"/>
                <a:gd name="connsiteY374" fmla="*/ 200537 h 611653"/>
                <a:gd name="connsiteX375" fmla="*/ 308716 w 451321"/>
                <a:gd name="connsiteY375" fmla="*/ 200325 h 611653"/>
                <a:gd name="connsiteX376" fmla="*/ 307717 w 451321"/>
                <a:gd name="connsiteY376" fmla="*/ 200476 h 611653"/>
                <a:gd name="connsiteX377" fmla="*/ 307354 w 451321"/>
                <a:gd name="connsiteY377" fmla="*/ 200234 h 611653"/>
                <a:gd name="connsiteX378" fmla="*/ 308474 w 451321"/>
                <a:gd name="connsiteY378" fmla="*/ 198873 h 611653"/>
                <a:gd name="connsiteX379" fmla="*/ 305963 w 451321"/>
                <a:gd name="connsiteY379" fmla="*/ 198691 h 611653"/>
                <a:gd name="connsiteX380" fmla="*/ 301818 w 451321"/>
                <a:gd name="connsiteY380" fmla="*/ 201716 h 611653"/>
                <a:gd name="connsiteX381" fmla="*/ 299640 w 451321"/>
                <a:gd name="connsiteY381" fmla="*/ 202110 h 611653"/>
                <a:gd name="connsiteX382" fmla="*/ 288901 w 451321"/>
                <a:gd name="connsiteY382" fmla="*/ 199781 h 611653"/>
                <a:gd name="connsiteX383" fmla="*/ 287721 w 451321"/>
                <a:gd name="connsiteY383" fmla="*/ 198964 h 611653"/>
                <a:gd name="connsiteX384" fmla="*/ 287389 w 451321"/>
                <a:gd name="connsiteY384" fmla="*/ 197632 h 611653"/>
                <a:gd name="connsiteX385" fmla="*/ 287237 w 451321"/>
                <a:gd name="connsiteY385" fmla="*/ 196241 h 611653"/>
                <a:gd name="connsiteX386" fmla="*/ 286511 w 451321"/>
                <a:gd name="connsiteY386" fmla="*/ 195243 h 611653"/>
                <a:gd name="connsiteX387" fmla="*/ 279251 w 451321"/>
                <a:gd name="connsiteY387" fmla="*/ 190221 h 611653"/>
                <a:gd name="connsiteX388" fmla="*/ 277466 w 451321"/>
                <a:gd name="connsiteY388" fmla="*/ 189919 h 611653"/>
                <a:gd name="connsiteX389" fmla="*/ 271476 w 451321"/>
                <a:gd name="connsiteY389" fmla="*/ 190282 h 611653"/>
                <a:gd name="connsiteX390" fmla="*/ 265940 w 451321"/>
                <a:gd name="connsiteY390" fmla="*/ 189586 h 611653"/>
                <a:gd name="connsiteX391" fmla="*/ 263974 w 451321"/>
                <a:gd name="connsiteY391" fmla="*/ 188467 h 611653"/>
                <a:gd name="connsiteX392" fmla="*/ 262643 w 451321"/>
                <a:gd name="connsiteY392" fmla="*/ 186016 h 611653"/>
                <a:gd name="connsiteX393" fmla="*/ 262250 w 451321"/>
                <a:gd name="connsiteY393" fmla="*/ 179028 h 611653"/>
                <a:gd name="connsiteX394" fmla="*/ 261584 w 451321"/>
                <a:gd name="connsiteY394" fmla="*/ 176517 h 611653"/>
                <a:gd name="connsiteX395" fmla="*/ 260102 w 451321"/>
                <a:gd name="connsiteY395" fmla="*/ 175458 h 611653"/>
                <a:gd name="connsiteX396" fmla="*/ 256169 w 451321"/>
                <a:gd name="connsiteY396" fmla="*/ 174914 h 611653"/>
                <a:gd name="connsiteX397" fmla="*/ 255383 w 451321"/>
                <a:gd name="connsiteY397" fmla="*/ 174641 h 611653"/>
                <a:gd name="connsiteX398" fmla="*/ 254505 w 451321"/>
                <a:gd name="connsiteY398" fmla="*/ 174309 h 611653"/>
                <a:gd name="connsiteX399" fmla="*/ 252781 w 451321"/>
                <a:gd name="connsiteY399" fmla="*/ 172524 h 611653"/>
                <a:gd name="connsiteX400" fmla="*/ 251480 w 451321"/>
                <a:gd name="connsiteY400" fmla="*/ 170255 h 611653"/>
                <a:gd name="connsiteX401" fmla="*/ 249363 w 451321"/>
                <a:gd name="connsiteY401" fmla="*/ 165294 h 611653"/>
                <a:gd name="connsiteX402" fmla="*/ 246428 w 451321"/>
                <a:gd name="connsiteY402" fmla="*/ 165294 h 611653"/>
                <a:gd name="connsiteX403" fmla="*/ 243887 w 451321"/>
                <a:gd name="connsiteY403" fmla="*/ 164023 h 611653"/>
                <a:gd name="connsiteX404" fmla="*/ 241527 w 451321"/>
                <a:gd name="connsiteY404" fmla="*/ 161754 h 611653"/>
                <a:gd name="connsiteX405" fmla="*/ 237262 w 451321"/>
                <a:gd name="connsiteY405" fmla="*/ 156188 h 611653"/>
                <a:gd name="connsiteX406" fmla="*/ 234872 w 451321"/>
                <a:gd name="connsiteY406" fmla="*/ 153707 h 611653"/>
                <a:gd name="connsiteX407" fmla="*/ 233904 w 451321"/>
                <a:gd name="connsiteY407" fmla="*/ 152376 h 611653"/>
                <a:gd name="connsiteX408" fmla="*/ 233692 w 451321"/>
                <a:gd name="connsiteY408" fmla="*/ 151106 h 611653"/>
                <a:gd name="connsiteX409" fmla="*/ 233390 w 451321"/>
                <a:gd name="connsiteY409" fmla="*/ 149866 h 611653"/>
                <a:gd name="connsiteX410" fmla="*/ 232119 w 451321"/>
                <a:gd name="connsiteY410" fmla="*/ 148776 h 611653"/>
                <a:gd name="connsiteX411" fmla="*/ 232664 w 451321"/>
                <a:gd name="connsiteY411" fmla="*/ 148504 h 611653"/>
                <a:gd name="connsiteX412" fmla="*/ 234509 w 451321"/>
                <a:gd name="connsiteY412" fmla="*/ 147567 h 611653"/>
                <a:gd name="connsiteX413" fmla="*/ 239864 w 451321"/>
                <a:gd name="connsiteY413" fmla="*/ 146115 h 611653"/>
                <a:gd name="connsiteX414" fmla="*/ 242344 w 451321"/>
                <a:gd name="connsiteY414" fmla="*/ 144753 h 611653"/>
                <a:gd name="connsiteX415" fmla="*/ 243494 w 451321"/>
                <a:gd name="connsiteY415" fmla="*/ 143755 h 611653"/>
                <a:gd name="connsiteX416" fmla="*/ 244008 w 451321"/>
                <a:gd name="connsiteY416" fmla="*/ 143089 h 611653"/>
                <a:gd name="connsiteX417" fmla="*/ 245248 w 451321"/>
                <a:gd name="connsiteY417" fmla="*/ 140760 h 611653"/>
                <a:gd name="connsiteX418" fmla="*/ 247275 w 451321"/>
                <a:gd name="connsiteY418" fmla="*/ 137977 h 611653"/>
                <a:gd name="connsiteX419" fmla="*/ 249393 w 451321"/>
                <a:gd name="connsiteY419" fmla="*/ 135799 h 611653"/>
                <a:gd name="connsiteX420" fmla="*/ 257016 w 451321"/>
                <a:gd name="connsiteY420" fmla="*/ 137432 h 611653"/>
                <a:gd name="connsiteX421" fmla="*/ 260979 w 451321"/>
                <a:gd name="connsiteY421" fmla="*/ 137583 h 611653"/>
                <a:gd name="connsiteX422" fmla="*/ 264851 w 451321"/>
                <a:gd name="connsiteY422" fmla="*/ 136192 h 611653"/>
                <a:gd name="connsiteX423" fmla="*/ 274864 w 451321"/>
                <a:gd name="connsiteY423" fmla="*/ 127389 h 611653"/>
                <a:gd name="connsiteX424" fmla="*/ 279039 w 451321"/>
                <a:gd name="connsiteY424" fmla="*/ 126118 h 611653"/>
                <a:gd name="connsiteX425" fmla="*/ 279039 w 451321"/>
                <a:gd name="connsiteY425" fmla="*/ 126028 h 611653"/>
                <a:gd name="connsiteX426" fmla="*/ 279039 w 451321"/>
                <a:gd name="connsiteY426" fmla="*/ 126028 h 611653"/>
                <a:gd name="connsiteX427" fmla="*/ 278767 w 451321"/>
                <a:gd name="connsiteY427" fmla="*/ 122912 h 611653"/>
                <a:gd name="connsiteX428" fmla="*/ 277708 w 451321"/>
                <a:gd name="connsiteY428" fmla="*/ 122670 h 611653"/>
                <a:gd name="connsiteX429" fmla="*/ 276135 w 451321"/>
                <a:gd name="connsiteY429" fmla="*/ 123728 h 611653"/>
                <a:gd name="connsiteX430" fmla="*/ 274441 w 451321"/>
                <a:gd name="connsiteY430" fmla="*/ 124485 h 611653"/>
                <a:gd name="connsiteX431" fmla="*/ 272868 w 451321"/>
                <a:gd name="connsiteY431" fmla="*/ 123910 h 611653"/>
                <a:gd name="connsiteX432" fmla="*/ 269631 w 451321"/>
                <a:gd name="connsiteY432" fmla="*/ 121217 h 611653"/>
                <a:gd name="connsiteX433" fmla="*/ 268239 w 451321"/>
                <a:gd name="connsiteY433" fmla="*/ 120461 h 611653"/>
                <a:gd name="connsiteX434" fmla="*/ 267483 w 451321"/>
                <a:gd name="connsiteY434" fmla="*/ 120673 h 611653"/>
                <a:gd name="connsiteX435" fmla="*/ 265940 w 451321"/>
                <a:gd name="connsiteY435" fmla="*/ 121762 h 611653"/>
                <a:gd name="connsiteX436" fmla="*/ 265093 w 451321"/>
                <a:gd name="connsiteY436" fmla="*/ 121762 h 611653"/>
                <a:gd name="connsiteX437" fmla="*/ 264307 w 451321"/>
                <a:gd name="connsiteY437" fmla="*/ 120945 h 611653"/>
                <a:gd name="connsiteX438" fmla="*/ 263278 w 451321"/>
                <a:gd name="connsiteY438" fmla="*/ 118918 h 611653"/>
                <a:gd name="connsiteX439" fmla="*/ 262431 w 451321"/>
                <a:gd name="connsiteY439" fmla="*/ 118404 h 611653"/>
                <a:gd name="connsiteX440" fmla="*/ 260677 w 451321"/>
                <a:gd name="connsiteY440" fmla="*/ 117950 h 611653"/>
                <a:gd name="connsiteX441" fmla="*/ 259013 w 451321"/>
                <a:gd name="connsiteY441" fmla="*/ 116952 h 611653"/>
                <a:gd name="connsiteX442" fmla="*/ 258196 w 451321"/>
                <a:gd name="connsiteY442" fmla="*/ 115288 h 611653"/>
                <a:gd name="connsiteX443" fmla="*/ 258982 w 451321"/>
                <a:gd name="connsiteY443" fmla="*/ 112898 h 611653"/>
                <a:gd name="connsiteX444" fmla="*/ 258347 w 451321"/>
                <a:gd name="connsiteY444" fmla="*/ 112565 h 611653"/>
                <a:gd name="connsiteX445" fmla="*/ 256683 w 451321"/>
                <a:gd name="connsiteY445" fmla="*/ 111295 h 611653"/>
                <a:gd name="connsiteX446" fmla="*/ 261675 w 451321"/>
                <a:gd name="connsiteY446" fmla="*/ 108996 h 611653"/>
                <a:gd name="connsiteX447" fmla="*/ 265124 w 451321"/>
                <a:gd name="connsiteY447" fmla="*/ 105789 h 611653"/>
                <a:gd name="connsiteX448" fmla="*/ 266515 w 451321"/>
                <a:gd name="connsiteY448" fmla="*/ 105850 h 611653"/>
                <a:gd name="connsiteX449" fmla="*/ 269389 w 451321"/>
                <a:gd name="connsiteY449" fmla="*/ 108149 h 611653"/>
                <a:gd name="connsiteX450" fmla="*/ 272717 w 451321"/>
                <a:gd name="connsiteY450" fmla="*/ 109783 h 611653"/>
                <a:gd name="connsiteX451" fmla="*/ 276135 w 451321"/>
                <a:gd name="connsiteY451" fmla="*/ 109540 h 611653"/>
                <a:gd name="connsiteX452" fmla="*/ 279584 w 451321"/>
                <a:gd name="connsiteY452" fmla="*/ 107725 h 611653"/>
                <a:gd name="connsiteX453" fmla="*/ 283093 w 451321"/>
                <a:gd name="connsiteY453" fmla="*/ 104549 h 611653"/>
                <a:gd name="connsiteX454" fmla="*/ 284878 w 451321"/>
                <a:gd name="connsiteY454" fmla="*/ 103581 h 611653"/>
                <a:gd name="connsiteX455" fmla="*/ 288326 w 451321"/>
                <a:gd name="connsiteY455" fmla="*/ 104458 h 611653"/>
                <a:gd name="connsiteX456" fmla="*/ 291352 w 451321"/>
                <a:gd name="connsiteY456" fmla="*/ 103611 h 611653"/>
                <a:gd name="connsiteX457" fmla="*/ 293227 w 451321"/>
                <a:gd name="connsiteY457" fmla="*/ 104579 h 611653"/>
                <a:gd name="connsiteX458" fmla="*/ 294286 w 451321"/>
                <a:gd name="connsiteY458" fmla="*/ 104640 h 611653"/>
                <a:gd name="connsiteX459" fmla="*/ 295587 w 451321"/>
                <a:gd name="connsiteY459" fmla="*/ 104095 h 611653"/>
                <a:gd name="connsiteX460" fmla="*/ 295587 w 451321"/>
                <a:gd name="connsiteY460" fmla="*/ 103763 h 611653"/>
                <a:gd name="connsiteX461" fmla="*/ 295072 w 451321"/>
                <a:gd name="connsiteY461" fmla="*/ 103218 h 611653"/>
                <a:gd name="connsiteX462" fmla="*/ 294740 w 451321"/>
                <a:gd name="connsiteY462" fmla="*/ 102008 h 611653"/>
                <a:gd name="connsiteX463" fmla="*/ 294921 w 451321"/>
                <a:gd name="connsiteY463" fmla="*/ 98015 h 611653"/>
                <a:gd name="connsiteX464" fmla="*/ 295557 w 451321"/>
                <a:gd name="connsiteY464" fmla="*/ 95867 h 611653"/>
                <a:gd name="connsiteX465" fmla="*/ 302847 w 451321"/>
                <a:gd name="connsiteY465" fmla="*/ 87487 h 611653"/>
                <a:gd name="connsiteX466" fmla="*/ 304450 w 451321"/>
                <a:gd name="connsiteY466" fmla="*/ 84643 h 611653"/>
                <a:gd name="connsiteX467" fmla="*/ 305479 w 451321"/>
                <a:gd name="connsiteY467" fmla="*/ 81195 h 611653"/>
                <a:gd name="connsiteX468" fmla="*/ 305479 w 451321"/>
                <a:gd name="connsiteY468" fmla="*/ 79531 h 611653"/>
                <a:gd name="connsiteX469" fmla="*/ 305055 w 451321"/>
                <a:gd name="connsiteY469" fmla="*/ 75447 h 611653"/>
                <a:gd name="connsiteX470" fmla="*/ 305418 w 451321"/>
                <a:gd name="connsiteY470" fmla="*/ 73541 h 611653"/>
                <a:gd name="connsiteX471" fmla="*/ 306235 w 451321"/>
                <a:gd name="connsiteY471" fmla="*/ 72543 h 611653"/>
                <a:gd name="connsiteX472" fmla="*/ 308232 w 451321"/>
                <a:gd name="connsiteY472" fmla="*/ 71756 h 611653"/>
                <a:gd name="connsiteX473" fmla="*/ 308383 w 451321"/>
                <a:gd name="connsiteY473" fmla="*/ 71545 h 611653"/>
                <a:gd name="connsiteX474" fmla="*/ 309109 w 451321"/>
                <a:gd name="connsiteY474" fmla="*/ 70456 h 611653"/>
                <a:gd name="connsiteX475" fmla="*/ 309230 w 451321"/>
                <a:gd name="connsiteY475" fmla="*/ 69124 h 611653"/>
                <a:gd name="connsiteX476" fmla="*/ 308655 w 451321"/>
                <a:gd name="connsiteY476" fmla="*/ 65010 h 611653"/>
                <a:gd name="connsiteX477" fmla="*/ 309049 w 451321"/>
                <a:gd name="connsiteY477" fmla="*/ 63861 h 611653"/>
                <a:gd name="connsiteX478" fmla="*/ 309593 w 451321"/>
                <a:gd name="connsiteY478" fmla="*/ 63679 h 611653"/>
                <a:gd name="connsiteX479" fmla="*/ 309865 w 451321"/>
                <a:gd name="connsiteY479" fmla="*/ 63407 h 611653"/>
                <a:gd name="connsiteX480" fmla="*/ 309442 w 451321"/>
                <a:gd name="connsiteY480" fmla="*/ 62015 h 611653"/>
                <a:gd name="connsiteX481" fmla="*/ 312285 w 451321"/>
                <a:gd name="connsiteY481" fmla="*/ 57932 h 611653"/>
                <a:gd name="connsiteX482" fmla="*/ 313284 w 451321"/>
                <a:gd name="connsiteY482" fmla="*/ 56873 h 611653"/>
                <a:gd name="connsiteX483" fmla="*/ 314494 w 451321"/>
                <a:gd name="connsiteY483" fmla="*/ 55995 h 611653"/>
                <a:gd name="connsiteX484" fmla="*/ 320907 w 451321"/>
                <a:gd name="connsiteY484" fmla="*/ 55088 h 611653"/>
                <a:gd name="connsiteX485" fmla="*/ 321724 w 451321"/>
                <a:gd name="connsiteY485" fmla="*/ 54241 h 611653"/>
                <a:gd name="connsiteX486" fmla="*/ 322510 w 451321"/>
                <a:gd name="connsiteY486" fmla="*/ 53091 h 611653"/>
                <a:gd name="connsiteX487" fmla="*/ 323388 w 451321"/>
                <a:gd name="connsiteY487" fmla="*/ 52063 h 611653"/>
                <a:gd name="connsiteX488" fmla="*/ 325354 w 451321"/>
                <a:gd name="connsiteY488" fmla="*/ 51397 h 611653"/>
                <a:gd name="connsiteX489" fmla="*/ 325566 w 451321"/>
                <a:gd name="connsiteY489" fmla="*/ 50732 h 611653"/>
                <a:gd name="connsiteX490" fmla="*/ 326836 w 451321"/>
                <a:gd name="connsiteY490" fmla="*/ 47767 h 611653"/>
                <a:gd name="connsiteX491" fmla="*/ 328410 w 451321"/>
                <a:gd name="connsiteY491" fmla="*/ 45105 h 611653"/>
                <a:gd name="connsiteX492" fmla="*/ 332826 w 451321"/>
                <a:gd name="connsiteY492" fmla="*/ 39418 h 611653"/>
                <a:gd name="connsiteX493" fmla="*/ 334157 w 451321"/>
                <a:gd name="connsiteY493" fmla="*/ 38238 h 611653"/>
                <a:gd name="connsiteX494" fmla="*/ 336880 w 451321"/>
                <a:gd name="connsiteY494" fmla="*/ 37482 h 611653"/>
                <a:gd name="connsiteX495" fmla="*/ 340147 w 451321"/>
                <a:gd name="connsiteY495" fmla="*/ 35848 h 611653"/>
                <a:gd name="connsiteX496" fmla="*/ 343566 w 451321"/>
                <a:gd name="connsiteY496" fmla="*/ 32702 h 611653"/>
                <a:gd name="connsiteX497" fmla="*/ 346742 w 451321"/>
                <a:gd name="connsiteY497" fmla="*/ 30796 h 611653"/>
                <a:gd name="connsiteX498" fmla="*/ 350100 w 451321"/>
                <a:gd name="connsiteY498" fmla="*/ 29435 h 611653"/>
                <a:gd name="connsiteX499" fmla="*/ 352943 w 451321"/>
                <a:gd name="connsiteY499" fmla="*/ 28920 h 611653"/>
                <a:gd name="connsiteX500" fmla="*/ 355938 w 451321"/>
                <a:gd name="connsiteY500" fmla="*/ 27257 h 611653"/>
                <a:gd name="connsiteX501" fmla="*/ 356241 w 451321"/>
                <a:gd name="connsiteY501" fmla="*/ 23929 h 611653"/>
                <a:gd name="connsiteX502" fmla="*/ 354849 w 451321"/>
                <a:gd name="connsiteY502" fmla="*/ 21448 h 611653"/>
                <a:gd name="connsiteX503" fmla="*/ 352611 w 451321"/>
                <a:gd name="connsiteY503" fmla="*/ 22356 h 611653"/>
                <a:gd name="connsiteX504" fmla="*/ 350523 w 451321"/>
                <a:gd name="connsiteY504" fmla="*/ 20904 h 611653"/>
                <a:gd name="connsiteX505" fmla="*/ 345955 w 451321"/>
                <a:gd name="connsiteY505" fmla="*/ 19088 h 611653"/>
                <a:gd name="connsiteX506" fmla="*/ 342174 w 451321"/>
                <a:gd name="connsiteY506" fmla="*/ 18484 h 611653"/>
                <a:gd name="connsiteX507" fmla="*/ 337182 w 451321"/>
                <a:gd name="connsiteY507" fmla="*/ 16336 h 611653"/>
                <a:gd name="connsiteX508" fmla="*/ 335670 w 451321"/>
                <a:gd name="connsiteY508" fmla="*/ 15065 h 611653"/>
                <a:gd name="connsiteX509" fmla="*/ 330497 w 451321"/>
                <a:gd name="connsiteY509" fmla="*/ 7774 h 611653"/>
                <a:gd name="connsiteX510" fmla="*/ 329136 w 451321"/>
                <a:gd name="connsiteY510" fmla="*/ 6716 h 611653"/>
                <a:gd name="connsiteX511" fmla="*/ 325263 w 451321"/>
                <a:gd name="connsiteY511" fmla="*/ 4749 h 611653"/>
                <a:gd name="connsiteX512" fmla="*/ 323630 w 451321"/>
                <a:gd name="connsiteY512" fmla="*/ 4538 h 611653"/>
                <a:gd name="connsiteX513" fmla="*/ 316702 w 451321"/>
                <a:gd name="connsiteY513" fmla="*/ 2208 h 611653"/>
                <a:gd name="connsiteX514" fmla="*/ 313284 w 451321"/>
                <a:gd name="connsiteY514" fmla="*/ 393 h 611653"/>
                <a:gd name="connsiteX515" fmla="*/ 311469 w 451321"/>
                <a:gd name="connsiteY515" fmla="*/ 0 h 611653"/>
                <a:gd name="connsiteX516" fmla="*/ 309896 w 451321"/>
                <a:gd name="connsiteY516" fmla="*/ 998 h 611653"/>
                <a:gd name="connsiteX517" fmla="*/ 310773 w 451321"/>
                <a:gd name="connsiteY517" fmla="*/ 2057 h 611653"/>
                <a:gd name="connsiteX518" fmla="*/ 311983 w 451321"/>
                <a:gd name="connsiteY518" fmla="*/ 3055 h 611653"/>
                <a:gd name="connsiteX519" fmla="*/ 314645 w 451321"/>
                <a:gd name="connsiteY519" fmla="*/ 4538 h 611653"/>
                <a:gd name="connsiteX520" fmla="*/ 314887 w 451321"/>
                <a:gd name="connsiteY520" fmla="*/ 8319 h 611653"/>
                <a:gd name="connsiteX521" fmla="*/ 317912 w 451321"/>
                <a:gd name="connsiteY521" fmla="*/ 11859 h 611653"/>
                <a:gd name="connsiteX522" fmla="*/ 324356 w 451321"/>
                <a:gd name="connsiteY522" fmla="*/ 16608 h 611653"/>
                <a:gd name="connsiteX523" fmla="*/ 322359 w 451321"/>
                <a:gd name="connsiteY523" fmla="*/ 17939 h 611653"/>
                <a:gd name="connsiteX524" fmla="*/ 320121 w 451321"/>
                <a:gd name="connsiteY524" fmla="*/ 17879 h 611653"/>
                <a:gd name="connsiteX525" fmla="*/ 317912 w 451321"/>
                <a:gd name="connsiteY525" fmla="*/ 16941 h 611653"/>
                <a:gd name="connsiteX526" fmla="*/ 315976 w 451321"/>
                <a:gd name="connsiteY526" fmla="*/ 15610 h 611653"/>
                <a:gd name="connsiteX527" fmla="*/ 316642 w 451321"/>
                <a:gd name="connsiteY527" fmla="*/ 15731 h 611653"/>
                <a:gd name="connsiteX528" fmla="*/ 318759 w 451321"/>
                <a:gd name="connsiteY528" fmla="*/ 15610 h 611653"/>
                <a:gd name="connsiteX529" fmla="*/ 317216 w 451321"/>
                <a:gd name="connsiteY529" fmla="*/ 12645 h 611653"/>
                <a:gd name="connsiteX530" fmla="*/ 315190 w 451321"/>
                <a:gd name="connsiteY530" fmla="*/ 11707 h 611653"/>
                <a:gd name="connsiteX531" fmla="*/ 313163 w 451321"/>
                <a:gd name="connsiteY531" fmla="*/ 12312 h 611653"/>
                <a:gd name="connsiteX532" fmla="*/ 309321 w 451321"/>
                <a:gd name="connsiteY532" fmla="*/ 16154 h 611653"/>
                <a:gd name="connsiteX533" fmla="*/ 307112 w 451321"/>
                <a:gd name="connsiteY533" fmla="*/ 16215 h 611653"/>
                <a:gd name="connsiteX534" fmla="*/ 304965 w 451321"/>
                <a:gd name="connsiteY534" fmla="*/ 15005 h 611653"/>
                <a:gd name="connsiteX535" fmla="*/ 302968 w 451321"/>
                <a:gd name="connsiteY535" fmla="*/ 13401 h 611653"/>
                <a:gd name="connsiteX536" fmla="*/ 303180 w 451321"/>
                <a:gd name="connsiteY536" fmla="*/ 14248 h 611653"/>
                <a:gd name="connsiteX537" fmla="*/ 303240 w 451321"/>
                <a:gd name="connsiteY537" fmla="*/ 14702 h 611653"/>
                <a:gd name="connsiteX538" fmla="*/ 303331 w 451321"/>
                <a:gd name="connsiteY538" fmla="*/ 15065 h 611653"/>
                <a:gd name="connsiteX539" fmla="*/ 303603 w 451321"/>
                <a:gd name="connsiteY539" fmla="*/ 15610 h 611653"/>
                <a:gd name="connsiteX540" fmla="*/ 302030 w 451321"/>
                <a:gd name="connsiteY540" fmla="*/ 16638 h 611653"/>
                <a:gd name="connsiteX541" fmla="*/ 300608 w 451321"/>
                <a:gd name="connsiteY541" fmla="*/ 16396 h 611653"/>
                <a:gd name="connsiteX542" fmla="*/ 299126 w 451321"/>
                <a:gd name="connsiteY542" fmla="*/ 15791 h 611653"/>
                <a:gd name="connsiteX543" fmla="*/ 297432 w 451321"/>
                <a:gd name="connsiteY543" fmla="*/ 15610 h 611653"/>
                <a:gd name="connsiteX544" fmla="*/ 298521 w 451321"/>
                <a:gd name="connsiteY544" fmla="*/ 18211 h 611653"/>
                <a:gd name="connsiteX545" fmla="*/ 298249 w 451321"/>
                <a:gd name="connsiteY545" fmla="*/ 21478 h 611653"/>
                <a:gd name="connsiteX546" fmla="*/ 297160 w 451321"/>
                <a:gd name="connsiteY546" fmla="*/ 24292 h 611653"/>
                <a:gd name="connsiteX547" fmla="*/ 294921 w 451321"/>
                <a:gd name="connsiteY547" fmla="*/ 26168 h 611653"/>
                <a:gd name="connsiteX548" fmla="*/ 294921 w 451321"/>
                <a:gd name="connsiteY548" fmla="*/ 27771 h 611653"/>
                <a:gd name="connsiteX549" fmla="*/ 295284 w 451321"/>
                <a:gd name="connsiteY549" fmla="*/ 29495 h 611653"/>
                <a:gd name="connsiteX550" fmla="*/ 295708 w 451321"/>
                <a:gd name="connsiteY550" fmla="*/ 30584 h 611653"/>
                <a:gd name="connsiteX551" fmla="*/ 296494 w 451321"/>
                <a:gd name="connsiteY551" fmla="*/ 31492 h 611653"/>
                <a:gd name="connsiteX552" fmla="*/ 298854 w 451321"/>
                <a:gd name="connsiteY552" fmla="*/ 33337 h 611653"/>
                <a:gd name="connsiteX553" fmla="*/ 302877 w 451321"/>
                <a:gd name="connsiteY553" fmla="*/ 39115 h 611653"/>
                <a:gd name="connsiteX554" fmla="*/ 303603 w 451321"/>
                <a:gd name="connsiteY554" fmla="*/ 39387 h 611653"/>
                <a:gd name="connsiteX555" fmla="*/ 303603 w 451321"/>
                <a:gd name="connsiteY555" fmla="*/ 43260 h 611653"/>
                <a:gd name="connsiteX556" fmla="*/ 302545 w 451321"/>
                <a:gd name="connsiteY556" fmla="*/ 45529 h 611653"/>
                <a:gd name="connsiteX557" fmla="*/ 302121 w 451321"/>
                <a:gd name="connsiteY557" fmla="*/ 46981 h 611653"/>
                <a:gd name="connsiteX558" fmla="*/ 302605 w 451321"/>
                <a:gd name="connsiteY558" fmla="*/ 47646 h 611653"/>
                <a:gd name="connsiteX559" fmla="*/ 304450 w 451321"/>
                <a:gd name="connsiteY559" fmla="*/ 48614 h 611653"/>
                <a:gd name="connsiteX560" fmla="*/ 304904 w 451321"/>
                <a:gd name="connsiteY560" fmla="*/ 50852 h 611653"/>
                <a:gd name="connsiteX561" fmla="*/ 304299 w 451321"/>
                <a:gd name="connsiteY561" fmla="*/ 53484 h 611653"/>
                <a:gd name="connsiteX562" fmla="*/ 302998 w 451321"/>
                <a:gd name="connsiteY562" fmla="*/ 55451 h 611653"/>
                <a:gd name="connsiteX563" fmla="*/ 301274 w 451321"/>
                <a:gd name="connsiteY563" fmla="*/ 56207 h 611653"/>
                <a:gd name="connsiteX564" fmla="*/ 298975 w 451321"/>
                <a:gd name="connsiteY564" fmla="*/ 56752 h 611653"/>
                <a:gd name="connsiteX565" fmla="*/ 296948 w 451321"/>
                <a:gd name="connsiteY565" fmla="*/ 57599 h 611653"/>
                <a:gd name="connsiteX566" fmla="*/ 296071 w 451321"/>
                <a:gd name="connsiteY566" fmla="*/ 59353 h 611653"/>
                <a:gd name="connsiteX567" fmla="*/ 295012 w 451321"/>
                <a:gd name="connsiteY567" fmla="*/ 59595 h 611653"/>
                <a:gd name="connsiteX568" fmla="*/ 285452 w 451321"/>
                <a:gd name="connsiteY568" fmla="*/ 68157 h 611653"/>
                <a:gd name="connsiteX569" fmla="*/ 283637 w 451321"/>
                <a:gd name="connsiteY569" fmla="*/ 69336 h 611653"/>
                <a:gd name="connsiteX570" fmla="*/ 281641 w 451321"/>
                <a:gd name="connsiteY570" fmla="*/ 69911 h 611653"/>
                <a:gd name="connsiteX571" fmla="*/ 281641 w 451321"/>
                <a:gd name="connsiteY571" fmla="*/ 68822 h 611653"/>
                <a:gd name="connsiteX572" fmla="*/ 283032 w 451321"/>
                <a:gd name="connsiteY572" fmla="*/ 67703 h 611653"/>
                <a:gd name="connsiteX573" fmla="*/ 286390 w 451321"/>
                <a:gd name="connsiteY573" fmla="*/ 63316 h 611653"/>
                <a:gd name="connsiteX574" fmla="*/ 291382 w 451321"/>
                <a:gd name="connsiteY574" fmla="*/ 59988 h 611653"/>
                <a:gd name="connsiteX575" fmla="*/ 292561 w 451321"/>
                <a:gd name="connsiteY575" fmla="*/ 58809 h 611653"/>
                <a:gd name="connsiteX576" fmla="*/ 293651 w 451321"/>
                <a:gd name="connsiteY576" fmla="*/ 55390 h 611653"/>
                <a:gd name="connsiteX577" fmla="*/ 291715 w 451321"/>
                <a:gd name="connsiteY577" fmla="*/ 54453 h 611653"/>
                <a:gd name="connsiteX578" fmla="*/ 285695 w 451321"/>
                <a:gd name="connsiteY578" fmla="*/ 55511 h 611653"/>
                <a:gd name="connsiteX579" fmla="*/ 285695 w 451321"/>
                <a:gd name="connsiteY579" fmla="*/ 54392 h 611653"/>
                <a:gd name="connsiteX580" fmla="*/ 291200 w 451321"/>
                <a:gd name="connsiteY580" fmla="*/ 51095 h 611653"/>
                <a:gd name="connsiteX581" fmla="*/ 293046 w 451321"/>
                <a:gd name="connsiteY581" fmla="*/ 49068 h 611653"/>
                <a:gd name="connsiteX582" fmla="*/ 294225 w 451321"/>
                <a:gd name="connsiteY582" fmla="*/ 48100 h 611653"/>
                <a:gd name="connsiteX583" fmla="*/ 295738 w 451321"/>
                <a:gd name="connsiteY583" fmla="*/ 47707 h 611653"/>
                <a:gd name="connsiteX584" fmla="*/ 296736 w 451321"/>
                <a:gd name="connsiteY584" fmla="*/ 46496 h 611653"/>
                <a:gd name="connsiteX585" fmla="*/ 297341 w 451321"/>
                <a:gd name="connsiteY585" fmla="*/ 43834 h 611653"/>
                <a:gd name="connsiteX586" fmla="*/ 297129 w 451321"/>
                <a:gd name="connsiteY586" fmla="*/ 41172 h 611653"/>
                <a:gd name="connsiteX587" fmla="*/ 295768 w 451321"/>
                <a:gd name="connsiteY587" fmla="*/ 39962 h 611653"/>
                <a:gd name="connsiteX588" fmla="*/ 294649 w 451321"/>
                <a:gd name="connsiteY588" fmla="*/ 39206 h 611653"/>
                <a:gd name="connsiteX589" fmla="*/ 293469 w 451321"/>
                <a:gd name="connsiteY589" fmla="*/ 37421 h 611653"/>
                <a:gd name="connsiteX590" fmla="*/ 292652 w 451321"/>
                <a:gd name="connsiteY590" fmla="*/ 35243 h 611653"/>
                <a:gd name="connsiteX591" fmla="*/ 292592 w 451321"/>
                <a:gd name="connsiteY591" fmla="*/ 33337 h 611653"/>
                <a:gd name="connsiteX592" fmla="*/ 289688 w 451321"/>
                <a:gd name="connsiteY592" fmla="*/ 32006 h 611653"/>
                <a:gd name="connsiteX593" fmla="*/ 288387 w 451321"/>
                <a:gd name="connsiteY593" fmla="*/ 30917 h 611653"/>
                <a:gd name="connsiteX594" fmla="*/ 287842 w 451321"/>
                <a:gd name="connsiteY594" fmla="*/ 29465 h 611653"/>
                <a:gd name="connsiteX595" fmla="*/ 288084 w 451321"/>
                <a:gd name="connsiteY595" fmla="*/ 28557 h 611653"/>
                <a:gd name="connsiteX596" fmla="*/ 288508 w 451321"/>
                <a:gd name="connsiteY596" fmla="*/ 26107 h 611653"/>
                <a:gd name="connsiteX597" fmla="*/ 288689 w 451321"/>
                <a:gd name="connsiteY597" fmla="*/ 23566 h 611653"/>
                <a:gd name="connsiteX598" fmla="*/ 288175 w 451321"/>
                <a:gd name="connsiteY598" fmla="*/ 22386 h 611653"/>
                <a:gd name="connsiteX599" fmla="*/ 287298 w 451321"/>
                <a:gd name="connsiteY599" fmla="*/ 21660 h 611653"/>
                <a:gd name="connsiteX600" fmla="*/ 286481 w 451321"/>
                <a:gd name="connsiteY600" fmla="*/ 20057 h 611653"/>
                <a:gd name="connsiteX601" fmla="*/ 285422 w 451321"/>
                <a:gd name="connsiteY601" fmla="*/ 18484 h 611653"/>
                <a:gd name="connsiteX602" fmla="*/ 283728 w 451321"/>
                <a:gd name="connsiteY602" fmla="*/ 17879 h 611653"/>
                <a:gd name="connsiteX603" fmla="*/ 282458 w 451321"/>
                <a:gd name="connsiteY603" fmla="*/ 18302 h 611653"/>
                <a:gd name="connsiteX604" fmla="*/ 278858 w 451321"/>
                <a:gd name="connsiteY604" fmla="*/ 21176 h 611653"/>
                <a:gd name="connsiteX605" fmla="*/ 277285 w 451321"/>
                <a:gd name="connsiteY605" fmla="*/ 21720 h 611653"/>
                <a:gd name="connsiteX606" fmla="*/ 273685 w 451321"/>
                <a:gd name="connsiteY606" fmla="*/ 21176 h 611653"/>
                <a:gd name="connsiteX607" fmla="*/ 273685 w 451321"/>
                <a:gd name="connsiteY607" fmla="*/ 22084 h 611653"/>
                <a:gd name="connsiteX608" fmla="*/ 270932 w 451321"/>
                <a:gd name="connsiteY608" fmla="*/ 27257 h 611653"/>
                <a:gd name="connsiteX609" fmla="*/ 270569 w 451321"/>
                <a:gd name="connsiteY609" fmla="*/ 29283 h 611653"/>
                <a:gd name="connsiteX610" fmla="*/ 271779 w 451321"/>
                <a:gd name="connsiteY610" fmla="*/ 30312 h 611653"/>
                <a:gd name="connsiteX611" fmla="*/ 274744 w 451321"/>
                <a:gd name="connsiteY611" fmla="*/ 31129 h 611653"/>
                <a:gd name="connsiteX612" fmla="*/ 275681 w 451321"/>
                <a:gd name="connsiteY612" fmla="*/ 32097 h 611653"/>
                <a:gd name="connsiteX613" fmla="*/ 276498 w 451321"/>
                <a:gd name="connsiteY613" fmla="*/ 33246 h 611653"/>
                <a:gd name="connsiteX614" fmla="*/ 277466 w 451321"/>
                <a:gd name="connsiteY614" fmla="*/ 34184 h 611653"/>
                <a:gd name="connsiteX615" fmla="*/ 278858 w 451321"/>
                <a:gd name="connsiteY615" fmla="*/ 34426 h 611653"/>
                <a:gd name="connsiteX616" fmla="*/ 278253 w 451321"/>
                <a:gd name="connsiteY616" fmla="*/ 32702 h 611653"/>
                <a:gd name="connsiteX617" fmla="*/ 277587 w 451321"/>
                <a:gd name="connsiteY617" fmla="*/ 30221 h 611653"/>
                <a:gd name="connsiteX618" fmla="*/ 277406 w 451321"/>
                <a:gd name="connsiteY618" fmla="*/ 27922 h 611653"/>
                <a:gd name="connsiteX619" fmla="*/ 278192 w 451321"/>
                <a:gd name="connsiteY619" fmla="*/ 26742 h 611653"/>
                <a:gd name="connsiteX620" fmla="*/ 279432 w 451321"/>
                <a:gd name="connsiteY620" fmla="*/ 27287 h 611653"/>
                <a:gd name="connsiteX621" fmla="*/ 280279 w 451321"/>
                <a:gd name="connsiteY621" fmla="*/ 29072 h 611653"/>
                <a:gd name="connsiteX622" fmla="*/ 280764 w 451321"/>
                <a:gd name="connsiteY622" fmla="*/ 31159 h 611653"/>
                <a:gd name="connsiteX623" fmla="*/ 280915 w 451321"/>
                <a:gd name="connsiteY623" fmla="*/ 32762 h 611653"/>
                <a:gd name="connsiteX624" fmla="*/ 281399 w 451321"/>
                <a:gd name="connsiteY624" fmla="*/ 33761 h 611653"/>
                <a:gd name="connsiteX625" fmla="*/ 282336 w 451321"/>
                <a:gd name="connsiteY625" fmla="*/ 36271 h 611653"/>
                <a:gd name="connsiteX626" fmla="*/ 283002 w 451321"/>
                <a:gd name="connsiteY626" fmla="*/ 38843 h 611653"/>
                <a:gd name="connsiteX627" fmla="*/ 282669 w 451321"/>
                <a:gd name="connsiteY627" fmla="*/ 39992 h 611653"/>
                <a:gd name="connsiteX628" fmla="*/ 281943 w 451321"/>
                <a:gd name="connsiteY628" fmla="*/ 40900 h 611653"/>
                <a:gd name="connsiteX629" fmla="*/ 280340 w 451321"/>
                <a:gd name="connsiteY629" fmla="*/ 45165 h 611653"/>
                <a:gd name="connsiteX630" fmla="*/ 279553 w 451321"/>
                <a:gd name="connsiteY630" fmla="*/ 46618 h 611653"/>
                <a:gd name="connsiteX631" fmla="*/ 279705 w 451321"/>
                <a:gd name="connsiteY631" fmla="*/ 45135 h 611653"/>
                <a:gd name="connsiteX632" fmla="*/ 280219 w 451321"/>
                <a:gd name="connsiteY632" fmla="*/ 42261 h 611653"/>
                <a:gd name="connsiteX633" fmla="*/ 280219 w 451321"/>
                <a:gd name="connsiteY633" fmla="*/ 41112 h 611653"/>
                <a:gd name="connsiteX634" fmla="*/ 279947 w 451321"/>
                <a:gd name="connsiteY634" fmla="*/ 39962 h 611653"/>
                <a:gd name="connsiteX635" fmla="*/ 279069 w 451321"/>
                <a:gd name="connsiteY635" fmla="*/ 37845 h 611653"/>
                <a:gd name="connsiteX636" fmla="*/ 278888 w 451321"/>
                <a:gd name="connsiteY636" fmla="*/ 37270 h 611653"/>
                <a:gd name="connsiteX637" fmla="*/ 278041 w 451321"/>
                <a:gd name="connsiteY637" fmla="*/ 35757 h 611653"/>
                <a:gd name="connsiteX638" fmla="*/ 276135 w 451321"/>
                <a:gd name="connsiteY638" fmla="*/ 34124 h 611653"/>
                <a:gd name="connsiteX639" fmla="*/ 274048 w 451321"/>
                <a:gd name="connsiteY639" fmla="*/ 32823 h 611653"/>
                <a:gd name="connsiteX640" fmla="*/ 272686 w 451321"/>
                <a:gd name="connsiteY640" fmla="*/ 32218 h 611653"/>
                <a:gd name="connsiteX641" fmla="*/ 271748 w 451321"/>
                <a:gd name="connsiteY641" fmla="*/ 32369 h 611653"/>
                <a:gd name="connsiteX642" fmla="*/ 270750 w 451321"/>
                <a:gd name="connsiteY642" fmla="*/ 33428 h 611653"/>
                <a:gd name="connsiteX643" fmla="*/ 269843 w 451321"/>
                <a:gd name="connsiteY643" fmla="*/ 33428 h 611653"/>
                <a:gd name="connsiteX644" fmla="*/ 269147 w 451321"/>
                <a:gd name="connsiteY644" fmla="*/ 32914 h 611653"/>
                <a:gd name="connsiteX645" fmla="*/ 268663 w 451321"/>
                <a:gd name="connsiteY645" fmla="*/ 32188 h 611653"/>
                <a:gd name="connsiteX646" fmla="*/ 268330 w 451321"/>
                <a:gd name="connsiteY646" fmla="*/ 31522 h 611653"/>
                <a:gd name="connsiteX647" fmla="*/ 268118 w 451321"/>
                <a:gd name="connsiteY647" fmla="*/ 31219 h 611653"/>
                <a:gd name="connsiteX648" fmla="*/ 268270 w 451321"/>
                <a:gd name="connsiteY648" fmla="*/ 30070 h 611653"/>
                <a:gd name="connsiteX649" fmla="*/ 270569 w 451321"/>
                <a:gd name="connsiteY649" fmla="*/ 22477 h 611653"/>
                <a:gd name="connsiteX650" fmla="*/ 270176 w 451321"/>
                <a:gd name="connsiteY650" fmla="*/ 22114 h 611653"/>
                <a:gd name="connsiteX651" fmla="*/ 270085 w 451321"/>
                <a:gd name="connsiteY651" fmla="*/ 22114 h 611653"/>
                <a:gd name="connsiteX652" fmla="*/ 269813 w 451321"/>
                <a:gd name="connsiteY652" fmla="*/ 21267 h 611653"/>
                <a:gd name="connsiteX653" fmla="*/ 267271 w 451321"/>
                <a:gd name="connsiteY653" fmla="*/ 24110 h 611653"/>
                <a:gd name="connsiteX654" fmla="*/ 264639 w 451321"/>
                <a:gd name="connsiteY654" fmla="*/ 25956 h 611653"/>
                <a:gd name="connsiteX655" fmla="*/ 263036 w 451321"/>
                <a:gd name="connsiteY655" fmla="*/ 27952 h 611653"/>
                <a:gd name="connsiteX656" fmla="*/ 263641 w 451321"/>
                <a:gd name="connsiteY656" fmla="*/ 31219 h 611653"/>
                <a:gd name="connsiteX657" fmla="*/ 265910 w 451321"/>
                <a:gd name="connsiteY657" fmla="*/ 34275 h 611653"/>
                <a:gd name="connsiteX658" fmla="*/ 266182 w 451321"/>
                <a:gd name="connsiteY658" fmla="*/ 36030 h 611653"/>
                <a:gd name="connsiteX659" fmla="*/ 265002 w 451321"/>
                <a:gd name="connsiteY659" fmla="*/ 38964 h 611653"/>
                <a:gd name="connsiteX660" fmla="*/ 264004 w 451321"/>
                <a:gd name="connsiteY660" fmla="*/ 40235 h 611653"/>
                <a:gd name="connsiteX661" fmla="*/ 263127 w 451321"/>
                <a:gd name="connsiteY661" fmla="*/ 40325 h 611653"/>
                <a:gd name="connsiteX662" fmla="*/ 261977 w 451321"/>
                <a:gd name="connsiteY662" fmla="*/ 39992 h 611653"/>
                <a:gd name="connsiteX663" fmla="*/ 260132 w 451321"/>
                <a:gd name="connsiteY663" fmla="*/ 40053 h 611653"/>
                <a:gd name="connsiteX664" fmla="*/ 260132 w 451321"/>
                <a:gd name="connsiteY664" fmla="*/ 38964 h 611653"/>
                <a:gd name="connsiteX665" fmla="*/ 261342 w 451321"/>
                <a:gd name="connsiteY665" fmla="*/ 38782 h 611653"/>
                <a:gd name="connsiteX666" fmla="*/ 262371 w 451321"/>
                <a:gd name="connsiteY666" fmla="*/ 38177 h 611653"/>
                <a:gd name="connsiteX667" fmla="*/ 263157 w 451321"/>
                <a:gd name="connsiteY667" fmla="*/ 37119 h 611653"/>
                <a:gd name="connsiteX668" fmla="*/ 263641 w 451321"/>
                <a:gd name="connsiteY668" fmla="*/ 35545 h 611653"/>
                <a:gd name="connsiteX669" fmla="*/ 262098 w 451321"/>
                <a:gd name="connsiteY669" fmla="*/ 36030 h 611653"/>
                <a:gd name="connsiteX670" fmla="*/ 260586 w 451321"/>
                <a:gd name="connsiteY670" fmla="*/ 37119 h 611653"/>
                <a:gd name="connsiteX671" fmla="*/ 259739 w 451321"/>
                <a:gd name="connsiteY671" fmla="*/ 37421 h 611653"/>
                <a:gd name="connsiteX672" fmla="*/ 260132 w 451321"/>
                <a:gd name="connsiteY672" fmla="*/ 35545 h 611653"/>
                <a:gd name="connsiteX673" fmla="*/ 260132 w 451321"/>
                <a:gd name="connsiteY673" fmla="*/ 34547 h 611653"/>
                <a:gd name="connsiteX674" fmla="*/ 258771 w 451321"/>
                <a:gd name="connsiteY674" fmla="*/ 32248 h 611653"/>
                <a:gd name="connsiteX675" fmla="*/ 257833 w 451321"/>
                <a:gd name="connsiteY675" fmla="*/ 32883 h 611653"/>
                <a:gd name="connsiteX676" fmla="*/ 256230 w 451321"/>
                <a:gd name="connsiteY676" fmla="*/ 33518 h 611653"/>
                <a:gd name="connsiteX677" fmla="*/ 254717 w 451321"/>
                <a:gd name="connsiteY677" fmla="*/ 33640 h 611653"/>
                <a:gd name="connsiteX678" fmla="*/ 254051 w 451321"/>
                <a:gd name="connsiteY678" fmla="*/ 32853 h 611653"/>
                <a:gd name="connsiteX679" fmla="*/ 253416 w 451321"/>
                <a:gd name="connsiteY679" fmla="*/ 32429 h 611653"/>
                <a:gd name="connsiteX680" fmla="*/ 249181 w 451321"/>
                <a:gd name="connsiteY680" fmla="*/ 34547 h 611653"/>
                <a:gd name="connsiteX681" fmla="*/ 249181 w 451321"/>
                <a:gd name="connsiteY681" fmla="*/ 33428 h 611653"/>
                <a:gd name="connsiteX682" fmla="*/ 253749 w 451321"/>
                <a:gd name="connsiteY682" fmla="*/ 30493 h 611653"/>
                <a:gd name="connsiteX683" fmla="*/ 254596 w 451321"/>
                <a:gd name="connsiteY683" fmla="*/ 28709 h 611653"/>
                <a:gd name="connsiteX684" fmla="*/ 251934 w 451321"/>
                <a:gd name="connsiteY684" fmla="*/ 26833 h 611653"/>
                <a:gd name="connsiteX685" fmla="*/ 249635 w 451321"/>
                <a:gd name="connsiteY685" fmla="*/ 27196 h 611653"/>
                <a:gd name="connsiteX686" fmla="*/ 248394 w 451321"/>
                <a:gd name="connsiteY686" fmla="*/ 29556 h 611653"/>
                <a:gd name="connsiteX687" fmla="*/ 247487 w 451321"/>
                <a:gd name="connsiteY687" fmla="*/ 32188 h 611653"/>
                <a:gd name="connsiteX688" fmla="*/ 246095 w 451321"/>
                <a:gd name="connsiteY688" fmla="*/ 33458 h 611653"/>
                <a:gd name="connsiteX689" fmla="*/ 244129 w 451321"/>
                <a:gd name="connsiteY689" fmla="*/ 34124 h 611653"/>
                <a:gd name="connsiteX690" fmla="*/ 238018 w 451321"/>
                <a:gd name="connsiteY690" fmla="*/ 37723 h 611653"/>
                <a:gd name="connsiteX691" fmla="*/ 235023 w 451321"/>
                <a:gd name="connsiteY691" fmla="*/ 41687 h 611653"/>
                <a:gd name="connsiteX692" fmla="*/ 233844 w 451321"/>
                <a:gd name="connsiteY692" fmla="*/ 42594 h 611653"/>
                <a:gd name="connsiteX693" fmla="*/ 233299 w 451321"/>
                <a:gd name="connsiteY693" fmla="*/ 41777 h 611653"/>
                <a:gd name="connsiteX694" fmla="*/ 233511 w 451321"/>
                <a:gd name="connsiteY694" fmla="*/ 40295 h 611653"/>
                <a:gd name="connsiteX695" fmla="*/ 234055 w 451321"/>
                <a:gd name="connsiteY695" fmla="*/ 39236 h 611653"/>
                <a:gd name="connsiteX696" fmla="*/ 234751 w 451321"/>
                <a:gd name="connsiteY696" fmla="*/ 38177 h 611653"/>
                <a:gd name="connsiteX697" fmla="*/ 235386 w 451321"/>
                <a:gd name="connsiteY697" fmla="*/ 36756 h 611653"/>
                <a:gd name="connsiteX698" fmla="*/ 233723 w 451321"/>
                <a:gd name="connsiteY698" fmla="*/ 37119 h 611653"/>
                <a:gd name="connsiteX699" fmla="*/ 230637 w 451321"/>
                <a:gd name="connsiteY699" fmla="*/ 38631 h 611653"/>
                <a:gd name="connsiteX700" fmla="*/ 228822 w 451321"/>
                <a:gd name="connsiteY700" fmla="*/ 38964 h 611653"/>
                <a:gd name="connsiteX701" fmla="*/ 223135 w 451321"/>
                <a:gd name="connsiteY701" fmla="*/ 36665 h 611653"/>
                <a:gd name="connsiteX702" fmla="*/ 221561 w 451321"/>
                <a:gd name="connsiteY702" fmla="*/ 36756 h 611653"/>
                <a:gd name="connsiteX703" fmla="*/ 220563 w 451321"/>
                <a:gd name="connsiteY703" fmla="*/ 38449 h 611653"/>
                <a:gd name="connsiteX704" fmla="*/ 218960 w 451321"/>
                <a:gd name="connsiteY704" fmla="*/ 43441 h 611653"/>
                <a:gd name="connsiteX705" fmla="*/ 217780 w 451321"/>
                <a:gd name="connsiteY705" fmla="*/ 44500 h 611653"/>
                <a:gd name="connsiteX706" fmla="*/ 217326 w 451321"/>
                <a:gd name="connsiteY706" fmla="*/ 45770 h 611653"/>
                <a:gd name="connsiteX707" fmla="*/ 217719 w 451321"/>
                <a:gd name="connsiteY707" fmla="*/ 48584 h 611653"/>
                <a:gd name="connsiteX708" fmla="*/ 218869 w 451321"/>
                <a:gd name="connsiteY708" fmla="*/ 53333 h 611653"/>
                <a:gd name="connsiteX709" fmla="*/ 218022 w 451321"/>
                <a:gd name="connsiteY709" fmla="*/ 54211 h 611653"/>
                <a:gd name="connsiteX710" fmla="*/ 217387 w 451321"/>
                <a:gd name="connsiteY710" fmla="*/ 57175 h 611653"/>
                <a:gd name="connsiteX711" fmla="*/ 216812 w 451321"/>
                <a:gd name="connsiteY711" fmla="*/ 57841 h 611653"/>
                <a:gd name="connsiteX712" fmla="*/ 215874 w 451321"/>
                <a:gd name="connsiteY712" fmla="*/ 57054 h 611653"/>
                <a:gd name="connsiteX713" fmla="*/ 215602 w 451321"/>
                <a:gd name="connsiteY713" fmla="*/ 53303 h 611653"/>
                <a:gd name="connsiteX714" fmla="*/ 214634 w 451321"/>
                <a:gd name="connsiteY714" fmla="*/ 52365 h 611653"/>
                <a:gd name="connsiteX715" fmla="*/ 213938 w 451321"/>
                <a:gd name="connsiteY715" fmla="*/ 52970 h 611653"/>
                <a:gd name="connsiteX716" fmla="*/ 211972 w 451321"/>
                <a:gd name="connsiteY716" fmla="*/ 56873 h 611653"/>
                <a:gd name="connsiteX717" fmla="*/ 210822 w 451321"/>
                <a:gd name="connsiteY717" fmla="*/ 57508 h 611653"/>
                <a:gd name="connsiteX718" fmla="*/ 209824 w 451321"/>
                <a:gd name="connsiteY718" fmla="*/ 57387 h 611653"/>
                <a:gd name="connsiteX719" fmla="*/ 209007 w 451321"/>
                <a:gd name="connsiteY719" fmla="*/ 57780 h 611653"/>
                <a:gd name="connsiteX720" fmla="*/ 208493 w 451321"/>
                <a:gd name="connsiteY720" fmla="*/ 60049 h 611653"/>
                <a:gd name="connsiteX721" fmla="*/ 209128 w 451321"/>
                <a:gd name="connsiteY721" fmla="*/ 60049 h 611653"/>
                <a:gd name="connsiteX722" fmla="*/ 208856 w 451321"/>
                <a:gd name="connsiteY722" fmla="*/ 60624 h 611653"/>
                <a:gd name="connsiteX723" fmla="*/ 207827 w 451321"/>
                <a:gd name="connsiteY723" fmla="*/ 62227 h 611653"/>
                <a:gd name="connsiteX724" fmla="*/ 206678 w 451321"/>
                <a:gd name="connsiteY724" fmla="*/ 61289 h 611653"/>
                <a:gd name="connsiteX725" fmla="*/ 205528 w 451321"/>
                <a:gd name="connsiteY725" fmla="*/ 61108 h 611653"/>
                <a:gd name="connsiteX726" fmla="*/ 204500 w 451321"/>
                <a:gd name="connsiteY726" fmla="*/ 61471 h 611653"/>
                <a:gd name="connsiteX727" fmla="*/ 203653 w 451321"/>
                <a:gd name="connsiteY727" fmla="*/ 62227 h 611653"/>
                <a:gd name="connsiteX728" fmla="*/ 203653 w 451321"/>
                <a:gd name="connsiteY728" fmla="*/ 63407 h 611653"/>
                <a:gd name="connsiteX729" fmla="*/ 207494 w 451321"/>
                <a:gd name="connsiteY729" fmla="*/ 67824 h 611653"/>
                <a:gd name="connsiteX730" fmla="*/ 209763 w 451321"/>
                <a:gd name="connsiteY730" fmla="*/ 69881 h 611653"/>
                <a:gd name="connsiteX731" fmla="*/ 212728 w 451321"/>
                <a:gd name="connsiteY731" fmla="*/ 71030 h 611653"/>
                <a:gd name="connsiteX732" fmla="*/ 210247 w 451321"/>
                <a:gd name="connsiteY732" fmla="*/ 72573 h 611653"/>
                <a:gd name="connsiteX733" fmla="*/ 208916 w 451321"/>
                <a:gd name="connsiteY733" fmla="*/ 73057 h 611653"/>
                <a:gd name="connsiteX734" fmla="*/ 207525 w 451321"/>
                <a:gd name="connsiteY734" fmla="*/ 73239 h 611653"/>
                <a:gd name="connsiteX735" fmla="*/ 206224 w 451321"/>
                <a:gd name="connsiteY735" fmla="*/ 72725 h 611653"/>
                <a:gd name="connsiteX736" fmla="*/ 205286 w 451321"/>
                <a:gd name="connsiteY736" fmla="*/ 71787 h 611653"/>
                <a:gd name="connsiteX737" fmla="*/ 204318 w 451321"/>
                <a:gd name="connsiteY737" fmla="*/ 71333 h 611653"/>
                <a:gd name="connsiteX738" fmla="*/ 203017 w 451321"/>
                <a:gd name="connsiteY738" fmla="*/ 72210 h 611653"/>
                <a:gd name="connsiteX739" fmla="*/ 204288 w 451321"/>
                <a:gd name="connsiteY739" fmla="*/ 75235 h 611653"/>
                <a:gd name="connsiteX740" fmla="*/ 206103 w 451321"/>
                <a:gd name="connsiteY740" fmla="*/ 78533 h 611653"/>
                <a:gd name="connsiteX741" fmla="*/ 208463 w 451321"/>
                <a:gd name="connsiteY741" fmla="*/ 80862 h 611653"/>
                <a:gd name="connsiteX742" fmla="*/ 211336 w 451321"/>
                <a:gd name="connsiteY742" fmla="*/ 80983 h 611653"/>
                <a:gd name="connsiteX743" fmla="*/ 211397 w 451321"/>
                <a:gd name="connsiteY743" fmla="*/ 80499 h 611653"/>
                <a:gd name="connsiteX744" fmla="*/ 211397 w 451321"/>
                <a:gd name="connsiteY744" fmla="*/ 79440 h 611653"/>
                <a:gd name="connsiteX745" fmla="*/ 211579 w 451321"/>
                <a:gd name="connsiteY745" fmla="*/ 78321 h 611653"/>
                <a:gd name="connsiteX746" fmla="*/ 212002 w 451321"/>
                <a:gd name="connsiteY746" fmla="*/ 77595 h 611653"/>
                <a:gd name="connsiteX747" fmla="*/ 212516 w 451321"/>
                <a:gd name="connsiteY747" fmla="*/ 77444 h 611653"/>
                <a:gd name="connsiteX748" fmla="*/ 214362 w 451321"/>
                <a:gd name="connsiteY748" fmla="*/ 77595 h 611653"/>
                <a:gd name="connsiteX749" fmla="*/ 215723 w 451321"/>
                <a:gd name="connsiteY749" fmla="*/ 78170 h 611653"/>
                <a:gd name="connsiteX750" fmla="*/ 216842 w 451321"/>
                <a:gd name="connsiteY750" fmla="*/ 81044 h 611653"/>
                <a:gd name="connsiteX751" fmla="*/ 218173 w 451321"/>
                <a:gd name="connsiteY751" fmla="*/ 82072 h 611653"/>
                <a:gd name="connsiteX752" fmla="*/ 216691 w 451321"/>
                <a:gd name="connsiteY752" fmla="*/ 82435 h 611653"/>
                <a:gd name="connsiteX753" fmla="*/ 212728 w 451321"/>
                <a:gd name="connsiteY753" fmla="*/ 81800 h 611653"/>
                <a:gd name="connsiteX754" fmla="*/ 211306 w 451321"/>
                <a:gd name="connsiteY754" fmla="*/ 83161 h 611653"/>
                <a:gd name="connsiteX755" fmla="*/ 211246 w 451321"/>
                <a:gd name="connsiteY755" fmla="*/ 85823 h 611653"/>
                <a:gd name="connsiteX756" fmla="*/ 212849 w 451321"/>
                <a:gd name="connsiteY756" fmla="*/ 87517 h 611653"/>
                <a:gd name="connsiteX757" fmla="*/ 215088 w 451321"/>
                <a:gd name="connsiteY757" fmla="*/ 88395 h 611653"/>
                <a:gd name="connsiteX758" fmla="*/ 216842 w 451321"/>
                <a:gd name="connsiteY758" fmla="*/ 88637 h 611653"/>
                <a:gd name="connsiteX759" fmla="*/ 216842 w 451321"/>
                <a:gd name="connsiteY759" fmla="*/ 89726 h 611653"/>
                <a:gd name="connsiteX760" fmla="*/ 214785 w 451321"/>
                <a:gd name="connsiteY760" fmla="*/ 89726 h 611653"/>
                <a:gd name="connsiteX761" fmla="*/ 209189 w 451321"/>
                <a:gd name="connsiteY761" fmla="*/ 87638 h 611653"/>
                <a:gd name="connsiteX762" fmla="*/ 204439 w 451321"/>
                <a:gd name="connsiteY762" fmla="*/ 88455 h 611653"/>
                <a:gd name="connsiteX763" fmla="*/ 202231 w 451321"/>
                <a:gd name="connsiteY763" fmla="*/ 88273 h 611653"/>
                <a:gd name="connsiteX764" fmla="*/ 200234 w 451321"/>
                <a:gd name="connsiteY764" fmla="*/ 86428 h 611653"/>
                <a:gd name="connsiteX765" fmla="*/ 199115 w 451321"/>
                <a:gd name="connsiteY765" fmla="*/ 87306 h 611653"/>
                <a:gd name="connsiteX766" fmla="*/ 197784 w 451321"/>
                <a:gd name="connsiteY766" fmla="*/ 89000 h 611653"/>
                <a:gd name="connsiteX767" fmla="*/ 196786 w 451321"/>
                <a:gd name="connsiteY767" fmla="*/ 89726 h 611653"/>
                <a:gd name="connsiteX768" fmla="*/ 195545 w 451321"/>
                <a:gd name="connsiteY768" fmla="*/ 89998 h 611653"/>
                <a:gd name="connsiteX769" fmla="*/ 194547 w 451321"/>
                <a:gd name="connsiteY769" fmla="*/ 89998 h 611653"/>
                <a:gd name="connsiteX770" fmla="*/ 193791 w 451321"/>
                <a:gd name="connsiteY770" fmla="*/ 90361 h 611653"/>
                <a:gd name="connsiteX771" fmla="*/ 193367 w 451321"/>
                <a:gd name="connsiteY771" fmla="*/ 91904 h 611653"/>
                <a:gd name="connsiteX772" fmla="*/ 195727 w 451321"/>
                <a:gd name="connsiteY772" fmla="*/ 92115 h 611653"/>
                <a:gd name="connsiteX773" fmla="*/ 199357 w 451321"/>
                <a:gd name="connsiteY773" fmla="*/ 94566 h 611653"/>
                <a:gd name="connsiteX774" fmla="*/ 203138 w 451321"/>
                <a:gd name="connsiteY774" fmla="*/ 95806 h 611653"/>
                <a:gd name="connsiteX775" fmla="*/ 208463 w 451321"/>
                <a:gd name="connsiteY775" fmla="*/ 100767 h 611653"/>
                <a:gd name="connsiteX776" fmla="*/ 206617 w 451321"/>
                <a:gd name="connsiteY776" fmla="*/ 101645 h 611653"/>
                <a:gd name="connsiteX777" fmla="*/ 204802 w 451321"/>
                <a:gd name="connsiteY777" fmla="*/ 100707 h 611653"/>
                <a:gd name="connsiteX778" fmla="*/ 203169 w 451321"/>
                <a:gd name="connsiteY778" fmla="*/ 98832 h 611653"/>
                <a:gd name="connsiteX779" fmla="*/ 201898 w 451321"/>
                <a:gd name="connsiteY779" fmla="*/ 96926 h 611653"/>
                <a:gd name="connsiteX780" fmla="*/ 200748 w 451321"/>
                <a:gd name="connsiteY780" fmla="*/ 96502 h 611653"/>
                <a:gd name="connsiteX781" fmla="*/ 196211 w 451321"/>
                <a:gd name="connsiteY781" fmla="*/ 96714 h 611653"/>
                <a:gd name="connsiteX782" fmla="*/ 194638 w 451321"/>
                <a:gd name="connsiteY782" fmla="*/ 97409 h 611653"/>
                <a:gd name="connsiteX783" fmla="*/ 196543 w 451321"/>
                <a:gd name="connsiteY783" fmla="*/ 99164 h 611653"/>
                <a:gd name="connsiteX784" fmla="*/ 203592 w 451321"/>
                <a:gd name="connsiteY784" fmla="*/ 100798 h 611653"/>
                <a:gd name="connsiteX785" fmla="*/ 203592 w 451321"/>
                <a:gd name="connsiteY785" fmla="*/ 101796 h 611653"/>
                <a:gd name="connsiteX786" fmla="*/ 200869 w 451321"/>
                <a:gd name="connsiteY786" fmla="*/ 101736 h 611653"/>
                <a:gd name="connsiteX787" fmla="*/ 195575 w 451321"/>
                <a:gd name="connsiteY787" fmla="*/ 100102 h 611653"/>
                <a:gd name="connsiteX788" fmla="*/ 185472 w 451321"/>
                <a:gd name="connsiteY788" fmla="*/ 99860 h 611653"/>
                <a:gd name="connsiteX789" fmla="*/ 182900 w 451321"/>
                <a:gd name="connsiteY789" fmla="*/ 100798 h 611653"/>
                <a:gd name="connsiteX790" fmla="*/ 175730 w 451321"/>
                <a:gd name="connsiteY790" fmla="*/ 105608 h 611653"/>
                <a:gd name="connsiteX791" fmla="*/ 174581 w 451321"/>
                <a:gd name="connsiteY791" fmla="*/ 106818 h 611653"/>
                <a:gd name="connsiteX792" fmla="*/ 174309 w 451321"/>
                <a:gd name="connsiteY792" fmla="*/ 108723 h 611653"/>
                <a:gd name="connsiteX793" fmla="*/ 173522 w 451321"/>
                <a:gd name="connsiteY793" fmla="*/ 109903 h 611653"/>
                <a:gd name="connsiteX794" fmla="*/ 172342 w 451321"/>
                <a:gd name="connsiteY794" fmla="*/ 110478 h 611653"/>
                <a:gd name="connsiteX795" fmla="*/ 170890 w 451321"/>
                <a:gd name="connsiteY795" fmla="*/ 110629 h 611653"/>
                <a:gd name="connsiteX796" fmla="*/ 169468 w 451321"/>
                <a:gd name="connsiteY796" fmla="*/ 111083 h 611653"/>
                <a:gd name="connsiteX797" fmla="*/ 169257 w 451321"/>
                <a:gd name="connsiteY797" fmla="*/ 112142 h 611653"/>
                <a:gd name="connsiteX798" fmla="*/ 169922 w 451321"/>
                <a:gd name="connsiteY798" fmla="*/ 113261 h 611653"/>
                <a:gd name="connsiteX799" fmla="*/ 171223 w 451321"/>
                <a:gd name="connsiteY799" fmla="*/ 114017 h 611653"/>
                <a:gd name="connsiteX800" fmla="*/ 171223 w 451321"/>
                <a:gd name="connsiteY800" fmla="*/ 115016 h 611653"/>
                <a:gd name="connsiteX801" fmla="*/ 170679 w 451321"/>
                <a:gd name="connsiteY801" fmla="*/ 115591 h 611653"/>
                <a:gd name="connsiteX802" fmla="*/ 170376 w 451321"/>
                <a:gd name="connsiteY802" fmla="*/ 116135 h 611653"/>
                <a:gd name="connsiteX803" fmla="*/ 170164 w 451321"/>
                <a:gd name="connsiteY803" fmla="*/ 116680 h 611653"/>
                <a:gd name="connsiteX804" fmla="*/ 169832 w 451321"/>
                <a:gd name="connsiteY804" fmla="*/ 117285 h 611653"/>
                <a:gd name="connsiteX805" fmla="*/ 171616 w 451321"/>
                <a:gd name="connsiteY805" fmla="*/ 117285 h 611653"/>
                <a:gd name="connsiteX806" fmla="*/ 179935 w 451321"/>
                <a:gd name="connsiteY806" fmla="*/ 120189 h 611653"/>
                <a:gd name="connsiteX807" fmla="*/ 180873 w 451321"/>
                <a:gd name="connsiteY807" fmla="*/ 121066 h 611653"/>
                <a:gd name="connsiteX808" fmla="*/ 180056 w 451321"/>
                <a:gd name="connsiteY808" fmla="*/ 122609 h 611653"/>
                <a:gd name="connsiteX809" fmla="*/ 181811 w 451321"/>
                <a:gd name="connsiteY809" fmla="*/ 123668 h 611653"/>
                <a:gd name="connsiteX810" fmla="*/ 189434 w 451321"/>
                <a:gd name="connsiteY810" fmla="*/ 123668 h 611653"/>
                <a:gd name="connsiteX811" fmla="*/ 191461 w 451321"/>
                <a:gd name="connsiteY811" fmla="*/ 125029 h 611653"/>
                <a:gd name="connsiteX812" fmla="*/ 192732 w 451321"/>
                <a:gd name="connsiteY812" fmla="*/ 125362 h 611653"/>
                <a:gd name="connsiteX813" fmla="*/ 193791 w 451321"/>
                <a:gd name="connsiteY813" fmla="*/ 123153 h 611653"/>
                <a:gd name="connsiteX814" fmla="*/ 194971 w 451321"/>
                <a:gd name="connsiteY814" fmla="*/ 122730 h 611653"/>
                <a:gd name="connsiteX815" fmla="*/ 197421 w 451321"/>
                <a:gd name="connsiteY815" fmla="*/ 122609 h 611653"/>
                <a:gd name="connsiteX816" fmla="*/ 198056 w 451321"/>
                <a:gd name="connsiteY816" fmla="*/ 122337 h 611653"/>
                <a:gd name="connsiteX817" fmla="*/ 199115 w 451321"/>
                <a:gd name="connsiteY817" fmla="*/ 121641 h 611653"/>
                <a:gd name="connsiteX818" fmla="*/ 199780 w 451321"/>
                <a:gd name="connsiteY818" fmla="*/ 121490 h 611653"/>
                <a:gd name="connsiteX819" fmla="*/ 200597 w 451321"/>
                <a:gd name="connsiteY819" fmla="*/ 121762 h 611653"/>
                <a:gd name="connsiteX820" fmla="*/ 200688 w 451321"/>
                <a:gd name="connsiteY820" fmla="*/ 122397 h 611653"/>
                <a:gd name="connsiteX821" fmla="*/ 200597 w 451321"/>
                <a:gd name="connsiteY821" fmla="*/ 123093 h 611653"/>
                <a:gd name="connsiteX822" fmla="*/ 201051 w 451321"/>
                <a:gd name="connsiteY822" fmla="*/ 124212 h 611653"/>
                <a:gd name="connsiteX823" fmla="*/ 202019 w 451321"/>
                <a:gd name="connsiteY823" fmla="*/ 125513 h 611653"/>
                <a:gd name="connsiteX824" fmla="*/ 203078 w 451321"/>
                <a:gd name="connsiteY824" fmla="*/ 126300 h 611653"/>
                <a:gd name="connsiteX825" fmla="*/ 203562 w 451321"/>
                <a:gd name="connsiteY825" fmla="*/ 125362 h 611653"/>
                <a:gd name="connsiteX826" fmla="*/ 204409 w 451321"/>
                <a:gd name="connsiteY826" fmla="*/ 122337 h 611653"/>
                <a:gd name="connsiteX827" fmla="*/ 206103 w 451321"/>
                <a:gd name="connsiteY827" fmla="*/ 120159 h 611653"/>
                <a:gd name="connsiteX828" fmla="*/ 207404 w 451321"/>
                <a:gd name="connsiteY828" fmla="*/ 120159 h 611653"/>
                <a:gd name="connsiteX829" fmla="*/ 207071 w 451321"/>
                <a:gd name="connsiteY829" fmla="*/ 123668 h 611653"/>
                <a:gd name="connsiteX830" fmla="*/ 207767 w 451321"/>
                <a:gd name="connsiteY830" fmla="*/ 123668 h 611653"/>
                <a:gd name="connsiteX831" fmla="*/ 209279 w 451321"/>
                <a:gd name="connsiteY831" fmla="*/ 122186 h 611653"/>
                <a:gd name="connsiteX832" fmla="*/ 210520 w 451321"/>
                <a:gd name="connsiteY832" fmla="*/ 123577 h 611653"/>
                <a:gd name="connsiteX833" fmla="*/ 210822 w 451321"/>
                <a:gd name="connsiteY833" fmla="*/ 125846 h 611653"/>
                <a:gd name="connsiteX834" fmla="*/ 209491 w 451321"/>
                <a:gd name="connsiteY834" fmla="*/ 127056 h 611653"/>
                <a:gd name="connsiteX835" fmla="*/ 207585 w 451321"/>
                <a:gd name="connsiteY835" fmla="*/ 127510 h 611653"/>
                <a:gd name="connsiteX836" fmla="*/ 206073 w 451321"/>
                <a:gd name="connsiteY836" fmla="*/ 128690 h 611653"/>
                <a:gd name="connsiteX837" fmla="*/ 203622 w 451321"/>
                <a:gd name="connsiteY837" fmla="*/ 131412 h 611653"/>
                <a:gd name="connsiteX838" fmla="*/ 203622 w 451321"/>
                <a:gd name="connsiteY838" fmla="*/ 132380 h 611653"/>
                <a:gd name="connsiteX839" fmla="*/ 205105 w 451321"/>
                <a:gd name="connsiteY839" fmla="*/ 132048 h 611653"/>
                <a:gd name="connsiteX840" fmla="*/ 206526 w 451321"/>
                <a:gd name="connsiteY840" fmla="*/ 131231 h 611653"/>
                <a:gd name="connsiteX841" fmla="*/ 207888 w 451321"/>
                <a:gd name="connsiteY841" fmla="*/ 130172 h 611653"/>
                <a:gd name="connsiteX842" fmla="*/ 212577 w 451321"/>
                <a:gd name="connsiteY842" fmla="*/ 125331 h 611653"/>
                <a:gd name="connsiteX843" fmla="*/ 215148 w 451321"/>
                <a:gd name="connsiteY843" fmla="*/ 124122 h 611653"/>
                <a:gd name="connsiteX844" fmla="*/ 217719 w 451321"/>
                <a:gd name="connsiteY844" fmla="*/ 121066 h 611653"/>
                <a:gd name="connsiteX845" fmla="*/ 219232 w 451321"/>
                <a:gd name="connsiteY845" fmla="*/ 120371 h 611653"/>
                <a:gd name="connsiteX846" fmla="*/ 220684 w 451321"/>
                <a:gd name="connsiteY846" fmla="*/ 120854 h 611653"/>
                <a:gd name="connsiteX847" fmla="*/ 221380 w 451321"/>
                <a:gd name="connsiteY847" fmla="*/ 122004 h 611653"/>
                <a:gd name="connsiteX848" fmla="*/ 221229 w 451321"/>
                <a:gd name="connsiteY848" fmla="*/ 123456 h 611653"/>
                <a:gd name="connsiteX849" fmla="*/ 220170 w 451321"/>
                <a:gd name="connsiteY849" fmla="*/ 124848 h 611653"/>
                <a:gd name="connsiteX850" fmla="*/ 220170 w 451321"/>
                <a:gd name="connsiteY850" fmla="*/ 125816 h 611653"/>
                <a:gd name="connsiteX851" fmla="*/ 222257 w 451321"/>
                <a:gd name="connsiteY851" fmla="*/ 124787 h 611653"/>
                <a:gd name="connsiteX852" fmla="*/ 225918 w 451321"/>
                <a:gd name="connsiteY852" fmla="*/ 122034 h 611653"/>
                <a:gd name="connsiteX853" fmla="*/ 232785 w 451321"/>
                <a:gd name="connsiteY853" fmla="*/ 120945 h 611653"/>
                <a:gd name="connsiteX854" fmla="*/ 234781 w 451321"/>
                <a:gd name="connsiteY854" fmla="*/ 120008 h 611653"/>
                <a:gd name="connsiteX855" fmla="*/ 236717 w 451321"/>
                <a:gd name="connsiteY855" fmla="*/ 118313 h 611653"/>
                <a:gd name="connsiteX856" fmla="*/ 236929 w 451321"/>
                <a:gd name="connsiteY856" fmla="*/ 118797 h 611653"/>
                <a:gd name="connsiteX857" fmla="*/ 236990 w 451321"/>
                <a:gd name="connsiteY857" fmla="*/ 118918 h 611653"/>
                <a:gd name="connsiteX858" fmla="*/ 237080 w 451321"/>
                <a:gd name="connsiteY858" fmla="*/ 118918 h 611653"/>
                <a:gd name="connsiteX859" fmla="*/ 237383 w 451321"/>
                <a:gd name="connsiteY859" fmla="*/ 119281 h 611653"/>
                <a:gd name="connsiteX860" fmla="*/ 236869 w 451321"/>
                <a:gd name="connsiteY860" fmla="*/ 120673 h 611653"/>
                <a:gd name="connsiteX861" fmla="*/ 235719 w 451321"/>
                <a:gd name="connsiteY861" fmla="*/ 125816 h 611653"/>
                <a:gd name="connsiteX862" fmla="*/ 234449 w 451321"/>
                <a:gd name="connsiteY862" fmla="*/ 125574 h 611653"/>
                <a:gd name="connsiteX863" fmla="*/ 233692 w 451321"/>
                <a:gd name="connsiteY863" fmla="*/ 124968 h 611653"/>
                <a:gd name="connsiteX864" fmla="*/ 232996 w 451321"/>
                <a:gd name="connsiteY864" fmla="*/ 124242 h 611653"/>
                <a:gd name="connsiteX865" fmla="*/ 231907 w 451321"/>
                <a:gd name="connsiteY865" fmla="*/ 123607 h 611653"/>
                <a:gd name="connsiteX866" fmla="*/ 232210 w 451321"/>
                <a:gd name="connsiteY866" fmla="*/ 127570 h 611653"/>
                <a:gd name="connsiteX867" fmla="*/ 227551 w 451321"/>
                <a:gd name="connsiteY867" fmla="*/ 131503 h 611653"/>
                <a:gd name="connsiteX868" fmla="*/ 227793 w 451321"/>
                <a:gd name="connsiteY868" fmla="*/ 134589 h 611653"/>
                <a:gd name="connsiteX869" fmla="*/ 222287 w 451321"/>
                <a:gd name="connsiteY869" fmla="*/ 138854 h 611653"/>
                <a:gd name="connsiteX870" fmla="*/ 223588 w 451321"/>
                <a:gd name="connsiteY870" fmla="*/ 140367 h 611653"/>
                <a:gd name="connsiteX871" fmla="*/ 225071 w 451321"/>
                <a:gd name="connsiteY871" fmla="*/ 141002 h 611653"/>
                <a:gd name="connsiteX872" fmla="*/ 228398 w 451321"/>
                <a:gd name="connsiteY872" fmla="*/ 141123 h 611653"/>
                <a:gd name="connsiteX873" fmla="*/ 228398 w 451321"/>
                <a:gd name="connsiteY873" fmla="*/ 142303 h 611653"/>
                <a:gd name="connsiteX874" fmla="*/ 225192 w 451321"/>
                <a:gd name="connsiteY874" fmla="*/ 142968 h 611653"/>
                <a:gd name="connsiteX875" fmla="*/ 220654 w 451321"/>
                <a:gd name="connsiteY875" fmla="*/ 145872 h 611653"/>
                <a:gd name="connsiteX876" fmla="*/ 219353 w 451321"/>
                <a:gd name="connsiteY876" fmla="*/ 146115 h 611653"/>
                <a:gd name="connsiteX877" fmla="*/ 211155 w 451321"/>
                <a:gd name="connsiteY877" fmla="*/ 147627 h 611653"/>
                <a:gd name="connsiteX878" fmla="*/ 210883 w 451321"/>
                <a:gd name="connsiteY878" fmla="*/ 147687 h 611653"/>
                <a:gd name="connsiteX879" fmla="*/ 207888 w 451321"/>
                <a:gd name="connsiteY879" fmla="*/ 149079 h 611653"/>
                <a:gd name="connsiteX880" fmla="*/ 204953 w 451321"/>
                <a:gd name="connsiteY880" fmla="*/ 151015 h 611653"/>
                <a:gd name="connsiteX881" fmla="*/ 204893 w 451321"/>
                <a:gd name="connsiteY881" fmla="*/ 150047 h 611653"/>
                <a:gd name="connsiteX882" fmla="*/ 204742 w 451321"/>
                <a:gd name="connsiteY882" fmla="*/ 149956 h 611653"/>
                <a:gd name="connsiteX883" fmla="*/ 204348 w 451321"/>
                <a:gd name="connsiteY883" fmla="*/ 149835 h 611653"/>
                <a:gd name="connsiteX884" fmla="*/ 204076 w 451321"/>
                <a:gd name="connsiteY884" fmla="*/ 148837 h 611653"/>
                <a:gd name="connsiteX885" fmla="*/ 203350 w 451321"/>
                <a:gd name="connsiteY885" fmla="*/ 147113 h 611653"/>
                <a:gd name="connsiteX886" fmla="*/ 202594 w 451321"/>
                <a:gd name="connsiteY886" fmla="*/ 146598 h 611653"/>
                <a:gd name="connsiteX887" fmla="*/ 202231 w 451321"/>
                <a:gd name="connsiteY887" fmla="*/ 149321 h 611653"/>
                <a:gd name="connsiteX888" fmla="*/ 202140 w 451321"/>
                <a:gd name="connsiteY888" fmla="*/ 152498 h 611653"/>
                <a:gd name="connsiteX889" fmla="*/ 201868 w 451321"/>
                <a:gd name="connsiteY889" fmla="*/ 153738 h 611653"/>
                <a:gd name="connsiteX890" fmla="*/ 201263 w 451321"/>
                <a:gd name="connsiteY890" fmla="*/ 154252 h 611653"/>
                <a:gd name="connsiteX891" fmla="*/ 199599 w 451321"/>
                <a:gd name="connsiteY891" fmla="*/ 154797 h 611653"/>
                <a:gd name="connsiteX892" fmla="*/ 187892 w 451321"/>
                <a:gd name="connsiteY892" fmla="*/ 162420 h 611653"/>
                <a:gd name="connsiteX893" fmla="*/ 184987 w 451321"/>
                <a:gd name="connsiteY893" fmla="*/ 163237 h 611653"/>
                <a:gd name="connsiteX894" fmla="*/ 183777 w 451321"/>
                <a:gd name="connsiteY894" fmla="*/ 163963 h 611653"/>
                <a:gd name="connsiteX895" fmla="*/ 182749 w 451321"/>
                <a:gd name="connsiteY895" fmla="*/ 165022 h 611653"/>
                <a:gd name="connsiteX896" fmla="*/ 182295 w 451321"/>
                <a:gd name="connsiteY896" fmla="*/ 166231 h 611653"/>
                <a:gd name="connsiteX897" fmla="*/ 182446 w 451321"/>
                <a:gd name="connsiteY897" fmla="*/ 167895 h 611653"/>
                <a:gd name="connsiteX898" fmla="*/ 182991 w 451321"/>
                <a:gd name="connsiteY898" fmla="*/ 168410 h 611653"/>
                <a:gd name="connsiteX899" fmla="*/ 192974 w 451321"/>
                <a:gd name="connsiteY899" fmla="*/ 168410 h 611653"/>
                <a:gd name="connsiteX900" fmla="*/ 195152 w 451321"/>
                <a:gd name="connsiteY900" fmla="*/ 168954 h 611653"/>
                <a:gd name="connsiteX901" fmla="*/ 197300 w 451321"/>
                <a:gd name="connsiteY901" fmla="*/ 170225 h 611653"/>
                <a:gd name="connsiteX902" fmla="*/ 198056 w 451321"/>
                <a:gd name="connsiteY902" fmla="*/ 171707 h 611653"/>
                <a:gd name="connsiteX903" fmla="*/ 196029 w 451321"/>
                <a:gd name="connsiteY903" fmla="*/ 172857 h 611653"/>
                <a:gd name="connsiteX904" fmla="*/ 193700 w 451321"/>
                <a:gd name="connsiteY904" fmla="*/ 171072 h 611653"/>
                <a:gd name="connsiteX905" fmla="*/ 192460 w 451321"/>
                <a:gd name="connsiteY905" fmla="*/ 170648 h 611653"/>
                <a:gd name="connsiteX906" fmla="*/ 191915 w 451321"/>
                <a:gd name="connsiteY906" fmla="*/ 172282 h 611653"/>
                <a:gd name="connsiteX907" fmla="*/ 192218 w 451321"/>
                <a:gd name="connsiteY907" fmla="*/ 173583 h 611653"/>
                <a:gd name="connsiteX908" fmla="*/ 192944 w 451321"/>
                <a:gd name="connsiteY908" fmla="*/ 174006 h 611653"/>
                <a:gd name="connsiteX909" fmla="*/ 195001 w 451321"/>
                <a:gd name="connsiteY909" fmla="*/ 173855 h 611653"/>
                <a:gd name="connsiteX910" fmla="*/ 196906 w 451321"/>
                <a:gd name="connsiteY910" fmla="*/ 174127 h 611653"/>
                <a:gd name="connsiteX911" fmla="*/ 198843 w 451321"/>
                <a:gd name="connsiteY911" fmla="*/ 174914 h 611653"/>
                <a:gd name="connsiteX912" fmla="*/ 200658 w 451321"/>
                <a:gd name="connsiteY912" fmla="*/ 176275 h 611653"/>
                <a:gd name="connsiteX913" fmla="*/ 202231 w 451321"/>
                <a:gd name="connsiteY913" fmla="*/ 178181 h 611653"/>
                <a:gd name="connsiteX914" fmla="*/ 195152 w 451321"/>
                <a:gd name="connsiteY914" fmla="*/ 176941 h 611653"/>
                <a:gd name="connsiteX915" fmla="*/ 194002 w 451321"/>
                <a:gd name="connsiteY915" fmla="*/ 177636 h 611653"/>
                <a:gd name="connsiteX916" fmla="*/ 193397 w 451321"/>
                <a:gd name="connsiteY916" fmla="*/ 178393 h 611653"/>
                <a:gd name="connsiteX917" fmla="*/ 192036 w 451321"/>
                <a:gd name="connsiteY917" fmla="*/ 178090 h 611653"/>
                <a:gd name="connsiteX918" fmla="*/ 189828 w 451321"/>
                <a:gd name="connsiteY918" fmla="*/ 177092 h 611653"/>
                <a:gd name="connsiteX919" fmla="*/ 188950 w 451321"/>
                <a:gd name="connsiteY919" fmla="*/ 177697 h 611653"/>
                <a:gd name="connsiteX920" fmla="*/ 187771 w 451321"/>
                <a:gd name="connsiteY920" fmla="*/ 179572 h 611653"/>
                <a:gd name="connsiteX921" fmla="*/ 187105 w 451321"/>
                <a:gd name="connsiteY921" fmla="*/ 180329 h 611653"/>
                <a:gd name="connsiteX922" fmla="*/ 187105 w 451321"/>
                <a:gd name="connsiteY922" fmla="*/ 181509 h 611653"/>
                <a:gd name="connsiteX923" fmla="*/ 188648 w 451321"/>
                <a:gd name="connsiteY923" fmla="*/ 181509 h 611653"/>
                <a:gd name="connsiteX924" fmla="*/ 190493 w 451321"/>
                <a:gd name="connsiteY924" fmla="*/ 182023 h 611653"/>
                <a:gd name="connsiteX925" fmla="*/ 192006 w 451321"/>
                <a:gd name="connsiteY925" fmla="*/ 182930 h 611653"/>
                <a:gd name="connsiteX926" fmla="*/ 192641 w 451321"/>
                <a:gd name="connsiteY926" fmla="*/ 184140 h 611653"/>
                <a:gd name="connsiteX927" fmla="*/ 193307 w 451321"/>
                <a:gd name="connsiteY927" fmla="*/ 185895 h 611653"/>
                <a:gd name="connsiteX928" fmla="*/ 194880 w 451321"/>
                <a:gd name="connsiteY928" fmla="*/ 186772 h 611653"/>
                <a:gd name="connsiteX929" fmla="*/ 196695 w 451321"/>
                <a:gd name="connsiteY929" fmla="*/ 187287 h 611653"/>
                <a:gd name="connsiteX930" fmla="*/ 198147 w 451321"/>
                <a:gd name="connsiteY930" fmla="*/ 187982 h 611653"/>
                <a:gd name="connsiteX931" fmla="*/ 198147 w 451321"/>
                <a:gd name="connsiteY931" fmla="*/ 189041 h 611653"/>
                <a:gd name="connsiteX932" fmla="*/ 194849 w 451321"/>
                <a:gd name="connsiteY932" fmla="*/ 188890 h 611653"/>
                <a:gd name="connsiteX933" fmla="*/ 193307 w 451321"/>
                <a:gd name="connsiteY933" fmla="*/ 189223 h 611653"/>
                <a:gd name="connsiteX934" fmla="*/ 191945 w 451321"/>
                <a:gd name="connsiteY934" fmla="*/ 190221 h 611653"/>
                <a:gd name="connsiteX935" fmla="*/ 189858 w 451321"/>
                <a:gd name="connsiteY935" fmla="*/ 187256 h 611653"/>
                <a:gd name="connsiteX936" fmla="*/ 188708 w 451321"/>
                <a:gd name="connsiteY936" fmla="*/ 186198 h 611653"/>
                <a:gd name="connsiteX937" fmla="*/ 185865 w 451321"/>
                <a:gd name="connsiteY937" fmla="*/ 185139 h 611653"/>
                <a:gd name="connsiteX938" fmla="*/ 185229 w 451321"/>
                <a:gd name="connsiteY938" fmla="*/ 183596 h 611653"/>
                <a:gd name="connsiteX939" fmla="*/ 184927 w 451321"/>
                <a:gd name="connsiteY939" fmla="*/ 181781 h 611653"/>
                <a:gd name="connsiteX940" fmla="*/ 184352 w 451321"/>
                <a:gd name="connsiteY940" fmla="*/ 180298 h 611653"/>
                <a:gd name="connsiteX941" fmla="*/ 181539 w 451321"/>
                <a:gd name="connsiteY941" fmla="*/ 178968 h 611653"/>
                <a:gd name="connsiteX942" fmla="*/ 175398 w 451321"/>
                <a:gd name="connsiteY942" fmla="*/ 180117 h 611653"/>
                <a:gd name="connsiteX943" fmla="*/ 172615 w 451321"/>
                <a:gd name="connsiteY943" fmla="*/ 178151 h 611653"/>
                <a:gd name="connsiteX944" fmla="*/ 170558 w 451321"/>
                <a:gd name="connsiteY944" fmla="*/ 179694 h 611653"/>
                <a:gd name="connsiteX945" fmla="*/ 168349 w 451321"/>
                <a:gd name="connsiteY945" fmla="*/ 180298 h 611653"/>
                <a:gd name="connsiteX946" fmla="*/ 163388 w 451321"/>
                <a:gd name="connsiteY946" fmla="*/ 180298 h 611653"/>
                <a:gd name="connsiteX947" fmla="*/ 161845 w 451321"/>
                <a:gd name="connsiteY947" fmla="*/ 179966 h 611653"/>
                <a:gd name="connsiteX948" fmla="*/ 159576 w 451321"/>
                <a:gd name="connsiteY948" fmla="*/ 178483 h 611653"/>
                <a:gd name="connsiteX949" fmla="*/ 157973 w 451321"/>
                <a:gd name="connsiteY949" fmla="*/ 177939 h 611653"/>
                <a:gd name="connsiteX950" fmla="*/ 156218 w 451321"/>
                <a:gd name="connsiteY950" fmla="*/ 176971 h 611653"/>
                <a:gd name="connsiteX951" fmla="*/ 155069 w 451321"/>
                <a:gd name="connsiteY951" fmla="*/ 176033 h 611653"/>
                <a:gd name="connsiteX952" fmla="*/ 154524 w 451321"/>
                <a:gd name="connsiteY952" fmla="*/ 176305 h 611653"/>
                <a:gd name="connsiteX953" fmla="*/ 153980 w 451321"/>
                <a:gd name="connsiteY953" fmla="*/ 176850 h 611653"/>
                <a:gd name="connsiteX954" fmla="*/ 153284 w 451321"/>
                <a:gd name="connsiteY954" fmla="*/ 177062 h 611653"/>
                <a:gd name="connsiteX955" fmla="*/ 147173 w 451321"/>
                <a:gd name="connsiteY955" fmla="*/ 175730 h 611653"/>
                <a:gd name="connsiteX956" fmla="*/ 143785 w 451321"/>
                <a:gd name="connsiteY956" fmla="*/ 176124 h 611653"/>
                <a:gd name="connsiteX957" fmla="*/ 142303 w 451321"/>
                <a:gd name="connsiteY957" fmla="*/ 178756 h 611653"/>
                <a:gd name="connsiteX958" fmla="*/ 141607 w 451321"/>
                <a:gd name="connsiteY958" fmla="*/ 182900 h 611653"/>
                <a:gd name="connsiteX959" fmla="*/ 139883 w 451321"/>
                <a:gd name="connsiteY959" fmla="*/ 186077 h 611653"/>
                <a:gd name="connsiteX960" fmla="*/ 137644 w 451321"/>
                <a:gd name="connsiteY960" fmla="*/ 188194 h 611653"/>
                <a:gd name="connsiteX961" fmla="*/ 135375 w 451321"/>
                <a:gd name="connsiteY961" fmla="*/ 189071 h 611653"/>
                <a:gd name="connsiteX962" fmla="*/ 135980 w 451321"/>
                <a:gd name="connsiteY962" fmla="*/ 191401 h 611653"/>
                <a:gd name="connsiteX963" fmla="*/ 135829 w 451321"/>
                <a:gd name="connsiteY963" fmla="*/ 193609 h 611653"/>
                <a:gd name="connsiteX964" fmla="*/ 135436 w 451321"/>
                <a:gd name="connsiteY964" fmla="*/ 196029 h 611653"/>
                <a:gd name="connsiteX965" fmla="*/ 135345 w 451321"/>
                <a:gd name="connsiteY965" fmla="*/ 198873 h 611653"/>
                <a:gd name="connsiteX966" fmla="*/ 134710 w 451321"/>
                <a:gd name="connsiteY966" fmla="*/ 198873 h 611653"/>
                <a:gd name="connsiteX967" fmla="*/ 134710 w 451321"/>
                <a:gd name="connsiteY967" fmla="*/ 195757 h 611653"/>
                <a:gd name="connsiteX968" fmla="*/ 133893 w 451321"/>
                <a:gd name="connsiteY968" fmla="*/ 193337 h 611653"/>
                <a:gd name="connsiteX969" fmla="*/ 132622 w 451321"/>
                <a:gd name="connsiteY969" fmla="*/ 191552 h 611653"/>
                <a:gd name="connsiteX970" fmla="*/ 127752 w 451321"/>
                <a:gd name="connsiteY970" fmla="*/ 187468 h 611653"/>
                <a:gd name="connsiteX971" fmla="*/ 127268 w 451321"/>
                <a:gd name="connsiteY971" fmla="*/ 185986 h 611653"/>
                <a:gd name="connsiteX972" fmla="*/ 129204 w 451321"/>
                <a:gd name="connsiteY972" fmla="*/ 184745 h 611653"/>
                <a:gd name="connsiteX973" fmla="*/ 129204 w 451321"/>
                <a:gd name="connsiteY973" fmla="*/ 183566 h 611653"/>
                <a:gd name="connsiteX974" fmla="*/ 126995 w 451321"/>
                <a:gd name="connsiteY974" fmla="*/ 182598 h 611653"/>
                <a:gd name="connsiteX975" fmla="*/ 126995 w 451321"/>
                <a:gd name="connsiteY975" fmla="*/ 181509 h 611653"/>
                <a:gd name="connsiteX976" fmla="*/ 127570 w 451321"/>
                <a:gd name="connsiteY976" fmla="*/ 180752 h 611653"/>
                <a:gd name="connsiteX977" fmla="*/ 127812 w 451321"/>
                <a:gd name="connsiteY977" fmla="*/ 179603 h 611653"/>
                <a:gd name="connsiteX978" fmla="*/ 127661 w 451321"/>
                <a:gd name="connsiteY978" fmla="*/ 178332 h 611653"/>
                <a:gd name="connsiteX979" fmla="*/ 126995 w 451321"/>
                <a:gd name="connsiteY979" fmla="*/ 177092 h 611653"/>
                <a:gd name="connsiteX980" fmla="*/ 126814 w 451321"/>
                <a:gd name="connsiteY980" fmla="*/ 177545 h 611653"/>
                <a:gd name="connsiteX981" fmla="*/ 125785 w 451321"/>
                <a:gd name="connsiteY981" fmla="*/ 177879 h 611653"/>
                <a:gd name="connsiteX982" fmla="*/ 124001 w 451321"/>
                <a:gd name="connsiteY982" fmla="*/ 178181 h 611653"/>
                <a:gd name="connsiteX983" fmla="*/ 123486 w 451321"/>
                <a:gd name="connsiteY983" fmla="*/ 177485 h 611653"/>
                <a:gd name="connsiteX984" fmla="*/ 122670 w 451321"/>
                <a:gd name="connsiteY984" fmla="*/ 174520 h 611653"/>
                <a:gd name="connsiteX985" fmla="*/ 121913 w 451321"/>
                <a:gd name="connsiteY985" fmla="*/ 173855 h 611653"/>
                <a:gd name="connsiteX986" fmla="*/ 121036 w 451321"/>
                <a:gd name="connsiteY986" fmla="*/ 173764 h 611653"/>
                <a:gd name="connsiteX987" fmla="*/ 116528 w 451321"/>
                <a:gd name="connsiteY987" fmla="*/ 171798 h 611653"/>
                <a:gd name="connsiteX988" fmla="*/ 115288 w 451321"/>
                <a:gd name="connsiteY988" fmla="*/ 171586 h 611653"/>
                <a:gd name="connsiteX989" fmla="*/ 114350 w 451321"/>
                <a:gd name="connsiteY989" fmla="*/ 172282 h 611653"/>
                <a:gd name="connsiteX990" fmla="*/ 113594 w 451321"/>
                <a:gd name="connsiteY990" fmla="*/ 173189 h 611653"/>
                <a:gd name="connsiteX991" fmla="*/ 112445 w 451321"/>
                <a:gd name="connsiteY991" fmla="*/ 174037 h 611653"/>
                <a:gd name="connsiteX992" fmla="*/ 111204 w 451321"/>
                <a:gd name="connsiteY992" fmla="*/ 174672 h 611653"/>
                <a:gd name="connsiteX993" fmla="*/ 110236 w 451321"/>
                <a:gd name="connsiteY993" fmla="*/ 174914 h 611653"/>
                <a:gd name="connsiteX994" fmla="*/ 102250 w 451321"/>
                <a:gd name="connsiteY994" fmla="*/ 173855 h 611653"/>
                <a:gd name="connsiteX995" fmla="*/ 101463 w 451321"/>
                <a:gd name="connsiteY995" fmla="*/ 173371 h 611653"/>
                <a:gd name="connsiteX996" fmla="*/ 100072 w 451321"/>
                <a:gd name="connsiteY996" fmla="*/ 171979 h 611653"/>
                <a:gd name="connsiteX997" fmla="*/ 99194 w 451321"/>
                <a:gd name="connsiteY997" fmla="*/ 171707 h 611653"/>
                <a:gd name="connsiteX998" fmla="*/ 98075 w 451321"/>
                <a:gd name="connsiteY998" fmla="*/ 171888 h 611653"/>
                <a:gd name="connsiteX999" fmla="*/ 96200 w 451321"/>
                <a:gd name="connsiteY999" fmla="*/ 172705 h 611653"/>
                <a:gd name="connsiteX1000" fmla="*/ 95080 w 451321"/>
                <a:gd name="connsiteY1000" fmla="*/ 172887 h 611653"/>
                <a:gd name="connsiteX1001" fmla="*/ 77837 w 451321"/>
                <a:gd name="connsiteY1001" fmla="*/ 171707 h 611653"/>
                <a:gd name="connsiteX1002" fmla="*/ 75870 w 451321"/>
                <a:gd name="connsiteY1002" fmla="*/ 171193 h 611653"/>
                <a:gd name="connsiteX1003" fmla="*/ 72029 w 451321"/>
                <a:gd name="connsiteY1003" fmla="*/ 168954 h 611653"/>
                <a:gd name="connsiteX1004" fmla="*/ 69911 w 451321"/>
                <a:gd name="connsiteY1004" fmla="*/ 168470 h 611653"/>
                <a:gd name="connsiteX1005" fmla="*/ 64012 w 451321"/>
                <a:gd name="connsiteY1005" fmla="*/ 169952 h 611653"/>
                <a:gd name="connsiteX1006" fmla="*/ 63800 w 451321"/>
                <a:gd name="connsiteY1006" fmla="*/ 171102 h 611653"/>
                <a:gd name="connsiteX1007" fmla="*/ 64405 w 451321"/>
                <a:gd name="connsiteY1007" fmla="*/ 173371 h 611653"/>
                <a:gd name="connsiteX1008" fmla="*/ 65494 w 451321"/>
                <a:gd name="connsiteY1008" fmla="*/ 174974 h 611653"/>
                <a:gd name="connsiteX1009" fmla="*/ 70758 w 451321"/>
                <a:gd name="connsiteY1009" fmla="*/ 176063 h 611653"/>
                <a:gd name="connsiteX1010" fmla="*/ 72634 w 451321"/>
                <a:gd name="connsiteY1010" fmla="*/ 177092 h 611653"/>
                <a:gd name="connsiteX1011" fmla="*/ 70425 w 451321"/>
                <a:gd name="connsiteY1011" fmla="*/ 176638 h 611653"/>
                <a:gd name="connsiteX1012" fmla="*/ 69487 w 451321"/>
                <a:gd name="connsiteY1012" fmla="*/ 176729 h 611653"/>
                <a:gd name="connsiteX1013" fmla="*/ 68519 w 451321"/>
                <a:gd name="connsiteY1013" fmla="*/ 177092 h 611653"/>
                <a:gd name="connsiteX1014" fmla="*/ 68519 w 451321"/>
                <a:gd name="connsiteY1014" fmla="*/ 178181 h 611653"/>
                <a:gd name="connsiteX1015" fmla="*/ 70576 w 451321"/>
                <a:gd name="connsiteY1015" fmla="*/ 179300 h 611653"/>
                <a:gd name="connsiteX1016" fmla="*/ 71363 w 451321"/>
                <a:gd name="connsiteY1016" fmla="*/ 180177 h 611653"/>
                <a:gd name="connsiteX1017" fmla="*/ 71938 w 451321"/>
                <a:gd name="connsiteY1017" fmla="*/ 181539 h 611653"/>
                <a:gd name="connsiteX1018" fmla="*/ 69699 w 451321"/>
                <a:gd name="connsiteY1018" fmla="*/ 181176 h 611653"/>
                <a:gd name="connsiteX1019" fmla="*/ 66160 w 451321"/>
                <a:gd name="connsiteY1019" fmla="*/ 178786 h 611653"/>
                <a:gd name="connsiteX1020" fmla="*/ 63982 w 451321"/>
                <a:gd name="connsiteY1020" fmla="*/ 178211 h 611653"/>
                <a:gd name="connsiteX1021" fmla="*/ 62469 w 451321"/>
                <a:gd name="connsiteY1021" fmla="*/ 179149 h 611653"/>
                <a:gd name="connsiteX1022" fmla="*/ 60836 w 451321"/>
                <a:gd name="connsiteY1022" fmla="*/ 181387 h 611653"/>
                <a:gd name="connsiteX1023" fmla="*/ 60170 w 451321"/>
                <a:gd name="connsiteY1023" fmla="*/ 183929 h 611653"/>
                <a:gd name="connsiteX1024" fmla="*/ 61562 w 451321"/>
                <a:gd name="connsiteY1024" fmla="*/ 185834 h 611653"/>
                <a:gd name="connsiteX1025" fmla="*/ 60079 w 451321"/>
                <a:gd name="connsiteY1025" fmla="*/ 186681 h 611653"/>
                <a:gd name="connsiteX1026" fmla="*/ 58748 w 451321"/>
                <a:gd name="connsiteY1026" fmla="*/ 188467 h 611653"/>
                <a:gd name="connsiteX1027" fmla="*/ 57357 w 451321"/>
                <a:gd name="connsiteY1027" fmla="*/ 189616 h 611653"/>
                <a:gd name="connsiteX1028" fmla="*/ 55693 w 451321"/>
                <a:gd name="connsiteY1028" fmla="*/ 188557 h 611653"/>
                <a:gd name="connsiteX1029" fmla="*/ 53878 w 451321"/>
                <a:gd name="connsiteY1029" fmla="*/ 187801 h 611653"/>
                <a:gd name="connsiteX1030" fmla="*/ 51488 w 451321"/>
                <a:gd name="connsiteY1030" fmla="*/ 187650 h 611653"/>
                <a:gd name="connsiteX1031" fmla="*/ 49915 w 451321"/>
                <a:gd name="connsiteY1031" fmla="*/ 186712 h 611653"/>
                <a:gd name="connsiteX1032" fmla="*/ 50550 w 451321"/>
                <a:gd name="connsiteY1032" fmla="*/ 183626 h 611653"/>
                <a:gd name="connsiteX1033" fmla="*/ 53091 w 451321"/>
                <a:gd name="connsiteY1033" fmla="*/ 185834 h 611653"/>
                <a:gd name="connsiteX1034" fmla="*/ 55572 w 451321"/>
                <a:gd name="connsiteY1034" fmla="*/ 186107 h 611653"/>
                <a:gd name="connsiteX1035" fmla="*/ 57962 w 451321"/>
                <a:gd name="connsiteY1035" fmla="*/ 184322 h 611653"/>
                <a:gd name="connsiteX1036" fmla="*/ 60200 w 451321"/>
                <a:gd name="connsiteY1036" fmla="*/ 180359 h 611653"/>
                <a:gd name="connsiteX1037" fmla="*/ 59716 w 451321"/>
                <a:gd name="connsiteY1037" fmla="*/ 180238 h 611653"/>
                <a:gd name="connsiteX1038" fmla="*/ 59595 w 451321"/>
                <a:gd name="connsiteY1038" fmla="*/ 180117 h 611653"/>
                <a:gd name="connsiteX1039" fmla="*/ 59595 w 451321"/>
                <a:gd name="connsiteY1039" fmla="*/ 179875 h 611653"/>
                <a:gd name="connsiteX1040" fmla="*/ 59444 w 451321"/>
                <a:gd name="connsiteY1040" fmla="*/ 179361 h 611653"/>
                <a:gd name="connsiteX1041" fmla="*/ 58476 w 451321"/>
                <a:gd name="connsiteY1041" fmla="*/ 180117 h 611653"/>
                <a:gd name="connsiteX1042" fmla="*/ 57568 w 451321"/>
                <a:gd name="connsiteY1042" fmla="*/ 180117 h 611653"/>
                <a:gd name="connsiteX1043" fmla="*/ 56752 w 451321"/>
                <a:gd name="connsiteY1043" fmla="*/ 179451 h 611653"/>
                <a:gd name="connsiteX1044" fmla="*/ 56026 w 451321"/>
                <a:gd name="connsiteY1044" fmla="*/ 178211 h 611653"/>
                <a:gd name="connsiteX1045" fmla="*/ 54604 w 451321"/>
                <a:gd name="connsiteY1045" fmla="*/ 179149 h 611653"/>
                <a:gd name="connsiteX1046" fmla="*/ 52819 w 451321"/>
                <a:gd name="connsiteY1046" fmla="*/ 178937 h 611653"/>
                <a:gd name="connsiteX1047" fmla="*/ 51095 w 451321"/>
                <a:gd name="connsiteY1047" fmla="*/ 178090 h 611653"/>
                <a:gd name="connsiteX1048" fmla="*/ 49794 w 451321"/>
                <a:gd name="connsiteY1048" fmla="*/ 177092 h 611653"/>
                <a:gd name="connsiteX1049" fmla="*/ 49431 w 451321"/>
                <a:gd name="connsiteY1049" fmla="*/ 176336 h 611653"/>
                <a:gd name="connsiteX1050" fmla="*/ 49280 w 451321"/>
                <a:gd name="connsiteY1050" fmla="*/ 175337 h 611653"/>
                <a:gd name="connsiteX1051" fmla="*/ 49068 w 451321"/>
                <a:gd name="connsiteY1051" fmla="*/ 174400 h 611653"/>
                <a:gd name="connsiteX1052" fmla="*/ 48493 w 451321"/>
                <a:gd name="connsiteY1052" fmla="*/ 173885 h 611653"/>
                <a:gd name="connsiteX1053" fmla="*/ 47495 w 451321"/>
                <a:gd name="connsiteY1053" fmla="*/ 173946 h 611653"/>
                <a:gd name="connsiteX1054" fmla="*/ 47071 w 451321"/>
                <a:gd name="connsiteY1054" fmla="*/ 174581 h 611653"/>
                <a:gd name="connsiteX1055" fmla="*/ 46829 w 451321"/>
                <a:gd name="connsiteY1055" fmla="*/ 175398 h 611653"/>
                <a:gd name="connsiteX1056" fmla="*/ 46406 w 451321"/>
                <a:gd name="connsiteY1056" fmla="*/ 176063 h 611653"/>
                <a:gd name="connsiteX1057" fmla="*/ 41959 w 451321"/>
                <a:gd name="connsiteY1057" fmla="*/ 178483 h 611653"/>
                <a:gd name="connsiteX1058" fmla="*/ 40839 w 451321"/>
                <a:gd name="connsiteY1058" fmla="*/ 179421 h 611653"/>
                <a:gd name="connsiteX1059" fmla="*/ 40023 w 451321"/>
                <a:gd name="connsiteY1059" fmla="*/ 181267 h 611653"/>
                <a:gd name="connsiteX1060" fmla="*/ 39478 w 451321"/>
                <a:gd name="connsiteY1060" fmla="*/ 183354 h 611653"/>
                <a:gd name="connsiteX1061" fmla="*/ 38571 w 451321"/>
                <a:gd name="connsiteY1061" fmla="*/ 184806 h 611653"/>
                <a:gd name="connsiteX1062" fmla="*/ 36665 w 451321"/>
                <a:gd name="connsiteY1062" fmla="*/ 184806 h 611653"/>
                <a:gd name="connsiteX1063" fmla="*/ 37784 w 451321"/>
                <a:gd name="connsiteY1063" fmla="*/ 186228 h 611653"/>
                <a:gd name="connsiteX1064" fmla="*/ 39055 w 451321"/>
                <a:gd name="connsiteY1064" fmla="*/ 186833 h 611653"/>
                <a:gd name="connsiteX1065" fmla="*/ 42201 w 451321"/>
                <a:gd name="connsiteY1065" fmla="*/ 186893 h 611653"/>
                <a:gd name="connsiteX1066" fmla="*/ 41021 w 451321"/>
                <a:gd name="connsiteY1066" fmla="*/ 188830 h 611653"/>
                <a:gd name="connsiteX1067" fmla="*/ 39871 w 451321"/>
                <a:gd name="connsiteY1067" fmla="*/ 189858 h 611653"/>
                <a:gd name="connsiteX1068" fmla="*/ 39024 w 451321"/>
                <a:gd name="connsiteY1068" fmla="*/ 191189 h 611653"/>
                <a:gd name="connsiteX1069" fmla="*/ 38692 w 451321"/>
                <a:gd name="connsiteY1069" fmla="*/ 194033 h 611653"/>
                <a:gd name="connsiteX1070" fmla="*/ 38177 w 451321"/>
                <a:gd name="connsiteY1070" fmla="*/ 195848 h 611653"/>
                <a:gd name="connsiteX1071" fmla="*/ 35908 w 451321"/>
                <a:gd name="connsiteY1071" fmla="*/ 200325 h 611653"/>
                <a:gd name="connsiteX1072" fmla="*/ 35303 w 451321"/>
                <a:gd name="connsiteY1072" fmla="*/ 202200 h 611653"/>
                <a:gd name="connsiteX1073" fmla="*/ 35455 w 451321"/>
                <a:gd name="connsiteY1073" fmla="*/ 205226 h 611653"/>
                <a:gd name="connsiteX1074" fmla="*/ 36392 w 451321"/>
                <a:gd name="connsiteY1074" fmla="*/ 206829 h 611653"/>
                <a:gd name="connsiteX1075" fmla="*/ 37875 w 451321"/>
                <a:gd name="connsiteY1075" fmla="*/ 207494 h 611653"/>
                <a:gd name="connsiteX1076" fmla="*/ 39750 w 451321"/>
                <a:gd name="connsiteY1076" fmla="*/ 207616 h 611653"/>
                <a:gd name="connsiteX1077" fmla="*/ 41475 w 451321"/>
                <a:gd name="connsiteY1077" fmla="*/ 207010 h 611653"/>
                <a:gd name="connsiteX1078" fmla="*/ 41263 w 451321"/>
                <a:gd name="connsiteY1078" fmla="*/ 205619 h 611653"/>
                <a:gd name="connsiteX1079" fmla="*/ 40023 w 451321"/>
                <a:gd name="connsiteY1079" fmla="*/ 204167 h 611653"/>
                <a:gd name="connsiteX1080" fmla="*/ 38692 w 451321"/>
                <a:gd name="connsiteY1080" fmla="*/ 203320 h 611653"/>
                <a:gd name="connsiteX1081" fmla="*/ 40658 w 451321"/>
                <a:gd name="connsiteY1081" fmla="*/ 202261 h 611653"/>
                <a:gd name="connsiteX1082" fmla="*/ 41505 w 451321"/>
                <a:gd name="connsiteY1082" fmla="*/ 202261 h 611653"/>
                <a:gd name="connsiteX1083" fmla="*/ 41263 w 451321"/>
                <a:gd name="connsiteY1083" fmla="*/ 199206 h 611653"/>
                <a:gd name="connsiteX1084" fmla="*/ 40779 w 451321"/>
                <a:gd name="connsiteY1084" fmla="*/ 198268 h 611653"/>
                <a:gd name="connsiteX1085" fmla="*/ 39478 w 451321"/>
                <a:gd name="connsiteY1085" fmla="*/ 197814 h 611653"/>
                <a:gd name="connsiteX1086" fmla="*/ 39478 w 451321"/>
                <a:gd name="connsiteY1086" fmla="*/ 196846 h 611653"/>
                <a:gd name="connsiteX1087" fmla="*/ 41626 w 451321"/>
                <a:gd name="connsiteY1087" fmla="*/ 195727 h 611653"/>
                <a:gd name="connsiteX1088" fmla="*/ 42866 w 451321"/>
                <a:gd name="connsiteY1088" fmla="*/ 195485 h 611653"/>
                <a:gd name="connsiteX1089" fmla="*/ 44288 w 451321"/>
                <a:gd name="connsiteY1089" fmla="*/ 195666 h 611653"/>
                <a:gd name="connsiteX1090" fmla="*/ 44288 w 451321"/>
                <a:gd name="connsiteY1090" fmla="*/ 194607 h 611653"/>
                <a:gd name="connsiteX1091" fmla="*/ 43804 w 451321"/>
                <a:gd name="connsiteY1091" fmla="*/ 194063 h 611653"/>
                <a:gd name="connsiteX1092" fmla="*/ 42897 w 451321"/>
                <a:gd name="connsiteY1092" fmla="*/ 192429 h 611653"/>
                <a:gd name="connsiteX1093" fmla="*/ 44833 w 451321"/>
                <a:gd name="connsiteY1093" fmla="*/ 192853 h 611653"/>
                <a:gd name="connsiteX1094" fmla="*/ 46527 w 451321"/>
                <a:gd name="connsiteY1094" fmla="*/ 192218 h 611653"/>
                <a:gd name="connsiteX1095" fmla="*/ 47071 w 451321"/>
                <a:gd name="connsiteY1095" fmla="*/ 190886 h 611653"/>
                <a:gd name="connsiteX1096" fmla="*/ 45619 w 451321"/>
                <a:gd name="connsiteY1096" fmla="*/ 189193 h 611653"/>
                <a:gd name="connsiteX1097" fmla="*/ 47132 w 451321"/>
                <a:gd name="connsiteY1097" fmla="*/ 187529 h 611653"/>
                <a:gd name="connsiteX1098" fmla="*/ 49400 w 451321"/>
                <a:gd name="connsiteY1098" fmla="*/ 188345 h 611653"/>
                <a:gd name="connsiteX1099" fmla="*/ 54604 w 451321"/>
                <a:gd name="connsiteY1099" fmla="*/ 192399 h 611653"/>
                <a:gd name="connsiteX1100" fmla="*/ 53968 w 451321"/>
                <a:gd name="connsiteY1100" fmla="*/ 193730 h 611653"/>
                <a:gd name="connsiteX1101" fmla="*/ 53031 w 451321"/>
                <a:gd name="connsiteY1101" fmla="*/ 194396 h 611653"/>
                <a:gd name="connsiteX1102" fmla="*/ 51851 w 451321"/>
                <a:gd name="connsiteY1102" fmla="*/ 194335 h 611653"/>
                <a:gd name="connsiteX1103" fmla="*/ 50490 w 451321"/>
                <a:gd name="connsiteY1103" fmla="*/ 193458 h 611653"/>
                <a:gd name="connsiteX1104" fmla="*/ 53968 w 451321"/>
                <a:gd name="connsiteY1104" fmla="*/ 197088 h 611653"/>
                <a:gd name="connsiteX1105" fmla="*/ 55239 w 451321"/>
                <a:gd name="connsiteY1105" fmla="*/ 198964 h 611653"/>
                <a:gd name="connsiteX1106" fmla="*/ 54574 w 451321"/>
                <a:gd name="connsiteY1106" fmla="*/ 198601 h 611653"/>
                <a:gd name="connsiteX1107" fmla="*/ 53182 w 451321"/>
                <a:gd name="connsiteY1107" fmla="*/ 198147 h 611653"/>
                <a:gd name="connsiteX1108" fmla="*/ 52516 w 451321"/>
                <a:gd name="connsiteY1108" fmla="*/ 197754 h 611653"/>
                <a:gd name="connsiteX1109" fmla="*/ 53091 w 451321"/>
                <a:gd name="connsiteY1109" fmla="*/ 199629 h 611653"/>
                <a:gd name="connsiteX1110" fmla="*/ 54331 w 451321"/>
                <a:gd name="connsiteY1110" fmla="*/ 201142 h 611653"/>
                <a:gd name="connsiteX1111" fmla="*/ 57387 w 451321"/>
                <a:gd name="connsiteY1111" fmla="*/ 203229 h 611653"/>
                <a:gd name="connsiteX1112" fmla="*/ 55572 w 451321"/>
                <a:gd name="connsiteY1112" fmla="*/ 204197 h 611653"/>
                <a:gd name="connsiteX1113" fmla="*/ 51034 w 451321"/>
                <a:gd name="connsiteY1113" fmla="*/ 205438 h 611653"/>
                <a:gd name="connsiteX1114" fmla="*/ 49098 w 451321"/>
                <a:gd name="connsiteY1114" fmla="*/ 205347 h 611653"/>
                <a:gd name="connsiteX1115" fmla="*/ 51125 w 451321"/>
                <a:gd name="connsiteY1115" fmla="*/ 209461 h 611653"/>
                <a:gd name="connsiteX1116" fmla="*/ 53666 w 451321"/>
                <a:gd name="connsiteY1116" fmla="*/ 211397 h 611653"/>
                <a:gd name="connsiteX1117" fmla="*/ 56510 w 451321"/>
                <a:gd name="connsiteY1117" fmla="*/ 210852 h 611653"/>
                <a:gd name="connsiteX1118" fmla="*/ 59414 w 451321"/>
                <a:gd name="connsiteY1118" fmla="*/ 207494 h 611653"/>
                <a:gd name="connsiteX1119" fmla="*/ 58718 w 451321"/>
                <a:gd name="connsiteY1119" fmla="*/ 207494 h 611653"/>
                <a:gd name="connsiteX1120" fmla="*/ 58718 w 451321"/>
                <a:gd name="connsiteY1120" fmla="*/ 206405 h 611653"/>
                <a:gd name="connsiteX1121" fmla="*/ 59777 w 451321"/>
                <a:gd name="connsiteY1121" fmla="*/ 206224 h 611653"/>
                <a:gd name="connsiteX1122" fmla="*/ 60321 w 451321"/>
                <a:gd name="connsiteY1122" fmla="*/ 206042 h 611653"/>
                <a:gd name="connsiteX1123" fmla="*/ 60442 w 451321"/>
                <a:gd name="connsiteY1123" fmla="*/ 205468 h 611653"/>
                <a:gd name="connsiteX1124" fmla="*/ 60170 w 451321"/>
                <a:gd name="connsiteY1124" fmla="*/ 204167 h 611653"/>
                <a:gd name="connsiteX1125" fmla="*/ 62802 w 451321"/>
                <a:gd name="connsiteY1125" fmla="*/ 203350 h 611653"/>
                <a:gd name="connsiteX1126" fmla="*/ 63982 w 451321"/>
                <a:gd name="connsiteY1126" fmla="*/ 203411 h 611653"/>
                <a:gd name="connsiteX1127" fmla="*/ 64950 w 451321"/>
                <a:gd name="connsiteY1127" fmla="*/ 204167 h 611653"/>
                <a:gd name="connsiteX1128" fmla="*/ 62136 w 451321"/>
                <a:gd name="connsiteY1128" fmla="*/ 206405 h 611653"/>
                <a:gd name="connsiteX1129" fmla="*/ 62893 w 451321"/>
                <a:gd name="connsiteY1129" fmla="*/ 207494 h 611653"/>
                <a:gd name="connsiteX1130" fmla="*/ 61592 w 451321"/>
                <a:gd name="connsiteY1130" fmla="*/ 208190 h 611653"/>
                <a:gd name="connsiteX1131" fmla="*/ 60715 w 451321"/>
                <a:gd name="connsiteY1131" fmla="*/ 209128 h 611653"/>
                <a:gd name="connsiteX1132" fmla="*/ 60715 w 451321"/>
                <a:gd name="connsiteY1132" fmla="*/ 210036 h 611653"/>
                <a:gd name="connsiteX1133" fmla="*/ 62136 w 451321"/>
                <a:gd name="connsiteY1133" fmla="*/ 210610 h 611653"/>
                <a:gd name="connsiteX1134" fmla="*/ 60957 w 451321"/>
                <a:gd name="connsiteY1134" fmla="*/ 212032 h 611653"/>
                <a:gd name="connsiteX1135" fmla="*/ 59625 w 451321"/>
                <a:gd name="connsiteY1135" fmla="*/ 212425 h 611653"/>
                <a:gd name="connsiteX1136" fmla="*/ 58506 w 451321"/>
                <a:gd name="connsiteY1136" fmla="*/ 213151 h 611653"/>
                <a:gd name="connsiteX1137" fmla="*/ 58053 w 451321"/>
                <a:gd name="connsiteY1137" fmla="*/ 215511 h 611653"/>
                <a:gd name="connsiteX1138" fmla="*/ 58385 w 451321"/>
                <a:gd name="connsiteY1138" fmla="*/ 217841 h 611653"/>
                <a:gd name="connsiteX1139" fmla="*/ 59111 w 451321"/>
                <a:gd name="connsiteY1139" fmla="*/ 219141 h 611653"/>
                <a:gd name="connsiteX1140" fmla="*/ 59837 w 451321"/>
                <a:gd name="connsiteY1140" fmla="*/ 219988 h 611653"/>
                <a:gd name="connsiteX1141" fmla="*/ 60170 w 451321"/>
                <a:gd name="connsiteY1141" fmla="*/ 220987 h 611653"/>
                <a:gd name="connsiteX1142" fmla="*/ 60533 w 451321"/>
                <a:gd name="connsiteY1142" fmla="*/ 221531 h 611653"/>
                <a:gd name="connsiteX1143" fmla="*/ 62227 w 451321"/>
                <a:gd name="connsiteY1143" fmla="*/ 221350 h 611653"/>
                <a:gd name="connsiteX1144" fmla="*/ 62862 w 451321"/>
                <a:gd name="connsiteY1144" fmla="*/ 221471 h 611653"/>
                <a:gd name="connsiteX1145" fmla="*/ 63347 w 451321"/>
                <a:gd name="connsiteY1145" fmla="*/ 222227 h 611653"/>
                <a:gd name="connsiteX1146" fmla="*/ 63347 w 451321"/>
                <a:gd name="connsiteY1146" fmla="*/ 222892 h 611653"/>
                <a:gd name="connsiteX1147" fmla="*/ 63286 w 451321"/>
                <a:gd name="connsiteY1147" fmla="*/ 223649 h 611653"/>
                <a:gd name="connsiteX1148" fmla="*/ 64466 w 451321"/>
                <a:gd name="connsiteY1148" fmla="*/ 227581 h 611653"/>
                <a:gd name="connsiteX1149" fmla="*/ 65162 w 451321"/>
                <a:gd name="connsiteY1149" fmla="*/ 228731 h 611653"/>
                <a:gd name="connsiteX1150" fmla="*/ 66311 w 451321"/>
                <a:gd name="connsiteY1150" fmla="*/ 229124 h 611653"/>
                <a:gd name="connsiteX1151" fmla="*/ 65676 w 451321"/>
                <a:gd name="connsiteY1151" fmla="*/ 227944 h 611653"/>
                <a:gd name="connsiteX1152" fmla="*/ 65676 w 451321"/>
                <a:gd name="connsiteY1152" fmla="*/ 226977 h 611653"/>
                <a:gd name="connsiteX1153" fmla="*/ 67067 w 451321"/>
                <a:gd name="connsiteY1153" fmla="*/ 227188 h 611653"/>
                <a:gd name="connsiteX1154" fmla="*/ 68035 w 451321"/>
                <a:gd name="connsiteY1154" fmla="*/ 228096 h 611653"/>
                <a:gd name="connsiteX1155" fmla="*/ 68852 w 451321"/>
                <a:gd name="connsiteY1155" fmla="*/ 229245 h 611653"/>
                <a:gd name="connsiteX1156" fmla="*/ 69790 w 451321"/>
                <a:gd name="connsiteY1156" fmla="*/ 230183 h 611653"/>
                <a:gd name="connsiteX1157" fmla="*/ 69367 w 451321"/>
                <a:gd name="connsiteY1157" fmla="*/ 232059 h 611653"/>
                <a:gd name="connsiteX1158" fmla="*/ 69548 w 451321"/>
                <a:gd name="connsiteY1158" fmla="*/ 233783 h 611653"/>
                <a:gd name="connsiteX1159" fmla="*/ 69548 w 451321"/>
                <a:gd name="connsiteY1159" fmla="*/ 235053 h 611653"/>
                <a:gd name="connsiteX1160" fmla="*/ 68701 w 451321"/>
                <a:gd name="connsiteY1160" fmla="*/ 235568 h 611653"/>
                <a:gd name="connsiteX1161" fmla="*/ 67521 w 451321"/>
                <a:gd name="connsiteY1161" fmla="*/ 234721 h 611653"/>
                <a:gd name="connsiteX1162" fmla="*/ 67128 w 451321"/>
                <a:gd name="connsiteY1162" fmla="*/ 231030 h 611653"/>
                <a:gd name="connsiteX1163" fmla="*/ 65948 w 451321"/>
                <a:gd name="connsiteY1163" fmla="*/ 230183 h 611653"/>
                <a:gd name="connsiteX1164" fmla="*/ 64556 w 451321"/>
                <a:gd name="connsiteY1164" fmla="*/ 229850 h 611653"/>
                <a:gd name="connsiteX1165" fmla="*/ 62318 w 451321"/>
                <a:gd name="connsiteY1165" fmla="*/ 228368 h 611653"/>
                <a:gd name="connsiteX1166" fmla="*/ 61441 w 451321"/>
                <a:gd name="connsiteY1166" fmla="*/ 227944 h 611653"/>
                <a:gd name="connsiteX1167" fmla="*/ 56631 w 451321"/>
                <a:gd name="connsiteY1167" fmla="*/ 229124 h 611653"/>
                <a:gd name="connsiteX1168" fmla="*/ 56631 w 451321"/>
                <a:gd name="connsiteY1168" fmla="*/ 230183 h 611653"/>
                <a:gd name="connsiteX1169" fmla="*/ 57387 w 451321"/>
                <a:gd name="connsiteY1169" fmla="*/ 230183 h 611653"/>
                <a:gd name="connsiteX1170" fmla="*/ 57387 w 451321"/>
                <a:gd name="connsiteY1170" fmla="*/ 231151 h 611653"/>
                <a:gd name="connsiteX1171" fmla="*/ 57054 w 451321"/>
                <a:gd name="connsiteY1171" fmla="*/ 232240 h 611653"/>
                <a:gd name="connsiteX1172" fmla="*/ 57054 w 451321"/>
                <a:gd name="connsiteY1172" fmla="*/ 232936 h 611653"/>
                <a:gd name="connsiteX1173" fmla="*/ 57387 w 451321"/>
                <a:gd name="connsiteY1173" fmla="*/ 234388 h 611653"/>
                <a:gd name="connsiteX1174" fmla="*/ 55693 w 451321"/>
                <a:gd name="connsiteY1174" fmla="*/ 235538 h 611653"/>
                <a:gd name="connsiteX1175" fmla="*/ 55058 w 451321"/>
                <a:gd name="connsiteY1175" fmla="*/ 239924 h 611653"/>
                <a:gd name="connsiteX1176" fmla="*/ 53817 w 451321"/>
                <a:gd name="connsiteY1176" fmla="*/ 240832 h 611653"/>
                <a:gd name="connsiteX1177" fmla="*/ 57145 w 451321"/>
                <a:gd name="connsiteY1177" fmla="*/ 244068 h 611653"/>
                <a:gd name="connsiteX1178" fmla="*/ 62590 w 451321"/>
                <a:gd name="connsiteY1178" fmla="*/ 242889 h 611653"/>
                <a:gd name="connsiteX1179" fmla="*/ 72482 w 451321"/>
                <a:gd name="connsiteY1179" fmla="*/ 237716 h 611653"/>
                <a:gd name="connsiteX1180" fmla="*/ 86852 w 451321"/>
                <a:gd name="connsiteY1180" fmla="*/ 237776 h 611653"/>
                <a:gd name="connsiteX1181" fmla="*/ 89726 w 451321"/>
                <a:gd name="connsiteY1181" fmla="*/ 238774 h 611653"/>
                <a:gd name="connsiteX1182" fmla="*/ 90270 w 451321"/>
                <a:gd name="connsiteY1182" fmla="*/ 238260 h 611653"/>
                <a:gd name="connsiteX1183" fmla="*/ 90663 w 451321"/>
                <a:gd name="connsiteY1183" fmla="*/ 237958 h 611653"/>
                <a:gd name="connsiteX1184" fmla="*/ 91087 w 451321"/>
                <a:gd name="connsiteY1184" fmla="*/ 237806 h 611653"/>
                <a:gd name="connsiteX1185" fmla="*/ 91752 w 451321"/>
                <a:gd name="connsiteY1185" fmla="*/ 237685 h 611653"/>
                <a:gd name="connsiteX1186" fmla="*/ 91541 w 451321"/>
                <a:gd name="connsiteY1186" fmla="*/ 239138 h 611653"/>
                <a:gd name="connsiteX1187" fmla="*/ 91117 w 451321"/>
                <a:gd name="connsiteY1187" fmla="*/ 240378 h 611653"/>
                <a:gd name="connsiteX1188" fmla="*/ 90512 w 451321"/>
                <a:gd name="connsiteY1188" fmla="*/ 241316 h 611653"/>
                <a:gd name="connsiteX1189" fmla="*/ 89726 w 451321"/>
                <a:gd name="connsiteY1189" fmla="*/ 241951 h 611653"/>
                <a:gd name="connsiteX1190" fmla="*/ 91601 w 451321"/>
                <a:gd name="connsiteY1190" fmla="*/ 242949 h 611653"/>
                <a:gd name="connsiteX1191" fmla="*/ 92418 w 451321"/>
                <a:gd name="connsiteY1191" fmla="*/ 243010 h 611653"/>
                <a:gd name="connsiteX1192" fmla="*/ 88939 w 451321"/>
                <a:gd name="connsiteY1192" fmla="*/ 245672 h 611653"/>
                <a:gd name="connsiteX1193" fmla="*/ 87880 w 451321"/>
                <a:gd name="connsiteY1193" fmla="*/ 247094 h 611653"/>
                <a:gd name="connsiteX1194" fmla="*/ 88304 w 451321"/>
                <a:gd name="connsiteY1194" fmla="*/ 248364 h 611653"/>
                <a:gd name="connsiteX1195" fmla="*/ 88304 w 451321"/>
                <a:gd name="connsiteY1195" fmla="*/ 249423 h 611653"/>
                <a:gd name="connsiteX1196" fmla="*/ 87669 w 451321"/>
                <a:gd name="connsiteY1196" fmla="*/ 249544 h 611653"/>
                <a:gd name="connsiteX1197" fmla="*/ 87215 w 451321"/>
                <a:gd name="connsiteY1197" fmla="*/ 249816 h 611653"/>
                <a:gd name="connsiteX1198" fmla="*/ 86791 w 451321"/>
                <a:gd name="connsiteY1198" fmla="*/ 250149 h 611653"/>
                <a:gd name="connsiteX1199" fmla="*/ 86247 w 451321"/>
                <a:gd name="connsiteY1199" fmla="*/ 250482 h 611653"/>
                <a:gd name="connsiteX1200" fmla="*/ 90270 w 451321"/>
                <a:gd name="connsiteY1200" fmla="*/ 252358 h 611653"/>
                <a:gd name="connsiteX1201" fmla="*/ 91783 w 451321"/>
                <a:gd name="connsiteY1201" fmla="*/ 252599 h 611653"/>
                <a:gd name="connsiteX1202" fmla="*/ 91783 w 451321"/>
                <a:gd name="connsiteY1202" fmla="*/ 253749 h 611653"/>
                <a:gd name="connsiteX1203" fmla="*/ 73118 w 451321"/>
                <a:gd name="connsiteY1203" fmla="*/ 256865 h 611653"/>
                <a:gd name="connsiteX1204" fmla="*/ 71998 w 451321"/>
                <a:gd name="connsiteY1204" fmla="*/ 256411 h 611653"/>
                <a:gd name="connsiteX1205" fmla="*/ 69941 w 451321"/>
                <a:gd name="connsiteY1205" fmla="*/ 255171 h 611653"/>
                <a:gd name="connsiteX1206" fmla="*/ 69367 w 451321"/>
                <a:gd name="connsiteY1206" fmla="*/ 255262 h 611653"/>
                <a:gd name="connsiteX1207" fmla="*/ 68338 w 451321"/>
                <a:gd name="connsiteY1207" fmla="*/ 256260 h 611653"/>
                <a:gd name="connsiteX1208" fmla="*/ 67249 w 451321"/>
                <a:gd name="connsiteY1208" fmla="*/ 256623 h 611653"/>
                <a:gd name="connsiteX1209" fmla="*/ 64859 w 451321"/>
                <a:gd name="connsiteY1209" fmla="*/ 256895 h 611653"/>
                <a:gd name="connsiteX1210" fmla="*/ 62136 w 451321"/>
                <a:gd name="connsiteY1210" fmla="*/ 257863 h 611653"/>
                <a:gd name="connsiteX1211" fmla="*/ 58325 w 451321"/>
                <a:gd name="connsiteY1211" fmla="*/ 258498 h 611653"/>
                <a:gd name="connsiteX1212" fmla="*/ 57387 w 451321"/>
                <a:gd name="connsiteY1212" fmla="*/ 259134 h 611653"/>
                <a:gd name="connsiteX1213" fmla="*/ 58294 w 451321"/>
                <a:gd name="connsiteY1213" fmla="*/ 261977 h 611653"/>
                <a:gd name="connsiteX1214" fmla="*/ 57659 w 451321"/>
                <a:gd name="connsiteY1214" fmla="*/ 264367 h 611653"/>
                <a:gd name="connsiteX1215" fmla="*/ 56540 w 451321"/>
                <a:gd name="connsiteY1215" fmla="*/ 266939 h 611653"/>
                <a:gd name="connsiteX1216" fmla="*/ 55935 w 451321"/>
                <a:gd name="connsiteY1216" fmla="*/ 270266 h 611653"/>
                <a:gd name="connsiteX1217" fmla="*/ 57357 w 451321"/>
                <a:gd name="connsiteY1217" fmla="*/ 277224 h 611653"/>
                <a:gd name="connsiteX1218" fmla="*/ 65525 w 451321"/>
                <a:gd name="connsiteY1218" fmla="*/ 281883 h 611653"/>
                <a:gd name="connsiteX1219" fmla="*/ 69911 w 451321"/>
                <a:gd name="connsiteY1219" fmla="*/ 283426 h 611653"/>
                <a:gd name="connsiteX1220" fmla="*/ 76929 w 451321"/>
                <a:gd name="connsiteY1220" fmla="*/ 282881 h 611653"/>
                <a:gd name="connsiteX1221" fmla="*/ 78684 w 451321"/>
                <a:gd name="connsiteY1221" fmla="*/ 283728 h 611653"/>
                <a:gd name="connsiteX1222" fmla="*/ 78684 w 451321"/>
                <a:gd name="connsiteY1222" fmla="*/ 284696 h 611653"/>
                <a:gd name="connsiteX1223" fmla="*/ 70819 w 451321"/>
                <a:gd name="connsiteY1223" fmla="*/ 284212 h 611653"/>
                <a:gd name="connsiteX1224" fmla="*/ 66009 w 451321"/>
                <a:gd name="connsiteY1224" fmla="*/ 283426 h 611653"/>
                <a:gd name="connsiteX1225" fmla="*/ 63891 w 451321"/>
                <a:gd name="connsiteY1225" fmla="*/ 282034 h 611653"/>
                <a:gd name="connsiteX1226" fmla="*/ 62832 w 451321"/>
                <a:gd name="connsiteY1226" fmla="*/ 281611 h 611653"/>
                <a:gd name="connsiteX1227" fmla="*/ 61471 w 451321"/>
                <a:gd name="connsiteY1227" fmla="*/ 281732 h 611653"/>
                <a:gd name="connsiteX1228" fmla="*/ 58022 w 451321"/>
                <a:gd name="connsiteY1228" fmla="*/ 283728 h 611653"/>
                <a:gd name="connsiteX1229" fmla="*/ 55148 w 451321"/>
                <a:gd name="connsiteY1229" fmla="*/ 284454 h 611653"/>
                <a:gd name="connsiteX1230" fmla="*/ 47313 w 451321"/>
                <a:gd name="connsiteY1230" fmla="*/ 283728 h 611653"/>
                <a:gd name="connsiteX1231" fmla="*/ 43471 w 451321"/>
                <a:gd name="connsiteY1231" fmla="*/ 284545 h 611653"/>
                <a:gd name="connsiteX1232" fmla="*/ 44954 w 451321"/>
                <a:gd name="connsiteY1232" fmla="*/ 286451 h 611653"/>
                <a:gd name="connsiteX1233" fmla="*/ 51064 w 451321"/>
                <a:gd name="connsiteY1233" fmla="*/ 290232 h 611653"/>
                <a:gd name="connsiteX1234" fmla="*/ 50006 w 451321"/>
                <a:gd name="connsiteY1234" fmla="*/ 290868 h 611653"/>
                <a:gd name="connsiteX1235" fmla="*/ 48584 w 451321"/>
                <a:gd name="connsiteY1235" fmla="*/ 292804 h 611653"/>
                <a:gd name="connsiteX1236" fmla="*/ 47646 w 451321"/>
                <a:gd name="connsiteY1236" fmla="*/ 293227 h 611653"/>
                <a:gd name="connsiteX1237" fmla="*/ 46164 w 451321"/>
                <a:gd name="connsiteY1237" fmla="*/ 290837 h 611653"/>
                <a:gd name="connsiteX1238" fmla="*/ 45589 w 451321"/>
                <a:gd name="connsiteY1238" fmla="*/ 290232 h 611653"/>
                <a:gd name="connsiteX1239" fmla="*/ 41081 w 451321"/>
                <a:gd name="connsiteY1239" fmla="*/ 289113 h 611653"/>
                <a:gd name="connsiteX1240" fmla="*/ 36604 w 451321"/>
                <a:gd name="connsiteY1240" fmla="*/ 289053 h 611653"/>
                <a:gd name="connsiteX1241" fmla="*/ 36816 w 451321"/>
                <a:gd name="connsiteY1241" fmla="*/ 289779 h 611653"/>
                <a:gd name="connsiteX1242" fmla="*/ 37149 w 451321"/>
                <a:gd name="connsiteY1242" fmla="*/ 291563 h 611653"/>
                <a:gd name="connsiteX1243" fmla="*/ 37360 w 451321"/>
                <a:gd name="connsiteY1243" fmla="*/ 292259 h 611653"/>
                <a:gd name="connsiteX1244" fmla="*/ 34819 w 451321"/>
                <a:gd name="connsiteY1244" fmla="*/ 292108 h 611653"/>
                <a:gd name="connsiteX1245" fmla="*/ 32399 w 451321"/>
                <a:gd name="connsiteY1245" fmla="*/ 291412 h 611653"/>
                <a:gd name="connsiteX1246" fmla="*/ 30070 w 451321"/>
                <a:gd name="connsiteY1246" fmla="*/ 291351 h 611653"/>
                <a:gd name="connsiteX1247" fmla="*/ 27741 w 451321"/>
                <a:gd name="connsiteY1247" fmla="*/ 293197 h 611653"/>
                <a:gd name="connsiteX1248" fmla="*/ 28739 w 451321"/>
                <a:gd name="connsiteY1248" fmla="*/ 294044 h 611653"/>
                <a:gd name="connsiteX1249" fmla="*/ 29919 w 451321"/>
                <a:gd name="connsiteY1249" fmla="*/ 293953 h 611653"/>
                <a:gd name="connsiteX1250" fmla="*/ 32853 w 451321"/>
                <a:gd name="connsiteY1250" fmla="*/ 293197 h 611653"/>
                <a:gd name="connsiteX1251" fmla="*/ 33821 w 451321"/>
                <a:gd name="connsiteY1251" fmla="*/ 293983 h 611653"/>
                <a:gd name="connsiteX1252" fmla="*/ 34668 w 451321"/>
                <a:gd name="connsiteY1252" fmla="*/ 295768 h 611653"/>
                <a:gd name="connsiteX1253" fmla="*/ 35243 w 451321"/>
                <a:gd name="connsiteY1253" fmla="*/ 297614 h 611653"/>
                <a:gd name="connsiteX1254" fmla="*/ 35334 w 451321"/>
                <a:gd name="connsiteY1254" fmla="*/ 298582 h 611653"/>
                <a:gd name="connsiteX1255" fmla="*/ 37421 w 451321"/>
                <a:gd name="connsiteY1255" fmla="*/ 300820 h 611653"/>
                <a:gd name="connsiteX1256" fmla="*/ 41233 w 451321"/>
                <a:gd name="connsiteY1256" fmla="*/ 302333 h 611653"/>
                <a:gd name="connsiteX1257" fmla="*/ 45014 w 451321"/>
                <a:gd name="connsiteY1257" fmla="*/ 303029 h 611653"/>
                <a:gd name="connsiteX1258" fmla="*/ 47011 w 451321"/>
                <a:gd name="connsiteY1258" fmla="*/ 302847 h 611653"/>
                <a:gd name="connsiteX1259" fmla="*/ 46164 w 451321"/>
                <a:gd name="connsiteY1259" fmla="*/ 304571 h 611653"/>
                <a:gd name="connsiteX1260" fmla="*/ 44137 w 451321"/>
                <a:gd name="connsiteY1260" fmla="*/ 304239 h 611653"/>
                <a:gd name="connsiteX1261" fmla="*/ 41656 w 451321"/>
                <a:gd name="connsiteY1261" fmla="*/ 303210 h 611653"/>
                <a:gd name="connsiteX1262" fmla="*/ 39448 w 451321"/>
                <a:gd name="connsiteY1262" fmla="*/ 302847 h 611653"/>
                <a:gd name="connsiteX1263" fmla="*/ 39992 w 451321"/>
                <a:gd name="connsiteY1263" fmla="*/ 304269 h 611653"/>
                <a:gd name="connsiteX1264" fmla="*/ 40749 w 451321"/>
                <a:gd name="connsiteY1264" fmla="*/ 305298 h 611653"/>
                <a:gd name="connsiteX1265" fmla="*/ 41717 w 451321"/>
                <a:gd name="connsiteY1265" fmla="*/ 305872 h 611653"/>
                <a:gd name="connsiteX1266" fmla="*/ 42897 w 451321"/>
                <a:gd name="connsiteY1266" fmla="*/ 306024 h 611653"/>
                <a:gd name="connsiteX1267" fmla="*/ 42897 w 451321"/>
                <a:gd name="connsiteY1267" fmla="*/ 307173 h 611653"/>
                <a:gd name="connsiteX1268" fmla="*/ 41384 w 451321"/>
                <a:gd name="connsiteY1268" fmla="*/ 308686 h 611653"/>
                <a:gd name="connsiteX1269" fmla="*/ 39841 w 451321"/>
                <a:gd name="connsiteY1269" fmla="*/ 308867 h 611653"/>
                <a:gd name="connsiteX1270" fmla="*/ 35999 w 451321"/>
                <a:gd name="connsiteY1270" fmla="*/ 308111 h 611653"/>
                <a:gd name="connsiteX1271" fmla="*/ 33882 w 451321"/>
                <a:gd name="connsiteY1271" fmla="*/ 308383 h 611653"/>
                <a:gd name="connsiteX1272" fmla="*/ 32399 w 451321"/>
                <a:gd name="connsiteY1272" fmla="*/ 309321 h 611653"/>
                <a:gd name="connsiteX1273" fmla="*/ 31340 w 451321"/>
                <a:gd name="connsiteY1273" fmla="*/ 311015 h 611653"/>
                <a:gd name="connsiteX1274" fmla="*/ 30433 w 451321"/>
                <a:gd name="connsiteY1274" fmla="*/ 313496 h 611653"/>
                <a:gd name="connsiteX1275" fmla="*/ 32309 w 451321"/>
                <a:gd name="connsiteY1275" fmla="*/ 313496 h 611653"/>
                <a:gd name="connsiteX1276" fmla="*/ 33125 w 451321"/>
                <a:gd name="connsiteY1276" fmla="*/ 313133 h 611653"/>
                <a:gd name="connsiteX1277" fmla="*/ 33942 w 451321"/>
                <a:gd name="connsiteY1277" fmla="*/ 312437 h 611653"/>
                <a:gd name="connsiteX1278" fmla="*/ 35364 w 451321"/>
                <a:gd name="connsiteY1278" fmla="*/ 313919 h 611653"/>
                <a:gd name="connsiteX1279" fmla="*/ 37784 w 451321"/>
                <a:gd name="connsiteY1279" fmla="*/ 314131 h 611653"/>
                <a:gd name="connsiteX1280" fmla="*/ 41838 w 451321"/>
                <a:gd name="connsiteY1280" fmla="*/ 313496 h 611653"/>
                <a:gd name="connsiteX1281" fmla="*/ 43229 w 451321"/>
                <a:gd name="connsiteY1281" fmla="*/ 313949 h 611653"/>
                <a:gd name="connsiteX1282" fmla="*/ 43955 w 451321"/>
                <a:gd name="connsiteY1282" fmla="*/ 315069 h 611653"/>
                <a:gd name="connsiteX1283" fmla="*/ 44560 w 451321"/>
                <a:gd name="connsiteY1283" fmla="*/ 316460 h 611653"/>
                <a:gd name="connsiteX1284" fmla="*/ 45589 w 451321"/>
                <a:gd name="connsiteY1284" fmla="*/ 317761 h 611653"/>
                <a:gd name="connsiteX1285" fmla="*/ 46769 w 451321"/>
                <a:gd name="connsiteY1285" fmla="*/ 318396 h 611653"/>
                <a:gd name="connsiteX1286" fmla="*/ 48070 w 451321"/>
                <a:gd name="connsiteY1286" fmla="*/ 318699 h 611653"/>
                <a:gd name="connsiteX1287" fmla="*/ 52063 w 451321"/>
                <a:gd name="connsiteY1287" fmla="*/ 318638 h 611653"/>
                <a:gd name="connsiteX1288" fmla="*/ 53757 w 451321"/>
                <a:gd name="connsiteY1288" fmla="*/ 317912 h 611653"/>
                <a:gd name="connsiteX1289" fmla="*/ 54876 w 451321"/>
                <a:gd name="connsiteY1289" fmla="*/ 317731 h 611653"/>
                <a:gd name="connsiteX1290" fmla="*/ 55965 w 451321"/>
                <a:gd name="connsiteY1290" fmla="*/ 317126 h 611653"/>
                <a:gd name="connsiteX1291" fmla="*/ 55965 w 451321"/>
                <a:gd name="connsiteY1291" fmla="*/ 315704 h 611653"/>
                <a:gd name="connsiteX1292" fmla="*/ 55632 w 451321"/>
                <a:gd name="connsiteY1292" fmla="*/ 313949 h 611653"/>
                <a:gd name="connsiteX1293" fmla="*/ 55935 w 451321"/>
                <a:gd name="connsiteY1293" fmla="*/ 312437 h 611653"/>
                <a:gd name="connsiteX1294" fmla="*/ 57054 w 451321"/>
                <a:gd name="connsiteY1294" fmla="*/ 311438 h 611653"/>
                <a:gd name="connsiteX1295" fmla="*/ 57962 w 451321"/>
                <a:gd name="connsiteY1295" fmla="*/ 311560 h 611653"/>
                <a:gd name="connsiteX1296" fmla="*/ 58809 w 451321"/>
                <a:gd name="connsiteY1296" fmla="*/ 312134 h 611653"/>
                <a:gd name="connsiteX1297" fmla="*/ 59716 w 451321"/>
                <a:gd name="connsiteY1297" fmla="*/ 312467 h 611653"/>
                <a:gd name="connsiteX1298" fmla="*/ 60715 w 451321"/>
                <a:gd name="connsiteY1298" fmla="*/ 312074 h 611653"/>
                <a:gd name="connsiteX1299" fmla="*/ 61410 w 451321"/>
                <a:gd name="connsiteY1299" fmla="*/ 311227 h 611653"/>
                <a:gd name="connsiteX1300" fmla="*/ 62197 w 451321"/>
                <a:gd name="connsiteY1300" fmla="*/ 310440 h 611653"/>
                <a:gd name="connsiteX1301" fmla="*/ 63498 w 451321"/>
                <a:gd name="connsiteY1301" fmla="*/ 310259 h 611653"/>
                <a:gd name="connsiteX1302" fmla="*/ 62621 w 451321"/>
                <a:gd name="connsiteY1302" fmla="*/ 311801 h 611653"/>
                <a:gd name="connsiteX1303" fmla="*/ 60654 w 451321"/>
                <a:gd name="connsiteY1303" fmla="*/ 313102 h 611653"/>
                <a:gd name="connsiteX1304" fmla="*/ 60110 w 451321"/>
                <a:gd name="connsiteY1304" fmla="*/ 314494 h 611653"/>
                <a:gd name="connsiteX1305" fmla="*/ 60684 w 451321"/>
                <a:gd name="connsiteY1305" fmla="*/ 316218 h 611653"/>
                <a:gd name="connsiteX1306" fmla="*/ 62227 w 451321"/>
                <a:gd name="connsiteY1306" fmla="*/ 316369 h 611653"/>
                <a:gd name="connsiteX1307" fmla="*/ 63558 w 451321"/>
                <a:gd name="connsiteY1307" fmla="*/ 315583 h 611653"/>
                <a:gd name="connsiteX1308" fmla="*/ 63498 w 451321"/>
                <a:gd name="connsiteY1308" fmla="*/ 314494 h 611653"/>
                <a:gd name="connsiteX1309" fmla="*/ 65736 w 451321"/>
                <a:gd name="connsiteY1309" fmla="*/ 312890 h 611653"/>
                <a:gd name="connsiteX1310" fmla="*/ 66856 w 451321"/>
                <a:gd name="connsiteY1310" fmla="*/ 312467 h 611653"/>
                <a:gd name="connsiteX1311" fmla="*/ 68368 w 451321"/>
                <a:gd name="connsiteY1311" fmla="*/ 312467 h 611653"/>
                <a:gd name="connsiteX1312" fmla="*/ 68368 w 451321"/>
                <a:gd name="connsiteY1312" fmla="*/ 313526 h 611653"/>
                <a:gd name="connsiteX1313" fmla="*/ 66251 w 451321"/>
                <a:gd name="connsiteY1313" fmla="*/ 314494 h 611653"/>
                <a:gd name="connsiteX1314" fmla="*/ 66251 w 451321"/>
                <a:gd name="connsiteY1314" fmla="*/ 315643 h 611653"/>
                <a:gd name="connsiteX1315" fmla="*/ 69760 w 451321"/>
                <a:gd name="connsiteY1315" fmla="*/ 315643 h 611653"/>
                <a:gd name="connsiteX1316" fmla="*/ 69760 w 451321"/>
                <a:gd name="connsiteY1316" fmla="*/ 316612 h 611653"/>
                <a:gd name="connsiteX1317" fmla="*/ 68247 w 451321"/>
                <a:gd name="connsiteY1317" fmla="*/ 317912 h 611653"/>
                <a:gd name="connsiteX1318" fmla="*/ 64133 w 451321"/>
                <a:gd name="connsiteY1318" fmla="*/ 320453 h 611653"/>
                <a:gd name="connsiteX1319" fmla="*/ 62439 w 451321"/>
                <a:gd name="connsiteY1319" fmla="*/ 320937 h 611653"/>
                <a:gd name="connsiteX1320" fmla="*/ 61078 w 451321"/>
                <a:gd name="connsiteY1320" fmla="*/ 320998 h 611653"/>
                <a:gd name="connsiteX1321" fmla="*/ 60200 w 451321"/>
                <a:gd name="connsiteY1321" fmla="*/ 321240 h 611653"/>
                <a:gd name="connsiteX1322" fmla="*/ 59505 w 451321"/>
                <a:gd name="connsiteY1322" fmla="*/ 321845 h 611653"/>
                <a:gd name="connsiteX1323" fmla="*/ 59142 w 451321"/>
                <a:gd name="connsiteY1323" fmla="*/ 322995 h 611653"/>
                <a:gd name="connsiteX1324" fmla="*/ 58930 w 451321"/>
                <a:gd name="connsiteY1324" fmla="*/ 324749 h 611653"/>
                <a:gd name="connsiteX1325" fmla="*/ 58416 w 451321"/>
                <a:gd name="connsiteY1325" fmla="*/ 326715 h 611653"/>
                <a:gd name="connsiteX1326" fmla="*/ 57962 w 451321"/>
                <a:gd name="connsiteY1326" fmla="*/ 327320 h 611653"/>
                <a:gd name="connsiteX1327" fmla="*/ 59535 w 451321"/>
                <a:gd name="connsiteY1327" fmla="*/ 328379 h 611653"/>
                <a:gd name="connsiteX1328" fmla="*/ 63921 w 451321"/>
                <a:gd name="connsiteY1328" fmla="*/ 327411 h 611653"/>
                <a:gd name="connsiteX1329" fmla="*/ 65888 w 451321"/>
                <a:gd name="connsiteY1329" fmla="*/ 328954 h 611653"/>
                <a:gd name="connsiteX1330" fmla="*/ 67551 w 451321"/>
                <a:gd name="connsiteY1330" fmla="*/ 330769 h 611653"/>
                <a:gd name="connsiteX1331" fmla="*/ 69185 w 451321"/>
                <a:gd name="connsiteY1331" fmla="*/ 330769 h 611653"/>
                <a:gd name="connsiteX1332" fmla="*/ 73935 w 451321"/>
                <a:gd name="connsiteY1332" fmla="*/ 328772 h 611653"/>
                <a:gd name="connsiteX1333" fmla="*/ 75507 w 451321"/>
                <a:gd name="connsiteY1333" fmla="*/ 326957 h 611653"/>
                <a:gd name="connsiteX1334" fmla="*/ 77928 w 451321"/>
                <a:gd name="connsiteY1334" fmla="*/ 322995 h 611653"/>
                <a:gd name="connsiteX1335" fmla="*/ 79017 w 451321"/>
                <a:gd name="connsiteY1335" fmla="*/ 320544 h 611653"/>
                <a:gd name="connsiteX1336" fmla="*/ 79834 w 451321"/>
                <a:gd name="connsiteY1336" fmla="*/ 319364 h 611653"/>
                <a:gd name="connsiteX1337" fmla="*/ 81074 w 451321"/>
                <a:gd name="connsiteY1337" fmla="*/ 318880 h 611653"/>
                <a:gd name="connsiteX1338" fmla="*/ 82435 w 451321"/>
                <a:gd name="connsiteY1338" fmla="*/ 317247 h 611653"/>
                <a:gd name="connsiteX1339" fmla="*/ 83070 w 451321"/>
                <a:gd name="connsiteY1339" fmla="*/ 316672 h 611653"/>
                <a:gd name="connsiteX1340" fmla="*/ 83494 w 451321"/>
                <a:gd name="connsiteY1340" fmla="*/ 316944 h 611653"/>
                <a:gd name="connsiteX1341" fmla="*/ 83917 w 451321"/>
                <a:gd name="connsiteY1341" fmla="*/ 317489 h 611653"/>
                <a:gd name="connsiteX1342" fmla="*/ 84492 w 451321"/>
                <a:gd name="connsiteY1342" fmla="*/ 317791 h 611653"/>
                <a:gd name="connsiteX1343" fmla="*/ 84553 w 451321"/>
                <a:gd name="connsiteY1343" fmla="*/ 319001 h 611653"/>
                <a:gd name="connsiteX1344" fmla="*/ 83524 w 451321"/>
                <a:gd name="connsiteY1344" fmla="*/ 321724 h 611653"/>
                <a:gd name="connsiteX1345" fmla="*/ 83070 w 451321"/>
                <a:gd name="connsiteY1345" fmla="*/ 324598 h 611653"/>
                <a:gd name="connsiteX1346" fmla="*/ 84855 w 451321"/>
                <a:gd name="connsiteY1346" fmla="*/ 326322 h 611653"/>
                <a:gd name="connsiteX1347" fmla="*/ 86791 w 451321"/>
                <a:gd name="connsiteY1347" fmla="*/ 325626 h 611653"/>
                <a:gd name="connsiteX1348" fmla="*/ 87669 w 451321"/>
                <a:gd name="connsiteY1348" fmla="*/ 323358 h 611653"/>
                <a:gd name="connsiteX1349" fmla="*/ 87487 w 451321"/>
                <a:gd name="connsiteY1349" fmla="*/ 320695 h 611653"/>
                <a:gd name="connsiteX1350" fmla="*/ 86156 w 451321"/>
                <a:gd name="connsiteY1350" fmla="*/ 318850 h 611653"/>
                <a:gd name="connsiteX1351" fmla="*/ 87669 w 451321"/>
                <a:gd name="connsiteY1351" fmla="*/ 317882 h 611653"/>
                <a:gd name="connsiteX1352" fmla="*/ 89454 w 451321"/>
                <a:gd name="connsiteY1352" fmla="*/ 317610 h 611653"/>
                <a:gd name="connsiteX1353" fmla="*/ 93084 w 451321"/>
                <a:gd name="connsiteY1353" fmla="*/ 317761 h 611653"/>
                <a:gd name="connsiteX1354" fmla="*/ 89332 w 451321"/>
                <a:gd name="connsiteY1354" fmla="*/ 319758 h 611653"/>
                <a:gd name="connsiteX1355" fmla="*/ 88243 w 451321"/>
                <a:gd name="connsiteY1355" fmla="*/ 320907 h 611653"/>
                <a:gd name="connsiteX1356" fmla="*/ 92297 w 451321"/>
                <a:gd name="connsiteY1356" fmla="*/ 324568 h 611653"/>
                <a:gd name="connsiteX1357" fmla="*/ 92025 w 451321"/>
                <a:gd name="connsiteY1357" fmla="*/ 325142 h 611653"/>
                <a:gd name="connsiteX1358" fmla="*/ 91722 w 451321"/>
                <a:gd name="connsiteY1358" fmla="*/ 325475 h 611653"/>
                <a:gd name="connsiteX1359" fmla="*/ 91087 w 451321"/>
                <a:gd name="connsiteY1359" fmla="*/ 326897 h 611653"/>
                <a:gd name="connsiteX1360" fmla="*/ 90694 w 451321"/>
                <a:gd name="connsiteY1360" fmla="*/ 327230 h 611653"/>
                <a:gd name="connsiteX1361" fmla="*/ 89968 w 451321"/>
                <a:gd name="connsiteY1361" fmla="*/ 327079 h 611653"/>
                <a:gd name="connsiteX1362" fmla="*/ 88969 w 451321"/>
                <a:gd name="connsiteY1362" fmla="*/ 326413 h 611653"/>
                <a:gd name="connsiteX1363" fmla="*/ 88637 w 451321"/>
                <a:gd name="connsiteY1363" fmla="*/ 326262 h 611653"/>
                <a:gd name="connsiteX1364" fmla="*/ 86640 w 451321"/>
                <a:gd name="connsiteY1364" fmla="*/ 327593 h 611653"/>
                <a:gd name="connsiteX1365" fmla="*/ 87457 w 451321"/>
                <a:gd name="connsiteY1365" fmla="*/ 334581 h 611653"/>
                <a:gd name="connsiteX1366" fmla="*/ 85521 w 451321"/>
                <a:gd name="connsiteY1366" fmla="*/ 337788 h 611653"/>
                <a:gd name="connsiteX1367" fmla="*/ 85521 w 451321"/>
                <a:gd name="connsiteY1367" fmla="*/ 338937 h 611653"/>
                <a:gd name="connsiteX1368" fmla="*/ 87154 w 451321"/>
                <a:gd name="connsiteY1368" fmla="*/ 340782 h 611653"/>
                <a:gd name="connsiteX1369" fmla="*/ 88697 w 451321"/>
                <a:gd name="connsiteY1369" fmla="*/ 340540 h 611653"/>
                <a:gd name="connsiteX1370" fmla="*/ 89877 w 451321"/>
                <a:gd name="connsiteY1370" fmla="*/ 338574 h 611653"/>
                <a:gd name="connsiteX1371" fmla="*/ 90331 w 451321"/>
                <a:gd name="connsiteY1371" fmla="*/ 335246 h 611653"/>
                <a:gd name="connsiteX1372" fmla="*/ 91269 w 451321"/>
                <a:gd name="connsiteY1372" fmla="*/ 332403 h 611653"/>
                <a:gd name="connsiteX1373" fmla="*/ 92963 w 451321"/>
                <a:gd name="connsiteY1373" fmla="*/ 332403 h 611653"/>
                <a:gd name="connsiteX1374" fmla="*/ 93689 w 451321"/>
                <a:gd name="connsiteY1374" fmla="*/ 334157 h 611653"/>
                <a:gd name="connsiteX1375" fmla="*/ 91752 w 451321"/>
                <a:gd name="connsiteY1375" fmla="*/ 336819 h 611653"/>
                <a:gd name="connsiteX1376" fmla="*/ 93084 w 451321"/>
                <a:gd name="connsiteY1376" fmla="*/ 338120 h 611653"/>
                <a:gd name="connsiteX1377" fmla="*/ 93961 w 451321"/>
                <a:gd name="connsiteY1377" fmla="*/ 339633 h 611653"/>
                <a:gd name="connsiteX1378" fmla="*/ 95111 w 451321"/>
                <a:gd name="connsiteY1378" fmla="*/ 341024 h 611653"/>
                <a:gd name="connsiteX1379" fmla="*/ 97258 w 451321"/>
                <a:gd name="connsiteY1379" fmla="*/ 341993 h 611653"/>
                <a:gd name="connsiteX1380" fmla="*/ 101433 w 451321"/>
                <a:gd name="connsiteY1380" fmla="*/ 341993 h 611653"/>
                <a:gd name="connsiteX1381" fmla="*/ 103672 w 451321"/>
                <a:gd name="connsiteY1381" fmla="*/ 341448 h 611653"/>
                <a:gd name="connsiteX1382" fmla="*/ 105184 w 451321"/>
                <a:gd name="connsiteY1382" fmla="*/ 340389 h 611653"/>
                <a:gd name="connsiteX1383" fmla="*/ 108361 w 451321"/>
                <a:gd name="connsiteY1383" fmla="*/ 338937 h 611653"/>
                <a:gd name="connsiteX1384" fmla="*/ 141002 w 451321"/>
                <a:gd name="connsiteY1384" fmla="*/ 336456 h 611653"/>
                <a:gd name="connsiteX1385" fmla="*/ 144511 w 451321"/>
                <a:gd name="connsiteY1385" fmla="*/ 335004 h 611653"/>
                <a:gd name="connsiteX1386" fmla="*/ 146538 w 451321"/>
                <a:gd name="connsiteY1386" fmla="*/ 334672 h 611653"/>
                <a:gd name="connsiteX1387" fmla="*/ 154524 w 451321"/>
                <a:gd name="connsiteY1387" fmla="*/ 335730 h 611653"/>
                <a:gd name="connsiteX1388" fmla="*/ 154524 w 451321"/>
                <a:gd name="connsiteY1388" fmla="*/ 336789 h 611653"/>
                <a:gd name="connsiteX1389" fmla="*/ 153193 w 451321"/>
                <a:gd name="connsiteY1389" fmla="*/ 337394 h 611653"/>
                <a:gd name="connsiteX1390" fmla="*/ 150592 w 451321"/>
                <a:gd name="connsiteY1390" fmla="*/ 338120 h 611653"/>
                <a:gd name="connsiteX1391" fmla="*/ 149654 w 451321"/>
                <a:gd name="connsiteY1391" fmla="*/ 338907 h 611653"/>
                <a:gd name="connsiteX1392" fmla="*/ 149654 w 451321"/>
                <a:gd name="connsiteY1392" fmla="*/ 339875 h 611653"/>
                <a:gd name="connsiteX1393" fmla="*/ 152467 w 451321"/>
                <a:gd name="connsiteY1393" fmla="*/ 339875 h 611653"/>
                <a:gd name="connsiteX1394" fmla="*/ 152467 w 451321"/>
                <a:gd name="connsiteY1394" fmla="*/ 340903 h 611653"/>
                <a:gd name="connsiteX1395" fmla="*/ 150501 w 451321"/>
                <a:gd name="connsiteY1395" fmla="*/ 341024 h 611653"/>
                <a:gd name="connsiteX1396" fmla="*/ 145933 w 451321"/>
                <a:gd name="connsiteY1396" fmla="*/ 342113 h 611653"/>
                <a:gd name="connsiteX1397" fmla="*/ 144178 w 451321"/>
                <a:gd name="connsiteY1397" fmla="*/ 343142 h 611653"/>
                <a:gd name="connsiteX1398" fmla="*/ 145600 w 451321"/>
                <a:gd name="connsiteY1398" fmla="*/ 343808 h 611653"/>
                <a:gd name="connsiteX1399" fmla="*/ 155553 w 451321"/>
                <a:gd name="connsiteY1399" fmla="*/ 344110 h 611653"/>
                <a:gd name="connsiteX1400" fmla="*/ 156400 w 451321"/>
                <a:gd name="connsiteY1400" fmla="*/ 343928 h 611653"/>
                <a:gd name="connsiteX1401" fmla="*/ 158276 w 451321"/>
                <a:gd name="connsiteY1401" fmla="*/ 343172 h 611653"/>
                <a:gd name="connsiteX1402" fmla="*/ 159334 w 451321"/>
                <a:gd name="connsiteY1402" fmla="*/ 343172 h 611653"/>
                <a:gd name="connsiteX1403" fmla="*/ 155976 w 451321"/>
                <a:gd name="connsiteY1403" fmla="*/ 345441 h 611653"/>
                <a:gd name="connsiteX1404" fmla="*/ 154403 w 451321"/>
                <a:gd name="connsiteY1404" fmla="*/ 347105 h 611653"/>
                <a:gd name="connsiteX1405" fmla="*/ 153102 w 451321"/>
                <a:gd name="connsiteY1405" fmla="*/ 349434 h 611653"/>
                <a:gd name="connsiteX1406" fmla="*/ 153798 w 451321"/>
                <a:gd name="connsiteY1406" fmla="*/ 350402 h 611653"/>
                <a:gd name="connsiteX1407" fmla="*/ 154282 w 451321"/>
                <a:gd name="connsiteY1407" fmla="*/ 351552 h 611653"/>
                <a:gd name="connsiteX1408" fmla="*/ 155160 w 451321"/>
                <a:gd name="connsiteY1408" fmla="*/ 354698 h 611653"/>
                <a:gd name="connsiteX1409" fmla="*/ 153677 w 451321"/>
                <a:gd name="connsiteY1409" fmla="*/ 354396 h 611653"/>
                <a:gd name="connsiteX1410" fmla="*/ 152437 w 451321"/>
                <a:gd name="connsiteY1410" fmla="*/ 353790 h 611653"/>
                <a:gd name="connsiteX1411" fmla="*/ 151348 w 451321"/>
                <a:gd name="connsiteY1411" fmla="*/ 352823 h 611653"/>
                <a:gd name="connsiteX1412" fmla="*/ 150350 w 451321"/>
                <a:gd name="connsiteY1412" fmla="*/ 351552 h 611653"/>
                <a:gd name="connsiteX1413" fmla="*/ 150894 w 451321"/>
                <a:gd name="connsiteY1413" fmla="*/ 350070 h 611653"/>
                <a:gd name="connsiteX1414" fmla="*/ 150108 w 451321"/>
                <a:gd name="connsiteY1414" fmla="*/ 349888 h 611653"/>
                <a:gd name="connsiteX1415" fmla="*/ 148958 w 451321"/>
                <a:gd name="connsiteY1415" fmla="*/ 350372 h 611653"/>
                <a:gd name="connsiteX1416" fmla="*/ 147808 w 451321"/>
                <a:gd name="connsiteY1416" fmla="*/ 351582 h 611653"/>
                <a:gd name="connsiteX1417" fmla="*/ 146508 w 451321"/>
                <a:gd name="connsiteY1417" fmla="*/ 351370 h 611653"/>
                <a:gd name="connsiteX1418" fmla="*/ 144178 w 451321"/>
                <a:gd name="connsiteY1418" fmla="*/ 350402 h 611653"/>
                <a:gd name="connsiteX1419" fmla="*/ 144178 w 451321"/>
                <a:gd name="connsiteY1419" fmla="*/ 351552 h 611653"/>
                <a:gd name="connsiteX1420" fmla="*/ 148353 w 451321"/>
                <a:gd name="connsiteY1420" fmla="*/ 353760 h 611653"/>
                <a:gd name="connsiteX1421" fmla="*/ 148353 w 451321"/>
                <a:gd name="connsiteY1421" fmla="*/ 354698 h 611653"/>
                <a:gd name="connsiteX1422" fmla="*/ 146417 w 451321"/>
                <a:gd name="connsiteY1422" fmla="*/ 354486 h 611653"/>
                <a:gd name="connsiteX1423" fmla="*/ 143331 w 451321"/>
                <a:gd name="connsiteY1423" fmla="*/ 352127 h 611653"/>
                <a:gd name="connsiteX1424" fmla="*/ 141758 w 451321"/>
                <a:gd name="connsiteY1424" fmla="*/ 351552 h 611653"/>
                <a:gd name="connsiteX1425" fmla="*/ 135859 w 451321"/>
                <a:gd name="connsiteY1425" fmla="*/ 352611 h 611653"/>
                <a:gd name="connsiteX1426" fmla="*/ 135859 w 451321"/>
                <a:gd name="connsiteY1426" fmla="*/ 353760 h 611653"/>
                <a:gd name="connsiteX1427" fmla="*/ 140276 w 451321"/>
                <a:gd name="connsiteY1427" fmla="*/ 355061 h 611653"/>
                <a:gd name="connsiteX1428" fmla="*/ 141698 w 451321"/>
                <a:gd name="connsiteY1428" fmla="*/ 356453 h 611653"/>
                <a:gd name="connsiteX1429" fmla="*/ 141425 w 451321"/>
                <a:gd name="connsiteY1429" fmla="*/ 358933 h 611653"/>
                <a:gd name="connsiteX1430" fmla="*/ 139035 w 451321"/>
                <a:gd name="connsiteY1430" fmla="*/ 357632 h 611653"/>
                <a:gd name="connsiteX1431" fmla="*/ 136797 w 451321"/>
                <a:gd name="connsiteY1431" fmla="*/ 358177 h 611653"/>
                <a:gd name="connsiteX1432" fmla="*/ 134710 w 451321"/>
                <a:gd name="connsiteY1432" fmla="*/ 359417 h 611653"/>
                <a:gd name="connsiteX1433" fmla="*/ 132804 w 451321"/>
                <a:gd name="connsiteY1433" fmla="*/ 360083 h 611653"/>
                <a:gd name="connsiteX1434" fmla="*/ 130595 w 451321"/>
                <a:gd name="connsiteY1434" fmla="*/ 359206 h 611653"/>
                <a:gd name="connsiteX1435" fmla="*/ 125876 w 451321"/>
                <a:gd name="connsiteY1435" fmla="*/ 355091 h 611653"/>
                <a:gd name="connsiteX1436" fmla="*/ 123486 w 451321"/>
                <a:gd name="connsiteY1436" fmla="*/ 353790 h 611653"/>
                <a:gd name="connsiteX1437" fmla="*/ 121369 w 451321"/>
                <a:gd name="connsiteY1437" fmla="*/ 354607 h 611653"/>
                <a:gd name="connsiteX1438" fmla="*/ 119614 w 451321"/>
                <a:gd name="connsiteY1438" fmla="*/ 357300 h 611653"/>
                <a:gd name="connsiteX1439" fmla="*/ 118253 w 451321"/>
                <a:gd name="connsiteY1439" fmla="*/ 360597 h 611653"/>
                <a:gd name="connsiteX1440" fmla="*/ 116589 w 451321"/>
                <a:gd name="connsiteY1440" fmla="*/ 363169 h 611653"/>
                <a:gd name="connsiteX1441" fmla="*/ 114411 w 451321"/>
                <a:gd name="connsiteY1441" fmla="*/ 365347 h 611653"/>
                <a:gd name="connsiteX1442" fmla="*/ 109026 w 451321"/>
                <a:gd name="connsiteY1442" fmla="*/ 374815 h 611653"/>
                <a:gd name="connsiteX1443" fmla="*/ 109782 w 451321"/>
                <a:gd name="connsiteY1443" fmla="*/ 375844 h 611653"/>
                <a:gd name="connsiteX1444" fmla="*/ 108693 w 451321"/>
                <a:gd name="connsiteY1444" fmla="*/ 376540 h 611653"/>
                <a:gd name="connsiteX1445" fmla="*/ 107756 w 451321"/>
                <a:gd name="connsiteY1445" fmla="*/ 377629 h 611653"/>
                <a:gd name="connsiteX1446" fmla="*/ 104791 w 451321"/>
                <a:gd name="connsiteY1446" fmla="*/ 382257 h 611653"/>
                <a:gd name="connsiteX1447" fmla="*/ 103581 w 451321"/>
                <a:gd name="connsiteY1447" fmla="*/ 383679 h 611653"/>
                <a:gd name="connsiteX1448" fmla="*/ 100737 w 451321"/>
                <a:gd name="connsiteY1448" fmla="*/ 386311 h 611653"/>
                <a:gd name="connsiteX1449" fmla="*/ 103369 w 451321"/>
                <a:gd name="connsiteY1449" fmla="*/ 387188 h 611653"/>
                <a:gd name="connsiteX1450" fmla="*/ 111265 w 451321"/>
                <a:gd name="connsiteY1450" fmla="*/ 386795 h 611653"/>
                <a:gd name="connsiteX1451" fmla="*/ 113140 w 451321"/>
                <a:gd name="connsiteY1451" fmla="*/ 387339 h 611653"/>
                <a:gd name="connsiteX1452" fmla="*/ 112021 w 451321"/>
                <a:gd name="connsiteY1452" fmla="*/ 390304 h 611653"/>
                <a:gd name="connsiteX1453" fmla="*/ 105759 w 451321"/>
                <a:gd name="connsiteY1453" fmla="*/ 395870 h 611653"/>
                <a:gd name="connsiteX1454" fmla="*/ 105577 w 451321"/>
                <a:gd name="connsiteY1454" fmla="*/ 397897 h 611653"/>
                <a:gd name="connsiteX1455" fmla="*/ 105577 w 451321"/>
                <a:gd name="connsiteY1455" fmla="*/ 398926 h 611653"/>
                <a:gd name="connsiteX1456" fmla="*/ 104761 w 451321"/>
                <a:gd name="connsiteY1456" fmla="*/ 399591 h 611653"/>
                <a:gd name="connsiteX1457" fmla="*/ 104367 w 451321"/>
                <a:gd name="connsiteY1457" fmla="*/ 400559 h 611653"/>
                <a:gd name="connsiteX1458" fmla="*/ 104065 w 451321"/>
                <a:gd name="connsiteY1458" fmla="*/ 401769 h 611653"/>
                <a:gd name="connsiteX1459" fmla="*/ 103460 w 451321"/>
                <a:gd name="connsiteY1459" fmla="*/ 403131 h 611653"/>
                <a:gd name="connsiteX1460" fmla="*/ 102552 w 451321"/>
                <a:gd name="connsiteY1460" fmla="*/ 404522 h 611653"/>
                <a:gd name="connsiteX1461" fmla="*/ 101524 w 451321"/>
                <a:gd name="connsiteY1461" fmla="*/ 405793 h 611653"/>
                <a:gd name="connsiteX1462" fmla="*/ 100435 w 451321"/>
                <a:gd name="connsiteY1462" fmla="*/ 406761 h 611653"/>
                <a:gd name="connsiteX1463" fmla="*/ 99346 w 451321"/>
                <a:gd name="connsiteY1463" fmla="*/ 407305 h 611653"/>
                <a:gd name="connsiteX1464" fmla="*/ 100102 w 451321"/>
                <a:gd name="connsiteY1464" fmla="*/ 408455 h 611653"/>
                <a:gd name="connsiteX1465" fmla="*/ 99799 w 451321"/>
                <a:gd name="connsiteY1465" fmla="*/ 409514 h 611653"/>
                <a:gd name="connsiteX1466" fmla="*/ 99527 w 451321"/>
                <a:gd name="connsiteY1466" fmla="*/ 409725 h 611653"/>
                <a:gd name="connsiteX1467" fmla="*/ 99527 w 451321"/>
                <a:gd name="connsiteY1467" fmla="*/ 409816 h 611653"/>
                <a:gd name="connsiteX1468" fmla="*/ 100072 w 451321"/>
                <a:gd name="connsiteY1468" fmla="*/ 410451 h 611653"/>
                <a:gd name="connsiteX1469" fmla="*/ 99315 w 451321"/>
                <a:gd name="connsiteY1469" fmla="*/ 411873 h 611653"/>
                <a:gd name="connsiteX1470" fmla="*/ 98983 w 451321"/>
                <a:gd name="connsiteY1470" fmla="*/ 413598 h 611653"/>
                <a:gd name="connsiteX1471" fmla="*/ 98589 w 451321"/>
                <a:gd name="connsiteY1471" fmla="*/ 415050 h 611653"/>
                <a:gd name="connsiteX1472" fmla="*/ 97621 w 451321"/>
                <a:gd name="connsiteY1472" fmla="*/ 415655 h 611653"/>
                <a:gd name="connsiteX1473" fmla="*/ 96502 w 451321"/>
                <a:gd name="connsiteY1473" fmla="*/ 415836 h 611653"/>
                <a:gd name="connsiteX1474" fmla="*/ 94626 w 451321"/>
                <a:gd name="connsiteY1474" fmla="*/ 416623 h 611653"/>
                <a:gd name="connsiteX1475" fmla="*/ 93507 w 451321"/>
                <a:gd name="connsiteY1475" fmla="*/ 416804 h 611653"/>
                <a:gd name="connsiteX1476" fmla="*/ 90361 w 451321"/>
                <a:gd name="connsiteY1476" fmla="*/ 416441 h 611653"/>
                <a:gd name="connsiteX1477" fmla="*/ 89060 w 451321"/>
                <a:gd name="connsiteY1477" fmla="*/ 416804 h 611653"/>
                <a:gd name="connsiteX1478" fmla="*/ 88092 w 451321"/>
                <a:gd name="connsiteY1478" fmla="*/ 417318 h 611653"/>
                <a:gd name="connsiteX1479" fmla="*/ 86640 w 451321"/>
                <a:gd name="connsiteY1479" fmla="*/ 418407 h 611653"/>
                <a:gd name="connsiteX1480" fmla="*/ 85551 w 451321"/>
                <a:gd name="connsiteY1480" fmla="*/ 418892 h 611653"/>
                <a:gd name="connsiteX1481" fmla="*/ 85975 w 451321"/>
                <a:gd name="connsiteY1481" fmla="*/ 420434 h 611653"/>
                <a:gd name="connsiteX1482" fmla="*/ 86247 w 451321"/>
                <a:gd name="connsiteY1482" fmla="*/ 420979 h 611653"/>
                <a:gd name="connsiteX1483" fmla="*/ 65888 w 451321"/>
                <a:gd name="connsiteY1483" fmla="*/ 439039 h 611653"/>
                <a:gd name="connsiteX1484" fmla="*/ 60715 w 451321"/>
                <a:gd name="connsiteY1484" fmla="*/ 440310 h 611653"/>
                <a:gd name="connsiteX1485" fmla="*/ 56419 w 451321"/>
                <a:gd name="connsiteY1485" fmla="*/ 443153 h 611653"/>
                <a:gd name="connsiteX1486" fmla="*/ 54604 w 451321"/>
                <a:gd name="connsiteY1486" fmla="*/ 443940 h 611653"/>
                <a:gd name="connsiteX1487" fmla="*/ 54604 w 451321"/>
                <a:gd name="connsiteY1487" fmla="*/ 444877 h 611653"/>
                <a:gd name="connsiteX1488" fmla="*/ 72603 w 451321"/>
                <a:gd name="connsiteY1488" fmla="*/ 442548 h 611653"/>
                <a:gd name="connsiteX1489" fmla="*/ 75296 w 451321"/>
                <a:gd name="connsiteY1489" fmla="*/ 440703 h 611653"/>
                <a:gd name="connsiteX1490" fmla="*/ 76022 w 451321"/>
                <a:gd name="connsiteY1490" fmla="*/ 440975 h 611653"/>
                <a:gd name="connsiteX1491" fmla="*/ 76929 w 451321"/>
                <a:gd name="connsiteY1491" fmla="*/ 441520 h 611653"/>
                <a:gd name="connsiteX1492" fmla="*/ 77716 w 451321"/>
                <a:gd name="connsiteY1492" fmla="*/ 441278 h 611653"/>
                <a:gd name="connsiteX1493" fmla="*/ 78049 w 451321"/>
                <a:gd name="connsiteY1493" fmla="*/ 439130 h 611653"/>
                <a:gd name="connsiteX1494" fmla="*/ 78956 w 451321"/>
                <a:gd name="connsiteY1494" fmla="*/ 437405 h 611653"/>
                <a:gd name="connsiteX1495" fmla="*/ 81134 w 451321"/>
                <a:gd name="connsiteY1495" fmla="*/ 436498 h 611653"/>
                <a:gd name="connsiteX1496" fmla="*/ 85581 w 451321"/>
                <a:gd name="connsiteY1496" fmla="*/ 435590 h 611653"/>
                <a:gd name="connsiteX1497" fmla="*/ 93205 w 451321"/>
                <a:gd name="connsiteY1497" fmla="*/ 432263 h 611653"/>
                <a:gd name="connsiteX1498" fmla="*/ 92781 w 451321"/>
                <a:gd name="connsiteY1498" fmla="*/ 431083 h 611653"/>
                <a:gd name="connsiteX1499" fmla="*/ 92146 w 451321"/>
                <a:gd name="connsiteY1499" fmla="*/ 430175 h 611653"/>
                <a:gd name="connsiteX1500" fmla="*/ 91359 w 451321"/>
                <a:gd name="connsiteY1500" fmla="*/ 429540 h 611653"/>
                <a:gd name="connsiteX1501" fmla="*/ 90422 w 451321"/>
                <a:gd name="connsiteY1501" fmla="*/ 429238 h 611653"/>
                <a:gd name="connsiteX1502" fmla="*/ 90422 w 451321"/>
                <a:gd name="connsiteY1502" fmla="*/ 428209 h 611653"/>
                <a:gd name="connsiteX1503" fmla="*/ 94112 w 451321"/>
                <a:gd name="connsiteY1503" fmla="*/ 428088 h 611653"/>
                <a:gd name="connsiteX1504" fmla="*/ 95201 w 451321"/>
                <a:gd name="connsiteY1504" fmla="*/ 428965 h 611653"/>
                <a:gd name="connsiteX1505" fmla="*/ 94687 w 451321"/>
                <a:gd name="connsiteY1505" fmla="*/ 431325 h 611653"/>
                <a:gd name="connsiteX1506" fmla="*/ 96048 w 451321"/>
                <a:gd name="connsiteY1506" fmla="*/ 432596 h 611653"/>
                <a:gd name="connsiteX1507" fmla="*/ 99497 w 451321"/>
                <a:gd name="connsiteY1507" fmla="*/ 433049 h 611653"/>
                <a:gd name="connsiteX1508" fmla="*/ 100193 w 451321"/>
                <a:gd name="connsiteY1508" fmla="*/ 433896 h 611653"/>
                <a:gd name="connsiteX1509" fmla="*/ 101040 w 451321"/>
                <a:gd name="connsiteY1509" fmla="*/ 435227 h 611653"/>
                <a:gd name="connsiteX1510" fmla="*/ 102976 w 451321"/>
                <a:gd name="connsiteY1510" fmla="*/ 436014 h 611653"/>
                <a:gd name="connsiteX1511" fmla="*/ 105154 w 451321"/>
                <a:gd name="connsiteY1511" fmla="*/ 436377 h 611653"/>
                <a:gd name="connsiteX1512" fmla="*/ 110267 w 451321"/>
                <a:gd name="connsiteY1512" fmla="*/ 436195 h 611653"/>
                <a:gd name="connsiteX1513" fmla="*/ 117618 w 451321"/>
                <a:gd name="connsiteY1513" fmla="*/ 434048 h 611653"/>
                <a:gd name="connsiteX1514" fmla="*/ 120824 w 451321"/>
                <a:gd name="connsiteY1514" fmla="*/ 432202 h 611653"/>
                <a:gd name="connsiteX1515" fmla="*/ 120824 w 451321"/>
                <a:gd name="connsiteY1515" fmla="*/ 434289 h 611653"/>
                <a:gd name="connsiteX1516" fmla="*/ 119191 w 451321"/>
                <a:gd name="connsiteY1516" fmla="*/ 435863 h 611653"/>
                <a:gd name="connsiteX1517" fmla="*/ 116982 w 451321"/>
                <a:gd name="connsiteY1517" fmla="*/ 437224 h 611653"/>
                <a:gd name="connsiteX1518" fmla="*/ 115379 w 451321"/>
                <a:gd name="connsiteY1518" fmla="*/ 438555 h 611653"/>
                <a:gd name="connsiteX1519" fmla="*/ 116407 w 451321"/>
                <a:gd name="connsiteY1519" fmla="*/ 439220 h 611653"/>
                <a:gd name="connsiteX1520" fmla="*/ 117618 w 451321"/>
                <a:gd name="connsiteY1520" fmla="*/ 439644 h 611653"/>
                <a:gd name="connsiteX1521" fmla="*/ 118888 w 451321"/>
                <a:gd name="connsiteY1521" fmla="*/ 439765 h 611653"/>
                <a:gd name="connsiteX1522" fmla="*/ 120128 w 451321"/>
                <a:gd name="connsiteY1522" fmla="*/ 439614 h 611653"/>
                <a:gd name="connsiteX1523" fmla="*/ 121127 w 451321"/>
                <a:gd name="connsiteY1523" fmla="*/ 438918 h 611653"/>
                <a:gd name="connsiteX1524" fmla="*/ 122730 w 451321"/>
                <a:gd name="connsiteY1524" fmla="*/ 436891 h 611653"/>
                <a:gd name="connsiteX1525" fmla="*/ 123244 w 451321"/>
                <a:gd name="connsiteY1525" fmla="*/ 436468 h 611653"/>
                <a:gd name="connsiteX1526" fmla="*/ 132199 w 451321"/>
                <a:gd name="connsiteY1526" fmla="*/ 435530 h 611653"/>
                <a:gd name="connsiteX1527" fmla="*/ 134104 w 451321"/>
                <a:gd name="connsiteY1527" fmla="*/ 434592 h 611653"/>
                <a:gd name="connsiteX1528" fmla="*/ 143029 w 451321"/>
                <a:gd name="connsiteY1528" fmla="*/ 423460 h 611653"/>
                <a:gd name="connsiteX1529" fmla="*/ 146296 w 451321"/>
                <a:gd name="connsiteY1529" fmla="*/ 417742 h 611653"/>
                <a:gd name="connsiteX1530" fmla="*/ 146508 w 451321"/>
                <a:gd name="connsiteY1530" fmla="*/ 415776 h 611653"/>
                <a:gd name="connsiteX1531" fmla="*/ 148867 w 451321"/>
                <a:gd name="connsiteY1531" fmla="*/ 413749 h 611653"/>
                <a:gd name="connsiteX1532" fmla="*/ 152013 w 451321"/>
                <a:gd name="connsiteY1532" fmla="*/ 412176 h 611653"/>
                <a:gd name="connsiteX1533" fmla="*/ 154676 w 451321"/>
                <a:gd name="connsiteY1533" fmla="*/ 411510 h 611653"/>
                <a:gd name="connsiteX1534" fmla="*/ 153889 w 451321"/>
                <a:gd name="connsiteY1534" fmla="*/ 412387 h 611653"/>
                <a:gd name="connsiteX1535" fmla="*/ 152770 w 451321"/>
                <a:gd name="connsiteY1535" fmla="*/ 414354 h 611653"/>
                <a:gd name="connsiteX1536" fmla="*/ 151923 w 451321"/>
                <a:gd name="connsiteY1536" fmla="*/ 415594 h 611653"/>
                <a:gd name="connsiteX1537" fmla="*/ 153465 w 451321"/>
                <a:gd name="connsiteY1537" fmla="*/ 416169 h 611653"/>
                <a:gd name="connsiteX1538" fmla="*/ 153708 w 451321"/>
                <a:gd name="connsiteY1538" fmla="*/ 417772 h 611653"/>
                <a:gd name="connsiteX1539" fmla="*/ 153556 w 451321"/>
                <a:gd name="connsiteY1539" fmla="*/ 419587 h 611653"/>
                <a:gd name="connsiteX1540" fmla="*/ 153980 w 451321"/>
                <a:gd name="connsiteY1540" fmla="*/ 420919 h 611653"/>
                <a:gd name="connsiteX1541" fmla="*/ 153980 w 451321"/>
                <a:gd name="connsiteY1541" fmla="*/ 421977 h 611653"/>
                <a:gd name="connsiteX1542" fmla="*/ 152709 w 451321"/>
                <a:gd name="connsiteY1542" fmla="*/ 423036 h 611653"/>
                <a:gd name="connsiteX1543" fmla="*/ 152830 w 451321"/>
                <a:gd name="connsiteY1543" fmla="*/ 424004 h 611653"/>
                <a:gd name="connsiteX1544" fmla="*/ 153950 w 451321"/>
                <a:gd name="connsiteY1544" fmla="*/ 424730 h 611653"/>
                <a:gd name="connsiteX1545" fmla="*/ 155644 w 451321"/>
                <a:gd name="connsiteY1545" fmla="*/ 425002 h 611653"/>
                <a:gd name="connsiteX1546" fmla="*/ 162208 w 451321"/>
                <a:gd name="connsiteY1546" fmla="*/ 424034 h 611653"/>
                <a:gd name="connsiteX1547" fmla="*/ 165536 w 451321"/>
                <a:gd name="connsiteY1547" fmla="*/ 424670 h 611653"/>
                <a:gd name="connsiteX1548" fmla="*/ 172100 w 451321"/>
                <a:gd name="connsiteY1548" fmla="*/ 427090 h 611653"/>
                <a:gd name="connsiteX1549" fmla="*/ 173915 w 451321"/>
                <a:gd name="connsiteY1549" fmla="*/ 427090 h 611653"/>
                <a:gd name="connsiteX1550" fmla="*/ 170527 w 451321"/>
                <a:gd name="connsiteY1550" fmla="*/ 428179 h 611653"/>
                <a:gd name="connsiteX1551" fmla="*/ 152921 w 451321"/>
                <a:gd name="connsiteY1551" fmla="*/ 430266 h 611653"/>
                <a:gd name="connsiteX1552" fmla="*/ 151802 w 451321"/>
                <a:gd name="connsiteY1552" fmla="*/ 430841 h 611653"/>
                <a:gd name="connsiteX1553" fmla="*/ 150985 w 451321"/>
                <a:gd name="connsiteY1553" fmla="*/ 432142 h 611653"/>
                <a:gd name="connsiteX1554" fmla="*/ 150350 w 451321"/>
                <a:gd name="connsiteY1554" fmla="*/ 433533 h 611653"/>
                <a:gd name="connsiteX1555" fmla="*/ 149775 w 451321"/>
                <a:gd name="connsiteY1555" fmla="*/ 434380 h 611653"/>
                <a:gd name="connsiteX1556" fmla="*/ 148323 w 451321"/>
                <a:gd name="connsiteY1556" fmla="*/ 435016 h 611653"/>
                <a:gd name="connsiteX1557" fmla="*/ 146266 w 451321"/>
                <a:gd name="connsiteY1557" fmla="*/ 435379 h 611653"/>
                <a:gd name="connsiteX1558" fmla="*/ 144420 w 451321"/>
                <a:gd name="connsiteY1558" fmla="*/ 435016 h 611653"/>
                <a:gd name="connsiteX1559" fmla="*/ 143603 w 451321"/>
                <a:gd name="connsiteY1559" fmla="*/ 433352 h 611653"/>
                <a:gd name="connsiteX1560" fmla="*/ 141758 w 451321"/>
                <a:gd name="connsiteY1560" fmla="*/ 434501 h 611653"/>
                <a:gd name="connsiteX1561" fmla="*/ 129506 w 451321"/>
                <a:gd name="connsiteY1561" fmla="*/ 438101 h 611653"/>
                <a:gd name="connsiteX1562" fmla="*/ 128054 w 451321"/>
                <a:gd name="connsiteY1562" fmla="*/ 439039 h 611653"/>
                <a:gd name="connsiteX1563" fmla="*/ 126693 w 451321"/>
                <a:gd name="connsiteY1563" fmla="*/ 440370 h 611653"/>
                <a:gd name="connsiteX1564" fmla="*/ 125059 w 451321"/>
                <a:gd name="connsiteY1564" fmla="*/ 440975 h 611653"/>
                <a:gd name="connsiteX1565" fmla="*/ 121459 w 451321"/>
                <a:gd name="connsiteY1565" fmla="*/ 441641 h 611653"/>
                <a:gd name="connsiteX1566" fmla="*/ 115046 w 451321"/>
                <a:gd name="connsiteY1566" fmla="*/ 441520 h 611653"/>
                <a:gd name="connsiteX1567" fmla="*/ 113594 w 451321"/>
                <a:gd name="connsiteY1567" fmla="*/ 442155 h 611653"/>
                <a:gd name="connsiteX1568" fmla="*/ 112747 w 451321"/>
                <a:gd name="connsiteY1568" fmla="*/ 441913 h 611653"/>
                <a:gd name="connsiteX1569" fmla="*/ 112354 w 451321"/>
                <a:gd name="connsiteY1569" fmla="*/ 441913 h 611653"/>
                <a:gd name="connsiteX1570" fmla="*/ 104730 w 451321"/>
                <a:gd name="connsiteY1570" fmla="*/ 441641 h 611653"/>
                <a:gd name="connsiteX1571" fmla="*/ 103914 w 451321"/>
                <a:gd name="connsiteY1571" fmla="*/ 441762 h 611653"/>
                <a:gd name="connsiteX1572" fmla="*/ 103248 w 451321"/>
                <a:gd name="connsiteY1572" fmla="*/ 442246 h 611653"/>
                <a:gd name="connsiteX1573" fmla="*/ 102522 w 451321"/>
                <a:gd name="connsiteY1573" fmla="*/ 443244 h 611653"/>
                <a:gd name="connsiteX1574" fmla="*/ 101524 w 451321"/>
                <a:gd name="connsiteY1574" fmla="*/ 443970 h 611653"/>
                <a:gd name="connsiteX1575" fmla="*/ 100525 w 451321"/>
                <a:gd name="connsiteY1575" fmla="*/ 443668 h 611653"/>
                <a:gd name="connsiteX1576" fmla="*/ 99588 w 451321"/>
                <a:gd name="connsiteY1576" fmla="*/ 443002 h 611653"/>
                <a:gd name="connsiteX1577" fmla="*/ 98801 w 451321"/>
                <a:gd name="connsiteY1577" fmla="*/ 442669 h 611653"/>
                <a:gd name="connsiteX1578" fmla="*/ 90785 w 451321"/>
                <a:gd name="connsiteY1578" fmla="*/ 442669 h 611653"/>
                <a:gd name="connsiteX1579" fmla="*/ 86670 w 451321"/>
                <a:gd name="connsiteY1579" fmla="*/ 441641 h 611653"/>
                <a:gd name="connsiteX1580" fmla="*/ 85612 w 451321"/>
                <a:gd name="connsiteY1580" fmla="*/ 442004 h 611653"/>
                <a:gd name="connsiteX1581" fmla="*/ 84825 w 451321"/>
                <a:gd name="connsiteY1581" fmla="*/ 442730 h 611653"/>
                <a:gd name="connsiteX1582" fmla="*/ 84190 w 451321"/>
                <a:gd name="connsiteY1582" fmla="*/ 443153 h 611653"/>
                <a:gd name="connsiteX1583" fmla="*/ 83645 w 451321"/>
                <a:gd name="connsiteY1583" fmla="*/ 442699 h 611653"/>
                <a:gd name="connsiteX1584" fmla="*/ 81255 w 451321"/>
                <a:gd name="connsiteY1584" fmla="*/ 445362 h 611653"/>
                <a:gd name="connsiteX1585" fmla="*/ 80892 w 451321"/>
                <a:gd name="connsiteY1585" fmla="*/ 446451 h 611653"/>
                <a:gd name="connsiteX1586" fmla="*/ 81134 w 451321"/>
                <a:gd name="connsiteY1586" fmla="*/ 448266 h 611653"/>
                <a:gd name="connsiteX1587" fmla="*/ 80953 w 451321"/>
                <a:gd name="connsiteY1587" fmla="*/ 449143 h 611653"/>
                <a:gd name="connsiteX1588" fmla="*/ 80136 w 451321"/>
                <a:gd name="connsiteY1588" fmla="*/ 450051 h 611653"/>
                <a:gd name="connsiteX1589" fmla="*/ 80136 w 451321"/>
                <a:gd name="connsiteY1589" fmla="*/ 451079 h 611653"/>
                <a:gd name="connsiteX1590" fmla="*/ 80741 w 451321"/>
                <a:gd name="connsiteY1590" fmla="*/ 451835 h 611653"/>
                <a:gd name="connsiteX1591" fmla="*/ 80923 w 451321"/>
                <a:gd name="connsiteY1591" fmla="*/ 452652 h 611653"/>
                <a:gd name="connsiteX1592" fmla="*/ 80711 w 451321"/>
                <a:gd name="connsiteY1592" fmla="*/ 453439 h 611653"/>
                <a:gd name="connsiteX1593" fmla="*/ 80136 w 451321"/>
                <a:gd name="connsiteY1593" fmla="*/ 454195 h 611653"/>
                <a:gd name="connsiteX1594" fmla="*/ 81830 w 451321"/>
                <a:gd name="connsiteY1594" fmla="*/ 454013 h 611653"/>
                <a:gd name="connsiteX1595" fmla="*/ 83433 w 451321"/>
                <a:gd name="connsiteY1595" fmla="*/ 454316 h 611653"/>
                <a:gd name="connsiteX1596" fmla="*/ 84613 w 451321"/>
                <a:gd name="connsiteY1596" fmla="*/ 455345 h 611653"/>
                <a:gd name="connsiteX1597" fmla="*/ 85037 w 451321"/>
                <a:gd name="connsiteY1597" fmla="*/ 457402 h 611653"/>
                <a:gd name="connsiteX1598" fmla="*/ 83343 w 451321"/>
                <a:gd name="connsiteY1598" fmla="*/ 456585 h 611653"/>
                <a:gd name="connsiteX1599" fmla="*/ 80711 w 451321"/>
                <a:gd name="connsiteY1599" fmla="*/ 455950 h 611653"/>
                <a:gd name="connsiteX1600" fmla="*/ 78079 w 451321"/>
                <a:gd name="connsiteY1600" fmla="*/ 455889 h 611653"/>
                <a:gd name="connsiteX1601" fmla="*/ 76355 w 451321"/>
                <a:gd name="connsiteY1601" fmla="*/ 456857 h 611653"/>
                <a:gd name="connsiteX1602" fmla="*/ 74842 w 451321"/>
                <a:gd name="connsiteY1602" fmla="*/ 458944 h 611653"/>
                <a:gd name="connsiteX1603" fmla="*/ 73511 w 451321"/>
                <a:gd name="connsiteY1603" fmla="*/ 460003 h 611653"/>
                <a:gd name="connsiteX1604" fmla="*/ 63498 w 451321"/>
                <a:gd name="connsiteY1604" fmla="*/ 464299 h 611653"/>
                <a:gd name="connsiteX1605" fmla="*/ 56691 w 451321"/>
                <a:gd name="connsiteY1605" fmla="*/ 464723 h 611653"/>
                <a:gd name="connsiteX1606" fmla="*/ 54785 w 451321"/>
                <a:gd name="connsiteY1606" fmla="*/ 465327 h 611653"/>
                <a:gd name="connsiteX1607" fmla="*/ 53273 w 451321"/>
                <a:gd name="connsiteY1607" fmla="*/ 466780 h 611653"/>
                <a:gd name="connsiteX1608" fmla="*/ 55088 w 451321"/>
                <a:gd name="connsiteY1608" fmla="*/ 468625 h 611653"/>
                <a:gd name="connsiteX1609" fmla="*/ 57901 w 451321"/>
                <a:gd name="connsiteY1609" fmla="*/ 469865 h 611653"/>
                <a:gd name="connsiteX1610" fmla="*/ 63225 w 451321"/>
                <a:gd name="connsiteY1610" fmla="*/ 470803 h 611653"/>
                <a:gd name="connsiteX1611" fmla="*/ 64889 w 451321"/>
                <a:gd name="connsiteY1611" fmla="*/ 472346 h 611653"/>
                <a:gd name="connsiteX1612" fmla="*/ 64556 w 451321"/>
                <a:gd name="connsiteY1612" fmla="*/ 479727 h 611653"/>
                <a:gd name="connsiteX1613" fmla="*/ 65676 w 451321"/>
                <a:gd name="connsiteY1613" fmla="*/ 482238 h 611653"/>
                <a:gd name="connsiteX1614" fmla="*/ 63104 w 451321"/>
                <a:gd name="connsiteY1614" fmla="*/ 483146 h 611653"/>
                <a:gd name="connsiteX1615" fmla="*/ 62106 w 451321"/>
                <a:gd name="connsiteY1615" fmla="*/ 483146 h 611653"/>
                <a:gd name="connsiteX1616" fmla="*/ 62106 w 451321"/>
                <a:gd name="connsiteY1616" fmla="*/ 484295 h 611653"/>
                <a:gd name="connsiteX1617" fmla="*/ 62953 w 451321"/>
                <a:gd name="connsiteY1617" fmla="*/ 484386 h 611653"/>
                <a:gd name="connsiteX1618" fmla="*/ 63619 w 451321"/>
                <a:gd name="connsiteY1618" fmla="*/ 484628 h 611653"/>
                <a:gd name="connsiteX1619" fmla="*/ 64919 w 451321"/>
                <a:gd name="connsiteY1619" fmla="*/ 485324 h 611653"/>
                <a:gd name="connsiteX1620" fmla="*/ 63377 w 451321"/>
                <a:gd name="connsiteY1620" fmla="*/ 485989 h 611653"/>
                <a:gd name="connsiteX1621" fmla="*/ 62318 w 451321"/>
                <a:gd name="connsiteY1621" fmla="*/ 485989 h 611653"/>
                <a:gd name="connsiteX1622" fmla="*/ 61380 w 451321"/>
                <a:gd name="connsiteY1622" fmla="*/ 485384 h 611653"/>
                <a:gd name="connsiteX1623" fmla="*/ 60170 w 451321"/>
                <a:gd name="connsiteY1623" fmla="*/ 484295 h 611653"/>
                <a:gd name="connsiteX1624" fmla="*/ 60412 w 451321"/>
                <a:gd name="connsiteY1624" fmla="*/ 485687 h 611653"/>
                <a:gd name="connsiteX1625" fmla="*/ 60805 w 451321"/>
                <a:gd name="connsiteY1625" fmla="*/ 486836 h 611653"/>
                <a:gd name="connsiteX1626" fmla="*/ 61350 w 451321"/>
                <a:gd name="connsiteY1626" fmla="*/ 487774 h 611653"/>
                <a:gd name="connsiteX1627" fmla="*/ 62106 w 451321"/>
                <a:gd name="connsiteY1627" fmla="*/ 488530 h 611653"/>
                <a:gd name="connsiteX1628" fmla="*/ 63619 w 451321"/>
                <a:gd name="connsiteY1628" fmla="*/ 487502 h 611653"/>
                <a:gd name="connsiteX1629" fmla="*/ 65131 w 451321"/>
                <a:gd name="connsiteY1629" fmla="*/ 487835 h 611653"/>
                <a:gd name="connsiteX1630" fmla="*/ 68429 w 451321"/>
                <a:gd name="connsiteY1630" fmla="*/ 489559 h 611653"/>
                <a:gd name="connsiteX1631" fmla="*/ 71605 w 451321"/>
                <a:gd name="connsiteY1631" fmla="*/ 489559 h 611653"/>
                <a:gd name="connsiteX1632" fmla="*/ 73027 w 451321"/>
                <a:gd name="connsiteY1632" fmla="*/ 490013 h 611653"/>
                <a:gd name="connsiteX1633" fmla="*/ 74630 w 451321"/>
                <a:gd name="connsiteY1633" fmla="*/ 491525 h 611653"/>
                <a:gd name="connsiteX1634" fmla="*/ 67340 w 451321"/>
                <a:gd name="connsiteY1634" fmla="*/ 492433 h 611653"/>
                <a:gd name="connsiteX1635" fmla="*/ 65676 w 451321"/>
                <a:gd name="connsiteY1635" fmla="*/ 491525 h 611653"/>
                <a:gd name="connsiteX1636" fmla="*/ 66311 w 451321"/>
                <a:gd name="connsiteY1636" fmla="*/ 490981 h 611653"/>
                <a:gd name="connsiteX1637" fmla="*/ 67007 w 451321"/>
                <a:gd name="connsiteY1637" fmla="*/ 490527 h 611653"/>
                <a:gd name="connsiteX1638" fmla="*/ 65767 w 451321"/>
                <a:gd name="connsiteY1638" fmla="*/ 490043 h 611653"/>
                <a:gd name="connsiteX1639" fmla="*/ 64587 w 451321"/>
                <a:gd name="connsiteY1639" fmla="*/ 490648 h 611653"/>
                <a:gd name="connsiteX1640" fmla="*/ 62499 w 451321"/>
                <a:gd name="connsiteY1640" fmla="*/ 493129 h 611653"/>
                <a:gd name="connsiteX1641" fmla="*/ 61078 w 451321"/>
                <a:gd name="connsiteY1641" fmla="*/ 493885 h 611653"/>
                <a:gd name="connsiteX1642" fmla="*/ 56903 w 451321"/>
                <a:gd name="connsiteY1642" fmla="*/ 493824 h 611653"/>
                <a:gd name="connsiteX1643" fmla="*/ 53515 w 451321"/>
                <a:gd name="connsiteY1643" fmla="*/ 493129 h 611653"/>
                <a:gd name="connsiteX1644" fmla="*/ 50429 w 451321"/>
                <a:gd name="connsiteY1644" fmla="*/ 491828 h 611653"/>
                <a:gd name="connsiteX1645" fmla="*/ 48796 w 451321"/>
                <a:gd name="connsiteY1645" fmla="*/ 491556 h 611653"/>
                <a:gd name="connsiteX1646" fmla="*/ 47343 w 451321"/>
                <a:gd name="connsiteY1646" fmla="*/ 490769 h 611653"/>
                <a:gd name="connsiteX1647" fmla="*/ 46950 w 451321"/>
                <a:gd name="connsiteY1647" fmla="*/ 488893 h 611653"/>
                <a:gd name="connsiteX1648" fmla="*/ 46859 w 451321"/>
                <a:gd name="connsiteY1648" fmla="*/ 486534 h 611653"/>
                <a:gd name="connsiteX1649" fmla="*/ 46375 w 451321"/>
                <a:gd name="connsiteY1649" fmla="*/ 484356 h 611653"/>
                <a:gd name="connsiteX1650" fmla="*/ 46859 w 451321"/>
                <a:gd name="connsiteY1650" fmla="*/ 482783 h 611653"/>
                <a:gd name="connsiteX1651" fmla="*/ 45740 w 451321"/>
                <a:gd name="connsiteY1651" fmla="*/ 482208 h 611653"/>
                <a:gd name="connsiteX1652" fmla="*/ 42201 w 451321"/>
                <a:gd name="connsiteY1652" fmla="*/ 482269 h 611653"/>
                <a:gd name="connsiteX1653" fmla="*/ 44591 w 451321"/>
                <a:gd name="connsiteY1653" fmla="*/ 485203 h 611653"/>
                <a:gd name="connsiteX1654" fmla="*/ 43683 w 451321"/>
                <a:gd name="connsiteY1654" fmla="*/ 488379 h 611653"/>
                <a:gd name="connsiteX1655" fmla="*/ 41021 w 451321"/>
                <a:gd name="connsiteY1655" fmla="*/ 491102 h 611653"/>
                <a:gd name="connsiteX1656" fmla="*/ 38056 w 451321"/>
                <a:gd name="connsiteY1656" fmla="*/ 492705 h 611653"/>
                <a:gd name="connsiteX1657" fmla="*/ 31461 w 451321"/>
                <a:gd name="connsiteY1657" fmla="*/ 493643 h 611653"/>
                <a:gd name="connsiteX1658" fmla="*/ 31250 w 451321"/>
                <a:gd name="connsiteY1658" fmla="*/ 492705 h 611653"/>
                <a:gd name="connsiteX1659" fmla="*/ 32460 w 451321"/>
                <a:gd name="connsiteY1659" fmla="*/ 486988 h 611653"/>
                <a:gd name="connsiteX1660" fmla="*/ 30856 w 451321"/>
                <a:gd name="connsiteY1660" fmla="*/ 485747 h 611653"/>
                <a:gd name="connsiteX1661" fmla="*/ 20389 w 451321"/>
                <a:gd name="connsiteY1661" fmla="*/ 488591 h 611653"/>
                <a:gd name="connsiteX1662" fmla="*/ 19270 w 451321"/>
                <a:gd name="connsiteY1662" fmla="*/ 489256 h 611653"/>
                <a:gd name="connsiteX1663" fmla="*/ 17062 w 451321"/>
                <a:gd name="connsiteY1663" fmla="*/ 492523 h 611653"/>
                <a:gd name="connsiteX1664" fmla="*/ 15912 w 451321"/>
                <a:gd name="connsiteY1664" fmla="*/ 493643 h 611653"/>
                <a:gd name="connsiteX1665" fmla="*/ 13976 w 451321"/>
                <a:gd name="connsiteY1665" fmla="*/ 494036 h 611653"/>
                <a:gd name="connsiteX1666" fmla="*/ 12464 w 451321"/>
                <a:gd name="connsiteY1666" fmla="*/ 493976 h 611653"/>
                <a:gd name="connsiteX1667" fmla="*/ 11284 w 451321"/>
                <a:gd name="connsiteY1667" fmla="*/ 494581 h 611653"/>
                <a:gd name="connsiteX1668" fmla="*/ 10346 w 451321"/>
                <a:gd name="connsiteY1668" fmla="*/ 496910 h 611653"/>
                <a:gd name="connsiteX1669" fmla="*/ 10770 w 451321"/>
                <a:gd name="connsiteY1669" fmla="*/ 497091 h 611653"/>
                <a:gd name="connsiteX1670" fmla="*/ 11798 w 451321"/>
                <a:gd name="connsiteY1670" fmla="*/ 497848 h 611653"/>
                <a:gd name="connsiteX1671" fmla="*/ 10618 w 451321"/>
                <a:gd name="connsiteY1671" fmla="*/ 499179 h 611653"/>
                <a:gd name="connsiteX1672" fmla="*/ 10679 w 451321"/>
                <a:gd name="connsiteY1672" fmla="*/ 500268 h 611653"/>
                <a:gd name="connsiteX1673" fmla="*/ 11012 w 451321"/>
                <a:gd name="connsiteY1673" fmla="*/ 501327 h 611653"/>
                <a:gd name="connsiteX1674" fmla="*/ 10709 w 451321"/>
                <a:gd name="connsiteY1674" fmla="*/ 502537 h 611653"/>
                <a:gd name="connsiteX1675" fmla="*/ 9711 w 451321"/>
                <a:gd name="connsiteY1675" fmla="*/ 503082 h 611653"/>
                <a:gd name="connsiteX1676" fmla="*/ 8440 w 451321"/>
                <a:gd name="connsiteY1676" fmla="*/ 502658 h 611653"/>
                <a:gd name="connsiteX1677" fmla="*/ 6202 w 451321"/>
                <a:gd name="connsiteY1677" fmla="*/ 500933 h 611653"/>
                <a:gd name="connsiteX1678" fmla="*/ 6958 w 451321"/>
                <a:gd name="connsiteY1678" fmla="*/ 498907 h 611653"/>
                <a:gd name="connsiteX1679" fmla="*/ 5052 w 451321"/>
                <a:gd name="connsiteY1679" fmla="*/ 499421 h 611653"/>
                <a:gd name="connsiteX1680" fmla="*/ 2874 w 451321"/>
                <a:gd name="connsiteY1680" fmla="*/ 500540 h 611653"/>
                <a:gd name="connsiteX1681" fmla="*/ 1694 w 451321"/>
                <a:gd name="connsiteY1681" fmla="*/ 501902 h 611653"/>
                <a:gd name="connsiteX1682" fmla="*/ 2753 w 451321"/>
                <a:gd name="connsiteY1682" fmla="*/ 503111 h 611653"/>
                <a:gd name="connsiteX1683" fmla="*/ 2753 w 451321"/>
                <a:gd name="connsiteY1683" fmla="*/ 504049 h 611653"/>
                <a:gd name="connsiteX1684" fmla="*/ 877 w 451321"/>
                <a:gd name="connsiteY1684" fmla="*/ 505623 h 611653"/>
                <a:gd name="connsiteX1685" fmla="*/ 0 w 451321"/>
                <a:gd name="connsiteY1685" fmla="*/ 506107 h 611653"/>
                <a:gd name="connsiteX1686" fmla="*/ 877 w 451321"/>
                <a:gd name="connsiteY1686" fmla="*/ 509102 h 611653"/>
                <a:gd name="connsiteX1687" fmla="*/ 1059 w 451321"/>
                <a:gd name="connsiteY1687" fmla="*/ 511643 h 611653"/>
                <a:gd name="connsiteX1688" fmla="*/ 1754 w 451321"/>
                <a:gd name="connsiteY1688" fmla="*/ 513458 h 611653"/>
                <a:gd name="connsiteX1689" fmla="*/ 4175 w 451321"/>
                <a:gd name="connsiteY1689" fmla="*/ 514305 h 611653"/>
                <a:gd name="connsiteX1690" fmla="*/ 6322 w 451321"/>
                <a:gd name="connsiteY1690" fmla="*/ 513972 h 611653"/>
                <a:gd name="connsiteX1691" fmla="*/ 10285 w 451321"/>
                <a:gd name="connsiteY1691" fmla="*/ 512247 h 611653"/>
                <a:gd name="connsiteX1692" fmla="*/ 12464 w 451321"/>
                <a:gd name="connsiteY1692" fmla="*/ 512157 h 611653"/>
                <a:gd name="connsiteX1693" fmla="*/ 11435 w 451321"/>
                <a:gd name="connsiteY1693" fmla="*/ 511673 h 611653"/>
                <a:gd name="connsiteX1694" fmla="*/ 11133 w 451321"/>
                <a:gd name="connsiteY1694" fmla="*/ 511189 h 611653"/>
                <a:gd name="connsiteX1695" fmla="*/ 11042 w 451321"/>
                <a:gd name="connsiteY1695" fmla="*/ 510191 h 611653"/>
                <a:gd name="connsiteX1696" fmla="*/ 13401 w 451321"/>
                <a:gd name="connsiteY1696" fmla="*/ 510191 h 611653"/>
                <a:gd name="connsiteX1697" fmla="*/ 18181 w 451321"/>
                <a:gd name="connsiteY1697" fmla="*/ 511733 h 611653"/>
                <a:gd name="connsiteX1698" fmla="*/ 20722 w 451321"/>
                <a:gd name="connsiteY1698" fmla="*/ 512127 h 611653"/>
                <a:gd name="connsiteX1699" fmla="*/ 20722 w 451321"/>
                <a:gd name="connsiteY1699" fmla="*/ 511189 h 611653"/>
                <a:gd name="connsiteX1700" fmla="*/ 19058 w 451321"/>
                <a:gd name="connsiteY1700" fmla="*/ 510402 h 611653"/>
                <a:gd name="connsiteX1701" fmla="*/ 18211 w 451321"/>
                <a:gd name="connsiteY1701" fmla="*/ 510160 h 611653"/>
                <a:gd name="connsiteX1702" fmla="*/ 17213 w 451321"/>
                <a:gd name="connsiteY1702" fmla="*/ 510160 h 611653"/>
                <a:gd name="connsiteX1703" fmla="*/ 17213 w 451321"/>
                <a:gd name="connsiteY1703" fmla="*/ 509222 h 611653"/>
                <a:gd name="connsiteX1704" fmla="*/ 20026 w 451321"/>
                <a:gd name="connsiteY1704" fmla="*/ 508405 h 611653"/>
                <a:gd name="connsiteX1705" fmla="*/ 21146 w 451321"/>
                <a:gd name="connsiteY1705" fmla="*/ 508496 h 611653"/>
                <a:gd name="connsiteX1706" fmla="*/ 23717 w 451321"/>
                <a:gd name="connsiteY1706" fmla="*/ 510917 h 611653"/>
                <a:gd name="connsiteX1707" fmla="*/ 24473 w 451321"/>
                <a:gd name="connsiteY1707" fmla="*/ 510523 h 611653"/>
                <a:gd name="connsiteX1708" fmla="*/ 25139 w 451321"/>
                <a:gd name="connsiteY1708" fmla="*/ 509616 h 611653"/>
                <a:gd name="connsiteX1709" fmla="*/ 26198 w 451321"/>
                <a:gd name="connsiteY1709" fmla="*/ 509222 h 611653"/>
                <a:gd name="connsiteX1710" fmla="*/ 27257 w 451321"/>
                <a:gd name="connsiteY1710" fmla="*/ 510100 h 611653"/>
                <a:gd name="connsiteX1711" fmla="*/ 28255 w 451321"/>
                <a:gd name="connsiteY1711" fmla="*/ 511552 h 611653"/>
                <a:gd name="connsiteX1712" fmla="*/ 29344 w 451321"/>
                <a:gd name="connsiteY1712" fmla="*/ 512459 h 611653"/>
                <a:gd name="connsiteX1713" fmla="*/ 31734 w 451321"/>
                <a:gd name="connsiteY1713" fmla="*/ 511068 h 611653"/>
                <a:gd name="connsiteX1714" fmla="*/ 45256 w 451321"/>
                <a:gd name="connsiteY1714" fmla="*/ 507922 h 611653"/>
                <a:gd name="connsiteX1715" fmla="*/ 48311 w 451321"/>
                <a:gd name="connsiteY1715" fmla="*/ 508103 h 611653"/>
                <a:gd name="connsiteX1716" fmla="*/ 49764 w 451321"/>
                <a:gd name="connsiteY1716" fmla="*/ 508496 h 611653"/>
                <a:gd name="connsiteX1717" fmla="*/ 51095 w 451321"/>
                <a:gd name="connsiteY1717" fmla="*/ 509132 h 611653"/>
                <a:gd name="connsiteX1718" fmla="*/ 52063 w 451321"/>
                <a:gd name="connsiteY1718" fmla="*/ 510130 h 611653"/>
                <a:gd name="connsiteX1719" fmla="*/ 52668 w 451321"/>
                <a:gd name="connsiteY1719" fmla="*/ 512550 h 611653"/>
                <a:gd name="connsiteX1720" fmla="*/ 53122 w 451321"/>
                <a:gd name="connsiteY1720" fmla="*/ 511884 h 611653"/>
                <a:gd name="connsiteX1721" fmla="*/ 53757 w 451321"/>
                <a:gd name="connsiteY1721" fmla="*/ 510160 h 611653"/>
                <a:gd name="connsiteX1722" fmla="*/ 52426 w 451321"/>
                <a:gd name="connsiteY1722" fmla="*/ 507075 h 611653"/>
                <a:gd name="connsiteX1723" fmla="*/ 72422 w 451321"/>
                <a:gd name="connsiteY1723" fmla="*/ 506046 h 611653"/>
                <a:gd name="connsiteX1724" fmla="*/ 68913 w 451321"/>
                <a:gd name="connsiteY1724" fmla="*/ 508103 h 611653"/>
                <a:gd name="connsiteX1725" fmla="*/ 69457 w 451321"/>
                <a:gd name="connsiteY1725" fmla="*/ 508557 h 611653"/>
                <a:gd name="connsiteX1726" fmla="*/ 70335 w 451321"/>
                <a:gd name="connsiteY1726" fmla="*/ 509585 h 611653"/>
                <a:gd name="connsiteX1727" fmla="*/ 71061 w 451321"/>
                <a:gd name="connsiteY1727" fmla="*/ 510160 h 611653"/>
                <a:gd name="connsiteX1728" fmla="*/ 63588 w 451321"/>
                <a:gd name="connsiteY1728" fmla="*/ 511098 h 611653"/>
                <a:gd name="connsiteX1729" fmla="*/ 60442 w 451321"/>
                <a:gd name="connsiteY1729" fmla="*/ 510947 h 611653"/>
                <a:gd name="connsiteX1730" fmla="*/ 57327 w 451321"/>
                <a:gd name="connsiteY1730" fmla="*/ 509222 h 611653"/>
                <a:gd name="connsiteX1731" fmla="*/ 55209 w 451321"/>
                <a:gd name="connsiteY1731" fmla="*/ 518116 h 611653"/>
                <a:gd name="connsiteX1732" fmla="*/ 55542 w 451321"/>
                <a:gd name="connsiteY1732" fmla="*/ 519508 h 611653"/>
                <a:gd name="connsiteX1733" fmla="*/ 54120 w 451321"/>
                <a:gd name="connsiteY1733" fmla="*/ 519568 h 611653"/>
                <a:gd name="connsiteX1734" fmla="*/ 52728 w 451321"/>
                <a:gd name="connsiteY1734" fmla="*/ 519296 h 611653"/>
                <a:gd name="connsiteX1735" fmla="*/ 51790 w 451321"/>
                <a:gd name="connsiteY1735" fmla="*/ 518116 h 611653"/>
                <a:gd name="connsiteX1736" fmla="*/ 51790 w 451321"/>
                <a:gd name="connsiteY1736" fmla="*/ 515424 h 611653"/>
                <a:gd name="connsiteX1737" fmla="*/ 51064 w 451321"/>
                <a:gd name="connsiteY1737" fmla="*/ 515424 h 611653"/>
                <a:gd name="connsiteX1738" fmla="*/ 48886 w 451321"/>
                <a:gd name="connsiteY1738" fmla="*/ 520536 h 611653"/>
                <a:gd name="connsiteX1739" fmla="*/ 44802 w 451321"/>
                <a:gd name="connsiteY1739" fmla="*/ 522775 h 611653"/>
                <a:gd name="connsiteX1740" fmla="*/ 35273 w 451321"/>
                <a:gd name="connsiteY1740" fmla="*/ 524681 h 611653"/>
                <a:gd name="connsiteX1741" fmla="*/ 28860 w 451321"/>
                <a:gd name="connsiteY1741" fmla="*/ 527464 h 611653"/>
                <a:gd name="connsiteX1742" fmla="*/ 26289 w 451321"/>
                <a:gd name="connsiteY1742" fmla="*/ 529098 h 611653"/>
                <a:gd name="connsiteX1743" fmla="*/ 23475 w 451321"/>
                <a:gd name="connsiteY1743" fmla="*/ 529672 h 611653"/>
                <a:gd name="connsiteX1744" fmla="*/ 21388 w 451321"/>
                <a:gd name="connsiteY1744" fmla="*/ 530671 h 611653"/>
                <a:gd name="connsiteX1745" fmla="*/ 22174 w 451321"/>
                <a:gd name="connsiteY1745" fmla="*/ 532849 h 611653"/>
                <a:gd name="connsiteX1746" fmla="*/ 20964 w 451321"/>
                <a:gd name="connsiteY1746" fmla="*/ 533484 h 611653"/>
                <a:gd name="connsiteX1747" fmla="*/ 18484 w 451321"/>
                <a:gd name="connsiteY1747" fmla="*/ 534301 h 611653"/>
                <a:gd name="connsiteX1748" fmla="*/ 17334 w 451321"/>
                <a:gd name="connsiteY1748" fmla="*/ 534997 h 611653"/>
                <a:gd name="connsiteX1749" fmla="*/ 17334 w 451321"/>
                <a:gd name="connsiteY1749" fmla="*/ 535935 h 611653"/>
                <a:gd name="connsiteX1750" fmla="*/ 19210 w 451321"/>
                <a:gd name="connsiteY1750" fmla="*/ 536176 h 611653"/>
                <a:gd name="connsiteX1751" fmla="*/ 20238 w 451321"/>
                <a:gd name="connsiteY1751" fmla="*/ 537659 h 611653"/>
                <a:gd name="connsiteX1752" fmla="*/ 21115 w 451321"/>
                <a:gd name="connsiteY1752" fmla="*/ 539323 h 611653"/>
                <a:gd name="connsiteX1753" fmla="*/ 22537 w 451321"/>
                <a:gd name="connsiteY1753" fmla="*/ 540109 h 611653"/>
                <a:gd name="connsiteX1754" fmla="*/ 22870 w 451321"/>
                <a:gd name="connsiteY1754" fmla="*/ 540593 h 611653"/>
                <a:gd name="connsiteX1755" fmla="*/ 22930 w 451321"/>
                <a:gd name="connsiteY1755" fmla="*/ 541622 h 611653"/>
                <a:gd name="connsiteX1756" fmla="*/ 22598 w 451321"/>
                <a:gd name="connsiteY1756" fmla="*/ 542650 h 611653"/>
                <a:gd name="connsiteX1757" fmla="*/ 21781 w 451321"/>
                <a:gd name="connsiteY1757" fmla="*/ 543134 h 611653"/>
                <a:gd name="connsiteX1758" fmla="*/ 20026 w 451321"/>
                <a:gd name="connsiteY1758" fmla="*/ 543134 h 611653"/>
                <a:gd name="connsiteX1759" fmla="*/ 11677 w 451321"/>
                <a:gd name="connsiteY1759" fmla="*/ 545887 h 611653"/>
                <a:gd name="connsiteX1760" fmla="*/ 8349 w 451321"/>
                <a:gd name="connsiteY1760" fmla="*/ 546280 h 611653"/>
                <a:gd name="connsiteX1761" fmla="*/ 8349 w 451321"/>
                <a:gd name="connsiteY1761" fmla="*/ 547309 h 611653"/>
                <a:gd name="connsiteX1762" fmla="*/ 8682 w 451321"/>
                <a:gd name="connsiteY1762" fmla="*/ 547309 h 611653"/>
                <a:gd name="connsiteX1763" fmla="*/ 9378 w 451321"/>
                <a:gd name="connsiteY1763" fmla="*/ 547249 h 611653"/>
                <a:gd name="connsiteX1764" fmla="*/ 9711 w 451321"/>
                <a:gd name="connsiteY1764" fmla="*/ 547309 h 611653"/>
                <a:gd name="connsiteX1765" fmla="*/ 9620 w 451321"/>
                <a:gd name="connsiteY1765" fmla="*/ 548035 h 611653"/>
                <a:gd name="connsiteX1766" fmla="*/ 9438 w 451321"/>
                <a:gd name="connsiteY1766" fmla="*/ 548428 h 611653"/>
                <a:gd name="connsiteX1767" fmla="*/ 9227 w 451321"/>
                <a:gd name="connsiteY1767" fmla="*/ 548791 h 611653"/>
                <a:gd name="connsiteX1768" fmla="*/ 9015 w 451321"/>
                <a:gd name="connsiteY1768" fmla="*/ 549336 h 611653"/>
                <a:gd name="connsiteX1769" fmla="*/ 9166 w 451321"/>
                <a:gd name="connsiteY1769" fmla="*/ 549427 h 611653"/>
                <a:gd name="connsiteX1770" fmla="*/ 9408 w 451321"/>
                <a:gd name="connsiteY1770" fmla="*/ 549427 h 611653"/>
                <a:gd name="connsiteX1771" fmla="*/ 9650 w 451321"/>
                <a:gd name="connsiteY1771" fmla="*/ 549638 h 611653"/>
                <a:gd name="connsiteX1772" fmla="*/ 9711 w 451321"/>
                <a:gd name="connsiteY1772" fmla="*/ 550364 h 611653"/>
                <a:gd name="connsiteX1773" fmla="*/ 9015 w 451321"/>
                <a:gd name="connsiteY1773" fmla="*/ 551998 h 611653"/>
                <a:gd name="connsiteX1774" fmla="*/ 10316 w 451321"/>
                <a:gd name="connsiteY1774" fmla="*/ 552270 h 611653"/>
                <a:gd name="connsiteX1775" fmla="*/ 12342 w 451321"/>
                <a:gd name="connsiteY1775" fmla="*/ 552089 h 611653"/>
                <a:gd name="connsiteX1776" fmla="*/ 13825 w 451321"/>
                <a:gd name="connsiteY1776" fmla="*/ 552391 h 611653"/>
                <a:gd name="connsiteX1777" fmla="*/ 14460 w 451321"/>
                <a:gd name="connsiteY1777" fmla="*/ 554388 h 611653"/>
                <a:gd name="connsiteX1778" fmla="*/ 13280 w 451321"/>
                <a:gd name="connsiteY1778" fmla="*/ 558744 h 611653"/>
                <a:gd name="connsiteX1779" fmla="*/ 13825 w 451321"/>
                <a:gd name="connsiteY1779" fmla="*/ 560650 h 611653"/>
                <a:gd name="connsiteX1780" fmla="*/ 15368 w 451321"/>
                <a:gd name="connsiteY1780" fmla="*/ 559773 h 611653"/>
                <a:gd name="connsiteX1781" fmla="*/ 18484 w 451321"/>
                <a:gd name="connsiteY1781" fmla="*/ 557050 h 611653"/>
                <a:gd name="connsiteX1782" fmla="*/ 19694 w 451321"/>
                <a:gd name="connsiteY1782" fmla="*/ 556475 h 611653"/>
                <a:gd name="connsiteX1783" fmla="*/ 20843 w 451321"/>
                <a:gd name="connsiteY1783" fmla="*/ 555658 h 611653"/>
                <a:gd name="connsiteX1784" fmla="*/ 23384 w 451321"/>
                <a:gd name="connsiteY1784" fmla="*/ 552089 h 611653"/>
                <a:gd name="connsiteX1785" fmla="*/ 24534 w 451321"/>
                <a:gd name="connsiteY1785" fmla="*/ 551272 h 611653"/>
                <a:gd name="connsiteX1786" fmla="*/ 28588 w 451321"/>
                <a:gd name="connsiteY1786" fmla="*/ 553057 h 611653"/>
                <a:gd name="connsiteX1787" fmla="*/ 30312 w 451321"/>
                <a:gd name="connsiteY1787" fmla="*/ 556838 h 611653"/>
                <a:gd name="connsiteX1788" fmla="*/ 29404 w 451321"/>
                <a:gd name="connsiteY1788" fmla="*/ 560438 h 611653"/>
                <a:gd name="connsiteX1789" fmla="*/ 25562 w 451321"/>
                <a:gd name="connsiteY1789" fmla="*/ 561557 h 611653"/>
                <a:gd name="connsiteX1790" fmla="*/ 35092 w 451321"/>
                <a:gd name="connsiteY1790" fmla="*/ 565702 h 611653"/>
                <a:gd name="connsiteX1791" fmla="*/ 34487 w 451321"/>
                <a:gd name="connsiteY1791" fmla="*/ 567668 h 611653"/>
                <a:gd name="connsiteX1792" fmla="*/ 36937 w 451321"/>
                <a:gd name="connsiteY1792" fmla="*/ 566942 h 611653"/>
                <a:gd name="connsiteX1793" fmla="*/ 39629 w 451321"/>
                <a:gd name="connsiteY1793" fmla="*/ 565460 h 611653"/>
                <a:gd name="connsiteX1794" fmla="*/ 42140 w 451321"/>
                <a:gd name="connsiteY1794" fmla="*/ 563554 h 611653"/>
                <a:gd name="connsiteX1795" fmla="*/ 44167 w 451321"/>
                <a:gd name="connsiteY1795" fmla="*/ 561557 h 611653"/>
                <a:gd name="connsiteX1796" fmla="*/ 46436 w 451321"/>
                <a:gd name="connsiteY1796" fmla="*/ 562677 h 611653"/>
                <a:gd name="connsiteX1797" fmla="*/ 48765 w 451321"/>
                <a:gd name="connsiteY1797" fmla="*/ 561739 h 611653"/>
                <a:gd name="connsiteX1798" fmla="*/ 53152 w 451321"/>
                <a:gd name="connsiteY1798" fmla="*/ 558502 h 611653"/>
                <a:gd name="connsiteX1799" fmla="*/ 54331 w 451321"/>
                <a:gd name="connsiteY1799" fmla="*/ 558139 h 611653"/>
                <a:gd name="connsiteX1800" fmla="*/ 56752 w 451321"/>
                <a:gd name="connsiteY1800" fmla="*/ 557806 h 611653"/>
                <a:gd name="connsiteX1801" fmla="*/ 57962 w 451321"/>
                <a:gd name="connsiteY1801" fmla="*/ 557413 h 611653"/>
                <a:gd name="connsiteX1802" fmla="*/ 58567 w 451321"/>
                <a:gd name="connsiteY1802" fmla="*/ 556808 h 611653"/>
                <a:gd name="connsiteX1803" fmla="*/ 59142 w 451321"/>
                <a:gd name="connsiteY1803" fmla="*/ 555991 h 611653"/>
                <a:gd name="connsiteX1804" fmla="*/ 59988 w 451321"/>
                <a:gd name="connsiteY1804" fmla="*/ 555386 h 611653"/>
                <a:gd name="connsiteX1805" fmla="*/ 61410 w 451321"/>
                <a:gd name="connsiteY1805" fmla="*/ 555386 h 611653"/>
                <a:gd name="connsiteX1806" fmla="*/ 61199 w 451321"/>
                <a:gd name="connsiteY1806" fmla="*/ 556142 h 611653"/>
                <a:gd name="connsiteX1807" fmla="*/ 60926 w 451321"/>
                <a:gd name="connsiteY1807" fmla="*/ 557837 h 611653"/>
                <a:gd name="connsiteX1808" fmla="*/ 60715 w 451321"/>
                <a:gd name="connsiteY1808" fmla="*/ 558532 h 611653"/>
                <a:gd name="connsiteX1809" fmla="*/ 61834 w 451321"/>
                <a:gd name="connsiteY1809" fmla="*/ 558290 h 611653"/>
                <a:gd name="connsiteX1810" fmla="*/ 64859 w 451321"/>
                <a:gd name="connsiteY1810" fmla="*/ 556505 h 611653"/>
                <a:gd name="connsiteX1811" fmla="*/ 64224 w 451321"/>
                <a:gd name="connsiteY1811" fmla="*/ 555386 h 611653"/>
                <a:gd name="connsiteX1812" fmla="*/ 65767 w 451321"/>
                <a:gd name="connsiteY1812" fmla="*/ 554902 h 611653"/>
                <a:gd name="connsiteX1813" fmla="*/ 69064 w 451321"/>
                <a:gd name="connsiteY1813" fmla="*/ 554902 h 611653"/>
                <a:gd name="connsiteX1814" fmla="*/ 69699 w 451321"/>
                <a:gd name="connsiteY1814" fmla="*/ 553934 h 611653"/>
                <a:gd name="connsiteX1815" fmla="*/ 70546 w 451321"/>
                <a:gd name="connsiteY1815" fmla="*/ 552966 h 611653"/>
                <a:gd name="connsiteX1816" fmla="*/ 72452 w 451321"/>
                <a:gd name="connsiteY1816" fmla="*/ 551877 h 611653"/>
                <a:gd name="connsiteX1817" fmla="*/ 83010 w 451321"/>
                <a:gd name="connsiteY1817" fmla="*/ 548186 h 611653"/>
                <a:gd name="connsiteX1818" fmla="*/ 90300 w 451321"/>
                <a:gd name="connsiteY1818" fmla="*/ 547309 h 611653"/>
                <a:gd name="connsiteX1819" fmla="*/ 90300 w 451321"/>
                <a:gd name="connsiteY1819" fmla="*/ 548428 h 611653"/>
                <a:gd name="connsiteX1820" fmla="*/ 87094 w 451321"/>
                <a:gd name="connsiteY1820" fmla="*/ 549427 h 611653"/>
                <a:gd name="connsiteX1821" fmla="*/ 81195 w 451321"/>
                <a:gd name="connsiteY1821" fmla="*/ 552482 h 611653"/>
                <a:gd name="connsiteX1822" fmla="*/ 77928 w 451321"/>
                <a:gd name="connsiteY1822" fmla="*/ 553420 h 611653"/>
                <a:gd name="connsiteX1823" fmla="*/ 75266 w 451321"/>
                <a:gd name="connsiteY1823" fmla="*/ 553208 h 611653"/>
                <a:gd name="connsiteX1824" fmla="*/ 74479 w 451321"/>
                <a:gd name="connsiteY1824" fmla="*/ 553420 h 611653"/>
                <a:gd name="connsiteX1825" fmla="*/ 73935 w 451321"/>
                <a:gd name="connsiteY1825" fmla="*/ 554055 h 611653"/>
                <a:gd name="connsiteX1826" fmla="*/ 72785 w 451321"/>
                <a:gd name="connsiteY1826" fmla="*/ 556051 h 611653"/>
                <a:gd name="connsiteX1827" fmla="*/ 70788 w 451321"/>
                <a:gd name="connsiteY1827" fmla="*/ 557080 h 611653"/>
                <a:gd name="connsiteX1828" fmla="*/ 68217 w 451321"/>
                <a:gd name="connsiteY1828" fmla="*/ 559833 h 611653"/>
                <a:gd name="connsiteX1829" fmla="*/ 66856 w 451321"/>
                <a:gd name="connsiteY1829" fmla="*/ 560650 h 611653"/>
                <a:gd name="connsiteX1830" fmla="*/ 66856 w 451321"/>
                <a:gd name="connsiteY1830" fmla="*/ 561557 h 611653"/>
                <a:gd name="connsiteX1831" fmla="*/ 68882 w 451321"/>
                <a:gd name="connsiteY1831" fmla="*/ 562435 h 611653"/>
                <a:gd name="connsiteX1832" fmla="*/ 69669 w 451321"/>
                <a:gd name="connsiteY1832" fmla="*/ 562556 h 611653"/>
                <a:gd name="connsiteX1833" fmla="*/ 69669 w 451321"/>
                <a:gd name="connsiteY1833" fmla="*/ 563584 h 611653"/>
                <a:gd name="connsiteX1834" fmla="*/ 65827 w 451321"/>
                <a:gd name="connsiteY1834" fmla="*/ 563675 h 611653"/>
                <a:gd name="connsiteX1835" fmla="*/ 64073 w 451321"/>
                <a:gd name="connsiteY1835" fmla="*/ 563403 h 611653"/>
                <a:gd name="connsiteX1836" fmla="*/ 62772 w 451321"/>
                <a:gd name="connsiteY1836" fmla="*/ 562556 h 611653"/>
                <a:gd name="connsiteX1837" fmla="*/ 62560 w 451321"/>
                <a:gd name="connsiteY1837" fmla="*/ 565036 h 611653"/>
                <a:gd name="connsiteX1838" fmla="*/ 61410 w 451321"/>
                <a:gd name="connsiteY1838" fmla="*/ 566519 h 611653"/>
                <a:gd name="connsiteX1839" fmla="*/ 59747 w 451321"/>
                <a:gd name="connsiteY1839" fmla="*/ 567305 h 611653"/>
                <a:gd name="connsiteX1840" fmla="*/ 57962 w 451321"/>
                <a:gd name="connsiteY1840" fmla="*/ 567638 h 611653"/>
                <a:gd name="connsiteX1841" fmla="*/ 58476 w 451321"/>
                <a:gd name="connsiteY1841" fmla="*/ 566791 h 611653"/>
                <a:gd name="connsiteX1842" fmla="*/ 59021 w 451321"/>
                <a:gd name="connsiteY1842" fmla="*/ 565248 h 611653"/>
                <a:gd name="connsiteX1843" fmla="*/ 59323 w 451321"/>
                <a:gd name="connsiteY1843" fmla="*/ 564583 h 611653"/>
                <a:gd name="connsiteX1844" fmla="*/ 56661 w 451321"/>
                <a:gd name="connsiteY1844" fmla="*/ 565187 h 611653"/>
                <a:gd name="connsiteX1845" fmla="*/ 53182 w 451321"/>
                <a:gd name="connsiteY1845" fmla="*/ 566761 h 611653"/>
                <a:gd name="connsiteX1846" fmla="*/ 50036 w 451321"/>
                <a:gd name="connsiteY1846" fmla="*/ 569029 h 611653"/>
                <a:gd name="connsiteX1847" fmla="*/ 48311 w 451321"/>
                <a:gd name="connsiteY1847" fmla="*/ 571722 h 611653"/>
                <a:gd name="connsiteX1848" fmla="*/ 52426 w 451321"/>
                <a:gd name="connsiteY1848" fmla="*/ 571722 h 611653"/>
                <a:gd name="connsiteX1849" fmla="*/ 52426 w 451321"/>
                <a:gd name="connsiteY1849" fmla="*/ 572841 h 611653"/>
                <a:gd name="connsiteX1850" fmla="*/ 47706 w 451321"/>
                <a:gd name="connsiteY1850" fmla="*/ 577046 h 611653"/>
                <a:gd name="connsiteX1851" fmla="*/ 45498 w 451321"/>
                <a:gd name="connsiteY1851" fmla="*/ 577893 h 611653"/>
                <a:gd name="connsiteX1852" fmla="*/ 41414 w 451321"/>
                <a:gd name="connsiteY1852" fmla="*/ 577590 h 611653"/>
                <a:gd name="connsiteX1853" fmla="*/ 39236 w 451321"/>
                <a:gd name="connsiteY1853" fmla="*/ 578014 h 611653"/>
                <a:gd name="connsiteX1854" fmla="*/ 37966 w 451321"/>
                <a:gd name="connsiteY1854" fmla="*/ 579859 h 611653"/>
                <a:gd name="connsiteX1855" fmla="*/ 39539 w 451321"/>
                <a:gd name="connsiteY1855" fmla="*/ 579769 h 611653"/>
                <a:gd name="connsiteX1856" fmla="*/ 41021 w 451321"/>
                <a:gd name="connsiteY1856" fmla="*/ 580192 h 611653"/>
                <a:gd name="connsiteX1857" fmla="*/ 41838 w 451321"/>
                <a:gd name="connsiteY1857" fmla="*/ 581281 h 611653"/>
                <a:gd name="connsiteX1858" fmla="*/ 41445 w 451321"/>
                <a:gd name="connsiteY1858" fmla="*/ 583127 h 611653"/>
                <a:gd name="connsiteX1859" fmla="*/ 41747 w 451321"/>
                <a:gd name="connsiteY1859" fmla="*/ 583278 h 611653"/>
                <a:gd name="connsiteX1860" fmla="*/ 41989 w 451321"/>
                <a:gd name="connsiteY1860" fmla="*/ 583278 h 611653"/>
                <a:gd name="connsiteX1861" fmla="*/ 42110 w 451321"/>
                <a:gd name="connsiteY1861" fmla="*/ 583399 h 611653"/>
                <a:gd name="connsiteX1862" fmla="*/ 42110 w 451321"/>
                <a:gd name="connsiteY1862" fmla="*/ 584064 h 611653"/>
                <a:gd name="connsiteX1863" fmla="*/ 40567 w 451321"/>
                <a:gd name="connsiteY1863" fmla="*/ 584942 h 611653"/>
                <a:gd name="connsiteX1864" fmla="*/ 33700 w 451321"/>
                <a:gd name="connsiteY1864" fmla="*/ 586696 h 611653"/>
                <a:gd name="connsiteX1865" fmla="*/ 33095 w 451321"/>
                <a:gd name="connsiteY1865" fmla="*/ 587120 h 611653"/>
                <a:gd name="connsiteX1866" fmla="*/ 32732 w 451321"/>
                <a:gd name="connsiteY1866" fmla="*/ 587906 h 611653"/>
                <a:gd name="connsiteX1867" fmla="*/ 32672 w 451321"/>
                <a:gd name="connsiteY1867" fmla="*/ 588814 h 611653"/>
                <a:gd name="connsiteX1868" fmla="*/ 32460 w 451321"/>
                <a:gd name="connsiteY1868" fmla="*/ 589631 h 611653"/>
                <a:gd name="connsiteX1869" fmla="*/ 31703 w 451321"/>
                <a:gd name="connsiteY1869" fmla="*/ 590145 h 611653"/>
                <a:gd name="connsiteX1870" fmla="*/ 32399 w 451321"/>
                <a:gd name="connsiteY1870" fmla="*/ 591264 h 611653"/>
                <a:gd name="connsiteX1871" fmla="*/ 34154 w 451321"/>
                <a:gd name="connsiteY1871" fmla="*/ 589631 h 611653"/>
                <a:gd name="connsiteX1872" fmla="*/ 36423 w 451321"/>
                <a:gd name="connsiteY1872" fmla="*/ 588663 h 611653"/>
                <a:gd name="connsiteX1873" fmla="*/ 41051 w 451321"/>
                <a:gd name="connsiteY1873" fmla="*/ 588118 h 611653"/>
                <a:gd name="connsiteX1874" fmla="*/ 42080 w 451321"/>
                <a:gd name="connsiteY1874" fmla="*/ 588300 h 611653"/>
                <a:gd name="connsiteX1875" fmla="*/ 44046 w 451321"/>
                <a:gd name="connsiteY1875" fmla="*/ 589056 h 611653"/>
                <a:gd name="connsiteX1876" fmla="*/ 45196 w 451321"/>
                <a:gd name="connsiteY1876" fmla="*/ 589207 h 611653"/>
                <a:gd name="connsiteX1877" fmla="*/ 47616 w 451321"/>
                <a:gd name="connsiteY1877" fmla="*/ 587422 h 611653"/>
                <a:gd name="connsiteX1878" fmla="*/ 53938 w 451321"/>
                <a:gd name="connsiteY1878" fmla="*/ 585547 h 611653"/>
                <a:gd name="connsiteX1879" fmla="*/ 54483 w 451321"/>
                <a:gd name="connsiteY1879" fmla="*/ 585184 h 611653"/>
                <a:gd name="connsiteX1880" fmla="*/ 54816 w 451321"/>
                <a:gd name="connsiteY1880" fmla="*/ 584670 h 611653"/>
                <a:gd name="connsiteX1881" fmla="*/ 54906 w 451321"/>
                <a:gd name="connsiteY1881" fmla="*/ 584095 h 611653"/>
                <a:gd name="connsiteX1882" fmla="*/ 54906 w 451321"/>
                <a:gd name="connsiteY1882" fmla="*/ 583550 h 611653"/>
                <a:gd name="connsiteX1883" fmla="*/ 55118 w 451321"/>
                <a:gd name="connsiteY1883" fmla="*/ 583157 h 611653"/>
                <a:gd name="connsiteX1884" fmla="*/ 56600 w 451321"/>
                <a:gd name="connsiteY1884" fmla="*/ 582098 h 611653"/>
                <a:gd name="connsiteX1885" fmla="*/ 60745 w 451321"/>
                <a:gd name="connsiteY1885" fmla="*/ 580374 h 611653"/>
                <a:gd name="connsiteX1886" fmla="*/ 73450 w 451321"/>
                <a:gd name="connsiteY1886" fmla="*/ 578710 h 611653"/>
                <a:gd name="connsiteX1887" fmla="*/ 76929 w 451321"/>
                <a:gd name="connsiteY1887" fmla="*/ 577379 h 611653"/>
                <a:gd name="connsiteX1888" fmla="*/ 83524 w 451321"/>
                <a:gd name="connsiteY1888" fmla="*/ 576713 h 611653"/>
                <a:gd name="connsiteX1889" fmla="*/ 85672 w 451321"/>
                <a:gd name="connsiteY1889" fmla="*/ 576078 h 611653"/>
                <a:gd name="connsiteX1890" fmla="*/ 87638 w 451321"/>
                <a:gd name="connsiteY1890" fmla="*/ 574929 h 611653"/>
                <a:gd name="connsiteX1891" fmla="*/ 90422 w 451321"/>
                <a:gd name="connsiteY1891" fmla="*/ 572267 h 611653"/>
                <a:gd name="connsiteX1892" fmla="*/ 91783 w 451321"/>
                <a:gd name="connsiteY1892" fmla="*/ 571359 h 611653"/>
                <a:gd name="connsiteX1893" fmla="*/ 93810 w 451321"/>
                <a:gd name="connsiteY1893" fmla="*/ 570875 h 611653"/>
                <a:gd name="connsiteX1894" fmla="*/ 92721 w 451321"/>
                <a:gd name="connsiteY1894" fmla="*/ 569241 h 611653"/>
                <a:gd name="connsiteX1895" fmla="*/ 92660 w 451321"/>
                <a:gd name="connsiteY1895" fmla="*/ 567971 h 611653"/>
                <a:gd name="connsiteX1896" fmla="*/ 92781 w 451321"/>
                <a:gd name="connsiteY1896" fmla="*/ 566610 h 611653"/>
                <a:gd name="connsiteX1897" fmla="*/ 92358 w 451321"/>
                <a:gd name="connsiteY1897" fmla="*/ 564673 h 611653"/>
                <a:gd name="connsiteX1898" fmla="*/ 93386 w 451321"/>
                <a:gd name="connsiteY1898" fmla="*/ 564976 h 611653"/>
                <a:gd name="connsiteX1899" fmla="*/ 94385 w 451321"/>
                <a:gd name="connsiteY1899" fmla="*/ 565520 h 611653"/>
                <a:gd name="connsiteX1900" fmla="*/ 95231 w 451321"/>
                <a:gd name="connsiteY1900" fmla="*/ 566156 h 611653"/>
                <a:gd name="connsiteX1901" fmla="*/ 95867 w 451321"/>
                <a:gd name="connsiteY1901" fmla="*/ 566791 h 611653"/>
                <a:gd name="connsiteX1902" fmla="*/ 95957 w 451321"/>
                <a:gd name="connsiteY1902" fmla="*/ 567366 h 611653"/>
                <a:gd name="connsiteX1903" fmla="*/ 95776 w 451321"/>
                <a:gd name="connsiteY1903" fmla="*/ 569241 h 611653"/>
                <a:gd name="connsiteX1904" fmla="*/ 95867 w 451321"/>
                <a:gd name="connsiteY1904" fmla="*/ 569816 h 611653"/>
                <a:gd name="connsiteX1905" fmla="*/ 96260 w 451321"/>
                <a:gd name="connsiteY1905" fmla="*/ 570028 h 611653"/>
                <a:gd name="connsiteX1906" fmla="*/ 97137 w 451321"/>
                <a:gd name="connsiteY1906" fmla="*/ 569967 h 611653"/>
                <a:gd name="connsiteX1907" fmla="*/ 99436 w 451321"/>
                <a:gd name="connsiteY1907" fmla="*/ 571661 h 611653"/>
                <a:gd name="connsiteX1908" fmla="*/ 101161 w 451321"/>
                <a:gd name="connsiteY1908" fmla="*/ 571026 h 611653"/>
                <a:gd name="connsiteX1909" fmla="*/ 102734 w 451321"/>
                <a:gd name="connsiteY1909" fmla="*/ 570149 h 611653"/>
                <a:gd name="connsiteX1910" fmla="*/ 104186 w 451321"/>
                <a:gd name="connsiteY1910" fmla="*/ 570814 h 611653"/>
                <a:gd name="connsiteX1911" fmla="*/ 104186 w 451321"/>
                <a:gd name="connsiteY1911" fmla="*/ 571752 h 611653"/>
                <a:gd name="connsiteX1912" fmla="*/ 103732 w 451321"/>
                <a:gd name="connsiteY1912" fmla="*/ 572206 h 611653"/>
                <a:gd name="connsiteX1913" fmla="*/ 103278 w 451321"/>
                <a:gd name="connsiteY1913" fmla="*/ 573083 h 611653"/>
                <a:gd name="connsiteX1914" fmla="*/ 102794 w 451321"/>
                <a:gd name="connsiteY1914" fmla="*/ 573809 h 611653"/>
                <a:gd name="connsiteX1915" fmla="*/ 102583 w 451321"/>
                <a:gd name="connsiteY1915" fmla="*/ 576229 h 611653"/>
                <a:gd name="connsiteX1916" fmla="*/ 99648 w 451321"/>
                <a:gd name="connsiteY1916" fmla="*/ 577470 h 611653"/>
                <a:gd name="connsiteX1917" fmla="*/ 95957 w 451321"/>
                <a:gd name="connsiteY1917" fmla="*/ 578287 h 611653"/>
                <a:gd name="connsiteX1918" fmla="*/ 92206 w 451321"/>
                <a:gd name="connsiteY1918" fmla="*/ 580102 h 611653"/>
                <a:gd name="connsiteX1919" fmla="*/ 88939 w 451321"/>
                <a:gd name="connsiteY1919" fmla="*/ 580495 h 611653"/>
                <a:gd name="connsiteX1920" fmla="*/ 87578 w 451321"/>
                <a:gd name="connsiteY1920" fmla="*/ 582431 h 611653"/>
                <a:gd name="connsiteX1921" fmla="*/ 75175 w 451321"/>
                <a:gd name="connsiteY1921" fmla="*/ 588602 h 611653"/>
                <a:gd name="connsiteX1922" fmla="*/ 71242 w 451321"/>
                <a:gd name="connsiteY1922" fmla="*/ 589903 h 611653"/>
                <a:gd name="connsiteX1923" fmla="*/ 70335 w 451321"/>
                <a:gd name="connsiteY1923" fmla="*/ 591294 h 611653"/>
                <a:gd name="connsiteX1924" fmla="*/ 69609 w 451321"/>
                <a:gd name="connsiteY1924" fmla="*/ 592686 h 611653"/>
                <a:gd name="connsiteX1925" fmla="*/ 68641 w 451321"/>
                <a:gd name="connsiteY1925" fmla="*/ 593321 h 611653"/>
                <a:gd name="connsiteX1926" fmla="*/ 67703 w 451321"/>
                <a:gd name="connsiteY1926" fmla="*/ 593684 h 611653"/>
                <a:gd name="connsiteX1927" fmla="*/ 63467 w 451321"/>
                <a:gd name="connsiteY1927" fmla="*/ 596256 h 611653"/>
                <a:gd name="connsiteX1928" fmla="*/ 69760 w 451321"/>
                <a:gd name="connsiteY1928" fmla="*/ 595802 h 611653"/>
                <a:gd name="connsiteX1929" fmla="*/ 89181 w 451321"/>
                <a:gd name="connsiteY1929" fmla="*/ 586696 h 611653"/>
                <a:gd name="connsiteX1930" fmla="*/ 93840 w 451321"/>
                <a:gd name="connsiteY1930" fmla="*/ 587150 h 611653"/>
                <a:gd name="connsiteX1931" fmla="*/ 91722 w 451321"/>
                <a:gd name="connsiteY1931" fmla="*/ 588421 h 611653"/>
                <a:gd name="connsiteX1932" fmla="*/ 88092 w 451321"/>
                <a:gd name="connsiteY1932" fmla="*/ 589964 h 611653"/>
                <a:gd name="connsiteX1933" fmla="*/ 86186 w 451321"/>
                <a:gd name="connsiteY1933" fmla="*/ 591325 h 611653"/>
                <a:gd name="connsiteX1934" fmla="*/ 81770 w 451321"/>
                <a:gd name="connsiteY1934" fmla="*/ 595984 h 611653"/>
                <a:gd name="connsiteX1935" fmla="*/ 79985 w 451321"/>
                <a:gd name="connsiteY1935" fmla="*/ 597314 h 611653"/>
                <a:gd name="connsiteX1936" fmla="*/ 77776 w 451321"/>
                <a:gd name="connsiteY1936" fmla="*/ 598313 h 611653"/>
                <a:gd name="connsiteX1937" fmla="*/ 74237 w 451321"/>
                <a:gd name="connsiteY1937" fmla="*/ 599190 h 611653"/>
                <a:gd name="connsiteX1938" fmla="*/ 72422 w 451321"/>
                <a:gd name="connsiteY1938" fmla="*/ 600340 h 611653"/>
                <a:gd name="connsiteX1939" fmla="*/ 68822 w 451321"/>
                <a:gd name="connsiteY1939" fmla="*/ 603668 h 611653"/>
                <a:gd name="connsiteX1940" fmla="*/ 66977 w 451321"/>
                <a:gd name="connsiteY1940" fmla="*/ 604877 h 611653"/>
                <a:gd name="connsiteX1941" fmla="*/ 64768 w 451321"/>
                <a:gd name="connsiteY1941" fmla="*/ 605513 h 611653"/>
                <a:gd name="connsiteX1942" fmla="*/ 65525 w 451321"/>
                <a:gd name="connsiteY1942" fmla="*/ 606935 h 611653"/>
                <a:gd name="connsiteX1943" fmla="*/ 65948 w 451321"/>
                <a:gd name="connsiteY1943" fmla="*/ 607267 h 611653"/>
                <a:gd name="connsiteX1944" fmla="*/ 66825 w 451321"/>
                <a:gd name="connsiteY1944" fmla="*/ 607539 h 611653"/>
                <a:gd name="connsiteX1945" fmla="*/ 66825 w 451321"/>
                <a:gd name="connsiteY1945" fmla="*/ 608447 h 611653"/>
                <a:gd name="connsiteX1946" fmla="*/ 66462 w 451321"/>
                <a:gd name="connsiteY1946" fmla="*/ 609082 h 611653"/>
                <a:gd name="connsiteX1947" fmla="*/ 66281 w 451321"/>
                <a:gd name="connsiteY1947" fmla="*/ 609748 h 611653"/>
                <a:gd name="connsiteX1948" fmla="*/ 66160 w 451321"/>
                <a:gd name="connsiteY1948" fmla="*/ 611654 h 611653"/>
                <a:gd name="connsiteX1949" fmla="*/ 66856 w 451321"/>
                <a:gd name="connsiteY1949" fmla="*/ 610565 h 611653"/>
                <a:gd name="connsiteX1950" fmla="*/ 67551 w 451321"/>
                <a:gd name="connsiteY1950" fmla="*/ 611654 h 611653"/>
                <a:gd name="connsiteX1951" fmla="*/ 70425 w 451321"/>
                <a:gd name="connsiteY1951" fmla="*/ 609203 h 611653"/>
                <a:gd name="connsiteX1952" fmla="*/ 71333 w 451321"/>
                <a:gd name="connsiteY1952" fmla="*/ 608901 h 611653"/>
                <a:gd name="connsiteX1953" fmla="*/ 71030 w 451321"/>
                <a:gd name="connsiteY1953" fmla="*/ 610565 h 611653"/>
                <a:gd name="connsiteX1954" fmla="*/ 77897 w 451321"/>
                <a:gd name="connsiteY1954" fmla="*/ 607539 h 611653"/>
                <a:gd name="connsiteX1955" fmla="*/ 77444 w 451321"/>
                <a:gd name="connsiteY1955" fmla="*/ 607388 h 611653"/>
                <a:gd name="connsiteX1956" fmla="*/ 77171 w 451321"/>
                <a:gd name="connsiteY1956" fmla="*/ 607176 h 611653"/>
                <a:gd name="connsiteX1957" fmla="*/ 76536 w 451321"/>
                <a:gd name="connsiteY1957" fmla="*/ 606511 h 611653"/>
                <a:gd name="connsiteX1958" fmla="*/ 82012 w 451321"/>
                <a:gd name="connsiteY1958" fmla="*/ 601913 h 611653"/>
                <a:gd name="connsiteX1959" fmla="*/ 82707 w 451321"/>
                <a:gd name="connsiteY1959" fmla="*/ 600612 h 611653"/>
                <a:gd name="connsiteX1960" fmla="*/ 84129 w 451321"/>
                <a:gd name="connsiteY1960" fmla="*/ 601368 h 611653"/>
                <a:gd name="connsiteX1961" fmla="*/ 85369 w 451321"/>
                <a:gd name="connsiteY1961" fmla="*/ 603032 h 611653"/>
                <a:gd name="connsiteX1962" fmla="*/ 85491 w 451321"/>
                <a:gd name="connsiteY1962" fmla="*/ 604514 h 611653"/>
                <a:gd name="connsiteX1963" fmla="*/ 87215 w 451321"/>
                <a:gd name="connsiteY1963" fmla="*/ 604514 h 611653"/>
                <a:gd name="connsiteX1964" fmla="*/ 88364 w 451321"/>
                <a:gd name="connsiteY1964" fmla="*/ 604091 h 611653"/>
                <a:gd name="connsiteX1965" fmla="*/ 90300 w 451321"/>
                <a:gd name="connsiteY1965" fmla="*/ 602397 h 611653"/>
                <a:gd name="connsiteX1966" fmla="*/ 90996 w 451321"/>
                <a:gd name="connsiteY1966" fmla="*/ 602306 h 611653"/>
                <a:gd name="connsiteX1967" fmla="*/ 92781 w 451321"/>
                <a:gd name="connsiteY1967" fmla="*/ 602427 h 611653"/>
                <a:gd name="connsiteX1968" fmla="*/ 93114 w 451321"/>
                <a:gd name="connsiteY1968" fmla="*/ 601943 h 611653"/>
                <a:gd name="connsiteX1969" fmla="*/ 93265 w 451321"/>
                <a:gd name="connsiteY1969" fmla="*/ 600491 h 611653"/>
                <a:gd name="connsiteX1970" fmla="*/ 93658 w 451321"/>
                <a:gd name="connsiteY1970" fmla="*/ 599886 h 611653"/>
                <a:gd name="connsiteX1971" fmla="*/ 100798 w 451321"/>
                <a:gd name="connsiteY1971" fmla="*/ 598434 h 611653"/>
                <a:gd name="connsiteX1972" fmla="*/ 103672 w 451321"/>
                <a:gd name="connsiteY1972" fmla="*/ 597163 h 611653"/>
                <a:gd name="connsiteX1973" fmla="*/ 102825 w 451321"/>
                <a:gd name="connsiteY1973" fmla="*/ 595409 h 611653"/>
                <a:gd name="connsiteX1974" fmla="*/ 104156 w 451321"/>
                <a:gd name="connsiteY1974" fmla="*/ 594834 h 611653"/>
                <a:gd name="connsiteX1975" fmla="*/ 105971 w 451321"/>
                <a:gd name="connsiteY1975" fmla="*/ 595136 h 611653"/>
                <a:gd name="connsiteX1976" fmla="*/ 107604 w 451321"/>
                <a:gd name="connsiteY1976" fmla="*/ 595923 h 611653"/>
                <a:gd name="connsiteX1977" fmla="*/ 108330 w 451321"/>
                <a:gd name="connsiteY1977" fmla="*/ 596831 h 611653"/>
                <a:gd name="connsiteX1978" fmla="*/ 107907 w 451321"/>
                <a:gd name="connsiteY1978" fmla="*/ 598948 h 611653"/>
                <a:gd name="connsiteX1979" fmla="*/ 107241 w 451321"/>
                <a:gd name="connsiteY1979" fmla="*/ 600582 h 611653"/>
                <a:gd name="connsiteX1980" fmla="*/ 107120 w 451321"/>
                <a:gd name="connsiteY1980" fmla="*/ 602004 h 611653"/>
                <a:gd name="connsiteX1981" fmla="*/ 108330 w 451321"/>
                <a:gd name="connsiteY1981" fmla="*/ 603516 h 611653"/>
                <a:gd name="connsiteX1982" fmla="*/ 110418 w 451321"/>
                <a:gd name="connsiteY1982" fmla="*/ 601822 h 611653"/>
                <a:gd name="connsiteX1983" fmla="*/ 111356 w 451321"/>
                <a:gd name="connsiteY1983" fmla="*/ 600793 h 611653"/>
                <a:gd name="connsiteX1984" fmla="*/ 111749 w 451321"/>
                <a:gd name="connsiteY1984" fmla="*/ 599946 h 611653"/>
                <a:gd name="connsiteX1985" fmla="*/ 114955 w 451321"/>
                <a:gd name="connsiteY1985" fmla="*/ 598162 h 611653"/>
                <a:gd name="connsiteX1986" fmla="*/ 115802 w 451321"/>
                <a:gd name="connsiteY1986" fmla="*/ 597375 h 611653"/>
                <a:gd name="connsiteX1987" fmla="*/ 116044 w 451321"/>
                <a:gd name="connsiteY1987" fmla="*/ 597889 h 611653"/>
                <a:gd name="connsiteX1988" fmla="*/ 116135 w 451321"/>
                <a:gd name="connsiteY1988" fmla="*/ 598040 h 611653"/>
                <a:gd name="connsiteX1989" fmla="*/ 116256 w 451321"/>
                <a:gd name="connsiteY1989" fmla="*/ 598162 h 611653"/>
                <a:gd name="connsiteX1990" fmla="*/ 116559 w 451321"/>
                <a:gd name="connsiteY1990" fmla="*/ 598494 h 611653"/>
                <a:gd name="connsiteX1991" fmla="*/ 115318 w 451321"/>
                <a:gd name="connsiteY1991" fmla="*/ 599583 h 611653"/>
                <a:gd name="connsiteX1992" fmla="*/ 112838 w 451321"/>
                <a:gd name="connsiteY1992" fmla="*/ 601156 h 611653"/>
                <a:gd name="connsiteX1993" fmla="*/ 111749 w 451321"/>
                <a:gd name="connsiteY1993" fmla="*/ 602457 h 611653"/>
                <a:gd name="connsiteX1994" fmla="*/ 110841 w 451321"/>
                <a:gd name="connsiteY1994" fmla="*/ 604484 h 611653"/>
                <a:gd name="connsiteX1995" fmla="*/ 111234 w 451321"/>
                <a:gd name="connsiteY1995" fmla="*/ 604968 h 611653"/>
                <a:gd name="connsiteX1996" fmla="*/ 112414 w 451321"/>
                <a:gd name="connsiteY1996" fmla="*/ 604484 h 611653"/>
                <a:gd name="connsiteX1997" fmla="*/ 113866 w 451321"/>
                <a:gd name="connsiteY1997" fmla="*/ 603546 h 611653"/>
                <a:gd name="connsiteX1998" fmla="*/ 113201 w 451321"/>
                <a:gd name="connsiteY1998" fmla="*/ 605059 h 611653"/>
                <a:gd name="connsiteX1999" fmla="*/ 112445 w 451321"/>
                <a:gd name="connsiteY1999" fmla="*/ 606087 h 611653"/>
                <a:gd name="connsiteX2000" fmla="*/ 111507 w 451321"/>
                <a:gd name="connsiteY2000" fmla="*/ 606874 h 611653"/>
                <a:gd name="connsiteX2001" fmla="*/ 110357 w 451321"/>
                <a:gd name="connsiteY2001" fmla="*/ 607600 h 611653"/>
                <a:gd name="connsiteX2002" fmla="*/ 113594 w 451321"/>
                <a:gd name="connsiteY2002" fmla="*/ 607539 h 611653"/>
                <a:gd name="connsiteX2003" fmla="*/ 114986 w 451321"/>
                <a:gd name="connsiteY2003" fmla="*/ 607086 h 611653"/>
                <a:gd name="connsiteX2004" fmla="*/ 116135 w 451321"/>
                <a:gd name="connsiteY2004" fmla="*/ 606087 h 611653"/>
                <a:gd name="connsiteX2005" fmla="*/ 116982 w 451321"/>
                <a:gd name="connsiteY2005" fmla="*/ 605513 h 611653"/>
                <a:gd name="connsiteX2006" fmla="*/ 117769 w 451321"/>
                <a:gd name="connsiteY2006" fmla="*/ 605513 h 611653"/>
                <a:gd name="connsiteX2007" fmla="*/ 118344 w 451321"/>
                <a:gd name="connsiteY2007" fmla="*/ 605361 h 611653"/>
                <a:gd name="connsiteX2008" fmla="*/ 118586 w 451321"/>
                <a:gd name="connsiteY2008" fmla="*/ 604060 h 611653"/>
                <a:gd name="connsiteX2009" fmla="*/ 121338 w 451321"/>
                <a:gd name="connsiteY2009" fmla="*/ 602457 h 611653"/>
                <a:gd name="connsiteX2010" fmla="*/ 121550 w 451321"/>
                <a:gd name="connsiteY2010" fmla="*/ 603244 h 611653"/>
                <a:gd name="connsiteX2011" fmla="*/ 121792 w 451321"/>
                <a:gd name="connsiteY2011" fmla="*/ 603849 h 611653"/>
                <a:gd name="connsiteX2012" fmla="*/ 122004 w 451321"/>
                <a:gd name="connsiteY2012" fmla="*/ 604545 h 611653"/>
                <a:gd name="connsiteX2013" fmla="*/ 122064 w 451321"/>
                <a:gd name="connsiteY2013" fmla="*/ 605573 h 611653"/>
                <a:gd name="connsiteX2014" fmla="*/ 123244 w 451321"/>
                <a:gd name="connsiteY2014" fmla="*/ 604998 h 611653"/>
                <a:gd name="connsiteX2015" fmla="*/ 124182 w 451321"/>
                <a:gd name="connsiteY2015" fmla="*/ 605271 h 611653"/>
                <a:gd name="connsiteX2016" fmla="*/ 125090 w 451321"/>
                <a:gd name="connsiteY2016" fmla="*/ 605694 h 611653"/>
                <a:gd name="connsiteX2017" fmla="*/ 126209 w 451321"/>
                <a:gd name="connsiteY2017" fmla="*/ 605573 h 611653"/>
                <a:gd name="connsiteX2018" fmla="*/ 127026 w 451321"/>
                <a:gd name="connsiteY2018" fmla="*/ 604666 h 611653"/>
                <a:gd name="connsiteX2019" fmla="*/ 127510 w 451321"/>
                <a:gd name="connsiteY2019" fmla="*/ 603425 h 611653"/>
                <a:gd name="connsiteX2020" fmla="*/ 128206 w 451321"/>
                <a:gd name="connsiteY2020" fmla="*/ 602488 h 611653"/>
                <a:gd name="connsiteX2021" fmla="*/ 129658 w 451321"/>
                <a:gd name="connsiteY2021" fmla="*/ 602427 h 611653"/>
                <a:gd name="connsiteX2022" fmla="*/ 129658 w 451321"/>
                <a:gd name="connsiteY2022" fmla="*/ 601489 h 611653"/>
                <a:gd name="connsiteX2023" fmla="*/ 129355 w 451321"/>
                <a:gd name="connsiteY2023" fmla="*/ 600007 h 611653"/>
                <a:gd name="connsiteX2024" fmla="*/ 130172 w 451321"/>
                <a:gd name="connsiteY2024" fmla="*/ 599765 h 611653"/>
                <a:gd name="connsiteX2025" fmla="*/ 132774 w 451321"/>
                <a:gd name="connsiteY2025" fmla="*/ 600370 h 611653"/>
                <a:gd name="connsiteX2026" fmla="*/ 134316 w 451321"/>
                <a:gd name="connsiteY2026" fmla="*/ 600098 h 611653"/>
                <a:gd name="connsiteX2027" fmla="*/ 135829 w 451321"/>
                <a:gd name="connsiteY2027" fmla="*/ 599311 h 611653"/>
                <a:gd name="connsiteX2028" fmla="*/ 137069 w 451321"/>
                <a:gd name="connsiteY2028" fmla="*/ 598040 h 611653"/>
                <a:gd name="connsiteX2029" fmla="*/ 137886 w 451321"/>
                <a:gd name="connsiteY2029" fmla="*/ 596347 h 611653"/>
                <a:gd name="connsiteX2030" fmla="*/ 137039 w 451321"/>
                <a:gd name="connsiteY2030" fmla="*/ 595651 h 611653"/>
                <a:gd name="connsiteX2031" fmla="*/ 136585 w 451321"/>
                <a:gd name="connsiteY2031" fmla="*/ 595439 h 611653"/>
                <a:gd name="connsiteX2032" fmla="*/ 136585 w 451321"/>
                <a:gd name="connsiteY2032" fmla="*/ 594320 h 611653"/>
                <a:gd name="connsiteX2033" fmla="*/ 137856 w 451321"/>
                <a:gd name="connsiteY2033" fmla="*/ 594622 h 611653"/>
                <a:gd name="connsiteX2034" fmla="*/ 140125 w 451321"/>
                <a:gd name="connsiteY2034" fmla="*/ 595923 h 611653"/>
                <a:gd name="connsiteX2035" fmla="*/ 141425 w 451321"/>
                <a:gd name="connsiteY2035" fmla="*/ 596347 h 611653"/>
                <a:gd name="connsiteX2036" fmla="*/ 146961 w 451321"/>
                <a:gd name="connsiteY2036" fmla="*/ 595227 h 611653"/>
                <a:gd name="connsiteX2037" fmla="*/ 148444 w 451321"/>
                <a:gd name="connsiteY2037" fmla="*/ 594441 h 611653"/>
                <a:gd name="connsiteX2038" fmla="*/ 149623 w 451321"/>
                <a:gd name="connsiteY2038" fmla="*/ 594320 h 611653"/>
                <a:gd name="connsiteX2039" fmla="*/ 150743 w 451321"/>
                <a:gd name="connsiteY2039" fmla="*/ 594652 h 611653"/>
                <a:gd name="connsiteX2040" fmla="*/ 152739 w 451321"/>
                <a:gd name="connsiteY2040" fmla="*/ 596044 h 611653"/>
                <a:gd name="connsiteX2041" fmla="*/ 153435 w 451321"/>
                <a:gd name="connsiteY2041" fmla="*/ 596347 h 611653"/>
                <a:gd name="connsiteX2042" fmla="*/ 153677 w 451321"/>
                <a:gd name="connsiteY2042" fmla="*/ 596982 h 611653"/>
                <a:gd name="connsiteX2043" fmla="*/ 154554 w 451321"/>
                <a:gd name="connsiteY2043" fmla="*/ 598071 h 611653"/>
                <a:gd name="connsiteX2044" fmla="*/ 155462 w 451321"/>
                <a:gd name="connsiteY2044" fmla="*/ 598434 h 611653"/>
                <a:gd name="connsiteX2045" fmla="*/ 155886 w 451321"/>
                <a:gd name="connsiteY2045" fmla="*/ 596861 h 611653"/>
                <a:gd name="connsiteX2046" fmla="*/ 156460 w 451321"/>
                <a:gd name="connsiteY2046" fmla="*/ 596528 h 611653"/>
                <a:gd name="connsiteX2047" fmla="*/ 160000 w 451321"/>
                <a:gd name="connsiteY2047" fmla="*/ 595439 h 611653"/>
                <a:gd name="connsiteX2048" fmla="*/ 160938 w 451321"/>
                <a:gd name="connsiteY2048" fmla="*/ 593715 h 611653"/>
                <a:gd name="connsiteX2049" fmla="*/ 161996 w 451321"/>
                <a:gd name="connsiteY2049" fmla="*/ 591143 h 611653"/>
                <a:gd name="connsiteX2050" fmla="*/ 163418 w 451321"/>
                <a:gd name="connsiteY2050" fmla="*/ 589449 h 611653"/>
                <a:gd name="connsiteX2051" fmla="*/ 165475 w 451321"/>
                <a:gd name="connsiteY2051" fmla="*/ 590296 h 611653"/>
                <a:gd name="connsiteX2052" fmla="*/ 166141 w 451321"/>
                <a:gd name="connsiteY2052" fmla="*/ 589570 h 611653"/>
                <a:gd name="connsiteX2053" fmla="*/ 166776 w 451321"/>
                <a:gd name="connsiteY2053" fmla="*/ 589661 h 611653"/>
                <a:gd name="connsiteX2054" fmla="*/ 167532 w 451321"/>
                <a:gd name="connsiteY2054" fmla="*/ 590054 h 611653"/>
                <a:gd name="connsiteX2055" fmla="*/ 168591 w 451321"/>
                <a:gd name="connsiteY2055" fmla="*/ 590296 h 611653"/>
                <a:gd name="connsiteX2056" fmla="*/ 172312 w 451321"/>
                <a:gd name="connsiteY2056" fmla="*/ 590296 h 611653"/>
                <a:gd name="connsiteX2057" fmla="*/ 173129 w 451321"/>
                <a:gd name="connsiteY2057" fmla="*/ 590931 h 611653"/>
                <a:gd name="connsiteX2058" fmla="*/ 173825 w 451321"/>
                <a:gd name="connsiteY2058" fmla="*/ 591900 h 611653"/>
                <a:gd name="connsiteX2059" fmla="*/ 174551 w 451321"/>
                <a:gd name="connsiteY2059" fmla="*/ 592444 h 611653"/>
                <a:gd name="connsiteX2060" fmla="*/ 175428 w 451321"/>
                <a:gd name="connsiteY2060" fmla="*/ 591839 h 611653"/>
                <a:gd name="connsiteX2061" fmla="*/ 179240 w 451321"/>
                <a:gd name="connsiteY2061" fmla="*/ 592323 h 611653"/>
                <a:gd name="connsiteX2062" fmla="*/ 178786 w 451321"/>
                <a:gd name="connsiteY2062" fmla="*/ 590599 h 611653"/>
                <a:gd name="connsiteX2063" fmla="*/ 178877 w 451321"/>
                <a:gd name="connsiteY2063" fmla="*/ 589238 h 611653"/>
                <a:gd name="connsiteX2064" fmla="*/ 179512 w 451321"/>
                <a:gd name="connsiteY2064" fmla="*/ 588118 h 611653"/>
                <a:gd name="connsiteX2065" fmla="*/ 180601 w 451321"/>
                <a:gd name="connsiteY2065" fmla="*/ 587211 h 611653"/>
                <a:gd name="connsiteX2066" fmla="*/ 178544 w 451321"/>
                <a:gd name="connsiteY2066" fmla="*/ 586303 h 611653"/>
                <a:gd name="connsiteX2067" fmla="*/ 179179 w 451321"/>
                <a:gd name="connsiteY2067" fmla="*/ 585698 h 611653"/>
                <a:gd name="connsiteX2068" fmla="*/ 179845 w 451321"/>
                <a:gd name="connsiteY2068" fmla="*/ 585274 h 611653"/>
                <a:gd name="connsiteX2069" fmla="*/ 179845 w 451321"/>
                <a:gd name="connsiteY2069" fmla="*/ 584155 h 611653"/>
                <a:gd name="connsiteX2070" fmla="*/ 176154 w 451321"/>
                <a:gd name="connsiteY2070" fmla="*/ 584155 h 611653"/>
                <a:gd name="connsiteX2071" fmla="*/ 174490 w 451321"/>
                <a:gd name="connsiteY2071" fmla="*/ 583550 h 611653"/>
                <a:gd name="connsiteX2072" fmla="*/ 173038 w 451321"/>
                <a:gd name="connsiteY2072" fmla="*/ 582098 h 611653"/>
                <a:gd name="connsiteX2073" fmla="*/ 185078 w 451321"/>
                <a:gd name="connsiteY2073" fmla="*/ 583218 h 611653"/>
                <a:gd name="connsiteX2074" fmla="*/ 190009 w 451321"/>
                <a:gd name="connsiteY2074" fmla="*/ 581947 h 611653"/>
                <a:gd name="connsiteX2075" fmla="*/ 191673 w 451321"/>
                <a:gd name="connsiteY2075" fmla="*/ 582098 h 611653"/>
                <a:gd name="connsiteX2076" fmla="*/ 193065 w 451321"/>
                <a:gd name="connsiteY2076" fmla="*/ 583127 h 611653"/>
                <a:gd name="connsiteX2077" fmla="*/ 194517 w 451321"/>
                <a:gd name="connsiteY2077" fmla="*/ 586122 h 611653"/>
                <a:gd name="connsiteX2078" fmla="*/ 195787 w 451321"/>
                <a:gd name="connsiteY2078" fmla="*/ 587180 h 611653"/>
                <a:gd name="connsiteX2079" fmla="*/ 195606 w 451321"/>
                <a:gd name="connsiteY2079" fmla="*/ 585456 h 611653"/>
                <a:gd name="connsiteX2080" fmla="*/ 195152 w 451321"/>
                <a:gd name="connsiteY2080" fmla="*/ 583218 h 611653"/>
                <a:gd name="connsiteX2081" fmla="*/ 195061 w 451321"/>
                <a:gd name="connsiteY2081" fmla="*/ 581584 h 611653"/>
                <a:gd name="connsiteX2082" fmla="*/ 195334 w 451321"/>
                <a:gd name="connsiteY2082" fmla="*/ 580646 h 611653"/>
                <a:gd name="connsiteX2083" fmla="*/ 196876 w 451321"/>
                <a:gd name="connsiteY2083" fmla="*/ 577137 h 611653"/>
                <a:gd name="connsiteX2084" fmla="*/ 197512 w 451321"/>
                <a:gd name="connsiteY2084" fmla="*/ 576986 h 611653"/>
                <a:gd name="connsiteX2085" fmla="*/ 198359 w 451321"/>
                <a:gd name="connsiteY2085" fmla="*/ 576532 h 611653"/>
                <a:gd name="connsiteX2086" fmla="*/ 199054 w 451321"/>
                <a:gd name="connsiteY2086" fmla="*/ 575866 h 611653"/>
                <a:gd name="connsiteX2087" fmla="*/ 199266 w 451321"/>
                <a:gd name="connsiteY2087" fmla="*/ 575019 h 611653"/>
                <a:gd name="connsiteX2088" fmla="*/ 198812 w 451321"/>
                <a:gd name="connsiteY2088" fmla="*/ 573870 h 611653"/>
                <a:gd name="connsiteX2089" fmla="*/ 198207 w 451321"/>
                <a:gd name="connsiteY2089" fmla="*/ 574051 h 611653"/>
                <a:gd name="connsiteX2090" fmla="*/ 197269 w 451321"/>
                <a:gd name="connsiteY2090" fmla="*/ 575019 h 611653"/>
                <a:gd name="connsiteX2091" fmla="*/ 196211 w 451321"/>
                <a:gd name="connsiteY2091" fmla="*/ 574686 h 611653"/>
                <a:gd name="connsiteX2092" fmla="*/ 194154 w 451321"/>
                <a:gd name="connsiteY2092" fmla="*/ 574475 h 611653"/>
                <a:gd name="connsiteX2093" fmla="*/ 193125 w 451321"/>
                <a:gd name="connsiteY2093" fmla="*/ 573900 h 611653"/>
                <a:gd name="connsiteX2094" fmla="*/ 193125 w 451321"/>
                <a:gd name="connsiteY2094" fmla="*/ 572962 h 611653"/>
                <a:gd name="connsiteX2095" fmla="*/ 197754 w 451321"/>
                <a:gd name="connsiteY2095" fmla="*/ 573023 h 611653"/>
                <a:gd name="connsiteX2096" fmla="*/ 199901 w 451321"/>
                <a:gd name="connsiteY2096" fmla="*/ 574112 h 611653"/>
                <a:gd name="connsiteX2097" fmla="*/ 200628 w 451321"/>
                <a:gd name="connsiteY2097" fmla="*/ 577137 h 611653"/>
                <a:gd name="connsiteX2098" fmla="*/ 202140 w 451321"/>
                <a:gd name="connsiteY2098" fmla="*/ 576290 h 611653"/>
                <a:gd name="connsiteX2099" fmla="*/ 202624 w 451321"/>
                <a:gd name="connsiteY2099" fmla="*/ 574656 h 611653"/>
                <a:gd name="connsiteX2100" fmla="*/ 202110 w 451321"/>
                <a:gd name="connsiteY2100" fmla="*/ 572932 h 611653"/>
                <a:gd name="connsiteX2101" fmla="*/ 200628 w 451321"/>
                <a:gd name="connsiteY2101" fmla="*/ 571873 h 611653"/>
                <a:gd name="connsiteX2102" fmla="*/ 201837 w 451321"/>
                <a:gd name="connsiteY2102" fmla="*/ 571510 h 611653"/>
                <a:gd name="connsiteX2103" fmla="*/ 203441 w 451321"/>
                <a:gd name="connsiteY2103" fmla="*/ 572085 h 611653"/>
                <a:gd name="connsiteX2104" fmla="*/ 204863 w 451321"/>
                <a:gd name="connsiteY2104" fmla="*/ 573356 h 611653"/>
                <a:gd name="connsiteX2105" fmla="*/ 205498 w 451321"/>
                <a:gd name="connsiteY2105" fmla="*/ 575019 h 611653"/>
                <a:gd name="connsiteX2106" fmla="*/ 206799 w 451321"/>
                <a:gd name="connsiteY2106" fmla="*/ 573325 h 611653"/>
                <a:gd name="connsiteX2107" fmla="*/ 208039 w 451321"/>
                <a:gd name="connsiteY2107" fmla="*/ 572478 h 611653"/>
                <a:gd name="connsiteX2108" fmla="*/ 211820 w 451321"/>
                <a:gd name="connsiteY2108" fmla="*/ 571631 h 611653"/>
                <a:gd name="connsiteX2109" fmla="*/ 214513 w 451321"/>
                <a:gd name="connsiteY2109" fmla="*/ 570270 h 611653"/>
                <a:gd name="connsiteX2110" fmla="*/ 215602 w 451321"/>
                <a:gd name="connsiteY2110" fmla="*/ 568697 h 611653"/>
                <a:gd name="connsiteX2111" fmla="*/ 218930 w 451321"/>
                <a:gd name="connsiteY2111" fmla="*/ 565278 h 611653"/>
                <a:gd name="connsiteX2112" fmla="*/ 219383 w 451321"/>
                <a:gd name="connsiteY2112" fmla="*/ 564098 h 611653"/>
                <a:gd name="connsiteX2113" fmla="*/ 219141 w 451321"/>
                <a:gd name="connsiteY2113" fmla="*/ 563251 h 611653"/>
                <a:gd name="connsiteX2114" fmla="*/ 218718 w 451321"/>
                <a:gd name="connsiteY2114" fmla="*/ 562525 h 611653"/>
                <a:gd name="connsiteX2115" fmla="*/ 218597 w 451321"/>
                <a:gd name="connsiteY2115" fmla="*/ 561708 h 611653"/>
                <a:gd name="connsiteX2116" fmla="*/ 218899 w 451321"/>
                <a:gd name="connsiteY2116" fmla="*/ 561134 h 611653"/>
                <a:gd name="connsiteX2117" fmla="*/ 220654 w 451321"/>
                <a:gd name="connsiteY2117" fmla="*/ 558623 h 611653"/>
                <a:gd name="connsiteX2118" fmla="*/ 217145 w 451321"/>
                <a:gd name="connsiteY2118" fmla="*/ 558623 h 611653"/>
                <a:gd name="connsiteX2119" fmla="*/ 217780 w 451321"/>
                <a:gd name="connsiteY2119" fmla="*/ 558169 h 611653"/>
                <a:gd name="connsiteX2120" fmla="*/ 218445 w 451321"/>
                <a:gd name="connsiteY2120" fmla="*/ 557837 h 611653"/>
                <a:gd name="connsiteX2121" fmla="*/ 219898 w 451321"/>
                <a:gd name="connsiteY2121" fmla="*/ 557504 h 611653"/>
                <a:gd name="connsiteX2122" fmla="*/ 219474 w 451321"/>
                <a:gd name="connsiteY2122" fmla="*/ 557262 h 611653"/>
                <a:gd name="connsiteX2123" fmla="*/ 218597 w 451321"/>
                <a:gd name="connsiteY2123" fmla="*/ 556566 h 611653"/>
                <a:gd name="connsiteX2124" fmla="*/ 218597 w 451321"/>
                <a:gd name="connsiteY2124" fmla="*/ 555447 h 611653"/>
                <a:gd name="connsiteX2125" fmla="*/ 219293 w 451321"/>
                <a:gd name="connsiteY2125" fmla="*/ 555447 h 611653"/>
                <a:gd name="connsiteX2126" fmla="*/ 219293 w 451321"/>
                <a:gd name="connsiteY2126" fmla="*/ 554509 h 611653"/>
                <a:gd name="connsiteX2127" fmla="*/ 218143 w 451321"/>
                <a:gd name="connsiteY2127" fmla="*/ 554176 h 611653"/>
                <a:gd name="connsiteX2128" fmla="*/ 214362 w 451321"/>
                <a:gd name="connsiteY2128" fmla="*/ 554509 h 611653"/>
                <a:gd name="connsiteX2129" fmla="*/ 216177 w 451321"/>
                <a:gd name="connsiteY2129" fmla="*/ 549820 h 611653"/>
                <a:gd name="connsiteX2130" fmla="*/ 213666 w 451321"/>
                <a:gd name="connsiteY2130" fmla="*/ 548065 h 611653"/>
                <a:gd name="connsiteX2131" fmla="*/ 209461 w 451321"/>
                <a:gd name="connsiteY2131" fmla="*/ 547490 h 611653"/>
                <a:gd name="connsiteX2132" fmla="*/ 206103 w 451321"/>
                <a:gd name="connsiteY2132" fmla="*/ 546341 h 611653"/>
                <a:gd name="connsiteX2133" fmla="*/ 208160 w 451321"/>
                <a:gd name="connsiteY2133" fmla="*/ 545252 h 611653"/>
                <a:gd name="connsiteX2134" fmla="*/ 210217 w 451321"/>
                <a:gd name="connsiteY2134" fmla="*/ 545010 h 611653"/>
                <a:gd name="connsiteX2135" fmla="*/ 214362 w 451321"/>
                <a:gd name="connsiteY2135" fmla="*/ 545222 h 611653"/>
                <a:gd name="connsiteX2136" fmla="*/ 216237 w 451321"/>
                <a:gd name="connsiteY2136" fmla="*/ 544707 h 611653"/>
                <a:gd name="connsiteX2137" fmla="*/ 218082 w 451321"/>
                <a:gd name="connsiteY2137" fmla="*/ 543891 h 611653"/>
                <a:gd name="connsiteX2138" fmla="*/ 219807 w 451321"/>
                <a:gd name="connsiteY2138" fmla="*/ 543528 h 611653"/>
                <a:gd name="connsiteX2139" fmla="*/ 220654 w 451321"/>
                <a:gd name="connsiteY2139" fmla="*/ 544284 h 611653"/>
                <a:gd name="connsiteX2140" fmla="*/ 220654 w 451321"/>
                <a:gd name="connsiteY2140" fmla="*/ 545222 h 611653"/>
                <a:gd name="connsiteX2141" fmla="*/ 224798 w 451321"/>
                <a:gd name="connsiteY2141" fmla="*/ 545070 h 611653"/>
                <a:gd name="connsiteX2142" fmla="*/ 226825 w 451321"/>
                <a:gd name="connsiteY2142" fmla="*/ 545494 h 611653"/>
                <a:gd name="connsiteX2143" fmla="*/ 228156 w 451321"/>
                <a:gd name="connsiteY2143" fmla="*/ 546341 h 611653"/>
                <a:gd name="connsiteX2144" fmla="*/ 229033 w 451321"/>
                <a:gd name="connsiteY2144" fmla="*/ 545191 h 611653"/>
                <a:gd name="connsiteX2145" fmla="*/ 229820 w 451321"/>
                <a:gd name="connsiteY2145" fmla="*/ 544707 h 611653"/>
                <a:gd name="connsiteX2146" fmla="*/ 230486 w 451321"/>
                <a:gd name="connsiteY2146" fmla="*/ 545040 h 611653"/>
                <a:gd name="connsiteX2147" fmla="*/ 230970 w 451321"/>
                <a:gd name="connsiteY2147" fmla="*/ 546341 h 611653"/>
                <a:gd name="connsiteX2148" fmla="*/ 230123 w 451321"/>
                <a:gd name="connsiteY2148" fmla="*/ 546855 h 611653"/>
                <a:gd name="connsiteX2149" fmla="*/ 229639 w 451321"/>
                <a:gd name="connsiteY2149" fmla="*/ 547460 h 611653"/>
                <a:gd name="connsiteX2150" fmla="*/ 228882 w 451321"/>
                <a:gd name="connsiteY2150" fmla="*/ 549427 h 611653"/>
                <a:gd name="connsiteX2151" fmla="*/ 229850 w 451321"/>
                <a:gd name="connsiteY2151" fmla="*/ 549427 h 611653"/>
                <a:gd name="connsiteX2152" fmla="*/ 230486 w 451321"/>
                <a:gd name="connsiteY2152" fmla="*/ 549759 h 611653"/>
                <a:gd name="connsiteX2153" fmla="*/ 231000 w 451321"/>
                <a:gd name="connsiteY2153" fmla="*/ 550122 h 611653"/>
                <a:gd name="connsiteX2154" fmla="*/ 231635 w 451321"/>
                <a:gd name="connsiteY2154" fmla="*/ 550455 h 611653"/>
                <a:gd name="connsiteX2155" fmla="*/ 230334 w 451321"/>
                <a:gd name="connsiteY2155" fmla="*/ 551817 h 611653"/>
                <a:gd name="connsiteX2156" fmla="*/ 228973 w 451321"/>
                <a:gd name="connsiteY2156" fmla="*/ 552724 h 611653"/>
                <a:gd name="connsiteX2157" fmla="*/ 227551 w 451321"/>
                <a:gd name="connsiteY2157" fmla="*/ 553238 h 611653"/>
                <a:gd name="connsiteX2158" fmla="*/ 226099 w 451321"/>
                <a:gd name="connsiteY2158" fmla="*/ 553510 h 611653"/>
                <a:gd name="connsiteX2159" fmla="*/ 226553 w 451321"/>
                <a:gd name="connsiteY2159" fmla="*/ 554902 h 611653"/>
                <a:gd name="connsiteX2160" fmla="*/ 226765 w 451321"/>
                <a:gd name="connsiteY2160" fmla="*/ 555447 h 611653"/>
                <a:gd name="connsiteX2161" fmla="*/ 225857 w 451321"/>
                <a:gd name="connsiteY2161" fmla="*/ 555688 h 611653"/>
                <a:gd name="connsiteX2162" fmla="*/ 224980 w 451321"/>
                <a:gd name="connsiteY2162" fmla="*/ 556203 h 611653"/>
                <a:gd name="connsiteX2163" fmla="*/ 224314 w 451321"/>
                <a:gd name="connsiteY2163" fmla="*/ 556959 h 611653"/>
                <a:gd name="connsiteX2164" fmla="*/ 224042 w 451321"/>
                <a:gd name="connsiteY2164" fmla="*/ 558018 h 611653"/>
                <a:gd name="connsiteX2165" fmla="*/ 224466 w 451321"/>
                <a:gd name="connsiteY2165" fmla="*/ 558563 h 611653"/>
                <a:gd name="connsiteX2166" fmla="*/ 225464 w 451321"/>
                <a:gd name="connsiteY2166" fmla="*/ 558653 h 611653"/>
                <a:gd name="connsiteX2167" fmla="*/ 226613 w 451321"/>
                <a:gd name="connsiteY2167" fmla="*/ 558563 h 611653"/>
                <a:gd name="connsiteX2168" fmla="*/ 229396 w 451321"/>
                <a:gd name="connsiteY2168" fmla="*/ 558804 h 611653"/>
                <a:gd name="connsiteX2169" fmla="*/ 235749 w 451321"/>
                <a:gd name="connsiteY2169" fmla="*/ 558230 h 611653"/>
                <a:gd name="connsiteX2170" fmla="*/ 239591 w 451321"/>
                <a:gd name="connsiteY2170" fmla="*/ 556838 h 611653"/>
                <a:gd name="connsiteX2171" fmla="*/ 247184 w 451321"/>
                <a:gd name="connsiteY2171" fmla="*/ 555386 h 611653"/>
                <a:gd name="connsiteX2172" fmla="*/ 248848 w 451321"/>
                <a:gd name="connsiteY2172" fmla="*/ 554479 h 611653"/>
                <a:gd name="connsiteX2173" fmla="*/ 246942 w 451321"/>
                <a:gd name="connsiteY2173" fmla="*/ 552452 h 611653"/>
                <a:gd name="connsiteX2174" fmla="*/ 248455 w 451321"/>
                <a:gd name="connsiteY2174" fmla="*/ 550637 h 611653"/>
                <a:gd name="connsiteX2175" fmla="*/ 253749 w 451321"/>
                <a:gd name="connsiteY2175" fmla="*/ 548489 h 611653"/>
                <a:gd name="connsiteX2176" fmla="*/ 257924 w 451321"/>
                <a:gd name="connsiteY2176" fmla="*/ 547642 h 611653"/>
                <a:gd name="connsiteX2177" fmla="*/ 260193 w 451321"/>
                <a:gd name="connsiteY2177" fmla="*/ 546734 h 611653"/>
                <a:gd name="connsiteX2178" fmla="*/ 261282 w 451321"/>
                <a:gd name="connsiteY2178" fmla="*/ 545222 h 611653"/>
                <a:gd name="connsiteX2179" fmla="*/ 260071 w 451321"/>
                <a:gd name="connsiteY2179" fmla="*/ 544798 h 611653"/>
                <a:gd name="connsiteX2180" fmla="*/ 257107 w 451321"/>
                <a:gd name="connsiteY2180" fmla="*/ 542257 h 611653"/>
                <a:gd name="connsiteX2181" fmla="*/ 259225 w 451321"/>
                <a:gd name="connsiteY2181" fmla="*/ 542136 h 611653"/>
                <a:gd name="connsiteX2182" fmla="*/ 260919 w 451321"/>
                <a:gd name="connsiteY2182" fmla="*/ 541168 h 611653"/>
                <a:gd name="connsiteX2183" fmla="*/ 262371 w 451321"/>
                <a:gd name="connsiteY2183" fmla="*/ 539595 h 611653"/>
                <a:gd name="connsiteX2184" fmla="*/ 263702 w 451321"/>
                <a:gd name="connsiteY2184" fmla="*/ 537598 h 611653"/>
                <a:gd name="connsiteX2185" fmla="*/ 263944 w 451321"/>
                <a:gd name="connsiteY2185" fmla="*/ 536328 h 611653"/>
                <a:gd name="connsiteX2186" fmla="*/ 264065 w 451321"/>
                <a:gd name="connsiteY2186" fmla="*/ 532758 h 611653"/>
                <a:gd name="connsiteX2187" fmla="*/ 264186 w 451321"/>
                <a:gd name="connsiteY2187" fmla="*/ 532456 h 611653"/>
                <a:gd name="connsiteX2188" fmla="*/ 264397 w 451321"/>
                <a:gd name="connsiteY2188" fmla="*/ 532002 h 611653"/>
                <a:gd name="connsiteX2189" fmla="*/ 265547 w 451321"/>
                <a:gd name="connsiteY2189" fmla="*/ 532637 h 611653"/>
                <a:gd name="connsiteX2190" fmla="*/ 266001 w 451321"/>
                <a:gd name="connsiteY2190" fmla="*/ 534029 h 611653"/>
                <a:gd name="connsiteX2191" fmla="*/ 266182 w 451321"/>
                <a:gd name="connsiteY2191" fmla="*/ 535390 h 611653"/>
                <a:gd name="connsiteX2192" fmla="*/ 266485 w 451321"/>
                <a:gd name="connsiteY2192" fmla="*/ 535995 h 611653"/>
                <a:gd name="connsiteX2193" fmla="*/ 277164 w 451321"/>
                <a:gd name="connsiteY2193" fmla="*/ 537326 h 611653"/>
                <a:gd name="connsiteX2194" fmla="*/ 277738 w 451321"/>
                <a:gd name="connsiteY2194" fmla="*/ 536570 h 611653"/>
                <a:gd name="connsiteX2195" fmla="*/ 277738 w 451321"/>
                <a:gd name="connsiteY2195" fmla="*/ 535027 h 611653"/>
                <a:gd name="connsiteX2196" fmla="*/ 278555 w 451321"/>
                <a:gd name="connsiteY2196" fmla="*/ 532940 h 611653"/>
                <a:gd name="connsiteX2197" fmla="*/ 280642 w 451321"/>
                <a:gd name="connsiteY2197" fmla="*/ 531971 h 611653"/>
                <a:gd name="connsiteX2198" fmla="*/ 285967 w 451321"/>
                <a:gd name="connsiteY2198" fmla="*/ 532516 h 611653"/>
                <a:gd name="connsiteX2199" fmla="*/ 287873 w 451321"/>
                <a:gd name="connsiteY2199" fmla="*/ 531457 h 611653"/>
                <a:gd name="connsiteX2200" fmla="*/ 288689 w 451321"/>
                <a:gd name="connsiteY2200" fmla="*/ 530852 h 611653"/>
                <a:gd name="connsiteX2201" fmla="*/ 289688 w 451321"/>
                <a:gd name="connsiteY2201" fmla="*/ 530671 h 611653"/>
                <a:gd name="connsiteX2202" fmla="*/ 290535 w 451321"/>
                <a:gd name="connsiteY2202" fmla="*/ 530368 h 611653"/>
                <a:gd name="connsiteX2203" fmla="*/ 290898 w 451321"/>
                <a:gd name="connsiteY2203" fmla="*/ 529340 h 611653"/>
                <a:gd name="connsiteX2204" fmla="*/ 291291 w 451321"/>
                <a:gd name="connsiteY2204" fmla="*/ 524772 h 611653"/>
                <a:gd name="connsiteX2205" fmla="*/ 294467 w 451321"/>
                <a:gd name="connsiteY2205" fmla="*/ 522624 h 611653"/>
                <a:gd name="connsiteX2206" fmla="*/ 295042 w 451321"/>
                <a:gd name="connsiteY2206" fmla="*/ 520809 h 611653"/>
                <a:gd name="connsiteX2207" fmla="*/ 294891 w 451321"/>
                <a:gd name="connsiteY2207" fmla="*/ 520173 h 611653"/>
                <a:gd name="connsiteX2208" fmla="*/ 294165 w 451321"/>
                <a:gd name="connsiteY2208" fmla="*/ 520022 h 611653"/>
                <a:gd name="connsiteX2209" fmla="*/ 291170 w 451321"/>
                <a:gd name="connsiteY2209" fmla="*/ 518782 h 611653"/>
                <a:gd name="connsiteX2210" fmla="*/ 289325 w 451321"/>
                <a:gd name="connsiteY2210" fmla="*/ 518328 h 611653"/>
                <a:gd name="connsiteX2211" fmla="*/ 287782 w 451321"/>
                <a:gd name="connsiteY2211" fmla="*/ 518540 h 611653"/>
                <a:gd name="connsiteX2212" fmla="*/ 286814 w 451321"/>
                <a:gd name="connsiteY2212" fmla="*/ 519659 h 611653"/>
                <a:gd name="connsiteX2213" fmla="*/ 286421 w 451321"/>
                <a:gd name="connsiteY2213" fmla="*/ 517209 h 611653"/>
                <a:gd name="connsiteX2214" fmla="*/ 287631 w 451321"/>
                <a:gd name="connsiteY2214" fmla="*/ 515242 h 611653"/>
                <a:gd name="connsiteX2215" fmla="*/ 289536 w 451321"/>
                <a:gd name="connsiteY2215" fmla="*/ 513911 h 611653"/>
                <a:gd name="connsiteX2216" fmla="*/ 291291 w 451321"/>
                <a:gd name="connsiteY2216" fmla="*/ 513427 h 611653"/>
                <a:gd name="connsiteX2217" fmla="*/ 291624 w 451321"/>
                <a:gd name="connsiteY2217" fmla="*/ 513881 h 611653"/>
                <a:gd name="connsiteX2218" fmla="*/ 291926 w 451321"/>
                <a:gd name="connsiteY2218" fmla="*/ 514879 h 611653"/>
                <a:gd name="connsiteX2219" fmla="*/ 292350 w 451321"/>
                <a:gd name="connsiteY2219" fmla="*/ 515938 h 611653"/>
                <a:gd name="connsiteX2220" fmla="*/ 293046 w 451321"/>
                <a:gd name="connsiteY2220" fmla="*/ 516513 h 611653"/>
                <a:gd name="connsiteX2221" fmla="*/ 294044 w 451321"/>
                <a:gd name="connsiteY2221" fmla="*/ 516331 h 611653"/>
                <a:gd name="connsiteX2222" fmla="*/ 294588 w 451321"/>
                <a:gd name="connsiteY2222" fmla="*/ 515605 h 611653"/>
                <a:gd name="connsiteX2223" fmla="*/ 294951 w 451321"/>
                <a:gd name="connsiteY2223" fmla="*/ 514819 h 611653"/>
                <a:gd name="connsiteX2224" fmla="*/ 295435 w 451321"/>
                <a:gd name="connsiteY2224" fmla="*/ 514456 h 611653"/>
                <a:gd name="connsiteX2225" fmla="*/ 299187 w 451321"/>
                <a:gd name="connsiteY2225" fmla="*/ 513670 h 611653"/>
                <a:gd name="connsiteX2226" fmla="*/ 306114 w 451321"/>
                <a:gd name="connsiteY2226" fmla="*/ 510221 h 611653"/>
                <a:gd name="connsiteX2227" fmla="*/ 325415 w 451321"/>
                <a:gd name="connsiteY2227" fmla="*/ 508285 h 611653"/>
                <a:gd name="connsiteX2228" fmla="*/ 329226 w 451321"/>
                <a:gd name="connsiteY2228" fmla="*/ 509132 h 611653"/>
                <a:gd name="connsiteX2229" fmla="*/ 331102 w 451321"/>
                <a:gd name="connsiteY2229" fmla="*/ 509132 h 611653"/>
                <a:gd name="connsiteX2230" fmla="*/ 333098 w 451321"/>
                <a:gd name="connsiteY2230" fmla="*/ 508285 h 611653"/>
                <a:gd name="connsiteX2231" fmla="*/ 333764 w 451321"/>
                <a:gd name="connsiteY2231" fmla="*/ 507498 h 611653"/>
                <a:gd name="connsiteX2232" fmla="*/ 334218 w 451321"/>
                <a:gd name="connsiteY2232" fmla="*/ 506470 h 611653"/>
                <a:gd name="connsiteX2233" fmla="*/ 334883 w 451321"/>
                <a:gd name="connsiteY2233" fmla="*/ 505592 h 611653"/>
                <a:gd name="connsiteX2234" fmla="*/ 336124 w 451321"/>
                <a:gd name="connsiteY2234" fmla="*/ 505199 h 611653"/>
                <a:gd name="connsiteX2235" fmla="*/ 336940 w 451321"/>
                <a:gd name="connsiteY2235" fmla="*/ 505350 h 611653"/>
                <a:gd name="connsiteX2236" fmla="*/ 338241 w 451321"/>
                <a:gd name="connsiteY2236" fmla="*/ 506046 h 611653"/>
                <a:gd name="connsiteX2237" fmla="*/ 339300 w 451321"/>
                <a:gd name="connsiteY2237" fmla="*/ 506227 h 611653"/>
                <a:gd name="connsiteX2238" fmla="*/ 338937 w 451321"/>
                <a:gd name="connsiteY2238" fmla="*/ 505562 h 611653"/>
                <a:gd name="connsiteX2239" fmla="*/ 338725 w 451321"/>
                <a:gd name="connsiteY2239" fmla="*/ 505048 h 611653"/>
                <a:gd name="connsiteX2240" fmla="*/ 338453 w 451321"/>
                <a:gd name="connsiteY2240" fmla="*/ 504594 h 611653"/>
                <a:gd name="connsiteX2241" fmla="*/ 337878 w 451321"/>
                <a:gd name="connsiteY2241" fmla="*/ 504171 h 611653"/>
                <a:gd name="connsiteX2242" fmla="*/ 337878 w 451321"/>
                <a:gd name="connsiteY2242" fmla="*/ 503233 h 611653"/>
                <a:gd name="connsiteX2243" fmla="*/ 339270 w 451321"/>
                <a:gd name="connsiteY2243" fmla="*/ 503082 h 611653"/>
                <a:gd name="connsiteX2244" fmla="*/ 340540 w 451321"/>
                <a:gd name="connsiteY2244" fmla="*/ 503263 h 611653"/>
                <a:gd name="connsiteX2245" fmla="*/ 342749 w 451321"/>
                <a:gd name="connsiteY2245" fmla="*/ 504171 h 611653"/>
                <a:gd name="connsiteX2246" fmla="*/ 339905 w 451321"/>
                <a:gd name="connsiteY2246" fmla="*/ 507710 h 611653"/>
                <a:gd name="connsiteX2247" fmla="*/ 339300 w 451321"/>
                <a:gd name="connsiteY2247" fmla="*/ 509404 h 611653"/>
                <a:gd name="connsiteX2248" fmla="*/ 341448 w 451321"/>
                <a:gd name="connsiteY2248" fmla="*/ 508890 h 611653"/>
                <a:gd name="connsiteX2249" fmla="*/ 345986 w 451321"/>
                <a:gd name="connsiteY2249" fmla="*/ 508768 h 611653"/>
                <a:gd name="connsiteX2250" fmla="*/ 348224 w 451321"/>
                <a:gd name="connsiteY2250" fmla="*/ 508285 h 611653"/>
                <a:gd name="connsiteX2251" fmla="*/ 349979 w 451321"/>
                <a:gd name="connsiteY2251" fmla="*/ 507044 h 611653"/>
                <a:gd name="connsiteX2252" fmla="*/ 352883 w 451321"/>
                <a:gd name="connsiteY2252" fmla="*/ 503323 h 611653"/>
                <a:gd name="connsiteX2253" fmla="*/ 354486 w 451321"/>
                <a:gd name="connsiteY2253" fmla="*/ 502113 h 611653"/>
                <a:gd name="connsiteX2254" fmla="*/ 354486 w 451321"/>
                <a:gd name="connsiteY2254" fmla="*/ 501085 h 611653"/>
                <a:gd name="connsiteX2255" fmla="*/ 351975 w 451321"/>
                <a:gd name="connsiteY2255" fmla="*/ 501085 h 611653"/>
                <a:gd name="connsiteX2256" fmla="*/ 351733 w 451321"/>
                <a:gd name="connsiteY2256" fmla="*/ 499663 h 611653"/>
                <a:gd name="connsiteX2257" fmla="*/ 353034 w 451321"/>
                <a:gd name="connsiteY2257" fmla="*/ 495942 h 611653"/>
                <a:gd name="connsiteX2258" fmla="*/ 352671 w 451321"/>
                <a:gd name="connsiteY2258" fmla="*/ 494460 h 611653"/>
                <a:gd name="connsiteX2259" fmla="*/ 351280 w 451321"/>
                <a:gd name="connsiteY2259" fmla="*/ 491949 h 611653"/>
                <a:gd name="connsiteX2260" fmla="*/ 350977 w 451321"/>
                <a:gd name="connsiteY2260" fmla="*/ 491223 h 611653"/>
                <a:gd name="connsiteX2261" fmla="*/ 350917 w 451321"/>
                <a:gd name="connsiteY2261" fmla="*/ 489710 h 611653"/>
                <a:gd name="connsiteX2262" fmla="*/ 350796 w 451321"/>
                <a:gd name="connsiteY2262" fmla="*/ 488924 h 611653"/>
                <a:gd name="connsiteX2263" fmla="*/ 350523 w 451321"/>
                <a:gd name="connsiteY2263" fmla="*/ 487290 h 611653"/>
                <a:gd name="connsiteX2264" fmla="*/ 350221 w 451321"/>
                <a:gd name="connsiteY2264" fmla="*/ 485536 h 611653"/>
                <a:gd name="connsiteX2265" fmla="*/ 351491 w 451321"/>
                <a:gd name="connsiteY2265" fmla="*/ 487139 h 611653"/>
                <a:gd name="connsiteX2266" fmla="*/ 352974 w 451321"/>
                <a:gd name="connsiteY2266" fmla="*/ 491858 h 611653"/>
                <a:gd name="connsiteX2267" fmla="*/ 354123 w 451321"/>
                <a:gd name="connsiteY2267" fmla="*/ 492857 h 611653"/>
                <a:gd name="connsiteX2268" fmla="*/ 355182 w 451321"/>
                <a:gd name="connsiteY2268" fmla="*/ 493401 h 611653"/>
                <a:gd name="connsiteX2269" fmla="*/ 356362 w 451321"/>
                <a:gd name="connsiteY2269" fmla="*/ 494641 h 611653"/>
                <a:gd name="connsiteX2270" fmla="*/ 357360 w 451321"/>
                <a:gd name="connsiteY2270" fmla="*/ 496033 h 611653"/>
                <a:gd name="connsiteX2271" fmla="*/ 357935 w 451321"/>
                <a:gd name="connsiteY2271" fmla="*/ 497091 h 611653"/>
                <a:gd name="connsiteX2272" fmla="*/ 359659 w 451321"/>
                <a:gd name="connsiteY2272" fmla="*/ 503202 h 611653"/>
                <a:gd name="connsiteX2273" fmla="*/ 359659 w 451321"/>
                <a:gd name="connsiteY2273" fmla="*/ 504685 h 611653"/>
                <a:gd name="connsiteX2274" fmla="*/ 358510 w 451321"/>
                <a:gd name="connsiteY2274" fmla="*/ 505804 h 611653"/>
                <a:gd name="connsiteX2275" fmla="*/ 357239 w 451321"/>
                <a:gd name="connsiteY2275" fmla="*/ 506560 h 611653"/>
                <a:gd name="connsiteX2276" fmla="*/ 356029 w 451321"/>
                <a:gd name="connsiteY2276" fmla="*/ 507559 h 611653"/>
                <a:gd name="connsiteX2277" fmla="*/ 355122 w 451321"/>
                <a:gd name="connsiteY2277" fmla="*/ 509404 h 611653"/>
                <a:gd name="connsiteX2278" fmla="*/ 356816 w 451321"/>
                <a:gd name="connsiteY2278" fmla="*/ 510342 h 611653"/>
                <a:gd name="connsiteX2279" fmla="*/ 358177 w 451321"/>
                <a:gd name="connsiteY2279" fmla="*/ 509102 h 611653"/>
                <a:gd name="connsiteX2280" fmla="*/ 359326 w 451321"/>
                <a:gd name="connsiteY2280" fmla="*/ 507226 h 611653"/>
                <a:gd name="connsiteX2281" fmla="*/ 360355 w 451321"/>
                <a:gd name="connsiteY2281" fmla="*/ 506258 h 611653"/>
                <a:gd name="connsiteX2282" fmla="*/ 367615 w 451321"/>
                <a:gd name="connsiteY2282" fmla="*/ 502144 h 611653"/>
                <a:gd name="connsiteX2283" fmla="*/ 366859 w 451321"/>
                <a:gd name="connsiteY2283" fmla="*/ 501115 h 611653"/>
                <a:gd name="connsiteX2284" fmla="*/ 367192 w 451321"/>
                <a:gd name="connsiteY2284" fmla="*/ 501115 h 611653"/>
                <a:gd name="connsiteX2285" fmla="*/ 367888 w 451321"/>
                <a:gd name="connsiteY2285" fmla="*/ 501176 h 611653"/>
                <a:gd name="connsiteX2286" fmla="*/ 368220 w 451321"/>
                <a:gd name="connsiteY2286" fmla="*/ 501115 h 611653"/>
                <a:gd name="connsiteX2287" fmla="*/ 368220 w 451321"/>
                <a:gd name="connsiteY2287" fmla="*/ 499996 h 611653"/>
                <a:gd name="connsiteX2288" fmla="*/ 367525 w 451321"/>
                <a:gd name="connsiteY2288" fmla="*/ 500056 h 611653"/>
                <a:gd name="connsiteX2289" fmla="*/ 366829 w 451321"/>
                <a:gd name="connsiteY2289" fmla="*/ 499996 h 611653"/>
                <a:gd name="connsiteX2290" fmla="*/ 367555 w 451321"/>
                <a:gd name="connsiteY2290" fmla="*/ 499028 h 611653"/>
                <a:gd name="connsiteX2291" fmla="*/ 367857 w 451321"/>
                <a:gd name="connsiteY2291" fmla="*/ 498151 h 611653"/>
                <a:gd name="connsiteX2292" fmla="*/ 368190 w 451321"/>
                <a:gd name="connsiteY2292" fmla="*/ 495942 h 611653"/>
                <a:gd name="connsiteX2293" fmla="*/ 367555 w 451321"/>
                <a:gd name="connsiteY2293" fmla="*/ 495942 h 611653"/>
                <a:gd name="connsiteX2294" fmla="*/ 367222 w 451321"/>
                <a:gd name="connsiteY2294" fmla="*/ 496365 h 611653"/>
                <a:gd name="connsiteX2295" fmla="*/ 366133 w 451321"/>
                <a:gd name="connsiteY2295" fmla="*/ 497091 h 611653"/>
                <a:gd name="connsiteX2296" fmla="*/ 366405 w 451321"/>
                <a:gd name="connsiteY2296" fmla="*/ 495972 h 611653"/>
                <a:gd name="connsiteX2297" fmla="*/ 366405 w 451321"/>
                <a:gd name="connsiteY2297" fmla="*/ 495488 h 611653"/>
                <a:gd name="connsiteX2298" fmla="*/ 366254 w 451321"/>
                <a:gd name="connsiteY2298" fmla="*/ 495004 h 611653"/>
                <a:gd name="connsiteX2299" fmla="*/ 366133 w 451321"/>
                <a:gd name="connsiteY2299" fmla="*/ 493794 h 611653"/>
                <a:gd name="connsiteX2300" fmla="*/ 366829 w 451321"/>
                <a:gd name="connsiteY2300" fmla="*/ 492857 h 611653"/>
                <a:gd name="connsiteX2301" fmla="*/ 368795 w 451321"/>
                <a:gd name="connsiteY2301" fmla="*/ 493673 h 611653"/>
                <a:gd name="connsiteX2302" fmla="*/ 370792 w 451321"/>
                <a:gd name="connsiteY2302" fmla="*/ 492917 h 611653"/>
                <a:gd name="connsiteX2303" fmla="*/ 372516 w 451321"/>
                <a:gd name="connsiteY2303" fmla="*/ 491344 h 611653"/>
                <a:gd name="connsiteX2304" fmla="*/ 373726 w 451321"/>
                <a:gd name="connsiteY2304" fmla="*/ 489771 h 611653"/>
                <a:gd name="connsiteX2305" fmla="*/ 373545 w 451321"/>
                <a:gd name="connsiteY2305" fmla="*/ 492100 h 611653"/>
                <a:gd name="connsiteX2306" fmla="*/ 372516 w 451321"/>
                <a:gd name="connsiteY2306" fmla="*/ 493976 h 611653"/>
                <a:gd name="connsiteX2307" fmla="*/ 371064 w 451321"/>
                <a:gd name="connsiteY2307" fmla="*/ 495307 h 611653"/>
                <a:gd name="connsiteX2308" fmla="*/ 369551 w 451321"/>
                <a:gd name="connsiteY2308" fmla="*/ 495912 h 611653"/>
                <a:gd name="connsiteX2309" fmla="*/ 369551 w 451321"/>
                <a:gd name="connsiteY2309" fmla="*/ 497061 h 611653"/>
                <a:gd name="connsiteX2310" fmla="*/ 371488 w 451321"/>
                <a:gd name="connsiteY2310" fmla="*/ 497485 h 611653"/>
                <a:gd name="connsiteX2311" fmla="*/ 378597 w 451321"/>
                <a:gd name="connsiteY2311" fmla="*/ 496487 h 611653"/>
                <a:gd name="connsiteX2312" fmla="*/ 386069 w 451321"/>
                <a:gd name="connsiteY2312" fmla="*/ 498574 h 611653"/>
                <a:gd name="connsiteX2313" fmla="*/ 387914 w 451321"/>
                <a:gd name="connsiteY2313" fmla="*/ 499481 h 611653"/>
                <a:gd name="connsiteX2314" fmla="*/ 390516 w 451321"/>
                <a:gd name="connsiteY2314" fmla="*/ 502053 h 611653"/>
                <a:gd name="connsiteX2315" fmla="*/ 392270 w 451321"/>
                <a:gd name="connsiteY2315" fmla="*/ 502265 h 611653"/>
                <a:gd name="connsiteX2316" fmla="*/ 396536 w 451321"/>
                <a:gd name="connsiteY2316" fmla="*/ 499935 h 611653"/>
                <a:gd name="connsiteX2317" fmla="*/ 401346 w 451321"/>
                <a:gd name="connsiteY2317" fmla="*/ 498997 h 611653"/>
                <a:gd name="connsiteX2318" fmla="*/ 403070 w 451321"/>
                <a:gd name="connsiteY2318" fmla="*/ 497908 h 611653"/>
                <a:gd name="connsiteX2319" fmla="*/ 404099 w 451321"/>
                <a:gd name="connsiteY2319" fmla="*/ 497908 h 611653"/>
                <a:gd name="connsiteX2320" fmla="*/ 405460 w 451321"/>
                <a:gd name="connsiteY2320" fmla="*/ 498997 h 611653"/>
                <a:gd name="connsiteX2321" fmla="*/ 403403 w 451321"/>
                <a:gd name="connsiteY2321" fmla="*/ 498997 h 611653"/>
                <a:gd name="connsiteX2322" fmla="*/ 403403 w 451321"/>
                <a:gd name="connsiteY2322" fmla="*/ 499935 h 611653"/>
                <a:gd name="connsiteX2323" fmla="*/ 407789 w 451321"/>
                <a:gd name="connsiteY2323" fmla="*/ 499935 h 611653"/>
                <a:gd name="connsiteX2324" fmla="*/ 408092 w 451321"/>
                <a:gd name="connsiteY2324" fmla="*/ 499754 h 611653"/>
                <a:gd name="connsiteX2325" fmla="*/ 408273 w 451321"/>
                <a:gd name="connsiteY2325" fmla="*/ 499481 h 611653"/>
                <a:gd name="connsiteX2326" fmla="*/ 409483 w 451321"/>
                <a:gd name="connsiteY2326" fmla="*/ 498514 h 611653"/>
                <a:gd name="connsiteX2327" fmla="*/ 410361 w 451321"/>
                <a:gd name="connsiteY2327" fmla="*/ 497364 h 611653"/>
                <a:gd name="connsiteX2328" fmla="*/ 410966 w 451321"/>
                <a:gd name="connsiteY2328" fmla="*/ 497091 h 611653"/>
                <a:gd name="connsiteX2329" fmla="*/ 412145 w 451321"/>
                <a:gd name="connsiteY2329" fmla="*/ 497213 h 611653"/>
                <a:gd name="connsiteX2330" fmla="*/ 412266 w 451321"/>
                <a:gd name="connsiteY2330" fmla="*/ 497878 h 611653"/>
                <a:gd name="connsiteX2331" fmla="*/ 411359 w 451321"/>
                <a:gd name="connsiteY2331" fmla="*/ 499723 h 611653"/>
                <a:gd name="connsiteX2332" fmla="*/ 410633 w 451321"/>
                <a:gd name="connsiteY2332" fmla="*/ 500419 h 611653"/>
                <a:gd name="connsiteX2333" fmla="*/ 410421 w 451321"/>
                <a:gd name="connsiteY2333" fmla="*/ 501206 h 611653"/>
                <a:gd name="connsiteX2334" fmla="*/ 411722 w 451321"/>
                <a:gd name="connsiteY2334" fmla="*/ 502113 h 611653"/>
                <a:gd name="connsiteX2335" fmla="*/ 412690 w 451321"/>
                <a:gd name="connsiteY2335" fmla="*/ 502295 h 611653"/>
                <a:gd name="connsiteX2336" fmla="*/ 413416 w 451321"/>
                <a:gd name="connsiteY2336" fmla="*/ 502022 h 611653"/>
                <a:gd name="connsiteX2337" fmla="*/ 414414 w 451321"/>
                <a:gd name="connsiteY2337" fmla="*/ 501085 h 611653"/>
                <a:gd name="connsiteX2338" fmla="*/ 415715 w 451321"/>
                <a:gd name="connsiteY2338" fmla="*/ 499421 h 611653"/>
                <a:gd name="connsiteX2339" fmla="*/ 418589 w 451321"/>
                <a:gd name="connsiteY2339" fmla="*/ 492857 h 611653"/>
                <a:gd name="connsiteX2340" fmla="*/ 413416 w 451321"/>
                <a:gd name="connsiteY2340" fmla="*/ 488046 h 611653"/>
                <a:gd name="connsiteX2341" fmla="*/ 411389 w 451321"/>
                <a:gd name="connsiteY2341" fmla="*/ 484567 h 611653"/>
                <a:gd name="connsiteX2342" fmla="*/ 413083 w 451321"/>
                <a:gd name="connsiteY2342" fmla="*/ 481421 h 611653"/>
                <a:gd name="connsiteX2343" fmla="*/ 413083 w 451321"/>
                <a:gd name="connsiteY2343" fmla="*/ 480483 h 611653"/>
                <a:gd name="connsiteX2344" fmla="*/ 410693 w 451321"/>
                <a:gd name="connsiteY2344" fmla="*/ 484204 h 611653"/>
                <a:gd name="connsiteX2345" fmla="*/ 409453 w 451321"/>
                <a:gd name="connsiteY2345" fmla="*/ 485536 h 611653"/>
                <a:gd name="connsiteX2346" fmla="*/ 408909 w 451321"/>
                <a:gd name="connsiteY2346" fmla="*/ 483962 h 611653"/>
                <a:gd name="connsiteX2347" fmla="*/ 408001 w 451321"/>
                <a:gd name="connsiteY2347" fmla="*/ 482722 h 611653"/>
                <a:gd name="connsiteX2348" fmla="*/ 404855 w 451321"/>
                <a:gd name="connsiteY2348" fmla="*/ 482057 h 611653"/>
                <a:gd name="connsiteX2349" fmla="*/ 405490 w 451321"/>
                <a:gd name="connsiteY2349" fmla="*/ 480483 h 611653"/>
                <a:gd name="connsiteX2350" fmla="*/ 404734 w 451321"/>
                <a:gd name="connsiteY2350" fmla="*/ 478487 h 611653"/>
                <a:gd name="connsiteX2351" fmla="*/ 403584 w 451321"/>
                <a:gd name="connsiteY2351" fmla="*/ 476823 h 611653"/>
                <a:gd name="connsiteX2352" fmla="*/ 402193 w 451321"/>
                <a:gd name="connsiteY2352" fmla="*/ 475643 h 611653"/>
                <a:gd name="connsiteX2353" fmla="*/ 400680 w 451321"/>
                <a:gd name="connsiteY2353" fmla="*/ 475129 h 611653"/>
                <a:gd name="connsiteX2354" fmla="*/ 400680 w 451321"/>
                <a:gd name="connsiteY2354" fmla="*/ 474191 h 611653"/>
                <a:gd name="connsiteX2355" fmla="*/ 401467 w 451321"/>
                <a:gd name="connsiteY2355" fmla="*/ 473465 h 611653"/>
                <a:gd name="connsiteX2356" fmla="*/ 402284 w 451321"/>
                <a:gd name="connsiteY2356" fmla="*/ 472860 h 611653"/>
                <a:gd name="connsiteX2357" fmla="*/ 403161 w 451321"/>
                <a:gd name="connsiteY2357" fmla="*/ 472437 h 611653"/>
                <a:gd name="connsiteX2358" fmla="*/ 404068 w 451321"/>
                <a:gd name="connsiteY2358" fmla="*/ 472134 h 611653"/>
                <a:gd name="connsiteX2359" fmla="*/ 403494 w 451321"/>
                <a:gd name="connsiteY2359" fmla="*/ 474857 h 611653"/>
                <a:gd name="connsiteX2360" fmla="*/ 405581 w 451321"/>
                <a:gd name="connsiteY2360" fmla="*/ 475462 h 611653"/>
                <a:gd name="connsiteX2361" fmla="*/ 411419 w 451321"/>
                <a:gd name="connsiteY2361" fmla="*/ 475008 h 611653"/>
                <a:gd name="connsiteX2362" fmla="*/ 412327 w 451321"/>
                <a:gd name="connsiteY2362" fmla="*/ 475341 h 611653"/>
                <a:gd name="connsiteX2363" fmla="*/ 413114 w 451321"/>
                <a:gd name="connsiteY2363" fmla="*/ 476067 h 611653"/>
                <a:gd name="connsiteX2364" fmla="*/ 413809 w 451321"/>
                <a:gd name="connsiteY2364" fmla="*/ 477216 h 611653"/>
                <a:gd name="connsiteX2365" fmla="*/ 413991 w 451321"/>
                <a:gd name="connsiteY2365" fmla="*/ 475189 h 611653"/>
                <a:gd name="connsiteX2366" fmla="*/ 413809 w 451321"/>
                <a:gd name="connsiteY2366" fmla="*/ 472558 h 611653"/>
                <a:gd name="connsiteX2367" fmla="*/ 413870 w 451321"/>
                <a:gd name="connsiteY2367" fmla="*/ 469805 h 611653"/>
                <a:gd name="connsiteX2368" fmla="*/ 414808 w 451321"/>
                <a:gd name="connsiteY2368" fmla="*/ 467445 h 611653"/>
                <a:gd name="connsiteX2369" fmla="*/ 417107 w 451321"/>
                <a:gd name="connsiteY2369" fmla="*/ 463543 h 611653"/>
                <a:gd name="connsiteX2370" fmla="*/ 418680 w 451321"/>
                <a:gd name="connsiteY2370" fmla="*/ 461546 h 611653"/>
                <a:gd name="connsiteX2371" fmla="*/ 420374 w 451321"/>
                <a:gd name="connsiteY2371" fmla="*/ 460669 h 611653"/>
                <a:gd name="connsiteX2372" fmla="*/ 422189 w 451321"/>
                <a:gd name="connsiteY2372" fmla="*/ 458642 h 611653"/>
                <a:gd name="connsiteX2373" fmla="*/ 428300 w 451321"/>
                <a:gd name="connsiteY2373" fmla="*/ 449325 h 611653"/>
                <a:gd name="connsiteX2374" fmla="*/ 429631 w 451321"/>
                <a:gd name="connsiteY2374" fmla="*/ 446693 h 611653"/>
                <a:gd name="connsiteX2375" fmla="*/ 429903 w 451321"/>
                <a:gd name="connsiteY2375" fmla="*/ 440219 h 611653"/>
                <a:gd name="connsiteX2376" fmla="*/ 429631 w 451321"/>
                <a:gd name="connsiteY2376" fmla="*/ 437890 h 611653"/>
                <a:gd name="connsiteX2377" fmla="*/ 428602 w 451321"/>
                <a:gd name="connsiteY2377" fmla="*/ 433594 h 611653"/>
                <a:gd name="connsiteX2378" fmla="*/ 428481 w 451321"/>
                <a:gd name="connsiteY2378" fmla="*/ 431295 h 611653"/>
                <a:gd name="connsiteX2379" fmla="*/ 429026 w 451321"/>
                <a:gd name="connsiteY2379" fmla="*/ 428451 h 611653"/>
                <a:gd name="connsiteX2380" fmla="*/ 433745 w 451321"/>
                <a:gd name="connsiteY2380" fmla="*/ 420707 h 611653"/>
                <a:gd name="connsiteX2381" fmla="*/ 435500 w 451321"/>
                <a:gd name="connsiteY2381" fmla="*/ 416925 h 611653"/>
                <a:gd name="connsiteX2382" fmla="*/ 435802 w 451321"/>
                <a:gd name="connsiteY2382" fmla="*/ 416229 h 611653"/>
                <a:gd name="connsiteX2383" fmla="*/ 435197 w 451321"/>
                <a:gd name="connsiteY2383" fmla="*/ 412841 h 611653"/>
                <a:gd name="connsiteX2384" fmla="*/ 437587 w 451321"/>
                <a:gd name="connsiteY2384" fmla="*/ 405551 h 611653"/>
                <a:gd name="connsiteX2385" fmla="*/ 438706 w 451321"/>
                <a:gd name="connsiteY2385" fmla="*/ 403342 h 611653"/>
                <a:gd name="connsiteX2386" fmla="*/ 439886 w 451321"/>
                <a:gd name="connsiteY2386" fmla="*/ 401890 h 611653"/>
                <a:gd name="connsiteX2387" fmla="*/ 444182 w 451321"/>
                <a:gd name="connsiteY2387" fmla="*/ 398109 h 611653"/>
                <a:gd name="connsiteX2388" fmla="*/ 443425 w 451321"/>
                <a:gd name="connsiteY2388" fmla="*/ 396990 h 611653"/>
                <a:gd name="connsiteX2389" fmla="*/ 446844 w 451321"/>
                <a:gd name="connsiteY2389" fmla="*/ 389669 h 611653"/>
                <a:gd name="connsiteX2390" fmla="*/ 447963 w 451321"/>
                <a:gd name="connsiteY2390" fmla="*/ 388610 h 611653"/>
                <a:gd name="connsiteX2391" fmla="*/ 448477 w 451321"/>
                <a:gd name="connsiteY2391" fmla="*/ 387975 h 611653"/>
                <a:gd name="connsiteX2392" fmla="*/ 449476 w 451321"/>
                <a:gd name="connsiteY2392" fmla="*/ 385101 h 611653"/>
                <a:gd name="connsiteX2393" fmla="*/ 450020 w 451321"/>
                <a:gd name="connsiteY2393" fmla="*/ 384435 h 611653"/>
                <a:gd name="connsiteX2394" fmla="*/ 451321 w 451321"/>
                <a:gd name="connsiteY2394" fmla="*/ 383921 h 611653"/>
                <a:gd name="connsiteX2395" fmla="*/ 451019 w 451321"/>
                <a:gd name="connsiteY2395" fmla="*/ 382771 h 61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Lst>
              <a:rect l="l" t="t" r="r" b="b"/>
              <a:pathLst>
                <a:path w="451321" h="611653">
                  <a:moveTo>
                    <a:pt x="67672" y="584367"/>
                  </a:moveTo>
                  <a:lnTo>
                    <a:pt x="68489" y="583308"/>
                  </a:lnTo>
                  <a:lnTo>
                    <a:pt x="67703" y="582794"/>
                  </a:lnTo>
                  <a:lnTo>
                    <a:pt x="66704" y="583006"/>
                  </a:lnTo>
                  <a:lnTo>
                    <a:pt x="65978" y="583006"/>
                  </a:lnTo>
                  <a:lnTo>
                    <a:pt x="62530" y="582461"/>
                  </a:lnTo>
                  <a:lnTo>
                    <a:pt x="60170" y="582673"/>
                  </a:lnTo>
                  <a:lnTo>
                    <a:pt x="58234" y="583338"/>
                  </a:lnTo>
                  <a:lnTo>
                    <a:pt x="56782" y="584458"/>
                  </a:lnTo>
                  <a:lnTo>
                    <a:pt x="56540" y="585910"/>
                  </a:lnTo>
                  <a:lnTo>
                    <a:pt x="58083" y="586666"/>
                  </a:lnTo>
                  <a:lnTo>
                    <a:pt x="59142" y="587120"/>
                  </a:lnTo>
                  <a:lnTo>
                    <a:pt x="67067" y="584700"/>
                  </a:lnTo>
                  <a:lnTo>
                    <a:pt x="67703" y="584367"/>
                  </a:lnTo>
                  <a:close/>
                  <a:moveTo>
                    <a:pt x="15821" y="543528"/>
                  </a:moveTo>
                  <a:lnTo>
                    <a:pt x="17636" y="542408"/>
                  </a:lnTo>
                  <a:lnTo>
                    <a:pt x="18332" y="541259"/>
                  </a:lnTo>
                  <a:lnTo>
                    <a:pt x="17939" y="540291"/>
                  </a:lnTo>
                  <a:lnTo>
                    <a:pt x="16820" y="540200"/>
                  </a:lnTo>
                  <a:lnTo>
                    <a:pt x="16275" y="540291"/>
                  </a:lnTo>
                  <a:lnTo>
                    <a:pt x="15489" y="539595"/>
                  </a:lnTo>
                  <a:lnTo>
                    <a:pt x="14763" y="539443"/>
                  </a:lnTo>
                  <a:lnTo>
                    <a:pt x="12887" y="539353"/>
                  </a:lnTo>
                  <a:lnTo>
                    <a:pt x="11949" y="540169"/>
                  </a:lnTo>
                  <a:lnTo>
                    <a:pt x="6807" y="543407"/>
                  </a:lnTo>
                  <a:lnTo>
                    <a:pt x="5112" y="545524"/>
                  </a:lnTo>
                  <a:lnTo>
                    <a:pt x="5415" y="546674"/>
                  </a:lnTo>
                  <a:lnTo>
                    <a:pt x="7442" y="546401"/>
                  </a:lnTo>
                  <a:lnTo>
                    <a:pt x="8410" y="545554"/>
                  </a:lnTo>
                  <a:lnTo>
                    <a:pt x="11889" y="545222"/>
                  </a:lnTo>
                  <a:lnTo>
                    <a:pt x="15791" y="543528"/>
                  </a:lnTo>
                  <a:close/>
                  <a:moveTo>
                    <a:pt x="73239" y="356453"/>
                  </a:moveTo>
                  <a:lnTo>
                    <a:pt x="70698" y="354698"/>
                  </a:lnTo>
                  <a:lnTo>
                    <a:pt x="68308" y="354759"/>
                  </a:lnTo>
                  <a:lnTo>
                    <a:pt x="67279" y="356120"/>
                  </a:lnTo>
                  <a:lnTo>
                    <a:pt x="70576" y="358298"/>
                  </a:lnTo>
                  <a:lnTo>
                    <a:pt x="82465" y="363350"/>
                  </a:lnTo>
                  <a:lnTo>
                    <a:pt x="84280" y="362866"/>
                  </a:lnTo>
                  <a:lnTo>
                    <a:pt x="84432" y="361686"/>
                  </a:lnTo>
                  <a:lnTo>
                    <a:pt x="84008" y="361505"/>
                  </a:lnTo>
                  <a:lnTo>
                    <a:pt x="83675" y="361656"/>
                  </a:lnTo>
                  <a:lnTo>
                    <a:pt x="81346" y="360506"/>
                  </a:lnTo>
                  <a:lnTo>
                    <a:pt x="81286" y="359478"/>
                  </a:lnTo>
                  <a:lnTo>
                    <a:pt x="82163" y="358358"/>
                  </a:lnTo>
                  <a:lnTo>
                    <a:pt x="81407" y="357239"/>
                  </a:lnTo>
                  <a:lnTo>
                    <a:pt x="78835" y="356301"/>
                  </a:lnTo>
                  <a:lnTo>
                    <a:pt x="76929" y="356029"/>
                  </a:lnTo>
                  <a:lnTo>
                    <a:pt x="74479" y="356483"/>
                  </a:lnTo>
                  <a:lnTo>
                    <a:pt x="73269" y="356483"/>
                  </a:lnTo>
                  <a:close/>
                  <a:moveTo>
                    <a:pt x="77444" y="340510"/>
                  </a:moveTo>
                  <a:lnTo>
                    <a:pt x="79259" y="342416"/>
                  </a:lnTo>
                  <a:lnTo>
                    <a:pt x="82677" y="341448"/>
                  </a:lnTo>
                  <a:lnTo>
                    <a:pt x="84674" y="338604"/>
                  </a:lnTo>
                  <a:lnTo>
                    <a:pt x="82223" y="334823"/>
                  </a:lnTo>
                  <a:lnTo>
                    <a:pt x="81346" y="334006"/>
                  </a:lnTo>
                  <a:lnTo>
                    <a:pt x="80015" y="333764"/>
                  </a:lnTo>
                  <a:lnTo>
                    <a:pt x="78593" y="334036"/>
                  </a:lnTo>
                  <a:lnTo>
                    <a:pt x="77444" y="334853"/>
                  </a:lnTo>
                  <a:lnTo>
                    <a:pt x="76476" y="336305"/>
                  </a:lnTo>
                  <a:lnTo>
                    <a:pt x="76597" y="337182"/>
                  </a:lnTo>
                  <a:lnTo>
                    <a:pt x="77141" y="338302"/>
                  </a:lnTo>
                  <a:lnTo>
                    <a:pt x="77474" y="340540"/>
                  </a:lnTo>
                  <a:close/>
                  <a:moveTo>
                    <a:pt x="29162" y="227642"/>
                  </a:moveTo>
                  <a:lnTo>
                    <a:pt x="31915" y="227975"/>
                  </a:lnTo>
                  <a:lnTo>
                    <a:pt x="39539" y="226402"/>
                  </a:lnTo>
                  <a:lnTo>
                    <a:pt x="41596" y="227007"/>
                  </a:lnTo>
                  <a:lnTo>
                    <a:pt x="42685" y="228368"/>
                  </a:lnTo>
                  <a:lnTo>
                    <a:pt x="42806" y="229820"/>
                  </a:lnTo>
                  <a:lnTo>
                    <a:pt x="42503" y="231605"/>
                  </a:lnTo>
                  <a:lnTo>
                    <a:pt x="42291" y="233904"/>
                  </a:lnTo>
                  <a:lnTo>
                    <a:pt x="42715" y="235447"/>
                  </a:lnTo>
                  <a:lnTo>
                    <a:pt x="43804" y="235689"/>
                  </a:lnTo>
                  <a:lnTo>
                    <a:pt x="45165" y="235447"/>
                  </a:lnTo>
                  <a:lnTo>
                    <a:pt x="46466" y="235568"/>
                  </a:lnTo>
                  <a:lnTo>
                    <a:pt x="48735" y="237443"/>
                  </a:lnTo>
                  <a:lnTo>
                    <a:pt x="50641" y="239652"/>
                  </a:lnTo>
                  <a:lnTo>
                    <a:pt x="52547" y="240650"/>
                  </a:lnTo>
                  <a:lnTo>
                    <a:pt x="54725" y="238774"/>
                  </a:lnTo>
                  <a:lnTo>
                    <a:pt x="54331" y="236657"/>
                  </a:lnTo>
                  <a:lnTo>
                    <a:pt x="54604" y="233904"/>
                  </a:lnTo>
                  <a:lnTo>
                    <a:pt x="55269" y="231423"/>
                  </a:lnTo>
                  <a:lnTo>
                    <a:pt x="56086" y="230213"/>
                  </a:lnTo>
                  <a:lnTo>
                    <a:pt x="56086" y="229155"/>
                  </a:lnTo>
                  <a:lnTo>
                    <a:pt x="55300" y="228338"/>
                  </a:lnTo>
                  <a:lnTo>
                    <a:pt x="54301" y="228186"/>
                  </a:lnTo>
                  <a:lnTo>
                    <a:pt x="53182" y="228519"/>
                  </a:lnTo>
                  <a:lnTo>
                    <a:pt x="52002" y="229155"/>
                  </a:lnTo>
                  <a:lnTo>
                    <a:pt x="52002" y="227975"/>
                  </a:lnTo>
                  <a:lnTo>
                    <a:pt x="52577" y="227158"/>
                  </a:lnTo>
                  <a:lnTo>
                    <a:pt x="52910" y="226099"/>
                  </a:lnTo>
                  <a:lnTo>
                    <a:pt x="52910" y="224859"/>
                  </a:lnTo>
                  <a:lnTo>
                    <a:pt x="52698" y="223588"/>
                  </a:lnTo>
                  <a:lnTo>
                    <a:pt x="54755" y="223588"/>
                  </a:lnTo>
                  <a:lnTo>
                    <a:pt x="52698" y="219383"/>
                  </a:lnTo>
                  <a:lnTo>
                    <a:pt x="50792" y="218567"/>
                  </a:lnTo>
                  <a:lnTo>
                    <a:pt x="41989" y="218294"/>
                  </a:lnTo>
                  <a:lnTo>
                    <a:pt x="39932" y="219353"/>
                  </a:lnTo>
                  <a:lnTo>
                    <a:pt x="37421" y="221138"/>
                  </a:lnTo>
                  <a:lnTo>
                    <a:pt x="34850" y="221834"/>
                  </a:lnTo>
                  <a:lnTo>
                    <a:pt x="32672" y="219353"/>
                  </a:lnTo>
                  <a:lnTo>
                    <a:pt x="31794" y="220231"/>
                  </a:lnTo>
                  <a:lnTo>
                    <a:pt x="30917" y="220533"/>
                  </a:lnTo>
                  <a:lnTo>
                    <a:pt x="30100" y="220231"/>
                  </a:lnTo>
                  <a:lnTo>
                    <a:pt x="29314" y="219323"/>
                  </a:lnTo>
                  <a:lnTo>
                    <a:pt x="28134" y="222439"/>
                  </a:lnTo>
                  <a:lnTo>
                    <a:pt x="26409" y="224042"/>
                  </a:lnTo>
                  <a:lnTo>
                    <a:pt x="24231" y="224617"/>
                  </a:lnTo>
                  <a:lnTo>
                    <a:pt x="21630" y="224708"/>
                  </a:lnTo>
                  <a:lnTo>
                    <a:pt x="21630" y="225797"/>
                  </a:lnTo>
                  <a:lnTo>
                    <a:pt x="24292" y="225797"/>
                  </a:lnTo>
                  <a:lnTo>
                    <a:pt x="29253" y="227612"/>
                  </a:lnTo>
                  <a:close/>
                  <a:moveTo>
                    <a:pt x="196483" y="68005"/>
                  </a:moveTo>
                  <a:lnTo>
                    <a:pt x="200869" y="66705"/>
                  </a:lnTo>
                  <a:lnTo>
                    <a:pt x="200446" y="64072"/>
                  </a:lnTo>
                  <a:lnTo>
                    <a:pt x="199599" y="62651"/>
                  </a:lnTo>
                  <a:lnTo>
                    <a:pt x="198359" y="61864"/>
                  </a:lnTo>
                  <a:lnTo>
                    <a:pt x="196755" y="61199"/>
                  </a:lnTo>
                  <a:lnTo>
                    <a:pt x="196211" y="60442"/>
                  </a:lnTo>
                  <a:lnTo>
                    <a:pt x="195606" y="60079"/>
                  </a:lnTo>
                  <a:lnTo>
                    <a:pt x="194880" y="60291"/>
                  </a:lnTo>
                  <a:lnTo>
                    <a:pt x="194002" y="61199"/>
                  </a:lnTo>
                  <a:lnTo>
                    <a:pt x="194184" y="61471"/>
                  </a:lnTo>
                  <a:lnTo>
                    <a:pt x="194486" y="61894"/>
                  </a:lnTo>
                  <a:lnTo>
                    <a:pt x="194668" y="62288"/>
                  </a:lnTo>
                  <a:lnTo>
                    <a:pt x="194123" y="62500"/>
                  </a:lnTo>
                  <a:lnTo>
                    <a:pt x="192611" y="63467"/>
                  </a:lnTo>
                  <a:lnTo>
                    <a:pt x="192853" y="64708"/>
                  </a:lnTo>
                  <a:lnTo>
                    <a:pt x="192944" y="64919"/>
                  </a:lnTo>
                  <a:lnTo>
                    <a:pt x="192883" y="64980"/>
                  </a:lnTo>
                  <a:lnTo>
                    <a:pt x="192641" y="65676"/>
                  </a:lnTo>
                  <a:lnTo>
                    <a:pt x="192641" y="66674"/>
                  </a:lnTo>
                  <a:lnTo>
                    <a:pt x="194305" y="67824"/>
                  </a:lnTo>
                  <a:lnTo>
                    <a:pt x="196513" y="67975"/>
                  </a:lnTo>
                  <a:close/>
                  <a:moveTo>
                    <a:pt x="451170" y="382620"/>
                  </a:moveTo>
                  <a:lnTo>
                    <a:pt x="446965" y="378173"/>
                  </a:lnTo>
                  <a:lnTo>
                    <a:pt x="445664" y="375783"/>
                  </a:lnTo>
                  <a:lnTo>
                    <a:pt x="446088" y="373333"/>
                  </a:lnTo>
                  <a:lnTo>
                    <a:pt x="446904" y="371034"/>
                  </a:lnTo>
                  <a:lnTo>
                    <a:pt x="447479" y="367373"/>
                  </a:lnTo>
                  <a:lnTo>
                    <a:pt x="447600" y="363652"/>
                  </a:lnTo>
                  <a:lnTo>
                    <a:pt x="447146" y="361142"/>
                  </a:lnTo>
                  <a:lnTo>
                    <a:pt x="447479" y="360869"/>
                  </a:lnTo>
                  <a:lnTo>
                    <a:pt x="447570" y="360869"/>
                  </a:lnTo>
                  <a:lnTo>
                    <a:pt x="447630" y="360779"/>
                  </a:lnTo>
                  <a:lnTo>
                    <a:pt x="447812" y="360204"/>
                  </a:lnTo>
                  <a:lnTo>
                    <a:pt x="444363" y="353518"/>
                  </a:lnTo>
                  <a:lnTo>
                    <a:pt x="443002" y="351703"/>
                  </a:lnTo>
                  <a:lnTo>
                    <a:pt x="443698" y="348920"/>
                  </a:lnTo>
                  <a:lnTo>
                    <a:pt x="443093" y="347226"/>
                  </a:lnTo>
                  <a:lnTo>
                    <a:pt x="441913" y="345895"/>
                  </a:lnTo>
                  <a:lnTo>
                    <a:pt x="441913" y="345834"/>
                  </a:lnTo>
                  <a:lnTo>
                    <a:pt x="440854" y="344201"/>
                  </a:lnTo>
                  <a:lnTo>
                    <a:pt x="440279" y="341932"/>
                  </a:lnTo>
                  <a:lnTo>
                    <a:pt x="440098" y="339814"/>
                  </a:lnTo>
                  <a:lnTo>
                    <a:pt x="440219" y="336396"/>
                  </a:lnTo>
                  <a:lnTo>
                    <a:pt x="440552" y="335761"/>
                  </a:lnTo>
                  <a:lnTo>
                    <a:pt x="441066" y="334490"/>
                  </a:lnTo>
                  <a:lnTo>
                    <a:pt x="441066" y="333280"/>
                  </a:lnTo>
                  <a:lnTo>
                    <a:pt x="439856" y="332736"/>
                  </a:lnTo>
                  <a:lnTo>
                    <a:pt x="439099" y="332554"/>
                  </a:lnTo>
                  <a:lnTo>
                    <a:pt x="438041" y="331768"/>
                  </a:lnTo>
                  <a:lnTo>
                    <a:pt x="435197" y="331162"/>
                  </a:lnTo>
                  <a:lnTo>
                    <a:pt x="433866" y="330073"/>
                  </a:lnTo>
                  <a:lnTo>
                    <a:pt x="431900" y="327351"/>
                  </a:lnTo>
                  <a:lnTo>
                    <a:pt x="429540" y="325082"/>
                  </a:lnTo>
                  <a:lnTo>
                    <a:pt x="428844" y="323781"/>
                  </a:lnTo>
                  <a:lnTo>
                    <a:pt x="429147" y="322087"/>
                  </a:lnTo>
                  <a:lnTo>
                    <a:pt x="435016" y="317852"/>
                  </a:lnTo>
                  <a:lnTo>
                    <a:pt x="435742" y="317670"/>
                  </a:lnTo>
                  <a:lnTo>
                    <a:pt x="437496" y="316884"/>
                  </a:lnTo>
                  <a:lnTo>
                    <a:pt x="438464" y="316702"/>
                  </a:lnTo>
                  <a:lnTo>
                    <a:pt x="438858" y="317035"/>
                  </a:lnTo>
                  <a:lnTo>
                    <a:pt x="440128" y="318548"/>
                  </a:lnTo>
                  <a:lnTo>
                    <a:pt x="440552" y="318911"/>
                  </a:lnTo>
                  <a:lnTo>
                    <a:pt x="441973" y="319606"/>
                  </a:lnTo>
                  <a:lnTo>
                    <a:pt x="443335" y="320695"/>
                  </a:lnTo>
                  <a:lnTo>
                    <a:pt x="444605" y="320635"/>
                  </a:lnTo>
                  <a:lnTo>
                    <a:pt x="445725" y="317852"/>
                  </a:lnTo>
                  <a:lnTo>
                    <a:pt x="443879" y="316732"/>
                  </a:lnTo>
                  <a:lnTo>
                    <a:pt x="439735" y="316490"/>
                  </a:lnTo>
                  <a:lnTo>
                    <a:pt x="438101" y="315734"/>
                  </a:lnTo>
                  <a:lnTo>
                    <a:pt x="438464" y="315250"/>
                  </a:lnTo>
                  <a:lnTo>
                    <a:pt x="439130" y="314101"/>
                  </a:lnTo>
                  <a:lnTo>
                    <a:pt x="439493" y="313617"/>
                  </a:lnTo>
                  <a:lnTo>
                    <a:pt x="438555" y="312497"/>
                  </a:lnTo>
                  <a:lnTo>
                    <a:pt x="438192" y="310682"/>
                  </a:lnTo>
                  <a:lnTo>
                    <a:pt x="437708" y="308958"/>
                  </a:lnTo>
                  <a:lnTo>
                    <a:pt x="431264" y="306114"/>
                  </a:lnTo>
                  <a:lnTo>
                    <a:pt x="432898" y="304935"/>
                  </a:lnTo>
                  <a:lnTo>
                    <a:pt x="434925" y="304269"/>
                  </a:lnTo>
                  <a:lnTo>
                    <a:pt x="436679" y="304541"/>
                  </a:lnTo>
                  <a:lnTo>
                    <a:pt x="437436" y="306114"/>
                  </a:lnTo>
                  <a:lnTo>
                    <a:pt x="438343" y="304965"/>
                  </a:lnTo>
                  <a:lnTo>
                    <a:pt x="439523" y="302151"/>
                  </a:lnTo>
                  <a:lnTo>
                    <a:pt x="440249" y="300820"/>
                  </a:lnTo>
                  <a:lnTo>
                    <a:pt x="440491" y="299580"/>
                  </a:lnTo>
                  <a:lnTo>
                    <a:pt x="440945" y="298551"/>
                  </a:lnTo>
                  <a:lnTo>
                    <a:pt x="442669" y="296041"/>
                  </a:lnTo>
                  <a:lnTo>
                    <a:pt x="443335" y="293893"/>
                  </a:lnTo>
                  <a:lnTo>
                    <a:pt x="443093" y="291563"/>
                  </a:lnTo>
                  <a:lnTo>
                    <a:pt x="442367" y="289476"/>
                  </a:lnTo>
                  <a:lnTo>
                    <a:pt x="441550" y="288054"/>
                  </a:lnTo>
                  <a:lnTo>
                    <a:pt x="439523" y="286693"/>
                  </a:lnTo>
                  <a:lnTo>
                    <a:pt x="436498" y="285331"/>
                  </a:lnTo>
                  <a:lnTo>
                    <a:pt x="433745" y="283607"/>
                  </a:lnTo>
                  <a:lnTo>
                    <a:pt x="431990" y="279795"/>
                  </a:lnTo>
                  <a:lnTo>
                    <a:pt x="430901" y="279130"/>
                  </a:lnTo>
                  <a:lnTo>
                    <a:pt x="429389" y="278162"/>
                  </a:lnTo>
                  <a:lnTo>
                    <a:pt x="428421" y="277315"/>
                  </a:lnTo>
                  <a:lnTo>
                    <a:pt x="427695" y="275681"/>
                  </a:lnTo>
                  <a:lnTo>
                    <a:pt x="427029" y="273443"/>
                  </a:lnTo>
                  <a:lnTo>
                    <a:pt x="426545" y="271144"/>
                  </a:lnTo>
                  <a:lnTo>
                    <a:pt x="426091" y="264276"/>
                  </a:lnTo>
                  <a:lnTo>
                    <a:pt x="425819" y="260193"/>
                  </a:lnTo>
                  <a:lnTo>
                    <a:pt x="426333" y="256018"/>
                  </a:lnTo>
                  <a:lnTo>
                    <a:pt x="428391" y="253870"/>
                  </a:lnTo>
                  <a:lnTo>
                    <a:pt x="426152" y="252206"/>
                  </a:lnTo>
                  <a:lnTo>
                    <a:pt x="425154" y="249816"/>
                  </a:lnTo>
                  <a:lnTo>
                    <a:pt x="425244" y="247064"/>
                  </a:lnTo>
                  <a:lnTo>
                    <a:pt x="426333" y="244280"/>
                  </a:lnTo>
                  <a:lnTo>
                    <a:pt x="426333" y="243100"/>
                  </a:lnTo>
                  <a:lnTo>
                    <a:pt x="418892" y="242163"/>
                  </a:lnTo>
                  <a:lnTo>
                    <a:pt x="415503" y="240559"/>
                  </a:lnTo>
                  <a:lnTo>
                    <a:pt x="413265" y="237746"/>
                  </a:lnTo>
                  <a:lnTo>
                    <a:pt x="412660" y="234963"/>
                  </a:lnTo>
                  <a:lnTo>
                    <a:pt x="412720" y="232149"/>
                  </a:lnTo>
                  <a:lnTo>
                    <a:pt x="413265" y="227521"/>
                  </a:lnTo>
                  <a:lnTo>
                    <a:pt x="413930" y="224919"/>
                  </a:lnTo>
                  <a:lnTo>
                    <a:pt x="415171" y="222832"/>
                  </a:lnTo>
                  <a:lnTo>
                    <a:pt x="415776" y="221350"/>
                  </a:lnTo>
                  <a:lnTo>
                    <a:pt x="414566" y="220563"/>
                  </a:lnTo>
                  <a:lnTo>
                    <a:pt x="414566" y="219383"/>
                  </a:lnTo>
                  <a:lnTo>
                    <a:pt x="419890" y="220049"/>
                  </a:lnTo>
                  <a:lnTo>
                    <a:pt x="426938" y="222892"/>
                  </a:lnTo>
                  <a:lnTo>
                    <a:pt x="428360" y="222650"/>
                  </a:lnTo>
                  <a:lnTo>
                    <a:pt x="429752" y="223709"/>
                  </a:lnTo>
                  <a:lnTo>
                    <a:pt x="432111" y="225101"/>
                  </a:lnTo>
                  <a:lnTo>
                    <a:pt x="434622" y="225918"/>
                  </a:lnTo>
                  <a:lnTo>
                    <a:pt x="436347" y="225282"/>
                  </a:lnTo>
                  <a:lnTo>
                    <a:pt x="439614" y="221683"/>
                  </a:lnTo>
                  <a:lnTo>
                    <a:pt x="440007" y="219746"/>
                  </a:lnTo>
                  <a:lnTo>
                    <a:pt x="438071" y="217145"/>
                  </a:lnTo>
                  <a:lnTo>
                    <a:pt x="437345" y="216661"/>
                  </a:lnTo>
                  <a:lnTo>
                    <a:pt x="436468" y="216358"/>
                  </a:lnTo>
                  <a:lnTo>
                    <a:pt x="434320" y="216146"/>
                  </a:lnTo>
                  <a:lnTo>
                    <a:pt x="433715" y="215663"/>
                  </a:lnTo>
                  <a:lnTo>
                    <a:pt x="432263" y="213424"/>
                  </a:lnTo>
                  <a:lnTo>
                    <a:pt x="431537" y="212940"/>
                  </a:lnTo>
                  <a:lnTo>
                    <a:pt x="429964" y="212184"/>
                  </a:lnTo>
                  <a:lnTo>
                    <a:pt x="423641" y="206496"/>
                  </a:lnTo>
                  <a:lnTo>
                    <a:pt x="423641" y="206496"/>
                  </a:lnTo>
                  <a:lnTo>
                    <a:pt x="422159" y="205347"/>
                  </a:lnTo>
                  <a:lnTo>
                    <a:pt x="420646" y="205528"/>
                  </a:lnTo>
                  <a:lnTo>
                    <a:pt x="419224" y="206194"/>
                  </a:lnTo>
                  <a:lnTo>
                    <a:pt x="417893" y="206466"/>
                  </a:lnTo>
                  <a:lnTo>
                    <a:pt x="416713" y="205679"/>
                  </a:lnTo>
                  <a:lnTo>
                    <a:pt x="415957" y="204590"/>
                  </a:lnTo>
                  <a:lnTo>
                    <a:pt x="415140" y="204469"/>
                  </a:lnTo>
                  <a:lnTo>
                    <a:pt x="413809" y="206587"/>
                  </a:lnTo>
                  <a:lnTo>
                    <a:pt x="413688" y="207555"/>
                  </a:lnTo>
                  <a:lnTo>
                    <a:pt x="413870" y="208765"/>
                  </a:lnTo>
                  <a:lnTo>
                    <a:pt x="413930" y="210066"/>
                  </a:lnTo>
                  <a:lnTo>
                    <a:pt x="413507" y="211397"/>
                  </a:lnTo>
                  <a:lnTo>
                    <a:pt x="412872" y="211941"/>
                  </a:lnTo>
                  <a:lnTo>
                    <a:pt x="410512" y="212304"/>
                  </a:lnTo>
                  <a:lnTo>
                    <a:pt x="407941" y="213182"/>
                  </a:lnTo>
                  <a:lnTo>
                    <a:pt x="407215" y="213182"/>
                  </a:lnTo>
                  <a:lnTo>
                    <a:pt x="406579" y="212788"/>
                  </a:lnTo>
                  <a:lnTo>
                    <a:pt x="405974" y="212093"/>
                  </a:lnTo>
                  <a:lnTo>
                    <a:pt x="405581" y="211427"/>
                  </a:lnTo>
                  <a:lnTo>
                    <a:pt x="405520" y="211155"/>
                  </a:lnTo>
                  <a:lnTo>
                    <a:pt x="402737" y="211246"/>
                  </a:lnTo>
                  <a:lnTo>
                    <a:pt x="394146" y="214210"/>
                  </a:lnTo>
                  <a:lnTo>
                    <a:pt x="393359" y="214120"/>
                  </a:lnTo>
                  <a:lnTo>
                    <a:pt x="391816" y="213514"/>
                  </a:lnTo>
                  <a:lnTo>
                    <a:pt x="391030" y="213666"/>
                  </a:lnTo>
                  <a:lnTo>
                    <a:pt x="390516" y="214210"/>
                  </a:lnTo>
                  <a:lnTo>
                    <a:pt x="390032" y="214906"/>
                  </a:lnTo>
                  <a:lnTo>
                    <a:pt x="389457" y="215723"/>
                  </a:lnTo>
                  <a:lnTo>
                    <a:pt x="388912" y="216026"/>
                  </a:lnTo>
                  <a:lnTo>
                    <a:pt x="387491" y="215330"/>
                  </a:lnTo>
                  <a:lnTo>
                    <a:pt x="384798" y="212274"/>
                  </a:lnTo>
                  <a:lnTo>
                    <a:pt x="383255" y="211125"/>
                  </a:lnTo>
                  <a:lnTo>
                    <a:pt x="384798" y="207404"/>
                  </a:lnTo>
                  <a:lnTo>
                    <a:pt x="384919" y="205619"/>
                  </a:lnTo>
                  <a:lnTo>
                    <a:pt x="383830" y="203804"/>
                  </a:lnTo>
                  <a:lnTo>
                    <a:pt x="386099" y="201111"/>
                  </a:lnTo>
                  <a:lnTo>
                    <a:pt x="387037" y="198238"/>
                  </a:lnTo>
                  <a:lnTo>
                    <a:pt x="386462" y="195424"/>
                  </a:lnTo>
                  <a:lnTo>
                    <a:pt x="385645" y="194517"/>
                  </a:lnTo>
                  <a:lnTo>
                    <a:pt x="384193" y="192913"/>
                  </a:lnTo>
                  <a:lnTo>
                    <a:pt x="382076" y="191249"/>
                  </a:lnTo>
                  <a:lnTo>
                    <a:pt x="380987" y="190675"/>
                  </a:lnTo>
                  <a:lnTo>
                    <a:pt x="379776" y="190523"/>
                  </a:lnTo>
                  <a:lnTo>
                    <a:pt x="378718" y="191128"/>
                  </a:lnTo>
                  <a:lnTo>
                    <a:pt x="377961" y="192157"/>
                  </a:lnTo>
                  <a:lnTo>
                    <a:pt x="377145" y="192944"/>
                  </a:lnTo>
                  <a:lnTo>
                    <a:pt x="375934" y="192823"/>
                  </a:lnTo>
                  <a:lnTo>
                    <a:pt x="373756" y="191552"/>
                  </a:lnTo>
                  <a:lnTo>
                    <a:pt x="371609" y="189888"/>
                  </a:lnTo>
                  <a:lnTo>
                    <a:pt x="369642" y="187770"/>
                  </a:lnTo>
                  <a:lnTo>
                    <a:pt x="367978" y="185229"/>
                  </a:lnTo>
                  <a:lnTo>
                    <a:pt x="367404" y="183656"/>
                  </a:lnTo>
                  <a:lnTo>
                    <a:pt x="367041" y="182113"/>
                  </a:lnTo>
                  <a:lnTo>
                    <a:pt x="366587" y="180783"/>
                  </a:lnTo>
                  <a:lnTo>
                    <a:pt x="365679" y="179845"/>
                  </a:lnTo>
                  <a:lnTo>
                    <a:pt x="362110" y="178120"/>
                  </a:lnTo>
                  <a:lnTo>
                    <a:pt x="363864" y="177243"/>
                  </a:lnTo>
                  <a:lnTo>
                    <a:pt x="364681" y="175640"/>
                  </a:lnTo>
                  <a:lnTo>
                    <a:pt x="364499" y="173341"/>
                  </a:lnTo>
                  <a:lnTo>
                    <a:pt x="363320" y="170376"/>
                  </a:lnTo>
                  <a:lnTo>
                    <a:pt x="362352" y="167895"/>
                  </a:lnTo>
                  <a:lnTo>
                    <a:pt x="361716" y="167260"/>
                  </a:lnTo>
                  <a:lnTo>
                    <a:pt x="360506" y="167169"/>
                  </a:lnTo>
                  <a:lnTo>
                    <a:pt x="359689" y="166716"/>
                  </a:lnTo>
                  <a:lnTo>
                    <a:pt x="358782" y="164053"/>
                  </a:lnTo>
                  <a:lnTo>
                    <a:pt x="358086" y="162964"/>
                  </a:lnTo>
                  <a:lnTo>
                    <a:pt x="351854" y="158155"/>
                  </a:lnTo>
                  <a:lnTo>
                    <a:pt x="348466" y="156551"/>
                  </a:lnTo>
                  <a:lnTo>
                    <a:pt x="345320" y="156823"/>
                  </a:lnTo>
                  <a:lnTo>
                    <a:pt x="342355" y="159516"/>
                  </a:lnTo>
                  <a:lnTo>
                    <a:pt x="337485" y="166625"/>
                  </a:lnTo>
                  <a:lnTo>
                    <a:pt x="334187" y="168924"/>
                  </a:lnTo>
                  <a:lnTo>
                    <a:pt x="333371" y="168924"/>
                  </a:lnTo>
                  <a:lnTo>
                    <a:pt x="331586" y="168652"/>
                  </a:lnTo>
                  <a:lnTo>
                    <a:pt x="331193" y="168833"/>
                  </a:lnTo>
                  <a:lnTo>
                    <a:pt x="330890" y="168984"/>
                  </a:lnTo>
                  <a:lnTo>
                    <a:pt x="330739" y="169710"/>
                  </a:lnTo>
                  <a:lnTo>
                    <a:pt x="330981" y="170679"/>
                  </a:lnTo>
                  <a:lnTo>
                    <a:pt x="331374" y="171495"/>
                  </a:lnTo>
                  <a:lnTo>
                    <a:pt x="331646" y="171737"/>
                  </a:lnTo>
                  <a:lnTo>
                    <a:pt x="331646" y="171828"/>
                  </a:lnTo>
                  <a:lnTo>
                    <a:pt x="330890" y="173280"/>
                  </a:lnTo>
                  <a:lnTo>
                    <a:pt x="330769" y="173280"/>
                  </a:lnTo>
                  <a:lnTo>
                    <a:pt x="330225" y="173915"/>
                  </a:lnTo>
                  <a:lnTo>
                    <a:pt x="329468" y="173704"/>
                  </a:lnTo>
                  <a:lnTo>
                    <a:pt x="328984" y="173794"/>
                  </a:lnTo>
                  <a:lnTo>
                    <a:pt x="329226" y="175519"/>
                  </a:lnTo>
                  <a:lnTo>
                    <a:pt x="332584" y="177062"/>
                  </a:lnTo>
                  <a:lnTo>
                    <a:pt x="331979" y="179270"/>
                  </a:lnTo>
                  <a:lnTo>
                    <a:pt x="335549" y="182053"/>
                  </a:lnTo>
                  <a:lnTo>
                    <a:pt x="334157" y="183838"/>
                  </a:lnTo>
                  <a:lnTo>
                    <a:pt x="334793" y="186440"/>
                  </a:lnTo>
                  <a:lnTo>
                    <a:pt x="332645" y="187740"/>
                  </a:lnTo>
                  <a:lnTo>
                    <a:pt x="327139" y="189102"/>
                  </a:lnTo>
                  <a:lnTo>
                    <a:pt x="325989" y="189919"/>
                  </a:lnTo>
                  <a:lnTo>
                    <a:pt x="325142" y="190675"/>
                  </a:lnTo>
                  <a:lnTo>
                    <a:pt x="324507" y="191703"/>
                  </a:lnTo>
                  <a:lnTo>
                    <a:pt x="323932" y="193276"/>
                  </a:lnTo>
                  <a:lnTo>
                    <a:pt x="324416" y="193912"/>
                  </a:lnTo>
                  <a:lnTo>
                    <a:pt x="325354" y="194668"/>
                  </a:lnTo>
                  <a:lnTo>
                    <a:pt x="325475" y="195485"/>
                  </a:lnTo>
                  <a:lnTo>
                    <a:pt x="323509" y="196422"/>
                  </a:lnTo>
                  <a:lnTo>
                    <a:pt x="323962" y="197995"/>
                  </a:lnTo>
                  <a:lnTo>
                    <a:pt x="323690" y="199629"/>
                  </a:lnTo>
                  <a:lnTo>
                    <a:pt x="322964" y="200990"/>
                  </a:lnTo>
                  <a:lnTo>
                    <a:pt x="322027" y="201959"/>
                  </a:lnTo>
                  <a:lnTo>
                    <a:pt x="320635" y="202624"/>
                  </a:lnTo>
                  <a:lnTo>
                    <a:pt x="320272" y="202019"/>
                  </a:lnTo>
                  <a:lnTo>
                    <a:pt x="320363" y="200567"/>
                  </a:lnTo>
                  <a:lnTo>
                    <a:pt x="320363" y="198752"/>
                  </a:lnTo>
                  <a:lnTo>
                    <a:pt x="320484" y="197330"/>
                  </a:lnTo>
                  <a:lnTo>
                    <a:pt x="320786" y="196211"/>
                  </a:lnTo>
                  <a:lnTo>
                    <a:pt x="320423" y="195817"/>
                  </a:lnTo>
                  <a:lnTo>
                    <a:pt x="317368" y="197481"/>
                  </a:lnTo>
                  <a:lnTo>
                    <a:pt x="316642" y="198298"/>
                  </a:lnTo>
                  <a:lnTo>
                    <a:pt x="316642" y="199357"/>
                  </a:lnTo>
                  <a:lnTo>
                    <a:pt x="318941" y="203774"/>
                  </a:lnTo>
                  <a:lnTo>
                    <a:pt x="318336" y="203834"/>
                  </a:lnTo>
                  <a:lnTo>
                    <a:pt x="317277" y="203925"/>
                  </a:lnTo>
                  <a:lnTo>
                    <a:pt x="312406" y="202412"/>
                  </a:lnTo>
                  <a:lnTo>
                    <a:pt x="310924" y="202745"/>
                  </a:lnTo>
                  <a:lnTo>
                    <a:pt x="310470" y="202624"/>
                  </a:lnTo>
                  <a:lnTo>
                    <a:pt x="310289" y="201928"/>
                  </a:lnTo>
                  <a:lnTo>
                    <a:pt x="309563" y="200537"/>
                  </a:lnTo>
                  <a:lnTo>
                    <a:pt x="308716" y="200325"/>
                  </a:lnTo>
                  <a:lnTo>
                    <a:pt x="307717" y="200476"/>
                  </a:lnTo>
                  <a:lnTo>
                    <a:pt x="307354" y="200234"/>
                  </a:lnTo>
                  <a:lnTo>
                    <a:pt x="308474" y="198873"/>
                  </a:lnTo>
                  <a:lnTo>
                    <a:pt x="305963" y="198691"/>
                  </a:lnTo>
                  <a:lnTo>
                    <a:pt x="301818" y="201716"/>
                  </a:lnTo>
                  <a:lnTo>
                    <a:pt x="299640" y="202110"/>
                  </a:lnTo>
                  <a:lnTo>
                    <a:pt x="288901" y="199781"/>
                  </a:lnTo>
                  <a:lnTo>
                    <a:pt x="287721" y="198964"/>
                  </a:lnTo>
                  <a:lnTo>
                    <a:pt x="287389" y="197632"/>
                  </a:lnTo>
                  <a:lnTo>
                    <a:pt x="287237" y="196241"/>
                  </a:lnTo>
                  <a:lnTo>
                    <a:pt x="286511" y="195243"/>
                  </a:lnTo>
                  <a:lnTo>
                    <a:pt x="279251" y="190221"/>
                  </a:lnTo>
                  <a:lnTo>
                    <a:pt x="277466" y="189919"/>
                  </a:lnTo>
                  <a:lnTo>
                    <a:pt x="271476" y="190282"/>
                  </a:lnTo>
                  <a:lnTo>
                    <a:pt x="265940" y="189586"/>
                  </a:lnTo>
                  <a:lnTo>
                    <a:pt x="263974" y="188467"/>
                  </a:lnTo>
                  <a:lnTo>
                    <a:pt x="262643" y="186016"/>
                  </a:lnTo>
                  <a:lnTo>
                    <a:pt x="262250" y="179028"/>
                  </a:lnTo>
                  <a:lnTo>
                    <a:pt x="261584" y="176517"/>
                  </a:lnTo>
                  <a:lnTo>
                    <a:pt x="260102" y="175458"/>
                  </a:lnTo>
                  <a:lnTo>
                    <a:pt x="256169" y="174914"/>
                  </a:lnTo>
                  <a:lnTo>
                    <a:pt x="255383" y="174641"/>
                  </a:lnTo>
                  <a:lnTo>
                    <a:pt x="254505" y="174309"/>
                  </a:lnTo>
                  <a:lnTo>
                    <a:pt x="252781" y="172524"/>
                  </a:lnTo>
                  <a:lnTo>
                    <a:pt x="251480" y="170255"/>
                  </a:lnTo>
                  <a:lnTo>
                    <a:pt x="249363" y="165294"/>
                  </a:lnTo>
                  <a:lnTo>
                    <a:pt x="246428" y="165294"/>
                  </a:lnTo>
                  <a:lnTo>
                    <a:pt x="243887" y="164023"/>
                  </a:lnTo>
                  <a:lnTo>
                    <a:pt x="241527" y="161754"/>
                  </a:lnTo>
                  <a:lnTo>
                    <a:pt x="237262" y="156188"/>
                  </a:lnTo>
                  <a:lnTo>
                    <a:pt x="234872" y="153707"/>
                  </a:lnTo>
                  <a:lnTo>
                    <a:pt x="233904" y="152376"/>
                  </a:lnTo>
                  <a:lnTo>
                    <a:pt x="233692" y="151106"/>
                  </a:lnTo>
                  <a:lnTo>
                    <a:pt x="233390" y="149866"/>
                  </a:lnTo>
                  <a:lnTo>
                    <a:pt x="232119" y="148776"/>
                  </a:lnTo>
                  <a:lnTo>
                    <a:pt x="232664" y="148504"/>
                  </a:lnTo>
                  <a:lnTo>
                    <a:pt x="234509" y="147567"/>
                  </a:lnTo>
                  <a:lnTo>
                    <a:pt x="239864" y="146115"/>
                  </a:lnTo>
                  <a:lnTo>
                    <a:pt x="242344" y="144753"/>
                  </a:lnTo>
                  <a:lnTo>
                    <a:pt x="243494" y="143755"/>
                  </a:lnTo>
                  <a:lnTo>
                    <a:pt x="244008" y="143089"/>
                  </a:lnTo>
                  <a:lnTo>
                    <a:pt x="245248" y="140760"/>
                  </a:lnTo>
                  <a:lnTo>
                    <a:pt x="247275" y="137977"/>
                  </a:lnTo>
                  <a:lnTo>
                    <a:pt x="249393" y="135799"/>
                  </a:lnTo>
                  <a:lnTo>
                    <a:pt x="257016" y="137432"/>
                  </a:lnTo>
                  <a:lnTo>
                    <a:pt x="260979" y="137583"/>
                  </a:lnTo>
                  <a:lnTo>
                    <a:pt x="264851" y="136192"/>
                  </a:lnTo>
                  <a:lnTo>
                    <a:pt x="274864" y="127389"/>
                  </a:lnTo>
                  <a:lnTo>
                    <a:pt x="279039" y="126118"/>
                  </a:lnTo>
                  <a:lnTo>
                    <a:pt x="279039" y="126028"/>
                  </a:lnTo>
                  <a:lnTo>
                    <a:pt x="279039" y="126028"/>
                  </a:lnTo>
                  <a:lnTo>
                    <a:pt x="278767" y="122912"/>
                  </a:lnTo>
                  <a:lnTo>
                    <a:pt x="277708" y="122670"/>
                  </a:lnTo>
                  <a:lnTo>
                    <a:pt x="276135" y="123728"/>
                  </a:lnTo>
                  <a:lnTo>
                    <a:pt x="274441" y="124485"/>
                  </a:lnTo>
                  <a:lnTo>
                    <a:pt x="272868" y="123910"/>
                  </a:lnTo>
                  <a:lnTo>
                    <a:pt x="269631" y="121217"/>
                  </a:lnTo>
                  <a:lnTo>
                    <a:pt x="268239" y="120461"/>
                  </a:lnTo>
                  <a:lnTo>
                    <a:pt x="267483" y="120673"/>
                  </a:lnTo>
                  <a:lnTo>
                    <a:pt x="265940" y="121762"/>
                  </a:lnTo>
                  <a:lnTo>
                    <a:pt x="265093" y="121762"/>
                  </a:lnTo>
                  <a:lnTo>
                    <a:pt x="264307" y="120945"/>
                  </a:lnTo>
                  <a:lnTo>
                    <a:pt x="263278" y="118918"/>
                  </a:lnTo>
                  <a:lnTo>
                    <a:pt x="262431" y="118404"/>
                  </a:lnTo>
                  <a:lnTo>
                    <a:pt x="260677" y="117950"/>
                  </a:lnTo>
                  <a:lnTo>
                    <a:pt x="259013" y="116952"/>
                  </a:lnTo>
                  <a:lnTo>
                    <a:pt x="258196" y="115288"/>
                  </a:lnTo>
                  <a:lnTo>
                    <a:pt x="258982" y="112898"/>
                  </a:lnTo>
                  <a:lnTo>
                    <a:pt x="258347" y="112565"/>
                  </a:lnTo>
                  <a:lnTo>
                    <a:pt x="256683" y="111295"/>
                  </a:lnTo>
                  <a:lnTo>
                    <a:pt x="261675" y="108996"/>
                  </a:lnTo>
                  <a:lnTo>
                    <a:pt x="265124" y="105789"/>
                  </a:lnTo>
                  <a:lnTo>
                    <a:pt x="266515" y="105850"/>
                  </a:lnTo>
                  <a:lnTo>
                    <a:pt x="269389" y="108149"/>
                  </a:lnTo>
                  <a:lnTo>
                    <a:pt x="272717" y="109783"/>
                  </a:lnTo>
                  <a:lnTo>
                    <a:pt x="276135" y="109540"/>
                  </a:lnTo>
                  <a:lnTo>
                    <a:pt x="279584" y="107725"/>
                  </a:lnTo>
                  <a:lnTo>
                    <a:pt x="283093" y="104549"/>
                  </a:lnTo>
                  <a:lnTo>
                    <a:pt x="284878" y="103581"/>
                  </a:lnTo>
                  <a:lnTo>
                    <a:pt x="288326" y="104458"/>
                  </a:lnTo>
                  <a:lnTo>
                    <a:pt x="291352" y="103611"/>
                  </a:lnTo>
                  <a:lnTo>
                    <a:pt x="293227" y="104579"/>
                  </a:lnTo>
                  <a:lnTo>
                    <a:pt x="294286" y="104640"/>
                  </a:lnTo>
                  <a:lnTo>
                    <a:pt x="295587" y="104095"/>
                  </a:lnTo>
                  <a:lnTo>
                    <a:pt x="295587" y="103763"/>
                  </a:lnTo>
                  <a:lnTo>
                    <a:pt x="295072" y="103218"/>
                  </a:lnTo>
                  <a:lnTo>
                    <a:pt x="294740" y="102008"/>
                  </a:lnTo>
                  <a:lnTo>
                    <a:pt x="294921" y="98015"/>
                  </a:lnTo>
                  <a:lnTo>
                    <a:pt x="295557" y="95867"/>
                  </a:lnTo>
                  <a:lnTo>
                    <a:pt x="302847" y="87487"/>
                  </a:lnTo>
                  <a:lnTo>
                    <a:pt x="304450" y="84643"/>
                  </a:lnTo>
                  <a:lnTo>
                    <a:pt x="305479" y="81195"/>
                  </a:lnTo>
                  <a:lnTo>
                    <a:pt x="305479" y="79531"/>
                  </a:lnTo>
                  <a:lnTo>
                    <a:pt x="305055" y="75447"/>
                  </a:lnTo>
                  <a:lnTo>
                    <a:pt x="305418" y="73541"/>
                  </a:lnTo>
                  <a:lnTo>
                    <a:pt x="306235" y="72543"/>
                  </a:lnTo>
                  <a:lnTo>
                    <a:pt x="308232" y="71756"/>
                  </a:lnTo>
                  <a:lnTo>
                    <a:pt x="308383" y="71545"/>
                  </a:lnTo>
                  <a:lnTo>
                    <a:pt x="309109" y="70456"/>
                  </a:lnTo>
                  <a:lnTo>
                    <a:pt x="309230" y="69124"/>
                  </a:lnTo>
                  <a:lnTo>
                    <a:pt x="308655" y="65010"/>
                  </a:lnTo>
                  <a:lnTo>
                    <a:pt x="309049" y="63861"/>
                  </a:lnTo>
                  <a:lnTo>
                    <a:pt x="309593" y="63679"/>
                  </a:lnTo>
                  <a:lnTo>
                    <a:pt x="309865" y="63407"/>
                  </a:lnTo>
                  <a:lnTo>
                    <a:pt x="309442" y="62015"/>
                  </a:lnTo>
                  <a:lnTo>
                    <a:pt x="312285" y="57932"/>
                  </a:lnTo>
                  <a:lnTo>
                    <a:pt x="313284" y="56873"/>
                  </a:lnTo>
                  <a:lnTo>
                    <a:pt x="314494" y="55995"/>
                  </a:lnTo>
                  <a:lnTo>
                    <a:pt x="320907" y="55088"/>
                  </a:lnTo>
                  <a:lnTo>
                    <a:pt x="321724" y="54241"/>
                  </a:lnTo>
                  <a:lnTo>
                    <a:pt x="322510" y="53091"/>
                  </a:lnTo>
                  <a:lnTo>
                    <a:pt x="323388" y="52063"/>
                  </a:lnTo>
                  <a:lnTo>
                    <a:pt x="325354" y="51397"/>
                  </a:lnTo>
                  <a:lnTo>
                    <a:pt x="325566" y="50732"/>
                  </a:lnTo>
                  <a:lnTo>
                    <a:pt x="326836" y="47767"/>
                  </a:lnTo>
                  <a:lnTo>
                    <a:pt x="328410" y="45105"/>
                  </a:lnTo>
                  <a:lnTo>
                    <a:pt x="332826" y="39418"/>
                  </a:lnTo>
                  <a:lnTo>
                    <a:pt x="334157" y="38238"/>
                  </a:lnTo>
                  <a:lnTo>
                    <a:pt x="336880" y="37482"/>
                  </a:lnTo>
                  <a:lnTo>
                    <a:pt x="340147" y="35848"/>
                  </a:lnTo>
                  <a:lnTo>
                    <a:pt x="343566" y="32702"/>
                  </a:lnTo>
                  <a:lnTo>
                    <a:pt x="346742" y="30796"/>
                  </a:lnTo>
                  <a:lnTo>
                    <a:pt x="350100" y="29435"/>
                  </a:lnTo>
                  <a:lnTo>
                    <a:pt x="352943" y="28920"/>
                  </a:lnTo>
                  <a:lnTo>
                    <a:pt x="355938" y="27257"/>
                  </a:lnTo>
                  <a:lnTo>
                    <a:pt x="356241" y="23929"/>
                  </a:lnTo>
                  <a:lnTo>
                    <a:pt x="354849" y="21448"/>
                  </a:lnTo>
                  <a:lnTo>
                    <a:pt x="352611" y="22356"/>
                  </a:lnTo>
                  <a:lnTo>
                    <a:pt x="350523" y="20904"/>
                  </a:lnTo>
                  <a:lnTo>
                    <a:pt x="345955" y="19088"/>
                  </a:lnTo>
                  <a:lnTo>
                    <a:pt x="342174" y="18484"/>
                  </a:lnTo>
                  <a:lnTo>
                    <a:pt x="337182" y="16336"/>
                  </a:lnTo>
                  <a:lnTo>
                    <a:pt x="335670" y="15065"/>
                  </a:lnTo>
                  <a:lnTo>
                    <a:pt x="330497" y="7774"/>
                  </a:lnTo>
                  <a:lnTo>
                    <a:pt x="329136" y="6716"/>
                  </a:lnTo>
                  <a:lnTo>
                    <a:pt x="325263" y="4749"/>
                  </a:lnTo>
                  <a:lnTo>
                    <a:pt x="323630" y="4538"/>
                  </a:lnTo>
                  <a:lnTo>
                    <a:pt x="316702" y="2208"/>
                  </a:lnTo>
                  <a:lnTo>
                    <a:pt x="313284" y="393"/>
                  </a:lnTo>
                  <a:lnTo>
                    <a:pt x="311469" y="0"/>
                  </a:lnTo>
                  <a:lnTo>
                    <a:pt x="309896" y="998"/>
                  </a:lnTo>
                  <a:lnTo>
                    <a:pt x="310773" y="2057"/>
                  </a:lnTo>
                  <a:lnTo>
                    <a:pt x="311983" y="3055"/>
                  </a:lnTo>
                  <a:lnTo>
                    <a:pt x="314645" y="4538"/>
                  </a:lnTo>
                  <a:lnTo>
                    <a:pt x="314887" y="8319"/>
                  </a:lnTo>
                  <a:lnTo>
                    <a:pt x="317912" y="11859"/>
                  </a:lnTo>
                  <a:lnTo>
                    <a:pt x="324356" y="16608"/>
                  </a:lnTo>
                  <a:lnTo>
                    <a:pt x="322359" y="17939"/>
                  </a:lnTo>
                  <a:lnTo>
                    <a:pt x="320121" y="17879"/>
                  </a:lnTo>
                  <a:lnTo>
                    <a:pt x="317912" y="16941"/>
                  </a:lnTo>
                  <a:lnTo>
                    <a:pt x="315976" y="15610"/>
                  </a:lnTo>
                  <a:lnTo>
                    <a:pt x="316642" y="15731"/>
                  </a:lnTo>
                  <a:lnTo>
                    <a:pt x="318759" y="15610"/>
                  </a:lnTo>
                  <a:lnTo>
                    <a:pt x="317216" y="12645"/>
                  </a:lnTo>
                  <a:lnTo>
                    <a:pt x="315190" y="11707"/>
                  </a:lnTo>
                  <a:lnTo>
                    <a:pt x="313163" y="12312"/>
                  </a:lnTo>
                  <a:lnTo>
                    <a:pt x="309321" y="16154"/>
                  </a:lnTo>
                  <a:lnTo>
                    <a:pt x="307112" y="16215"/>
                  </a:lnTo>
                  <a:lnTo>
                    <a:pt x="304965" y="15005"/>
                  </a:lnTo>
                  <a:lnTo>
                    <a:pt x="302968" y="13401"/>
                  </a:lnTo>
                  <a:lnTo>
                    <a:pt x="303180" y="14248"/>
                  </a:lnTo>
                  <a:lnTo>
                    <a:pt x="303240" y="14702"/>
                  </a:lnTo>
                  <a:lnTo>
                    <a:pt x="303331" y="15065"/>
                  </a:lnTo>
                  <a:lnTo>
                    <a:pt x="303603" y="15610"/>
                  </a:lnTo>
                  <a:lnTo>
                    <a:pt x="302030" y="16638"/>
                  </a:lnTo>
                  <a:lnTo>
                    <a:pt x="300608" y="16396"/>
                  </a:lnTo>
                  <a:lnTo>
                    <a:pt x="299126" y="15791"/>
                  </a:lnTo>
                  <a:lnTo>
                    <a:pt x="297432" y="15610"/>
                  </a:lnTo>
                  <a:lnTo>
                    <a:pt x="298521" y="18211"/>
                  </a:lnTo>
                  <a:lnTo>
                    <a:pt x="298249" y="21478"/>
                  </a:lnTo>
                  <a:lnTo>
                    <a:pt x="297160" y="24292"/>
                  </a:lnTo>
                  <a:lnTo>
                    <a:pt x="294921" y="26168"/>
                  </a:lnTo>
                  <a:lnTo>
                    <a:pt x="294921" y="27771"/>
                  </a:lnTo>
                  <a:lnTo>
                    <a:pt x="295284" y="29495"/>
                  </a:lnTo>
                  <a:lnTo>
                    <a:pt x="295708" y="30584"/>
                  </a:lnTo>
                  <a:lnTo>
                    <a:pt x="296494" y="31492"/>
                  </a:lnTo>
                  <a:lnTo>
                    <a:pt x="298854" y="33337"/>
                  </a:lnTo>
                  <a:lnTo>
                    <a:pt x="302877" y="39115"/>
                  </a:lnTo>
                  <a:lnTo>
                    <a:pt x="303603" y="39387"/>
                  </a:lnTo>
                  <a:lnTo>
                    <a:pt x="303603" y="43260"/>
                  </a:lnTo>
                  <a:lnTo>
                    <a:pt x="302545" y="45529"/>
                  </a:lnTo>
                  <a:lnTo>
                    <a:pt x="302121" y="46981"/>
                  </a:lnTo>
                  <a:lnTo>
                    <a:pt x="302605" y="47646"/>
                  </a:lnTo>
                  <a:lnTo>
                    <a:pt x="304450" y="48614"/>
                  </a:lnTo>
                  <a:lnTo>
                    <a:pt x="304904" y="50852"/>
                  </a:lnTo>
                  <a:lnTo>
                    <a:pt x="304299" y="53484"/>
                  </a:lnTo>
                  <a:lnTo>
                    <a:pt x="302998" y="55451"/>
                  </a:lnTo>
                  <a:lnTo>
                    <a:pt x="301274" y="56207"/>
                  </a:lnTo>
                  <a:lnTo>
                    <a:pt x="298975" y="56752"/>
                  </a:lnTo>
                  <a:lnTo>
                    <a:pt x="296948" y="57599"/>
                  </a:lnTo>
                  <a:lnTo>
                    <a:pt x="296071" y="59353"/>
                  </a:lnTo>
                  <a:lnTo>
                    <a:pt x="295012" y="59595"/>
                  </a:lnTo>
                  <a:lnTo>
                    <a:pt x="285452" y="68157"/>
                  </a:lnTo>
                  <a:lnTo>
                    <a:pt x="283637" y="69336"/>
                  </a:lnTo>
                  <a:lnTo>
                    <a:pt x="281641" y="69911"/>
                  </a:lnTo>
                  <a:lnTo>
                    <a:pt x="281641" y="68822"/>
                  </a:lnTo>
                  <a:lnTo>
                    <a:pt x="283032" y="67703"/>
                  </a:lnTo>
                  <a:lnTo>
                    <a:pt x="286390" y="63316"/>
                  </a:lnTo>
                  <a:lnTo>
                    <a:pt x="291382" y="59988"/>
                  </a:lnTo>
                  <a:lnTo>
                    <a:pt x="292561" y="58809"/>
                  </a:lnTo>
                  <a:lnTo>
                    <a:pt x="293651" y="55390"/>
                  </a:lnTo>
                  <a:lnTo>
                    <a:pt x="291715" y="54453"/>
                  </a:lnTo>
                  <a:lnTo>
                    <a:pt x="285695" y="55511"/>
                  </a:lnTo>
                  <a:lnTo>
                    <a:pt x="285695" y="54392"/>
                  </a:lnTo>
                  <a:lnTo>
                    <a:pt x="291200" y="51095"/>
                  </a:lnTo>
                  <a:lnTo>
                    <a:pt x="293046" y="49068"/>
                  </a:lnTo>
                  <a:lnTo>
                    <a:pt x="294225" y="48100"/>
                  </a:lnTo>
                  <a:lnTo>
                    <a:pt x="295738" y="47707"/>
                  </a:lnTo>
                  <a:lnTo>
                    <a:pt x="296736" y="46496"/>
                  </a:lnTo>
                  <a:lnTo>
                    <a:pt x="297341" y="43834"/>
                  </a:lnTo>
                  <a:lnTo>
                    <a:pt x="297129" y="41172"/>
                  </a:lnTo>
                  <a:lnTo>
                    <a:pt x="295768" y="39962"/>
                  </a:lnTo>
                  <a:lnTo>
                    <a:pt x="294649" y="39206"/>
                  </a:lnTo>
                  <a:lnTo>
                    <a:pt x="293469" y="37421"/>
                  </a:lnTo>
                  <a:lnTo>
                    <a:pt x="292652" y="35243"/>
                  </a:lnTo>
                  <a:lnTo>
                    <a:pt x="292592" y="33337"/>
                  </a:lnTo>
                  <a:lnTo>
                    <a:pt x="289688" y="32006"/>
                  </a:lnTo>
                  <a:lnTo>
                    <a:pt x="288387" y="30917"/>
                  </a:lnTo>
                  <a:lnTo>
                    <a:pt x="287842" y="29465"/>
                  </a:lnTo>
                  <a:lnTo>
                    <a:pt x="288084" y="28557"/>
                  </a:lnTo>
                  <a:lnTo>
                    <a:pt x="288508" y="26107"/>
                  </a:lnTo>
                  <a:lnTo>
                    <a:pt x="288689" y="23566"/>
                  </a:lnTo>
                  <a:lnTo>
                    <a:pt x="288175" y="22386"/>
                  </a:lnTo>
                  <a:lnTo>
                    <a:pt x="287298" y="21660"/>
                  </a:lnTo>
                  <a:lnTo>
                    <a:pt x="286481" y="20057"/>
                  </a:lnTo>
                  <a:lnTo>
                    <a:pt x="285422" y="18484"/>
                  </a:lnTo>
                  <a:lnTo>
                    <a:pt x="283728" y="17879"/>
                  </a:lnTo>
                  <a:lnTo>
                    <a:pt x="282458" y="18302"/>
                  </a:lnTo>
                  <a:lnTo>
                    <a:pt x="278858" y="21176"/>
                  </a:lnTo>
                  <a:lnTo>
                    <a:pt x="277285" y="21720"/>
                  </a:lnTo>
                  <a:lnTo>
                    <a:pt x="273685" y="21176"/>
                  </a:lnTo>
                  <a:lnTo>
                    <a:pt x="273685" y="22084"/>
                  </a:lnTo>
                  <a:lnTo>
                    <a:pt x="270932" y="27257"/>
                  </a:lnTo>
                  <a:lnTo>
                    <a:pt x="270569" y="29283"/>
                  </a:lnTo>
                  <a:lnTo>
                    <a:pt x="271779" y="30312"/>
                  </a:lnTo>
                  <a:lnTo>
                    <a:pt x="274744" y="31129"/>
                  </a:lnTo>
                  <a:lnTo>
                    <a:pt x="275681" y="32097"/>
                  </a:lnTo>
                  <a:lnTo>
                    <a:pt x="276498" y="33246"/>
                  </a:lnTo>
                  <a:lnTo>
                    <a:pt x="277466" y="34184"/>
                  </a:lnTo>
                  <a:lnTo>
                    <a:pt x="278858" y="34426"/>
                  </a:lnTo>
                  <a:lnTo>
                    <a:pt x="278253" y="32702"/>
                  </a:lnTo>
                  <a:lnTo>
                    <a:pt x="277587" y="30221"/>
                  </a:lnTo>
                  <a:lnTo>
                    <a:pt x="277406" y="27922"/>
                  </a:lnTo>
                  <a:lnTo>
                    <a:pt x="278192" y="26742"/>
                  </a:lnTo>
                  <a:lnTo>
                    <a:pt x="279432" y="27287"/>
                  </a:lnTo>
                  <a:lnTo>
                    <a:pt x="280279" y="29072"/>
                  </a:lnTo>
                  <a:lnTo>
                    <a:pt x="280764" y="31159"/>
                  </a:lnTo>
                  <a:lnTo>
                    <a:pt x="280915" y="32762"/>
                  </a:lnTo>
                  <a:lnTo>
                    <a:pt x="281399" y="33761"/>
                  </a:lnTo>
                  <a:lnTo>
                    <a:pt x="282336" y="36271"/>
                  </a:lnTo>
                  <a:lnTo>
                    <a:pt x="283002" y="38843"/>
                  </a:lnTo>
                  <a:lnTo>
                    <a:pt x="282669" y="39992"/>
                  </a:lnTo>
                  <a:lnTo>
                    <a:pt x="281943" y="40900"/>
                  </a:lnTo>
                  <a:lnTo>
                    <a:pt x="280340" y="45165"/>
                  </a:lnTo>
                  <a:lnTo>
                    <a:pt x="279553" y="46618"/>
                  </a:lnTo>
                  <a:lnTo>
                    <a:pt x="279705" y="45135"/>
                  </a:lnTo>
                  <a:lnTo>
                    <a:pt x="280219" y="42261"/>
                  </a:lnTo>
                  <a:lnTo>
                    <a:pt x="280219" y="41112"/>
                  </a:lnTo>
                  <a:lnTo>
                    <a:pt x="279947" y="39962"/>
                  </a:lnTo>
                  <a:lnTo>
                    <a:pt x="279069" y="37845"/>
                  </a:lnTo>
                  <a:lnTo>
                    <a:pt x="278888" y="37270"/>
                  </a:lnTo>
                  <a:lnTo>
                    <a:pt x="278041" y="35757"/>
                  </a:lnTo>
                  <a:lnTo>
                    <a:pt x="276135" y="34124"/>
                  </a:lnTo>
                  <a:lnTo>
                    <a:pt x="274048" y="32823"/>
                  </a:lnTo>
                  <a:lnTo>
                    <a:pt x="272686" y="32218"/>
                  </a:lnTo>
                  <a:lnTo>
                    <a:pt x="271748" y="32369"/>
                  </a:lnTo>
                  <a:lnTo>
                    <a:pt x="270750" y="33428"/>
                  </a:lnTo>
                  <a:lnTo>
                    <a:pt x="269843" y="33428"/>
                  </a:lnTo>
                  <a:lnTo>
                    <a:pt x="269147" y="32914"/>
                  </a:lnTo>
                  <a:lnTo>
                    <a:pt x="268663" y="32188"/>
                  </a:lnTo>
                  <a:lnTo>
                    <a:pt x="268330" y="31522"/>
                  </a:lnTo>
                  <a:lnTo>
                    <a:pt x="268118" y="31219"/>
                  </a:lnTo>
                  <a:lnTo>
                    <a:pt x="268270" y="30070"/>
                  </a:lnTo>
                  <a:lnTo>
                    <a:pt x="270569" y="22477"/>
                  </a:lnTo>
                  <a:lnTo>
                    <a:pt x="270176" y="22114"/>
                  </a:lnTo>
                  <a:lnTo>
                    <a:pt x="270085" y="22114"/>
                  </a:lnTo>
                  <a:lnTo>
                    <a:pt x="269813" y="21267"/>
                  </a:lnTo>
                  <a:lnTo>
                    <a:pt x="267271" y="24110"/>
                  </a:lnTo>
                  <a:lnTo>
                    <a:pt x="264639" y="25956"/>
                  </a:lnTo>
                  <a:lnTo>
                    <a:pt x="263036" y="27952"/>
                  </a:lnTo>
                  <a:lnTo>
                    <a:pt x="263641" y="31219"/>
                  </a:lnTo>
                  <a:lnTo>
                    <a:pt x="265910" y="34275"/>
                  </a:lnTo>
                  <a:lnTo>
                    <a:pt x="266182" y="36030"/>
                  </a:lnTo>
                  <a:lnTo>
                    <a:pt x="265002" y="38964"/>
                  </a:lnTo>
                  <a:lnTo>
                    <a:pt x="264004" y="40235"/>
                  </a:lnTo>
                  <a:lnTo>
                    <a:pt x="263127" y="40325"/>
                  </a:lnTo>
                  <a:lnTo>
                    <a:pt x="261977" y="39992"/>
                  </a:lnTo>
                  <a:lnTo>
                    <a:pt x="260132" y="40053"/>
                  </a:lnTo>
                  <a:lnTo>
                    <a:pt x="260132" y="38964"/>
                  </a:lnTo>
                  <a:lnTo>
                    <a:pt x="261342" y="38782"/>
                  </a:lnTo>
                  <a:lnTo>
                    <a:pt x="262371" y="38177"/>
                  </a:lnTo>
                  <a:lnTo>
                    <a:pt x="263157" y="37119"/>
                  </a:lnTo>
                  <a:lnTo>
                    <a:pt x="263641" y="35545"/>
                  </a:lnTo>
                  <a:lnTo>
                    <a:pt x="262098" y="36030"/>
                  </a:lnTo>
                  <a:lnTo>
                    <a:pt x="260586" y="37119"/>
                  </a:lnTo>
                  <a:lnTo>
                    <a:pt x="259739" y="37421"/>
                  </a:lnTo>
                  <a:lnTo>
                    <a:pt x="260132" y="35545"/>
                  </a:lnTo>
                  <a:lnTo>
                    <a:pt x="260132" y="34547"/>
                  </a:lnTo>
                  <a:lnTo>
                    <a:pt x="258771" y="32248"/>
                  </a:lnTo>
                  <a:lnTo>
                    <a:pt x="257833" y="32883"/>
                  </a:lnTo>
                  <a:lnTo>
                    <a:pt x="256230" y="33518"/>
                  </a:lnTo>
                  <a:lnTo>
                    <a:pt x="254717" y="33640"/>
                  </a:lnTo>
                  <a:lnTo>
                    <a:pt x="254051" y="32853"/>
                  </a:lnTo>
                  <a:lnTo>
                    <a:pt x="253416" y="32429"/>
                  </a:lnTo>
                  <a:lnTo>
                    <a:pt x="249181" y="34547"/>
                  </a:lnTo>
                  <a:lnTo>
                    <a:pt x="249181" y="33428"/>
                  </a:lnTo>
                  <a:lnTo>
                    <a:pt x="253749" y="30493"/>
                  </a:lnTo>
                  <a:lnTo>
                    <a:pt x="254596" y="28709"/>
                  </a:lnTo>
                  <a:lnTo>
                    <a:pt x="251934" y="26833"/>
                  </a:lnTo>
                  <a:lnTo>
                    <a:pt x="249635" y="27196"/>
                  </a:lnTo>
                  <a:lnTo>
                    <a:pt x="248394" y="29556"/>
                  </a:lnTo>
                  <a:lnTo>
                    <a:pt x="247487" y="32188"/>
                  </a:lnTo>
                  <a:lnTo>
                    <a:pt x="246095" y="33458"/>
                  </a:lnTo>
                  <a:lnTo>
                    <a:pt x="244129" y="34124"/>
                  </a:lnTo>
                  <a:lnTo>
                    <a:pt x="238018" y="37723"/>
                  </a:lnTo>
                  <a:lnTo>
                    <a:pt x="235023" y="41687"/>
                  </a:lnTo>
                  <a:lnTo>
                    <a:pt x="233844" y="42594"/>
                  </a:lnTo>
                  <a:lnTo>
                    <a:pt x="233299" y="41777"/>
                  </a:lnTo>
                  <a:lnTo>
                    <a:pt x="233511" y="40295"/>
                  </a:lnTo>
                  <a:lnTo>
                    <a:pt x="234055" y="39236"/>
                  </a:lnTo>
                  <a:lnTo>
                    <a:pt x="234751" y="38177"/>
                  </a:lnTo>
                  <a:lnTo>
                    <a:pt x="235386" y="36756"/>
                  </a:lnTo>
                  <a:lnTo>
                    <a:pt x="233723" y="37119"/>
                  </a:lnTo>
                  <a:lnTo>
                    <a:pt x="230637" y="38631"/>
                  </a:lnTo>
                  <a:lnTo>
                    <a:pt x="228822" y="38964"/>
                  </a:lnTo>
                  <a:lnTo>
                    <a:pt x="223135" y="36665"/>
                  </a:lnTo>
                  <a:lnTo>
                    <a:pt x="221561" y="36756"/>
                  </a:lnTo>
                  <a:lnTo>
                    <a:pt x="220563" y="38449"/>
                  </a:lnTo>
                  <a:lnTo>
                    <a:pt x="218960" y="43441"/>
                  </a:lnTo>
                  <a:lnTo>
                    <a:pt x="217780" y="44500"/>
                  </a:lnTo>
                  <a:lnTo>
                    <a:pt x="217326" y="45770"/>
                  </a:lnTo>
                  <a:lnTo>
                    <a:pt x="217719" y="48584"/>
                  </a:lnTo>
                  <a:lnTo>
                    <a:pt x="218869" y="53333"/>
                  </a:lnTo>
                  <a:lnTo>
                    <a:pt x="218022" y="54211"/>
                  </a:lnTo>
                  <a:lnTo>
                    <a:pt x="217387" y="57175"/>
                  </a:lnTo>
                  <a:lnTo>
                    <a:pt x="216812" y="57841"/>
                  </a:lnTo>
                  <a:lnTo>
                    <a:pt x="215874" y="57054"/>
                  </a:lnTo>
                  <a:lnTo>
                    <a:pt x="215602" y="53303"/>
                  </a:lnTo>
                  <a:lnTo>
                    <a:pt x="214634" y="52365"/>
                  </a:lnTo>
                  <a:lnTo>
                    <a:pt x="213938" y="52970"/>
                  </a:lnTo>
                  <a:lnTo>
                    <a:pt x="211972" y="56873"/>
                  </a:lnTo>
                  <a:lnTo>
                    <a:pt x="210822" y="57508"/>
                  </a:lnTo>
                  <a:lnTo>
                    <a:pt x="209824" y="57387"/>
                  </a:lnTo>
                  <a:lnTo>
                    <a:pt x="209007" y="57780"/>
                  </a:lnTo>
                  <a:lnTo>
                    <a:pt x="208493" y="60049"/>
                  </a:lnTo>
                  <a:lnTo>
                    <a:pt x="209128" y="60049"/>
                  </a:lnTo>
                  <a:lnTo>
                    <a:pt x="208856" y="60624"/>
                  </a:lnTo>
                  <a:lnTo>
                    <a:pt x="207827" y="62227"/>
                  </a:lnTo>
                  <a:lnTo>
                    <a:pt x="206678" y="61289"/>
                  </a:lnTo>
                  <a:lnTo>
                    <a:pt x="205528" y="61108"/>
                  </a:lnTo>
                  <a:lnTo>
                    <a:pt x="204500" y="61471"/>
                  </a:lnTo>
                  <a:lnTo>
                    <a:pt x="203653" y="62227"/>
                  </a:lnTo>
                  <a:lnTo>
                    <a:pt x="203653" y="63407"/>
                  </a:lnTo>
                  <a:lnTo>
                    <a:pt x="207494" y="67824"/>
                  </a:lnTo>
                  <a:lnTo>
                    <a:pt x="209763" y="69881"/>
                  </a:lnTo>
                  <a:lnTo>
                    <a:pt x="212728" y="71030"/>
                  </a:lnTo>
                  <a:lnTo>
                    <a:pt x="210247" y="72573"/>
                  </a:lnTo>
                  <a:lnTo>
                    <a:pt x="208916" y="73057"/>
                  </a:lnTo>
                  <a:lnTo>
                    <a:pt x="207525" y="73239"/>
                  </a:lnTo>
                  <a:lnTo>
                    <a:pt x="206224" y="72725"/>
                  </a:lnTo>
                  <a:lnTo>
                    <a:pt x="205286" y="71787"/>
                  </a:lnTo>
                  <a:lnTo>
                    <a:pt x="204318" y="71333"/>
                  </a:lnTo>
                  <a:lnTo>
                    <a:pt x="203017" y="72210"/>
                  </a:lnTo>
                  <a:lnTo>
                    <a:pt x="204288" y="75235"/>
                  </a:lnTo>
                  <a:lnTo>
                    <a:pt x="206103" y="78533"/>
                  </a:lnTo>
                  <a:lnTo>
                    <a:pt x="208463" y="80862"/>
                  </a:lnTo>
                  <a:lnTo>
                    <a:pt x="211336" y="80983"/>
                  </a:lnTo>
                  <a:lnTo>
                    <a:pt x="211397" y="80499"/>
                  </a:lnTo>
                  <a:lnTo>
                    <a:pt x="211397" y="79440"/>
                  </a:lnTo>
                  <a:lnTo>
                    <a:pt x="211579" y="78321"/>
                  </a:lnTo>
                  <a:lnTo>
                    <a:pt x="212002" y="77595"/>
                  </a:lnTo>
                  <a:lnTo>
                    <a:pt x="212516" y="77444"/>
                  </a:lnTo>
                  <a:lnTo>
                    <a:pt x="214362" y="77595"/>
                  </a:lnTo>
                  <a:lnTo>
                    <a:pt x="215723" y="78170"/>
                  </a:lnTo>
                  <a:lnTo>
                    <a:pt x="216842" y="81044"/>
                  </a:lnTo>
                  <a:lnTo>
                    <a:pt x="218173" y="82072"/>
                  </a:lnTo>
                  <a:lnTo>
                    <a:pt x="216691" y="82435"/>
                  </a:lnTo>
                  <a:lnTo>
                    <a:pt x="212728" y="81800"/>
                  </a:lnTo>
                  <a:lnTo>
                    <a:pt x="211306" y="83161"/>
                  </a:lnTo>
                  <a:lnTo>
                    <a:pt x="211246" y="85823"/>
                  </a:lnTo>
                  <a:lnTo>
                    <a:pt x="212849" y="87517"/>
                  </a:lnTo>
                  <a:lnTo>
                    <a:pt x="215088" y="88395"/>
                  </a:lnTo>
                  <a:lnTo>
                    <a:pt x="216842" y="88637"/>
                  </a:lnTo>
                  <a:lnTo>
                    <a:pt x="216842" y="89726"/>
                  </a:lnTo>
                  <a:lnTo>
                    <a:pt x="214785" y="89726"/>
                  </a:lnTo>
                  <a:lnTo>
                    <a:pt x="209189" y="87638"/>
                  </a:lnTo>
                  <a:lnTo>
                    <a:pt x="204439" y="88455"/>
                  </a:lnTo>
                  <a:lnTo>
                    <a:pt x="202231" y="88273"/>
                  </a:lnTo>
                  <a:lnTo>
                    <a:pt x="200234" y="86428"/>
                  </a:lnTo>
                  <a:lnTo>
                    <a:pt x="199115" y="87306"/>
                  </a:lnTo>
                  <a:lnTo>
                    <a:pt x="197784" y="89000"/>
                  </a:lnTo>
                  <a:lnTo>
                    <a:pt x="196786" y="89726"/>
                  </a:lnTo>
                  <a:lnTo>
                    <a:pt x="195545" y="89998"/>
                  </a:lnTo>
                  <a:lnTo>
                    <a:pt x="194547" y="89998"/>
                  </a:lnTo>
                  <a:lnTo>
                    <a:pt x="193791" y="90361"/>
                  </a:lnTo>
                  <a:lnTo>
                    <a:pt x="193367" y="91904"/>
                  </a:lnTo>
                  <a:lnTo>
                    <a:pt x="195727" y="92115"/>
                  </a:lnTo>
                  <a:lnTo>
                    <a:pt x="199357" y="94566"/>
                  </a:lnTo>
                  <a:lnTo>
                    <a:pt x="203138" y="95806"/>
                  </a:lnTo>
                  <a:lnTo>
                    <a:pt x="208463" y="100767"/>
                  </a:lnTo>
                  <a:lnTo>
                    <a:pt x="206617" y="101645"/>
                  </a:lnTo>
                  <a:lnTo>
                    <a:pt x="204802" y="100707"/>
                  </a:lnTo>
                  <a:lnTo>
                    <a:pt x="203169" y="98832"/>
                  </a:lnTo>
                  <a:lnTo>
                    <a:pt x="201898" y="96926"/>
                  </a:lnTo>
                  <a:lnTo>
                    <a:pt x="200748" y="96502"/>
                  </a:lnTo>
                  <a:lnTo>
                    <a:pt x="196211" y="96714"/>
                  </a:lnTo>
                  <a:lnTo>
                    <a:pt x="194638" y="97409"/>
                  </a:lnTo>
                  <a:lnTo>
                    <a:pt x="196543" y="99164"/>
                  </a:lnTo>
                  <a:lnTo>
                    <a:pt x="203592" y="100798"/>
                  </a:lnTo>
                  <a:lnTo>
                    <a:pt x="203592" y="101796"/>
                  </a:lnTo>
                  <a:lnTo>
                    <a:pt x="200869" y="101736"/>
                  </a:lnTo>
                  <a:lnTo>
                    <a:pt x="195575" y="100102"/>
                  </a:lnTo>
                  <a:lnTo>
                    <a:pt x="185472" y="99860"/>
                  </a:lnTo>
                  <a:lnTo>
                    <a:pt x="182900" y="100798"/>
                  </a:lnTo>
                  <a:lnTo>
                    <a:pt x="175730" y="105608"/>
                  </a:lnTo>
                  <a:lnTo>
                    <a:pt x="174581" y="106818"/>
                  </a:lnTo>
                  <a:lnTo>
                    <a:pt x="174309" y="108723"/>
                  </a:lnTo>
                  <a:lnTo>
                    <a:pt x="173522" y="109903"/>
                  </a:lnTo>
                  <a:lnTo>
                    <a:pt x="172342" y="110478"/>
                  </a:lnTo>
                  <a:lnTo>
                    <a:pt x="170890" y="110629"/>
                  </a:lnTo>
                  <a:lnTo>
                    <a:pt x="169468" y="111083"/>
                  </a:lnTo>
                  <a:lnTo>
                    <a:pt x="169257" y="112142"/>
                  </a:lnTo>
                  <a:lnTo>
                    <a:pt x="169922" y="113261"/>
                  </a:lnTo>
                  <a:lnTo>
                    <a:pt x="171223" y="114017"/>
                  </a:lnTo>
                  <a:lnTo>
                    <a:pt x="171223" y="115016"/>
                  </a:lnTo>
                  <a:lnTo>
                    <a:pt x="170679" y="115591"/>
                  </a:lnTo>
                  <a:lnTo>
                    <a:pt x="170376" y="116135"/>
                  </a:lnTo>
                  <a:lnTo>
                    <a:pt x="170164" y="116680"/>
                  </a:lnTo>
                  <a:lnTo>
                    <a:pt x="169832" y="117285"/>
                  </a:lnTo>
                  <a:lnTo>
                    <a:pt x="171616" y="117285"/>
                  </a:lnTo>
                  <a:lnTo>
                    <a:pt x="179935" y="120189"/>
                  </a:lnTo>
                  <a:lnTo>
                    <a:pt x="180873" y="121066"/>
                  </a:lnTo>
                  <a:lnTo>
                    <a:pt x="180056" y="122609"/>
                  </a:lnTo>
                  <a:lnTo>
                    <a:pt x="181811" y="123668"/>
                  </a:lnTo>
                  <a:lnTo>
                    <a:pt x="189434" y="123668"/>
                  </a:lnTo>
                  <a:lnTo>
                    <a:pt x="191461" y="125029"/>
                  </a:lnTo>
                  <a:lnTo>
                    <a:pt x="192732" y="125362"/>
                  </a:lnTo>
                  <a:lnTo>
                    <a:pt x="193791" y="123153"/>
                  </a:lnTo>
                  <a:lnTo>
                    <a:pt x="194971" y="122730"/>
                  </a:lnTo>
                  <a:lnTo>
                    <a:pt x="197421" y="122609"/>
                  </a:lnTo>
                  <a:lnTo>
                    <a:pt x="198056" y="122337"/>
                  </a:lnTo>
                  <a:lnTo>
                    <a:pt x="199115" y="121641"/>
                  </a:lnTo>
                  <a:lnTo>
                    <a:pt x="199780" y="121490"/>
                  </a:lnTo>
                  <a:lnTo>
                    <a:pt x="200597" y="121762"/>
                  </a:lnTo>
                  <a:lnTo>
                    <a:pt x="200688" y="122397"/>
                  </a:lnTo>
                  <a:lnTo>
                    <a:pt x="200597" y="123093"/>
                  </a:lnTo>
                  <a:lnTo>
                    <a:pt x="201051" y="124212"/>
                  </a:lnTo>
                  <a:lnTo>
                    <a:pt x="202019" y="125513"/>
                  </a:lnTo>
                  <a:lnTo>
                    <a:pt x="203078" y="126300"/>
                  </a:lnTo>
                  <a:lnTo>
                    <a:pt x="203562" y="125362"/>
                  </a:lnTo>
                  <a:lnTo>
                    <a:pt x="204409" y="122337"/>
                  </a:lnTo>
                  <a:lnTo>
                    <a:pt x="206103" y="120159"/>
                  </a:lnTo>
                  <a:lnTo>
                    <a:pt x="207404" y="120159"/>
                  </a:lnTo>
                  <a:lnTo>
                    <a:pt x="207071" y="123668"/>
                  </a:lnTo>
                  <a:lnTo>
                    <a:pt x="207767" y="123668"/>
                  </a:lnTo>
                  <a:lnTo>
                    <a:pt x="209279" y="122186"/>
                  </a:lnTo>
                  <a:lnTo>
                    <a:pt x="210520" y="123577"/>
                  </a:lnTo>
                  <a:lnTo>
                    <a:pt x="210822" y="125846"/>
                  </a:lnTo>
                  <a:lnTo>
                    <a:pt x="209491" y="127056"/>
                  </a:lnTo>
                  <a:lnTo>
                    <a:pt x="207585" y="127510"/>
                  </a:lnTo>
                  <a:lnTo>
                    <a:pt x="206073" y="128690"/>
                  </a:lnTo>
                  <a:lnTo>
                    <a:pt x="203622" y="131412"/>
                  </a:lnTo>
                  <a:lnTo>
                    <a:pt x="203622" y="132380"/>
                  </a:lnTo>
                  <a:lnTo>
                    <a:pt x="205105" y="132048"/>
                  </a:lnTo>
                  <a:lnTo>
                    <a:pt x="206526" y="131231"/>
                  </a:lnTo>
                  <a:lnTo>
                    <a:pt x="207888" y="130172"/>
                  </a:lnTo>
                  <a:lnTo>
                    <a:pt x="212577" y="125331"/>
                  </a:lnTo>
                  <a:lnTo>
                    <a:pt x="215148" y="124122"/>
                  </a:lnTo>
                  <a:lnTo>
                    <a:pt x="217719" y="121066"/>
                  </a:lnTo>
                  <a:lnTo>
                    <a:pt x="219232" y="120371"/>
                  </a:lnTo>
                  <a:lnTo>
                    <a:pt x="220684" y="120854"/>
                  </a:lnTo>
                  <a:lnTo>
                    <a:pt x="221380" y="122004"/>
                  </a:lnTo>
                  <a:lnTo>
                    <a:pt x="221229" y="123456"/>
                  </a:lnTo>
                  <a:lnTo>
                    <a:pt x="220170" y="124848"/>
                  </a:lnTo>
                  <a:lnTo>
                    <a:pt x="220170" y="125816"/>
                  </a:lnTo>
                  <a:lnTo>
                    <a:pt x="222257" y="124787"/>
                  </a:lnTo>
                  <a:lnTo>
                    <a:pt x="225918" y="122034"/>
                  </a:lnTo>
                  <a:lnTo>
                    <a:pt x="232785" y="120945"/>
                  </a:lnTo>
                  <a:lnTo>
                    <a:pt x="234781" y="120008"/>
                  </a:lnTo>
                  <a:lnTo>
                    <a:pt x="236717" y="118313"/>
                  </a:lnTo>
                  <a:lnTo>
                    <a:pt x="236929" y="118797"/>
                  </a:lnTo>
                  <a:lnTo>
                    <a:pt x="236990" y="118918"/>
                  </a:lnTo>
                  <a:lnTo>
                    <a:pt x="237080" y="118918"/>
                  </a:lnTo>
                  <a:lnTo>
                    <a:pt x="237383" y="119281"/>
                  </a:lnTo>
                  <a:lnTo>
                    <a:pt x="236869" y="120673"/>
                  </a:lnTo>
                  <a:lnTo>
                    <a:pt x="235719" y="125816"/>
                  </a:lnTo>
                  <a:lnTo>
                    <a:pt x="234449" y="125574"/>
                  </a:lnTo>
                  <a:lnTo>
                    <a:pt x="233692" y="124968"/>
                  </a:lnTo>
                  <a:lnTo>
                    <a:pt x="232996" y="124242"/>
                  </a:lnTo>
                  <a:lnTo>
                    <a:pt x="231907" y="123607"/>
                  </a:lnTo>
                  <a:lnTo>
                    <a:pt x="232210" y="127570"/>
                  </a:lnTo>
                  <a:lnTo>
                    <a:pt x="227551" y="131503"/>
                  </a:lnTo>
                  <a:lnTo>
                    <a:pt x="227793" y="134589"/>
                  </a:lnTo>
                  <a:lnTo>
                    <a:pt x="222287" y="138854"/>
                  </a:lnTo>
                  <a:lnTo>
                    <a:pt x="223588" y="140367"/>
                  </a:lnTo>
                  <a:lnTo>
                    <a:pt x="225071" y="141002"/>
                  </a:lnTo>
                  <a:lnTo>
                    <a:pt x="228398" y="141123"/>
                  </a:lnTo>
                  <a:lnTo>
                    <a:pt x="228398" y="142303"/>
                  </a:lnTo>
                  <a:lnTo>
                    <a:pt x="225192" y="142968"/>
                  </a:lnTo>
                  <a:lnTo>
                    <a:pt x="220654" y="145872"/>
                  </a:lnTo>
                  <a:lnTo>
                    <a:pt x="219353" y="146115"/>
                  </a:lnTo>
                  <a:lnTo>
                    <a:pt x="211155" y="147627"/>
                  </a:lnTo>
                  <a:lnTo>
                    <a:pt x="210883" y="147687"/>
                  </a:lnTo>
                  <a:lnTo>
                    <a:pt x="207888" y="149079"/>
                  </a:lnTo>
                  <a:lnTo>
                    <a:pt x="204953" y="151015"/>
                  </a:lnTo>
                  <a:lnTo>
                    <a:pt x="204893" y="150047"/>
                  </a:lnTo>
                  <a:lnTo>
                    <a:pt x="204742" y="149956"/>
                  </a:lnTo>
                  <a:lnTo>
                    <a:pt x="204348" y="149835"/>
                  </a:lnTo>
                  <a:lnTo>
                    <a:pt x="204076" y="148837"/>
                  </a:lnTo>
                  <a:lnTo>
                    <a:pt x="203350" y="147113"/>
                  </a:lnTo>
                  <a:lnTo>
                    <a:pt x="202594" y="146598"/>
                  </a:lnTo>
                  <a:lnTo>
                    <a:pt x="202231" y="149321"/>
                  </a:lnTo>
                  <a:lnTo>
                    <a:pt x="202140" y="152498"/>
                  </a:lnTo>
                  <a:lnTo>
                    <a:pt x="201868" y="153738"/>
                  </a:lnTo>
                  <a:lnTo>
                    <a:pt x="201263" y="154252"/>
                  </a:lnTo>
                  <a:lnTo>
                    <a:pt x="199599" y="154797"/>
                  </a:lnTo>
                  <a:lnTo>
                    <a:pt x="187892" y="162420"/>
                  </a:lnTo>
                  <a:lnTo>
                    <a:pt x="184987" y="163237"/>
                  </a:lnTo>
                  <a:lnTo>
                    <a:pt x="183777" y="163963"/>
                  </a:lnTo>
                  <a:lnTo>
                    <a:pt x="182749" y="165022"/>
                  </a:lnTo>
                  <a:lnTo>
                    <a:pt x="182295" y="166231"/>
                  </a:lnTo>
                  <a:lnTo>
                    <a:pt x="182446" y="167895"/>
                  </a:lnTo>
                  <a:lnTo>
                    <a:pt x="182991" y="168410"/>
                  </a:lnTo>
                  <a:lnTo>
                    <a:pt x="192974" y="168410"/>
                  </a:lnTo>
                  <a:lnTo>
                    <a:pt x="195152" y="168954"/>
                  </a:lnTo>
                  <a:lnTo>
                    <a:pt x="197300" y="170225"/>
                  </a:lnTo>
                  <a:lnTo>
                    <a:pt x="198056" y="171707"/>
                  </a:lnTo>
                  <a:lnTo>
                    <a:pt x="196029" y="172857"/>
                  </a:lnTo>
                  <a:lnTo>
                    <a:pt x="193700" y="171072"/>
                  </a:lnTo>
                  <a:lnTo>
                    <a:pt x="192460" y="170648"/>
                  </a:lnTo>
                  <a:lnTo>
                    <a:pt x="191915" y="172282"/>
                  </a:lnTo>
                  <a:lnTo>
                    <a:pt x="192218" y="173583"/>
                  </a:lnTo>
                  <a:lnTo>
                    <a:pt x="192944" y="174006"/>
                  </a:lnTo>
                  <a:lnTo>
                    <a:pt x="195001" y="173855"/>
                  </a:lnTo>
                  <a:lnTo>
                    <a:pt x="196906" y="174127"/>
                  </a:lnTo>
                  <a:lnTo>
                    <a:pt x="198843" y="174914"/>
                  </a:lnTo>
                  <a:lnTo>
                    <a:pt x="200658" y="176275"/>
                  </a:lnTo>
                  <a:lnTo>
                    <a:pt x="202231" y="178181"/>
                  </a:lnTo>
                  <a:lnTo>
                    <a:pt x="195152" y="176941"/>
                  </a:lnTo>
                  <a:lnTo>
                    <a:pt x="194002" y="177636"/>
                  </a:lnTo>
                  <a:lnTo>
                    <a:pt x="193397" y="178393"/>
                  </a:lnTo>
                  <a:lnTo>
                    <a:pt x="192036" y="178090"/>
                  </a:lnTo>
                  <a:lnTo>
                    <a:pt x="189828" y="177092"/>
                  </a:lnTo>
                  <a:lnTo>
                    <a:pt x="188950" y="177697"/>
                  </a:lnTo>
                  <a:lnTo>
                    <a:pt x="187771" y="179572"/>
                  </a:lnTo>
                  <a:lnTo>
                    <a:pt x="187105" y="180329"/>
                  </a:lnTo>
                  <a:lnTo>
                    <a:pt x="187105" y="181509"/>
                  </a:lnTo>
                  <a:lnTo>
                    <a:pt x="188648" y="181509"/>
                  </a:lnTo>
                  <a:lnTo>
                    <a:pt x="190493" y="182023"/>
                  </a:lnTo>
                  <a:lnTo>
                    <a:pt x="192006" y="182930"/>
                  </a:lnTo>
                  <a:lnTo>
                    <a:pt x="192641" y="184140"/>
                  </a:lnTo>
                  <a:lnTo>
                    <a:pt x="193307" y="185895"/>
                  </a:lnTo>
                  <a:lnTo>
                    <a:pt x="194880" y="186772"/>
                  </a:lnTo>
                  <a:lnTo>
                    <a:pt x="196695" y="187287"/>
                  </a:lnTo>
                  <a:lnTo>
                    <a:pt x="198147" y="187982"/>
                  </a:lnTo>
                  <a:lnTo>
                    <a:pt x="198147" y="189041"/>
                  </a:lnTo>
                  <a:lnTo>
                    <a:pt x="194849" y="188890"/>
                  </a:lnTo>
                  <a:lnTo>
                    <a:pt x="193307" y="189223"/>
                  </a:lnTo>
                  <a:lnTo>
                    <a:pt x="191945" y="190221"/>
                  </a:lnTo>
                  <a:lnTo>
                    <a:pt x="189858" y="187256"/>
                  </a:lnTo>
                  <a:lnTo>
                    <a:pt x="188708" y="186198"/>
                  </a:lnTo>
                  <a:lnTo>
                    <a:pt x="185865" y="185139"/>
                  </a:lnTo>
                  <a:lnTo>
                    <a:pt x="185229" y="183596"/>
                  </a:lnTo>
                  <a:lnTo>
                    <a:pt x="184927" y="181781"/>
                  </a:lnTo>
                  <a:lnTo>
                    <a:pt x="184352" y="180298"/>
                  </a:lnTo>
                  <a:lnTo>
                    <a:pt x="181539" y="178968"/>
                  </a:lnTo>
                  <a:lnTo>
                    <a:pt x="175398" y="180117"/>
                  </a:lnTo>
                  <a:lnTo>
                    <a:pt x="172615" y="178151"/>
                  </a:lnTo>
                  <a:lnTo>
                    <a:pt x="170558" y="179694"/>
                  </a:lnTo>
                  <a:lnTo>
                    <a:pt x="168349" y="180298"/>
                  </a:lnTo>
                  <a:lnTo>
                    <a:pt x="163388" y="180298"/>
                  </a:lnTo>
                  <a:lnTo>
                    <a:pt x="161845" y="179966"/>
                  </a:lnTo>
                  <a:lnTo>
                    <a:pt x="159576" y="178483"/>
                  </a:lnTo>
                  <a:lnTo>
                    <a:pt x="157973" y="177939"/>
                  </a:lnTo>
                  <a:lnTo>
                    <a:pt x="156218" y="176971"/>
                  </a:lnTo>
                  <a:lnTo>
                    <a:pt x="155069" y="176033"/>
                  </a:lnTo>
                  <a:lnTo>
                    <a:pt x="154524" y="176305"/>
                  </a:lnTo>
                  <a:lnTo>
                    <a:pt x="153980" y="176850"/>
                  </a:lnTo>
                  <a:lnTo>
                    <a:pt x="153284" y="177062"/>
                  </a:lnTo>
                  <a:lnTo>
                    <a:pt x="147173" y="175730"/>
                  </a:lnTo>
                  <a:lnTo>
                    <a:pt x="143785" y="176124"/>
                  </a:lnTo>
                  <a:lnTo>
                    <a:pt x="142303" y="178756"/>
                  </a:lnTo>
                  <a:lnTo>
                    <a:pt x="141607" y="182900"/>
                  </a:lnTo>
                  <a:lnTo>
                    <a:pt x="139883" y="186077"/>
                  </a:lnTo>
                  <a:lnTo>
                    <a:pt x="137644" y="188194"/>
                  </a:lnTo>
                  <a:lnTo>
                    <a:pt x="135375" y="189071"/>
                  </a:lnTo>
                  <a:lnTo>
                    <a:pt x="135980" y="191401"/>
                  </a:lnTo>
                  <a:lnTo>
                    <a:pt x="135829" y="193609"/>
                  </a:lnTo>
                  <a:lnTo>
                    <a:pt x="135436" y="196029"/>
                  </a:lnTo>
                  <a:lnTo>
                    <a:pt x="135345" y="198873"/>
                  </a:lnTo>
                  <a:lnTo>
                    <a:pt x="134710" y="198873"/>
                  </a:lnTo>
                  <a:lnTo>
                    <a:pt x="134710" y="195757"/>
                  </a:lnTo>
                  <a:lnTo>
                    <a:pt x="133893" y="193337"/>
                  </a:lnTo>
                  <a:lnTo>
                    <a:pt x="132622" y="191552"/>
                  </a:lnTo>
                  <a:lnTo>
                    <a:pt x="127752" y="187468"/>
                  </a:lnTo>
                  <a:lnTo>
                    <a:pt x="127268" y="185986"/>
                  </a:lnTo>
                  <a:lnTo>
                    <a:pt x="129204" y="184745"/>
                  </a:lnTo>
                  <a:lnTo>
                    <a:pt x="129204" y="183566"/>
                  </a:lnTo>
                  <a:lnTo>
                    <a:pt x="126995" y="182598"/>
                  </a:lnTo>
                  <a:lnTo>
                    <a:pt x="126995" y="181509"/>
                  </a:lnTo>
                  <a:lnTo>
                    <a:pt x="127570" y="180752"/>
                  </a:lnTo>
                  <a:lnTo>
                    <a:pt x="127812" y="179603"/>
                  </a:lnTo>
                  <a:lnTo>
                    <a:pt x="127661" y="178332"/>
                  </a:lnTo>
                  <a:lnTo>
                    <a:pt x="126995" y="177092"/>
                  </a:lnTo>
                  <a:lnTo>
                    <a:pt x="126814" y="177545"/>
                  </a:lnTo>
                  <a:lnTo>
                    <a:pt x="125785" y="177879"/>
                  </a:lnTo>
                  <a:lnTo>
                    <a:pt x="124001" y="178181"/>
                  </a:lnTo>
                  <a:lnTo>
                    <a:pt x="123486" y="177485"/>
                  </a:lnTo>
                  <a:lnTo>
                    <a:pt x="122670" y="174520"/>
                  </a:lnTo>
                  <a:lnTo>
                    <a:pt x="121913" y="173855"/>
                  </a:lnTo>
                  <a:lnTo>
                    <a:pt x="121036" y="173764"/>
                  </a:lnTo>
                  <a:lnTo>
                    <a:pt x="116528" y="171798"/>
                  </a:lnTo>
                  <a:lnTo>
                    <a:pt x="115288" y="171586"/>
                  </a:lnTo>
                  <a:lnTo>
                    <a:pt x="114350" y="172282"/>
                  </a:lnTo>
                  <a:lnTo>
                    <a:pt x="113594" y="173189"/>
                  </a:lnTo>
                  <a:lnTo>
                    <a:pt x="112445" y="174037"/>
                  </a:lnTo>
                  <a:lnTo>
                    <a:pt x="111204" y="174672"/>
                  </a:lnTo>
                  <a:lnTo>
                    <a:pt x="110236" y="174914"/>
                  </a:lnTo>
                  <a:lnTo>
                    <a:pt x="102250" y="173855"/>
                  </a:lnTo>
                  <a:lnTo>
                    <a:pt x="101463" y="173371"/>
                  </a:lnTo>
                  <a:lnTo>
                    <a:pt x="100072" y="171979"/>
                  </a:lnTo>
                  <a:lnTo>
                    <a:pt x="99194" y="171707"/>
                  </a:lnTo>
                  <a:lnTo>
                    <a:pt x="98075" y="171888"/>
                  </a:lnTo>
                  <a:lnTo>
                    <a:pt x="96200" y="172705"/>
                  </a:lnTo>
                  <a:lnTo>
                    <a:pt x="95080" y="172887"/>
                  </a:lnTo>
                  <a:lnTo>
                    <a:pt x="77837" y="171707"/>
                  </a:lnTo>
                  <a:lnTo>
                    <a:pt x="75870" y="171193"/>
                  </a:lnTo>
                  <a:lnTo>
                    <a:pt x="72029" y="168954"/>
                  </a:lnTo>
                  <a:lnTo>
                    <a:pt x="69911" y="168470"/>
                  </a:lnTo>
                  <a:lnTo>
                    <a:pt x="64012" y="169952"/>
                  </a:lnTo>
                  <a:lnTo>
                    <a:pt x="63800" y="171102"/>
                  </a:lnTo>
                  <a:lnTo>
                    <a:pt x="64405" y="173371"/>
                  </a:lnTo>
                  <a:lnTo>
                    <a:pt x="65494" y="174974"/>
                  </a:lnTo>
                  <a:lnTo>
                    <a:pt x="70758" y="176063"/>
                  </a:lnTo>
                  <a:lnTo>
                    <a:pt x="72634" y="177092"/>
                  </a:lnTo>
                  <a:lnTo>
                    <a:pt x="70425" y="176638"/>
                  </a:lnTo>
                  <a:lnTo>
                    <a:pt x="69487" y="176729"/>
                  </a:lnTo>
                  <a:lnTo>
                    <a:pt x="68519" y="177092"/>
                  </a:lnTo>
                  <a:lnTo>
                    <a:pt x="68519" y="178181"/>
                  </a:lnTo>
                  <a:lnTo>
                    <a:pt x="70576" y="179300"/>
                  </a:lnTo>
                  <a:lnTo>
                    <a:pt x="71363" y="180177"/>
                  </a:lnTo>
                  <a:lnTo>
                    <a:pt x="71938" y="181539"/>
                  </a:lnTo>
                  <a:lnTo>
                    <a:pt x="69699" y="181176"/>
                  </a:lnTo>
                  <a:lnTo>
                    <a:pt x="66160" y="178786"/>
                  </a:lnTo>
                  <a:lnTo>
                    <a:pt x="63982" y="178211"/>
                  </a:lnTo>
                  <a:lnTo>
                    <a:pt x="62469" y="179149"/>
                  </a:lnTo>
                  <a:lnTo>
                    <a:pt x="60836" y="181387"/>
                  </a:lnTo>
                  <a:lnTo>
                    <a:pt x="60170" y="183929"/>
                  </a:lnTo>
                  <a:lnTo>
                    <a:pt x="61562" y="185834"/>
                  </a:lnTo>
                  <a:lnTo>
                    <a:pt x="60079" y="186681"/>
                  </a:lnTo>
                  <a:lnTo>
                    <a:pt x="58748" y="188467"/>
                  </a:lnTo>
                  <a:lnTo>
                    <a:pt x="57357" y="189616"/>
                  </a:lnTo>
                  <a:lnTo>
                    <a:pt x="55693" y="188557"/>
                  </a:lnTo>
                  <a:lnTo>
                    <a:pt x="53878" y="187801"/>
                  </a:lnTo>
                  <a:lnTo>
                    <a:pt x="51488" y="187650"/>
                  </a:lnTo>
                  <a:lnTo>
                    <a:pt x="49915" y="186712"/>
                  </a:lnTo>
                  <a:lnTo>
                    <a:pt x="50550" y="183626"/>
                  </a:lnTo>
                  <a:lnTo>
                    <a:pt x="53091" y="185834"/>
                  </a:lnTo>
                  <a:lnTo>
                    <a:pt x="55572" y="186107"/>
                  </a:lnTo>
                  <a:lnTo>
                    <a:pt x="57962" y="184322"/>
                  </a:lnTo>
                  <a:lnTo>
                    <a:pt x="60200" y="180359"/>
                  </a:lnTo>
                  <a:lnTo>
                    <a:pt x="59716" y="180238"/>
                  </a:lnTo>
                  <a:lnTo>
                    <a:pt x="59595" y="180117"/>
                  </a:lnTo>
                  <a:lnTo>
                    <a:pt x="59595" y="179875"/>
                  </a:lnTo>
                  <a:lnTo>
                    <a:pt x="59444" y="179361"/>
                  </a:lnTo>
                  <a:lnTo>
                    <a:pt x="58476" y="180117"/>
                  </a:lnTo>
                  <a:lnTo>
                    <a:pt x="57568" y="180117"/>
                  </a:lnTo>
                  <a:lnTo>
                    <a:pt x="56752" y="179451"/>
                  </a:lnTo>
                  <a:lnTo>
                    <a:pt x="56026" y="178211"/>
                  </a:lnTo>
                  <a:lnTo>
                    <a:pt x="54604" y="179149"/>
                  </a:lnTo>
                  <a:lnTo>
                    <a:pt x="52819" y="178937"/>
                  </a:lnTo>
                  <a:lnTo>
                    <a:pt x="51095" y="178090"/>
                  </a:lnTo>
                  <a:lnTo>
                    <a:pt x="49794" y="177092"/>
                  </a:lnTo>
                  <a:lnTo>
                    <a:pt x="49431" y="176336"/>
                  </a:lnTo>
                  <a:lnTo>
                    <a:pt x="49280" y="175337"/>
                  </a:lnTo>
                  <a:lnTo>
                    <a:pt x="49068" y="174400"/>
                  </a:lnTo>
                  <a:lnTo>
                    <a:pt x="48493" y="173885"/>
                  </a:lnTo>
                  <a:lnTo>
                    <a:pt x="47495" y="173946"/>
                  </a:lnTo>
                  <a:lnTo>
                    <a:pt x="47071" y="174581"/>
                  </a:lnTo>
                  <a:lnTo>
                    <a:pt x="46829" y="175398"/>
                  </a:lnTo>
                  <a:lnTo>
                    <a:pt x="46406" y="176063"/>
                  </a:lnTo>
                  <a:lnTo>
                    <a:pt x="41959" y="178483"/>
                  </a:lnTo>
                  <a:lnTo>
                    <a:pt x="40839" y="179421"/>
                  </a:lnTo>
                  <a:lnTo>
                    <a:pt x="40023" y="181267"/>
                  </a:lnTo>
                  <a:lnTo>
                    <a:pt x="39478" y="183354"/>
                  </a:lnTo>
                  <a:lnTo>
                    <a:pt x="38571" y="184806"/>
                  </a:lnTo>
                  <a:lnTo>
                    <a:pt x="36665" y="184806"/>
                  </a:lnTo>
                  <a:lnTo>
                    <a:pt x="37784" y="186228"/>
                  </a:lnTo>
                  <a:lnTo>
                    <a:pt x="39055" y="186833"/>
                  </a:lnTo>
                  <a:lnTo>
                    <a:pt x="42201" y="186893"/>
                  </a:lnTo>
                  <a:lnTo>
                    <a:pt x="41021" y="188830"/>
                  </a:lnTo>
                  <a:lnTo>
                    <a:pt x="39871" y="189858"/>
                  </a:lnTo>
                  <a:lnTo>
                    <a:pt x="39024" y="191189"/>
                  </a:lnTo>
                  <a:lnTo>
                    <a:pt x="38692" y="194033"/>
                  </a:lnTo>
                  <a:lnTo>
                    <a:pt x="38177" y="195848"/>
                  </a:lnTo>
                  <a:lnTo>
                    <a:pt x="35908" y="200325"/>
                  </a:lnTo>
                  <a:lnTo>
                    <a:pt x="35303" y="202200"/>
                  </a:lnTo>
                  <a:lnTo>
                    <a:pt x="35455" y="205226"/>
                  </a:lnTo>
                  <a:lnTo>
                    <a:pt x="36392" y="206829"/>
                  </a:lnTo>
                  <a:lnTo>
                    <a:pt x="37875" y="207494"/>
                  </a:lnTo>
                  <a:lnTo>
                    <a:pt x="39750" y="207616"/>
                  </a:lnTo>
                  <a:lnTo>
                    <a:pt x="41475" y="207010"/>
                  </a:lnTo>
                  <a:lnTo>
                    <a:pt x="41263" y="205619"/>
                  </a:lnTo>
                  <a:lnTo>
                    <a:pt x="40023" y="204167"/>
                  </a:lnTo>
                  <a:lnTo>
                    <a:pt x="38692" y="203320"/>
                  </a:lnTo>
                  <a:lnTo>
                    <a:pt x="40658" y="202261"/>
                  </a:lnTo>
                  <a:lnTo>
                    <a:pt x="41505" y="202261"/>
                  </a:lnTo>
                  <a:lnTo>
                    <a:pt x="41263" y="199206"/>
                  </a:lnTo>
                  <a:lnTo>
                    <a:pt x="40779" y="198268"/>
                  </a:lnTo>
                  <a:lnTo>
                    <a:pt x="39478" y="197814"/>
                  </a:lnTo>
                  <a:lnTo>
                    <a:pt x="39478" y="196846"/>
                  </a:lnTo>
                  <a:lnTo>
                    <a:pt x="41626" y="195727"/>
                  </a:lnTo>
                  <a:lnTo>
                    <a:pt x="42866" y="195485"/>
                  </a:lnTo>
                  <a:lnTo>
                    <a:pt x="44288" y="195666"/>
                  </a:lnTo>
                  <a:lnTo>
                    <a:pt x="44288" y="194607"/>
                  </a:lnTo>
                  <a:lnTo>
                    <a:pt x="43804" y="194063"/>
                  </a:lnTo>
                  <a:lnTo>
                    <a:pt x="42897" y="192429"/>
                  </a:lnTo>
                  <a:lnTo>
                    <a:pt x="44833" y="192853"/>
                  </a:lnTo>
                  <a:lnTo>
                    <a:pt x="46527" y="192218"/>
                  </a:lnTo>
                  <a:lnTo>
                    <a:pt x="47071" y="190886"/>
                  </a:lnTo>
                  <a:lnTo>
                    <a:pt x="45619" y="189193"/>
                  </a:lnTo>
                  <a:lnTo>
                    <a:pt x="47132" y="187529"/>
                  </a:lnTo>
                  <a:lnTo>
                    <a:pt x="49400" y="188345"/>
                  </a:lnTo>
                  <a:lnTo>
                    <a:pt x="54604" y="192399"/>
                  </a:lnTo>
                  <a:lnTo>
                    <a:pt x="53968" y="193730"/>
                  </a:lnTo>
                  <a:lnTo>
                    <a:pt x="53031" y="194396"/>
                  </a:lnTo>
                  <a:lnTo>
                    <a:pt x="51851" y="194335"/>
                  </a:lnTo>
                  <a:lnTo>
                    <a:pt x="50490" y="193458"/>
                  </a:lnTo>
                  <a:lnTo>
                    <a:pt x="53968" y="197088"/>
                  </a:lnTo>
                  <a:lnTo>
                    <a:pt x="55239" y="198964"/>
                  </a:lnTo>
                  <a:lnTo>
                    <a:pt x="54574" y="198601"/>
                  </a:lnTo>
                  <a:lnTo>
                    <a:pt x="53182" y="198147"/>
                  </a:lnTo>
                  <a:lnTo>
                    <a:pt x="52516" y="197754"/>
                  </a:lnTo>
                  <a:lnTo>
                    <a:pt x="53091" y="199629"/>
                  </a:lnTo>
                  <a:lnTo>
                    <a:pt x="54331" y="201142"/>
                  </a:lnTo>
                  <a:lnTo>
                    <a:pt x="57387" y="203229"/>
                  </a:lnTo>
                  <a:lnTo>
                    <a:pt x="55572" y="204197"/>
                  </a:lnTo>
                  <a:lnTo>
                    <a:pt x="51034" y="205438"/>
                  </a:lnTo>
                  <a:lnTo>
                    <a:pt x="49098" y="205347"/>
                  </a:lnTo>
                  <a:lnTo>
                    <a:pt x="51125" y="209461"/>
                  </a:lnTo>
                  <a:lnTo>
                    <a:pt x="53666" y="211397"/>
                  </a:lnTo>
                  <a:lnTo>
                    <a:pt x="56510" y="210852"/>
                  </a:lnTo>
                  <a:lnTo>
                    <a:pt x="59414" y="207494"/>
                  </a:lnTo>
                  <a:lnTo>
                    <a:pt x="58718" y="207494"/>
                  </a:lnTo>
                  <a:lnTo>
                    <a:pt x="58718" y="206405"/>
                  </a:lnTo>
                  <a:lnTo>
                    <a:pt x="59777" y="206224"/>
                  </a:lnTo>
                  <a:lnTo>
                    <a:pt x="60321" y="206042"/>
                  </a:lnTo>
                  <a:lnTo>
                    <a:pt x="60442" y="205468"/>
                  </a:lnTo>
                  <a:lnTo>
                    <a:pt x="60170" y="204167"/>
                  </a:lnTo>
                  <a:lnTo>
                    <a:pt x="62802" y="203350"/>
                  </a:lnTo>
                  <a:lnTo>
                    <a:pt x="63982" y="203411"/>
                  </a:lnTo>
                  <a:lnTo>
                    <a:pt x="64950" y="204167"/>
                  </a:lnTo>
                  <a:lnTo>
                    <a:pt x="62136" y="206405"/>
                  </a:lnTo>
                  <a:lnTo>
                    <a:pt x="62893" y="207494"/>
                  </a:lnTo>
                  <a:lnTo>
                    <a:pt x="61592" y="208190"/>
                  </a:lnTo>
                  <a:lnTo>
                    <a:pt x="60715" y="209128"/>
                  </a:lnTo>
                  <a:lnTo>
                    <a:pt x="60715" y="210036"/>
                  </a:lnTo>
                  <a:lnTo>
                    <a:pt x="62136" y="210610"/>
                  </a:lnTo>
                  <a:lnTo>
                    <a:pt x="60957" y="212032"/>
                  </a:lnTo>
                  <a:lnTo>
                    <a:pt x="59625" y="212425"/>
                  </a:lnTo>
                  <a:lnTo>
                    <a:pt x="58506" y="213151"/>
                  </a:lnTo>
                  <a:lnTo>
                    <a:pt x="58053" y="215511"/>
                  </a:lnTo>
                  <a:lnTo>
                    <a:pt x="58385" y="217841"/>
                  </a:lnTo>
                  <a:lnTo>
                    <a:pt x="59111" y="219141"/>
                  </a:lnTo>
                  <a:lnTo>
                    <a:pt x="59837" y="219988"/>
                  </a:lnTo>
                  <a:lnTo>
                    <a:pt x="60170" y="220987"/>
                  </a:lnTo>
                  <a:lnTo>
                    <a:pt x="60533" y="221531"/>
                  </a:lnTo>
                  <a:lnTo>
                    <a:pt x="62227" y="221350"/>
                  </a:lnTo>
                  <a:lnTo>
                    <a:pt x="62862" y="221471"/>
                  </a:lnTo>
                  <a:lnTo>
                    <a:pt x="63347" y="222227"/>
                  </a:lnTo>
                  <a:lnTo>
                    <a:pt x="63347" y="222892"/>
                  </a:lnTo>
                  <a:lnTo>
                    <a:pt x="63286" y="223649"/>
                  </a:lnTo>
                  <a:lnTo>
                    <a:pt x="64466" y="227581"/>
                  </a:lnTo>
                  <a:lnTo>
                    <a:pt x="65162" y="228731"/>
                  </a:lnTo>
                  <a:lnTo>
                    <a:pt x="66311" y="229124"/>
                  </a:lnTo>
                  <a:lnTo>
                    <a:pt x="65676" y="227944"/>
                  </a:lnTo>
                  <a:lnTo>
                    <a:pt x="65676" y="226977"/>
                  </a:lnTo>
                  <a:lnTo>
                    <a:pt x="67067" y="227188"/>
                  </a:lnTo>
                  <a:lnTo>
                    <a:pt x="68035" y="228096"/>
                  </a:lnTo>
                  <a:lnTo>
                    <a:pt x="68852" y="229245"/>
                  </a:lnTo>
                  <a:lnTo>
                    <a:pt x="69790" y="230183"/>
                  </a:lnTo>
                  <a:lnTo>
                    <a:pt x="69367" y="232059"/>
                  </a:lnTo>
                  <a:lnTo>
                    <a:pt x="69548" y="233783"/>
                  </a:lnTo>
                  <a:lnTo>
                    <a:pt x="69548" y="235053"/>
                  </a:lnTo>
                  <a:lnTo>
                    <a:pt x="68701" y="235568"/>
                  </a:lnTo>
                  <a:lnTo>
                    <a:pt x="67521" y="234721"/>
                  </a:lnTo>
                  <a:lnTo>
                    <a:pt x="67128" y="231030"/>
                  </a:lnTo>
                  <a:lnTo>
                    <a:pt x="65948" y="230183"/>
                  </a:lnTo>
                  <a:lnTo>
                    <a:pt x="64556" y="229850"/>
                  </a:lnTo>
                  <a:lnTo>
                    <a:pt x="62318" y="228368"/>
                  </a:lnTo>
                  <a:lnTo>
                    <a:pt x="61441" y="227944"/>
                  </a:lnTo>
                  <a:lnTo>
                    <a:pt x="56631" y="229124"/>
                  </a:lnTo>
                  <a:lnTo>
                    <a:pt x="56631" y="230183"/>
                  </a:lnTo>
                  <a:lnTo>
                    <a:pt x="57387" y="230183"/>
                  </a:lnTo>
                  <a:lnTo>
                    <a:pt x="57387" y="231151"/>
                  </a:lnTo>
                  <a:lnTo>
                    <a:pt x="57054" y="232240"/>
                  </a:lnTo>
                  <a:lnTo>
                    <a:pt x="57054" y="232936"/>
                  </a:lnTo>
                  <a:lnTo>
                    <a:pt x="57387" y="234388"/>
                  </a:lnTo>
                  <a:lnTo>
                    <a:pt x="55693" y="235538"/>
                  </a:lnTo>
                  <a:lnTo>
                    <a:pt x="55058" y="239924"/>
                  </a:lnTo>
                  <a:lnTo>
                    <a:pt x="53817" y="240832"/>
                  </a:lnTo>
                  <a:lnTo>
                    <a:pt x="57145" y="244068"/>
                  </a:lnTo>
                  <a:lnTo>
                    <a:pt x="62590" y="242889"/>
                  </a:lnTo>
                  <a:lnTo>
                    <a:pt x="72482" y="237716"/>
                  </a:lnTo>
                  <a:lnTo>
                    <a:pt x="86852" y="237776"/>
                  </a:lnTo>
                  <a:lnTo>
                    <a:pt x="89726" y="238774"/>
                  </a:lnTo>
                  <a:lnTo>
                    <a:pt x="90270" y="238260"/>
                  </a:lnTo>
                  <a:lnTo>
                    <a:pt x="90663" y="237958"/>
                  </a:lnTo>
                  <a:lnTo>
                    <a:pt x="91087" y="237806"/>
                  </a:lnTo>
                  <a:lnTo>
                    <a:pt x="91752" y="237685"/>
                  </a:lnTo>
                  <a:lnTo>
                    <a:pt x="91541" y="239138"/>
                  </a:lnTo>
                  <a:lnTo>
                    <a:pt x="91117" y="240378"/>
                  </a:lnTo>
                  <a:lnTo>
                    <a:pt x="90512" y="241316"/>
                  </a:lnTo>
                  <a:lnTo>
                    <a:pt x="89726" y="241951"/>
                  </a:lnTo>
                  <a:lnTo>
                    <a:pt x="91601" y="242949"/>
                  </a:lnTo>
                  <a:lnTo>
                    <a:pt x="92418" y="243010"/>
                  </a:lnTo>
                  <a:lnTo>
                    <a:pt x="88939" y="245672"/>
                  </a:lnTo>
                  <a:lnTo>
                    <a:pt x="87880" y="247094"/>
                  </a:lnTo>
                  <a:lnTo>
                    <a:pt x="88304" y="248364"/>
                  </a:lnTo>
                  <a:lnTo>
                    <a:pt x="88304" y="249423"/>
                  </a:lnTo>
                  <a:lnTo>
                    <a:pt x="87669" y="249544"/>
                  </a:lnTo>
                  <a:lnTo>
                    <a:pt x="87215" y="249816"/>
                  </a:lnTo>
                  <a:lnTo>
                    <a:pt x="86791" y="250149"/>
                  </a:lnTo>
                  <a:lnTo>
                    <a:pt x="86247" y="250482"/>
                  </a:lnTo>
                  <a:lnTo>
                    <a:pt x="90270" y="252358"/>
                  </a:lnTo>
                  <a:lnTo>
                    <a:pt x="91783" y="252599"/>
                  </a:lnTo>
                  <a:lnTo>
                    <a:pt x="91783" y="253749"/>
                  </a:lnTo>
                  <a:lnTo>
                    <a:pt x="73118" y="256865"/>
                  </a:lnTo>
                  <a:lnTo>
                    <a:pt x="71998" y="256411"/>
                  </a:lnTo>
                  <a:lnTo>
                    <a:pt x="69941" y="255171"/>
                  </a:lnTo>
                  <a:lnTo>
                    <a:pt x="69367" y="255262"/>
                  </a:lnTo>
                  <a:lnTo>
                    <a:pt x="68338" y="256260"/>
                  </a:lnTo>
                  <a:lnTo>
                    <a:pt x="67249" y="256623"/>
                  </a:lnTo>
                  <a:lnTo>
                    <a:pt x="64859" y="256895"/>
                  </a:lnTo>
                  <a:lnTo>
                    <a:pt x="62136" y="257863"/>
                  </a:lnTo>
                  <a:lnTo>
                    <a:pt x="58325" y="258498"/>
                  </a:lnTo>
                  <a:lnTo>
                    <a:pt x="57387" y="259134"/>
                  </a:lnTo>
                  <a:lnTo>
                    <a:pt x="58294" y="261977"/>
                  </a:lnTo>
                  <a:lnTo>
                    <a:pt x="57659" y="264367"/>
                  </a:lnTo>
                  <a:lnTo>
                    <a:pt x="56540" y="266939"/>
                  </a:lnTo>
                  <a:lnTo>
                    <a:pt x="55935" y="270266"/>
                  </a:lnTo>
                  <a:lnTo>
                    <a:pt x="57357" y="277224"/>
                  </a:lnTo>
                  <a:lnTo>
                    <a:pt x="65525" y="281883"/>
                  </a:lnTo>
                  <a:lnTo>
                    <a:pt x="69911" y="283426"/>
                  </a:lnTo>
                  <a:lnTo>
                    <a:pt x="76929" y="282881"/>
                  </a:lnTo>
                  <a:lnTo>
                    <a:pt x="78684" y="283728"/>
                  </a:lnTo>
                  <a:lnTo>
                    <a:pt x="78684" y="284696"/>
                  </a:lnTo>
                  <a:lnTo>
                    <a:pt x="70819" y="284212"/>
                  </a:lnTo>
                  <a:lnTo>
                    <a:pt x="66009" y="283426"/>
                  </a:lnTo>
                  <a:lnTo>
                    <a:pt x="63891" y="282034"/>
                  </a:lnTo>
                  <a:lnTo>
                    <a:pt x="62832" y="281611"/>
                  </a:lnTo>
                  <a:lnTo>
                    <a:pt x="61471" y="281732"/>
                  </a:lnTo>
                  <a:lnTo>
                    <a:pt x="58022" y="283728"/>
                  </a:lnTo>
                  <a:lnTo>
                    <a:pt x="55148" y="284454"/>
                  </a:lnTo>
                  <a:lnTo>
                    <a:pt x="47313" y="283728"/>
                  </a:lnTo>
                  <a:lnTo>
                    <a:pt x="43471" y="284545"/>
                  </a:lnTo>
                  <a:lnTo>
                    <a:pt x="44954" y="286451"/>
                  </a:lnTo>
                  <a:lnTo>
                    <a:pt x="51064" y="290232"/>
                  </a:lnTo>
                  <a:lnTo>
                    <a:pt x="50006" y="290868"/>
                  </a:lnTo>
                  <a:lnTo>
                    <a:pt x="48584" y="292804"/>
                  </a:lnTo>
                  <a:lnTo>
                    <a:pt x="47646" y="293227"/>
                  </a:lnTo>
                  <a:lnTo>
                    <a:pt x="46164" y="290837"/>
                  </a:lnTo>
                  <a:lnTo>
                    <a:pt x="45589" y="290232"/>
                  </a:lnTo>
                  <a:lnTo>
                    <a:pt x="41081" y="289113"/>
                  </a:lnTo>
                  <a:lnTo>
                    <a:pt x="36604" y="289053"/>
                  </a:lnTo>
                  <a:lnTo>
                    <a:pt x="36816" y="289779"/>
                  </a:lnTo>
                  <a:lnTo>
                    <a:pt x="37149" y="291563"/>
                  </a:lnTo>
                  <a:lnTo>
                    <a:pt x="37360" y="292259"/>
                  </a:lnTo>
                  <a:lnTo>
                    <a:pt x="34819" y="292108"/>
                  </a:lnTo>
                  <a:lnTo>
                    <a:pt x="32399" y="291412"/>
                  </a:lnTo>
                  <a:lnTo>
                    <a:pt x="30070" y="291351"/>
                  </a:lnTo>
                  <a:lnTo>
                    <a:pt x="27741" y="293197"/>
                  </a:lnTo>
                  <a:lnTo>
                    <a:pt x="28739" y="294044"/>
                  </a:lnTo>
                  <a:lnTo>
                    <a:pt x="29919" y="293953"/>
                  </a:lnTo>
                  <a:lnTo>
                    <a:pt x="32853" y="293197"/>
                  </a:lnTo>
                  <a:lnTo>
                    <a:pt x="33821" y="293983"/>
                  </a:lnTo>
                  <a:lnTo>
                    <a:pt x="34668" y="295768"/>
                  </a:lnTo>
                  <a:lnTo>
                    <a:pt x="35243" y="297614"/>
                  </a:lnTo>
                  <a:lnTo>
                    <a:pt x="35334" y="298582"/>
                  </a:lnTo>
                  <a:lnTo>
                    <a:pt x="37421" y="300820"/>
                  </a:lnTo>
                  <a:lnTo>
                    <a:pt x="41233" y="302333"/>
                  </a:lnTo>
                  <a:lnTo>
                    <a:pt x="45014" y="303029"/>
                  </a:lnTo>
                  <a:lnTo>
                    <a:pt x="47011" y="302847"/>
                  </a:lnTo>
                  <a:lnTo>
                    <a:pt x="46164" y="304571"/>
                  </a:lnTo>
                  <a:lnTo>
                    <a:pt x="44137" y="304239"/>
                  </a:lnTo>
                  <a:lnTo>
                    <a:pt x="41656" y="303210"/>
                  </a:lnTo>
                  <a:lnTo>
                    <a:pt x="39448" y="302847"/>
                  </a:lnTo>
                  <a:lnTo>
                    <a:pt x="39992" y="304269"/>
                  </a:lnTo>
                  <a:lnTo>
                    <a:pt x="40749" y="305298"/>
                  </a:lnTo>
                  <a:lnTo>
                    <a:pt x="41717" y="305872"/>
                  </a:lnTo>
                  <a:lnTo>
                    <a:pt x="42897" y="306024"/>
                  </a:lnTo>
                  <a:lnTo>
                    <a:pt x="42897" y="307173"/>
                  </a:lnTo>
                  <a:lnTo>
                    <a:pt x="41384" y="308686"/>
                  </a:lnTo>
                  <a:lnTo>
                    <a:pt x="39841" y="308867"/>
                  </a:lnTo>
                  <a:lnTo>
                    <a:pt x="35999" y="308111"/>
                  </a:lnTo>
                  <a:lnTo>
                    <a:pt x="33882" y="308383"/>
                  </a:lnTo>
                  <a:lnTo>
                    <a:pt x="32399" y="309321"/>
                  </a:lnTo>
                  <a:lnTo>
                    <a:pt x="31340" y="311015"/>
                  </a:lnTo>
                  <a:lnTo>
                    <a:pt x="30433" y="313496"/>
                  </a:lnTo>
                  <a:lnTo>
                    <a:pt x="32309" y="313496"/>
                  </a:lnTo>
                  <a:lnTo>
                    <a:pt x="33125" y="313133"/>
                  </a:lnTo>
                  <a:lnTo>
                    <a:pt x="33942" y="312437"/>
                  </a:lnTo>
                  <a:lnTo>
                    <a:pt x="35364" y="313919"/>
                  </a:lnTo>
                  <a:lnTo>
                    <a:pt x="37784" y="314131"/>
                  </a:lnTo>
                  <a:lnTo>
                    <a:pt x="41838" y="313496"/>
                  </a:lnTo>
                  <a:lnTo>
                    <a:pt x="43229" y="313949"/>
                  </a:lnTo>
                  <a:lnTo>
                    <a:pt x="43955" y="315069"/>
                  </a:lnTo>
                  <a:lnTo>
                    <a:pt x="44560" y="316460"/>
                  </a:lnTo>
                  <a:lnTo>
                    <a:pt x="45589" y="317761"/>
                  </a:lnTo>
                  <a:lnTo>
                    <a:pt x="46769" y="318396"/>
                  </a:lnTo>
                  <a:lnTo>
                    <a:pt x="48070" y="318699"/>
                  </a:lnTo>
                  <a:lnTo>
                    <a:pt x="52063" y="318638"/>
                  </a:lnTo>
                  <a:lnTo>
                    <a:pt x="53757" y="317912"/>
                  </a:lnTo>
                  <a:lnTo>
                    <a:pt x="54876" y="317731"/>
                  </a:lnTo>
                  <a:lnTo>
                    <a:pt x="55965" y="317126"/>
                  </a:lnTo>
                  <a:lnTo>
                    <a:pt x="55965" y="315704"/>
                  </a:lnTo>
                  <a:lnTo>
                    <a:pt x="55632" y="313949"/>
                  </a:lnTo>
                  <a:lnTo>
                    <a:pt x="55935" y="312437"/>
                  </a:lnTo>
                  <a:lnTo>
                    <a:pt x="57054" y="311438"/>
                  </a:lnTo>
                  <a:lnTo>
                    <a:pt x="57962" y="311560"/>
                  </a:lnTo>
                  <a:lnTo>
                    <a:pt x="58809" y="312134"/>
                  </a:lnTo>
                  <a:lnTo>
                    <a:pt x="59716" y="312467"/>
                  </a:lnTo>
                  <a:lnTo>
                    <a:pt x="60715" y="312074"/>
                  </a:lnTo>
                  <a:lnTo>
                    <a:pt x="61410" y="311227"/>
                  </a:lnTo>
                  <a:lnTo>
                    <a:pt x="62197" y="310440"/>
                  </a:lnTo>
                  <a:lnTo>
                    <a:pt x="63498" y="310259"/>
                  </a:lnTo>
                  <a:lnTo>
                    <a:pt x="62621" y="311801"/>
                  </a:lnTo>
                  <a:lnTo>
                    <a:pt x="60654" y="313102"/>
                  </a:lnTo>
                  <a:lnTo>
                    <a:pt x="60110" y="314494"/>
                  </a:lnTo>
                  <a:lnTo>
                    <a:pt x="60684" y="316218"/>
                  </a:lnTo>
                  <a:lnTo>
                    <a:pt x="62227" y="316369"/>
                  </a:lnTo>
                  <a:lnTo>
                    <a:pt x="63558" y="315583"/>
                  </a:lnTo>
                  <a:lnTo>
                    <a:pt x="63498" y="314494"/>
                  </a:lnTo>
                  <a:lnTo>
                    <a:pt x="65736" y="312890"/>
                  </a:lnTo>
                  <a:lnTo>
                    <a:pt x="66856" y="312467"/>
                  </a:lnTo>
                  <a:lnTo>
                    <a:pt x="68368" y="312467"/>
                  </a:lnTo>
                  <a:lnTo>
                    <a:pt x="68368" y="313526"/>
                  </a:lnTo>
                  <a:lnTo>
                    <a:pt x="66251" y="314494"/>
                  </a:lnTo>
                  <a:lnTo>
                    <a:pt x="66251" y="315643"/>
                  </a:lnTo>
                  <a:lnTo>
                    <a:pt x="69760" y="315643"/>
                  </a:lnTo>
                  <a:lnTo>
                    <a:pt x="69760" y="316612"/>
                  </a:lnTo>
                  <a:lnTo>
                    <a:pt x="68247" y="317912"/>
                  </a:lnTo>
                  <a:lnTo>
                    <a:pt x="64133" y="320453"/>
                  </a:lnTo>
                  <a:lnTo>
                    <a:pt x="62439" y="320937"/>
                  </a:lnTo>
                  <a:lnTo>
                    <a:pt x="61078" y="320998"/>
                  </a:lnTo>
                  <a:lnTo>
                    <a:pt x="60200" y="321240"/>
                  </a:lnTo>
                  <a:lnTo>
                    <a:pt x="59505" y="321845"/>
                  </a:lnTo>
                  <a:lnTo>
                    <a:pt x="59142" y="322995"/>
                  </a:lnTo>
                  <a:lnTo>
                    <a:pt x="58930" y="324749"/>
                  </a:lnTo>
                  <a:lnTo>
                    <a:pt x="58416" y="326715"/>
                  </a:lnTo>
                  <a:lnTo>
                    <a:pt x="57962" y="327320"/>
                  </a:lnTo>
                  <a:lnTo>
                    <a:pt x="59535" y="328379"/>
                  </a:lnTo>
                  <a:lnTo>
                    <a:pt x="63921" y="327411"/>
                  </a:lnTo>
                  <a:lnTo>
                    <a:pt x="65888" y="328954"/>
                  </a:lnTo>
                  <a:lnTo>
                    <a:pt x="67551" y="330769"/>
                  </a:lnTo>
                  <a:lnTo>
                    <a:pt x="69185" y="330769"/>
                  </a:lnTo>
                  <a:lnTo>
                    <a:pt x="73935" y="328772"/>
                  </a:lnTo>
                  <a:lnTo>
                    <a:pt x="75507" y="326957"/>
                  </a:lnTo>
                  <a:lnTo>
                    <a:pt x="77928" y="322995"/>
                  </a:lnTo>
                  <a:lnTo>
                    <a:pt x="79017" y="320544"/>
                  </a:lnTo>
                  <a:lnTo>
                    <a:pt x="79834" y="319364"/>
                  </a:lnTo>
                  <a:lnTo>
                    <a:pt x="81074" y="318880"/>
                  </a:lnTo>
                  <a:lnTo>
                    <a:pt x="82435" y="317247"/>
                  </a:lnTo>
                  <a:lnTo>
                    <a:pt x="83070" y="316672"/>
                  </a:lnTo>
                  <a:lnTo>
                    <a:pt x="83494" y="316944"/>
                  </a:lnTo>
                  <a:lnTo>
                    <a:pt x="83917" y="317489"/>
                  </a:lnTo>
                  <a:lnTo>
                    <a:pt x="84492" y="317791"/>
                  </a:lnTo>
                  <a:lnTo>
                    <a:pt x="84553" y="319001"/>
                  </a:lnTo>
                  <a:lnTo>
                    <a:pt x="83524" y="321724"/>
                  </a:lnTo>
                  <a:lnTo>
                    <a:pt x="83070" y="324598"/>
                  </a:lnTo>
                  <a:lnTo>
                    <a:pt x="84855" y="326322"/>
                  </a:lnTo>
                  <a:lnTo>
                    <a:pt x="86791" y="325626"/>
                  </a:lnTo>
                  <a:lnTo>
                    <a:pt x="87669" y="323358"/>
                  </a:lnTo>
                  <a:lnTo>
                    <a:pt x="87487" y="320695"/>
                  </a:lnTo>
                  <a:lnTo>
                    <a:pt x="86156" y="318850"/>
                  </a:lnTo>
                  <a:lnTo>
                    <a:pt x="87669" y="317882"/>
                  </a:lnTo>
                  <a:lnTo>
                    <a:pt x="89454" y="317610"/>
                  </a:lnTo>
                  <a:lnTo>
                    <a:pt x="93084" y="317761"/>
                  </a:lnTo>
                  <a:lnTo>
                    <a:pt x="89332" y="319758"/>
                  </a:lnTo>
                  <a:lnTo>
                    <a:pt x="88243" y="320907"/>
                  </a:lnTo>
                  <a:lnTo>
                    <a:pt x="92297" y="324568"/>
                  </a:lnTo>
                  <a:lnTo>
                    <a:pt x="92025" y="325142"/>
                  </a:lnTo>
                  <a:lnTo>
                    <a:pt x="91722" y="325475"/>
                  </a:lnTo>
                  <a:lnTo>
                    <a:pt x="91087" y="326897"/>
                  </a:lnTo>
                  <a:lnTo>
                    <a:pt x="90694" y="327230"/>
                  </a:lnTo>
                  <a:lnTo>
                    <a:pt x="89968" y="327079"/>
                  </a:lnTo>
                  <a:lnTo>
                    <a:pt x="88969" y="326413"/>
                  </a:lnTo>
                  <a:lnTo>
                    <a:pt x="88637" y="326262"/>
                  </a:lnTo>
                  <a:lnTo>
                    <a:pt x="86640" y="327593"/>
                  </a:lnTo>
                  <a:lnTo>
                    <a:pt x="87457" y="334581"/>
                  </a:lnTo>
                  <a:lnTo>
                    <a:pt x="85521" y="337788"/>
                  </a:lnTo>
                  <a:lnTo>
                    <a:pt x="85521" y="338937"/>
                  </a:lnTo>
                  <a:lnTo>
                    <a:pt x="87154" y="340782"/>
                  </a:lnTo>
                  <a:lnTo>
                    <a:pt x="88697" y="340540"/>
                  </a:lnTo>
                  <a:lnTo>
                    <a:pt x="89877" y="338574"/>
                  </a:lnTo>
                  <a:lnTo>
                    <a:pt x="90331" y="335246"/>
                  </a:lnTo>
                  <a:lnTo>
                    <a:pt x="91269" y="332403"/>
                  </a:lnTo>
                  <a:lnTo>
                    <a:pt x="92963" y="332403"/>
                  </a:lnTo>
                  <a:lnTo>
                    <a:pt x="93689" y="334157"/>
                  </a:lnTo>
                  <a:lnTo>
                    <a:pt x="91752" y="336819"/>
                  </a:lnTo>
                  <a:lnTo>
                    <a:pt x="93084" y="338120"/>
                  </a:lnTo>
                  <a:lnTo>
                    <a:pt x="93961" y="339633"/>
                  </a:lnTo>
                  <a:lnTo>
                    <a:pt x="95111" y="341024"/>
                  </a:lnTo>
                  <a:lnTo>
                    <a:pt x="97258" y="341993"/>
                  </a:lnTo>
                  <a:lnTo>
                    <a:pt x="101433" y="341993"/>
                  </a:lnTo>
                  <a:lnTo>
                    <a:pt x="103672" y="341448"/>
                  </a:lnTo>
                  <a:lnTo>
                    <a:pt x="105184" y="340389"/>
                  </a:lnTo>
                  <a:lnTo>
                    <a:pt x="108361" y="338937"/>
                  </a:lnTo>
                  <a:lnTo>
                    <a:pt x="141002" y="336456"/>
                  </a:lnTo>
                  <a:lnTo>
                    <a:pt x="144511" y="335004"/>
                  </a:lnTo>
                  <a:lnTo>
                    <a:pt x="146538" y="334672"/>
                  </a:lnTo>
                  <a:lnTo>
                    <a:pt x="154524" y="335730"/>
                  </a:lnTo>
                  <a:lnTo>
                    <a:pt x="154524" y="336789"/>
                  </a:lnTo>
                  <a:lnTo>
                    <a:pt x="153193" y="337394"/>
                  </a:lnTo>
                  <a:lnTo>
                    <a:pt x="150592" y="338120"/>
                  </a:lnTo>
                  <a:lnTo>
                    <a:pt x="149654" y="338907"/>
                  </a:lnTo>
                  <a:lnTo>
                    <a:pt x="149654" y="339875"/>
                  </a:lnTo>
                  <a:lnTo>
                    <a:pt x="152467" y="339875"/>
                  </a:lnTo>
                  <a:lnTo>
                    <a:pt x="152467" y="340903"/>
                  </a:lnTo>
                  <a:lnTo>
                    <a:pt x="150501" y="341024"/>
                  </a:lnTo>
                  <a:lnTo>
                    <a:pt x="145933" y="342113"/>
                  </a:lnTo>
                  <a:lnTo>
                    <a:pt x="144178" y="343142"/>
                  </a:lnTo>
                  <a:lnTo>
                    <a:pt x="145600" y="343808"/>
                  </a:lnTo>
                  <a:lnTo>
                    <a:pt x="155553" y="344110"/>
                  </a:lnTo>
                  <a:lnTo>
                    <a:pt x="156400" y="343928"/>
                  </a:lnTo>
                  <a:lnTo>
                    <a:pt x="158276" y="343172"/>
                  </a:lnTo>
                  <a:lnTo>
                    <a:pt x="159334" y="343172"/>
                  </a:lnTo>
                  <a:lnTo>
                    <a:pt x="155976" y="345441"/>
                  </a:lnTo>
                  <a:lnTo>
                    <a:pt x="154403" y="347105"/>
                  </a:lnTo>
                  <a:lnTo>
                    <a:pt x="153102" y="349434"/>
                  </a:lnTo>
                  <a:lnTo>
                    <a:pt x="153798" y="350402"/>
                  </a:lnTo>
                  <a:lnTo>
                    <a:pt x="154282" y="351552"/>
                  </a:lnTo>
                  <a:lnTo>
                    <a:pt x="155160" y="354698"/>
                  </a:lnTo>
                  <a:lnTo>
                    <a:pt x="153677" y="354396"/>
                  </a:lnTo>
                  <a:lnTo>
                    <a:pt x="152437" y="353790"/>
                  </a:lnTo>
                  <a:lnTo>
                    <a:pt x="151348" y="352823"/>
                  </a:lnTo>
                  <a:lnTo>
                    <a:pt x="150350" y="351552"/>
                  </a:lnTo>
                  <a:lnTo>
                    <a:pt x="150894" y="350070"/>
                  </a:lnTo>
                  <a:lnTo>
                    <a:pt x="150108" y="349888"/>
                  </a:lnTo>
                  <a:lnTo>
                    <a:pt x="148958" y="350372"/>
                  </a:lnTo>
                  <a:lnTo>
                    <a:pt x="147808" y="351582"/>
                  </a:lnTo>
                  <a:lnTo>
                    <a:pt x="146508" y="351370"/>
                  </a:lnTo>
                  <a:lnTo>
                    <a:pt x="144178" y="350402"/>
                  </a:lnTo>
                  <a:lnTo>
                    <a:pt x="144178" y="351552"/>
                  </a:lnTo>
                  <a:lnTo>
                    <a:pt x="148353" y="353760"/>
                  </a:lnTo>
                  <a:lnTo>
                    <a:pt x="148353" y="354698"/>
                  </a:lnTo>
                  <a:lnTo>
                    <a:pt x="146417" y="354486"/>
                  </a:lnTo>
                  <a:lnTo>
                    <a:pt x="143331" y="352127"/>
                  </a:lnTo>
                  <a:lnTo>
                    <a:pt x="141758" y="351552"/>
                  </a:lnTo>
                  <a:lnTo>
                    <a:pt x="135859" y="352611"/>
                  </a:lnTo>
                  <a:lnTo>
                    <a:pt x="135859" y="353760"/>
                  </a:lnTo>
                  <a:lnTo>
                    <a:pt x="140276" y="355061"/>
                  </a:lnTo>
                  <a:lnTo>
                    <a:pt x="141698" y="356453"/>
                  </a:lnTo>
                  <a:lnTo>
                    <a:pt x="141425" y="358933"/>
                  </a:lnTo>
                  <a:lnTo>
                    <a:pt x="139035" y="357632"/>
                  </a:lnTo>
                  <a:lnTo>
                    <a:pt x="136797" y="358177"/>
                  </a:lnTo>
                  <a:lnTo>
                    <a:pt x="134710" y="359417"/>
                  </a:lnTo>
                  <a:lnTo>
                    <a:pt x="132804" y="360083"/>
                  </a:lnTo>
                  <a:lnTo>
                    <a:pt x="130595" y="359206"/>
                  </a:lnTo>
                  <a:lnTo>
                    <a:pt x="125876" y="355091"/>
                  </a:lnTo>
                  <a:lnTo>
                    <a:pt x="123486" y="353790"/>
                  </a:lnTo>
                  <a:lnTo>
                    <a:pt x="121369" y="354607"/>
                  </a:lnTo>
                  <a:lnTo>
                    <a:pt x="119614" y="357300"/>
                  </a:lnTo>
                  <a:lnTo>
                    <a:pt x="118253" y="360597"/>
                  </a:lnTo>
                  <a:lnTo>
                    <a:pt x="116589" y="363169"/>
                  </a:lnTo>
                  <a:lnTo>
                    <a:pt x="114411" y="365347"/>
                  </a:lnTo>
                  <a:lnTo>
                    <a:pt x="109026" y="374815"/>
                  </a:lnTo>
                  <a:lnTo>
                    <a:pt x="109782" y="375844"/>
                  </a:lnTo>
                  <a:lnTo>
                    <a:pt x="108693" y="376540"/>
                  </a:lnTo>
                  <a:lnTo>
                    <a:pt x="107756" y="377629"/>
                  </a:lnTo>
                  <a:lnTo>
                    <a:pt x="104791" y="382257"/>
                  </a:lnTo>
                  <a:lnTo>
                    <a:pt x="103581" y="383679"/>
                  </a:lnTo>
                  <a:lnTo>
                    <a:pt x="100737" y="386311"/>
                  </a:lnTo>
                  <a:lnTo>
                    <a:pt x="103369" y="387188"/>
                  </a:lnTo>
                  <a:lnTo>
                    <a:pt x="111265" y="386795"/>
                  </a:lnTo>
                  <a:lnTo>
                    <a:pt x="113140" y="387339"/>
                  </a:lnTo>
                  <a:lnTo>
                    <a:pt x="112021" y="390304"/>
                  </a:lnTo>
                  <a:lnTo>
                    <a:pt x="105759" y="395870"/>
                  </a:lnTo>
                  <a:lnTo>
                    <a:pt x="105577" y="397897"/>
                  </a:lnTo>
                  <a:lnTo>
                    <a:pt x="105577" y="398926"/>
                  </a:lnTo>
                  <a:lnTo>
                    <a:pt x="104761" y="399591"/>
                  </a:lnTo>
                  <a:lnTo>
                    <a:pt x="104367" y="400559"/>
                  </a:lnTo>
                  <a:lnTo>
                    <a:pt x="104065" y="401769"/>
                  </a:lnTo>
                  <a:lnTo>
                    <a:pt x="103460" y="403131"/>
                  </a:lnTo>
                  <a:lnTo>
                    <a:pt x="102552" y="404522"/>
                  </a:lnTo>
                  <a:lnTo>
                    <a:pt x="101524" y="405793"/>
                  </a:lnTo>
                  <a:lnTo>
                    <a:pt x="100435" y="406761"/>
                  </a:lnTo>
                  <a:lnTo>
                    <a:pt x="99346" y="407305"/>
                  </a:lnTo>
                  <a:lnTo>
                    <a:pt x="100102" y="408455"/>
                  </a:lnTo>
                  <a:lnTo>
                    <a:pt x="99799" y="409514"/>
                  </a:lnTo>
                  <a:lnTo>
                    <a:pt x="99527" y="409725"/>
                  </a:lnTo>
                  <a:lnTo>
                    <a:pt x="99527" y="409816"/>
                  </a:lnTo>
                  <a:lnTo>
                    <a:pt x="100072" y="410451"/>
                  </a:lnTo>
                  <a:lnTo>
                    <a:pt x="99315" y="411873"/>
                  </a:lnTo>
                  <a:lnTo>
                    <a:pt x="98983" y="413598"/>
                  </a:lnTo>
                  <a:lnTo>
                    <a:pt x="98589" y="415050"/>
                  </a:lnTo>
                  <a:lnTo>
                    <a:pt x="97621" y="415655"/>
                  </a:lnTo>
                  <a:lnTo>
                    <a:pt x="96502" y="415836"/>
                  </a:lnTo>
                  <a:lnTo>
                    <a:pt x="94626" y="416623"/>
                  </a:lnTo>
                  <a:lnTo>
                    <a:pt x="93507" y="416804"/>
                  </a:lnTo>
                  <a:lnTo>
                    <a:pt x="90361" y="416441"/>
                  </a:lnTo>
                  <a:lnTo>
                    <a:pt x="89060" y="416804"/>
                  </a:lnTo>
                  <a:lnTo>
                    <a:pt x="88092" y="417318"/>
                  </a:lnTo>
                  <a:lnTo>
                    <a:pt x="86640" y="418407"/>
                  </a:lnTo>
                  <a:lnTo>
                    <a:pt x="85551" y="418892"/>
                  </a:lnTo>
                  <a:lnTo>
                    <a:pt x="85975" y="420434"/>
                  </a:lnTo>
                  <a:lnTo>
                    <a:pt x="86247" y="420979"/>
                  </a:lnTo>
                  <a:lnTo>
                    <a:pt x="65888" y="439039"/>
                  </a:lnTo>
                  <a:lnTo>
                    <a:pt x="60715" y="440310"/>
                  </a:lnTo>
                  <a:lnTo>
                    <a:pt x="56419" y="443153"/>
                  </a:lnTo>
                  <a:lnTo>
                    <a:pt x="54604" y="443940"/>
                  </a:lnTo>
                  <a:lnTo>
                    <a:pt x="54604" y="444877"/>
                  </a:lnTo>
                  <a:lnTo>
                    <a:pt x="72603" y="442548"/>
                  </a:lnTo>
                  <a:lnTo>
                    <a:pt x="75296" y="440703"/>
                  </a:lnTo>
                  <a:lnTo>
                    <a:pt x="76022" y="440975"/>
                  </a:lnTo>
                  <a:lnTo>
                    <a:pt x="76929" y="441520"/>
                  </a:lnTo>
                  <a:lnTo>
                    <a:pt x="77716" y="441278"/>
                  </a:lnTo>
                  <a:lnTo>
                    <a:pt x="78049" y="439130"/>
                  </a:lnTo>
                  <a:lnTo>
                    <a:pt x="78956" y="437405"/>
                  </a:lnTo>
                  <a:lnTo>
                    <a:pt x="81134" y="436498"/>
                  </a:lnTo>
                  <a:lnTo>
                    <a:pt x="85581" y="435590"/>
                  </a:lnTo>
                  <a:lnTo>
                    <a:pt x="93205" y="432263"/>
                  </a:lnTo>
                  <a:lnTo>
                    <a:pt x="92781" y="431083"/>
                  </a:lnTo>
                  <a:lnTo>
                    <a:pt x="92146" y="430175"/>
                  </a:lnTo>
                  <a:lnTo>
                    <a:pt x="91359" y="429540"/>
                  </a:lnTo>
                  <a:lnTo>
                    <a:pt x="90422" y="429238"/>
                  </a:lnTo>
                  <a:lnTo>
                    <a:pt x="90422" y="428209"/>
                  </a:lnTo>
                  <a:lnTo>
                    <a:pt x="94112" y="428088"/>
                  </a:lnTo>
                  <a:lnTo>
                    <a:pt x="95201" y="428965"/>
                  </a:lnTo>
                  <a:lnTo>
                    <a:pt x="94687" y="431325"/>
                  </a:lnTo>
                  <a:lnTo>
                    <a:pt x="96048" y="432596"/>
                  </a:lnTo>
                  <a:lnTo>
                    <a:pt x="99497" y="433049"/>
                  </a:lnTo>
                  <a:lnTo>
                    <a:pt x="100193" y="433896"/>
                  </a:lnTo>
                  <a:lnTo>
                    <a:pt x="101040" y="435227"/>
                  </a:lnTo>
                  <a:lnTo>
                    <a:pt x="102976" y="436014"/>
                  </a:lnTo>
                  <a:lnTo>
                    <a:pt x="105154" y="436377"/>
                  </a:lnTo>
                  <a:lnTo>
                    <a:pt x="110267" y="436195"/>
                  </a:lnTo>
                  <a:lnTo>
                    <a:pt x="117618" y="434048"/>
                  </a:lnTo>
                  <a:lnTo>
                    <a:pt x="120824" y="432202"/>
                  </a:lnTo>
                  <a:lnTo>
                    <a:pt x="120824" y="434289"/>
                  </a:lnTo>
                  <a:lnTo>
                    <a:pt x="119191" y="435863"/>
                  </a:lnTo>
                  <a:lnTo>
                    <a:pt x="116982" y="437224"/>
                  </a:lnTo>
                  <a:lnTo>
                    <a:pt x="115379" y="438555"/>
                  </a:lnTo>
                  <a:lnTo>
                    <a:pt x="116407" y="439220"/>
                  </a:lnTo>
                  <a:lnTo>
                    <a:pt x="117618" y="439644"/>
                  </a:lnTo>
                  <a:lnTo>
                    <a:pt x="118888" y="439765"/>
                  </a:lnTo>
                  <a:lnTo>
                    <a:pt x="120128" y="439614"/>
                  </a:lnTo>
                  <a:lnTo>
                    <a:pt x="121127" y="438918"/>
                  </a:lnTo>
                  <a:lnTo>
                    <a:pt x="122730" y="436891"/>
                  </a:lnTo>
                  <a:lnTo>
                    <a:pt x="123244" y="436468"/>
                  </a:lnTo>
                  <a:lnTo>
                    <a:pt x="132199" y="435530"/>
                  </a:lnTo>
                  <a:lnTo>
                    <a:pt x="134104" y="434592"/>
                  </a:lnTo>
                  <a:lnTo>
                    <a:pt x="143029" y="423460"/>
                  </a:lnTo>
                  <a:lnTo>
                    <a:pt x="146296" y="417742"/>
                  </a:lnTo>
                  <a:lnTo>
                    <a:pt x="146508" y="415776"/>
                  </a:lnTo>
                  <a:lnTo>
                    <a:pt x="148867" y="413749"/>
                  </a:lnTo>
                  <a:lnTo>
                    <a:pt x="152013" y="412176"/>
                  </a:lnTo>
                  <a:lnTo>
                    <a:pt x="154676" y="411510"/>
                  </a:lnTo>
                  <a:lnTo>
                    <a:pt x="153889" y="412387"/>
                  </a:lnTo>
                  <a:lnTo>
                    <a:pt x="152770" y="414354"/>
                  </a:lnTo>
                  <a:lnTo>
                    <a:pt x="151923" y="415594"/>
                  </a:lnTo>
                  <a:lnTo>
                    <a:pt x="153465" y="416169"/>
                  </a:lnTo>
                  <a:lnTo>
                    <a:pt x="153708" y="417772"/>
                  </a:lnTo>
                  <a:lnTo>
                    <a:pt x="153556" y="419587"/>
                  </a:lnTo>
                  <a:lnTo>
                    <a:pt x="153980" y="420919"/>
                  </a:lnTo>
                  <a:lnTo>
                    <a:pt x="153980" y="421977"/>
                  </a:lnTo>
                  <a:lnTo>
                    <a:pt x="152709" y="423036"/>
                  </a:lnTo>
                  <a:lnTo>
                    <a:pt x="152830" y="424004"/>
                  </a:lnTo>
                  <a:lnTo>
                    <a:pt x="153950" y="424730"/>
                  </a:lnTo>
                  <a:lnTo>
                    <a:pt x="155644" y="425002"/>
                  </a:lnTo>
                  <a:lnTo>
                    <a:pt x="162208" y="424034"/>
                  </a:lnTo>
                  <a:lnTo>
                    <a:pt x="165536" y="424670"/>
                  </a:lnTo>
                  <a:lnTo>
                    <a:pt x="172100" y="427090"/>
                  </a:lnTo>
                  <a:lnTo>
                    <a:pt x="173915" y="427090"/>
                  </a:lnTo>
                  <a:lnTo>
                    <a:pt x="170527" y="428179"/>
                  </a:lnTo>
                  <a:lnTo>
                    <a:pt x="152921" y="430266"/>
                  </a:lnTo>
                  <a:lnTo>
                    <a:pt x="151802" y="430841"/>
                  </a:lnTo>
                  <a:lnTo>
                    <a:pt x="150985" y="432142"/>
                  </a:lnTo>
                  <a:lnTo>
                    <a:pt x="150350" y="433533"/>
                  </a:lnTo>
                  <a:lnTo>
                    <a:pt x="149775" y="434380"/>
                  </a:lnTo>
                  <a:lnTo>
                    <a:pt x="148323" y="435016"/>
                  </a:lnTo>
                  <a:lnTo>
                    <a:pt x="146266" y="435379"/>
                  </a:lnTo>
                  <a:lnTo>
                    <a:pt x="144420" y="435016"/>
                  </a:lnTo>
                  <a:lnTo>
                    <a:pt x="143603" y="433352"/>
                  </a:lnTo>
                  <a:lnTo>
                    <a:pt x="141758" y="434501"/>
                  </a:lnTo>
                  <a:lnTo>
                    <a:pt x="129506" y="438101"/>
                  </a:lnTo>
                  <a:lnTo>
                    <a:pt x="128054" y="439039"/>
                  </a:lnTo>
                  <a:lnTo>
                    <a:pt x="126693" y="440370"/>
                  </a:lnTo>
                  <a:lnTo>
                    <a:pt x="125059" y="440975"/>
                  </a:lnTo>
                  <a:lnTo>
                    <a:pt x="121459" y="441641"/>
                  </a:lnTo>
                  <a:lnTo>
                    <a:pt x="115046" y="441520"/>
                  </a:lnTo>
                  <a:lnTo>
                    <a:pt x="113594" y="442155"/>
                  </a:lnTo>
                  <a:lnTo>
                    <a:pt x="112747" y="441913"/>
                  </a:lnTo>
                  <a:lnTo>
                    <a:pt x="112354" y="441913"/>
                  </a:lnTo>
                  <a:lnTo>
                    <a:pt x="104730" y="441641"/>
                  </a:lnTo>
                  <a:lnTo>
                    <a:pt x="103914" y="441762"/>
                  </a:lnTo>
                  <a:lnTo>
                    <a:pt x="103248" y="442246"/>
                  </a:lnTo>
                  <a:lnTo>
                    <a:pt x="102522" y="443244"/>
                  </a:lnTo>
                  <a:lnTo>
                    <a:pt x="101524" y="443970"/>
                  </a:lnTo>
                  <a:lnTo>
                    <a:pt x="100525" y="443668"/>
                  </a:lnTo>
                  <a:lnTo>
                    <a:pt x="99588" y="443002"/>
                  </a:lnTo>
                  <a:lnTo>
                    <a:pt x="98801" y="442669"/>
                  </a:lnTo>
                  <a:lnTo>
                    <a:pt x="90785" y="442669"/>
                  </a:lnTo>
                  <a:lnTo>
                    <a:pt x="86670" y="441641"/>
                  </a:lnTo>
                  <a:lnTo>
                    <a:pt x="85612" y="442004"/>
                  </a:lnTo>
                  <a:lnTo>
                    <a:pt x="84825" y="442730"/>
                  </a:lnTo>
                  <a:lnTo>
                    <a:pt x="84190" y="443153"/>
                  </a:lnTo>
                  <a:lnTo>
                    <a:pt x="83645" y="442699"/>
                  </a:lnTo>
                  <a:lnTo>
                    <a:pt x="81255" y="445362"/>
                  </a:lnTo>
                  <a:lnTo>
                    <a:pt x="80892" y="446451"/>
                  </a:lnTo>
                  <a:lnTo>
                    <a:pt x="81134" y="448266"/>
                  </a:lnTo>
                  <a:lnTo>
                    <a:pt x="80953" y="449143"/>
                  </a:lnTo>
                  <a:lnTo>
                    <a:pt x="80136" y="450051"/>
                  </a:lnTo>
                  <a:lnTo>
                    <a:pt x="80136" y="451079"/>
                  </a:lnTo>
                  <a:lnTo>
                    <a:pt x="80741" y="451835"/>
                  </a:lnTo>
                  <a:lnTo>
                    <a:pt x="80923" y="452652"/>
                  </a:lnTo>
                  <a:lnTo>
                    <a:pt x="80711" y="453439"/>
                  </a:lnTo>
                  <a:lnTo>
                    <a:pt x="80136" y="454195"/>
                  </a:lnTo>
                  <a:lnTo>
                    <a:pt x="81830" y="454013"/>
                  </a:lnTo>
                  <a:lnTo>
                    <a:pt x="83433" y="454316"/>
                  </a:lnTo>
                  <a:lnTo>
                    <a:pt x="84613" y="455345"/>
                  </a:lnTo>
                  <a:lnTo>
                    <a:pt x="85037" y="457402"/>
                  </a:lnTo>
                  <a:lnTo>
                    <a:pt x="83343" y="456585"/>
                  </a:lnTo>
                  <a:lnTo>
                    <a:pt x="80711" y="455950"/>
                  </a:lnTo>
                  <a:lnTo>
                    <a:pt x="78079" y="455889"/>
                  </a:lnTo>
                  <a:lnTo>
                    <a:pt x="76355" y="456857"/>
                  </a:lnTo>
                  <a:lnTo>
                    <a:pt x="74842" y="458944"/>
                  </a:lnTo>
                  <a:lnTo>
                    <a:pt x="73511" y="460003"/>
                  </a:lnTo>
                  <a:lnTo>
                    <a:pt x="63498" y="464299"/>
                  </a:lnTo>
                  <a:lnTo>
                    <a:pt x="56691" y="464723"/>
                  </a:lnTo>
                  <a:lnTo>
                    <a:pt x="54785" y="465327"/>
                  </a:lnTo>
                  <a:lnTo>
                    <a:pt x="53273" y="466780"/>
                  </a:lnTo>
                  <a:lnTo>
                    <a:pt x="55088" y="468625"/>
                  </a:lnTo>
                  <a:lnTo>
                    <a:pt x="57901" y="469865"/>
                  </a:lnTo>
                  <a:lnTo>
                    <a:pt x="63225" y="470803"/>
                  </a:lnTo>
                  <a:lnTo>
                    <a:pt x="64889" y="472346"/>
                  </a:lnTo>
                  <a:lnTo>
                    <a:pt x="64556" y="479727"/>
                  </a:lnTo>
                  <a:lnTo>
                    <a:pt x="65676" y="482238"/>
                  </a:lnTo>
                  <a:lnTo>
                    <a:pt x="63104" y="483146"/>
                  </a:lnTo>
                  <a:lnTo>
                    <a:pt x="62106" y="483146"/>
                  </a:lnTo>
                  <a:lnTo>
                    <a:pt x="62106" y="484295"/>
                  </a:lnTo>
                  <a:lnTo>
                    <a:pt x="62953" y="484386"/>
                  </a:lnTo>
                  <a:lnTo>
                    <a:pt x="63619" y="484628"/>
                  </a:lnTo>
                  <a:lnTo>
                    <a:pt x="64919" y="485324"/>
                  </a:lnTo>
                  <a:lnTo>
                    <a:pt x="63377" y="485989"/>
                  </a:lnTo>
                  <a:lnTo>
                    <a:pt x="62318" y="485989"/>
                  </a:lnTo>
                  <a:lnTo>
                    <a:pt x="61380" y="485384"/>
                  </a:lnTo>
                  <a:lnTo>
                    <a:pt x="60170" y="484295"/>
                  </a:lnTo>
                  <a:lnTo>
                    <a:pt x="60412" y="485687"/>
                  </a:lnTo>
                  <a:lnTo>
                    <a:pt x="60805" y="486836"/>
                  </a:lnTo>
                  <a:lnTo>
                    <a:pt x="61350" y="487774"/>
                  </a:lnTo>
                  <a:lnTo>
                    <a:pt x="62106" y="488530"/>
                  </a:lnTo>
                  <a:lnTo>
                    <a:pt x="63619" y="487502"/>
                  </a:lnTo>
                  <a:lnTo>
                    <a:pt x="65131" y="487835"/>
                  </a:lnTo>
                  <a:lnTo>
                    <a:pt x="68429" y="489559"/>
                  </a:lnTo>
                  <a:lnTo>
                    <a:pt x="71605" y="489559"/>
                  </a:lnTo>
                  <a:lnTo>
                    <a:pt x="73027" y="490013"/>
                  </a:lnTo>
                  <a:lnTo>
                    <a:pt x="74630" y="491525"/>
                  </a:lnTo>
                  <a:lnTo>
                    <a:pt x="67340" y="492433"/>
                  </a:lnTo>
                  <a:lnTo>
                    <a:pt x="65676" y="491525"/>
                  </a:lnTo>
                  <a:lnTo>
                    <a:pt x="66311" y="490981"/>
                  </a:lnTo>
                  <a:lnTo>
                    <a:pt x="67007" y="490527"/>
                  </a:lnTo>
                  <a:lnTo>
                    <a:pt x="65767" y="490043"/>
                  </a:lnTo>
                  <a:lnTo>
                    <a:pt x="64587" y="490648"/>
                  </a:lnTo>
                  <a:lnTo>
                    <a:pt x="62499" y="493129"/>
                  </a:lnTo>
                  <a:lnTo>
                    <a:pt x="61078" y="493885"/>
                  </a:lnTo>
                  <a:lnTo>
                    <a:pt x="56903" y="493824"/>
                  </a:lnTo>
                  <a:lnTo>
                    <a:pt x="53515" y="493129"/>
                  </a:lnTo>
                  <a:lnTo>
                    <a:pt x="50429" y="491828"/>
                  </a:lnTo>
                  <a:lnTo>
                    <a:pt x="48796" y="491556"/>
                  </a:lnTo>
                  <a:lnTo>
                    <a:pt x="47343" y="490769"/>
                  </a:lnTo>
                  <a:lnTo>
                    <a:pt x="46950" y="488893"/>
                  </a:lnTo>
                  <a:lnTo>
                    <a:pt x="46859" y="486534"/>
                  </a:lnTo>
                  <a:lnTo>
                    <a:pt x="46375" y="484356"/>
                  </a:lnTo>
                  <a:lnTo>
                    <a:pt x="46859" y="482783"/>
                  </a:lnTo>
                  <a:lnTo>
                    <a:pt x="45740" y="482208"/>
                  </a:lnTo>
                  <a:lnTo>
                    <a:pt x="42201" y="482269"/>
                  </a:lnTo>
                  <a:lnTo>
                    <a:pt x="44591" y="485203"/>
                  </a:lnTo>
                  <a:lnTo>
                    <a:pt x="43683" y="488379"/>
                  </a:lnTo>
                  <a:lnTo>
                    <a:pt x="41021" y="491102"/>
                  </a:lnTo>
                  <a:lnTo>
                    <a:pt x="38056" y="492705"/>
                  </a:lnTo>
                  <a:lnTo>
                    <a:pt x="31461" y="493643"/>
                  </a:lnTo>
                  <a:lnTo>
                    <a:pt x="31250" y="492705"/>
                  </a:lnTo>
                  <a:lnTo>
                    <a:pt x="32460" y="486988"/>
                  </a:lnTo>
                  <a:lnTo>
                    <a:pt x="30856" y="485747"/>
                  </a:lnTo>
                  <a:lnTo>
                    <a:pt x="20389" y="488591"/>
                  </a:lnTo>
                  <a:lnTo>
                    <a:pt x="19270" y="489256"/>
                  </a:lnTo>
                  <a:lnTo>
                    <a:pt x="17062" y="492523"/>
                  </a:lnTo>
                  <a:lnTo>
                    <a:pt x="15912" y="493643"/>
                  </a:lnTo>
                  <a:lnTo>
                    <a:pt x="13976" y="494036"/>
                  </a:lnTo>
                  <a:lnTo>
                    <a:pt x="12464" y="493976"/>
                  </a:lnTo>
                  <a:lnTo>
                    <a:pt x="11284" y="494581"/>
                  </a:lnTo>
                  <a:lnTo>
                    <a:pt x="10346" y="496910"/>
                  </a:lnTo>
                  <a:lnTo>
                    <a:pt x="10770" y="497091"/>
                  </a:lnTo>
                  <a:lnTo>
                    <a:pt x="11798" y="497848"/>
                  </a:lnTo>
                  <a:lnTo>
                    <a:pt x="10618" y="499179"/>
                  </a:lnTo>
                  <a:lnTo>
                    <a:pt x="10679" y="500268"/>
                  </a:lnTo>
                  <a:lnTo>
                    <a:pt x="11012" y="501327"/>
                  </a:lnTo>
                  <a:lnTo>
                    <a:pt x="10709" y="502537"/>
                  </a:lnTo>
                  <a:lnTo>
                    <a:pt x="9711" y="503082"/>
                  </a:lnTo>
                  <a:lnTo>
                    <a:pt x="8440" y="502658"/>
                  </a:lnTo>
                  <a:lnTo>
                    <a:pt x="6202" y="500933"/>
                  </a:lnTo>
                  <a:lnTo>
                    <a:pt x="6958" y="498907"/>
                  </a:lnTo>
                  <a:lnTo>
                    <a:pt x="5052" y="499421"/>
                  </a:lnTo>
                  <a:lnTo>
                    <a:pt x="2874" y="500540"/>
                  </a:lnTo>
                  <a:lnTo>
                    <a:pt x="1694" y="501902"/>
                  </a:lnTo>
                  <a:lnTo>
                    <a:pt x="2753" y="503111"/>
                  </a:lnTo>
                  <a:lnTo>
                    <a:pt x="2753" y="504049"/>
                  </a:lnTo>
                  <a:lnTo>
                    <a:pt x="877" y="505623"/>
                  </a:lnTo>
                  <a:lnTo>
                    <a:pt x="0" y="506107"/>
                  </a:lnTo>
                  <a:lnTo>
                    <a:pt x="877" y="509102"/>
                  </a:lnTo>
                  <a:lnTo>
                    <a:pt x="1059" y="511643"/>
                  </a:lnTo>
                  <a:lnTo>
                    <a:pt x="1754" y="513458"/>
                  </a:lnTo>
                  <a:lnTo>
                    <a:pt x="4175" y="514305"/>
                  </a:lnTo>
                  <a:lnTo>
                    <a:pt x="6322" y="513972"/>
                  </a:lnTo>
                  <a:lnTo>
                    <a:pt x="10285" y="512247"/>
                  </a:lnTo>
                  <a:lnTo>
                    <a:pt x="12464" y="512157"/>
                  </a:lnTo>
                  <a:lnTo>
                    <a:pt x="11435" y="511673"/>
                  </a:lnTo>
                  <a:lnTo>
                    <a:pt x="11133" y="511189"/>
                  </a:lnTo>
                  <a:lnTo>
                    <a:pt x="11042" y="510191"/>
                  </a:lnTo>
                  <a:lnTo>
                    <a:pt x="13401" y="510191"/>
                  </a:lnTo>
                  <a:lnTo>
                    <a:pt x="18181" y="511733"/>
                  </a:lnTo>
                  <a:lnTo>
                    <a:pt x="20722" y="512127"/>
                  </a:lnTo>
                  <a:lnTo>
                    <a:pt x="20722" y="511189"/>
                  </a:lnTo>
                  <a:lnTo>
                    <a:pt x="19058" y="510402"/>
                  </a:lnTo>
                  <a:lnTo>
                    <a:pt x="18211" y="510160"/>
                  </a:lnTo>
                  <a:lnTo>
                    <a:pt x="17213" y="510160"/>
                  </a:lnTo>
                  <a:lnTo>
                    <a:pt x="17213" y="509222"/>
                  </a:lnTo>
                  <a:lnTo>
                    <a:pt x="20026" y="508405"/>
                  </a:lnTo>
                  <a:lnTo>
                    <a:pt x="21146" y="508496"/>
                  </a:lnTo>
                  <a:lnTo>
                    <a:pt x="23717" y="510917"/>
                  </a:lnTo>
                  <a:lnTo>
                    <a:pt x="24473" y="510523"/>
                  </a:lnTo>
                  <a:lnTo>
                    <a:pt x="25139" y="509616"/>
                  </a:lnTo>
                  <a:lnTo>
                    <a:pt x="26198" y="509222"/>
                  </a:lnTo>
                  <a:lnTo>
                    <a:pt x="27257" y="510100"/>
                  </a:lnTo>
                  <a:lnTo>
                    <a:pt x="28255" y="511552"/>
                  </a:lnTo>
                  <a:lnTo>
                    <a:pt x="29344" y="512459"/>
                  </a:lnTo>
                  <a:lnTo>
                    <a:pt x="31734" y="511068"/>
                  </a:lnTo>
                  <a:lnTo>
                    <a:pt x="45256" y="507922"/>
                  </a:lnTo>
                  <a:lnTo>
                    <a:pt x="48311" y="508103"/>
                  </a:lnTo>
                  <a:lnTo>
                    <a:pt x="49764" y="508496"/>
                  </a:lnTo>
                  <a:lnTo>
                    <a:pt x="51095" y="509132"/>
                  </a:lnTo>
                  <a:lnTo>
                    <a:pt x="52063" y="510130"/>
                  </a:lnTo>
                  <a:lnTo>
                    <a:pt x="52668" y="512550"/>
                  </a:lnTo>
                  <a:lnTo>
                    <a:pt x="53122" y="511884"/>
                  </a:lnTo>
                  <a:lnTo>
                    <a:pt x="53757" y="510160"/>
                  </a:lnTo>
                  <a:lnTo>
                    <a:pt x="52426" y="507075"/>
                  </a:lnTo>
                  <a:lnTo>
                    <a:pt x="72422" y="506046"/>
                  </a:lnTo>
                  <a:lnTo>
                    <a:pt x="68913" y="508103"/>
                  </a:lnTo>
                  <a:lnTo>
                    <a:pt x="69457" y="508557"/>
                  </a:lnTo>
                  <a:lnTo>
                    <a:pt x="70335" y="509585"/>
                  </a:lnTo>
                  <a:lnTo>
                    <a:pt x="71061" y="510160"/>
                  </a:lnTo>
                  <a:lnTo>
                    <a:pt x="63588" y="511098"/>
                  </a:lnTo>
                  <a:lnTo>
                    <a:pt x="60442" y="510947"/>
                  </a:lnTo>
                  <a:lnTo>
                    <a:pt x="57327" y="509222"/>
                  </a:lnTo>
                  <a:lnTo>
                    <a:pt x="55209" y="518116"/>
                  </a:lnTo>
                  <a:lnTo>
                    <a:pt x="55542" y="519508"/>
                  </a:lnTo>
                  <a:lnTo>
                    <a:pt x="54120" y="519568"/>
                  </a:lnTo>
                  <a:lnTo>
                    <a:pt x="52728" y="519296"/>
                  </a:lnTo>
                  <a:lnTo>
                    <a:pt x="51790" y="518116"/>
                  </a:lnTo>
                  <a:lnTo>
                    <a:pt x="51790" y="515424"/>
                  </a:lnTo>
                  <a:lnTo>
                    <a:pt x="51064" y="515424"/>
                  </a:lnTo>
                  <a:lnTo>
                    <a:pt x="48886" y="520536"/>
                  </a:lnTo>
                  <a:lnTo>
                    <a:pt x="44802" y="522775"/>
                  </a:lnTo>
                  <a:lnTo>
                    <a:pt x="35273" y="524681"/>
                  </a:lnTo>
                  <a:lnTo>
                    <a:pt x="28860" y="527464"/>
                  </a:lnTo>
                  <a:lnTo>
                    <a:pt x="26289" y="529098"/>
                  </a:lnTo>
                  <a:lnTo>
                    <a:pt x="23475" y="529672"/>
                  </a:lnTo>
                  <a:lnTo>
                    <a:pt x="21388" y="530671"/>
                  </a:lnTo>
                  <a:lnTo>
                    <a:pt x="22174" y="532849"/>
                  </a:lnTo>
                  <a:lnTo>
                    <a:pt x="20964" y="533484"/>
                  </a:lnTo>
                  <a:lnTo>
                    <a:pt x="18484" y="534301"/>
                  </a:lnTo>
                  <a:lnTo>
                    <a:pt x="17334" y="534997"/>
                  </a:lnTo>
                  <a:lnTo>
                    <a:pt x="17334" y="535935"/>
                  </a:lnTo>
                  <a:lnTo>
                    <a:pt x="19210" y="536176"/>
                  </a:lnTo>
                  <a:lnTo>
                    <a:pt x="20238" y="537659"/>
                  </a:lnTo>
                  <a:lnTo>
                    <a:pt x="21115" y="539323"/>
                  </a:lnTo>
                  <a:lnTo>
                    <a:pt x="22537" y="540109"/>
                  </a:lnTo>
                  <a:lnTo>
                    <a:pt x="22870" y="540593"/>
                  </a:lnTo>
                  <a:lnTo>
                    <a:pt x="22930" y="541622"/>
                  </a:lnTo>
                  <a:lnTo>
                    <a:pt x="22598" y="542650"/>
                  </a:lnTo>
                  <a:lnTo>
                    <a:pt x="21781" y="543134"/>
                  </a:lnTo>
                  <a:lnTo>
                    <a:pt x="20026" y="543134"/>
                  </a:lnTo>
                  <a:lnTo>
                    <a:pt x="11677" y="545887"/>
                  </a:lnTo>
                  <a:lnTo>
                    <a:pt x="8349" y="546280"/>
                  </a:lnTo>
                  <a:lnTo>
                    <a:pt x="8349" y="547309"/>
                  </a:lnTo>
                  <a:lnTo>
                    <a:pt x="8682" y="547309"/>
                  </a:lnTo>
                  <a:lnTo>
                    <a:pt x="9378" y="547249"/>
                  </a:lnTo>
                  <a:lnTo>
                    <a:pt x="9711" y="547309"/>
                  </a:lnTo>
                  <a:lnTo>
                    <a:pt x="9620" y="548035"/>
                  </a:lnTo>
                  <a:lnTo>
                    <a:pt x="9438" y="548428"/>
                  </a:lnTo>
                  <a:lnTo>
                    <a:pt x="9227" y="548791"/>
                  </a:lnTo>
                  <a:lnTo>
                    <a:pt x="9015" y="549336"/>
                  </a:lnTo>
                  <a:lnTo>
                    <a:pt x="9166" y="549427"/>
                  </a:lnTo>
                  <a:lnTo>
                    <a:pt x="9408" y="549427"/>
                  </a:lnTo>
                  <a:lnTo>
                    <a:pt x="9650" y="549638"/>
                  </a:lnTo>
                  <a:lnTo>
                    <a:pt x="9711" y="550364"/>
                  </a:lnTo>
                  <a:lnTo>
                    <a:pt x="9015" y="551998"/>
                  </a:lnTo>
                  <a:lnTo>
                    <a:pt x="10316" y="552270"/>
                  </a:lnTo>
                  <a:lnTo>
                    <a:pt x="12342" y="552089"/>
                  </a:lnTo>
                  <a:lnTo>
                    <a:pt x="13825" y="552391"/>
                  </a:lnTo>
                  <a:lnTo>
                    <a:pt x="14460" y="554388"/>
                  </a:lnTo>
                  <a:lnTo>
                    <a:pt x="13280" y="558744"/>
                  </a:lnTo>
                  <a:lnTo>
                    <a:pt x="13825" y="560650"/>
                  </a:lnTo>
                  <a:lnTo>
                    <a:pt x="15368" y="559773"/>
                  </a:lnTo>
                  <a:lnTo>
                    <a:pt x="18484" y="557050"/>
                  </a:lnTo>
                  <a:lnTo>
                    <a:pt x="19694" y="556475"/>
                  </a:lnTo>
                  <a:lnTo>
                    <a:pt x="20843" y="555658"/>
                  </a:lnTo>
                  <a:lnTo>
                    <a:pt x="23384" y="552089"/>
                  </a:lnTo>
                  <a:lnTo>
                    <a:pt x="24534" y="551272"/>
                  </a:lnTo>
                  <a:lnTo>
                    <a:pt x="28588" y="553057"/>
                  </a:lnTo>
                  <a:lnTo>
                    <a:pt x="30312" y="556838"/>
                  </a:lnTo>
                  <a:lnTo>
                    <a:pt x="29404" y="560438"/>
                  </a:lnTo>
                  <a:lnTo>
                    <a:pt x="25562" y="561557"/>
                  </a:lnTo>
                  <a:lnTo>
                    <a:pt x="35092" y="565702"/>
                  </a:lnTo>
                  <a:lnTo>
                    <a:pt x="34487" y="567668"/>
                  </a:lnTo>
                  <a:lnTo>
                    <a:pt x="36937" y="566942"/>
                  </a:lnTo>
                  <a:lnTo>
                    <a:pt x="39629" y="565460"/>
                  </a:lnTo>
                  <a:lnTo>
                    <a:pt x="42140" y="563554"/>
                  </a:lnTo>
                  <a:lnTo>
                    <a:pt x="44167" y="561557"/>
                  </a:lnTo>
                  <a:lnTo>
                    <a:pt x="46436" y="562677"/>
                  </a:lnTo>
                  <a:lnTo>
                    <a:pt x="48765" y="561739"/>
                  </a:lnTo>
                  <a:lnTo>
                    <a:pt x="53152" y="558502"/>
                  </a:lnTo>
                  <a:lnTo>
                    <a:pt x="54331" y="558139"/>
                  </a:lnTo>
                  <a:lnTo>
                    <a:pt x="56752" y="557806"/>
                  </a:lnTo>
                  <a:lnTo>
                    <a:pt x="57962" y="557413"/>
                  </a:lnTo>
                  <a:lnTo>
                    <a:pt x="58567" y="556808"/>
                  </a:lnTo>
                  <a:lnTo>
                    <a:pt x="59142" y="555991"/>
                  </a:lnTo>
                  <a:lnTo>
                    <a:pt x="59988" y="555386"/>
                  </a:lnTo>
                  <a:lnTo>
                    <a:pt x="61410" y="555386"/>
                  </a:lnTo>
                  <a:lnTo>
                    <a:pt x="61199" y="556142"/>
                  </a:lnTo>
                  <a:lnTo>
                    <a:pt x="60926" y="557837"/>
                  </a:lnTo>
                  <a:lnTo>
                    <a:pt x="60715" y="558532"/>
                  </a:lnTo>
                  <a:lnTo>
                    <a:pt x="61834" y="558290"/>
                  </a:lnTo>
                  <a:lnTo>
                    <a:pt x="64859" y="556505"/>
                  </a:lnTo>
                  <a:lnTo>
                    <a:pt x="64224" y="555386"/>
                  </a:lnTo>
                  <a:lnTo>
                    <a:pt x="65767" y="554902"/>
                  </a:lnTo>
                  <a:lnTo>
                    <a:pt x="69064" y="554902"/>
                  </a:lnTo>
                  <a:lnTo>
                    <a:pt x="69699" y="553934"/>
                  </a:lnTo>
                  <a:lnTo>
                    <a:pt x="70546" y="552966"/>
                  </a:lnTo>
                  <a:lnTo>
                    <a:pt x="72452" y="551877"/>
                  </a:lnTo>
                  <a:lnTo>
                    <a:pt x="83010" y="548186"/>
                  </a:lnTo>
                  <a:lnTo>
                    <a:pt x="90300" y="547309"/>
                  </a:lnTo>
                  <a:lnTo>
                    <a:pt x="90300" y="548428"/>
                  </a:lnTo>
                  <a:lnTo>
                    <a:pt x="87094" y="549427"/>
                  </a:lnTo>
                  <a:lnTo>
                    <a:pt x="81195" y="552482"/>
                  </a:lnTo>
                  <a:lnTo>
                    <a:pt x="77928" y="553420"/>
                  </a:lnTo>
                  <a:lnTo>
                    <a:pt x="75266" y="553208"/>
                  </a:lnTo>
                  <a:lnTo>
                    <a:pt x="74479" y="553420"/>
                  </a:lnTo>
                  <a:lnTo>
                    <a:pt x="73935" y="554055"/>
                  </a:lnTo>
                  <a:lnTo>
                    <a:pt x="72785" y="556051"/>
                  </a:lnTo>
                  <a:lnTo>
                    <a:pt x="70788" y="557080"/>
                  </a:lnTo>
                  <a:lnTo>
                    <a:pt x="68217" y="559833"/>
                  </a:lnTo>
                  <a:lnTo>
                    <a:pt x="66856" y="560650"/>
                  </a:lnTo>
                  <a:lnTo>
                    <a:pt x="66856" y="561557"/>
                  </a:lnTo>
                  <a:lnTo>
                    <a:pt x="68882" y="562435"/>
                  </a:lnTo>
                  <a:lnTo>
                    <a:pt x="69669" y="562556"/>
                  </a:lnTo>
                  <a:lnTo>
                    <a:pt x="69669" y="563584"/>
                  </a:lnTo>
                  <a:lnTo>
                    <a:pt x="65827" y="563675"/>
                  </a:lnTo>
                  <a:lnTo>
                    <a:pt x="64073" y="563403"/>
                  </a:lnTo>
                  <a:lnTo>
                    <a:pt x="62772" y="562556"/>
                  </a:lnTo>
                  <a:lnTo>
                    <a:pt x="62560" y="565036"/>
                  </a:lnTo>
                  <a:lnTo>
                    <a:pt x="61410" y="566519"/>
                  </a:lnTo>
                  <a:lnTo>
                    <a:pt x="59747" y="567305"/>
                  </a:lnTo>
                  <a:lnTo>
                    <a:pt x="57962" y="567638"/>
                  </a:lnTo>
                  <a:lnTo>
                    <a:pt x="58476" y="566791"/>
                  </a:lnTo>
                  <a:lnTo>
                    <a:pt x="59021" y="565248"/>
                  </a:lnTo>
                  <a:lnTo>
                    <a:pt x="59323" y="564583"/>
                  </a:lnTo>
                  <a:lnTo>
                    <a:pt x="56661" y="565187"/>
                  </a:lnTo>
                  <a:lnTo>
                    <a:pt x="53182" y="566761"/>
                  </a:lnTo>
                  <a:lnTo>
                    <a:pt x="50036" y="569029"/>
                  </a:lnTo>
                  <a:lnTo>
                    <a:pt x="48311" y="571722"/>
                  </a:lnTo>
                  <a:lnTo>
                    <a:pt x="52426" y="571722"/>
                  </a:lnTo>
                  <a:lnTo>
                    <a:pt x="52426" y="572841"/>
                  </a:lnTo>
                  <a:lnTo>
                    <a:pt x="47706" y="577046"/>
                  </a:lnTo>
                  <a:lnTo>
                    <a:pt x="45498" y="577893"/>
                  </a:lnTo>
                  <a:lnTo>
                    <a:pt x="41414" y="577590"/>
                  </a:lnTo>
                  <a:lnTo>
                    <a:pt x="39236" y="578014"/>
                  </a:lnTo>
                  <a:lnTo>
                    <a:pt x="37966" y="579859"/>
                  </a:lnTo>
                  <a:lnTo>
                    <a:pt x="39539" y="579769"/>
                  </a:lnTo>
                  <a:lnTo>
                    <a:pt x="41021" y="580192"/>
                  </a:lnTo>
                  <a:lnTo>
                    <a:pt x="41838" y="581281"/>
                  </a:lnTo>
                  <a:lnTo>
                    <a:pt x="41445" y="583127"/>
                  </a:lnTo>
                  <a:lnTo>
                    <a:pt x="41747" y="583278"/>
                  </a:lnTo>
                  <a:lnTo>
                    <a:pt x="41989" y="583278"/>
                  </a:lnTo>
                  <a:lnTo>
                    <a:pt x="42110" y="583399"/>
                  </a:lnTo>
                  <a:lnTo>
                    <a:pt x="42110" y="584064"/>
                  </a:lnTo>
                  <a:lnTo>
                    <a:pt x="40567" y="584942"/>
                  </a:lnTo>
                  <a:lnTo>
                    <a:pt x="33700" y="586696"/>
                  </a:lnTo>
                  <a:lnTo>
                    <a:pt x="33095" y="587120"/>
                  </a:lnTo>
                  <a:lnTo>
                    <a:pt x="32732" y="587906"/>
                  </a:lnTo>
                  <a:lnTo>
                    <a:pt x="32672" y="588814"/>
                  </a:lnTo>
                  <a:lnTo>
                    <a:pt x="32460" y="589631"/>
                  </a:lnTo>
                  <a:lnTo>
                    <a:pt x="31703" y="590145"/>
                  </a:lnTo>
                  <a:lnTo>
                    <a:pt x="32399" y="591264"/>
                  </a:lnTo>
                  <a:lnTo>
                    <a:pt x="34154" y="589631"/>
                  </a:lnTo>
                  <a:lnTo>
                    <a:pt x="36423" y="588663"/>
                  </a:lnTo>
                  <a:lnTo>
                    <a:pt x="41051" y="588118"/>
                  </a:lnTo>
                  <a:lnTo>
                    <a:pt x="42080" y="588300"/>
                  </a:lnTo>
                  <a:lnTo>
                    <a:pt x="44046" y="589056"/>
                  </a:lnTo>
                  <a:lnTo>
                    <a:pt x="45196" y="589207"/>
                  </a:lnTo>
                  <a:lnTo>
                    <a:pt x="47616" y="587422"/>
                  </a:lnTo>
                  <a:lnTo>
                    <a:pt x="53938" y="585547"/>
                  </a:lnTo>
                  <a:lnTo>
                    <a:pt x="54483" y="585184"/>
                  </a:lnTo>
                  <a:lnTo>
                    <a:pt x="54816" y="584670"/>
                  </a:lnTo>
                  <a:lnTo>
                    <a:pt x="54906" y="584095"/>
                  </a:lnTo>
                  <a:lnTo>
                    <a:pt x="54906" y="583550"/>
                  </a:lnTo>
                  <a:lnTo>
                    <a:pt x="55118" y="583157"/>
                  </a:lnTo>
                  <a:lnTo>
                    <a:pt x="56600" y="582098"/>
                  </a:lnTo>
                  <a:lnTo>
                    <a:pt x="60745" y="580374"/>
                  </a:lnTo>
                  <a:lnTo>
                    <a:pt x="73450" y="578710"/>
                  </a:lnTo>
                  <a:lnTo>
                    <a:pt x="76929" y="577379"/>
                  </a:lnTo>
                  <a:lnTo>
                    <a:pt x="83524" y="576713"/>
                  </a:lnTo>
                  <a:lnTo>
                    <a:pt x="85672" y="576078"/>
                  </a:lnTo>
                  <a:lnTo>
                    <a:pt x="87638" y="574929"/>
                  </a:lnTo>
                  <a:lnTo>
                    <a:pt x="90422" y="572267"/>
                  </a:lnTo>
                  <a:lnTo>
                    <a:pt x="91783" y="571359"/>
                  </a:lnTo>
                  <a:lnTo>
                    <a:pt x="93810" y="570875"/>
                  </a:lnTo>
                  <a:lnTo>
                    <a:pt x="92721" y="569241"/>
                  </a:lnTo>
                  <a:lnTo>
                    <a:pt x="92660" y="567971"/>
                  </a:lnTo>
                  <a:lnTo>
                    <a:pt x="92781" y="566610"/>
                  </a:lnTo>
                  <a:lnTo>
                    <a:pt x="92358" y="564673"/>
                  </a:lnTo>
                  <a:lnTo>
                    <a:pt x="93386" y="564976"/>
                  </a:lnTo>
                  <a:lnTo>
                    <a:pt x="94385" y="565520"/>
                  </a:lnTo>
                  <a:lnTo>
                    <a:pt x="95231" y="566156"/>
                  </a:lnTo>
                  <a:lnTo>
                    <a:pt x="95867" y="566791"/>
                  </a:lnTo>
                  <a:lnTo>
                    <a:pt x="95957" y="567366"/>
                  </a:lnTo>
                  <a:lnTo>
                    <a:pt x="95776" y="569241"/>
                  </a:lnTo>
                  <a:lnTo>
                    <a:pt x="95867" y="569816"/>
                  </a:lnTo>
                  <a:lnTo>
                    <a:pt x="96260" y="570028"/>
                  </a:lnTo>
                  <a:lnTo>
                    <a:pt x="97137" y="569967"/>
                  </a:lnTo>
                  <a:lnTo>
                    <a:pt x="99436" y="571661"/>
                  </a:lnTo>
                  <a:lnTo>
                    <a:pt x="101161" y="571026"/>
                  </a:lnTo>
                  <a:lnTo>
                    <a:pt x="102734" y="570149"/>
                  </a:lnTo>
                  <a:lnTo>
                    <a:pt x="104186" y="570814"/>
                  </a:lnTo>
                  <a:lnTo>
                    <a:pt x="104186" y="571752"/>
                  </a:lnTo>
                  <a:lnTo>
                    <a:pt x="103732" y="572206"/>
                  </a:lnTo>
                  <a:lnTo>
                    <a:pt x="103278" y="573083"/>
                  </a:lnTo>
                  <a:lnTo>
                    <a:pt x="102794" y="573809"/>
                  </a:lnTo>
                  <a:lnTo>
                    <a:pt x="102583" y="576229"/>
                  </a:lnTo>
                  <a:lnTo>
                    <a:pt x="99648" y="577470"/>
                  </a:lnTo>
                  <a:lnTo>
                    <a:pt x="95957" y="578287"/>
                  </a:lnTo>
                  <a:lnTo>
                    <a:pt x="92206" y="580102"/>
                  </a:lnTo>
                  <a:lnTo>
                    <a:pt x="88939" y="580495"/>
                  </a:lnTo>
                  <a:lnTo>
                    <a:pt x="87578" y="582431"/>
                  </a:lnTo>
                  <a:lnTo>
                    <a:pt x="75175" y="588602"/>
                  </a:lnTo>
                  <a:lnTo>
                    <a:pt x="71242" y="589903"/>
                  </a:lnTo>
                  <a:lnTo>
                    <a:pt x="70335" y="591294"/>
                  </a:lnTo>
                  <a:lnTo>
                    <a:pt x="69609" y="592686"/>
                  </a:lnTo>
                  <a:lnTo>
                    <a:pt x="68641" y="593321"/>
                  </a:lnTo>
                  <a:lnTo>
                    <a:pt x="67703" y="593684"/>
                  </a:lnTo>
                  <a:lnTo>
                    <a:pt x="63467" y="596256"/>
                  </a:lnTo>
                  <a:lnTo>
                    <a:pt x="69760" y="595802"/>
                  </a:lnTo>
                  <a:lnTo>
                    <a:pt x="89181" y="586696"/>
                  </a:lnTo>
                  <a:lnTo>
                    <a:pt x="93840" y="587150"/>
                  </a:lnTo>
                  <a:lnTo>
                    <a:pt x="91722" y="588421"/>
                  </a:lnTo>
                  <a:lnTo>
                    <a:pt x="88092" y="589964"/>
                  </a:lnTo>
                  <a:lnTo>
                    <a:pt x="86186" y="591325"/>
                  </a:lnTo>
                  <a:lnTo>
                    <a:pt x="81770" y="595984"/>
                  </a:lnTo>
                  <a:lnTo>
                    <a:pt x="79985" y="597314"/>
                  </a:lnTo>
                  <a:lnTo>
                    <a:pt x="77776" y="598313"/>
                  </a:lnTo>
                  <a:lnTo>
                    <a:pt x="74237" y="599190"/>
                  </a:lnTo>
                  <a:lnTo>
                    <a:pt x="72422" y="600340"/>
                  </a:lnTo>
                  <a:lnTo>
                    <a:pt x="68822" y="603668"/>
                  </a:lnTo>
                  <a:lnTo>
                    <a:pt x="66977" y="604877"/>
                  </a:lnTo>
                  <a:lnTo>
                    <a:pt x="64768" y="605513"/>
                  </a:lnTo>
                  <a:lnTo>
                    <a:pt x="65525" y="606935"/>
                  </a:lnTo>
                  <a:lnTo>
                    <a:pt x="65948" y="607267"/>
                  </a:lnTo>
                  <a:lnTo>
                    <a:pt x="66825" y="607539"/>
                  </a:lnTo>
                  <a:lnTo>
                    <a:pt x="66825" y="608447"/>
                  </a:lnTo>
                  <a:lnTo>
                    <a:pt x="66462" y="609082"/>
                  </a:lnTo>
                  <a:lnTo>
                    <a:pt x="66281" y="609748"/>
                  </a:lnTo>
                  <a:lnTo>
                    <a:pt x="66160" y="611654"/>
                  </a:lnTo>
                  <a:lnTo>
                    <a:pt x="66856" y="610565"/>
                  </a:lnTo>
                  <a:lnTo>
                    <a:pt x="67551" y="611654"/>
                  </a:lnTo>
                  <a:lnTo>
                    <a:pt x="70425" y="609203"/>
                  </a:lnTo>
                  <a:lnTo>
                    <a:pt x="71333" y="608901"/>
                  </a:lnTo>
                  <a:lnTo>
                    <a:pt x="71030" y="610565"/>
                  </a:lnTo>
                  <a:lnTo>
                    <a:pt x="77897" y="607539"/>
                  </a:lnTo>
                  <a:lnTo>
                    <a:pt x="77444" y="607388"/>
                  </a:lnTo>
                  <a:lnTo>
                    <a:pt x="77171" y="607176"/>
                  </a:lnTo>
                  <a:lnTo>
                    <a:pt x="76536" y="606511"/>
                  </a:lnTo>
                  <a:lnTo>
                    <a:pt x="82012" y="601913"/>
                  </a:lnTo>
                  <a:lnTo>
                    <a:pt x="82707" y="600612"/>
                  </a:lnTo>
                  <a:lnTo>
                    <a:pt x="84129" y="601368"/>
                  </a:lnTo>
                  <a:lnTo>
                    <a:pt x="85369" y="603032"/>
                  </a:lnTo>
                  <a:lnTo>
                    <a:pt x="85491" y="604514"/>
                  </a:lnTo>
                  <a:lnTo>
                    <a:pt x="87215" y="604514"/>
                  </a:lnTo>
                  <a:lnTo>
                    <a:pt x="88364" y="604091"/>
                  </a:lnTo>
                  <a:lnTo>
                    <a:pt x="90300" y="602397"/>
                  </a:lnTo>
                  <a:lnTo>
                    <a:pt x="90996" y="602306"/>
                  </a:lnTo>
                  <a:lnTo>
                    <a:pt x="92781" y="602427"/>
                  </a:lnTo>
                  <a:lnTo>
                    <a:pt x="93114" y="601943"/>
                  </a:lnTo>
                  <a:lnTo>
                    <a:pt x="93265" y="600491"/>
                  </a:lnTo>
                  <a:lnTo>
                    <a:pt x="93658" y="599886"/>
                  </a:lnTo>
                  <a:lnTo>
                    <a:pt x="100798" y="598434"/>
                  </a:lnTo>
                  <a:lnTo>
                    <a:pt x="103672" y="597163"/>
                  </a:lnTo>
                  <a:lnTo>
                    <a:pt x="102825" y="595409"/>
                  </a:lnTo>
                  <a:lnTo>
                    <a:pt x="104156" y="594834"/>
                  </a:lnTo>
                  <a:lnTo>
                    <a:pt x="105971" y="595136"/>
                  </a:lnTo>
                  <a:lnTo>
                    <a:pt x="107604" y="595923"/>
                  </a:lnTo>
                  <a:lnTo>
                    <a:pt x="108330" y="596831"/>
                  </a:lnTo>
                  <a:lnTo>
                    <a:pt x="107907" y="598948"/>
                  </a:lnTo>
                  <a:lnTo>
                    <a:pt x="107241" y="600582"/>
                  </a:lnTo>
                  <a:lnTo>
                    <a:pt x="107120" y="602004"/>
                  </a:lnTo>
                  <a:lnTo>
                    <a:pt x="108330" y="603516"/>
                  </a:lnTo>
                  <a:lnTo>
                    <a:pt x="110418" y="601822"/>
                  </a:lnTo>
                  <a:lnTo>
                    <a:pt x="111356" y="600793"/>
                  </a:lnTo>
                  <a:lnTo>
                    <a:pt x="111749" y="599946"/>
                  </a:lnTo>
                  <a:lnTo>
                    <a:pt x="114955" y="598162"/>
                  </a:lnTo>
                  <a:lnTo>
                    <a:pt x="115802" y="597375"/>
                  </a:lnTo>
                  <a:lnTo>
                    <a:pt x="116044" y="597889"/>
                  </a:lnTo>
                  <a:lnTo>
                    <a:pt x="116135" y="598040"/>
                  </a:lnTo>
                  <a:lnTo>
                    <a:pt x="116256" y="598162"/>
                  </a:lnTo>
                  <a:lnTo>
                    <a:pt x="116559" y="598494"/>
                  </a:lnTo>
                  <a:lnTo>
                    <a:pt x="115318" y="599583"/>
                  </a:lnTo>
                  <a:lnTo>
                    <a:pt x="112838" y="601156"/>
                  </a:lnTo>
                  <a:lnTo>
                    <a:pt x="111749" y="602457"/>
                  </a:lnTo>
                  <a:lnTo>
                    <a:pt x="110841" y="604484"/>
                  </a:lnTo>
                  <a:lnTo>
                    <a:pt x="111234" y="604968"/>
                  </a:lnTo>
                  <a:lnTo>
                    <a:pt x="112414" y="604484"/>
                  </a:lnTo>
                  <a:lnTo>
                    <a:pt x="113866" y="603546"/>
                  </a:lnTo>
                  <a:lnTo>
                    <a:pt x="113201" y="605059"/>
                  </a:lnTo>
                  <a:lnTo>
                    <a:pt x="112445" y="606087"/>
                  </a:lnTo>
                  <a:lnTo>
                    <a:pt x="111507" y="606874"/>
                  </a:lnTo>
                  <a:lnTo>
                    <a:pt x="110357" y="607600"/>
                  </a:lnTo>
                  <a:lnTo>
                    <a:pt x="113594" y="607539"/>
                  </a:lnTo>
                  <a:lnTo>
                    <a:pt x="114986" y="607086"/>
                  </a:lnTo>
                  <a:lnTo>
                    <a:pt x="116135" y="606087"/>
                  </a:lnTo>
                  <a:lnTo>
                    <a:pt x="116982" y="605513"/>
                  </a:lnTo>
                  <a:lnTo>
                    <a:pt x="117769" y="605513"/>
                  </a:lnTo>
                  <a:lnTo>
                    <a:pt x="118344" y="605361"/>
                  </a:lnTo>
                  <a:lnTo>
                    <a:pt x="118586" y="604060"/>
                  </a:lnTo>
                  <a:lnTo>
                    <a:pt x="121338" y="602457"/>
                  </a:lnTo>
                  <a:lnTo>
                    <a:pt x="121550" y="603244"/>
                  </a:lnTo>
                  <a:lnTo>
                    <a:pt x="121792" y="603849"/>
                  </a:lnTo>
                  <a:lnTo>
                    <a:pt x="122004" y="604545"/>
                  </a:lnTo>
                  <a:lnTo>
                    <a:pt x="122064" y="605573"/>
                  </a:lnTo>
                  <a:lnTo>
                    <a:pt x="123244" y="604998"/>
                  </a:lnTo>
                  <a:lnTo>
                    <a:pt x="124182" y="605271"/>
                  </a:lnTo>
                  <a:lnTo>
                    <a:pt x="125090" y="605694"/>
                  </a:lnTo>
                  <a:lnTo>
                    <a:pt x="126209" y="605573"/>
                  </a:lnTo>
                  <a:lnTo>
                    <a:pt x="127026" y="604666"/>
                  </a:lnTo>
                  <a:lnTo>
                    <a:pt x="127510" y="603425"/>
                  </a:lnTo>
                  <a:lnTo>
                    <a:pt x="128206" y="602488"/>
                  </a:lnTo>
                  <a:lnTo>
                    <a:pt x="129658" y="602427"/>
                  </a:lnTo>
                  <a:lnTo>
                    <a:pt x="129658" y="601489"/>
                  </a:lnTo>
                  <a:lnTo>
                    <a:pt x="129355" y="600007"/>
                  </a:lnTo>
                  <a:lnTo>
                    <a:pt x="130172" y="599765"/>
                  </a:lnTo>
                  <a:lnTo>
                    <a:pt x="132774" y="600370"/>
                  </a:lnTo>
                  <a:lnTo>
                    <a:pt x="134316" y="600098"/>
                  </a:lnTo>
                  <a:lnTo>
                    <a:pt x="135829" y="599311"/>
                  </a:lnTo>
                  <a:lnTo>
                    <a:pt x="137069" y="598040"/>
                  </a:lnTo>
                  <a:lnTo>
                    <a:pt x="137886" y="596347"/>
                  </a:lnTo>
                  <a:lnTo>
                    <a:pt x="137039" y="595651"/>
                  </a:lnTo>
                  <a:lnTo>
                    <a:pt x="136585" y="595439"/>
                  </a:lnTo>
                  <a:lnTo>
                    <a:pt x="136585" y="594320"/>
                  </a:lnTo>
                  <a:lnTo>
                    <a:pt x="137856" y="594622"/>
                  </a:lnTo>
                  <a:lnTo>
                    <a:pt x="140125" y="595923"/>
                  </a:lnTo>
                  <a:lnTo>
                    <a:pt x="141425" y="596347"/>
                  </a:lnTo>
                  <a:lnTo>
                    <a:pt x="146961" y="595227"/>
                  </a:lnTo>
                  <a:lnTo>
                    <a:pt x="148444" y="594441"/>
                  </a:lnTo>
                  <a:lnTo>
                    <a:pt x="149623" y="594320"/>
                  </a:lnTo>
                  <a:lnTo>
                    <a:pt x="150743" y="594652"/>
                  </a:lnTo>
                  <a:lnTo>
                    <a:pt x="152739" y="596044"/>
                  </a:lnTo>
                  <a:lnTo>
                    <a:pt x="153435" y="596347"/>
                  </a:lnTo>
                  <a:lnTo>
                    <a:pt x="153677" y="596982"/>
                  </a:lnTo>
                  <a:lnTo>
                    <a:pt x="154554" y="598071"/>
                  </a:lnTo>
                  <a:lnTo>
                    <a:pt x="155462" y="598434"/>
                  </a:lnTo>
                  <a:lnTo>
                    <a:pt x="155886" y="596861"/>
                  </a:lnTo>
                  <a:lnTo>
                    <a:pt x="156460" y="596528"/>
                  </a:lnTo>
                  <a:lnTo>
                    <a:pt x="160000" y="595439"/>
                  </a:lnTo>
                  <a:lnTo>
                    <a:pt x="160938" y="593715"/>
                  </a:lnTo>
                  <a:lnTo>
                    <a:pt x="161996" y="591143"/>
                  </a:lnTo>
                  <a:lnTo>
                    <a:pt x="163418" y="589449"/>
                  </a:lnTo>
                  <a:lnTo>
                    <a:pt x="165475" y="590296"/>
                  </a:lnTo>
                  <a:lnTo>
                    <a:pt x="166141" y="589570"/>
                  </a:lnTo>
                  <a:lnTo>
                    <a:pt x="166776" y="589661"/>
                  </a:lnTo>
                  <a:lnTo>
                    <a:pt x="167532" y="590054"/>
                  </a:lnTo>
                  <a:lnTo>
                    <a:pt x="168591" y="590296"/>
                  </a:lnTo>
                  <a:lnTo>
                    <a:pt x="172312" y="590296"/>
                  </a:lnTo>
                  <a:lnTo>
                    <a:pt x="173129" y="590931"/>
                  </a:lnTo>
                  <a:lnTo>
                    <a:pt x="173825" y="591900"/>
                  </a:lnTo>
                  <a:lnTo>
                    <a:pt x="174551" y="592444"/>
                  </a:lnTo>
                  <a:lnTo>
                    <a:pt x="175428" y="591839"/>
                  </a:lnTo>
                  <a:lnTo>
                    <a:pt x="179240" y="592323"/>
                  </a:lnTo>
                  <a:lnTo>
                    <a:pt x="178786" y="590599"/>
                  </a:lnTo>
                  <a:lnTo>
                    <a:pt x="178877" y="589238"/>
                  </a:lnTo>
                  <a:lnTo>
                    <a:pt x="179512" y="588118"/>
                  </a:lnTo>
                  <a:lnTo>
                    <a:pt x="180601" y="587211"/>
                  </a:lnTo>
                  <a:lnTo>
                    <a:pt x="178544" y="586303"/>
                  </a:lnTo>
                  <a:lnTo>
                    <a:pt x="179179" y="585698"/>
                  </a:lnTo>
                  <a:lnTo>
                    <a:pt x="179845" y="585274"/>
                  </a:lnTo>
                  <a:lnTo>
                    <a:pt x="179845" y="584155"/>
                  </a:lnTo>
                  <a:lnTo>
                    <a:pt x="176154" y="584155"/>
                  </a:lnTo>
                  <a:lnTo>
                    <a:pt x="174490" y="583550"/>
                  </a:lnTo>
                  <a:lnTo>
                    <a:pt x="173038" y="582098"/>
                  </a:lnTo>
                  <a:lnTo>
                    <a:pt x="185078" y="583218"/>
                  </a:lnTo>
                  <a:lnTo>
                    <a:pt x="190009" y="581947"/>
                  </a:lnTo>
                  <a:lnTo>
                    <a:pt x="191673" y="582098"/>
                  </a:lnTo>
                  <a:lnTo>
                    <a:pt x="193065" y="583127"/>
                  </a:lnTo>
                  <a:lnTo>
                    <a:pt x="194517" y="586122"/>
                  </a:lnTo>
                  <a:lnTo>
                    <a:pt x="195787" y="587180"/>
                  </a:lnTo>
                  <a:lnTo>
                    <a:pt x="195606" y="585456"/>
                  </a:lnTo>
                  <a:lnTo>
                    <a:pt x="195152" y="583218"/>
                  </a:lnTo>
                  <a:lnTo>
                    <a:pt x="195061" y="581584"/>
                  </a:lnTo>
                  <a:lnTo>
                    <a:pt x="195334" y="580646"/>
                  </a:lnTo>
                  <a:lnTo>
                    <a:pt x="196876" y="577137"/>
                  </a:lnTo>
                  <a:lnTo>
                    <a:pt x="197512" y="576986"/>
                  </a:lnTo>
                  <a:lnTo>
                    <a:pt x="198359" y="576532"/>
                  </a:lnTo>
                  <a:lnTo>
                    <a:pt x="199054" y="575866"/>
                  </a:lnTo>
                  <a:lnTo>
                    <a:pt x="199266" y="575019"/>
                  </a:lnTo>
                  <a:lnTo>
                    <a:pt x="198812" y="573870"/>
                  </a:lnTo>
                  <a:lnTo>
                    <a:pt x="198207" y="574051"/>
                  </a:lnTo>
                  <a:lnTo>
                    <a:pt x="197269" y="575019"/>
                  </a:lnTo>
                  <a:lnTo>
                    <a:pt x="196211" y="574686"/>
                  </a:lnTo>
                  <a:lnTo>
                    <a:pt x="194154" y="574475"/>
                  </a:lnTo>
                  <a:lnTo>
                    <a:pt x="193125" y="573900"/>
                  </a:lnTo>
                  <a:lnTo>
                    <a:pt x="193125" y="572962"/>
                  </a:lnTo>
                  <a:lnTo>
                    <a:pt x="197754" y="573023"/>
                  </a:lnTo>
                  <a:lnTo>
                    <a:pt x="199901" y="574112"/>
                  </a:lnTo>
                  <a:lnTo>
                    <a:pt x="200628" y="577137"/>
                  </a:lnTo>
                  <a:lnTo>
                    <a:pt x="202140" y="576290"/>
                  </a:lnTo>
                  <a:lnTo>
                    <a:pt x="202624" y="574656"/>
                  </a:lnTo>
                  <a:lnTo>
                    <a:pt x="202110" y="572932"/>
                  </a:lnTo>
                  <a:lnTo>
                    <a:pt x="200628" y="571873"/>
                  </a:lnTo>
                  <a:lnTo>
                    <a:pt x="201837" y="571510"/>
                  </a:lnTo>
                  <a:lnTo>
                    <a:pt x="203441" y="572085"/>
                  </a:lnTo>
                  <a:lnTo>
                    <a:pt x="204863" y="573356"/>
                  </a:lnTo>
                  <a:lnTo>
                    <a:pt x="205498" y="575019"/>
                  </a:lnTo>
                  <a:lnTo>
                    <a:pt x="206799" y="573325"/>
                  </a:lnTo>
                  <a:lnTo>
                    <a:pt x="208039" y="572478"/>
                  </a:lnTo>
                  <a:lnTo>
                    <a:pt x="211820" y="571631"/>
                  </a:lnTo>
                  <a:lnTo>
                    <a:pt x="214513" y="570270"/>
                  </a:lnTo>
                  <a:lnTo>
                    <a:pt x="215602" y="568697"/>
                  </a:lnTo>
                  <a:lnTo>
                    <a:pt x="218930" y="565278"/>
                  </a:lnTo>
                  <a:lnTo>
                    <a:pt x="219383" y="564098"/>
                  </a:lnTo>
                  <a:lnTo>
                    <a:pt x="219141" y="563251"/>
                  </a:lnTo>
                  <a:lnTo>
                    <a:pt x="218718" y="562525"/>
                  </a:lnTo>
                  <a:lnTo>
                    <a:pt x="218597" y="561708"/>
                  </a:lnTo>
                  <a:lnTo>
                    <a:pt x="218899" y="561134"/>
                  </a:lnTo>
                  <a:lnTo>
                    <a:pt x="220654" y="558623"/>
                  </a:lnTo>
                  <a:lnTo>
                    <a:pt x="217145" y="558623"/>
                  </a:lnTo>
                  <a:lnTo>
                    <a:pt x="217780" y="558169"/>
                  </a:lnTo>
                  <a:lnTo>
                    <a:pt x="218445" y="557837"/>
                  </a:lnTo>
                  <a:lnTo>
                    <a:pt x="219898" y="557504"/>
                  </a:lnTo>
                  <a:lnTo>
                    <a:pt x="219474" y="557262"/>
                  </a:lnTo>
                  <a:lnTo>
                    <a:pt x="218597" y="556566"/>
                  </a:lnTo>
                  <a:lnTo>
                    <a:pt x="218597" y="555447"/>
                  </a:lnTo>
                  <a:lnTo>
                    <a:pt x="219293" y="555447"/>
                  </a:lnTo>
                  <a:lnTo>
                    <a:pt x="219293" y="554509"/>
                  </a:lnTo>
                  <a:lnTo>
                    <a:pt x="218143" y="554176"/>
                  </a:lnTo>
                  <a:lnTo>
                    <a:pt x="214362" y="554509"/>
                  </a:lnTo>
                  <a:lnTo>
                    <a:pt x="216177" y="549820"/>
                  </a:lnTo>
                  <a:lnTo>
                    <a:pt x="213666" y="548065"/>
                  </a:lnTo>
                  <a:lnTo>
                    <a:pt x="209461" y="547490"/>
                  </a:lnTo>
                  <a:lnTo>
                    <a:pt x="206103" y="546341"/>
                  </a:lnTo>
                  <a:lnTo>
                    <a:pt x="208160" y="545252"/>
                  </a:lnTo>
                  <a:lnTo>
                    <a:pt x="210217" y="545010"/>
                  </a:lnTo>
                  <a:lnTo>
                    <a:pt x="214362" y="545222"/>
                  </a:lnTo>
                  <a:lnTo>
                    <a:pt x="216237" y="544707"/>
                  </a:lnTo>
                  <a:lnTo>
                    <a:pt x="218082" y="543891"/>
                  </a:lnTo>
                  <a:lnTo>
                    <a:pt x="219807" y="543528"/>
                  </a:lnTo>
                  <a:lnTo>
                    <a:pt x="220654" y="544284"/>
                  </a:lnTo>
                  <a:lnTo>
                    <a:pt x="220654" y="545222"/>
                  </a:lnTo>
                  <a:lnTo>
                    <a:pt x="224798" y="545070"/>
                  </a:lnTo>
                  <a:lnTo>
                    <a:pt x="226825" y="545494"/>
                  </a:lnTo>
                  <a:lnTo>
                    <a:pt x="228156" y="546341"/>
                  </a:lnTo>
                  <a:lnTo>
                    <a:pt x="229033" y="545191"/>
                  </a:lnTo>
                  <a:lnTo>
                    <a:pt x="229820" y="544707"/>
                  </a:lnTo>
                  <a:lnTo>
                    <a:pt x="230486" y="545040"/>
                  </a:lnTo>
                  <a:lnTo>
                    <a:pt x="230970" y="546341"/>
                  </a:lnTo>
                  <a:lnTo>
                    <a:pt x="230123" y="546855"/>
                  </a:lnTo>
                  <a:lnTo>
                    <a:pt x="229639" y="547460"/>
                  </a:lnTo>
                  <a:lnTo>
                    <a:pt x="228882" y="549427"/>
                  </a:lnTo>
                  <a:lnTo>
                    <a:pt x="229850" y="549427"/>
                  </a:lnTo>
                  <a:lnTo>
                    <a:pt x="230486" y="549759"/>
                  </a:lnTo>
                  <a:lnTo>
                    <a:pt x="231000" y="550122"/>
                  </a:lnTo>
                  <a:lnTo>
                    <a:pt x="231635" y="550455"/>
                  </a:lnTo>
                  <a:lnTo>
                    <a:pt x="230334" y="551817"/>
                  </a:lnTo>
                  <a:lnTo>
                    <a:pt x="228973" y="552724"/>
                  </a:lnTo>
                  <a:lnTo>
                    <a:pt x="227551" y="553238"/>
                  </a:lnTo>
                  <a:lnTo>
                    <a:pt x="226099" y="553510"/>
                  </a:lnTo>
                  <a:lnTo>
                    <a:pt x="226553" y="554902"/>
                  </a:lnTo>
                  <a:lnTo>
                    <a:pt x="226765" y="555447"/>
                  </a:lnTo>
                  <a:lnTo>
                    <a:pt x="225857" y="555688"/>
                  </a:lnTo>
                  <a:lnTo>
                    <a:pt x="224980" y="556203"/>
                  </a:lnTo>
                  <a:lnTo>
                    <a:pt x="224314" y="556959"/>
                  </a:lnTo>
                  <a:lnTo>
                    <a:pt x="224042" y="558018"/>
                  </a:lnTo>
                  <a:lnTo>
                    <a:pt x="224466" y="558563"/>
                  </a:lnTo>
                  <a:lnTo>
                    <a:pt x="225464" y="558653"/>
                  </a:lnTo>
                  <a:lnTo>
                    <a:pt x="226613" y="558563"/>
                  </a:lnTo>
                  <a:lnTo>
                    <a:pt x="229396" y="558804"/>
                  </a:lnTo>
                  <a:lnTo>
                    <a:pt x="235749" y="558230"/>
                  </a:lnTo>
                  <a:lnTo>
                    <a:pt x="239591" y="556838"/>
                  </a:lnTo>
                  <a:lnTo>
                    <a:pt x="247184" y="555386"/>
                  </a:lnTo>
                  <a:lnTo>
                    <a:pt x="248848" y="554479"/>
                  </a:lnTo>
                  <a:lnTo>
                    <a:pt x="246942" y="552452"/>
                  </a:lnTo>
                  <a:lnTo>
                    <a:pt x="248455" y="550637"/>
                  </a:lnTo>
                  <a:lnTo>
                    <a:pt x="253749" y="548489"/>
                  </a:lnTo>
                  <a:lnTo>
                    <a:pt x="257924" y="547642"/>
                  </a:lnTo>
                  <a:lnTo>
                    <a:pt x="260193" y="546734"/>
                  </a:lnTo>
                  <a:lnTo>
                    <a:pt x="261282" y="545222"/>
                  </a:lnTo>
                  <a:lnTo>
                    <a:pt x="260071" y="544798"/>
                  </a:lnTo>
                  <a:lnTo>
                    <a:pt x="257107" y="542257"/>
                  </a:lnTo>
                  <a:lnTo>
                    <a:pt x="259225" y="542136"/>
                  </a:lnTo>
                  <a:lnTo>
                    <a:pt x="260919" y="541168"/>
                  </a:lnTo>
                  <a:lnTo>
                    <a:pt x="262371" y="539595"/>
                  </a:lnTo>
                  <a:lnTo>
                    <a:pt x="263702" y="537598"/>
                  </a:lnTo>
                  <a:lnTo>
                    <a:pt x="263944" y="536328"/>
                  </a:lnTo>
                  <a:lnTo>
                    <a:pt x="264065" y="532758"/>
                  </a:lnTo>
                  <a:lnTo>
                    <a:pt x="264186" y="532456"/>
                  </a:lnTo>
                  <a:lnTo>
                    <a:pt x="264397" y="532002"/>
                  </a:lnTo>
                  <a:lnTo>
                    <a:pt x="265547" y="532637"/>
                  </a:lnTo>
                  <a:lnTo>
                    <a:pt x="266001" y="534029"/>
                  </a:lnTo>
                  <a:lnTo>
                    <a:pt x="266182" y="535390"/>
                  </a:lnTo>
                  <a:lnTo>
                    <a:pt x="266485" y="535995"/>
                  </a:lnTo>
                  <a:lnTo>
                    <a:pt x="277164" y="537326"/>
                  </a:lnTo>
                  <a:lnTo>
                    <a:pt x="277738" y="536570"/>
                  </a:lnTo>
                  <a:lnTo>
                    <a:pt x="277738" y="535027"/>
                  </a:lnTo>
                  <a:lnTo>
                    <a:pt x="278555" y="532940"/>
                  </a:lnTo>
                  <a:lnTo>
                    <a:pt x="280642" y="531971"/>
                  </a:lnTo>
                  <a:lnTo>
                    <a:pt x="285967" y="532516"/>
                  </a:lnTo>
                  <a:lnTo>
                    <a:pt x="287873" y="531457"/>
                  </a:lnTo>
                  <a:lnTo>
                    <a:pt x="288689" y="530852"/>
                  </a:lnTo>
                  <a:lnTo>
                    <a:pt x="289688" y="530671"/>
                  </a:lnTo>
                  <a:lnTo>
                    <a:pt x="290535" y="530368"/>
                  </a:lnTo>
                  <a:lnTo>
                    <a:pt x="290898" y="529340"/>
                  </a:lnTo>
                  <a:lnTo>
                    <a:pt x="291291" y="524772"/>
                  </a:lnTo>
                  <a:lnTo>
                    <a:pt x="294467" y="522624"/>
                  </a:lnTo>
                  <a:lnTo>
                    <a:pt x="295042" y="520809"/>
                  </a:lnTo>
                  <a:lnTo>
                    <a:pt x="294891" y="520173"/>
                  </a:lnTo>
                  <a:lnTo>
                    <a:pt x="294165" y="520022"/>
                  </a:lnTo>
                  <a:lnTo>
                    <a:pt x="291170" y="518782"/>
                  </a:lnTo>
                  <a:lnTo>
                    <a:pt x="289325" y="518328"/>
                  </a:lnTo>
                  <a:lnTo>
                    <a:pt x="287782" y="518540"/>
                  </a:lnTo>
                  <a:lnTo>
                    <a:pt x="286814" y="519659"/>
                  </a:lnTo>
                  <a:lnTo>
                    <a:pt x="286421" y="517209"/>
                  </a:lnTo>
                  <a:lnTo>
                    <a:pt x="287631" y="515242"/>
                  </a:lnTo>
                  <a:lnTo>
                    <a:pt x="289536" y="513911"/>
                  </a:lnTo>
                  <a:lnTo>
                    <a:pt x="291291" y="513427"/>
                  </a:lnTo>
                  <a:lnTo>
                    <a:pt x="291624" y="513881"/>
                  </a:lnTo>
                  <a:lnTo>
                    <a:pt x="291926" y="514879"/>
                  </a:lnTo>
                  <a:lnTo>
                    <a:pt x="292350" y="515938"/>
                  </a:lnTo>
                  <a:lnTo>
                    <a:pt x="293046" y="516513"/>
                  </a:lnTo>
                  <a:lnTo>
                    <a:pt x="294044" y="516331"/>
                  </a:lnTo>
                  <a:lnTo>
                    <a:pt x="294588" y="515605"/>
                  </a:lnTo>
                  <a:lnTo>
                    <a:pt x="294951" y="514819"/>
                  </a:lnTo>
                  <a:lnTo>
                    <a:pt x="295435" y="514456"/>
                  </a:lnTo>
                  <a:lnTo>
                    <a:pt x="299187" y="513670"/>
                  </a:lnTo>
                  <a:lnTo>
                    <a:pt x="306114" y="510221"/>
                  </a:lnTo>
                  <a:lnTo>
                    <a:pt x="325415" y="508285"/>
                  </a:lnTo>
                  <a:lnTo>
                    <a:pt x="329226" y="509132"/>
                  </a:lnTo>
                  <a:lnTo>
                    <a:pt x="331102" y="509132"/>
                  </a:lnTo>
                  <a:lnTo>
                    <a:pt x="333098" y="508285"/>
                  </a:lnTo>
                  <a:lnTo>
                    <a:pt x="333764" y="507498"/>
                  </a:lnTo>
                  <a:lnTo>
                    <a:pt x="334218" y="506470"/>
                  </a:lnTo>
                  <a:lnTo>
                    <a:pt x="334883" y="505592"/>
                  </a:lnTo>
                  <a:lnTo>
                    <a:pt x="336124" y="505199"/>
                  </a:lnTo>
                  <a:lnTo>
                    <a:pt x="336940" y="505350"/>
                  </a:lnTo>
                  <a:lnTo>
                    <a:pt x="338241" y="506046"/>
                  </a:lnTo>
                  <a:lnTo>
                    <a:pt x="339300" y="506227"/>
                  </a:lnTo>
                  <a:lnTo>
                    <a:pt x="338937" y="505562"/>
                  </a:lnTo>
                  <a:lnTo>
                    <a:pt x="338725" y="505048"/>
                  </a:lnTo>
                  <a:lnTo>
                    <a:pt x="338453" y="504594"/>
                  </a:lnTo>
                  <a:lnTo>
                    <a:pt x="337878" y="504171"/>
                  </a:lnTo>
                  <a:lnTo>
                    <a:pt x="337878" y="503233"/>
                  </a:lnTo>
                  <a:lnTo>
                    <a:pt x="339270" y="503082"/>
                  </a:lnTo>
                  <a:lnTo>
                    <a:pt x="340540" y="503263"/>
                  </a:lnTo>
                  <a:lnTo>
                    <a:pt x="342749" y="504171"/>
                  </a:lnTo>
                  <a:lnTo>
                    <a:pt x="339905" y="507710"/>
                  </a:lnTo>
                  <a:lnTo>
                    <a:pt x="339300" y="509404"/>
                  </a:lnTo>
                  <a:lnTo>
                    <a:pt x="341448" y="508890"/>
                  </a:lnTo>
                  <a:lnTo>
                    <a:pt x="345986" y="508768"/>
                  </a:lnTo>
                  <a:lnTo>
                    <a:pt x="348224" y="508285"/>
                  </a:lnTo>
                  <a:lnTo>
                    <a:pt x="349979" y="507044"/>
                  </a:lnTo>
                  <a:lnTo>
                    <a:pt x="352883" y="503323"/>
                  </a:lnTo>
                  <a:lnTo>
                    <a:pt x="354486" y="502113"/>
                  </a:lnTo>
                  <a:lnTo>
                    <a:pt x="354486" y="501085"/>
                  </a:lnTo>
                  <a:lnTo>
                    <a:pt x="351975" y="501085"/>
                  </a:lnTo>
                  <a:lnTo>
                    <a:pt x="351733" y="499663"/>
                  </a:lnTo>
                  <a:lnTo>
                    <a:pt x="353034" y="495942"/>
                  </a:lnTo>
                  <a:lnTo>
                    <a:pt x="352671" y="494460"/>
                  </a:lnTo>
                  <a:lnTo>
                    <a:pt x="351280" y="491949"/>
                  </a:lnTo>
                  <a:lnTo>
                    <a:pt x="350977" y="491223"/>
                  </a:lnTo>
                  <a:lnTo>
                    <a:pt x="350917" y="489710"/>
                  </a:lnTo>
                  <a:lnTo>
                    <a:pt x="350796" y="488924"/>
                  </a:lnTo>
                  <a:lnTo>
                    <a:pt x="350523" y="487290"/>
                  </a:lnTo>
                  <a:lnTo>
                    <a:pt x="350221" y="485536"/>
                  </a:lnTo>
                  <a:lnTo>
                    <a:pt x="351491" y="487139"/>
                  </a:lnTo>
                  <a:lnTo>
                    <a:pt x="352974" y="491858"/>
                  </a:lnTo>
                  <a:lnTo>
                    <a:pt x="354123" y="492857"/>
                  </a:lnTo>
                  <a:lnTo>
                    <a:pt x="355182" y="493401"/>
                  </a:lnTo>
                  <a:lnTo>
                    <a:pt x="356362" y="494641"/>
                  </a:lnTo>
                  <a:lnTo>
                    <a:pt x="357360" y="496033"/>
                  </a:lnTo>
                  <a:lnTo>
                    <a:pt x="357935" y="497091"/>
                  </a:lnTo>
                  <a:lnTo>
                    <a:pt x="359659" y="503202"/>
                  </a:lnTo>
                  <a:lnTo>
                    <a:pt x="359659" y="504685"/>
                  </a:lnTo>
                  <a:lnTo>
                    <a:pt x="358510" y="505804"/>
                  </a:lnTo>
                  <a:lnTo>
                    <a:pt x="357239" y="506560"/>
                  </a:lnTo>
                  <a:lnTo>
                    <a:pt x="356029" y="507559"/>
                  </a:lnTo>
                  <a:lnTo>
                    <a:pt x="355122" y="509404"/>
                  </a:lnTo>
                  <a:lnTo>
                    <a:pt x="356816" y="510342"/>
                  </a:lnTo>
                  <a:lnTo>
                    <a:pt x="358177" y="509102"/>
                  </a:lnTo>
                  <a:lnTo>
                    <a:pt x="359326" y="507226"/>
                  </a:lnTo>
                  <a:lnTo>
                    <a:pt x="360355" y="506258"/>
                  </a:lnTo>
                  <a:lnTo>
                    <a:pt x="367615" y="502144"/>
                  </a:lnTo>
                  <a:lnTo>
                    <a:pt x="366859" y="501115"/>
                  </a:lnTo>
                  <a:lnTo>
                    <a:pt x="367192" y="501115"/>
                  </a:lnTo>
                  <a:lnTo>
                    <a:pt x="367888" y="501176"/>
                  </a:lnTo>
                  <a:lnTo>
                    <a:pt x="368220" y="501115"/>
                  </a:lnTo>
                  <a:lnTo>
                    <a:pt x="368220" y="499996"/>
                  </a:lnTo>
                  <a:lnTo>
                    <a:pt x="367525" y="500056"/>
                  </a:lnTo>
                  <a:lnTo>
                    <a:pt x="366829" y="499996"/>
                  </a:lnTo>
                  <a:lnTo>
                    <a:pt x="367555" y="499028"/>
                  </a:lnTo>
                  <a:lnTo>
                    <a:pt x="367857" y="498151"/>
                  </a:lnTo>
                  <a:lnTo>
                    <a:pt x="368190" y="495942"/>
                  </a:lnTo>
                  <a:lnTo>
                    <a:pt x="367555" y="495942"/>
                  </a:lnTo>
                  <a:lnTo>
                    <a:pt x="367222" y="496365"/>
                  </a:lnTo>
                  <a:lnTo>
                    <a:pt x="366133" y="497091"/>
                  </a:lnTo>
                  <a:lnTo>
                    <a:pt x="366405" y="495972"/>
                  </a:lnTo>
                  <a:lnTo>
                    <a:pt x="366405" y="495488"/>
                  </a:lnTo>
                  <a:lnTo>
                    <a:pt x="366254" y="495004"/>
                  </a:lnTo>
                  <a:lnTo>
                    <a:pt x="366133" y="493794"/>
                  </a:lnTo>
                  <a:lnTo>
                    <a:pt x="366829" y="492857"/>
                  </a:lnTo>
                  <a:lnTo>
                    <a:pt x="368795" y="493673"/>
                  </a:lnTo>
                  <a:lnTo>
                    <a:pt x="370792" y="492917"/>
                  </a:lnTo>
                  <a:lnTo>
                    <a:pt x="372516" y="491344"/>
                  </a:lnTo>
                  <a:lnTo>
                    <a:pt x="373726" y="489771"/>
                  </a:lnTo>
                  <a:lnTo>
                    <a:pt x="373545" y="492100"/>
                  </a:lnTo>
                  <a:lnTo>
                    <a:pt x="372516" y="493976"/>
                  </a:lnTo>
                  <a:lnTo>
                    <a:pt x="371064" y="495307"/>
                  </a:lnTo>
                  <a:lnTo>
                    <a:pt x="369551" y="495912"/>
                  </a:lnTo>
                  <a:lnTo>
                    <a:pt x="369551" y="497061"/>
                  </a:lnTo>
                  <a:lnTo>
                    <a:pt x="371488" y="497485"/>
                  </a:lnTo>
                  <a:lnTo>
                    <a:pt x="378597" y="496487"/>
                  </a:lnTo>
                  <a:lnTo>
                    <a:pt x="386069" y="498574"/>
                  </a:lnTo>
                  <a:lnTo>
                    <a:pt x="387914" y="499481"/>
                  </a:lnTo>
                  <a:lnTo>
                    <a:pt x="390516" y="502053"/>
                  </a:lnTo>
                  <a:lnTo>
                    <a:pt x="392270" y="502265"/>
                  </a:lnTo>
                  <a:lnTo>
                    <a:pt x="396536" y="499935"/>
                  </a:lnTo>
                  <a:lnTo>
                    <a:pt x="401346" y="498997"/>
                  </a:lnTo>
                  <a:lnTo>
                    <a:pt x="403070" y="497908"/>
                  </a:lnTo>
                  <a:lnTo>
                    <a:pt x="404099" y="497908"/>
                  </a:lnTo>
                  <a:lnTo>
                    <a:pt x="405460" y="498997"/>
                  </a:lnTo>
                  <a:lnTo>
                    <a:pt x="403403" y="498997"/>
                  </a:lnTo>
                  <a:lnTo>
                    <a:pt x="403403" y="499935"/>
                  </a:lnTo>
                  <a:lnTo>
                    <a:pt x="407789" y="499935"/>
                  </a:lnTo>
                  <a:lnTo>
                    <a:pt x="408092" y="499754"/>
                  </a:lnTo>
                  <a:lnTo>
                    <a:pt x="408273" y="499481"/>
                  </a:lnTo>
                  <a:lnTo>
                    <a:pt x="409483" y="498514"/>
                  </a:lnTo>
                  <a:lnTo>
                    <a:pt x="410361" y="497364"/>
                  </a:lnTo>
                  <a:lnTo>
                    <a:pt x="410966" y="497091"/>
                  </a:lnTo>
                  <a:lnTo>
                    <a:pt x="412145" y="497213"/>
                  </a:lnTo>
                  <a:lnTo>
                    <a:pt x="412266" y="497878"/>
                  </a:lnTo>
                  <a:lnTo>
                    <a:pt x="411359" y="499723"/>
                  </a:lnTo>
                  <a:lnTo>
                    <a:pt x="410633" y="500419"/>
                  </a:lnTo>
                  <a:lnTo>
                    <a:pt x="410421" y="501206"/>
                  </a:lnTo>
                  <a:lnTo>
                    <a:pt x="411722" y="502113"/>
                  </a:lnTo>
                  <a:lnTo>
                    <a:pt x="412690" y="502295"/>
                  </a:lnTo>
                  <a:lnTo>
                    <a:pt x="413416" y="502022"/>
                  </a:lnTo>
                  <a:lnTo>
                    <a:pt x="414414" y="501085"/>
                  </a:lnTo>
                  <a:lnTo>
                    <a:pt x="415715" y="499421"/>
                  </a:lnTo>
                  <a:lnTo>
                    <a:pt x="418589" y="492857"/>
                  </a:lnTo>
                  <a:lnTo>
                    <a:pt x="413416" y="488046"/>
                  </a:lnTo>
                  <a:lnTo>
                    <a:pt x="411389" y="484567"/>
                  </a:lnTo>
                  <a:lnTo>
                    <a:pt x="413083" y="481421"/>
                  </a:lnTo>
                  <a:lnTo>
                    <a:pt x="413083" y="480483"/>
                  </a:lnTo>
                  <a:lnTo>
                    <a:pt x="410693" y="484204"/>
                  </a:lnTo>
                  <a:lnTo>
                    <a:pt x="409453" y="485536"/>
                  </a:lnTo>
                  <a:lnTo>
                    <a:pt x="408909" y="483962"/>
                  </a:lnTo>
                  <a:lnTo>
                    <a:pt x="408001" y="482722"/>
                  </a:lnTo>
                  <a:lnTo>
                    <a:pt x="404855" y="482057"/>
                  </a:lnTo>
                  <a:lnTo>
                    <a:pt x="405490" y="480483"/>
                  </a:lnTo>
                  <a:lnTo>
                    <a:pt x="404734" y="478487"/>
                  </a:lnTo>
                  <a:lnTo>
                    <a:pt x="403584" y="476823"/>
                  </a:lnTo>
                  <a:lnTo>
                    <a:pt x="402193" y="475643"/>
                  </a:lnTo>
                  <a:lnTo>
                    <a:pt x="400680" y="475129"/>
                  </a:lnTo>
                  <a:lnTo>
                    <a:pt x="400680" y="474191"/>
                  </a:lnTo>
                  <a:lnTo>
                    <a:pt x="401467" y="473465"/>
                  </a:lnTo>
                  <a:lnTo>
                    <a:pt x="402284" y="472860"/>
                  </a:lnTo>
                  <a:lnTo>
                    <a:pt x="403161" y="472437"/>
                  </a:lnTo>
                  <a:lnTo>
                    <a:pt x="404068" y="472134"/>
                  </a:lnTo>
                  <a:lnTo>
                    <a:pt x="403494" y="474857"/>
                  </a:lnTo>
                  <a:lnTo>
                    <a:pt x="405581" y="475462"/>
                  </a:lnTo>
                  <a:lnTo>
                    <a:pt x="411419" y="475008"/>
                  </a:lnTo>
                  <a:lnTo>
                    <a:pt x="412327" y="475341"/>
                  </a:lnTo>
                  <a:lnTo>
                    <a:pt x="413114" y="476067"/>
                  </a:lnTo>
                  <a:lnTo>
                    <a:pt x="413809" y="477216"/>
                  </a:lnTo>
                  <a:lnTo>
                    <a:pt x="413991" y="475189"/>
                  </a:lnTo>
                  <a:lnTo>
                    <a:pt x="413809" y="472558"/>
                  </a:lnTo>
                  <a:lnTo>
                    <a:pt x="413870" y="469805"/>
                  </a:lnTo>
                  <a:lnTo>
                    <a:pt x="414808" y="467445"/>
                  </a:lnTo>
                  <a:lnTo>
                    <a:pt x="417107" y="463543"/>
                  </a:lnTo>
                  <a:lnTo>
                    <a:pt x="418680" y="461546"/>
                  </a:lnTo>
                  <a:lnTo>
                    <a:pt x="420374" y="460669"/>
                  </a:lnTo>
                  <a:lnTo>
                    <a:pt x="422189" y="458642"/>
                  </a:lnTo>
                  <a:lnTo>
                    <a:pt x="428300" y="449325"/>
                  </a:lnTo>
                  <a:lnTo>
                    <a:pt x="429631" y="446693"/>
                  </a:lnTo>
                  <a:lnTo>
                    <a:pt x="429903" y="440219"/>
                  </a:lnTo>
                  <a:lnTo>
                    <a:pt x="429631" y="437890"/>
                  </a:lnTo>
                  <a:lnTo>
                    <a:pt x="428602" y="433594"/>
                  </a:lnTo>
                  <a:lnTo>
                    <a:pt x="428481" y="431295"/>
                  </a:lnTo>
                  <a:lnTo>
                    <a:pt x="429026" y="428451"/>
                  </a:lnTo>
                  <a:lnTo>
                    <a:pt x="433745" y="420707"/>
                  </a:lnTo>
                  <a:lnTo>
                    <a:pt x="435500" y="416925"/>
                  </a:lnTo>
                  <a:lnTo>
                    <a:pt x="435802" y="416229"/>
                  </a:lnTo>
                  <a:lnTo>
                    <a:pt x="435197" y="412841"/>
                  </a:lnTo>
                  <a:lnTo>
                    <a:pt x="437587" y="405551"/>
                  </a:lnTo>
                  <a:lnTo>
                    <a:pt x="438706" y="403342"/>
                  </a:lnTo>
                  <a:lnTo>
                    <a:pt x="439886" y="401890"/>
                  </a:lnTo>
                  <a:lnTo>
                    <a:pt x="444182" y="398109"/>
                  </a:lnTo>
                  <a:lnTo>
                    <a:pt x="443425" y="396990"/>
                  </a:lnTo>
                  <a:lnTo>
                    <a:pt x="446844" y="389669"/>
                  </a:lnTo>
                  <a:lnTo>
                    <a:pt x="447963" y="388610"/>
                  </a:lnTo>
                  <a:lnTo>
                    <a:pt x="448477" y="387975"/>
                  </a:lnTo>
                  <a:lnTo>
                    <a:pt x="449476" y="385101"/>
                  </a:lnTo>
                  <a:lnTo>
                    <a:pt x="450020" y="384435"/>
                  </a:lnTo>
                  <a:lnTo>
                    <a:pt x="451321" y="383921"/>
                  </a:lnTo>
                  <a:lnTo>
                    <a:pt x="451019" y="382771"/>
                  </a:lnTo>
                  <a:close/>
                </a:path>
              </a:pathLst>
            </a:custGeom>
            <a:solidFill>
              <a:srgbClr val="96A3AC"/>
            </a:solidFill>
            <a:ln w="3175" cap="rnd">
              <a:solidFill>
                <a:schemeClr val="bg1"/>
              </a:solidFill>
              <a:prstDash val="solid"/>
              <a:round/>
            </a:ln>
          </p:spPr>
          <p:txBody>
            <a:bodyPr rtlCol="0" anchor="ctr"/>
            <a:lstStyle/>
            <a:p>
              <a:endParaRPr lang="en-ID"/>
            </a:p>
          </p:txBody>
        </p:sp>
        <p:sp>
          <p:nvSpPr>
            <p:cNvPr id="45" name="Freeform: Shape 44">
              <a:extLst>
                <a:ext uri="{FF2B5EF4-FFF2-40B4-BE49-F238E27FC236}">
                  <a16:creationId xmlns:a16="http://schemas.microsoft.com/office/drawing/2014/main" id="{474E0B9F-B438-3B13-4284-94DBA01FF0B3}"/>
                </a:ext>
              </a:extLst>
            </p:cNvPr>
            <p:cNvSpPr/>
            <p:nvPr/>
          </p:nvSpPr>
          <p:spPr>
            <a:xfrm>
              <a:off x="6567376" y="1330787"/>
              <a:ext cx="863108" cy="539318"/>
            </a:xfrm>
            <a:custGeom>
              <a:avLst/>
              <a:gdLst>
                <a:gd name="connsiteX0" fmla="*/ 430720 w 1110409"/>
                <a:gd name="connsiteY0" fmla="*/ 683773 h 693846"/>
                <a:gd name="connsiteX1" fmla="*/ 431204 w 1110409"/>
                <a:gd name="connsiteY1" fmla="*/ 682745 h 693846"/>
                <a:gd name="connsiteX2" fmla="*/ 431022 w 1110409"/>
                <a:gd name="connsiteY2" fmla="*/ 682382 h 693846"/>
                <a:gd name="connsiteX3" fmla="*/ 428633 w 1110409"/>
                <a:gd name="connsiteY3" fmla="*/ 682533 h 693846"/>
                <a:gd name="connsiteX4" fmla="*/ 426636 w 1110409"/>
                <a:gd name="connsiteY4" fmla="*/ 683501 h 693846"/>
                <a:gd name="connsiteX5" fmla="*/ 426334 w 1110409"/>
                <a:gd name="connsiteY5" fmla="*/ 685830 h 693846"/>
                <a:gd name="connsiteX6" fmla="*/ 427090 w 1110409"/>
                <a:gd name="connsiteY6" fmla="*/ 688250 h 693846"/>
                <a:gd name="connsiteX7" fmla="*/ 427755 w 1110409"/>
                <a:gd name="connsiteY7" fmla="*/ 689854 h 693846"/>
                <a:gd name="connsiteX8" fmla="*/ 428239 w 1110409"/>
                <a:gd name="connsiteY8" fmla="*/ 691699 h 693846"/>
                <a:gd name="connsiteX9" fmla="*/ 428965 w 1110409"/>
                <a:gd name="connsiteY9" fmla="*/ 692455 h 693846"/>
                <a:gd name="connsiteX10" fmla="*/ 429964 w 1110409"/>
                <a:gd name="connsiteY10" fmla="*/ 691124 h 693846"/>
                <a:gd name="connsiteX11" fmla="*/ 430932 w 1110409"/>
                <a:gd name="connsiteY11" fmla="*/ 689158 h 693846"/>
                <a:gd name="connsiteX12" fmla="*/ 431688 w 1110409"/>
                <a:gd name="connsiteY12" fmla="*/ 686919 h 693846"/>
                <a:gd name="connsiteX13" fmla="*/ 431143 w 1110409"/>
                <a:gd name="connsiteY13" fmla="*/ 684560 h 693846"/>
                <a:gd name="connsiteX14" fmla="*/ 430750 w 1110409"/>
                <a:gd name="connsiteY14" fmla="*/ 683803 h 693846"/>
                <a:gd name="connsiteX15" fmla="*/ 683350 w 1110409"/>
                <a:gd name="connsiteY15" fmla="*/ 626991 h 693846"/>
                <a:gd name="connsiteX16" fmla="*/ 681898 w 1110409"/>
                <a:gd name="connsiteY16" fmla="*/ 626719 h 693846"/>
                <a:gd name="connsiteX17" fmla="*/ 681141 w 1110409"/>
                <a:gd name="connsiteY17" fmla="*/ 626931 h 693846"/>
                <a:gd name="connsiteX18" fmla="*/ 679417 w 1110409"/>
                <a:gd name="connsiteY18" fmla="*/ 627959 h 693846"/>
                <a:gd name="connsiteX19" fmla="*/ 676331 w 1110409"/>
                <a:gd name="connsiteY19" fmla="*/ 630773 h 693846"/>
                <a:gd name="connsiteX20" fmla="*/ 676089 w 1110409"/>
                <a:gd name="connsiteY20" fmla="*/ 632497 h 693846"/>
                <a:gd name="connsiteX21" fmla="*/ 680476 w 1110409"/>
                <a:gd name="connsiteY21" fmla="*/ 631075 h 693846"/>
                <a:gd name="connsiteX22" fmla="*/ 681565 w 1110409"/>
                <a:gd name="connsiteY22" fmla="*/ 630924 h 693846"/>
                <a:gd name="connsiteX23" fmla="*/ 682412 w 1110409"/>
                <a:gd name="connsiteY23" fmla="*/ 631529 h 693846"/>
                <a:gd name="connsiteX24" fmla="*/ 682563 w 1110409"/>
                <a:gd name="connsiteY24" fmla="*/ 632739 h 693846"/>
                <a:gd name="connsiteX25" fmla="*/ 682049 w 1110409"/>
                <a:gd name="connsiteY25" fmla="*/ 633858 h 693846"/>
                <a:gd name="connsiteX26" fmla="*/ 681353 w 1110409"/>
                <a:gd name="connsiteY26" fmla="*/ 634736 h 693846"/>
                <a:gd name="connsiteX27" fmla="*/ 681958 w 1110409"/>
                <a:gd name="connsiteY27" fmla="*/ 634494 h 693846"/>
                <a:gd name="connsiteX28" fmla="*/ 683531 w 1110409"/>
                <a:gd name="connsiteY28" fmla="*/ 632406 h 693846"/>
                <a:gd name="connsiteX29" fmla="*/ 684136 w 1110409"/>
                <a:gd name="connsiteY29" fmla="*/ 630047 h 693846"/>
                <a:gd name="connsiteX30" fmla="*/ 684076 w 1110409"/>
                <a:gd name="connsiteY30" fmla="*/ 628292 h 693846"/>
                <a:gd name="connsiteX31" fmla="*/ 683319 w 1110409"/>
                <a:gd name="connsiteY31" fmla="*/ 626991 h 693846"/>
                <a:gd name="connsiteX32" fmla="*/ 618188 w 1110409"/>
                <a:gd name="connsiteY32" fmla="*/ 130414 h 693846"/>
                <a:gd name="connsiteX33" fmla="*/ 618400 w 1110409"/>
                <a:gd name="connsiteY33" fmla="*/ 132169 h 693846"/>
                <a:gd name="connsiteX34" fmla="*/ 619005 w 1110409"/>
                <a:gd name="connsiteY34" fmla="*/ 133530 h 693846"/>
                <a:gd name="connsiteX35" fmla="*/ 619882 w 1110409"/>
                <a:gd name="connsiteY35" fmla="*/ 134407 h 693846"/>
                <a:gd name="connsiteX36" fmla="*/ 621092 w 1110409"/>
                <a:gd name="connsiteY36" fmla="*/ 134770 h 693846"/>
                <a:gd name="connsiteX37" fmla="*/ 622423 w 1110409"/>
                <a:gd name="connsiteY37" fmla="*/ 133953 h 693846"/>
                <a:gd name="connsiteX38" fmla="*/ 622423 w 1110409"/>
                <a:gd name="connsiteY38" fmla="*/ 131321 h 693846"/>
                <a:gd name="connsiteX39" fmla="*/ 620941 w 1110409"/>
                <a:gd name="connsiteY39" fmla="*/ 128296 h 693846"/>
                <a:gd name="connsiteX40" fmla="*/ 620033 w 1110409"/>
                <a:gd name="connsiteY40" fmla="*/ 127026 h 693846"/>
                <a:gd name="connsiteX41" fmla="*/ 619126 w 1110409"/>
                <a:gd name="connsiteY41" fmla="*/ 125574 h 693846"/>
                <a:gd name="connsiteX42" fmla="*/ 617190 w 1110409"/>
                <a:gd name="connsiteY42" fmla="*/ 123547 h 693846"/>
                <a:gd name="connsiteX43" fmla="*/ 616585 w 1110409"/>
                <a:gd name="connsiteY43" fmla="*/ 124394 h 693846"/>
                <a:gd name="connsiteX44" fmla="*/ 617583 w 1110409"/>
                <a:gd name="connsiteY44" fmla="*/ 127631 h 693846"/>
                <a:gd name="connsiteX45" fmla="*/ 618158 w 1110409"/>
                <a:gd name="connsiteY45" fmla="*/ 130414 h 693846"/>
                <a:gd name="connsiteX46" fmla="*/ 1110318 w 1110409"/>
                <a:gd name="connsiteY46" fmla="*/ 332978 h 693846"/>
                <a:gd name="connsiteX47" fmla="*/ 1108443 w 1110409"/>
                <a:gd name="connsiteY47" fmla="*/ 331707 h 693846"/>
                <a:gd name="connsiteX48" fmla="*/ 1108443 w 1110409"/>
                <a:gd name="connsiteY48" fmla="*/ 330073 h 693846"/>
                <a:gd name="connsiteX49" fmla="*/ 1109048 w 1110409"/>
                <a:gd name="connsiteY49" fmla="*/ 327442 h 693846"/>
                <a:gd name="connsiteX50" fmla="*/ 1109381 w 1110409"/>
                <a:gd name="connsiteY50" fmla="*/ 322964 h 693846"/>
                <a:gd name="connsiteX51" fmla="*/ 1109381 w 1110409"/>
                <a:gd name="connsiteY51" fmla="*/ 318275 h 693846"/>
                <a:gd name="connsiteX52" fmla="*/ 1109139 w 1110409"/>
                <a:gd name="connsiteY52" fmla="*/ 315069 h 693846"/>
                <a:gd name="connsiteX53" fmla="*/ 1105024 w 1110409"/>
                <a:gd name="connsiteY53" fmla="*/ 319576 h 693846"/>
                <a:gd name="connsiteX54" fmla="*/ 1102090 w 1110409"/>
                <a:gd name="connsiteY54" fmla="*/ 324870 h 693846"/>
                <a:gd name="connsiteX55" fmla="*/ 1101878 w 1110409"/>
                <a:gd name="connsiteY55" fmla="*/ 325747 h 693846"/>
                <a:gd name="connsiteX56" fmla="*/ 1101031 w 1110409"/>
                <a:gd name="connsiteY56" fmla="*/ 326413 h 693846"/>
                <a:gd name="connsiteX57" fmla="*/ 1099428 w 1110409"/>
                <a:gd name="connsiteY57" fmla="*/ 329438 h 693846"/>
                <a:gd name="connsiteX58" fmla="*/ 1098430 w 1110409"/>
                <a:gd name="connsiteY58" fmla="*/ 330104 h 693846"/>
                <a:gd name="connsiteX59" fmla="*/ 1098006 w 1110409"/>
                <a:gd name="connsiteY59" fmla="*/ 329680 h 693846"/>
                <a:gd name="connsiteX60" fmla="*/ 1097431 w 1110409"/>
                <a:gd name="connsiteY60" fmla="*/ 328712 h 693846"/>
                <a:gd name="connsiteX61" fmla="*/ 1096645 w 1110409"/>
                <a:gd name="connsiteY61" fmla="*/ 327714 h 693846"/>
                <a:gd name="connsiteX62" fmla="*/ 1095646 w 1110409"/>
                <a:gd name="connsiteY62" fmla="*/ 327260 h 693846"/>
                <a:gd name="connsiteX63" fmla="*/ 1092531 w 1110409"/>
                <a:gd name="connsiteY63" fmla="*/ 327260 h 693846"/>
                <a:gd name="connsiteX64" fmla="*/ 1093287 w 1110409"/>
                <a:gd name="connsiteY64" fmla="*/ 325929 h 693846"/>
                <a:gd name="connsiteX65" fmla="*/ 1094104 w 1110409"/>
                <a:gd name="connsiteY65" fmla="*/ 324961 h 693846"/>
                <a:gd name="connsiteX66" fmla="*/ 1094981 w 1110409"/>
                <a:gd name="connsiteY66" fmla="*/ 324356 h 693846"/>
                <a:gd name="connsiteX67" fmla="*/ 1095949 w 1110409"/>
                <a:gd name="connsiteY67" fmla="*/ 324114 h 693846"/>
                <a:gd name="connsiteX68" fmla="*/ 1095949 w 1110409"/>
                <a:gd name="connsiteY68" fmla="*/ 322753 h 693846"/>
                <a:gd name="connsiteX69" fmla="*/ 1094134 w 1110409"/>
                <a:gd name="connsiteY69" fmla="*/ 321240 h 693846"/>
                <a:gd name="connsiteX70" fmla="*/ 1086359 w 1110409"/>
                <a:gd name="connsiteY70" fmla="*/ 322753 h 693846"/>
                <a:gd name="connsiteX71" fmla="*/ 1086359 w 1110409"/>
                <a:gd name="connsiteY71" fmla="*/ 321119 h 693846"/>
                <a:gd name="connsiteX72" fmla="*/ 1089536 w 1110409"/>
                <a:gd name="connsiteY72" fmla="*/ 319939 h 693846"/>
                <a:gd name="connsiteX73" fmla="*/ 1092924 w 1110409"/>
                <a:gd name="connsiteY73" fmla="*/ 319637 h 693846"/>
                <a:gd name="connsiteX74" fmla="*/ 1096736 w 1110409"/>
                <a:gd name="connsiteY74" fmla="*/ 318003 h 693846"/>
                <a:gd name="connsiteX75" fmla="*/ 1097250 w 1110409"/>
                <a:gd name="connsiteY75" fmla="*/ 317005 h 693846"/>
                <a:gd name="connsiteX76" fmla="*/ 1097250 w 1110409"/>
                <a:gd name="connsiteY76" fmla="*/ 316158 h 693846"/>
                <a:gd name="connsiteX77" fmla="*/ 1097159 w 1110409"/>
                <a:gd name="connsiteY77" fmla="*/ 315159 h 693846"/>
                <a:gd name="connsiteX78" fmla="*/ 1097431 w 1110409"/>
                <a:gd name="connsiteY78" fmla="*/ 313768 h 693846"/>
                <a:gd name="connsiteX79" fmla="*/ 1098974 w 1110409"/>
                <a:gd name="connsiteY79" fmla="*/ 311348 h 693846"/>
                <a:gd name="connsiteX80" fmla="*/ 1099458 w 1110409"/>
                <a:gd name="connsiteY80" fmla="*/ 309744 h 693846"/>
                <a:gd name="connsiteX81" fmla="*/ 1098460 w 1110409"/>
                <a:gd name="connsiteY81" fmla="*/ 308988 h 693846"/>
                <a:gd name="connsiteX82" fmla="*/ 1094678 w 1110409"/>
                <a:gd name="connsiteY82" fmla="*/ 308988 h 693846"/>
                <a:gd name="connsiteX83" fmla="*/ 1087751 w 1110409"/>
                <a:gd name="connsiteY83" fmla="*/ 310622 h 693846"/>
                <a:gd name="connsiteX84" fmla="*/ 1072262 w 1110409"/>
                <a:gd name="connsiteY84" fmla="*/ 308988 h 693846"/>
                <a:gd name="connsiteX85" fmla="*/ 1060555 w 1110409"/>
                <a:gd name="connsiteY85" fmla="*/ 311287 h 693846"/>
                <a:gd name="connsiteX86" fmla="*/ 1057469 w 1110409"/>
                <a:gd name="connsiteY86" fmla="*/ 308988 h 693846"/>
                <a:gd name="connsiteX87" fmla="*/ 1063641 w 1110409"/>
                <a:gd name="connsiteY87" fmla="*/ 308988 h 693846"/>
                <a:gd name="connsiteX88" fmla="*/ 1069479 w 1110409"/>
                <a:gd name="connsiteY88" fmla="*/ 307627 h 693846"/>
                <a:gd name="connsiteX89" fmla="*/ 1082941 w 1110409"/>
                <a:gd name="connsiteY89" fmla="*/ 307627 h 693846"/>
                <a:gd name="connsiteX90" fmla="*/ 1095677 w 1110409"/>
                <a:gd name="connsiteY90" fmla="*/ 304632 h 693846"/>
                <a:gd name="connsiteX91" fmla="*/ 1097855 w 1110409"/>
                <a:gd name="connsiteY91" fmla="*/ 303331 h 693846"/>
                <a:gd name="connsiteX92" fmla="*/ 1101939 w 1110409"/>
                <a:gd name="connsiteY92" fmla="*/ 297341 h 693846"/>
                <a:gd name="connsiteX93" fmla="*/ 1104329 w 1110409"/>
                <a:gd name="connsiteY93" fmla="*/ 295587 h 693846"/>
                <a:gd name="connsiteX94" fmla="*/ 1103814 w 1110409"/>
                <a:gd name="connsiteY94" fmla="*/ 294346 h 693846"/>
                <a:gd name="connsiteX95" fmla="*/ 1102877 w 1110409"/>
                <a:gd name="connsiteY95" fmla="*/ 292047 h 693846"/>
                <a:gd name="connsiteX96" fmla="*/ 1100305 w 1110409"/>
                <a:gd name="connsiteY96" fmla="*/ 289446 h 693846"/>
                <a:gd name="connsiteX97" fmla="*/ 1095314 w 1110409"/>
                <a:gd name="connsiteY97" fmla="*/ 286360 h 693846"/>
                <a:gd name="connsiteX98" fmla="*/ 1092258 w 1110409"/>
                <a:gd name="connsiteY98" fmla="*/ 285513 h 693846"/>
                <a:gd name="connsiteX99" fmla="*/ 1082548 w 1110409"/>
                <a:gd name="connsiteY99" fmla="*/ 287873 h 693846"/>
                <a:gd name="connsiteX100" fmla="*/ 1077677 w 1110409"/>
                <a:gd name="connsiteY100" fmla="*/ 287449 h 693846"/>
                <a:gd name="connsiteX101" fmla="*/ 1061735 w 1110409"/>
                <a:gd name="connsiteY101" fmla="*/ 292955 h 693846"/>
                <a:gd name="connsiteX102" fmla="*/ 1060162 w 1110409"/>
                <a:gd name="connsiteY102" fmla="*/ 290898 h 693846"/>
                <a:gd name="connsiteX103" fmla="*/ 1062733 w 1110409"/>
                <a:gd name="connsiteY103" fmla="*/ 289325 h 693846"/>
                <a:gd name="connsiteX104" fmla="*/ 1071143 w 1110409"/>
                <a:gd name="connsiteY104" fmla="*/ 287873 h 693846"/>
                <a:gd name="connsiteX105" fmla="*/ 1075378 w 1110409"/>
                <a:gd name="connsiteY105" fmla="*/ 285422 h 693846"/>
                <a:gd name="connsiteX106" fmla="*/ 1077496 w 1110409"/>
                <a:gd name="connsiteY106" fmla="*/ 284787 h 693846"/>
                <a:gd name="connsiteX107" fmla="*/ 1082517 w 1110409"/>
                <a:gd name="connsiteY107" fmla="*/ 284787 h 693846"/>
                <a:gd name="connsiteX108" fmla="*/ 1085724 w 1110409"/>
                <a:gd name="connsiteY108" fmla="*/ 283395 h 693846"/>
                <a:gd name="connsiteX109" fmla="*/ 1088023 w 1110409"/>
                <a:gd name="connsiteY109" fmla="*/ 280915 h 693846"/>
                <a:gd name="connsiteX110" fmla="*/ 1087690 w 1110409"/>
                <a:gd name="connsiteY110" fmla="*/ 277285 h 693846"/>
                <a:gd name="connsiteX111" fmla="*/ 1079855 w 1110409"/>
                <a:gd name="connsiteY111" fmla="*/ 274713 h 693846"/>
                <a:gd name="connsiteX112" fmla="*/ 1077375 w 1110409"/>
                <a:gd name="connsiteY112" fmla="*/ 272717 h 693846"/>
                <a:gd name="connsiteX113" fmla="*/ 1081368 w 1110409"/>
                <a:gd name="connsiteY113" fmla="*/ 270690 h 693846"/>
                <a:gd name="connsiteX114" fmla="*/ 1090534 w 1110409"/>
                <a:gd name="connsiteY114" fmla="*/ 271960 h 693846"/>
                <a:gd name="connsiteX115" fmla="*/ 1093922 w 1110409"/>
                <a:gd name="connsiteY115" fmla="*/ 269692 h 693846"/>
                <a:gd name="connsiteX116" fmla="*/ 1093922 w 1110409"/>
                <a:gd name="connsiteY116" fmla="*/ 267211 h 693846"/>
                <a:gd name="connsiteX117" fmla="*/ 1094255 w 1110409"/>
                <a:gd name="connsiteY117" fmla="*/ 265154 h 693846"/>
                <a:gd name="connsiteX118" fmla="*/ 1094255 w 1110409"/>
                <a:gd name="connsiteY118" fmla="*/ 263460 h 693846"/>
                <a:gd name="connsiteX119" fmla="*/ 1093257 w 1110409"/>
                <a:gd name="connsiteY119" fmla="*/ 262098 h 693846"/>
                <a:gd name="connsiteX120" fmla="*/ 1096705 w 1110409"/>
                <a:gd name="connsiteY120" fmla="*/ 259799 h 693846"/>
                <a:gd name="connsiteX121" fmla="*/ 1097371 w 1110409"/>
                <a:gd name="connsiteY121" fmla="*/ 258922 h 693846"/>
                <a:gd name="connsiteX122" fmla="*/ 1097371 w 1110409"/>
                <a:gd name="connsiteY122" fmla="*/ 256986 h 693846"/>
                <a:gd name="connsiteX123" fmla="*/ 1096191 w 1110409"/>
                <a:gd name="connsiteY123" fmla="*/ 252751 h 693846"/>
                <a:gd name="connsiteX124" fmla="*/ 1095949 w 1110409"/>
                <a:gd name="connsiteY124" fmla="*/ 251450 h 693846"/>
                <a:gd name="connsiteX125" fmla="*/ 1097008 w 1110409"/>
                <a:gd name="connsiteY125" fmla="*/ 249423 h 693846"/>
                <a:gd name="connsiteX126" fmla="*/ 1098853 w 1110409"/>
                <a:gd name="connsiteY126" fmla="*/ 247305 h 693846"/>
                <a:gd name="connsiteX127" fmla="*/ 1100275 w 1110409"/>
                <a:gd name="connsiteY127" fmla="*/ 244220 h 693846"/>
                <a:gd name="connsiteX128" fmla="*/ 1100124 w 1110409"/>
                <a:gd name="connsiteY128" fmla="*/ 239289 h 693846"/>
                <a:gd name="connsiteX129" fmla="*/ 1099488 w 1110409"/>
                <a:gd name="connsiteY129" fmla="*/ 238260 h 693846"/>
                <a:gd name="connsiteX130" fmla="*/ 1095949 w 1110409"/>
                <a:gd name="connsiteY130" fmla="*/ 234600 h 693846"/>
                <a:gd name="connsiteX131" fmla="*/ 1095344 w 1110409"/>
                <a:gd name="connsiteY131" fmla="*/ 234358 h 693846"/>
                <a:gd name="connsiteX132" fmla="*/ 1093892 w 1110409"/>
                <a:gd name="connsiteY132" fmla="*/ 234781 h 693846"/>
                <a:gd name="connsiteX133" fmla="*/ 1093257 w 1110409"/>
                <a:gd name="connsiteY133" fmla="*/ 234630 h 693846"/>
                <a:gd name="connsiteX134" fmla="*/ 1093136 w 1110409"/>
                <a:gd name="connsiteY134" fmla="*/ 233904 h 693846"/>
                <a:gd name="connsiteX135" fmla="*/ 1093136 w 1110409"/>
                <a:gd name="connsiteY135" fmla="*/ 232573 h 693846"/>
                <a:gd name="connsiteX136" fmla="*/ 1093045 w 1110409"/>
                <a:gd name="connsiteY136" fmla="*/ 231151 h 693846"/>
                <a:gd name="connsiteX137" fmla="*/ 1092531 w 1110409"/>
                <a:gd name="connsiteY137" fmla="*/ 230213 h 693846"/>
                <a:gd name="connsiteX138" fmla="*/ 1089505 w 1110409"/>
                <a:gd name="connsiteY138" fmla="*/ 229518 h 693846"/>
                <a:gd name="connsiteX139" fmla="*/ 1086934 w 1110409"/>
                <a:gd name="connsiteY139" fmla="*/ 231302 h 693846"/>
                <a:gd name="connsiteX140" fmla="*/ 1082245 w 1110409"/>
                <a:gd name="connsiteY140" fmla="*/ 237716 h 693846"/>
                <a:gd name="connsiteX141" fmla="*/ 1080430 w 1110409"/>
                <a:gd name="connsiteY141" fmla="*/ 236173 h 693846"/>
                <a:gd name="connsiteX142" fmla="*/ 1079553 w 1110409"/>
                <a:gd name="connsiteY142" fmla="*/ 234933 h 693846"/>
                <a:gd name="connsiteX143" fmla="*/ 1078857 w 1110409"/>
                <a:gd name="connsiteY143" fmla="*/ 233299 h 693846"/>
                <a:gd name="connsiteX144" fmla="*/ 1079341 w 1110409"/>
                <a:gd name="connsiteY144" fmla="*/ 230667 h 693846"/>
                <a:gd name="connsiteX145" fmla="*/ 1079583 w 1110409"/>
                <a:gd name="connsiteY145" fmla="*/ 228610 h 693846"/>
                <a:gd name="connsiteX146" fmla="*/ 1079492 w 1110409"/>
                <a:gd name="connsiteY146" fmla="*/ 227067 h 693846"/>
                <a:gd name="connsiteX147" fmla="*/ 1078554 w 1110409"/>
                <a:gd name="connsiteY147" fmla="*/ 225736 h 693846"/>
                <a:gd name="connsiteX148" fmla="*/ 1077163 w 1110409"/>
                <a:gd name="connsiteY148" fmla="*/ 225282 h 693846"/>
                <a:gd name="connsiteX149" fmla="*/ 1073986 w 1110409"/>
                <a:gd name="connsiteY149" fmla="*/ 225403 h 693846"/>
                <a:gd name="connsiteX150" fmla="*/ 1073986 w 1110409"/>
                <a:gd name="connsiteY150" fmla="*/ 224012 h 693846"/>
                <a:gd name="connsiteX151" fmla="*/ 1075318 w 1110409"/>
                <a:gd name="connsiteY151" fmla="*/ 223588 h 693846"/>
                <a:gd name="connsiteX152" fmla="*/ 1075862 w 1110409"/>
                <a:gd name="connsiteY152" fmla="*/ 222015 h 693846"/>
                <a:gd name="connsiteX153" fmla="*/ 1075741 w 1110409"/>
                <a:gd name="connsiteY153" fmla="*/ 219716 h 693846"/>
                <a:gd name="connsiteX154" fmla="*/ 1074985 w 1110409"/>
                <a:gd name="connsiteY154" fmla="*/ 217024 h 693846"/>
                <a:gd name="connsiteX155" fmla="*/ 1073805 w 1110409"/>
                <a:gd name="connsiteY155" fmla="*/ 215935 h 693846"/>
                <a:gd name="connsiteX156" fmla="*/ 1071929 w 1110409"/>
                <a:gd name="connsiteY156" fmla="*/ 215693 h 693846"/>
                <a:gd name="connsiteX157" fmla="*/ 1060888 w 1110409"/>
                <a:gd name="connsiteY157" fmla="*/ 218294 h 693846"/>
                <a:gd name="connsiteX158" fmla="*/ 1058074 w 1110409"/>
                <a:gd name="connsiteY158" fmla="*/ 217871 h 693846"/>
                <a:gd name="connsiteX159" fmla="*/ 1035960 w 1110409"/>
                <a:gd name="connsiteY159" fmla="*/ 205619 h 693846"/>
                <a:gd name="connsiteX160" fmla="*/ 1037080 w 1110409"/>
                <a:gd name="connsiteY160" fmla="*/ 208100 h 693846"/>
                <a:gd name="connsiteX161" fmla="*/ 1039923 w 1110409"/>
                <a:gd name="connsiteY161" fmla="*/ 211004 h 693846"/>
                <a:gd name="connsiteX162" fmla="*/ 1041496 w 1110409"/>
                <a:gd name="connsiteY162" fmla="*/ 213152 h 693846"/>
                <a:gd name="connsiteX163" fmla="*/ 1033510 w 1110409"/>
                <a:gd name="connsiteY163" fmla="*/ 207676 h 693846"/>
                <a:gd name="connsiteX164" fmla="*/ 1030818 w 1110409"/>
                <a:gd name="connsiteY164" fmla="*/ 207041 h 693846"/>
                <a:gd name="connsiteX165" fmla="*/ 1028640 w 1110409"/>
                <a:gd name="connsiteY165" fmla="*/ 208493 h 693846"/>
                <a:gd name="connsiteX166" fmla="*/ 1016176 w 1110409"/>
                <a:gd name="connsiteY166" fmla="*/ 225797 h 693846"/>
                <a:gd name="connsiteX167" fmla="*/ 1014331 w 1110409"/>
                <a:gd name="connsiteY167" fmla="*/ 229427 h 693846"/>
                <a:gd name="connsiteX168" fmla="*/ 1013302 w 1110409"/>
                <a:gd name="connsiteY168" fmla="*/ 230909 h 693846"/>
                <a:gd name="connsiteX169" fmla="*/ 1009944 w 1110409"/>
                <a:gd name="connsiteY169" fmla="*/ 234116 h 693846"/>
                <a:gd name="connsiteX170" fmla="*/ 1008795 w 1110409"/>
                <a:gd name="connsiteY170" fmla="*/ 234721 h 693846"/>
                <a:gd name="connsiteX171" fmla="*/ 1007736 w 1110409"/>
                <a:gd name="connsiteY171" fmla="*/ 235719 h 693846"/>
                <a:gd name="connsiteX172" fmla="*/ 1005588 w 1110409"/>
                <a:gd name="connsiteY172" fmla="*/ 240590 h 693846"/>
                <a:gd name="connsiteX173" fmla="*/ 1004317 w 1110409"/>
                <a:gd name="connsiteY173" fmla="*/ 242344 h 693846"/>
                <a:gd name="connsiteX174" fmla="*/ 1004862 w 1110409"/>
                <a:gd name="connsiteY174" fmla="*/ 238623 h 693846"/>
                <a:gd name="connsiteX175" fmla="*/ 1006042 w 1110409"/>
                <a:gd name="connsiteY175" fmla="*/ 235265 h 693846"/>
                <a:gd name="connsiteX176" fmla="*/ 1007585 w 1110409"/>
                <a:gd name="connsiteY176" fmla="*/ 232452 h 693846"/>
                <a:gd name="connsiteX177" fmla="*/ 1015238 w 1110409"/>
                <a:gd name="connsiteY177" fmla="*/ 223951 h 693846"/>
                <a:gd name="connsiteX178" fmla="*/ 1017265 w 1110409"/>
                <a:gd name="connsiteY178" fmla="*/ 219172 h 693846"/>
                <a:gd name="connsiteX179" fmla="*/ 1022468 w 1110409"/>
                <a:gd name="connsiteY179" fmla="*/ 213454 h 693846"/>
                <a:gd name="connsiteX180" fmla="*/ 1024919 w 1110409"/>
                <a:gd name="connsiteY180" fmla="*/ 207676 h 693846"/>
                <a:gd name="connsiteX181" fmla="*/ 1027853 w 1110409"/>
                <a:gd name="connsiteY181" fmla="*/ 205528 h 693846"/>
                <a:gd name="connsiteX182" fmla="*/ 1033329 w 1110409"/>
                <a:gd name="connsiteY182" fmla="*/ 203985 h 693846"/>
                <a:gd name="connsiteX183" fmla="*/ 1031453 w 1110409"/>
                <a:gd name="connsiteY183" fmla="*/ 201807 h 693846"/>
                <a:gd name="connsiteX184" fmla="*/ 1025100 w 1110409"/>
                <a:gd name="connsiteY184" fmla="*/ 197844 h 693846"/>
                <a:gd name="connsiteX185" fmla="*/ 1022801 w 1110409"/>
                <a:gd name="connsiteY185" fmla="*/ 196211 h 693846"/>
                <a:gd name="connsiteX186" fmla="*/ 1022347 w 1110409"/>
                <a:gd name="connsiteY186" fmla="*/ 195636 h 693846"/>
                <a:gd name="connsiteX187" fmla="*/ 1021924 w 1110409"/>
                <a:gd name="connsiteY187" fmla="*/ 194880 h 693846"/>
                <a:gd name="connsiteX188" fmla="*/ 1021198 w 1110409"/>
                <a:gd name="connsiteY188" fmla="*/ 193004 h 693846"/>
                <a:gd name="connsiteX189" fmla="*/ 1020956 w 1110409"/>
                <a:gd name="connsiteY189" fmla="*/ 191068 h 693846"/>
                <a:gd name="connsiteX190" fmla="*/ 1023436 w 1110409"/>
                <a:gd name="connsiteY190" fmla="*/ 188739 h 693846"/>
                <a:gd name="connsiteX191" fmla="*/ 1027792 w 1110409"/>
                <a:gd name="connsiteY191" fmla="*/ 179270 h 693846"/>
                <a:gd name="connsiteX192" fmla="*/ 1024556 w 1110409"/>
                <a:gd name="connsiteY192" fmla="*/ 176033 h 693846"/>
                <a:gd name="connsiteX193" fmla="*/ 1020441 w 1110409"/>
                <a:gd name="connsiteY193" fmla="*/ 177001 h 693846"/>
                <a:gd name="connsiteX194" fmla="*/ 1012667 w 1110409"/>
                <a:gd name="connsiteY194" fmla="*/ 180964 h 693846"/>
                <a:gd name="connsiteX195" fmla="*/ 991067 w 1110409"/>
                <a:gd name="connsiteY195" fmla="*/ 186379 h 693846"/>
                <a:gd name="connsiteX196" fmla="*/ 983172 w 1110409"/>
                <a:gd name="connsiteY196" fmla="*/ 190614 h 693846"/>
                <a:gd name="connsiteX197" fmla="*/ 979572 w 1110409"/>
                <a:gd name="connsiteY197" fmla="*/ 191582 h 693846"/>
                <a:gd name="connsiteX198" fmla="*/ 976002 w 1110409"/>
                <a:gd name="connsiteY198" fmla="*/ 189919 h 693846"/>
                <a:gd name="connsiteX199" fmla="*/ 977182 w 1110409"/>
                <a:gd name="connsiteY199" fmla="*/ 185865 h 693846"/>
                <a:gd name="connsiteX200" fmla="*/ 980086 w 1110409"/>
                <a:gd name="connsiteY200" fmla="*/ 180813 h 693846"/>
                <a:gd name="connsiteX201" fmla="*/ 981629 w 1110409"/>
                <a:gd name="connsiteY201" fmla="*/ 176184 h 693846"/>
                <a:gd name="connsiteX202" fmla="*/ 976940 w 1110409"/>
                <a:gd name="connsiteY202" fmla="*/ 181841 h 693846"/>
                <a:gd name="connsiteX203" fmla="*/ 974278 w 1110409"/>
                <a:gd name="connsiteY203" fmla="*/ 183838 h 693846"/>
                <a:gd name="connsiteX204" fmla="*/ 971283 w 1110409"/>
                <a:gd name="connsiteY204" fmla="*/ 184019 h 693846"/>
                <a:gd name="connsiteX205" fmla="*/ 976365 w 1110409"/>
                <a:gd name="connsiteY205" fmla="*/ 178846 h 693846"/>
                <a:gd name="connsiteX206" fmla="*/ 978331 w 1110409"/>
                <a:gd name="connsiteY206" fmla="*/ 175640 h 693846"/>
                <a:gd name="connsiteX207" fmla="*/ 978150 w 1110409"/>
                <a:gd name="connsiteY207" fmla="*/ 171707 h 693846"/>
                <a:gd name="connsiteX208" fmla="*/ 980419 w 1110409"/>
                <a:gd name="connsiteY208" fmla="*/ 168985 h 693846"/>
                <a:gd name="connsiteX209" fmla="*/ 987830 w 1110409"/>
                <a:gd name="connsiteY209" fmla="*/ 163842 h 693846"/>
                <a:gd name="connsiteX210" fmla="*/ 994365 w 1110409"/>
                <a:gd name="connsiteY210" fmla="*/ 156309 h 693846"/>
                <a:gd name="connsiteX211" fmla="*/ 995514 w 1110409"/>
                <a:gd name="connsiteY211" fmla="*/ 155341 h 693846"/>
                <a:gd name="connsiteX212" fmla="*/ 995877 w 1110409"/>
                <a:gd name="connsiteY212" fmla="*/ 153798 h 693846"/>
                <a:gd name="connsiteX213" fmla="*/ 998207 w 1110409"/>
                <a:gd name="connsiteY213" fmla="*/ 148232 h 693846"/>
                <a:gd name="connsiteX214" fmla="*/ 998297 w 1110409"/>
                <a:gd name="connsiteY214" fmla="*/ 147264 h 693846"/>
                <a:gd name="connsiteX215" fmla="*/ 998146 w 1110409"/>
                <a:gd name="connsiteY215" fmla="*/ 144783 h 693846"/>
                <a:gd name="connsiteX216" fmla="*/ 998207 w 1110409"/>
                <a:gd name="connsiteY216" fmla="*/ 143755 h 693846"/>
                <a:gd name="connsiteX217" fmla="*/ 998660 w 1110409"/>
                <a:gd name="connsiteY217" fmla="*/ 142817 h 693846"/>
                <a:gd name="connsiteX218" fmla="*/ 999931 w 1110409"/>
                <a:gd name="connsiteY218" fmla="*/ 141607 h 693846"/>
                <a:gd name="connsiteX219" fmla="*/ 1000233 w 1110409"/>
                <a:gd name="connsiteY219" fmla="*/ 140669 h 693846"/>
                <a:gd name="connsiteX220" fmla="*/ 1000112 w 1110409"/>
                <a:gd name="connsiteY220" fmla="*/ 138189 h 693846"/>
                <a:gd name="connsiteX221" fmla="*/ 999114 w 1110409"/>
                <a:gd name="connsiteY221" fmla="*/ 133106 h 693846"/>
                <a:gd name="connsiteX222" fmla="*/ 998872 w 1110409"/>
                <a:gd name="connsiteY222" fmla="*/ 130505 h 693846"/>
                <a:gd name="connsiteX223" fmla="*/ 998237 w 1110409"/>
                <a:gd name="connsiteY223" fmla="*/ 129658 h 693846"/>
                <a:gd name="connsiteX224" fmla="*/ 996815 w 1110409"/>
                <a:gd name="connsiteY224" fmla="*/ 129355 h 693846"/>
                <a:gd name="connsiteX225" fmla="*/ 995393 w 1110409"/>
                <a:gd name="connsiteY225" fmla="*/ 128448 h 693846"/>
                <a:gd name="connsiteX226" fmla="*/ 994758 w 1110409"/>
                <a:gd name="connsiteY226" fmla="*/ 125785 h 693846"/>
                <a:gd name="connsiteX227" fmla="*/ 994213 w 1110409"/>
                <a:gd name="connsiteY227" fmla="*/ 120612 h 693846"/>
                <a:gd name="connsiteX228" fmla="*/ 992792 w 1110409"/>
                <a:gd name="connsiteY228" fmla="*/ 117194 h 693846"/>
                <a:gd name="connsiteX229" fmla="*/ 990825 w 1110409"/>
                <a:gd name="connsiteY229" fmla="*/ 115076 h 693846"/>
                <a:gd name="connsiteX230" fmla="*/ 988587 w 1110409"/>
                <a:gd name="connsiteY230" fmla="*/ 113957 h 693846"/>
                <a:gd name="connsiteX231" fmla="*/ 983444 w 1110409"/>
                <a:gd name="connsiteY231" fmla="*/ 114532 h 693846"/>
                <a:gd name="connsiteX232" fmla="*/ 975155 w 1110409"/>
                <a:gd name="connsiteY232" fmla="*/ 121520 h 693846"/>
                <a:gd name="connsiteX233" fmla="*/ 970587 w 1110409"/>
                <a:gd name="connsiteY233" fmla="*/ 121883 h 693846"/>
                <a:gd name="connsiteX234" fmla="*/ 964023 w 1110409"/>
                <a:gd name="connsiteY234" fmla="*/ 119039 h 693846"/>
                <a:gd name="connsiteX235" fmla="*/ 952678 w 1110409"/>
                <a:gd name="connsiteY235" fmla="*/ 118676 h 693846"/>
                <a:gd name="connsiteX236" fmla="*/ 950591 w 1110409"/>
                <a:gd name="connsiteY236" fmla="*/ 117194 h 693846"/>
                <a:gd name="connsiteX237" fmla="*/ 951801 w 1110409"/>
                <a:gd name="connsiteY237" fmla="*/ 116408 h 693846"/>
                <a:gd name="connsiteX238" fmla="*/ 953646 w 1110409"/>
                <a:gd name="connsiteY238" fmla="*/ 114623 h 693846"/>
                <a:gd name="connsiteX239" fmla="*/ 954705 w 1110409"/>
                <a:gd name="connsiteY239" fmla="*/ 113927 h 693846"/>
                <a:gd name="connsiteX240" fmla="*/ 954130 w 1110409"/>
                <a:gd name="connsiteY240" fmla="*/ 109601 h 693846"/>
                <a:gd name="connsiteX241" fmla="*/ 952860 w 1110409"/>
                <a:gd name="connsiteY241" fmla="*/ 107816 h 693846"/>
                <a:gd name="connsiteX242" fmla="*/ 946900 w 1110409"/>
                <a:gd name="connsiteY242" fmla="*/ 107453 h 693846"/>
                <a:gd name="connsiteX243" fmla="*/ 945388 w 1110409"/>
                <a:gd name="connsiteY243" fmla="*/ 106818 h 693846"/>
                <a:gd name="connsiteX244" fmla="*/ 942272 w 1110409"/>
                <a:gd name="connsiteY244" fmla="*/ 104579 h 693846"/>
                <a:gd name="connsiteX245" fmla="*/ 944117 w 1110409"/>
                <a:gd name="connsiteY245" fmla="*/ 99497 h 693846"/>
                <a:gd name="connsiteX246" fmla="*/ 946779 w 1110409"/>
                <a:gd name="connsiteY246" fmla="*/ 97289 h 693846"/>
                <a:gd name="connsiteX247" fmla="*/ 953011 w 1110409"/>
                <a:gd name="connsiteY247" fmla="*/ 96926 h 693846"/>
                <a:gd name="connsiteX248" fmla="*/ 954705 w 1110409"/>
                <a:gd name="connsiteY248" fmla="*/ 96169 h 693846"/>
                <a:gd name="connsiteX249" fmla="*/ 964325 w 1110409"/>
                <a:gd name="connsiteY249" fmla="*/ 87548 h 693846"/>
                <a:gd name="connsiteX250" fmla="*/ 965142 w 1110409"/>
                <a:gd name="connsiteY250" fmla="*/ 85823 h 693846"/>
                <a:gd name="connsiteX251" fmla="*/ 966382 w 1110409"/>
                <a:gd name="connsiteY251" fmla="*/ 81981 h 693846"/>
                <a:gd name="connsiteX252" fmla="*/ 966836 w 1110409"/>
                <a:gd name="connsiteY252" fmla="*/ 79259 h 693846"/>
                <a:gd name="connsiteX253" fmla="*/ 966140 w 1110409"/>
                <a:gd name="connsiteY253" fmla="*/ 78018 h 693846"/>
                <a:gd name="connsiteX254" fmla="*/ 965717 w 1110409"/>
                <a:gd name="connsiteY254" fmla="*/ 76990 h 693846"/>
                <a:gd name="connsiteX255" fmla="*/ 963508 w 1110409"/>
                <a:gd name="connsiteY255" fmla="*/ 72906 h 693846"/>
                <a:gd name="connsiteX256" fmla="*/ 962994 w 1110409"/>
                <a:gd name="connsiteY256" fmla="*/ 72452 h 693846"/>
                <a:gd name="connsiteX257" fmla="*/ 962480 w 1110409"/>
                <a:gd name="connsiteY257" fmla="*/ 70637 h 693846"/>
                <a:gd name="connsiteX258" fmla="*/ 961270 w 1110409"/>
                <a:gd name="connsiteY258" fmla="*/ 69457 h 693846"/>
                <a:gd name="connsiteX259" fmla="*/ 958819 w 1110409"/>
                <a:gd name="connsiteY259" fmla="*/ 68580 h 693846"/>
                <a:gd name="connsiteX260" fmla="*/ 961239 w 1110409"/>
                <a:gd name="connsiteY260" fmla="*/ 64557 h 693846"/>
                <a:gd name="connsiteX261" fmla="*/ 964416 w 1110409"/>
                <a:gd name="connsiteY261" fmla="*/ 62106 h 693846"/>
                <a:gd name="connsiteX262" fmla="*/ 973673 w 1110409"/>
                <a:gd name="connsiteY262" fmla="*/ 59928 h 693846"/>
                <a:gd name="connsiteX263" fmla="*/ 981629 w 1110409"/>
                <a:gd name="connsiteY263" fmla="*/ 54271 h 693846"/>
                <a:gd name="connsiteX264" fmla="*/ 999477 w 1110409"/>
                <a:gd name="connsiteY264" fmla="*/ 46708 h 693846"/>
                <a:gd name="connsiteX265" fmla="*/ 1004227 w 1110409"/>
                <a:gd name="connsiteY265" fmla="*/ 41807 h 693846"/>
                <a:gd name="connsiteX266" fmla="*/ 985047 w 1110409"/>
                <a:gd name="connsiteY266" fmla="*/ 44833 h 693846"/>
                <a:gd name="connsiteX267" fmla="*/ 982688 w 1110409"/>
                <a:gd name="connsiteY267" fmla="*/ 43804 h 693846"/>
                <a:gd name="connsiteX268" fmla="*/ 978815 w 1110409"/>
                <a:gd name="connsiteY268" fmla="*/ 40749 h 693846"/>
                <a:gd name="connsiteX269" fmla="*/ 976426 w 1110409"/>
                <a:gd name="connsiteY269" fmla="*/ 40113 h 693846"/>
                <a:gd name="connsiteX270" fmla="*/ 967804 w 1110409"/>
                <a:gd name="connsiteY270" fmla="*/ 41626 h 693846"/>
                <a:gd name="connsiteX271" fmla="*/ 965112 w 1110409"/>
                <a:gd name="connsiteY271" fmla="*/ 43411 h 693846"/>
                <a:gd name="connsiteX272" fmla="*/ 961179 w 1110409"/>
                <a:gd name="connsiteY272" fmla="*/ 47192 h 693846"/>
                <a:gd name="connsiteX273" fmla="*/ 959485 w 1110409"/>
                <a:gd name="connsiteY273" fmla="*/ 50006 h 693846"/>
                <a:gd name="connsiteX274" fmla="*/ 958789 w 1110409"/>
                <a:gd name="connsiteY274" fmla="*/ 53545 h 693846"/>
                <a:gd name="connsiteX275" fmla="*/ 957670 w 1110409"/>
                <a:gd name="connsiteY275" fmla="*/ 56298 h 693846"/>
                <a:gd name="connsiteX276" fmla="*/ 950530 w 1110409"/>
                <a:gd name="connsiteY276" fmla="*/ 60624 h 693846"/>
                <a:gd name="connsiteX277" fmla="*/ 949986 w 1110409"/>
                <a:gd name="connsiteY277" fmla="*/ 62409 h 693846"/>
                <a:gd name="connsiteX278" fmla="*/ 949895 w 1110409"/>
                <a:gd name="connsiteY278" fmla="*/ 64526 h 693846"/>
                <a:gd name="connsiteX279" fmla="*/ 949350 w 1110409"/>
                <a:gd name="connsiteY279" fmla="*/ 66311 h 693846"/>
                <a:gd name="connsiteX280" fmla="*/ 942272 w 1110409"/>
                <a:gd name="connsiteY280" fmla="*/ 68610 h 693846"/>
                <a:gd name="connsiteX281" fmla="*/ 929899 w 1110409"/>
                <a:gd name="connsiteY281" fmla="*/ 68610 h 693846"/>
                <a:gd name="connsiteX282" fmla="*/ 926965 w 1110409"/>
                <a:gd name="connsiteY282" fmla="*/ 70214 h 693846"/>
                <a:gd name="connsiteX283" fmla="*/ 926299 w 1110409"/>
                <a:gd name="connsiteY283" fmla="*/ 72452 h 693846"/>
                <a:gd name="connsiteX284" fmla="*/ 926722 w 1110409"/>
                <a:gd name="connsiteY284" fmla="*/ 75689 h 693846"/>
                <a:gd name="connsiteX285" fmla="*/ 927116 w 1110409"/>
                <a:gd name="connsiteY285" fmla="*/ 80318 h 693846"/>
                <a:gd name="connsiteX286" fmla="*/ 926813 w 1110409"/>
                <a:gd name="connsiteY286" fmla="*/ 84795 h 693846"/>
                <a:gd name="connsiteX287" fmla="*/ 925996 w 1110409"/>
                <a:gd name="connsiteY287" fmla="*/ 88395 h 693846"/>
                <a:gd name="connsiteX288" fmla="*/ 924696 w 1110409"/>
                <a:gd name="connsiteY288" fmla="*/ 90906 h 693846"/>
                <a:gd name="connsiteX289" fmla="*/ 922911 w 1110409"/>
                <a:gd name="connsiteY289" fmla="*/ 92116 h 693846"/>
                <a:gd name="connsiteX290" fmla="*/ 923213 w 1110409"/>
                <a:gd name="connsiteY290" fmla="*/ 92993 h 693846"/>
                <a:gd name="connsiteX291" fmla="*/ 923546 w 1110409"/>
                <a:gd name="connsiteY291" fmla="*/ 93447 h 693846"/>
                <a:gd name="connsiteX292" fmla="*/ 924363 w 1110409"/>
                <a:gd name="connsiteY292" fmla="*/ 93810 h 693846"/>
                <a:gd name="connsiteX293" fmla="*/ 921973 w 1110409"/>
                <a:gd name="connsiteY293" fmla="*/ 95776 h 693846"/>
                <a:gd name="connsiteX294" fmla="*/ 919976 w 1110409"/>
                <a:gd name="connsiteY294" fmla="*/ 93810 h 693846"/>
                <a:gd name="connsiteX295" fmla="*/ 918010 w 1110409"/>
                <a:gd name="connsiteY295" fmla="*/ 90664 h 693846"/>
                <a:gd name="connsiteX296" fmla="*/ 914743 w 1110409"/>
                <a:gd name="connsiteY296" fmla="*/ 88274 h 693846"/>
                <a:gd name="connsiteX297" fmla="*/ 911748 w 1110409"/>
                <a:gd name="connsiteY297" fmla="*/ 85128 h 693846"/>
                <a:gd name="connsiteX298" fmla="*/ 908904 w 1110409"/>
                <a:gd name="connsiteY298" fmla="*/ 83917 h 693846"/>
                <a:gd name="connsiteX299" fmla="*/ 907906 w 1110409"/>
                <a:gd name="connsiteY299" fmla="*/ 82526 h 693846"/>
                <a:gd name="connsiteX300" fmla="*/ 907271 w 1110409"/>
                <a:gd name="connsiteY300" fmla="*/ 80499 h 693846"/>
                <a:gd name="connsiteX301" fmla="*/ 907059 w 1110409"/>
                <a:gd name="connsiteY301" fmla="*/ 78018 h 693846"/>
                <a:gd name="connsiteX302" fmla="*/ 906091 w 1110409"/>
                <a:gd name="connsiteY302" fmla="*/ 79017 h 693846"/>
                <a:gd name="connsiteX303" fmla="*/ 905486 w 1110409"/>
                <a:gd name="connsiteY303" fmla="*/ 79440 h 693846"/>
                <a:gd name="connsiteX304" fmla="*/ 905032 w 1110409"/>
                <a:gd name="connsiteY304" fmla="*/ 79440 h 693846"/>
                <a:gd name="connsiteX305" fmla="*/ 904034 w 1110409"/>
                <a:gd name="connsiteY305" fmla="*/ 77867 h 693846"/>
                <a:gd name="connsiteX306" fmla="*/ 903520 w 1110409"/>
                <a:gd name="connsiteY306" fmla="*/ 76839 h 693846"/>
                <a:gd name="connsiteX307" fmla="*/ 902340 w 1110409"/>
                <a:gd name="connsiteY307" fmla="*/ 76536 h 693846"/>
                <a:gd name="connsiteX308" fmla="*/ 898800 w 1110409"/>
                <a:gd name="connsiteY308" fmla="*/ 78049 h 693846"/>
                <a:gd name="connsiteX309" fmla="*/ 891419 w 1110409"/>
                <a:gd name="connsiteY309" fmla="*/ 77746 h 693846"/>
                <a:gd name="connsiteX310" fmla="*/ 889846 w 1110409"/>
                <a:gd name="connsiteY310" fmla="*/ 76476 h 693846"/>
                <a:gd name="connsiteX311" fmla="*/ 890663 w 1110409"/>
                <a:gd name="connsiteY311" fmla="*/ 73329 h 693846"/>
                <a:gd name="connsiteX312" fmla="*/ 891116 w 1110409"/>
                <a:gd name="connsiteY312" fmla="*/ 70849 h 693846"/>
                <a:gd name="connsiteX313" fmla="*/ 890753 w 1110409"/>
                <a:gd name="connsiteY313" fmla="*/ 69215 h 693846"/>
                <a:gd name="connsiteX314" fmla="*/ 887426 w 1110409"/>
                <a:gd name="connsiteY314" fmla="*/ 67884 h 693846"/>
                <a:gd name="connsiteX315" fmla="*/ 886034 w 1110409"/>
                <a:gd name="connsiteY315" fmla="*/ 66523 h 693846"/>
                <a:gd name="connsiteX316" fmla="*/ 884794 w 1110409"/>
                <a:gd name="connsiteY316" fmla="*/ 65797 h 693846"/>
                <a:gd name="connsiteX317" fmla="*/ 883584 w 1110409"/>
                <a:gd name="connsiteY317" fmla="*/ 67067 h 693846"/>
                <a:gd name="connsiteX318" fmla="*/ 882192 w 1110409"/>
                <a:gd name="connsiteY318" fmla="*/ 63800 h 693846"/>
                <a:gd name="connsiteX319" fmla="*/ 885248 w 1110409"/>
                <a:gd name="connsiteY319" fmla="*/ 61471 h 693846"/>
                <a:gd name="connsiteX320" fmla="*/ 887607 w 1110409"/>
                <a:gd name="connsiteY320" fmla="*/ 58506 h 693846"/>
                <a:gd name="connsiteX321" fmla="*/ 891812 w 1110409"/>
                <a:gd name="connsiteY321" fmla="*/ 51216 h 693846"/>
                <a:gd name="connsiteX322" fmla="*/ 889816 w 1110409"/>
                <a:gd name="connsiteY322" fmla="*/ 44923 h 693846"/>
                <a:gd name="connsiteX323" fmla="*/ 889816 w 1110409"/>
                <a:gd name="connsiteY323" fmla="*/ 43471 h 693846"/>
                <a:gd name="connsiteX324" fmla="*/ 890027 w 1110409"/>
                <a:gd name="connsiteY324" fmla="*/ 41354 h 693846"/>
                <a:gd name="connsiteX325" fmla="*/ 889090 w 1110409"/>
                <a:gd name="connsiteY325" fmla="*/ 39266 h 693846"/>
                <a:gd name="connsiteX326" fmla="*/ 887456 w 1110409"/>
                <a:gd name="connsiteY326" fmla="*/ 37663 h 693846"/>
                <a:gd name="connsiteX327" fmla="*/ 885641 w 1110409"/>
                <a:gd name="connsiteY327" fmla="*/ 37028 h 693846"/>
                <a:gd name="connsiteX328" fmla="*/ 876021 w 1110409"/>
                <a:gd name="connsiteY328" fmla="*/ 37028 h 693846"/>
                <a:gd name="connsiteX329" fmla="*/ 876203 w 1110409"/>
                <a:gd name="connsiteY329" fmla="*/ 35908 h 693846"/>
                <a:gd name="connsiteX330" fmla="*/ 876445 w 1110409"/>
                <a:gd name="connsiteY330" fmla="*/ 33337 h 693846"/>
                <a:gd name="connsiteX331" fmla="*/ 876626 w 1110409"/>
                <a:gd name="connsiteY331" fmla="*/ 32278 h 693846"/>
                <a:gd name="connsiteX332" fmla="*/ 874841 w 1110409"/>
                <a:gd name="connsiteY332" fmla="*/ 33125 h 693846"/>
                <a:gd name="connsiteX333" fmla="*/ 870818 w 1110409"/>
                <a:gd name="connsiteY333" fmla="*/ 32278 h 693846"/>
                <a:gd name="connsiteX334" fmla="*/ 867188 w 1110409"/>
                <a:gd name="connsiteY334" fmla="*/ 33125 h 693846"/>
                <a:gd name="connsiteX335" fmla="*/ 865826 w 1110409"/>
                <a:gd name="connsiteY335" fmla="*/ 32793 h 693846"/>
                <a:gd name="connsiteX336" fmla="*/ 867006 w 1110409"/>
                <a:gd name="connsiteY336" fmla="*/ 30705 h 693846"/>
                <a:gd name="connsiteX337" fmla="*/ 866492 w 1110409"/>
                <a:gd name="connsiteY337" fmla="*/ 30040 h 693846"/>
                <a:gd name="connsiteX338" fmla="*/ 865494 w 1110409"/>
                <a:gd name="connsiteY338" fmla="*/ 28194 h 693846"/>
                <a:gd name="connsiteX339" fmla="*/ 864949 w 1110409"/>
                <a:gd name="connsiteY339" fmla="*/ 27529 h 693846"/>
                <a:gd name="connsiteX340" fmla="*/ 867006 w 1110409"/>
                <a:gd name="connsiteY340" fmla="*/ 25804 h 693846"/>
                <a:gd name="connsiteX341" fmla="*/ 867006 w 1110409"/>
                <a:gd name="connsiteY341" fmla="*/ 24352 h 693846"/>
                <a:gd name="connsiteX342" fmla="*/ 866673 w 1110409"/>
                <a:gd name="connsiteY342" fmla="*/ 24292 h 693846"/>
                <a:gd name="connsiteX343" fmla="*/ 865645 w 1110409"/>
                <a:gd name="connsiteY343" fmla="*/ 24352 h 693846"/>
                <a:gd name="connsiteX344" fmla="*/ 866280 w 1110409"/>
                <a:gd name="connsiteY344" fmla="*/ 20813 h 693846"/>
                <a:gd name="connsiteX345" fmla="*/ 867581 w 1110409"/>
                <a:gd name="connsiteY345" fmla="*/ 19391 h 693846"/>
                <a:gd name="connsiteX346" fmla="*/ 869154 w 1110409"/>
                <a:gd name="connsiteY346" fmla="*/ 18423 h 693846"/>
                <a:gd name="connsiteX347" fmla="*/ 870515 w 1110409"/>
                <a:gd name="connsiteY347" fmla="*/ 16306 h 693846"/>
                <a:gd name="connsiteX348" fmla="*/ 865735 w 1110409"/>
                <a:gd name="connsiteY348" fmla="*/ 14521 h 693846"/>
                <a:gd name="connsiteX349" fmla="*/ 857265 w 1110409"/>
                <a:gd name="connsiteY349" fmla="*/ 6625 h 693846"/>
                <a:gd name="connsiteX350" fmla="*/ 852606 w 1110409"/>
                <a:gd name="connsiteY350" fmla="*/ 8501 h 693846"/>
                <a:gd name="connsiteX351" fmla="*/ 851457 w 1110409"/>
                <a:gd name="connsiteY351" fmla="*/ 9075 h 693846"/>
                <a:gd name="connsiteX352" fmla="*/ 845709 w 1110409"/>
                <a:gd name="connsiteY352" fmla="*/ 6776 h 693846"/>
                <a:gd name="connsiteX353" fmla="*/ 842926 w 1110409"/>
                <a:gd name="connsiteY353" fmla="*/ 6776 h 693846"/>
                <a:gd name="connsiteX354" fmla="*/ 840687 w 1110409"/>
                <a:gd name="connsiteY354" fmla="*/ 7805 h 693846"/>
                <a:gd name="connsiteX355" fmla="*/ 839810 w 1110409"/>
                <a:gd name="connsiteY355" fmla="*/ 8864 h 693846"/>
                <a:gd name="connsiteX356" fmla="*/ 838993 w 1110409"/>
                <a:gd name="connsiteY356" fmla="*/ 13250 h 693846"/>
                <a:gd name="connsiteX357" fmla="*/ 837904 w 1110409"/>
                <a:gd name="connsiteY357" fmla="*/ 14581 h 693846"/>
                <a:gd name="connsiteX358" fmla="*/ 836724 w 1110409"/>
                <a:gd name="connsiteY358" fmla="*/ 14188 h 693846"/>
                <a:gd name="connsiteX359" fmla="*/ 836029 w 1110409"/>
                <a:gd name="connsiteY359" fmla="*/ 11526 h 693846"/>
                <a:gd name="connsiteX360" fmla="*/ 835847 w 1110409"/>
                <a:gd name="connsiteY360" fmla="*/ 10951 h 693846"/>
                <a:gd name="connsiteX361" fmla="*/ 834667 w 1110409"/>
                <a:gd name="connsiteY361" fmla="*/ 12403 h 693846"/>
                <a:gd name="connsiteX362" fmla="*/ 833639 w 1110409"/>
                <a:gd name="connsiteY362" fmla="*/ 14642 h 693846"/>
                <a:gd name="connsiteX363" fmla="*/ 832519 w 1110409"/>
                <a:gd name="connsiteY363" fmla="*/ 16275 h 693846"/>
                <a:gd name="connsiteX364" fmla="*/ 832519 w 1110409"/>
                <a:gd name="connsiteY364" fmla="*/ 18000 h 693846"/>
                <a:gd name="connsiteX365" fmla="*/ 831914 w 1110409"/>
                <a:gd name="connsiteY365" fmla="*/ 18211 h 693846"/>
                <a:gd name="connsiteX366" fmla="*/ 829948 w 1110409"/>
                <a:gd name="connsiteY366" fmla="*/ 19089 h 693846"/>
                <a:gd name="connsiteX367" fmla="*/ 828073 w 1110409"/>
                <a:gd name="connsiteY367" fmla="*/ 19421 h 693846"/>
                <a:gd name="connsiteX368" fmla="*/ 826348 w 1110409"/>
                <a:gd name="connsiteY368" fmla="*/ 17969 h 693846"/>
                <a:gd name="connsiteX369" fmla="*/ 826983 w 1110409"/>
                <a:gd name="connsiteY369" fmla="*/ 17667 h 693846"/>
                <a:gd name="connsiteX370" fmla="*/ 828405 w 1110409"/>
                <a:gd name="connsiteY370" fmla="*/ 16245 h 693846"/>
                <a:gd name="connsiteX371" fmla="*/ 826651 w 1110409"/>
                <a:gd name="connsiteY371" fmla="*/ 15973 h 693846"/>
                <a:gd name="connsiteX372" fmla="*/ 825441 w 1110409"/>
                <a:gd name="connsiteY372" fmla="*/ 14490 h 693846"/>
                <a:gd name="connsiteX373" fmla="*/ 824352 w 1110409"/>
                <a:gd name="connsiteY373" fmla="*/ 12706 h 693846"/>
                <a:gd name="connsiteX374" fmla="*/ 822869 w 1110409"/>
                <a:gd name="connsiteY374" fmla="*/ 11496 h 693846"/>
                <a:gd name="connsiteX375" fmla="*/ 821931 w 1110409"/>
                <a:gd name="connsiteY375" fmla="*/ 11859 h 693846"/>
                <a:gd name="connsiteX376" fmla="*/ 818967 w 1110409"/>
                <a:gd name="connsiteY376" fmla="*/ 14218 h 693846"/>
                <a:gd name="connsiteX377" fmla="*/ 817394 w 1110409"/>
                <a:gd name="connsiteY377" fmla="*/ 14793 h 693846"/>
                <a:gd name="connsiteX378" fmla="*/ 817726 w 1110409"/>
                <a:gd name="connsiteY378" fmla="*/ 16094 h 693846"/>
                <a:gd name="connsiteX379" fmla="*/ 817848 w 1110409"/>
                <a:gd name="connsiteY379" fmla="*/ 17122 h 693846"/>
                <a:gd name="connsiteX380" fmla="*/ 817938 w 1110409"/>
                <a:gd name="connsiteY380" fmla="*/ 18151 h 693846"/>
                <a:gd name="connsiteX381" fmla="*/ 818120 w 1110409"/>
                <a:gd name="connsiteY381" fmla="*/ 19421 h 693846"/>
                <a:gd name="connsiteX382" fmla="*/ 817061 w 1110409"/>
                <a:gd name="connsiteY382" fmla="*/ 18635 h 693846"/>
                <a:gd name="connsiteX383" fmla="*/ 816184 w 1110409"/>
                <a:gd name="connsiteY383" fmla="*/ 17032 h 693846"/>
                <a:gd name="connsiteX384" fmla="*/ 815851 w 1110409"/>
                <a:gd name="connsiteY384" fmla="*/ 14884 h 693846"/>
                <a:gd name="connsiteX385" fmla="*/ 816365 w 1110409"/>
                <a:gd name="connsiteY385" fmla="*/ 12312 h 693846"/>
                <a:gd name="connsiteX386" fmla="*/ 816365 w 1110409"/>
                <a:gd name="connsiteY386" fmla="*/ 10467 h 693846"/>
                <a:gd name="connsiteX387" fmla="*/ 814701 w 1110409"/>
                <a:gd name="connsiteY387" fmla="*/ 10376 h 693846"/>
                <a:gd name="connsiteX388" fmla="*/ 811888 w 1110409"/>
                <a:gd name="connsiteY388" fmla="*/ 11496 h 693846"/>
                <a:gd name="connsiteX389" fmla="*/ 810587 w 1110409"/>
                <a:gd name="connsiteY389" fmla="*/ 12494 h 693846"/>
                <a:gd name="connsiteX390" fmla="*/ 809831 w 1110409"/>
                <a:gd name="connsiteY390" fmla="*/ 14672 h 693846"/>
                <a:gd name="connsiteX391" fmla="*/ 809407 w 1110409"/>
                <a:gd name="connsiteY391" fmla="*/ 16911 h 693846"/>
                <a:gd name="connsiteX392" fmla="*/ 809135 w 1110409"/>
                <a:gd name="connsiteY392" fmla="*/ 17969 h 693846"/>
                <a:gd name="connsiteX393" fmla="*/ 808016 w 1110409"/>
                <a:gd name="connsiteY393" fmla="*/ 17667 h 693846"/>
                <a:gd name="connsiteX394" fmla="*/ 807744 w 1110409"/>
                <a:gd name="connsiteY394" fmla="*/ 16245 h 693846"/>
                <a:gd name="connsiteX395" fmla="*/ 807653 w 1110409"/>
                <a:gd name="connsiteY395" fmla="*/ 14490 h 693846"/>
                <a:gd name="connsiteX396" fmla="*/ 807078 w 1110409"/>
                <a:gd name="connsiteY396" fmla="*/ 13129 h 693846"/>
                <a:gd name="connsiteX397" fmla="*/ 804900 w 1110409"/>
                <a:gd name="connsiteY397" fmla="*/ 13492 h 693846"/>
                <a:gd name="connsiteX398" fmla="*/ 802813 w 1110409"/>
                <a:gd name="connsiteY398" fmla="*/ 16336 h 693846"/>
                <a:gd name="connsiteX399" fmla="*/ 801905 w 1110409"/>
                <a:gd name="connsiteY399" fmla="*/ 19542 h 693846"/>
                <a:gd name="connsiteX400" fmla="*/ 804749 w 1110409"/>
                <a:gd name="connsiteY400" fmla="*/ 22658 h 693846"/>
                <a:gd name="connsiteX401" fmla="*/ 806685 w 1110409"/>
                <a:gd name="connsiteY401" fmla="*/ 30040 h 693846"/>
                <a:gd name="connsiteX402" fmla="*/ 808439 w 1110409"/>
                <a:gd name="connsiteY402" fmla="*/ 32309 h 693846"/>
                <a:gd name="connsiteX403" fmla="*/ 808439 w 1110409"/>
                <a:gd name="connsiteY403" fmla="*/ 33882 h 693846"/>
                <a:gd name="connsiteX404" fmla="*/ 806322 w 1110409"/>
                <a:gd name="connsiteY404" fmla="*/ 33882 h 693846"/>
                <a:gd name="connsiteX405" fmla="*/ 807229 w 1110409"/>
                <a:gd name="connsiteY405" fmla="*/ 36816 h 693846"/>
                <a:gd name="connsiteX406" fmla="*/ 807713 w 1110409"/>
                <a:gd name="connsiteY406" fmla="*/ 37814 h 693846"/>
                <a:gd name="connsiteX407" fmla="*/ 808439 w 1110409"/>
                <a:gd name="connsiteY407" fmla="*/ 38480 h 693846"/>
                <a:gd name="connsiteX408" fmla="*/ 808076 w 1110409"/>
                <a:gd name="connsiteY408" fmla="*/ 39236 h 693846"/>
                <a:gd name="connsiteX409" fmla="*/ 807441 w 1110409"/>
                <a:gd name="connsiteY409" fmla="*/ 40991 h 693846"/>
                <a:gd name="connsiteX410" fmla="*/ 807078 w 1110409"/>
                <a:gd name="connsiteY410" fmla="*/ 41747 h 693846"/>
                <a:gd name="connsiteX411" fmla="*/ 808137 w 1110409"/>
                <a:gd name="connsiteY411" fmla="*/ 41656 h 693846"/>
                <a:gd name="connsiteX412" fmla="*/ 808470 w 1110409"/>
                <a:gd name="connsiteY412" fmla="*/ 41747 h 693846"/>
                <a:gd name="connsiteX413" fmla="*/ 807744 w 1110409"/>
                <a:gd name="connsiteY413" fmla="*/ 45861 h 693846"/>
                <a:gd name="connsiteX414" fmla="*/ 808439 w 1110409"/>
                <a:gd name="connsiteY414" fmla="*/ 47706 h 693846"/>
                <a:gd name="connsiteX415" fmla="*/ 811223 w 1110409"/>
                <a:gd name="connsiteY415" fmla="*/ 49794 h 693846"/>
                <a:gd name="connsiteX416" fmla="*/ 811434 w 1110409"/>
                <a:gd name="connsiteY416" fmla="*/ 51064 h 693846"/>
                <a:gd name="connsiteX417" fmla="*/ 811525 w 1110409"/>
                <a:gd name="connsiteY417" fmla="*/ 53152 h 693846"/>
                <a:gd name="connsiteX418" fmla="*/ 811706 w 1110409"/>
                <a:gd name="connsiteY418" fmla="*/ 55088 h 693846"/>
                <a:gd name="connsiteX419" fmla="*/ 812221 w 1110409"/>
                <a:gd name="connsiteY419" fmla="*/ 55935 h 693846"/>
                <a:gd name="connsiteX420" fmla="*/ 812856 w 1110409"/>
                <a:gd name="connsiteY420" fmla="*/ 56116 h 693846"/>
                <a:gd name="connsiteX421" fmla="*/ 813431 w 1110409"/>
                <a:gd name="connsiteY421" fmla="*/ 56631 h 693846"/>
                <a:gd name="connsiteX422" fmla="*/ 813915 w 1110409"/>
                <a:gd name="connsiteY422" fmla="*/ 57387 h 693846"/>
                <a:gd name="connsiteX423" fmla="*/ 815518 w 1110409"/>
                <a:gd name="connsiteY423" fmla="*/ 60866 h 693846"/>
                <a:gd name="connsiteX424" fmla="*/ 816486 w 1110409"/>
                <a:gd name="connsiteY424" fmla="*/ 62439 h 693846"/>
                <a:gd name="connsiteX425" fmla="*/ 817152 w 1110409"/>
                <a:gd name="connsiteY425" fmla="*/ 64375 h 693846"/>
                <a:gd name="connsiteX426" fmla="*/ 817394 w 1110409"/>
                <a:gd name="connsiteY426" fmla="*/ 67884 h 693846"/>
                <a:gd name="connsiteX427" fmla="*/ 817121 w 1110409"/>
                <a:gd name="connsiteY427" fmla="*/ 70032 h 693846"/>
                <a:gd name="connsiteX428" fmla="*/ 816456 w 1110409"/>
                <a:gd name="connsiteY428" fmla="*/ 72240 h 693846"/>
                <a:gd name="connsiteX429" fmla="*/ 815579 w 1110409"/>
                <a:gd name="connsiteY429" fmla="*/ 74025 h 693846"/>
                <a:gd name="connsiteX430" fmla="*/ 815216 w 1110409"/>
                <a:gd name="connsiteY430" fmla="*/ 75145 h 693846"/>
                <a:gd name="connsiteX431" fmla="*/ 815367 w 1110409"/>
                <a:gd name="connsiteY431" fmla="*/ 75417 h 693846"/>
                <a:gd name="connsiteX432" fmla="*/ 815306 w 1110409"/>
                <a:gd name="connsiteY432" fmla="*/ 76506 h 693846"/>
                <a:gd name="connsiteX433" fmla="*/ 813522 w 1110409"/>
                <a:gd name="connsiteY433" fmla="*/ 78018 h 693846"/>
                <a:gd name="connsiteX434" fmla="*/ 812009 w 1110409"/>
                <a:gd name="connsiteY434" fmla="*/ 80287 h 693846"/>
                <a:gd name="connsiteX435" fmla="*/ 810980 w 1110409"/>
                <a:gd name="connsiteY435" fmla="*/ 83252 h 693846"/>
                <a:gd name="connsiteX436" fmla="*/ 810587 w 1110409"/>
                <a:gd name="connsiteY436" fmla="*/ 86761 h 693846"/>
                <a:gd name="connsiteX437" fmla="*/ 811374 w 1110409"/>
                <a:gd name="connsiteY437" fmla="*/ 89302 h 693846"/>
                <a:gd name="connsiteX438" fmla="*/ 813158 w 1110409"/>
                <a:gd name="connsiteY438" fmla="*/ 91874 h 693846"/>
                <a:gd name="connsiteX439" fmla="*/ 816698 w 1110409"/>
                <a:gd name="connsiteY439" fmla="*/ 95292 h 693846"/>
                <a:gd name="connsiteX440" fmla="*/ 816698 w 1110409"/>
                <a:gd name="connsiteY440" fmla="*/ 96986 h 693846"/>
                <a:gd name="connsiteX441" fmla="*/ 814066 w 1110409"/>
                <a:gd name="connsiteY441" fmla="*/ 96623 h 693846"/>
                <a:gd name="connsiteX442" fmla="*/ 810133 w 1110409"/>
                <a:gd name="connsiteY442" fmla="*/ 91087 h 693846"/>
                <a:gd name="connsiteX443" fmla="*/ 807683 w 1110409"/>
                <a:gd name="connsiteY443" fmla="*/ 89030 h 693846"/>
                <a:gd name="connsiteX444" fmla="*/ 805596 w 1110409"/>
                <a:gd name="connsiteY444" fmla="*/ 88909 h 693846"/>
                <a:gd name="connsiteX445" fmla="*/ 796762 w 1110409"/>
                <a:gd name="connsiteY445" fmla="*/ 92146 h 693846"/>
                <a:gd name="connsiteX446" fmla="*/ 799545 w 1110409"/>
                <a:gd name="connsiteY446" fmla="*/ 89332 h 693846"/>
                <a:gd name="connsiteX447" fmla="*/ 808439 w 1110409"/>
                <a:gd name="connsiteY447" fmla="*/ 84492 h 693846"/>
                <a:gd name="connsiteX448" fmla="*/ 806110 w 1110409"/>
                <a:gd name="connsiteY448" fmla="*/ 84553 h 693846"/>
                <a:gd name="connsiteX449" fmla="*/ 801966 w 1110409"/>
                <a:gd name="connsiteY449" fmla="*/ 86973 h 693846"/>
                <a:gd name="connsiteX450" fmla="*/ 795098 w 1110409"/>
                <a:gd name="connsiteY450" fmla="*/ 89090 h 693846"/>
                <a:gd name="connsiteX451" fmla="*/ 790500 w 1110409"/>
                <a:gd name="connsiteY451" fmla="*/ 92146 h 693846"/>
                <a:gd name="connsiteX452" fmla="*/ 792376 w 1110409"/>
                <a:gd name="connsiteY452" fmla="*/ 93840 h 693846"/>
                <a:gd name="connsiteX453" fmla="*/ 792769 w 1110409"/>
                <a:gd name="connsiteY453" fmla="*/ 95625 h 693846"/>
                <a:gd name="connsiteX454" fmla="*/ 792769 w 1110409"/>
                <a:gd name="connsiteY454" fmla="*/ 97863 h 693846"/>
                <a:gd name="connsiteX455" fmla="*/ 793586 w 1110409"/>
                <a:gd name="connsiteY455" fmla="*/ 100858 h 693846"/>
                <a:gd name="connsiteX456" fmla="*/ 794675 w 1110409"/>
                <a:gd name="connsiteY456" fmla="*/ 102522 h 693846"/>
                <a:gd name="connsiteX457" fmla="*/ 796278 w 1110409"/>
                <a:gd name="connsiteY457" fmla="*/ 104156 h 693846"/>
                <a:gd name="connsiteX458" fmla="*/ 799485 w 1110409"/>
                <a:gd name="connsiteY458" fmla="*/ 106304 h 693846"/>
                <a:gd name="connsiteX459" fmla="*/ 799485 w 1110409"/>
                <a:gd name="connsiteY459" fmla="*/ 107725 h 693846"/>
                <a:gd name="connsiteX460" fmla="*/ 796187 w 1110409"/>
                <a:gd name="connsiteY460" fmla="*/ 106999 h 693846"/>
                <a:gd name="connsiteX461" fmla="*/ 793949 w 1110409"/>
                <a:gd name="connsiteY461" fmla="*/ 103551 h 693846"/>
                <a:gd name="connsiteX462" fmla="*/ 791862 w 1110409"/>
                <a:gd name="connsiteY462" fmla="*/ 99497 h 693846"/>
                <a:gd name="connsiteX463" fmla="*/ 789018 w 1110409"/>
                <a:gd name="connsiteY463" fmla="*/ 96956 h 693846"/>
                <a:gd name="connsiteX464" fmla="*/ 787808 w 1110409"/>
                <a:gd name="connsiteY464" fmla="*/ 97500 h 693846"/>
                <a:gd name="connsiteX465" fmla="*/ 786598 w 1110409"/>
                <a:gd name="connsiteY465" fmla="*/ 99346 h 693846"/>
                <a:gd name="connsiteX466" fmla="*/ 784571 w 1110409"/>
                <a:gd name="connsiteY466" fmla="*/ 103914 h 693846"/>
                <a:gd name="connsiteX467" fmla="*/ 783845 w 1110409"/>
                <a:gd name="connsiteY467" fmla="*/ 104186 h 693846"/>
                <a:gd name="connsiteX468" fmla="*/ 782030 w 1110409"/>
                <a:gd name="connsiteY468" fmla="*/ 100889 h 693846"/>
                <a:gd name="connsiteX469" fmla="*/ 780759 w 1110409"/>
                <a:gd name="connsiteY469" fmla="*/ 100072 h 693846"/>
                <a:gd name="connsiteX470" fmla="*/ 782211 w 1110409"/>
                <a:gd name="connsiteY470" fmla="*/ 98408 h 693846"/>
                <a:gd name="connsiteX471" fmla="*/ 783754 w 1110409"/>
                <a:gd name="connsiteY471" fmla="*/ 97379 h 693846"/>
                <a:gd name="connsiteX472" fmla="*/ 785357 w 1110409"/>
                <a:gd name="connsiteY472" fmla="*/ 96865 h 693846"/>
                <a:gd name="connsiteX473" fmla="*/ 786991 w 1110409"/>
                <a:gd name="connsiteY473" fmla="*/ 96926 h 693846"/>
                <a:gd name="connsiteX474" fmla="*/ 783270 w 1110409"/>
                <a:gd name="connsiteY474" fmla="*/ 95837 h 693846"/>
                <a:gd name="connsiteX475" fmla="*/ 770595 w 1110409"/>
                <a:gd name="connsiteY475" fmla="*/ 99104 h 693846"/>
                <a:gd name="connsiteX476" fmla="*/ 766995 w 1110409"/>
                <a:gd name="connsiteY476" fmla="*/ 101615 h 693846"/>
                <a:gd name="connsiteX477" fmla="*/ 768477 w 1110409"/>
                <a:gd name="connsiteY477" fmla="*/ 103006 h 693846"/>
                <a:gd name="connsiteX478" fmla="*/ 769143 w 1110409"/>
                <a:gd name="connsiteY478" fmla="*/ 103188 h 693846"/>
                <a:gd name="connsiteX479" fmla="*/ 767963 w 1110409"/>
                <a:gd name="connsiteY479" fmla="*/ 104428 h 693846"/>
                <a:gd name="connsiteX480" fmla="*/ 766723 w 1110409"/>
                <a:gd name="connsiteY480" fmla="*/ 104670 h 693846"/>
                <a:gd name="connsiteX481" fmla="*/ 765452 w 1110409"/>
                <a:gd name="connsiteY481" fmla="*/ 104156 h 693846"/>
                <a:gd name="connsiteX482" fmla="*/ 764272 w 1110409"/>
                <a:gd name="connsiteY482" fmla="*/ 103188 h 693846"/>
                <a:gd name="connsiteX483" fmla="*/ 764272 w 1110409"/>
                <a:gd name="connsiteY483" fmla="*/ 101615 h 693846"/>
                <a:gd name="connsiteX484" fmla="*/ 765664 w 1110409"/>
                <a:gd name="connsiteY484" fmla="*/ 101615 h 693846"/>
                <a:gd name="connsiteX485" fmla="*/ 765603 w 1110409"/>
                <a:gd name="connsiteY485" fmla="*/ 100526 h 693846"/>
                <a:gd name="connsiteX486" fmla="*/ 765543 w 1110409"/>
                <a:gd name="connsiteY486" fmla="*/ 100072 h 693846"/>
                <a:gd name="connsiteX487" fmla="*/ 765543 w 1110409"/>
                <a:gd name="connsiteY487" fmla="*/ 99588 h 693846"/>
                <a:gd name="connsiteX488" fmla="*/ 765664 w 1110409"/>
                <a:gd name="connsiteY488" fmla="*/ 98347 h 693846"/>
                <a:gd name="connsiteX489" fmla="*/ 761761 w 1110409"/>
                <a:gd name="connsiteY489" fmla="*/ 88546 h 693846"/>
                <a:gd name="connsiteX490" fmla="*/ 759795 w 1110409"/>
                <a:gd name="connsiteY490" fmla="*/ 84583 h 693846"/>
                <a:gd name="connsiteX491" fmla="*/ 759704 w 1110409"/>
                <a:gd name="connsiteY491" fmla="*/ 84401 h 693846"/>
                <a:gd name="connsiteX492" fmla="*/ 757072 w 1110409"/>
                <a:gd name="connsiteY492" fmla="*/ 82707 h 693846"/>
                <a:gd name="connsiteX493" fmla="*/ 746969 w 1110409"/>
                <a:gd name="connsiteY493" fmla="*/ 81739 h 693846"/>
                <a:gd name="connsiteX494" fmla="*/ 744306 w 1110409"/>
                <a:gd name="connsiteY494" fmla="*/ 79440 h 693846"/>
                <a:gd name="connsiteX495" fmla="*/ 743247 w 1110409"/>
                <a:gd name="connsiteY495" fmla="*/ 83464 h 693846"/>
                <a:gd name="connsiteX496" fmla="*/ 737076 w 1110409"/>
                <a:gd name="connsiteY496" fmla="*/ 85642 h 693846"/>
                <a:gd name="connsiteX497" fmla="*/ 734323 w 1110409"/>
                <a:gd name="connsiteY497" fmla="*/ 88304 h 693846"/>
                <a:gd name="connsiteX498" fmla="*/ 732266 w 1110409"/>
                <a:gd name="connsiteY498" fmla="*/ 91511 h 693846"/>
                <a:gd name="connsiteX499" fmla="*/ 731782 w 1110409"/>
                <a:gd name="connsiteY499" fmla="*/ 93144 h 693846"/>
                <a:gd name="connsiteX500" fmla="*/ 732871 w 1110409"/>
                <a:gd name="connsiteY500" fmla="*/ 93840 h 693846"/>
                <a:gd name="connsiteX501" fmla="*/ 733295 w 1110409"/>
                <a:gd name="connsiteY501" fmla="*/ 95080 h 693846"/>
                <a:gd name="connsiteX502" fmla="*/ 733204 w 1110409"/>
                <a:gd name="connsiteY502" fmla="*/ 97773 h 693846"/>
                <a:gd name="connsiteX503" fmla="*/ 732629 w 1110409"/>
                <a:gd name="connsiteY503" fmla="*/ 100465 h 693846"/>
                <a:gd name="connsiteX504" fmla="*/ 731540 w 1110409"/>
                <a:gd name="connsiteY504" fmla="*/ 101705 h 693846"/>
                <a:gd name="connsiteX505" fmla="*/ 729029 w 1110409"/>
                <a:gd name="connsiteY505" fmla="*/ 102613 h 693846"/>
                <a:gd name="connsiteX506" fmla="*/ 726065 w 1110409"/>
                <a:gd name="connsiteY506" fmla="*/ 104912 h 693846"/>
                <a:gd name="connsiteX507" fmla="*/ 723524 w 1110409"/>
                <a:gd name="connsiteY507" fmla="*/ 107937 h 693846"/>
                <a:gd name="connsiteX508" fmla="*/ 722253 w 1110409"/>
                <a:gd name="connsiteY508" fmla="*/ 111053 h 693846"/>
                <a:gd name="connsiteX509" fmla="*/ 722071 w 1110409"/>
                <a:gd name="connsiteY509" fmla="*/ 113987 h 693846"/>
                <a:gd name="connsiteX510" fmla="*/ 722314 w 1110409"/>
                <a:gd name="connsiteY510" fmla="*/ 117527 h 693846"/>
                <a:gd name="connsiteX511" fmla="*/ 722253 w 1110409"/>
                <a:gd name="connsiteY511" fmla="*/ 118828 h 693846"/>
                <a:gd name="connsiteX512" fmla="*/ 721739 w 1110409"/>
                <a:gd name="connsiteY512" fmla="*/ 120552 h 693846"/>
                <a:gd name="connsiteX513" fmla="*/ 721103 w 1110409"/>
                <a:gd name="connsiteY513" fmla="*/ 121671 h 693846"/>
                <a:gd name="connsiteX514" fmla="*/ 719500 w 1110409"/>
                <a:gd name="connsiteY514" fmla="*/ 123335 h 693846"/>
                <a:gd name="connsiteX515" fmla="*/ 719803 w 1110409"/>
                <a:gd name="connsiteY515" fmla="*/ 126330 h 693846"/>
                <a:gd name="connsiteX516" fmla="*/ 719198 w 1110409"/>
                <a:gd name="connsiteY516" fmla="*/ 128659 h 693846"/>
                <a:gd name="connsiteX517" fmla="*/ 718048 w 1110409"/>
                <a:gd name="connsiteY517" fmla="*/ 130353 h 693846"/>
                <a:gd name="connsiteX518" fmla="*/ 716747 w 1110409"/>
                <a:gd name="connsiteY518" fmla="*/ 131382 h 693846"/>
                <a:gd name="connsiteX519" fmla="*/ 716747 w 1110409"/>
                <a:gd name="connsiteY519" fmla="*/ 132804 h 693846"/>
                <a:gd name="connsiteX520" fmla="*/ 717655 w 1110409"/>
                <a:gd name="connsiteY520" fmla="*/ 134135 h 693846"/>
                <a:gd name="connsiteX521" fmla="*/ 718018 w 1110409"/>
                <a:gd name="connsiteY521" fmla="*/ 135708 h 693846"/>
                <a:gd name="connsiteX522" fmla="*/ 717897 w 1110409"/>
                <a:gd name="connsiteY522" fmla="*/ 137402 h 693846"/>
                <a:gd name="connsiteX523" fmla="*/ 717352 w 1110409"/>
                <a:gd name="connsiteY523" fmla="*/ 139005 h 693846"/>
                <a:gd name="connsiteX524" fmla="*/ 716747 w 1110409"/>
                <a:gd name="connsiteY524" fmla="*/ 139005 h 693846"/>
                <a:gd name="connsiteX525" fmla="*/ 715295 w 1110409"/>
                <a:gd name="connsiteY525" fmla="*/ 134800 h 693846"/>
                <a:gd name="connsiteX526" fmla="*/ 714630 w 1110409"/>
                <a:gd name="connsiteY526" fmla="*/ 132199 h 693846"/>
                <a:gd name="connsiteX527" fmla="*/ 713450 w 1110409"/>
                <a:gd name="connsiteY527" fmla="*/ 131110 h 693846"/>
                <a:gd name="connsiteX528" fmla="*/ 697447 w 1110409"/>
                <a:gd name="connsiteY528" fmla="*/ 131382 h 693846"/>
                <a:gd name="connsiteX529" fmla="*/ 699897 w 1110409"/>
                <a:gd name="connsiteY529" fmla="*/ 133258 h 693846"/>
                <a:gd name="connsiteX530" fmla="*/ 709124 w 1110409"/>
                <a:gd name="connsiteY530" fmla="*/ 132804 h 693846"/>
                <a:gd name="connsiteX531" fmla="*/ 707339 w 1110409"/>
                <a:gd name="connsiteY531" fmla="*/ 134286 h 693846"/>
                <a:gd name="connsiteX532" fmla="*/ 705100 w 1110409"/>
                <a:gd name="connsiteY532" fmla="*/ 135405 h 693846"/>
                <a:gd name="connsiteX533" fmla="*/ 702801 w 1110409"/>
                <a:gd name="connsiteY533" fmla="*/ 135980 h 693846"/>
                <a:gd name="connsiteX534" fmla="*/ 700835 w 1110409"/>
                <a:gd name="connsiteY534" fmla="*/ 135859 h 693846"/>
                <a:gd name="connsiteX535" fmla="*/ 701894 w 1110409"/>
                <a:gd name="connsiteY535" fmla="*/ 139217 h 693846"/>
                <a:gd name="connsiteX536" fmla="*/ 703225 w 1110409"/>
                <a:gd name="connsiteY536" fmla="*/ 142272 h 693846"/>
                <a:gd name="connsiteX537" fmla="*/ 704072 w 1110409"/>
                <a:gd name="connsiteY537" fmla="*/ 145661 h 693846"/>
                <a:gd name="connsiteX538" fmla="*/ 703679 w 1110409"/>
                <a:gd name="connsiteY538" fmla="*/ 149987 h 693846"/>
                <a:gd name="connsiteX539" fmla="*/ 702227 w 1110409"/>
                <a:gd name="connsiteY539" fmla="*/ 147022 h 693846"/>
                <a:gd name="connsiteX540" fmla="*/ 698808 w 1110409"/>
                <a:gd name="connsiteY540" fmla="*/ 137584 h 693846"/>
                <a:gd name="connsiteX541" fmla="*/ 696207 w 1110409"/>
                <a:gd name="connsiteY541" fmla="*/ 132925 h 693846"/>
                <a:gd name="connsiteX542" fmla="*/ 694482 w 1110409"/>
                <a:gd name="connsiteY542" fmla="*/ 130656 h 693846"/>
                <a:gd name="connsiteX543" fmla="*/ 691245 w 1110409"/>
                <a:gd name="connsiteY543" fmla="*/ 128417 h 693846"/>
                <a:gd name="connsiteX544" fmla="*/ 690096 w 1110409"/>
                <a:gd name="connsiteY544" fmla="*/ 125362 h 693846"/>
                <a:gd name="connsiteX545" fmla="*/ 688462 w 1110409"/>
                <a:gd name="connsiteY545" fmla="*/ 118797 h 693846"/>
                <a:gd name="connsiteX546" fmla="*/ 687192 w 1110409"/>
                <a:gd name="connsiteY546" fmla="*/ 116287 h 693846"/>
                <a:gd name="connsiteX547" fmla="*/ 683259 w 1110409"/>
                <a:gd name="connsiteY547" fmla="*/ 110569 h 693846"/>
                <a:gd name="connsiteX548" fmla="*/ 681898 w 1110409"/>
                <a:gd name="connsiteY548" fmla="*/ 109450 h 693846"/>
                <a:gd name="connsiteX549" fmla="*/ 680022 w 1110409"/>
                <a:gd name="connsiteY549" fmla="*/ 108482 h 693846"/>
                <a:gd name="connsiteX550" fmla="*/ 676785 w 1110409"/>
                <a:gd name="connsiteY550" fmla="*/ 104186 h 693846"/>
                <a:gd name="connsiteX551" fmla="*/ 675031 w 1110409"/>
                <a:gd name="connsiteY551" fmla="*/ 103218 h 693846"/>
                <a:gd name="connsiteX552" fmla="*/ 670947 w 1110409"/>
                <a:gd name="connsiteY552" fmla="*/ 103732 h 693846"/>
                <a:gd name="connsiteX553" fmla="*/ 669827 w 1110409"/>
                <a:gd name="connsiteY553" fmla="*/ 103218 h 693846"/>
                <a:gd name="connsiteX554" fmla="*/ 668950 w 1110409"/>
                <a:gd name="connsiteY554" fmla="*/ 101524 h 693846"/>
                <a:gd name="connsiteX555" fmla="*/ 667921 w 1110409"/>
                <a:gd name="connsiteY555" fmla="*/ 97016 h 693846"/>
                <a:gd name="connsiteX556" fmla="*/ 667105 w 1110409"/>
                <a:gd name="connsiteY556" fmla="*/ 95262 h 693846"/>
                <a:gd name="connsiteX557" fmla="*/ 662809 w 1110409"/>
                <a:gd name="connsiteY557" fmla="*/ 93477 h 693846"/>
                <a:gd name="connsiteX558" fmla="*/ 652886 w 1110409"/>
                <a:gd name="connsiteY558" fmla="*/ 95897 h 693846"/>
                <a:gd name="connsiteX559" fmla="*/ 649105 w 1110409"/>
                <a:gd name="connsiteY559" fmla="*/ 93840 h 693846"/>
                <a:gd name="connsiteX560" fmla="*/ 649589 w 1110409"/>
                <a:gd name="connsiteY560" fmla="*/ 93416 h 693846"/>
                <a:gd name="connsiteX561" fmla="*/ 649650 w 1110409"/>
                <a:gd name="connsiteY561" fmla="*/ 93265 h 693846"/>
                <a:gd name="connsiteX562" fmla="*/ 649650 w 1110409"/>
                <a:gd name="connsiteY562" fmla="*/ 92963 h 693846"/>
                <a:gd name="connsiteX563" fmla="*/ 649861 w 1110409"/>
                <a:gd name="connsiteY563" fmla="*/ 92116 h 693846"/>
                <a:gd name="connsiteX564" fmla="*/ 648288 w 1110409"/>
                <a:gd name="connsiteY564" fmla="*/ 91722 h 693846"/>
                <a:gd name="connsiteX565" fmla="*/ 643993 w 1110409"/>
                <a:gd name="connsiteY565" fmla="*/ 92116 h 693846"/>
                <a:gd name="connsiteX566" fmla="*/ 642601 w 1110409"/>
                <a:gd name="connsiteY566" fmla="*/ 91722 h 693846"/>
                <a:gd name="connsiteX567" fmla="*/ 640181 w 1110409"/>
                <a:gd name="connsiteY567" fmla="*/ 89756 h 693846"/>
                <a:gd name="connsiteX568" fmla="*/ 638789 w 1110409"/>
                <a:gd name="connsiteY568" fmla="*/ 89000 h 693846"/>
                <a:gd name="connsiteX569" fmla="*/ 629774 w 1110409"/>
                <a:gd name="connsiteY569" fmla="*/ 88455 h 693846"/>
                <a:gd name="connsiteX570" fmla="*/ 628443 w 1110409"/>
                <a:gd name="connsiteY570" fmla="*/ 89000 h 693846"/>
                <a:gd name="connsiteX571" fmla="*/ 625751 w 1110409"/>
                <a:gd name="connsiteY571" fmla="*/ 95595 h 693846"/>
                <a:gd name="connsiteX572" fmla="*/ 625206 w 1110409"/>
                <a:gd name="connsiteY572" fmla="*/ 106304 h 693846"/>
                <a:gd name="connsiteX573" fmla="*/ 626447 w 1110409"/>
                <a:gd name="connsiteY573" fmla="*/ 116922 h 693846"/>
                <a:gd name="connsiteX574" fmla="*/ 629169 w 1110409"/>
                <a:gd name="connsiteY574" fmla="*/ 123275 h 693846"/>
                <a:gd name="connsiteX575" fmla="*/ 629169 w 1110409"/>
                <a:gd name="connsiteY575" fmla="*/ 124999 h 693846"/>
                <a:gd name="connsiteX576" fmla="*/ 628413 w 1110409"/>
                <a:gd name="connsiteY576" fmla="*/ 124999 h 693846"/>
                <a:gd name="connsiteX577" fmla="*/ 628413 w 1110409"/>
                <a:gd name="connsiteY577" fmla="*/ 126542 h 693846"/>
                <a:gd name="connsiteX578" fmla="*/ 629684 w 1110409"/>
                <a:gd name="connsiteY578" fmla="*/ 128720 h 693846"/>
                <a:gd name="connsiteX579" fmla="*/ 631710 w 1110409"/>
                <a:gd name="connsiteY579" fmla="*/ 133409 h 693846"/>
                <a:gd name="connsiteX580" fmla="*/ 634615 w 1110409"/>
                <a:gd name="connsiteY580" fmla="*/ 135194 h 693846"/>
                <a:gd name="connsiteX581" fmla="*/ 635885 w 1110409"/>
                <a:gd name="connsiteY581" fmla="*/ 137463 h 693846"/>
                <a:gd name="connsiteX582" fmla="*/ 636248 w 1110409"/>
                <a:gd name="connsiteY582" fmla="*/ 140518 h 693846"/>
                <a:gd name="connsiteX583" fmla="*/ 635310 w 1110409"/>
                <a:gd name="connsiteY583" fmla="*/ 143725 h 693846"/>
                <a:gd name="connsiteX584" fmla="*/ 636339 w 1110409"/>
                <a:gd name="connsiteY584" fmla="*/ 145388 h 693846"/>
                <a:gd name="connsiteX585" fmla="*/ 639455 w 1110409"/>
                <a:gd name="connsiteY585" fmla="*/ 149079 h 693846"/>
                <a:gd name="connsiteX586" fmla="*/ 640816 w 1110409"/>
                <a:gd name="connsiteY586" fmla="*/ 149926 h 693846"/>
                <a:gd name="connsiteX587" fmla="*/ 641179 w 1110409"/>
                <a:gd name="connsiteY587" fmla="*/ 149503 h 693846"/>
                <a:gd name="connsiteX588" fmla="*/ 641996 w 1110409"/>
                <a:gd name="connsiteY588" fmla="*/ 147355 h 693846"/>
                <a:gd name="connsiteX589" fmla="*/ 642510 w 1110409"/>
                <a:gd name="connsiteY589" fmla="*/ 146871 h 693846"/>
                <a:gd name="connsiteX590" fmla="*/ 643025 w 1110409"/>
                <a:gd name="connsiteY590" fmla="*/ 147082 h 693846"/>
                <a:gd name="connsiteX591" fmla="*/ 643297 w 1110409"/>
                <a:gd name="connsiteY591" fmla="*/ 147536 h 693846"/>
                <a:gd name="connsiteX592" fmla="*/ 643448 w 1110409"/>
                <a:gd name="connsiteY592" fmla="*/ 148020 h 693846"/>
                <a:gd name="connsiteX593" fmla="*/ 643539 w 1110409"/>
                <a:gd name="connsiteY593" fmla="*/ 148262 h 693846"/>
                <a:gd name="connsiteX594" fmla="*/ 644295 w 1110409"/>
                <a:gd name="connsiteY594" fmla="*/ 149019 h 693846"/>
                <a:gd name="connsiteX595" fmla="*/ 646292 w 1110409"/>
                <a:gd name="connsiteY595" fmla="*/ 153042 h 693846"/>
                <a:gd name="connsiteX596" fmla="*/ 646836 w 1110409"/>
                <a:gd name="connsiteY596" fmla="*/ 153254 h 693846"/>
                <a:gd name="connsiteX597" fmla="*/ 647532 w 1110409"/>
                <a:gd name="connsiteY597" fmla="*/ 153012 h 693846"/>
                <a:gd name="connsiteX598" fmla="*/ 648137 w 1110409"/>
                <a:gd name="connsiteY598" fmla="*/ 153012 h 693846"/>
                <a:gd name="connsiteX599" fmla="*/ 648379 w 1110409"/>
                <a:gd name="connsiteY599" fmla="*/ 153829 h 693846"/>
                <a:gd name="connsiteX600" fmla="*/ 648319 w 1110409"/>
                <a:gd name="connsiteY600" fmla="*/ 156975 h 693846"/>
                <a:gd name="connsiteX601" fmla="*/ 648379 w 1110409"/>
                <a:gd name="connsiteY601" fmla="*/ 157701 h 693846"/>
                <a:gd name="connsiteX602" fmla="*/ 651404 w 1110409"/>
                <a:gd name="connsiteY602" fmla="*/ 168410 h 693846"/>
                <a:gd name="connsiteX603" fmla="*/ 651707 w 1110409"/>
                <a:gd name="connsiteY603" fmla="*/ 172010 h 693846"/>
                <a:gd name="connsiteX604" fmla="*/ 651132 w 1110409"/>
                <a:gd name="connsiteY604" fmla="*/ 176184 h 693846"/>
                <a:gd name="connsiteX605" fmla="*/ 650648 w 1110409"/>
                <a:gd name="connsiteY605" fmla="*/ 176910 h 693846"/>
                <a:gd name="connsiteX606" fmla="*/ 648924 w 1110409"/>
                <a:gd name="connsiteY606" fmla="*/ 178393 h 693846"/>
                <a:gd name="connsiteX607" fmla="*/ 648379 w 1110409"/>
                <a:gd name="connsiteY607" fmla="*/ 179270 h 693846"/>
                <a:gd name="connsiteX608" fmla="*/ 647986 w 1110409"/>
                <a:gd name="connsiteY608" fmla="*/ 181660 h 693846"/>
                <a:gd name="connsiteX609" fmla="*/ 648076 w 1110409"/>
                <a:gd name="connsiteY609" fmla="*/ 183263 h 693846"/>
                <a:gd name="connsiteX610" fmla="*/ 648319 w 1110409"/>
                <a:gd name="connsiteY610" fmla="*/ 184836 h 693846"/>
                <a:gd name="connsiteX611" fmla="*/ 648379 w 1110409"/>
                <a:gd name="connsiteY611" fmla="*/ 186954 h 693846"/>
                <a:gd name="connsiteX612" fmla="*/ 648046 w 1110409"/>
                <a:gd name="connsiteY612" fmla="*/ 188224 h 693846"/>
                <a:gd name="connsiteX613" fmla="*/ 647502 w 1110409"/>
                <a:gd name="connsiteY613" fmla="*/ 189253 h 693846"/>
                <a:gd name="connsiteX614" fmla="*/ 647199 w 1110409"/>
                <a:gd name="connsiteY614" fmla="*/ 190705 h 693846"/>
                <a:gd name="connsiteX615" fmla="*/ 647653 w 1110409"/>
                <a:gd name="connsiteY615" fmla="*/ 193246 h 693846"/>
                <a:gd name="connsiteX616" fmla="*/ 648258 w 1110409"/>
                <a:gd name="connsiteY616" fmla="*/ 194123 h 693846"/>
                <a:gd name="connsiteX617" fmla="*/ 650345 w 1110409"/>
                <a:gd name="connsiteY617" fmla="*/ 195606 h 693846"/>
                <a:gd name="connsiteX618" fmla="*/ 651162 w 1110409"/>
                <a:gd name="connsiteY618" fmla="*/ 196453 h 693846"/>
                <a:gd name="connsiteX619" fmla="*/ 652160 w 1110409"/>
                <a:gd name="connsiteY619" fmla="*/ 199145 h 693846"/>
                <a:gd name="connsiteX620" fmla="*/ 653007 w 1110409"/>
                <a:gd name="connsiteY620" fmla="*/ 203199 h 693846"/>
                <a:gd name="connsiteX621" fmla="*/ 653098 w 1110409"/>
                <a:gd name="connsiteY621" fmla="*/ 207313 h 693846"/>
                <a:gd name="connsiteX622" fmla="*/ 651828 w 1110409"/>
                <a:gd name="connsiteY622" fmla="*/ 210096 h 693846"/>
                <a:gd name="connsiteX623" fmla="*/ 650194 w 1110409"/>
                <a:gd name="connsiteY623" fmla="*/ 209552 h 693846"/>
                <a:gd name="connsiteX624" fmla="*/ 648984 w 1110409"/>
                <a:gd name="connsiteY624" fmla="*/ 206375 h 693846"/>
                <a:gd name="connsiteX625" fmla="*/ 648500 w 1110409"/>
                <a:gd name="connsiteY625" fmla="*/ 202352 h 693846"/>
                <a:gd name="connsiteX626" fmla="*/ 649045 w 1110409"/>
                <a:gd name="connsiteY626" fmla="*/ 199357 h 693846"/>
                <a:gd name="connsiteX627" fmla="*/ 644295 w 1110409"/>
                <a:gd name="connsiteY627" fmla="*/ 194759 h 693846"/>
                <a:gd name="connsiteX628" fmla="*/ 641361 w 1110409"/>
                <a:gd name="connsiteY628" fmla="*/ 190766 h 693846"/>
                <a:gd name="connsiteX629" fmla="*/ 640483 w 1110409"/>
                <a:gd name="connsiteY629" fmla="*/ 190130 h 693846"/>
                <a:gd name="connsiteX630" fmla="*/ 640151 w 1110409"/>
                <a:gd name="connsiteY630" fmla="*/ 188678 h 693846"/>
                <a:gd name="connsiteX631" fmla="*/ 640151 w 1110409"/>
                <a:gd name="connsiteY631" fmla="*/ 179240 h 693846"/>
                <a:gd name="connsiteX632" fmla="*/ 639606 w 1110409"/>
                <a:gd name="connsiteY632" fmla="*/ 177515 h 693846"/>
                <a:gd name="connsiteX633" fmla="*/ 637761 w 1110409"/>
                <a:gd name="connsiteY633" fmla="*/ 173462 h 693846"/>
                <a:gd name="connsiteX634" fmla="*/ 637367 w 1110409"/>
                <a:gd name="connsiteY634" fmla="*/ 170890 h 693846"/>
                <a:gd name="connsiteX635" fmla="*/ 637579 w 1110409"/>
                <a:gd name="connsiteY635" fmla="*/ 164598 h 693846"/>
                <a:gd name="connsiteX636" fmla="*/ 637307 w 1110409"/>
                <a:gd name="connsiteY636" fmla="*/ 162753 h 693846"/>
                <a:gd name="connsiteX637" fmla="*/ 636309 w 1110409"/>
                <a:gd name="connsiteY637" fmla="*/ 159939 h 693846"/>
                <a:gd name="connsiteX638" fmla="*/ 635613 w 1110409"/>
                <a:gd name="connsiteY638" fmla="*/ 159123 h 693846"/>
                <a:gd name="connsiteX639" fmla="*/ 634705 w 1110409"/>
                <a:gd name="connsiteY639" fmla="*/ 158941 h 693846"/>
                <a:gd name="connsiteX640" fmla="*/ 632860 w 1110409"/>
                <a:gd name="connsiteY640" fmla="*/ 159213 h 693846"/>
                <a:gd name="connsiteX641" fmla="*/ 632043 w 1110409"/>
                <a:gd name="connsiteY641" fmla="*/ 158911 h 693846"/>
                <a:gd name="connsiteX642" fmla="*/ 631710 w 1110409"/>
                <a:gd name="connsiteY642" fmla="*/ 158154 h 693846"/>
                <a:gd name="connsiteX643" fmla="*/ 631529 w 1110409"/>
                <a:gd name="connsiteY643" fmla="*/ 157156 h 693846"/>
                <a:gd name="connsiteX644" fmla="*/ 630652 w 1110409"/>
                <a:gd name="connsiteY644" fmla="*/ 154161 h 693846"/>
                <a:gd name="connsiteX645" fmla="*/ 630137 w 1110409"/>
                <a:gd name="connsiteY645" fmla="*/ 151529 h 693846"/>
                <a:gd name="connsiteX646" fmla="*/ 629351 w 1110409"/>
                <a:gd name="connsiteY646" fmla="*/ 149200 h 693846"/>
                <a:gd name="connsiteX647" fmla="*/ 627022 w 1110409"/>
                <a:gd name="connsiteY647" fmla="*/ 147476 h 693846"/>
                <a:gd name="connsiteX648" fmla="*/ 625327 w 1110409"/>
                <a:gd name="connsiteY648" fmla="*/ 143755 h 693846"/>
                <a:gd name="connsiteX649" fmla="*/ 624238 w 1110409"/>
                <a:gd name="connsiteY649" fmla="*/ 142000 h 693846"/>
                <a:gd name="connsiteX650" fmla="*/ 623240 w 1110409"/>
                <a:gd name="connsiteY650" fmla="*/ 141244 h 693846"/>
                <a:gd name="connsiteX651" fmla="*/ 615768 w 1110409"/>
                <a:gd name="connsiteY651" fmla="*/ 140215 h 693846"/>
                <a:gd name="connsiteX652" fmla="*/ 611109 w 1110409"/>
                <a:gd name="connsiteY652" fmla="*/ 137493 h 693846"/>
                <a:gd name="connsiteX653" fmla="*/ 603909 w 1110409"/>
                <a:gd name="connsiteY653" fmla="*/ 135799 h 693846"/>
                <a:gd name="connsiteX654" fmla="*/ 603667 w 1110409"/>
                <a:gd name="connsiteY654" fmla="*/ 134044 h 693846"/>
                <a:gd name="connsiteX655" fmla="*/ 604454 w 1110409"/>
                <a:gd name="connsiteY655" fmla="*/ 130051 h 693846"/>
                <a:gd name="connsiteX656" fmla="*/ 606330 w 1110409"/>
                <a:gd name="connsiteY656" fmla="*/ 123244 h 693846"/>
                <a:gd name="connsiteX657" fmla="*/ 605240 w 1110409"/>
                <a:gd name="connsiteY657" fmla="*/ 119705 h 693846"/>
                <a:gd name="connsiteX658" fmla="*/ 604454 w 1110409"/>
                <a:gd name="connsiteY658" fmla="*/ 115076 h 693846"/>
                <a:gd name="connsiteX659" fmla="*/ 603486 w 1110409"/>
                <a:gd name="connsiteY659" fmla="*/ 111083 h 693846"/>
                <a:gd name="connsiteX660" fmla="*/ 601913 w 1110409"/>
                <a:gd name="connsiteY660" fmla="*/ 109359 h 693846"/>
                <a:gd name="connsiteX661" fmla="*/ 600793 w 1110409"/>
                <a:gd name="connsiteY661" fmla="*/ 108572 h 693846"/>
                <a:gd name="connsiteX662" fmla="*/ 599523 w 1110409"/>
                <a:gd name="connsiteY662" fmla="*/ 107060 h 693846"/>
                <a:gd name="connsiteX663" fmla="*/ 598192 w 1110409"/>
                <a:gd name="connsiteY663" fmla="*/ 106092 h 693846"/>
                <a:gd name="connsiteX664" fmla="*/ 597012 w 1110409"/>
                <a:gd name="connsiteY664" fmla="*/ 106969 h 693846"/>
                <a:gd name="connsiteX665" fmla="*/ 596014 w 1110409"/>
                <a:gd name="connsiteY665" fmla="*/ 108270 h 693846"/>
                <a:gd name="connsiteX666" fmla="*/ 594652 w 1110409"/>
                <a:gd name="connsiteY666" fmla="*/ 109117 h 693846"/>
                <a:gd name="connsiteX667" fmla="*/ 593200 w 1110409"/>
                <a:gd name="connsiteY667" fmla="*/ 109480 h 693846"/>
                <a:gd name="connsiteX668" fmla="*/ 591930 w 1110409"/>
                <a:gd name="connsiteY668" fmla="*/ 109359 h 693846"/>
                <a:gd name="connsiteX669" fmla="*/ 594773 w 1110409"/>
                <a:gd name="connsiteY669" fmla="*/ 103551 h 693846"/>
                <a:gd name="connsiteX670" fmla="*/ 595923 w 1110409"/>
                <a:gd name="connsiteY670" fmla="*/ 99920 h 693846"/>
                <a:gd name="connsiteX671" fmla="*/ 594985 w 1110409"/>
                <a:gd name="connsiteY671" fmla="*/ 98287 h 693846"/>
                <a:gd name="connsiteX672" fmla="*/ 593140 w 1110409"/>
                <a:gd name="connsiteY672" fmla="*/ 96865 h 693846"/>
                <a:gd name="connsiteX673" fmla="*/ 591053 w 1110409"/>
                <a:gd name="connsiteY673" fmla="*/ 93870 h 693846"/>
                <a:gd name="connsiteX674" fmla="*/ 588632 w 1110409"/>
                <a:gd name="connsiteY674" fmla="*/ 91117 h 693846"/>
                <a:gd name="connsiteX675" fmla="*/ 585698 w 1110409"/>
                <a:gd name="connsiteY675" fmla="*/ 90482 h 693846"/>
                <a:gd name="connsiteX676" fmla="*/ 578438 w 1110409"/>
                <a:gd name="connsiteY676" fmla="*/ 97500 h 693846"/>
                <a:gd name="connsiteX677" fmla="*/ 577318 w 1110409"/>
                <a:gd name="connsiteY677" fmla="*/ 97591 h 693846"/>
                <a:gd name="connsiteX678" fmla="*/ 577651 w 1110409"/>
                <a:gd name="connsiteY678" fmla="*/ 94173 h 693846"/>
                <a:gd name="connsiteX679" fmla="*/ 579345 w 1110409"/>
                <a:gd name="connsiteY679" fmla="*/ 89181 h 693846"/>
                <a:gd name="connsiteX680" fmla="*/ 580132 w 1110409"/>
                <a:gd name="connsiteY680" fmla="*/ 85763 h 693846"/>
                <a:gd name="connsiteX681" fmla="*/ 575080 w 1110409"/>
                <a:gd name="connsiteY681" fmla="*/ 83433 h 693846"/>
                <a:gd name="connsiteX682" fmla="*/ 572357 w 1110409"/>
                <a:gd name="connsiteY682" fmla="*/ 82980 h 693846"/>
                <a:gd name="connsiteX683" fmla="*/ 570512 w 1110409"/>
                <a:gd name="connsiteY683" fmla="*/ 84341 h 693846"/>
                <a:gd name="connsiteX684" fmla="*/ 570814 w 1110409"/>
                <a:gd name="connsiteY684" fmla="*/ 85218 h 693846"/>
                <a:gd name="connsiteX685" fmla="*/ 571268 w 1110409"/>
                <a:gd name="connsiteY685" fmla="*/ 87487 h 693846"/>
                <a:gd name="connsiteX686" fmla="*/ 568969 w 1110409"/>
                <a:gd name="connsiteY686" fmla="*/ 92418 h 693846"/>
                <a:gd name="connsiteX687" fmla="*/ 567638 w 1110409"/>
                <a:gd name="connsiteY687" fmla="*/ 94415 h 693846"/>
                <a:gd name="connsiteX688" fmla="*/ 565702 w 1110409"/>
                <a:gd name="connsiteY688" fmla="*/ 95141 h 693846"/>
                <a:gd name="connsiteX689" fmla="*/ 566428 w 1110409"/>
                <a:gd name="connsiteY689" fmla="*/ 87790 h 693846"/>
                <a:gd name="connsiteX690" fmla="*/ 563221 w 1110409"/>
                <a:gd name="connsiteY690" fmla="*/ 86368 h 693846"/>
                <a:gd name="connsiteX691" fmla="*/ 554237 w 1110409"/>
                <a:gd name="connsiteY691" fmla="*/ 89453 h 693846"/>
                <a:gd name="connsiteX692" fmla="*/ 550758 w 1110409"/>
                <a:gd name="connsiteY692" fmla="*/ 92327 h 693846"/>
                <a:gd name="connsiteX693" fmla="*/ 549790 w 1110409"/>
                <a:gd name="connsiteY693" fmla="*/ 93719 h 693846"/>
                <a:gd name="connsiteX694" fmla="*/ 549124 w 1110409"/>
                <a:gd name="connsiteY694" fmla="*/ 96139 h 693846"/>
                <a:gd name="connsiteX695" fmla="*/ 548035 w 1110409"/>
                <a:gd name="connsiteY695" fmla="*/ 101524 h 693846"/>
                <a:gd name="connsiteX696" fmla="*/ 547097 w 1110409"/>
                <a:gd name="connsiteY696" fmla="*/ 103097 h 693846"/>
                <a:gd name="connsiteX697" fmla="*/ 547097 w 1110409"/>
                <a:gd name="connsiteY697" fmla="*/ 104519 h 693846"/>
                <a:gd name="connsiteX698" fmla="*/ 547642 w 1110409"/>
                <a:gd name="connsiteY698" fmla="*/ 104882 h 693846"/>
                <a:gd name="connsiteX699" fmla="*/ 548610 w 1110409"/>
                <a:gd name="connsiteY699" fmla="*/ 105820 h 693846"/>
                <a:gd name="connsiteX700" fmla="*/ 549154 w 1110409"/>
                <a:gd name="connsiteY700" fmla="*/ 106183 h 693846"/>
                <a:gd name="connsiteX701" fmla="*/ 549154 w 1110409"/>
                <a:gd name="connsiteY701" fmla="*/ 107604 h 693846"/>
                <a:gd name="connsiteX702" fmla="*/ 548459 w 1110409"/>
                <a:gd name="connsiteY702" fmla="*/ 107604 h 693846"/>
                <a:gd name="connsiteX703" fmla="*/ 548973 w 1110409"/>
                <a:gd name="connsiteY703" fmla="*/ 109752 h 693846"/>
                <a:gd name="connsiteX704" fmla="*/ 549638 w 1110409"/>
                <a:gd name="connsiteY704" fmla="*/ 111416 h 693846"/>
                <a:gd name="connsiteX705" fmla="*/ 550546 w 1110409"/>
                <a:gd name="connsiteY705" fmla="*/ 112717 h 693846"/>
                <a:gd name="connsiteX706" fmla="*/ 551816 w 1110409"/>
                <a:gd name="connsiteY706" fmla="*/ 113836 h 693846"/>
                <a:gd name="connsiteX707" fmla="*/ 549759 w 1110409"/>
                <a:gd name="connsiteY707" fmla="*/ 113352 h 693846"/>
                <a:gd name="connsiteX708" fmla="*/ 546341 w 1110409"/>
                <a:gd name="connsiteY708" fmla="*/ 110055 h 693846"/>
                <a:gd name="connsiteX709" fmla="*/ 544314 w 1110409"/>
                <a:gd name="connsiteY709" fmla="*/ 109298 h 693846"/>
                <a:gd name="connsiteX710" fmla="*/ 544707 w 1110409"/>
                <a:gd name="connsiteY710" fmla="*/ 107060 h 693846"/>
                <a:gd name="connsiteX711" fmla="*/ 544980 w 1110409"/>
                <a:gd name="connsiteY711" fmla="*/ 106183 h 693846"/>
                <a:gd name="connsiteX712" fmla="*/ 544012 w 1110409"/>
                <a:gd name="connsiteY712" fmla="*/ 105971 h 693846"/>
                <a:gd name="connsiteX713" fmla="*/ 543134 w 1110409"/>
                <a:gd name="connsiteY713" fmla="*/ 106152 h 693846"/>
                <a:gd name="connsiteX714" fmla="*/ 542318 w 1110409"/>
                <a:gd name="connsiteY714" fmla="*/ 106727 h 693846"/>
                <a:gd name="connsiteX715" fmla="*/ 541531 w 1110409"/>
                <a:gd name="connsiteY715" fmla="*/ 107635 h 693846"/>
                <a:gd name="connsiteX716" fmla="*/ 541743 w 1110409"/>
                <a:gd name="connsiteY716" fmla="*/ 111416 h 693846"/>
                <a:gd name="connsiteX717" fmla="*/ 539232 w 1110409"/>
                <a:gd name="connsiteY717" fmla="*/ 110993 h 693846"/>
                <a:gd name="connsiteX718" fmla="*/ 534513 w 1110409"/>
                <a:gd name="connsiteY718" fmla="*/ 107635 h 693846"/>
                <a:gd name="connsiteX719" fmla="*/ 521081 w 1110409"/>
                <a:gd name="connsiteY719" fmla="*/ 109752 h 693846"/>
                <a:gd name="connsiteX720" fmla="*/ 515333 w 1110409"/>
                <a:gd name="connsiteY720" fmla="*/ 112596 h 693846"/>
                <a:gd name="connsiteX721" fmla="*/ 513518 w 1110409"/>
                <a:gd name="connsiteY721" fmla="*/ 114683 h 693846"/>
                <a:gd name="connsiteX722" fmla="*/ 512550 w 1110409"/>
                <a:gd name="connsiteY722" fmla="*/ 116498 h 693846"/>
                <a:gd name="connsiteX723" fmla="*/ 512127 w 1110409"/>
                <a:gd name="connsiteY723" fmla="*/ 117103 h 693846"/>
                <a:gd name="connsiteX724" fmla="*/ 512127 w 1110409"/>
                <a:gd name="connsiteY724" fmla="*/ 117890 h 693846"/>
                <a:gd name="connsiteX725" fmla="*/ 513095 w 1110409"/>
                <a:gd name="connsiteY725" fmla="*/ 122730 h 693846"/>
                <a:gd name="connsiteX726" fmla="*/ 513881 w 1110409"/>
                <a:gd name="connsiteY726" fmla="*/ 124969 h 693846"/>
                <a:gd name="connsiteX727" fmla="*/ 514849 w 1110409"/>
                <a:gd name="connsiteY727" fmla="*/ 126814 h 693846"/>
                <a:gd name="connsiteX728" fmla="*/ 515969 w 1110409"/>
                <a:gd name="connsiteY728" fmla="*/ 128115 h 693846"/>
                <a:gd name="connsiteX729" fmla="*/ 514456 w 1110409"/>
                <a:gd name="connsiteY729" fmla="*/ 130716 h 693846"/>
                <a:gd name="connsiteX730" fmla="*/ 512550 w 1110409"/>
                <a:gd name="connsiteY730" fmla="*/ 132622 h 693846"/>
                <a:gd name="connsiteX731" fmla="*/ 510553 w 1110409"/>
                <a:gd name="connsiteY731" fmla="*/ 133772 h 693846"/>
                <a:gd name="connsiteX732" fmla="*/ 508738 w 1110409"/>
                <a:gd name="connsiteY732" fmla="*/ 134165 h 693846"/>
                <a:gd name="connsiteX733" fmla="*/ 507498 w 1110409"/>
                <a:gd name="connsiteY733" fmla="*/ 134952 h 693846"/>
                <a:gd name="connsiteX734" fmla="*/ 506651 w 1110409"/>
                <a:gd name="connsiteY734" fmla="*/ 136767 h 693846"/>
                <a:gd name="connsiteX735" fmla="*/ 506197 w 1110409"/>
                <a:gd name="connsiteY735" fmla="*/ 138915 h 693846"/>
                <a:gd name="connsiteX736" fmla="*/ 506197 w 1110409"/>
                <a:gd name="connsiteY736" fmla="*/ 140518 h 693846"/>
                <a:gd name="connsiteX737" fmla="*/ 512157 w 1110409"/>
                <a:gd name="connsiteY737" fmla="*/ 146719 h 693846"/>
                <a:gd name="connsiteX738" fmla="*/ 512429 w 1110409"/>
                <a:gd name="connsiteY738" fmla="*/ 148141 h 693846"/>
                <a:gd name="connsiteX739" fmla="*/ 515303 w 1110409"/>
                <a:gd name="connsiteY739" fmla="*/ 156007 h 693846"/>
                <a:gd name="connsiteX740" fmla="*/ 516755 w 1110409"/>
                <a:gd name="connsiteY740" fmla="*/ 161573 h 693846"/>
                <a:gd name="connsiteX741" fmla="*/ 517421 w 1110409"/>
                <a:gd name="connsiteY741" fmla="*/ 166897 h 693846"/>
                <a:gd name="connsiteX742" fmla="*/ 517360 w 1110409"/>
                <a:gd name="connsiteY742" fmla="*/ 172584 h 693846"/>
                <a:gd name="connsiteX743" fmla="*/ 516664 w 1110409"/>
                <a:gd name="connsiteY743" fmla="*/ 179149 h 693846"/>
                <a:gd name="connsiteX744" fmla="*/ 515515 w 1110409"/>
                <a:gd name="connsiteY744" fmla="*/ 185562 h 693846"/>
                <a:gd name="connsiteX745" fmla="*/ 514607 w 1110409"/>
                <a:gd name="connsiteY745" fmla="*/ 188708 h 693846"/>
                <a:gd name="connsiteX746" fmla="*/ 513548 w 1110409"/>
                <a:gd name="connsiteY746" fmla="*/ 190070 h 693846"/>
                <a:gd name="connsiteX747" fmla="*/ 511703 w 1110409"/>
                <a:gd name="connsiteY747" fmla="*/ 191189 h 693846"/>
                <a:gd name="connsiteX748" fmla="*/ 510856 w 1110409"/>
                <a:gd name="connsiteY748" fmla="*/ 191129 h 693846"/>
                <a:gd name="connsiteX749" fmla="*/ 510493 w 1110409"/>
                <a:gd name="connsiteY749" fmla="*/ 189313 h 693846"/>
                <a:gd name="connsiteX750" fmla="*/ 510795 w 1110409"/>
                <a:gd name="connsiteY750" fmla="*/ 188285 h 693846"/>
                <a:gd name="connsiteX751" fmla="*/ 511522 w 1110409"/>
                <a:gd name="connsiteY751" fmla="*/ 187529 h 693846"/>
                <a:gd name="connsiteX752" fmla="*/ 512399 w 1110409"/>
                <a:gd name="connsiteY752" fmla="*/ 187045 h 693846"/>
                <a:gd name="connsiteX753" fmla="*/ 509555 w 1110409"/>
                <a:gd name="connsiteY753" fmla="*/ 187166 h 693846"/>
                <a:gd name="connsiteX754" fmla="*/ 508406 w 1110409"/>
                <a:gd name="connsiteY754" fmla="*/ 186863 h 693846"/>
                <a:gd name="connsiteX755" fmla="*/ 507680 w 1110409"/>
                <a:gd name="connsiteY755" fmla="*/ 186228 h 693846"/>
                <a:gd name="connsiteX756" fmla="*/ 506288 w 1110409"/>
                <a:gd name="connsiteY756" fmla="*/ 184322 h 693846"/>
                <a:gd name="connsiteX757" fmla="*/ 505895 w 1110409"/>
                <a:gd name="connsiteY757" fmla="*/ 183929 h 693846"/>
                <a:gd name="connsiteX758" fmla="*/ 502809 w 1110409"/>
                <a:gd name="connsiteY758" fmla="*/ 183566 h 693846"/>
                <a:gd name="connsiteX759" fmla="*/ 502113 w 1110409"/>
                <a:gd name="connsiteY759" fmla="*/ 185260 h 693846"/>
                <a:gd name="connsiteX760" fmla="*/ 501478 w 1110409"/>
                <a:gd name="connsiteY760" fmla="*/ 190070 h 693846"/>
                <a:gd name="connsiteX761" fmla="*/ 499451 w 1110409"/>
                <a:gd name="connsiteY761" fmla="*/ 187256 h 693846"/>
                <a:gd name="connsiteX762" fmla="*/ 494308 w 1110409"/>
                <a:gd name="connsiteY762" fmla="*/ 185835 h 693846"/>
                <a:gd name="connsiteX763" fmla="*/ 492130 w 1110409"/>
                <a:gd name="connsiteY763" fmla="*/ 183082 h 693846"/>
                <a:gd name="connsiteX764" fmla="*/ 491465 w 1110409"/>
                <a:gd name="connsiteY764" fmla="*/ 180480 h 693846"/>
                <a:gd name="connsiteX765" fmla="*/ 490920 w 1110409"/>
                <a:gd name="connsiteY765" fmla="*/ 174400 h 693846"/>
                <a:gd name="connsiteX766" fmla="*/ 490467 w 1110409"/>
                <a:gd name="connsiteY766" fmla="*/ 171616 h 693846"/>
                <a:gd name="connsiteX767" fmla="*/ 489862 w 1110409"/>
                <a:gd name="connsiteY767" fmla="*/ 169953 h 693846"/>
                <a:gd name="connsiteX768" fmla="*/ 487653 w 1110409"/>
                <a:gd name="connsiteY768" fmla="*/ 165445 h 693846"/>
                <a:gd name="connsiteX769" fmla="*/ 487351 w 1110409"/>
                <a:gd name="connsiteY769" fmla="*/ 163963 h 693846"/>
                <a:gd name="connsiteX770" fmla="*/ 487199 w 1110409"/>
                <a:gd name="connsiteY770" fmla="*/ 162390 h 693846"/>
                <a:gd name="connsiteX771" fmla="*/ 486927 w 1110409"/>
                <a:gd name="connsiteY771" fmla="*/ 160786 h 693846"/>
                <a:gd name="connsiteX772" fmla="*/ 486292 w 1110409"/>
                <a:gd name="connsiteY772" fmla="*/ 159153 h 693846"/>
                <a:gd name="connsiteX773" fmla="*/ 485747 w 1110409"/>
                <a:gd name="connsiteY773" fmla="*/ 158790 h 693846"/>
                <a:gd name="connsiteX774" fmla="*/ 484446 w 1110409"/>
                <a:gd name="connsiteY774" fmla="*/ 159002 h 693846"/>
                <a:gd name="connsiteX775" fmla="*/ 483872 w 1110409"/>
                <a:gd name="connsiteY775" fmla="*/ 158397 h 693846"/>
                <a:gd name="connsiteX776" fmla="*/ 482631 w 1110409"/>
                <a:gd name="connsiteY776" fmla="*/ 156521 h 693846"/>
                <a:gd name="connsiteX777" fmla="*/ 481512 w 1110409"/>
                <a:gd name="connsiteY777" fmla="*/ 156309 h 693846"/>
                <a:gd name="connsiteX778" fmla="*/ 480302 w 1110409"/>
                <a:gd name="connsiteY778" fmla="*/ 156370 h 693846"/>
                <a:gd name="connsiteX779" fmla="*/ 476279 w 1110409"/>
                <a:gd name="connsiteY779" fmla="*/ 153889 h 693846"/>
                <a:gd name="connsiteX780" fmla="*/ 470864 w 1110409"/>
                <a:gd name="connsiteY780" fmla="*/ 153072 h 693846"/>
                <a:gd name="connsiteX781" fmla="*/ 469049 w 1110409"/>
                <a:gd name="connsiteY781" fmla="*/ 151469 h 693846"/>
                <a:gd name="connsiteX782" fmla="*/ 469260 w 1110409"/>
                <a:gd name="connsiteY782" fmla="*/ 147324 h 693846"/>
                <a:gd name="connsiteX783" fmla="*/ 467385 w 1110409"/>
                <a:gd name="connsiteY783" fmla="*/ 144451 h 693846"/>
                <a:gd name="connsiteX784" fmla="*/ 464783 w 1110409"/>
                <a:gd name="connsiteY784" fmla="*/ 141970 h 693846"/>
                <a:gd name="connsiteX785" fmla="*/ 462817 w 1110409"/>
                <a:gd name="connsiteY785" fmla="*/ 138945 h 693846"/>
                <a:gd name="connsiteX786" fmla="*/ 463180 w 1110409"/>
                <a:gd name="connsiteY786" fmla="*/ 138249 h 693846"/>
                <a:gd name="connsiteX787" fmla="*/ 463785 w 1110409"/>
                <a:gd name="connsiteY787" fmla="*/ 136555 h 693846"/>
                <a:gd name="connsiteX788" fmla="*/ 464148 w 1110409"/>
                <a:gd name="connsiteY788" fmla="*/ 135859 h 693846"/>
                <a:gd name="connsiteX789" fmla="*/ 462938 w 1110409"/>
                <a:gd name="connsiteY789" fmla="*/ 134891 h 693846"/>
                <a:gd name="connsiteX790" fmla="*/ 462423 w 1110409"/>
                <a:gd name="connsiteY790" fmla="*/ 133439 h 693846"/>
                <a:gd name="connsiteX791" fmla="*/ 462091 w 1110409"/>
                <a:gd name="connsiteY791" fmla="*/ 131654 h 693846"/>
                <a:gd name="connsiteX792" fmla="*/ 461486 w 1110409"/>
                <a:gd name="connsiteY792" fmla="*/ 129658 h 693846"/>
                <a:gd name="connsiteX793" fmla="*/ 457250 w 1110409"/>
                <a:gd name="connsiteY793" fmla="*/ 122155 h 693846"/>
                <a:gd name="connsiteX794" fmla="*/ 455919 w 1110409"/>
                <a:gd name="connsiteY794" fmla="*/ 118767 h 693846"/>
                <a:gd name="connsiteX795" fmla="*/ 454951 w 1110409"/>
                <a:gd name="connsiteY795" fmla="*/ 115318 h 693846"/>
                <a:gd name="connsiteX796" fmla="*/ 454225 w 1110409"/>
                <a:gd name="connsiteY796" fmla="*/ 113594 h 693846"/>
                <a:gd name="connsiteX797" fmla="*/ 453167 w 1110409"/>
                <a:gd name="connsiteY797" fmla="*/ 112687 h 693846"/>
                <a:gd name="connsiteX798" fmla="*/ 453862 w 1110409"/>
                <a:gd name="connsiteY798" fmla="*/ 110962 h 693846"/>
                <a:gd name="connsiteX799" fmla="*/ 451472 w 1110409"/>
                <a:gd name="connsiteY799" fmla="*/ 109510 h 693846"/>
                <a:gd name="connsiteX800" fmla="*/ 449536 w 1110409"/>
                <a:gd name="connsiteY800" fmla="*/ 107786 h 693846"/>
                <a:gd name="connsiteX801" fmla="*/ 448205 w 1110409"/>
                <a:gd name="connsiteY801" fmla="*/ 104942 h 693846"/>
                <a:gd name="connsiteX802" fmla="*/ 447691 w 1110409"/>
                <a:gd name="connsiteY802" fmla="*/ 100072 h 693846"/>
                <a:gd name="connsiteX803" fmla="*/ 445543 w 1110409"/>
                <a:gd name="connsiteY803" fmla="*/ 101978 h 693846"/>
                <a:gd name="connsiteX804" fmla="*/ 444394 w 1110409"/>
                <a:gd name="connsiteY804" fmla="*/ 101857 h 693846"/>
                <a:gd name="connsiteX805" fmla="*/ 443305 w 1110409"/>
                <a:gd name="connsiteY805" fmla="*/ 101736 h 693846"/>
                <a:gd name="connsiteX806" fmla="*/ 438374 w 1110409"/>
                <a:gd name="connsiteY806" fmla="*/ 100072 h 693846"/>
                <a:gd name="connsiteX807" fmla="*/ 436770 w 1110409"/>
                <a:gd name="connsiteY807" fmla="*/ 101010 h 693846"/>
                <a:gd name="connsiteX808" fmla="*/ 433140 w 1110409"/>
                <a:gd name="connsiteY808" fmla="*/ 105275 h 693846"/>
                <a:gd name="connsiteX809" fmla="*/ 431204 w 1110409"/>
                <a:gd name="connsiteY809" fmla="*/ 106304 h 693846"/>
                <a:gd name="connsiteX810" fmla="*/ 427665 w 1110409"/>
                <a:gd name="connsiteY810" fmla="*/ 105910 h 693846"/>
                <a:gd name="connsiteX811" fmla="*/ 426334 w 1110409"/>
                <a:gd name="connsiteY811" fmla="*/ 106304 h 693846"/>
                <a:gd name="connsiteX812" fmla="*/ 425365 w 1110409"/>
                <a:gd name="connsiteY812" fmla="*/ 107060 h 693846"/>
                <a:gd name="connsiteX813" fmla="*/ 423550 w 1110409"/>
                <a:gd name="connsiteY813" fmla="*/ 109026 h 693846"/>
                <a:gd name="connsiteX814" fmla="*/ 422552 w 1110409"/>
                <a:gd name="connsiteY814" fmla="*/ 109419 h 693846"/>
                <a:gd name="connsiteX815" fmla="*/ 418377 w 1110409"/>
                <a:gd name="connsiteY815" fmla="*/ 108905 h 693846"/>
                <a:gd name="connsiteX816" fmla="*/ 415957 w 1110409"/>
                <a:gd name="connsiteY816" fmla="*/ 109298 h 693846"/>
                <a:gd name="connsiteX817" fmla="*/ 413930 w 1110409"/>
                <a:gd name="connsiteY817" fmla="*/ 110962 h 693846"/>
                <a:gd name="connsiteX818" fmla="*/ 415231 w 1110409"/>
                <a:gd name="connsiteY818" fmla="*/ 113897 h 693846"/>
                <a:gd name="connsiteX819" fmla="*/ 414777 w 1110409"/>
                <a:gd name="connsiteY819" fmla="*/ 117587 h 693846"/>
                <a:gd name="connsiteX820" fmla="*/ 413356 w 1110409"/>
                <a:gd name="connsiteY820" fmla="*/ 121036 h 693846"/>
                <a:gd name="connsiteX821" fmla="*/ 411813 w 1110409"/>
                <a:gd name="connsiteY821" fmla="*/ 123275 h 693846"/>
                <a:gd name="connsiteX822" fmla="*/ 413567 w 1110409"/>
                <a:gd name="connsiteY822" fmla="*/ 125271 h 693846"/>
                <a:gd name="connsiteX823" fmla="*/ 415019 w 1110409"/>
                <a:gd name="connsiteY823" fmla="*/ 127601 h 693846"/>
                <a:gd name="connsiteX824" fmla="*/ 416109 w 1110409"/>
                <a:gd name="connsiteY824" fmla="*/ 130535 h 693846"/>
                <a:gd name="connsiteX825" fmla="*/ 416744 w 1110409"/>
                <a:gd name="connsiteY825" fmla="*/ 134286 h 693846"/>
                <a:gd name="connsiteX826" fmla="*/ 417379 w 1110409"/>
                <a:gd name="connsiteY826" fmla="*/ 142091 h 693846"/>
                <a:gd name="connsiteX827" fmla="*/ 418075 w 1110409"/>
                <a:gd name="connsiteY827" fmla="*/ 144209 h 693846"/>
                <a:gd name="connsiteX828" fmla="*/ 421887 w 1110409"/>
                <a:gd name="connsiteY828" fmla="*/ 152195 h 693846"/>
                <a:gd name="connsiteX829" fmla="*/ 424488 w 1110409"/>
                <a:gd name="connsiteY829" fmla="*/ 159546 h 693846"/>
                <a:gd name="connsiteX830" fmla="*/ 425486 w 1110409"/>
                <a:gd name="connsiteY830" fmla="*/ 166111 h 693846"/>
                <a:gd name="connsiteX831" fmla="*/ 422824 w 1110409"/>
                <a:gd name="connsiteY831" fmla="*/ 168440 h 693846"/>
                <a:gd name="connsiteX832" fmla="*/ 422824 w 1110409"/>
                <a:gd name="connsiteY832" fmla="*/ 170134 h 693846"/>
                <a:gd name="connsiteX833" fmla="*/ 425214 w 1110409"/>
                <a:gd name="connsiteY833" fmla="*/ 172524 h 693846"/>
                <a:gd name="connsiteX834" fmla="*/ 427695 w 1110409"/>
                <a:gd name="connsiteY834" fmla="*/ 176699 h 693846"/>
                <a:gd name="connsiteX835" fmla="*/ 429661 w 1110409"/>
                <a:gd name="connsiteY835" fmla="*/ 181993 h 693846"/>
                <a:gd name="connsiteX836" fmla="*/ 430448 w 1110409"/>
                <a:gd name="connsiteY836" fmla="*/ 187771 h 693846"/>
                <a:gd name="connsiteX837" fmla="*/ 430236 w 1110409"/>
                <a:gd name="connsiteY837" fmla="*/ 191431 h 693846"/>
                <a:gd name="connsiteX838" fmla="*/ 429631 w 1110409"/>
                <a:gd name="connsiteY838" fmla="*/ 194638 h 693846"/>
                <a:gd name="connsiteX839" fmla="*/ 428663 w 1110409"/>
                <a:gd name="connsiteY839" fmla="*/ 196937 h 693846"/>
                <a:gd name="connsiteX840" fmla="*/ 427362 w 1110409"/>
                <a:gd name="connsiteY840" fmla="*/ 197814 h 693846"/>
                <a:gd name="connsiteX841" fmla="*/ 426001 w 1110409"/>
                <a:gd name="connsiteY841" fmla="*/ 199296 h 693846"/>
                <a:gd name="connsiteX842" fmla="*/ 426182 w 1110409"/>
                <a:gd name="connsiteY842" fmla="*/ 202412 h 693846"/>
                <a:gd name="connsiteX843" fmla="*/ 427574 w 1110409"/>
                <a:gd name="connsiteY843" fmla="*/ 205165 h 693846"/>
                <a:gd name="connsiteX844" fmla="*/ 429812 w 1110409"/>
                <a:gd name="connsiteY844" fmla="*/ 205589 h 693846"/>
                <a:gd name="connsiteX845" fmla="*/ 427755 w 1110409"/>
                <a:gd name="connsiteY845" fmla="*/ 206133 h 693846"/>
                <a:gd name="connsiteX846" fmla="*/ 425910 w 1110409"/>
                <a:gd name="connsiteY846" fmla="*/ 206133 h 693846"/>
                <a:gd name="connsiteX847" fmla="*/ 424972 w 1110409"/>
                <a:gd name="connsiteY847" fmla="*/ 206980 h 693846"/>
                <a:gd name="connsiteX848" fmla="*/ 424458 w 1110409"/>
                <a:gd name="connsiteY848" fmla="*/ 208644 h 693846"/>
                <a:gd name="connsiteX849" fmla="*/ 424337 w 1110409"/>
                <a:gd name="connsiteY849" fmla="*/ 212305 h 693846"/>
                <a:gd name="connsiteX850" fmla="*/ 423974 w 1110409"/>
                <a:gd name="connsiteY850" fmla="*/ 213938 h 693846"/>
                <a:gd name="connsiteX851" fmla="*/ 422431 w 1110409"/>
                <a:gd name="connsiteY851" fmla="*/ 216600 h 693846"/>
                <a:gd name="connsiteX852" fmla="*/ 419194 w 1110409"/>
                <a:gd name="connsiteY852" fmla="*/ 220956 h 693846"/>
                <a:gd name="connsiteX853" fmla="*/ 418045 w 1110409"/>
                <a:gd name="connsiteY853" fmla="*/ 223921 h 693846"/>
                <a:gd name="connsiteX854" fmla="*/ 419255 w 1110409"/>
                <a:gd name="connsiteY854" fmla="*/ 227279 h 693846"/>
                <a:gd name="connsiteX855" fmla="*/ 418619 w 1110409"/>
                <a:gd name="connsiteY855" fmla="*/ 229850 h 693846"/>
                <a:gd name="connsiteX856" fmla="*/ 417682 w 1110409"/>
                <a:gd name="connsiteY856" fmla="*/ 232513 h 693846"/>
                <a:gd name="connsiteX857" fmla="*/ 418045 w 1110409"/>
                <a:gd name="connsiteY857" fmla="*/ 236112 h 693846"/>
                <a:gd name="connsiteX858" fmla="*/ 416593 w 1110409"/>
                <a:gd name="connsiteY858" fmla="*/ 232906 h 693846"/>
                <a:gd name="connsiteX859" fmla="*/ 416986 w 1110409"/>
                <a:gd name="connsiteY859" fmla="*/ 222953 h 693846"/>
                <a:gd name="connsiteX860" fmla="*/ 415715 w 1110409"/>
                <a:gd name="connsiteY860" fmla="*/ 220866 h 693846"/>
                <a:gd name="connsiteX861" fmla="*/ 414263 w 1110409"/>
                <a:gd name="connsiteY861" fmla="*/ 221319 h 693846"/>
                <a:gd name="connsiteX862" fmla="*/ 411480 w 1110409"/>
                <a:gd name="connsiteY862" fmla="*/ 223437 h 693846"/>
                <a:gd name="connsiteX863" fmla="*/ 410149 w 1110409"/>
                <a:gd name="connsiteY863" fmla="*/ 223921 h 693846"/>
                <a:gd name="connsiteX864" fmla="*/ 406973 w 1110409"/>
                <a:gd name="connsiteY864" fmla="*/ 224133 h 693846"/>
                <a:gd name="connsiteX865" fmla="*/ 403615 w 1110409"/>
                <a:gd name="connsiteY865" fmla="*/ 225343 h 693846"/>
                <a:gd name="connsiteX866" fmla="*/ 405006 w 1110409"/>
                <a:gd name="connsiteY866" fmla="*/ 226855 h 693846"/>
                <a:gd name="connsiteX867" fmla="*/ 406670 w 1110409"/>
                <a:gd name="connsiteY867" fmla="*/ 227279 h 693846"/>
                <a:gd name="connsiteX868" fmla="*/ 410119 w 1110409"/>
                <a:gd name="connsiteY868" fmla="*/ 227007 h 693846"/>
                <a:gd name="connsiteX869" fmla="*/ 411268 w 1110409"/>
                <a:gd name="connsiteY869" fmla="*/ 227642 h 693846"/>
                <a:gd name="connsiteX870" fmla="*/ 412811 w 1110409"/>
                <a:gd name="connsiteY870" fmla="*/ 230637 h 693846"/>
                <a:gd name="connsiteX871" fmla="*/ 413961 w 1110409"/>
                <a:gd name="connsiteY871" fmla="*/ 231575 h 693846"/>
                <a:gd name="connsiteX872" fmla="*/ 412781 w 1110409"/>
                <a:gd name="connsiteY872" fmla="*/ 236354 h 693846"/>
                <a:gd name="connsiteX873" fmla="*/ 412267 w 1110409"/>
                <a:gd name="connsiteY873" fmla="*/ 239803 h 693846"/>
                <a:gd name="connsiteX874" fmla="*/ 411389 w 1110409"/>
                <a:gd name="connsiteY874" fmla="*/ 242193 h 693846"/>
                <a:gd name="connsiteX875" fmla="*/ 409483 w 1110409"/>
                <a:gd name="connsiteY875" fmla="*/ 243433 h 693846"/>
                <a:gd name="connsiteX876" fmla="*/ 409151 w 1110409"/>
                <a:gd name="connsiteY876" fmla="*/ 243645 h 693846"/>
                <a:gd name="connsiteX877" fmla="*/ 407880 w 1110409"/>
                <a:gd name="connsiteY877" fmla="*/ 243857 h 693846"/>
                <a:gd name="connsiteX878" fmla="*/ 406640 w 1110409"/>
                <a:gd name="connsiteY878" fmla="*/ 243645 h 693846"/>
                <a:gd name="connsiteX879" fmla="*/ 405430 w 1110409"/>
                <a:gd name="connsiteY879" fmla="*/ 243101 h 693846"/>
                <a:gd name="connsiteX880" fmla="*/ 404310 w 1110409"/>
                <a:gd name="connsiteY880" fmla="*/ 242253 h 693846"/>
                <a:gd name="connsiteX881" fmla="*/ 403191 w 1110409"/>
                <a:gd name="connsiteY881" fmla="*/ 240862 h 693846"/>
                <a:gd name="connsiteX882" fmla="*/ 402677 w 1110409"/>
                <a:gd name="connsiteY882" fmla="*/ 239531 h 693846"/>
                <a:gd name="connsiteX883" fmla="*/ 402314 w 1110409"/>
                <a:gd name="connsiteY883" fmla="*/ 238018 h 693846"/>
                <a:gd name="connsiteX884" fmla="*/ 401618 w 1110409"/>
                <a:gd name="connsiteY884" fmla="*/ 236143 h 693846"/>
                <a:gd name="connsiteX885" fmla="*/ 401043 w 1110409"/>
                <a:gd name="connsiteY885" fmla="*/ 235568 h 693846"/>
                <a:gd name="connsiteX886" fmla="*/ 399168 w 1110409"/>
                <a:gd name="connsiteY886" fmla="*/ 234539 h 693846"/>
                <a:gd name="connsiteX887" fmla="*/ 398805 w 1110409"/>
                <a:gd name="connsiteY887" fmla="*/ 234630 h 693846"/>
                <a:gd name="connsiteX888" fmla="*/ 398805 w 1110409"/>
                <a:gd name="connsiteY888" fmla="*/ 233390 h 693846"/>
                <a:gd name="connsiteX889" fmla="*/ 399016 w 1110409"/>
                <a:gd name="connsiteY889" fmla="*/ 231877 h 693846"/>
                <a:gd name="connsiteX890" fmla="*/ 399410 w 1110409"/>
                <a:gd name="connsiteY890" fmla="*/ 230183 h 693846"/>
                <a:gd name="connsiteX891" fmla="*/ 399016 w 1110409"/>
                <a:gd name="connsiteY891" fmla="*/ 227582 h 693846"/>
                <a:gd name="connsiteX892" fmla="*/ 399077 w 1110409"/>
                <a:gd name="connsiteY892" fmla="*/ 226281 h 693846"/>
                <a:gd name="connsiteX893" fmla="*/ 398986 w 1110409"/>
                <a:gd name="connsiteY893" fmla="*/ 225403 h 693846"/>
                <a:gd name="connsiteX894" fmla="*/ 398109 w 1110409"/>
                <a:gd name="connsiteY894" fmla="*/ 223951 h 693846"/>
                <a:gd name="connsiteX895" fmla="*/ 395749 w 1110409"/>
                <a:gd name="connsiteY895" fmla="*/ 222197 h 693846"/>
                <a:gd name="connsiteX896" fmla="*/ 394448 w 1110409"/>
                <a:gd name="connsiteY896" fmla="*/ 223891 h 693846"/>
                <a:gd name="connsiteX897" fmla="*/ 394267 w 1110409"/>
                <a:gd name="connsiteY897" fmla="*/ 227521 h 693846"/>
                <a:gd name="connsiteX898" fmla="*/ 395296 w 1110409"/>
                <a:gd name="connsiteY898" fmla="*/ 231605 h 693846"/>
                <a:gd name="connsiteX899" fmla="*/ 393057 w 1110409"/>
                <a:gd name="connsiteY899" fmla="*/ 232452 h 693846"/>
                <a:gd name="connsiteX900" fmla="*/ 391968 w 1110409"/>
                <a:gd name="connsiteY900" fmla="*/ 230092 h 693846"/>
                <a:gd name="connsiteX901" fmla="*/ 392028 w 1110409"/>
                <a:gd name="connsiteY901" fmla="*/ 226190 h 693846"/>
                <a:gd name="connsiteX902" fmla="*/ 393238 w 1110409"/>
                <a:gd name="connsiteY902" fmla="*/ 222409 h 693846"/>
                <a:gd name="connsiteX903" fmla="*/ 392452 w 1110409"/>
                <a:gd name="connsiteY903" fmla="*/ 219081 h 693846"/>
                <a:gd name="connsiteX904" fmla="*/ 392543 w 1110409"/>
                <a:gd name="connsiteY904" fmla="*/ 214543 h 693846"/>
                <a:gd name="connsiteX905" fmla="*/ 393238 w 1110409"/>
                <a:gd name="connsiteY905" fmla="*/ 205558 h 693846"/>
                <a:gd name="connsiteX906" fmla="*/ 393511 w 1110409"/>
                <a:gd name="connsiteY906" fmla="*/ 205044 h 693846"/>
                <a:gd name="connsiteX907" fmla="*/ 393995 w 1110409"/>
                <a:gd name="connsiteY907" fmla="*/ 204923 h 693846"/>
                <a:gd name="connsiteX908" fmla="*/ 394297 w 1110409"/>
                <a:gd name="connsiteY908" fmla="*/ 204288 h 693846"/>
                <a:gd name="connsiteX909" fmla="*/ 393995 w 1110409"/>
                <a:gd name="connsiteY909" fmla="*/ 202352 h 693846"/>
                <a:gd name="connsiteX910" fmla="*/ 393662 w 1110409"/>
                <a:gd name="connsiteY910" fmla="*/ 202140 h 693846"/>
                <a:gd name="connsiteX911" fmla="*/ 392391 w 1110409"/>
                <a:gd name="connsiteY911" fmla="*/ 202412 h 693846"/>
                <a:gd name="connsiteX912" fmla="*/ 391938 w 1110409"/>
                <a:gd name="connsiteY912" fmla="*/ 202352 h 693846"/>
                <a:gd name="connsiteX913" fmla="*/ 390062 w 1110409"/>
                <a:gd name="connsiteY913" fmla="*/ 199780 h 693846"/>
                <a:gd name="connsiteX914" fmla="*/ 389094 w 1110409"/>
                <a:gd name="connsiteY914" fmla="*/ 199085 h 693846"/>
                <a:gd name="connsiteX915" fmla="*/ 387763 w 1110409"/>
                <a:gd name="connsiteY915" fmla="*/ 199296 h 693846"/>
                <a:gd name="connsiteX916" fmla="*/ 387430 w 1110409"/>
                <a:gd name="connsiteY916" fmla="*/ 201505 h 693846"/>
                <a:gd name="connsiteX917" fmla="*/ 386008 w 1110409"/>
                <a:gd name="connsiteY917" fmla="*/ 202443 h 693846"/>
                <a:gd name="connsiteX918" fmla="*/ 384072 w 1110409"/>
                <a:gd name="connsiteY918" fmla="*/ 202957 h 693846"/>
                <a:gd name="connsiteX919" fmla="*/ 382197 w 1110409"/>
                <a:gd name="connsiteY919" fmla="*/ 203895 h 693846"/>
                <a:gd name="connsiteX920" fmla="*/ 375995 w 1110409"/>
                <a:gd name="connsiteY920" fmla="*/ 211548 h 693846"/>
                <a:gd name="connsiteX921" fmla="*/ 364651 w 1110409"/>
                <a:gd name="connsiteY921" fmla="*/ 219837 h 693846"/>
                <a:gd name="connsiteX922" fmla="*/ 361595 w 1110409"/>
                <a:gd name="connsiteY922" fmla="*/ 225313 h 693846"/>
                <a:gd name="connsiteX923" fmla="*/ 361293 w 1110409"/>
                <a:gd name="connsiteY923" fmla="*/ 226765 h 693846"/>
                <a:gd name="connsiteX924" fmla="*/ 360234 w 1110409"/>
                <a:gd name="connsiteY924" fmla="*/ 233239 h 693846"/>
                <a:gd name="connsiteX925" fmla="*/ 359780 w 1110409"/>
                <a:gd name="connsiteY925" fmla="*/ 234297 h 693846"/>
                <a:gd name="connsiteX926" fmla="*/ 358540 w 1110409"/>
                <a:gd name="connsiteY926" fmla="*/ 236415 h 693846"/>
                <a:gd name="connsiteX927" fmla="*/ 358086 w 1110409"/>
                <a:gd name="connsiteY927" fmla="*/ 237655 h 693846"/>
                <a:gd name="connsiteX928" fmla="*/ 357693 w 1110409"/>
                <a:gd name="connsiteY928" fmla="*/ 240983 h 693846"/>
                <a:gd name="connsiteX929" fmla="*/ 357693 w 1110409"/>
                <a:gd name="connsiteY929" fmla="*/ 244613 h 693846"/>
                <a:gd name="connsiteX930" fmla="*/ 358086 w 1110409"/>
                <a:gd name="connsiteY930" fmla="*/ 249847 h 693846"/>
                <a:gd name="connsiteX931" fmla="*/ 358933 w 1110409"/>
                <a:gd name="connsiteY931" fmla="*/ 256411 h 693846"/>
                <a:gd name="connsiteX932" fmla="*/ 360718 w 1110409"/>
                <a:gd name="connsiteY932" fmla="*/ 263702 h 693846"/>
                <a:gd name="connsiteX933" fmla="*/ 363078 w 1110409"/>
                <a:gd name="connsiteY933" fmla="*/ 270508 h 693846"/>
                <a:gd name="connsiteX934" fmla="*/ 365710 w 1110409"/>
                <a:gd name="connsiteY934" fmla="*/ 275621 h 693846"/>
                <a:gd name="connsiteX935" fmla="*/ 364953 w 1110409"/>
                <a:gd name="connsiteY935" fmla="*/ 277285 h 693846"/>
                <a:gd name="connsiteX936" fmla="*/ 363562 w 1110409"/>
                <a:gd name="connsiteY936" fmla="*/ 276135 h 693846"/>
                <a:gd name="connsiteX937" fmla="*/ 360113 w 1110409"/>
                <a:gd name="connsiteY937" fmla="*/ 275107 h 693846"/>
                <a:gd name="connsiteX938" fmla="*/ 359448 w 1110409"/>
                <a:gd name="connsiteY938" fmla="*/ 273503 h 693846"/>
                <a:gd name="connsiteX939" fmla="*/ 359024 w 1110409"/>
                <a:gd name="connsiteY939" fmla="*/ 271960 h 693846"/>
                <a:gd name="connsiteX940" fmla="*/ 356090 w 1110409"/>
                <a:gd name="connsiteY940" fmla="*/ 266545 h 693846"/>
                <a:gd name="connsiteX941" fmla="*/ 353004 w 1110409"/>
                <a:gd name="connsiteY941" fmla="*/ 257077 h 693846"/>
                <a:gd name="connsiteX942" fmla="*/ 350856 w 1110409"/>
                <a:gd name="connsiteY942" fmla="*/ 253114 h 693846"/>
                <a:gd name="connsiteX943" fmla="*/ 347771 w 1110409"/>
                <a:gd name="connsiteY943" fmla="*/ 251480 h 693846"/>
                <a:gd name="connsiteX944" fmla="*/ 346470 w 1110409"/>
                <a:gd name="connsiteY944" fmla="*/ 254626 h 693846"/>
                <a:gd name="connsiteX945" fmla="*/ 346863 w 1110409"/>
                <a:gd name="connsiteY945" fmla="*/ 261675 h 693846"/>
                <a:gd name="connsiteX946" fmla="*/ 348950 w 1110409"/>
                <a:gd name="connsiteY946" fmla="*/ 278495 h 693846"/>
                <a:gd name="connsiteX947" fmla="*/ 349011 w 1110409"/>
                <a:gd name="connsiteY947" fmla="*/ 281580 h 693846"/>
                <a:gd name="connsiteX948" fmla="*/ 348466 w 1110409"/>
                <a:gd name="connsiteY948" fmla="*/ 284999 h 693846"/>
                <a:gd name="connsiteX949" fmla="*/ 347710 w 1110409"/>
                <a:gd name="connsiteY949" fmla="*/ 286360 h 693846"/>
                <a:gd name="connsiteX950" fmla="*/ 346681 w 1110409"/>
                <a:gd name="connsiteY950" fmla="*/ 287600 h 693846"/>
                <a:gd name="connsiteX951" fmla="*/ 346046 w 1110409"/>
                <a:gd name="connsiteY951" fmla="*/ 288992 h 693846"/>
                <a:gd name="connsiteX952" fmla="*/ 346409 w 1110409"/>
                <a:gd name="connsiteY952" fmla="*/ 290898 h 693846"/>
                <a:gd name="connsiteX953" fmla="*/ 345834 w 1110409"/>
                <a:gd name="connsiteY953" fmla="*/ 291594 h 693846"/>
                <a:gd name="connsiteX954" fmla="*/ 344352 w 1110409"/>
                <a:gd name="connsiteY954" fmla="*/ 294074 h 693846"/>
                <a:gd name="connsiteX955" fmla="*/ 345139 w 1110409"/>
                <a:gd name="connsiteY955" fmla="*/ 296010 h 693846"/>
                <a:gd name="connsiteX956" fmla="*/ 346893 w 1110409"/>
                <a:gd name="connsiteY956" fmla="*/ 299368 h 693846"/>
                <a:gd name="connsiteX957" fmla="*/ 347771 w 1110409"/>
                <a:gd name="connsiteY957" fmla="*/ 301607 h 693846"/>
                <a:gd name="connsiteX958" fmla="*/ 348043 w 1110409"/>
                <a:gd name="connsiteY958" fmla="*/ 303240 h 693846"/>
                <a:gd name="connsiteX959" fmla="*/ 348345 w 1110409"/>
                <a:gd name="connsiteY959" fmla="*/ 306810 h 693846"/>
                <a:gd name="connsiteX960" fmla="*/ 349828 w 1110409"/>
                <a:gd name="connsiteY960" fmla="*/ 312195 h 693846"/>
                <a:gd name="connsiteX961" fmla="*/ 349041 w 1110409"/>
                <a:gd name="connsiteY961" fmla="*/ 315220 h 693846"/>
                <a:gd name="connsiteX962" fmla="*/ 348013 w 1110409"/>
                <a:gd name="connsiteY962" fmla="*/ 316037 h 693846"/>
                <a:gd name="connsiteX963" fmla="*/ 347377 w 1110409"/>
                <a:gd name="connsiteY963" fmla="*/ 316521 h 693846"/>
                <a:gd name="connsiteX964" fmla="*/ 345744 w 1110409"/>
                <a:gd name="connsiteY964" fmla="*/ 315190 h 693846"/>
                <a:gd name="connsiteX965" fmla="*/ 345744 w 1110409"/>
                <a:gd name="connsiteY965" fmla="*/ 313828 h 693846"/>
                <a:gd name="connsiteX966" fmla="*/ 346651 w 1110409"/>
                <a:gd name="connsiteY966" fmla="*/ 309956 h 693846"/>
                <a:gd name="connsiteX967" fmla="*/ 345592 w 1110409"/>
                <a:gd name="connsiteY967" fmla="*/ 305660 h 693846"/>
                <a:gd name="connsiteX968" fmla="*/ 343566 w 1110409"/>
                <a:gd name="connsiteY968" fmla="*/ 302000 h 693846"/>
                <a:gd name="connsiteX969" fmla="*/ 341539 w 1110409"/>
                <a:gd name="connsiteY969" fmla="*/ 300003 h 693846"/>
                <a:gd name="connsiteX970" fmla="*/ 341750 w 1110409"/>
                <a:gd name="connsiteY970" fmla="*/ 299398 h 693846"/>
                <a:gd name="connsiteX971" fmla="*/ 341750 w 1110409"/>
                <a:gd name="connsiteY971" fmla="*/ 299187 h 693846"/>
                <a:gd name="connsiteX972" fmla="*/ 341871 w 1110409"/>
                <a:gd name="connsiteY972" fmla="*/ 299035 h 693846"/>
                <a:gd name="connsiteX973" fmla="*/ 342265 w 1110409"/>
                <a:gd name="connsiteY973" fmla="*/ 298642 h 693846"/>
                <a:gd name="connsiteX974" fmla="*/ 340903 w 1110409"/>
                <a:gd name="connsiteY974" fmla="*/ 296373 h 693846"/>
                <a:gd name="connsiteX975" fmla="*/ 337001 w 1110409"/>
                <a:gd name="connsiteY975" fmla="*/ 284757 h 693846"/>
                <a:gd name="connsiteX976" fmla="*/ 336940 w 1110409"/>
                <a:gd name="connsiteY976" fmla="*/ 282579 h 693846"/>
                <a:gd name="connsiteX977" fmla="*/ 337394 w 1110409"/>
                <a:gd name="connsiteY977" fmla="*/ 278132 h 693846"/>
                <a:gd name="connsiteX978" fmla="*/ 337394 w 1110409"/>
                <a:gd name="connsiteY978" fmla="*/ 274713 h 693846"/>
                <a:gd name="connsiteX979" fmla="*/ 336759 w 1110409"/>
                <a:gd name="connsiteY979" fmla="*/ 269813 h 693846"/>
                <a:gd name="connsiteX980" fmla="*/ 336759 w 1110409"/>
                <a:gd name="connsiteY980" fmla="*/ 267029 h 693846"/>
                <a:gd name="connsiteX981" fmla="*/ 336971 w 1110409"/>
                <a:gd name="connsiteY981" fmla="*/ 264730 h 693846"/>
                <a:gd name="connsiteX982" fmla="*/ 336759 w 1110409"/>
                <a:gd name="connsiteY982" fmla="*/ 263066 h 693846"/>
                <a:gd name="connsiteX983" fmla="*/ 335337 w 1110409"/>
                <a:gd name="connsiteY983" fmla="*/ 262250 h 693846"/>
                <a:gd name="connsiteX984" fmla="*/ 336093 w 1110409"/>
                <a:gd name="connsiteY984" fmla="*/ 258559 h 693846"/>
                <a:gd name="connsiteX985" fmla="*/ 335065 w 1110409"/>
                <a:gd name="connsiteY985" fmla="*/ 256381 h 693846"/>
                <a:gd name="connsiteX986" fmla="*/ 331223 w 1110409"/>
                <a:gd name="connsiteY986" fmla="*/ 252993 h 693846"/>
                <a:gd name="connsiteX987" fmla="*/ 328379 w 1110409"/>
                <a:gd name="connsiteY987" fmla="*/ 248546 h 693846"/>
                <a:gd name="connsiteX988" fmla="*/ 326927 w 1110409"/>
                <a:gd name="connsiteY988" fmla="*/ 247336 h 693846"/>
                <a:gd name="connsiteX989" fmla="*/ 324658 w 1110409"/>
                <a:gd name="connsiteY989" fmla="*/ 246912 h 693846"/>
                <a:gd name="connsiteX990" fmla="*/ 322480 w 1110409"/>
                <a:gd name="connsiteY990" fmla="*/ 247668 h 693846"/>
                <a:gd name="connsiteX991" fmla="*/ 318578 w 1110409"/>
                <a:gd name="connsiteY991" fmla="*/ 250905 h 693846"/>
                <a:gd name="connsiteX992" fmla="*/ 308413 w 1110409"/>
                <a:gd name="connsiteY992" fmla="*/ 254536 h 693846"/>
                <a:gd name="connsiteX993" fmla="*/ 308413 w 1110409"/>
                <a:gd name="connsiteY993" fmla="*/ 253023 h 693846"/>
                <a:gd name="connsiteX994" fmla="*/ 313254 w 1110409"/>
                <a:gd name="connsiteY994" fmla="*/ 251208 h 693846"/>
                <a:gd name="connsiteX995" fmla="*/ 319183 w 1110409"/>
                <a:gd name="connsiteY995" fmla="*/ 245490 h 693846"/>
                <a:gd name="connsiteX996" fmla="*/ 324235 w 1110409"/>
                <a:gd name="connsiteY996" fmla="*/ 237625 h 693846"/>
                <a:gd name="connsiteX997" fmla="*/ 326352 w 1110409"/>
                <a:gd name="connsiteY997" fmla="*/ 229457 h 693846"/>
                <a:gd name="connsiteX998" fmla="*/ 324114 w 1110409"/>
                <a:gd name="connsiteY998" fmla="*/ 219837 h 693846"/>
                <a:gd name="connsiteX999" fmla="*/ 318820 w 1110409"/>
                <a:gd name="connsiteY999" fmla="*/ 220956 h 693846"/>
                <a:gd name="connsiteX1000" fmla="*/ 312679 w 1110409"/>
                <a:gd name="connsiteY1000" fmla="*/ 226129 h 693846"/>
                <a:gd name="connsiteX1001" fmla="*/ 307808 w 1110409"/>
                <a:gd name="connsiteY1001" fmla="*/ 228640 h 693846"/>
                <a:gd name="connsiteX1002" fmla="*/ 307808 w 1110409"/>
                <a:gd name="connsiteY1002" fmla="*/ 227128 h 693846"/>
                <a:gd name="connsiteX1003" fmla="*/ 309835 w 1110409"/>
                <a:gd name="connsiteY1003" fmla="*/ 225101 h 693846"/>
                <a:gd name="connsiteX1004" fmla="*/ 315038 w 1110409"/>
                <a:gd name="connsiteY1004" fmla="*/ 217447 h 693846"/>
                <a:gd name="connsiteX1005" fmla="*/ 316067 w 1110409"/>
                <a:gd name="connsiteY1005" fmla="*/ 214906 h 693846"/>
                <a:gd name="connsiteX1006" fmla="*/ 314736 w 1110409"/>
                <a:gd name="connsiteY1006" fmla="*/ 211972 h 693846"/>
                <a:gd name="connsiteX1007" fmla="*/ 311832 w 1110409"/>
                <a:gd name="connsiteY1007" fmla="*/ 210580 h 693846"/>
                <a:gd name="connsiteX1008" fmla="*/ 295042 w 1110409"/>
                <a:gd name="connsiteY1008" fmla="*/ 211004 h 693846"/>
                <a:gd name="connsiteX1009" fmla="*/ 293257 w 1110409"/>
                <a:gd name="connsiteY1009" fmla="*/ 209491 h 693846"/>
                <a:gd name="connsiteX1010" fmla="*/ 292743 w 1110409"/>
                <a:gd name="connsiteY1010" fmla="*/ 208856 h 693846"/>
                <a:gd name="connsiteX1011" fmla="*/ 291594 w 1110409"/>
                <a:gd name="connsiteY1011" fmla="*/ 207948 h 693846"/>
                <a:gd name="connsiteX1012" fmla="*/ 290444 w 1110409"/>
                <a:gd name="connsiteY1012" fmla="*/ 206254 h 693846"/>
                <a:gd name="connsiteX1013" fmla="*/ 289900 w 1110409"/>
                <a:gd name="connsiteY1013" fmla="*/ 203290 h 693846"/>
                <a:gd name="connsiteX1014" fmla="*/ 289537 w 1110409"/>
                <a:gd name="connsiteY1014" fmla="*/ 202110 h 693846"/>
                <a:gd name="connsiteX1015" fmla="*/ 288690 w 1110409"/>
                <a:gd name="connsiteY1015" fmla="*/ 200960 h 693846"/>
                <a:gd name="connsiteX1016" fmla="*/ 287056 w 1110409"/>
                <a:gd name="connsiteY1016" fmla="*/ 199417 h 693846"/>
                <a:gd name="connsiteX1017" fmla="*/ 288327 w 1110409"/>
                <a:gd name="connsiteY1017" fmla="*/ 197633 h 693846"/>
                <a:gd name="connsiteX1018" fmla="*/ 289143 w 1110409"/>
                <a:gd name="connsiteY1018" fmla="*/ 196120 h 693846"/>
                <a:gd name="connsiteX1019" fmla="*/ 289476 w 1110409"/>
                <a:gd name="connsiteY1019" fmla="*/ 194335 h 693846"/>
                <a:gd name="connsiteX1020" fmla="*/ 289204 w 1110409"/>
                <a:gd name="connsiteY1020" fmla="*/ 191613 h 693846"/>
                <a:gd name="connsiteX1021" fmla="*/ 288780 w 1110409"/>
                <a:gd name="connsiteY1021" fmla="*/ 191280 h 693846"/>
                <a:gd name="connsiteX1022" fmla="*/ 286663 w 1110409"/>
                <a:gd name="connsiteY1022" fmla="*/ 187619 h 693846"/>
                <a:gd name="connsiteX1023" fmla="*/ 286451 w 1110409"/>
                <a:gd name="connsiteY1023" fmla="*/ 187014 h 693846"/>
                <a:gd name="connsiteX1024" fmla="*/ 284848 w 1110409"/>
                <a:gd name="connsiteY1024" fmla="*/ 185562 h 693846"/>
                <a:gd name="connsiteX1025" fmla="*/ 280098 w 1110409"/>
                <a:gd name="connsiteY1025" fmla="*/ 182688 h 693846"/>
                <a:gd name="connsiteX1026" fmla="*/ 278132 w 1110409"/>
                <a:gd name="connsiteY1026" fmla="*/ 182386 h 693846"/>
                <a:gd name="connsiteX1027" fmla="*/ 281036 w 1110409"/>
                <a:gd name="connsiteY1027" fmla="*/ 180722 h 693846"/>
                <a:gd name="connsiteX1028" fmla="*/ 284273 w 1110409"/>
                <a:gd name="connsiteY1028" fmla="*/ 180631 h 693846"/>
                <a:gd name="connsiteX1029" fmla="*/ 287358 w 1110409"/>
                <a:gd name="connsiteY1029" fmla="*/ 182204 h 693846"/>
                <a:gd name="connsiteX1030" fmla="*/ 289869 w 1110409"/>
                <a:gd name="connsiteY1030" fmla="*/ 185441 h 693846"/>
                <a:gd name="connsiteX1031" fmla="*/ 290051 w 1110409"/>
                <a:gd name="connsiteY1031" fmla="*/ 187347 h 693846"/>
                <a:gd name="connsiteX1032" fmla="*/ 291261 w 1110409"/>
                <a:gd name="connsiteY1032" fmla="*/ 190493 h 693846"/>
                <a:gd name="connsiteX1033" fmla="*/ 293076 w 1110409"/>
                <a:gd name="connsiteY1033" fmla="*/ 193458 h 693846"/>
                <a:gd name="connsiteX1034" fmla="*/ 295012 w 1110409"/>
                <a:gd name="connsiteY1034" fmla="*/ 194789 h 693846"/>
                <a:gd name="connsiteX1035" fmla="*/ 295466 w 1110409"/>
                <a:gd name="connsiteY1035" fmla="*/ 195424 h 693846"/>
                <a:gd name="connsiteX1036" fmla="*/ 297130 w 1110409"/>
                <a:gd name="connsiteY1036" fmla="*/ 198359 h 693846"/>
                <a:gd name="connsiteX1037" fmla="*/ 298098 w 1110409"/>
                <a:gd name="connsiteY1037" fmla="*/ 199387 h 693846"/>
                <a:gd name="connsiteX1038" fmla="*/ 311741 w 1110409"/>
                <a:gd name="connsiteY1038" fmla="*/ 199962 h 693846"/>
                <a:gd name="connsiteX1039" fmla="*/ 314706 w 1110409"/>
                <a:gd name="connsiteY1039" fmla="*/ 197875 h 693846"/>
                <a:gd name="connsiteX1040" fmla="*/ 322964 w 1110409"/>
                <a:gd name="connsiteY1040" fmla="*/ 188678 h 693846"/>
                <a:gd name="connsiteX1041" fmla="*/ 321391 w 1110409"/>
                <a:gd name="connsiteY1041" fmla="*/ 187256 h 693846"/>
                <a:gd name="connsiteX1042" fmla="*/ 316037 w 1110409"/>
                <a:gd name="connsiteY1042" fmla="*/ 184080 h 693846"/>
                <a:gd name="connsiteX1043" fmla="*/ 314343 w 1110409"/>
                <a:gd name="connsiteY1043" fmla="*/ 183566 h 693846"/>
                <a:gd name="connsiteX1044" fmla="*/ 310592 w 1110409"/>
                <a:gd name="connsiteY1044" fmla="*/ 184231 h 693846"/>
                <a:gd name="connsiteX1045" fmla="*/ 308413 w 1110409"/>
                <a:gd name="connsiteY1045" fmla="*/ 184080 h 693846"/>
                <a:gd name="connsiteX1046" fmla="*/ 308413 w 1110409"/>
                <a:gd name="connsiteY1046" fmla="*/ 182386 h 693846"/>
                <a:gd name="connsiteX1047" fmla="*/ 318638 w 1110409"/>
                <a:gd name="connsiteY1047" fmla="*/ 178725 h 693846"/>
                <a:gd name="connsiteX1048" fmla="*/ 321603 w 1110409"/>
                <a:gd name="connsiteY1048" fmla="*/ 176215 h 693846"/>
                <a:gd name="connsiteX1049" fmla="*/ 323418 w 1110409"/>
                <a:gd name="connsiteY1049" fmla="*/ 173280 h 693846"/>
                <a:gd name="connsiteX1050" fmla="*/ 328410 w 1110409"/>
                <a:gd name="connsiteY1050" fmla="*/ 162480 h 693846"/>
                <a:gd name="connsiteX1051" fmla="*/ 328410 w 1110409"/>
                <a:gd name="connsiteY1051" fmla="*/ 160786 h 693846"/>
                <a:gd name="connsiteX1052" fmla="*/ 323600 w 1110409"/>
                <a:gd name="connsiteY1052" fmla="*/ 157701 h 693846"/>
                <a:gd name="connsiteX1053" fmla="*/ 326625 w 1110409"/>
                <a:gd name="connsiteY1053" fmla="*/ 155976 h 693846"/>
                <a:gd name="connsiteX1054" fmla="*/ 327805 w 1110409"/>
                <a:gd name="connsiteY1054" fmla="*/ 153012 h 693846"/>
                <a:gd name="connsiteX1055" fmla="*/ 327472 w 1110409"/>
                <a:gd name="connsiteY1055" fmla="*/ 149109 h 693846"/>
                <a:gd name="connsiteX1056" fmla="*/ 326020 w 1110409"/>
                <a:gd name="connsiteY1056" fmla="*/ 144541 h 693846"/>
                <a:gd name="connsiteX1057" fmla="*/ 323358 w 1110409"/>
                <a:gd name="connsiteY1057" fmla="*/ 142454 h 693846"/>
                <a:gd name="connsiteX1058" fmla="*/ 312528 w 1110409"/>
                <a:gd name="connsiteY1058" fmla="*/ 145328 h 693846"/>
                <a:gd name="connsiteX1059" fmla="*/ 312528 w 1110409"/>
                <a:gd name="connsiteY1059" fmla="*/ 143785 h 693846"/>
                <a:gd name="connsiteX1060" fmla="*/ 316854 w 1110409"/>
                <a:gd name="connsiteY1060" fmla="*/ 140911 h 693846"/>
                <a:gd name="connsiteX1061" fmla="*/ 318064 w 1110409"/>
                <a:gd name="connsiteY1061" fmla="*/ 139005 h 693846"/>
                <a:gd name="connsiteX1062" fmla="*/ 315099 w 1110409"/>
                <a:gd name="connsiteY1062" fmla="*/ 137432 h 693846"/>
                <a:gd name="connsiteX1063" fmla="*/ 305661 w 1110409"/>
                <a:gd name="connsiteY1063" fmla="*/ 139005 h 693846"/>
                <a:gd name="connsiteX1064" fmla="*/ 299973 w 1110409"/>
                <a:gd name="connsiteY1064" fmla="*/ 141879 h 693846"/>
                <a:gd name="connsiteX1065" fmla="*/ 297160 w 1110409"/>
                <a:gd name="connsiteY1065" fmla="*/ 142242 h 693846"/>
                <a:gd name="connsiteX1066" fmla="*/ 295315 w 1110409"/>
                <a:gd name="connsiteY1066" fmla="*/ 139036 h 693846"/>
                <a:gd name="connsiteX1067" fmla="*/ 296827 w 1110409"/>
                <a:gd name="connsiteY1067" fmla="*/ 139036 h 693846"/>
                <a:gd name="connsiteX1068" fmla="*/ 307445 w 1110409"/>
                <a:gd name="connsiteY1068" fmla="*/ 136162 h 693846"/>
                <a:gd name="connsiteX1069" fmla="*/ 310138 w 1110409"/>
                <a:gd name="connsiteY1069" fmla="*/ 134105 h 693846"/>
                <a:gd name="connsiteX1070" fmla="*/ 324295 w 1110409"/>
                <a:gd name="connsiteY1070" fmla="*/ 132864 h 693846"/>
                <a:gd name="connsiteX1071" fmla="*/ 323085 w 1110409"/>
                <a:gd name="connsiteY1071" fmla="*/ 128024 h 693846"/>
                <a:gd name="connsiteX1072" fmla="*/ 321270 w 1110409"/>
                <a:gd name="connsiteY1072" fmla="*/ 125362 h 693846"/>
                <a:gd name="connsiteX1073" fmla="*/ 318880 w 1110409"/>
                <a:gd name="connsiteY1073" fmla="*/ 124091 h 693846"/>
                <a:gd name="connsiteX1074" fmla="*/ 316007 w 1110409"/>
                <a:gd name="connsiteY1074" fmla="*/ 123396 h 693846"/>
                <a:gd name="connsiteX1075" fmla="*/ 305116 w 1110409"/>
                <a:gd name="connsiteY1075" fmla="*/ 126209 h 693846"/>
                <a:gd name="connsiteX1076" fmla="*/ 302545 w 1110409"/>
                <a:gd name="connsiteY1076" fmla="*/ 124243 h 693846"/>
                <a:gd name="connsiteX1077" fmla="*/ 300609 w 1110409"/>
                <a:gd name="connsiteY1077" fmla="*/ 121157 h 693846"/>
                <a:gd name="connsiteX1078" fmla="*/ 300155 w 1110409"/>
                <a:gd name="connsiteY1078" fmla="*/ 119493 h 693846"/>
                <a:gd name="connsiteX1079" fmla="*/ 300820 w 1110409"/>
                <a:gd name="connsiteY1079" fmla="*/ 117315 h 693846"/>
                <a:gd name="connsiteX1080" fmla="*/ 301758 w 1110409"/>
                <a:gd name="connsiteY1080" fmla="*/ 117013 h 693846"/>
                <a:gd name="connsiteX1081" fmla="*/ 303906 w 1110409"/>
                <a:gd name="connsiteY1081" fmla="*/ 115409 h 693846"/>
                <a:gd name="connsiteX1082" fmla="*/ 305116 w 1110409"/>
                <a:gd name="connsiteY1082" fmla="*/ 113624 h 693846"/>
                <a:gd name="connsiteX1083" fmla="*/ 303271 w 1110409"/>
                <a:gd name="connsiteY1083" fmla="*/ 112808 h 693846"/>
                <a:gd name="connsiteX1084" fmla="*/ 302877 w 1110409"/>
                <a:gd name="connsiteY1084" fmla="*/ 112021 h 693846"/>
                <a:gd name="connsiteX1085" fmla="*/ 302454 w 1110409"/>
                <a:gd name="connsiteY1085" fmla="*/ 110297 h 693846"/>
                <a:gd name="connsiteX1086" fmla="*/ 301909 w 1110409"/>
                <a:gd name="connsiteY1086" fmla="*/ 108603 h 693846"/>
                <a:gd name="connsiteX1087" fmla="*/ 301153 w 1110409"/>
                <a:gd name="connsiteY1087" fmla="*/ 107816 h 693846"/>
                <a:gd name="connsiteX1088" fmla="*/ 296676 w 1110409"/>
                <a:gd name="connsiteY1088" fmla="*/ 108088 h 693846"/>
                <a:gd name="connsiteX1089" fmla="*/ 293106 w 1110409"/>
                <a:gd name="connsiteY1089" fmla="*/ 109782 h 693846"/>
                <a:gd name="connsiteX1090" fmla="*/ 291866 w 1110409"/>
                <a:gd name="connsiteY1090" fmla="*/ 111053 h 693846"/>
                <a:gd name="connsiteX1091" fmla="*/ 293923 w 1110409"/>
                <a:gd name="connsiteY1091" fmla="*/ 115591 h 693846"/>
                <a:gd name="connsiteX1092" fmla="*/ 294014 w 1110409"/>
                <a:gd name="connsiteY1092" fmla="*/ 117345 h 693846"/>
                <a:gd name="connsiteX1093" fmla="*/ 293953 w 1110409"/>
                <a:gd name="connsiteY1093" fmla="*/ 121157 h 693846"/>
                <a:gd name="connsiteX1094" fmla="*/ 293378 w 1110409"/>
                <a:gd name="connsiteY1094" fmla="*/ 122337 h 693846"/>
                <a:gd name="connsiteX1095" fmla="*/ 292017 w 1110409"/>
                <a:gd name="connsiteY1095" fmla="*/ 123668 h 693846"/>
                <a:gd name="connsiteX1096" fmla="*/ 290414 w 1110409"/>
                <a:gd name="connsiteY1096" fmla="*/ 124727 h 693846"/>
                <a:gd name="connsiteX1097" fmla="*/ 289143 w 1110409"/>
                <a:gd name="connsiteY1097" fmla="*/ 125059 h 693846"/>
                <a:gd name="connsiteX1098" fmla="*/ 289930 w 1110409"/>
                <a:gd name="connsiteY1098" fmla="*/ 122639 h 693846"/>
                <a:gd name="connsiteX1099" fmla="*/ 291140 w 1110409"/>
                <a:gd name="connsiteY1099" fmla="*/ 120038 h 693846"/>
                <a:gd name="connsiteX1100" fmla="*/ 292017 w 1110409"/>
                <a:gd name="connsiteY1100" fmla="*/ 117194 h 693846"/>
                <a:gd name="connsiteX1101" fmla="*/ 291805 w 1110409"/>
                <a:gd name="connsiteY1101" fmla="*/ 114048 h 693846"/>
                <a:gd name="connsiteX1102" fmla="*/ 290535 w 1110409"/>
                <a:gd name="connsiteY1102" fmla="*/ 112414 h 693846"/>
                <a:gd name="connsiteX1103" fmla="*/ 288810 w 1110409"/>
                <a:gd name="connsiteY1103" fmla="*/ 112838 h 693846"/>
                <a:gd name="connsiteX1104" fmla="*/ 287056 w 1110409"/>
                <a:gd name="connsiteY1104" fmla="*/ 113866 h 693846"/>
                <a:gd name="connsiteX1105" fmla="*/ 285634 w 1110409"/>
                <a:gd name="connsiteY1105" fmla="*/ 114078 h 693846"/>
                <a:gd name="connsiteX1106" fmla="*/ 284273 w 1110409"/>
                <a:gd name="connsiteY1106" fmla="*/ 112898 h 693846"/>
                <a:gd name="connsiteX1107" fmla="*/ 283607 w 1110409"/>
                <a:gd name="connsiteY1107" fmla="*/ 111386 h 693846"/>
                <a:gd name="connsiteX1108" fmla="*/ 283093 w 1110409"/>
                <a:gd name="connsiteY1108" fmla="*/ 106969 h 693846"/>
                <a:gd name="connsiteX1109" fmla="*/ 282942 w 1110409"/>
                <a:gd name="connsiteY1109" fmla="*/ 103218 h 693846"/>
                <a:gd name="connsiteX1110" fmla="*/ 282942 w 1110409"/>
                <a:gd name="connsiteY1110" fmla="*/ 103309 h 693846"/>
                <a:gd name="connsiteX1111" fmla="*/ 282730 w 1110409"/>
                <a:gd name="connsiteY1111" fmla="*/ 102159 h 693846"/>
                <a:gd name="connsiteX1112" fmla="*/ 281913 w 1110409"/>
                <a:gd name="connsiteY1112" fmla="*/ 99890 h 693846"/>
                <a:gd name="connsiteX1113" fmla="*/ 281550 w 1110409"/>
                <a:gd name="connsiteY1113" fmla="*/ 98468 h 693846"/>
                <a:gd name="connsiteX1114" fmla="*/ 282881 w 1110409"/>
                <a:gd name="connsiteY1114" fmla="*/ 97198 h 693846"/>
                <a:gd name="connsiteX1115" fmla="*/ 282881 w 1110409"/>
                <a:gd name="connsiteY1115" fmla="*/ 94415 h 693846"/>
                <a:gd name="connsiteX1116" fmla="*/ 281913 w 1110409"/>
                <a:gd name="connsiteY1116" fmla="*/ 91662 h 693846"/>
                <a:gd name="connsiteX1117" fmla="*/ 280189 w 1110409"/>
                <a:gd name="connsiteY1117" fmla="*/ 90633 h 693846"/>
                <a:gd name="connsiteX1118" fmla="*/ 280643 w 1110409"/>
                <a:gd name="connsiteY1118" fmla="*/ 88485 h 693846"/>
                <a:gd name="connsiteX1119" fmla="*/ 280945 w 1110409"/>
                <a:gd name="connsiteY1119" fmla="*/ 87669 h 693846"/>
                <a:gd name="connsiteX1120" fmla="*/ 274623 w 1110409"/>
                <a:gd name="connsiteY1120" fmla="*/ 84523 h 693846"/>
                <a:gd name="connsiteX1121" fmla="*/ 273534 w 1110409"/>
                <a:gd name="connsiteY1121" fmla="*/ 84795 h 693846"/>
                <a:gd name="connsiteX1122" fmla="*/ 271507 w 1110409"/>
                <a:gd name="connsiteY1122" fmla="*/ 86005 h 693846"/>
                <a:gd name="connsiteX1123" fmla="*/ 270508 w 1110409"/>
                <a:gd name="connsiteY1123" fmla="*/ 85944 h 693846"/>
                <a:gd name="connsiteX1124" fmla="*/ 269722 w 1110409"/>
                <a:gd name="connsiteY1124" fmla="*/ 85309 h 693846"/>
                <a:gd name="connsiteX1125" fmla="*/ 268451 w 1110409"/>
                <a:gd name="connsiteY1125" fmla="*/ 83524 h 693846"/>
                <a:gd name="connsiteX1126" fmla="*/ 263762 w 1110409"/>
                <a:gd name="connsiteY1126" fmla="*/ 79894 h 693846"/>
                <a:gd name="connsiteX1127" fmla="*/ 262280 w 1110409"/>
                <a:gd name="connsiteY1127" fmla="*/ 79531 h 693846"/>
                <a:gd name="connsiteX1128" fmla="*/ 260767 w 1110409"/>
                <a:gd name="connsiteY1128" fmla="*/ 80257 h 693846"/>
                <a:gd name="connsiteX1129" fmla="*/ 259406 w 1110409"/>
                <a:gd name="connsiteY1129" fmla="*/ 81437 h 693846"/>
                <a:gd name="connsiteX1130" fmla="*/ 258105 w 1110409"/>
                <a:gd name="connsiteY1130" fmla="*/ 82072 h 693846"/>
                <a:gd name="connsiteX1131" fmla="*/ 256774 w 1110409"/>
                <a:gd name="connsiteY1131" fmla="*/ 81225 h 693846"/>
                <a:gd name="connsiteX1132" fmla="*/ 262704 w 1110409"/>
                <a:gd name="connsiteY1132" fmla="*/ 76597 h 693846"/>
                <a:gd name="connsiteX1133" fmla="*/ 263641 w 1110409"/>
                <a:gd name="connsiteY1133" fmla="*/ 74963 h 693846"/>
                <a:gd name="connsiteX1134" fmla="*/ 260041 w 1110409"/>
                <a:gd name="connsiteY1134" fmla="*/ 69548 h 693846"/>
                <a:gd name="connsiteX1135" fmla="*/ 259467 w 1110409"/>
                <a:gd name="connsiteY1135" fmla="*/ 68701 h 693846"/>
                <a:gd name="connsiteX1136" fmla="*/ 258710 w 1110409"/>
                <a:gd name="connsiteY1136" fmla="*/ 67884 h 693846"/>
                <a:gd name="connsiteX1137" fmla="*/ 257863 w 1110409"/>
                <a:gd name="connsiteY1137" fmla="*/ 67188 h 693846"/>
                <a:gd name="connsiteX1138" fmla="*/ 256956 w 1110409"/>
                <a:gd name="connsiteY1138" fmla="*/ 67279 h 693846"/>
                <a:gd name="connsiteX1139" fmla="*/ 256078 w 1110409"/>
                <a:gd name="connsiteY1139" fmla="*/ 68731 h 693846"/>
                <a:gd name="connsiteX1140" fmla="*/ 254263 w 1110409"/>
                <a:gd name="connsiteY1140" fmla="*/ 68035 h 693846"/>
                <a:gd name="connsiteX1141" fmla="*/ 247094 w 1110409"/>
                <a:gd name="connsiteY1141" fmla="*/ 68731 h 693846"/>
                <a:gd name="connsiteX1142" fmla="*/ 247699 w 1110409"/>
                <a:gd name="connsiteY1142" fmla="*/ 65404 h 693846"/>
                <a:gd name="connsiteX1143" fmla="*/ 246791 w 1110409"/>
                <a:gd name="connsiteY1143" fmla="*/ 63800 h 693846"/>
                <a:gd name="connsiteX1144" fmla="*/ 245188 w 1110409"/>
                <a:gd name="connsiteY1144" fmla="*/ 64284 h 693846"/>
                <a:gd name="connsiteX1145" fmla="*/ 243706 w 1110409"/>
                <a:gd name="connsiteY1145" fmla="*/ 67188 h 693846"/>
                <a:gd name="connsiteX1146" fmla="*/ 242919 w 1110409"/>
                <a:gd name="connsiteY1146" fmla="*/ 68761 h 693846"/>
                <a:gd name="connsiteX1147" fmla="*/ 241951 w 1110409"/>
                <a:gd name="connsiteY1147" fmla="*/ 68066 h 693846"/>
                <a:gd name="connsiteX1148" fmla="*/ 241134 w 1110409"/>
                <a:gd name="connsiteY1148" fmla="*/ 66493 h 693846"/>
                <a:gd name="connsiteX1149" fmla="*/ 240227 w 1110409"/>
                <a:gd name="connsiteY1149" fmla="*/ 65464 h 693846"/>
                <a:gd name="connsiteX1150" fmla="*/ 238684 w 1110409"/>
                <a:gd name="connsiteY1150" fmla="*/ 65464 h 693846"/>
                <a:gd name="connsiteX1151" fmla="*/ 237020 w 1110409"/>
                <a:gd name="connsiteY1151" fmla="*/ 66190 h 693846"/>
                <a:gd name="connsiteX1152" fmla="*/ 235417 w 1110409"/>
                <a:gd name="connsiteY1152" fmla="*/ 67340 h 693846"/>
                <a:gd name="connsiteX1153" fmla="*/ 234025 w 1110409"/>
                <a:gd name="connsiteY1153" fmla="*/ 68731 h 693846"/>
                <a:gd name="connsiteX1154" fmla="*/ 232724 w 1110409"/>
                <a:gd name="connsiteY1154" fmla="*/ 67158 h 693846"/>
                <a:gd name="connsiteX1155" fmla="*/ 232724 w 1110409"/>
                <a:gd name="connsiteY1155" fmla="*/ 65464 h 693846"/>
                <a:gd name="connsiteX1156" fmla="*/ 234297 w 1110409"/>
                <a:gd name="connsiteY1156" fmla="*/ 63830 h 693846"/>
                <a:gd name="connsiteX1157" fmla="*/ 234116 w 1110409"/>
                <a:gd name="connsiteY1157" fmla="*/ 62106 h 693846"/>
                <a:gd name="connsiteX1158" fmla="*/ 233239 w 1110409"/>
                <a:gd name="connsiteY1158" fmla="*/ 60503 h 693846"/>
                <a:gd name="connsiteX1159" fmla="*/ 232724 w 1110409"/>
                <a:gd name="connsiteY1159" fmla="*/ 59323 h 693846"/>
                <a:gd name="connsiteX1160" fmla="*/ 232724 w 1110409"/>
                <a:gd name="connsiteY1160" fmla="*/ 56873 h 693846"/>
                <a:gd name="connsiteX1161" fmla="*/ 232876 w 1110409"/>
                <a:gd name="connsiteY1161" fmla="*/ 54906 h 693846"/>
                <a:gd name="connsiteX1162" fmla="*/ 233632 w 1110409"/>
                <a:gd name="connsiteY1162" fmla="*/ 53908 h 693846"/>
                <a:gd name="connsiteX1163" fmla="*/ 235477 w 1110409"/>
                <a:gd name="connsiteY1163" fmla="*/ 54483 h 693846"/>
                <a:gd name="connsiteX1164" fmla="*/ 235477 w 1110409"/>
                <a:gd name="connsiteY1164" fmla="*/ 52910 h 693846"/>
                <a:gd name="connsiteX1165" fmla="*/ 231212 w 1110409"/>
                <a:gd name="connsiteY1165" fmla="*/ 52002 h 693846"/>
                <a:gd name="connsiteX1166" fmla="*/ 229911 w 1110409"/>
                <a:gd name="connsiteY1166" fmla="*/ 50611 h 693846"/>
                <a:gd name="connsiteX1167" fmla="*/ 231333 w 1110409"/>
                <a:gd name="connsiteY1167" fmla="*/ 48312 h 693846"/>
                <a:gd name="connsiteX1168" fmla="*/ 228792 w 1110409"/>
                <a:gd name="connsiteY1168" fmla="*/ 43986 h 693846"/>
                <a:gd name="connsiteX1169" fmla="*/ 220593 w 1110409"/>
                <a:gd name="connsiteY1169" fmla="*/ 39750 h 693846"/>
                <a:gd name="connsiteX1170" fmla="*/ 218839 w 1110409"/>
                <a:gd name="connsiteY1170" fmla="*/ 36362 h 693846"/>
                <a:gd name="connsiteX1171" fmla="*/ 217901 w 1110409"/>
                <a:gd name="connsiteY1171" fmla="*/ 30887 h 693846"/>
                <a:gd name="connsiteX1172" fmla="*/ 215541 w 1110409"/>
                <a:gd name="connsiteY1172" fmla="*/ 26349 h 693846"/>
                <a:gd name="connsiteX1173" fmla="*/ 212426 w 1110409"/>
                <a:gd name="connsiteY1173" fmla="*/ 23445 h 693846"/>
                <a:gd name="connsiteX1174" fmla="*/ 209189 w 1110409"/>
                <a:gd name="connsiteY1174" fmla="*/ 22931 h 693846"/>
                <a:gd name="connsiteX1175" fmla="*/ 209945 w 1110409"/>
                <a:gd name="connsiteY1175" fmla="*/ 25139 h 693846"/>
                <a:gd name="connsiteX1176" fmla="*/ 212577 w 1110409"/>
                <a:gd name="connsiteY1176" fmla="*/ 26833 h 693846"/>
                <a:gd name="connsiteX1177" fmla="*/ 213303 w 1110409"/>
                <a:gd name="connsiteY1177" fmla="*/ 29102 h 693846"/>
                <a:gd name="connsiteX1178" fmla="*/ 212849 w 1110409"/>
                <a:gd name="connsiteY1178" fmla="*/ 31976 h 693846"/>
                <a:gd name="connsiteX1179" fmla="*/ 211337 w 1110409"/>
                <a:gd name="connsiteY1179" fmla="*/ 32248 h 693846"/>
                <a:gd name="connsiteX1180" fmla="*/ 204409 w 1110409"/>
                <a:gd name="connsiteY1180" fmla="*/ 29072 h 693846"/>
                <a:gd name="connsiteX1181" fmla="*/ 201233 w 1110409"/>
                <a:gd name="connsiteY1181" fmla="*/ 25593 h 693846"/>
                <a:gd name="connsiteX1182" fmla="*/ 197965 w 1110409"/>
                <a:gd name="connsiteY1182" fmla="*/ 23173 h 693846"/>
                <a:gd name="connsiteX1183" fmla="*/ 194002 w 1110409"/>
                <a:gd name="connsiteY1183" fmla="*/ 24504 h 693846"/>
                <a:gd name="connsiteX1184" fmla="*/ 194396 w 1110409"/>
                <a:gd name="connsiteY1184" fmla="*/ 26833 h 693846"/>
                <a:gd name="connsiteX1185" fmla="*/ 194608 w 1110409"/>
                <a:gd name="connsiteY1185" fmla="*/ 27680 h 693846"/>
                <a:gd name="connsiteX1186" fmla="*/ 192248 w 1110409"/>
                <a:gd name="connsiteY1186" fmla="*/ 29283 h 693846"/>
                <a:gd name="connsiteX1187" fmla="*/ 188315 w 1110409"/>
                <a:gd name="connsiteY1187" fmla="*/ 33609 h 693846"/>
                <a:gd name="connsiteX1188" fmla="*/ 185744 w 1110409"/>
                <a:gd name="connsiteY1188" fmla="*/ 34033 h 693846"/>
                <a:gd name="connsiteX1189" fmla="*/ 183717 w 1110409"/>
                <a:gd name="connsiteY1189" fmla="*/ 32732 h 693846"/>
                <a:gd name="connsiteX1190" fmla="*/ 180087 w 1110409"/>
                <a:gd name="connsiteY1190" fmla="*/ 28618 h 693846"/>
                <a:gd name="connsiteX1191" fmla="*/ 175549 w 1110409"/>
                <a:gd name="connsiteY1191" fmla="*/ 27015 h 693846"/>
                <a:gd name="connsiteX1192" fmla="*/ 171979 w 1110409"/>
                <a:gd name="connsiteY1192" fmla="*/ 23747 h 693846"/>
                <a:gd name="connsiteX1193" fmla="*/ 170195 w 1110409"/>
                <a:gd name="connsiteY1193" fmla="*/ 23021 h 693846"/>
                <a:gd name="connsiteX1194" fmla="*/ 160121 w 1110409"/>
                <a:gd name="connsiteY1194" fmla="*/ 23021 h 693846"/>
                <a:gd name="connsiteX1195" fmla="*/ 165112 w 1110409"/>
                <a:gd name="connsiteY1195" fmla="*/ 27166 h 693846"/>
                <a:gd name="connsiteX1196" fmla="*/ 166746 w 1110409"/>
                <a:gd name="connsiteY1196" fmla="*/ 27771 h 693846"/>
                <a:gd name="connsiteX1197" fmla="*/ 168379 w 1110409"/>
                <a:gd name="connsiteY1197" fmla="*/ 28951 h 693846"/>
                <a:gd name="connsiteX1198" fmla="*/ 168743 w 1110409"/>
                <a:gd name="connsiteY1198" fmla="*/ 31280 h 693846"/>
                <a:gd name="connsiteX1199" fmla="*/ 167835 w 1110409"/>
                <a:gd name="connsiteY1199" fmla="*/ 33035 h 693846"/>
                <a:gd name="connsiteX1200" fmla="*/ 165657 w 1110409"/>
                <a:gd name="connsiteY1200" fmla="*/ 32520 h 693846"/>
                <a:gd name="connsiteX1201" fmla="*/ 165052 w 1110409"/>
                <a:gd name="connsiteY1201" fmla="*/ 31552 h 693846"/>
                <a:gd name="connsiteX1202" fmla="*/ 164205 w 1110409"/>
                <a:gd name="connsiteY1202" fmla="*/ 28739 h 693846"/>
                <a:gd name="connsiteX1203" fmla="*/ 163600 w 1110409"/>
                <a:gd name="connsiteY1203" fmla="*/ 27801 h 693846"/>
                <a:gd name="connsiteX1204" fmla="*/ 162874 w 1110409"/>
                <a:gd name="connsiteY1204" fmla="*/ 27529 h 693846"/>
                <a:gd name="connsiteX1205" fmla="*/ 151832 w 1110409"/>
                <a:gd name="connsiteY1205" fmla="*/ 29223 h 693846"/>
                <a:gd name="connsiteX1206" fmla="*/ 152649 w 1110409"/>
                <a:gd name="connsiteY1206" fmla="*/ 30372 h 693846"/>
                <a:gd name="connsiteX1207" fmla="*/ 153163 w 1110409"/>
                <a:gd name="connsiteY1207" fmla="*/ 31492 h 693846"/>
                <a:gd name="connsiteX1208" fmla="*/ 153919 w 1110409"/>
                <a:gd name="connsiteY1208" fmla="*/ 34093 h 693846"/>
                <a:gd name="connsiteX1209" fmla="*/ 150894 w 1110409"/>
                <a:gd name="connsiteY1209" fmla="*/ 32611 h 693846"/>
                <a:gd name="connsiteX1210" fmla="*/ 147718 w 1110409"/>
                <a:gd name="connsiteY1210" fmla="*/ 29979 h 693846"/>
                <a:gd name="connsiteX1211" fmla="*/ 144541 w 1110409"/>
                <a:gd name="connsiteY1211" fmla="*/ 28618 h 693846"/>
                <a:gd name="connsiteX1212" fmla="*/ 141456 w 1110409"/>
                <a:gd name="connsiteY1212" fmla="*/ 30947 h 693846"/>
                <a:gd name="connsiteX1213" fmla="*/ 143604 w 1110409"/>
                <a:gd name="connsiteY1213" fmla="*/ 34487 h 693846"/>
                <a:gd name="connsiteX1214" fmla="*/ 146538 w 1110409"/>
                <a:gd name="connsiteY1214" fmla="*/ 37754 h 693846"/>
                <a:gd name="connsiteX1215" fmla="*/ 149714 w 1110409"/>
                <a:gd name="connsiteY1215" fmla="*/ 39992 h 693846"/>
                <a:gd name="connsiteX1216" fmla="*/ 152558 w 1110409"/>
                <a:gd name="connsiteY1216" fmla="*/ 40386 h 693846"/>
                <a:gd name="connsiteX1217" fmla="*/ 150350 w 1110409"/>
                <a:gd name="connsiteY1217" fmla="*/ 47585 h 693846"/>
                <a:gd name="connsiteX1218" fmla="*/ 146054 w 1110409"/>
                <a:gd name="connsiteY1218" fmla="*/ 48160 h 693846"/>
                <a:gd name="connsiteX1219" fmla="*/ 141183 w 1110409"/>
                <a:gd name="connsiteY1219" fmla="*/ 46406 h 693846"/>
                <a:gd name="connsiteX1220" fmla="*/ 137311 w 1110409"/>
                <a:gd name="connsiteY1220" fmla="*/ 46648 h 693846"/>
                <a:gd name="connsiteX1221" fmla="*/ 135950 w 1110409"/>
                <a:gd name="connsiteY1221" fmla="*/ 48796 h 693846"/>
                <a:gd name="connsiteX1222" fmla="*/ 136646 w 1110409"/>
                <a:gd name="connsiteY1222" fmla="*/ 50308 h 693846"/>
                <a:gd name="connsiteX1223" fmla="*/ 138279 w 1110409"/>
                <a:gd name="connsiteY1223" fmla="*/ 51821 h 693846"/>
                <a:gd name="connsiteX1224" fmla="*/ 141032 w 1110409"/>
                <a:gd name="connsiteY1224" fmla="*/ 55148 h 693846"/>
                <a:gd name="connsiteX1225" fmla="*/ 145177 w 1110409"/>
                <a:gd name="connsiteY1225" fmla="*/ 57326 h 693846"/>
                <a:gd name="connsiteX1226" fmla="*/ 161119 w 1110409"/>
                <a:gd name="connsiteY1226" fmla="*/ 61199 h 693846"/>
                <a:gd name="connsiteX1227" fmla="*/ 163539 w 1110409"/>
                <a:gd name="connsiteY1227" fmla="*/ 58536 h 693846"/>
                <a:gd name="connsiteX1228" fmla="*/ 164356 w 1110409"/>
                <a:gd name="connsiteY1228" fmla="*/ 58053 h 693846"/>
                <a:gd name="connsiteX1229" fmla="*/ 168379 w 1110409"/>
                <a:gd name="connsiteY1229" fmla="*/ 51397 h 693846"/>
                <a:gd name="connsiteX1230" fmla="*/ 170104 w 1110409"/>
                <a:gd name="connsiteY1230" fmla="*/ 49370 h 693846"/>
                <a:gd name="connsiteX1231" fmla="*/ 171828 w 1110409"/>
                <a:gd name="connsiteY1231" fmla="*/ 48009 h 693846"/>
                <a:gd name="connsiteX1232" fmla="*/ 175277 w 1110409"/>
                <a:gd name="connsiteY1232" fmla="*/ 46678 h 693846"/>
                <a:gd name="connsiteX1233" fmla="*/ 175277 w 1110409"/>
                <a:gd name="connsiteY1233" fmla="*/ 48402 h 693846"/>
                <a:gd name="connsiteX1234" fmla="*/ 173916 w 1110409"/>
                <a:gd name="connsiteY1234" fmla="*/ 50157 h 693846"/>
                <a:gd name="connsiteX1235" fmla="*/ 172373 w 1110409"/>
                <a:gd name="connsiteY1235" fmla="*/ 53333 h 693846"/>
                <a:gd name="connsiteX1236" fmla="*/ 171677 w 1110409"/>
                <a:gd name="connsiteY1236" fmla="*/ 56358 h 693846"/>
                <a:gd name="connsiteX1237" fmla="*/ 172917 w 1110409"/>
                <a:gd name="connsiteY1237" fmla="*/ 57720 h 693846"/>
                <a:gd name="connsiteX1238" fmla="*/ 177092 w 1110409"/>
                <a:gd name="connsiteY1238" fmla="*/ 57084 h 693846"/>
                <a:gd name="connsiteX1239" fmla="*/ 178967 w 1110409"/>
                <a:gd name="connsiteY1239" fmla="*/ 56116 h 693846"/>
                <a:gd name="connsiteX1240" fmla="*/ 186924 w 1110409"/>
                <a:gd name="connsiteY1240" fmla="*/ 48130 h 693846"/>
                <a:gd name="connsiteX1241" fmla="*/ 190221 w 1110409"/>
                <a:gd name="connsiteY1241" fmla="*/ 45952 h 693846"/>
                <a:gd name="connsiteX1242" fmla="*/ 194577 w 1110409"/>
                <a:gd name="connsiteY1242" fmla="*/ 45105 h 693846"/>
                <a:gd name="connsiteX1243" fmla="*/ 189767 w 1110409"/>
                <a:gd name="connsiteY1243" fmla="*/ 47011 h 693846"/>
                <a:gd name="connsiteX1244" fmla="*/ 188406 w 1110409"/>
                <a:gd name="connsiteY1244" fmla="*/ 48402 h 693846"/>
                <a:gd name="connsiteX1245" fmla="*/ 188013 w 1110409"/>
                <a:gd name="connsiteY1245" fmla="*/ 49854 h 693846"/>
                <a:gd name="connsiteX1246" fmla="*/ 187468 w 1110409"/>
                <a:gd name="connsiteY1246" fmla="*/ 54483 h 693846"/>
                <a:gd name="connsiteX1247" fmla="*/ 187105 w 1110409"/>
                <a:gd name="connsiteY1247" fmla="*/ 56116 h 693846"/>
                <a:gd name="connsiteX1248" fmla="*/ 185048 w 1110409"/>
                <a:gd name="connsiteY1248" fmla="*/ 58385 h 693846"/>
                <a:gd name="connsiteX1249" fmla="*/ 184171 w 1110409"/>
                <a:gd name="connsiteY1249" fmla="*/ 60049 h 693846"/>
                <a:gd name="connsiteX1250" fmla="*/ 184292 w 1110409"/>
                <a:gd name="connsiteY1250" fmla="*/ 62530 h 693846"/>
                <a:gd name="connsiteX1251" fmla="*/ 185139 w 1110409"/>
                <a:gd name="connsiteY1251" fmla="*/ 63044 h 693846"/>
                <a:gd name="connsiteX1252" fmla="*/ 189858 w 1110409"/>
                <a:gd name="connsiteY1252" fmla="*/ 63952 h 693846"/>
                <a:gd name="connsiteX1253" fmla="*/ 195818 w 1110409"/>
                <a:gd name="connsiteY1253" fmla="*/ 63437 h 693846"/>
                <a:gd name="connsiteX1254" fmla="*/ 200930 w 1110409"/>
                <a:gd name="connsiteY1254" fmla="*/ 60805 h 693846"/>
                <a:gd name="connsiteX1255" fmla="*/ 204893 w 1110409"/>
                <a:gd name="connsiteY1255" fmla="*/ 56903 h 693846"/>
                <a:gd name="connsiteX1256" fmla="*/ 206224 w 1110409"/>
                <a:gd name="connsiteY1256" fmla="*/ 56479 h 693846"/>
                <a:gd name="connsiteX1257" fmla="*/ 208463 w 1110409"/>
                <a:gd name="connsiteY1257" fmla="*/ 57659 h 693846"/>
                <a:gd name="connsiteX1258" fmla="*/ 208463 w 1110409"/>
                <a:gd name="connsiteY1258" fmla="*/ 59384 h 693846"/>
                <a:gd name="connsiteX1259" fmla="*/ 206799 w 1110409"/>
                <a:gd name="connsiteY1259" fmla="*/ 59384 h 693846"/>
                <a:gd name="connsiteX1260" fmla="*/ 205135 w 1110409"/>
                <a:gd name="connsiteY1260" fmla="*/ 60140 h 693846"/>
                <a:gd name="connsiteX1261" fmla="*/ 203653 w 1110409"/>
                <a:gd name="connsiteY1261" fmla="*/ 61531 h 693846"/>
                <a:gd name="connsiteX1262" fmla="*/ 202564 w 1110409"/>
                <a:gd name="connsiteY1262" fmla="*/ 63256 h 693846"/>
                <a:gd name="connsiteX1263" fmla="*/ 200930 w 1110409"/>
                <a:gd name="connsiteY1263" fmla="*/ 64859 h 693846"/>
                <a:gd name="connsiteX1264" fmla="*/ 199327 w 1110409"/>
                <a:gd name="connsiteY1264" fmla="*/ 65041 h 693846"/>
                <a:gd name="connsiteX1265" fmla="*/ 198903 w 1110409"/>
                <a:gd name="connsiteY1265" fmla="*/ 65343 h 693846"/>
                <a:gd name="connsiteX1266" fmla="*/ 200870 w 1110409"/>
                <a:gd name="connsiteY1266" fmla="*/ 67279 h 693846"/>
                <a:gd name="connsiteX1267" fmla="*/ 205044 w 1110409"/>
                <a:gd name="connsiteY1267" fmla="*/ 69306 h 693846"/>
                <a:gd name="connsiteX1268" fmla="*/ 218718 w 1110409"/>
                <a:gd name="connsiteY1268" fmla="*/ 67279 h 693846"/>
                <a:gd name="connsiteX1269" fmla="*/ 216389 w 1110409"/>
                <a:gd name="connsiteY1269" fmla="*/ 69034 h 693846"/>
                <a:gd name="connsiteX1270" fmla="*/ 211367 w 1110409"/>
                <a:gd name="connsiteY1270" fmla="*/ 69518 h 693846"/>
                <a:gd name="connsiteX1271" fmla="*/ 206950 w 1110409"/>
                <a:gd name="connsiteY1271" fmla="*/ 72815 h 693846"/>
                <a:gd name="connsiteX1272" fmla="*/ 204409 w 1110409"/>
                <a:gd name="connsiteY1272" fmla="*/ 73450 h 693846"/>
                <a:gd name="connsiteX1273" fmla="*/ 199417 w 1110409"/>
                <a:gd name="connsiteY1273" fmla="*/ 73450 h 693846"/>
                <a:gd name="connsiteX1274" fmla="*/ 200295 w 1110409"/>
                <a:gd name="connsiteY1274" fmla="*/ 76445 h 693846"/>
                <a:gd name="connsiteX1275" fmla="*/ 200779 w 1110409"/>
                <a:gd name="connsiteY1275" fmla="*/ 77474 h 693846"/>
                <a:gd name="connsiteX1276" fmla="*/ 201444 w 1110409"/>
                <a:gd name="connsiteY1276" fmla="*/ 78260 h 693846"/>
                <a:gd name="connsiteX1277" fmla="*/ 200083 w 1110409"/>
                <a:gd name="connsiteY1277" fmla="*/ 79622 h 693846"/>
                <a:gd name="connsiteX1278" fmla="*/ 198661 w 1110409"/>
                <a:gd name="connsiteY1278" fmla="*/ 79289 h 693846"/>
                <a:gd name="connsiteX1279" fmla="*/ 195939 w 1110409"/>
                <a:gd name="connsiteY1279" fmla="*/ 76687 h 693846"/>
                <a:gd name="connsiteX1280" fmla="*/ 195485 w 1110409"/>
                <a:gd name="connsiteY1280" fmla="*/ 75840 h 693846"/>
                <a:gd name="connsiteX1281" fmla="*/ 195152 w 1110409"/>
                <a:gd name="connsiteY1281" fmla="*/ 74751 h 693846"/>
                <a:gd name="connsiteX1282" fmla="*/ 194608 w 1110409"/>
                <a:gd name="connsiteY1282" fmla="*/ 73813 h 693846"/>
                <a:gd name="connsiteX1283" fmla="*/ 193518 w 1110409"/>
                <a:gd name="connsiteY1283" fmla="*/ 73420 h 693846"/>
                <a:gd name="connsiteX1284" fmla="*/ 190735 w 1110409"/>
                <a:gd name="connsiteY1284" fmla="*/ 73420 h 693846"/>
                <a:gd name="connsiteX1285" fmla="*/ 180057 w 1110409"/>
                <a:gd name="connsiteY1285" fmla="*/ 70274 h 693846"/>
                <a:gd name="connsiteX1286" fmla="*/ 176910 w 1110409"/>
                <a:gd name="connsiteY1286" fmla="*/ 70123 h 693846"/>
                <a:gd name="connsiteX1287" fmla="*/ 161966 w 1110409"/>
                <a:gd name="connsiteY1287" fmla="*/ 73874 h 693846"/>
                <a:gd name="connsiteX1288" fmla="*/ 157277 w 1110409"/>
                <a:gd name="connsiteY1288" fmla="*/ 76687 h 693846"/>
                <a:gd name="connsiteX1289" fmla="*/ 161482 w 1110409"/>
                <a:gd name="connsiteY1289" fmla="*/ 86882 h 693846"/>
                <a:gd name="connsiteX1290" fmla="*/ 168501 w 1110409"/>
                <a:gd name="connsiteY1290" fmla="*/ 93810 h 693846"/>
                <a:gd name="connsiteX1291" fmla="*/ 192429 w 1110409"/>
                <a:gd name="connsiteY1291" fmla="*/ 103399 h 693846"/>
                <a:gd name="connsiteX1292" fmla="*/ 198056 w 1110409"/>
                <a:gd name="connsiteY1292" fmla="*/ 108845 h 693846"/>
                <a:gd name="connsiteX1293" fmla="*/ 206466 w 1110409"/>
                <a:gd name="connsiteY1293" fmla="*/ 112717 h 693846"/>
                <a:gd name="connsiteX1294" fmla="*/ 208342 w 1110409"/>
                <a:gd name="connsiteY1294" fmla="*/ 112051 h 693846"/>
                <a:gd name="connsiteX1295" fmla="*/ 210217 w 1110409"/>
                <a:gd name="connsiteY1295" fmla="*/ 110357 h 693846"/>
                <a:gd name="connsiteX1296" fmla="*/ 215178 w 1110409"/>
                <a:gd name="connsiteY1296" fmla="*/ 108028 h 693846"/>
                <a:gd name="connsiteX1297" fmla="*/ 217266 w 1110409"/>
                <a:gd name="connsiteY1297" fmla="*/ 107937 h 693846"/>
                <a:gd name="connsiteX1298" fmla="*/ 216086 w 1110409"/>
                <a:gd name="connsiteY1298" fmla="*/ 111053 h 693846"/>
                <a:gd name="connsiteX1299" fmla="*/ 214331 w 1110409"/>
                <a:gd name="connsiteY1299" fmla="*/ 111900 h 693846"/>
                <a:gd name="connsiteX1300" fmla="*/ 212335 w 1110409"/>
                <a:gd name="connsiteY1300" fmla="*/ 112021 h 693846"/>
                <a:gd name="connsiteX1301" fmla="*/ 210399 w 1110409"/>
                <a:gd name="connsiteY1301" fmla="*/ 112929 h 693846"/>
                <a:gd name="connsiteX1302" fmla="*/ 208947 w 1110409"/>
                <a:gd name="connsiteY1302" fmla="*/ 115228 h 693846"/>
                <a:gd name="connsiteX1303" fmla="*/ 208372 w 1110409"/>
                <a:gd name="connsiteY1303" fmla="*/ 117799 h 693846"/>
                <a:gd name="connsiteX1304" fmla="*/ 207918 w 1110409"/>
                <a:gd name="connsiteY1304" fmla="*/ 120582 h 693846"/>
                <a:gd name="connsiteX1305" fmla="*/ 206859 w 1110409"/>
                <a:gd name="connsiteY1305" fmla="*/ 123547 h 693846"/>
                <a:gd name="connsiteX1306" fmla="*/ 208977 w 1110409"/>
                <a:gd name="connsiteY1306" fmla="*/ 124454 h 693846"/>
                <a:gd name="connsiteX1307" fmla="*/ 211125 w 1110409"/>
                <a:gd name="connsiteY1307" fmla="*/ 126723 h 693846"/>
                <a:gd name="connsiteX1308" fmla="*/ 213031 w 1110409"/>
                <a:gd name="connsiteY1308" fmla="*/ 129779 h 693846"/>
                <a:gd name="connsiteX1309" fmla="*/ 214483 w 1110409"/>
                <a:gd name="connsiteY1309" fmla="*/ 133016 h 693846"/>
                <a:gd name="connsiteX1310" fmla="*/ 215330 w 1110409"/>
                <a:gd name="connsiteY1310" fmla="*/ 137009 h 693846"/>
                <a:gd name="connsiteX1311" fmla="*/ 216056 w 1110409"/>
                <a:gd name="connsiteY1311" fmla="*/ 142030 h 693846"/>
                <a:gd name="connsiteX1312" fmla="*/ 217205 w 1110409"/>
                <a:gd name="connsiteY1312" fmla="*/ 146417 h 693846"/>
                <a:gd name="connsiteX1313" fmla="*/ 219293 w 1110409"/>
                <a:gd name="connsiteY1313" fmla="*/ 148504 h 693846"/>
                <a:gd name="connsiteX1314" fmla="*/ 219293 w 1110409"/>
                <a:gd name="connsiteY1314" fmla="*/ 150198 h 693846"/>
                <a:gd name="connsiteX1315" fmla="*/ 216086 w 1110409"/>
                <a:gd name="connsiteY1315" fmla="*/ 152558 h 693846"/>
                <a:gd name="connsiteX1316" fmla="*/ 212184 w 1110409"/>
                <a:gd name="connsiteY1316" fmla="*/ 165173 h 693846"/>
                <a:gd name="connsiteX1317" fmla="*/ 208342 w 1110409"/>
                <a:gd name="connsiteY1317" fmla="*/ 167200 h 693846"/>
                <a:gd name="connsiteX1318" fmla="*/ 208342 w 1110409"/>
                <a:gd name="connsiteY1318" fmla="*/ 165778 h 693846"/>
                <a:gd name="connsiteX1319" fmla="*/ 209310 w 1110409"/>
                <a:gd name="connsiteY1319" fmla="*/ 163267 h 693846"/>
                <a:gd name="connsiteX1320" fmla="*/ 211639 w 1110409"/>
                <a:gd name="connsiteY1320" fmla="*/ 158911 h 693846"/>
                <a:gd name="connsiteX1321" fmla="*/ 212486 w 1110409"/>
                <a:gd name="connsiteY1321" fmla="*/ 156370 h 693846"/>
                <a:gd name="connsiteX1322" fmla="*/ 213182 w 1110409"/>
                <a:gd name="connsiteY1322" fmla="*/ 148625 h 693846"/>
                <a:gd name="connsiteX1323" fmla="*/ 213182 w 1110409"/>
                <a:gd name="connsiteY1323" fmla="*/ 147082 h 693846"/>
                <a:gd name="connsiteX1324" fmla="*/ 212426 w 1110409"/>
                <a:gd name="connsiteY1324" fmla="*/ 146568 h 693846"/>
                <a:gd name="connsiteX1325" fmla="*/ 211760 w 1110409"/>
                <a:gd name="connsiteY1325" fmla="*/ 148293 h 693846"/>
                <a:gd name="connsiteX1326" fmla="*/ 211306 w 1110409"/>
                <a:gd name="connsiteY1326" fmla="*/ 150561 h 693846"/>
                <a:gd name="connsiteX1327" fmla="*/ 211125 w 1110409"/>
                <a:gd name="connsiteY1327" fmla="*/ 151711 h 693846"/>
                <a:gd name="connsiteX1328" fmla="*/ 209733 w 1110409"/>
                <a:gd name="connsiteY1328" fmla="*/ 150622 h 693846"/>
                <a:gd name="connsiteX1329" fmla="*/ 209824 w 1110409"/>
                <a:gd name="connsiteY1329" fmla="*/ 149079 h 693846"/>
                <a:gd name="connsiteX1330" fmla="*/ 210368 w 1110409"/>
                <a:gd name="connsiteY1330" fmla="*/ 147324 h 693846"/>
                <a:gd name="connsiteX1331" fmla="*/ 210429 w 1110409"/>
                <a:gd name="connsiteY1331" fmla="*/ 145509 h 693846"/>
                <a:gd name="connsiteX1332" fmla="*/ 209612 w 1110409"/>
                <a:gd name="connsiteY1332" fmla="*/ 143573 h 693846"/>
                <a:gd name="connsiteX1333" fmla="*/ 208977 w 1110409"/>
                <a:gd name="connsiteY1333" fmla="*/ 143573 h 693846"/>
                <a:gd name="connsiteX1334" fmla="*/ 208402 w 1110409"/>
                <a:gd name="connsiteY1334" fmla="*/ 144118 h 693846"/>
                <a:gd name="connsiteX1335" fmla="*/ 207676 w 1110409"/>
                <a:gd name="connsiteY1335" fmla="*/ 143967 h 693846"/>
                <a:gd name="connsiteX1336" fmla="*/ 206103 w 1110409"/>
                <a:gd name="connsiteY1336" fmla="*/ 141093 h 693846"/>
                <a:gd name="connsiteX1337" fmla="*/ 204923 w 1110409"/>
                <a:gd name="connsiteY1337" fmla="*/ 137856 h 693846"/>
                <a:gd name="connsiteX1338" fmla="*/ 203562 w 1110409"/>
                <a:gd name="connsiteY1338" fmla="*/ 135708 h 693846"/>
                <a:gd name="connsiteX1339" fmla="*/ 201414 w 1110409"/>
                <a:gd name="connsiteY1339" fmla="*/ 136071 h 693846"/>
                <a:gd name="connsiteX1340" fmla="*/ 201414 w 1110409"/>
                <a:gd name="connsiteY1340" fmla="*/ 137765 h 693846"/>
                <a:gd name="connsiteX1341" fmla="*/ 200749 w 1110409"/>
                <a:gd name="connsiteY1341" fmla="*/ 142242 h 693846"/>
                <a:gd name="connsiteX1342" fmla="*/ 194063 w 1110409"/>
                <a:gd name="connsiteY1342" fmla="*/ 158820 h 693846"/>
                <a:gd name="connsiteX1343" fmla="*/ 191703 w 1110409"/>
                <a:gd name="connsiteY1343" fmla="*/ 167532 h 693846"/>
                <a:gd name="connsiteX1344" fmla="*/ 190403 w 1110409"/>
                <a:gd name="connsiteY1344" fmla="*/ 167895 h 693846"/>
                <a:gd name="connsiteX1345" fmla="*/ 189677 w 1110409"/>
                <a:gd name="connsiteY1345" fmla="*/ 165959 h 693846"/>
                <a:gd name="connsiteX1346" fmla="*/ 190735 w 1110409"/>
                <a:gd name="connsiteY1346" fmla="*/ 161785 h 693846"/>
                <a:gd name="connsiteX1347" fmla="*/ 195908 w 1110409"/>
                <a:gd name="connsiteY1347" fmla="*/ 148414 h 693846"/>
                <a:gd name="connsiteX1348" fmla="*/ 195485 w 1110409"/>
                <a:gd name="connsiteY1348" fmla="*/ 147839 h 693846"/>
                <a:gd name="connsiteX1349" fmla="*/ 195243 w 1110409"/>
                <a:gd name="connsiteY1349" fmla="*/ 147022 h 693846"/>
                <a:gd name="connsiteX1350" fmla="*/ 196060 w 1110409"/>
                <a:gd name="connsiteY1350" fmla="*/ 145903 h 693846"/>
                <a:gd name="connsiteX1351" fmla="*/ 196665 w 1110409"/>
                <a:gd name="connsiteY1351" fmla="*/ 143694 h 693846"/>
                <a:gd name="connsiteX1352" fmla="*/ 197088 w 1110409"/>
                <a:gd name="connsiteY1352" fmla="*/ 141183 h 693846"/>
                <a:gd name="connsiteX1353" fmla="*/ 197542 w 1110409"/>
                <a:gd name="connsiteY1353" fmla="*/ 136252 h 693846"/>
                <a:gd name="connsiteX1354" fmla="*/ 197451 w 1110409"/>
                <a:gd name="connsiteY1354" fmla="*/ 135224 h 693846"/>
                <a:gd name="connsiteX1355" fmla="*/ 196876 w 1110409"/>
                <a:gd name="connsiteY1355" fmla="*/ 134407 h 693846"/>
                <a:gd name="connsiteX1356" fmla="*/ 193246 w 1110409"/>
                <a:gd name="connsiteY1356" fmla="*/ 128024 h 693846"/>
                <a:gd name="connsiteX1357" fmla="*/ 189404 w 1110409"/>
                <a:gd name="connsiteY1357" fmla="*/ 124243 h 693846"/>
                <a:gd name="connsiteX1358" fmla="*/ 188527 w 1110409"/>
                <a:gd name="connsiteY1358" fmla="*/ 123093 h 693846"/>
                <a:gd name="connsiteX1359" fmla="*/ 187892 w 1110409"/>
                <a:gd name="connsiteY1359" fmla="*/ 121217 h 693846"/>
                <a:gd name="connsiteX1360" fmla="*/ 187650 w 1110409"/>
                <a:gd name="connsiteY1360" fmla="*/ 118132 h 693846"/>
                <a:gd name="connsiteX1361" fmla="*/ 186984 w 1110409"/>
                <a:gd name="connsiteY1361" fmla="*/ 117406 h 693846"/>
                <a:gd name="connsiteX1362" fmla="*/ 180178 w 1110409"/>
                <a:gd name="connsiteY1362" fmla="*/ 116831 h 693846"/>
                <a:gd name="connsiteX1363" fmla="*/ 179633 w 1110409"/>
                <a:gd name="connsiteY1363" fmla="*/ 117194 h 693846"/>
                <a:gd name="connsiteX1364" fmla="*/ 178816 w 1110409"/>
                <a:gd name="connsiteY1364" fmla="*/ 118918 h 693846"/>
                <a:gd name="connsiteX1365" fmla="*/ 177757 w 1110409"/>
                <a:gd name="connsiteY1365" fmla="*/ 122730 h 693846"/>
                <a:gd name="connsiteX1366" fmla="*/ 176910 w 1110409"/>
                <a:gd name="connsiteY1366" fmla="*/ 128175 h 693846"/>
                <a:gd name="connsiteX1367" fmla="*/ 176487 w 1110409"/>
                <a:gd name="connsiteY1367" fmla="*/ 134014 h 693846"/>
                <a:gd name="connsiteX1368" fmla="*/ 176668 w 1110409"/>
                <a:gd name="connsiteY1368" fmla="*/ 139096 h 693846"/>
                <a:gd name="connsiteX1369" fmla="*/ 173250 w 1110409"/>
                <a:gd name="connsiteY1369" fmla="*/ 150077 h 693846"/>
                <a:gd name="connsiteX1370" fmla="*/ 172706 w 1110409"/>
                <a:gd name="connsiteY1370" fmla="*/ 146871 h 693846"/>
                <a:gd name="connsiteX1371" fmla="*/ 173613 w 1110409"/>
                <a:gd name="connsiteY1371" fmla="*/ 141546 h 693846"/>
                <a:gd name="connsiteX1372" fmla="*/ 174248 w 1110409"/>
                <a:gd name="connsiteY1372" fmla="*/ 135224 h 693846"/>
                <a:gd name="connsiteX1373" fmla="*/ 172857 w 1110409"/>
                <a:gd name="connsiteY1373" fmla="*/ 129083 h 693846"/>
                <a:gd name="connsiteX1374" fmla="*/ 171737 w 1110409"/>
                <a:gd name="connsiteY1374" fmla="*/ 129809 h 693846"/>
                <a:gd name="connsiteX1375" fmla="*/ 170285 w 1110409"/>
                <a:gd name="connsiteY1375" fmla="*/ 133288 h 693846"/>
                <a:gd name="connsiteX1376" fmla="*/ 168349 w 1110409"/>
                <a:gd name="connsiteY1376" fmla="*/ 139096 h 693846"/>
                <a:gd name="connsiteX1377" fmla="*/ 166655 w 1110409"/>
                <a:gd name="connsiteY1377" fmla="*/ 141062 h 693846"/>
                <a:gd name="connsiteX1378" fmla="*/ 164810 w 1110409"/>
                <a:gd name="connsiteY1378" fmla="*/ 141940 h 693846"/>
                <a:gd name="connsiteX1379" fmla="*/ 160756 w 1110409"/>
                <a:gd name="connsiteY1379" fmla="*/ 142182 h 693846"/>
                <a:gd name="connsiteX1380" fmla="*/ 164084 w 1110409"/>
                <a:gd name="connsiteY1380" fmla="*/ 140004 h 693846"/>
                <a:gd name="connsiteX1381" fmla="*/ 166988 w 1110409"/>
                <a:gd name="connsiteY1381" fmla="*/ 135708 h 693846"/>
                <a:gd name="connsiteX1382" fmla="*/ 169348 w 1110409"/>
                <a:gd name="connsiteY1382" fmla="*/ 130384 h 693846"/>
                <a:gd name="connsiteX1383" fmla="*/ 171072 w 1110409"/>
                <a:gd name="connsiteY1383" fmla="*/ 125090 h 693846"/>
                <a:gd name="connsiteX1384" fmla="*/ 169559 w 1110409"/>
                <a:gd name="connsiteY1384" fmla="*/ 123577 h 693846"/>
                <a:gd name="connsiteX1385" fmla="*/ 167956 w 1110409"/>
                <a:gd name="connsiteY1385" fmla="*/ 124817 h 693846"/>
                <a:gd name="connsiteX1386" fmla="*/ 166353 w 1110409"/>
                <a:gd name="connsiteY1386" fmla="*/ 126996 h 693846"/>
                <a:gd name="connsiteX1387" fmla="*/ 164901 w 1110409"/>
                <a:gd name="connsiteY1387" fmla="*/ 128327 h 693846"/>
                <a:gd name="connsiteX1388" fmla="*/ 165112 w 1110409"/>
                <a:gd name="connsiteY1388" fmla="*/ 127631 h 693846"/>
                <a:gd name="connsiteX1389" fmla="*/ 165566 w 1110409"/>
                <a:gd name="connsiteY1389" fmla="*/ 126602 h 693846"/>
                <a:gd name="connsiteX1390" fmla="*/ 164084 w 1110409"/>
                <a:gd name="connsiteY1390" fmla="*/ 121248 h 693846"/>
                <a:gd name="connsiteX1391" fmla="*/ 163328 w 1110409"/>
                <a:gd name="connsiteY1391" fmla="*/ 119554 h 693846"/>
                <a:gd name="connsiteX1392" fmla="*/ 162118 w 1110409"/>
                <a:gd name="connsiteY1392" fmla="*/ 118828 h 693846"/>
                <a:gd name="connsiteX1393" fmla="*/ 161028 w 1110409"/>
                <a:gd name="connsiteY1393" fmla="*/ 119463 h 693846"/>
                <a:gd name="connsiteX1394" fmla="*/ 160393 w 1110409"/>
                <a:gd name="connsiteY1394" fmla="*/ 121127 h 693846"/>
                <a:gd name="connsiteX1395" fmla="*/ 159939 w 1110409"/>
                <a:gd name="connsiteY1395" fmla="*/ 123214 h 693846"/>
                <a:gd name="connsiteX1396" fmla="*/ 159365 w 1110409"/>
                <a:gd name="connsiteY1396" fmla="*/ 125059 h 693846"/>
                <a:gd name="connsiteX1397" fmla="*/ 157368 w 1110409"/>
                <a:gd name="connsiteY1397" fmla="*/ 128115 h 693846"/>
                <a:gd name="connsiteX1398" fmla="*/ 151862 w 1110409"/>
                <a:gd name="connsiteY1398" fmla="*/ 134377 h 693846"/>
                <a:gd name="connsiteX1399" fmla="*/ 149714 w 1110409"/>
                <a:gd name="connsiteY1399" fmla="*/ 137614 h 693846"/>
                <a:gd name="connsiteX1400" fmla="*/ 149079 w 1110409"/>
                <a:gd name="connsiteY1400" fmla="*/ 137614 h 693846"/>
                <a:gd name="connsiteX1401" fmla="*/ 150077 w 1110409"/>
                <a:gd name="connsiteY1401" fmla="*/ 135375 h 693846"/>
                <a:gd name="connsiteX1402" fmla="*/ 154585 w 1110409"/>
                <a:gd name="connsiteY1402" fmla="*/ 127449 h 693846"/>
                <a:gd name="connsiteX1403" fmla="*/ 154978 w 1110409"/>
                <a:gd name="connsiteY1403" fmla="*/ 126996 h 693846"/>
                <a:gd name="connsiteX1404" fmla="*/ 156672 w 1110409"/>
                <a:gd name="connsiteY1404" fmla="*/ 124031 h 693846"/>
                <a:gd name="connsiteX1405" fmla="*/ 157338 w 1110409"/>
                <a:gd name="connsiteY1405" fmla="*/ 122367 h 693846"/>
                <a:gd name="connsiteX1406" fmla="*/ 157187 w 1110409"/>
                <a:gd name="connsiteY1406" fmla="*/ 120159 h 693846"/>
                <a:gd name="connsiteX1407" fmla="*/ 156642 w 1110409"/>
                <a:gd name="connsiteY1407" fmla="*/ 116468 h 693846"/>
                <a:gd name="connsiteX1408" fmla="*/ 156642 w 1110409"/>
                <a:gd name="connsiteY1408" fmla="*/ 113140 h 693846"/>
                <a:gd name="connsiteX1409" fmla="*/ 156400 w 1110409"/>
                <a:gd name="connsiteY1409" fmla="*/ 111900 h 693846"/>
                <a:gd name="connsiteX1410" fmla="*/ 154555 w 1110409"/>
                <a:gd name="connsiteY1410" fmla="*/ 109450 h 693846"/>
                <a:gd name="connsiteX1411" fmla="*/ 153163 w 1110409"/>
                <a:gd name="connsiteY1411" fmla="*/ 106636 h 693846"/>
                <a:gd name="connsiteX1412" fmla="*/ 152195 w 1110409"/>
                <a:gd name="connsiteY1412" fmla="*/ 105245 h 693846"/>
                <a:gd name="connsiteX1413" fmla="*/ 151106 w 1110409"/>
                <a:gd name="connsiteY1413" fmla="*/ 104640 h 693846"/>
                <a:gd name="connsiteX1414" fmla="*/ 149140 w 1110409"/>
                <a:gd name="connsiteY1414" fmla="*/ 105487 h 693846"/>
                <a:gd name="connsiteX1415" fmla="*/ 144178 w 1110409"/>
                <a:gd name="connsiteY1415" fmla="*/ 112717 h 693846"/>
                <a:gd name="connsiteX1416" fmla="*/ 143483 w 1110409"/>
                <a:gd name="connsiteY1416" fmla="*/ 107756 h 693846"/>
                <a:gd name="connsiteX1417" fmla="*/ 143876 w 1110409"/>
                <a:gd name="connsiteY1417" fmla="*/ 104367 h 693846"/>
                <a:gd name="connsiteX1418" fmla="*/ 142152 w 1110409"/>
                <a:gd name="connsiteY1418" fmla="*/ 100253 h 693846"/>
                <a:gd name="connsiteX1419" fmla="*/ 139610 w 1110409"/>
                <a:gd name="connsiteY1419" fmla="*/ 96774 h 693846"/>
                <a:gd name="connsiteX1420" fmla="*/ 137614 w 1110409"/>
                <a:gd name="connsiteY1420" fmla="*/ 95292 h 693846"/>
                <a:gd name="connsiteX1421" fmla="*/ 134589 w 1110409"/>
                <a:gd name="connsiteY1421" fmla="*/ 94657 h 693846"/>
                <a:gd name="connsiteX1422" fmla="*/ 124333 w 1110409"/>
                <a:gd name="connsiteY1422" fmla="*/ 87638 h 693846"/>
                <a:gd name="connsiteX1423" fmla="*/ 108542 w 1110409"/>
                <a:gd name="connsiteY1423" fmla="*/ 83433 h 693846"/>
                <a:gd name="connsiteX1424" fmla="*/ 106243 w 1110409"/>
                <a:gd name="connsiteY1424" fmla="*/ 84523 h 693846"/>
                <a:gd name="connsiteX1425" fmla="*/ 106092 w 1110409"/>
                <a:gd name="connsiteY1425" fmla="*/ 87548 h 693846"/>
                <a:gd name="connsiteX1426" fmla="*/ 104519 w 1110409"/>
                <a:gd name="connsiteY1426" fmla="*/ 88848 h 693846"/>
                <a:gd name="connsiteX1427" fmla="*/ 100344 w 1110409"/>
                <a:gd name="connsiteY1427" fmla="*/ 89030 h 693846"/>
                <a:gd name="connsiteX1428" fmla="*/ 99618 w 1110409"/>
                <a:gd name="connsiteY1428" fmla="*/ 89332 h 693846"/>
                <a:gd name="connsiteX1429" fmla="*/ 98650 w 1110409"/>
                <a:gd name="connsiteY1429" fmla="*/ 89756 h 693846"/>
                <a:gd name="connsiteX1430" fmla="*/ 96956 w 1110409"/>
                <a:gd name="connsiteY1430" fmla="*/ 91480 h 693846"/>
                <a:gd name="connsiteX1431" fmla="*/ 95504 w 1110409"/>
                <a:gd name="connsiteY1431" fmla="*/ 93537 h 693846"/>
                <a:gd name="connsiteX1432" fmla="*/ 94506 w 1110409"/>
                <a:gd name="connsiteY1432" fmla="*/ 95262 h 693846"/>
                <a:gd name="connsiteX1433" fmla="*/ 94506 w 1110409"/>
                <a:gd name="connsiteY1433" fmla="*/ 96956 h 693846"/>
                <a:gd name="connsiteX1434" fmla="*/ 96895 w 1110409"/>
                <a:gd name="connsiteY1434" fmla="*/ 98589 h 693846"/>
                <a:gd name="connsiteX1435" fmla="*/ 106546 w 1110409"/>
                <a:gd name="connsiteY1435" fmla="*/ 98378 h 693846"/>
                <a:gd name="connsiteX1436" fmla="*/ 108814 w 1110409"/>
                <a:gd name="connsiteY1436" fmla="*/ 99648 h 693846"/>
                <a:gd name="connsiteX1437" fmla="*/ 112777 w 1110409"/>
                <a:gd name="connsiteY1437" fmla="*/ 105699 h 693846"/>
                <a:gd name="connsiteX1438" fmla="*/ 115167 w 1110409"/>
                <a:gd name="connsiteY1438" fmla="*/ 107756 h 693846"/>
                <a:gd name="connsiteX1439" fmla="*/ 106213 w 1110409"/>
                <a:gd name="connsiteY1439" fmla="*/ 100919 h 693846"/>
                <a:gd name="connsiteX1440" fmla="*/ 99557 w 1110409"/>
                <a:gd name="connsiteY1440" fmla="*/ 99920 h 693846"/>
                <a:gd name="connsiteX1441" fmla="*/ 90785 w 1110409"/>
                <a:gd name="connsiteY1441" fmla="*/ 100707 h 693846"/>
                <a:gd name="connsiteX1442" fmla="*/ 87517 w 1110409"/>
                <a:gd name="connsiteY1442" fmla="*/ 103218 h 693846"/>
                <a:gd name="connsiteX1443" fmla="*/ 90906 w 1110409"/>
                <a:gd name="connsiteY1443" fmla="*/ 107635 h 693846"/>
                <a:gd name="connsiteX1444" fmla="*/ 96805 w 1110409"/>
                <a:gd name="connsiteY1444" fmla="*/ 112566 h 693846"/>
                <a:gd name="connsiteX1445" fmla="*/ 99890 w 1110409"/>
                <a:gd name="connsiteY1445" fmla="*/ 116468 h 693846"/>
                <a:gd name="connsiteX1446" fmla="*/ 101010 w 1110409"/>
                <a:gd name="connsiteY1446" fmla="*/ 117255 h 693846"/>
                <a:gd name="connsiteX1447" fmla="*/ 103430 w 1110409"/>
                <a:gd name="connsiteY1447" fmla="*/ 117739 h 693846"/>
                <a:gd name="connsiteX1448" fmla="*/ 108058 w 1110409"/>
                <a:gd name="connsiteY1448" fmla="*/ 119856 h 693846"/>
                <a:gd name="connsiteX1449" fmla="*/ 110357 w 1110409"/>
                <a:gd name="connsiteY1449" fmla="*/ 120340 h 693846"/>
                <a:gd name="connsiteX1450" fmla="*/ 112414 w 1110409"/>
                <a:gd name="connsiteY1450" fmla="*/ 121822 h 693846"/>
                <a:gd name="connsiteX1451" fmla="*/ 115500 w 1110409"/>
                <a:gd name="connsiteY1451" fmla="*/ 128901 h 693846"/>
                <a:gd name="connsiteX1452" fmla="*/ 117194 w 1110409"/>
                <a:gd name="connsiteY1452" fmla="*/ 131321 h 693846"/>
                <a:gd name="connsiteX1453" fmla="*/ 117194 w 1110409"/>
                <a:gd name="connsiteY1453" fmla="*/ 132743 h 693846"/>
                <a:gd name="connsiteX1454" fmla="*/ 115137 w 1110409"/>
                <a:gd name="connsiteY1454" fmla="*/ 131987 h 693846"/>
                <a:gd name="connsiteX1455" fmla="*/ 113382 w 1110409"/>
                <a:gd name="connsiteY1455" fmla="*/ 129869 h 693846"/>
                <a:gd name="connsiteX1456" fmla="*/ 112142 w 1110409"/>
                <a:gd name="connsiteY1456" fmla="*/ 126814 h 693846"/>
                <a:gd name="connsiteX1457" fmla="*/ 111688 w 1110409"/>
                <a:gd name="connsiteY1457" fmla="*/ 123244 h 693846"/>
                <a:gd name="connsiteX1458" fmla="*/ 108088 w 1110409"/>
                <a:gd name="connsiteY1458" fmla="*/ 125180 h 693846"/>
                <a:gd name="connsiteX1459" fmla="*/ 102734 w 1110409"/>
                <a:gd name="connsiteY1459" fmla="*/ 123880 h 693846"/>
                <a:gd name="connsiteX1460" fmla="*/ 84492 w 1110409"/>
                <a:gd name="connsiteY1460" fmla="*/ 113624 h 693846"/>
                <a:gd name="connsiteX1461" fmla="*/ 79289 w 1110409"/>
                <a:gd name="connsiteY1461" fmla="*/ 112505 h 693846"/>
                <a:gd name="connsiteX1462" fmla="*/ 75145 w 1110409"/>
                <a:gd name="connsiteY1462" fmla="*/ 113927 h 693846"/>
                <a:gd name="connsiteX1463" fmla="*/ 73632 w 1110409"/>
                <a:gd name="connsiteY1463" fmla="*/ 116650 h 693846"/>
                <a:gd name="connsiteX1464" fmla="*/ 73057 w 1110409"/>
                <a:gd name="connsiteY1464" fmla="*/ 120340 h 693846"/>
                <a:gd name="connsiteX1465" fmla="*/ 73057 w 1110409"/>
                <a:gd name="connsiteY1465" fmla="*/ 127359 h 693846"/>
                <a:gd name="connsiteX1466" fmla="*/ 73965 w 1110409"/>
                <a:gd name="connsiteY1466" fmla="*/ 129204 h 693846"/>
                <a:gd name="connsiteX1467" fmla="*/ 78079 w 1110409"/>
                <a:gd name="connsiteY1467" fmla="*/ 134498 h 693846"/>
                <a:gd name="connsiteX1468" fmla="*/ 82677 w 1110409"/>
                <a:gd name="connsiteY1468" fmla="*/ 138552 h 693846"/>
                <a:gd name="connsiteX1469" fmla="*/ 84855 w 1110409"/>
                <a:gd name="connsiteY1469" fmla="*/ 139399 h 693846"/>
                <a:gd name="connsiteX1470" fmla="*/ 86217 w 1110409"/>
                <a:gd name="connsiteY1470" fmla="*/ 141516 h 693846"/>
                <a:gd name="connsiteX1471" fmla="*/ 88969 w 1110409"/>
                <a:gd name="connsiteY1471" fmla="*/ 142968 h 693846"/>
                <a:gd name="connsiteX1472" fmla="*/ 94445 w 1110409"/>
                <a:gd name="connsiteY1472" fmla="*/ 149896 h 693846"/>
                <a:gd name="connsiteX1473" fmla="*/ 96744 w 1110409"/>
                <a:gd name="connsiteY1473" fmla="*/ 151499 h 693846"/>
                <a:gd name="connsiteX1474" fmla="*/ 107181 w 1110409"/>
                <a:gd name="connsiteY1474" fmla="*/ 153798 h 693846"/>
                <a:gd name="connsiteX1475" fmla="*/ 111900 w 1110409"/>
                <a:gd name="connsiteY1475" fmla="*/ 157761 h 693846"/>
                <a:gd name="connsiteX1476" fmla="*/ 114502 w 1110409"/>
                <a:gd name="connsiteY1476" fmla="*/ 159183 h 693846"/>
                <a:gd name="connsiteX1477" fmla="*/ 122821 w 1110409"/>
                <a:gd name="connsiteY1477" fmla="*/ 159909 h 693846"/>
                <a:gd name="connsiteX1478" fmla="*/ 125483 w 1110409"/>
                <a:gd name="connsiteY1478" fmla="*/ 162995 h 693846"/>
                <a:gd name="connsiteX1479" fmla="*/ 133802 w 1110409"/>
                <a:gd name="connsiteY1479" fmla="*/ 165475 h 693846"/>
                <a:gd name="connsiteX1480" fmla="*/ 130293 w 1110409"/>
                <a:gd name="connsiteY1480" fmla="*/ 167079 h 693846"/>
                <a:gd name="connsiteX1481" fmla="*/ 126421 w 1110409"/>
                <a:gd name="connsiteY1481" fmla="*/ 165596 h 693846"/>
                <a:gd name="connsiteX1482" fmla="*/ 119251 w 1110409"/>
                <a:gd name="connsiteY1482" fmla="*/ 160696 h 693846"/>
                <a:gd name="connsiteX1483" fmla="*/ 115137 w 1110409"/>
                <a:gd name="connsiteY1483" fmla="*/ 160696 h 693846"/>
                <a:gd name="connsiteX1484" fmla="*/ 102704 w 1110409"/>
                <a:gd name="connsiteY1484" fmla="*/ 156067 h 693846"/>
                <a:gd name="connsiteX1485" fmla="*/ 96351 w 1110409"/>
                <a:gd name="connsiteY1485" fmla="*/ 157852 h 693846"/>
                <a:gd name="connsiteX1486" fmla="*/ 94445 w 1110409"/>
                <a:gd name="connsiteY1486" fmla="*/ 157640 h 693846"/>
                <a:gd name="connsiteX1487" fmla="*/ 92600 w 1110409"/>
                <a:gd name="connsiteY1487" fmla="*/ 156249 h 693846"/>
                <a:gd name="connsiteX1488" fmla="*/ 89423 w 1110409"/>
                <a:gd name="connsiteY1488" fmla="*/ 152588 h 693846"/>
                <a:gd name="connsiteX1489" fmla="*/ 87548 w 1110409"/>
                <a:gd name="connsiteY1489" fmla="*/ 151439 h 693846"/>
                <a:gd name="connsiteX1490" fmla="*/ 80045 w 1110409"/>
                <a:gd name="connsiteY1490" fmla="*/ 149896 h 693846"/>
                <a:gd name="connsiteX1491" fmla="*/ 74328 w 1110409"/>
                <a:gd name="connsiteY1491" fmla="*/ 146689 h 693846"/>
                <a:gd name="connsiteX1492" fmla="*/ 72331 w 1110409"/>
                <a:gd name="connsiteY1492" fmla="*/ 146810 h 693846"/>
                <a:gd name="connsiteX1493" fmla="*/ 68036 w 1110409"/>
                <a:gd name="connsiteY1493" fmla="*/ 151318 h 693846"/>
                <a:gd name="connsiteX1494" fmla="*/ 67703 w 1110409"/>
                <a:gd name="connsiteY1494" fmla="*/ 158185 h 693846"/>
                <a:gd name="connsiteX1495" fmla="*/ 69851 w 1110409"/>
                <a:gd name="connsiteY1495" fmla="*/ 165566 h 693846"/>
                <a:gd name="connsiteX1496" fmla="*/ 73087 w 1110409"/>
                <a:gd name="connsiteY1496" fmla="*/ 171677 h 693846"/>
                <a:gd name="connsiteX1497" fmla="*/ 78926 w 1110409"/>
                <a:gd name="connsiteY1497" fmla="*/ 177727 h 693846"/>
                <a:gd name="connsiteX1498" fmla="*/ 80318 w 1110409"/>
                <a:gd name="connsiteY1498" fmla="*/ 180057 h 693846"/>
                <a:gd name="connsiteX1499" fmla="*/ 81528 w 1110409"/>
                <a:gd name="connsiteY1499" fmla="*/ 181025 h 693846"/>
                <a:gd name="connsiteX1500" fmla="*/ 86822 w 1110409"/>
                <a:gd name="connsiteY1500" fmla="*/ 179209 h 693846"/>
                <a:gd name="connsiteX1501" fmla="*/ 90331 w 1110409"/>
                <a:gd name="connsiteY1501" fmla="*/ 182295 h 693846"/>
                <a:gd name="connsiteX1502" fmla="*/ 95655 w 1110409"/>
                <a:gd name="connsiteY1502" fmla="*/ 184322 h 693846"/>
                <a:gd name="connsiteX1503" fmla="*/ 122791 w 1110409"/>
                <a:gd name="connsiteY1503" fmla="*/ 184927 h 693846"/>
                <a:gd name="connsiteX1504" fmla="*/ 127117 w 1110409"/>
                <a:gd name="connsiteY1504" fmla="*/ 181297 h 693846"/>
                <a:gd name="connsiteX1505" fmla="*/ 130293 w 1110409"/>
                <a:gd name="connsiteY1505" fmla="*/ 179936 h 693846"/>
                <a:gd name="connsiteX1506" fmla="*/ 135829 w 1110409"/>
                <a:gd name="connsiteY1506" fmla="*/ 179209 h 693846"/>
                <a:gd name="connsiteX1507" fmla="*/ 134377 w 1110409"/>
                <a:gd name="connsiteY1507" fmla="*/ 180904 h 693846"/>
                <a:gd name="connsiteX1508" fmla="*/ 129627 w 1110409"/>
                <a:gd name="connsiteY1508" fmla="*/ 183989 h 693846"/>
                <a:gd name="connsiteX1509" fmla="*/ 129627 w 1110409"/>
                <a:gd name="connsiteY1509" fmla="*/ 185381 h 693846"/>
                <a:gd name="connsiteX1510" fmla="*/ 130474 w 1110409"/>
                <a:gd name="connsiteY1510" fmla="*/ 185381 h 693846"/>
                <a:gd name="connsiteX1511" fmla="*/ 131110 w 1110409"/>
                <a:gd name="connsiteY1511" fmla="*/ 185744 h 693846"/>
                <a:gd name="connsiteX1512" fmla="*/ 132380 w 1110409"/>
                <a:gd name="connsiteY1512" fmla="*/ 186924 h 693846"/>
                <a:gd name="connsiteX1513" fmla="*/ 130323 w 1110409"/>
                <a:gd name="connsiteY1513" fmla="*/ 188678 h 693846"/>
                <a:gd name="connsiteX1514" fmla="*/ 128175 w 1110409"/>
                <a:gd name="connsiteY1514" fmla="*/ 188466 h 693846"/>
                <a:gd name="connsiteX1515" fmla="*/ 123759 w 1110409"/>
                <a:gd name="connsiteY1515" fmla="*/ 186893 h 693846"/>
                <a:gd name="connsiteX1516" fmla="*/ 121702 w 1110409"/>
                <a:gd name="connsiteY1516" fmla="*/ 187408 h 693846"/>
                <a:gd name="connsiteX1517" fmla="*/ 119100 w 1110409"/>
                <a:gd name="connsiteY1517" fmla="*/ 189616 h 693846"/>
                <a:gd name="connsiteX1518" fmla="*/ 110902 w 1110409"/>
                <a:gd name="connsiteY1518" fmla="*/ 190645 h 693846"/>
                <a:gd name="connsiteX1519" fmla="*/ 109329 w 1110409"/>
                <a:gd name="connsiteY1519" fmla="*/ 189344 h 693846"/>
                <a:gd name="connsiteX1520" fmla="*/ 107967 w 1110409"/>
                <a:gd name="connsiteY1520" fmla="*/ 188829 h 693846"/>
                <a:gd name="connsiteX1521" fmla="*/ 101705 w 1110409"/>
                <a:gd name="connsiteY1521" fmla="*/ 191522 h 693846"/>
                <a:gd name="connsiteX1522" fmla="*/ 100707 w 1110409"/>
                <a:gd name="connsiteY1522" fmla="*/ 192641 h 693846"/>
                <a:gd name="connsiteX1523" fmla="*/ 101705 w 1110409"/>
                <a:gd name="connsiteY1523" fmla="*/ 195182 h 693846"/>
                <a:gd name="connsiteX1524" fmla="*/ 103490 w 1110409"/>
                <a:gd name="connsiteY1524" fmla="*/ 197844 h 693846"/>
                <a:gd name="connsiteX1525" fmla="*/ 104882 w 1110409"/>
                <a:gd name="connsiteY1525" fmla="*/ 199327 h 693846"/>
                <a:gd name="connsiteX1526" fmla="*/ 108875 w 1110409"/>
                <a:gd name="connsiteY1526" fmla="*/ 201717 h 693846"/>
                <a:gd name="connsiteX1527" fmla="*/ 114320 w 1110409"/>
                <a:gd name="connsiteY1527" fmla="*/ 203350 h 693846"/>
                <a:gd name="connsiteX1528" fmla="*/ 126270 w 1110409"/>
                <a:gd name="connsiteY1528" fmla="*/ 202412 h 693846"/>
                <a:gd name="connsiteX1529" fmla="*/ 124878 w 1110409"/>
                <a:gd name="connsiteY1529" fmla="*/ 203804 h 693846"/>
                <a:gd name="connsiteX1530" fmla="*/ 123335 w 1110409"/>
                <a:gd name="connsiteY1530" fmla="*/ 203985 h 693846"/>
                <a:gd name="connsiteX1531" fmla="*/ 121732 w 1110409"/>
                <a:gd name="connsiteY1531" fmla="*/ 203774 h 693846"/>
                <a:gd name="connsiteX1532" fmla="*/ 120098 w 1110409"/>
                <a:gd name="connsiteY1532" fmla="*/ 203955 h 693846"/>
                <a:gd name="connsiteX1533" fmla="*/ 115591 w 1110409"/>
                <a:gd name="connsiteY1533" fmla="*/ 206890 h 693846"/>
                <a:gd name="connsiteX1534" fmla="*/ 113836 w 1110409"/>
                <a:gd name="connsiteY1534" fmla="*/ 207011 h 693846"/>
                <a:gd name="connsiteX1535" fmla="*/ 114592 w 1110409"/>
                <a:gd name="connsiteY1535" fmla="*/ 209098 h 693846"/>
                <a:gd name="connsiteX1536" fmla="*/ 115016 w 1110409"/>
                <a:gd name="connsiteY1536" fmla="*/ 209612 h 693846"/>
                <a:gd name="connsiteX1537" fmla="*/ 115893 w 1110409"/>
                <a:gd name="connsiteY1537" fmla="*/ 210066 h 693846"/>
                <a:gd name="connsiteX1538" fmla="*/ 115893 w 1110409"/>
                <a:gd name="connsiteY1538" fmla="*/ 211609 h 693846"/>
                <a:gd name="connsiteX1539" fmla="*/ 113473 w 1110409"/>
                <a:gd name="connsiteY1539" fmla="*/ 212305 h 693846"/>
                <a:gd name="connsiteX1540" fmla="*/ 107998 w 1110409"/>
                <a:gd name="connsiteY1540" fmla="*/ 211034 h 693846"/>
                <a:gd name="connsiteX1541" fmla="*/ 106909 w 1110409"/>
                <a:gd name="connsiteY1541" fmla="*/ 213152 h 693846"/>
                <a:gd name="connsiteX1542" fmla="*/ 105305 w 1110409"/>
                <a:gd name="connsiteY1542" fmla="*/ 211215 h 693846"/>
                <a:gd name="connsiteX1543" fmla="*/ 104912 w 1110409"/>
                <a:gd name="connsiteY1543" fmla="*/ 210096 h 693846"/>
                <a:gd name="connsiteX1544" fmla="*/ 100798 w 1110409"/>
                <a:gd name="connsiteY1544" fmla="*/ 215451 h 693846"/>
                <a:gd name="connsiteX1545" fmla="*/ 98499 w 1110409"/>
                <a:gd name="connsiteY1545" fmla="*/ 217145 h 693846"/>
                <a:gd name="connsiteX1546" fmla="*/ 96684 w 1110409"/>
                <a:gd name="connsiteY1546" fmla="*/ 216177 h 693846"/>
                <a:gd name="connsiteX1547" fmla="*/ 97531 w 1110409"/>
                <a:gd name="connsiteY1547" fmla="*/ 212789 h 693846"/>
                <a:gd name="connsiteX1548" fmla="*/ 98590 w 1110409"/>
                <a:gd name="connsiteY1548" fmla="*/ 210459 h 693846"/>
                <a:gd name="connsiteX1549" fmla="*/ 99043 w 1110409"/>
                <a:gd name="connsiteY1549" fmla="*/ 207918 h 693846"/>
                <a:gd name="connsiteX1550" fmla="*/ 98015 w 1110409"/>
                <a:gd name="connsiteY1550" fmla="*/ 203925 h 693846"/>
                <a:gd name="connsiteX1551" fmla="*/ 97319 w 1110409"/>
                <a:gd name="connsiteY1551" fmla="*/ 202806 h 693846"/>
                <a:gd name="connsiteX1552" fmla="*/ 94566 w 1110409"/>
                <a:gd name="connsiteY1552" fmla="*/ 200839 h 693846"/>
                <a:gd name="connsiteX1553" fmla="*/ 92781 w 1110409"/>
                <a:gd name="connsiteY1553" fmla="*/ 197481 h 693846"/>
                <a:gd name="connsiteX1554" fmla="*/ 91813 w 1110409"/>
                <a:gd name="connsiteY1554" fmla="*/ 196362 h 693846"/>
                <a:gd name="connsiteX1555" fmla="*/ 49370 w 1110409"/>
                <a:gd name="connsiteY1555" fmla="*/ 174400 h 693846"/>
                <a:gd name="connsiteX1556" fmla="*/ 45044 w 1110409"/>
                <a:gd name="connsiteY1556" fmla="*/ 174127 h 693846"/>
                <a:gd name="connsiteX1557" fmla="*/ 40779 w 1110409"/>
                <a:gd name="connsiteY1557" fmla="*/ 177667 h 693846"/>
                <a:gd name="connsiteX1558" fmla="*/ 41808 w 1110409"/>
                <a:gd name="connsiteY1558" fmla="*/ 180329 h 693846"/>
                <a:gd name="connsiteX1559" fmla="*/ 41929 w 1110409"/>
                <a:gd name="connsiteY1559" fmla="*/ 182991 h 693846"/>
                <a:gd name="connsiteX1560" fmla="*/ 41808 w 1110409"/>
                <a:gd name="connsiteY1560" fmla="*/ 185714 h 693846"/>
                <a:gd name="connsiteX1561" fmla="*/ 42140 w 1110409"/>
                <a:gd name="connsiteY1561" fmla="*/ 188587 h 693846"/>
                <a:gd name="connsiteX1562" fmla="*/ 46254 w 1110409"/>
                <a:gd name="connsiteY1562" fmla="*/ 196423 h 693846"/>
                <a:gd name="connsiteX1563" fmla="*/ 49854 w 1110409"/>
                <a:gd name="connsiteY1563" fmla="*/ 201142 h 693846"/>
                <a:gd name="connsiteX1564" fmla="*/ 52063 w 1110409"/>
                <a:gd name="connsiteY1564" fmla="*/ 203108 h 693846"/>
                <a:gd name="connsiteX1565" fmla="*/ 56721 w 1110409"/>
                <a:gd name="connsiteY1565" fmla="*/ 204681 h 693846"/>
                <a:gd name="connsiteX1566" fmla="*/ 61925 w 1110409"/>
                <a:gd name="connsiteY1566" fmla="*/ 207918 h 693846"/>
                <a:gd name="connsiteX1567" fmla="*/ 66311 w 1110409"/>
                <a:gd name="connsiteY1567" fmla="*/ 209400 h 693846"/>
                <a:gd name="connsiteX1568" fmla="*/ 69185 w 1110409"/>
                <a:gd name="connsiteY1568" fmla="*/ 211427 h 693846"/>
                <a:gd name="connsiteX1569" fmla="*/ 71877 w 1110409"/>
                <a:gd name="connsiteY1569" fmla="*/ 214362 h 693846"/>
                <a:gd name="connsiteX1570" fmla="*/ 73814 w 1110409"/>
                <a:gd name="connsiteY1570" fmla="*/ 217841 h 693846"/>
                <a:gd name="connsiteX1571" fmla="*/ 70667 w 1110409"/>
                <a:gd name="connsiteY1571" fmla="*/ 216933 h 693846"/>
                <a:gd name="connsiteX1572" fmla="*/ 60805 w 1110409"/>
                <a:gd name="connsiteY1572" fmla="*/ 211579 h 693846"/>
                <a:gd name="connsiteX1573" fmla="*/ 45619 w 1110409"/>
                <a:gd name="connsiteY1573" fmla="*/ 208674 h 693846"/>
                <a:gd name="connsiteX1574" fmla="*/ 47374 w 1110409"/>
                <a:gd name="connsiteY1574" fmla="*/ 211881 h 693846"/>
                <a:gd name="connsiteX1575" fmla="*/ 50580 w 1110409"/>
                <a:gd name="connsiteY1575" fmla="*/ 215874 h 693846"/>
                <a:gd name="connsiteX1576" fmla="*/ 53333 w 1110409"/>
                <a:gd name="connsiteY1576" fmla="*/ 220321 h 693846"/>
                <a:gd name="connsiteX1577" fmla="*/ 58295 w 1110409"/>
                <a:gd name="connsiteY1577" fmla="*/ 225373 h 693846"/>
                <a:gd name="connsiteX1578" fmla="*/ 60291 w 1110409"/>
                <a:gd name="connsiteY1578" fmla="*/ 226341 h 693846"/>
                <a:gd name="connsiteX1579" fmla="*/ 61834 w 1110409"/>
                <a:gd name="connsiteY1579" fmla="*/ 228640 h 693846"/>
                <a:gd name="connsiteX1580" fmla="*/ 63256 w 1110409"/>
                <a:gd name="connsiteY1580" fmla="*/ 231272 h 693846"/>
                <a:gd name="connsiteX1581" fmla="*/ 64889 w 1110409"/>
                <a:gd name="connsiteY1581" fmla="*/ 233269 h 693846"/>
                <a:gd name="connsiteX1582" fmla="*/ 66795 w 1110409"/>
                <a:gd name="connsiteY1582" fmla="*/ 234207 h 693846"/>
                <a:gd name="connsiteX1583" fmla="*/ 69155 w 1110409"/>
                <a:gd name="connsiteY1583" fmla="*/ 234812 h 693846"/>
                <a:gd name="connsiteX1584" fmla="*/ 73753 w 1110409"/>
                <a:gd name="connsiteY1584" fmla="*/ 234660 h 693846"/>
                <a:gd name="connsiteX1585" fmla="*/ 68036 w 1110409"/>
                <a:gd name="connsiteY1585" fmla="*/ 237413 h 693846"/>
                <a:gd name="connsiteX1586" fmla="*/ 65101 w 1110409"/>
                <a:gd name="connsiteY1586" fmla="*/ 237595 h 693846"/>
                <a:gd name="connsiteX1587" fmla="*/ 62076 w 1110409"/>
                <a:gd name="connsiteY1587" fmla="*/ 236173 h 693846"/>
                <a:gd name="connsiteX1588" fmla="*/ 60352 w 1110409"/>
                <a:gd name="connsiteY1588" fmla="*/ 234086 h 693846"/>
                <a:gd name="connsiteX1589" fmla="*/ 58900 w 1110409"/>
                <a:gd name="connsiteY1589" fmla="*/ 231575 h 693846"/>
                <a:gd name="connsiteX1590" fmla="*/ 57236 w 1110409"/>
                <a:gd name="connsiteY1590" fmla="*/ 229457 h 693846"/>
                <a:gd name="connsiteX1591" fmla="*/ 50217 w 1110409"/>
                <a:gd name="connsiteY1591" fmla="*/ 227703 h 693846"/>
                <a:gd name="connsiteX1592" fmla="*/ 46254 w 1110409"/>
                <a:gd name="connsiteY1592" fmla="*/ 225373 h 693846"/>
                <a:gd name="connsiteX1593" fmla="*/ 40718 w 1110409"/>
                <a:gd name="connsiteY1593" fmla="*/ 218809 h 693846"/>
                <a:gd name="connsiteX1594" fmla="*/ 38994 w 1110409"/>
                <a:gd name="connsiteY1594" fmla="*/ 217841 h 693846"/>
                <a:gd name="connsiteX1595" fmla="*/ 36151 w 1110409"/>
                <a:gd name="connsiteY1595" fmla="*/ 217417 h 693846"/>
                <a:gd name="connsiteX1596" fmla="*/ 26349 w 1110409"/>
                <a:gd name="connsiteY1596" fmla="*/ 212032 h 693846"/>
                <a:gd name="connsiteX1597" fmla="*/ 23778 w 1110409"/>
                <a:gd name="connsiteY1597" fmla="*/ 211579 h 693846"/>
                <a:gd name="connsiteX1598" fmla="*/ 22356 w 1110409"/>
                <a:gd name="connsiteY1598" fmla="*/ 212093 h 693846"/>
                <a:gd name="connsiteX1599" fmla="*/ 20601 w 1110409"/>
                <a:gd name="connsiteY1599" fmla="*/ 214301 h 693846"/>
                <a:gd name="connsiteX1600" fmla="*/ 17516 w 1110409"/>
                <a:gd name="connsiteY1600" fmla="*/ 216177 h 693846"/>
                <a:gd name="connsiteX1601" fmla="*/ 16941 w 1110409"/>
                <a:gd name="connsiteY1601" fmla="*/ 219535 h 693846"/>
                <a:gd name="connsiteX1602" fmla="*/ 16941 w 1110409"/>
                <a:gd name="connsiteY1602" fmla="*/ 223558 h 693846"/>
                <a:gd name="connsiteX1603" fmla="*/ 16548 w 1110409"/>
                <a:gd name="connsiteY1603" fmla="*/ 227037 h 693846"/>
                <a:gd name="connsiteX1604" fmla="*/ 14763 w 1110409"/>
                <a:gd name="connsiteY1604" fmla="*/ 228973 h 693846"/>
                <a:gd name="connsiteX1605" fmla="*/ 8894 w 1110409"/>
                <a:gd name="connsiteY1605" fmla="*/ 232422 h 693846"/>
                <a:gd name="connsiteX1606" fmla="*/ 7623 w 1110409"/>
                <a:gd name="connsiteY1606" fmla="*/ 233934 h 693846"/>
                <a:gd name="connsiteX1607" fmla="*/ 6655 w 1110409"/>
                <a:gd name="connsiteY1607" fmla="*/ 236203 h 693846"/>
                <a:gd name="connsiteX1608" fmla="*/ 4417 w 1110409"/>
                <a:gd name="connsiteY1608" fmla="*/ 238260 h 693846"/>
                <a:gd name="connsiteX1609" fmla="*/ 0 w 1110409"/>
                <a:gd name="connsiteY1609" fmla="*/ 240711 h 693846"/>
                <a:gd name="connsiteX1610" fmla="*/ 2178 w 1110409"/>
                <a:gd name="connsiteY1610" fmla="*/ 244432 h 693846"/>
                <a:gd name="connsiteX1611" fmla="*/ 5869 w 1110409"/>
                <a:gd name="connsiteY1611" fmla="*/ 245067 h 693846"/>
                <a:gd name="connsiteX1612" fmla="*/ 34547 w 1110409"/>
                <a:gd name="connsiteY1612" fmla="*/ 242223 h 693846"/>
                <a:gd name="connsiteX1613" fmla="*/ 50006 w 1110409"/>
                <a:gd name="connsiteY1613" fmla="*/ 248153 h 693846"/>
                <a:gd name="connsiteX1614" fmla="*/ 52396 w 1110409"/>
                <a:gd name="connsiteY1614" fmla="*/ 251480 h 693846"/>
                <a:gd name="connsiteX1615" fmla="*/ 53424 w 1110409"/>
                <a:gd name="connsiteY1615" fmla="*/ 248546 h 693846"/>
                <a:gd name="connsiteX1616" fmla="*/ 55723 w 1110409"/>
                <a:gd name="connsiteY1616" fmla="*/ 248243 h 693846"/>
                <a:gd name="connsiteX1617" fmla="*/ 57569 w 1110409"/>
                <a:gd name="connsiteY1617" fmla="*/ 250300 h 693846"/>
                <a:gd name="connsiteX1618" fmla="*/ 57266 w 1110409"/>
                <a:gd name="connsiteY1618" fmla="*/ 254384 h 693846"/>
                <a:gd name="connsiteX1619" fmla="*/ 56449 w 1110409"/>
                <a:gd name="connsiteY1619" fmla="*/ 253447 h 693846"/>
                <a:gd name="connsiteX1620" fmla="*/ 55663 w 1110409"/>
                <a:gd name="connsiteY1620" fmla="*/ 252993 h 693846"/>
                <a:gd name="connsiteX1621" fmla="*/ 53817 w 1110409"/>
                <a:gd name="connsiteY1621" fmla="*/ 252872 h 693846"/>
                <a:gd name="connsiteX1622" fmla="*/ 54997 w 1110409"/>
                <a:gd name="connsiteY1622" fmla="*/ 254112 h 693846"/>
                <a:gd name="connsiteX1623" fmla="*/ 55995 w 1110409"/>
                <a:gd name="connsiteY1623" fmla="*/ 255564 h 693846"/>
                <a:gd name="connsiteX1624" fmla="*/ 56419 w 1110409"/>
                <a:gd name="connsiteY1624" fmla="*/ 257198 h 693846"/>
                <a:gd name="connsiteX1625" fmla="*/ 55844 w 1110409"/>
                <a:gd name="connsiteY1625" fmla="*/ 258952 h 693846"/>
                <a:gd name="connsiteX1626" fmla="*/ 55844 w 1110409"/>
                <a:gd name="connsiteY1626" fmla="*/ 260616 h 693846"/>
                <a:gd name="connsiteX1627" fmla="*/ 59928 w 1110409"/>
                <a:gd name="connsiteY1627" fmla="*/ 263218 h 693846"/>
                <a:gd name="connsiteX1628" fmla="*/ 64587 w 1110409"/>
                <a:gd name="connsiteY1628" fmla="*/ 263732 h 693846"/>
                <a:gd name="connsiteX1629" fmla="*/ 83040 w 1110409"/>
                <a:gd name="connsiteY1629" fmla="*/ 258952 h 693846"/>
                <a:gd name="connsiteX1630" fmla="*/ 86822 w 1110409"/>
                <a:gd name="connsiteY1630" fmla="*/ 252872 h 693846"/>
                <a:gd name="connsiteX1631" fmla="*/ 87669 w 1110409"/>
                <a:gd name="connsiteY1631" fmla="*/ 252055 h 693846"/>
                <a:gd name="connsiteX1632" fmla="*/ 88365 w 1110409"/>
                <a:gd name="connsiteY1632" fmla="*/ 251843 h 693846"/>
                <a:gd name="connsiteX1633" fmla="*/ 88818 w 1110409"/>
                <a:gd name="connsiteY1633" fmla="*/ 250996 h 693846"/>
                <a:gd name="connsiteX1634" fmla="*/ 88909 w 1110409"/>
                <a:gd name="connsiteY1634" fmla="*/ 248334 h 693846"/>
                <a:gd name="connsiteX1635" fmla="*/ 91995 w 1110409"/>
                <a:gd name="connsiteY1635" fmla="*/ 249968 h 693846"/>
                <a:gd name="connsiteX1636" fmla="*/ 105578 w 1110409"/>
                <a:gd name="connsiteY1636" fmla="*/ 247396 h 693846"/>
                <a:gd name="connsiteX1637" fmla="*/ 110872 w 1110409"/>
                <a:gd name="connsiteY1637" fmla="*/ 243343 h 693846"/>
                <a:gd name="connsiteX1638" fmla="*/ 113776 w 1110409"/>
                <a:gd name="connsiteY1638" fmla="*/ 242223 h 693846"/>
                <a:gd name="connsiteX1639" fmla="*/ 113080 w 1110409"/>
                <a:gd name="connsiteY1639" fmla="*/ 241285 h 693846"/>
                <a:gd name="connsiteX1640" fmla="*/ 112777 w 1110409"/>
                <a:gd name="connsiteY1640" fmla="*/ 240983 h 693846"/>
                <a:gd name="connsiteX1641" fmla="*/ 112324 w 1110409"/>
                <a:gd name="connsiteY1641" fmla="*/ 240680 h 693846"/>
                <a:gd name="connsiteX1642" fmla="*/ 113352 w 1110409"/>
                <a:gd name="connsiteY1642" fmla="*/ 239712 h 693846"/>
                <a:gd name="connsiteX1643" fmla="*/ 113836 w 1110409"/>
                <a:gd name="connsiteY1643" fmla="*/ 239410 h 693846"/>
                <a:gd name="connsiteX1644" fmla="*/ 114502 w 1110409"/>
                <a:gd name="connsiteY1644" fmla="*/ 239289 h 693846"/>
                <a:gd name="connsiteX1645" fmla="*/ 115076 w 1110409"/>
                <a:gd name="connsiteY1645" fmla="*/ 239228 h 693846"/>
                <a:gd name="connsiteX1646" fmla="*/ 116196 w 1110409"/>
                <a:gd name="connsiteY1646" fmla="*/ 241225 h 693846"/>
                <a:gd name="connsiteX1647" fmla="*/ 117406 w 1110409"/>
                <a:gd name="connsiteY1647" fmla="*/ 242889 h 693846"/>
                <a:gd name="connsiteX1648" fmla="*/ 118979 w 1110409"/>
                <a:gd name="connsiteY1648" fmla="*/ 243615 h 693846"/>
                <a:gd name="connsiteX1649" fmla="*/ 120582 w 1110409"/>
                <a:gd name="connsiteY1649" fmla="*/ 243857 h 693846"/>
                <a:gd name="connsiteX1650" fmla="*/ 123335 w 1110409"/>
                <a:gd name="connsiteY1650" fmla="*/ 245006 h 693846"/>
                <a:gd name="connsiteX1651" fmla="*/ 130051 w 1110409"/>
                <a:gd name="connsiteY1651" fmla="*/ 245732 h 693846"/>
                <a:gd name="connsiteX1652" fmla="*/ 131654 w 1110409"/>
                <a:gd name="connsiteY1652" fmla="*/ 245279 h 693846"/>
                <a:gd name="connsiteX1653" fmla="*/ 132985 w 1110409"/>
                <a:gd name="connsiteY1653" fmla="*/ 244038 h 693846"/>
                <a:gd name="connsiteX1654" fmla="*/ 135254 w 1110409"/>
                <a:gd name="connsiteY1654" fmla="*/ 240590 h 693846"/>
                <a:gd name="connsiteX1655" fmla="*/ 136555 w 1110409"/>
                <a:gd name="connsiteY1655" fmla="*/ 239349 h 693846"/>
                <a:gd name="connsiteX1656" fmla="*/ 136555 w 1110409"/>
                <a:gd name="connsiteY1656" fmla="*/ 237685 h 693846"/>
                <a:gd name="connsiteX1657" fmla="*/ 134649 w 1110409"/>
                <a:gd name="connsiteY1657" fmla="*/ 234781 h 693846"/>
                <a:gd name="connsiteX1658" fmla="*/ 134770 w 1110409"/>
                <a:gd name="connsiteY1658" fmla="*/ 229911 h 693846"/>
                <a:gd name="connsiteX1659" fmla="*/ 136464 w 1110409"/>
                <a:gd name="connsiteY1659" fmla="*/ 225494 h 693846"/>
                <a:gd name="connsiteX1660" fmla="*/ 139247 w 1110409"/>
                <a:gd name="connsiteY1660" fmla="*/ 223982 h 693846"/>
                <a:gd name="connsiteX1661" fmla="*/ 139247 w 1110409"/>
                <a:gd name="connsiteY1661" fmla="*/ 225373 h 693846"/>
                <a:gd name="connsiteX1662" fmla="*/ 138945 w 1110409"/>
                <a:gd name="connsiteY1662" fmla="*/ 228640 h 693846"/>
                <a:gd name="connsiteX1663" fmla="*/ 141909 w 1110409"/>
                <a:gd name="connsiteY1663" fmla="*/ 231423 h 693846"/>
                <a:gd name="connsiteX1664" fmla="*/ 147446 w 1110409"/>
                <a:gd name="connsiteY1664" fmla="*/ 233965 h 693846"/>
                <a:gd name="connsiteX1665" fmla="*/ 150289 w 1110409"/>
                <a:gd name="connsiteY1665" fmla="*/ 232482 h 693846"/>
                <a:gd name="connsiteX1666" fmla="*/ 156339 w 1110409"/>
                <a:gd name="connsiteY1666" fmla="*/ 231121 h 693846"/>
                <a:gd name="connsiteX1667" fmla="*/ 158457 w 1110409"/>
                <a:gd name="connsiteY1667" fmla="*/ 228580 h 693846"/>
                <a:gd name="connsiteX1668" fmla="*/ 158760 w 1110409"/>
                <a:gd name="connsiteY1668" fmla="*/ 226462 h 693846"/>
                <a:gd name="connsiteX1669" fmla="*/ 159244 w 1110409"/>
                <a:gd name="connsiteY1669" fmla="*/ 219383 h 693846"/>
                <a:gd name="connsiteX1670" fmla="*/ 159516 w 1110409"/>
                <a:gd name="connsiteY1670" fmla="*/ 217871 h 693846"/>
                <a:gd name="connsiteX1671" fmla="*/ 160605 w 1110409"/>
                <a:gd name="connsiteY1671" fmla="*/ 218778 h 693846"/>
                <a:gd name="connsiteX1672" fmla="*/ 161210 w 1110409"/>
                <a:gd name="connsiteY1672" fmla="*/ 221017 h 693846"/>
                <a:gd name="connsiteX1673" fmla="*/ 161664 w 1110409"/>
                <a:gd name="connsiteY1673" fmla="*/ 223740 h 693846"/>
                <a:gd name="connsiteX1674" fmla="*/ 162329 w 1110409"/>
                <a:gd name="connsiteY1674" fmla="*/ 226190 h 693846"/>
                <a:gd name="connsiteX1675" fmla="*/ 164386 w 1110409"/>
                <a:gd name="connsiteY1675" fmla="*/ 227612 h 693846"/>
                <a:gd name="connsiteX1676" fmla="*/ 166927 w 1110409"/>
                <a:gd name="connsiteY1676" fmla="*/ 225464 h 693846"/>
                <a:gd name="connsiteX1677" fmla="*/ 168985 w 1110409"/>
                <a:gd name="connsiteY1677" fmla="*/ 221198 h 693846"/>
                <a:gd name="connsiteX1678" fmla="*/ 169529 w 1110409"/>
                <a:gd name="connsiteY1678" fmla="*/ 216207 h 693846"/>
                <a:gd name="connsiteX1679" fmla="*/ 173069 w 1110409"/>
                <a:gd name="connsiteY1679" fmla="*/ 218294 h 693846"/>
                <a:gd name="connsiteX1680" fmla="*/ 174763 w 1110409"/>
                <a:gd name="connsiteY1680" fmla="*/ 219988 h 693846"/>
                <a:gd name="connsiteX1681" fmla="*/ 175761 w 1110409"/>
                <a:gd name="connsiteY1681" fmla="*/ 222439 h 693846"/>
                <a:gd name="connsiteX1682" fmla="*/ 173069 w 1110409"/>
                <a:gd name="connsiteY1682" fmla="*/ 223649 h 693846"/>
                <a:gd name="connsiteX1683" fmla="*/ 168561 w 1110409"/>
                <a:gd name="connsiteY1683" fmla="*/ 229366 h 693846"/>
                <a:gd name="connsiteX1684" fmla="*/ 166111 w 1110409"/>
                <a:gd name="connsiteY1684" fmla="*/ 231605 h 693846"/>
                <a:gd name="connsiteX1685" fmla="*/ 166111 w 1110409"/>
                <a:gd name="connsiteY1685" fmla="*/ 233269 h 693846"/>
                <a:gd name="connsiteX1686" fmla="*/ 168652 w 1110409"/>
                <a:gd name="connsiteY1686" fmla="*/ 233450 h 693846"/>
                <a:gd name="connsiteX1687" fmla="*/ 169469 w 1110409"/>
                <a:gd name="connsiteY1687" fmla="*/ 233269 h 693846"/>
                <a:gd name="connsiteX1688" fmla="*/ 169559 w 1110409"/>
                <a:gd name="connsiteY1688" fmla="*/ 235386 h 693846"/>
                <a:gd name="connsiteX1689" fmla="*/ 170679 w 1110409"/>
                <a:gd name="connsiteY1689" fmla="*/ 235659 h 693846"/>
                <a:gd name="connsiteX1690" fmla="*/ 174006 w 1110409"/>
                <a:gd name="connsiteY1690" fmla="*/ 234660 h 693846"/>
                <a:gd name="connsiteX1691" fmla="*/ 175368 w 1110409"/>
                <a:gd name="connsiteY1691" fmla="*/ 235023 h 693846"/>
                <a:gd name="connsiteX1692" fmla="*/ 176517 w 1110409"/>
                <a:gd name="connsiteY1692" fmla="*/ 235991 h 693846"/>
                <a:gd name="connsiteX1693" fmla="*/ 177001 w 1110409"/>
                <a:gd name="connsiteY1693" fmla="*/ 237504 h 693846"/>
                <a:gd name="connsiteX1694" fmla="*/ 176426 w 1110409"/>
                <a:gd name="connsiteY1694" fmla="*/ 239349 h 693846"/>
                <a:gd name="connsiteX1695" fmla="*/ 176426 w 1110409"/>
                <a:gd name="connsiteY1695" fmla="*/ 240741 h 693846"/>
                <a:gd name="connsiteX1696" fmla="*/ 178241 w 1110409"/>
                <a:gd name="connsiteY1696" fmla="*/ 240922 h 693846"/>
                <a:gd name="connsiteX1697" fmla="*/ 180087 w 1110409"/>
                <a:gd name="connsiteY1697" fmla="*/ 241800 h 693846"/>
                <a:gd name="connsiteX1698" fmla="*/ 181811 w 1110409"/>
                <a:gd name="connsiteY1698" fmla="*/ 242132 h 693846"/>
                <a:gd name="connsiteX1699" fmla="*/ 183203 w 1110409"/>
                <a:gd name="connsiteY1699" fmla="*/ 240741 h 693846"/>
                <a:gd name="connsiteX1700" fmla="*/ 180450 w 1110409"/>
                <a:gd name="connsiteY1700" fmla="*/ 223679 h 693846"/>
                <a:gd name="connsiteX1701" fmla="*/ 179482 w 1110409"/>
                <a:gd name="connsiteY1701" fmla="*/ 220926 h 693846"/>
                <a:gd name="connsiteX1702" fmla="*/ 178574 w 1110409"/>
                <a:gd name="connsiteY1702" fmla="*/ 216086 h 693846"/>
                <a:gd name="connsiteX1703" fmla="*/ 178514 w 1110409"/>
                <a:gd name="connsiteY1703" fmla="*/ 214815 h 693846"/>
                <a:gd name="connsiteX1704" fmla="*/ 178967 w 1110409"/>
                <a:gd name="connsiteY1704" fmla="*/ 213515 h 693846"/>
                <a:gd name="connsiteX1705" fmla="*/ 179542 w 1110409"/>
                <a:gd name="connsiteY1705" fmla="*/ 213121 h 693846"/>
                <a:gd name="connsiteX1706" fmla="*/ 181236 w 1110409"/>
                <a:gd name="connsiteY1706" fmla="*/ 213121 h 693846"/>
                <a:gd name="connsiteX1707" fmla="*/ 183929 w 1110409"/>
                <a:gd name="connsiteY1707" fmla="*/ 214785 h 693846"/>
                <a:gd name="connsiteX1708" fmla="*/ 184806 w 1110409"/>
                <a:gd name="connsiteY1708" fmla="*/ 214634 h 693846"/>
                <a:gd name="connsiteX1709" fmla="*/ 185320 w 1110409"/>
                <a:gd name="connsiteY1709" fmla="*/ 213878 h 693846"/>
                <a:gd name="connsiteX1710" fmla="*/ 185835 w 1110409"/>
                <a:gd name="connsiteY1710" fmla="*/ 213545 h 693846"/>
                <a:gd name="connsiteX1711" fmla="*/ 186742 w 1110409"/>
                <a:gd name="connsiteY1711" fmla="*/ 214785 h 693846"/>
                <a:gd name="connsiteX1712" fmla="*/ 184473 w 1110409"/>
                <a:gd name="connsiteY1712" fmla="*/ 218990 h 693846"/>
                <a:gd name="connsiteX1713" fmla="*/ 183747 w 1110409"/>
                <a:gd name="connsiteY1713" fmla="*/ 222741 h 693846"/>
                <a:gd name="connsiteX1714" fmla="*/ 184171 w 1110409"/>
                <a:gd name="connsiteY1714" fmla="*/ 226402 h 693846"/>
                <a:gd name="connsiteX1715" fmla="*/ 186470 w 1110409"/>
                <a:gd name="connsiteY1715" fmla="*/ 233420 h 693846"/>
                <a:gd name="connsiteX1716" fmla="*/ 187287 w 1110409"/>
                <a:gd name="connsiteY1716" fmla="*/ 235205 h 693846"/>
                <a:gd name="connsiteX1717" fmla="*/ 188043 w 1110409"/>
                <a:gd name="connsiteY1717" fmla="*/ 236143 h 693846"/>
                <a:gd name="connsiteX1718" fmla="*/ 189344 w 1110409"/>
                <a:gd name="connsiteY1718" fmla="*/ 236233 h 693846"/>
                <a:gd name="connsiteX1719" fmla="*/ 190433 w 1110409"/>
                <a:gd name="connsiteY1719" fmla="*/ 235386 h 693846"/>
                <a:gd name="connsiteX1720" fmla="*/ 191189 w 1110409"/>
                <a:gd name="connsiteY1720" fmla="*/ 233632 h 693846"/>
                <a:gd name="connsiteX1721" fmla="*/ 191824 w 1110409"/>
                <a:gd name="connsiteY1721" fmla="*/ 227824 h 693846"/>
                <a:gd name="connsiteX1722" fmla="*/ 192671 w 1110409"/>
                <a:gd name="connsiteY1722" fmla="*/ 228187 h 693846"/>
                <a:gd name="connsiteX1723" fmla="*/ 194577 w 1110409"/>
                <a:gd name="connsiteY1723" fmla="*/ 232422 h 693846"/>
                <a:gd name="connsiteX1724" fmla="*/ 196060 w 1110409"/>
                <a:gd name="connsiteY1724" fmla="*/ 234570 h 693846"/>
                <a:gd name="connsiteX1725" fmla="*/ 197300 w 1110409"/>
                <a:gd name="connsiteY1725" fmla="*/ 234418 h 693846"/>
                <a:gd name="connsiteX1726" fmla="*/ 198389 w 1110409"/>
                <a:gd name="connsiteY1726" fmla="*/ 232876 h 693846"/>
                <a:gd name="connsiteX1727" fmla="*/ 200325 w 1110409"/>
                <a:gd name="connsiteY1727" fmla="*/ 228943 h 693846"/>
                <a:gd name="connsiteX1728" fmla="*/ 200900 w 1110409"/>
                <a:gd name="connsiteY1728" fmla="*/ 227219 h 693846"/>
                <a:gd name="connsiteX1729" fmla="*/ 200900 w 1110409"/>
                <a:gd name="connsiteY1729" fmla="*/ 225373 h 693846"/>
                <a:gd name="connsiteX1730" fmla="*/ 199266 w 1110409"/>
                <a:gd name="connsiteY1730" fmla="*/ 220624 h 693846"/>
                <a:gd name="connsiteX1731" fmla="*/ 199115 w 1110409"/>
                <a:gd name="connsiteY1731" fmla="*/ 218234 h 693846"/>
                <a:gd name="connsiteX1732" fmla="*/ 199176 w 1110409"/>
                <a:gd name="connsiteY1732" fmla="*/ 215814 h 693846"/>
                <a:gd name="connsiteX1733" fmla="*/ 199115 w 1110409"/>
                <a:gd name="connsiteY1733" fmla="*/ 214604 h 693846"/>
                <a:gd name="connsiteX1734" fmla="*/ 200355 w 1110409"/>
                <a:gd name="connsiteY1734" fmla="*/ 212516 h 693846"/>
                <a:gd name="connsiteX1735" fmla="*/ 201565 w 1110409"/>
                <a:gd name="connsiteY1735" fmla="*/ 215269 h 693846"/>
                <a:gd name="connsiteX1736" fmla="*/ 203501 w 1110409"/>
                <a:gd name="connsiteY1736" fmla="*/ 223165 h 693846"/>
                <a:gd name="connsiteX1737" fmla="*/ 204802 w 1110409"/>
                <a:gd name="connsiteY1737" fmla="*/ 226946 h 693846"/>
                <a:gd name="connsiteX1738" fmla="*/ 204802 w 1110409"/>
                <a:gd name="connsiteY1738" fmla="*/ 229729 h 693846"/>
                <a:gd name="connsiteX1739" fmla="*/ 204439 w 1110409"/>
                <a:gd name="connsiteY1739" fmla="*/ 232482 h 693846"/>
                <a:gd name="connsiteX1740" fmla="*/ 204530 w 1110409"/>
                <a:gd name="connsiteY1740" fmla="*/ 236143 h 693846"/>
                <a:gd name="connsiteX1741" fmla="*/ 205589 w 1110409"/>
                <a:gd name="connsiteY1741" fmla="*/ 240015 h 693846"/>
                <a:gd name="connsiteX1742" fmla="*/ 207071 w 1110409"/>
                <a:gd name="connsiteY1742" fmla="*/ 240711 h 693846"/>
                <a:gd name="connsiteX1743" fmla="*/ 212637 w 1110409"/>
                <a:gd name="connsiteY1743" fmla="*/ 238623 h 693846"/>
                <a:gd name="connsiteX1744" fmla="*/ 214120 w 1110409"/>
                <a:gd name="connsiteY1744" fmla="*/ 236929 h 693846"/>
                <a:gd name="connsiteX1745" fmla="*/ 214634 w 1110409"/>
                <a:gd name="connsiteY1745" fmla="*/ 234933 h 693846"/>
                <a:gd name="connsiteX1746" fmla="*/ 213394 w 1110409"/>
                <a:gd name="connsiteY1746" fmla="*/ 233239 h 693846"/>
                <a:gd name="connsiteX1747" fmla="*/ 213394 w 1110409"/>
                <a:gd name="connsiteY1747" fmla="*/ 231575 h 693846"/>
                <a:gd name="connsiteX1748" fmla="*/ 215178 w 1110409"/>
                <a:gd name="connsiteY1748" fmla="*/ 231847 h 693846"/>
                <a:gd name="connsiteX1749" fmla="*/ 216358 w 1110409"/>
                <a:gd name="connsiteY1749" fmla="*/ 233087 h 693846"/>
                <a:gd name="connsiteX1750" fmla="*/ 217629 w 1110409"/>
                <a:gd name="connsiteY1750" fmla="*/ 233995 h 693846"/>
                <a:gd name="connsiteX1751" fmla="*/ 219716 w 1110409"/>
                <a:gd name="connsiteY1751" fmla="*/ 233239 h 693846"/>
                <a:gd name="connsiteX1752" fmla="*/ 222318 w 1110409"/>
                <a:gd name="connsiteY1752" fmla="*/ 229971 h 693846"/>
                <a:gd name="connsiteX1753" fmla="*/ 223830 w 1110409"/>
                <a:gd name="connsiteY1753" fmla="*/ 228640 h 693846"/>
                <a:gd name="connsiteX1754" fmla="*/ 225918 w 1110409"/>
                <a:gd name="connsiteY1754" fmla="*/ 228489 h 693846"/>
                <a:gd name="connsiteX1755" fmla="*/ 225918 w 1110409"/>
                <a:gd name="connsiteY1755" fmla="*/ 230153 h 693846"/>
                <a:gd name="connsiteX1756" fmla="*/ 224617 w 1110409"/>
                <a:gd name="connsiteY1756" fmla="*/ 231756 h 693846"/>
                <a:gd name="connsiteX1757" fmla="*/ 220352 w 1110409"/>
                <a:gd name="connsiteY1757" fmla="*/ 234600 h 693846"/>
                <a:gd name="connsiteX1758" fmla="*/ 220352 w 1110409"/>
                <a:gd name="connsiteY1758" fmla="*/ 236112 h 693846"/>
                <a:gd name="connsiteX1759" fmla="*/ 227461 w 1110409"/>
                <a:gd name="connsiteY1759" fmla="*/ 235628 h 693846"/>
                <a:gd name="connsiteX1760" fmla="*/ 230728 w 1110409"/>
                <a:gd name="connsiteY1760" fmla="*/ 234207 h 693846"/>
                <a:gd name="connsiteX1761" fmla="*/ 234146 w 1110409"/>
                <a:gd name="connsiteY1761" fmla="*/ 231544 h 693846"/>
                <a:gd name="connsiteX1762" fmla="*/ 241558 w 1110409"/>
                <a:gd name="connsiteY1762" fmla="*/ 221622 h 693846"/>
                <a:gd name="connsiteX1763" fmla="*/ 244522 w 1110409"/>
                <a:gd name="connsiteY1763" fmla="*/ 220866 h 693846"/>
                <a:gd name="connsiteX1764" fmla="*/ 242314 w 1110409"/>
                <a:gd name="connsiteY1764" fmla="*/ 222530 h 693846"/>
                <a:gd name="connsiteX1765" fmla="*/ 241195 w 1110409"/>
                <a:gd name="connsiteY1765" fmla="*/ 223740 h 693846"/>
                <a:gd name="connsiteX1766" fmla="*/ 240317 w 1110409"/>
                <a:gd name="connsiteY1766" fmla="*/ 225313 h 693846"/>
                <a:gd name="connsiteX1767" fmla="*/ 240075 w 1110409"/>
                <a:gd name="connsiteY1767" fmla="*/ 227309 h 693846"/>
                <a:gd name="connsiteX1768" fmla="*/ 240075 w 1110409"/>
                <a:gd name="connsiteY1768" fmla="*/ 229941 h 693846"/>
                <a:gd name="connsiteX1769" fmla="*/ 239773 w 1110409"/>
                <a:gd name="connsiteY1769" fmla="*/ 232240 h 693846"/>
                <a:gd name="connsiteX1770" fmla="*/ 238654 w 1110409"/>
                <a:gd name="connsiteY1770" fmla="*/ 233239 h 693846"/>
                <a:gd name="connsiteX1771" fmla="*/ 236264 w 1110409"/>
                <a:gd name="connsiteY1771" fmla="*/ 233934 h 693846"/>
                <a:gd name="connsiteX1772" fmla="*/ 231605 w 1110409"/>
                <a:gd name="connsiteY1772" fmla="*/ 236959 h 693846"/>
                <a:gd name="connsiteX1773" fmla="*/ 220472 w 1110409"/>
                <a:gd name="connsiteY1773" fmla="*/ 239228 h 693846"/>
                <a:gd name="connsiteX1774" fmla="*/ 218294 w 1110409"/>
                <a:gd name="connsiteY1774" fmla="*/ 240711 h 693846"/>
                <a:gd name="connsiteX1775" fmla="*/ 216298 w 1110409"/>
                <a:gd name="connsiteY1775" fmla="*/ 244341 h 693846"/>
                <a:gd name="connsiteX1776" fmla="*/ 216873 w 1110409"/>
                <a:gd name="connsiteY1776" fmla="*/ 246307 h 693846"/>
                <a:gd name="connsiteX1777" fmla="*/ 221108 w 1110409"/>
                <a:gd name="connsiteY1777" fmla="*/ 248304 h 693846"/>
                <a:gd name="connsiteX1778" fmla="*/ 227037 w 1110409"/>
                <a:gd name="connsiteY1778" fmla="*/ 253325 h 693846"/>
                <a:gd name="connsiteX1779" fmla="*/ 229729 w 1110409"/>
                <a:gd name="connsiteY1779" fmla="*/ 257258 h 693846"/>
                <a:gd name="connsiteX1780" fmla="*/ 231423 w 1110409"/>
                <a:gd name="connsiteY1780" fmla="*/ 257893 h 693846"/>
                <a:gd name="connsiteX1781" fmla="*/ 235205 w 1110409"/>
                <a:gd name="connsiteY1781" fmla="*/ 257561 h 693846"/>
                <a:gd name="connsiteX1782" fmla="*/ 236173 w 1110409"/>
                <a:gd name="connsiteY1782" fmla="*/ 256593 h 693846"/>
                <a:gd name="connsiteX1783" fmla="*/ 236990 w 1110409"/>
                <a:gd name="connsiteY1783" fmla="*/ 254505 h 693846"/>
                <a:gd name="connsiteX1784" fmla="*/ 237625 w 1110409"/>
                <a:gd name="connsiteY1784" fmla="*/ 252418 h 693846"/>
                <a:gd name="connsiteX1785" fmla="*/ 237988 w 1110409"/>
                <a:gd name="connsiteY1785" fmla="*/ 251450 h 693846"/>
                <a:gd name="connsiteX1786" fmla="*/ 238896 w 1110409"/>
                <a:gd name="connsiteY1786" fmla="*/ 251147 h 693846"/>
                <a:gd name="connsiteX1787" fmla="*/ 239924 w 1110409"/>
                <a:gd name="connsiteY1787" fmla="*/ 250361 h 693846"/>
                <a:gd name="connsiteX1788" fmla="*/ 241709 w 1110409"/>
                <a:gd name="connsiteY1788" fmla="*/ 248304 h 693846"/>
                <a:gd name="connsiteX1789" fmla="*/ 243161 w 1110409"/>
                <a:gd name="connsiteY1789" fmla="*/ 245793 h 693846"/>
                <a:gd name="connsiteX1790" fmla="*/ 244069 w 1110409"/>
                <a:gd name="connsiteY1790" fmla="*/ 243040 h 693846"/>
                <a:gd name="connsiteX1791" fmla="*/ 244311 w 1110409"/>
                <a:gd name="connsiteY1791" fmla="*/ 239894 h 693846"/>
                <a:gd name="connsiteX1792" fmla="*/ 243796 w 1110409"/>
                <a:gd name="connsiteY1792" fmla="*/ 236112 h 693846"/>
                <a:gd name="connsiteX1793" fmla="*/ 245097 w 1110409"/>
                <a:gd name="connsiteY1793" fmla="*/ 237897 h 693846"/>
                <a:gd name="connsiteX1794" fmla="*/ 246973 w 1110409"/>
                <a:gd name="connsiteY1794" fmla="*/ 243252 h 693846"/>
                <a:gd name="connsiteX1795" fmla="*/ 247911 w 1110409"/>
                <a:gd name="connsiteY1795" fmla="*/ 245248 h 693846"/>
                <a:gd name="connsiteX1796" fmla="*/ 248969 w 1110409"/>
                <a:gd name="connsiteY1796" fmla="*/ 246035 h 693846"/>
                <a:gd name="connsiteX1797" fmla="*/ 250391 w 1110409"/>
                <a:gd name="connsiteY1797" fmla="*/ 246337 h 693846"/>
                <a:gd name="connsiteX1798" fmla="*/ 251268 w 1110409"/>
                <a:gd name="connsiteY1798" fmla="*/ 245339 h 693846"/>
                <a:gd name="connsiteX1799" fmla="*/ 250694 w 1110409"/>
                <a:gd name="connsiteY1799" fmla="*/ 242223 h 693846"/>
                <a:gd name="connsiteX1800" fmla="*/ 252116 w 1110409"/>
                <a:gd name="connsiteY1800" fmla="*/ 242374 h 693846"/>
                <a:gd name="connsiteX1801" fmla="*/ 253537 w 1110409"/>
                <a:gd name="connsiteY1801" fmla="*/ 242163 h 693846"/>
                <a:gd name="connsiteX1802" fmla="*/ 254929 w 1110409"/>
                <a:gd name="connsiteY1802" fmla="*/ 241618 h 693846"/>
                <a:gd name="connsiteX1803" fmla="*/ 256260 w 1110409"/>
                <a:gd name="connsiteY1803" fmla="*/ 240680 h 693846"/>
                <a:gd name="connsiteX1804" fmla="*/ 256774 w 1110409"/>
                <a:gd name="connsiteY1804" fmla="*/ 244099 h 693846"/>
                <a:gd name="connsiteX1805" fmla="*/ 258136 w 1110409"/>
                <a:gd name="connsiteY1805" fmla="*/ 246519 h 693846"/>
                <a:gd name="connsiteX1806" fmla="*/ 261766 w 1110409"/>
                <a:gd name="connsiteY1806" fmla="*/ 249816 h 693846"/>
                <a:gd name="connsiteX1807" fmla="*/ 259618 w 1110409"/>
                <a:gd name="connsiteY1807" fmla="*/ 252448 h 693846"/>
                <a:gd name="connsiteX1808" fmla="*/ 257651 w 1110409"/>
                <a:gd name="connsiteY1808" fmla="*/ 255897 h 693846"/>
                <a:gd name="connsiteX1809" fmla="*/ 259618 w 1110409"/>
                <a:gd name="connsiteY1809" fmla="*/ 256048 h 693846"/>
                <a:gd name="connsiteX1810" fmla="*/ 265577 w 1110409"/>
                <a:gd name="connsiteY1810" fmla="*/ 254415 h 693846"/>
                <a:gd name="connsiteX1811" fmla="*/ 272747 w 1110409"/>
                <a:gd name="connsiteY1811" fmla="*/ 255927 h 693846"/>
                <a:gd name="connsiteX1812" fmla="*/ 276256 w 1110409"/>
                <a:gd name="connsiteY1812" fmla="*/ 255836 h 693846"/>
                <a:gd name="connsiteX1813" fmla="*/ 285906 w 1110409"/>
                <a:gd name="connsiteY1813" fmla="*/ 252902 h 693846"/>
                <a:gd name="connsiteX1814" fmla="*/ 283486 w 1110409"/>
                <a:gd name="connsiteY1814" fmla="*/ 254233 h 693846"/>
                <a:gd name="connsiteX1815" fmla="*/ 279675 w 1110409"/>
                <a:gd name="connsiteY1815" fmla="*/ 256351 h 693846"/>
                <a:gd name="connsiteX1816" fmla="*/ 266606 w 1110409"/>
                <a:gd name="connsiteY1816" fmla="*/ 260162 h 693846"/>
                <a:gd name="connsiteX1817" fmla="*/ 260374 w 1110409"/>
                <a:gd name="connsiteY1817" fmla="*/ 263520 h 693846"/>
                <a:gd name="connsiteX1818" fmla="*/ 260828 w 1110409"/>
                <a:gd name="connsiteY1818" fmla="*/ 264640 h 693846"/>
                <a:gd name="connsiteX1819" fmla="*/ 261735 w 1110409"/>
                <a:gd name="connsiteY1819" fmla="*/ 268088 h 693846"/>
                <a:gd name="connsiteX1820" fmla="*/ 260223 w 1110409"/>
                <a:gd name="connsiteY1820" fmla="*/ 267907 h 693846"/>
                <a:gd name="connsiteX1821" fmla="*/ 257742 w 1110409"/>
                <a:gd name="connsiteY1821" fmla="*/ 265335 h 693846"/>
                <a:gd name="connsiteX1822" fmla="*/ 256230 w 1110409"/>
                <a:gd name="connsiteY1822" fmla="*/ 265184 h 693846"/>
                <a:gd name="connsiteX1823" fmla="*/ 256230 w 1110409"/>
                <a:gd name="connsiteY1823" fmla="*/ 266182 h 693846"/>
                <a:gd name="connsiteX1824" fmla="*/ 256381 w 1110409"/>
                <a:gd name="connsiteY1824" fmla="*/ 266364 h 693846"/>
                <a:gd name="connsiteX1825" fmla="*/ 256623 w 1110409"/>
                <a:gd name="connsiteY1825" fmla="*/ 266303 h 693846"/>
                <a:gd name="connsiteX1826" fmla="*/ 256835 w 1110409"/>
                <a:gd name="connsiteY1826" fmla="*/ 266545 h 693846"/>
                <a:gd name="connsiteX1827" fmla="*/ 254536 w 1110409"/>
                <a:gd name="connsiteY1827" fmla="*/ 268905 h 693846"/>
                <a:gd name="connsiteX1828" fmla="*/ 248092 w 1110409"/>
                <a:gd name="connsiteY1828" fmla="*/ 271991 h 693846"/>
                <a:gd name="connsiteX1829" fmla="*/ 244462 w 1110409"/>
                <a:gd name="connsiteY1829" fmla="*/ 276196 h 693846"/>
                <a:gd name="connsiteX1830" fmla="*/ 234993 w 1110409"/>
                <a:gd name="connsiteY1830" fmla="*/ 283002 h 693846"/>
                <a:gd name="connsiteX1831" fmla="*/ 223770 w 1110409"/>
                <a:gd name="connsiteY1831" fmla="*/ 285967 h 693846"/>
                <a:gd name="connsiteX1832" fmla="*/ 221078 w 1110409"/>
                <a:gd name="connsiteY1832" fmla="*/ 287873 h 693846"/>
                <a:gd name="connsiteX1833" fmla="*/ 218113 w 1110409"/>
                <a:gd name="connsiteY1833" fmla="*/ 293197 h 693846"/>
                <a:gd name="connsiteX1834" fmla="*/ 217205 w 1110409"/>
                <a:gd name="connsiteY1834" fmla="*/ 294044 h 693846"/>
                <a:gd name="connsiteX1835" fmla="*/ 213575 w 1110409"/>
                <a:gd name="connsiteY1835" fmla="*/ 293439 h 693846"/>
                <a:gd name="connsiteX1836" fmla="*/ 212093 w 1110409"/>
                <a:gd name="connsiteY1836" fmla="*/ 294044 h 693846"/>
                <a:gd name="connsiteX1837" fmla="*/ 212365 w 1110409"/>
                <a:gd name="connsiteY1837" fmla="*/ 297644 h 693846"/>
                <a:gd name="connsiteX1838" fmla="*/ 210580 w 1110409"/>
                <a:gd name="connsiteY1838" fmla="*/ 299519 h 693846"/>
                <a:gd name="connsiteX1839" fmla="*/ 205891 w 1110409"/>
                <a:gd name="connsiteY1839" fmla="*/ 301577 h 693846"/>
                <a:gd name="connsiteX1840" fmla="*/ 202503 w 1110409"/>
                <a:gd name="connsiteY1840" fmla="*/ 305691 h 693846"/>
                <a:gd name="connsiteX1841" fmla="*/ 200658 w 1110409"/>
                <a:gd name="connsiteY1841" fmla="*/ 308867 h 693846"/>
                <a:gd name="connsiteX1842" fmla="*/ 199629 w 1110409"/>
                <a:gd name="connsiteY1842" fmla="*/ 312134 h 693846"/>
                <a:gd name="connsiteX1843" fmla="*/ 204470 w 1110409"/>
                <a:gd name="connsiteY1843" fmla="*/ 310380 h 693846"/>
                <a:gd name="connsiteX1844" fmla="*/ 207011 w 1110409"/>
                <a:gd name="connsiteY1844" fmla="*/ 310622 h 693846"/>
                <a:gd name="connsiteX1845" fmla="*/ 209249 w 1110409"/>
                <a:gd name="connsiteY1845" fmla="*/ 312134 h 693846"/>
                <a:gd name="connsiteX1846" fmla="*/ 209249 w 1110409"/>
                <a:gd name="connsiteY1846" fmla="*/ 313768 h 693846"/>
                <a:gd name="connsiteX1847" fmla="*/ 207404 w 1110409"/>
                <a:gd name="connsiteY1847" fmla="*/ 313768 h 693846"/>
                <a:gd name="connsiteX1848" fmla="*/ 206648 w 1110409"/>
                <a:gd name="connsiteY1848" fmla="*/ 313284 h 693846"/>
                <a:gd name="connsiteX1849" fmla="*/ 205891 w 1110409"/>
                <a:gd name="connsiteY1849" fmla="*/ 312134 h 693846"/>
                <a:gd name="connsiteX1850" fmla="*/ 203592 w 1110409"/>
                <a:gd name="connsiteY1850" fmla="*/ 314070 h 693846"/>
                <a:gd name="connsiteX1851" fmla="*/ 200658 w 1110409"/>
                <a:gd name="connsiteY1851" fmla="*/ 314948 h 693846"/>
                <a:gd name="connsiteX1852" fmla="*/ 199115 w 1110409"/>
                <a:gd name="connsiteY1852" fmla="*/ 315885 h 693846"/>
                <a:gd name="connsiteX1853" fmla="*/ 201021 w 1110409"/>
                <a:gd name="connsiteY1853" fmla="*/ 318033 h 693846"/>
                <a:gd name="connsiteX1854" fmla="*/ 203713 w 1110409"/>
                <a:gd name="connsiteY1854" fmla="*/ 319122 h 693846"/>
                <a:gd name="connsiteX1855" fmla="*/ 212879 w 1110409"/>
                <a:gd name="connsiteY1855" fmla="*/ 317791 h 693846"/>
                <a:gd name="connsiteX1856" fmla="*/ 214301 w 1110409"/>
                <a:gd name="connsiteY1856" fmla="*/ 316793 h 693846"/>
                <a:gd name="connsiteX1857" fmla="*/ 214785 w 1110409"/>
                <a:gd name="connsiteY1857" fmla="*/ 316672 h 693846"/>
                <a:gd name="connsiteX1858" fmla="*/ 215874 w 1110409"/>
                <a:gd name="connsiteY1858" fmla="*/ 317126 h 693846"/>
                <a:gd name="connsiteX1859" fmla="*/ 223104 w 1110409"/>
                <a:gd name="connsiteY1859" fmla="*/ 322601 h 693846"/>
                <a:gd name="connsiteX1860" fmla="*/ 251813 w 1110409"/>
                <a:gd name="connsiteY1860" fmla="*/ 327744 h 693846"/>
                <a:gd name="connsiteX1861" fmla="*/ 256835 w 1110409"/>
                <a:gd name="connsiteY1861" fmla="*/ 325808 h 693846"/>
                <a:gd name="connsiteX1862" fmla="*/ 272021 w 1110409"/>
                <a:gd name="connsiteY1862" fmla="*/ 313798 h 693846"/>
                <a:gd name="connsiteX1863" fmla="*/ 272021 w 1110409"/>
                <a:gd name="connsiteY1863" fmla="*/ 312165 h 693846"/>
                <a:gd name="connsiteX1864" fmla="*/ 271265 w 1110409"/>
                <a:gd name="connsiteY1864" fmla="*/ 312165 h 693846"/>
                <a:gd name="connsiteX1865" fmla="*/ 271265 w 1110409"/>
                <a:gd name="connsiteY1865" fmla="*/ 310652 h 693846"/>
                <a:gd name="connsiteX1866" fmla="*/ 274381 w 1110409"/>
                <a:gd name="connsiteY1866" fmla="*/ 307687 h 693846"/>
                <a:gd name="connsiteX1867" fmla="*/ 278737 w 1110409"/>
                <a:gd name="connsiteY1867" fmla="*/ 307294 h 693846"/>
                <a:gd name="connsiteX1868" fmla="*/ 281943 w 1110409"/>
                <a:gd name="connsiteY1868" fmla="*/ 310410 h 693846"/>
                <a:gd name="connsiteX1869" fmla="*/ 281611 w 1110409"/>
                <a:gd name="connsiteY1869" fmla="*/ 318033 h 693846"/>
                <a:gd name="connsiteX1870" fmla="*/ 277406 w 1110409"/>
                <a:gd name="connsiteY1870" fmla="*/ 329287 h 693846"/>
                <a:gd name="connsiteX1871" fmla="*/ 276105 w 1110409"/>
                <a:gd name="connsiteY1871" fmla="*/ 331828 h 693846"/>
                <a:gd name="connsiteX1872" fmla="*/ 274290 w 1110409"/>
                <a:gd name="connsiteY1872" fmla="*/ 333431 h 693846"/>
                <a:gd name="connsiteX1873" fmla="*/ 272838 w 1110409"/>
                <a:gd name="connsiteY1873" fmla="*/ 333976 h 693846"/>
                <a:gd name="connsiteX1874" fmla="*/ 271628 w 1110409"/>
                <a:gd name="connsiteY1874" fmla="*/ 334944 h 693846"/>
                <a:gd name="connsiteX1875" fmla="*/ 270629 w 1110409"/>
                <a:gd name="connsiteY1875" fmla="*/ 337848 h 693846"/>
                <a:gd name="connsiteX1876" fmla="*/ 273685 w 1110409"/>
                <a:gd name="connsiteY1876" fmla="*/ 338332 h 693846"/>
                <a:gd name="connsiteX1877" fmla="*/ 275470 w 1110409"/>
                <a:gd name="connsiteY1877" fmla="*/ 340510 h 693846"/>
                <a:gd name="connsiteX1878" fmla="*/ 275349 w 1110409"/>
                <a:gd name="connsiteY1878" fmla="*/ 343233 h 693846"/>
                <a:gd name="connsiteX1879" fmla="*/ 272686 w 1110409"/>
                <a:gd name="connsiteY1879" fmla="*/ 345320 h 693846"/>
                <a:gd name="connsiteX1880" fmla="*/ 261524 w 1110409"/>
                <a:gd name="connsiteY1880" fmla="*/ 346954 h 693846"/>
                <a:gd name="connsiteX1881" fmla="*/ 258892 w 1110409"/>
                <a:gd name="connsiteY1881" fmla="*/ 345320 h 693846"/>
                <a:gd name="connsiteX1882" fmla="*/ 257167 w 1110409"/>
                <a:gd name="connsiteY1882" fmla="*/ 346802 h 693846"/>
                <a:gd name="connsiteX1883" fmla="*/ 256986 w 1110409"/>
                <a:gd name="connsiteY1883" fmla="*/ 346984 h 693846"/>
                <a:gd name="connsiteX1884" fmla="*/ 254868 w 1110409"/>
                <a:gd name="connsiteY1884" fmla="*/ 346258 h 693846"/>
                <a:gd name="connsiteX1885" fmla="*/ 252720 w 1110409"/>
                <a:gd name="connsiteY1885" fmla="*/ 344715 h 693846"/>
                <a:gd name="connsiteX1886" fmla="*/ 250663 w 1110409"/>
                <a:gd name="connsiteY1886" fmla="*/ 343838 h 693846"/>
                <a:gd name="connsiteX1887" fmla="*/ 243101 w 1110409"/>
                <a:gd name="connsiteY1887" fmla="*/ 343838 h 693846"/>
                <a:gd name="connsiteX1888" fmla="*/ 242163 w 1110409"/>
                <a:gd name="connsiteY1888" fmla="*/ 344443 h 693846"/>
                <a:gd name="connsiteX1889" fmla="*/ 240620 w 1110409"/>
                <a:gd name="connsiteY1889" fmla="*/ 346409 h 693846"/>
                <a:gd name="connsiteX1890" fmla="*/ 239591 w 1110409"/>
                <a:gd name="connsiteY1890" fmla="*/ 346984 h 693846"/>
                <a:gd name="connsiteX1891" fmla="*/ 230576 w 1110409"/>
                <a:gd name="connsiteY1891" fmla="*/ 342658 h 693846"/>
                <a:gd name="connsiteX1892" fmla="*/ 216963 w 1110409"/>
                <a:gd name="connsiteY1892" fmla="*/ 340117 h 693846"/>
                <a:gd name="connsiteX1893" fmla="*/ 208735 w 1110409"/>
                <a:gd name="connsiteY1893" fmla="*/ 341932 h 693846"/>
                <a:gd name="connsiteX1894" fmla="*/ 200325 w 1110409"/>
                <a:gd name="connsiteY1894" fmla="*/ 341569 h 693846"/>
                <a:gd name="connsiteX1895" fmla="*/ 198449 w 1110409"/>
                <a:gd name="connsiteY1895" fmla="*/ 342416 h 693846"/>
                <a:gd name="connsiteX1896" fmla="*/ 198238 w 1110409"/>
                <a:gd name="connsiteY1896" fmla="*/ 345320 h 693846"/>
                <a:gd name="connsiteX1897" fmla="*/ 196211 w 1110409"/>
                <a:gd name="connsiteY1897" fmla="*/ 345320 h 693846"/>
                <a:gd name="connsiteX1898" fmla="*/ 194729 w 1110409"/>
                <a:gd name="connsiteY1898" fmla="*/ 346439 h 693846"/>
                <a:gd name="connsiteX1899" fmla="*/ 192006 w 1110409"/>
                <a:gd name="connsiteY1899" fmla="*/ 349797 h 693846"/>
                <a:gd name="connsiteX1900" fmla="*/ 194486 w 1110409"/>
                <a:gd name="connsiteY1900" fmla="*/ 353851 h 693846"/>
                <a:gd name="connsiteX1901" fmla="*/ 195636 w 1110409"/>
                <a:gd name="connsiteY1901" fmla="*/ 355212 h 693846"/>
                <a:gd name="connsiteX1902" fmla="*/ 196876 w 1110409"/>
                <a:gd name="connsiteY1902" fmla="*/ 355908 h 693846"/>
                <a:gd name="connsiteX1903" fmla="*/ 196876 w 1110409"/>
                <a:gd name="connsiteY1903" fmla="*/ 357269 h 693846"/>
                <a:gd name="connsiteX1904" fmla="*/ 195182 w 1110409"/>
                <a:gd name="connsiteY1904" fmla="*/ 356634 h 693846"/>
                <a:gd name="connsiteX1905" fmla="*/ 190675 w 1110409"/>
                <a:gd name="connsiteY1905" fmla="*/ 352792 h 693846"/>
                <a:gd name="connsiteX1906" fmla="*/ 187347 w 1110409"/>
                <a:gd name="connsiteY1906" fmla="*/ 351340 h 693846"/>
                <a:gd name="connsiteX1907" fmla="*/ 186500 w 1110409"/>
                <a:gd name="connsiteY1907" fmla="*/ 349555 h 693846"/>
                <a:gd name="connsiteX1908" fmla="*/ 185835 w 1110409"/>
                <a:gd name="connsiteY1908" fmla="*/ 345320 h 693846"/>
                <a:gd name="connsiteX1909" fmla="*/ 184383 w 1110409"/>
                <a:gd name="connsiteY1909" fmla="*/ 346530 h 693846"/>
                <a:gd name="connsiteX1910" fmla="*/ 182658 w 1110409"/>
                <a:gd name="connsiteY1910" fmla="*/ 347165 h 693846"/>
                <a:gd name="connsiteX1911" fmla="*/ 180964 w 1110409"/>
                <a:gd name="connsiteY1911" fmla="*/ 347286 h 693846"/>
                <a:gd name="connsiteX1912" fmla="*/ 179633 w 1110409"/>
                <a:gd name="connsiteY1912" fmla="*/ 346954 h 693846"/>
                <a:gd name="connsiteX1913" fmla="*/ 180752 w 1110409"/>
                <a:gd name="connsiteY1913" fmla="*/ 345683 h 693846"/>
                <a:gd name="connsiteX1914" fmla="*/ 183808 w 1110409"/>
                <a:gd name="connsiteY1914" fmla="*/ 344110 h 693846"/>
                <a:gd name="connsiteX1915" fmla="*/ 185199 w 1110409"/>
                <a:gd name="connsiteY1915" fmla="*/ 342204 h 693846"/>
                <a:gd name="connsiteX1916" fmla="*/ 185048 w 1110409"/>
                <a:gd name="connsiteY1916" fmla="*/ 341327 h 693846"/>
                <a:gd name="connsiteX1917" fmla="*/ 184988 w 1110409"/>
                <a:gd name="connsiteY1917" fmla="*/ 341327 h 693846"/>
                <a:gd name="connsiteX1918" fmla="*/ 185048 w 1110409"/>
                <a:gd name="connsiteY1918" fmla="*/ 341024 h 693846"/>
                <a:gd name="connsiteX1919" fmla="*/ 185199 w 1110409"/>
                <a:gd name="connsiteY1919" fmla="*/ 339330 h 693846"/>
                <a:gd name="connsiteX1920" fmla="*/ 183505 w 1110409"/>
                <a:gd name="connsiteY1920" fmla="*/ 338272 h 693846"/>
                <a:gd name="connsiteX1921" fmla="*/ 181720 w 1110409"/>
                <a:gd name="connsiteY1921" fmla="*/ 337818 h 693846"/>
                <a:gd name="connsiteX1922" fmla="*/ 182446 w 1110409"/>
                <a:gd name="connsiteY1922" fmla="*/ 337213 h 693846"/>
                <a:gd name="connsiteX1923" fmla="*/ 183021 w 1110409"/>
                <a:gd name="connsiteY1923" fmla="*/ 336335 h 693846"/>
                <a:gd name="connsiteX1924" fmla="*/ 179058 w 1110409"/>
                <a:gd name="connsiteY1924" fmla="*/ 337243 h 693846"/>
                <a:gd name="connsiteX1925" fmla="*/ 171526 w 1110409"/>
                <a:gd name="connsiteY1925" fmla="*/ 344443 h 693846"/>
                <a:gd name="connsiteX1926" fmla="*/ 167290 w 1110409"/>
                <a:gd name="connsiteY1926" fmla="*/ 345350 h 693846"/>
                <a:gd name="connsiteX1927" fmla="*/ 167290 w 1110409"/>
                <a:gd name="connsiteY1927" fmla="*/ 346984 h 693846"/>
                <a:gd name="connsiteX1928" fmla="*/ 174611 w 1110409"/>
                <a:gd name="connsiteY1928" fmla="*/ 346016 h 693846"/>
                <a:gd name="connsiteX1929" fmla="*/ 176215 w 1110409"/>
                <a:gd name="connsiteY1929" fmla="*/ 346984 h 693846"/>
                <a:gd name="connsiteX1930" fmla="*/ 170225 w 1110409"/>
                <a:gd name="connsiteY1930" fmla="*/ 350856 h 693846"/>
                <a:gd name="connsiteX1931" fmla="*/ 164054 w 1110409"/>
                <a:gd name="connsiteY1931" fmla="*/ 352278 h 693846"/>
                <a:gd name="connsiteX1932" fmla="*/ 161936 w 1110409"/>
                <a:gd name="connsiteY1932" fmla="*/ 353700 h 693846"/>
                <a:gd name="connsiteX1933" fmla="*/ 160333 w 1110409"/>
                <a:gd name="connsiteY1933" fmla="*/ 355969 h 693846"/>
                <a:gd name="connsiteX1934" fmla="*/ 158034 w 1110409"/>
                <a:gd name="connsiteY1934" fmla="*/ 352096 h 693846"/>
                <a:gd name="connsiteX1935" fmla="*/ 155311 w 1110409"/>
                <a:gd name="connsiteY1935" fmla="*/ 349918 h 693846"/>
                <a:gd name="connsiteX1936" fmla="*/ 152437 w 1110409"/>
                <a:gd name="connsiteY1936" fmla="*/ 350191 h 693846"/>
                <a:gd name="connsiteX1937" fmla="*/ 149654 w 1110409"/>
                <a:gd name="connsiteY1937" fmla="*/ 353579 h 693846"/>
                <a:gd name="connsiteX1938" fmla="*/ 149200 w 1110409"/>
                <a:gd name="connsiteY1938" fmla="*/ 354910 h 693846"/>
                <a:gd name="connsiteX1939" fmla="*/ 148565 w 1110409"/>
                <a:gd name="connsiteY1939" fmla="*/ 357723 h 693846"/>
                <a:gd name="connsiteX1940" fmla="*/ 147899 w 1110409"/>
                <a:gd name="connsiteY1940" fmla="*/ 358963 h 693846"/>
                <a:gd name="connsiteX1941" fmla="*/ 147083 w 1110409"/>
                <a:gd name="connsiteY1941" fmla="*/ 359508 h 693846"/>
                <a:gd name="connsiteX1942" fmla="*/ 145177 w 1110409"/>
                <a:gd name="connsiteY1942" fmla="*/ 359841 h 693846"/>
                <a:gd name="connsiteX1943" fmla="*/ 144541 w 1110409"/>
                <a:gd name="connsiteY1943" fmla="*/ 360325 h 693846"/>
                <a:gd name="connsiteX1944" fmla="*/ 143573 w 1110409"/>
                <a:gd name="connsiteY1944" fmla="*/ 362503 h 693846"/>
                <a:gd name="connsiteX1945" fmla="*/ 143120 w 1110409"/>
                <a:gd name="connsiteY1945" fmla="*/ 364832 h 693846"/>
                <a:gd name="connsiteX1946" fmla="*/ 143210 w 1110409"/>
                <a:gd name="connsiteY1946" fmla="*/ 367585 h 693846"/>
                <a:gd name="connsiteX1947" fmla="*/ 143815 w 1110409"/>
                <a:gd name="connsiteY1947" fmla="*/ 370913 h 693846"/>
                <a:gd name="connsiteX1948" fmla="*/ 138249 w 1110409"/>
                <a:gd name="connsiteY1948" fmla="*/ 363320 h 693846"/>
                <a:gd name="connsiteX1949" fmla="*/ 139005 w 1110409"/>
                <a:gd name="connsiteY1949" fmla="*/ 361444 h 693846"/>
                <a:gd name="connsiteX1950" fmla="*/ 139701 w 1110409"/>
                <a:gd name="connsiteY1950" fmla="*/ 360053 h 693846"/>
                <a:gd name="connsiteX1951" fmla="*/ 140548 w 1110409"/>
                <a:gd name="connsiteY1951" fmla="*/ 359236 h 693846"/>
                <a:gd name="connsiteX1952" fmla="*/ 141728 w 1110409"/>
                <a:gd name="connsiteY1952" fmla="*/ 358994 h 693846"/>
                <a:gd name="connsiteX1953" fmla="*/ 141274 w 1110409"/>
                <a:gd name="connsiteY1953" fmla="*/ 356876 h 693846"/>
                <a:gd name="connsiteX1954" fmla="*/ 140972 w 1110409"/>
                <a:gd name="connsiteY1954" fmla="*/ 356029 h 693846"/>
                <a:gd name="connsiteX1955" fmla="*/ 143846 w 1110409"/>
                <a:gd name="connsiteY1955" fmla="*/ 354093 h 693846"/>
                <a:gd name="connsiteX1956" fmla="*/ 145086 w 1110409"/>
                <a:gd name="connsiteY1956" fmla="*/ 352399 h 693846"/>
                <a:gd name="connsiteX1957" fmla="*/ 145842 w 1110409"/>
                <a:gd name="connsiteY1957" fmla="*/ 349888 h 693846"/>
                <a:gd name="connsiteX1958" fmla="*/ 137614 w 1110409"/>
                <a:gd name="connsiteY1958" fmla="*/ 348678 h 693846"/>
                <a:gd name="connsiteX1959" fmla="*/ 133409 w 1110409"/>
                <a:gd name="connsiteY1959" fmla="*/ 349374 h 693846"/>
                <a:gd name="connsiteX1960" fmla="*/ 130656 w 1110409"/>
                <a:gd name="connsiteY1960" fmla="*/ 352883 h 693846"/>
                <a:gd name="connsiteX1961" fmla="*/ 130354 w 1110409"/>
                <a:gd name="connsiteY1961" fmla="*/ 355969 h 693846"/>
                <a:gd name="connsiteX1962" fmla="*/ 130868 w 1110409"/>
                <a:gd name="connsiteY1962" fmla="*/ 359085 h 693846"/>
                <a:gd name="connsiteX1963" fmla="*/ 131624 w 1110409"/>
                <a:gd name="connsiteY1963" fmla="*/ 361928 h 693846"/>
                <a:gd name="connsiteX1964" fmla="*/ 131987 w 1110409"/>
                <a:gd name="connsiteY1964" fmla="*/ 364167 h 693846"/>
                <a:gd name="connsiteX1965" fmla="*/ 131382 w 1110409"/>
                <a:gd name="connsiteY1965" fmla="*/ 366315 h 693846"/>
                <a:gd name="connsiteX1966" fmla="*/ 129900 w 1110409"/>
                <a:gd name="connsiteY1966" fmla="*/ 368372 h 693846"/>
                <a:gd name="connsiteX1967" fmla="*/ 128085 w 1110409"/>
                <a:gd name="connsiteY1967" fmla="*/ 369219 h 693846"/>
                <a:gd name="connsiteX1968" fmla="*/ 126512 w 1110409"/>
                <a:gd name="connsiteY1968" fmla="*/ 367827 h 693846"/>
                <a:gd name="connsiteX1969" fmla="*/ 124666 w 1110409"/>
                <a:gd name="connsiteY1969" fmla="*/ 370096 h 693846"/>
                <a:gd name="connsiteX1970" fmla="*/ 124152 w 1110409"/>
                <a:gd name="connsiteY1970" fmla="*/ 368523 h 693846"/>
                <a:gd name="connsiteX1971" fmla="*/ 124152 w 1110409"/>
                <a:gd name="connsiteY1971" fmla="*/ 365468 h 693846"/>
                <a:gd name="connsiteX1972" fmla="*/ 123759 w 1110409"/>
                <a:gd name="connsiteY1972" fmla="*/ 363380 h 693846"/>
                <a:gd name="connsiteX1973" fmla="*/ 122639 w 1110409"/>
                <a:gd name="connsiteY1973" fmla="*/ 363320 h 693846"/>
                <a:gd name="connsiteX1974" fmla="*/ 121853 w 1110409"/>
                <a:gd name="connsiteY1974" fmla="*/ 364802 h 693846"/>
                <a:gd name="connsiteX1975" fmla="*/ 120976 w 1110409"/>
                <a:gd name="connsiteY1975" fmla="*/ 365952 h 693846"/>
                <a:gd name="connsiteX1976" fmla="*/ 119644 w 1110409"/>
                <a:gd name="connsiteY1976" fmla="*/ 365044 h 693846"/>
                <a:gd name="connsiteX1977" fmla="*/ 120370 w 1110409"/>
                <a:gd name="connsiteY1977" fmla="*/ 361323 h 693846"/>
                <a:gd name="connsiteX1978" fmla="*/ 119009 w 1110409"/>
                <a:gd name="connsiteY1978" fmla="*/ 360143 h 693846"/>
                <a:gd name="connsiteX1979" fmla="*/ 114804 w 1110409"/>
                <a:gd name="connsiteY1979" fmla="*/ 360416 h 693846"/>
                <a:gd name="connsiteX1980" fmla="*/ 115167 w 1110409"/>
                <a:gd name="connsiteY1980" fmla="*/ 361384 h 693846"/>
                <a:gd name="connsiteX1981" fmla="*/ 115379 w 1110409"/>
                <a:gd name="connsiteY1981" fmla="*/ 362140 h 693846"/>
                <a:gd name="connsiteX1982" fmla="*/ 115682 w 1110409"/>
                <a:gd name="connsiteY1982" fmla="*/ 362775 h 693846"/>
                <a:gd name="connsiteX1983" fmla="*/ 116256 w 1110409"/>
                <a:gd name="connsiteY1983" fmla="*/ 363410 h 693846"/>
                <a:gd name="connsiteX1984" fmla="*/ 116256 w 1110409"/>
                <a:gd name="connsiteY1984" fmla="*/ 365044 h 693846"/>
                <a:gd name="connsiteX1985" fmla="*/ 107120 w 1110409"/>
                <a:gd name="connsiteY1985" fmla="*/ 363562 h 693846"/>
                <a:gd name="connsiteX1986" fmla="*/ 102976 w 1110409"/>
                <a:gd name="connsiteY1986" fmla="*/ 364863 h 693846"/>
                <a:gd name="connsiteX1987" fmla="*/ 99316 w 1110409"/>
                <a:gd name="connsiteY1987" fmla="*/ 370247 h 693846"/>
                <a:gd name="connsiteX1988" fmla="*/ 98287 w 1110409"/>
                <a:gd name="connsiteY1988" fmla="*/ 371215 h 693846"/>
                <a:gd name="connsiteX1989" fmla="*/ 94112 w 1110409"/>
                <a:gd name="connsiteY1989" fmla="*/ 371004 h 693846"/>
                <a:gd name="connsiteX1990" fmla="*/ 93174 w 1110409"/>
                <a:gd name="connsiteY1990" fmla="*/ 372002 h 693846"/>
                <a:gd name="connsiteX1991" fmla="*/ 91329 w 1110409"/>
                <a:gd name="connsiteY1991" fmla="*/ 374785 h 693846"/>
                <a:gd name="connsiteX1992" fmla="*/ 90391 w 1110409"/>
                <a:gd name="connsiteY1992" fmla="*/ 375360 h 693846"/>
                <a:gd name="connsiteX1993" fmla="*/ 79319 w 1110409"/>
                <a:gd name="connsiteY1993" fmla="*/ 373514 h 693846"/>
                <a:gd name="connsiteX1994" fmla="*/ 71212 w 1110409"/>
                <a:gd name="connsiteY1994" fmla="*/ 368583 h 693846"/>
                <a:gd name="connsiteX1995" fmla="*/ 69064 w 1110409"/>
                <a:gd name="connsiteY1995" fmla="*/ 368341 h 693846"/>
                <a:gd name="connsiteX1996" fmla="*/ 58143 w 1110409"/>
                <a:gd name="connsiteY1996" fmla="*/ 371246 h 693846"/>
                <a:gd name="connsiteX1997" fmla="*/ 56207 w 1110409"/>
                <a:gd name="connsiteY1997" fmla="*/ 372365 h 693846"/>
                <a:gd name="connsiteX1998" fmla="*/ 52517 w 1110409"/>
                <a:gd name="connsiteY1998" fmla="*/ 376449 h 693846"/>
                <a:gd name="connsiteX1999" fmla="*/ 50611 w 1110409"/>
                <a:gd name="connsiteY1999" fmla="*/ 377266 h 693846"/>
                <a:gd name="connsiteX2000" fmla="*/ 48584 w 1110409"/>
                <a:gd name="connsiteY2000" fmla="*/ 375330 h 693846"/>
                <a:gd name="connsiteX2001" fmla="*/ 47918 w 1110409"/>
                <a:gd name="connsiteY2001" fmla="*/ 376933 h 693846"/>
                <a:gd name="connsiteX2002" fmla="*/ 50701 w 1110409"/>
                <a:gd name="connsiteY2002" fmla="*/ 386190 h 693846"/>
                <a:gd name="connsiteX2003" fmla="*/ 52275 w 1110409"/>
                <a:gd name="connsiteY2003" fmla="*/ 389850 h 693846"/>
                <a:gd name="connsiteX2004" fmla="*/ 54120 w 1110409"/>
                <a:gd name="connsiteY2004" fmla="*/ 393299 h 693846"/>
                <a:gd name="connsiteX2005" fmla="*/ 58416 w 1110409"/>
                <a:gd name="connsiteY2005" fmla="*/ 399652 h 693846"/>
                <a:gd name="connsiteX2006" fmla="*/ 58990 w 1110409"/>
                <a:gd name="connsiteY2006" fmla="*/ 401588 h 693846"/>
                <a:gd name="connsiteX2007" fmla="*/ 59414 w 1110409"/>
                <a:gd name="connsiteY2007" fmla="*/ 405248 h 693846"/>
                <a:gd name="connsiteX2008" fmla="*/ 60473 w 1110409"/>
                <a:gd name="connsiteY2008" fmla="*/ 406307 h 693846"/>
                <a:gd name="connsiteX2009" fmla="*/ 61925 w 1110409"/>
                <a:gd name="connsiteY2009" fmla="*/ 406821 h 693846"/>
                <a:gd name="connsiteX2010" fmla="*/ 63468 w 1110409"/>
                <a:gd name="connsiteY2010" fmla="*/ 408909 h 693846"/>
                <a:gd name="connsiteX2011" fmla="*/ 70728 w 1110409"/>
                <a:gd name="connsiteY2011" fmla="*/ 412811 h 693846"/>
                <a:gd name="connsiteX2012" fmla="*/ 72785 w 1110409"/>
                <a:gd name="connsiteY2012" fmla="*/ 412539 h 693846"/>
                <a:gd name="connsiteX2013" fmla="*/ 77202 w 1110409"/>
                <a:gd name="connsiteY2013" fmla="*/ 410270 h 693846"/>
                <a:gd name="connsiteX2014" fmla="*/ 79380 w 1110409"/>
                <a:gd name="connsiteY2014" fmla="*/ 409695 h 693846"/>
                <a:gd name="connsiteX2015" fmla="*/ 86822 w 1110409"/>
                <a:gd name="connsiteY2015" fmla="*/ 409483 h 693846"/>
                <a:gd name="connsiteX2016" fmla="*/ 89575 w 1110409"/>
                <a:gd name="connsiteY2016" fmla="*/ 407366 h 693846"/>
                <a:gd name="connsiteX2017" fmla="*/ 91450 w 1110409"/>
                <a:gd name="connsiteY2017" fmla="*/ 402284 h 693846"/>
                <a:gd name="connsiteX2018" fmla="*/ 91904 w 1110409"/>
                <a:gd name="connsiteY2018" fmla="*/ 397958 h 693846"/>
                <a:gd name="connsiteX2019" fmla="*/ 94929 w 1110409"/>
                <a:gd name="connsiteY2019" fmla="*/ 394327 h 693846"/>
                <a:gd name="connsiteX2020" fmla="*/ 98771 w 1110409"/>
                <a:gd name="connsiteY2020" fmla="*/ 392422 h 693846"/>
                <a:gd name="connsiteX2021" fmla="*/ 100465 w 1110409"/>
                <a:gd name="connsiteY2021" fmla="*/ 393057 h 693846"/>
                <a:gd name="connsiteX2022" fmla="*/ 99194 w 1110409"/>
                <a:gd name="connsiteY2022" fmla="*/ 393269 h 693846"/>
                <a:gd name="connsiteX2023" fmla="*/ 98015 w 1110409"/>
                <a:gd name="connsiteY2023" fmla="*/ 393813 h 693846"/>
                <a:gd name="connsiteX2024" fmla="*/ 96926 w 1110409"/>
                <a:gd name="connsiteY2024" fmla="*/ 394721 h 693846"/>
                <a:gd name="connsiteX2025" fmla="*/ 108633 w 1110409"/>
                <a:gd name="connsiteY2025" fmla="*/ 398079 h 693846"/>
                <a:gd name="connsiteX2026" fmla="*/ 109843 w 1110409"/>
                <a:gd name="connsiteY2026" fmla="*/ 397806 h 693846"/>
                <a:gd name="connsiteX2027" fmla="*/ 110962 w 1110409"/>
                <a:gd name="connsiteY2027" fmla="*/ 397141 h 693846"/>
                <a:gd name="connsiteX2028" fmla="*/ 112021 w 1110409"/>
                <a:gd name="connsiteY2028" fmla="*/ 396203 h 693846"/>
                <a:gd name="connsiteX2029" fmla="*/ 112717 w 1110409"/>
                <a:gd name="connsiteY2029" fmla="*/ 395326 h 693846"/>
                <a:gd name="connsiteX2030" fmla="*/ 114472 w 1110409"/>
                <a:gd name="connsiteY2030" fmla="*/ 392391 h 693846"/>
                <a:gd name="connsiteX2031" fmla="*/ 114532 w 1110409"/>
                <a:gd name="connsiteY2031" fmla="*/ 391756 h 693846"/>
                <a:gd name="connsiteX2032" fmla="*/ 124273 w 1110409"/>
                <a:gd name="connsiteY2032" fmla="*/ 389699 h 693846"/>
                <a:gd name="connsiteX2033" fmla="*/ 129869 w 1110409"/>
                <a:gd name="connsiteY2033" fmla="*/ 390062 h 693846"/>
                <a:gd name="connsiteX2034" fmla="*/ 135708 w 1110409"/>
                <a:gd name="connsiteY2034" fmla="*/ 395779 h 693846"/>
                <a:gd name="connsiteX2035" fmla="*/ 149563 w 1110409"/>
                <a:gd name="connsiteY2035" fmla="*/ 396717 h 693846"/>
                <a:gd name="connsiteX2036" fmla="*/ 161573 w 1110409"/>
                <a:gd name="connsiteY2036" fmla="*/ 396717 h 693846"/>
                <a:gd name="connsiteX2037" fmla="*/ 174188 w 1110409"/>
                <a:gd name="connsiteY2037" fmla="*/ 397776 h 693846"/>
                <a:gd name="connsiteX2038" fmla="*/ 173492 w 1110409"/>
                <a:gd name="connsiteY2038" fmla="*/ 397776 h 693846"/>
                <a:gd name="connsiteX2039" fmla="*/ 176366 w 1110409"/>
                <a:gd name="connsiteY2039" fmla="*/ 398230 h 693846"/>
                <a:gd name="connsiteX2040" fmla="*/ 181085 w 1110409"/>
                <a:gd name="connsiteY2040" fmla="*/ 402132 h 693846"/>
                <a:gd name="connsiteX2041" fmla="*/ 183777 w 1110409"/>
                <a:gd name="connsiteY2041" fmla="*/ 402223 h 693846"/>
                <a:gd name="connsiteX2042" fmla="*/ 183777 w 1110409"/>
                <a:gd name="connsiteY2042" fmla="*/ 400741 h 693846"/>
                <a:gd name="connsiteX2043" fmla="*/ 178483 w 1110409"/>
                <a:gd name="connsiteY2043" fmla="*/ 397746 h 693846"/>
                <a:gd name="connsiteX2044" fmla="*/ 176910 w 1110409"/>
                <a:gd name="connsiteY2044" fmla="*/ 396142 h 693846"/>
                <a:gd name="connsiteX2045" fmla="*/ 187559 w 1110409"/>
                <a:gd name="connsiteY2045" fmla="*/ 396142 h 693846"/>
                <a:gd name="connsiteX2046" fmla="*/ 188436 w 1110409"/>
                <a:gd name="connsiteY2046" fmla="*/ 396869 h 693846"/>
                <a:gd name="connsiteX2047" fmla="*/ 189707 w 1110409"/>
                <a:gd name="connsiteY2047" fmla="*/ 398502 h 693846"/>
                <a:gd name="connsiteX2048" fmla="*/ 190735 w 1110409"/>
                <a:gd name="connsiteY2048" fmla="*/ 400287 h 693846"/>
                <a:gd name="connsiteX2049" fmla="*/ 191038 w 1110409"/>
                <a:gd name="connsiteY2049" fmla="*/ 401497 h 693846"/>
                <a:gd name="connsiteX2050" fmla="*/ 190191 w 1110409"/>
                <a:gd name="connsiteY2050" fmla="*/ 402374 h 693846"/>
                <a:gd name="connsiteX2051" fmla="*/ 188981 w 1110409"/>
                <a:gd name="connsiteY2051" fmla="*/ 402556 h 693846"/>
                <a:gd name="connsiteX2052" fmla="*/ 186591 w 1110409"/>
                <a:gd name="connsiteY2052" fmla="*/ 402253 h 693846"/>
                <a:gd name="connsiteX2053" fmla="*/ 189011 w 1110409"/>
                <a:gd name="connsiteY2053" fmla="*/ 403917 h 693846"/>
                <a:gd name="connsiteX2054" fmla="*/ 198268 w 1110409"/>
                <a:gd name="connsiteY2054" fmla="*/ 402253 h 693846"/>
                <a:gd name="connsiteX2055" fmla="*/ 196302 w 1110409"/>
                <a:gd name="connsiteY2055" fmla="*/ 400983 h 693846"/>
                <a:gd name="connsiteX2056" fmla="*/ 195515 w 1110409"/>
                <a:gd name="connsiteY2056" fmla="*/ 400771 h 693846"/>
                <a:gd name="connsiteX2057" fmla="*/ 195515 w 1110409"/>
                <a:gd name="connsiteY2057" fmla="*/ 399137 h 693846"/>
                <a:gd name="connsiteX2058" fmla="*/ 197179 w 1110409"/>
                <a:gd name="connsiteY2058" fmla="*/ 398502 h 693846"/>
                <a:gd name="connsiteX2059" fmla="*/ 200143 w 1110409"/>
                <a:gd name="connsiteY2059" fmla="*/ 395416 h 693846"/>
                <a:gd name="connsiteX2060" fmla="*/ 201717 w 1110409"/>
                <a:gd name="connsiteY2060" fmla="*/ 394690 h 693846"/>
                <a:gd name="connsiteX2061" fmla="*/ 207283 w 1110409"/>
                <a:gd name="connsiteY2061" fmla="*/ 396173 h 693846"/>
                <a:gd name="connsiteX2062" fmla="*/ 207283 w 1110409"/>
                <a:gd name="connsiteY2062" fmla="*/ 394690 h 693846"/>
                <a:gd name="connsiteX2063" fmla="*/ 208311 w 1110409"/>
                <a:gd name="connsiteY2063" fmla="*/ 393601 h 693846"/>
                <a:gd name="connsiteX2064" fmla="*/ 209249 w 1110409"/>
                <a:gd name="connsiteY2064" fmla="*/ 393359 h 693846"/>
                <a:gd name="connsiteX2065" fmla="*/ 210066 w 1110409"/>
                <a:gd name="connsiteY2065" fmla="*/ 394176 h 693846"/>
                <a:gd name="connsiteX2066" fmla="*/ 210701 w 1110409"/>
                <a:gd name="connsiteY2066" fmla="*/ 396203 h 693846"/>
                <a:gd name="connsiteX2067" fmla="*/ 211367 w 1110409"/>
                <a:gd name="connsiteY2067" fmla="*/ 394327 h 693846"/>
                <a:gd name="connsiteX2068" fmla="*/ 212153 w 1110409"/>
                <a:gd name="connsiteY2068" fmla="*/ 392906 h 693846"/>
                <a:gd name="connsiteX2069" fmla="*/ 213061 w 1110409"/>
                <a:gd name="connsiteY2069" fmla="*/ 392059 h 693846"/>
                <a:gd name="connsiteX2070" fmla="*/ 214089 w 1110409"/>
                <a:gd name="connsiteY2070" fmla="*/ 391786 h 693846"/>
                <a:gd name="connsiteX2071" fmla="*/ 213212 w 1110409"/>
                <a:gd name="connsiteY2071" fmla="*/ 394358 h 693846"/>
                <a:gd name="connsiteX2072" fmla="*/ 211367 w 1110409"/>
                <a:gd name="connsiteY2072" fmla="*/ 398623 h 693846"/>
                <a:gd name="connsiteX2073" fmla="*/ 210671 w 1110409"/>
                <a:gd name="connsiteY2073" fmla="*/ 400832 h 693846"/>
                <a:gd name="connsiteX2074" fmla="*/ 212728 w 1110409"/>
                <a:gd name="connsiteY2074" fmla="*/ 400832 h 693846"/>
                <a:gd name="connsiteX2075" fmla="*/ 211276 w 1110409"/>
                <a:gd name="connsiteY2075" fmla="*/ 403796 h 693846"/>
                <a:gd name="connsiteX2076" fmla="*/ 217750 w 1110409"/>
                <a:gd name="connsiteY2076" fmla="*/ 403524 h 693846"/>
                <a:gd name="connsiteX2077" fmla="*/ 220775 w 1110409"/>
                <a:gd name="connsiteY2077" fmla="*/ 404310 h 693846"/>
                <a:gd name="connsiteX2078" fmla="*/ 223044 w 1110409"/>
                <a:gd name="connsiteY2078" fmla="*/ 406761 h 693846"/>
                <a:gd name="connsiteX2079" fmla="*/ 221743 w 1110409"/>
                <a:gd name="connsiteY2079" fmla="*/ 408697 h 693846"/>
                <a:gd name="connsiteX2080" fmla="*/ 221199 w 1110409"/>
                <a:gd name="connsiteY2080" fmla="*/ 409302 h 693846"/>
                <a:gd name="connsiteX2081" fmla="*/ 220291 w 1110409"/>
                <a:gd name="connsiteY2081" fmla="*/ 409695 h 693846"/>
                <a:gd name="connsiteX2082" fmla="*/ 221047 w 1110409"/>
                <a:gd name="connsiteY2082" fmla="*/ 411177 h 693846"/>
                <a:gd name="connsiteX2083" fmla="*/ 220079 w 1110409"/>
                <a:gd name="connsiteY2083" fmla="*/ 413416 h 693846"/>
                <a:gd name="connsiteX2084" fmla="*/ 218899 w 1110409"/>
                <a:gd name="connsiteY2084" fmla="*/ 414989 h 693846"/>
                <a:gd name="connsiteX2085" fmla="*/ 216842 w 1110409"/>
                <a:gd name="connsiteY2085" fmla="*/ 416955 h 693846"/>
                <a:gd name="connsiteX2086" fmla="*/ 214029 w 1110409"/>
                <a:gd name="connsiteY2086" fmla="*/ 420646 h 693846"/>
                <a:gd name="connsiteX2087" fmla="*/ 212728 w 1110409"/>
                <a:gd name="connsiteY2087" fmla="*/ 421523 h 693846"/>
                <a:gd name="connsiteX2088" fmla="*/ 214755 w 1110409"/>
                <a:gd name="connsiteY2088" fmla="*/ 423520 h 693846"/>
                <a:gd name="connsiteX2089" fmla="*/ 217599 w 1110409"/>
                <a:gd name="connsiteY2089" fmla="*/ 421645 h 693846"/>
                <a:gd name="connsiteX2090" fmla="*/ 220684 w 1110409"/>
                <a:gd name="connsiteY2090" fmla="*/ 418559 h 693846"/>
                <a:gd name="connsiteX2091" fmla="*/ 223437 w 1110409"/>
                <a:gd name="connsiteY2091" fmla="*/ 416925 h 693846"/>
                <a:gd name="connsiteX2092" fmla="*/ 226674 w 1110409"/>
                <a:gd name="connsiteY2092" fmla="*/ 416320 h 693846"/>
                <a:gd name="connsiteX2093" fmla="*/ 230002 w 1110409"/>
                <a:gd name="connsiteY2093" fmla="*/ 414687 h 693846"/>
                <a:gd name="connsiteX2094" fmla="*/ 236234 w 1110409"/>
                <a:gd name="connsiteY2094" fmla="*/ 409695 h 693846"/>
                <a:gd name="connsiteX2095" fmla="*/ 236234 w 1110409"/>
                <a:gd name="connsiteY2095" fmla="*/ 411177 h 693846"/>
                <a:gd name="connsiteX2096" fmla="*/ 233329 w 1110409"/>
                <a:gd name="connsiteY2096" fmla="*/ 414626 h 693846"/>
                <a:gd name="connsiteX2097" fmla="*/ 221683 w 1110409"/>
                <a:gd name="connsiteY2097" fmla="*/ 420041 h 693846"/>
                <a:gd name="connsiteX2098" fmla="*/ 221683 w 1110409"/>
                <a:gd name="connsiteY2098" fmla="*/ 421523 h 693846"/>
                <a:gd name="connsiteX2099" fmla="*/ 222106 w 1110409"/>
                <a:gd name="connsiteY2099" fmla="*/ 421826 h 693846"/>
                <a:gd name="connsiteX2100" fmla="*/ 223074 w 1110409"/>
                <a:gd name="connsiteY2100" fmla="*/ 423006 h 693846"/>
                <a:gd name="connsiteX2101" fmla="*/ 221713 w 1110409"/>
                <a:gd name="connsiteY2101" fmla="*/ 423762 h 693846"/>
                <a:gd name="connsiteX2102" fmla="*/ 220503 w 1110409"/>
                <a:gd name="connsiteY2102" fmla="*/ 424821 h 693846"/>
                <a:gd name="connsiteX2103" fmla="*/ 219535 w 1110409"/>
                <a:gd name="connsiteY2103" fmla="*/ 426454 h 693846"/>
                <a:gd name="connsiteX2104" fmla="*/ 218930 w 1110409"/>
                <a:gd name="connsiteY2104" fmla="*/ 428905 h 693846"/>
                <a:gd name="connsiteX2105" fmla="*/ 221078 w 1110409"/>
                <a:gd name="connsiteY2105" fmla="*/ 428905 h 693846"/>
                <a:gd name="connsiteX2106" fmla="*/ 218506 w 1110409"/>
                <a:gd name="connsiteY2106" fmla="*/ 430811 h 693846"/>
                <a:gd name="connsiteX2107" fmla="*/ 215844 w 1110409"/>
                <a:gd name="connsiteY2107" fmla="*/ 429328 h 693846"/>
                <a:gd name="connsiteX2108" fmla="*/ 213212 w 1110409"/>
                <a:gd name="connsiteY2108" fmla="*/ 426878 h 693846"/>
                <a:gd name="connsiteX2109" fmla="*/ 210701 w 1110409"/>
                <a:gd name="connsiteY2109" fmla="*/ 425849 h 693846"/>
                <a:gd name="connsiteX2110" fmla="*/ 211760 w 1110409"/>
                <a:gd name="connsiteY2110" fmla="*/ 427725 h 693846"/>
                <a:gd name="connsiteX2111" fmla="*/ 213152 w 1110409"/>
                <a:gd name="connsiteY2111" fmla="*/ 429691 h 693846"/>
                <a:gd name="connsiteX2112" fmla="*/ 214604 w 1110409"/>
                <a:gd name="connsiteY2112" fmla="*/ 431264 h 693846"/>
                <a:gd name="connsiteX2113" fmla="*/ 215905 w 1110409"/>
                <a:gd name="connsiteY2113" fmla="*/ 431870 h 693846"/>
                <a:gd name="connsiteX2114" fmla="*/ 216419 w 1110409"/>
                <a:gd name="connsiteY2114" fmla="*/ 432747 h 693846"/>
                <a:gd name="connsiteX2115" fmla="*/ 217296 w 1110409"/>
                <a:gd name="connsiteY2115" fmla="*/ 434532 h 693846"/>
                <a:gd name="connsiteX2116" fmla="*/ 218567 w 1110409"/>
                <a:gd name="connsiteY2116" fmla="*/ 436135 h 693846"/>
                <a:gd name="connsiteX2117" fmla="*/ 220321 w 1110409"/>
                <a:gd name="connsiteY2117" fmla="*/ 436437 h 693846"/>
                <a:gd name="connsiteX2118" fmla="*/ 220321 w 1110409"/>
                <a:gd name="connsiteY2118" fmla="*/ 437768 h 693846"/>
                <a:gd name="connsiteX2119" fmla="*/ 218899 w 1110409"/>
                <a:gd name="connsiteY2119" fmla="*/ 439977 h 693846"/>
                <a:gd name="connsiteX2120" fmla="*/ 218536 w 1110409"/>
                <a:gd name="connsiteY2120" fmla="*/ 443395 h 693846"/>
                <a:gd name="connsiteX2121" fmla="*/ 219262 w 1110409"/>
                <a:gd name="connsiteY2121" fmla="*/ 446935 h 693846"/>
                <a:gd name="connsiteX2122" fmla="*/ 221078 w 1110409"/>
                <a:gd name="connsiteY2122" fmla="*/ 449536 h 693846"/>
                <a:gd name="connsiteX2123" fmla="*/ 223256 w 1110409"/>
                <a:gd name="connsiteY2123" fmla="*/ 449718 h 693846"/>
                <a:gd name="connsiteX2124" fmla="*/ 226099 w 1110409"/>
                <a:gd name="connsiteY2124" fmla="*/ 448447 h 693846"/>
                <a:gd name="connsiteX2125" fmla="*/ 230728 w 1110409"/>
                <a:gd name="connsiteY2125" fmla="*/ 445241 h 693846"/>
                <a:gd name="connsiteX2126" fmla="*/ 230728 w 1110409"/>
                <a:gd name="connsiteY2126" fmla="*/ 446572 h 693846"/>
                <a:gd name="connsiteX2127" fmla="*/ 229729 w 1110409"/>
                <a:gd name="connsiteY2127" fmla="*/ 448810 h 693846"/>
                <a:gd name="connsiteX2128" fmla="*/ 229306 w 1110409"/>
                <a:gd name="connsiteY2128" fmla="*/ 449536 h 693846"/>
                <a:gd name="connsiteX2129" fmla="*/ 230274 w 1110409"/>
                <a:gd name="connsiteY2129" fmla="*/ 449476 h 693846"/>
                <a:gd name="connsiteX2130" fmla="*/ 231151 w 1110409"/>
                <a:gd name="connsiteY2130" fmla="*/ 449748 h 693846"/>
                <a:gd name="connsiteX2131" fmla="*/ 231968 w 1110409"/>
                <a:gd name="connsiteY2131" fmla="*/ 450293 h 693846"/>
                <a:gd name="connsiteX2132" fmla="*/ 232724 w 1110409"/>
                <a:gd name="connsiteY2132" fmla="*/ 451140 h 693846"/>
                <a:gd name="connsiteX2133" fmla="*/ 231787 w 1110409"/>
                <a:gd name="connsiteY2133" fmla="*/ 452289 h 693846"/>
                <a:gd name="connsiteX2134" fmla="*/ 231363 w 1110409"/>
                <a:gd name="connsiteY2134" fmla="*/ 452622 h 693846"/>
                <a:gd name="connsiteX2135" fmla="*/ 232392 w 1110409"/>
                <a:gd name="connsiteY2135" fmla="*/ 455042 h 693846"/>
                <a:gd name="connsiteX2136" fmla="*/ 231968 w 1110409"/>
                <a:gd name="connsiteY2136" fmla="*/ 458279 h 693846"/>
                <a:gd name="connsiteX2137" fmla="*/ 230728 w 1110409"/>
                <a:gd name="connsiteY2137" fmla="*/ 461637 h 693846"/>
                <a:gd name="connsiteX2138" fmla="*/ 229306 w 1110409"/>
                <a:gd name="connsiteY2138" fmla="*/ 464360 h 693846"/>
                <a:gd name="connsiteX2139" fmla="*/ 230274 w 1110409"/>
                <a:gd name="connsiteY2139" fmla="*/ 464057 h 693846"/>
                <a:gd name="connsiteX2140" fmla="*/ 231091 w 1110409"/>
                <a:gd name="connsiteY2140" fmla="*/ 463543 h 693846"/>
                <a:gd name="connsiteX2141" fmla="*/ 231877 w 1110409"/>
                <a:gd name="connsiteY2141" fmla="*/ 462726 h 693846"/>
                <a:gd name="connsiteX2142" fmla="*/ 232755 w 1110409"/>
                <a:gd name="connsiteY2142" fmla="*/ 461455 h 693846"/>
                <a:gd name="connsiteX2143" fmla="*/ 233662 w 1110409"/>
                <a:gd name="connsiteY2143" fmla="*/ 464844 h 693846"/>
                <a:gd name="connsiteX2144" fmla="*/ 235235 w 1110409"/>
                <a:gd name="connsiteY2144" fmla="*/ 467657 h 693846"/>
                <a:gd name="connsiteX2145" fmla="*/ 237050 w 1110409"/>
                <a:gd name="connsiteY2145" fmla="*/ 469563 h 693846"/>
                <a:gd name="connsiteX2146" fmla="*/ 238684 w 1110409"/>
                <a:gd name="connsiteY2146" fmla="*/ 470258 h 693846"/>
                <a:gd name="connsiteX2147" fmla="*/ 239501 w 1110409"/>
                <a:gd name="connsiteY2147" fmla="*/ 470107 h 693846"/>
                <a:gd name="connsiteX2148" fmla="*/ 240499 w 1110409"/>
                <a:gd name="connsiteY2148" fmla="*/ 469654 h 693846"/>
                <a:gd name="connsiteX2149" fmla="*/ 241346 w 1110409"/>
                <a:gd name="connsiteY2149" fmla="*/ 468988 h 693846"/>
                <a:gd name="connsiteX2150" fmla="*/ 241709 w 1110409"/>
                <a:gd name="connsiteY2150" fmla="*/ 468201 h 693846"/>
                <a:gd name="connsiteX2151" fmla="*/ 242284 w 1110409"/>
                <a:gd name="connsiteY2151" fmla="*/ 467445 h 693846"/>
                <a:gd name="connsiteX2152" fmla="*/ 245884 w 1110409"/>
                <a:gd name="connsiteY2152" fmla="*/ 467445 h 693846"/>
                <a:gd name="connsiteX2153" fmla="*/ 246700 w 1110409"/>
                <a:gd name="connsiteY2153" fmla="*/ 466205 h 693846"/>
                <a:gd name="connsiteX2154" fmla="*/ 246852 w 1110409"/>
                <a:gd name="connsiteY2154" fmla="*/ 464934 h 693846"/>
                <a:gd name="connsiteX2155" fmla="*/ 246852 w 1110409"/>
                <a:gd name="connsiteY2155" fmla="*/ 463422 h 693846"/>
                <a:gd name="connsiteX2156" fmla="*/ 247275 w 1110409"/>
                <a:gd name="connsiteY2156" fmla="*/ 461486 h 693846"/>
                <a:gd name="connsiteX2157" fmla="*/ 249695 w 1110409"/>
                <a:gd name="connsiteY2157" fmla="*/ 457371 h 693846"/>
                <a:gd name="connsiteX2158" fmla="*/ 250089 w 1110409"/>
                <a:gd name="connsiteY2158" fmla="*/ 456343 h 693846"/>
                <a:gd name="connsiteX2159" fmla="*/ 250089 w 1110409"/>
                <a:gd name="connsiteY2159" fmla="*/ 452985 h 693846"/>
                <a:gd name="connsiteX2160" fmla="*/ 250391 w 1110409"/>
                <a:gd name="connsiteY2160" fmla="*/ 449688 h 693846"/>
                <a:gd name="connsiteX2161" fmla="*/ 251359 w 1110409"/>
                <a:gd name="connsiteY2161" fmla="*/ 447267 h 693846"/>
                <a:gd name="connsiteX2162" fmla="*/ 253447 w 1110409"/>
                <a:gd name="connsiteY2162" fmla="*/ 446632 h 693846"/>
                <a:gd name="connsiteX2163" fmla="*/ 251813 w 1110409"/>
                <a:gd name="connsiteY2163" fmla="*/ 451351 h 693846"/>
                <a:gd name="connsiteX2164" fmla="*/ 251662 w 1110409"/>
                <a:gd name="connsiteY2164" fmla="*/ 453469 h 693846"/>
                <a:gd name="connsiteX2165" fmla="*/ 252751 w 1110409"/>
                <a:gd name="connsiteY2165" fmla="*/ 455556 h 693846"/>
                <a:gd name="connsiteX2166" fmla="*/ 254354 w 1110409"/>
                <a:gd name="connsiteY2166" fmla="*/ 456192 h 693846"/>
                <a:gd name="connsiteX2167" fmla="*/ 255957 w 1110409"/>
                <a:gd name="connsiteY2167" fmla="*/ 455314 h 693846"/>
                <a:gd name="connsiteX2168" fmla="*/ 258347 w 1110409"/>
                <a:gd name="connsiteY2168" fmla="*/ 452652 h 693846"/>
                <a:gd name="connsiteX2169" fmla="*/ 264216 w 1110409"/>
                <a:gd name="connsiteY2169" fmla="*/ 447993 h 693846"/>
                <a:gd name="connsiteX2170" fmla="*/ 267029 w 1110409"/>
                <a:gd name="connsiteY2170" fmla="*/ 447267 h 693846"/>
                <a:gd name="connsiteX2171" fmla="*/ 270024 w 1110409"/>
                <a:gd name="connsiteY2171" fmla="*/ 448235 h 693846"/>
                <a:gd name="connsiteX2172" fmla="*/ 269389 w 1110409"/>
                <a:gd name="connsiteY2172" fmla="*/ 445301 h 693846"/>
                <a:gd name="connsiteX2173" fmla="*/ 270962 w 1110409"/>
                <a:gd name="connsiteY2173" fmla="*/ 444061 h 693846"/>
                <a:gd name="connsiteX2174" fmla="*/ 276196 w 1110409"/>
                <a:gd name="connsiteY2174" fmla="*/ 442215 h 693846"/>
                <a:gd name="connsiteX2175" fmla="*/ 280370 w 1110409"/>
                <a:gd name="connsiteY2175" fmla="*/ 438404 h 693846"/>
                <a:gd name="connsiteX2176" fmla="*/ 281369 w 1110409"/>
                <a:gd name="connsiteY2176" fmla="*/ 437799 h 693846"/>
                <a:gd name="connsiteX2177" fmla="*/ 282579 w 1110409"/>
                <a:gd name="connsiteY2177" fmla="*/ 436679 h 693846"/>
                <a:gd name="connsiteX2178" fmla="*/ 283244 w 1110409"/>
                <a:gd name="connsiteY2178" fmla="*/ 431688 h 693846"/>
                <a:gd name="connsiteX2179" fmla="*/ 284152 w 1110409"/>
                <a:gd name="connsiteY2179" fmla="*/ 430569 h 693846"/>
                <a:gd name="connsiteX2180" fmla="*/ 285332 w 1110409"/>
                <a:gd name="connsiteY2180" fmla="*/ 429933 h 693846"/>
                <a:gd name="connsiteX2181" fmla="*/ 289355 w 1110409"/>
                <a:gd name="connsiteY2181" fmla="*/ 425880 h 693846"/>
                <a:gd name="connsiteX2182" fmla="*/ 288780 w 1110409"/>
                <a:gd name="connsiteY2182" fmla="*/ 427997 h 693846"/>
                <a:gd name="connsiteX2183" fmla="*/ 287812 w 1110409"/>
                <a:gd name="connsiteY2183" fmla="*/ 429570 h 693846"/>
                <a:gd name="connsiteX2184" fmla="*/ 285180 w 1110409"/>
                <a:gd name="connsiteY2184" fmla="*/ 431900 h 693846"/>
                <a:gd name="connsiteX2185" fmla="*/ 285180 w 1110409"/>
                <a:gd name="connsiteY2185" fmla="*/ 433382 h 693846"/>
                <a:gd name="connsiteX2186" fmla="*/ 287752 w 1110409"/>
                <a:gd name="connsiteY2186" fmla="*/ 433049 h 693846"/>
                <a:gd name="connsiteX2187" fmla="*/ 294165 w 1110409"/>
                <a:gd name="connsiteY2187" fmla="*/ 427483 h 693846"/>
                <a:gd name="connsiteX2188" fmla="*/ 296646 w 1110409"/>
                <a:gd name="connsiteY2188" fmla="*/ 427392 h 693846"/>
                <a:gd name="connsiteX2189" fmla="*/ 304481 w 1110409"/>
                <a:gd name="connsiteY2189" fmla="*/ 428935 h 693846"/>
                <a:gd name="connsiteX2190" fmla="*/ 304481 w 1110409"/>
                <a:gd name="connsiteY2190" fmla="*/ 430538 h 693846"/>
                <a:gd name="connsiteX2191" fmla="*/ 296525 w 1110409"/>
                <a:gd name="connsiteY2191" fmla="*/ 429328 h 693846"/>
                <a:gd name="connsiteX2192" fmla="*/ 294861 w 1110409"/>
                <a:gd name="connsiteY2192" fmla="*/ 429752 h 693846"/>
                <a:gd name="connsiteX2193" fmla="*/ 293015 w 1110409"/>
                <a:gd name="connsiteY2193" fmla="*/ 431567 h 693846"/>
                <a:gd name="connsiteX2194" fmla="*/ 287268 w 1110409"/>
                <a:gd name="connsiteY2194" fmla="*/ 434834 h 693846"/>
                <a:gd name="connsiteX2195" fmla="*/ 287268 w 1110409"/>
                <a:gd name="connsiteY2195" fmla="*/ 436468 h 693846"/>
                <a:gd name="connsiteX2196" fmla="*/ 297644 w 1110409"/>
                <a:gd name="connsiteY2196" fmla="*/ 436468 h 693846"/>
                <a:gd name="connsiteX2197" fmla="*/ 297644 w 1110409"/>
                <a:gd name="connsiteY2197" fmla="*/ 437799 h 693846"/>
                <a:gd name="connsiteX2198" fmla="*/ 293530 w 1110409"/>
                <a:gd name="connsiteY2198" fmla="*/ 439402 h 693846"/>
                <a:gd name="connsiteX2199" fmla="*/ 295375 w 1110409"/>
                <a:gd name="connsiteY2199" fmla="*/ 440461 h 693846"/>
                <a:gd name="connsiteX2200" fmla="*/ 297583 w 1110409"/>
                <a:gd name="connsiteY2200" fmla="*/ 443788 h 693846"/>
                <a:gd name="connsiteX2201" fmla="*/ 299035 w 1110409"/>
                <a:gd name="connsiteY2201" fmla="*/ 445271 h 693846"/>
                <a:gd name="connsiteX2202" fmla="*/ 300790 w 1110409"/>
                <a:gd name="connsiteY2202" fmla="*/ 445725 h 693846"/>
                <a:gd name="connsiteX2203" fmla="*/ 304299 w 1110409"/>
                <a:gd name="connsiteY2203" fmla="*/ 445392 h 693846"/>
                <a:gd name="connsiteX2204" fmla="*/ 305963 w 1110409"/>
                <a:gd name="connsiteY2204" fmla="*/ 446602 h 693846"/>
                <a:gd name="connsiteX2205" fmla="*/ 297583 w 1110409"/>
                <a:gd name="connsiteY2205" fmla="*/ 446118 h 693846"/>
                <a:gd name="connsiteX2206" fmla="*/ 296283 w 1110409"/>
                <a:gd name="connsiteY2206" fmla="*/ 444545 h 693846"/>
                <a:gd name="connsiteX2207" fmla="*/ 295012 w 1110409"/>
                <a:gd name="connsiteY2207" fmla="*/ 442336 h 693846"/>
                <a:gd name="connsiteX2208" fmla="*/ 292410 w 1110409"/>
                <a:gd name="connsiteY2208" fmla="*/ 442276 h 693846"/>
                <a:gd name="connsiteX2209" fmla="*/ 290384 w 1110409"/>
                <a:gd name="connsiteY2209" fmla="*/ 441641 h 693846"/>
                <a:gd name="connsiteX2210" fmla="*/ 290777 w 1110409"/>
                <a:gd name="connsiteY2210" fmla="*/ 437768 h 693846"/>
                <a:gd name="connsiteX2211" fmla="*/ 286572 w 1110409"/>
                <a:gd name="connsiteY2211" fmla="*/ 437496 h 693846"/>
                <a:gd name="connsiteX2212" fmla="*/ 285241 w 1110409"/>
                <a:gd name="connsiteY2212" fmla="*/ 437768 h 693846"/>
                <a:gd name="connsiteX2213" fmla="*/ 284273 w 1110409"/>
                <a:gd name="connsiteY2213" fmla="*/ 438494 h 693846"/>
                <a:gd name="connsiteX2214" fmla="*/ 282639 w 1110409"/>
                <a:gd name="connsiteY2214" fmla="*/ 440340 h 693846"/>
                <a:gd name="connsiteX2215" fmla="*/ 279251 w 1110409"/>
                <a:gd name="connsiteY2215" fmla="*/ 441731 h 693846"/>
                <a:gd name="connsiteX2216" fmla="*/ 275409 w 1110409"/>
                <a:gd name="connsiteY2216" fmla="*/ 446602 h 693846"/>
                <a:gd name="connsiteX2217" fmla="*/ 273564 w 1110409"/>
                <a:gd name="connsiteY2217" fmla="*/ 448205 h 693846"/>
                <a:gd name="connsiteX2218" fmla="*/ 273564 w 1110409"/>
                <a:gd name="connsiteY2218" fmla="*/ 449536 h 693846"/>
                <a:gd name="connsiteX2219" fmla="*/ 274986 w 1110409"/>
                <a:gd name="connsiteY2219" fmla="*/ 449294 h 693846"/>
                <a:gd name="connsiteX2220" fmla="*/ 276256 w 1110409"/>
                <a:gd name="connsiteY2220" fmla="*/ 449627 h 693846"/>
                <a:gd name="connsiteX2221" fmla="*/ 277224 w 1110409"/>
                <a:gd name="connsiteY2221" fmla="*/ 450716 h 693846"/>
                <a:gd name="connsiteX2222" fmla="*/ 277708 w 1110409"/>
                <a:gd name="connsiteY2222" fmla="*/ 452622 h 693846"/>
                <a:gd name="connsiteX2223" fmla="*/ 271749 w 1110409"/>
                <a:gd name="connsiteY2223" fmla="*/ 453166 h 693846"/>
                <a:gd name="connsiteX2224" fmla="*/ 260404 w 1110409"/>
                <a:gd name="connsiteY2224" fmla="*/ 458551 h 693846"/>
                <a:gd name="connsiteX2225" fmla="*/ 257863 w 1110409"/>
                <a:gd name="connsiteY2225" fmla="*/ 460729 h 693846"/>
                <a:gd name="connsiteX2226" fmla="*/ 257742 w 1110409"/>
                <a:gd name="connsiteY2226" fmla="*/ 462998 h 693846"/>
                <a:gd name="connsiteX2227" fmla="*/ 256441 w 1110409"/>
                <a:gd name="connsiteY2227" fmla="*/ 465963 h 693846"/>
                <a:gd name="connsiteX2228" fmla="*/ 255897 w 1110409"/>
                <a:gd name="connsiteY2228" fmla="*/ 467687 h 693846"/>
                <a:gd name="connsiteX2229" fmla="*/ 255383 w 1110409"/>
                <a:gd name="connsiteY2229" fmla="*/ 471408 h 693846"/>
                <a:gd name="connsiteX2230" fmla="*/ 254687 w 1110409"/>
                <a:gd name="connsiteY2230" fmla="*/ 471317 h 693846"/>
                <a:gd name="connsiteX2231" fmla="*/ 253870 w 1110409"/>
                <a:gd name="connsiteY2231" fmla="*/ 470682 h 693846"/>
                <a:gd name="connsiteX2232" fmla="*/ 253205 w 1110409"/>
                <a:gd name="connsiteY2232" fmla="*/ 470954 h 693846"/>
                <a:gd name="connsiteX2233" fmla="*/ 252448 w 1110409"/>
                <a:gd name="connsiteY2233" fmla="*/ 474252 h 693846"/>
                <a:gd name="connsiteX2234" fmla="*/ 252388 w 1110409"/>
                <a:gd name="connsiteY2234" fmla="*/ 477277 h 693846"/>
                <a:gd name="connsiteX2235" fmla="*/ 252176 w 1110409"/>
                <a:gd name="connsiteY2235" fmla="*/ 479848 h 693846"/>
                <a:gd name="connsiteX2236" fmla="*/ 250815 w 1110409"/>
                <a:gd name="connsiteY2236" fmla="*/ 481845 h 693846"/>
                <a:gd name="connsiteX2237" fmla="*/ 252690 w 1110409"/>
                <a:gd name="connsiteY2237" fmla="*/ 485475 h 693846"/>
                <a:gd name="connsiteX2238" fmla="*/ 254233 w 1110409"/>
                <a:gd name="connsiteY2238" fmla="*/ 486625 h 693846"/>
                <a:gd name="connsiteX2239" fmla="*/ 255806 w 1110409"/>
                <a:gd name="connsiteY2239" fmla="*/ 486140 h 693846"/>
                <a:gd name="connsiteX2240" fmla="*/ 257742 w 1110409"/>
                <a:gd name="connsiteY2240" fmla="*/ 484900 h 693846"/>
                <a:gd name="connsiteX2241" fmla="*/ 260525 w 1110409"/>
                <a:gd name="connsiteY2241" fmla="*/ 483993 h 693846"/>
                <a:gd name="connsiteX2242" fmla="*/ 269480 w 1110409"/>
                <a:gd name="connsiteY2242" fmla="*/ 484900 h 693846"/>
                <a:gd name="connsiteX2243" fmla="*/ 267544 w 1110409"/>
                <a:gd name="connsiteY2243" fmla="*/ 486110 h 693846"/>
                <a:gd name="connsiteX2244" fmla="*/ 263097 w 1110409"/>
                <a:gd name="connsiteY2244" fmla="*/ 487441 h 693846"/>
                <a:gd name="connsiteX2245" fmla="*/ 261251 w 1110409"/>
                <a:gd name="connsiteY2245" fmla="*/ 489287 h 693846"/>
                <a:gd name="connsiteX2246" fmla="*/ 259073 w 1110409"/>
                <a:gd name="connsiteY2246" fmla="*/ 488046 h 693846"/>
                <a:gd name="connsiteX2247" fmla="*/ 256925 w 1110409"/>
                <a:gd name="connsiteY2247" fmla="*/ 489287 h 693846"/>
                <a:gd name="connsiteX2248" fmla="*/ 253568 w 1110409"/>
                <a:gd name="connsiteY2248" fmla="*/ 493673 h 693846"/>
                <a:gd name="connsiteX2249" fmla="*/ 249544 w 1110409"/>
                <a:gd name="connsiteY2249" fmla="*/ 497182 h 693846"/>
                <a:gd name="connsiteX2250" fmla="*/ 245309 w 1110409"/>
                <a:gd name="connsiteY2250" fmla="*/ 499512 h 693846"/>
                <a:gd name="connsiteX2251" fmla="*/ 245309 w 1110409"/>
                <a:gd name="connsiteY2251" fmla="*/ 501085 h 693846"/>
                <a:gd name="connsiteX2252" fmla="*/ 254354 w 1110409"/>
                <a:gd name="connsiteY2252" fmla="*/ 504261 h 693846"/>
                <a:gd name="connsiteX2253" fmla="*/ 259104 w 1110409"/>
                <a:gd name="connsiteY2253" fmla="*/ 504866 h 693846"/>
                <a:gd name="connsiteX2254" fmla="*/ 262885 w 1110409"/>
                <a:gd name="connsiteY2254" fmla="*/ 501720 h 693846"/>
                <a:gd name="connsiteX2255" fmla="*/ 264307 w 1110409"/>
                <a:gd name="connsiteY2255" fmla="*/ 500056 h 693846"/>
                <a:gd name="connsiteX2256" fmla="*/ 268875 w 1110409"/>
                <a:gd name="connsiteY2256" fmla="*/ 496971 h 693846"/>
                <a:gd name="connsiteX2257" fmla="*/ 270478 w 1110409"/>
                <a:gd name="connsiteY2257" fmla="*/ 496426 h 693846"/>
                <a:gd name="connsiteX2258" fmla="*/ 271446 w 1110409"/>
                <a:gd name="connsiteY2258" fmla="*/ 496365 h 693846"/>
                <a:gd name="connsiteX2259" fmla="*/ 273412 w 1110409"/>
                <a:gd name="connsiteY2259" fmla="*/ 495730 h 693846"/>
                <a:gd name="connsiteX2260" fmla="*/ 274260 w 1110409"/>
                <a:gd name="connsiteY2260" fmla="*/ 495095 h 693846"/>
                <a:gd name="connsiteX2261" fmla="*/ 275137 w 1110409"/>
                <a:gd name="connsiteY2261" fmla="*/ 493915 h 693846"/>
                <a:gd name="connsiteX2262" fmla="*/ 275621 w 1110409"/>
                <a:gd name="connsiteY2262" fmla="*/ 492645 h 693846"/>
                <a:gd name="connsiteX2263" fmla="*/ 275923 w 1110409"/>
                <a:gd name="connsiteY2263" fmla="*/ 491465 h 693846"/>
                <a:gd name="connsiteX2264" fmla="*/ 276317 w 1110409"/>
                <a:gd name="connsiteY2264" fmla="*/ 490587 h 693846"/>
                <a:gd name="connsiteX2265" fmla="*/ 283910 w 1110409"/>
                <a:gd name="connsiteY2265" fmla="*/ 484204 h 693846"/>
                <a:gd name="connsiteX2266" fmla="*/ 292501 w 1110409"/>
                <a:gd name="connsiteY2266" fmla="*/ 482329 h 693846"/>
                <a:gd name="connsiteX2267" fmla="*/ 310773 w 1110409"/>
                <a:gd name="connsiteY2267" fmla="*/ 483388 h 693846"/>
                <a:gd name="connsiteX2268" fmla="*/ 310138 w 1110409"/>
                <a:gd name="connsiteY2268" fmla="*/ 483388 h 693846"/>
                <a:gd name="connsiteX2269" fmla="*/ 310410 w 1110409"/>
                <a:gd name="connsiteY2269" fmla="*/ 483630 h 693846"/>
                <a:gd name="connsiteX2270" fmla="*/ 310682 w 1110409"/>
                <a:gd name="connsiteY2270" fmla="*/ 483630 h 693846"/>
                <a:gd name="connsiteX2271" fmla="*/ 310833 w 1110409"/>
                <a:gd name="connsiteY2271" fmla="*/ 483902 h 693846"/>
                <a:gd name="connsiteX2272" fmla="*/ 310773 w 1110409"/>
                <a:gd name="connsiteY2272" fmla="*/ 484870 h 693846"/>
                <a:gd name="connsiteX2273" fmla="*/ 309170 w 1110409"/>
                <a:gd name="connsiteY2273" fmla="*/ 486050 h 693846"/>
                <a:gd name="connsiteX2274" fmla="*/ 308353 w 1110409"/>
                <a:gd name="connsiteY2274" fmla="*/ 486383 h 693846"/>
                <a:gd name="connsiteX2275" fmla="*/ 307385 w 1110409"/>
                <a:gd name="connsiteY2275" fmla="*/ 486383 h 693846"/>
                <a:gd name="connsiteX2276" fmla="*/ 307385 w 1110409"/>
                <a:gd name="connsiteY2276" fmla="*/ 487683 h 693846"/>
                <a:gd name="connsiteX2277" fmla="*/ 309805 w 1110409"/>
                <a:gd name="connsiteY2277" fmla="*/ 488712 h 693846"/>
                <a:gd name="connsiteX2278" fmla="*/ 314312 w 1110409"/>
                <a:gd name="connsiteY2278" fmla="*/ 486322 h 693846"/>
                <a:gd name="connsiteX2279" fmla="*/ 313193 w 1110409"/>
                <a:gd name="connsiteY2279" fmla="*/ 487986 h 693846"/>
                <a:gd name="connsiteX2280" fmla="*/ 311499 w 1110409"/>
                <a:gd name="connsiteY2280" fmla="*/ 490557 h 693846"/>
                <a:gd name="connsiteX2281" fmla="*/ 309139 w 1110409"/>
                <a:gd name="connsiteY2281" fmla="*/ 491041 h 693846"/>
                <a:gd name="connsiteX2282" fmla="*/ 295284 w 1110409"/>
                <a:gd name="connsiteY2282" fmla="*/ 487623 h 693846"/>
                <a:gd name="connsiteX2283" fmla="*/ 292894 w 1110409"/>
                <a:gd name="connsiteY2283" fmla="*/ 487986 h 693846"/>
                <a:gd name="connsiteX2284" fmla="*/ 290686 w 1110409"/>
                <a:gd name="connsiteY2284" fmla="*/ 488954 h 693846"/>
                <a:gd name="connsiteX2285" fmla="*/ 286602 w 1110409"/>
                <a:gd name="connsiteY2285" fmla="*/ 492130 h 693846"/>
                <a:gd name="connsiteX2286" fmla="*/ 287389 w 1110409"/>
                <a:gd name="connsiteY2286" fmla="*/ 492130 h 693846"/>
                <a:gd name="connsiteX2287" fmla="*/ 288266 w 1110409"/>
                <a:gd name="connsiteY2287" fmla="*/ 492917 h 693846"/>
                <a:gd name="connsiteX2288" fmla="*/ 290263 w 1110409"/>
                <a:gd name="connsiteY2288" fmla="*/ 493734 h 693846"/>
                <a:gd name="connsiteX2289" fmla="*/ 288387 w 1110409"/>
                <a:gd name="connsiteY2289" fmla="*/ 493734 h 693846"/>
                <a:gd name="connsiteX2290" fmla="*/ 283910 w 1110409"/>
                <a:gd name="connsiteY2290" fmla="*/ 493129 h 693846"/>
                <a:gd name="connsiteX2291" fmla="*/ 281732 w 1110409"/>
                <a:gd name="connsiteY2291" fmla="*/ 493613 h 693846"/>
                <a:gd name="connsiteX2292" fmla="*/ 280007 w 1110409"/>
                <a:gd name="connsiteY2292" fmla="*/ 494581 h 693846"/>
                <a:gd name="connsiteX2293" fmla="*/ 279039 w 1110409"/>
                <a:gd name="connsiteY2293" fmla="*/ 495851 h 693846"/>
                <a:gd name="connsiteX2294" fmla="*/ 277315 w 1110409"/>
                <a:gd name="connsiteY2294" fmla="*/ 500238 h 693846"/>
                <a:gd name="connsiteX2295" fmla="*/ 275107 w 1110409"/>
                <a:gd name="connsiteY2295" fmla="*/ 503868 h 693846"/>
                <a:gd name="connsiteX2296" fmla="*/ 272081 w 1110409"/>
                <a:gd name="connsiteY2296" fmla="*/ 507044 h 693846"/>
                <a:gd name="connsiteX2297" fmla="*/ 265910 w 1110409"/>
                <a:gd name="connsiteY2297" fmla="*/ 511068 h 693846"/>
                <a:gd name="connsiteX2298" fmla="*/ 266424 w 1110409"/>
                <a:gd name="connsiteY2298" fmla="*/ 514214 h 693846"/>
                <a:gd name="connsiteX2299" fmla="*/ 265426 w 1110409"/>
                <a:gd name="connsiteY2299" fmla="*/ 515968 h 693846"/>
                <a:gd name="connsiteX2300" fmla="*/ 262492 w 1110409"/>
                <a:gd name="connsiteY2300" fmla="*/ 518328 h 693846"/>
                <a:gd name="connsiteX2301" fmla="*/ 266273 w 1110409"/>
                <a:gd name="connsiteY2301" fmla="*/ 519054 h 693846"/>
                <a:gd name="connsiteX2302" fmla="*/ 266999 w 1110409"/>
                <a:gd name="connsiteY2302" fmla="*/ 518026 h 693846"/>
                <a:gd name="connsiteX2303" fmla="*/ 267877 w 1110409"/>
                <a:gd name="connsiteY2303" fmla="*/ 517390 h 693846"/>
                <a:gd name="connsiteX2304" fmla="*/ 268814 w 1110409"/>
                <a:gd name="connsiteY2304" fmla="*/ 517088 h 693846"/>
                <a:gd name="connsiteX2305" fmla="*/ 271628 w 1110409"/>
                <a:gd name="connsiteY2305" fmla="*/ 516997 h 693846"/>
                <a:gd name="connsiteX2306" fmla="*/ 273624 w 1110409"/>
                <a:gd name="connsiteY2306" fmla="*/ 517451 h 693846"/>
                <a:gd name="connsiteX2307" fmla="*/ 274774 w 1110409"/>
                <a:gd name="connsiteY2307" fmla="*/ 519084 h 693846"/>
                <a:gd name="connsiteX2308" fmla="*/ 274139 w 1110409"/>
                <a:gd name="connsiteY2308" fmla="*/ 522715 h 693846"/>
                <a:gd name="connsiteX2309" fmla="*/ 276347 w 1110409"/>
                <a:gd name="connsiteY2309" fmla="*/ 521625 h 693846"/>
                <a:gd name="connsiteX2310" fmla="*/ 279433 w 1110409"/>
                <a:gd name="connsiteY2310" fmla="*/ 521202 h 693846"/>
                <a:gd name="connsiteX2311" fmla="*/ 282488 w 1110409"/>
                <a:gd name="connsiteY2311" fmla="*/ 521535 h 693846"/>
                <a:gd name="connsiteX2312" fmla="*/ 284515 w 1110409"/>
                <a:gd name="connsiteY2312" fmla="*/ 522715 h 693846"/>
                <a:gd name="connsiteX2313" fmla="*/ 281338 w 1110409"/>
                <a:gd name="connsiteY2313" fmla="*/ 524197 h 693846"/>
                <a:gd name="connsiteX2314" fmla="*/ 279705 w 1110409"/>
                <a:gd name="connsiteY2314" fmla="*/ 525467 h 693846"/>
                <a:gd name="connsiteX2315" fmla="*/ 279009 w 1110409"/>
                <a:gd name="connsiteY2315" fmla="*/ 528009 h 693846"/>
                <a:gd name="connsiteX2316" fmla="*/ 279826 w 1110409"/>
                <a:gd name="connsiteY2316" fmla="*/ 529430 h 693846"/>
                <a:gd name="connsiteX2317" fmla="*/ 281701 w 1110409"/>
                <a:gd name="connsiteY2317" fmla="*/ 529219 h 693846"/>
                <a:gd name="connsiteX2318" fmla="*/ 285180 w 1110409"/>
                <a:gd name="connsiteY2318" fmla="*/ 527373 h 693846"/>
                <a:gd name="connsiteX2319" fmla="*/ 283063 w 1110409"/>
                <a:gd name="connsiteY2319" fmla="*/ 531639 h 693846"/>
                <a:gd name="connsiteX2320" fmla="*/ 281036 w 1110409"/>
                <a:gd name="connsiteY2320" fmla="*/ 531639 h 693846"/>
                <a:gd name="connsiteX2321" fmla="*/ 279675 w 1110409"/>
                <a:gd name="connsiteY2321" fmla="*/ 531699 h 693846"/>
                <a:gd name="connsiteX2322" fmla="*/ 276105 w 1110409"/>
                <a:gd name="connsiteY2322" fmla="*/ 530671 h 693846"/>
                <a:gd name="connsiteX2323" fmla="*/ 273503 w 1110409"/>
                <a:gd name="connsiteY2323" fmla="*/ 531578 h 693846"/>
                <a:gd name="connsiteX2324" fmla="*/ 275560 w 1110409"/>
                <a:gd name="connsiteY2324" fmla="*/ 533030 h 693846"/>
                <a:gd name="connsiteX2325" fmla="*/ 274683 w 1110409"/>
                <a:gd name="connsiteY2325" fmla="*/ 533605 h 693846"/>
                <a:gd name="connsiteX2326" fmla="*/ 273927 w 1110409"/>
                <a:gd name="connsiteY2326" fmla="*/ 534301 h 693846"/>
                <a:gd name="connsiteX2327" fmla="*/ 272717 w 1110409"/>
                <a:gd name="connsiteY2327" fmla="*/ 535934 h 693846"/>
                <a:gd name="connsiteX2328" fmla="*/ 273655 w 1110409"/>
                <a:gd name="connsiteY2328" fmla="*/ 536933 h 693846"/>
                <a:gd name="connsiteX2329" fmla="*/ 274653 w 1110409"/>
                <a:gd name="connsiteY2329" fmla="*/ 537447 h 693846"/>
                <a:gd name="connsiteX2330" fmla="*/ 275742 w 1110409"/>
                <a:gd name="connsiteY2330" fmla="*/ 537568 h 693846"/>
                <a:gd name="connsiteX2331" fmla="*/ 276891 w 1110409"/>
                <a:gd name="connsiteY2331" fmla="*/ 537386 h 693846"/>
                <a:gd name="connsiteX2332" fmla="*/ 275379 w 1110409"/>
                <a:gd name="connsiteY2332" fmla="*/ 538899 h 693846"/>
                <a:gd name="connsiteX2333" fmla="*/ 273775 w 1110409"/>
                <a:gd name="connsiteY2333" fmla="*/ 539050 h 693846"/>
                <a:gd name="connsiteX2334" fmla="*/ 270660 w 1110409"/>
                <a:gd name="connsiteY2334" fmla="*/ 537417 h 693846"/>
                <a:gd name="connsiteX2335" fmla="*/ 270085 w 1110409"/>
                <a:gd name="connsiteY2335" fmla="*/ 536691 h 693846"/>
                <a:gd name="connsiteX2336" fmla="*/ 269571 w 1110409"/>
                <a:gd name="connsiteY2336" fmla="*/ 535723 h 693846"/>
                <a:gd name="connsiteX2337" fmla="*/ 268845 w 1110409"/>
                <a:gd name="connsiteY2337" fmla="*/ 534876 h 693846"/>
                <a:gd name="connsiteX2338" fmla="*/ 253719 w 1110409"/>
                <a:gd name="connsiteY2338" fmla="*/ 532335 h 693846"/>
                <a:gd name="connsiteX2339" fmla="*/ 250694 w 1110409"/>
                <a:gd name="connsiteY2339" fmla="*/ 534513 h 693846"/>
                <a:gd name="connsiteX2340" fmla="*/ 254173 w 1110409"/>
                <a:gd name="connsiteY2340" fmla="*/ 534724 h 693846"/>
                <a:gd name="connsiteX2341" fmla="*/ 257561 w 1110409"/>
                <a:gd name="connsiteY2341" fmla="*/ 536388 h 693846"/>
                <a:gd name="connsiteX2342" fmla="*/ 263823 w 1110409"/>
                <a:gd name="connsiteY2342" fmla="*/ 541743 h 693846"/>
                <a:gd name="connsiteX2343" fmla="*/ 263218 w 1110409"/>
                <a:gd name="connsiteY2343" fmla="*/ 542015 h 693846"/>
                <a:gd name="connsiteX2344" fmla="*/ 261796 w 1110409"/>
                <a:gd name="connsiteY2344" fmla="*/ 543164 h 693846"/>
                <a:gd name="connsiteX2345" fmla="*/ 263853 w 1110409"/>
                <a:gd name="connsiteY2345" fmla="*/ 543164 h 693846"/>
                <a:gd name="connsiteX2346" fmla="*/ 263853 w 1110409"/>
                <a:gd name="connsiteY2346" fmla="*/ 544768 h 693846"/>
                <a:gd name="connsiteX2347" fmla="*/ 262159 w 1110409"/>
                <a:gd name="connsiteY2347" fmla="*/ 545524 h 693846"/>
                <a:gd name="connsiteX2348" fmla="*/ 260162 w 1110409"/>
                <a:gd name="connsiteY2348" fmla="*/ 545887 h 693846"/>
                <a:gd name="connsiteX2349" fmla="*/ 258136 w 1110409"/>
                <a:gd name="connsiteY2349" fmla="*/ 545645 h 693846"/>
                <a:gd name="connsiteX2350" fmla="*/ 256320 w 1110409"/>
                <a:gd name="connsiteY2350" fmla="*/ 544768 h 693846"/>
                <a:gd name="connsiteX2351" fmla="*/ 258226 w 1110409"/>
                <a:gd name="connsiteY2351" fmla="*/ 543407 h 693846"/>
                <a:gd name="connsiteX2352" fmla="*/ 259013 w 1110409"/>
                <a:gd name="connsiteY2352" fmla="*/ 543164 h 693846"/>
                <a:gd name="connsiteX2353" fmla="*/ 257107 w 1110409"/>
                <a:gd name="connsiteY2353" fmla="*/ 542196 h 693846"/>
                <a:gd name="connsiteX2354" fmla="*/ 254324 w 1110409"/>
                <a:gd name="connsiteY2354" fmla="*/ 542438 h 693846"/>
                <a:gd name="connsiteX2355" fmla="*/ 251843 w 1110409"/>
                <a:gd name="connsiteY2355" fmla="*/ 544102 h 693846"/>
                <a:gd name="connsiteX2356" fmla="*/ 250784 w 1110409"/>
                <a:gd name="connsiteY2356" fmla="*/ 547521 h 693846"/>
                <a:gd name="connsiteX2357" fmla="*/ 252448 w 1110409"/>
                <a:gd name="connsiteY2357" fmla="*/ 546583 h 693846"/>
                <a:gd name="connsiteX2358" fmla="*/ 254868 w 1110409"/>
                <a:gd name="connsiteY2358" fmla="*/ 547279 h 693846"/>
                <a:gd name="connsiteX2359" fmla="*/ 257288 w 1110409"/>
                <a:gd name="connsiteY2359" fmla="*/ 548852 h 693846"/>
                <a:gd name="connsiteX2360" fmla="*/ 259013 w 1110409"/>
                <a:gd name="connsiteY2360" fmla="*/ 550546 h 693846"/>
                <a:gd name="connsiteX2361" fmla="*/ 259013 w 1110409"/>
                <a:gd name="connsiteY2361" fmla="*/ 551847 h 693846"/>
                <a:gd name="connsiteX2362" fmla="*/ 258408 w 1110409"/>
                <a:gd name="connsiteY2362" fmla="*/ 552815 h 693846"/>
                <a:gd name="connsiteX2363" fmla="*/ 257833 w 1110409"/>
                <a:gd name="connsiteY2363" fmla="*/ 553268 h 693846"/>
                <a:gd name="connsiteX2364" fmla="*/ 257167 w 1110409"/>
                <a:gd name="connsiteY2364" fmla="*/ 553026 h 693846"/>
                <a:gd name="connsiteX2365" fmla="*/ 256320 w 1110409"/>
                <a:gd name="connsiteY2365" fmla="*/ 551816 h 693846"/>
                <a:gd name="connsiteX2366" fmla="*/ 253961 w 1110409"/>
                <a:gd name="connsiteY2366" fmla="*/ 555386 h 693846"/>
                <a:gd name="connsiteX2367" fmla="*/ 251238 w 1110409"/>
                <a:gd name="connsiteY2367" fmla="*/ 557110 h 693846"/>
                <a:gd name="connsiteX2368" fmla="*/ 242828 w 1110409"/>
                <a:gd name="connsiteY2368" fmla="*/ 558623 h 693846"/>
                <a:gd name="connsiteX2369" fmla="*/ 237928 w 1110409"/>
                <a:gd name="connsiteY2369" fmla="*/ 562586 h 693846"/>
                <a:gd name="connsiteX2370" fmla="*/ 235265 w 1110409"/>
                <a:gd name="connsiteY2370" fmla="*/ 563493 h 693846"/>
                <a:gd name="connsiteX2371" fmla="*/ 233934 w 1110409"/>
                <a:gd name="connsiteY2371" fmla="*/ 563009 h 693846"/>
                <a:gd name="connsiteX2372" fmla="*/ 231333 w 1110409"/>
                <a:gd name="connsiteY2372" fmla="*/ 560952 h 693846"/>
                <a:gd name="connsiteX2373" fmla="*/ 230092 w 1110409"/>
                <a:gd name="connsiteY2373" fmla="*/ 560499 h 693846"/>
                <a:gd name="connsiteX2374" fmla="*/ 228973 w 1110409"/>
                <a:gd name="connsiteY2374" fmla="*/ 560862 h 693846"/>
                <a:gd name="connsiteX2375" fmla="*/ 225313 w 1110409"/>
                <a:gd name="connsiteY2375" fmla="*/ 563524 h 693846"/>
                <a:gd name="connsiteX2376" fmla="*/ 220533 w 1110409"/>
                <a:gd name="connsiteY2376" fmla="*/ 564280 h 693846"/>
                <a:gd name="connsiteX2377" fmla="*/ 219051 w 1110409"/>
                <a:gd name="connsiteY2377" fmla="*/ 564946 h 693846"/>
                <a:gd name="connsiteX2378" fmla="*/ 217841 w 1110409"/>
                <a:gd name="connsiteY2378" fmla="*/ 565974 h 693846"/>
                <a:gd name="connsiteX2379" fmla="*/ 216479 w 1110409"/>
                <a:gd name="connsiteY2379" fmla="*/ 567487 h 693846"/>
                <a:gd name="connsiteX2380" fmla="*/ 215874 w 1110409"/>
                <a:gd name="connsiteY2380" fmla="*/ 569181 h 693846"/>
                <a:gd name="connsiteX2381" fmla="*/ 216994 w 1110409"/>
                <a:gd name="connsiteY2381" fmla="*/ 570724 h 693846"/>
                <a:gd name="connsiteX2382" fmla="*/ 215421 w 1110409"/>
                <a:gd name="connsiteY2382" fmla="*/ 572176 h 693846"/>
                <a:gd name="connsiteX2383" fmla="*/ 213000 w 1110409"/>
                <a:gd name="connsiteY2383" fmla="*/ 572720 h 693846"/>
                <a:gd name="connsiteX2384" fmla="*/ 203169 w 1110409"/>
                <a:gd name="connsiteY2384" fmla="*/ 572266 h 693846"/>
                <a:gd name="connsiteX2385" fmla="*/ 200718 w 1110409"/>
                <a:gd name="connsiteY2385" fmla="*/ 571571 h 693846"/>
                <a:gd name="connsiteX2386" fmla="*/ 199054 w 1110409"/>
                <a:gd name="connsiteY2386" fmla="*/ 569302 h 693846"/>
                <a:gd name="connsiteX2387" fmla="*/ 200507 w 1110409"/>
                <a:gd name="connsiteY2387" fmla="*/ 569302 h 693846"/>
                <a:gd name="connsiteX2388" fmla="*/ 199145 w 1110409"/>
                <a:gd name="connsiteY2388" fmla="*/ 563826 h 693846"/>
                <a:gd name="connsiteX2389" fmla="*/ 196665 w 1110409"/>
                <a:gd name="connsiteY2389" fmla="*/ 558714 h 693846"/>
                <a:gd name="connsiteX2390" fmla="*/ 193942 w 1110409"/>
                <a:gd name="connsiteY2390" fmla="*/ 554932 h 693846"/>
                <a:gd name="connsiteX2391" fmla="*/ 190433 w 1110409"/>
                <a:gd name="connsiteY2391" fmla="*/ 552663 h 693846"/>
                <a:gd name="connsiteX2392" fmla="*/ 187377 w 1110409"/>
                <a:gd name="connsiteY2392" fmla="*/ 549457 h 693846"/>
                <a:gd name="connsiteX2393" fmla="*/ 185925 w 1110409"/>
                <a:gd name="connsiteY2393" fmla="*/ 548973 h 693846"/>
                <a:gd name="connsiteX2394" fmla="*/ 184655 w 1110409"/>
                <a:gd name="connsiteY2394" fmla="*/ 549790 h 693846"/>
                <a:gd name="connsiteX2395" fmla="*/ 183596 w 1110409"/>
                <a:gd name="connsiteY2395" fmla="*/ 551272 h 693846"/>
                <a:gd name="connsiteX2396" fmla="*/ 182991 w 1110409"/>
                <a:gd name="connsiteY2396" fmla="*/ 553057 h 693846"/>
                <a:gd name="connsiteX2397" fmla="*/ 183112 w 1110409"/>
                <a:gd name="connsiteY2397" fmla="*/ 554751 h 693846"/>
                <a:gd name="connsiteX2398" fmla="*/ 183051 w 1110409"/>
                <a:gd name="connsiteY2398" fmla="*/ 556717 h 693846"/>
                <a:gd name="connsiteX2399" fmla="*/ 183203 w 1110409"/>
                <a:gd name="connsiteY2399" fmla="*/ 561134 h 693846"/>
                <a:gd name="connsiteX2400" fmla="*/ 183112 w 1110409"/>
                <a:gd name="connsiteY2400" fmla="*/ 563554 h 693846"/>
                <a:gd name="connsiteX2401" fmla="*/ 182719 w 1110409"/>
                <a:gd name="connsiteY2401" fmla="*/ 565278 h 693846"/>
                <a:gd name="connsiteX2402" fmla="*/ 181176 w 1110409"/>
                <a:gd name="connsiteY2402" fmla="*/ 569332 h 693846"/>
                <a:gd name="connsiteX2403" fmla="*/ 181872 w 1110409"/>
                <a:gd name="connsiteY2403" fmla="*/ 573295 h 693846"/>
                <a:gd name="connsiteX2404" fmla="*/ 183596 w 1110409"/>
                <a:gd name="connsiteY2404" fmla="*/ 575957 h 693846"/>
                <a:gd name="connsiteX2405" fmla="*/ 185714 w 1110409"/>
                <a:gd name="connsiteY2405" fmla="*/ 577470 h 693846"/>
                <a:gd name="connsiteX2406" fmla="*/ 187650 w 1110409"/>
                <a:gd name="connsiteY2406" fmla="*/ 577923 h 693846"/>
                <a:gd name="connsiteX2407" fmla="*/ 189979 w 1110409"/>
                <a:gd name="connsiteY2407" fmla="*/ 576441 h 693846"/>
                <a:gd name="connsiteX2408" fmla="*/ 191008 w 1110409"/>
                <a:gd name="connsiteY2408" fmla="*/ 576441 h 693846"/>
                <a:gd name="connsiteX2409" fmla="*/ 191431 w 1110409"/>
                <a:gd name="connsiteY2409" fmla="*/ 578619 h 693846"/>
                <a:gd name="connsiteX2410" fmla="*/ 190735 w 1110409"/>
                <a:gd name="connsiteY2410" fmla="*/ 579315 h 693846"/>
                <a:gd name="connsiteX2411" fmla="*/ 186288 w 1110409"/>
                <a:gd name="connsiteY2411" fmla="*/ 579315 h 693846"/>
                <a:gd name="connsiteX2412" fmla="*/ 185381 w 1110409"/>
                <a:gd name="connsiteY2412" fmla="*/ 581009 h 693846"/>
                <a:gd name="connsiteX2413" fmla="*/ 183354 w 1110409"/>
                <a:gd name="connsiteY2413" fmla="*/ 588693 h 693846"/>
                <a:gd name="connsiteX2414" fmla="*/ 181811 w 1110409"/>
                <a:gd name="connsiteY2414" fmla="*/ 590841 h 693846"/>
                <a:gd name="connsiteX2415" fmla="*/ 182961 w 1110409"/>
                <a:gd name="connsiteY2415" fmla="*/ 592535 h 693846"/>
                <a:gd name="connsiteX2416" fmla="*/ 184020 w 1110409"/>
                <a:gd name="connsiteY2416" fmla="*/ 593382 h 693846"/>
                <a:gd name="connsiteX2417" fmla="*/ 184867 w 1110409"/>
                <a:gd name="connsiteY2417" fmla="*/ 594410 h 693846"/>
                <a:gd name="connsiteX2418" fmla="*/ 185290 w 1110409"/>
                <a:gd name="connsiteY2418" fmla="*/ 596710 h 693846"/>
                <a:gd name="connsiteX2419" fmla="*/ 185139 w 1110409"/>
                <a:gd name="connsiteY2419" fmla="*/ 599099 h 693846"/>
                <a:gd name="connsiteX2420" fmla="*/ 184534 w 1110409"/>
                <a:gd name="connsiteY2420" fmla="*/ 600521 h 693846"/>
                <a:gd name="connsiteX2421" fmla="*/ 183747 w 1110409"/>
                <a:gd name="connsiteY2421" fmla="*/ 601883 h 693846"/>
                <a:gd name="connsiteX2422" fmla="*/ 183112 w 1110409"/>
                <a:gd name="connsiteY2422" fmla="*/ 604030 h 693846"/>
                <a:gd name="connsiteX2423" fmla="*/ 184231 w 1110409"/>
                <a:gd name="connsiteY2423" fmla="*/ 604666 h 693846"/>
                <a:gd name="connsiteX2424" fmla="*/ 185774 w 1110409"/>
                <a:gd name="connsiteY2424" fmla="*/ 607419 h 693846"/>
                <a:gd name="connsiteX2425" fmla="*/ 187014 w 1110409"/>
                <a:gd name="connsiteY2425" fmla="*/ 608054 h 693846"/>
                <a:gd name="connsiteX2426" fmla="*/ 187801 w 1110409"/>
                <a:gd name="connsiteY2426" fmla="*/ 607661 h 693846"/>
                <a:gd name="connsiteX2427" fmla="*/ 188436 w 1110409"/>
                <a:gd name="connsiteY2427" fmla="*/ 606814 h 693846"/>
                <a:gd name="connsiteX2428" fmla="*/ 188951 w 1110409"/>
                <a:gd name="connsiteY2428" fmla="*/ 605906 h 693846"/>
                <a:gd name="connsiteX2429" fmla="*/ 189435 w 1110409"/>
                <a:gd name="connsiteY2429" fmla="*/ 605331 h 693846"/>
                <a:gd name="connsiteX2430" fmla="*/ 191673 w 1110409"/>
                <a:gd name="connsiteY2430" fmla="*/ 604514 h 693846"/>
                <a:gd name="connsiteX2431" fmla="*/ 201414 w 1110409"/>
                <a:gd name="connsiteY2431" fmla="*/ 605543 h 693846"/>
                <a:gd name="connsiteX2432" fmla="*/ 202503 w 1110409"/>
                <a:gd name="connsiteY2432" fmla="*/ 605331 h 693846"/>
                <a:gd name="connsiteX2433" fmla="*/ 203653 w 1110409"/>
                <a:gd name="connsiteY2433" fmla="*/ 604605 h 693846"/>
                <a:gd name="connsiteX2434" fmla="*/ 205559 w 1110409"/>
                <a:gd name="connsiteY2434" fmla="*/ 602820 h 693846"/>
                <a:gd name="connsiteX2435" fmla="*/ 208765 w 1110409"/>
                <a:gd name="connsiteY2435" fmla="*/ 601883 h 693846"/>
                <a:gd name="connsiteX2436" fmla="*/ 212547 w 1110409"/>
                <a:gd name="connsiteY2436" fmla="*/ 599614 h 693846"/>
                <a:gd name="connsiteX2437" fmla="*/ 214936 w 1110409"/>
                <a:gd name="connsiteY2437" fmla="*/ 599614 h 693846"/>
                <a:gd name="connsiteX2438" fmla="*/ 213484 w 1110409"/>
                <a:gd name="connsiteY2438" fmla="*/ 601035 h 693846"/>
                <a:gd name="connsiteX2439" fmla="*/ 215632 w 1110409"/>
                <a:gd name="connsiteY2439" fmla="*/ 602457 h 693846"/>
                <a:gd name="connsiteX2440" fmla="*/ 217508 w 1110409"/>
                <a:gd name="connsiteY2440" fmla="*/ 600733 h 693846"/>
                <a:gd name="connsiteX2441" fmla="*/ 219353 w 1110409"/>
                <a:gd name="connsiteY2441" fmla="*/ 598101 h 693846"/>
                <a:gd name="connsiteX2442" fmla="*/ 221471 w 1110409"/>
                <a:gd name="connsiteY2442" fmla="*/ 596710 h 693846"/>
                <a:gd name="connsiteX2443" fmla="*/ 248697 w 1110409"/>
                <a:gd name="connsiteY2443" fmla="*/ 602457 h 693846"/>
                <a:gd name="connsiteX2444" fmla="*/ 253870 w 1110409"/>
                <a:gd name="connsiteY2444" fmla="*/ 600914 h 693846"/>
                <a:gd name="connsiteX2445" fmla="*/ 255292 w 1110409"/>
                <a:gd name="connsiteY2445" fmla="*/ 601005 h 693846"/>
                <a:gd name="connsiteX2446" fmla="*/ 259406 w 1110409"/>
                <a:gd name="connsiteY2446" fmla="*/ 600794 h 693846"/>
                <a:gd name="connsiteX2447" fmla="*/ 276135 w 1110409"/>
                <a:gd name="connsiteY2447" fmla="*/ 595167 h 693846"/>
                <a:gd name="connsiteX2448" fmla="*/ 279463 w 1110409"/>
                <a:gd name="connsiteY2448" fmla="*/ 595620 h 693846"/>
                <a:gd name="connsiteX2449" fmla="*/ 282579 w 1110409"/>
                <a:gd name="connsiteY2449" fmla="*/ 597678 h 693846"/>
                <a:gd name="connsiteX2450" fmla="*/ 285967 w 1110409"/>
                <a:gd name="connsiteY2450" fmla="*/ 601005 h 693846"/>
                <a:gd name="connsiteX2451" fmla="*/ 289537 w 1110409"/>
                <a:gd name="connsiteY2451" fmla="*/ 603274 h 693846"/>
                <a:gd name="connsiteX2452" fmla="*/ 319032 w 1110409"/>
                <a:gd name="connsiteY2452" fmla="*/ 599553 h 693846"/>
                <a:gd name="connsiteX2453" fmla="*/ 319425 w 1110409"/>
                <a:gd name="connsiteY2453" fmla="*/ 599069 h 693846"/>
                <a:gd name="connsiteX2454" fmla="*/ 319697 w 1110409"/>
                <a:gd name="connsiteY2454" fmla="*/ 598555 h 693846"/>
                <a:gd name="connsiteX2455" fmla="*/ 320000 w 1110409"/>
                <a:gd name="connsiteY2455" fmla="*/ 598162 h 693846"/>
                <a:gd name="connsiteX2456" fmla="*/ 320484 w 1110409"/>
                <a:gd name="connsiteY2456" fmla="*/ 598101 h 693846"/>
                <a:gd name="connsiteX2457" fmla="*/ 319153 w 1110409"/>
                <a:gd name="connsiteY2457" fmla="*/ 594441 h 693846"/>
                <a:gd name="connsiteX2458" fmla="*/ 320786 w 1110409"/>
                <a:gd name="connsiteY2458" fmla="*/ 592263 h 693846"/>
                <a:gd name="connsiteX2459" fmla="*/ 323630 w 1110409"/>
                <a:gd name="connsiteY2459" fmla="*/ 591173 h 693846"/>
                <a:gd name="connsiteX2460" fmla="*/ 328289 w 1110409"/>
                <a:gd name="connsiteY2460" fmla="*/ 590659 h 693846"/>
                <a:gd name="connsiteX2461" fmla="*/ 332826 w 1110409"/>
                <a:gd name="connsiteY2461" fmla="*/ 591295 h 693846"/>
                <a:gd name="connsiteX2462" fmla="*/ 334914 w 1110409"/>
                <a:gd name="connsiteY2462" fmla="*/ 592353 h 693846"/>
                <a:gd name="connsiteX2463" fmla="*/ 333643 w 1110409"/>
                <a:gd name="connsiteY2463" fmla="*/ 589147 h 693846"/>
                <a:gd name="connsiteX2464" fmla="*/ 331042 w 1110409"/>
                <a:gd name="connsiteY2464" fmla="*/ 587150 h 693846"/>
                <a:gd name="connsiteX2465" fmla="*/ 325929 w 1110409"/>
                <a:gd name="connsiteY2465" fmla="*/ 585032 h 693846"/>
                <a:gd name="connsiteX2466" fmla="*/ 325929 w 1110409"/>
                <a:gd name="connsiteY2466" fmla="*/ 583732 h 693846"/>
                <a:gd name="connsiteX2467" fmla="*/ 327048 w 1110409"/>
                <a:gd name="connsiteY2467" fmla="*/ 582975 h 693846"/>
                <a:gd name="connsiteX2468" fmla="*/ 330194 w 1110409"/>
                <a:gd name="connsiteY2468" fmla="*/ 579859 h 693846"/>
                <a:gd name="connsiteX2469" fmla="*/ 331102 w 1110409"/>
                <a:gd name="connsiteY2469" fmla="*/ 578559 h 693846"/>
                <a:gd name="connsiteX2470" fmla="*/ 332161 w 1110409"/>
                <a:gd name="connsiteY2470" fmla="*/ 577681 h 693846"/>
                <a:gd name="connsiteX2471" fmla="*/ 337334 w 1110409"/>
                <a:gd name="connsiteY2471" fmla="*/ 576411 h 693846"/>
                <a:gd name="connsiteX2472" fmla="*/ 339088 w 1110409"/>
                <a:gd name="connsiteY2472" fmla="*/ 576774 h 693846"/>
                <a:gd name="connsiteX2473" fmla="*/ 343868 w 1110409"/>
                <a:gd name="connsiteY2473" fmla="*/ 579315 h 693846"/>
                <a:gd name="connsiteX2474" fmla="*/ 351431 w 1110409"/>
                <a:gd name="connsiteY2474" fmla="*/ 579315 h 693846"/>
                <a:gd name="connsiteX2475" fmla="*/ 348466 w 1110409"/>
                <a:gd name="connsiteY2475" fmla="*/ 581735 h 693846"/>
                <a:gd name="connsiteX2476" fmla="*/ 344140 w 1110409"/>
                <a:gd name="connsiteY2476" fmla="*/ 582673 h 693846"/>
                <a:gd name="connsiteX2477" fmla="*/ 336305 w 1110409"/>
                <a:gd name="connsiteY2477" fmla="*/ 582219 h 693846"/>
                <a:gd name="connsiteX2478" fmla="*/ 337364 w 1110409"/>
                <a:gd name="connsiteY2478" fmla="*/ 587120 h 693846"/>
                <a:gd name="connsiteX2479" fmla="*/ 337515 w 1110409"/>
                <a:gd name="connsiteY2479" fmla="*/ 589207 h 693846"/>
                <a:gd name="connsiteX2480" fmla="*/ 336940 w 1110409"/>
                <a:gd name="connsiteY2480" fmla="*/ 590841 h 693846"/>
                <a:gd name="connsiteX2481" fmla="*/ 338998 w 1110409"/>
                <a:gd name="connsiteY2481" fmla="*/ 594108 h 693846"/>
                <a:gd name="connsiteX2482" fmla="*/ 341418 w 1110409"/>
                <a:gd name="connsiteY2482" fmla="*/ 595802 h 693846"/>
                <a:gd name="connsiteX2483" fmla="*/ 343838 w 1110409"/>
                <a:gd name="connsiteY2483" fmla="*/ 596861 h 693846"/>
                <a:gd name="connsiteX2484" fmla="*/ 348194 w 1110409"/>
                <a:gd name="connsiteY2484" fmla="*/ 599795 h 693846"/>
                <a:gd name="connsiteX2485" fmla="*/ 361081 w 1110409"/>
                <a:gd name="connsiteY2485" fmla="*/ 604242 h 693846"/>
                <a:gd name="connsiteX2486" fmla="*/ 370157 w 1110409"/>
                <a:gd name="connsiteY2486" fmla="*/ 609839 h 693846"/>
                <a:gd name="connsiteX2487" fmla="*/ 374210 w 1110409"/>
                <a:gd name="connsiteY2487" fmla="*/ 613862 h 693846"/>
                <a:gd name="connsiteX2488" fmla="*/ 373847 w 1110409"/>
                <a:gd name="connsiteY2488" fmla="*/ 613015 h 693846"/>
                <a:gd name="connsiteX2489" fmla="*/ 372758 w 1110409"/>
                <a:gd name="connsiteY2489" fmla="*/ 609597 h 693846"/>
                <a:gd name="connsiteX2490" fmla="*/ 375481 w 1110409"/>
                <a:gd name="connsiteY2490" fmla="*/ 611049 h 693846"/>
                <a:gd name="connsiteX2491" fmla="*/ 378203 w 1110409"/>
                <a:gd name="connsiteY2491" fmla="*/ 610474 h 693846"/>
                <a:gd name="connsiteX2492" fmla="*/ 380624 w 1110409"/>
                <a:gd name="connsiteY2492" fmla="*/ 608750 h 693846"/>
                <a:gd name="connsiteX2493" fmla="*/ 384375 w 1110409"/>
                <a:gd name="connsiteY2493" fmla="*/ 604061 h 693846"/>
                <a:gd name="connsiteX2494" fmla="*/ 386281 w 1110409"/>
                <a:gd name="connsiteY2494" fmla="*/ 600672 h 693846"/>
                <a:gd name="connsiteX2495" fmla="*/ 386583 w 1110409"/>
                <a:gd name="connsiteY2495" fmla="*/ 597768 h 693846"/>
                <a:gd name="connsiteX2496" fmla="*/ 383770 w 1110409"/>
                <a:gd name="connsiteY2496" fmla="*/ 596679 h 693846"/>
                <a:gd name="connsiteX2497" fmla="*/ 383770 w 1110409"/>
                <a:gd name="connsiteY2497" fmla="*/ 595378 h 693846"/>
                <a:gd name="connsiteX2498" fmla="*/ 387551 w 1110409"/>
                <a:gd name="connsiteY2498" fmla="*/ 596619 h 693846"/>
                <a:gd name="connsiteX2499" fmla="*/ 388943 w 1110409"/>
                <a:gd name="connsiteY2499" fmla="*/ 602034 h 693846"/>
                <a:gd name="connsiteX2500" fmla="*/ 387944 w 1110409"/>
                <a:gd name="connsiteY2500" fmla="*/ 608387 h 693846"/>
                <a:gd name="connsiteX2501" fmla="*/ 384526 w 1110409"/>
                <a:gd name="connsiteY2501" fmla="*/ 612561 h 693846"/>
                <a:gd name="connsiteX2502" fmla="*/ 384526 w 1110409"/>
                <a:gd name="connsiteY2502" fmla="*/ 613862 h 693846"/>
                <a:gd name="connsiteX2503" fmla="*/ 387067 w 1110409"/>
                <a:gd name="connsiteY2503" fmla="*/ 614225 h 693846"/>
                <a:gd name="connsiteX2504" fmla="*/ 394207 w 1110409"/>
                <a:gd name="connsiteY2504" fmla="*/ 612531 h 693846"/>
                <a:gd name="connsiteX2505" fmla="*/ 394207 w 1110409"/>
                <a:gd name="connsiteY2505" fmla="*/ 613832 h 693846"/>
                <a:gd name="connsiteX2506" fmla="*/ 393843 w 1110409"/>
                <a:gd name="connsiteY2506" fmla="*/ 613832 h 693846"/>
                <a:gd name="connsiteX2507" fmla="*/ 393117 w 1110409"/>
                <a:gd name="connsiteY2507" fmla="*/ 613771 h 693846"/>
                <a:gd name="connsiteX2508" fmla="*/ 392754 w 1110409"/>
                <a:gd name="connsiteY2508" fmla="*/ 613832 h 693846"/>
                <a:gd name="connsiteX2509" fmla="*/ 392754 w 1110409"/>
                <a:gd name="connsiteY2509" fmla="*/ 615254 h 693846"/>
                <a:gd name="connsiteX2510" fmla="*/ 395568 w 1110409"/>
                <a:gd name="connsiteY2510" fmla="*/ 615254 h 693846"/>
                <a:gd name="connsiteX2511" fmla="*/ 395568 w 1110409"/>
                <a:gd name="connsiteY2511" fmla="*/ 616676 h 693846"/>
                <a:gd name="connsiteX2512" fmla="*/ 392240 w 1110409"/>
                <a:gd name="connsiteY2512" fmla="*/ 616494 h 693846"/>
                <a:gd name="connsiteX2513" fmla="*/ 390909 w 1110409"/>
                <a:gd name="connsiteY2513" fmla="*/ 616887 h 693846"/>
                <a:gd name="connsiteX2514" fmla="*/ 390697 w 1110409"/>
                <a:gd name="connsiteY2514" fmla="*/ 618097 h 693846"/>
                <a:gd name="connsiteX2515" fmla="*/ 389185 w 1110409"/>
                <a:gd name="connsiteY2515" fmla="*/ 617946 h 693846"/>
                <a:gd name="connsiteX2516" fmla="*/ 386765 w 1110409"/>
                <a:gd name="connsiteY2516" fmla="*/ 615798 h 693846"/>
                <a:gd name="connsiteX2517" fmla="*/ 385585 w 1110409"/>
                <a:gd name="connsiteY2517" fmla="*/ 615254 h 693846"/>
                <a:gd name="connsiteX2518" fmla="*/ 379020 w 1110409"/>
                <a:gd name="connsiteY2518" fmla="*/ 615254 h 693846"/>
                <a:gd name="connsiteX2519" fmla="*/ 386069 w 1110409"/>
                <a:gd name="connsiteY2519" fmla="*/ 620427 h 693846"/>
                <a:gd name="connsiteX2520" fmla="*/ 389457 w 1110409"/>
                <a:gd name="connsiteY2520" fmla="*/ 621848 h 693846"/>
                <a:gd name="connsiteX2521" fmla="*/ 393904 w 1110409"/>
                <a:gd name="connsiteY2521" fmla="*/ 625418 h 693846"/>
                <a:gd name="connsiteX2522" fmla="*/ 398442 w 1110409"/>
                <a:gd name="connsiteY2522" fmla="*/ 627838 h 693846"/>
                <a:gd name="connsiteX2523" fmla="*/ 398926 w 1110409"/>
                <a:gd name="connsiteY2523" fmla="*/ 627415 h 693846"/>
                <a:gd name="connsiteX2524" fmla="*/ 399682 w 1110409"/>
                <a:gd name="connsiteY2524" fmla="*/ 625388 h 693846"/>
                <a:gd name="connsiteX2525" fmla="*/ 399924 w 1110409"/>
                <a:gd name="connsiteY2525" fmla="*/ 623331 h 693846"/>
                <a:gd name="connsiteX2526" fmla="*/ 399833 w 1110409"/>
                <a:gd name="connsiteY2526" fmla="*/ 620941 h 693846"/>
                <a:gd name="connsiteX2527" fmla="*/ 399954 w 1110409"/>
                <a:gd name="connsiteY2527" fmla="*/ 618944 h 693846"/>
                <a:gd name="connsiteX2528" fmla="*/ 400741 w 1110409"/>
                <a:gd name="connsiteY2528" fmla="*/ 618128 h 693846"/>
                <a:gd name="connsiteX2529" fmla="*/ 403191 w 1110409"/>
                <a:gd name="connsiteY2529" fmla="*/ 617371 h 693846"/>
                <a:gd name="connsiteX2530" fmla="*/ 405127 w 1110409"/>
                <a:gd name="connsiteY2530" fmla="*/ 615526 h 693846"/>
                <a:gd name="connsiteX2531" fmla="*/ 407941 w 1110409"/>
                <a:gd name="connsiteY2531" fmla="*/ 612531 h 693846"/>
                <a:gd name="connsiteX2532" fmla="*/ 412297 w 1110409"/>
                <a:gd name="connsiteY2532" fmla="*/ 607267 h 693846"/>
                <a:gd name="connsiteX2533" fmla="*/ 413507 w 1110409"/>
                <a:gd name="connsiteY2533" fmla="*/ 605240 h 693846"/>
                <a:gd name="connsiteX2534" fmla="*/ 413507 w 1110409"/>
                <a:gd name="connsiteY2534" fmla="*/ 603940 h 693846"/>
                <a:gd name="connsiteX2535" fmla="*/ 413174 w 1110409"/>
                <a:gd name="connsiteY2535" fmla="*/ 602276 h 693846"/>
                <a:gd name="connsiteX2536" fmla="*/ 414051 w 1110409"/>
                <a:gd name="connsiteY2536" fmla="*/ 601520 h 693846"/>
                <a:gd name="connsiteX2537" fmla="*/ 415171 w 1110409"/>
                <a:gd name="connsiteY2537" fmla="*/ 602276 h 693846"/>
                <a:gd name="connsiteX2538" fmla="*/ 415564 w 1110409"/>
                <a:gd name="connsiteY2538" fmla="*/ 605210 h 693846"/>
                <a:gd name="connsiteX2539" fmla="*/ 415080 w 1110409"/>
                <a:gd name="connsiteY2539" fmla="*/ 607237 h 693846"/>
                <a:gd name="connsiteX2540" fmla="*/ 412055 w 1110409"/>
                <a:gd name="connsiteY2540" fmla="*/ 612501 h 693846"/>
                <a:gd name="connsiteX2541" fmla="*/ 419739 w 1110409"/>
                <a:gd name="connsiteY2541" fmla="*/ 616676 h 693846"/>
                <a:gd name="connsiteX2542" fmla="*/ 421100 w 1110409"/>
                <a:gd name="connsiteY2542" fmla="*/ 618007 h 693846"/>
                <a:gd name="connsiteX2543" fmla="*/ 423550 w 1110409"/>
                <a:gd name="connsiteY2543" fmla="*/ 621909 h 693846"/>
                <a:gd name="connsiteX2544" fmla="*/ 425214 w 1110409"/>
                <a:gd name="connsiteY2544" fmla="*/ 623936 h 693846"/>
                <a:gd name="connsiteX2545" fmla="*/ 421887 w 1110409"/>
                <a:gd name="connsiteY2545" fmla="*/ 623543 h 693846"/>
                <a:gd name="connsiteX2546" fmla="*/ 416290 w 1110409"/>
                <a:gd name="connsiteY2546" fmla="*/ 618037 h 693846"/>
                <a:gd name="connsiteX2547" fmla="*/ 413114 w 1110409"/>
                <a:gd name="connsiteY2547" fmla="*/ 616676 h 693846"/>
                <a:gd name="connsiteX2548" fmla="*/ 406337 w 1110409"/>
                <a:gd name="connsiteY2548" fmla="*/ 617613 h 693846"/>
                <a:gd name="connsiteX2549" fmla="*/ 403161 w 1110409"/>
                <a:gd name="connsiteY2549" fmla="*/ 619338 h 693846"/>
                <a:gd name="connsiteX2550" fmla="*/ 400348 w 1110409"/>
                <a:gd name="connsiteY2550" fmla="*/ 622363 h 693846"/>
                <a:gd name="connsiteX2551" fmla="*/ 401739 w 1110409"/>
                <a:gd name="connsiteY2551" fmla="*/ 625660 h 693846"/>
                <a:gd name="connsiteX2552" fmla="*/ 402495 w 1110409"/>
                <a:gd name="connsiteY2552" fmla="*/ 626658 h 693846"/>
                <a:gd name="connsiteX2553" fmla="*/ 401527 w 1110409"/>
                <a:gd name="connsiteY2553" fmla="*/ 627868 h 693846"/>
                <a:gd name="connsiteX2554" fmla="*/ 401134 w 1110409"/>
                <a:gd name="connsiteY2554" fmla="*/ 628201 h 693846"/>
                <a:gd name="connsiteX2555" fmla="*/ 403040 w 1110409"/>
                <a:gd name="connsiteY2555" fmla="*/ 633102 h 693846"/>
                <a:gd name="connsiteX2556" fmla="*/ 406125 w 1110409"/>
                <a:gd name="connsiteY2556" fmla="*/ 636823 h 693846"/>
                <a:gd name="connsiteX2557" fmla="*/ 412811 w 1110409"/>
                <a:gd name="connsiteY2557" fmla="*/ 642450 h 693846"/>
                <a:gd name="connsiteX2558" fmla="*/ 411419 w 1110409"/>
                <a:gd name="connsiteY2558" fmla="*/ 639001 h 693846"/>
                <a:gd name="connsiteX2559" fmla="*/ 409393 w 1110409"/>
                <a:gd name="connsiteY2559" fmla="*/ 635583 h 693846"/>
                <a:gd name="connsiteX2560" fmla="*/ 405884 w 1110409"/>
                <a:gd name="connsiteY2560" fmla="*/ 630954 h 693846"/>
                <a:gd name="connsiteX2561" fmla="*/ 405884 w 1110409"/>
                <a:gd name="connsiteY2561" fmla="*/ 629653 h 693846"/>
                <a:gd name="connsiteX2562" fmla="*/ 408394 w 1110409"/>
                <a:gd name="connsiteY2562" fmla="*/ 629472 h 693846"/>
                <a:gd name="connsiteX2563" fmla="*/ 409574 w 1110409"/>
                <a:gd name="connsiteY2563" fmla="*/ 630742 h 693846"/>
                <a:gd name="connsiteX2564" fmla="*/ 410452 w 1110409"/>
                <a:gd name="connsiteY2564" fmla="*/ 633253 h 693846"/>
                <a:gd name="connsiteX2565" fmla="*/ 412055 w 1110409"/>
                <a:gd name="connsiteY2565" fmla="*/ 636762 h 693846"/>
                <a:gd name="connsiteX2566" fmla="*/ 413840 w 1110409"/>
                <a:gd name="connsiteY2566" fmla="*/ 638789 h 693846"/>
                <a:gd name="connsiteX2567" fmla="*/ 415836 w 1110409"/>
                <a:gd name="connsiteY2567" fmla="*/ 640272 h 693846"/>
                <a:gd name="connsiteX2568" fmla="*/ 417651 w 1110409"/>
                <a:gd name="connsiteY2568" fmla="*/ 642117 h 693846"/>
                <a:gd name="connsiteX2569" fmla="*/ 418982 w 1110409"/>
                <a:gd name="connsiteY2569" fmla="*/ 645293 h 693846"/>
                <a:gd name="connsiteX2570" fmla="*/ 415564 w 1110409"/>
                <a:gd name="connsiteY2570" fmla="*/ 643993 h 693846"/>
                <a:gd name="connsiteX2571" fmla="*/ 415564 w 1110409"/>
                <a:gd name="connsiteY2571" fmla="*/ 645293 h 693846"/>
                <a:gd name="connsiteX2572" fmla="*/ 417803 w 1110409"/>
                <a:gd name="connsiteY2572" fmla="*/ 647048 h 693846"/>
                <a:gd name="connsiteX2573" fmla="*/ 419618 w 1110409"/>
                <a:gd name="connsiteY2573" fmla="*/ 647471 h 693846"/>
                <a:gd name="connsiteX2574" fmla="*/ 421281 w 1110409"/>
                <a:gd name="connsiteY2574" fmla="*/ 646473 h 693846"/>
                <a:gd name="connsiteX2575" fmla="*/ 423127 w 1110409"/>
                <a:gd name="connsiteY2575" fmla="*/ 643962 h 693846"/>
                <a:gd name="connsiteX2576" fmla="*/ 422915 w 1110409"/>
                <a:gd name="connsiteY2576" fmla="*/ 644870 h 693846"/>
                <a:gd name="connsiteX2577" fmla="*/ 422431 w 1110409"/>
                <a:gd name="connsiteY2577" fmla="*/ 648107 h 693846"/>
                <a:gd name="connsiteX2578" fmla="*/ 423732 w 1110409"/>
                <a:gd name="connsiteY2578" fmla="*/ 648349 h 693846"/>
                <a:gd name="connsiteX2579" fmla="*/ 426031 w 1110409"/>
                <a:gd name="connsiteY2579" fmla="*/ 649317 h 693846"/>
                <a:gd name="connsiteX2580" fmla="*/ 427332 w 1110409"/>
                <a:gd name="connsiteY2580" fmla="*/ 649559 h 693846"/>
                <a:gd name="connsiteX2581" fmla="*/ 425789 w 1110409"/>
                <a:gd name="connsiteY2581" fmla="*/ 650890 h 693846"/>
                <a:gd name="connsiteX2582" fmla="*/ 424125 w 1110409"/>
                <a:gd name="connsiteY2582" fmla="*/ 651253 h 693846"/>
                <a:gd name="connsiteX2583" fmla="*/ 422492 w 1110409"/>
                <a:gd name="connsiteY2583" fmla="*/ 650739 h 693846"/>
                <a:gd name="connsiteX2584" fmla="*/ 421070 w 1110409"/>
                <a:gd name="connsiteY2584" fmla="*/ 649559 h 693846"/>
                <a:gd name="connsiteX2585" fmla="*/ 422582 w 1110409"/>
                <a:gd name="connsiteY2585" fmla="*/ 651253 h 693846"/>
                <a:gd name="connsiteX2586" fmla="*/ 437889 w 1110409"/>
                <a:gd name="connsiteY2586" fmla="*/ 663172 h 693846"/>
                <a:gd name="connsiteX2587" fmla="*/ 441641 w 1110409"/>
                <a:gd name="connsiteY2587" fmla="*/ 664019 h 693846"/>
                <a:gd name="connsiteX2588" fmla="*/ 449385 w 1110409"/>
                <a:gd name="connsiteY2588" fmla="*/ 663868 h 693846"/>
                <a:gd name="connsiteX2589" fmla="*/ 448689 w 1110409"/>
                <a:gd name="connsiteY2589" fmla="*/ 661024 h 693846"/>
                <a:gd name="connsiteX2590" fmla="*/ 449355 w 1110409"/>
                <a:gd name="connsiteY2590" fmla="*/ 661206 h 693846"/>
                <a:gd name="connsiteX2591" fmla="*/ 449657 w 1110409"/>
                <a:gd name="connsiteY2591" fmla="*/ 661417 h 693846"/>
                <a:gd name="connsiteX2592" fmla="*/ 450141 w 1110409"/>
                <a:gd name="connsiteY2592" fmla="*/ 662325 h 693846"/>
                <a:gd name="connsiteX2593" fmla="*/ 450504 w 1110409"/>
                <a:gd name="connsiteY2593" fmla="*/ 661932 h 693846"/>
                <a:gd name="connsiteX2594" fmla="*/ 450746 w 1110409"/>
                <a:gd name="connsiteY2594" fmla="*/ 661569 h 693846"/>
                <a:gd name="connsiteX2595" fmla="*/ 451019 w 1110409"/>
                <a:gd name="connsiteY2595" fmla="*/ 661266 h 693846"/>
                <a:gd name="connsiteX2596" fmla="*/ 451472 w 1110409"/>
                <a:gd name="connsiteY2596" fmla="*/ 661054 h 693846"/>
                <a:gd name="connsiteX2597" fmla="*/ 453197 w 1110409"/>
                <a:gd name="connsiteY2597" fmla="*/ 663626 h 693846"/>
                <a:gd name="connsiteX2598" fmla="*/ 479758 w 1110409"/>
                <a:gd name="connsiteY2598" fmla="*/ 665320 h 693846"/>
                <a:gd name="connsiteX2599" fmla="*/ 469684 w 1110409"/>
                <a:gd name="connsiteY2599" fmla="*/ 663384 h 693846"/>
                <a:gd name="connsiteX2600" fmla="*/ 469381 w 1110409"/>
                <a:gd name="connsiteY2600" fmla="*/ 662355 h 693846"/>
                <a:gd name="connsiteX2601" fmla="*/ 479031 w 1110409"/>
                <a:gd name="connsiteY2601" fmla="*/ 663928 h 693846"/>
                <a:gd name="connsiteX2602" fmla="*/ 480272 w 1110409"/>
                <a:gd name="connsiteY2602" fmla="*/ 663565 h 693846"/>
                <a:gd name="connsiteX2603" fmla="*/ 481966 w 1110409"/>
                <a:gd name="connsiteY2603" fmla="*/ 662295 h 693846"/>
                <a:gd name="connsiteX2604" fmla="*/ 483176 w 1110409"/>
                <a:gd name="connsiteY2604" fmla="*/ 662355 h 693846"/>
                <a:gd name="connsiteX2605" fmla="*/ 484446 w 1110409"/>
                <a:gd name="connsiteY2605" fmla="*/ 663263 h 693846"/>
                <a:gd name="connsiteX2606" fmla="*/ 484537 w 1110409"/>
                <a:gd name="connsiteY2606" fmla="*/ 664291 h 693846"/>
                <a:gd name="connsiteX2607" fmla="*/ 483781 w 1110409"/>
                <a:gd name="connsiteY2607" fmla="*/ 665108 h 693846"/>
                <a:gd name="connsiteX2608" fmla="*/ 482420 w 1110409"/>
                <a:gd name="connsiteY2608" fmla="*/ 665350 h 693846"/>
                <a:gd name="connsiteX2609" fmla="*/ 485596 w 1110409"/>
                <a:gd name="connsiteY2609" fmla="*/ 667982 h 693846"/>
                <a:gd name="connsiteX2610" fmla="*/ 501750 w 1110409"/>
                <a:gd name="connsiteY2610" fmla="*/ 672036 h 693846"/>
                <a:gd name="connsiteX2611" fmla="*/ 513518 w 1110409"/>
                <a:gd name="connsiteY2611" fmla="*/ 679387 h 693846"/>
                <a:gd name="connsiteX2612" fmla="*/ 521777 w 1110409"/>
                <a:gd name="connsiteY2612" fmla="*/ 680930 h 693846"/>
                <a:gd name="connsiteX2613" fmla="*/ 527040 w 1110409"/>
                <a:gd name="connsiteY2613" fmla="*/ 684620 h 693846"/>
                <a:gd name="connsiteX2614" fmla="*/ 528311 w 1110409"/>
                <a:gd name="connsiteY2614" fmla="*/ 685134 h 693846"/>
                <a:gd name="connsiteX2615" fmla="*/ 541864 w 1110409"/>
                <a:gd name="connsiteY2615" fmla="*/ 687797 h 693846"/>
                <a:gd name="connsiteX2616" fmla="*/ 543921 w 1110409"/>
                <a:gd name="connsiteY2616" fmla="*/ 685134 h 693846"/>
                <a:gd name="connsiteX2617" fmla="*/ 545403 w 1110409"/>
                <a:gd name="connsiteY2617" fmla="*/ 686435 h 693846"/>
                <a:gd name="connsiteX2618" fmla="*/ 547188 w 1110409"/>
                <a:gd name="connsiteY2618" fmla="*/ 687343 h 693846"/>
                <a:gd name="connsiteX2619" fmla="*/ 550788 w 1110409"/>
                <a:gd name="connsiteY2619" fmla="*/ 688099 h 693846"/>
                <a:gd name="connsiteX2620" fmla="*/ 550304 w 1110409"/>
                <a:gd name="connsiteY2620" fmla="*/ 688946 h 693846"/>
                <a:gd name="connsiteX2621" fmla="*/ 549850 w 1110409"/>
                <a:gd name="connsiteY2621" fmla="*/ 689279 h 693846"/>
                <a:gd name="connsiteX2622" fmla="*/ 548731 w 1110409"/>
                <a:gd name="connsiteY2622" fmla="*/ 689400 h 693846"/>
                <a:gd name="connsiteX2623" fmla="*/ 551635 w 1110409"/>
                <a:gd name="connsiteY2623" fmla="*/ 690186 h 693846"/>
                <a:gd name="connsiteX2624" fmla="*/ 559773 w 1110409"/>
                <a:gd name="connsiteY2624" fmla="*/ 688129 h 693846"/>
                <a:gd name="connsiteX2625" fmla="*/ 579073 w 1110409"/>
                <a:gd name="connsiteY2625" fmla="*/ 693665 h 693846"/>
                <a:gd name="connsiteX2626" fmla="*/ 584216 w 1110409"/>
                <a:gd name="connsiteY2626" fmla="*/ 693847 h 693846"/>
                <a:gd name="connsiteX2627" fmla="*/ 605392 w 1110409"/>
                <a:gd name="connsiteY2627" fmla="*/ 688523 h 693846"/>
                <a:gd name="connsiteX2628" fmla="*/ 617855 w 1110409"/>
                <a:gd name="connsiteY2628" fmla="*/ 683017 h 693846"/>
                <a:gd name="connsiteX2629" fmla="*/ 639394 w 1110409"/>
                <a:gd name="connsiteY2629" fmla="*/ 679992 h 693846"/>
                <a:gd name="connsiteX2630" fmla="*/ 637731 w 1110409"/>
                <a:gd name="connsiteY2630" fmla="*/ 679689 h 693846"/>
                <a:gd name="connsiteX2631" fmla="*/ 635371 w 1110409"/>
                <a:gd name="connsiteY2631" fmla="*/ 679689 h 693846"/>
                <a:gd name="connsiteX2632" fmla="*/ 631166 w 1110409"/>
                <a:gd name="connsiteY2632" fmla="*/ 679447 h 693846"/>
                <a:gd name="connsiteX2633" fmla="*/ 630833 w 1110409"/>
                <a:gd name="connsiteY2633" fmla="*/ 678116 h 693846"/>
                <a:gd name="connsiteX2634" fmla="*/ 630561 w 1110409"/>
                <a:gd name="connsiteY2634" fmla="*/ 675212 h 693846"/>
                <a:gd name="connsiteX2635" fmla="*/ 630077 w 1110409"/>
                <a:gd name="connsiteY2635" fmla="*/ 672278 h 693846"/>
                <a:gd name="connsiteX2636" fmla="*/ 629109 w 1110409"/>
                <a:gd name="connsiteY2636" fmla="*/ 670977 h 693846"/>
                <a:gd name="connsiteX2637" fmla="*/ 628413 w 1110409"/>
                <a:gd name="connsiteY2637" fmla="*/ 670251 h 693846"/>
                <a:gd name="connsiteX2638" fmla="*/ 626265 w 1110409"/>
                <a:gd name="connsiteY2638" fmla="*/ 666711 h 693846"/>
                <a:gd name="connsiteX2639" fmla="*/ 625297 w 1110409"/>
                <a:gd name="connsiteY2639" fmla="*/ 665441 h 693846"/>
                <a:gd name="connsiteX2640" fmla="*/ 625630 w 1110409"/>
                <a:gd name="connsiteY2640" fmla="*/ 664715 h 693846"/>
                <a:gd name="connsiteX2641" fmla="*/ 625932 w 1110409"/>
                <a:gd name="connsiteY2641" fmla="*/ 664352 h 693846"/>
                <a:gd name="connsiteX2642" fmla="*/ 626689 w 1110409"/>
                <a:gd name="connsiteY2642" fmla="*/ 664019 h 693846"/>
                <a:gd name="connsiteX2643" fmla="*/ 626084 w 1110409"/>
                <a:gd name="connsiteY2643" fmla="*/ 662446 h 693846"/>
                <a:gd name="connsiteX2644" fmla="*/ 628141 w 1110409"/>
                <a:gd name="connsiteY2644" fmla="*/ 662869 h 693846"/>
                <a:gd name="connsiteX2645" fmla="*/ 635008 w 1110409"/>
                <a:gd name="connsiteY2645" fmla="*/ 666832 h 693846"/>
                <a:gd name="connsiteX2646" fmla="*/ 637761 w 1110409"/>
                <a:gd name="connsiteY2646" fmla="*/ 666923 h 693846"/>
                <a:gd name="connsiteX2647" fmla="*/ 643176 w 1110409"/>
                <a:gd name="connsiteY2647" fmla="*/ 665380 h 693846"/>
                <a:gd name="connsiteX2648" fmla="*/ 646019 w 1110409"/>
                <a:gd name="connsiteY2648" fmla="*/ 665441 h 693846"/>
                <a:gd name="connsiteX2649" fmla="*/ 646019 w 1110409"/>
                <a:gd name="connsiteY2649" fmla="*/ 666863 h 693846"/>
                <a:gd name="connsiteX2650" fmla="*/ 642813 w 1110409"/>
                <a:gd name="connsiteY2650" fmla="*/ 667105 h 693846"/>
                <a:gd name="connsiteX2651" fmla="*/ 641542 w 1110409"/>
                <a:gd name="connsiteY2651" fmla="*/ 668133 h 693846"/>
                <a:gd name="connsiteX2652" fmla="*/ 640181 w 1110409"/>
                <a:gd name="connsiteY2652" fmla="*/ 670372 h 693846"/>
                <a:gd name="connsiteX2653" fmla="*/ 639092 w 1110409"/>
                <a:gd name="connsiteY2653" fmla="*/ 671491 h 693846"/>
                <a:gd name="connsiteX2654" fmla="*/ 636248 w 1110409"/>
                <a:gd name="connsiteY2654" fmla="*/ 672459 h 693846"/>
                <a:gd name="connsiteX2655" fmla="*/ 634978 w 1110409"/>
                <a:gd name="connsiteY2655" fmla="*/ 673972 h 693846"/>
                <a:gd name="connsiteX2656" fmla="*/ 638275 w 1110409"/>
                <a:gd name="connsiteY2656" fmla="*/ 678207 h 693846"/>
                <a:gd name="connsiteX2657" fmla="*/ 644567 w 1110409"/>
                <a:gd name="connsiteY2657" fmla="*/ 676846 h 693846"/>
                <a:gd name="connsiteX2658" fmla="*/ 651162 w 1110409"/>
                <a:gd name="connsiteY2658" fmla="*/ 672247 h 693846"/>
                <a:gd name="connsiteX2659" fmla="*/ 661478 w 1110409"/>
                <a:gd name="connsiteY2659" fmla="*/ 667891 h 693846"/>
                <a:gd name="connsiteX2660" fmla="*/ 666106 w 1110409"/>
                <a:gd name="connsiteY2660" fmla="*/ 663202 h 693846"/>
                <a:gd name="connsiteX2661" fmla="*/ 669737 w 1110409"/>
                <a:gd name="connsiteY2661" fmla="*/ 656759 h 693846"/>
                <a:gd name="connsiteX2662" fmla="*/ 672247 w 1110409"/>
                <a:gd name="connsiteY2662" fmla="*/ 649740 h 693846"/>
                <a:gd name="connsiteX2663" fmla="*/ 670826 w 1110409"/>
                <a:gd name="connsiteY2663" fmla="*/ 650890 h 693846"/>
                <a:gd name="connsiteX2664" fmla="*/ 663323 w 1110409"/>
                <a:gd name="connsiteY2664" fmla="*/ 651283 h 693846"/>
                <a:gd name="connsiteX2665" fmla="*/ 663656 w 1110409"/>
                <a:gd name="connsiteY2665" fmla="*/ 648893 h 693846"/>
                <a:gd name="connsiteX2666" fmla="*/ 663323 w 1110409"/>
                <a:gd name="connsiteY2666" fmla="*/ 647471 h 693846"/>
                <a:gd name="connsiteX2667" fmla="*/ 662446 w 1110409"/>
                <a:gd name="connsiteY2667" fmla="*/ 646866 h 693846"/>
                <a:gd name="connsiteX2668" fmla="*/ 661145 w 1110409"/>
                <a:gd name="connsiteY2668" fmla="*/ 647018 h 693846"/>
                <a:gd name="connsiteX2669" fmla="*/ 662718 w 1110409"/>
                <a:gd name="connsiteY2669" fmla="*/ 645838 h 693846"/>
                <a:gd name="connsiteX2670" fmla="*/ 665562 w 1110409"/>
                <a:gd name="connsiteY2670" fmla="*/ 646110 h 693846"/>
                <a:gd name="connsiteX2671" fmla="*/ 665411 w 1110409"/>
                <a:gd name="connsiteY2671" fmla="*/ 644174 h 693846"/>
                <a:gd name="connsiteX2672" fmla="*/ 669525 w 1110409"/>
                <a:gd name="connsiteY2672" fmla="*/ 644174 h 693846"/>
                <a:gd name="connsiteX2673" fmla="*/ 669343 w 1110409"/>
                <a:gd name="connsiteY2673" fmla="*/ 644991 h 693846"/>
                <a:gd name="connsiteX2674" fmla="*/ 669283 w 1110409"/>
                <a:gd name="connsiteY2674" fmla="*/ 645112 h 693846"/>
                <a:gd name="connsiteX2675" fmla="*/ 669162 w 1110409"/>
                <a:gd name="connsiteY2675" fmla="*/ 645112 h 693846"/>
                <a:gd name="connsiteX2676" fmla="*/ 668829 w 1110409"/>
                <a:gd name="connsiteY2676" fmla="*/ 645505 h 693846"/>
                <a:gd name="connsiteX2677" fmla="*/ 671491 w 1110409"/>
                <a:gd name="connsiteY2677" fmla="*/ 646866 h 693846"/>
                <a:gd name="connsiteX2678" fmla="*/ 674123 w 1110409"/>
                <a:gd name="connsiteY2678" fmla="*/ 644749 h 693846"/>
                <a:gd name="connsiteX2679" fmla="*/ 678449 w 1110409"/>
                <a:gd name="connsiteY2679" fmla="*/ 636974 h 693846"/>
                <a:gd name="connsiteX2680" fmla="*/ 675726 w 1110409"/>
                <a:gd name="connsiteY2680" fmla="*/ 637791 h 693846"/>
                <a:gd name="connsiteX2681" fmla="*/ 667770 w 1110409"/>
                <a:gd name="connsiteY2681" fmla="*/ 636974 h 693846"/>
                <a:gd name="connsiteX2682" fmla="*/ 666227 w 1110409"/>
                <a:gd name="connsiteY2682" fmla="*/ 637428 h 693846"/>
                <a:gd name="connsiteX2683" fmla="*/ 664231 w 1110409"/>
                <a:gd name="connsiteY2683" fmla="*/ 639394 h 693846"/>
                <a:gd name="connsiteX2684" fmla="*/ 662960 w 1110409"/>
                <a:gd name="connsiteY2684" fmla="*/ 639848 h 693846"/>
                <a:gd name="connsiteX2685" fmla="*/ 661327 w 1110409"/>
                <a:gd name="connsiteY2685" fmla="*/ 639243 h 693846"/>
                <a:gd name="connsiteX2686" fmla="*/ 660812 w 1110409"/>
                <a:gd name="connsiteY2686" fmla="*/ 637761 h 693846"/>
                <a:gd name="connsiteX2687" fmla="*/ 661296 w 1110409"/>
                <a:gd name="connsiteY2687" fmla="*/ 635915 h 693846"/>
                <a:gd name="connsiteX2688" fmla="*/ 662597 w 1110409"/>
                <a:gd name="connsiteY2688" fmla="*/ 634131 h 693846"/>
                <a:gd name="connsiteX2689" fmla="*/ 664473 w 1110409"/>
                <a:gd name="connsiteY2689" fmla="*/ 636067 h 693846"/>
                <a:gd name="connsiteX2690" fmla="*/ 666258 w 1110409"/>
                <a:gd name="connsiteY2690" fmla="*/ 635401 h 693846"/>
                <a:gd name="connsiteX2691" fmla="*/ 667619 w 1110409"/>
                <a:gd name="connsiteY2691" fmla="*/ 632860 h 693846"/>
                <a:gd name="connsiteX2692" fmla="*/ 668163 w 1110409"/>
                <a:gd name="connsiteY2692" fmla="*/ 629169 h 693846"/>
                <a:gd name="connsiteX2693" fmla="*/ 668768 w 1110409"/>
                <a:gd name="connsiteY2693" fmla="*/ 626870 h 693846"/>
                <a:gd name="connsiteX2694" fmla="*/ 670251 w 1110409"/>
                <a:gd name="connsiteY2694" fmla="*/ 624571 h 693846"/>
                <a:gd name="connsiteX2695" fmla="*/ 672066 w 1110409"/>
                <a:gd name="connsiteY2695" fmla="*/ 623331 h 693846"/>
                <a:gd name="connsiteX2696" fmla="*/ 673730 w 1110409"/>
                <a:gd name="connsiteY2696" fmla="*/ 624208 h 693846"/>
                <a:gd name="connsiteX2697" fmla="*/ 674789 w 1110409"/>
                <a:gd name="connsiteY2697" fmla="*/ 623028 h 693846"/>
                <a:gd name="connsiteX2698" fmla="*/ 675938 w 1110409"/>
                <a:gd name="connsiteY2698" fmla="*/ 622605 h 693846"/>
                <a:gd name="connsiteX2699" fmla="*/ 678479 w 1110409"/>
                <a:gd name="connsiteY2699" fmla="*/ 622665 h 693846"/>
                <a:gd name="connsiteX2700" fmla="*/ 678479 w 1110409"/>
                <a:gd name="connsiteY2700" fmla="*/ 621364 h 693846"/>
                <a:gd name="connsiteX2701" fmla="*/ 676422 w 1110409"/>
                <a:gd name="connsiteY2701" fmla="*/ 619791 h 693846"/>
                <a:gd name="connsiteX2702" fmla="*/ 679145 w 1110409"/>
                <a:gd name="connsiteY2702" fmla="*/ 619912 h 693846"/>
                <a:gd name="connsiteX2703" fmla="*/ 681656 w 1110409"/>
                <a:gd name="connsiteY2703" fmla="*/ 621001 h 693846"/>
                <a:gd name="connsiteX2704" fmla="*/ 684106 w 1110409"/>
                <a:gd name="connsiteY2704" fmla="*/ 621485 h 693846"/>
                <a:gd name="connsiteX2705" fmla="*/ 686708 w 1110409"/>
                <a:gd name="connsiteY2705" fmla="*/ 619822 h 693846"/>
                <a:gd name="connsiteX2706" fmla="*/ 686284 w 1110409"/>
                <a:gd name="connsiteY2706" fmla="*/ 618097 h 693846"/>
                <a:gd name="connsiteX2707" fmla="*/ 686193 w 1110409"/>
                <a:gd name="connsiteY2707" fmla="*/ 616948 h 693846"/>
                <a:gd name="connsiteX2708" fmla="*/ 686708 w 1110409"/>
                <a:gd name="connsiteY2708" fmla="*/ 614134 h 693846"/>
                <a:gd name="connsiteX2709" fmla="*/ 689097 w 1110409"/>
                <a:gd name="connsiteY2709" fmla="*/ 616645 h 693846"/>
                <a:gd name="connsiteX2710" fmla="*/ 695753 w 1110409"/>
                <a:gd name="connsiteY2710" fmla="*/ 619852 h 693846"/>
                <a:gd name="connsiteX2711" fmla="*/ 695753 w 1110409"/>
                <a:gd name="connsiteY2711" fmla="*/ 621425 h 693846"/>
                <a:gd name="connsiteX2712" fmla="*/ 692909 w 1110409"/>
                <a:gd name="connsiteY2712" fmla="*/ 621697 h 693846"/>
                <a:gd name="connsiteX2713" fmla="*/ 689672 w 1110409"/>
                <a:gd name="connsiteY2713" fmla="*/ 622847 h 693846"/>
                <a:gd name="connsiteX2714" fmla="*/ 687071 w 1110409"/>
                <a:gd name="connsiteY2714" fmla="*/ 625418 h 693846"/>
                <a:gd name="connsiteX2715" fmla="*/ 686072 w 1110409"/>
                <a:gd name="connsiteY2715" fmla="*/ 629986 h 693846"/>
                <a:gd name="connsiteX2716" fmla="*/ 699201 w 1110409"/>
                <a:gd name="connsiteY2716" fmla="*/ 621425 h 693846"/>
                <a:gd name="connsiteX2717" fmla="*/ 699201 w 1110409"/>
                <a:gd name="connsiteY2717" fmla="*/ 619852 h 693846"/>
                <a:gd name="connsiteX2718" fmla="*/ 698778 w 1110409"/>
                <a:gd name="connsiteY2718" fmla="*/ 619096 h 693846"/>
                <a:gd name="connsiteX2719" fmla="*/ 698717 w 1110409"/>
                <a:gd name="connsiteY2719" fmla="*/ 618702 h 693846"/>
                <a:gd name="connsiteX2720" fmla="*/ 698717 w 1110409"/>
                <a:gd name="connsiteY2720" fmla="*/ 618158 h 693846"/>
                <a:gd name="connsiteX2721" fmla="*/ 698475 w 1110409"/>
                <a:gd name="connsiteY2721" fmla="*/ 617008 h 693846"/>
                <a:gd name="connsiteX2722" fmla="*/ 699958 w 1110409"/>
                <a:gd name="connsiteY2722" fmla="*/ 618430 h 693846"/>
                <a:gd name="connsiteX2723" fmla="*/ 701410 w 1110409"/>
                <a:gd name="connsiteY2723" fmla="*/ 617825 h 693846"/>
                <a:gd name="connsiteX2724" fmla="*/ 702620 w 1110409"/>
                <a:gd name="connsiteY2724" fmla="*/ 615798 h 693846"/>
                <a:gd name="connsiteX2725" fmla="*/ 703376 w 1110409"/>
                <a:gd name="connsiteY2725" fmla="*/ 612834 h 693846"/>
                <a:gd name="connsiteX2726" fmla="*/ 703951 w 1110409"/>
                <a:gd name="connsiteY2726" fmla="*/ 614921 h 693846"/>
                <a:gd name="connsiteX2727" fmla="*/ 704011 w 1110409"/>
                <a:gd name="connsiteY2727" fmla="*/ 617160 h 693846"/>
                <a:gd name="connsiteX2728" fmla="*/ 703376 w 1110409"/>
                <a:gd name="connsiteY2728" fmla="*/ 619005 h 693846"/>
                <a:gd name="connsiteX2729" fmla="*/ 702257 w 1110409"/>
                <a:gd name="connsiteY2729" fmla="*/ 620517 h 693846"/>
                <a:gd name="connsiteX2730" fmla="*/ 711635 w 1110409"/>
                <a:gd name="connsiteY2730" fmla="*/ 618430 h 693846"/>
                <a:gd name="connsiteX2731" fmla="*/ 725460 w 1110409"/>
                <a:gd name="connsiteY2731" fmla="*/ 614134 h 693846"/>
                <a:gd name="connsiteX2732" fmla="*/ 737893 w 1110409"/>
                <a:gd name="connsiteY2732" fmla="*/ 606965 h 693846"/>
                <a:gd name="connsiteX2733" fmla="*/ 738256 w 1110409"/>
                <a:gd name="connsiteY2733" fmla="*/ 610534 h 693846"/>
                <a:gd name="connsiteX2734" fmla="*/ 739285 w 1110409"/>
                <a:gd name="connsiteY2734" fmla="*/ 610595 h 693846"/>
                <a:gd name="connsiteX2735" fmla="*/ 740646 w 1110409"/>
                <a:gd name="connsiteY2735" fmla="*/ 609173 h 693846"/>
                <a:gd name="connsiteX2736" fmla="*/ 742007 w 1110409"/>
                <a:gd name="connsiteY2736" fmla="*/ 608266 h 693846"/>
                <a:gd name="connsiteX2737" fmla="*/ 745637 w 1110409"/>
                <a:gd name="connsiteY2737" fmla="*/ 610776 h 693846"/>
                <a:gd name="connsiteX2738" fmla="*/ 747180 w 1110409"/>
                <a:gd name="connsiteY2738" fmla="*/ 611260 h 693846"/>
                <a:gd name="connsiteX2739" fmla="*/ 754380 w 1110409"/>
                <a:gd name="connsiteY2739" fmla="*/ 611442 h 693846"/>
                <a:gd name="connsiteX2740" fmla="*/ 758101 w 1110409"/>
                <a:gd name="connsiteY2740" fmla="*/ 610625 h 693846"/>
                <a:gd name="connsiteX2741" fmla="*/ 759946 w 1110409"/>
                <a:gd name="connsiteY2741" fmla="*/ 608266 h 693846"/>
                <a:gd name="connsiteX2742" fmla="*/ 758252 w 1110409"/>
                <a:gd name="connsiteY2742" fmla="*/ 606602 h 693846"/>
                <a:gd name="connsiteX2743" fmla="*/ 757557 w 1110409"/>
                <a:gd name="connsiteY2743" fmla="*/ 604363 h 693846"/>
                <a:gd name="connsiteX2744" fmla="*/ 757042 w 1110409"/>
                <a:gd name="connsiteY2744" fmla="*/ 601943 h 693846"/>
                <a:gd name="connsiteX2745" fmla="*/ 755802 w 1110409"/>
                <a:gd name="connsiteY2745" fmla="*/ 599795 h 693846"/>
                <a:gd name="connsiteX2746" fmla="*/ 756861 w 1110409"/>
                <a:gd name="connsiteY2746" fmla="*/ 597194 h 693846"/>
                <a:gd name="connsiteX2747" fmla="*/ 758524 w 1110409"/>
                <a:gd name="connsiteY2747" fmla="*/ 596891 h 693846"/>
                <a:gd name="connsiteX2748" fmla="*/ 760400 w 1110409"/>
                <a:gd name="connsiteY2748" fmla="*/ 597012 h 693846"/>
                <a:gd name="connsiteX2749" fmla="*/ 762034 w 1110409"/>
                <a:gd name="connsiteY2749" fmla="*/ 595651 h 693846"/>
                <a:gd name="connsiteX2750" fmla="*/ 761187 w 1110409"/>
                <a:gd name="connsiteY2750" fmla="*/ 593775 h 693846"/>
                <a:gd name="connsiteX2751" fmla="*/ 761005 w 1110409"/>
                <a:gd name="connsiteY2751" fmla="*/ 591567 h 693846"/>
                <a:gd name="connsiteX2752" fmla="*/ 761277 w 1110409"/>
                <a:gd name="connsiteY2752" fmla="*/ 586122 h 693846"/>
                <a:gd name="connsiteX2753" fmla="*/ 761822 w 1110409"/>
                <a:gd name="connsiteY2753" fmla="*/ 584942 h 693846"/>
                <a:gd name="connsiteX2754" fmla="*/ 762971 w 1110409"/>
                <a:gd name="connsiteY2754" fmla="*/ 585879 h 693846"/>
                <a:gd name="connsiteX2755" fmla="*/ 764060 w 1110409"/>
                <a:gd name="connsiteY2755" fmla="*/ 587483 h 693846"/>
                <a:gd name="connsiteX2756" fmla="*/ 764393 w 1110409"/>
                <a:gd name="connsiteY2756" fmla="*/ 588330 h 693846"/>
                <a:gd name="connsiteX2757" fmla="*/ 764696 w 1110409"/>
                <a:gd name="connsiteY2757" fmla="*/ 589691 h 693846"/>
                <a:gd name="connsiteX2758" fmla="*/ 764605 w 1110409"/>
                <a:gd name="connsiteY2758" fmla="*/ 592747 h 693846"/>
                <a:gd name="connsiteX2759" fmla="*/ 764030 w 1110409"/>
                <a:gd name="connsiteY2759" fmla="*/ 598373 h 693846"/>
                <a:gd name="connsiteX2760" fmla="*/ 764303 w 1110409"/>
                <a:gd name="connsiteY2760" fmla="*/ 598434 h 693846"/>
                <a:gd name="connsiteX2761" fmla="*/ 764635 w 1110409"/>
                <a:gd name="connsiteY2761" fmla="*/ 599462 h 693846"/>
                <a:gd name="connsiteX2762" fmla="*/ 764575 w 1110409"/>
                <a:gd name="connsiteY2762" fmla="*/ 600672 h 693846"/>
                <a:gd name="connsiteX2763" fmla="*/ 763667 w 1110409"/>
                <a:gd name="connsiteY2763" fmla="*/ 601247 h 693846"/>
                <a:gd name="connsiteX2764" fmla="*/ 763304 w 1110409"/>
                <a:gd name="connsiteY2764" fmla="*/ 601610 h 693846"/>
                <a:gd name="connsiteX2765" fmla="*/ 763032 w 1110409"/>
                <a:gd name="connsiteY2765" fmla="*/ 602427 h 693846"/>
                <a:gd name="connsiteX2766" fmla="*/ 762608 w 1110409"/>
                <a:gd name="connsiteY2766" fmla="*/ 604242 h 693846"/>
                <a:gd name="connsiteX2767" fmla="*/ 763183 w 1110409"/>
                <a:gd name="connsiteY2767" fmla="*/ 605997 h 693846"/>
                <a:gd name="connsiteX2768" fmla="*/ 763123 w 1110409"/>
                <a:gd name="connsiteY2768" fmla="*/ 608054 h 693846"/>
                <a:gd name="connsiteX2769" fmla="*/ 761973 w 1110409"/>
                <a:gd name="connsiteY2769" fmla="*/ 612803 h 693846"/>
                <a:gd name="connsiteX2770" fmla="*/ 764000 w 1110409"/>
                <a:gd name="connsiteY2770" fmla="*/ 612501 h 693846"/>
                <a:gd name="connsiteX2771" fmla="*/ 765603 w 1110409"/>
                <a:gd name="connsiteY2771" fmla="*/ 611593 h 693846"/>
                <a:gd name="connsiteX2772" fmla="*/ 766087 w 1110409"/>
                <a:gd name="connsiteY2772" fmla="*/ 610171 h 693846"/>
                <a:gd name="connsiteX2773" fmla="*/ 764756 w 1110409"/>
                <a:gd name="connsiteY2773" fmla="*/ 608266 h 693846"/>
                <a:gd name="connsiteX2774" fmla="*/ 765240 w 1110409"/>
                <a:gd name="connsiteY2774" fmla="*/ 605845 h 693846"/>
                <a:gd name="connsiteX2775" fmla="*/ 765422 w 1110409"/>
                <a:gd name="connsiteY2775" fmla="*/ 603244 h 693846"/>
                <a:gd name="connsiteX2776" fmla="*/ 765422 w 1110409"/>
                <a:gd name="connsiteY2776" fmla="*/ 597617 h 693846"/>
                <a:gd name="connsiteX2777" fmla="*/ 765724 w 1110409"/>
                <a:gd name="connsiteY2777" fmla="*/ 596226 h 693846"/>
                <a:gd name="connsiteX2778" fmla="*/ 766450 w 1110409"/>
                <a:gd name="connsiteY2778" fmla="*/ 597557 h 693846"/>
                <a:gd name="connsiteX2779" fmla="*/ 767176 w 1110409"/>
                <a:gd name="connsiteY2779" fmla="*/ 600007 h 693846"/>
                <a:gd name="connsiteX2780" fmla="*/ 767509 w 1110409"/>
                <a:gd name="connsiteY2780" fmla="*/ 601883 h 693846"/>
                <a:gd name="connsiteX2781" fmla="*/ 766965 w 1110409"/>
                <a:gd name="connsiteY2781" fmla="*/ 607177 h 693846"/>
                <a:gd name="connsiteX2782" fmla="*/ 767176 w 1110409"/>
                <a:gd name="connsiteY2782" fmla="*/ 609052 h 693846"/>
                <a:gd name="connsiteX2783" fmla="*/ 768508 w 1110409"/>
                <a:gd name="connsiteY2783" fmla="*/ 609778 h 693846"/>
                <a:gd name="connsiteX2784" fmla="*/ 769143 w 1110409"/>
                <a:gd name="connsiteY2784" fmla="*/ 608508 h 693846"/>
                <a:gd name="connsiteX2785" fmla="*/ 769203 w 1110409"/>
                <a:gd name="connsiteY2785" fmla="*/ 605785 h 693846"/>
                <a:gd name="connsiteX2786" fmla="*/ 768871 w 1110409"/>
                <a:gd name="connsiteY2786" fmla="*/ 601883 h 693846"/>
                <a:gd name="connsiteX2787" fmla="*/ 768871 w 1110409"/>
                <a:gd name="connsiteY2787" fmla="*/ 598797 h 693846"/>
                <a:gd name="connsiteX2788" fmla="*/ 769173 w 1110409"/>
                <a:gd name="connsiteY2788" fmla="*/ 596982 h 693846"/>
                <a:gd name="connsiteX2789" fmla="*/ 769990 w 1110409"/>
                <a:gd name="connsiteY2789" fmla="*/ 596377 h 693846"/>
                <a:gd name="connsiteX2790" fmla="*/ 771593 w 1110409"/>
                <a:gd name="connsiteY2790" fmla="*/ 596891 h 693846"/>
                <a:gd name="connsiteX2791" fmla="*/ 772622 w 1110409"/>
                <a:gd name="connsiteY2791" fmla="*/ 597829 h 693846"/>
                <a:gd name="connsiteX2792" fmla="*/ 776403 w 1110409"/>
                <a:gd name="connsiteY2792" fmla="*/ 602639 h 693846"/>
                <a:gd name="connsiteX2793" fmla="*/ 778218 w 1110409"/>
                <a:gd name="connsiteY2793" fmla="*/ 604182 h 693846"/>
                <a:gd name="connsiteX2794" fmla="*/ 778460 w 1110409"/>
                <a:gd name="connsiteY2794" fmla="*/ 604847 h 693846"/>
                <a:gd name="connsiteX2795" fmla="*/ 778460 w 1110409"/>
                <a:gd name="connsiteY2795" fmla="*/ 607721 h 693846"/>
                <a:gd name="connsiteX2796" fmla="*/ 778642 w 1110409"/>
                <a:gd name="connsiteY2796" fmla="*/ 609143 h 693846"/>
                <a:gd name="connsiteX2797" fmla="*/ 779126 w 1110409"/>
                <a:gd name="connsiteY2797" fmla="*/ 609808 h 693846"/>
                <a:gd name="connsiteX2798" fmla="*/ 780245 w 1110409"/>
                <a:gd name="connsiteY2798" fmla="*/ 608810 h 693846"/>
                <a:gd name="connsiteX2799" fmla="*/ 780790 w 1110409"/>
                <a:gd name="connsiteY2799" fmla="*/ 606329 h 693846"/>
                <a:gd name="connsiteX2800" fmla="*/ 780850 w 1110409"/>
                <a:gd name="connsiteY2800" fmla="*/ 603425 h 693846"/>
                <a:gd name="connsiteX2801" fmla="*/ 780517 w 1110409"/>
                <a:gd name="connsiteY2801" fmla="*/ 601217 h 693846"/>
                <a:gd name="connsiteX2802" fmla="*/ 782151 w 1110409"/>
                <a:gd name="connsiteY2802" fmla="*/ 600824 h 693846"/>
                <a:gd name="connsiteX2803" fmla="*/ 784027 w 1110409"/>
                <a:gd name="connsiteY2803" fmla="*/ 599765 h 693846"/>
                <a:gd name="connsiteX2804" fmla="*/ 783028 w 1110409"/>
                <a:gd name="connsiteY2804" fmla="*/ 599614 h 693846"/>
                <a:gd name="connsiteX2805" fmla="*/ 782121 w 1110409"/>
                <a:gd name="connsiteY2805" fmla="*/ 599069 h 693846"/>
                <a:gd name="connsiteX2806" fmla="*/ 781304 w 1110409"/>
                <a:gd name="connsiteY2806" fmla="*/ 598162 h 693846"/>
                <a:gd name="connsiteX2807" fmla="*/ 780517 w 1110409"/>
                <a:gd name="connsiteY2807" fmla="*/ 596891 h 693846"/>
                <a:gd name="connsiteX2808" fmla="*/ 782242 w 1110409"/>
                <a:gd name="connsiteY2808" fmla="*/ 598676 h 693846"/>
                <a:gd name="connsiteX2809" fmla="*/ 784268 w 1110409"/>
                <a:gd name="connsiteY2809" fmla="*/ 599220 h 693846"/>
                <a:gd name="connsiteX2810" fmla="*/ 797761 w 1110409"/>
                <a:gd name="connsiteY2810" fmla="*/ 595590 h 693846"/>
                <a:gd name="connsiteX2811" fmla="*/ 812947 w 1110409"/>
                <a:gd name="connsiteY2811" fmla="*/ 583974 h 693846"/>
                <a:gd name="connsiteX2812" fmla="*/ 812372 w 1110409"/>
                <a:gd name="connsiteY2812" fmla="*/ 586424 h 693846"/>
                <a:gd name="connsiteX2813" fmla="*/ 811343 w 1110409"/>
                <a:gd name="connsiteY2813" fmla="*/ 588027 h 693846"/>
                <a:gd name="connsiteX2814" fmla="*/ 810073 w 1110409"/>
                <a:gd name="connsiteY2814" fmla="*/ 589056 h 693846"/>
                <a:gd name="connsiteX2815" fmla="*/ 808802 w 1110409"/>
                <a:gd name="connsiteY2815" fmla="*/ 589691 h 693846"/>
                <a:gd name="connsiteX2816" fmla="*/ 811949 w 1110409"/>
                <a:gd name="connsiteY2816" fmla="*/ 588148 h 693846"/>
                <a:gd name="connsiteX2817" fmla="*/ 816758 w 1110409"/>
                <a:gd name="connsiteY2817" fmla="*/ 581130 h 693846"/>
                <a:gd name="connsiteX2818" fmla="*/ 823989 w 1110409"/>
                <a:gd name="connsiteY2818" fmla="*/ 575352 h 693846"/>
                <a:gd name="connsiteX2819" fmla="*/ 825350 w 1110409"/>
                <a:gd name="connsiteY2819" fmla="*/ 573567 h 693846"/>
                <a:gd name="connsiteX2820" fmla="*/ 827951 w 1110409"/>
                <a:gd name="connsiteY2820" fmla="*/ 568666 h 693846"/>
                <a:gd name="connsiteX2821" fmla="*/ 826953 w 1110409"/>
                <a:gd name="connsiteY2821" fmla="*/ 569846 h 693846"/>
                <a:gd name="connsiteX2822" fmla="*/ 825622 w 1110409"/>
                <a:gd name="connsiteY2822" fmla="*/ 570966 h 693846"/>
                <a:gd name="connsiteX2823" fmla="*/ 823958 w 1110409"/>
                <a:gd name="connsiteY2823" fmla="*/ 570875 h 693846"/>
                <a:gd name="connsiteX2824" fmla="*/ 825531 w 1110409"/>
                <a:gd name="connsiteY2824" fmla="*/ 567396 h 693846"/>
                <a:gd name="connsiteX2825" fmla="*/ 828133 w 1110409"/>
                <a:gd name="connsiteY2825" fmla="*/ 564492 h 693846"/>
                <a:gd name="connsiteX2826" fmla="*/ 833578 w 1110409"/>
                <a:gd name="connsiteY2826" fmla="*/ 560680 h 693846"/>
                <a:gd name="connsiteX2827" fmla="*/ 832943 w 1110409"/>
                <a:gd name="connsiteY2827" fmla="*/ 563705 h 693846"/>
                <a:gd name="connsiteX2828" fmla="*/ 835121 w 1110409"/>
                <a:gd name="connsiteY2828" fmla="*/ 563130 h 693846"/>
                <a:gd name="connsiteX2829" fmla="*/ 841171 w 1110409"/>
                <a:gd name="connsiteY2829" fmla="*/ 559228 h 693846"/>
                <a:gd name="connsiteX2830" fmla="*/ 841171 w 1110409"/>
                <a:gd name="connsiteY2830" fmla="*/ 557927 h 693846"/>
                <a:gd name="connsiteX2831" fmla="*/ 839810 w 1110409"/>
                <a:gd name="connsiteY2831" fmla="*/ 557927 h 693846"/>
                <a:gd name="connsiteX2832" fmla="*/ 839810 w 1110409"/>
                <a:gd name="connsiteY2832" fmla="*/ 556475 h 693846"/>
                <a:gd name="connsiteX2833" fmla="*/ 840929 w 1110409"/>
                <a:gd name="connsiteY2833" fmla="*/ 554932 h 693846"/>
                <a:gd name="connsiteX2834" fmla="*/ 841928 w 1110409"/>
                <a:gd name="connsiteY2834" fmla="*/ 554085 h 693846"/>
                <a:gd name="connsiteX2835" fmla="*/ 842926 w 1110409"/>
                <a:gd name="connsiteY2835" fmla="*/ 554448 h 693846"/>
                <a:gd name="connsiteX2836" fmla="*/ 843985 w 1110409"/>
                <a:gd name="connsiteY2836" fmla="*/ 556475 h 693846"/>
                <a:gd name="connsiteX2837" fmla="*/ 844741 w 1110409"/>
                <a:gd name="connsiteY2837" fmla="*/ 554660 h 693846"/>
                <a:gd name="connsiteX2838" fmla="*/ 845709 w 1110409"/>
                <a:gd name="connsiteY2838" fmla="*/ 553632 h 693846"/>
                <a:gd name="connsiteX2839" fmla="*/ 848099 w 1110409"/>
                <a:gd name="connsiteY2839" fmla="*/ 551998 h 693846"/>
                <a:gd name="connsiteX2840" fmla="*/ 851548 w 1110409"/>
                <a:gd name="connsiteY2840" fmla="*/ 548217 h 693846"/>
                <a:gd name="connsiteX2841" fmla="*/ 852516 w 1110409"/>
                <a:gd name="connsiteY2841" fmla="*/ 547672 h 693846"/>
                <a:gd name="connsiteX2842" fmla="*/ 854664 w 1110409"/>
                <a:gd name="connsiteY2842" fmla="*/ 547006 h 693846"/>
                <a:gd name="connsiteX2843" fmla="*/ 861077 w 1110409"/>
                <a:gd name="connsiteY2843" fmla="*/ 541894 h 693846"/>
                <a:gd name="connsiteX2844" fmla="*/ 861077 w 1110409"/>
                <a:gd name="connsiteY2844" fmla="*/ 540593 h 693846"/>
                <a:gd name="connsiteX2845" fmla="*/ 856327 w 1110409"/>
                <a:gd name="connsiteY2845" fmla="*/ 540593 h 693846"/>
                <a:gd name="connsiteX2846" fmla="*/ 859988 w 1110409"/>
                <a:gd name="connsiteY2846" fmla="*/ 537538 h 693846"/>
                <a:gd name="connsiteX2847" fmla="*/ 886065 w 1110409"/>
                <a:gd name="connsiteY2847" fmla="*/ 530156 h 693846"/>
                <a:gd name="connsiteX2848" fmla="*/ 889453 w 1110409"/>
                <a:gd name="connsiteY2848" fmla="*/ 527555 h 693846"/>
                <a:gd name="connsiteX2849" fmla="*/ 887486 w 1110409"/>
                <a:gd name="connsiteY2849" fmla="*/ 526254 h 693846"/>
                <a:gd name="connsiteX2850" fmla="*/ 879107 w 1110409"/>
                <a:gd name="connsiteY2850" fmla="*/ 528886 h 693846"/>
                <a:gd name="connsiteX2851" fmla="*/ 888031 w 1110409"/>
                <a:gd name="connsiteY2851" fmla="*/ 522231 h 693846"/>
                <a:gd name="connsiteX2852" fmla="*/ 890844 w 1110409"/>
                <a:gd name="connsiteY2852" fmla="*/ 518570 h 693846"/>
                <a:gd name="connsiteX2853" fmla="*/ 891086 w 1110409"/>
                <a:gd name="connsiteY2853" fmla="*/ 519599 h 693846"/>
                <a:gd name="connsiteX2854" fmla="*/ 891722 w 1110409"/>
                <a:gd name="connsiteY2854" fmla="*/ 520567 h 693846"/>
                <a:gd name="connsiteX2855" fmla="*/ 892205 w 1110409"/>
                <a:gd name="connsiteY2855" fmla="*/ 521625 h 693846"/>
                <a:gd name="connsiteX2856" fmla="*/ 894837 w 1110409"/>
                <a:gd name="connsiteY2856" fmla="*/ 519629 h 693846"/>
                <a:gd name="connsiteX2857" fmla="*/ 900918 w 1110409"/>
                <a:gd name="connsiteY2857" fmla="*/ 517511 h 693846"/>
                <a:gd name="connsiteX2858" fmla="*/ 906696 w 1110409"/>
                <a:gd name="connsiteY2858" fmla="*/ 516997 h 693846"/>
                <a:gd name="connsiteX2859" fmla="*/ 913140 w 1110409"/>
                <a:gd name="connsiteY2859" fmla="*/ 514849 h 693846"/>
                <a:gd name="connsiteX2860" fmla="*/ 915681 w 1110409"/>
                <a:gd name="connsiteY2860" fmla="*/ 512913 h 693846"/>
                <a:gd name="connsiteX2861" fmla="*/ 912383 w 1110409"/>
                <a:gd name="connsiteY2861" fmla="*/ 512913 h 693846"/>
                <a:gd name="connsiteX2862" fmla="*/ 910840 w 1110409"/>
                <a:gd name="connsiteY2862" fmla="*/ 512459 h 693846"/>
                <a:gd name="connsiteX2863" fmla="*/ 909419 w 1110409"/>
                <a:gd name="connsiteY2863" fmla="*/ 511310 h 693846"/>
                <a:gd name="connsiteX2864" fmla="*/ 911718 w 1110409"/>
                <a:gd name="connsiteY2864" fmla="*/ 509767 h 693846"/>
                <a:gd name="connsiteX2865" fmla="*/ 917344 w 1110409"/>
                <a:gd name="connsiteY2865" fmla="*/ 511189 h 693846"/>
                <a:gd name="connsiteX2866" fmla="*/ 919795 w 1110409"/>
                <a:gd name="connsiteY2866" fmla="*/ 509979 h 693846"/>
                <a:gd name="connsiteX2867" fmla="*/ 921338 w 1110409"/>
                <a:gd name="connsiteY2867" fmla="*/ 506923 h 693846"/>
                <a:gd name="connsiteX2868" fmla="*/ 922185 w 1110409"/>
                <a:gd name="connsiteY2868" fmla="*/ 503202 h 693846"/>
                <a:gd name="connsiteX2869" fmla="*/ 921822 w 1110409"/>
                <a:gd name="connsiteY2869" fmla="*/ 499935 h 693846"/>
                <a:gd name="connsiteX2870" fmla="*/ 919795 w 1110409"/>
                <a:gd name="connsiteY2870" fmla="*/ 498211 h 693846"/>
                <a:gd name="connsiteX2871" fmla="*/ 919795 w 1110409"/>
                <a:gd name="connsiteY2871" fmla="*/ 496608 h 693846"/>
                <a:gd name="connsiteX2872" fmla="*/ 920642 w 1110409"/>
                <a:gd name="connsiteY2872" fmla="*/ 497697 h 693846"/>
                <a:gd name="connsiteX2873" fmla="*/ 921519 w 1110409"/>
                <a:gd name="connsiteY2873" fmla="*/ 498120 h 693846"/>
                <a:gd name="connsiteX2874" fmla="*/ 922397 w 1110409"/>
                <a:gd name="connsiteY2874" fmla="*/ 497787 h 693846"/>
                <a:gd name="connsiteX2875" fmla="*/ 923243 w 1110409"/>
                <a:gd name="connsiteY2875" fmla="*/ 496638 h 693846"/>
                <a:gd name="connsiteX2876" fmla="*/ 922366 w 1110409"/>
                <a:gd name="connsiteY2876" fmla="*/ 494853 h 693846"/>
                <a:gd name="connsiteX2877" fmla="*/ 920521 w 1110409"/>
                <a:gd name="connsiteY2877" fmla="*/ 489619 h 693846"/>
                <a:gd name="connsiteX2878" fmla="*/ 919432 w 1110409"/>
                <a:gd name="connsiteY2878" fmla="*/ 487230 h 693846"/>
                <a:gd name="connsiteX2879" fmla="*/ 917344 w 1110409"/>
                <a:gd name="connsiteY2879" fmla="*/ 486292 h 693846"/>
                <a:gd name="connsiteX2880" fmla="*/ 913896 w 1110409"/>
                <a:gd name="connsiteY2880" fmla="*/ 484930 h 693846"/>
                <a:gd name="connsiteX2881" fmla="*/ 912172 w 1110409"/>
                <a:gd name="connsiteY2881" fmla="*/ 483630 h 693846"/>
                <a:gd name="connsiteX2882" fmla="*/ 914743 w 1110409"/>
                <a:gd name="connsiteY2882" fmla="*/ 484295 h 693846"/>
                <a:gd name="connsiteX2883" fmla="*/ 918736 w 1110409"/>
                <a:gd name="connsiteY2883" fmla="*/ 485777 h 693846"/>
                <a:gd name="connsiteX2884" fmla="*/ 920793 w 1110409"/>
                <a:gd name="connsiteY2884" fmla="*/ 487895 h 693846"/>
                <a:gd name="connsiteX2885" fmla="*/ 922941 w 1110409"/>
                <a:gd name="connsiteY2885" fmla="*/ 489680 h 693846"/>
                <a:gd name="connsiteX2886" fmla="*/ 925482 w 1110409"/>
                <a:gd name="connsiteY2886" fmla="*/ 493794 h 693846"/>
                <a:gd name="connsiteX2887" fmla="*/ 926965 w 1110409"/>
                <a:gd name="connsiteY2887" fmla="*/ 498271 h 693846"/>
                <a:gd name="connsiteX2888" fmla="*/ 925996 w 1110409"/>
                <a:gd name="connsiteY2888" fmla="*/ 501266 h 693846"/>
                <a:gd name="connsiteX2889" fmla="*/ 925996 w 1110409"/>
                <a:gd name="connsiteY2889" fmla="*/ 502567 h 693846"/>
                <a:gd name="connsiteX2890" fmla="*/ 927328 w 1110409"/>
                <a:gd name="connsiteY2890" fmla="*/ 503626 h 693846"/>
                <a:gd name="connsiteX2891" fmla="*/ 930201 w 1110409"/>
                <a:gd name="connsiteY2891" fmla="*/ 504624 h 693846"/>
                <a:gd name="connsiteX2892" fmla="*/ 931563 w 1110409"/>
                <a:gd name="connsiteY2892" fmla="*/ 505471 h 693846"/>
                <a:gd name="connsiteX2893" fmla="*/ 931260 w 1110409"/>
                <a:gd name="connsiteY2893" fmla="*/ 503263 h 693846"/>
                <a:gd name="connsiteX2894" fmla="*/ 930867 w 1110409"/>
                <a:gd name="connsiteY2894" fmla="*/ 501781 h 693846"/>
                <a:gd name="connsiteX2895" fmla="*/ 930292 w 1110409"/>
                <a:gd name="connsiteY2895" fmla="*/ 500692 h 693846"/>
                <a:gd name="connsiteX2896" fmla="*/ 929475 w 1110409"/>
                <a:gd name="connsiteY2896" fmla="*/ 499663 h 693846"/>
                <a:gd name="connsiteX2897" fmla="*/ 929475 w 1110409"/>
                <a:gd name="connsiteY2897" fmla="*/ 498181 h 693846"/>
                <a:gd name="connsiteX2898" fmla="*/ 930655 w 1110409"/>
                <a:gd name="connsiteY2898" fmla="*/ 497092 h 693846"/>
                <a:gd name="connsiteX2899" fmla="*/ 932016 w 1110409"/>
                <a:gd name="connsiteY2899" fmla="*/ 497848 h 693846"/>
                <a:gd name="connsiteX2900" fmla="*/ 933136 w 1110409"/>
                <a:gd name="connsiteY2900" fmla="*/ 500056 h 693846"/>
                <a:gd name="connsiteX2901" fmla="*/ 933589 w 1110409"/>
                <a:gd name="connsiteY2901" fmla="*/ 503354 h 693846"/>
                <a:gd name="connsiteX2902" fmla="*/ 934255 w 1110409"/>
                <a:gd name="connsiteY2902" fmla="*/ 504866 h 693846"/>
                <a:gd name="connsiteX2903" fmla="*/ 935828 w 1110409"/>
                <a:gd name="connsiteY2903" fmla="*/ 504987 h 693846"/>
                <a:gd name="connsiteX2904" fmla="*/ 939065 w 1110409"/>
                <a:gd name="connsiteY2904" fmla="*/ 504140 h 693846"/>
                <a:gd name="connsiteX2905" fmla="*/ 939065 w 1110409"/>
                <a:gd name="connsiteY2905" fmla="*/ 505471 h 693846"/>
                <a:gd name="connsiteX2906" fmla="*/ 937068 w 1110409"/>
                <a:gd name="connsiteY2906" fmla="*/ 511310 h 693846"/>
                <a:gd name="connsiteX2907" fmla="*/ 939579 w 1110409"/>
                <a:gd name="connsiteY2907" fmla="*/ 511400 h 693846"/>
                <a:gd name="connsiteX2908" fmla="*/ 940729 w 1110409"/>
                <a:gd name="connsiteY2908" fmla="*/ 511037 h 693846"/>
                <a:gd name="connsiteX2909" fmla="*/ 941788 w 1110409"/>
                <a:gd name="connsiteY2909" fmla="*/ 509979 h 693846"/>
                <a:gd name="connsiteX2910" fmla="*/ 940487 w 1110409"/>
                <a:gd name="connsiteY2910" fmla="*/ 508406 h 693846"/>
                <a:gd name="connsiteX2911" fmla="*/ 941788 w 1110409"/>
                <a:gd name="connsiteY2911" fmla="*/ 507044 h 693846"/>
                <a:gd name="connsiteX2912" fmla="*/ 942967 w 1110409"/>
                <a:gd name="connsiteY2912" fmla="*/ 507347 h 693846"/>
                <a:gd name="connsiteX2913" fmla="*/ 944117 w 1110409"/>
                <a:gd name="connsiteY2913" fmla="*/ 508194 h 693846"/>
                <a:gd name="connsiteX2914" fmla="*/ 945327 w 1110409"/>
                <a:gd name="connsiteY2914" fmla="*/ 508436 h 693846"/>
                <a:gd name="connsiteX2915" fmla="*/ 946295 w 1110409"/>
                <a:gd name="connsiteY2915" fmla="*/ 507589 h 693846"/>
                <a:gd name="connsiteX2916" fmla="*/ 948171 w 1110409"/>
                <a:gd name="connsiteY2916" fmla="*/ 504806 h 693846"/>
                <a:gd name="connsiteX2917" fmla="*/ 949078 w 1110409"/>
                <a:gd name="connsiteY2917" fmla="*/ 504201 h 693846"/>
                <a:gd name="connsiteX2918" fmla="*/ 951166 w 1110409"/>
                <a:gd name="connsiteY2918" fmla="*/ 504866 h 693846"/>
                <a:gd name="connsiteX2919" fmla="*/ 953102 w 1110409"/>
                <a:gd name="connsiteY2919" fmla="*/ 506469 h 693846"/>
                <a:gd name="connsiteX2920" fmla="*/ 956278 w 1110409"/>
                <a:gd name="connsiteY2920" fmla="*/ 510039 h 693846"/>
                <a:gd name="connsiteX2921" fmla="*/ 958244 w 1110409"/>
                <a:gd name="connsiteY2921" fmla="*/ 511612 h 693846"/>
                <a:gd name="connsiteX2922" fmla="*/ 960302 w 1110409"/>
                <a:gd name="connsiteY2922" fmla="*/ 512490 h 693846"/>
                <a:gd name="connsiteX2923" fmla="*/ 964960 w 1110409"/>
                <a:gd name="connsiteY2923" fmla="*/ 512943 h 693846"/>
                <a:gd name="connsiteX2924" fmla="*/ 966927 w 1110409"/>
                <a:gd name="connsiteY2924" fmla="*/ 512006 h 693846"/>
                <a:gd name="connsiteX2925" fmla="*/ 969891 w 1110409"/>
                <a:gd name="connsiteY2925" fmla="*/ 508436 h 693846"/>
                <a:gd name="connsiteX2926" fmla="*/ 972130 w 1110409"/>
                <a:gd name="connsiteY2926" fmla="*/ 508436 h 693846"/>
                <a:gd name="connsiteX2927" fmla="*/ 971253 w 1110409"/>
                <a:gd name="connsiteY2927" fmla="*/ 505653 h 693846"/>
                <a:gd name="connsiteX2928" fmla="*/ 970769 w 1110409"/>
                <a:gd name="connsiteY2928" fmla="*/ 502628 h 693846"/>
                <a:gd name="connsiteX2929" fmla="*/ 969831 w 1110409"/>
                <a:gd name="connsiteY2929" fmla="*/ 503535 h 693846"/>
                <a:gd name="connsiteX2930" fmla="*/ 968863 w 1110409"/>
                <a:gd name="connsiteY2930" fmla="*/ 503989 h 693846"/>
                <a:gd name="connsiteX2931" fmla="*/ 966685 w 1110409"/>
                <a:gd name="connsiteY2931" fmla="*/ 504201 h 693846"/>
                <a:gd name="connsiteX2932" fmla="*/ 965656 w 1110409"/>
                <a:gd name="connsiteY2932" fmla="*/ 503505 h 693846"/>
                <a:gd name="connsiteX2933" fmla="*/ 964900 w 1110409"/>
                <a:gd name="connsiteY2933" fmla="*/ 501962 h 693846"/>
                <a:gd name="connsiteX2934" fmla="*/ 964597 w 1110409"/>
                <a:gd name="connsiteY2934" fmla="*/ 500419 h 693846"/>
                <a:gd name="connsiteX2935" fmla="*/ 964960 w 1110409"/>
                <a:gd name="connsiteY2935" fmla="*/ 499723 h 693846"/>
                <a:gd name="connsiteX2936" fmla="*/ 966140 w 1110409"/>
                <a:gd name="connsiteY2936" fmla="*/ 499209 h 693846"/>
                <a:gd name="connsiteX2937" fmla="*/ 967834 w 1110409"/>
                <a:gd name="connsiteY2937" fmla="*/ 497878 h 693846"/>
                <a:gd name="connsiteX2938" fmla="*/ 969377 w 1110409"/>
                <a:gd name="connsiteY2938" fmla="*/ 496033 h 693846"/>
                <a:gd name="connsiteX2939" fmla="*/ 970073 w 1110409"/>
                <a:gd name="connsiteY2939" fmla="*/ 493915 h 693846"/>
                <a:gd name="connsiteX2940" fmla="*/ 970738 w 1110409"/>
                <a:gd name="connsiteY2940" fmla="*/ 493915 h 693846"/>
                <a:gd name="connsiteX2941" fmla="*/ 970738 w 1110409"/>
                <a:gd name="connsiteY2941" fmla="*/ 495367 h 693846"/>
                <a:gd name="connsiteX2942" fmla="*/ 970254 w 1110409"/>
                <a:gd name="connsiteY2942" fmla="*/ 496275 h 693846"/>
                <a:gd name="connsiteX2943" fmla="*/ 969921 w 1110409"/>
                <a:gd name="connsiteY2943" fmla="*/ 497303 h 693846"/>
                <a:gd name="connsiteX2944" fmla="*/ 969377 w 1110409"/>
                <a:gd name="connsiteY2944" fmla="*/ 499754 h 693846"/>
                <a:gd name="connsiteX2945" fmla="*/ 970678 w 1110409"/>
                <a:gd name="connsiteY2945" fmla="*/ 497152 h 693846"/>
                <a:gd name="connsiteX2946" fmla="*/ 972735 w 1110409"/>
                <a:gd name="connsiteY2946" fmla="*/ 494581 h 693846"/>
                <a:gd name="connsiteX2947" fmla="*/ 975004 w 1110409"/>
                <a:gd name="connsiteY2947" fmla="*/ 492372 h 693846"/>
                <a:gd name="connsiteX2948" fmla="*/ 980570 w 1110409"/>
                <a:gd name="connsiteY2948" fmla="*/ 489075 h 693846"/>
                <a:gd name="connsiteX2949" fmla="*/ 981720 w 1110409"/>
                <a:gd name="connsiteY2949" fmla="*/ 487956 h 693846"/>
                <a:gd name="connsiteX2950" fmla="*/ 983746 w 1110409"/>
                <a:gd name="connsiteY2950" fmla="*/ 484265 h 693846"/>
                <a:gd name="connsiteX2951" fmla="*/ 984200 w 1110409"/>
                <a:gd name="connsiteY2951" fmla="*/ 483690 h 693846"/>
                <a:gd name="connsiteX2952" fmla="*/ 985440 w 1110409"/>
                <a:gd name="connsiteY2952" fmla="*/ 483236 h 693846"/>
                <a:gd name="connsiteX2953" fmla="*/ 987588 w 1110409"/>
                <a:gd name="connsiteY2953" fmla="*/ 481240 h 693846"/>
                <a:gd name="connsiteX2954" fmla="*/ 988314 w 1110409"/>
                <a:gd name="connsiteY2954" fmla="*/ 480786 h 693846"/>
                <a:gd name="connsiteX2955" fmla="*/ 988708 w 1110409"/>
                <a:gd name="connsiteY2955" fmla="*/ 480181 h 693846"/>
                <a:gd name="connsiteX2956" fmla="*/ 988526 w 1110409"/>
                <a:gd name="connsiteY2956" fmla="*/ 477307 h 693846"/>
                <a:gd name="connsiteX2957" fmla="*/ 988647 w 1110409"/>
                <a:gd name="connsiteY2957" fmla="*/ 476400 h 693846"/>
                <a:gd name="connsiteX2958" fmla="*/ 989434 w 1110409"/>
                <a:gd name="connsiteY2958" fmla="*/ 476067 h 693846"/>
                <a:gd name="connsiteX2959" fmla="*/ 1000627 w 1110409"/>
                <a:gd name="connsiteY2959" fmla="*/ 477731 h 693846"/>
                <a:gd name="connsiteX2960" fmla="*/ 1003198 w 1110409"/>
                <a:gd name="connsiteY2960" fmla="*/ 479334 h 693846"/>
                <a:gd name="connsiteX2961" fmla="*/ 998630 w 1110409"/>
                <a:gd name="connsiteY2961" fmla="*/ 481058 h 693846"/>
                <a:gd name="connsiteX2962" fmla="*/ 989645 w 1110409"/>
                <a:gd name="connsiteY2962" fmla="*/ 483448 h 693846"/>
                <a:gd name="connsiteX2963" fmla="*/ 985289 w 1110409"/>
                <a:gd name="connsiteY2963" fmla="*/ 486625 h 693846"/>
                <a:gd name="connsiteX2964" fmla="*/ 987891 w 1110409"/>
                <a:gd name="connsiteY2964" fmla="*/ 485566 h 693846"/>
                <a:gd name="connsiteX2965" fmla="*/ 995121 w 1110409"/>
                <a:gd name="connsiteY2965" fmla="*/ 483176 h 693846"/>
                <a:gd name="connsiteX2966" fmla="*/ 1005558 w 1110409"/>
                <a:gd name="connsiteY2966" fmla="*/ 482117 h 693846"/>
                <a:gd name="connsiteX2967" fmla="*/ 1005981 w 1110409"/>
                <a:gd name="connsiteY2967" fmla="*/ 481391 h 693846"/>
                <a:gd name="connsiteX2968" fmla="*/ 1007101 w 1110409"/>
                <a:gd name="connsiteY2968" fmla="*/ 478063 h 693846"/>
                <a:gd name="connsiteX2969" fmla="*/ 1007312 w 1110409"/>
                <a:gd name="connsiteY2969" fmla="*/ 477126 h 693846"/>
                <a:gd name="connsiteX2970" fmla="*/ 1007524 w 1110409"/>
                <a:gd name="connsiteY2970" fmla="*/ 475795 h 693846"/>
                <a:gd name="connsiteX2971" fmla="*/ 1007978 w 1110409"/>
                <a:gd name="connsiteY2971" fmla="*/ 475159 h 693846"/>
                <a:gd name="connsiteX2972" fmla="*/ 1008522 w 1110409"/>
                <a:gd name="connsiteY2972" fmla="*/ 474796 h 693846"/>
                <a:gd name="connsiteX2973" fmla="*/ 1009037 w 1110409"/>
                <a:gd name="connsiteY2973" fmla="*/ 474131 h 693846"/>
                <a:gd name="connsiteX2974" fmla="*/ 1009158 w 1110409"/>
                <a:gd name="connsiteY2974" fmla="*/ 473314 h 693846"/>
                <a:gd name="connsiteX2975" fmla="*/ 1008916 w 1110409"/>
                <a:gd name="connsiteY2975" fmla="*/ 471801 h 693846"/>
                <a:gd name="connsiteX2976" fmla="*/ 1008795 w 1110409"/>
                <a:gd name="connsiteY2976" fmla="*/ 471045 h 693846"/>
                <a:gd name="connsiteX2977" fmla="*/ 1008704 w 1110409"/>
                <a:gd name="connsiteY2977" fmla="*/ 469714 h 693846"/>
                <a:gd name="connsiteX2978" fmla="*/ 1009158 w 1110409"/>
                <a:gd name="connsiteY2978" fmla="*/ 467748 h 693846"/>
                <a:gd name="connsiteX2979" fmla="*/ 1012455 w 1110409"/>
                <a:gd name="connsiteY2979" fmla="*/ 462393 h 693846"/>
                <a:gd name="connsiteX2980" fmla="*/ 1012879 w 1110409"/>
                <a:gd name="connsiteY2980" fmla="*/ 460699 h 693846"/>
                <a:gd name="connsiteX2981" fmla="*/ 1013181 w 1110409"/>
                <a:gd name="connsiteY2981" fmla="*/ 456252 h 693846"/>
                <a:gd name="connsiteX2982" fmla="*/ 1013514 w 1110409"/>
                <a:gd name="connsiteY2982" fmla="*/ 454256 h 693846"/>
                <a:gd name="connsiteX2983" fmla="*/ 1014815 w 1110409"/>
                <a:gd name="connsiteY2983" fmla="*/ 451745 h 693846"/>
                <a:gd name="connsiteX2984" fmla="*/ 1024041 w 1110409"/>
                <a:gd name="connsiteY2984" fmla="*/ 441368 h 693846"/>
                <a:gd name="connsiteX2985" fmla="*/ 1025584 w 1110409"/>
                <a:gd name="connsiteY2985" fmla="*/ 438979 h 693846"/>
                <a:gd name="connsiteX2986" fmla="*/ 1024949 w 1110409"/>
                <a:gd name="connsiteY2986" fmla="*/ 437920 h 693846"/>
                <a:gd name="connsiteX2987" fmla="*/ 1021833 w 1110409"/>
                <a:gd name="connsiteY2987" fmla="*/ 440037 h 693846"/>
                <a:gd name="connsiteX2988" fmla="*/ 1015601 w 1110409"/>
                <a:gd name="connsiteY2988" fmla="*/ 448659 h 693846"/>
                <a:gd name="connsiteX2989" fmla="*/ 1011457 w 1110409"/>
                <a:gd name="connsiteY2989" fmla="*/ 449688 h 693846"/>
                <a:gd name="connsiteX2990" fmla="*/ 1011063 w 1110409"/>
                <a:gd name="connsiteY2990" fmla="*/ 451291 h 693846"/>
                <a:gd name="connsiteX2991" fmla="*/ 1009097 w 1110409"/>
                <a:gd name="connsiteY2991" fmla="*/ 451170 h 693846"/>
                <a:gd name="connsiteX2992" fmla="*/ 1006919 w 1110409"/>
                <a:gd name="connsiteY2992" fmla="*/ 449748 h 693846"/>
                <a:gd name="connsiteX2993" fmla="*/ 1005890 w 1110409"/>
                <a:gd name="connsiteY2993" fmla="*/ 447540 h 693846"/>
                <a:gd name="connsiteX2994" fmla="*/ 1004832 w 1110409"/>
                <a:gd name="connsiteY2994" fmla="*/ 447540 h 693846"/>
                <a:gd name="connsiteX2995" fmla="*/ 1002835 w 1110409"/>
                <a:gd name="connsiteY2995" fmla="*/ 445150 h 693846"/>
                <a:gd name="connsiteX2996" fmla="*/ 1001595 w 1110409"/>
                <a:gd name="connsiteY2996" fmla="*/ 442276 h 693846"/>
                <a:gd name="connsiteX2997" fmla="*/ 1002835 w 1110409"/>
                <a:gd name="connsiteY2997" fmla="*/ 440854 h 693846"/>
                <a:gd name="connsiteX2998" fmla="*/ 1016236 w 1110409"/>
                <a:gd name="connsiteY2998" fmla="*/ 440854 h 693846"/>
                <a:gd name="connsiteX2999" fmla="*/ 1018142 w 1110409"/>
                <a:gd name="connsiteY2999" fmla="*/ 439644 h 693846"/>
                <a:gd name="connsiteX3000" fmla="*/ 1019201 w 1110409"/>
                <a:gd name="connsiteY3000" fmla="*/ 437980 h 693846"/>
                <a:gd name="connsiteX3001" fmla="*/ 1019322 w 1110409"/>
                <a:gd name="connsiteY3001" fmla="*/ 435923 h 693846"/>
                <a:gd name="connsiteX3002" fmla="*/ 1018354 w 1110409"/>
                <a:gd name="connsiteY3002" fmla="*/ 433503 h 693846"/>
                <a:gd name="connsiteX3003" fmla="*/ 1016418 w 1110409"/>
                <a:gd name="connsiteY3003" fmla="*/ 431385 h 693846"/>
                <a:gd name="connsiteX3004" fmla="*/ 1012395 w 1110409"/>
                <a:gd name="connsiteY3004" fmla="*/ 429449 h 693846"/>
                <a:gd name="connsiteX3005" fmla="*/ 1010761 w 1110409"/>
                <a:gd name="connsiteY3005" fmla="*/ 427604 h 693846"/>
                <a:gd name="connsiteX3006" fmla="*/ 1015934 w 1110409"/>
                <a:gd name="connsiteY3006" fmla="*/ 423823 h 693846"/>
                <a:gd name="connsiteX3007" fmla="*/ 1032814 w 1110409"/>
                <a:gd name="connsiteY3007" fmla="*/ 429086 h 693846"/>
                <a:gd name="connsiteX3008" fmla="*/ 1032118 w 1110409"/>
                <a:gd name="connsiteY3008" fmla="*/ 427604 h 693846"/>
                <a:gd name="connsiteX3009" fmla="*/ 1033208 w 1110409"/>
                <a:gd name="connsiteY3009" fmla="*/ 425184 h 693846"/>
                <a:gd name="connsiteX3010" fmla="*/ 1031362 w 1110409"/>
                <a:gd name="connsiteY3010" fmla="*/ 423308 h 693846"/>
                <a:gd name="connsiteX3011" fmla="*/ 1026250 w 1110409"/>
                <a:gd name="connsiteY3011" fmla="*/ 421675 h 693846"/>
                <a:gd name="connsiteX3012" fmla="*/ 1024919 w 1110409"/>
                <a:gd name="connsiteY3012" fmla="*/ 420434 h 693846"/>
                <a:gd name="connsiteX3013" fmla="*/ 1023043 w 1110409"/>
                <a:gd name="connsiteY3013" fmla="*/ 417500 h 693846"/>
                <a:gd name="connsiteX3014" fmla="*/ 1021651 w 1110409"/>
                <a:gd name="connsiteY3014" fmla="*/ 414082 h 693846"/>
                <a:gd name="connsiteX3015" fmla="*/ 1021803 w 1110409"/>
                <a:gd name="connsiteY3015" fmla="*/ 411359 h 693846"/>
                <a:gd name="connsiteX3016" fmla="*/ 1021803 w 1110409"/>
                <a:gd name="connsiteY3016" fmla="*/ 409877 h 693846"/>
                <a:gd name="connsiteX3017" fmla="*/ 1020139 w 1110409"/>
                <a:gd name="connsiteY3017" fmla="*/ 409695 h 693846"/>
                <a:gd name="connsiteX3018" fmla="*/ 1015057 w 1110409"/>
                <a:gd name="connsiteY3018" fmla="*/ 407124 h 693846"/>
                <a:gd name="connsiteX3019" fmla="*/ 1013484 w 1110409"/>
                <a:gd name="connsiteY3019" fmla="*/ 405309 h 693846"/>
                <a:gd name="connsiteX3020" fmla="*/ 1013726 w 1110409"/>
                <a:gd name="connsiteY3020" fmla="*/ 403736 h 693846"/>
                <a:gd name="connsiteX3021" fmla="*/ 1014391 w 1110409"/>
                <a:gd name="connsiteY3021" fmla="*/ 401285 h 693846"/>
                <a:gd name="connsiteX3022" fmla="*/ 1014512 w 1110409"/>
                <a:gd name="connsiteY3022" fmla="*/ 399047 h 693846"/>
                <a:gd name="connsiteX3023" fmla="*/ 1013121 w 1110409"/>
                <a:gd name="connsiteY3023" fmla="*/ 398048 h 693846"/>
                <a:gd name="connsiteX3024" fmla="*/ 1010731 w 1110409"/>
                <a:gd name="connsiteY3024" fmla="*/ 398109 h 693846"/>
                <a:gd name="connsiteX3025" fmla="*/ 1009642 w 1110409"/>
                <a:gd name="connsiteY3025" fmla="*/ 397685 h 693846"/>
                <a:gd name="connsiteX3026" fmla="*/ 1008643 w 1110409"/>
                <a:gd name="connsiteY3026" fmla="*/ 396445 h 693846"/>
                <a:gd name="connsiteX3027" fmla="*/ 1016539 w 1110409"/>
                <a:gd name="connsiteY3027" fmla="*/ 398079 h 693846"/>
                <a:gd name="connsiteX3028" fmla="*/ 1018021 w 1110409"/>
                <a:gd name="connsiteY3028" fmla="*/ 399228 h 693846"/>
                <a:gd name="connsiteX3029" fmla="*/ 1020744 w 1110409"/>
                <a:gd name="connsiteY3029" fmla="*/ 404250 h 693846"/>
                <a:gd name="connsiteX3030" fmla="*/ 1023315 w 1110409"/>
                <a:gd name="connsiteY3030" fmla="*/ 406670 h 693846"/>
                <a:gd name="connsiteX3031" fmla="*/ 1026189 w 1110409"/>
                <a:gd name="connsiteY3031" fmla="*/ 415140 h 693846"/>
                <a:gd name="connsiteX3032" fmla="*/ 1027520 w 1110409"/>
                <a:gd name="connsiteY3032" fmla="*/ 416592 h 693846"/>
                <a:gd name="connsiteX3033" fmla="*/ 1029517 w 1110409"/>
                <a:gd name="connsiteY3033" fmla="*/ 417772 h 693846"/>
                <a:gd name="connsiteX3034" fmla="*/ 1033117 w 1110409"/>
                <a:gd name="connsiteY3034" fmla="*/ 418831 h 693846"/>
                <a:gd name="connsiteX3035" fmla="*/ 1055473 w 1110409"/>
                <a:gd name="connsiteY3035" fmla="*/ 414414 h 693846"/>
                <a:gd name="connsiteX3036" fmla="*/ 1060101 w 1110409"/>
                <a:gd name="connsiteY3036" fmla="*/ 410542 h 693846"/>
                <a:gd name="connsiteX3037" fmla="*/ 1061735 w 1110409"/>
                <a:gd name="connsiteY3037" fmla="*/ 409967 h 693846"/>
                <a:gd name="connsiteX3038" fmla="*/ 1060222 w 1110409"/>
                <a:gd name="connsiteY3038" fmla="*/ 407003 h 693846"/>
                <a:gd name="connsiteX3039" fmla="*/ 1058588 w 1110409"/>
                <a:gd name="connsiteY3039" fmla="*/ 404613 h 693846"/>
                <a:gd name="connsiteX3040" fmla="*/ 1055503 w 1110409"/>
                <a:gd name="connsiteY3040" fmla="*/ 401073 h 693846"/>
                <a:gd name="connsiteX3041" fmla="*/ 1055503 w 1110409"/>
                <a:gd name="connsiteY3041" fmla="*/ 399440 h 693846"/>
                <a:gd name="connsiteX3042" fmla="*/ 1057530 w 1110409"/>
                <a:gd name="connsiteY3042" fmla="*/ 398260 h 693846"/>
                <a:gd name="connsiteX3043" fmla="*/ 1058377 w 1110409"/>
                <a:gd name="connsiteY3043" fmla="*/ 397504 h 693846"/>
                <a:gd name="connsiteX3044" fmla="*/ 1059012 w 1110409"/>
                <a:gd name="connsiteY3044" fmla="*/ 396475 h 693846"/>
                <a:gd name="connsiteX3045" fmla="*/ 1062219 w 1110409"/>
                <a:gd name="connsiteY3045" fmla="*/ 397685 h 693846"/>
                <a:gd name="connsiteX3046" fmla="*/ 1073714 w 1110409"/>
                <a:gd name="connsiteY3046" fmla="*/ 398139 h 693846"/>
                <a:gd name="connsiteX3047" fmla="*/ 1076588 w 1110409"/>
                <a:gd name="connsiteY3047" fmla="*/ 397292 h 693846"/>
                <a:gd name="connsiteX3048" fmla="*/ 1076527 w 1110409"/>
                <a:gd name="connsiteY3048" fmla="*/ 394963 h 693846"/>
                <a:gd name="connsiteX3049" fmla="*/ 1074712 w 1110409"/>
                <a:gd name="connsiteY3049" fmla="*/ 393329 h 693846"/>
                <a:gd name="connsiteX3050" fmla="*/ 1063792 w 1110409"/>
                <a:gd name="connsiteY3050" fmla="*/ 389215 h 693846"/>
                <a:gd name="connsiteX3051" fmla="*/ 1066817 w 1110409"/>
                <a:gd name="connsiteY3051" fmla="*/ 386765 h 693846"/>
                <a:gd name="connsiteX3052" fmla="*/ 1077314 w 1110409"/>
                <a:gd name="connsiteY3052" fmla="*/ 390576 h 693846"/>
                <a:gd name="connsiteX3053" fmla="*/ 1078645 w 1110409"/>
                <a:gd name="connsiteY3053" fmla="*/ 389881 h 693846"/>
                <a:gd name="connsiteX3054" fmla="*/ 1081156 w 1110409"/>
                <a:gd name="connsiteY3054" fmla="*/ 386795 h 693846"/>
                <a:gd name="connsiteX3055" fmla="*/ 1082790 w 1110409"/>
                <a:gd name="connsiteY3055" fmla="*/ 386099 h 693846"/>
                <a:gd name="connsiteX3056" fmla="*/ 1083879 w 1110409"/>
                <a:gd name="connsiteY3056" fmla="*/ 385282 h 693846"/>
                <a:gd name="connsiteX3057" fmla="*/ 1083546 w 1110409"/>
                <a:gd name="connsiteY3057" fmla="*/ 383407 h 693846"/>
                <a:gd name="connsiteX3058" fmla="*/ 1082578 w 1110409"/>
                <a:gd name="connsiteY3058" fmla="*/ 381410 h 693846"/>
                <a:gd name="connsiteX3059" fmla="*/ 1081761 w 1110409"/>
                <a:gd name="connsiteY3059" fmla="*/ 380139 h 693846"/>
                <a:gd name="connsiteX3060" fmla="*/ 1075257 w 1110409"/>
                <a:gd name="connsiteY3060" fmla="*/ 375148 h 693846"/>
                <a:gd name="connsiteX3061" fmla="*/ 1060857 w 1110409"/>
                <a:gd name="connsiteY3061" fmla="*/ 372032 h 693846"/>
                <a:gd name="connsiteX3062" fmla="*/ 1054928 w 1110409"/>
                <a:gd name="connsiteY3062" fmla="*/ 368069 h 693846"/>
                <a:gd name="connsiteX3063" fmla="*/ 1056652 w 1110409"/>
                <a:gd name="connsiteY3063" fmla="*/ 367222 h 693846"/>
                <a:gd name="connsiteX3064" fmla="*/ 1062824 w 1110409"/>
                <a:gd name="connsiteY3064" fmla="*/ 369673 h 693846"/>
                <a:gd name="connsiteX3065" fmla="*/ 1072837 w 1110409"/>
                <a:gd name="connsiteY3065" fmla="*/ 368039 h 693846"/>
                <a:gd name="connsiteX3066" fmla="*/ 1081640 w 1110409"/>
                <a:gd name="connsiteY3066" fmla="*/ 372032 h 693846"/>
                <a:gd name="connsiteX3067" fmla="*/ 1086571 w 1110409"/>
                <a:gd name="connsiteY3067" fmla="*/ 372728 h 693846"/>
                <a:gd name="connsiteX3068" fmla="*/ 1090746 w 1110409"/>
                <a:gd name="connsiteY3068" fmla="*/ 369673 h 693846"/>
                <a:gd name="connsiteX3069" fmla="*/ 1088749 w 1110409"/>
                <a:gd name="connsiteY3069" fmla="*/ 366526 h 693846"/>
                <a:gd name="connsiteX3070" fmla="*/ 1078373 w 1110409"/>
                <a:gd name="connsiteY3070" fmla="*/ 362079 h 693846"/>
                <a:gd name="connsiteX3071" fmla="*/ 1073684 w 1110409"/>
                <a:gd name="connsiteY3071" fmla="*/ 358086 h 693846"/>
                <a:gd name="connsiteX3072" fmla="*/ 1072837 w 1110409"/>
                <a:gd name="connsiteY3072" fmla="*/ 356906 h 693846"/>
                <a:gd name="connsiteX3073" fmla="*/ 1072323 w 1110409"/>
                <a:gd name="connsiteY3073" fmla="*/ 354759 h 693846"/>
                <a:gd name="connsiteX3074" fmla="*/ 1071082 w 1110409"/>
                <a:gd name="connsiteY3074" fmla="*/ 352641 h 693846"/>
                <a:gd name="connsiteX3075" fmla="*/ 1069691 w 1110409"/>
                <a:gd name="connsiteY3075" fmla="*/ 350977 h 693846"/>
                <a:gd name="connsiteX3076" fmla="*/ 1068662 w 1110409"/>
                <a:gd name="connsiteY3076" fmla="*/ 350130 h 693846"/>
                <a:gd name="connsiteX3077" fmla="*/ 1036928 w 1110409"/>
                <a:gd name="connsiteY3077" fmla="*/ 347286 h 693846"/>
                <a:gd name="connsiteX3078" fmla="*/ 1036928 w 1110409"/>
                <a:gd name="connsiteY3078" fmla="*/ 345653 h 693846"/>
                <a:gd name="connsiteX3079" fmla="*/ 1057409 w 1110409"/>
                <a:gd name="connsiteY3079" fmla="*/ 344927 h 693846"/>
                <a:gd name="connsiteX3080" fmla="*/ 1061039 w 1110409"/>
                <a:gd name="connsiteY3080" fmla="*/ 341176 h 693846"/>
                <a:gd name="connsiteX3081" fmla="*/ 1059889 w 1110409"/>
                <a:gd name="connsiteY3081" fmla="*/ 340540 h 693846"/>
                <a:gd name="connsiteX3082" fmla="*/ 1058649 w 1110409"/>
                <a:gd name="connsiteY3082" fmla="*/ 339361 h 693846"/>
                <a:gd name="connsiteX3083" fmla="*/ 1057590 w 1110409"/>
                <a:gd name="connsiteY3083" fmla="*/ 337606 h 693846"/>
                <a:gd name="connsiteX3084" fmla="*/ 1056955 w 1110409"/>
                <a:gd name="connsiteY3084" fmla="*/ 335186 h 693846"/>
                <a:gd name="connsiteX3085" fmla="*/ 1060041 w 1110409"/>
                <a:gd name="connsiteY3085" fmla="*/ 336335 h 693846"/>
                <a:gd name="connsiteX3086" fmla="*/ 1065637 w 1110409"/>
                <a:gd name="connsiteY3086" fmla="*/ 341387 h 693846"/>
                <a:gd name="connsiteX3087" fmla="*/ 1070901 w 1110409"/>
                <a:gd name="connsiteY3087" fmla="*/ 343021 h 693846"/>
                <a:gd name="connsiteX3088" fmla="*/ 1074229 w 1110409"/>
                <a:gd name="connsiteY3088" fmla="*/ 345169 h 693846"/>
                <a:gd name="connsiteX3089" fmla="*/ 1075862 w 1110409"/>
                <a:gd name="connsiteY3089" fmla="*/ 345653 h 693846"/>
                <a:gd name="connsiteX3090" fmla="*/ 1077435 w 1110409"/>
                <a:gd name="connsiteY3090" fmla="*/ 346833 h 693846"/>
                <a:gd name="connsiteX3091" fmla="*/ 1078494 w 1110409"/>
                <a:gd name="connsiteY3091" fmla="*/ 349555 h 693846"/>
                <a:gd name="connsiteX3092" fmla="*/ 1079311 w 1110409"/>
                <a:gd name="connsiteY3092" fmla="*/ 352580 h 693846"/>
                <a:gd name="connsiteX3093" fmla="*/ 1080279 w 1110409"/>
                <a:gd name="connsiteY3093" fmla="*/ 354607 h 693846"/>
                <a:gd name="connsiteX3094" fmla="*/ 1082336 w 1110409"/>
                <a:gd name="connsiteY3094" fmla="*/ 355636 h 693846"/>
                <a:gd name="connsiteX3095" fmla="*/ 1088598 w 1110409"/>
                <a:gd name="connsiteY3095" fmla="*/ 354607 h 693846"/>
                <a:gd name="connsiteX3096" fmla="*/ 1095858 w 1110409"/>
                <a:gd name="connsiteY3096" fmla="*/ 356241 h 693846"/>
                <a:gd name="connsiteX3097" fmla="*/ 1097401 w 1110409"/>
                <a:gd name="connsiteY3097" fmla="*/ 355515 h 693846"/>
                <a:gd name="connsiteX3098" fmla="*/ 1100547 w 1110409"/>
                <a:gd name="connsiteY3098" fmla="*/ 352338 h 693846"/>
                <a:gd name="connsiteX3099" fmla="*/ 1102120 w 1110409"/>
                <a:gd name="connsiteY3099" fmla="*/ 351612 h 693846"/>
                <a:gd name="connsiteX3100" fmla="*/ 1102393 w 1110409"/>
                <a:gd name="connsiteY3100" fmla="*/ 350675 h 693846"/>
                <a:gd name="connsiteX3101" fmla="*/ 1101485 w 1110409"/>
                <a:gd name="connsiteY3101" fmla="*/ 348618 h 693846"/>
                <a:gd name="connsiteX3102" fmla="*/ 1099700 w 1110409"/>
                <a:gd name="connsiteY3102" fmla="*/ 345623 h 693846"/>
                <a:gd name="connsiteX3103" fmla="*/ 1101697 w 1110409"/>
                <a:gd name="connsiteY3103" fmla="*/ 344050 h 693846"/>
                <a:gd name="connsiteX3104" fmla="*/ 1105962 w 1110409"/>
                <a:gd name="connsiteY3104" fmla="*/ 342900 h 693846"/>
                <a:gd name="connsiteX3105" fmla="*/ 1107989 w 1110409"/>
                <a:gd name="connsiteY3105" fmla="*/ 341176 h 693846"/>
                <a:gd name="connsiteX3106" fmla="*/ 1109744 w 1110409"/>
                <a:gd name="connsiteY3106" fmla="*/ 338181 h 693846"/>
                <a:gd name="connsiteX3107" fmla="*/ 1110409 w 1110409"/>
                <a:gd name="connsiteY3107" fmla="*/ 335519 h 693846"/>
                <a:gd name="connsiteX3108" fmla="*/ 1109865 w 1110409"/>
                <a:gd name="connsiteY3108" fmla="*/ 333431 h 693846"/>
                <a:gd name="connsiteX3109" fmla="*/ 658362 w 1110409"/>
                <a:gd name="connsiteY3109" fmla="*/ 7170 h 693846"/>
                <a:gd name="connsiteX3110" fmla="*/ 660298 w 1110409"/>
                <a:gd name="connsiteY3110" fmla="*/ 5839 h 693846"/>
                <a:gd name="connsiteX3111" fmla="*/ 660722 w 1110409"/>
                <a:gd name="connsiteY3111" fmla="*/ 3691 h 693846"/>
                <a:gd name="connsiteX3112" fmla="*/ 659965 w 1110409"/>
                <a:gd name="connsiteY3112" fmla="*/ 3146 h 693846"/>
                <a:gd name="connsiteX3113" fmla="*/ 657454 w 1110409"/>
                <a:gd name="connsiteY3113" fmla="*/ 0 h 693846"/>
                <a:gd name="connsiteX3114" fmla="*/ 656396 w 1110409"/>
                <a:gd name="connsiteY3114" fmla="*/ 666 h 693846"/>
                <a:gd name="connsiteX3115" fmla="*/ 656638 w 1110409"/>
                <a:gd name="connsiteY3115" fmla="*/ 4477 h 693846"/>
                <a:gd name="connsiteX3116" fmla="*/ 658392 w 1110409"/>
                <a:gd name="connsiteY3116" fmla="*/ 7170 h 69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Lst>
              <a:rect l="l" t="t" r="r" b="b"/>
              <a:pathLst>
                <a:path w="1110409" h="693846">
                  <a:moveTo>
                    <a:pt x="430720" y="683773"/>
                  </a:moveTo>
                  <a:lnTo>
                    <a:pt x="431204" y="682745"/>
                  </a:lnTo>
                  <a:lnTo>
                    <a:pt x="431022" y="682382"/>
                  </a:lnTo>
                  <a:lnTo>
                    <a:pt x="428633" y="682533"/>
                  </a:lnTo>
                  <a:lnTo>
                    <a:pt x="426636" y="683501"/>
                  </a:lnTo>
                  <a:lnTo>
                    <a:pt x="426334" y="685830"/>
                  </a:lnTo>
                  <a:lnTo>
                    <a:pt x="427090" y="688250"/>
                  </a:lnTo>
                  <a:lnTo>
                    <a:pt x="427755" y="689854"/>
                  </a:lnTo>
                  <a:lnTo>
                    <a:pt x="428239" y="691699"/>
                  </a:lnTo>
                  <a:lnTo>
                    <a:pt x="428965" y="692455"/>
                  </a:lnTo>
                  <a:lnTo>
                    <a:pt x="429964" y="691124"/>
                  </a:lnTo>
                  <a:lnTo>
                    <a:pt x="430932" y="689158"/>
                  </a:lnTo>
                  <a:lnTo>
                    <a:pt x="431688" y="686919"/>
                  </a:lnTo>
                  <a:lnTo>
                    <a:pt x="431143" y="684560"/>
                  </a:lnTo>
                  <a:lnTo>
                    <a:pt x="430750" y="683803"/>
                  </a:lnTo>
                  <a:close/>
                  <a:moveTo>
                    <a:pt x="683350" y="626991"/>
                  </a:moveTo>
                  <a:lnTo>
                    <a:pt x="681898" y="626719"/>
                  </a:lnTo>
                  <a:lnTo>
                    <a:pt x="681141" y="626931"/>
                  </a:lnTo>
                  <a:lnTo>
                    <a:pt x="679417" y="627959"/>
                  </a:lnTo>
                  <a:lnTo>
                    <a:pt x="676331" y="630773"/>
                  </a:lnTo>
                  <a:lnTo>
                    <a:pt x="676089" y="632497"/>
                  </a:lnTo>
                  <a:lnTo>
                    <a:pt x="680476" y="631075"/>
                  </a:lnTo>
                  <a:lnTo>
                    <a:pt x="681565" y="630924"/>
                  </a:lnTo>
                  <a:lnTo>
                    <a:pt x="682412" y="631529"/>
                  </a:lnTo>
                  <a:lnTo>
                    <a:pt x="682563" y="632739"/>
                  </a:lnTo>
                  <a:lnTo>
                    <a:pt x="682049" y="633858"/>
                  </a:lnTo>
                  <a:lnTo>
                    <a:pt x="681353" y="634736"/>
                  </a:lnTo>
                  <a:lnTo>
                    <a:pt x="681958" y="634494"/>
                  </a:lnTo>
                  <a:lnTo>
                    <a:pt x="683531" y="632406"/>
                  </a:lnTo>
                  <a:lnTo>
                    <a:pt x="684136" y="630047"/>
                  </a:lnTo>
                  <a:lnTo>
                    <a:pt x="684076" y="628292"/>
                  </a:lnTo>
                  <a:lnTo>
                    <a:pt x="683319" y="626991"/>
                  </a:lnTo>
                  <a:close/>
                  <a:moveTo>
                    <a:pt x="618188" y="130414"/>
                  </a:moveTo>
                  <a:lnTo>
                    <a:pt x="618400" y="132169"/>
                  </a:lnTo>
                  <a:lnTo>
                    <a:pt x="619005" y="133530"/>
                  </a:lnTo>
                  <a:lnTo>
                    <a:pt x="619882" y="134407"/>
                  </a:lnTo>
                  <a:lnTo>
                    <a:pt x="621092" y="134770"/>
                  </a:lnTo>
                  <a:lnTo>
                    <a:pt x="622423" y="133953"/>
                  </a:lnTo>
                  <a:lnTo>
                    <a:pt x="622423" y="131321"/>
                  </a:lnTo>
                  <a:lnTo>
                    <a:pt x="620941" y="128296"/>
                  </a:lnTo>
                  <a:lnTo>
                    <a:pt x="620033" y="127026"/>
                  </a:lnTo>
                  <a:lnTo>
                    <a:pt x="619126" y="125574"/>
                  </a:lnTo>
                  <a:lnTo>
                    <a:pt x="617190" y="123547"/>
                  </a:lnTo>
                  <a:lnTo>
                    <a:pt x="616585" y="124394"/>
                  </a:lnTo>
                  <a:lnTo>
                    <a:pt x="617583" y="127631"/>
                  </a:lnTo>
                  <a:lnTo>
                    <a:pt x="618158" y="130414"/>
                  </a:lnTo>
                  <a:close/>
                  <a:moveTo>
                    <a:pt x="1110318" y="332978"/>
                  </a:moveTo>
                  <a:lnTo>
                    <a:pt x="1108443" y="331707"/>
                  </a:lnTo>
                  <a:lnTo>
                    <a:pt x="1108443" y="330073"/>
                  </a:lnTo>
                  <a:lnTo>
                    <a:pt x="1109048" y="327442"/>
                  </a:lnTo>
                  <a:lnTo>
                    <a:pt x="1109381" y="322964"/>
                  </a:lnTo>
                  <a:lnTo>
                    <a:pt x="1109381" y="318275"/>
                  </a:lnTo>
                  <a:lnTo>
                    <a:pt x="1109139" y="315069"/>
                  </a:lnTo>
                  <a:lnTo>
                    <a:pt x="1105024" y="319576"/>
                  </a:lnTo>
                  <a:lnTo>
                    <a:pt x="1102090" y="324870"/>
                  </a:lnTo>
                  <a:lnTo>
                    <a:pt x="1101878" y="325747"/>
                  </a:lnTo>
                  <a:lnTo>
                    <a:pt x="1101031" y="326413"/>
                  </a:lnTo>
                  <a:lnTo>
                    <a:pt x="1099428" y="329438"/>
                  </a:lnTo>
                  <a:lnTo>
                    <a:pt x="1098430" y="330104"/>
                  </a:lnTo>
                  <a:lnTo>
                    <a:pt x="1098006" y="329680"/>
                  </a:lnTo>
                  <a:lnTo>
                    <a:pt x="1097431" y="328712"/>
                  </a:lnTo>
                  <a:lnTo>
                    <a:pt x="1096645" y="327714"/>
                  </a:lnTo>
                  <a:lnTo>
                    <a:pt x="1095646" y="327260"/>
                  </a:lnTo>
                  <a:lnTo>
                    <a:pt x="1092531" y="327260"/>
                  </a:lnTo>
                  <a:lnTo>
                    <a:pt x="1093287" y="325929"/>
                  </a:lnTo>
                  <a:lnTo>
                    <a:pt x="1094104" y="324961"/>
                  </a:lnTo>
                  <a:lnTo>
                    <a:pt x="1094981" y="324356"/>
                  </a:lnTo>
                  <a:lnTo>
                    <a:pt x="1095949" y="324114"/>
                  </a:lnTo>
                  <a:lnTo>
                    <a:pt x="1095949" y="322753"/>
                  </a:lnTo>
                  <a:lnTo>
                    <a:pt x="1094134" y="321240"/>
                  </a:lnTo>
                  <a:lnTo>
                    <a:pt x="1086359" y="322753"/>
                  </a:lnTo>
                  <a:lnTo>
                    <a:pt x="1086359" y="321119"/>
                  </a:lnTo>
                  <a:lnTo>
                    <a:pt x="1089536" y="319939"/>
                  </a:lnTo>
                  <a:lnTo>
                    <a:pt x="1092924" y="319637"/>
                  </a:lnTo>
                  <a:lnTo>
                    <a:pt x="1096736" y="318003"/>
                  </a:lnTo>
                  <a:lnTo>
                    <a:pt x="1097250" y="317005"/>
                  </a:lnTo>
                  <a:lnTo>
                    <a:pt x="1097250" y="316158"/>
                  </a:lnTo>
                  <a:lnTo>
                    <a:pt x="1097159" y="315159"/>
                  </a:lnTo>
                  <a:lnTo>
                    <a:pt x="1097431" y="313768"/>
                  </a:lnTo>
                  <a:lnTo>
                    <a:pt x="1098974" y="311348"/>
                  </a:lnTo>
                  <a:lnTo>
                    <a:pt x="1099458" y="309744"/>
                  </a:lnTo>
                  <a:lnTo>
                    <a:pt x="1098460" y="308988"/>
                  </a:lnTo>
                  <a:lnTo>
                    <a:pt x="1094678" y="308988"/>
                  </a:lnTo>
                  <a:lnTo>
                    <a:pt x="1087751" y="310622"/>
                  </a:lnTo>
                  <a:lnTo>
                    <a:pt x="1072262" y="308988"/>
                  </a:lnTo>
                  <a:lnTo>
                    <a:pt x="1060555" y="311287"/>
                  </a:lnTo>
                  <a:lnTo>
                    <a:pt x="1057469" y="308988"/>
                  </a:lnTo>
                  <a:lnTo>
                    <a:pt x="1063641" y="308988"/>
                  </a:lnTo>
                  <a:lnTo>
                    <a:pt x="1069479" y="307627"/>
                  </a:lnTo>
                  <a:lnTo>
                    <a:pt x="1082941" y="307627"/>
                  </a:lnTo>
                  <a:lnTo>
                    <a:pt x="1095677" y="304632"/>
                  </a:lnTo>
                  <a:lnTo>
                    <a:pt x="1097855" y="303331"/>
                  </a:lnTo>
                  <a:lnTo>
                    <a:pt x="1101939" y="297341"/>
                  </a:lnTo>
                  <a:lnTo>
                    <a:pt x="1104329" y="295587"/>
                  </a:lnTo>
                  <a:lnTo>
                    <a:pt x="1103814" y="294346"/>
                  </a:lnTo>
                  <a:lnTo>
                    <a:pt x="1102877" y="292047"/>
                  </a:lnTo>
                  <a:lnTo>
                    <a:pt x="1100305" y="289446"/>
                  </a:lnTo>
                  <a:lnTo>
                    <a:pt x="1095314" y="286360"/>
                  </a:lnTo>
                  <a:lnTo>
                    <a:pt x="1092258" y="285513"/>
                  </a:lnTo>
                  <a:lnTo>
                    <a:pt x="1082548" y="287873"/>
                  </a:lnTo>
                  <a:lnTo>
                    <a:pt x="1077677" y="287449"/>
                  </a:lnTo>
                  <a:lnTo>
                    <a:pt x="1061735" y="292955"/>
                  </a:lnTo>
                  <a:lnTo>
                    <a:pt x="1060162" y="290898"/>
                  </a:lnTo>
                  <a:lnTo>
                    <a:pt x="1062733" y="289325"/>
                  </a:lnTo>
                  <a:lnTo>
                    <a:pt x="1071143" y="287873"/>
                  </a:lnTo>
                  <a:lnTo>
                    <a:pt x="1075378" y="285422"/>
                  </a:lnTo>
                  <a:lnTo>
                    <a:pt x="1077496" y="284787"/>
                  </a:lnTo>
                  <a:lnTo>
                    <a:pt x="1082517" y="284787"/>
                  </a:lnTo>
                  <a:lnTo>
                    <a:pt x="1085724" y="283395"/>
                  </a:lnTo>
                  <a:lnTo>
                    <a:pt x="1088023" y="280915"/>
                  </a:lnTo>
                  <a:lnTo>
                    <a:pt x="1087690" y="277285"/>
                  </a:lnTo>
                  <a:lnTo>
                    <a:pt x="1079855" y="274713"/>
                  </a:lnTo>
                  <a:lnTo>
                    <a:pt x="1077375" y="272717"/>
                  </a:lnTo>
                  <a:lnTo>
                    <a:pt x="1081368" y="270690"/>
                  </a:lnTo>
                  <a:lnTo>
                    <a:pt x="1090534" y="271960"/>
                  </a:lnTo>
                  <a:lnTo>
                    <a:pt x="1093922" y="269692"/>
                  </a:lnTo>
                  <a:lnTo>
                    <a:pt x="1093922" y="267211"/>
                  </a:lnTo>
                  <a:lnTo>
                    <a:pt x="1094255" y="265154"/>
                  </a:lnTo>
                  <a:lnTo>
                    <a:pt x="1094255" y="263460"/>
                  </a:lnTo>
                  <a:lnTo>
                    <a:pt x="1093257" y="262098"/>
                  </a:lnTo>
                  <a:lnTo>
                    <a:pt x="1096705" y="259799"/>
                  </a:lnTo>
                  <a:lnTo>
                    <a:pt x="1097371" y="258922"/>
                  </a:lnTo>
                  <a:lnTo>
                    <a:pt x="1097371" y="256986"/>
                  </a:lnTo>
                  <a:lnTo>
                    <a:pt x="1096191" y="252751"/>
                  </a:lnTo>
                  <a:lnTo>
                    <a:pt x="1095949" y="251450"/>
                  </a:lnTo>
                  <a:lnTo>
                    <a:pt x="1097008" y="249423"/>
                  </a:lnTo>
                  <a:lnTo>
                    <a:pt x="1098853" y="247305"/>
                  </a:lnTo>
                  <a:lnTo>
                    <a:pt x="1100275" y="244220"/>
                  </a:lnTo>
                  <a:lnTo>
                    <a:pt x="1100124" y="239289"/>
                  </a:lnTo>
                  <a:lnTo>
                    <a:pt x="1099488" y="238260"/>
                  </a:lnTo>
                  <a:lnTo>
                    <a:pt x="1095949" y="234600"/>
                  </a:lnTo>
                  <a:lnTo>
                    <a:pt x="1095344" y="234358"/>
                  </a:lnTo>
                  <a:lnTo>
                    <a:pt x="1093892" y="234781"/>
                  </a:lnTo>
                  <a:lnTo>
                    <a:pt x="1093257" y="234630"/>
                  </a:lnTo>
                  <a:lnTo>
                    <a:pt x="1093136" y="233904"/>
                  </a:lnTo>
                  <a:lnTo>
                    <a:pt x="1093136" y="232573"/>
                  </a:lnTo>
                  <a:lnTo>
                    <a:pt x="1093045" y="231151"/>
                  </a:lnTo>
                  <a:lnTo>
                    <a:pt x="1092531" y="230213"/>
                  </a:lnTo>
                  <a:lnTo>
                    <a:pt x="1089505" y="229518"/>
                  </a:lnTo>
                  <a:lnTo>
                    <a:pt x="1086934" y="231302"/>
                  </a:lnTo>
                  <a:lnTo>
                    <a:pt x="1082245" y="237716"/>
                  </a:lnTo>
                  <a:lnTo>
                    <a:pt x="1080430" y="236173"/>
                  </a:lnTo>
                  <a:lnTo>
                    <a:pt x="1079553" y="234933"/>
                  </a:lnTo>
                  <a:lnTo>
                    <a:pt x="1078857" y="233299"/>
                  </a:lnTo>
                  <a:lnTo>
                    <a:pt x="1079341" y="230667"/>
                  </a:lnTo>
                  <a:lnTo>
                    <a:pt x="1079583" y="228610"/>
                  </a:lnTo>
                  <a:lnTo>
                    <a:pt x="1079492" y="227067"/>
                  </a:lnTo>
                  <a:lnTo>
                    <a:pt x="1078554" y="225736"/>
                  </a:lnTo>
                  <a:lnTo>
                    <a:pt x="1077163" y="225282"/>
                  </a:lnTo>
                  <a:lnTo>
                    <a:pt x="1073986" y="225403"/>
                  </a:lnTo>
                  <a:lnTo>
                    <a:pt x="1073986" y="224012"/>
                  </a:lnTo>
                  <a:lnTo>
                    <a:pt x="1075318" y="223588"/>
                  </a:lnTo>
                  <a:lnTo>
                    <a:pt x="1075862" y="222015"/>
                  </a:lnTo>
                  <a:lnTo>
                    <a:pt x="1075741" y="219716"/>
                  </a:lnTo>
                  <a:lnTo>
                    <a:pt x="1074985" y="217024"/>
                  </a:lnTo>
                  <a:lnTo>
                    <a:pt x="1073805" y="215935"/>
                  </a:lnTo>
                  <a:lnTo>
                    <a:pt x="1071929" y="215693"/>
                  </a:lnTo>
                  <a:lnTo>
                    <a:pt x="1060888" y="218294"/>
                  </a:lnTo>
                  <a:lnTo>
                    <a:pt x="1058074" y="217871"/>
                  </a:lnTo>
                  <a:lnTo>
                    <a:pt x="1035960" y="205619"/>
                  </a:lnTo>
                  <a:lnTo>
                    <a:pt x="1037080" y="208100"/>
                  </a:lnTo>
                  <a:lnTo>
                    <a:pt x="1039923" y="211004"/>
                  </a:lnTo>
                  <a:lnTo>
                    <a:pt x="1041496" y="213152"/>
                  </a:lnTo>
                  <a:lnTo>
                    <a:pt x="1033510" y="207676"/>
                  </a:lnTo>
                  <a:lnTo>
                    <a:pt x="1030818" y="207041"/>
                  </a:lnTo>
                  <a:lnTo>
                    <a:pt x="1028640" y="208493"/>
                  </a:lnTo>
                  <a:lnTo>
                    <a:pt x="1016176" y="225797"/>
                  </a:lnTo>
                  <a:lnTo>
                    <a:pt x="1014331" y="229427"/>
                  </a:lnTo>
                  <a:lnTo>
                    <a:pt x="1013302" y="230909"/>
                  </a:lnTo>
                  <a:lnTo>
                    <a:pt x="1009944" y="234116"/>
                  </a:lnTo>
                  <a:lnTo>
                    <a:pt x="1008795" y="234721"/>
                  </a:lnTo>
                  <a:lnTo>
                    <a:pt x="1007736" y="235719"/>
                  </a:lnTo>
                  <a:lnTo>
                    <a:pt x="1005588" y="240590"/>
                  </a:lnTo>
                  <a:lnTo>
                    <a:pt x="1004317" y="242344"/>
                  </a:lnTo>
                  <a:lnTo>
                    <a:pt x="1004862" y="238623"/>
                  </a:lnTo>
                  <a:lnTo>
                    <a:pt x="1006042" y="235265"/>
                  </a:lnTo>
                  <a:lnTo>
                    <a:pt x="1007585" y="232452"/>
                  </a:lnTo>
                  <a:lnTo>
                    <a:pt x="1015238" y="223951"/>
                  </a:lnTo>
                  <a:lnTo>
                    <a:pt x="1017265" y="219172"/>
                  </a:lnTo>
                  <a:lnTo>
                    <a:pt x="1022468" y="213454"/>
                  </a:lnTo>
                  <a:lnTo>
                    <a:pt x="1024919" y="207676"/>
                  </a:lnTo>
                  <a:lnTo>
                    <a:pt x="1027853" y="205528"/>
                  </a:lnTo>
                  <a:lnTo>
                    <a:pt x="1033329" y="203985"/>
                  </a:lnTo>
                  <a:lnTo>
                    <a:pt x="1031453" y="201807"/>
                  </a:lnTo>
                  <a:lnTo>
                    <a:pt x="1025100" y="197844"/>
                  </a:lnTo>
                  <a:lnTo>
                    <a:pt x="1022801" y="196211"/>
                  </a:lnTo>
                  <a:lnTo>
                    <a:pt x="1022347" y="195636"/>
                  </a:lnTo>
                  <a:lnTo>
                    <a:pt x="1021924" y="194880"/>
                  </a:lnTo>
                  <a:lnTo>
                    <a:pt x="1021198" y="193004"/>
                  </a:lnTo>
                  <a:lnTo>
                    <a:pt x="1020956" y="191068"/>
                  </a:lnTo>
                  <a:lnTo>
                    <a:pt x="1023436" y="188739"/>
                  </a:lnTo>
                  <a:lnTo>
                    <a:pt x="1027792" y="179270"/>
                  </a:lnTo>
                  <a:lnTo>
                    <a:pt x="1024556" y="176033"/>
                  </a:lnTo>
                  <a:lnTo>
                    <a:pt x="1020441" y="177001"/>
                  </a:lnTo>
                  <a:lnTo>
                    <a:pt x="1012667" y="180964"/>
                  </a:lnTo>
                  <a:lnTo>
                    <a:pt x="991067" y="186379"/>
                  </a:lnTo>
                  <a:lnTo>
                    <a:pt x="983172" y="190614"/>
                  </a:lnTo>
                  <a:lnTo>
                    <a:pt x="979572" y="191582"/>
                  </a:lnTo>
                  <a:lnTo>
                    <a:pt x="976002" y="189919"/>
                  </a:lnTo>
                  <a:lnTo>
                    <a:pt x="977182" y="185865"/>
                  </a:lnTo>
                  <a:lnTo>
                    <a:pt x="980086" y="180813"/>
                  </a:lnTo>
                  <a:lnTo>
                    <a:pt x="981629" y="176184"/>
                  </a:lnTo>
                  <a:lnTo>
                    <a:pt x="976940" y="181841"/>
                  </a:lnTo>
                  <a:lnTo>
                    <a:pt x="974278" y="183838"/>
                  </a:lnTo>
                  <a:lnTo>
                    <a:pt x="971283" y="184019"/>
                  </a:lnTo>
                  <a:lnTo>
                    <a:pt x="976365" y="178846"/>
                  </a:lnTo>
                  <a:lnTo>
                    <a:pt x="978331" y="175640"/>
                  </a:lnTo>
                  <a:lnTo>
                    <a:pt x="978150" y="171707"/>
                  </a:lnTo>
                  <a:lnTo>
                    <a:pt x="980419" y="168985"/>
                  </a:lnTo>
                  <a:lnTo>
                    <a:pt x="987830" y="163842"/>
                  </a:lnTo>
                  <a:lnTo>
                    <a:pt x="994365" y="156309"/>
                  </a:lnTo>
                  <a:lnTo>
                    <a:pt x="995514" y="155341"/>
                  </a:lnTo>
                  <a:lnTo>
                    <a:pt x="995877" y="153798"/>
                  </a:lnTo>
                  <a:lnTo>
                    <a:pt x="998207" y="148232"/>
                  </a:lnTo>
                  <a:lnTo>
                    <a:pt x="998297" y="147264"/>
                  </a:lnTo>
                  <a:lnTo>
                    <a:pt x="998146" y="144783"/>
                  </a:lnTo>
                  <a:lnTo>
                    <a:pt x="998207" y="143755"/>
                  </a:lnTo>
                  <a:lnTo>
                    <a:pt x="998660" y="142817"/>
                  </a:lnTo>
                  <a:lnTo>
                    <a:pt x="999931" y="141607"/>
                  </a:lnTo>
                  <a:lnTo>
                    <a:pt x="1000233" y="140669"/>
                  </a:lnTo>
                  <a:lnTo>
                    <a:pt x="1000112" y="138189"/>
                  </a:lnTo>
                  <a:lnTo>
                    <a:pt x="999114" y="133106"/>
                  </a:lnTo>
                  <a:lnTo>
                    <a:pt x="998872" y="130505"/>
                  </a:lnTo>
                  <a:lnTo>
                    <a:pt x="998237" y="129658"/>
                  </a:lnTo>
                  <a:lnTo>
                    <a:pt x="996815" y="129355"/>
                  </a:lnTo>
                  <a:lnTo>
                    <a:pt x="995393" y="128448"/>
                  </a:lnTo>
                  <a:lnTo>
                    <a:pt x="994758" y="125785"/>
                  </a:lnTo>
                  <a:lnTo>
                    <a:pt x="994213" y="120612"/>
                  </a:lnTo>
                  <a:lnTo>
                    <a:pt x="992792" y="117194"/>
                  </a:lnTo>
                  <a:lnTo>
                    <a:pt x="990825" y="115076"/>
                  </a:lnTo>
                  <a:lnTo>
                    <a:pt x="988587" y="113957"/>
                  </a:lnTo>
                  <a:lnTo>
                    <a:pt x="983444" y="114532"/>
                  </a:lnTo>
                  <a:lnTo>
                    <a:pt x="975155" y="121520"/>
                  </a:lnTo>
                  <a:lnTo>
                    <a:pt x="970587" y="121883"/>
                  </a:lnTo>
                  <a:lnTo>
                    <a:pt x="964023" y="119039"/>
                  </a:lnTo>
                  <a:lnTo>
                    <a:pt x="952678" y="118676"/>
                  </a:lnTo>
                  <a:lnTo>
                    <a:pt x="950591" y="117194"/>
                  </a:lnTo>
                  <a:lnTo>
                    <a:pt x="951801" y="116408"/>
                  </a:lnTo>
                  <a:lnTo>
                    <a:pt x="953646" y="114623"/>
                  </a:lnTo>
                  <a:lnTo>
                    <a:pt x="954705" y="113927"/>
                  </a:lnTo>
                  <a:lnTo>
                    <a:pt x="954130" y="109601"/>
                  </a:lnTo>
                  <a:lnTo>
                    <a:pt x="952860" y="107816"/>
                  </a:lnTo>
                  <a:lnTo>
                    <a:pt x="946900" y="107453"/>
                  </a:lnTo>
                  <a:lnTo>
                    <a:pt x="945388" y="106818"/>
                  </a:lnTo>
                  <a:lnTo>
                    <a:pt x="942272" y="104579"/>
                  </a:lnTo>
                  <a:lnTo>
                    <a:pt x="944117" y="99497"/>
                  </a:lnTo>
                  <a:lnTo>
                    <a:pt x="946779" y="97289"/>
                  </a:lnTo>
                  <a:lnTo>
                    <a:pt x="953011" y="96926"/>
                  </a:lnTo>
                  <a:lnTo>
                    <a:pt x="954705" y="96169"/>
                  </a:lnTo>
                  <a:lnTo>
                    <a:pt x="964325" y="87548"/>
                  </a:lnTo>
                  <a:lnTo>
                    <a:pt x="965142" y="85823"/>
                  </a:lnTo>
                  <a:lnTo>
                    <a:pt x="966382" y="81981"/>
                  </a:lnTo>
                  <a:lnTo>
                    <a:pt x="966836" y="79259"/>
                  </a:lnTo>
                  <a:lnTo>
                    <a:pt x="966140" y="78018"/>
                  </a:lnTo>
                  <a:lnTo>
                    <a:pt x="965717" y="76990"/>
                  </a:lnTo>
                  <a:lnTo>
                    <a:pt x="963508" y="72906"/>
                  </a:lnTo>
                  <a:lnTo>
                    <a:pt x="962994" y="72452"/>
                  </a:lnTo>
                  <a:lnTo>
                    <a:pt x="962480" y="70637"/>
                  </a:lnTo>
                  <a:lnTo>
                    <a:pt x="961270" y="69457"/>
                  </a:lnTo>
                  <a:lnTo>
                    <a:pt x="958819" y="68580"/>
                  </a:lnTo>
                  <a:lnTo>
                    <a:pt x="961239" y="64557"/>
                  </a:lnTo>
                  <a:lnTo>
                    <a:pt x="964416" y="62106"/>
                  </a:lnTo>
                  <a:lnTo>
                    <a:pt x="973673" y="59928"/>
                  </a:lnTo>
                  <a:lnTo>
                    <a:pt x="981629" y="54271"/>
                  </a:lnTo>
                  <a:lnTo>
                    <a:pt x="999477" y="46708"/>
                  </a:lnTo>
                  <a:lnTo>
                    <a:pt x="1004227" y="41807"/>
                  </a:lnTo>
                  <a:lnTo>
                    <a:pt x="985047" y="44833"/>
                  </a:lnTo>
                  <a:lnTo>
                    <a:pt x="982688" y="43804"/>
                  </a:lnTo>
                  <a:lnTo>
                    <a:pt x="978815" y="40749"/>
                  </a:lnTo>
                  <a:lnTo>
                    <a:pt x="976426" y="40113"/>
                  </a:lnTo>
                  <a:lnTo>
                    <a:pt x="967804" y="41626"/>
                  </a:lnTo>
                  <a:lnTo>
                    <a:pt x="965112" y="43411"/>
                  </a:lnTo>
                  <a:lnTo>
                    <a:pt x="961179" y="47192"/>
                  </a:lnTo>
                  <a:lnTo>
                    <a:pt x="959485" y="50006"/>
                  </a:lnTo>
                  <a:lnTo>
                    <a:pt x="958789" y="53545"/>
                  </a:lnTo>
                  <a:lnTo>
                    <a:pt x="957670" y="56298"/>
                  </a:lnTo>
                  <a:lnTo>
                    <a:pt x="950530" y="60624"/>
                  </a:lnTo>
                  <a:lnTo>
                    <a:pt x="949986" y="62409"/>
                  </a:lnTo>
                  <a:lnTo>
                    <a:pt x="949895" y="64526"/>
                  </a:lnTo>
                  <a:lnTo>
                    <a:pt x="949350" y="66311"/>
                  </a:lnTo>
                  <a:lnTo>
                    <a:pt x="942272" y="68610"/>
                  </a:lnTo>
                  <a:lnTo>
                    <a:pt x="929899" y="68610"/>
                  </a:lnTo>
                  <a:lnTo>
                    <a:pt x="926965" y="70214"/>
                  </a:lnTo>
                  <a:lnTo>
                    <a:pt x="926299" y="72452"/>
                  </a:lnTo>
                  <a:lnTo>
                    <a:pt x="926722" y="75689"/>
                  </a:lnTo>
                  <a:lnTo>
                    <a:pt x="927116" y="80318"/>
                  </a:lnTo>
                  <a:lnTo>
                    <a:pt x="926813" y="84795"/>
                  </a:lnTo>
                  <a:lnTo>
                    <a:pt x="925996" y="88395"/>
                  </a:lnTo>
                  <a:lnTo>
                    <a:pt x="924696" y="90906"/>
                  </a:lnTo>
                  <a:lnTo>
                    <a:pt x="922911" y="92116"/>
                  </a:lnTo>
                  <a:lnTo>
                    <a:pt x="923213" y="92993"/>
                  </a:lnTo>
                  <a:lnTo>
                    <a:pt x="923546" y="93447"/>
                  </a:lnTo>
                  <a:lnTo>
                    <a:pt x="924363" y="93810"/>
                  </a:lnTo>
                  <a:lnTo>
                    <a:pt x="921973" y="95776"/>
                  </a:lnTo>
                  <a:lnTo>
                    <a:pt x="919976" y="93810"/>
                  </a:lnTo>
                  <a:lnTo>
                    <a:pt x="918010" y="90664"/>
                  </a:lnTo>
                  <a:lnTo>
                    <a:pt x="914743" y="88274"/>
                  </a:lnTo>
                  <a:lnTo>
                    <a:pt x="911748" y="85128"/>
                  </a:lnTo>
                  <a:lnTo>
                    <a:pt x="908904" y="83917"/>
                  </a:lnTo>
                  <a:lnTo>
                    <a:pt x="907906" y="82526"/>
                  </a:lnTo>
                  <a:lnTo>
                    <a:pt x="907271" y="80499"/>
                  </a:lnTo>
                  <a:lnTo>
                    <a:pt x="907059" y="78018"/>
                  </a:lnTo>
                  <a:lnTo>
                    <a:pt x="906091" y="79017"/>
                  </a:lnTo>
                  <a:lnTo>
                    <a:pt x="905486" y="79440"/>
                  </a:lnTo>
                  <a:lnTo>
                    <a:pt x="905032" y="79440"/>
                  </a:lnTo>
                  <a:lnTo>
                    <a:pt x="904034" y="77867"/>
                  </a:lnTo>
                  <a:lnTo>
                    <a:pt x="903520" y="76839"/>
                  </a:lnTo>
                  <a:lnTo>
                    <a:pt x="902340" y="76536"/>
                  </a:lnTo>
                  <a:lnTo>
                    <a:pt x="898800" y="78049"/>
                  </a:lnTo>
                  <a:lnTo>
                    <a:pt x="891419" y="77746"/>
                  </a:lnTo>
                  <a:lnTo>
                    <a:pt x="889846" y="76476"/>
                  </a:lnTo>
                  <a:lnTo>
                    <a:pt x="890663" y="73329"/>
                  </a:lnTo>
                  <a:lnTo>
                    <a:pt x="891116" y="70849"/>
                  </a:lnTo>
                  <a:lnTo>
                    <a:pt x="890753" y="69215"/>
                  </a:lnTo>
                  <a:lnTo>
                    <a:pt x="887426" y="67884"/>
                  </a:lnTo>
                  <a:lnTo>
                    <a:pt x="886034" y="66523"/>
                  </a:lnTo>
                  <a:lnTo>
                    <a:pt x="884794" y="65797"/>
                  </a:lnTo>
                  <a:lnTo>
                    <a:pt x="883584" y="67067"/>
                  </a:lnTo>
                  <a:lnTo>
                    <a:pt x="882192" y="63800"/>
                  </a:lnTo>
                  <a:lnTo>
                    <a:pt x="885248" y="61471"/>
                  </a:lnTo>
                  <a:lnTo>
                    <a:pt x="887607" y="58506"/>
                  </a:lnTo>
                  <a:lnTo>
                    <a:pt x="891812" y="51216"/>
                  </a:lnTo>
                  <a:lnTo>
                    <a:pt x="889816" y="44923"/>
                  </a:lnTo>
                  <a:lnTo>
                    <a:pt x="889816" y="43471"/>
                  </a:lnTo>
                  <a:lnTo>
                    <a:pt x="890027" y="41354"/>
                  </a:lnTo>
                  <a:lnTo>
                    <a:pt x="889090" y="39266"/>
                  </a:lnTo>
                  <a:lnTo>
                    <a:pt x="887456" y="37663"/>
                  </a:lnTo>
                  <a:lnTo>
                    <a:pt x="885641" y="37028"/>
                  </a:lnTo>
                  <a:lnTo>
                    <a:pt x="876021" y="37028"/>
                  </a:lnTo>
                  <a:lnTo>
                    <a:pt x="876203" y="35908"/>
                  </a:lnTo>
                  <a:lnTo>
                    <a:pt x="876445" y="33337"/>
                  </a:lnTo>
                  <a:lnTo>
                    <a:pt x="876626" y="32278"/>
                  </a:lnTo>
                  <a:lnTo>
                    <a:pt x="874841" y="33125"/>
                  </a:lnTo>
                  <a:lnTo>
                    <a:pt x="870818" y="32278"/>
                  </a:lnTo>
                  <a:lnTo>
                    <a:pt x="867188" y="33125"/>
                  </a:lnTo>
                  <a:lnTo>
                    <a:pt x="865826" y="32793"/>
                  </a:lnTo>
                  <a:lnTo>
                    <a:pt x="867006" y="30705"/>
                  </a:lnTo>
                  <a:lnTo>
                    <a:pt x="866492" y="30040"/>
                  </a:lnTo>
                  <a:lnTo>
                    <a:pt x="865494" y="28194"/>
                  </a:lnTo>
                  <a:lnTo>
                    <a:pt x="864949" y="27529"/>
                  </a:lnTo>
                  <a:lnTo>
                    <a:pt x="867006" y="25804"/>
                  </a:lnTo>
                  <a:lnTo>
                    <a:pt x="867006" y="24352"/>
                  </a:lnTo>
                  <a:lnTo>
                    <a:pt x="866673" y="24292"/>
                  </a:lnTo>
                  <a:lnTo>
                    <a:pt x="865645" y="24352"/>
                  </a:lnTo>
                  <a:lnTo>
                    <a:pt x="866280" y="20813"/>
                  </a:lnTo>
                  <a:lnTo>
                    <a:pt x="867581" y="19391"/>
                  </a:lnTo>
                  <a:lnTo>
                    <a:pt x="869154" y="18423"/>
                  </a:lnTo>
                  <a:lnTo>
                    <a:pt x="870515" y="16306"/>
                  </a:lnTo>
                  <a:lnTo>
                    <a:pt x="865735" y="14521"/>
                  </a:lnTo>
                  <a:lnTo>
                    <a:pt x="857265" y="6625"/>
                  </a:lnTo>
                  <a:lnTo>
                    <a:pt x="852606" y="8501"/>
                  </a:lnTo>
                  <a:lnTo>
                    <a:pt x="851457" y="9075"/>
                  </a:lnTo>
                  <a:lnTo>
                    <a:pt x="845709" y="6776"/>
                  </a:lnTo>
                  <a:lnTo>
                    <a:pt x="842926" y="6776"/>
                  </a:lnTo>
                  <a:lnTo>
                    <a:pt x="840687" y="7805"/>
                  </a:lnTo>
                  <a:lnTo>
                    <a:pt x="839810" y="8864"/>
                  </a:lnTo>
                  <a:lnTo>
                    <a:pt x="838993" y="13250"/>
                  </a:lnTo>
                  <a:lnTo>
                    <a:pt x="837904" y="14581"/>
                  </a:lnTo>
                  <a:lnTo>
                    <a:pt x="836724" y="14188"/>
                  </a:lnTo>
                  <a:lnTo>
                    <a:pt x="836029" y="11526"/>
                  </a:lnTo>
                  <a:lnTo>
                    <a:pt x="835847" y="10951"/>
                  </a:lnTo>
                  <a:lnTo>
                    <a:pt x="834667" y="12403"/>
                  </a:lnTo>
                  <a:lnTo>
                    <a:pt x="833639" y="14642"/>
                  </a:lnTo>
                  <a:lnTo>
                    <a:pt x="832519" y="16275"/>
                  </a:lnTo>
                  <a:lnTo>
                    <a:pt x="832519" y="18000"/>
                  </a:lnTo>
                  <a:lnTo>
                    <a:pt x="831914" y="18211"/>
                  </a:lnTo>
                  <a:lnTo>
                    <a:pt x="829948" y="19089"/>
                  </a:lnTo>
                  <a:lnTo>
                    <a:pt x="828073" y="19421"/>
                  </a:lnTo>
                  <a:lnTo>
                    <a:pt x="826348" y="17969"/>
                  </a:lnTo>
                  <a:lnTo>
                    <a:pt x="826983" y="17667"/>
                  </a:lnTo>
                  <a:lnTo>
                    <a:pt x="828405" y="16245"/>
                  </a:lnTo>
                  <a:lnTo>
                    <a:pt x="826651" y="15973"/>
                  </a:lnTo>
                  <a:lnTo>
                    <a:pt x="825441" y="14490"/>
                  </a:lnTo>
                  <a:lnTo>
                    <a:pt x="824352" y="12706"/>
                  </a:lnTo>
                  <a:lnTo>
                    <a:pt x="822869" y="11496"/>
                  </a:lnTo>
                  <a:lnTo>
                    <a:pt x="821931" y="11859"/>
                  </a:lnTo>
                  <a:lnTo>
                    <a:pt x="818967" y="14218"/>
                  </a:lnTo>
                  <a:lnTo>
                    <a:pt x="817394" y="14793"/>
                  </a:lnTo>
                  <a:lnTo>
                    <a:pt x="817726" y="16094"/>
                  </a:lnTo>
                  <a:lnTo>
                    <a:pt x="817848" y="17122"/>
                  </a:lnTo>
                  <a:lnTo>
                    <a:pt x="817938" y="18151"/>
                  </a:lnTo>
                  <a:lnTo>
                    <a:pt x="818120" y="19421"/>
                  </a:lnTo>
                  <a:lnTo>
                    <a:pt x="817061" y="18635"/>
                  </a:lnTo>
                  <a:lnTo>
                    <a:pt x="816184" y="17032"/>
                  </a:lnTo>
                  <a:lnTo>
                    <a:pt x="815851" y="14884"/>
                  </a:lnTo>
                  <a:lnTo>
                    <a:pt x="816365" y="12312"/>
                  </a:lnTo>
                  <a:lnTo>
                    <a:pt x="816365" y="10467"/>
                  </a:lnTo>
                  <a:lnTo>
                    <a:pt x="814701" y="10376"/>
                  </a:lnTo>
                  <a:lnTo>
                    <a:pt x="811888" y="11496"/>
                  </a:lnTo>
                  <a:lnTo>
                    <a:pt x="810587" y="12494"/>
                  </a:lnTo>
                  <a:lnTo>
                    <a:pt x="809831" y="14672"/>
                  </a:lnTo>
                  <a:lnTo>
                    <a:pt x="809407" y="16911"/>
                  </a:lnTo>
                  <a:lnTo>
                    <a:pt x="809135" y="17969"/>
                  </a:lnTo>
                  <a:lnTo>
                    <a:pt x="808016" y="17667"/>
                  </a:lnTo>
                  <a:lnTo>
                    <a:pt x="807744" y="16245"/>
                  </a:lnTo>
                  <a:lnTo>
                    <a:pt x="807653" y="14490"/>
                  </a:lnTo>
                  <a:lnTo>
                    <a:pt x="807078" y="13129"/>
                  </a:lnTo>
                  <a:lnTo>
                    <a:pt x="804900" y="13492"/>
                  </a:lnTo>
                  <a:lnTo>
                    <a:pt x="802813" y="16336"/>
                  </a:lnTo>
                  <a:lnTo>
                    <a:pt x="801905" y="19542"/>
                  </a:lnTo>
                  <a:lnTo>
                    <a:pt x="804749" y="22658"/>
                  </a:lnTo>
                  <a:lnTo>
                    <a:pt x="806685" y="30040"/>
                  </a:lnTo>
                  <a:lnTo>
                    <a:pt x="808439" y="32309"/>
                  </a:lnTo>
                  <a:lnTo>
                    <a:pt x="808439" y="33882"/>
                  </a:lnTo>
                  <a:lnTo>
                    <a:pt x="806322" y="33882"/>
                  </a:lnTo>
                  <a:lnTo>
                    <a:pt x="807229" y="36816"/>
                  </a:lnTo>
                  <a:lnTo>
                    <a:pt x="807713" y="37814"/>
                  </a:lnTo>
                  <a:lnTo>
                    <a:pt x="808439" y="38480"/>
                  </a:lnTo>
                  <a:lnTo>
                    <a:pt x="808076" y="39236"/>
                  </a:lnTo>
                  <a:lnTo>
                    <a:pt x="807441" y="40991"/>
                  </a:lnTo>
                  <a:lnTo>
                    <a:pt x="807078" y="41747"/>
                  </a:lnTo>
                  <a:lnTo>
                    <a:pt x="808137" y="41656"/>
                  </a:lnTo>
                  <a:lnTo>
                    <a:pt x="808470" y="41747"/>
                  </a:lnTo>
                  <a:lnTo>
                    <a:pt x="807744" y="45861"/>
                  </a:lnTo>
                  <a:lnTo>
                    <a:pt x="808439" y="47706"/>
                  </a:lnTo>
                  <a:lnTo>
                    <a:pt x="811223" y="49794"/>
                  </a:lnTo>
                  <a:lnTo>
                    <a:pt x="811434" y="51064"/>
                  </a:lnTo>
                  <a:lnTo>
                    <a:pt x="811525" y="53152"/>
                  </a:lnTo>
                  <a:lnTo>
                    <a:pt x="811706" y="55088"/>
                  </a:lnTo>
                  <a:lnTo>
                    <a:pt x="812221" y="55935"/>
                  </a:lnTo>
                  <a:lnTo>
                    <a:pt x="812856" y="56116"/>
                  </a:lnTo>
                  <a:lnTo>
                    <a:pt x="813431" y="56631"/>
                  </a:lnTo>
                  <a:lnTo>
                    <a:pt x="813915" y="57387"/>
                  </a:lnTo>
                  <a:lnTo>
                    <a:pt x="815518" y="60866"/>
                  </a:lnTo>
                  <a:lnTo>
                    <a:pt x="816486" y="62439"/>
                  </a:lnTo>
                  <a:lnTo>
                    <a:pt x="817152" y="64375"/>
                  </a:lnTo>
                  <a:lnTo>
                    <a:pt x="817394" y="67884"/>
                  </a:lnTo>
                  <a:lnTo>
                    <a:pt x="817121" y="70032"/>
                  </a:lnTo>
                  <a:lnTo>
                    <a:pt x="816456" y="72240"/>
                  </a:lnTo>
                  <a:lnTo>
                    <a:pt x="815579" y="74025"/>
                  </a:lnTo>
                  <a:lnTo>
                    <a:pt x="815216" y="75145"/>
                  </a:lnTo>
                  <a:lnTo>
                    <a:pt x="815367" y="75417"/>
                  </a:lnTo>
                  <a:lnTo>
                    <a:pt x="815306" y="76506"/>
                  </a:lnTo>
                  <a:lnTo>
                    <a:pt x="813522" y="78018"/>
                  </a:lnTo>
                  <a:lnTo>
                    <a:pt x="812009" y="80287"/>
                  </a:lnTo>
                  <a:lnTo>
                    <a:pt x="810980" y="83252"/>
                  </a:lnTo>
                  <a:lnTo>
                    <a:pt x="810587" y="86761"/>
                  </a:lnTo>
                  <a:lnTo>
                    <a:pt x="811374" y="89302"/>
                  </a:lnTo>
                  <a:lnTo>
                    <a:pt x="813158" y="91874"/>
                  </a:lnTo>
                  <a:lnTo>
                    <a:pt x="816698" y="95292"/>
                  </a:lnTo>
                  <a:lnTo>
                    <a:pt x="816698" y="96986"/>
                  </a:lnTo>
                  <a:lnTo>
                    <a:pt x="814066" y="96623"/>
                  </a:lnTo>
                  <a:lnTo>
                    <a:pt x="810133" y="91087"/>
                  </a:lnTo>
                  <a:lnTo>
                    <a:pt x="807683" y="89030"/>
                  </a:lnTo>
                  <a:lnTo>
                    <a:pt x="805596" y="88909"/>
                  </a:lnTo>
                  <a:lnTo>
                    <a:pt x="796762" y="92146"/>
                  </a:lnTo>
                  <a:lnTo>
                    <a:pt x="799545" y="89332"/>
                  </a:lnTo>
                  <a:lnTo>
                    <a:pt x="808439" y="84492"/>
                  </a:lnTo>
                  <a:lnTo>
                    <a:pt x="806110" y="84553"/>
                  </a:lnTo>
                  <a:lnTo>
                    <a:pt x="801966" y="86973"/>
                  </a:lnTo>
                  <a:lnTo>
                    <a:pt x="795098" y="89090"/>
                  </a:lnTo>
                  <a:lnTo>
                    <a:pt x="790500" y="92146"/>
                  </a:lnTo>
                  <a:lnTo>
                    <a:pt x="792376" y="93840"/>
                  </a:lnTo>
                  <a:lnTo>
                    <a:pt x="792769" y="95625"/>
                  </a:lnTo>
                  <a:lnTo>
                    <a:pt x="792769" y="97863"/>
                  </a:lnTo>
                  <a:lnTo>
                    <a:pt x="793586" y="100858"/>
                  </a:lnTo>
                  <a:lnTo>
                    <a:pt x="794675" y="102522"/>
                  </a:lnTo>
                  <a:lnTo>
                    <a:pt x="796278" y="104156"/>
                  </a:lnTo>
                  <a:lnTo>
                    <a:pt x="799485" y="106304"/>
                  </a:lnTo>
                  <a:lnTo>
                    <a:pt x="799485" y="107725"/>
                  </a:lnTo>
                  <a:lnTo>
                    <a:pt x="796187" y="106999"/>
                  </a:lnTo>
                  <a:lnTo>
                    <a:pt x="793949" y="103551"/>
                  </a:lnTo>
                  <a:lnTo>
                    <a:pt x="791862" y="99497"/>
                  </a:lnTo>
                  <a:lnTo>
                    <a:pt x="789018" y="96956"/>
                  </a:lnTo>
                  <a:lnTo>
                    <a:pt x="787808" y="97500"/>
                  </a:lnTo>
                  <a:lnTo>
                    <a:pt x="786598" y="99346"/>
                  </a:lnTo>
                  <a:lnTo>
                    <a:pt x="784571" y="103914"/>
                  </a:lnTo>
                  <a:lnTo>
                    <a:pt x="783845" y="104186"/>
                  </a:lnTo>
                  <a:lnTo>
                    <a:pt x="782030" y="100889"/>
                  </a:lnTo>
                  <a:lnTo>
                    <a:pt x="780759" y="100072"/>
                  </a:lnTo>
                  <a:lnTo>
                    <a:pt x="782211" y="98408"/>
                  </a:lnTo>
                  <a:lnTo>
                    <a:pt x="783754" y="97379"/>
                  </a:lnTo>
                  <a:lnTo>
                    <a:pt x="785357" y="96865"/>
                  </a:lnTo>
                  <a:lnTo>
                    <a:pt x="786991" y="96926"/>
                  </a:lnTo>
                  <a:lnTo>
                    <a:pt x="783270" y="95837"/>
                  </a:lnTo>
                  <a:lnTo>
                    <a:pt x="770595" y="99104"/>
                  </a:lnTo>
                  <a:lnTo>
                    <a:pt x="766995" y="101615"/>
                  </a:lnTo>
                  <a:lnTo>
                    <a:pt x="768477" y="103006"/>
                  </a:lnTo>
                  <a:lnTo>
                    <a:pt x="769143" y="103188"/>
                  </a:lnTo>
                  <a:lnTo>
                    <a:pt x="767963" y="104428"/>
                  </a:lnTo>
                  <a:lnTo>
                    <a:pt x="766723" y="104670"/>
                  </a:lnTo>
                  <a:lnTo>
                    <a:pt x="765452" y="104156"/>
                  </a:lnTo>
                  <a:lnTo>
                    <a:pt x="764272" y="103188"/>
                  </a:lnTo>
                  <a:lnTo>
                    <a:pt x="764272" y="101615"/>
                  </a:lnTo>
                  <a:lnTo>
                    <a:pt x="765664" y="101615"/>
                  </a:lnTo>
                  <a:lnTo>
                    <a:pt x="765603" y="100526"/>
                  </a:lnTo>
                  <a:lnTo>
                    <a:pt x="765543" y="100072"/>
                  </a:lnTo>
                  <a:lnTo>
                    <a:pt x="765543" y="99588"/>
                  </a:lnTo>
                  <a:lnTo>
                    <a:pt x="765664" y="98347"/>
                  </a:lnTo>
                  <a:lnTo>
                    <a:pt x="761761" y="88546"/>
                  </a:lnTo>
                  <a:lnTo>
                    <a:pt x="759795" y="84583"/>
                  </a:lnTo>
                  <a:lnTo>
                    <a:pt x="759704" y="84401"/>
                  </a:lnTo>
                  <a:lnTo>
                    <a:pt x="757072" y="82707"/>
                  </a:lnTo>
                  <a:lnTo>
                    <a:pt x="746969" y="81739"/>
                  </a:lnTo>
                  <a:lnTo>
                    <a:pt x="744306" y="79440"/>
                  </a:lnTo>
                  <a:lnTo>
                    <a:pt x="743247" y="83464"/>
                  </a:lnTo>
                  <a:lnTo>
                    <a:pt x="737076" y="85642"/>
                  </a:lnTo>
                  <a:lnTo>
                    <a:pt x="734323" y="88304"/>
                  </a:lnTo>
                  <a:lnTo>
                    <a:pt x="732266" y="91511"/>
                  </a:lnTo>
                  <a:lnTo>
                    <a:pt x="731782" y="93144"/>
                  </a:lnTo>
                  <a:lnTo>
                    <a:pt x="732871" y="93840"/>
                  </a:lnTo>
                  <a:lnTo>
                    <a:pt x="733295" y="95080"/>
                  </a:lnTo>
                  <a:lnTo>
                    <a:pt x="733204" y="97773"/>
                  </a:lnTo>
                  <a:lnTo>
                    <a:pt x="732629" y="100465"/>
                  </a:lnTo>
                  <a:lnTo>
                    <a:pt x="731540" y="101705"/>
                  </a:lnTo>
                  <a:lnTo>
                    <a:pt x="729029" y="102613"/>
                  </a:lnTo>
                  <a:lnTo>
                    <a:pt x="726065" y="104912"/>
                  </a:lnTo>
                  <a:lnTo>
                    <a:pt x="723524" y="107937"/>
                  </a:lnTo>
                  <a:lnTo>
                    <a:pt x="722253" y="111053"/>
                  </a:lnTo>
                  <a:lnTo>
                    <a:pt x="722071" y="113987"/>
                  </a:lnTo>
                  <a:lnTo>
                    <a:pt x="722314" y="117527"/>
                  </a:lnTo>
                  <a:lnTo>
                    <a:pt x="722253" y="118828"/>
                  </a:lnTo>
                  <a:lnTo>
                    <a:pt x="721739" y="120552"/>
                  </a:lnTo>
                  <a:lnTo>
                    <a:pt x="721103" y="121671"/>
                  </a:lnTo>
                  <a:lnTo>
                    <a:pt x="719500" y="123335"/>
                  </a:lnTo>
                  <a:lnTo>
                    <a:pt x="719803" y="126330"/>
                  </a:lnTo>
                  <a:lnTo>
                    <a:pt x="719198" y="128659"/>
                  </a:lnTo>
                  <a:lnTo>
                    <a:pt x="718048" y="130353"/>
                  </a:lnTo>
                  <a:lnTo>
                    <a:pt x="716747" y="131382"/>
                  </a:lnTo>
                  <a:lnTo>
                    <a:pt x="716747" y="132804"/>
                  </a:lnTo>
                  <a:lnTo>
                    <a:pt x="717655" y="134135"/>
                  </a:lnTo>
                  <a:lnTo>
                    <a:pt x="718018" y="135708"/>
                  </a:lnTo>
                  <a:lnTo>
                    <a:pt x="717897" y="137402"/>
                  </a:lnTo>
                  <a:lnTo>
                    <a:pt x="717352" y="139005"/>
                  </a:lnTo>
                  <a:lnTo>
                    <a:pt x="716747" y="139005"/>
                  </a:lnTo>
                  <a:lnTo>
                    <a:pt x="715295" y="134800"/>
                  </a:lnTo>
                  <a:lnTo>
                    <a:pt x="714630" y="132199"/>
                  </a:lnTo>
                  <a:lnTo>
                    <a:pt x="713450" y="131110"/>
                  </a:lnTo>
                  <a:lnTo>
                    <a:pt x="697447" y="131382"/>
                  </a:lnTo>
                  <a:lnTo>
                    <a:pt x="699897" y="133258"/>
                  </a:lnTo>
                  <a:lnTo>
                    <a:pt x="709124" y="132804"/>
                  </a:lnTo>
                  <a:lnTo>
                    <a:pt x="707339" y="134286"/>
                  </a:lnTo>
                  <a:lnTo>
                    <a:pt x="705100" y="135405"/>
                  </a:lnTo>
                  <a:lnTo>
                    <a:pt x="702801" y="135980"/>
                  </a:lnTo>
                  <a:lnTo>
                    <a:pt x="700835" y="135859"/>
                  </a:lnTo>
                  <a:lnTo>
                    <a:pt x="701894" y="139217"/>
                  </a:lnTo>
                  <a:lnTo>
                    <a:pt x="703225" y="142272"/>
                  </a:lnTo>
                  <a:lnTo>
                    <a:pt x="704072" y="145661"/>
                  </a:lnTo>
                  <a:lnTo>
                    <a:pt x="703679" y="149987"/>
                  </a:lnTo>
                  <a:lnTo>
                    <a:pt x="702227" y="147022"/>
                  </a:lnTo>
                  <a:lnTo>
                    <a:pt x="698808" y="137584"/>
                  </a:lnTo>
                  <a:lnTo>
                    <a:pt x="696207" y="132925"/>
                  </a:lnTo>
                  <a:lnTo>
                    <a:pt x="694482" y="130656"/>
                  </a:lnTo>
                  <a:lnTo>
                    <a:pt x="691245" y="128417"/>
                  </a:lnTo>
                  <a:lnTo>
                    <a:pt x="690096" y="125362"/>
                  </a:lnTo>
                  <a:lnTo>
                    <a:pt x="688462" y="118797"/>
                  </a:lnTo>
                  <a:lnTo>
                    <a:pt x="687192" y="116287"/>
                  </a:lnTo>
                  <a:lnTo>
                    <a:pt x="683259" y="110569"/>
                  </a:lnTo>
                  <a:lnTo>
                    <a:pt x="681898" y="109450"/>
                  </a:lnTo>
                  <a:lnTo>
                    <a:pt x="680022" y="108482"/>
                  </a:lnTo>
                  <a:lnTo>
                    <a:pt x="676785" y="104186"/>
                  </a:lnTo>
                  <a:lnTo>
                    <a:pt x="675031" y="103218"/>
                  </a:lnTo>
                  <a:lnTo>
                    <a:pt x="670947" y="103732"/>
                  </a:lnTo>
                  <a:lnTo>
                    <a:pt x="669827" y="103218"/>
                  </a:lnTo>
                  <a:lnTo>
                    <a:pt x="668950" y="101524"/>
                  </a:lnTo>
                  <a:lnTo>
                    <a:pt x="667921" y="97016"/>
                  </a:lnTo>
                  <a:lnTo>
                    <a:pt x="667105" y="95262"/>
                  </a:lnTo>
                  <a:lnTo>
                    <a:pt x="662809" y="93477"/>
                  </a:lnTo>
                  <a:lnTo>
                    <a:pt x="652886" y="95897"/>
                  </a:lnTo>
                  <a:lnTo>
                    <a:pt x="649105" y="93840"/>
                  </a:lnTo>
                  <a:lnTo>
                    <a:pt x="649589" y="93416"/>
                  </a:lnTo>
                  <a:lnTo>
                    <a:pt x="649650" y="93265"/>
                  </a:lnTo>
                  <a:lnTo>
                    <a:pt x="649650" y="92963"/>
                  </a:lnTo>
                  <a:lnTo>
                    <a:pt x="649861" y="92116"/>
                  </a:lnTo>
                  <a:lnTo>
                    <a:pt x="648288" y="91722"/>
                  </a:lnTo>
                  <a:lnTo>
                    <a:pt x="643993" y="92116"/>
                  </a:lnTo>
                  <a:lnTo>
                    <a:pt x="642601" y="91722"/>
                  </a:lnTo>
                  <a:lnTo>
                    <a:pt x="640181" y="89756"/>
                  </a:lnTo>
                  <a:lnTo>
                    <a:pt x="638789" y="89000"/>
                  </a:lnTo>
                  <a:lnTo>
                    <a:pt x="629774" y="88455"/>
                  </a:lnTo>
                  <a:lnTo>
                    <a:pt x="628443" y="89000"/>
                  </a:lnTo>
                  <a:lnTo>
                    <a:pt x="625751" y="95595"/>
                  </a:lnTo>
                  <a:lnTo>
                    <a:pt x="625206" y="106304"/>
                  </a:lnTo>
                  <a:lnTo>
                    <a:pt x="626447" y="116922"/>
                  </a:lnTo>
                  <a:lnTo>
                    <a:pt x="629169" y="123275"/>
                  </a:lnTo>
                  <a:lnTo>
                    <a:pt x="629169" y="124999"/>
                  </a:lnTo>
                  <a:lnTo>
                    <a:pt x="628413" y="124999"/>
                  </a:lnTo>
                  <a:lnTo>
                    <a:pt x="628413" y="126542"/>
                  </a:lnTo>
                  <a:lnTo>
                    <a:pt x="629684" y="128720"/>
                  </a:lnTo>
                  <a:lnTo>
                    <a:pt x="631710" y="133409"/>
                  </a:lnTo>
                  <a:lnTo>
                    <a:pt x="634615" y="135194"/>
                  </a:lnTo>
                  <a:lnTo>
                    <a:pt x="635885" y="137463"/>
                  </a:lnTo>
                  <a:lnTo>
                    <a:pt x="636248" y="140518"/>
                  </a:lnTo>
                  <a:lnTo>
                    <a:pt x="635310" y="143725"/>
                  </a:lnTo>
                  <a:lnTo>
                    <a:pt x="636339" y="145388"/>
                  </a:lnTo>
                  <a:lnTo>
                    <a:pt x="639455" y="149079"/>
                  </a:lnTo>
                  <a:lnTo>
                    <a:pt x="640816" y="149926"/>
                  </a:lnTo>
                  <a:lnTo>
                    <a:pt x="641179" y="149503"/>
                  </a:lnTo>
                  <a:lnTo>
                    <a:pt x="641996" y="147355"/>
                  </a:lnTo>
                  <a:lnTo>
                    <a:pt x="642510" y="146871"/>
                  </a:lnTo>
                  <a:lnTo>
                    <a:pt x="643025" y="147082"/>
                  </a:lnTo>
                  <a:lnTo>
                    <a:pt x="643297" y="147536"/>
                  </a:lnTo>
                  <a:lnTo>
                    <a:pt x="643448" y="148020"/>
                  </a:lnTo>
                  <a:lnTo>
                    <a:pt x="643539" y="148262"/>
                  </a:lnTo>
                  <a:lnTo>
                    <a:pt x="644295" y="149019"/>
                  </a:lnTo>
                  <a:lnTo>
                    <a:pt x="646292" y="153042"/>
                  </a:lnTo>
                  <a:lnTo>
                    <a:pt x="646836" y="153254"/>
                  </a:lnTo>
                  <a:lnTo>
                    <a:pt x="647532" y="153012"/>
                  </a:lnTo>
                  <a:lnTo>
                    <a:pt x="648137" y="153012"/>
                  </a:lnTo>
                  <a:lnTo>
                    <a:pt x="648379" y="153829"/>
                  </a:lnTo>
                  <a:lnTo>
                    <a:pt x="648319" y="156975"/>
                  </a:lnTo>
                  <a:lnTo>
                    <a:pt x="648379" y="157701"/>
                  </a:lnTo>
                  <a:lnTo>
                    <a:pt x="651404" y="168410"/>
                  </a:lnTo>
                  <a:lnTo>
                    <a:pt x="651707" y="172010"/>
                  </a:lnTo>
                  <a:lnTo>
                    <a:pt x="651132" y="176184"/>
                  </a:lnTo>
                  <a:lnTo>
                    <a:pt x="650648" y="176910"/>
                  </a:lnTo>
                  <a:lnTo>
                    <a:pt x="648924" y="178393"/>
                  </a:lnTo>
                  <a:lnTo>
                    <a:pt x="648379" y="179270"/>
                  </a:lnTo>
                  <a:lnTo>
                    <a:pt x="647986" y="181660"/>
                  </a:lnTo>
                  <a:lnTo>
                    <a:pt x="648076" y="183263"/>
                  </a:lnTo>
                  <a:lnTo>
                    <a:pt x="648319" y="184836"/>
                  </a:lnTo>
                  <a:lnTo>
                    <a:pt x="648379" y="186954"/>
                  </a:lnTo>
                  <a:lnTo>
                    <a:pt x="648046" y="188224"/>
                  </a:lnTo>
                  <a:lnTo>
                    <a:pt x="647502" y="189253"/>
                  </a:lnTo>
                  <a:lnTo>
                    <a:pt x="647199" y="190705"/>
                  </a:lnTo>
                  <a:lnTo>
                    <a:pt x="647653" y="193246"/>
                  </a:lnTo>
                  <a:lnTo>
                    <a:pt x="648258" y="194123"/>
                  </a:lnTo>
                  <a:lnTo>
                    <a:pt x="650345" y="195606"/>
                  </a:lnTo>
                  <a:lnTo>
                    <a:pt x="651162" y="196453"/>
                  </a:lnTo>
                  <a:lnTo>
                    <a:pt x="652160" y="199145"/>
                  </a:lnTo>
                  <a:lnTo>
                    <a:pt x="653007" y="203199"/>
                  </a:lnTo>
                  <a:lnTo>
                    <a:pt x="653098" y="207313"/>
                  </a:lnTo>
                  <a:lnTo>
                    <a:pt x="651828" y="210096"/>
                  </a:lnTo>
                  <a:lnTo>
                    <a:pt x="650194" y="209552"/>
                  </a:lnTo>
                  <a:lnTo>
                    <a:pt x="648984" y="206375"/>
                  </a:lnTo>
                  <a:lnTo>
                    <a:pt x="648500" y="202352"/>
                  </a:lnTo>
                  <a:lnTo>
                    <a:pt x="649045" y="199357"/>
                  </a:lnTo>
                  <a:lnTo>
                    <a:pt x="644295" y="194759"/>
                  </a:lnTo>
                  <a:lnTo>
                    <a:pt x="641361" y="190766"/>
                  </a:lnTo>
                  <a:lnTo>
                    <a:pt x="640483" y="190130"/>
                  </a:lnTo>
                  <a:lnTo>
                    <a:pt x="640151" y="188678"/>
                  </a:lnTo>
                  <a:lnTo>
                    <a:pt x="640151" y="179240"/>
                  </a:lnTo>
                  <a:lnTo>
                    <a:pt x="639606" y="177515"/>
                  </a:lnTo>
                  <a:lnTo>
                    <a:pt x="637761" y="173462"/>
                  </a:lnTo>
                  <a:lnTo>
                    <a:pt x="637367" y="170890"/>
                  </a:lnTo>
                  <a:lnTo>
                    <a:pt x="637579" y="164598"/>
                  </a:lnTo>
                  <a:lnTo>
                    <a:pt x="637307" y="162753"/>
                  </a:lnTo>
                  <a:lnTo>
                    <a:pt x="636309" y="159939"/>
                  </a:lnTo>
                  <a:lnTo>
                    <a:pt x="635613" y="159123"/>
                  </a:lnTo>
                  <a:lnTo>
                    <a:pt x="634705" y="158941"/>
                  </a:lnTo>
                  <a:lnTo>
                    <a:pt x="632860" y="159213"/>
                  </a:lnTo>
                  <a:lnTo>
                    <a:pt x="632043" y="158911"/>
                  </a:lnTo>
                  <a:lnTo>
                    <a:pt x="631710" y="158154"/>
                  </a:lnTo>
                  <a:lnTo>
                    <a:pt x="631529" y="157156"/>
                  </a:lnTo>
                  <a:lnTo>
                    <a:pt x="630652" y="154161"/>
                  </a:lnTo>
                  <a:lnTo>
                    <a:pt x="630137" y="151529"/>
                  </a:lnTo>
                  <a:lnTo>
                    <a:pt x="629351" y="149200"/>
                  </a:lnTo>
                  <a:lnTo>
                    <a:pt x="627022" y="147476"/>
                  </a:lnTo>
                  <a:lnTo>
                    <a:pt x="625327" y="143755"/>
                  </a:lnTo>
                  <a:lnTo>
                    <a:pt x="624238" y="142000"/>
                  </a:lnTo>
                  <a:lnTo>
                    <a:pt x="623240" y="141244"/>
                  </a:lnTo>
                  <a:lnTo>
                    <a:pt x="615768" y="140215"/>
                  </a:lnTo>
                  <a:lnTo>
                    <a:pt x="611109" y="137493"/>
                  </a:lnTo>
                  <a:lnTo>
                    <a:pt x="603909" y="135799"/>
                  </a:lnTo>
                  <a:lnTo>
                    <a:pt x="603667" y="134044"/>
                  </a:lnTo>
                  <a:lnTo>
                    <a:pt x="604454" y="130051"/>
                  </a:lnTo>
                  <a:lnTo>
                    <a:pt x="606330" y="123244"/>
                  </a:lnTo>
                  <a:lnTo>
                    <a:pt x="605240" y="119705"/>
                  </a:lnTo>
                  <a:lnTo>
                    <a:pt x="604454" y="115076"/>
                  </a:lnTo>
                  <a:lnTo>
                    <a:pt x="603486" y="111083"/>
                  </a:lnTo>
                  <a:lnTo>
                    <a:pt x="601913" y="109359"/>
                  </a:lnTo>
                  <a:lnTo>
                    <a:pt x="600793" y="108572"/>
                  </a:lnTo>
                  <a:lnTo>
                    <a:pt x="599523" y="107060"/>
                  </a:lnTo>
                  <a:lnTo>
                    <a:pt x="598192" y="106092"/>
                  </a:lnTo>
                  <a:lnTo>
                    <a:pt x="597012" y="106969"/>
                  </a:lnTo>
                  <a:lnTo>
                    <a:pt x="596014" y="108270"/>
                  </a:lnTo>
                  <a:lnTo>
                    <a:pt x="594652" y="109117"/>
                  </a:lnTo>
                  <a:lnTo>
                    <a:pt x="593200" y="109480"/>
                  </a:lnTo>
                  <a:lnTo>
                    <a:pt x="591930" y="109359"/>
                  </a:lnTo>
                  <a:lnTo>
                    <a:pt x="594773" y="103551"/>
                  </a:lnTo>
                  <a:lnTo>
                    <a:pt x="595923" y="99920"/>
                  </a:lnTo>
                  <a:lnTo>
                    <a:pt x="594985" y="98287"/>
                  </a:lnTo>
                  <a:lnTo>
                    <a:pt x="593140" y="96865"/>
                  </a:lnTo>
                  <a:lnTo>
                    <a:pt x="591053" y="93870"/>
                  </a:lnTo>
                  <a:lnTo>
                    <a:pt x="588632" y="91117"/>
                  </a:lnTo>
                  <a:lnTo>
                    <a:pt x="585698" y="90482"/>
                  </a:lnTo>
                  <a:lnTo>
                    <a:pt x="578438" y="97500"/>
                  </a:lnTo>
                  <a:lnTo>
                    <a:pt x="577318" y="97591"/>
                  </a:lnTo>
                  <a:lnTo>
                    <a:pt x="577651" y="94173"/>
                  </a:lnTo>
                  <a:lnTo>
                    <a:pt x="579345" y="89181"/>
                  </a:lnTo>
                  <a:lnTo>
                    <a:pt x="580132" y="85763"/>
                  </a:lnTo>
                  <a:lnTo>
                    <a:pt x="575080" y="83433"/>
                  </a:lnTo>
                  <a:lnTo>
                    <a:pt x="572357" y="82980"/>
                  </a:lnTo>
                  <a:lnTo>
                    <a:pt x="570512" y="84341"/>
                  </a:lnTo>
                  <a:lnTo>
                    <a:pt x="570814" y="85218"/>
                  </a:lnTo>
                  <a:lnTo>
                    <a:pt x="571268" y="87487"/>
                  </a:lnTo>
                  <a:lnTo>
                    <a:pt x="568969" y="92418"/>
                  </a:lnTo>
                  <a:lnTo>
                    <a:pt x="567638" y="94415"/>
                  </a:lnTo>
                  <a:lnTo>
                    <a:pt x="565702" y="95141"/>
                  </a:lnTo>
                  <a:lnTo>
                    <a:pt x="566428" y="87790"/>
                  </a:lnTo>
                  <a:lnTo>
                    <a:pt x="563221" y="86368"/>
                  </a:lnTo>
                  <a:lnTo>
                    <a:pt x="554237" y="89453"/>
                  </a:lnTo>
                  <a:lnTo>
                    <a:pt x="550758" y="92327"/>
                  </a:lnTo>
                  <a:lnTo>
                    <a:pt x="549790" y="93719"/>
                  </a:lnTo>
                  <a:lnTo>
                    <a:pt x="549124" y="96139"/>
                  </a:lnTo>
                  <a:lnTo>
                    <a:pt x="548035" y="101524"/>
                  </a:lnTo>
                  <a:lnTo>
                    <a:pt x="547097" y="103097"/>
                  </a:lnTo>
                  <a:lnTo>
                    <a:pt x="547097" y="104519"/>
                  </a:lnTo>
                  <a:lnTo>
                    <a:pt x="547642" y="104882"/>
                  </a:lnTo>
                  <a:lnTo>
                    <a:pt x="548610" y="105820"/>
                  </a:lnTo>
                  <a:lnTo>
                    <a:pt x="549154" y="106183"/>
                  </a:lnTo>
                  <a:lnTo>
                    <a:pt x="549154" y="107604"/>
                  </a:lnTo>
                  <a:lnTo>
                    <a:pt x="548459" y="107604"/>
                  </a:lnTo>
                  <a:lnTo>
                    <a:pt x="548973" y="109752"/>
                  </a:lnTo>
                  <a:lnTo>
                    <a:pt x="549638" y="111416"/>
                  </a:lnTo>
                  <a:lnTo>
                    <a:pt x="550546" y="112717"/>
                  </a:lnTo>
                  <a:lnTo>
                    <a:pt x="551816" y="113836"/>
                  </a:lnTo>
                  <a:lnTo>
                    <a:pt x="549759" y="113352"/>
                  </a:lnTo>
                  <a:lnTo>
                    <a:pt x="546341" y="110055"/>
                  </a:lnTo>
                  <a:lnTo>
                    <a:pt x="544314" y="109298"/>
                  </a:lnTo>
                  <a:lnTo>
                    <a:pt x="544707" y="107060"/>
                  </a:lnTo>
                  <a:lnTo>
                    <a:pt x="544980" y="106183"/>
                  </a:lnTo>
                  <a:lnTo>
                    <a:pt x="544012" y="105971"/>
                  </a:lnTo>
                  <a:lnTo>
                    <a:pt x="543134" y="106152"/>
                  </a:lnTo>
                  <a:lnTo>
                    <a:pt x="542318" y="106727"/>
                  </a:lnTo>
                  <a:lnTo>
                    <a:pt x="541531" y="107635"/>
                  </a:lnTo>
                  <a:lnTo>
                    <a:pt x="541743" y="111416"/>
                  </a:lnTo>
                  <a:lnTo>
                    <a:pt x="539232" y="110993"/>
                  </a:lnTo>
                  <a:lnTo>
                    <a:pt x="534513" y="107635"/>
                  </a:lnTo>
                  <a:lnTo>
                    <a:pt x="521081" y="109752"/>
                  </a:lnTo>
                  <a:lnTo>
                    <a:pt x="515333" y="112596"/>
                  </a:lnTo>
                  <a:lnTo>
                    <a:pt x="513518" y="114683"/>
                  </a:lnTo>
                  <a:lnTo>
                    <a:pt x="512550" y="116498"/>
                  </a:lnTo>
                  <a:lnTo>
                    <a:pt x="512127" y="117103"/>
                  </a:lnTo>
                  <a:lnTo>
                    <a:pt x="512127" y="117890"/>
                  </a:lnTo>
                  <a:lnTo>
                    <a:pt x="513095" y="122730"/>
                  </a:lnTo>
                  <a:lnTo>
                    <a:pt x="513881" y="124969"/>
                  </a:lnTo>
                  <a:lnTo>
                    <a:pt x="514849" y="126814"/>
                  </a:lnTo>
                  <a:lnTo>
                    <a:pt x="515969" y="128115"/>
                  </a:lnTo>
                  <a:lnTo>
                    <a:pt x="514456" y="130716"/>
                  </a:lnTo>
                  <a:lnTo>
                    <a:pt x="512550" y="132622"/>
                  </a:lnTo>
                  <a:lnTo>
                    <a:pt x="510553" y="133772"/>
                  </a:lnTo>
                  <a:lnTo>
                    <a:pt x="508738" y="134165"/>
                  </a:lnTo>
                  <a:lnTo>
                    <a:pt x="507498" y="134952"/>
                  </a:lnTo>
                  <a:lnTo>
                    <a:pt x="506651" y="136767"/>
                  </a:lnTo>
                  <a:lnTo>
                    <a:pt x="506197" y="138915"/>
                  </a:lnTo>
                  <a:lnTo>
                    <a:pt x="506197" y="140518"/>
                  </a:lnTo>
                  <a:lnTo>
                    <a:pt x="512157" y="146719"/>
                  </a:lnTo>
                  <a:lnTo>
                    <a:pt x="512429" y="148141"/>
                  </a:lnTo>
                  <a:lnTo>
                    <a:pt x="515303" y="156007"/>
                  </a:lnTo>
                  <a:lnTo>
                    <a:pt x="516755" y="161573"/>
                  </a:lnTo>
                  <a:lnTo>
                    <a:pt x="517421" y="166897"/>
                  </a:lnTo>
                  <a:lnTo>
                    <a:pt x="517360" y="172584"/>
                  </a:lnTo>
                  <a:lnTo>
                    <a:pt x="516664" y="179149"/>
                  </a:lnTo>
                  <a:lnTo>
                    <a:pt x="515515" y="185562"/>
                  </a:lnTo>
                  <a:lnTo>
                    <a:pt x="514607" y="188708"/>
                  </a:lnTo>
                  <a:lnTo>
                    <a:pt x="513548" y="190070"/>
                  </a:lnTo>
                  <a:lnTo>
                    <a:pt x="511703" y="191189"/>
                  </a:lnTo>
                  <a:lnTo>
                    <a:pt x="510856" y="191129"/>
                  </a:lnTo>
                  <a:lnTo>
                    <a:pt x="510493" y="189313"/>
                  </a:lnTo>
                  <a:lnTo>
                    <a:pt x="510795" y="188285"/>
                  </a:lnTo>
                  <a:lnTo>
                    <a:pt x="511522" y="187529"/>
                  </a:lnTo>
                  <a:lnTo>
                    <a:pt x="512399" y="187045"/>
                  </a:lnTo>
                  <a:lnTo>
                    <a:pt x="509555" y="187166"/>
                  </a:lnTo>
                  <a:lnTo>
                    <a:pt x="508406" y="186863"/>
                  </a:lnTo>
                  <a:lnTo>
                    <a:pt x="507680" y="186228"/>
                  </a:lnTo>
                  <a:lnTo>
                    <a:pt x="506288" y="184322"/>
                  </a:lnTo>
                  <a:lnTo>
                    <a:pt x="505895" y="183929"/>
                  </a:lnTo>
                  <a:lnTo>
                    <a:pt x="502809" y="183566"/>
                  </a:lnTo>
                  <a:lnTo>
                    <a:pt x="502113" y="185260"/>
                  </a:lnTo>
                  <a:lnTo>
                    <a:pt x="501478" y="190070"/>
                  </a:lnTo>
                  <a:lnTo>
                    <a:pt x="499451" y="187256"/>
                  </a:lnTo>
                  <a:lnTo>
                    <a:pt x="494308" y="185835"/>
                  </a:lnTo>
                  <a:lnTo>
                    <a:pt x="492130" y="183082"/>
                  </a:lnTo>
                  <a:lnTo>
                    <a:pt x="491465" y="180480"/>
                  </a:lnTo>
                  <a:lnTo>
                    <a:pt x="490920" y="174400"/>
                  </a:lnTo>
                  <a:lnTo>
                    <a:pt x="490467" y="171616"/>
                  </a:lnTo>
                  <a:lnTo>
                    <a:pt x="489862" y="169953"/>
                  </a:lnTo>
                  <a:lnTo>
                    <a:pt x="487653" y="165445"/>
                  </a:lnTo>
                  <a:lnTo>
                    <a:pt x="487351" y="163963"/>
                  </a:lnTo>
                  <a:lnTo>
                    <a:pt x="487199" y="162390"/>
                  </a:lnTo>
                  <a:lnTo>
                    <a:pt x="486927" y="160786"/>
                  </a:lnTo>
                  <a:lnTo>
                    <a:pt x="486292" y="159153"/>
                  </a:lnTo>
                  <a:lnTo>
                    <a:pt x="485747" y="158790"/>
                  </a:lnTo>
                  <a:lnTo>
                    <a:pt x="484446" y="159002"/>
                  </a:lnTo>
                  <a:lnTo>
                    <a:pt x="483872" y="158397"/>
                  </a:lnTo>
                  <a:lnTo>
                    <a:pt x="482631" y="156521"/>
                  </a:lnTo>
                  <a:lnTo>
                    <a:pt x="481512" y="156309"/>
                  </a:lnTo>
                  <a:lnTo>
                    <a:pt x="480302" y="156370"/>
                  </a:lnTo>
                  <a:lnTo>
                    <a:pt x="476279" y="153889"/>
                  </a:lnTo>
                  <a:lnTo>
                    <a:pt x="470864" y="153072"/>
                  </a:lnTo>
                  <a:lnTo>
                    <a:pt x="469049" y="151469"/>
                  </a:lnTo>
                  <a:lnTo>
                    <a:pt x="469260" y="147324"/>
                  </a:lnTo>
                  <a:lnTo>
                    <a:pt x="467385" y="144451"/>
                  </a:lnTo>
                  <a:lnTo>
                    <a:pt x="464783" y="141970"/>
                  </a:lnTo>
                  <a:lnTo>
                    <a:pt x="462817" y="138945"/>
                  </a:lnTo>
                  <a:lnTo>
                    <a:pt x="463180" y="138249"/>
                  </a:lnTo>
                  <a:lnTo>
                    <a:pt x="463785" y="136555"/>
                  </a:lnTo>
                  <a:lnTo>
                    <a:pt x="464148" y="135859"/>
                  </a:lnTo>
                  <a:lnTo>
                    <a:pt x="462938" y="134891"/>
                  </a:lnTo>
                  <a:lnTo>
                    <a:pt x="462423" y="133439"/>
                  </a:lnTo>
                  <a:lnTo>
                    <a:pt x="462091" y="131654"/>
                  </a:lnTo>
                  <a:lnTo>
                    <a:pt x="461486" y="129658"/>
                  </a:lnTo>
                  <a:lnTo>
                    <a:pt x="457250" y="122155"/>
                  </a:lnTo>
                  <a:lnTo>
                    <a:pt x="455919" y="118767"/>
                  </a:lnTo>
                  <a:lnTo>
                    <a:pt x="454951" y="115318"/>
                  </a:lnTo>
                  <a:lnTo>
                    <a:pt x="454225" y="113594"/>
                  </a:lnTo>
                  <a:lnTo>
                    <a:pt x="453167" y="112687"/>
                  </a:lnTo>
                  <a:lnTo>
                    <a:pt x="453862" y="110962"/>
                  </a:lnTo>
                  <a:lnTo>
                    <a:pt x="451472" y="109510"/>
                  </a:lnTo>
                  <a:lnTo>
                    <a:pt x="449536" y="107786"/>
                  </a:lnTo>
                  <a:lnTo>
                    <a:pt x="448205" y="104942"/>
                  </a:lnTo>
                  <a:lnTo>
                    <a:pt x="447691" y="100072"/>
                  </a:lnTo>
                  <a:lnTo>
                    <a:pt x="445543" y="101978"/>
                  </a:lnTo>
                  <a:lnTo>
                    <a:pt x="444394" y="101857"/>
                  </a:lnTo>
                  <a:lnTo>
                    <a:pt x="443305" y="101736"/>
                  </a:lnTo>
                  <a:lnTo>
                    <a:pt x="438374" y="100072"/>
                  </a:lnTo>
                  <a:lnTo>
                    <a:pt x="436770" y="101010"/>
                  </a:lnTo>
                  <a:lnTo>
                    <a:pt x="433140" y="105275"/>
                  </a:lnTo>
                  <a:lnTo>
                    <a:pt x="431204" y="106304"/>
                  </a:lnTo>
                  <a:lnTo>
                    <a:pt x="427665" y="105910"/>
                  </a:lnTo>
                  <a:lnTo>
                    <a:pt x="426334" y="106304"/>
                  </a:lnTo>
                  <a:lnTo>
                    <a:pt x="425365" y="107060"/>
                  </a:lnTo>
                  <a:lnTo>
                    <a:pt x="423550" y="109026"/>
                  </a:lnTo>
                  <a:lnTo>
                    <a:pt x="422552" y="109419"/>
                  </a:lnTo>
                  <a:lnTo>
                    <a:pt x="418377" y="108905"/>
                  </a:lnTo>
                  <a:lnTo>
                    <a:pt x="415957" y="109298"/>
                  </a:lnTo>
                  <a:lnTo>
                    <a:pt x="413930" y="110962"/>
                  </a:lnTo>
                  <a:lnTo>
                    <a:pt x="415231" y="113897"/>
                  </a:lnTo>
                  <a:lnTo>
                    <a:pt x="414777" y="117587"/>
                  </a:lnTo>
                  <a:lnTo>
                    <a:pt x="413356" y="121036"/>
                  </a:lnTo>
                  <a:lnTo>
                    <a:pt x="411813" y="123275"/>
                  </a:lnTo>
                  <a:lnTo>
                    <a:pt x="413567" y="125271"/>
                  </a:lnTo>
                  <a:lnTo>
                    <a:pt x="415019" y="127601"/>
                  </a:lnTo>
                  <a:lnTo>
                    <a:pt x="416109" y="130535"/>
                  </a:lnTo>
                  <a:lnTo>
                    <a:pt x="416744" y="134286"/>
                  </a:lnTo>
                  <a:lnTo>
                    <a:pt x="417379" y="142091"/>
                  </a:lnTo>
                  <a:lnTo>
                    <a:pt x="418075" y="144209"/>
                  </a:lnTo>
                  <a:lnTo>
                    <a:pt x="421887" y="152195"/>
                  </a:lnTo>
                  <a:lnTo>
                    <a:pt x="424488" y="159546"/>
                  </a:lnTo>
                  <a:lnTo>
                    <a:pt x="425486" y="166111"/>
                  </a:lnTo>
                  <a:lnTo>
                    <a:pt x="422824" y="168440"/>
                  </a:lnTo>
                  <a:lnTo>
                    <a:pt x="422824" y="170134"/>
                  </a:lnTo>
                  <a:lnTo>
                    <a:pt x="425214" y="172524"/>
                  </a:lnTo>
                  <a:lnTo>
                    <a:pt x="427695" y="176699"/>
                  </a:lnTo>
                  <a:lnTo>
                    <a:pt x="429661" y="181993"/>
                  </a:lnTo>
                  <a:lnTo>
                    <a:pt x="430448" y="187771"/>
                  </a:lnTo>
                  <a:lnTo>
                    <a:pt x="430236" y="191431"/>
                  </a:lnTo>
                  <a:lnTo>
                    <a:pt x="429631" y="194638"/>
                  </a:lnTo>
                  <a:lnTo>
                    <a:pt x="428663" y="196937"/>
                  </a:lnTo>
                  <a:lnTo>
                    <a:pt x="427362" y="197814"/>
                  </a:lnTo>
                  <a:lnTo>
                    <a:pt x="426001" y="199296"/>
                  </a:lnTo>
                  <a:lnTo>
                    <a:pt x="426182" y="202412"/>
                  </a:lnTo>
                  <a:lnTo>
                    <a:pt x="427574" y="205165"/>
                  </a:lnTo>
                  <a:lnTo>
                    <a:pt x="429812" y="205589"/>
                  </a:lnTo>
                  <a:lnTo>
                    <a:pt x="427755" y="206133"/>
                  </a:lnTo>
                  <a:lnTo>
                    <a:pt x="425910" y="206133"/>
                  </a:lnTo>
                  <a:lnTo>
                    <a:pt x="424972" y="206980"/>
                  </a:lnTo>
                  <a:lnTo>
                    <a:pt x="424458" y="208644"/>
                  </a:lnTo>
                  <a:lnTo>
                    <a:pt x="424337" y="212305"/>
                  </a:lnTo>
                  <a:lnTo>
                    <a:pt x="423974" y="213938"/>
                  </a:lnTo>
                  <a:lnTo>
                    <a:pt x="422431" y="216600"/>
                  </a:lnTo>
                  <a:lnTo>
                    <a:pt x="419194" y="220956"/>
                  </a:lnTo>
                  <a:lnTo>
                    <a:pt x="418045" y="223921"/>
                  </a:lnTo>
                  <a:lnTo>
                    <a:pt x="419255" y="227279"/>
                  </a:lnTo>
                  <a:lnTo>
                    <a:pt x="418619" y="229850"/>
                  </a:lnTo>
                  <a:lnTo>
                    <a:pt x="417682" y="232513"/>
                  </a:lnTo>
                  <a:lnTo>
                    <a:pt x="418045" y="236112"/>
                  </a:lnTo>
                  <a:lnTo>
                    <a:pt x="416593" y="232906"/>
                  </a:lnTo>
                  <a:lnTo>
                    <a:pt x="416986" y="222953"/>
                  </a:lnTo>
                  <a:lnTo>
                    <a:pt x="415715" y="220866"/>
                  </a:lnTo>
                  <a:lnTo>
                    <a:pt x="414263" y="221319"/>
                  </a:lnTo>
                  <a:lnTo>
                    <a:pt x="411480" y="223437"/>
                  </a:lnTo>
                  <a:lnTo>
                    <a:pt x="410149" y="223921"/>
                  </a:lnTo>
                  <a:lnTo>
                    <a:pt x="406973" y="224133"/>
                  </a:lnTo>
                  <a:lnTo>
                    <a:pt x="403615" y="225343"/>
                  </a:lnTo>
                  <a:lnTo>
                    <a:pt x="405006" y="226855"/>
                  </a:lnTo>
                  <a:lnTo>
                    <a:pt x="406670" y="227279"/>
                  </a:lnTo>
                  <a:lnTo>
                    <a:pt x="410119" y="227007"/>
                  </a:lnTo>
                  <a:lnTo>
                    <a:pt x="411268" y="227642"/>
                  </a:lnTo>
                  <a:lnTo>
                    <a:pt x="412811" y="230637"/>
                  </a:lnTo>
                  <a:lnTo>
                    <a:pt x="413961" y="231575"/>
                  </a:lnTo>
                  <a:lnTo>
                    <a:pt x="412781" y="236354"/>
                  </a:lnTo>
                  <a:lnTo>
                    <a:pt x="412267" y="239803"/>
                  </a:lnTo>
                  <a:lnTo>
                    <a:pt x="411389" y="242193"/>
                  </a:lnTo>
                  <a:lnTo>
                    <a:pt x="409483" y="243433"/>
                  </a:lnTo>
                  <a:lnTo>
                    <a:pt x="409151" y="243645"/>
                  </a:lnTo>
                  <a:lnTo>
                    <a:pt x="407880" y="243857"/>
                  </a:lnTo>
                  <a:lnTo>
                    <a:pt x="406640" y="243645"/>
                  </a:lnTo>
                  <a:lnTo>
                    <a:pt x="405430" y="243101"/>
                  </a:lnTo>
                  <a:lnTo>
                    <a:pt x="404310" y="242253"/>
                  </a:lnTo>
                  <a:lnTo>
                    <a:pt x="403191" y="240862"/>
                  </a:lnTo>
                  <a:lnTo>
                    <a:pt x="402677" y="239531"/>
                  </a:lnTo>
                  <a:lnTo>
                    <a:pt x="402314" y="238018"/>
                  </a:lnTo>
                  <a:lnTo>
                    <a:pt x="401618" y="236143"/>
                  </a:lnTo>
                  <a:lnTo>
                    <a:pt x="401043" y="235568"/>
                  </a:lnTo>
                  <a:lnTo>
                    <a:pt x="399168" y="234539"/>
                  </a:lnTo>
                  <a:lnTo>
                    <a:pt x="398805" y="234630"/>
                  </a:lnTo>
                  <a:lnTo>
                    <a:pt x="398805" y="233390"/>
                  </a:lnTo>
                  <a:lnTo>
                    <a:pt x="399016" y="231877"/>
                  </a:lnTo>
                  <a:lnTo>
                    <a:pt x="399410" y="230183"/>
                  </a:lnTo>
                  <a:lnTo>
                    <a:pt x="399016" y="227582"/>
                  </a:lnTo>
                  <a:lnTo>
                    <a:pt x="399077" y="226281"/>
                  </a:lnTo>
                  <a:lnTo>
                    <a:pt x="398986" y="225403"/>
                  </a:lnTo>
                  <a:lnTo>
                    <a:pt x="398109" y="223951"/>
                  </a:lnTo>
                  <a:lnTo>
                    <a:pt x="395749" y="222197"/>
                  </a:lnTo>
                  <a:lnTo>
                    <a:pt x="394448" y="223891"/>
                  </a:lnTo>
                  <a:lnTo>
                    <a:pt x="394267" y="227521"/>
                  </a:lnTo>
                  <a:lnTo>
                    <a:pt x="395296" y="231605"/>
                  </a:lnTo>
                  <a:lnTo>
                    <a:pt x="393057" y="232452"/>
                  </a:lnTo>
                  <a:lnTo>
                    <a:pt x="391968" y="230092"/>
                  </a:lnTo>
                  <a:lnTo>
                    <a:pt x="392028" y="226190"/>
                  </a:lnTo>
                  <a:lnTo>
                    <a:pt x="393238" y="222409"/>
                  </a:lnTo>
                  <a:lnTo>
                    <a:pt x="392452" y="219081"/>
                  </a:lnTo>
                  <a:lnTo>
                    <a:pt x="392543" y="214543"/>
                  </a:lnTo>
                  <a:lnTo>
                    <a:pt x="393238" y="205558"/>
                  </a:lnTo>
                  <a:lnTo>
                    <a:pt x="393511" y="205044"/>
                  </a:lnTo>
                  <a:lnTo>
                    <a:pt x="393995" y="204923"/>
                  </a:lnTo>
                  <a:lnTo>
                    <a:pt x="394297" y="204288"/>
                  </a:lnTo>
                  <a:lnTo>
                    <a:pt x="393995" y="202352"/>
                  </a:lnTo>
                  <a:lnTo>
                    <a:pt x="393662" y="202140"/>
                  </a:lnTo>
                  <a:lnTo>
                    <a:pt x="392391" y="202412"/>
                  </a:lnTo>
                  <a:lnTo>
                    <a:pt x="391938" y="202352"/>
                  </a:lnTo>
                  <a:lnTo>
                    <a:pt x="390062" y="199780"/>
                  </a:lnTo>
                  <a:lnTo>
                    <a:pt x="389094" y="199085"/>
                  </a:lnTo>
                  <a:lnTo>
                    <a:pt x="387763" y="199296"/>
                  </a:lnTo>
                  <a:lnTo>
                    <a:pt x="387430" y="201505"/>
                  </a:lnTo>
                  <a:lnTo>
                    <a:pt x="386008" y="202443"/>
                  </a:lnTo>
                  <a:lnTo>
                    <a:pt x="384072" y="202957"/>
                  </a:lnTo>
                  <a:lnTo>
                    <a:pt x="382197" y="203895"/>
                  </a:lnTo>
                  <a:lnTo>
                    <a:pt x="375995" y="211548"/>
                  </a:lnTo>
                  <a:lnTo>
                    <a:pt x="364651" y="219837"/>
                  </a:lnTo>
                  <a:lnTo>
                    <a:pt x="361595" y="225313"/>
                  </a:lnTo>
                  <a:lnTo>
                    <a:pt x="361293" y="226765"/>
                  </a:lnTo>
                  <a:lnTo>
                    <a:pt x="360234" y="233239"/>
                  </a:lnTo>
                  <a:lnTo>
                    <a:pt x="359780" y="234297"/>
                  </a:lnTo>
                  <a:lnTo>
                    <a:pt x="358540" y="236415"/>
                  </a:lnTo>
                  <a:lnTo>
                    <a:pt x="358086" y="237655"/>
                  </a:lnTo>
                  <a:lnTo>
                    <a:pt x="357693" y="240983"/>
                  </a:lnTo>
                  <a:lnTo>
                    <a:pt x="357693" y="244613"/>
                  </a:lnTo>
                  <a:lnTo>
                    <a:pt x="358086" y="249847"/>
                  </a:lnTo>
                  <a:lnTo>
                    <a:pt x="358933" y="256411"/>
                  </a:lnTo>
                  <a:lnTo>
                    <a:pt x="360718" y="263702"/>
                  </a:lnTo>
                  <a:lnTo>
                    <a:pt x="363078" y="270508"/>
                  </a:lnTo>
                  <a:lnTo>
                    <a:pt x="365710" y="275621"/>
                  </a:lnTo>
                  <a:lnTo>
                    <a:pt x="364953" y="277285"/>
                  </a:lnTo>
                  <a:lnTo>
                    <a:pt x="363562" y="276135"/>
                  </a:lnTo>
                  <a:lnTo>
                    <a:pt x="360113" y="275107"/>
                  </a:lnTo>
                  <a:lnTo>
                    <a:pt x="359448" y="273503"/>
                  </a:lnTo>
                  <a:lnTo>
                    <a:pt x="359024" y="271960"/>
                  </a:lnTo>
                  <a:lnTo>
                    <a:pt x="356090" y="266545"/>
                  </a:lnTo>
                  <a:lnTo>
                    <a:pt x="353004" y="257077"/>
                  </a:lnTo>
                  <a:lnTo>
                    <a:pt x="350856" y="253114"/>
                  </a:lnTo>
                  <a:lnTo>
                    <a:pt x="347771" y="251480"/>
                  </a:lnTo>
                  <a:lnTo>
                    <a:pt x="346470" y="254626"/>
                  </a:lnTo>
                  <a:lnTo>
                    <a:pt x="346863" y="261675"/>
                  </a:lnTo>
                  <a:lnTo>
                    <a:pt x="348950" y="278495"/>
                  </a:lnTo>
                  <a:lnTo>
                    <a:pt x="349011" y="281580"/>
                  </a:lnTo>
                  <a:lnTo>
                    <a:pt x="348466" y="284999"/>
                  </a:lnTo>
                  <a:lnTo>
                    <a:pt x="347710" y="286360"/>
                  </a:lnTo>
                  <a:lnTo>
                    <a:pt x="346681" y="287600"/>
                  </a:lnTo>
                  <a:lnTo>
                    <a:pt x="346046" y="288992"/>
                  </a:lnTo>
                  <a:lnTo>
                    <a:pt x="346409" y="290898"/>
                  </a:lnTo>
                  <a:lnTo>
                    <a:pt x="345834" y="291594"/>
                  </a:lnTo>
                  <a:lnTo>
                    <a:pt x="344352" y="294074"/>
                  </a:lnTo>
                  <a:lnTo>
                    <a:pt x="345139" y="296010"/>
                  </a:lnTo>
                  <a:lnTo>
                    <a:pt x="346893" y="299368"/>
                  </a:lnTo>
                  <a:lnTo>
                    <a:pt x="347771" y="301607"/>
                  </a:lnTo>
                  <a:lnTo>
                    <a:pt x="348043" y="303240"/>
                  </a:lnTo>
                  <a:lnTo>
                    <a:pt x="348345" y="306810"/>
                  </a:lnTo>
                  <a:lnTo>
                    <a:pt x="349828" y="312195"/>
                  </a:lnTo>
                  <a:lnTo>
                    <a:pt x="349041" y="315220"/>
                  </a:lnTo>
                  <a:lnTo>
                    <a:pt x="348013" y="316037"/>
                  </a:lnTo>
                  <a:lnTo>
                    <a:pt x="347377" y="316521"/>
                  </a:lnTo>
                  <a:lnTo>
                    <a:pt x="345744" y="315190"/>
                  </a:lnTo>
                  <a:lnTo>
                    <a:pt x="345744" y="313828"/>
                  </a:lnTo>
                  <a:lnTo>
                    <a:pt x="346651" y="309956"/>
                  </a:lnTo>
                  <a:lnTo>
                    <a:pt x="345592" y="305660"/>
                  </a:lnTo>
                  <a:lnTo>
                    <a:pt x="343566" y="302000"/>
                  </a:lnTo>
                  <a:lnTo>
                    <a:pt x="341539" y="300003"/>
                  </a:lnTo>
                  <a:lnTo>
                    <a:pt x="341750" y="299398"/>
                  </a:lnTo>
                  <a:lnTo>
                    <a:pt x="341750" y="299187"/>
                  </a:lnTo>
                  <a:lnTo>
                    <a:pt x="341871" y="299035"/>
                  </a:lnTo>
                  <a:lnTo>
                    <a:pt x="342265" y="298642"/>
                  </a:lnTo>
                  <a:lnTo>
                    <a:pt x="340903" y="296373"/>
                  </a:lnTo>
                  <a:lnTo>
                    <a:pt x="337001" y="284757"/>
                  </a:lnTo>
                  <a:lnTo>
                    <a:pt x="336940" y="282579"/>
                  </a:lnTo>
                  <a:lnTo>
                    <a:pt x="337394" y="278132"/>
                  </a:lnTo>
                  <a:lnTo>
                    <a:pt x="337394" y="274713"/>
                  </a:lnTo>
                  <a:lnTo>
                    <a:pt x="336759" y="269813"/>
                  </a:lnTo>
                  <a:lnTo>
                    <a:pt x="336759" y="267029"/>
                  </a:lnTo>
                  <a:lnTo>
                    <a:pt x="336971" y="264730"/>
                  </a:lnTo>
                  <a:lnTo>
                    <a:pt x="336759" y="263066"/>
                  </a:lnTo>
                  <a:lnTo>
                    <a:pt x="335337" y="262250"/>
                  </a:lnTo>
                  <a:lnTo>
                    <a:pt x="336093" y="258559"/>
                  </a:lnTo>
                  <a:lnTo>
                    <a:pt x="335065" y="256381"/>
                  </a:lnTo>
                  <a:lnTo>
                    <a:pt x="331223" y="252993"/>
                  </a:lnTo>
                  <a:lnTo>
                    <a:pt x="328379" y="248546"/>
                  </a:lnTo>
                  <a:lnTo>
                    <a:pt x="326927" y="247336"/>
                  </a:lnTo>
                  <a:lnTo>
                    <a:pt x="324658" y="246912"/>
                  </a:lnTo>
                  <a:lnTo>
                    <a:pt x="322480" y="247668"/>
                  </a:lnTo>
                  <a:lnTo>
                    <a:pt x="318578" y="250905"/>
                  </a:lnTo>
                  <a:lnTo>
                    <a:pt x="308413" y="254536"/>
                  </a:lnTo>
                  <a:lnTo>
                    <a:pt x="308413" y="253023"/>
                  </a:lnTo>
                  <a:lnTo>
                    <a:pt x="313254" y="251208"/>
                  </a:lnTo>
                  <a:lnTo>
                    <a:pt x="319183" y="245490"/>
                  </a:lnTo>
                  <a:lnTo>
                    <a:pt x="324235" y="237625"/>
                  </a:lnTo>
                  <a:lnTo>
                    <a:pt x="326352" y="229457"/>
                  </a:lnTo>
                  <a:lnTo>
                    <a:pt x="324114" y="219837"/>
                  </a:lnTo>
                  <a:lnTo>
                    <a:pt x="318820" y="220956"/>
                  </a:lnTo>
                  <a:lnTo>
                    <a:pt x="312679" y="226129"/>
                  </a:lnTo>
                  <a:lnTo>
                    <a:pt x="307808" y="228640"/>
                  </a:lnTo>
                  <a:lnTo>
                    <a:pt x="307808" y="227128"/>
                  </a:lnTo>
                  <a:lnTo>
                    <a:pt x="309835" y="225101"/>
                  </a:lnTo>
                  <a:lnTo>
                    <a:pt x="315038" y="217447"/>
                  </a:lnTo>
                  <a:lnTo>
                    <a:pt x="316067" y="214906"/>
                  </a:lnTo>
                  <a:lnTo>
                    <a:pt x="314736" y="211972"/>
                  </a:lnTo>
                  <a:lnTo>
                    <a:pt x="311832" y="210580"/>
                  </a:lnTo>
                  <a:lnTo>
                    <a:pt x="295042" y="211004"/>
                  </a:lnTo>
                  <a:lnTo>
                    <a:pt x="293257" y="209491"/>
                  </a:lnTo>
                  <a:lnTo>
                    <a:pt x="292743" y="208856"/>
                  </a:lnTo>
                  <a:lnTo>
                    <a:pt x="291594" y="207948"/>
                  </a:lnTo>
                  <a:lnTo>
                    <a:pt x="290444" y="206254"/>
                  </a:lnTo>
                  <a:lnTo>
                    <a:pt x="289900" y="203290"/>
                  </a:lnTo>
                  <a:lnTo>
                    <a:pt x="289537" y="202110"/>
                  </a:lnTo>
                  <a:lnTo>
                    <a:pt x="288690" y="200960"/>
                  </a:lnTo>
                  <a:lnTo>
                    <a:pt x="287056" y="199417"/>
                  </a:lnTo>
                  <a:lnTo>
                    <a:pt x="288327" y="197633"/>
                  </a:lnTo>
                  <a:lnTo>
                    <a:pt x="289143" y="196120"/>
                  </a:lnTo>
                  <a:lnTo>
                    <a:pt x="289476" y="194335"/>
                  </a:lnTo>
                  <a:lnTo>
                    <a:pt x="289204" y="191613"/>
                  </a:lnTo>
                  <a:lnTo>
                    <a:pt x="288780" y="191280"/>
                  </a:lnTo>
                  <a:lnTo>
                    <a:pt x="286663" y="187619"/>
                  </a:lnTo>
                  <a:lnTo>
                    <a:pt x="286451" y="187014"/>
                  </a:lnTo>
                  <a:lnTo>
                    <a:pt x="284848" y="185562"/>
                  </a:lnTo>
                  <a:lnTo>
                    <a:pt x="280098" y="182688"/>
                  </a:lnTo>
                  <a:lnTo>
                    <a:pt x="278132" y="182386"/>
                  </a:lnTo>
                  <a:lnTo>
                    <a:pt x="281036" y="180722"/>
                  </a:lnTo>
                  <a:lnTo>
                    <a:pt x="284273" y="180631"/>
                  </a:lnTo>
                  <a:lnTo>
                    <a:pt x="287358" y="182204"/>
                  </a:lnTo>
                  <a:lnTo>
                    <a:pt x="289869" y="185441"/>
                  </a:lnTo>
                  <a:lnTo>
                    <a:pt x="290051" y="187347"/>
                  </a:lnTo>
                  <a:lnTo>
                    <a:pt x="291261" y="190493"/>
                  </a:lnTo>
                  <a:lnTo>
                    <a:pt x="293076" y="193458"/>
                  </a:lnTo>
                  <a:lnTo>
                    <a:pt x="295012" y="194789"/>
                  </a:lnTo>
                  <a:lnTo>
                    <a:pt x="295466" y="195424"/>
                  </a:lnTo>
                  <a:lnTo>
                    <a:pt x="297130" y="198359"/>
                  </a:lnTo>
                  <a:lnTo>
                    <a:pt x="298098" y="199387"/>
                  </a:lnTo>
                  <a:lnTo>
                    <a:pt x="311741" y="199962"/>
                  </a:lnTo>
                  <a:lnTo>
                    <a:pt x="314706" y="197875"/>
                  </a:lnTo>
                  <a:lnTo>
                    <a:pt x="322964" y="188678"/>
                  </a:lnTo>
                  <a:lnTo>
                    <a:pt x="321391" y="187256"/>
                  </a:lnTo>
                  <a:lnTo>
                    <a:pt x="316037" y="184080"/>
                  </a:lnTo>
                  <a:lnTo>
                    <a:pt x="314343" y="183566"/>
                  </a:lnTo>
                  <a:lnTo>
                    <a:pt x="310592" y="184231"/>
                  </a:lnTo>
                  <a:lnTo>
                    <a:pt x="308413" y="184080"/>
                  </a:lnTo>
                  <a:lnTo>
                    <a:pt x="308413" y="182386"/>
                  </a:lnTo>
                  <a:lnTo>
                    <a:pt x="318638" y="178725"/>
                  </a:lnTo>
                  <a:lnTo>
                    <a:pt x="321603" y="176215"/>
                  </a:lnTo>
                  <a:lnTo>
                    <a:pt x="323418" y="173280"/>
                  </a:lnTo>
                  <a:lnTo>
                    <a:pt x="328410" y="162480"/>
                  </a:lnTo>
                  <a:lnTo>
                    <a:pt x="328410" y="160786"/>
                  </a:lnTo>
                  <a:lnTo>
                    <a:pt x="323600" y="157701"/>
                  </a:lnTo>
                  <a:lnTo>
                    <a:pt x="326625" y="155976"/>
                  </a:lnTo>
                  <a:lnTo>
                    <a:pt x="327805" y="153012"/>
                  </a:lnTo>
                  <a:lnTo>
                    <a:pt x="327472" y="149109"/>
                  </a:lnTo>
                  <a:lnTo>
                    <a:pt x="326020" y="144541"/>
                  </a:lnTo>
                  <a:lnTo>
                    <a:pt x="323358" y="142454"/>
                  </a:lnTo>
                  <a:lnTo>
                    <a:pt x="312528" y="145328"/>
                  </a:lnTo>
                  <a:lnTo>
                    <a:pt x="312528" y="143785"/>
                  </a:lnTo>
                  <a:lnTo>
                    <a:pt x="316854" y="140911"/>
                  </a:lnTo>
                  <a:lnTo>
                    <a:pt x="318064" y="139005"/>
                  </a:lnTo>
                  <a:lnTo>
                    <a:pt x="315099" y="137432"/>
                  </a:lnTo>
                  <a:lnTo>
                    <a:pt x="305661" y="139005"/>
                  </a:lnTo>
                  <a:lnTo>
                    <a:pt x="299973" y="141879"/>
                  </a:lnTo>
                  <a:lnTo>
                    <a:pt x="297160" y="142242"/>
                  </a:lnTo>
                  <a:lnTo>
                    <a:pt x="295315" y="139036"/>
                  </a:lnTo>
                  <a:lnTo>
                    <a:pt x="296827" y="139036"/>
                  </a:lnTo>
                  <a:lnTo>
                    <a:pt x="307445" y="136162"/>
                  </a:lnTo>
                  <a:lnTo>
                    <a:pt x="310138" y="134105"/>
                  </a:lnTo>
                  <a:lnTo>
                    <a:pt x="324295" y="132864"/>
                  </a:lnTo>
                  <a:lnTo>
                    <a:pt x="323085" y="128024"/>
                  </a:lnTo>
                  <a:lnTo>
                    <a:pt x="321270" y="125362"/>
                  </a:lnTo>
                  <a:lnTo>
                    <a:pt x="318880" y="124091"/>
                  </a:lnTo>
                  <a:lnTo>
                    <a:pt x="316007" y="123396"/>
                  </a:lnTo>
                  <a:lnTo>
                    <a:pt x="305116" y="126209"/>
                  </a:lnTo>
                  <a:lnTo>
                    <a:pt x="302545" y="124243"/>
                  </a:lnTo>
                  <a:lnTo>
                    <a:pt x="300609" y="121157"/>
                  </a:lnTo>
                  <a:lnTo>
                    <a:pt x="300155" y="119493"/>
                  </a:lnTo>
                  <a:lnTo>
                    <a:pt x="300820" y="117315"/>
                  </a:lnTo>
                  <a:lnTo>
                    <a:pt x="301758" y="117013"/>
                  </a:lnTo>
                  <a:lnTo>
                    <a:pt x="303906" y="115409"/>
                  </a:lnTo>
                  <a:lnTo>
                    <a:pt x="305116" y="113624"/>
                  </a:lnTo>
                  <a:lnTo>
                    <a:pt x="303271" y="112808"/>
                  </a:lnTo>
                  <a:lnTo>
                    <a:pt x="302877" y="112021"/>
                  </a:lnTo>
                  <a:lnTo>
                    <a:pt x="302454" y="110297"/>
                  </a:lnTo>
                  <a:lnTo>
                    <a:pt x="301909" y="108603"/>
                  </a:lnTo>
                  <a:lnTo>
                    <a:pt x="301153" y="107816"/>
                  </a:lnTo>
                  <a:lnTo>
                    <a:pt x="296676" y="108088"/>
                  </a:lnTo>
                  <a:lnTo>
                    <a:pt x="293106" y="109782"/>
                  </a:lnTo>
                  <a:lnTo>
                    <a:pt x="291866" y="111053"/>
                  </a:lnTo>
                  <a:lnTo>
                    <a:pt x="293923" y="115591"/>
                  </a:lnTo>
                  <a:lnTo>
                    <a:pt x="294014" y="117345"/>
                  </a:lnTo>
                  <a:lnTo>
                    <a:pt x="293953" y="121157"/>
                  </a:lnTo>
                  <a:lnTo>
                    <a:pt x="293378" y="122337"/>
                  </a:lnTo>
                  <a:lnTo>
                    <a:pt x="292017" y="123668"/>
                  </a:lnTo>
                  <a:lnTo>
                    <a:pt x="290414" y="124727"/>
                  </a:lnTo>
                  <a:lnTo>
                    <a:pt x="289143" y="125059"/>
                  </a:lnTo>
                  <a:lnTo>
                    <a:pt x="289930" y="122639"/>
                  </a:lnTo>
                  <a:lnTo>
                    <a:pt x="291140" y="120038"/>
                  </a:lnTo>
                  <a:lnTo>
                    <a:pt x="292017" y="117194"/>
                  </a:lnTo>
                  <a:lnTo>
                    <a:pt x="291805" y="114048"/>
                  </a:lnTo>
                  <a:lnTo>
                    <a:pt x="290535" y="112414"/>
                  </a:lnTo>
                  <a:lnTo>
                    <a:pt x="288810" y="112838"/>
                  </a:lnTo>
                  <a:lnTo>
                    <a:pt x="287056" y="113866"/>
                  </a:lnTo>
                  <a:lnTo>
                    <a:pt x="285634" y="114078"/>
                  </a:lnTo>
                  <a:lnTo>
                    <a:pt x="284273" y="112898"/>
                  </a:lnTo>
                  <a:lnTo>
                    <a:pt x="283607" y="111386"/>
                  </a:lnTo>
                  <a:lnTo>
                    <a:pt x="283093" y="106969"/>
                  </a:lnTo>
                  <a:lnTo>
                    <a:pt x="282942" y="103218"/>
                  </a:lnTo>
                  <a:lnTo>
                    <a:pt x="282942" y="103309"/>
                  </a:lnTo>
                  <a:lnTo>
                    <a:pt x="282730" y="102159"/>
                  </a:lnTo>
                  <a:lnTo>
                    <a:pt x="281913" y="99890"/>
                  </a:lnTo>
                  <a:lnTo>
                    <a:pt x="281550" y="98468"/>
                  </a:lnTo>
                  <a:lnTo>
                    <a:pt x="282881" y="97198"/>
                  </a:lnTo>
                  <a:lnTo>
                    <a:pt x="282881" y="94415"/>
                  </a:lnTo>
                  <a:lnTo>
                    <a:pt x="281913" y="91662"/>
                  </a:lnTo>
                  <a:lnTo>
                    <a:pt x="280189" y="90633"/>
                  </a:lnTo>
                  <a:lnTo>
                    <a:pt x="280643" y="88485"/>
                  </a:lnTo>
                  <a:lnTo>
                    <a:pt x="280945" y="87669"/>
                  </a:lnTo>
                  <a:lnTo>
                    <a:pt x="274623" y="84523"/>
                  </a:lnTo>
                  <a:lnTo>
                    <a:pt x="273534" y="84795"/>
                  </a:lnTo>
                  <a:lnTo>
                    <a:pt x="271507" y="86005"/>
                  </a:lnTo>
                  <a:lnTo>
                    <a:pt x="270508" y="85944"/>
                  </a:lnTo>
                  <a:lnTo>
                    <a:pt x="269722" y="85309"/>
                  </a:lnTo>
                  <a:lnTo>
                    <a:pt x="268451" y="83524"/>
                  </a:lnTo>
                  <a:lnTo>
                    <a:pt x="263762" y="79894"/>
                  </a:lnTo>
                  <a:lnTo>
                    <a:pt x="262280" y="79531"/>
                  </a:lnTo>
                  <a:lnTo>
                    <a:pt x="260767" y="80257"/>
                  </a:lnTo>
                  <a:lnTo>
                    <a:pt x="259406" y="81437"/>
                  </a:lnTo>
                  <a:lnTo>
                    <a:pt x="258105" y="82072"/>
                  </a:lnTo>
                  <a:lnTo>
                    <a:pt x="256774" y="81225"/>
                  </a:lnTo>
                  <a:lnTo>
                    <a:pt x="262704" y="76597"/>
                  </a:lnTo>
                  <a:lnTo>
                    <a:pt x="263641" y="74963"/>
                  </a:lnTo>
                  <a:lnTo>
                    <a:pt x="260041" y="69548"/>
                  </a:lnTo>
                  <a:lnTo>
                    <a:pt x="259467" y="68701"/>
                  </a:lnTo>
                  <a:lnTo>
                    <a:pt x="258710" y="67884"/>
                  </a:lnTo>
                  <a:lnTo>
                    <a:pt x="257863" y="67188"/>
                  </a:lnTo>
                  <a:lnTo>
                    <a:pt x="256956" y="67279"/>
                  </a:lnTo>
                  <a:lnTo>
                    <a:pt x="256078" y="68731"/>
                  </a:lnTo>
                  <a:lnTo>
                    <a:pt x="254263" y="68035"/>
                  </a:lnTo>
                  <a:lnTo>
                    <a:pt x="247094" y="68731"/>
                  </a:lnTo>
                  <a:lnTo>
                    <a:pt x="247699" y="65404"/>
                  </a:lnTo>
                  <a:lnTo>
                    <a:pt x="246791" y="63800"/>
                  </a:lnTo>
                  <a:lnTo>
                    <a:pt x="245188" y="64284"/>
                  </a:lnTo>
                  <a:lnTo>
                    <a:pt x="243706" y="67188"/>
                  </a:lnTo>
                  <a:lnTo>
                    <a:pt x="242919" y="68761"/>
                  </a:lnTo>
                  <a:lnTo>
                    <a:pt x="241951" y="68066"/>
                  </a:lnTo>
                  <a:lnTo>
                    <a:pt x="241134" y="66493"/>
                  </a:lnTo>
                  <a:lnTo>
                    <a:pt x="240227" y="65464"/>
                  </a:lnTo>
                  <a:lnTo>
                    <a:pt x="238684" y="65464"/>
                  </a:lnTo>
                  <a:lnTo>
                    <a:pt x="237020" y="66190"/>
                  </a:lnTo>
                  <a:lnTo>
                    <a:pt x="235417" y="67340"/>
                  </a:lnTo>
                  <a:lnTo>
                    <a:pt x="234025" y="68731"/>
                  </a:lnTo>
                  <a:lnTo>
                    <a:pt x="232724" y="67158"/>
                  </a:lnTo>
                  <a:lnTo>
                    <a:pt x="232724" y="65464"/>
                  </a:lnTo>
                  <a:lnTo>
                    <a:pt x="234297" y="63830"/>
                  </a:lnTo>
                  <a:lnTo>
                    <a:pt x="234116" y="62106"/>
                  </a:lnTo>
                  <a:lnTo>
                    <a:pt x="233239" y="60503"/>
                  </a:lnTo>
                  <a:lnTo>
                    <a:pt x="232724" y="59323"/>
                  </a:lnTo>
                  <a:lnTo>
                    <a:pt x="232724" y="56873"/>
                  </a:lnTo>
                  <a:lnTo>
                    <a:pt x="232876" y="54906"/>
                  </a:lnTo>
                  <a:lnTo>
                    <a:pt x="233632" y="53908"/>
                  </a:lnTo>
                  <a:lnTo>
                    <a:pt x="235477" y="54483"/>
                  </a:lnTo>
                  <a:lnTo>
                    <a:pt x="235477" y="52910"/>
                  </a:lnTo>
                  <a:lnTo>
                    <a:pt x="231212" y="52002"/>
                  </a:lnTo>
                  <a:lnTo>
                    <a:pt x="229911" y="50611"/>
                  </a:lnTo>
                  <a:lnTo>
                    <a:pt x="231333" y="48312"/>
                  </a:lnTo>
                  <a:lnTo>
                    <a:pt x="228792" y="43986"/>
                  </a:lnTo>
                  <a:lnTo>
                    <a:pt x="220593" y="39750"/>
                  </a:lnTo>
                  <a:lnTo>
                    <a:pt x="218839" y="36362"/>
                  </a:lnTo>
                  <a:lnTo>
                    <a:pt x="217901" y="30887"/>
                  </a:lnTo>
                  <a:lnTo>
                    <a:pt x="215541" y="26349"/>
                  </a:lnTo>
                  <a:lnTo>
                    <a:pt x="212426" y="23445"/>
                  </a:lnTo>
                  <a:lnTo>
                    <a:pt x="209189" y="22931"/>
                  </a:lnTo>
                  <a:lnTo>
                    <a:pt x="209945" y="25139"/>
                  </a:lnTo>
                  <a:lnTo>
                    <a:pt x="212577" y="26833"/>
                  </a:lnTo>
                  <a:lnTo>
                    <a:pt x="213303" y="29102"/>
                  </a:lnTo>
                  <a:lnTo>
                    <a:pt x="212849" y="31976"/>
                  </a:lnTo>
                  <a:lnTo>
                    <a:pt x="211337" y="32248"/>
                  </a:lnTo>
                  <a:lnTo>
                    <a:pt x="204409" y="29072"/>
                  </a:lnTo>
                  <a:lnTo>
                    <a:pt x="201233" y="25593"/>
                  </a:lnTo>
                  <a:lnTo>
                    <a:pt x="197965" y="23173"/>
                  </a:lnTo>
                  <a:lnTo>
                    <a:pt x="194002" y="24504"/>
                  </a:lnTo>
                  <a:lnTo>
                    <a:pt x="194396" y="26833"/>
                  </a:lnTo>
                  <a:lnTo>
                    <a:pt x="194608" y="27680"/>
                  </a:lnTo>
                  <a:lnTo>
                    <a:pt x="192248" y="29283"/>
                  </a:lnTo>
                  <a:lnTo>
                    <a:pt x="188315" y="33609"/>
                  </a:lnTo>
                  <a:lnTo>
                    <a:pt x="185744" y="34033"/>
                  </a:lnTo>
                  <a:lnTo>
                    <a:pt x="183717" y="32732"/>
                  </a:lnTo>
                  <a:lnTo>
                    <a:pt x="180087" y="28618"/>
                  </a:lnTo>
                  <a:lnTo>
                    <a:pt x="175549" y="27015"/>
                  </a:lnTo>
                  <a:lnTo>
                    <a:pt x="171979" y="23747"/>
                  </a:lnTo>
                  <a:lnTo>
                    <a:pt x="170195" y="23021"/>
                  </a:lnTo>
                  <a:lnTo>
                    <a:pt x="160121" y="23021"/>
                  </a:lnTo>
                  <a:lnTo>
                    <a:pt x="165112" y="27166"/>
                  </a:lnTo>
                  <a:lnTo>
                    <a:pt x="166746" y="27771"/>
                  </a:lnTo>
                  <a:lnTo>
                    <a:pt x="168379" y="28951"/>
                  </a:lnTo>
                  <a:lnTo>
                    <a:pt x="168743" y="31280"/>
                  </a:lnTo>
                  <a:lnTo>
                    <a:pt x="167835" y="33035"/>
                  </a:lnTo>
                  <a:lnTo>
                    <a:pt x="165657" y="32520"/>
                  </a:lnTo>
                  <a:lnTo>
                    <a:pt x="165052" y="31552"/>
                  </a:lnTo>
                  <a:lnTo>
                    <a:pt x="164205" y="28739"/>
                  </a:lnTo>
                  <a:lnTo>
                    <a:pt x="163600" y="27801"/>
                  </a:lnTo>
                  <a:lnTo>
                    <a:pt x="162874" y="27529"/>
                  </a:lnTo>
                  <a:lnTo>
                    <a:pt x="151832" y="29223"/>
                  </a:lnTo>
                  <a:lnTo>
                    <a:pt x="152649" y="30372"/>
                  </a:lnTo>
                  <a:lnTo>
                    <a:pt x="153163" y="31492"/>
                  </a:lnTo>
                  <a:lnTo>
                    <a:pt x="153919" y="34093"/>
                  </a:lnTo>
                  <a:lnTo>
                    <a:pt x="150894" y="32611"/>
                  </a:lnTo>
                  <a:lnTo>
                    <a:pt x="147718" y="29979"/>
                  </a:lnTo>
                  <a:lnTo>
                    <a:pt x="144541" y="28618"/>
                  </a:lnTo>
                  <a:lnTo>
                    <a:pt x="141456" y="30947"/>
                  </a:lnTo>
                  <a:lnTo>
                    <a:pt x="143604" y="34487"/>
                  </a:lnTo>
                  <a:lnTo>
                    <a:pt x="146538" y="37754"/>
                  </a:lnTo>
                  <a:lnTo>
                    <a:pt x="149714" y="39992"/>
                  </a:lnTo>
                  <a:lnTo>
                    <a:pt x="152558" y="40386"/>
                  </a:lnTo>
                  <a:lnTo>
                    <a:pt x="150350" y="47585"/>
                  </a:lnTo>
                  <a:lnTo>
                    <a:pt x="146054" y="48160"/>
                  </a:lnTo>
                  <a:lnTo>
                    <a:pt x="141183" y="46406"/>
                  </a:lnTo>
                  <a:lnTo>
                    <a:pt x="137311" y="46648"/>
                  </a:lnTo>
                  <a:lnTo>
                    <a:pt x="135950" y="48796"/>
                  </a:lnTo>
                  <a:lnTo>
                    <a:pt x="136646" y="50308"/>
                  </a:lnTo>
                  <a:lnTo>
                    <a:pt x="138279" y="51821"/>
                  </a:lnTo>
                  <a:lnTo>
                    <a:pt x="141032" y="55148"/>
                  </a:lnTo>
                  <a:lnTo>
                    <a:pt x="145177" y="57326"/>
                  </a:lnTo>
                  <a:lnTo>
                    <a:pt x="161119" y="61199"/>
                  </a:lnTo>
                  <a:lnTo>
                    <a:pt x="163539" y="58536"/>
                  </a:lnTo>
                  <a:lnTo>
                    <a:pt x="164356" y="58053"/>
                  </a:lnTo>
                  <a:lnTo>
                    <a:pt x="168379" y="51397"/>
                  </a:lnTo>
                  <a:lnTo>
                    <a:pt x="170104" y="49370"/>
                  </a:lnTo>
                  <a:lnTo>
                    <a:pt x="171828" y="48009"/>
                  </a:lnTo>
                  <a:lnTo>
                    <a:pt x="175277" y="46678"/>
                  </a:lnTo>
                  <a:lnTo>
                    <a:pt x="175277" y="48402"/>
                  </a:lnTo>
                  <a:lnTo>
                    <a:pt x="173916" y="50157"/>
                  </a:lnTo>
                  <a:lnTo>
                    <a:pt x="172373" y="53333"/>
                  </a:lnTo>
                  <a:lnTo>
                    <a:pt x="171677" y="56358"/>
                  </a:lnTo>
                  <a:lnTo>
                    <a:pt x="172917" y="57720"/>
                  </a:lnTo>
                  <a:lnTo>
                    <a:pt x="177092" y="57084"/>
                  </a:lnTo>
                  <a:lnTo>
                    <a:pt x="178967" y="56116"/>
                  </a:lnTo>
                  <a:lnTo>
                    <a:pt x="186924" y="48130"/>
                  </a:lnTo>
                  <a:lnTo>
                    <a:pt x="190221" y="45952"/>
                  </a:lnTo>
                  <a:lnTo>
                    <a:pt x="194577" y="45105"/>
                  </a:lnTo>
                  <a:lnTo>
                    <a:pt x="189767" y="47011"/>
                  </a:lnTo>
                  <a:lnTo>
                    <a:pt x="188406" y="48402"/>
                  </a:lnTo>
                  <a:lnTo>
                    <a:pt x="188013" y="49854"/>
                  </a:lnTo>
                  <a:lnTo>
                    <a:pt x="187468" y="54483"/>
                  </a:lnTo>
                  <a:lnTo>
                    <a:pt x="187105" y="56116"/>
                  </a:lnTo>
                  <a:lnTo>
                    <a:pt x="185048" y="58385"/>
                  </a:lnTo>
                  <a:lnTo>
                    <a:pt x="184171" y="60049"/>
                  </a:lnTo>
                  <a:lnTo>
                    <a:pt x="184292" y="62530"/>
                  </a:lnTo>
                  <a:lnTo>
                    <a:pt x="185139" y="63044"/>
                  </a:lnTo>
                  <a:lnTo>
                    <a:pt x="189858" y="63952"/>
                  </a:lnTo>
                  <a:lnTo>
                    <a:pt x="195818" y="63437"/>
                  </a:lnTo>
                  <a:lnTo>
                    <a:pt x="200930" y="60805"/>
                  </a:lnTo>
                  <a:lnTo>
                    <a:pt x="204893" y="56903"/>
                  </a:lnTo>
                  <a:lnTo>
                    <a:pt x="206224" y="56479"/>
                  </a:lnTo>
                  <a:lnTo>
                    <a:pt x="208463" y="57659"/>
                  </a:lnTo>
                  <a:lnTo>
                    <a:pt x="208463" y="59384"/>
                  </a:lnTo>
                  <a:lnTo>
                    <a:pt x="206799" y="59384"/>
                  </a:lnTo>
                  <a:lnTo>
                    <a:pt x="205135" y="60140"/>
                  </a:lnTo>
                  <a:lnTo>
                    <a:pt x="203653" y="61531"/>
                  </a:lnTo>
                  <a:lnTo>
                    <a:pt x="202564" y="63256"/>
                  </a:lnTo>
                  <a:lnTo>
                    <a:pt x="200930" y="64859"/>
                  </a:lnTo>
                  <a:lnTo>
                    <a:pt x="199327" y="65041"/>
                  </a:lnTo>
                  <a:lnTo>
                    <a:pt x="198903" y="65343"/>
                  </a:lnTo>
                  <a:lnTo>
                    <a:pt x="200870" y="67279"/>
                  </a:lnTo>
                  <a:lnTo>
                    <a:pt x="205044" y="69306"/>
                  </a:lnTo>
                  <a:lnTo>
                    <a:pt x="218718" y="67279"/>
                  </a:lnTo>
                  <a:lnTo>
                    <a:pt x="216389" y="69034"/>
                  </a:lnTo>
                  <a:lnTo>
                    <a:pt x="211367" y="69518"/>
                  </a:lnTo>
                  <a:lnTo>
                    <a:pt x="206950" y="72815"/>
                  </a:lnTo>
                  <a:lnTo>
                    <a:pt x="204409" y="73450"/>
                  </a:lnTo>
                  <a:lnTo>
                    <a:pt x="199417" y="73450"/>
                  </a:lnTo>
                  <a:lnTo>
                    <a:pt x="200295" y="76445"/>
                  </a:lnTo>
                  <a:lnTo>
                    <a:pt x="200779" y="77474"/>
                  </a:lnTo>
                  <a:lnTo>
                    <a:pt x="201444" y="78260"/>
                  </a:lnTo>
                  <a:lnTo>
                    <a:pt x="200083" y="79622"/>
                  </a:lnTo>
                  <a:lnTo>
                    <a:pt x="198661" y="79289"/>
                  </a:lnTo>
                  <a:lnTo>
                    <a:pt x="195939" y="76687"/>
                  </a:lnTo>
                  <a:lnTo>
                    <a:pt x="195485" y="75840"/>
                  </a:lnTo>
                  <a:lnTo>
                    <a:pt x="195152" y="74751"/>
                  </a:lnTo>
                  <a:lnTo>
                    <a:pt x="194608" y="73813"/>
                  </a:lnTo>
                  <a:lnTo>
                    <a:pt x="193518" y="73420"/>
                  </a:lnTo>
                  <a:lnTo>
                    <a:pt x="190735" y="73420"/>
                  </a:lnTo>
                  <a:lnTo>
                    <a:pt x="180057" y="70274"/>
                  </a:lnTo>
                  <a:lnTo>
                    <a:pt x="176910" y="70123"/>
                  </a:lnTo>
                  <a:lnTo>
                    <a:pt x="161966" y="73874"/>
                  </a:lnTo>
                  <a:lnTo>
                    <a:pt x="157277" y="76687"/>
                  </a:lnTo>
                  <a:lnTo>
                    <a:pt x="161482" y="86882"/>
                  </a:lnTo>
                  <a:lnTo>
                    <a:pt x="168501" y="93810"/>
                  </a:lnTo>
                  <a:lnTo>
                    <a:pt x="192429" y="103399"/>
                  </a:lnTo>
                  <a:lnTo>
                    <a:pt x="198056" y="108845"/>
                  </a:lnTo>
                  <a:lnTo>
                    <a:pt x="206466" y="112717"/>
                  </a:lnTo>
                  <a:lnTo>
                    <a:pt x="208342" y="112051"/>
                  </a:lnTo>
                  <a:lnTo>
                    <a:pt x="210217" y="110357"/>
                  </a:lnTo>
                  <a:lnTo>
                    <a:pt x="215178" y="108028"/>
                  </a:lnTo>
                  <a:lnTo>
                    <a:pt x="217266" y="107937"/>
                  </a:lnTo>
                  <a:lnTo>
                    <a:pt x="216086" y="111053"/>
                  </a:lnTo>
                  <a:lnTo>
                    <a:pt x="214331" y="111900"/>
                  </a:lnTo>
                  <a:lnTo>
                    <a:pt x="212335" y="112021"/>
                  </a:lnTo>
                  <a:lnTo>
                    <a:pt x="210399" y="112929"/>
                  </a:lnTo>
                  <a:lnTo>
                    <a:pt x="208947" y="115228"/>
                  </a:lnTo>
                  <a:lnTo>
                    <a:pt x="208372" y="117799"/>
                  </a:lnTo>
                  <a:lnTo>
                    <a:pt x="207918" y="120582"/>
                  </a:lnTo>
                  <a:lnTo>
                    <a:pt x="206859" y="123547"/>
                  </a:lnTo>
                  <a:lnTo>
                    <a:pt x="208977" y="124454"/>
                  </a:lnTo>
                  <a:lnTo>
                    <a:pt x="211125" y="126723"/>
                  </a:lnTo>
                  <a:lnTo>
                    <a:pt x="213031" y="129779"/>
                  </a:lnTo>
                  <a:lnTo>
                    <a:pt x="214483" y="133016"/>
                  </a:lnTo>
                  <a:lnTo>
                    <a:pt x="215330" y="137009"/>
                  </a:lnTo>
                  <a:lnTo>
                    <a:pt x="216056" y="142030"/>
                  </a:lnTo>
                  <a:lnTo>
                    <a:pt x="217205" y="146417"/>
                  </a:lnTo>
                  <a:lnTo>
                    <a:pt x="219293" y="148504"/>
                  </a:lnTo>
                  <a:lnTo>
                    <a:pt x="219293" y="150198"/>
                  </a:lnTo>
                  <a:lnTo>
                    <a:pt x="216086" y="152558"/>
                  </a:lnTo>
                  <a:lnTo>
                    <a:pt x="212184" y="165173"/>
                  </a:lnTo>
                  <a:lnTo>
                    <a:pt x="208342" y="167200"/>
                  </a:lnTo>
                  <a:lnTo>
                    <a:pt x="208342" y="165778"/>
                  </a:lnTo>
                  <a:lnTo>
                    <a:pt x="209310" y="163267"/>
                  </a:lnTo>
                  <a:lnTo>
                    <a:pt x="211639" y="158911"/>
                  </a:lnTo>
                  <a:lnTo>
                    <a:pt x="212486" y="156370"/>
                  </a:lnTo>
                  <a:lnTo>
                    <a:pt x="213182" y="148625"/>
                  </a:lnTo>
                  <a:lnTo>
                    <a:pt x="213182" y="147082"/>
                  </a:lnTo>
                  <a:lnTo>
                    <a:pt x="212426" y="146568"/>
                  </a:lnTo>
                  <a:lnTo>
                    <a:pt x="211760" y="148293"/>
                  </a:lnTo>
                  <a:lnTo>
                    <a:pt x="211306" y="150561"/>
                  </a:lnTo>
                  <a:lnTo>
                    <a:pt x="211125" y="151711"/>
                  </a:lnTo>
                  <a:lnTo>
                    <a:pt x="209733" y="150622"/>
                  </a:lnTo>
                  <a:lnTo>
                    <a:pt x="209824" y="149079"/>
                  </a:lnTo>
                  <a:lnTo>
                    <a:pt x="210368" y="147324"/>
                  </a:lnTo>
                  <a:lnTo>
                    <a:pt x="210429" y="145509"/>
                  </a:lnTo>
                  <a:lnTo>
                    <a:pt x="209612" y="143573"/>
                  </a:lnTo>
                  <a:lnTo>
                    <a:pt x="208977" y="143573"/>
                  </a:lnTo>
                  <a:lnTo>
                    <a:pt x="208402" y="144118"/>
                  </a:lnTo>
                  <a:lnTo>
                    <a:pt x="207676" y="143967"/>
                  </a:lnTo>
                  <a:lnTo>
                    <a:pt x="206103" y="141093"/>
                  </a:lnTo>
                  <a:lnTo>
                    <a:pt x="204923" y="137856"/>
                  </a:lnTo>
                  <a:lnTo>
                    <a:pt x="203562" y="135708"/>
                  </a:lnTo>
                  <a:lnTo>
                    <a:pt x="201414" y="136071"/>
                  </a:lnTo>
                  <a:lnTo>
                    <a:pt x="201414" y="137765"/>
                  </a:lnTo>
                  <a:lnTo>
                    <a:pt x="200749" y="142242"/>
                  </a:lnTo>
                  <a:lnTo>
                    <a:pt x="194063" y="158820"/>
                  </a:lnTo>
                  <a:lnTo>
                    <a:pt x="191703" y="167532"/>
                  </a:lnTo>
                  <a:lnTo>
                    <a:pt x="190403" y="167895"/>
                  </a:lnTo>
                  <a:lnTo>
                    <a:pt x="189677" y="165959"/>
                  </a:lnTo>
                  <a:lnTo>
                    <a:pt x="190735" y="161785"/>
                  </a:lnTo>
                  <a:lnTo>
                    <a:pt x="195908" y="148414"/>
                  </a:lnTo>
                  <a:lnTo>
                    <a:pt x="195485" y="147839"/>
                  </a:lnTo>
                  <a:lnTo>
                    <a:pt x="195243" y="147022"/>
                  </a:lnTo>
                  <a:lnTo>
                    <a:pt x="196060" y="145903"/>
                  </a:lnTo>
                  <a:lnTo>
                    <a:pt x="196665" y="143694"/>
                  </a:lnTo>
                  <a:lnTo>
                    <a:pt x="197088" y="141183"/>
                  </a:lnTo>
                  <a:lnTo>
                    <a:pt x="197542" y="136252"/>
                  </a:lnTo>
                  <a:lnTo>
                    <a:pt x="197451" y="135224"/>
                  </a:lnTo>
                  <a:lnTo>
                    <a:pt x="196876" y="134407"/>
                  </a:lnTo>
                  <a:lnTo>
                    <a:pt x="193246" y="128024"/>
                  </a:lnTo>
                  <a:lnTo>
                    <a:pt x="189404" y="124243"/>
                  </a:lnTo>
                  <a:lnTo>
                    <a:pt x="188527" y="123093"/>
                  </a:lnTo>
                  <a:lnTo>
                    <a:pt x="187892" y="121217"/>
                  </a:lnTo>
                  <a:lnTo>
                    <a:pt x="187650" y="118132"/>
                  </a:lnTo>
                  <a:lnTo>
                    <a:pt x="186984" y="117406"/>
                  </a:lnTo>
                  <a:lnTo>
                    <a:pt x="180178" y="116831"/>
                  </a:lnTo>
                  <a:lnTo>
                    <a:pt x="179633" y="117194"/>
                  </a:lnTo>
                  <a:lnTo>
                    <a:pt x="178816" y="118918"/>
                  </a:lnTo>
                  <a:lnTo>
                    <a:pt x="177757" y="122730"/>
                  </a:lnTo>
                  <a:lnTo>
                    <a:pt x="176910" y="128175"/>
                  </a:lnTo>
                  <a:lnTo>
                    <a:pt x="176487" y="134014"/>
                  </a:lnTo>
                  <a:lnTo>
                    <a:pt x="176668" y="139096"/>
                  </a:lnTo>
                  <a:lnTo>
                    <a:pt x="173250" y="150077"/>
                  </a:lnTo>
                  <a:lnTo>
                    <a:pt x="172706" y="146871"/>
                  </a:lnTo>
                  <a:lnTo>
                    <a:pt x="173613" y="141546"/>
                  </a:lnTo>
                  <a:lnTo>
                    <a:pt x="174248" y="135224"/>
                  </a:lnTo>
                  <a:lnTo>
                    <a:pt x="172857" y="129083"/>
                  </a:lnTo>
                  <a:lnTo>
                    <a:pt x="171737" y="129809"/>
                  </a:lnTo>
                  <a:lnTo>
                    <a:pt x="170285" y="133288"/>
                  </a:lnTo>
                  <a:lnTo>
                    <a:pt x="168349" y="139096"/>
                  </a:lnTo>
                  <a:lnTo>
                    <a:pt x="166655" y="141062"/>
                  </a:lnTo>
                  <a:lnTo>
                    <a:pt x="164810" y="141940"/>
                  </a:lnTo>
                  <a:lnTo>
                    <a:pt x="160756" y="142182"/>
                  </a:lnTo>
                  <a:lnTo>
                    <a:pt x="164084" y="140004"/>
                  </a:lnTo>
                  <a:lnTo>
                    <a:pt x="166988" y="135708"/>
                  </a:lnTo>
                  <a:lnTo>
                    <a:pt x="169348" y="130384"/>
                  </a:lnTo>
                  <a:lnTo>
                    <a:pt x="171072" y="125090"/>
                  </a:lnTo>
                  <a:lnTo>
                    <a:pt x="169559" y="123577"/>
                  </a:lnTo>
                  <a:lnTo>
                    <a:pt x="167956" y="124817"/>
                  </a:lnTo>
                  <a:lnTo>
                    <a:pt x="166353" y="126996"/>
                  </a:lnTo>
                  <a:lnTo>
                    <a:pt x="164901" y="128327"/>
                  </a:lnTo>
                  <a:lnTo>
                    <a:pt x="165112" y="127631"/>
                  </a:lnTo>
                  <a:lnTo>
                    <a:pt x="165566" y="126602"/>
                  </a:lnTo>
                  <a:lnTo>
                    <a:pt x="164084" y="121248"/>
                  </a:lnTo>
                  <a:lnTo>
                    <a:pt x="163328" y="119554"/>
                  </a:lnTo>
                  <a:lnTo>
                    <a:pt x="162118" y="118828"/>
                  </a:lnTo>
                  <a:lnTo>
                    <a:pt x="161028" y="119463"/>
                  </a:lnTo>
                  <a:lnTo>
                    <a:pt x="160393" y="121127"/>
                  </a:lnTo>
                  <a:lnTo>
                    <a:pt x="159939" y="123214"/>
                  </a:lnTo>
                  <a:lnTo>
                    <a:pt x="159365" y="125059"/>
                  </a:lnTo>
                  <a:lnTo>
                    <a:pt x="157368" y="128115"/>
                  </a:lnTo>
                  <a:lnTo>
                    <a:pt x="151862" y="134377"/>
                  </a:lnTo>
                  <a:lnTo>
                    <a:pt x="149714" y="137614"/>
                  </a:lnTo>
                  <a:lnTo>
                    <a:pt x="149079" y="137614"/>
                  </a:lnTo>
                  <a:lnTo>
                    <a:pt x="150077" y="135375"/>
                  </a:lnTo>
                  <a:lnTo>
                    <a:pt x="154585" y="127449"/>
                  </a:lnTo>
                  <a:lnTo>
                    <a:pt x="154978" y="126996"/>
                  </a:lnTo>
                  <a:lnTo>
                    <a:pt x="156672" y="124031"/>
                  </a:lnTo>
                  <a:lnTo>
                    <a:pt x="157338" y="122367"/>
                  </a:lnTo>
                  <a:lnTo>
                    <a:pt x="157187" y="120159"/>
                  </a:lnTo>
                  <a:lnTo>
                    <a:pt x="156642" y="116468"/>
                  </a:lnTo>
                  <a:lnTo>
                    <a:pt x="156642" y="113140"/>
                  </a:lnTo>
                  <a:lnTo>
                    <a:pt x="156400" y="111900"/>
                  </a:lnTo>
                  <a:lnTo>
                    <a:pt x="154555" y="109450"/>
                  </a:lnTo>
                  <a:lnTo>
                    <a:pt x="153163" y="106636"/>
                  </a:lnTo>
                  <a:lnTo>
                    <a:pt x="152195" y="105245"/>
                  </a:lnTo>
                  <a:lnTo>
                    <a:pt x="151106" y="104640"/>
                  </a:lnTo>
                  <a:lnTo>
                    <a:pt x="149140" y="105487"/>
                  </a:lnTo>
                  <a:lnTo>
                    <a:pt x="144178" y="112717"/>
                  </a:lnTo>
                  <a:lnTo>
                    <a:pt x="143483" y="107756"/>
                  </a:lnTo>
                  <a:lnTo>
                    <a:pt x="143876" y="104367"/>
                  </a:lnTo>
                  <a:lnTo>
                    <a:pt x="142152" y="100253"/>
                  </a:lnTo>
                  <a:lnTo>
                    <a:pt x="139610" y="96774"/>
                  </a:lnTo>
                  <a:lnTo>
                    <a:pt x="137614" y="95292"/>
                  </a:lnTo>
                  <a:lnTo>
                    <a:pt x="134589" y="94657"/>
                  </a:lnTo>
                  <a:lnTo>
                    <a:pt x="124333" y="87638"/>
                  </a:lnTo>
                  <a:lnTo>
                    <a:pt x="108542" y="83433"/>
                  </a:lnTo>
                  <a:lnTo>
                    <a:pt x="106243" y="84523"/>
                  </a:lnTo>
                  <a:lnTo>
                    <a:pt x="106092" y="87548"/>
                  </a:lnTo>
                  <a:lnTo>
                    <a:pt x="104519" y="88848"/>
                  </a:lnTo>
                  <a:lnTo>
                    <a:pt x="100344" y="89030"/>
                  </a:lnTo>
                  <a:lnTo>
                    <a:pt x="99618" y="89332"/>
                  </a:lnTo>
                  <a:lnTo>
                    <a:pt x="98650" y="89756"/>
                  </a:lnTo>
                  <a:lnTo>
                    <a:pt x="96956" y="91480"/>
                  </a:lnTo>
                  <a:lnTo>
                    <a:pt x="95504" y="93537"/>
                  </a:lnTo>
                  <a:lnTo>
                    <a:pt x="94506" y="95262"/>
                  </a:lnTo>
                  <a:lnTo>
                    <a:pt x="94506" y="96956"/>
                  </a:lnTo>
                  <a:lnTo>
                    <a:pt x="96895" y="98589"/>
                  </a:lnTo>
                  <a:lnTo>
                    <a:pt x="106546" y="98378"/>
                  </a:lnTo>
                  <a:lnTo>
                    <a:pt x="108814" y="99648"/>
                  </a:lnTo>
                  <a:lnTo>
                    <a:pt x="112777" y="105699"/>
                  </a:lnTo>
                  <a:lnTo>
                    <a:pt x="115167" y="107756"/>
                  </a:lnTo>
                  <a:lnTo>
                    <a:pt x="106213" y="100919"/>
                  </a:lnTo>
                  <a:lnTo>
                    <a:pt x="99557" y="99920"/>
                  </a:lnTo>
                  <a:lnTo>
                    <a:pt x="90785" y="100707"/>
                  </a:lnTo>
                  <a:lnTo>
                    <a:pt x="87517" y="103218"/>
                  </a:lnTo>
                  <a:lnTo>
                    <a:pt x="90906" y="107635"/>
                  </a:lnTo>
                  <a:lnTo>
                    <a:pt x="96805" y="112566"/>
                  </a:lnTo>
                  <a:lnTo>
                    <a:pt x="99890" y="116468"/>
                  </a:lnTo>
                  <a:lnTo>
                    <a:pt x="101010" y="117255"/>
                  </a:lnTo>
                  <a:lnTo>
                    <a:pt x="103430" y="117739"/>
                  </a:lnTo>
                  <a:lnTo>
                    <a:pt x="108058" y="119856"/>
                  </a:lnTo>
                  <a:lnTo>
                    <a:pt x="110357" y="120340"/>
                  </a:lnTo>
                  <a:lnTo>
                    <a:pt x="112414" y="121822"/>
                  </a:lnTo>
                  <a:lnTo>
                    <a:pt x="115500" y="128901"/>
                  </a:lnTo>
                  <a:lnTo>
                    <a:pt x="117194" y="131321"/>
                  </a:lnTo>
                  <a:lnTo>
                    <a:pt x="117194" y="132743"/>
                  </a:lnTo>
                  <a:lnTo>
                    <a:pt x="115137" y="131987"/>
                  </a:lnTo>
                  <a:lnTo>
                    <a:pt x="113382" y="129869"/>
                  </a:lnTo>
                  <a:lnTo>
                    <a:pt x="112142" y="126814"/>
                  </a:lnTo>
                  <a:lnTo>
                    <a:pt x="111688" y="123244"/>
                  </a:lnTo>
                  <a:lnTo>
                    <a:pt x="108088" y="125180"/>
                  </a:lnTo>
                  <a:lnTo>
                    <a:pt x="102734" y="123880"/>
                  </a:lnTo>
                  <a:lnTo>
                    <a:pt x="84492" y="113624"/>
                  </a:lnTo>
                  <a:lnTo>
                    <a:pt x="79289" y="112505"/>
                  </a:lnTo>
                  <a:lnTo>
                    <a:pt x="75145" y="113927"/>
                  </a:lnTo>
                  <a:lnTo>
                    <a:pt x="73632" y="116650"/>
                  </a:lnTo>
                  <a:lnTo>
                    <a:pt x="73057" y="120340"/>
                  </a:lnTo>
                  <a:lnTo>
                    <a:pt x="73057" y="127359"/>
                  </a:lnTo>
                  <a:lnTo>
                    <a:pt x="73965" y="129204"/>
                  </a:lnTo>
                  <a:lnTo>
                    <a:pt x="78079" y="134498"/>
                  </a:lnTo>
                  <a:lnTo>
                    <a:pt x="82677" y="138552"/>
                  </a:lnTo>
                  <a:lnTo>
                    <a:pt x="84855" y="139399"/>
                  </a:lnTo>
                  <a:lnTo>
                    <a:pt x="86217" y="141516"/>
                  </a:lnTo>
                  <a:lnTo>
                    <a:pt x="88969" y="142968"/>
                  </a:lnTo>
                  <a:lnTo>
                    <a:pt x="94445" y="149896"/>
                  </a:lnTo>
                  <a:lnTo>
                    <a:pt x="96744" y="151499"/>
                  </a:lnTo>
                  <a:lnTo>
                    <a:pt x="107181" y="153798"/>
                  </a:lnTo>
                  <a:lnTo>
                    <a:pt x="111900" y="157761"/>
                  </a:lnTo>
                  <a:lnTo>
                    <a:pt x="114502" y="159183"/>
                  </a:lnTo>
                  <a:lnTo>
                    <a:pt x="122821" y="159909"/>
                  </a:lnTo>
                  <a:lnTo>
                    <a:pt x="125483" y="162995"/>
                  </a:lnTo>
                  <a:lnTo>
                    <a:pt x="133802" y="165475"/>
                  </a:lnTo>
                  <a:lnTo>
                    <a:pt x="130293" y="167079"/>
                  </a:lnTo>
                  <a:lnTo>
                    <a:pt x="126421" y="165596"/>
                  </a:lnTo>
                  <a:lnTo>
                    <a:pt x="119251" y="160696"/>
                  </a:lnTo>
                  <a:lnTo>
                    <a:pt x="115137" y="160696"/>
                  </a:lnTo>
                  <a:lnTo>
                    <a:pt x="102704" y="156067"/>
                  </a:lnTo>
                  <a:lnTo>
                    <a:pt x="96351" y="157852"/>
                  </a:lnTo>
                  <a:lnTo>
                    <a:pt x="94445" y="157640"/>
                  </a:lnTo>
                  <a:lnTo>
                    <a:pt x="92600" y="156249"/>
                  </a:lnTo>
                  <a:lnTo>
                    <a:pt x="89423" y="152588"/>
                  </a:lnTo>
                  <a:lnTo>
                    <a:pt x="87548" y="151439"/>
                  </a:lnTo>
                  <a:lnTo>
                    <a:pt x="80045" y="149896"/>
                  </a:lnTo>
                  <a:lnTo>
                    <a:pt x="74328" y="146689"/>
                  </a:lnTo>
                  <a:lnTo>
                    <a:pt x="72331" y="146810"/>
                  </a:lnTo>
                  <a:lnTo>
                    <a:pt x="68036" y="151318"/>
                  </a:lnTo>
                  <a:lnTo>
                    <a:pt x="67703" y="158185"/>
                  </a:lnTo>
                  <a:lnTo>
                    <a:pt x="69851" y="165566"/>
                  </a:lnTo>
                  <a:lnTo>
                    <a:pt x="73087" y="171677"/>
                  </a:lnTo>
                  <a:lnTo>
                    <a:pt x="78926" y="177727"/>
                  </a:lnTo>
                  <a:lnTo>
                    <a:pt x="80318" y="180057"/>
                  </a:lnTo>
                  <a:lnTo>
                    <a:pt x="81528" y="181025"/>
                  </a:lnTo>
                  <a:lnTo>
                    <a:pt x="86822" y="179209"/>
                  </a:lnTo>
                  <a:lnTo>
                    <a:pt x="90331" y="182295"/>
                  </a:lnTo>
                  <a:lnTo>
                    <a:pt x="95655" y="184322"/>
                  </a:lnTo>
                  <a:lnTo>
                    <a:pt x="122791" y="184927"/>
                  </a:lnTo>
                  <a:lnTo>
                    <a:pt x="127117" y="181297"/>
                  </a:lnTo>
                  <a:lnTo>
                    <a:pt x="130293" y="179936"/>
                  </a:lnTo>
                  <a:lnTo>
                    <a:pt x="135829" y="179209"/>
                  </a:lnTo>
                  <a:lnTo>
                    <a:pt x="134377" y="180904"/>
                  </a:lnTo>
                  <a:lnTo>
                    <a:pt x="129627" y="183989"/>
                  </a:lnTo>
                  <a:lnTo>
                    <a:pt x="129627" y="185381"/>
                  </a:lnTo>
                  <a:lnTo>
                    <a:pt x="130474" y="185381"/>
                  </a:lnTo>
                  <a:lnTo>
                    <a:pt x="131110" y="185744"/>
                  </a:lnTo>
                  <a:lnTo>
                    <a:pt x="132380" y="186924"/>
                  </a:lnTo>
                  <a:lnTo>
                    <a:pt x="130323" y="188678"/>
                  </a:lnTo>
                  <a:lnTo>
                    <a:pt x="128175" y="188466"/>
                  </a:lnTo>
                  <a:lnTo>
                    <a:pt x="123759" y="186893"/>
                  </a:lnTo>
                  <a:lnTo>
                    <a:pt x="121702" y="187408"/>
                  </a:lnTo>
                  <a:lnTo>
                    <a:pt x="119100" y="189616"/>
                  </a:lnTo>
                  <a:lnTo>
                    <a:pt x="110902" y="190645"/>
                  </a:lnTo>
                  <a:lnTo>
                    <a:pt x="109329" y="189344"/>
                  </a:lnTo>
                  <a:lnTo>
                    <a:pt x="107967" y="188829"/>
                  </a:lnTo>
                  <a:lnTo>
                    <a:pt x="101705" y="191522"/>
                  </a:lnTo>
                  <a:lnTo>
                    <a:pt x="100707" y="192641"/>
                  </a:lnTo>
                  <a:lnTo>
                    <a:pt x="101705" y="195182"/>
                  </a:lnTo>
                  <a:lnTo>
                    <a:pt x="103490" y="197844"/>
                  </a:lnTo>
                  <a:lnTo>
                    <a:pt x="104882" y="199327"/>
                  </a:lnTo>
                  <a:lnTo>
                    <a:pt x="108875" y="201717"/>
                  </a:lnTo>
                  <a:lnTo>
                    <a:pt x="114320" y="203350"/>
                  </a:lnTo>
                  <a:lnTo>
                    <a:pt x="126270" y="202412"/>
                  </a:lnTo>
                  <a:lnTo>
                    <a:pt x="124878" y="203804"/>
                  </a:lnTo>
                  <a:lnTo>
                    <a:pt x="123335" y="203985"/>
                  </a:lnTo>
                  <a:lnTo>
                    <a:pt x="121732" y="203774"/>
                  </a:lnTo>
                  <a:lnTo>
                    <a:pt x="120098" y="203955"/>
                  </a:lnTo>
                  <a:lnTo>
                    <a:pt x="115591" y="206890"/>
                  </a:lnTo>
                  <a:lnTo>
                    <a:pt x="113836" y="207011"/>
                  </a:lnTo>
                  <a:lnTo>
                    <a:pt x="114592" y="209098"/>
                  </a:lnTo>
                  <a:lnTo>
                    <a:pt x="115016" y="209612"/>
                  </a:lnTo>
                  <a:lnTo>
                    <a:pt x="115893" y="210066"/>
                  </a:lnTo>
                  <a:lnTo>
                    <a:pt x="115893" y="211609"/>
                  </a:lnTo>
                  <a:lnTo>
                    <a:pt x="113473" y="212305"/>
                  </a:lnTo>
                  <a:lnTo>
                    <a:pt x="107998" y="211034"/>
                  </a:lnTo>
                  <a:lnTo>
                    <a:pt x="106909" y="213152"/>
                  </a:lnTo>
                  <a:lnTo>
                    <a:pt x="105305" y="211215"/>
                  </a:lnTo>
                  <a:lnTo>
                    <a:pt x="104912" y="210096"/>
                  </a:lnTo>
                  <a:lnTo>
                    <a:pt x="100798" y="215451"/>
                  </a:lnTo>
                  <a:lnTo>
                    <a:pt x="98499" y="217145"/>
                  </a:lnTo>
                  <a:lnTo>
                    <a:pt x="96684" y="216177"/>
                  </a:lnTo>
                  <a:lnTo>
                    <a:pt x="97531" y="212789"/>
                  </a:lnTo>
                  <a:lnTo>
                    <a:pt x="98590" y="210459"/>
                  </a:lnTo>
                  <a:lnTo>
                    <a:pt x="99043" y="207918"/>
                  </a:lnTo>
                  <a:lnTo>
                    <a:pt x="98015" y="203925"/>
                  </a:lnTo>
                  <a:lnTo>
                    <a:pt x="97319" y="202806"/>
                  </a:lnTo>
                  <a:lnTo>
                    <a:pt x="94566" y="200839"/>
                  </a:lnTo>
                  <a:lnTo>
                    <a:pt x="92781" y="197481"/>
                  </a:lnTo>
                  <a:lnTo>
                    <a:pt x="91813" y="196362"/>
                  </a:lnTo>
                  <a:lnTo>
                    <a:pt x="49370" y="174400"/>
                  </a:lnTo>
                  <a:lnTo>
                    <a:pt x="45044" y="174127"/>
                  </a:lnTo>
                  <a:lnTo>
                    <a:pt x="40779" y="177667"/>
                  </a:lnTo>
                  <a:lnTo>
                    <a:pt x="41808" y="180329"/>
                  </a:lnTo>
                  <a:lnTo>
                    <a:pt x="41929" y="182991"/>
                  </a:lnTo>
                  <a:lnTo>
                    <a:pt x="41808" y="185714"/>
                  </a:lnTo>
                  <a:lnTo>
                    <a:pt x="42140" y="188587"/>
                  </a:lnTo>
                  <a:lnTo>
                    <a:pt x="46254" y="196423"/>
                  </a:lnTo>
                  <a:lnTo>
                    <a:pt x="49854" y="201142"/>
                  </a:lnTo>
                  <a:lnTo>
                    <a:pt x="52063" y="203108"/>
                  </a:lnTo>
                  <a:lnTo>
                    <a:pt x="56721" y="204681"/>
                  </a:lnTo>
                  <a:lnTo>
                    <a:pt x="61925" y="207918"/>
                  </a:lnTo>
                  <a:lnTo>
                    <a:pt x="66311" y="209400"/>
                  </a:lnTo>
                  <a:lnTo>
                    <a:pt x="69185" y="211427"/>
                  </a:lnTo>
                  <a:lnTo>
                    <a:pt x="71877" y="214362"/>
                  </a:lnTo>
                  <a:lnTo>
                    <a:pt x="73814" y="217841"/>
                  </a:lnTo>
                  <a:lnTo>
                    <a:pt x="70667" y="216933"/>
                  </a:lnTo>
                  <a:lnTo>
                    <a:pt x="60805" y="211579"/>
                  </a:lnTo>
                  <a:lnTo>
                    <a:pt x="45619" y="208674"/>
                  </a:lnTo>
                  <a:lnTo>
                    <a:pt x="47374" y="211881"/>
                  </a:lnTo>
                  <a:lnTo>
                    <a:pt x="50580" y="215874"/>
                  </a:lnTo>
                  <a:lnTo>
                    <a:pt x="53333" y="220321"/>
                  </a:lnTo>
                  <a:lnTo>
                    <a:pt x="58295" y="225373"/>
                  </a:lnTo>
                  <a:lnTo>
                    <a:pt x="60291" y="226341"/>
                  </a:lnTo>
                  <a:lnTo>
                    <a:pt x="61834" y="228640"/>
                  </a:lnTo>
                  <a:lnTo>
                    <a:pt x="63256" y="231272"/>
                  </a:lnTo>
                  <a:lnTo>
                    <a:pt x="64889" y="233269"/>
                  </a:lnTo>
                  <a:lnTo>
                    <a:pt x="66795" y="234207"/>
                  </a:lnTo>
                  <a:lnTo>
                    <a:pt x="69155" y="234812"/>
                  </a:lnTo>
                  <a:lnTo>
                    <a:pt x="73753" y="234660"/>
                  </a:lnTo>
                  <a:lnTo>
                    <a:pt x="68036" y="237413"/>
                  </a:lnTo>
                  <a:lnTo>
                    <a:pt x="65101" y="237595"/>
                  </a:lnTo>
                  <a:lnTo>
                    <a:pt x="62076" y="236173"/>
                  </a:lnTo>
                  <a:lnTo>
                    <a:pt x="60352" y="234086"/>
                  </a:lnTo>
                  <a:lnTo>
                    <a:pt x="58900" y="231575"/>
                  </a:lnTo>
                  <a:lnTo>
                    <a:pt x="57236" y="229457"/>
                  </a:lnTo>
                  <a:lnTo>
                    <a:pt x="50217" y="227703"/>
                  </a:lnTo>
                  <a:lnTo>
                    <a:pt x="46254" y="225373"/>
                  </a:lnTo>
                  <a:lnTo>
                    <a:pt x="40718" y="218809"/>
                  </a:lnTo>
                  <a:lnTo>
                    <a:pt x="38994" y="217841"/>
                  </a:lnTo>
                  <a:lnTo>
                    <a:pt x="36151" y="217417"/>
                  </a:lnTo>
                  <a:lnTo>
                    <a:pt x="26349" y="212032"/>
                  </a:lnTo>
                  <a:lnTo>
                    <a:pt x="23778" y="211579"/>
                  </a:lnTo>
                  <a:lnTo>
                    <a:pt x="22356" y="212093"/>
                  </a:lnTo>
                  <a:lnTo>
                    <a:pt x="20601" y="214301"/>
                  </a:lnTo>
                  <a:lnTo>
                    <a:pt x="17516" y="216177"/>
                  </a:lnTo>
                  <a:lnTo>
                    <a:pt x="16941" y="219535"/>
                  </a:lnTo>
                  <a:lnTo>
                    <a:pt x="16941" y="223558"/>
                  </a:lnTo>
                  <a:lnTo>
                    <a:pt x="16548" y="227037"/>
                  </a:lnTo>
                  <a:lnTo>
                    <a:pt x="14763" y="228973"/>
                  </a:lnTo>
                  <a:lnTo>
                    <a:pt x="8894" y="232422"/>
                  </a:lnTo>
                  <a:lnTo>
                    <a:pt x="7623" y="233934"/>
                  </a:lnTo>
                  <a:lnTo>
                    <a:pt x="6655" y="236203"/>
                  </a:lnTo>
                  <a:lnTo>
                    <a:pt x="4417" y="238260"/>
                  </a:lnTo>
                  <a:lnTo>
                    <a:pt x="0" y="240711"/>
                  </a:lnTo>
                  <a:lnTo>
                    <a:pt x="2178" y="244432"/>
                  </a:lnTo>
                  <a:lnTo>
                    <a:pt x="5869" y="245067"/>
                  </a:lnTo>
                  <a:lnTo>
                    <a:pt x="34547" y="242223"/>
                  </a:lnTo>
                  <a:lnTo>
                    <a:pt x="50006" y="248153"/>
                  </a:lnTo>
                  <a:lnTo>
                    <a:pt x="52396" y="251480"/>
                  </a:lnTo>
                  <a:lnTo>
                    <a:pt x="53424" y="248546"/>
                  </a:lnTo>
                  <a:lnTo>
                    <a:pt x="55723" y="248243"/>
                  </a:lnTo>
                  <a:lnTo>
                    <a:pt x="57569" y="250300"/>
                  </a:lnTo>
                  <a:lnTo>
                    <a:pt x="57266" y="254384"/>
                  </a:lnTo>
                  <a:lnTo>
                    <a:pt x="56449" y="253447"/>
                  </a:lnTo>
                  <a:lnTo>
                    <a:pt x="55663" y="252993"/>
                  </a:lnTo>
                  <a:lnTo>
                    <a:pt x="53817" y="252872"/>
                  </a:lnTo>
                  <a:lnTo>
                    <a:pt x="54997" y="254112"/>
                  </a:lnTo>
                  <a:lnTo>
                    <a:pt x="55995" y="255564"/>
                  </a:lnTo>
                  <a:lnTo>
                    <a:pt x="56419" y="257198"/>
                  </a:lnTo>
                  <a:lnTo>
                    <a:pt x="55844" y="258952"/>
                  </a:lnTo>
                  <a:lnTo>
                    <a:pt x="55844" y="260616"/>
                  </a:lnTo>
                  <a:lnTo>
                    <a:pt x="59928" y="263218"/>
                  </a:lnTo>
                  <a:lnTo>
                    <a:pt x="64587" y="263732"/>
                  </a:lnTo>
                  <a:lnTo>
                    <a:pt x="83040" y="258952"/>
                  </a:lnTo>
                  <a:lnTo>
                    <a:pt x="86822" y="252872"/>
                  </a:lnTo>
                  <a:lnTo>
                    <a:pt x="87669" y="252055"/>
                  </a:lnTo>
                  <a:lnTo>
                    <a:pt x="88365" y="251843"/>
                  </a:lnTo>
                  <a:lnTo>
                    <a:pt x="88818" y="250996"/>
                  </a:lnTo>
                  <a:lnTo>
                    <a:pt x="88909" y="248334"/>
                  </a:lnTo>
                  <a:lnTo>
                    <a:pt x="91995" y="249968"/>
                  </a:lnTo>
                  <a:lnTo>
                    <a:pt x="105578" y="247396"/>
                  </a:lnTo>
                  <a:lnTo>
                    <a:pt x="110872" y="243343"/>
                  </a:lnTo>
                  <a:lnTo>
                    <a:pt x="113776" y="242223"/>
                  </a:lnTo>
                  <a:lnTo>
                    <a:pt x="113080" y="241285"/>
                  </a:lnTo>
                  <a:lnTo>
                    <a:pt x="112777" y="240983"/>
                  </a:lnTo>
                  <a:lnTo>
                    <a:pt x="112324" y="240680"/>
                  </a:lnTo>
                  <a:lnTo>
                    <a:pt x="113352" y="239712"/>
                  </a:lnTo>
                  <a:lnTo>
                    <a:pt x="113836" y="239410"/>
                  </a:lnTo>
                  <a:lnTo>
                    <a:pt x="114502" y="239289"/>
                  </a:lnTo>
                  <a:lnTo>
                    <a:pt x="115076" y="239228"/>
                  </a:lnTo>
                  <a:lnTo>
                    <a:pt x="116196" y="241225"/>
                  </a:lnTo>
                  <a:lnTo>
                    <a:pt x="117406" y="242889"/>
                  </a:lnTo>
                  <a:lnTo>
                    <a:pt x="118979" y="243615"/>
                  </a:lnTo>
                  <a:lnTo>
                    <a:pt x="120582" y="243857"/>
                  </a:lnTo>
                  <a:lnTo>
                    <a:pt x="123335" y="245006"/>
                  </a:lnTo>
                  <a:lnTo>
                    <a:pt x="130051" y="245732"/>
                  </a:lnTo>
                  <a:lnTo>
                    <a:pt x="131654" y="245279"/>
                  </a:lnTo>
                  <a:lnTo>
                    <a:pt x="132985" y="244038"/>
                  </a:lnTo>
                  <a:lnTo>
                    <a:pt x="135254" y="240590"/>
                  </a:lnTo>
                  <a:lnTo>
                    <a:pt x="136555" y="239349"/>
                  </a:lnTo>
                  <a:lnTo>
                    <a:pt x="136555" y="237685"/>
                  </a:lnTo>
                  <a:lnTo>
                    <a:pt x="134649" y="234781"/>
                  </a:lnTo>
                  <a:lnTo>
                    <a:pt x="134770" y="229911"/>
                  </a:lnTo>
                  <a:lnTo>
                    <a:pt x="136464" y="225494"/>
                  </a:lnTo>
                  <a:lnTo>
                    <a:pt x="139247" y="223982"/>
                  </a:lnTo>
                  <a:lnTo>
                    <a:pt x="139247" y="225373"/>
                  </a:lnTo>
                  <a:lnTo>
                    <a:pt x="138945" y="228640"/>
                  </a:lnTo>
                  <a:lnTo>
                    <a:pt x="141909" y="231423"/>
                  </a:lnTo>
                  <a:lnTo>
                    <a:pt x="147446" y="233965"/>
                  </a:lnTo>
                  <a:lnTo>
                    <a:pt x="150289" y="232482"/>
                  </a:lnTo>
                  <a:lnTo>
                    <a:pt x="156339" y="231121"/>
                  </a:lnTo>
                  <a:lnTo>
                    <a:pt x="158457" y="228580"/>
                  </a:lnTo>
                  <a:lnTo>
                    <a:pt x="158760" y="226462"/>
                  </a:lnTo>
                  <a:lnTo>
                    <a:pt x="159244" y="219383"/>
                  </a:lnTo>
                  <a:lnTo>
                    <a:pt x="159516" y="217871"/>
                  </a:lnTo>
                  <a:lnTo>
                    <a:pt x="160605" y="218778"/>
                  </a:lnTo>
                  <a:lnTo>
                    <a:pt x="161210" y="221017"/>
                  </a:lnTo>
                  <a:lnTo>
                    <a:pt x="161664" y="223740"/>
                  </a:lnTo>
                  <a:lnTo>
                    <a:pt x="162329" y="226190"/>
                  </a:lnTo>
                  <a:lnTo>
                    <a:pt x="164386" y="227612"/>
                  </a:lnTo>
                  <a:lnTo>
                    <a:pt x="166927" y="225464"/>
                  </a:lnTo>
                  <a:lnTo>
                    <a:pt x="168985" y="221198"/>
                  </a:lnTo>
                  <a:lnTo>
                    <a:pt x="169529" y="216207"/>
                  </a:lnTo>
                  <a:lnTo>
                    <a:pt x="173069" y="218294"/>
                  </a:lnTo>
                  <a:lnTo>
                    <a:pt x="174763" y="219988"/>
                  </a:lnTo>
                  <a:lnTo>
                    <a:pt x="175761" y="222439"/>
                  </a:lnTo>
                  <a:lnTo>
                    <a:pt x="173069" y="223649"/>
                  </a:lnTo>
                  <a:lnTo>
                    <a:pt x="168561" y="229366"/>
                  </a:lnTo>
                  <a:lnTo>
                    <a:pt x="166111" y="231605"/>
                  </a:lnTo>
                  <a:lnTo>
                    <a:pt x="166111" y="233269"/>
                  </a:lnTo>
                  <a:lnTo>
                    <a:pt x="168652" y="233450"/>
                  </a:lnTo>
                  <a:lnTo>
                    <a:pt x="169469" y="233269"/>
                  </a:lnTo>
                  <a:lnTo>
                    <a:pt x="169559" y="235386"/>
                  </a:lnTo>
                  <a:lnTo>
                    <a:pt x="170679" y="235659"/>
                  </a:lnTo>
                  <a:lnTo>
                    <a:pt x="174006" y="234660"/>
                  </a:lnTo>
                  <a:lnTo>
                    <a:pt x="175368" y="235023"/>
                  </a:lnTo>
                  <a:lnTo>
                    <a:pt x="176517" y="235991"/>
                  </a:lnTo>
                  <a:lnTo>
                    <a:pt x="177001" y="237504"/>
                  </a:lnTo>
                  <a:lnTo>
                    <a:pt x="176426" y="239349"/>
                  </a:lnTo>
                  <a:lnTo>
                    <a:pt x="176426" y="240741"/>
                  </a:lnTo>
                  <a:lnTo>
                    <a:pt x="178241" y="240922"/>
                  </a:lnTo>
                  <a:lnTo>
                    <a:pt x="180087" y="241800"/>
                  </a:lnTo>
                  <a:lnTo>
                    <a:pt x="181811" y="242132"/>
                  </a:lnTo>
                  <a:lnTo>
                    <a:pt x="183203" y="240741"/>
                  </a:lnTo>
                  <a:lnTo>
                    <a:pt x="180450" y="223679"/>
                  </a:lnTo>
                  <a:lnTo>
                    <a:pt x="179482" y="220926"/>
                  </a:lnTo>
                  <a:lnTo>
                    <a:pt x="178574" y="216086"/>
                  </a:lnTo>
                  <a:lnTo>
                    <a:pt x="178514" y="214815"/>
                  </a:lnTo>
                  <a:lnTo>
                    <a:pt x="178967" y="213515"/>
                  </a:lnTo>
                  <a:lnTo>
                    <a:pt x="179542" y="213121"/>
                  </a:lnTo>
                  <a:lnTo>
                    <a:pt x="181236" y="213121"/>
                  </a:lnTo>
                  <a:lnTo>
                    <a:pt x="183929" y="214785"/>
                  </a:lnTo>
                  <a:lnTo>
                    <a:pt x="184806" y="214634"/>
                  </a:lnTo>
                  <a:lnTo>
                    <a:pt x="185320" y="213878"/>
                  </a:lnTo>
                  <a:lnTo>
                    <a:pt x="185835" y="213545"/>
                  </a:lnTo>
                  <a:lnTo>
                    <a:pt x="186742" y="214785"/>
                  </a:lnTo>
                  <a:lnTo>
                    <a:pt x="184473" y="218990"/>
                  </a:lnTo>
                  <a:lnTo>
                    <a:pt x="183747" y="222741"/>
                  </a:lnTo>
                  <a:lnTo>
                    <a:pt x="184171" y="226402"/>
                  </a:lnTo>
                  <a:lnTo>
                    <a:pt x="186470" y="233420"/>
                  </a:lnTo>
                  <a:lnTo>
                    <a:pt x="187287" y="235205"/>
                  </a:lnTo>
                  <a:lnTo>
                    <a:pt x="188043" y="236143"/>
                  </a:lnTo>
                  <a:lnTo>
                    <a:pt x="189344" y="236233"/>
                  </a:lnTo>
                  <a:lnTo>
                    <a:pt x="190433" y="235386"/>
                  </a:lnTo>
                  <a:lnTo>
                    <a:pt x="191189" y="233632"/>
                  </a:lnTo>
                  <a:lnTo>
                    <a:pt x="191824" y="227824"/>
                  </a:lnTo>
                  <a:lnTo>
                    <a:pt x="192671" y="228187"/>
                  </a:lnTo>
                  <a:lnTo>
                    <a:pt x="194577" y="232422"/>
                  </a:lnTo>
                  <a:lnTo>
                    <a:pt x="196060" y="234570"/>
                  </a:lnTo>
                  <a:lnTo>
                    <a:pt x="197300" y="234418"/>
                  </a:lnTo>
                  <a:lnTo>
                    <a:pt x="198389" y="232876"/>
                  </a:lnTo>
                  <a:lnTo>
                    <a:pt x="200325" y="228943"/>
                  </a:lnTo>
                  <a:lnTo>
                    <a:pt x="200900" y="227219"/>
                  </a:lnTo>
                  <a:lnTo>
                    <a:pt x="200900" y="225373"/>
                  </a:lnTo>
                  <a:lnTo>
                    <a:pt x="199266" y="220624"/>
                  </a:lnTo>
                  <a:lnTo>
                    <a:pt x="199115" y="218234"/>
                  </a:lnTo>
                  <a:lnTo>
                    <a:pt x="199176" y="215814"/>
                  </a:lnTo>
                  <a:lnTo>
                    <a:pt x="199115" y="214604"/>
                  </a:lnTo>
                  <a:lnTo>
                    <a:pt x="200355" y="212516"/>
                  </a:lnTo>
                  <a:lnTo>
                    <a:pt x="201565" y="215269"/>
                  </a:lnTo>
                  <a:lnTo>
                    <a:pt x="203501" y="223165"/>
                  </a:lnTo>
                  <a:lnTo>
                    <a:pt x="204802" y="226946"/>
                  </a:lnTo>
                  <a:lnTo>
                    <a:pt x="204802" y="229729"/>
                  </a:lnTo>
                  <a:lnTo>
                    <a:pt x="204439" y="232482"/>
                  </a:lnTo>
                  <a:lnTo>
                    <a:pt x="204530" y="236143"/>
                  </a:lnTo>
                  <a:lnTo>
                    <a:pt x="205589" y="240015"/>
                  </a:lnTo>
                  <a:lnTo>
                    <a:pt x="207071" y="240711"/>
                  </a:lnTo>
                  <a:lnTo>
                    <a:pt x="212637" y="238623"/>
                  </a:lnTo>
                  <a:lnTo>
                    <a:pt x="214120" y="236929"/>
                  </a:lnTo>
                  <a:lnTo>
                    <a:pt x="214634" y="234933"/>
                  </a:lnTo>
                  <a:lnTo>
                    <a:pt x="213394" y="233239"/>
                  </a:lnTo>
                  <a:lnTo>
                    <a:pt x="213394" y="231575"/>
                  </a:lnTo>
                  <a:lnTo>
                    <a:pt x="215178" y="231847"/>
                  </a:lnTo>
                  <a:lnTo>
                    <a:pt x="216358" y="233087"/>
                  </a:lnTo>
                  <a:lnTo>
                    <a:pt x="217629" y="233995"/>
                  </a:lnTo>
                  <a:lnTo>
                    <a:pt x="219716" y="233239"/>
                  </a:lnTo>
                  <a:lnTo>
                    <a:pt x="222318" y="229971"/>
                  </a:lnTo>
                  <a:lnTo>
                    <a:pt x="223830" y="228640"/>
                  </a:lnTo>
                  <a:lnTo>
                    <a:pt x="225918" y="228489"/>
                  </a:lnTo>
                  <a:lnTo>
                    <a:pt x="225918" y="230153"/>
                  </a:lnTo>
                  <a:lnTo>
                    <a:pt x="224617" y="231756"/>
                  </a:lnTo>
                  <a:lnTo>
                    <a:pt x="220352" y="234600"/>
                  </a:lnTo>
                  <a:lnTo>
                    <a:pt x="220352" y="236112"/>
                  </a:lnTo>
                  <a:lnTo>
                    <a:pt x="227461" y="235628"/>
                  </a:lnTo>
                  <a:lnTo>
                    <a:pt x="230728" y="234207"/>
                  </a:lnTo>
                  <a:lnTo>
                    <a:pt x="234146" y="231544"/>
                  </a:lnTo>
                  <a:lnTo>
                    <a:pt x="241558" y="221622"/>
                  </a:lnTo>
                  <a:lnTo>
                    <a:pt x="244522" y="220866"/>
                  </a:lnTo>
                  <a:lnTo>
                    <a:pt x="242314" y="222530"/>
                  </a:lnTo>
                  <a:lnTo>
                    <a:pt x="241195" y="223740"/>
                  </a:lnTo>
                  <a:lnTo>
                    <a:pt x="240317" y="225313"/>
                  </a:lnTo>
                  <a:lnTo>
                    <a:pt x="240075" y="227309"/>
                  </a:lnTo>
                  <a:lnTo>
                    <a:pt x="240075" y="229941"/>
                  </a:lnTo>
                  <a:lnTo>
                    <a:pt x="239773" y="232240"/>
                  </a:lnTo>
                  <a:lnTo>
                    <a:pt x="238654" y="233239"/>
                  </a:lnTo>
                  <a:lnTo>
                    <a:pt x="236264" y="233934"/>
                  </a:lnTo>
                  <a:lnTo>
                    <a:pt x="231605" y="236959"/>
                  </a:lnTo>
                  <a:lnTo>
                    <a:pt x="220472" y="239228"/>
                  </a:lnTo>
                  <a:lnTo>
                    <a:pt x="218294" y="240711"/>
                  </a:lnTo>
                  <a:lnTo>
                    <a:pt x="216298" y="244341"/>
                  </a:lnTo>
                  <a:lnTo>
                    <a:pt x="216873" y="246307"/>
                  </a:lnTo>
                  <a:lnTo>
                    <a:pt x="221108" y="248304"/>
                  </a:lnTo>
                  <a:lnTo>
                    <a:pt x="227037" y="253325"/>
                  </a:lnTo>
                  <a:lnTo>
                    <a:pt x="229729" y="257258"/>
                  </a:lnTo>
                  <a:lnTo>
                    <a:pt x="231423" y="257893"/>
                  </a:lnTo>
                  <a:lnTo>
                    <a:pt x="235205" y="257561"/>
                  </a:lnTo>
                  <a:lnTo>
                    <a:pt x="236173" y="256593"/>
                  </a:lnTo>
                  <a:lnTo>
                    <a:pt x="236990" y="254505"/>
                  </a:lnTo>
                  <a:lnTo>
                    <a:pt x="237625" y="252418"/>
                  </a:lnTo>
                  <a:lnTo>
                    <a:pt x="237988" y="251450"/>
                  </a:lnTo>
                  <a:lnTo>
                    <a:pt x="238896" y="251147"/>
                  </a:lnTo>
                  <a:lnTo>
                    <a:pt x="239924" y="250361"/>
                  </a:lnTo>
                  <a:lnTo>
                    <a:pt x="241709" y="248304"/>
                  </a:lnTo>
                  <a:lnTo>
                    <a:pt x="243161" y="245793"/>
                  </a:lnTo>
                  <a:lnTo>
                    <a:pt x="244069" y="243040"/>
                  </a:lnTo>
                  <a:lnTo>
                    <a:pt x="244311" y="239894"/>
                  </a:lnTo>
                  <a:lnTo>
                    <a:pt x="243796" y="236112"/>
                  </a:lnTo>
                  <a:lnTo>
                    <a:pt x="245097" y="237897"/>
                  </a:lnTo>
                  <a:lnTo>
                    <a:pt x="246973" y="243252"/>
                  </a:lnTo>
                  <a:lnTo>
                    <a:pt x="247911" y="245248"/>
                  </a:lnTo>
                  <a:lnTo>
                    <a:pt x="248969" y="246035"/>
                  </a:lnTo>
                  <a:lnTo>
                    <a:pt x="250391" y="246337"/>
                  </a:lnTo>
                  <a:lnTo>
                    <a:pt x="251268" y="245339"/>
                  </a:lnTo>
                  <a:lnTo>
                    <a:pt x="250694" y="242223"/>
                  </a:lnTo>
                  <a:lnTo>
                    <a:pt x="252116" y="242374"/>
                  </a:lnTo>
                  <a:lnTo>
                    <a:pt x="253537" y="242163"/>
                  </a:lnTo>
                  <a:lnTo>
                    <a:pt x="254929" y="241618"/>
                  </a:lnTo>
                  <a:lnTo>
                    <a:pt x="256260" y="240680"/>
                  </a:lnTo>
                  <a:lnTo>
                    <a:pt x="256774" y="244099"/>
                  </a:lnTo>
                  <a:lnTo>
                    <a:pt x="258136" y="246519"/>
                  </a:lnTo>
                  <a:lnTo>
                    <a:pt x="261766" y="249816"/>
                  </a:lnTo>
                  <a:lnTo>
                    <a:pt x="259618" y="252448"/>
                  </a:lnTo>
                  <a:lnTo>
                    <a:pt x="257651" y="255897"/>
                  </a:lnTo>
                  <a:lnTo>
                    <a:pt x="259618" y="256048"/>
                  </a:lnTo>
                  <a:lnTo>
                    <a:pt x="265577" y="254415"/>
                  </a:lnTo>
                  <a:lnTo>
                    <a:pt x="272747" y="255927"/>
                  </a:lnTo>
                  <a:lnTo>
                    <a:pt x="276256" y="255836"/>
                  </a:lnTo>
                  <a:lnTo>
                    <a:pt x="285906" y="252902"/>
                  </a:lnTo>
                  <a:lnTo>
                    <a:pt x="283486" y="254233"/>
                  </a:lnTo>
                  <a:lnTo>
                    <a:pt x="279675" y="256351"/>
                  </a:lnTo>
                  <a:lnTo>
                    <a:pt x="266606" y="260162"/>
                  </a:lnTo>
                  <a:lnTo>
                    <a:pt x="260374" y="263520"/>
                  </a:lnTo>
                  <a:lnTo>
                    <a:pt x="260828" y="264640"/>
                  </a:lnTo>
                  <a:lnTo>
                    <a:pt x="261735" y="268088"/>
                  </a:lnTo>
                  <a:lnTo>
                    <a:pt x="260223" y="267907"/>
                  </a:lnTo>
                  <a:lnTo>
                    <a:pt x="257742" y="265335"/>
                  </a:lnTo>
                  <a:lnTo>
                    <a:pt x="256230" y="265184"/>
                  </a:lnTo>
                  <a:lnTo>
                    <a:pt x="256230" y="266182"/>
                  </a:lnTo>
                  <a:lnTo>
                    <a:pt x="256381" y="266364"/>
                  </a:lnTo>
                  <a:lnTo>
                    <a:pt x="256623" y="266303"/>
                  </a:lnTo>
                  <a:lnTo>
                    <a:pt x="256835" y="266545"/>
                  </a:lnTo>
                  <a:lnTo>
                    <a:pt x="254536" y="268905"/>
                  </a:lnTo>
                  <a:lnTo>
                    <a:pt x="248092" y="271991"/>
                  </a:lnTo>
                  <a:lnTo>
                    <a:pt x="244462" y="276196"/>
                  </a:lnTo>
                  <a:lnTo>
                    <a:pt x="234993" y="283002"/>
                  </a:lnTo>
                  <a:lnTo>
                    <a:pt x="223770" y="285967"/>
                  </a:lnTo>
                  <a:lnTo>
                    <a:pt x="221078" y="287873"/>
                  </a:lnTo>
                  <a:lnTo>
                    <a:pt x="218113" y="293197"/>
                  </a:lnTo>
                  <a:lnTo>
                    <a:pt x="217205" y="294044"/>
                  </a:lnTo>
                  <a:lnTo>
                    <a:pt x="213575" y="293439"/>
                  </a:lnTo>
                  <a:lnTo>
                    <a:pt x="212093" y="294044"/>
                  </a:lnTo>
                  <a:lnTo>
                    <a:pt x="212365" y="297644"/>
                  </a:lnTo>
                  <a:lnTo>
                    <a:pt x="210580" y="299519"/>
                  </a:lnTo>
                  <a:lnTo>
                    <a:pt x="205891" y="301577"/>
                  </a:lnTo>
                  <a:lnTo>
                    <a:pt x="202503" y="305691"/>
                  </a:lnTo>
                  <a:lnTo>
                    <a:pt x="200658" y="308867"/>
                  </a:lnTo>
                  <a:lnTo>
                    <a:pt x="199629" y="312134"/>
                  </a:lnTo>
                  <a:lnTo>
                    <a:pt x="204470" y="310380"/>
                  </a:lnTo>
                  <a:lnTo>
                    <a:pt x="207011" y="310622"/>
                  </a:lnTo>
                  <a:lnTo>
                    <a:pt x="209249" y="312134"/>
                  </a:lnTo>
                  <a:lnTo>
                    <a:pt x="209249" y="313768"/>
                  </a:lnTo>
                  <a:lnTo>
                    <a:pt x="207404" y="313768"/>
                  </a:lnTo>
                  <a:lnTo>
                    <a:pt x="206648" y="313284"/>
                  </a:lnTo>
                  <a:lnTo>
                    <a:pt x="205891" y="312134"/>
                  </a:lnTo>
                  <a:lnTo>
                    <a:pt x="203592" y="314070"/>
                  </a:lnTo>
                  <a:lnTo>
                    <a:pt x="200658" y="314948"/>
                  </a:lnTo>
                  <a:lnTo>
                    <a:pt x="199115" y="315885"/>
                  </a:lnTo>
                  <a:lnTo>
                    <a:pt x="201021" y="318033"/>
                  </a:lnTo>
                  <a:lnTo>
                    <a:pt x="203713" y="319122"/>
                  </a:lnTo>
                  <a:lnTo>
                    <a:pt x="212879" y="317791"/>
                  </a:lnTo>
                  <a:lnTo>
                    <a:pt x="214301" y="316793"/>
                  </a:lnTo>
                  <a:lnTo>
                    <a:pt x="214785" y="316672"/>
                  </a:lnTo>
                  <a:lnTo>
                    <a:pt x="215874" y="317126"/>
                  </a:lnTo>
                  <a:lnTo>
                    <a:pt x="223104" y="322601"/>
                  </a:lnTo>
                  <a:lnTo>
                    <a:pt x="251813" y="327744"/>
                  </a:lnTo>
                  <a:lnTo>
                    <a:pt x="256835" y="325808"/>
                  </a:lnTo>
                  <a:lnTo>
                    <a:pt x="272021" y="313798"/>
                  </a:lnTo>
                  <a:lnTo>
                    <a:pt x="272021" y="312165"/>
                  </a:lnTo>
                  <a:lnTo>
                    <a:pt x="271265" y="312165"/>
                  </a:lnTo>
                  <a:lnTo>
                    <a:pt x="271265" y="310652"/>
                  </a:lnTo>
                  <a:lnTo>
                    <a:pt x="274381" y="307687"/>
                  </a:lnTo>
                  <a:lnTo>
                    <a:pt x="278737" y="307294"/>
                  </a:lnTo>
                  <a:lnTo>
                    <a:pt x="281943" y="310410"/>
                  </a:lnTo>
                  <a:lnTo>
                    <a:pt x="281611" y="318033"/>
                  </a:lnTo>
                  <a:lnTo>
                    <a:pt x="277406" y="329287"/>
                  </a:lnTo>
                  <a:lnTo>
                    <a:pt x="276105" y="331828"/>
                  </a:lnTo>
                  <a:lnTo>
                    <a:pt x="274290" y="333431"/>
                  </a:lnTo>
                  <a:lnTo>
                    <a:pt x="272838" y="333976"/>
                  </a:lnTo>
                  <a:lnTo>
                    <a:pt x="271628" y="334944"/>
                  </a:lnTo>
                  <a:lnTo>
                    <a:pt x="270629" y="337848"/>
                  </a:lnTo>
                  <a:lnTo>
                    <a:pt x="273685" y="338332"/>
                  </a:lnTo>
                  <a:lnTo>
                    <a:pt x="275470" y="340510"/>
                  </a:lnTo>
                  <a:lnTo>
                    <a:pt x="275349" y="343233"/>
                  </a:lnTo>
                  <a:lnTo>
                    <a:pt x="272686" y="345320"/>
                  </a:lnTo>
                  <a:lnTo>
                    <a:pt x="261524" y="346954"/>
                  </a:lnTo>
                  <a:lnTo>
                    <a:pt x="258892" y="345320"/>
                  </a:lnTo>
                  <a:lnTo>
                    <a:pt x="257167" y="346802"/>
                  </a:lnTo>
                  <a:lnTo>
                    <a:pt x="256986" y="346984"/>
                  </a:lnTo>
                  <a:lnTo>
                    <a:pt x="254868" y="346258"/>
                  </a:lnTo>
                  <a:lnTo>
                    <a:pt x="252720" y="344715"/>
                  </a:lnTo>
                  <a:lnTo>
                    <a:pt x="250663" y="343838"/>
                  </a:lnTo>
                  <a:lnTo>
                    <a:pt x="243101" y="343838"/>
                  </a:lnTo>
                  <a:lnTo>
                    <a:pt x="242163" y="344443"/>
                  </a:lnTo>
                  <a:lnTo>
                    <a:pt x="240620" y="346409"/>
                  </a:lnTo>
                  <a:lnTo>
                    <a:pt x="239591" y="346984"/>
                  </a:lnTo>
                  <a:lnTo>
                    <a:pt x="230576" y="342658"/>
                  </a:lnTo>
                  <a:lnTo>
                    <a:pt x="216963" y="340117"/>
                  </a:lnTo>
                  <a:lnTo>
                    <a:pt x="208735" y="341932"/>
                  </a:lnTo>
                  <a:lnTo>
                    <a:pt x="200325" y="341569"/>
                  </a:lnTo>
                  <a:lnTo>
                    <a:pt x="198449" y="342416"/>
                  </a:lnTo>
                  <a:lnTo>
                    <a:pt x="198238" y="345320"/>
                  </a:lnTo>
                  <a:lnTo>
                    <a:pt x="196211" y="345320"/>
                  </a:lnTo>
                  <a:lnTo>
                    <a:pt x="194729" y="346439"/>
                  </a:lnTo>
                  <a:lnTo>
                    <a:pt x="192006" y="349797"/>
                  </a:lnTo>
                  <a:lnTo>
                    <a:pt x="194486" y="353851"/>
                  </a:lnTo>
                  <a:lnTo>
                    <a:pt x="195636" y="355212"/>
                  </a:lnTo>
                  <a:lnTo>
                    <a:pt x="196876" y="355908"/>
                  </a:lnTo>
                  <a:lnTo>
                    <a:pt x="196876" y="357269"/>
                  </a:lnTo>
                  <a:lnTo>
                    <a:pt x="195182" y="356634"/>
                  </a:lnTo>
                  <a:lnTo>
                    <a:pt x="190675" y="352792"/>
                  </a:lnTo>
                  <a:lnTo>
                    <a:pt x="187347" y="351340"/>
                  </a:lnTo>
                  <a:lnTo>
                    <a:pt x="186500" y="349555"/>
                  </a:lnTo>
                  <a:lnTo>
                    <a:pt x="185835" y="345320"/>
                  </a:lnTo>
                  <a:lnTo>
                    <a:pt x="184383" y="346530"/>
                  </a:lnTo>
                  <a:lnTo>
                    <a:pt x="182658" y="347165"/>
                  </a:lnTo>
                  <a:lnTo>
                    <a:pt x="180964" y="347286"/>
                  </a:lnTo>
                  <a:lnTo>
                    <a:pt x="179633" y="346954"/>
                  </a:lnTo>
                  <a:lnTo>
                    <a:pt x="180752" y="345683"/>
                  </a:lnTo>
                  <a:lnTo>
                    <a:pt x="183808" y="344110"/>
                  </a:lnTo>
                  <a:lnTo>
                    <a:pt x="185199" y="342204"/>
                  </a:lnTo>
                  <a:lnTo>
                    <a:pt x="185048" y="341327"/>
                  </a:lnTo>
                  <a:lnTo>
                    <a:pt x="184988" y="341327"/>
                  </a:lnTo>
                  <a:lnTo>
                    <a:pt x="185048" y="341024"/>
                  </a:lnTo>
                  <a:lnTo>
                    <a:pt x="185199" y="339330"/>
                  </a:lnTo>
                  <a:lnTo>
                    <a:pt x="183505" y="338272"/>
                  </a:lnTo>
                  <a:lnTo>
                    <a:pt x="181720" y="337818"/>
                  </a:lnTo>
                  <a:lnTo>
                    <a:pt x="182446" y="337213"/>
                  </a:lnTo>
                  <a:lnTo>
                    <a:pt x="183021" y="336335"/>
                  </a:lnTo>
                  <a:lnTo>
                    <a:pt x="179058" y="337243"/>
                  </a:lnTo>
                  <a:lnTo>
                    <a:pt x="171526" y="344443"/>
                  </a:lnTo>
                  <a:lnTo>
                    <a:pt x="167290" y="345350"/>
                  </a:lnTo>
                  <a:lnTo>
                    <a:pt x="167290" y="346984"/>
                  </a:lnTo>
                  <a:lnTo>
                    <a:pt x="174611" y="346016"/>
                  </a:lnTo>
                  <a:lnTo>
                    <a:pt x="176215" y="346984"/>
                  </a:lnTo>
                  <a:lnTo>
                    <a:pt x="170225" y="350856"/>
                  </a:lnTo>
                  <a:lnTo>
                    <a:pt x="164054" y="352278"/>
                  </a:lnTo>
                  <a:lnTo>
                    <a:pt x="161936" y="353700"/>
                  </a:lnTo>
                  <a:lnTo>
                    <a:pt x="160333" y="355969"/>
                  </a:lnTo>
                  <a:lnTo>
                    <a:pt x="158034" y="352096"/>
                  </a:lnTo>
                  <a:lnTo>
                    <a:pt x="155311" y="349918"/>
                  </a:lnTo>
                  <a:lnTo>
                    <a:pt x="152437" y="350191"/>
                  </a:lnTo>
                  <a:lnTo>
                    <a:pt x="149654" y="353579"/>
                  </a:lnTo>
                  <a:lnTo>
                    <a:pt x="149200" y="354910"/>
                  </a:lnTo>
                  <a:lnTo>
                    <a:pt x="148565" y="357723"/>
                  </a:lnTo>
                  <a:lnTo>
                    <a:pt x="147899" y="358963"/>
                  </a:lnTo>
                  <a:lnTo>
                    <a:pt x="147083" y="359508"/>
                  </a:lnTo>
                  <a:lnTo>
                    <a:pt x="145177" y="359841"/>
                  </a:lnTo>
                  <a:lnTo>
                    <a:pt x="144541" y="360325"/>
                  </a:lnTo>
                  <a:lnTo>
                    <a:pt x="143573" y="362503"/>
                  </a:lnTo>
                  <a:lnTo>
                    <a:pt x="143120" y="364832"/>
                  </a:lnTo>
                  <a:lnTo>
                    <a:pt x="143210" y="367585"/>
                  </a:lnTo>
                  <a:lnTo>
                    <a:pt x="143815" y="370913"/>
                  </a:lnTo>
                  <a:lnTo>
                    <a:pt x="138249" y="363320"/>
                  </a:lnTo>
                  <a:lnTo>
                    <a:pt x="139005" y="361444"/>
                  </a:lnTo>
                  <a:lnTo>
                    <a:pt x="139701" y="360053"/>
                  </a:lnTo>
                  <a:lnTo>
                    <a:pt x="140548" y="359236"/>
                  </a:lnTo>
                  <a:lnTo>
                    <a:pt x="141728" y="358994"/>
                  </a:lnTo>
                  <a:lnTo>
                    <a:pt x="141274" y="356876"/>
                  </a:lnTo>
                  <a:lnTo>
                    <a:pt x="140972" y="356029"/>
                  </a:lnTo>
                  <a:lnTo>
                    <a:pt x="143846" y="354093"/>
                  </a:lnTo>
                  <a:lnTo>
                    <a:pt x="145086" y="352399"/>
                  </a:lnTo>
                  <a:lnTo>
                    <a:pt x="145842" y="349888"/>
                  </a:lnTo>
                  <a:lnTo>
                    <a:pt x="137614" y="348678"/>
                  </a:lnTo>
                  <a:lnTo>
                    <a:pt x="133409" y="349374"/>
                  </a:lnTo>
                  <a:lnTo>
                    <a:pt x="130656" y="352883"/>
                  </a:lnTo>
                  <a:lnTo>
                    <a:pt x="130354" y="355969"/>
                  </a:lnTo>
                  <a:lnTo>
                    <a:pt x="130868" y="359085"/>
                  </a:lnTo>
                  <a:lnTo>
                    <a:pt x="131624" y="361928"/>
                  </a:lnTo>
                  <a:lnTo>
                    <a:pt x="131987" y="364167"/>
                  </a:lnTo>
                  <a:lnTo>
                    <a:pt x="131382" y="366315"/>
                  </a:lnTo>
                  <a:lnTo>
                    <a:pt x="129900" y="368372"/>
                  </a:lnTo>
                  <a:lnTo>
                    <a:pt x="128085" y="369219"/>
                  </a:lnTo>
                  <a:lnTo>
                    <a:pt x="126512" y="367827"/>
                  </a:lnTo>
                  <a:lnTo>
                    <a:pt x="124666" y="370096"/>
                  </a:lnTo>
                  <a:lnTo>
                    <a:pt x="124152" y="368523"/>
                  </a:lnTo>
                  <a:lnTo>
                    <a:pt x="124152" y="365468"/>
                  </a:lnTo>
                  <a:lnTo>
                    <a:pt x="123759" y="363380"/>
                  </a:lnTo>
                  <a:lnTo>
                    <a:pt x="122639" y="363320"/>
                  </a:lnTo>
                  <a:lnTo>
                    <a:pt x="121853" y="364802"/>
                  </a:lnTo>
                  <a:lnTo>
                    <a:pt x="120976" y="365952"/>
                  </a:lnTo>
                  <a:lnTo>
                    <a:pt x="119644" y="365044"/>
                  </a:lnTo>
                  <a:lnTo>
                    <a:pt x="120370" y="361323"/>
                  </a:lnTo>
                  <a:lnTo>
                    <a:pt x="119009" y="360143"/>
                  </a:lnTo>
                  <a:lnTo>
                    <a:pt x="114804" y="360416"/>
                  </a:lnTo>
                  <a:lnTo>
                    <a:pt x="115167" y="361384"/>
                  </a:lnTo>
                  <a:lnTo>
                    <a:pt x="115379" y="362140"/>
                  </a:lnTo>
                  <a:lnTo>
                    <a:pt x="115682" y="362775"/>
                  </a:lnTo>
                  <a:lnTo>
                    <a:pt x="116256" y="363410"/>
                  </a:lnTo>
                  <a:lnTo>
                    <a:pt x="116256" y="365044"/>
                  </a:lnTo>
                  <a:lnTo>
                    <a:pt x="107120" y="363562"/>
                  </a:lnTo>
                  <a:lnTo>
                    <a:pt x="102976" y="364863"/>
                  </a:lnTo>
                  <a:lnTo>
                    <a:pt x="99316" y="370247"/>
                  </a:lnTo>
                  <a:lnTo>
                    <a:pt x="98287" y="371215"/>
                  </a:lnTo>
                  <a:lnTo>
                    <a:pt x="94112" y="371004"/>
                  </a:lnTo>
                  <a:lnTo>
                    <a:pt x="93174" y="372002"/>
                  </a:lnTo>
                  <a:lnTo>
                    <a:pt x="91329" y="374785"/>
                  </a:lnTo>
                  <a:lnTo>
                    <a:pt x="90391" y="375360"/>
                  </a:lnTo>
                  <a:lnTo>
                    <a:pt x="79319" y="373514"/>
                  </a:lnTo>
                  <a:lnTo>
                    <a:pt x="71212" y="368583"/>
                  </a:lnTo>
                  <a:lnTo>
                    <a:pt x="69064" y="368341"/>
                  </a:lnTo>
                  <a:lnTo>
                    <a:pt x="58143" y="371246"/>
                  </a:lnTo>
                  <a:lnTo>
                    <a:pt x="56207" y="372365"/>
                  </a:lnTo>
                  <a:lnTo>
                    <a:pt x="52517" y="376449"/>
                  </a:lnTo>
                  <a:lnTo>
                    <a:pt x="50611" y="377266"/>
                  </a:lnTo>
                  <a:lnTo>
                    <a:pt x="48584" y="375330"/>
                  </a:lnTo>
                  <a:lnTo>
                    <a:pt x="47918" y="376933"/>
                  </a:lnTo>
                  <a:lnTo>
                    <a:pt x="50701" y="386190"/>
                  </a:lnTo>
                  <a:lnTo>
                    <a:pt x="52275" y="389850"/>
                  </a:lnTo>
                  <a:lnTo>
                    <a:pt x="54120" y="393299"/>
                  </a:lnTo>
                  <a:lnTo>
                    <a:pt x="58416" y="399652"/>
                  </a:lnTo>
                  <a:lnTo>
                    <a:pt x="58990" y="401588"/>
                  </a:lnTo>
                  <a:lnTo>
                    <a:pt x="59414" y="405248"/>
                  </a:lnTo>
                  <a:lnTo>
                    <a:pt x="60473" y="406307"/>
                  </a:lnTo>
                  <a:lnTo>
                    <a:pt x="61925" y="406821"/>
                  </a:lnTo>
                  <a:lnTo>
                    <a:pt x="63468" y="408909"/>
                  </a:lnTo>
                  <a:lnTo>
                    <a:pt x="70728" y="412811"/>
                  </a:lnTo>
                  <a:lnTo>
                    <a:pt x="72785" y="412539"/>
                  </a:lnTo>
                  <a:lnTo>
                    <a:pt x="77202" y="410270"/>
                  </a:lnTo>
                  <a:lnTo>
                    <a:pt x="79380" y="409695"/>
                  </a:lnTo>
                  <a:lnTo>
                    <a:pt x="86822" y="409483"/>
                  </a:lnTo>
                  <a:lnTo>
                    <a:pt x="89575" y="407366"/>
                  </a:lnTo>
                  <a:lnTo>
                    <a:pt x="91450" y="402284"/>
                  </a:lnTo>
                  <a:lnTo>
                    <a:pt x="91904" y="397958"/>
                  </a:lnTo>
                  <a:lnTo>
                    <a:pt x="94929" y="394327"/>
                  </a:lnTo>
                  <a:lnTo>
                    <a:pt x="98771" y="392422"/>
                  </a:lnTo>
                  <a:lnTo>
                    <a:pt x="100465" y="393057"/>
                  </a:lnTo>
                  <a:lnTo>
                    <a:pt x="99194" y="393269"/>
                  </a:lnTo>
                  <a:lnTo>
                    <a:pt x="98015" y="393813"/>
                  </a:lnTo>
                  <a:lnTo>
                    <a:pt x="96926" y="394721"/>
                  </a:lnTo>
                  <a:lnTo>
                    <a:pt x="108633" y="398079"/>
                  </a:lnTo>
                  <a:lnTo>
                    <a:pt x="109843" y="397806"/>
                  </a:lnTo>
                  <a:lnTo>
                    <a:pt x="110962" y="397141"/>
                  </a:lnTo>
                  <a:lnTo>
                    <a:pt x="112021" y="396203"/>
                  </a:lnTo>
                  <a:lnTo>
                    <a:pt x="112717" y="395326"/>
                  </a:lnTo>
                  <a:lnTo>
                    <a:pt x="114472" y="392391"/>
                  </a:lnTo>
                  <a:lnTo>
                    <a:pt x="114532" y="391756"/>
                  </a:lnTo>
                  <a:lnTo>
                    <a:pt x="124273" y="389699"/>
                  </a:lnTo>
                  <a:lnTo>
                    <a:pt x="129869" y="390062"/>
                  </a:lnTo>
                  <a:lnTo>
                    <a:pt x="135708" y="395779"/>
                  </a:lnTo>
                  <a:lnTo>
                    <a:pt x="149563" y="396717"/>
                  </a:lnTo>
                  <a:lnTo>
                    <a:pt x="161573" y="396717"/>
                  </a:lnTo>
                  <a:lnTo>
                    <a:pt x="174188" y="397776"/>
                  </a:lnTo>
                  <a:lnTo>
                    <a:pt x="173492" y="397776"/>
                  </a:lnTo>
                  <a:lnTo>
                    <a:pt x="176366" y="398230"/>
                  </a:lnTo>
                  <a:lnTo>
                    <a:pt x="181085" y="402132"/>
                  </a:lnTo>
                  <a:lnTo>
                    <a:pt x="183777" y="402223"/>
                  </a:lnTo>
                  <a:lnTo>
                    <a:pt x="183777" y="400741"/>
                  </a:lnTo>
                  <a:lnTo>
                    <a:pt x="178483" y="397746"/>
                  </a:lnTo>
                  <a:lnTo>
                    <a:pt x="176910" y="396142"/>
                  </a:lnTo>
                  <a:lnTo>
                    <a:pt x="187559" y="396142"/>
                  </a:lnTo>
                  <a:lnTo>
                    <a:pt x="188436" y="396869"/>
                  </a:lnTo>
                  <a:lnTo>
                    <a:pt x="189707" y="398502"/>
                  </a:lnTo>
                  <a:lnTo>
                    <a:pt x="190735" y="400287"/>
                  </a:lnTo>
                  <a:lnTo>
                    <a:pt x="191038" y="401497"/>
                  </a:lnTo>
                  <a:lnTo>
                    <a:pt x="190191" y="402374"/>
                  </a:lnTo>
                  <a:lnTo>
                    <a:pt x="188981" y="402556"/>
                  </a:lnTo>
                  <a:lnTo>
                    <a:pt x="186591" y="402253"/>
                  </a:lnTo>
                  <a:lnTo>
                    <a:pt x="189011" y="403917"/>
                  </a:lnTo>
                  <a:lnTo>
                    <a:pt x="198268" y="402253"/>
                  </a:lnTo>
                  <a:lnTo>
                    <a:pt x="196302" y="400983"/>
                  </a:lnTo>
                  <a:lnTo>
                    <a:pt x="195515" y="400771"/>
                  </a:lnTo>
                  <a:lnTo>
                    <a:pt x="195515" y="399137"/>
                  </a:lnTo>
                  <a:lnTo>
                    <a:pt x="197179" y="398502"/>
                  </a:lnTo>
                  <a:lnTo>
                    <a:pt x="200143" y="395416"/>
                  </a:lnTo>
                  <a:lnTo>
                    <a:pt x="201717" y="394690"/>
                  </a:lnTo>
                  <a:lnTo>
                    <a:pt x="207283" y="396173"/>
                  </a:lnTo>
                  <a:lnTo>
                    <a:pt x="207283" y="394690"/>
                  </a:lnTo>
                  <a:lnTo>
                    <a:pt x="208311" y="393601"/>
                  </a:lnTo>
                  <a:lnTo>
                    <a:pt x="209249" y="393359"/>
                  </a:lnTo>
                  <a:lnTo>
                    <a:pt x="210066" y="394176"/>
                  </a:lnTo>
                  <a:lnTo>
                    <a:pt x="210701" y="396203"/>
                  </a:lnTo>
                  <a:lnTo>
                    <a:pt x="211367" y="394327"/>
                  </a:lnTo>
                  <a:lnTo>
                    <a:pt x="212153" y="392906"/>
                  </a:lnTo>
                  <a:lnTo>
                    <a:pt x="213061" y="392059"/>
                  </a:lnTo>
                  <a:lnTo>
                    <a:pt x="214089" y="391786"/>
                  </a:lnTo>
                  <a:lnTo>
                    <a:pt x="213212" y="394358"/>
                  </a:lnTo>
                  <a:lnTo>
                    <a:pt x="211367" y="398623"/>
                  </a:lnTo>
                  <a:lnTo>
                    <a:pt x="210671" y="400832"/>
                  </a:lnTo>
                  <a:lnTo>
                    <a:pt x="212728" y="400832"/>
                  </a:lnTo>
                  <a:lnTo>
                    <a:pt x="211276" y="403796"/>
                  </a:lnTo>
                  <a:lnTo>
                    <a:pt x="217750" y="403524"/>
                  </a:lnTo>
                  <a:lnTo>
                    <a:pt x="220775" y="404310"/>
                  </a:lnTo>
                  <a:lnTo>
                    <a:pt x="223044" y="406761"/>
                  </a:lnTo>
                  <a:lnTo>
                    <a:pt x="221743" y="408697"/>
                  </a:lnTo>
                  <a:lnTo>
                    <a:pt x="221199" y="409302"/>
                  </a:lnTo>
                  <a:lnTo>
                    <a:pt x="220291" y="409695"/>
                  </a:lnTo>
                  <a:lnTo>
                    <a:pt x="221047" y="411177"/>
                  </a:lnTo>
                  <a:lnTo>
                    <a:pt x="220079" y="413416"/>
                  </a:lnTo>
                  <a:lnTo>
                    <a:pt x="218899" y="414989"/>
                  </a:lnTo>
                  <a:lnTo>
                    <a:pt x="216842" y="416955"/>
                  </a:lnTo>
                  <a:lnTo>
                    <a:pt x="214029" y="420646"/>
                  </a:lnTo>
                  <a:lnTo>
                    <a:pt x="212728" y="421523"/>
                  </a:lnTo>
                  <a:lnTo>
                    <a:pt x="214755" y="423520"/>
                  </a:lnTo>
                  <a:lnTo>
                    <a:pt x="217599" y="421645"/>
                  </a:lnTo>
                  <a:lnTo>
                    <a:pt x="220684" y="418559"/>
                  </a:lnTo>
                  <a:lnTo>
                    <a:pt x="223437" y="416925"/>
                  </a:lnTo>
                  <a:lnTo>
                    <a:pt x="226674" y="416320"/>
                  </a:lnTo>
                  <a:lnTo>
                    <a:pt x="230002" y="414687"/>
                  </a:lnTo>
                  <a:lnTo>
                    <a:pt x="236234" y="409695"/>
                  </a:lnTo>
                  <a:lnTo>
                    <a:pt x="236234" y="411177"/>
                  </a:lnTo>
                  <a:lnTo>
                    <a:pt x="233329" y="414626"/>
                  </a:lnTo>
                  <a:lnTo>
                    <a:pt x="221683" y="420041"/>
                  </a:lnTo>
                  <a:lnTo>
                    <a:pt x="221683" y="421523"/>
                  </a:lnTo>
                  <a:lnTo>
                    <a:pt x="222106" y="421826"/>
                  </a:lnTo>
                  <a:lnTo>
                    <a:pt x="223074" y="423006"/>
                  </a:lnTo>
                  <a:lnTo>
                    <a:pt x="221713" y="423762"/>
                  </a:lnTo>
                  <a:lnTo>
                    <a:pt x="220503" y="424821"/>
                  </a:lnTo>
                  <a:lnTo>
                    <a:pt x="219535" y="426454"/>
                  </a:lnTo>
                  <a:lnTo>
                    <a:pt x="218930" y="428905"/>
                  </a:lnTo>
                  <a:lnTo>
                    <a:pt x="221078" y="428905"/>
                  </a:lnTo>
                  <a:lnTo>
                    <a:pt x="218506" y="430811"/>
                  </a:lnTo>
                  <a:lnTo>
                    <a:pt x="215844" y="429328"/>
                  </a:lnTo>
                  <a:lnTo>
                    <a:pt x="213212" y="426878"/>
                  </a:lnTo>
                  <a:lnTo>
                    <a:pt x="210701" y="425849"/>
                  </a:lnTo>
                  <a:lnTo>
                    <a:pt x="211760" y="427725"/>
                  </a:lnTo>
                  <a:lnTo>
                    <a:pt x="213152" y="429691"/>
                  </a:lnTo>
                  <a:lnTo>
                    <a:pt x="214604" y="431264"/>
                  </a:lnTo>
                  <a:lnTo>
                    <a:pt x="215905" y="431870"/>
                  </a:lnTo>
                  <a:lnTo>
                    <a:pt x="216419" y="432747"/>
                  </a:lnTo>
                  <a:lnTo>
                    <a:pt x="217296" y="434532"/>
                  </a:lnTo>
                  <a:lnTo>
                    <a:pt x="218567" y="436135"/>
                  </a:lnTo>
                  <a:lnTo>
                    <a:pt x="220321" y="436437"/>
                  </a:lnTo>
                  <a:lnTo>
                    <a:pt x="220321" y="437768"/>
                  </a:lnTo>
                  <a:lnTo>
                    <a:pt x="218899" y="439977"/>
                  </a:lnTo>
                  <a:lnTo>
                    <a:pt x="218536" y="443395"/>
                  </a:lnTo>
                  <a:lnTo>
                    <a:pt x="219262" y="446935"/>
                  </a:lnTo>
                  <a:lnTo>
                    <a:pt x="221078" y="449536"/>
                  </a:lnTo>
                  <a:lnTo>
                    <a:pt x="223256" y="449718"/>
                  </a:lnTo>
                  <a:lnTo>
                    <a:pt x="226099" y="448447"/>
                  </a:lnTo>
                  <a:lnTo>
                    <a:pt x="230728" y="445241"/>
                  </a:lnTo>
                  <a:lnTo>
                    <a:pt x="230728" y="446572"/>
                  </a:lnTo>
                  <a:lnTo>
                    <a:pt x="229729" y="448810"/>
                  </a:lnTo>
                  <a:lnTo>
                    <a:pt x="229306" y="449536"/>
                  </a:lnTo>
                  <a:lnTo>
                    <a:pt x="230274" y="449476"/>
                  </a:lnTo>
                  <a:lnTo>
                    <a:pt x="231151" y="449748"/>
                  </a:lnTo>
                  <a:lnTo>
                    <a:pt x="231968" y="450293"/>
                  </a:lnTo>
                  <a:lnTo>
                    <a:pt x="232724" y="451140"/>
                  </a:lnTo>
                  <a:lnTo>
                    <a:pt x="231787" y="452289"/>
                  </a:lnTo>
                  <a:lnTo>
                    <a:pt x="231363" y="452622"/>
                  </a:lnTo>
                  <a:lnTo>
                    <a:pt x="232392" y="455042"/>
                  </a:lnTo>
                  <a:lnTo>
                    <a:pt x="231968" y="458279"/>
                  </a:lnTo>
                  <a:lnTo>
                    <a:pt x="230728" y="461637"/>
                  </a:lnTo>
                  <a:lnTo>
                    <a:pt x="229306" y="464360"/>
                  </a:lnTo>
                  <a:lnTo>
                    <a:pt x="230274" y="464057"/>
                  </a:lnTo>
                  <a:lnTo>
                    <a:pt x="231091" y="463543"/>
                  </a:lnTo>
                  <a:lnTo>
                    <a:pt x="231877" y="462726"/>
                  </a:lnTo>
                  <a:lnTo>
                    <a:pt x="232755" y="461455"/>
                  </a:lnTo>
                  <a:lnTo>
                    <a:pt x="233662" y="464844"/>
                  </a:lnTo>
                  <a:lnTo>
                    <a:pt x="235235" y="467657"/>
                  </a:lnTo>
                  <a:lnTo>
                    <a:pt x="237050" y="469563"/>
                  </a:lnTo>
                  <a:lnTo>
                    <a:pt x="238684" y="470258"/>
                  </a:lnTo>
                  <a:lnTo>
                    <a:pt x="239501" y="470107"/>
                  </a:lnTo>
                  <a:lnTo>
                    <a:pt x="240499" y="469654"/>
                  </a:lnTo>
                  <a:lnTo>
                    <a:pt x="241346" y="468988"/>
                  </a:lnTo>
                  <a:lnTo>
                    <a:pt x="241709" y="468201"/>
                  </a:lnTo>
                  <a:lnTo>
                    <a:pt x="242284" y="467445"/>
                  </a:lnTo>
                  <a:lnTo>
                    <a:pt x="245884" y="467445"/>
                  </a:lnTo>
                  <a:lnTo>
                    <a:pt x="246700" y="466205"/>
                  </a:lnTo>
                  <a:lnTo>
                    <a:pt x="246852" y="464934"/>
                  </a:lnTo>
                  <a:lnTo>
                    <a:pt x="246852" y="463422"/>
                  </a:lnTo>
                  <a:lnTo>
                    <a:pt x="247275" y="461486"/>
                  </a:lnTo>
                  <a:lnTo>
                    <a:pt x="249695" y="457371"/>
                  </a:lnTo>
                  <a:lnTo>
                    <a:pt x="250089" y="456343"/>
                  </a:lnTo>
                  <a:lnTo>
                    <a:pt x="250089" y="452985"/>
                  </a:lnTo>
                  <a:lnTo>
                    <a:pt x="250391" y="449688"/>
                  </a:lnTo>
                  <a:lnTo>
                    <a:pt x="251359" y="447267"/>
                  </a:lnTo>
                  <a:lnTo>
                    <a:pt x="253447" y="446632"/>
                  </a:lnTo>
                  <a:lnTo>
                    <a:pt x="251813" y="451351"/>
                  </a:lnTo>
                  <a:lnTo>
                    <a:pt x="251662" y="453469"/>
                  </a:lnTo>
                  <a:lnTo>
                    <a:pt x="252751" y="455556"/>
                  </a:lnTo>
                  <a:lnTo>
                    <a:pt x="254354" y="456192"/>
                  </a:lnTo>
                  <a:lnTo>
                    <a:pt x="255957" y="455314"/>
                  </a:lnTo>
                  <a:lnTo>
                    <a:pt x="258347" y="452652"/>
                  </a:lnTo>
                  <a:lnTo>
                    <a:pt x="264216" y="447993"/>
                  </a:lnTo>
                  <a:lnTo>
                    <a:pt x="267029" y="447267"/>
                  </a:lnTo>
                  <a:lnTo>
                    <a:pt x="270024" y="448235"/>
                  </a:lnTo>
                  <a:lnTo>
                    <a:pt x="269389" y="445301"/>
                  </a:lnTo>
                  <a:lnTo>
                    <a:pt x="270962" y="444061"/>
                  </a:lnTo>
                  <a:lnTo>
                    <a:pt x="276196" y="442215"/>
                  </a:lnTo>
                  <a:lnTo>
                    <a:pt x="280370" y="438404"/>
                  </a:lnTo>
                  <a:lnTo>
                    <a:pt x="281369" y="437799"/>
                  </a:lnTo>
                  <a:lnTo>
                    <a:pt x="282579" y="436679"/>
                  </a:lnTo>
                  <a:lnTo>
                    <a:pt x="283244" y="431688"/>
                  </a:lnTo>
                  <a:lnTo>
                    <a:pt x="284152" y="430569"/>
                  </a:lnTo>
                  <a:lnTo>
                    <a:pt x="285332" y="429933"/>
                  </a:lnTo>
                  <a:lnTo>
                    <a:pt x="289355" y="425880"/>
                  </a:lnTo>
                  <a:lnTo>
                    <a:pt x="288780" y="427997"/>
                  </a:lnTo>
                  <a:lnTo>
                    <a:pt x="287812" y="429570"/>
                  </a:lnTo>
                  <a:lnTo>
                    <a:pt x="285180" y="431900"/>
                  </a:lnTo>
                  <a:lnTo>
                    <a:pt x="285180" y="433382"/>
                  </a:lnTo>
                  <a:lnTo>
                    <a:pt x="287752" y="433049"/>
                  </a:lnTo>
                  <a:lnTo>
                    <a:pt x="294165" y="427483"/>
                  </a:lnTo>
                  <a:lnTo>
                    <a:pt x="296646" y="427392"/>
                  </a:lnTo>
                  <a:lnTo>
                    <a:pt x="304481" y="428935"/>
                  </a:lnTo>
                  <a:lnTo>
                    <a:pt x="304481" y="430538"/>
                  </a:lnTo>
                  <a:lnTo>
                    <a:pt x="296525" y="429328"/>
                  </a:lnTo>
                  <a:lnTo>
                    <a:pt x="294861" y="429752"/>
                  </a:lnTo>
                  <a:lnTo>
                    <a:pt x="293015" y="431567"/>
                  </a:lnTo>
                  <a:lnTo>
                    <a:pt x="287268" y="434834"/>
                  </a:lnTo>
                  <a:lnTo>
                    <a:pt x="287268" y="436468"/>
                  </a:lnTo>
                  <a:lnTo>
                    <a:pt x="297644" y="436468"/>
                  </a:lnTo>
                  <a:lnTo>
                    <a:pt x="297644" y="437799"/>
                  </a:lnTo>
                  <a:lnTo>
                    <a:pt x="293530" y="439402"/>
                  </a:lnTo>
                  <a:lnTo>
                    <a:pt x="295375" y="440461"/>
                  </a:lnTo>
                  <a:lnTo>
                    <a:pt x="297583" y="443788"/>
                  </a:lnTo>
                  <a:lnTo>
                    <a:pt x="299035" y="445271"/>
                  </a:lnTo>
                  <a:lnTo>
                    <a:pt x="300790" y="445725"/>
                  </a:lnTo>
                  <a:lnTo>
                    <a:pt x="304299" y="445392"/>
                  </a:lnTo>
                  <a:lnTo>
                    <a:pt x="305963" y="446602"/>
                  </a:lnTo>
                  <a:lnTo>
                    <a:pt x="297583" y="446118"/>
                  </a:lnTo>
                  <a:lnTo>
                    <a:pt x="296283" y="444545"/>
                  </a:lnTo>
                  <a:lnTo>
                    <a:pt x="295012" y="442336"/>
                  </a:lnTo>
                  <a:lnTo>
                    <a:pt x="292410" y="442276"/>
                  </a:lnTo>
                  <a:lnTo>
                    <a:pt x="290384" y="441641"/>
                  </a:lnTo>
                  <a:lnTo>
                    <a:pt x="290777" y="437768"/>
                  </a:lnTo>
                  <a:lnTo>
                    <a:pt x="286572" y="437496"/>
                  </a:lnTo>
                  <a:lnTo>
                    <a:pt x="285241" y="437768"/>
                  </a:lnTo>
                  <a:lnTo>
                    <a:pt x="284273" y="438494"/>
                  </a:lnTo>
                  <a:lnTo>
                    <a:pt x="282639" y="440340"/>
                  </a:lnTo>
                  <a:lnTo>
                    <a:pt x="279251" y="441731"/>
                  </a:lnTo>
                  <a:lnTo>
                    <a:pt x="275409" y="446602"/>
                  </a:lnTo>
                  <a:lnTo>
                    <a:pt x="273564" y="448205"/>
                  </a:lnTo>
                  <a:lnTo>
                    <a:pt x="273564" y="449536"/>
                  </a:lnTo>
                  <a:lnTo>
                    <a:pt x="274986" y="449294"/>
                  </a:lnTo>
                  <a:lnTo>
                    <a:pt x="276256" y="449627"/>
                  </a:lnTo>
                  <a:lnTo>
                    <a:pt x="277224" y="450716"/>
                  </a:lnTo>
                  <a:lnTo>
                    <a:pt x="277708" y="452622"/>
                  </a:lnTo>
                  <a:lnTo>
                    <a:pt x="271749" y="453166"/>
                  </a:lnTo>
                  <a:lnTo>
                    <a:pt x="260404" y="458551"/>
                  </a:lnTo>
                  <a:lnTo>
                    <a:pt x="257863" y="460729"/>
                  </a:lnTo>
                  <a:lnTo>
                    <a:pt x="257742" y="462998"/>
                  </a:lnTo>
                  <a:lnTo>
                    <a:pt x="256441" y="465963"/>
                  </a:lnTo>
                  <a:lnTo>
                    <a:pt x="255897" y="467687"/>
                  </a:lnTo>
                  <a:lnTo>
                    <a:pt x="255383" y="471408"/>
                  </a:lnTo>
                  <a:lnTo>
                    <a:pt x="254687" y="471317"/>
                  </a:lnTo>
                  <a:lnTo>
                    <a:pt x="253870" y="470682"/>
                  </a:lnTo>
                  <a:lnTo>
                    <a:pt x="253205" y="470954"/>
                  </a:lnTo>
                  <a:lnTo>
                    <a:pt x="252448" y="474252"/>
                  </a:lnTo>
                  <a:lnTo>
                    <a:pt x="252388" y="477277"/>
                  </a:lnTo>
                  <a:lnTo>
                    <a:pt x="252176" y="479848"/>
                  </a:lnTo>
                  <a:lnTo>
                    <a:pt x="250815" y="481845"/>
                  </a:lnTo>
                  <a:lnTo>
                    <a:pt x="252690" y="485475"/>
                  </a:lnTo>
                  <a:lnTo>
                    <a:pt x="254233" y="486625"/>
                  </a:lnTo>
                  <a:lnTo>
                    <a:pt x="255806" y="486140"/>
                  </a:lnTo>
                  <a:lnTo>
                    <a:pt x="257742" y="484900"/>
                  </a:lnTo>
                  <a:lnTo>
                    <a:pt x="260525" y="483993"/>
                  </a:lnTo>
                  <a:lnTo>
                    <a:pt x="269480" y="484900"/>
                  </a:lnTo>
                  <a:lnTo>
                    <a:pt x="267544" y="486110"/>
                  </a:lnTo>
                  <a:lnTo>
                    <a:pt x="263097" y="487441"/>
                  </a:lnTo>
                  <a:lnTo>
                    <a:pt x="261251" y="489287"/>
                  </a:lnTo>
                  <a:lnTo>
                    <a:pt x="259073" y="488046"/>
                  </a:lnTo>
                  <a:lnTo>
                    <a:pt x="256925" y="489287"/>
                  </a:lnTo>
                  <a:lnTo>
                    <a:pt x="253568" y="493673"/>
                  </a:lnTo>
                  <a:lnTo>
                    <a:pt x="249544" y="497182"/>
                  </a:lnTo>
                  <a:lnTo>
                    <a:pt x="245309" y="499512"/>
                  </a:lnTo>
                  <a:lnTo>
                    <a:pt x="245309" y="501085"/>
                  </a:lnTo>
                  <a:lnTo>
                    <a:pt x="254354" y="504261"/>
                  </a:lnTo>
                  <a:lnTo>
                    <a:pt x="259104" y="504866"/>
                  </a:lnTo>
                  <a:lnTo>
                    <a:pt x="262885" y="501720"/>
                  </a:lnTo>
                  <a:lnTo>
                    <a:pt x="264307" y="500056"/>
                  </a:lnTo>
                  <a:lnTo>
                    <a:pt x="268875" y="496971"/>
                  </a:lnTo>
                  <a:lnTo>
                    <a:pt x="270478" y="496426"/>
                  </a:lnTo>
                  <a:lnTo>
                    <a:pt x="271446" y="496365"/>
                  </a:lnTo>
                  <a:lnTo>
                    <a:pt x="273412" y="495730"/>
                  </a:lnTo>
                  <a:lnTo>
                    <a:pt x="274260" y="495095"/>
                  </a:lnTo>
                  <a:lnTo>
                    <a:pt x="275137" y="493915"/>
                  </a:lnTo>
                  <a:lnTo>
                    <a:pt x="275621" y="492645"/>
                  </a:lnTo>
                  <a:lnTo>
                    <a:pt x="275923" y="491465"/>
                  </a:lnTo>
                  <a:lnTo>
                    <a:pt x="276317" y="490587"/>
                  </a:lnTo>
                  <a:lnTo>
                    <a:pt x="283910" y="484204"/>
                  </a:lnTo>
                  <a:lnTo>
                    <a:pt x="292501" y="482329"/>
                  </a:lnTo>
                  <a:lnTo>
                    <a:pt x="310773" y="483388"/>
                  </a:lnTo>
                  <a:lnTo>
                    <a:pt x="310138" y="483388"/>
                  </a:lnTo>
                  <a:lnTo>
                    <a:pt x="310410" y="483630"/>
                  </a:lnTo>
                  <a:lnTo>
                    <a:pt x="310682" y="483630"/>
                  </a:lnTo>
                  <a:lnTo>
                    <a:pt x="310833" y="483902"/>
                  </a:lnTo>
                  <a:lnTo>
                    <a:pt x="310773" y="484870"/>
                  </a:lnTo>
                  <a:lnTo>
                    <a:pt x="309170" y="486050"/>
                  </a:lnTo>
                  <a:lnTo>
                    <a:pt x="308353" y="486383"/>
                  </a:lnTo>
                  <a:lnTo>
                    <a:pt x="307385" y="486383"/>
                  </a:lnTo>
                  <a:lnTo>
                    <a:pt x="307385" y="487683"/>
                  </a:lnTo>
                  <a:lnTo>
                    <a:pt x="309805" y="488712"/>
                  </a:lnTo>
                  <a:lnTo>
                    <a:pt x="314312" y="486322"/>
                  </a:lnTo>
                  <a:lnTo>
                    <a:pt x="313193" y="487986"/>
                  </a:lnTo>
                  <a:lnTo>
                    <a:pt x="311499" y="490557"/>
                  </a:lnTo>
                  <a:lnTo>
                    <a:pt x="309139" y="491041"/>
                  </a:lnTo>
                  <a:lnTo>
                    <a:pt x="295284" y="487623"/>
                  </a:lnTo>
                  <a:lnTo>
                    <a:pt x="292894" y="487986"/>
                  </a:lnTo>
                  <a:lnTo>
                    <a:pt x="290686" y="488954"/>
                  </a:lnTo>
                  <a:lnTo>
                    <a:pt x="286602" y="492130"/>
                  </a:lnTo>
                  <a:lnTo>
                    <a:pt x="287389" y="492130"/>
                  </a:lnTo>
                  <a:lnTo>
                    <a:pt x="288266" y="492917"/>
                  </a:lnTo>
                  <a:lnTo>
                    <a:pt x="290263" y="493734"/>
                  </a:lnTo>
                  <a:lnTo>
                    <a:pt x="288387" y="493734"/>
                  </a:lnTo>
                  <a:lnTo>
                    <a:pt x="283910" y="493129"/>
                  </a:lnTo>
                  <a:lnTo>
                    <a:pt x="281732" y="493613"/>
                  </a:lnTo>
                  <a:lnTo>
                    <a:pt x="280007" y="494581"/>
                  </a:lnTo>
                  <a:lnTo>
                    <a:pt x="279039" y="495851"/>
                  </a:lnTo>
                  <a:lnTo>
                    <a:pt x="277315" y="500238"/>
                  </a:lnTo>
                  <a:lnTo>
                    <a:pt x="275107" y="503868"/>
                  </a:lnTo>
                  <a:lnTo>
                    <a:pt x="272081" y="507044"/>
                  </a:lnTo>
                  <a:lnTo>
                    <a:pt x="265910" y="511068"/>
                  </a:lnTo>
                  <a:lnTo>
                    <a:pt x="266424" y="514214"/>
                  </a:lnTo>
                  <a:lnTo>
                    <a:pt x="265426" y="515968"/>
                  </a:lnTo>
                  <a:lnTo>
                    <a:pt x="262492" y="518328"/>
                  </a:lnTo>
                  <a:lnTo>
                    <a:pt x="266273" y="519054"/>
                  </a:lnTo>
                  <a:lnTo>
                    <a:pt x="266999" y="518026"/>
                  </a:lnTo>
                  <a:lnTo>
                    <a:pt x="267877" y="517390"/>
                  </a:lnTo>
                  <a:lnTo>
                    <a:pt x="268814" y="517088"/>
                  </a:lnTo>
                  <a:lnTo>
                    <a:pt x="271628" y="516997"/>
                  </a:lnTo>
                  <a:lnTo>
                    <a:pt x="273624" y="517451"/>
                  </a:lnTo>
                  <a:lnTo>
                    <a:pt x="274774" y="519084"/>
                  </a:lnTo>
                  <a:lnTo>
                    <a:pt x="274139" y="522715"/>
                  </a:lnTo>
                  <a:lnTo>
                    <a:pt x="276347" y="521625"/>
                  </a:lnTo>
                  <a:lnTo>
                    <a:pt x="279433" y="521202"/>
                  </a:lnTo>
                  <a:lnTo>
                    <a:pt x="282488" y="521535"/>
                  </a:lnTo>
                  <a:lnTo>
                    <a:pt x="284515" y="522715"/>
                  </a:lnTo>
                  <a:lnTo>
                    <a:pt x="281338" y="524197"/>
                  </a:lnTo>
                  <a:lnTo>
                    <a:pt x="279705" y="525467"/>
                  </a:lnTo>
                  <a:lnTo>
                    <a:pt x="279009" y="528009"/>
                  </a:lnTo>
                  <a:lnTo>
                    <a:pt x="279826" y="529430"/>
                  </a:lnTo>
                  <a:lnTo>
                    <a:pt x="281701" y="529219"/>
                  </a:lnTo>
                  <a:lnTo>
                    <a:pt x="285180" y="527373"/>
                  </a:lnTo>
                  <a:lnTo>
                    <a:pt x="283063" y="531639"/>
                  </a:lnTo>
                  <a:lnTo>
                    <a:pt x="281036" y="531639"/>
                  </a:lnTo>
                  <a:lnTo>
                    <a:pt x="279675" y="531699"/>
                  </a:lnTo>
                  <a:lnTo>
                    <a:pt x="276105" y="530671"/>
                  </a:lnTo>
                  <a:lnTo>
                    <a:pt x="273503" y="531578"/>
                  </a:lnTo>
                  <a:lnTo>
                    <a:pt x="275560" y="533030"/>
                  </a:lnTo>
                  <a:lnTo>
                    <a:pt x="274683" y="533605"/>
                  </a:lnTo>
                  <a:lnTo>
                    <a:pt x="273927" y="534301"/>
                  </a:lnTo>
                  <a:lnTo>
                    <a:pt x="272717" y="535934"/>
                  </a:lnTo>
                  <a:lnTo>
                    <a:pt x="273655" y="536933"/>
                  </a:lnTo>
                  <a:lnTo>
                    <a:pt x="274653" y="537447"/>
                  </a:lnTo>
                  <a:lnTo>
                    <a:pt x="275742" y="537568"/>
                  </a:lnTo>
                  <a:lnTo>
                    <a:pt x="276891" y="537386"/>
                  </a:lnTo>
                  <a:lnTo>
                    <a:pt x="275379" y="538899"/>
                  </a:lnTo>
                  <a:lnTo>
                    <a:pt x="273775" y="539050"/>
                  </a:lnTo>
                  <a:lnTo>
                    <a:pt x="270660" y="537417"/>
                  </a:lnTo>
                  <a:lnTo>
                    <a:pt x="270085" y="536691"/>
                  </a:lnTo>
                  <a:lnTo>
                    <a:pt x="269571" y="535723"/>
                  </a:lnTo>
                  <a:lnTo>
                    <a:pt x="268845" y="534876"/>
                  </a:lnTo>
                  <a:lnTo>
                    <a:pt x="253719" y="532335"/>
                  </a:lnTo>
                  <a:lnTo>
                    <a:pt x="250694" y="534513"/>
                  </a:lnTo>
                  <a:lnTo>
                    <a:pt x="254173" y="534724"/>
                  </a:lnTo>
                  <a:lnTo>
                    <a:pt x="257561" y="536388"/>
                  </a:lnTo>
                  <a:lnTo>
                    <a:pt x="263823" y="541743"/>
                  </a:lnTo>
                  <a:lnTo>
                    <a:pt x="263218" y="542015"/>
                  </a:lnTo>
                  <a:lnTo>
                    <a:pt x="261796" y="543164"/>
                  </a:lnTo>
                  <a:lnTo>
                    <a:pt x="263853" y="543164"/>
                  </a:lnTo>
                  <a:lnTo>
                    <a:pt x="263853" y="544768"/>
                  </a:lnTo>
                  <a:lnTo>
                    <a:pt x="262159" y="545524"/>
                  </a:lnTo>
                  <a:lnTo>
                    <a:pt x="260162" y="545887"/>
                  </a:lnTo>
                  <a:lnTo>
                    <a:pt x="258136" y="545645"/>
                  </a:lnTo>
                  <a:lnTo>
                    <a:pt x="256320" y="544768"/>
                  </a:lnTo>
                  <a:lnTo>
                    <a:pt x="258226" y="543407"/>
                  </a:lnTo>
                  <a:lnTo>
                    <a:pt x="259013" y="543164"/>
                  </a:lnTo>
                  <a:lnTo>
                    <a:pt x="257107" y="542196"/>
                  </a:lnTo>
                  <a:lnTo>
                    <a:pt x="254324" y="542438"/>
                  </a:lnTo>
                  <a:lnTo>
                    <a:pt x="251843" y="544102"/>
                  </a:lnTo>
                  <a:lnTo>
                    <a:pt x="250784" y="547521"/>
                  </a:lnTo>
                  <a:lnTo>
                    <a:pt x="252448" y="546583"/>
                  </a:lnTo>
                  <a:lnTo>
                    <a:pt x="254868" y="547279"/>
                  </a:lnTo>
                  <a:lnTo>
                    <a:pt x="257288" y="548852"/>
                  </a:lnTo>
                  <a:lnTo>
                    <a:pt x="259013" y="550546"/>
                  </a:lnTo>
                  <a:lnTo>
                    <a:pt x="259013" y="551847"/>
                  </a:lnTo>
                  <a:lnTo>
                    <a:pt x="258408" y="552815"/>
                  </a:lnTo>
                  <a:lnTo>
                    <a:pt x="257833" y="553268"/>
                  </a:lnTo>
                  <a:lnTo>
                    <a:pt x="257167" y="553026"/>
                  </a:lnTo>
                  <a:lnTo>
                    <a:pt x="256320" y="551816"/>
                  </a:lnTo>
                  <a:lnTo>
                    <a:pt x="253961" y="555386"/>
                  </a:lnTo>
                  <a:lnTo>
                    <a:pt x="251238" y="557110"/>
                  </a:lnTo>
                  <a:lnTo>
                    <a:pt x="242828" y="558623"/>
                  </a:lnTo>
                  <a:lnTo>
                    <a:pt x="237928" y="562586"/>
                  </a:lnTo>
                  <a:lnTo>
                    <a:pt x="235265" y="563493"/>
                  </a:lnTo>
                  <a:lnTo>
                    <a:pt x="233934" y="563009"/>
                  </a:lnTo>
                  <a:lnTo>
                    <a:pt x="231333" y="560952"/>
                  </a:lnTo>
                  <a:lnTo>
                    <a:pt x="230092" y="560499"/>
                  </a:lnTo>
                  <a:lnTo>
                    <a:pt x="228973" y="560862"/>
                  </a:lnTo>
                  <a:lnTo>
                    <a:pt x="225313" y="563524"/>
                  </a:lnTo>
                  <a:lnTo>
                    <a:pt x="220533" y="564280"/>
                  </a:lnTo>
                  <a:lnTo>
                    <a:pt x="219051" y="564946"/>
                  </a:lnTo>
                  <a:lnTo>
                    <a:pt x="217841" y="565974"/>
                  </a:lnTo>
                  <a:lnTo>
                    <a:pt x="216479" y="567487"/>
                  </a:lnTo>
                  <a:lnTo>
                    <a:pt x="215874" y="569181"/>
                  </a:lnTo>
                  <a:lnTo>
                    <a:pt x="216994" y="570724"/>
                  </a:lnTo>
                  <a:lnTo>
                    <a:pt x="215421" y="572176"/>
                  </a:lnTo>
                  <a:lnTo>
                    <a:pt x="213000" y="572720"/>
                  </a:lnTo>
                  <a:lnTo>
                    <a:pt x="203169" y="572266"/>
                  </a:lnTo>
                  <a:lnTo>
                    <a:pt x="200718" y="571571"/>
                  </a:lnTo>
                  <a:lnTo>
                    <a:pt x="199054" y="569302"/>
                  </a:lnTo>
                  <a:lnTo>
                    <a:pt x="200507" y="569302"/>
                  </a:lnTo>
                  <a:lnTo>
                    <a:pt x="199145" y="563826"/>
                  </a:lnTo>
                  <a:lnTo>
                    <a:pt x="196665" y="558714"/>
                  </a:lnTo>
                  <a:lnTo>
                    <a:pt x="193942" y="554932"/>
                  </a:lnTo>
                  <a:lnTo>
                    <a:pt x="190433" y="552663"/>
                  </a:lnTo>
                  <a:lnTo>
                    <a:pt x="187377" y="549457"/>
                  </a:lnTo>
                  <a:lnTo>
                    <a:pt x="185925" y="548973"/>
                  </a:lnTo>
                  <a:lnTo>
                    <a:pt x="184655" y="549790"/>
                  </a:lnTo>
                  <a:lnTo>
                    <a:pt x="183596" y="551272"/>
                  </a:lnTo>
                  <a:lnTo>
                    <a:pt x="182991" y="553057"/>
                  </a:lnTo>
                  <a:lnTo>
                    <a:pt x="183112" y="554751"/>
                  </a:lnTo>
                  <a:lnTo>
                    <a:pt x="183051" y="556717"/>
                  </a:lnTo>
                  <a:lnTo>
                    <a:pt x="183203" y="561134"/>
                  </a:lnTo>
                  <a:lnTo>
                    <a:pt x="183112" y="563554"/>
                  </a:lnTo>
                  <a:lnTo>
                    <a:pt x="182719" y="565278"/>
                  </a:lnTo>
                  <a:lnTo>
                    <a:pt x="181176" y="569332"/>
                  </a:lnTo>
                  <a:lnTo>
                    <a:pt x="181872" y="573295"/>
                  </a:lnTo>
                  <a:lnTo>
                    <a:pt x="183596" y="575957"/>
                  </a:lnTo>
                  <a:lnTo>
                    <a:pt x="185714" y="577470"/>
                  </a:lnTo>
                  <a:lnTo>
                    <a:pt x="187650" y="577923"/>
                  </a:lnTo>
                  <a:lnTo>
                    <a:pt x="189979" y="576441"/>
                  </a:lnTo>
                  <a:lnTo>
                    <a:pt x="191008" y="576441"/>
                  </a:lnTo>
                  <a:lnTo>
                    <a:pt x="191431" y="578619"/>
                  </a:lnTo>
                  <a:lnTo>
                    <a:pt x="190735" y="579315"/>
                  </a:lnTo>
                  <a:lnTo>
                    <a:pt x="186288" y="579315"/>
                  </a:lnTo>
                  <a:lnTo>
                    <a:pt x="185381" y="581009"/>
                  </a:lnTo>
                  <a:lnTo>
                    <a:pt x="183354" y="588693"/>
                  </a:lnTo>
                  <a:lnTo>
                    <a:pt x="181811" y="590841"/>
                  </a:lnTo>
                  <a:lnTo>
                    <a:pt x="182961" y="592535"/>
                  </a:lnTo>
                  <a:lnTo>
                    <a:pt x="184020" y="593382"/>
                  </a:lnTo>
                  <a:lnTo>
                    <a:pt x="184867" y="594410"/>
                  </a:lnTo>
                  <a:lnTo>
                    <a:pt x="185290" y="596710"/>
                  </a:lnTo>
                  <a:lnTo>
                    <a:pt x="185139" y="599099"/>
                  </a:lnTo>
                  <a:lnTo>
                    <a:pt x="184534" y="600521"/>
                  </a:lnTo>
                  <a:lnTo>
                    <a:pt x="183747" y="601883"/>
                  </a:lnTo>
                  <a:lnTo>
                    <a:pt x="183112" y="604030"/>
                  </a:lnTo>
                  <a:lnTo>
                    <a:pt x="184231" y="604666"/>
                  </a:lnTo>
                  <a:lnTo>
                    <a:pt x="185774" y="607419"/>
                  </a:lnTo>
                  <a:lnTo>
                    <a:pt x="187014" y="608054"/>
                  </a:lnTo>
                  <a:lnTo>
                    <a:pt x="187801" y="607661"/>
                  </a:lnTo>
                  <a:lnTo>
                    <a:pt x="188436" y="606814"/>
                  </a:lnTo>
                  <a:lnTo>
                    <a:pt x="188951" y="605906"/>
                  </a:lnTo>
                  <a:lnTo>
                    <a:pt x="189435" y="605331"/>
                  </a:lnTo>
                  <a:lnTo>
                    <a:pt x="191673" y="604514"/>
                  </a:lnTo>
                  <a:lnTo>
                    <a:pt x="201414" y="605543"/>
                  </a:lnTo>
                  <a:lnTo>
                    <a:pt x="202503" y="605331"/>
                  </a:lnTo>
                  <a:lnTo>
                    <a:pt x="203653" y="604605"/>
                  </a:lnTo>
                  <a:lnTo>
                    <a:pt x="205559" y="602820"/>
                  </a:lnTo>
                  <a:lnTo>
                    <a:pt x="208765" y="601883"/>
                  </a:lnTo>
                  <a:lnTo>
                    <a:pt x="212547" y="599614"/>
                  </a:lnTo>
                  <a:lnTo>
                    <a:pt x="214936" y="599614"/>
                  </a:lnTo>
                  <a:lnTo>
                    <a:pt x="213484" y="601035"/>
                  </a:lnTo>
                  <a:lnTo>
                    <a:pt x="215632" y="602457"/>
                  </a:lnTo>
                  <a:lnTo>
                    <a:pt x="217508" y="600733"/>
                  </a:lnTo>
                  <a:lnTo>
                    <a:pt x="219353" y="598101"/>
                  </a:lnTo>
                  <a:lnTo>
                    <a:pt x="221471" y="596710"/>
                  </a:lnTo>
                  <a:lnTo>
                    <a:pt x="248697" y="602457"/>
                  </a:lnTo>
                  <a:lnTo>
                    <a:pt x="253870" y="600914"/>
                  </a:lnTo>
                  <a:lnTo>
                    <a:pt x="255292" y="601005"/>
                  </a:lnTo>
                  <a:lnTo>
                    <a:pt x="259406" y="600794"/>
                  </a:lnTo>
                  <a:lnTo>
                    <a:pt x="276135" y="595167"/>
                  </a:lnTo>
                  <a:lnTo>
                    <a:pt x="279463" y="595620"/>
                  </a:lnTo>
                  <a:lnTo>
                    <a:pt x="282579" y="597678"/>
                  </a:lnTo>
                  <a:lnTo>
                    <a:pt x="285967" y="601005"/>
                  </a:lnTo>
                  <a:lnTo>
                    <a:pt x="289537" y="603274"/>
                  </a:lnTo>
                  <a:lnTo>
                    <a:pt x="319032" y="599553"/>
                  </a:lnTo>
                  <a:lnTo>
                    <a:pt x="319425" y="599069"/>
                  </a:lnTo>
                  <a:lnTo>
                    <a:pt x="319697" y="598555"/>
                  </a:lnTo>
                  <a:lnTo>
                    <a:pt x="320000" y="598162"/>
                  </a:lnTo>
                  <a:lnTo>
                    <a:pt x="320484" y="598101"/>
                  </a:lnTo>
                  <a:lnTo>
                    <a:pt x="319153" y="594441"/>
                  </a:lnTo>
                  <a:lnTo>
                    <a:pt x="320786" y="592263"/>
                  </a:lnTo>
                  <a:lnTo>
                    <a:pt x="323630" y="591173"/>
                  </a:lnTo>
                  <a:lnTo>
                    <a:pt x="328289" y="590659"/>
                  </a:lnTo>
                  <a:lnTo>
                    <a:pt x="332826" y="591295"/>
                  </a:lnTo>
                  <a:lnTo>
                    <a:pt x="334914" y="592353"/>
                  </a:lnTo>
                  <a:lnTo>
                    <a:pt x="333643" y="589147"/>
                  </a:lnTo>
                  <a:lnTo>
                    <a:pt x="331042" y="587150"/>
                  </a:lnTo>
                  <a:lnTo>
                    <a:pt x="325929" y="585032"/>
                  </a:lnTo>
                  <a:lnTo>
                    <a:pt x="325929" y="583732"/>
                  </a:lnTo>
                  <a:lnTo>
                    <a:pt x="327048" y="582975"/>
                  </a:lnTo>
                  <a:lnTo>
                    <a:pt x="330194" y="579859"/>
                  </a:lnTo>
                  <a:lnTo>
                    <a:pt x="331102" y="578559"/>
                  </a:lnTo>
                  <a:lnTo>
                    <a:pt x="332161" y="577681"/>
                  </a:lnTo>
                  <a:lnTo>
                    <a:pt x="337334" y="576411"/>
                  </a:lnTo>
                  <a:lnTo>
                    <a:pt x="339088" y="576774"/>
                  </a:lnTo>
                  <a:lnTo>
                    <a:pt x="343868" y="579315"/>
                  </a:lnTo>
                  <a:lnTo>
                    <a:pt x="351431" y="579315"/>
                  </a:lnTo>
                  <a:lnTo>
                    <a:pt x="348466" y="581735"/>
                  </a:lnTo>
                  <a:lnTo>
                    <a:pt x="344140" y="582673"/>
                  </a:lnTo>
                  <a:lnTo>
                    <a:pt x="336305" y="582219"/>
                  </a:lnTo>
                  <a:lnTo>
                    <a:pt x="337364" y="587120"/>
                  </a:lnTo>
                  <a:lnTo>
                    <a:pt x="337515" y="589207"/>
                  </a:lnTo>
                  <a:lnTo>
                    <a:pt x="336940" y="590841"/>
                  </a:lnTo>
                  <a:lnTo>
                    <a:pt x="338998" y="594108"/>
                  </a:lnTo>
                  <a:lnTo>
                    <a:pt x="341418" y="595802"/>
                  </a:lnTo>
                  <a:lnTo>
                    <a:pt x="343838" y="596861"/>
                  </a:lnTo>
                  <a:lnTo>
                    <a:pt x="348194" y="599795"/>
                  </a:lnTo>
                  <a:lnTo>
                    <a:pt x="361081" y="604242"/>
                  </a:lnTo>
                  <a:lnTo>
                    <a:pt x="370157" y="609839"/>
                  </a:lnTo>
                  <a:lnTo>
                    <a:pt x="374210" y="613862"/>
                  </a:lnTo>
                  <a:lnTo>
                    <a:pt x="373847" y="613015"/>
                  </a:lnTo>
                  <a:lnTo>
                    <a:pt x="372758" y="609597"/>
                  </a:lnTo>
                  <a:lnTo>
                    <a:pt x="375481" y="611049"/>
                  </a:lnTo>
                  <a:lnTo>
                    <a:pt x="378203" y="610474"/>
                  </a:lnTo>
                  <a:lnTo>
                    <a:pt x="380624" y="608750"/>
                  </a:lnTo>
                  <a:lnTo>
                    <a:pt x="384375" y="604061"/>
                  </a:lnTo>
                  <a:lnTo>
                    <a:pt x="386281" y="600672"/>
                  </a:lnTo>
                  <a:lnTo>
                    <a:pt x="386583" y="597768"/>
                  </a:lnTo>
                  <a:lnTo>
                    <a:pt x="383770" y="596679"/>
                  </a:lnTo>
                  <a:lnTo>
                    <a:pt x="383770" y="595378"/>
                  </a:lnTo>
                  <a:lnTo>
                    <a:pt x="387551" y="596619"/>
                  </a:lnTo>
                  <a:lnTo>
                    <a:pt x="388943" y="602034"/>
                  </a:lnTo>
                  <a:lnTo>
                    <a:pt x="387944" y="608387"/>
                  </a:lnTo>
                  <a:lnTo>
                    <a:pt x="384526" y="612561"/>
                  </a:lnTo>
                  <a:lnTo>
                    <a:pt x="384526" y="613862"/>
                  </a:lnTo>
                  <a:lnTo>
                    <a:pt x="387067" y="614225"/>
                  </a:lnTo>
                  <a:lnTo>
                    <a:pt x="394207" y="612531"/>
                  </a:lnTo>
                  <a:lnTo>
                    <a:pt x="394207" y="613832"/>
                  </a:lnTo>
                  <a:lnTo>
                    <a:pt x="393843" y="613832"/>
                  </a:lnTo>
                  <a:lnTo>
                    <a:pt x="393117" y="613771"/>
                  </a:lnTo>
                  <a:lnTo>
                    <a:pt x="392754" y="613832"/>
                  </a:lnTo>
                  <a:lnTo>
                    <a:pt x="392754" y="615254"/>
                  </a:lnTo>
                  <a:lnTo>
                    <a:pt x="395568" y="615254"/>
                  </a:lnTo>
                  <a:lnTo>
                    <a:pt x="395568" y="616676"/>
                  </a:lnTo>
                  <a:lnTo>
                    <a:pt x="392240" y="616494"/>
                  </a:lnTo>
                  <a:lnTo>
                    <a:pt x="390909" y="616887"/>
                  </a:lnTo>
                  <a:lnTo>
                    <a:pt x="390697" y="618097"/>
                  </a:lnTo>
                  <a:lnTo>
                    <a:pt x="389185" y="617946"/>
                  </a:lnTo>
                  <a:lnTo>
                    <a:pt x="386765" y="615798"/>
                  </a:lnTo>
                  <a:lnTo>
                    <a:pt x="385585" y="615254"/>
                  </a:lnTo>
                  <a:lnTo>
                    <a:pt x="379020" y="615254"/>
                  </a:lnTo>
                  <a:lnTo>
                    <a:pt x="386069" y="620427"/>
                  </a:lnTo>
                  <a:lnTo>
                    <a:pt x="389457" y="621848"/>
                  </a:lnTo>
                  <a:lnTo>
                    <a:pt x="393904" y="625418"/>
                  </a:lnTo>
                  <a:lnTo>
                    <a:pt x="398442" y="627838"/>
                  </a:lnTo>
                  <a:lnTo>
                    <a:pt x="398926" y="627415"/>
                  </a:lnTo>
                  <a:lnTo>
                    <a:pt x="399682" y="625388"/>
                  </a:lnTo>
                  <a:lnTo>
                    <a:pt x="399924" y="623331"/>
                  </a:lnTo>
                  <a:lnTo>
                    <a:pt x="399833" y="620941"/>
                  </a:lnTo>
                  <a:lnTo>
                    <a:pt x="399954" y="618944"/>
                  </a:lnTo>
                  <a:lnTo>
                    <a:pt x="400741" y="618128"/>
                  </a:lnTo>
                  <a:lnTo>
                    <a:pt x="403191" y="617371"/>
                  </a:lnTo>
                  <a:lnTo>
                    <a:pt x="405127" y="615526"/>
                  </a:lnTo>
                  <a:lnTo>
                    <a:pt x="407941" y="612531"/>
                  </a:lnTo>
                  <a:lnTo>
                    <a:pt x="412297" y="607267"/>
                  </a:lnTo>
                  <a:lnTo>
                    <a:pt x="413507" y="605240"/>
                  </a:lnTo>
                  <a:lnTo>
                    <a:pt x="413507" y="603940"/>
                  </a:lnTo>
                  <a:lnTo>
                    <a:pt x="413174" y="602276"/>
                  </a:lnTo>
                  <a:lnTo>
                    <a:pt x="414051" y="601520"/>
                  </a:lnTo>
                  <a:lnTo>
                    <a:pt x="415171" y="602276"/>
                  </a:lnTo>
                  <a:lnTo>
                    <a:pt x="415564" y="605210"/>
                  </a:lnTo>
                  <a:lnTo>
                    <a:pt x="415080" y="607237"/>
                  </a:lnTo>
                  <a:lnTo>
                    <a:pt x="412055" y="612501"/>
                  </a:lnTo>
                  <a:lnTo>
                    <a:pt x="419739" y="616676"/>
                  </a:lnTo>
                  <a:lnTo>
                    <a:pt x="421100" y="618007"/>
                  </a:lnTo>
                  <a:lnTo>
                    <a:pt x="423550" y="621909"/>
                  </a:lnTo>
                  <a:lnTo>
                    <a:pt x="425214" y="623936"/>
                  </a:lnTo>
                  <a:lnTo>
                    <a:pt x="421887" y="623543"/>
                  </a:lnTo>
                  <a:lnTo>
                    <a:pt x="416290" y="618037"/>
                  </a:lnTo>
                  <a:lnTo>
                    <a:pt x="413114" y="616676"/>
                  </a:lnTo>
                  <a:lnTo>
                    <a:pt x="406337" y="617613"/>
                  </a:lnTo>
                  <a:lnTo>
                    <a:pt x="403161" y="619338"/>
                  </a:lnTo>
                  <a:lnTo>
                    <a:pt x="400348" y="622363"/>
                  </a:lnTo>
                  <a:lnTo>
                    <a:pt x="401739" y="625660"/>
                  </a:lnTo>
                  <a:lnTo>
                    <a:pt x="402495" y="626658"/>
                  </a:lnTo>
                  <a:lnTo>
                    <a:pt x="401527" y="627868"/>
                  </a:lnTo>
                  <a:lnTo>
                    <a:pt x="401134" y="628201"/>
                  </a:lnTo>
                  <a:lnTo>
                    <a:pt x="403040" y="633102"/>
                  </a:lnTo>
                  <a:lnTo>
                    <a:pt x="406125" y="636823"/>
                  </a:lnTo>
                  <a:lnTo>
                    <a:pt x="412811" y="642450"/>
                  </a:lnTo>
                  <a:lnTo>
                    <a:pt x="411419" y="639001"/>
                  </a:lnTo>
                  <a:lnTo>
                    <a:pt x="409393" y="635583"/>
                  </a:lnTo>
                  <a:lnTo>
                    <a:pt x="405884" y="630954"/>
                  </a:lnTo>
                  <a:lnTo>
                    <a:pt x="405884" y="629653"/>
                  </a:lnTo>
                  <a:lnTo>
                    <a:pt x="408394" y="629472"/>
                  </a:lnTo>
                  <a:lnTo>
                    <a:pt x="409574" y="630742"/>
                  </a:lnTo>
                  <a:lnTo>
                    <a:pt x="410452" y="633253"/>
                  </a:lnTo>
                  <a:lnTo>
                    <a:pt x="412055" y="636762"/>
                  </a:lnTo>
                  <a:lnTo>
                    <a:pt x="413840" y="638789"/>
                  </a:lnTo>
                  <a:lnTo>
                    <a:pt x="415836" y="640272"/>
                  </a:lnTo>
                  <a:lnTo>
                    <a:pt x="417651" y="642117"/>
                  </a:lnTo>
                  <a:lnTo>
                    <a:pt x="418982" y="645293"/>
                  </a:lnTo>
                  <a:lnTo>
                    <a:pt x="415564" y="643993"/>
                  </a:lnTo>
                  <a:lnTo>
                    <a:pt x="415564" y="645293"/>
                  </a:lnTo>
                  <a:lnTo>
                    <a:pt x="417803" y="647048"/>
                  </a:lnTo>
                  <a:lnTo>
                    <a:pt x="419618" y="647471"/>
                  </a:lnTo>
                  <a:lnTo>
                    <a:pt x="421281" y="646473"/>
                  </a:lnTo>
                  <a:lnTo>
                    <a:pt x="423127" y="643962"/>
                  </a:lnTo>
                  <a:lnTo>
                    <a:pt x="422915" y="644870"/>
                  </a:lnTo>
                  <a:lnTo>
                    <a:pt x="422431" y="648107"/>
                  </a:lnTo>
                  <a:lnTo>
                    <a:pt x="423732" y="648349"/>
                  </a:lnTo>
                  <a:lnTo>
                    <a:pt x="426031" y="649317"/>
                  </a:lnTo>
                  <a:lnTo>
                    <a:pt x="427332" y="649559"/>
                  </a:lnTo>
                  <a:lnTo>
                    <a:pt x="425789" y="650890"/>
                  </a:lnTo>
                  <a:lnTo>
                    <a:pt x="424125" y="651253"/>
                  </a:lnTo>
                  <a:lnTo>
                    <a:pt x="422492" y="650739"/>
                  </a:lnTo>
                  <a:lnTo>
                    <a:pt x="421070" y="649559"/>
                  </a:lnTo>
                  <a:lnTo>
                    <a:pt x="422582" y="651253"/>
                  </a:lnTo>
                  <a:lnTo>
                    <a:pt x="437889" y="663172"/>
                  </a:lnTo>
                  <a:lnTo>
                    <a:pt x="441641" y="664019"/>
                  </a:lnTo>
                  <a:lnTo>
                    <a:pt x="449385" y="663868"/>
                  </a:lnTo>
                  <a:lnTo>
                    <a:pt x="448689" y="661024"/>
                  </a:lnTo>
                  <a:lnTo>
                    <a:pt x="449355" y="661206"/>
                  </a:lnTo>
                  <a:lnTo>
                    <a:pt x="449657" y="661417"/>
                  </a:lnTo>
                  <a:lnTo>
                    <a:pt x="450141" y="662325"/>
                  </a:lnTo>
                  <a:lnTo>
                    <a:pt x="450504" y="661932"/>
                  </a:lnTo>
                  <a:lnTo>
                    <a:pt x="450746" y="661569"/>
                  </a:lnTo>
                  <a:lnTo>
                    <a:pt x="451019" y="661266"/>
                  </a:lnTo>
                  <a:lnTo>
                    <a:pt x="451472" y="661054"/>
                  </a:lnTo>
                  <a:lnTo>
                    <a:pt x="453197" y="663626"/>
                  </a:lnTo>
                  <a:lnTo>
                    <a:pt x="479758" y="665320"/>
                  </a:lnTo>
                  <a:lnTo>
                    <a:pt x="469684" y="663384"/>
                  </a:lnTo>
                  <a:lnTo>
                    <a:pt x="469381" y="662355"/>
                  </a:lnTo>
                  <a:lnTo>
                    <a:pt x="479031" y="663928"/>
                  </a:lnTo>
                  <a:lnTo>
                    <a:pt x="480272" y="663565"/>
                  </a:lnTo>
                  <a:lnTo>
                    <a:pt x="481966" y="662295"/>
                  </a:lnTo>
                  <a:lnTo>
                    <a:pt x="483176" y="662355"/>
                  </a:lnTo>
                  <a:lnTo>
                    <a:pt x="484446" y="663263"/>
                  </a:lnTo>
                  <a:lnTo>
                    <a:pt x="484537" y="664291"/>
                  </a:lnTo>
                  <a:lnTo>
                    <a:pt x="483781" y="665108"/>
                  </a:lnTo>
                  <a:lnTo>
                    <a:pt x="482420" y="665350"/>
                  </a:lnTo>
                  <a:lnTo>
                    <a:pt x="485596" y="667982"/>
                  </a:lnTo>
                  <a:lnTo>
                    <a:pt x="501750" y="672036"/>
                  </a:lnTo>
                  <a:lnTo>
                    <a:pt x="513518" y="679387"/>
                  </a:lnTo>
                  <a:lnTo>
                    <a:pt x="521777" y="680930"/>
                  </a:lnTo>
                  <a:lnTo>
                    <a:pt x="527040" y="684620"/>
                  </a:lnTo>
                  <a:lnTo>
                    <a:pt x="528311" y="685134"/>
                  </a:lnTo>
                  <a:lnTo>
                    <a:pt x="541864" y="687797"/>
                  </a:lnTo>
                  <a:lnTo>
                    <a:pt x="543921" y="685134"/>
                  </a:lnTo>
                  <a:lnTo>
                    <a:pt x="545403" y="686435"/>
                  </a:lnTo>
                  <a:lnTo>
                    <a:pt x="547188" y="687343"/>
                  </a:lnTo>
                  <a:lnTo>
                    <a:pt x="550788" y="688099"/>
                  </a:lnTo>
                  <a:lnTo>
                    <a:pt x="550304" y="688946"/>
                  </a:lnTo>
                  <a:lnTo>
                    <a:pt x="549850" y="689279"/>
                  </a:lnTo>
                  <a:lnTo>
                    <a:pt x="548731" y="689400"/>
                  </a:lnTo>
                  <a:lnTo>
                    <a:pt x="551635" y="690186"/>
                  </a:lnTo>
                  <a:lnTo>
                    <a:pt x="559773" y="688129"/>
                  </a:lnTo>
                  <a:lnTo>
                    <a:pt x="579073" y="693665"/>
                  </a:lnTo>
                  <a:lnTo>
                    <a:pt x="584216" y="693847"/>
                  </a:lnTo>
                  <a:lnTo>
                    <a:pt x="605392" y="688523"/>
                  </a:lnTo>
                  <a:lnTo>
                    <a:pt x="617855" y="683017"/>
                  </a:lnTo>
                  <a:lnTo>
                    <a:pt x="639394" y="679992"/>
                  </a:lnTo>
                  <a:lnTo>
                    <a:pt x="637731" y="679689"/>
                  </a:lnTo>
                  <a:lnTo>
                    <a:pt x="635371" y="679689"/>
                  </a:lnTo>
                  <a:lnTo>
                    <a:pt x="631166" y="679447"/>
                  </a:lnTo>
                  <a:lnTo>
                    <a:pt x="630833" y="678116"/>
                  </a:lnTo>
                  <a:lnTo>
                    <a:pt x="630561" y="675212"/>
                  </a:lnTo>
                  <a:lnTo>
                    <a:pt x="630077" y="672278"/>
                  </a:lnTo>
                  <a:lnTo>
                    <a:pt x="629109" y="670977"/>
                  </a:lnTo>
                  <a:lnTo>
                    <a:pt x="628413" y="670251"/>
                  </a:lnTo>
                  <a:lnTo>
                    <a:pt x="626265" y="666711"/>
                  </a:lnTo>
                  <a:lnTo>
                    <a:pt x="625297" y="665441"/>
                  </a:lnTo>
                  <a:lnTo>
                    <a:pt x="625630" y="664715"/>
                  </a:lnTo>
                  <a:lnTo>
                    <a:pt x="625932" y="664352"/>
                  </a:lnTo>
                  <a:lnTo>
                    <a:pt x="626689" y="664019"/>
                  </a:lnTo>
                  <a:lnTo>
                    <a:pt x="626084" y="662446"/>
                  </a:lnTo>
                  <a:lnTo>
                    <a:pt x="628141" y="662869"/>
                  </a:lnTo>
                  <a:lnTo>
                    <a:pt x="635008" y="666832"/>
                  </a:lnTo>
                  <a:lnTo>
                    <a:pt x="637761" y="666923"/>
                  </a:lnTo>
                  <a:lnTo>
                    <a:pt x="643176" y="665380"/>
                  </a:lnTo>
                  <a:lnTo>
                    <a:pt x="646019" y="665441"/>
                  </a:lnTo>
                  <a:lnTo>
                    <a:pt x="646019" y="666863"/>
                  </a:lnTo>
                  <a:lnTo>
                    <a:pt x="642813" y="667105"/>
                  </a:lnTo>
                  <a:lnTo>
                    <a:pt x="641542" y="668133"/>
                  </a:lnTo>
                  <a:lnTo>
                    <a:pt x="640181" y="670372"/>
                  </a:lnTo>
                  <a:lnTo>
                    <a:pt x="639092" y="671491"/>
                  </a:lnTo>
                  <a:lnTo>
                    <a:pt x="636248" y="672459"/>
                  </a:lnTo>
                  <a:lnTo>
                    <a:pt x="634978" y="673972"/>
                  </a:lnTo>
                  <a:lnTo>
                    <a:pt x="638275" y="678207"/>
                  </a:lnTo>
                  <a:lnTo>
                    <a:pt x="644567" y="676846"/>
                  </a:lnTo>
                  <a:lnTo>
                    <a:pt x="651162" y="672247"/>
                  </a:lnTo>
                  <a:lnTo>
                    <a:pt x="661478" y="667891"/>
                  </a:lnTo>
                  <a:lnTo>
                    <a:pt x="666106" y="663202"/>
                  </a:lnTo>
                  <a:lnTo>
                    <a:pt x="669737" y="656759"/>
                  </a:lnTo>
                  <a:lnTo>
                    <a:pt x="672247" y="649740"/>
                  </a:lnTo>
                  <a:lnTo>
                    <a:pt x="670826" y="650890"/>
                  </a:lnTo>
                  <a:lnTo>
                    <a:pt x="663323" y="651283"/>
                  </a:lnTo>
                  <a:lnTo>
                    <a:pt x="663656" y="648893"/>
                  </a:lnTo>
                  <a:lnTo>
                    <a:pt x="663323" y="647471"/>
                  </a:lnTo>
                  <a:lnTo>
                    <a:pt x="662446" y="646866"/>
                  </a:lnTo>
                  <a:lnTo>
                    <a:pt x="661145" y="647018"/>
                  </a:lnTo>
                  <a:lnTo>
                    <a:pt x="662718" y="645838"/>
                  </a:lnTo>
                  <a:lnTo>
                    <a:pt x="665562" y="646110"/>
                  </a:lnTo>
                  <a:lnTo>
                    <a:pt x="665411" y="644174"/>
                  </a:lnTo>
                  <a:lnTo>
                    <a:pt x="669525" y="644174"/>
                  </a:lnTo>
                  <a:lnTo>
                    <a:pt x="669343" y="644991"/>
                  </a:lnTo>
                  <a:lnTo>
                    <a:pt x="669283" y="645112"/>
                  </a:lnTo>
                  <a:lnTo>
                    <a:pt x="669162" y="645112"/>
                  </a:lnTo>
                  <a:lnTo>
                    <a:pt x="668829" y="645505"/>
                  </a:lnTo>
                  <a:lnTo>
                    <a:pt x="671491" y="646866"/>
                  </a:lnTo>
                  <a:lnTo>
                    <a:pt x="674123" y="644749"/>
                  </a:lnTo>
                  <a:lnTo>
                    <a:pt x="678449" y="636974"/>
                  </a:lnTo>
                  <a:lnTo>
                    <a:pt x="675726" y="637791"/>
                  </a:lnTo>
                  <a:lnTo>
                    <a:pt x="667770" y="636974"/>
                  </a:lnTo>
                  <a:lnTo>
                    <a:pt x="666227" y="637428"/>
                  </a:lnTo>
                  <a:lnTo>
                    <a:pt x="664231" y="639394"/>
                  </a:lnTo>
                  <a:lnTo>
                    <a:pt x="662960" y="639848"/>
                  </a:lnTo>
                  <a:lnTo>
                    <a:pt x="661327" y="639243"/>
                  </a:lnTo>
                  <a:lnTo>
                    <a:pt x="660812" y="637761"/>
                  </a:lnTo>
                  <a:lnTo>
                    <a:pt x="661296" y="635915"/>
                  </a:lnTo>
                  <a:lnTo>
                    <a:pt x="662597" y="634131"/>
                  </a:lnTo>
                  <a:lnTo>
                    <a:pt x="664473" y="636067"/>
                  </a:lnTo>
                  <a:lnTo>
                    <a:pt x="666258" y="635401"/>
                  </a:lnTo>
                  <a:lnTo>
                    <a:pt x="667619" y="632860"/>
                  </a:lnTo>
                  <a:lnTo>
                    <a:pt x="668163" y="629169"/>
                  </a:lnTo>
                  <a:lnTo>
                    <a:pt x="668768" y="626870"/>
                  </a:lnTo>
                  <a:lnTo>
                    <a:pt x="670251" y="624571"/>
                  </a:lnTo>
                  <a:lnTo>
                    <a:pt x="672066" y="623331"/>
                  </a:lnTo>
                  <a:lnTo>
                    <a:pt x="673730" y="624208"/>
                  </a:lnTo>
                  <a:lnTo>
                    <a:pt x="674789" y="623028"/>
                  </a:lnTo>
                  <a:lnTo>
                    <a:pt x="675938" y="622605"/>
                  </a:lnTo>
                  <a:lnTo>
                    <a:pt x="678479" y="622665"/>
                  </a:lnTo>
                  <a:lnTo>
                    <a:pt x="678479" y="621364"/>
                  </a:lnTo>
                  <a:lnTo>
                    <a:pt x="676422" y="619791"/>
                  </a:lnTo>
                  <a:lnTo>
                    <a:pt x="679145" y="619912"/>
                  </a:lnTo>
                  <a:lnTo>
                    <a:pt x="681656" y="621001"/>
                  </a:lnTo>
                  <a:lnTo>
                    <a:pt x="684106" y="621485"/>
                  </a:lnTo>
                  <a:lnTo>
                    <a:pt x="686708" y="619822"/>
                  </a:lnTo>
                  <a:lnTo>
                    <a:pt x="686284" y="618097"/>
                  </a:lnTo>
                  <a:lnTo>
                    <a:pt x="686193" y="616948"/>
                  </a:lnTo>
                  <a:lnTo>
                    <a:pt x="686708" y="614134"/>
                  </a:lnTo>
                  <a:lnTo>
                    <a:pt x="689097" y="616645"/>
                  </a:lnTo>
                  <a:lnTo>
                    <a:pt x="695753" y="619852"/>
                  </a:lnTo>
                  <a:lnTo>
                    <a:pt x="695753" y="621425"/>
                  </a:lnTo>
                  <a:lnTo>
                    <a:pt x="692909" y="621697"/>
                  </a:lnTo>
                  <a:lnTo>
                    <a:pt x="689672" y="622847"/>
                  </a:lnTo>
                  <a:lnTo>
                    <a:pt x="687071" y="625418"/>
                  </a:lnTo>
                  <a:lnTo>
                    <a:pt x="686072" y="629986"/>
                  </a:lnTo>
                  <a:lnTo>
                    <a:pt x="699201" y="621425"/>
                  </a:lnTo>
                  <a:lnTo>
                    <a:pt x="699201" y="619852"/>
                  </a:lnTo>
                  <a:lnTo>
                    <a:pt x="698778" y="619096"/>
                  </a:lnTo>
                  <a:lnTo>
                    <a:pt x="698717" y="618702"/>
                  </a:lnTo>
                  <a:lnTo>
                    <a:pt x="698717" y="618158"/>
                  </a:lnTo>
                  <a:lnTo>
                    <a:pt x="698475" y="617008"/>
                  </a:lnTo>
                  <a:lnTo>
                    <a:pt x="699958" y="618430"/>
                  </a:lnTo>
                  <a:lnTo>
                    <a:pt x="701410" y="617825"/>
                  </a:lnTo>
                  <a:lnTo>
                    <a:pt x="702620" y="615798"/>
                  </a:lnTo>
                  <a:lnTo>
                    <a:pt x="703376" y="612834"/>
                  </a:lnTo>
                  <a:lnTo>
                    <a:pt x="703951" y="614921"/>
                  </a:lnTo>
                  <a:lnTo>
                    <a:pt x="704011" y="617160"/>
                  </a:lnTo>
                  <a:lnTo>
                    <a:pt x="703376" y="619005"/>
                  </a:lnTo>
                  <a:lnTo>
                    <a:pt x="702257" y="620517"/>
                  </a:lnTo>
                  <a:lnTo>
                    <a:pt x="711635" y="618430"/>
                  </a:lnTo>
                  <a:lnTo>
                    <a:pt x="725460" y="614134"/>
                  </a:lnTo>
                  <a:lnTo>
                    <a:pt x="737893" y="606965"/>
                  </a:lnTo>
                  <a:lnTo>
                    <a:pt x="738256" y="610534"/>
                  </a:lnTo>
                  <a:lnTo>
                    <a:pt x="739285" y="610595"/>
                  </a:lnTo>
                  <a:lnTo>
                    <a:pt x="740646" y="609173"/>
                  </a:lnTo>
                  <a:lnTo>
                    <a:pt x="742007" y="608266"/>
                  </a:lnTo>
                  <a:lnTo>
                    <a:pt x="745637" y="610776"/>
                  </a:lnTo>
                  <a:lnTo>
                    <a:pt x="747180" y="611260"/>
                  </a:lnTo>
                  <a:lnTo>
                    <a:pt x="754380" y="611442"/>
                  </a:lnTo>
                  <a:lnTo>
                    <a:pt x="758101" y="610625"/>
                  </a:lnTo>
                  <a:lnTo>
                    <a:pt x="759946" y="608266"/>
                  </a:lnTo>
                  <a:lnTo>
                    <a:pt x="758252" y="606602"/>
                  </a:lnTo>
                  <a:lnTo>
                    <a:pt x="757557" y="604363"/>
                  </a:lnTo>
                  <a:lnTo>
                    <a:pt x="757042" y="601943"/>
                  </a:lnTo>
                  <a:lnTo>
                    <a:pt x="755802" y="599795"/>
                  </a:lnTo>
                  <a:lnTo>
                    <a:pt x="756861" y="597194"/>
                  </a:lnTo>
                  <a:lnTo>
                    <a:pt x="758524" y="596891"/>
                  </a:lnTo>
                  <a:lnTo>
                    <a:pt x="760400" y="597012"/>
                  </a:lnTo>
                  <a:lnTo>
                    <a:pt x="762034" y="595651"/>
                  </a:lnTo>
                  <a:lnTo>
                    <a:pt x="761187" y="593775"/>
                  </a:lnTo>
                  <a:lnTo>
                    <a:pt x="761005" y="591567"/>
                  </a:lnTo>
                  <a:lnTo>
                    <a:pt x="761277" y="586122"/>
                  </a:lnTo>
                  <a:lnTo>
                    <a:pt x="761822" y="584942"/>
                  </a:lnTo>
                  <a:lnTo>
                    <a:pt x="762971" y="585879"/>
                  </a:lnTo>
                  <a:lnTo>
                    <a:pt x="764060" y="587483"/>
                  </a:lnTo>
                  <a:lnTo>
                    <a:pt x="764393" y="588330"/>
                  </a:lnTo>
                  <a:lnTo>
                    <a:pt x="764696" y="589691"/>
                  </a:lnTo>
                  <a:lnTo>
                    <a:pt x="764605" y="592747"/>
                  </a:lnTo>
                  <a:lnTo>
                    <a:pt x="764030" y="598373"/>
                  </a:lnTo>
                  <a:lnTo>
                    <a:pt x="764303" y="598434"/>
                  </a:lnTo>
                  <a:lnTo>
                    <a:pt x="764635" y="599462"/>
                  </a:lnTo>
                  <a:lnTo>
                    <a:pt x="764575" y="600672"/>
                  </a:lnTo>
                  <a:lnTo>
                    <a:pt x="763667" y="601247"/>
                  </a:lnTo>
                  <a:lnTo>
                    <a:pt x="763304" y="601610"/>
                  </a:lnTo>
                  <a:lnTo>
                    <a:pt x="763032" y="602427"/>
                  </a:lnTo>
                  <a:lnTo>
                    <a:pt x="762608" y="604242"/>
                  </a:lnTo>
                  <a:lnTo>
                    <a:pt x="763183" y="605997"/>
                  </a:lnTo>
                  <a:lnTo>
                    <a:pt x="763123" y="608054"/>
                  </a:lnTo>
                  <a:lnTo>
                    <a:pt x="761973" y="612803"/>
                  </a:lnTo>
                  <a:lnTo>
                    <a:pt x="764000" y="612501"/>
                  </a:lnTo>
                  <a:lnTo>
                    <a:pt x="765603" y="611593"/>
                  </a:lnTo>
                  <a:lnTo>
                    <a:pt x="766087" y="610171"/>
                  </a:lnTo>
                  <a:lnTo>
                    <a:pt x="764756" y="608266"/>
                  </a:lnTo>
                  <a:lnTo>
                    <a:pt x="765240" y="605845"/>
                  </a:lnTo>
                  <a:lnTo>
                    <a:pt x="765422" y="603244"/>
                  </a:lnTo>
                  <a:lnTo>
                    <a:pt x="765422" y="597617"/>
                  </a:lnTo>
                  <a:lnTo>
                    <a:pt x="765724" y="596226"/>
                  </a:lnTo>
                  <a:lnTo>
                    <a:pt x="766450" y="597557"/>
                  </a:lnTo>
                  <a:lnTo>
                    <a:pt x="767176" y="600007"/>
                  </a:lnTo>
                  <a:lnTo>
                    <a:pt x="767509" y="601883"/>
                  </a:lnTo>
                  <a:lnTo>
                    <a:pt x="766965" y="607177"/>
                  </a:lnTo>
                  <a:lnTo>
                    <a:pt x="767176" y="609052"/>
                  </a:lnTo>
                  <a:lnTo>
                    <a:pt x="768508" y="609778"/>
                  </a:lnTo>
                  <a:lnTo>
                    <a:pt x="769143" y="608508"/>
                  </a:lnTo>
                  <a:lnTo>
                    <a:pt x="769203" y="605785"/>
                  </a:lnTo>
                  <a:lnTo>
                    <a:pt x="768871" y="601883"/>
                  </a:lnTo>
                  <a:lnTo>
                    <a:pt x="768871" y="598797"/>
                  </a:lnTo>
                  <a:lnTo>
                    <a:pt x="769173" y="596982"/>
                  </a:lnTo>
                  <a:lnTo>
                    <a:pt x="769990" y="596377"/>
                  </a:lnTo>
                  <a:lnTo>
                    <a:pt x="771593" y="596891"/>
                  </a:lnTo>
                  <a:lnTo>
                    <a:pt x="772622" y="597829"/>
                  </a:lnTo>
                  <a:lnTo>
                    <a:pt x="776403" y="602639"/>
                  </a:lnTo>
                  <a:lnTo>
                    <a:pt x="778218" y="604182"/>
                  </a:lnTo>
                  <a:lnTo>
                    <a:pt x="778460" y="604847"/>
                  </a:lnTo>
                  <a:lnTo>
                    <a:pt x="778460" y="607721"/>
                  </a:lnTo>
                  <a:lnTo>
                    <a:pt x="778642" y="609143"/>
                  </a:lnTo>
                  <a:lnTo>
                    <a:pt x="779126" y="609808"/>
                  </a:lnTo>
                  <a:lnTo>
                    <a:pt x="780245" y="608810"/>
                  </a:lnTo>
                  <a:lnTo>
                    <a:pt x="780790" y="606329"/>
                  </a:lnTo>
                  <a:lnTo>
                    <a:pt x="780850" y="603425"/>
                  </a:lnTo>
                  <a:lnTo>
                    <a:pt x="780517" y="601217"/>
                  </a:lnTo>
                  <a:lnTo>
                    <a:pt x="782151" y="600824"/>
                  </a:lnTo>
                  <a:lnTo>
                    <a:pt x="784027" y="599765"/>
                  </a:lnTo>
                  <a:lnTo>
                    <a:pt x="783028" y="599614"/>
                  </a:lnTo>
                  <a:lnTo>
                    <a:pt x="782121" y="599069"/>
                  </a:lnTo>
                  <a:lnTo>
                    <a:pt x="781304" y="598162"/>
                  </a:lnTo>
                  <a:lnTo>
                    <a:pt x="780517" y="596891"/>
                  </a:lnTo>
                  <a:lnTo>
                    <a:pt x="782242" y="598676"/>
                  </a:lnTo>
                  <a:lnTo>
                    <a:pt x="784268" y="599220"/>
                  </a:lnTo>
                  <a:lnTo>
                    <a:pt x="797761" y="595590"/>
                  </a:lnTo>
                  <a:lnTo>
                    <a:pt x="812947" y="583974"/>
                  </a:lnTo>
                  <a:lnTo>
                    <a:pt x="812372" y="586424"/>
                  </a:lnTo>
                  <a:lnTo>
                    <a:pt x="811343" y="588027"/>
                  </a:lnTo>
                  <a:lnTo>
                    <a:pt x="810073" y="589056"/>
                  </a:lnTo>
                  <a:lnTo>
                    <a:pt x="808802" y="589691"/>
                  </a:lnTo>
                  <a:lnTo>
                    <a:pt x="811949" y="588148"/>
                  </a:lnTo>
                  <a:lnTo>
                    <a:pt x="816758" y="581130"/>
                  </a:lnTo>
                  <a:lnTo>
                    <a:pt x="823989" y="575352"/>
                  </a:lnTo>
                  <a:lnTo>
                    <a:pt x="825350" y="573567"/>
                  </a:lnTo>
                  <a:lnTo>
                    <a:pt x="827951" y="568666"/>
                  </a:lnTo>
                  <a:lnTo>
                    <a:pt x="826953" y="569846"/>
                  </a:lnTo>
                  <a:lnTo>
                    <a:pt x="825622" y="570966"/>
                  </a:lnTo>
                  <a:lnTo>
                    <a:pt x="823958" y="570875"/>
                  </a:lnTo>
                  <a:lnTo>
                    <a:pt x="825531" y="567396"/>
                  </a:lnTo>
                  <a:lnTo>
                    <a:pt x="828133" y="564492"/>
                  </a:lnTo>
                  <a:lnTo>
                    <a:pt x="833578" y="560680"/>
                  </a:lnTo>
                  <a:lnTo>
                    <a:pt x="832943" y="563705"/>
                  </a:lnTo>
                  <a:lnTo>
                    <a:pt x="835121" y="563130"/>
                  </a:lnTo>
                  <a:lnTo>
                    <a:pt x="841171" y="559228"/>
                  </a:lnTo>
                  <a:lnTo>
                    <a:pt x="841171" y="557927"/>
                  </a:lnTo>
                  <a:lnTo>
                    <a:pt x="839810" y="557927"/>
                  </a:lnTo>
                  <a:lnTo>
                    <a:pt x="839810" y="556475"/>
                  </a:lnTo>
                  <a:lnTo>
                    <a:pt x="840929" y="554932"/>
                  </a:lnTo>
                  <a:lnTo>
                    <a:pt x="841928" y="554085"/>
                  </a:lnTo>
                  <a:lnTo>
                    <a:pt x="842926" y="554448"/>
                  </a:lnTo>
                  <a:lnTo>
                    <a:pt x="843985" y="556475"/>
                  </a:lnTo>
                  <a:lnTo>
                    <a:pt x="844741" y="554660"/>
                  </a:lnTo>
                  <a:lnTo>
                    <a:pt x="845709" y="553632"/>
                  </a:lnTo>
                  <a:lnTo>
                    <a:pt x="848099" y="551998"/>
                  </a:lnTo>
                  <a:lnTo>
                    <a:pt x="851548" y="548217"/>
                  </a:lnTo>
                  <a:lnTo>
                    <a:pt x="852516" y="547672"/>
                  </a:lnTo>
                  <a:lnTo>
                    <a:pt x="854664" y="547006"/>
                  </a:lnTo>
                  <a:lnTo>
                    <a:pt x="861077" y="541894"/>
                  </a:lnTo>
                  <a:lnTo>
                    <a:pt x="861077" y="540593"/>
                  </a:lnTo>
                  <a:lnTo>
                    <a:pt x="856327" y="540593"/>
                  </a:lnTo>
                  <a:lnTo>
                    <a:pt x="859988" y="537538"/>
                  </a:lnTo>
                  <a:lnTo>
                    <a:pt x="886065" y="530156"/>
                  </a:lnTo>
                  <a:lnTo>
                    <a:pt x="889453" y="527555"/>
                  </a:lnTo>
                  <a:lnTo>
                    <a:pt x="887486" y="526254"/>
                  </a:lnTo>
                  <a:lnTo>
                    <a:pt x="879107" y="528886"/>
                  </a:lnTo>
                  <a:lnTo>
                    <a:pt x="888031" y="522231"/>
                  </a:lnTo>
                  <a:lnTo>
                    <a:pt x="890844" y="518570"/>
                  </a:lnTo>
                  <a:lnTo>
                    <a:pt x="891086" y="519599"/>
                  </a:lnTo>
                  <a:lnTo>
                    <a:pt x="891722" y="520567"/>
                  </a:lnTo>
                  <a:lnTo>
                    <a:pt x="892205" y="521625"/>
                  </a:lnTo>
                  <a:lnTo>
                    <a:pt x="894837" y="519629"/>
                  </a:lnTo>
                  <a:lnTo>
                    <a:pt x="900918" y="517511"/>
                  </a:lnTo>
                  <a:lnTo>
                    <a:pt x="906696" y="516997"/>
                  </a:lnTo>
                  <a:lnTo>
                    <a:pt x="913140" y="514849"/>
                  </a:lnTo>
                  <a:lnTo>
                    <a:pt x="915681" y="512913"/>
                  </a:lnTo>
                  <a:lnTo>
                    <a:pt x="912383" y="512913"/>
                  </a:lnTo>
                  <a:lnTo>
                    <a:pt x="910840" y="512459"/>
                  </a:lnTo>
                  <a:lnTo>
                    <a:pt x="909419" y="511310"/>
                  </a:lnTo>
                  <a:lnTo>
                    <a:pt x="911718" y="509767"/>
                  </a:lnTo>
                  <a:lnTo>
                    <a:pt x="917344" y="511189"/>
                  </a:lnTo>
                  <a:lnTo>
                    <a:pt x="919795" y="509979"/>
                  </a:lnTo>
                  <a:lnTo>
                    <a:pt x="921338" y="506923"/>
                  </a:lnTo>
                  <a:lnTo>
                    <a:pt x="922185" y="503202"/>
                  </a:lnTo>
                  <a:lnTo>
                    <a:pt x="921822" y="499935"/>
                  </a:lnTo>
                  <a:lnTo>
                    <a:pt x="919795" y="498211"/>
                  </a:lnTo>
                  <a:lnTo>
                    <a:pt x="919795" y="496608"/>
                  </a:lnTo>
                  <a:lnTo>
                    <a:pt x="920642" y="497697"/>
                  </a:lnTo>
                  <a:lnTo>
                    <a:pt x="921519" y="498120"/>
                  </a:lnTo>
                  <a:lnTo>
                    <a:pt x="922397" y="497787"/>
                  </a:lnTo>
                  <a:lnTo>
                    <a:pt x="923243" y="496638"/>
                  </a:lnTo>
                  <a:lnTo>
                    <a:pt x="922366" y="494853"/>
                  </a:lnTo>
                  <a:lnTo>
                    <a:pt x="920521" y="489619"/>
                  </a:lnTo>
                  <a:lnTo>
                    <a:pt x="919432" y="487230"/>
                  </a:lnTo>
                  <a:lnTo>
                    <a:pt x="917344" y="486292"/>
                  </a:lnTo>
                  <a:lnTo>
                    <a:pt x="913896" y="484930"/>
                  </a:lnTo>
                  <a:lnTo>
                    <a:pt x="912172" y="483630"/>
                  </a:lnTo>
                  <a:lnTo>
                    <a:pt x="914743" y="484295"/>
                  </a:lnTo>
                  <a:lnTo>
                    <a:pt x="918736" y="485777"/>
                  </a:lnTo>
                  <a:lnTo>
                    <a:pt x="920793" y="487895"/>
                  </a:lnTo>
                  <a:lnTo>
                    <a:pt x="922941" y="489680"/>
                  </a:lnTo>
                  <a:lnTo>
                    <a:pt x="925482" y="493794"/>
                  </a:lnTo>
                  <a:lnTo>
                    <a:pt x="926965" y="498271"/>
                  </a:lnTo>
                  <a:lnTo>
                    <a:pt x="925996" y="501266"/>
                  </a:lnTo>
                  <a:lnTo>
                    <a:pt x="925996" y="502567"/>
                  </a:lnTo>
                  <a:lnTo>
                    <a:pt x="927328" y="503626"/>
                  </a:lnTo>
                  <a:lnTo>
                    <a:pt x="930201" y="504624"/>
                  </a:lnTo>
                  <a:lnTo>
                    <a:pt x="931563" y="505471"/>
                  </a:lnTo>
                  <a:lnTo>
                    <a:pt x="931260" y="503263"/>
                  </a:lnTo>
                  <a:lnTo>
                    <a:pt x="930867" y="501781"/>
                  </a:lnTo>
                  <a:lnTo>
                    <a:pt x="930292" y="500692"/>
                  </a:lnTo>
                  <a:lnTo>
                    <a:pt x="929475" y="499663"/>
                  </a:lnTo>
                  <a:lnTo>
                    <a:pt x="929475" y="498181"/>
                  </a:lnTo>
                  <a:lnTo>
                    <a:pt x="930655" y="497092"/>
                  </a:lnTo>
                  <a:lnTo>
                    <a:pt x="932016" y="497848"/>
                  </a:lnTo>
                  <a:lnTo>
                    <a:pt x="933136" y="500056"/>
                  </a:lnTo>
                  <a:lnTo>
                    <a:pt x="933589" y="503354"/>
                  </a:lnTo>
                  <a:lnTo>
                    <a:pt x="934255" y="504866"/>
                  </a:lnTo>
                  <a:lnTo>
                    <a:pt x="935828" y="504987"/>
                  </a:lnTo>
                  <a:lnTo>
                    <a:pt x="939065" y="504140"/>
                  </a:lnTo>
                  <a:lnTo>
                    <a:pt x="939065" y="505471"/>
                  </a:lnTo>
                  <a:lnTo>
                    <a:pt x="937068" y="511310"/>
                  </a:lnTo>
                  <a:lnTo>
                    <a:pt x="939579" y="511400"/>
                  </a:lnTo>
                  <a:lnTo>
                    <a:pt x="940729" y="511037"/>
                  </a:lnTo>
                  <a:lnTo>
                    <a:pt x="941788" y="509979"/>
                  </a:lnTo>
                  <a:lnTo>
                    <a:pt x="940487" y="508406"/>
                  </a:lnTo>
                  <a:lnTo>
                    <a:pt x="941788" y="507044"/>
                  </a:lnTo>
                  <a:lnTo>
                    <a:pt x="942967" y="507347"/>
                  </a:lnTo>
                  <a:lnTo>
                    <a:pt x="944117" y="508194"/>
                  </a:lnTo>
                  <a:lnTo>
                    <a:pt x="945327" y="508436"/>
                  </a:lnTo>
                  <a:lnTo>
                    <a:pt x="946295" y="507589"/>
                  </a:lnTo>
                  <a:lnTo>
                    <a:pt x="948171" y="504806"/>
                  </a:lnTo>
                  <a:lnTo>
                    <a:pt x="949078" y="504201"/>
                  </a:lnTo>
                  <a:lnTo>
                    <a:pt x="951166" y="504866"/>
                  </a:lnTo>
                  <a:lnTo>
                    <a:pt x="953102" y="506469"/>
                  </a:lnTo>
                  <a:lnTo>
                    <a:pt x="956278" y="510039"/>
                  </a:lnTo>
                  <a:lnTo>
                    <a:pt x="958244" y="511612"/>
                  </a:lnTo>
                  <a:lnTo>
                    <a:pt x="960302" y="512490"/>
                  </a:lnTo>
                  <a:lnTo>
                    <a:pt x="964960" y="512943"/>
                  </a:lnTo>
                  <a:lnTo>
                    <a:pt x="966927" y="512006"/>
                  </a:lnTo>
                  <a:lnTo>
                    <a:pt x="969891" y="508436"/>
                  </a:lnTo>
                  <a:lnTo>
                    <a:pt x="972130" y="508436"/>
                  </a:lnTo>
                  <a:lnTo>
                    <a:pt x="971253" y="505653"/>
                  </a:lnTo>
                  <a:lnTo>
                    <a:pt x="970769" y="502628"/>
                  </a:lnTo>
                  <a:lnTo>
                    <a:pt x="969831" y="503535"/>
                  </a:lnTo>
                  <a:lnTo>
                    <a:pt x="968863" y="503989"/>
                  </a:lnTo>
                  <a:lnTo>
                    <a:pt x="966685" y="504201"/>
                  </a:lnTo>
                  <a:lnTo>
                    <a:pt x="965656" y="503505"/>
                  </a:lnTo>
                  <a:lnTo>
                    <a:pt x="964900" y="501962"/>
                  </a:lnTo>
                  <a:lnTo>
                    <a:pt x="964597" y="500419"/>
                  </a:lnTo>
                  <a:lnTo>
                    <a:pt x="964960" y="499723"/>
                  </a:lnTo>
                  <a:lnTo>
                    <a:pt x="966140" y="499209"/>
                  </a:lnTo>
                  <a:lnTo>
                    <a:pt x="967834" y="497878"/>
                  </a:lnTo>
                  <a:lnTo>
                    <a:pt x="969377" y="496033"/>
                  </a:lnTo>
                  <a:lnTo>
                    <a:pt x="970073" y="493915"/>
                  </a:lnTo>
                  <a:lnTo>
                    <a:pt x="970738" y="493915"/>
                  </a:lnTo>
                  <a:lnTo>
                    <a:pt x="970738" y="495367"/>
                  </a:lnTo>
                  <a:lnTo>
                    <a:pt x="970254" y="496275"/>
                  </a:lnTo>
                  <a:lnTo>
                    <a:pt x="969921" y="497303"/>
                  </a:lnTo>
                  <a:lnTo>
                    <a:pt x="969377" y="499754"/>
                  </a:lnTo>
                  <a:lnTo>
                    <a:pt x="970678" y="497152"/>
                  </a:lnTo>
                  <a:lnTo>
                    <a:pt x="972735" y="494581"/>
                  </a:lnTo>
                  <a:lnTo>
                    <a:pt x="975004" y="492372"/>
                  </a:lnTo>
                  <a:lnTo>
                    <a:pt x="980570" y="489075"/>
                  </a:lnTo>
                  <a:lnTo>
                    <a:pt x="981720" y="487956"/>
                  </a:lnTo>
                  <a:lnTo>
                    <a:pt x="983746" y="484265"/>
                  </a:lnTo>
                  <a:lnTo>
                    <a:pt x="984200" y="483690"/>
                  </a:lnTo>
                  <a:lnTo>
                    <a:pt x="985440" y="483236"/>
                  </a:lnTo>
                  <a:lnTo>
                    <a:pt x="987588" y="481240"/>
                  </a:lnTo>
                  <a:lnTo>
                    <a:pt x="988314" y="480786"/>
                  </a:lnTo>
                  <a:lnTo>
                    <a:pt x="988708" y="480181"/>
                  </a:lnTo>
                  <a:lnTo>
                    <a:pt x="988526" y="477307"/>
                  </a:lnTo>
                  <a:lnTo>
                    <a:pt x="988647" y="476400"/>
                  </a:lnTo>
                  <a:lnTo>
                    <a:pt x="989434" y="476067"/>
                  </a:lnTo>
                  <a:lnTo>
                    <a:pt x="1000627" y="477731"/>
                  </a:lnTo>
                  <a:lnTo>
                    <a:pt x="1003198" y="479334"/>
                  </a:lnTo>
                  <a:lnTo>
                    <a:pt x="998630" y="481058"/>
                  </a:lnTo>
                  <a:lnTo>
                    <a:pt x="989645" y="483448"/>
                  </a:lnTo>
                  <a:lnTo>
                    <a:pt x="985289" y="486625"/>
                  </a:lnTo>
                  <a:lnTo>
                    <a:pt x="987891" y="485566"/>
                  </a:lnTo>
                  <a:lnTo>
                    <a:pt x="995121" y="483176"/>
                  </a:lnTo>
                  <a:lnTo>
                    <a:pt x="1005558" y="482117"/>
                  </a:lnTo>
                  <a:lnTo>
                    <a:pt x="1005981" y="481391"/>
                  </a:lnTo>
                  <a:lnTo>
                    <a:pt x="1007101" y="478063"/>
                  </a:lnTo>
                  <a:lnTo>
                    <a:pt x="1007312" y="477126"/>
                  </a:lnTo>
                  <a:lnTo>
                    <a:pt x="1007524" y="475795"/>
                  </a:lnTo>
                  <a:lnTo>
                    <a:pt x="1007978" y="475159"/>
                  </a:lnTo>
                  <a:lnTo>
                    <a:pt x="1008522" y="474796"/>
                  </a:lnTo>
                  <a:lnTo>
                    <a:pt x="1009037" y="474131"/>
                  </a:lnTo>
                  <a:lnTo>
                    <a:pt x="1009158" y="473314"/>
                  </a:lnTo>
                  <a:lnTo>
                    <a:pt x="1008916" y="471801"/>
                  </a:lnTo>
                  <a:lnTo>
                    <a:pt x="1008795" y="471045"/>
                  </a:lnTo>
                  <a:lnTo>
                    <a:pt x="1008704" y="469714"/>
                  </a:lnTo>
                  <a:lnTo>
                    <a:pt x="1009158" y="467748"/>
                  </a:lnTo>
                  <a:lnTo>
                    <a:pt x="1012455" y="462393"/>
                  </a:lnTo>
                  <a:lnTo>
                    <a:pt x="1012879" y="460699"/>
                  </a:lnTo>
                  <a:lnTo>
                    <a:pt x="1013181" y="456252"/>
                  </a:lnTo>
                  <a:lnTo>
                    <a:pt x="1013514" y="454256"/>
                  </a:lnTo>
                  <a:lnTo>
                    <a:pt x="1014815" y="451745"/>
                  </a:lnTo>
                  <a:lnTo>
                    <a:pt x="1024041" y="441368"/>
                  </a:lnTo>
                  <a:lnTo>
                    <a:pt x="1025584" y="438979"/>
                  </a:lnTo>
                  <a:lnTo>
                    <a:pt x="1024949" y="437920"/>
                  </a:lnTo>
                  <a:lnTo>
                    <a:pt x="1021833" y="440037"/>
                  </a:lnTo>
                  <a:lnTo>
                    <a:pt x="1015601" y="448659"/>
                  </a:lnTo>
                  <a:lnTo>
                    <a:pt x="1011457" y="449688"/>
                  </a:lnTo>
                  <a:lnTo>
                    <a:pt x="1011063" y="451291"/>
                  </a:lnTo>
                  <a:lnTo>
                    <a:pt x="1009097" y="451170"/>
                  </a:lnTo>
                  <a:lnTo>
                    <a:pt x="1006919" y="449748"/>
                  </a:lnTo>
                  <a:lnTo>
                    <a:pt x="1005890" y="447540"/>
                  </a:lnTo>
                  <a:lnTo>
                    <a:pt x="1004832" y="447540"/>
                  </a:lnTo>
                  <a:lnTo>
                    <a:pt x="1002835" y="445150"/>
                  </a:lnTo>
                  <a:lnTo>
                    <a:pt x="1001595" y="442276"/>
                  </a:lnTo>
                  <a:lnTo>
                    <a:pt x="1002835" y="440854"/>
                  </a:lnTo>
                  <a:lnTo>
                    <a:pt x="1016236" y="440854"/>
                  </a:lnTo>
                  <a:lnTo>
                    <a:pt x="1018142" y="439644"/>
                  </a:lnTo>
                  <a:lnTo>
                    <a:pt x="1019201" y="437980"/>
                  </a:lnTo>
                  <a:lnTo>
                    <a:pt x="1019322" y="435923"/>
                  </a:lnTo>
                  <a:lnTo>
                    <a:pt x="1018354" y="433503"/>
                  </a:lnTo>
                  <a:lnTo>
                    <a:pt x="1016418" y="431385"/>
                  </a:lnTo>
                  <a:lnTo>
                    <a:pt x="1012395" y="429449"/>
                  </a:lnTo>
                  <a:lnTo>
                    <a:pt x="1010761" y="427604"/>
                  </a:lnTo>
                  <a:lnTo>
                    <a:pt x="1015934" y="423823"/>
                  </a:lnTo>
                  <a:lnTo>
                    <a:pt x="1032814" y="429086"/>
                  </a:lnTo>
                  <a:lnTo>
                    <a:pt x="1032118" y="427604"/>
                  </a:lnTo>
                  <a:lnTo>
                    <a:pt x="1033208" y="425184"/>
                  </a:lnTo>
                  <a:lnTo>
                    <a:pt x="1031362" y="423308"/>
                  </a:lnTo>
                  <a:lnTo>
                    <a:pt x="1026250" y="421675"/>
                  </a:lnTo>
                  <a:lnTo>
                    <a:pt x="1024919" y="420434"/>
                  </a:lnTo>
                  <a:lnTo>
                    <a:pt x="1023043" y="417500"/>
                  </a:lnTo>
                  <a:lnTo>
                    <a:pt x="1021651" y="414082"/>
                  </a:lnTo>
                  <a:lnTo>
                    <a:pt x="1021803" y="411359"/>
                  </a:lnTo>
                  <a:lnTo>
                    <a:pt x="1021803" y="409877"/>
                  </a:lnTo>
                  <a:lnTo>
                    <a:pt x="1020139" y="409695"/>
                  </a:lnTo>
                  <a:lnTo>
                    <a:pt x="1015057" y="407124"/>
                  </a:lnTo>
                  <a:lnTo>
                    <a:pt x="1013484" y="405309"/>
                  </a:lnTo>
                  <a:lnTo>
                    <a:pt x="1013726" y="403736"/>
                  </a:lnTo>
                  <a:lnTo>
                    <a:pt x="1014391" y="401285"/>
                  </a:lnTo>
                  <a:lnTo>
                    <a:pt x="1014512" y="399047"/>
                  </a:lnTo>
                  <a:lnTo>
                    <a:pt x="1013121" y="398048"/>
                  </a:lnTo>
                  <a:lnTo>
                    <a:pt x="1010731" y="398109"/>
                  </a:lnTo>
                  <a:lnTo>
                    <a:pt x="1009642" y="397685"/>
                  </a:lnTo>
                  <a:lnTo>
                    <a:pt x="1008643" y="396445"/>
                  </a:lnTo>
                  <a:lnTo>
                    <a:pt x="1016539" y="398079"/>
                  </a:lnTo>
                  <a:lnTo>
                    <a:pt x="1018021" y="399228"/>
                  </a:lnTo>
                  <a:lnTo>
                    <a:pt x="1020744" y="404250"/>
                  </a:lnTo>
                  <a:lnTo>
                    <a:pt x="1023315" y="406670"/>
                  </a:lnTo>
                  <a:lnTo>
                    <a:pt x="1026189" y="415140"/>
                  </a:lnTo>
                  <a:lnTo>
                    <a:pt x="1027520" y="416592"/>
                  </a:lnTo>
                  <a:lnTo>
                    <a:pt x="1029517" y="417772"/>
                  </a:lnTo>
                  <a:lnTo>
                    <a:pt x="1033117" y="418831"/>
                  </a:lnTo>
                  <a:lnTo>
                    <a:pt x="1055473" y="414414"/>
                  </a:lnTo>
                  <a:lnTo>
                    <a:pt x="1060101" y="410542"/>
                  </a:lnTo>
                  <a:lnTo>
                    <a:pt x="1061735" y="409967"/>
                  </a:lnTo>
                  <a:lnTo>
                    <a:pt x="1060222" y="407003"/>
                  </a:lnTo>
                  <a:lnTo>
                    <a:pt x="1058588" y="404613"/>
                  </a:lnTo>
                  <a:lnTo>
                    <a:pt x="1055503" y="401073"/>
                  </a:lnTo>
                  <a:lnTo>
                    <a:pt x="1055503" y="399440"/>
                  </a:lnTo>
                  <a:lnTo>
                    <a:pt x="1057530" y="398260"/>
                  </a:lnTo>
                  <a:lnTo>
                    <a:pt x="1058377" y="397504"/>
                  </a:lnTo>
                  <a:lnTo>
                    <a:pt x="1059012" y="396475"/>
                  </a:lnTo>
                  <a:lnTo>
                    <a:pt x="1062219" y="397685"/>
                  </a:lnTo>
                  <a:lnTo>
                    <a:pt x="1073714" y="398139"/>
                  </a:lnTo>
                  <a:lnTo>
                    <a:pt x="1076588" y="397292"/>
                  </a:lnTo>
                  <a:lnTo>
                    <a:pt x="1076527" y="394963"/>
                  </a:lnTo>
                  <a:lnTo>
                    <a:pt x="1074712" y="393329"/>
                  </a:lnTo>
                  <a:lnTo>
                    <a:pt x="1063792" y="389215"/>
                  </a:lnTo>
                  <a:lnTo>
                    <a:pt x="1066817" y="386765"/>
                  </a:lnTo>
                  <a:lnTo>
                    <a:pt x="1077314" y="390576"/>
                  </a:lnTo>
                  <a:lnTo>
                    <a:pt x="1078645" y="389881"/>
                  </a:lnTo>
                  <a:lnTo>
                    <a:pt x="1081156" y="386795"/>
                  </a:lnTo>
                  <a:lnTo>
                    <a:pt x="1082790" y="386099"/>
                  </a:lnTo>
                  <a:lnTo>
                    <a:pt x="1083879" y="385282"/>
                  </a:lnTo>
                  <a:lnTo>
                    <a:pt x="1083546" y="383407"/>
                  </a:lnTo>
                  <a:lnTo>
                    <a:pt x="1082578" y="381410"/>
                  </a:lnTo>
                  <a:lnTo>
                    <a:pt x="1081761" y="380139"/>
                  </a:lnTo>
                  <a:lnTo>
                    <a:pt x="1075257" y="375148"/>
                  </a:lnTo>
                  <a:lnTo>
                    <a:pt x="1060857" y="372032"/>
                  </a:lnTo>
                  <a:lnTo>
                    <a:pt x="1054928" y="368069"/>
                  </a:lnTo>
                  <a:lnTo>
                    <a:pt x="1056652" y="367222"/>
                  </a:lnTo>
                  <a:lnTo>
                    <a:pt x="1062824" y="369673"/>
                  </a:lnTo>
                  <a:lnTo>
                    <a:pt x="1072837" y="368039"/>
                  </a:lnTo>
                  <a:lnTo>
                    <a:pt x="1081640" y="372032"/>
                  </a:lnTo>
                  <a:lnTo>
                    <a:pt x="1086571" y="372728"/>
                  </a:lnTo>
                  <a:lnTo>
                    <a:pt x="1090746" y="369673"/>
                  </a:lnTo>
                  <a:lnTo>
                    <a:pt x="1088749" y="366526"/>
                  </a:lnTo>
                  <a:lnTo>
                    <a:pt x="1078373" y="362079"/>
                  </a:lnTo>
                  <a:lnTo>
                    <a:pt x="1073684" y="358086"/>
                  </a:lnTo>
                  <a:lnTo>
                    <a:pt x="1072837" y="356906"/>
                  </a:lnTo>
                  <a:lnTo>
                    <a:pt x="1072323" y="354759"/>
                  </a:lnTo>
                  <a:lnTo>
                    <a:pt x="1071082" y="352641"/>
                  </a:lnTo>
                  <a:lnTo>
                    <a:pt x="1069691" y="350977"/>
                  </a:lnTo>
                  <a:lnTo>
                    <a:pt x="1068662" y="350130"/>
                  </a:lnTo>
                  <a:lnTo>
                    <a:pt x="1036928" y="347286"/>
                  </a:lnTo>
                  <a:lnTo>
                    <a:pt x="1036928" y="345653"/>
                  </a:lnTo>
                  <a:lnTo>
                    <a:pt x="1057409" y="344927"/>
                  </a:lnTo>
                  <a:lnTo>
                    <a:pt x="1061039" y="341176"/>
                  </a:lnTo>
                  <a:lnTo>
                    <a:pt x="1059889" y="340540"/>
                  </a:lnTo>
                  <a:lnTo>
                    <a:pt x="1058649" y="339361"/>
                  </a:lnTo>
                  <a:lnTo>
                    <a:pt x="1057590" y="337606"/>
                  </a:lnTo>
                  <a:lnTo>
                    <a:pt x="1056955" y="335186"/>
                  </a:lnTo>
                  <a:lnTo>
                    <a:pt x="1060041" y="336335"/>
                  </a:lnTo>
                  <a:lnTo>
                    <a:pt x="1065637" y="341387"/>
                  </a:lnTo>
                  <a:lnTo>
                    <a:pt x="1070901" y="343021"/>
                  </a:lnTo>
                  <a:lnTo>
                    <a:pt x="1074229" y="345169"/>
                  </a:lnTo>
                  <a:lnTo>
                    <a:pt x="1075862" y="345653"/>
                  </a:lnTo>
                  <a:lnTo>
                    <a:pt x="1077435" y="346833"/>
                  </a:lnTo>
                  <a:lnTo>
                    <a:pt x="1078494" y="349555"/>
                  </a:lnTo>
                  <a:lnTo>
                    <a:pt x="1079311" y="352580"/>
                  </a:lnTo>
                  <a:lnTo>
                    <a:pt x="1080279" y="354607"/>
                  </a:lnTo>
                  <a:lnTo>
                    <a:pt x="1082336" y="355636"/>
                  </a:lnTo>
                  <a:lnTo>
                    <a:pt x="1088598" y="354607"/>
                  </a:lnTo>
                  <a:lnTo>
                    <a:pt x="1095858" y="356241"/>
                  </a:lnTo>
                  <a:lnTo>
                    <a:pt x="1097401" y="355515"/>
                  </a:lnTo>
                  <a:lnTo>
                    <a:pt x="1100547" y="352338"/>
                  </a:lnTo>
                  <a:lnTo>
                    <a:pt x="1102120" y="351612"/>
                  </a:lnTo>
                  <a:lnTo>
                    <a:pt x="1102393" y="350675"/>
                  </a:lnTo>
                  <a:lnTo>
                    <a:pt x="1101485" y="348618"/>
                  </a:lnTo>
                  <a:lnTo>
                    <a:pt x="1099700" y="345623"/>
                  </a:lnTo>
                  <a:lnTo>
                    <a:pt x="1101697" y="344050"/>
                  </a:lnTo>
                  <a:lnTo>
                    <a:pt x="1105962" y="342900"/>
                  </a:lnTo>
                  <a:lnTo>
                    <a:pt x="1107989" y="341176"/>
                  </a:lnTo>
                  <a:lnTo>
                    <a:pt x="1109744" y="338181"/>
                  </a:lnTo>
                  <a:lnTo>
                    <a:pt x="1110409" y="335519"/>
                  </a:lnTo>
                  <a:lnTo>
                    <a:pt x="1109865" y="333431"/>
                  </a:lnTo>
                  <a:close/>
                  <a:moveTo>
                    <a:pt x="658362" y="7170"/>
                  </a:moveTo>
                  <a:lnTo>
                    <a:pt x="660298" y="5839"/>
                  </a:lnTo>
                  <a:lnTo>
                    <a:pt x="660722" y="3691"/>
                  </a:lnTo>
                  <a:lnTo>
                    <a:pt x="659965" y="3146"/>
                  </a:lnTo>
                  <a:lnTo>
                    <a:pt x="657454" y="0"/>
                  </a:lnTo>
                  <a:lnTo>
                    <a:pt x="656396" y="666"/>
                  </a:lnTo>
                  <a:lnTo>
                    <a:pt x="656638" y="4477"/>
                  </a:lnTo>
                  <a:lnTo>
                    <a:pt x="658392" y="7170"/>
                  </a:lnTo>
                  <a:close/>
                </a:path>
              </a:pathLst>
            </a:custGeom>
            <a:solidFill>
              <a:srgbClr val="96A3AC"/>
            </a:solidFill>
            <a:ln w="3175"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6" name="Freeform: Shape 45">
              <a:extLst>
                <a:ext uri="{FF2B5EF4-FFF2-40B4-BE49-F238E27FC236}">
                  <a16:creationId xmlns:a16="http://schemas.microsoft.com/office/drawing/2014/main" id="{93E5D12B-2B0E-F4C5-F04C-BFEE132EA85F}"/>
                </a:ext>
              </a:extLst>
            </p:cNvPr>
            <p:cNvSpPr/>
            <p:nvPr/>
          </p:nvSpPr>
          <p:spPr>
            <a:xfrm>
              <a:off x="9415695" y="4209546"/>
              <a:ext cx="530595" cy="298535"/>
            </a:xfrm>
            <a:custGeom>
              <a:avLst/>
              <a:gdLst>
                <a:gd name="connsiteX0" fmla="*/ 678933 w 682623"/>
                <a:gd name="connsiteY0" fmla="*/ 83585 h 384072"/>
                <a:gd name="connsiteX1" fmla="*/ 678086 w 682623"/>
                <a:gd name="connsiteY1" fmla="*/ 81921 h 384072"/>
                <a:gd name="connsiteX2" fmla="*/ 679810 w 682623"/>
                <a:gd name="connsiteY2" fmla="*/ 79924 h 384072"/>
                <a:gd name="connsiteX3" fmla="*/ 679992 w 682623"/>
                <a:gd name="connsiteY3" fmla="*/ 77776 h 384072"/>
                <a:gd name="connsiteX4" fmla="*/ 680657 w 682623"/>
                <a:gd name="connsiteY4" fmla="*/ 76506 h 384072"/>
                <a:gd name="connsiteX5" fmla="*/ 681020 w 682623"/>
                <a:gd name="connsiteY5" fmla="*/ 75084 h 384072"/>
                <a:gd name="connsiteX6" fmla="*/ 680325 w 682623"/>
                <a:gd name="connsiteY6" fmla="*/ 72482 h 384072"/>
                <a:gd name="connsiteX7" fmla="*/ 679296 w 682623"/>
                <a:gd name="connsiteY7" fmla="*/ 70576 h 384072"/>
                <a:gd name="connsiteX8" fmla="*/ 677935 w 682623"/>
                <a:gd name="connsiteY8" fmla="*/ 69003 h 384072"/>
                <a:gd name="connsiteX9" fmla="*/ 674970 w 682623"/>
                <a:gd name="connsiteY9" fmla="*/ 66432 h 384072"/>
                <a:gd name="connsiteX10" fmla="*/ 671370 w 682623"/>
                <a:gd name="connsiteY10" fmla="*/ 64556 h 384072"/>
                <a:gd name="connsiteX11" fmla="*/ 671007 w 682623"/>
                <a:gd name="connsiteY11" fmla="*/ 63921 h 384072"/>
                <a:gd name="connsiteX12" fmla="*/ 669374 w 682623"/>
                <a:gd name="connsiteY12" fmla="*/ 62923 h 384072"/>
                <a:gd name="connsiteX13" fmla="*/ 667649 w 682623"/>
                <a:gd name="connsiteY13" fmla="*/ 63377 h 384072"/>
                <a:gd name="connsiteX14" fmla="*/ 665925 w 682623"/>
                <a:gd name="connsiteY14" fmla="*/ 64375 h 384072"/>
                <a:gd name="connsiteX15" fmla="*/ 664080 w 682623"/>
                <a:gd name="connsiteY15" fmla="*/ 64950 h 384072"/>
                <a:gd name="connsiteX16" fmla="*/ 656849 w 682623"/>
                <a:gd name="connsiteY16" fmla="*/ 64950 h 384072"/>
                <a:gd name="connsiteX17" fmla="*/ 655519 w 682623"/>
                <a:gd name="connsiteY17" fmla="*/ 65615 h 384072"/>
                <a:gd name="connsiteX18" fmla="*/ 655246 w 682623"/>
                <a:gd name="connsiteY18" fmla="*/ 65585 h 384072"/>
                <a:gd name="connsiteX19" fmla="*/ 654702 w 682623"/>
                <a:gd name="connsiteY19" fmla="*/ 65041 h 384072"/>
                <a:gd name="connsiteX20" fmla="*/ 653007 w 682623"/>
                <a:gd name="connsiteY20" fmla="*/ 61743 h 384072"/>
                <a:gd name="connsiteX21" fmla="*/ 651586 w 682623"/>
                <a:gd name="connsiteY21" fmla="*/ 57357 h 384072"/>
                <a:gd name="connsiteX22" fmla="*/ 650255 w 682623"/>
                <a:gd name="connsiteY22" fmla="*/ 54513 h 384072"/>
                <a:gd name="connsiteX23" fmla="*/ 642782 w 682623"/>
                <a:gd name="connsiteY23" fmla="*/ 45438 h 384072"/>
                <a:gd name="connsiteX24" fmla="*/ 642359 w 682623"/>
                <a:gd name="connsiteY24" fmla="*/ 45256 h 384072"/>
                <a:gd name="connsiteX25" fmla="*/ 641966 w 682623"/>
                <a:gd name="connsiteY25" fmla="*/ 45195 h 384072"/>
                <a:gd name="connsiteX26" fmla="*/ 641512 w 682623"/>
                <a:gd name="connsiteY26" fmla="*/ 45226 h 384072"/>
                <a:gd name="connsiteX27" fmla="*/ 639576 w 682623"/>
                <a:gd name="connsiteY27" fmla="*/ 46133 h 384072"/>
                <a:gd name="connsiteX28" fmla="*/ 638033 w 682623"/>
                <a:gd name="connsiteY28" fmla="*/ 46254 h 384072"/>
                <a:gd name="connsiteX29" fmla="*/ 636430 w 682623"/>
                <a:gd name="connsiteY29" fmla="*/ 45952 h 384072"/>
                <a:gd name="connsiteX30" fmla="*/ 634433 w 682623"/>
                <a:gd name="connsiteY30" fmla="*/ 45195 h 384072"/>
                <a:gd name="connsiteX31" fmla="*/ 634010 w 682623"/>
                <a:gd name="connsiteY31" fmla="*/ 45135 h 384072"/>
                <a:gd name="connsiteX32" fmla="*/ 633617 w 682623"/>
                <a:gd name="connsiteY32" fmla="*/ 45195 h 384072"/>
                <a:gd name="connsiteX33" fmla="*/ 633223 w 682623"/>
                <a:gd name="connsiteY33" fmla="*/ 45377 h 384072"/>
                <a:gd name="connsiteX34" fmla="*/ 632437 w 682623"/>
                <a:gd name="connsiteY34" fmla="*/ 45952 h 384072"/>
                <a:gd name="connsiteX35" fmla="*/ 631650 w 682623"/>
                <a:gd name="connsiteY35" fmla="*/ 46164 h 384072"/>
                <a:gd name="connsiteX36" fmla="*/ 630924 w 682623"/>
                <a:gd name="connsiteY36" fmla="*/ 45982 h 384072"/>
                <a:gd name="connsiteX37" fmla="*/ 630258 w 682623"/>
                <a:gd name="connsiteY37" fmla="*/ 45377 h 384072"/>
                <a:gd name="connsiteX38" fmla="*/ 625328 w 682623"/>
                <a:gd name="connsiteY38" fmla="*/ 38359 h 384072"/>
                <a:gd name="connsiteX39" fmla="*/ 624269 w 682623"/>
                <a:gd name="connsiteY39" fmla="*/ 35545 h 384072"/>
                <a:gd name="connsiteX40" fmla="*/ 624148 w 682623"/>
                <a:gd name="connsiteY40" fmla="*/ 33609 h 384072"/>
                <a:gd name="connsiteX41" fmla="*/ 624390 w 682623"/>
                <a:gd name="connsiteY41" fmla="*/ 32006 h 384072"/>
                <a:gd name="connsiteX42" fmla="*/ 624390 w 682623"/>
                <a:gd name="connsiteY42" fmla="*/ 30645 h 384072"/>
                <a:gd name="connsiteX43" fmla="*/ 623633 w 682623"/>
                <a:gd name="connsiteY43" fmla="*/ 29495 h 384072"/>
                <a:gd name="connsiteX44" fmla="*/ 622938 w 682623"/>
                <a:gd name="connsiteY44" fmla="*/ 29374 h 384072"/>
                <a:gd name="connsiteX45" fmla="*/ 620154 w 682623"/>
                <a:gd name="connsiteY45" fmla="*/ 29525 h 384072"/>
                <a:gd name="connsiteX46" fmla="*/ 620185 w 682623"/>
                <a:gd name="connsiteY46" fmla="*/ 27317 h 384072"/>
                <a:gd name="connsiteX47" fmla="*/ 621697 w 682623"/>
                <a:gd name="connsiteY47" fmla="*/ 23112 h 384072"/>
                <a:gd name="connsiteX48" fmla="*/ 618098 w 682623"/>
                <a:gd name="connsiteY48" fmla="*/ 21448 h 384072"/>
                <a:gd name="connsiteX49" fmla="*/ 614649 w 682623"/>
                <a:gd name="connsiteY49" fmla="*/ 21055 h 384072"/>
                <a:gd name="connsiteX50" fmla="*/ 611351 w 682623"/>
                <a:gd name="connsiteY50" fmla="*/ 22265 h 384072"/>
                <a:gd name="connsiteX51" fmla="*/ 610353 w 682623"/>
                <a:gd name="connsiteY51" fmla="*/ 23263 h 384072"/>
                <a:gd name="connsiteX52" fmla="*/ 610262 w 682623"/>
                <a:gd name="connsiteY52" fmla="*/ 23263 h 384072"/>
                <a:gd name="connsiteX53" fmla="*/ 610262 w 682623"/>
                <a:gd name="connsiteY53" fmla="*/ 23263 h 384072"/>
                <a:gd name="connsiteX54" fmla="*/ 610081 w 682623"/>
                <a:gd name="connsiteY54" fmla="*/ 23293 h 384072"/>
                <a:gd name="connsiteX55" fmla="*/ 607691 w 682623"/>
                <a:gd name="connsiteY55" fmla="*/ 22930 h 384072"/>
                <a:gd name="connsiteX56" fmla="*/ 605785 w 682623"/>
                <a:gd name="connsiteY56" fmla="*/ 25169 h 384072"/>
                <a:gd name="connsiteX57" fmla="*/ 604031 w 682623"/>
                <a:gd name="connsiteY57" fmla="*/ 26440 h 384072"/>
                <a:gd name="connsiteX58" fmla="*/ 602155 w 682623"/>
                <a:gd name="connsiteY58" fmla="*/ 26954 h 384072"/>
                <a:gd name="connsiteX59" fmla="*/ 596135 w 682623"/>
                <a:gd name="connsiteY59" fmla="*/ 26409 h 384072"/>
                <a:gd name="connsiteX60" fmla="*/ 594320 w 682623"/>
                <a:gd name="connsiteY60" fmla="*/ 26500 h 384072"/>
                <a:gd name="connsiteX61" fmla="*/ 592474 w 682623"/>
                <a:gd name="connsiteY61" fmla="*/ 27105 h 384072"/>
                <a:gd name="connsiteX62" fmla="*/ 587211 w 682623"/>
                <a:gd name="connsiteY62" fmla="*/ 27347 h 384072"/>
                <a:gd name="connsiteX63" fmla="*/ 585759 w 682623"/>
                <a:gd name="connsiteY63" fmla="*/ 27892 h 384072"/>
                <a:gd name="connsiteX64" fmla="*/ 582703 w 682623"/>
                <a:gd name="connsiteY64" fmla="*/ 29495 h 384072"/>
                <a:gd name="connsiteX65" fmla="*/ 578347 w 682623"/>
                <a:gd name="connsiteY65" fmla="*/ 30100 h 384072"/>
                <a:gd name="connsiteX66" fmla="*/ 573144 w 682623"/>
                <a:gd name="connsiteY66" fmla="*/ 32551 h 384072"/>
                <a:gd name="connsiteX67" fmla="*/ 570088 w 682623"/>
                <a:gd name="connsiteY67" fmla="*/ 32792 h 384072"/>
                <a:gd name="connsiteX68" fmla="*/ 566912 w 682623"/>
                <a:gd name="connsiteY68" fmla="*/ 31825 h 384072"/>
                <a:gd name="connsiteX69" fmla="*/ 564280 w 682623"/>
                <a:gd name="connsiteY69" fmla="*/ 29979 h 384072"/>
                <a:gd name="connsiteX70" fmla="*/ 561890 w 682623"/>
                <a:gd name="connsiteY70" fmla="*/ 27438 h 384072"/>
                <a:gd name="connsiteX71" fmla="*/ 556233 w 682623"/>
                <a:gd name="connsiteY71" fmla="*/ 19451 h 384072"/>
                <a:gd name="connsiteX72" fmla="*/ 555416 w 682623"/>
                <a:gd name="connsiteY72" fmla="*/ 17969 h 384072"/>
                <a:gd name="connsiteX73" fmla="*/ 554116 w 682623"/>
                <a:gd name="connsiteY73" fmla="*/ 12221 h 384072"/>
                <a:gd name="connsiteX74" fmla="*/ 553238 w 682623"/>
                <a:gd name="connsiteY74" fmla="*/ 10649 h 384072"/>
                <a:gd name="connsiteX75" fmla="*/ 551514 w 682623"/>
                <a:gd name="connsiteY75" fmla="*/ 10286 h 384072"/>
                <a:gd name="connsiteX76" fmla="*/ 547793 w 682623"/>
                <a:gd name="connsiteY76" fmla="*/ 10316 h 384072"/>
                <a:gd name="connsiteX77" fmla="*/ 546190 w 682623"/>
                <a:gd name="connsiteY77" fmla="*/ 9650 h 384072"/>
                <a:gd name="connsiteX78" fmla="*/ 545524 w 682623"/>
                <a:gd name="connsiteY78" fmla="*/ 8652 h 384072"/>
                <a:gd name="connsiteX79" fmla="*/ 544617 w 682623"/>
                <a:gd name="connsiteY79" fmla="*/ 5959 h 384072"/>
                <a:gd name="connsiteX80" fmla="*/ 543951 w 682623"/>
                <a:gd name="connsiteY80" fmla="*/ 4780 h 384072"/>
                <a:gd name="connsiteX81" fmla="*/ 543104 w 682623"/>
                <a:gd name="connsiteY81" fmla="*/ 4054 h 384072"/>
                <a:gd name="connsiteX82" fmla="*/ 541259 w 682623"/>
                <a:gd name="connsiteY82" fmla="*/ 3388 h 384072"/>
                <a:gd name="connsiteX83" fmla="*/ 537901 w 682623"/>
                <a:gd name="connsiteY83" fmla="*/ 1513 h 384072"/>
                <a:gd name="connsiteX84" fmla="*/ 536419 w 682623"/>
                <a:gd name="connsiteY84" fmla="*/ 1119 h 384072"/>
                <a:gd name="connsiteX85" fmla="*/ 531185 w 682623"/>
                <a:gd name="connsiteY85" fmla="*/ 2662 h 384072"/>
                <a:gd name="connsiteX86" fmla="*/ 527767 w 682623"/>
                <a:gd name="connsiteY86" fmla="*/ 2723 h 384072"/>
                <a:gd name="connsiteX87" fmla="*/ 526073 w 682623"/>
                <a:gd name="connsiteY87" fmla="*/ 3025 h 384072"/>
                <a:gd name="connsiteX88" fmla="*/ 524106 w 682623"/>
                <a:gd name="connsiteY88" fmla="*/ 4114 h 384072"/>
                <a:gd name="connsiteX89" fmla="*/ 523259 w 682623"/>
                <a:gd name="connsiteY89" fmla="*/ 5385 h 384072"/>
                <a:gd name="connsiteX90" fmla="*/ 522715 w 682623"/>
                <a:gd name="connsiteY90" fmla="*/ 6897 h 384072"/>
                <a:gd name="connsiteX91" fmla="*/ 521535 w 682623"/>
                <a:gd name="connsiteY91" fmla="*/ 8440 h 384072"/>
                <a:gd name="connsiteX92" fmla="*/ 520022 w 682623"/>
                <a:gd name="connsiteY92" fmla="*/ 9226 h 384072"/>
                <a:gd name="connsiteX93" fmla="*/ 518903 w 682623"/>
                <a:gd name="connsiteY93" fmla="*/ 8743 h 384072"/>
                <a:gd name="connsiteX94" fmla="*/ 517663 w 682623"/>
                <a:gd name="connsiteY94" fmla="*/ 7805 h 384072"/>
                <a:gd name="connsiteX95" fmla="*/ 515817 w 682623"/>
                <a:gd name="connsiteY95" fmla="*/ 7048 h 384072"/>
                <a:gd name="connsiteX96" fmla="*/ 512490 w 682623"/>
                <a:gd name="connsiteY96" fmla="*/ 7744 h 384072"/>
                <a:gd name="connsiteX97" fmla="*/ 504685 w 682623"/>
                <a:gd name="connsiteY97" fmla="*/ 11193 h 384072"/>
                <a:gd name="connsiteX98" fmla="*/ 502144 w 682623"/>
                <a:gd name="connsiteY98" fmla="*/ 10649 h 384072"/>
                <a:gd name="connsiteX99" fmla="*/ 500117 w 682623"/>
                <a:gd name="connsiteY99" fmla="*/ 8803 h 384072"/>
                <a:gd name="connsiteX100" fmla="*/ 497303 w 682623"/>
                <a:gd name="connsiteY100" fmla="*/ 7623 h 384072"/>
                <a:gd name="connsiteX101" fmla="*/ 494339 w 682623"/>
                <a:gd name="connsiteY101" fmla="*/ 7139 h 384072"/>
                <a:gd name="connsiteX102" fmla="*/ 491828 w 682623"/>
                <a:gd name="connsiteY102" fmla="*/ 7321 h 384072"/>
                <a:gd name="connsiteX103" fmla="*/ 488228 w 682623"/>
                <a:gd name="connsiteY103" fmla="*/ 7018 h 384072"/>
                <a:gd name="connsiteX104" fmla="*/ 482783 w 682623"/>
                <a:gd name="connsiteY104" fmla="*/ 3932 h 384072"/>
                <a:gd name="connsiteX105" fmla="*/ 479606 w 682623"/>
                <a:gd name="connsiteY105" fmla="*/ 3630 h 384072"/>
                <a:gd name="connsiteX106" fmla="*/ 478154 w 682623"/>
                <a:gd name="connsiteY106" fmla="*/ 3267 h 384072"/>
                <a:gd name="connsiteX107" fmla="*/ 475159 w 682623"/>
                <a:gd name="connsiteY107" fmla="*/ 787 h 384072"/>
                <a:gd name="connsiteX108" fmla="*/ 473617 w 682623"/>
                <a:gd name="connsiteY108" fmla="*/ 0 h 384072"/>
                <a:gd name="connsiteX109" fmla="*/ 471983 w 682623"/>
                <a:gd name="connsiteY109" fmla="*/ 30 h 384072"/>
                <a:gd name="connsiteX110" fmla="*/ 450686 w 682623"/>
                <a:gd name="connsiteY110" fmla="*/ 4568 h 384072"/>
                <a:gd name="connsiteX111" fmla="*/ 444424 w 682623"/>
                <a:gd name="connsiteY111" fmla="*/ 4961 h 384072"/>
                <a:gd name="connsiteX112" fmla="*/ 441550 w 682623"/>
                <a:gd name="connsiteY112" fmla="*/ 6020 h 384072"/>
                <a:gd name="connsiteX113" fmla="*/ 441429 w 682623"/>
                <a:gd name="connsiteY113" fmla="*/ 7079 h 384072"/>
                <a:gd name="connsiteX114" fmla="*/ 441399 w 682623"/>
                <a:gd name="connsiteY114" fmla="*/ 8228 h 384072"/>
                <a:gd name="connsiteX115" fmla="*/ 441580 w 682623"/>
                <a:gd name="connsiteY115" fmla="*/ 10649 h 384072"/>
                <a:gd name="connsiteX116" fmla="*/ 441641 w 682623"/>
                <a:gd name="connsiteY116" fmla="*/ 11163 h 384072"/>
                <a:gd name="connsiteX117" fmla="*/ 441641 w 682623"/>
                <a:gd name="connsiteY117" fmla="*/ 11647 h 384072"/>
                <a:gd name="connsiteX118" fmla="*/ 441641 w 682623"/>
                <a:gd name="connsiteY118" fmla="*/ 12131 h 384072"/>
                <a:gd name="connsiteX119" fmla="*/ 441550 w 682623"/>
                <a:gd name="connsiteY119" fmla="*/ 12615 h 384072"/>
                <a:gd name="connsiteX120" fmla="*/ 440189 w 682623"/>
                <a:gd name="connsiteY120" fmla="*/ 14490 h 384072"/>
                <a:gd name="connsiteX121" fmla="*/ 439947 w 682623"/>
                <a:gd name="connsiteY121" fmla="*/ 14702 h 384072"/>
                <a:gd name="connsiteX122" fmla="*/ 436891 w 682623"/>
                <a:gd name="connsiteY122" fmla="*/ 17697 h 384072"/>
                <a:gd name="connsiteX123" fmla="*/ 435379 w 682623"/>
                <a:gd name="connsiteY123" fmla="*/ 19512 h 384072"/>
                <a:gd name="connsiteX124" fmla="*/ 434229 w 682623"/>
                <a:gd name="connsiteY124" fmla="*/ 21690 h 384072"/>
                <a:gd name="connsiteX125" fmla="*/ 430327 w 682623"/>
                <a:gd name="connsiteY125" fmla="*/ 32702 h 384072"/>
                <a:gd name="connsiteX126" fmla="*/ 428209 w 682623"/>
                <a:gd name="connsiteY126" fmla="*/ 36725 h 384072"/>
                <a:gd name="connsiteX127" fmla="*/ 425698 w 682623"/>
                <a:gd name="connsiteY127" fmla="*/ 40264 h 384072"/>
                <a:gd name="connsiteX128" fmla="*/ 422764 w 682623"/>
                <a:gd name="connsiteY128" fmla="*/ 42987 h 384072"/>
                <a:gd name="connsiteX129" fmla="*/ 420495 w 682623"/>
                <a:gd name="connsiteY129" fmla="*/ 44076 h 384072"/>
                <a:gd name="connsiteX130" fmla="*/ 419255 w 682623"/>
                <a:gd name="connsiteY130" fmla="*/ 43592 h 384072"/>
                <a:gd name="connsiteX131" fmla="*/ 418135 w 682623"/>
                <a:gd name="connsiteY131" fmla="*/ 42443 h 384072"/>
                <a:gd name="connsiteX132" fmla="*/ 416109 w 682623"/>
                <a:gd name="connsiteY132" fmla="*/ 41505 h 384072"/>
                <a:gd name="connsiteX133" fmla="*/ 414989 w 682623"/>
                <a:gd name="connsiteY133" fmla="*/ 41959 h 384072"/>
                <a:gd name="connsiteX134" fmla="*/ 411934 w 682623"/>
                <a:gd name="connsiteY134" fmla="*/ 44560 h 384072"/>
                <a:gd name="connsiteX135" fmla="*/ 410270 w 682623"/>
                <a:gd name="connsiteY135" fmla="*/ 45256 h 384072"/>
                <a:gd name="connsiteX136" fmla="*/ 408515 w 682623"/>
                <a:gd name="connsiteY136" fmla="*/ 45075 h 384072"/>
                <a:gd name="connsiteX137" fmla="*/ 407457 w 682623"/>
                <a:gd name="connsiteY137" fmla="*/ 44742 h 384072"/>
                <a:gd name="connsiteX138" fmla="*/ 406610 w 682623"/>
                <a:gd name="connsiteY138" fmla="*/ 44893 h 384072"/>
                <a:gd name="connsiteX139" fmla="*/ 405339 w 682623"/>
                <a:gd name="connsiteY139" fmla="*/ 46254 h 384072"/>
                <a:gd name="connsiteX140" fmla="*/ 404946 w 682623"/>
                <a:gd name="connsiteY140" fmla="*/ 47222 h 384072"/>
                <a:gd name="connsiteX141" fmla="*/ 404401 w 682623"/>
                <a:gd name="connsiteY141" fmla="*/ 49733 h 384072"/>
                <a:gd name="connsiteX142" fmla="*/ 403675 w 682623"/>
                <a:gd name="connsiteY142" fmla="*/ 50943 h 384072"/>
                <a:gd name="connsiteX143" fmla="*/ 402828 w 682623"/>
                <a:gd name="connsiteY143" fmla="*/ 51578 h 384072"/>
                <a:gd name="connsiteX144" fmla="*/ 400922 w 682623"/>
                <a:gd name="connsiteY144" fmla="*/ 52244 h 384072"/>
                <a:gd name="connsiteX145" fmla="*/ 396929 w 682623"/>
                <a:gd name="connsiteY145" fmla="*/ 54513 h 384072"/>
                <a:gd name="connsiteX146" fmla="*/ 396596 w 682623"/>
                <a:gd name="connsiteY146" fmla="*/ 54694 h 384072"/>
                <a:gd name="connsiteX147" fmla="*/ 392755 w 682623"/>
                <a:gd name="connsiteY147" fmla="*/ 55783 h 384072"/>
                <a:gd name="connsiteX148" fmla="*/ 390455 w 682623"/>
                <a:gd name="connsiteY148" fmla="*/ 57115 h 384072"/>
                <a:gd name="connsiteX149" fmla="*/ 385887 w 682623"/>
                <a:gd name="connsiteY149" fmla="*/ 61017 h 384072"/>
                <a:gd name="connsiteX150" fmla="*/ 383497 w 682623"/>
                <a:gd name="connsiteY150" fmla="*/ 61834 h 384072"/>
                <a:gd name="connsiteX151" fmla="*/ 381440 w 682623"/>
                <a:gd name="connsiteY151" fmla="*/ 61108 h 384072"/>
                <a:gd name="connsiteX152" fmla="*/ 377599 w 682623"/>
                <a:gd name="connsiteY152" fmla="*/ 57901 h 384072"/>
                <a:gd name="connsiteX153" fmla="*/ 375118 w 682623"/>
                <a:gd name="connsiteY153" fmla="*/ 57175 h 384072"/>
                <a:gd name="connsiteX154" fmla="*/ 371488 w 682623"/>
                <a:gd name="connsiteY154" fmla="*/ 58446 h 384072"/>
                <a:gd name="connsiteX155" fmla="*/ 370550 w 682623"/>
                <a:gd name="connsiteY155" fmla="*/ 58355 h 384072"/>
                <a:gd name="connsiteX156" fmla="*/ 369582 w 682623"/>
                <a:gd name="connsiteY156" fmla="*/ 57024 h 384072"/>
                <a:gd name="connsiteX157" fmla="*/ 369854 w 682623"/>
                <a:gd name="connsiteY157" fmla="*/ 55874 h 384072"/>
                <a:gd name="connsiteX158" fmla="*/ 370399 w 682623"/>
                <a:gd name="connsiteY158" fmla="*/ 54664 h 384072"/>
                <a:gd name="connsiteX159" fmla="*/ 370368 w 682623"/>
                <a:gd name="connsiteY159" fmla="*/ 53303 h 384072"/>
                <a:gd name="connsiteX160" fmla="*/ 368583 w 682623"/>
                <a:gd name="connsiteY160" fmla="*/ 51306 h 384072"/>
                <a:gd name="connsiteX161" fmla="*/ 366194 w 682623"/>
                <a:gd name="connsiteY161" fmla="*/ 50943 h 384072"/>
                <a:gd name="connsiteX162" fmla="*/ 361565 w 682623"/>
                <a:gd name="connsiteY162" fmla="*/ 51760 h 384072"/>
                <a:gd name="connsiteX163" fmla="*/ 360567 w 682623"/>
                <a:gd name="connsiteY163" fmla="*/ 51276 h 384072"/>
                <a:gd name="connsiteX164" fmla="*/ 358389 w 682623"/>
                <a:gd name="connsiteY164" fmla="*/ 48796 h 384072"/>
                <a:gd name="connsiteX165" fmla="*/ 357239 w 682623"/>
                <a:gd name="connsiteY165" fmla="*/ 47918 h 384072"/>
                <a:gd name="connsiteX166" fmla="*/ 356211 w 682623"/>
                <a:gd name="connsiteY166" fmla="*/ 47646 h 384072"/>
                <a:gd name="connsiteX167" fmla="*/ 355152 w 682623"/>
                <a:gd name="connsiteY167" fmla="*/ 47585 h 384072"/>
                <a:gd name="connsiteX168" fmla="*/ 345895 w 682623"/>
                <a:gd name="connsiteY168" fmla="*/ 49885 h 384072"/>
                <a:gd name="connsiteX169" fmla="*/ 344171 w 682623"/>
                <a:gd name="connsiteY169" fmla="*/ 50792 h 384072"/>
                <a:gd name="connsiteX170" fmla="*/ 343051 w 682623"/>
                <a:gd name="connsiteY170" fmla="*/ 52819 h 384072"/>
                <a:gd name="connsiteX171" fmla="*/ 342113 w 682623"/>
                <a:gd name="connsiteY171" fmla="*/ 58173 h 384072"/>
                <a:gd name="connsiteX172" fmla="*/ 340904 w 682623"/>
                <a:gd name="connsiteY172" fmla="*/ 60351 h 384072"/>
                <a:gd name="connsiteX173" fmla="*/ 340904 w 682623"/>
                <a:gd name="connsiteY173" fmla="*/ 60442 h 384072"/>
                <a:gd name="connsiteX174" fmla="*/ 340843 w 682623"/>
                <a:gd name="connsiteY174" fmla="*/ 60503 h 384072"/>
                <a:gd name="connsiteX175" fmla="*/ 340904 w 682623"/>
                <a:gd name="connsiteY175" fmla="*/ 60563 h 384072"/>
                <a:gd name="connsiteX176" fmla="*/ 340904 w 682623"/>
                <a:gd name="connsiteY176" fmla="*/ 60654 h 384072"/>
                <a:gd name="connsiteX177" fmla="*/ 341055 w 682623"/>
                <a:gd name="connsiteY177" fmla="*/ 61410 h 384072"/>
                <a:gd name="connsiteX178" fmla="*/ 341115 w 682623"/>
                <a:gd name="connsiteY178" fmla="*/ 62166 h 384072"/>
                <a:gd name="connsiteX179" fmla="*/ 341055 w 682623"/>
                <a:gd name="connsiteY179" fmla="*/ 62892 h 384072"/>
                <a:gd name="connsiteX180" fmla="*/ 340904 w 682623"/>
                <a:gd name="connsiteY180" fmla="*/ 63619 h 384072"/>
                <a:gd name="connsiteX181" fmla="*/ 335519 w 682623"/>
                <a:gd name="connsiteY181" fmla="*/ 67128 h 384072"/>
                <a:gd name="connsiteX182" fmla="*/ 321936 w 682623"/>
                <a:gd name="connsiteY182" fmla="*/ 66886 h 384072"/>
                <a:gd name="connsiteX183" fmla="*/ 315946 w 682623"/>
                <a:gd name="connsiteY183" fmla="*/ 70425 h 384072"/>
                <a:gd name="connsiteX184" fmla="*/ 314827 w 682623"/>
                <a:gd name="connsiteY184" fmla="*/ 70637 h 384072"/>
                <a:gd name="connsiteX185" fmla="*/ 302363 w 682623"/>
                <a:gd name="connsiteY185" fmla="*/ 69215 h 384072"/>
                <a:gd name="connsiteX186" fmla="*/ 296313 w 682623"/>
                <a:gd name="connsiteY186" fmla="*/ 70032 h 384072"/>
                <a:gd name="connsiteX187" fmla="*/ 294347 w 682623"/>
                <a:gd name="connsiteY187" fmla="*/ 69941 h 384072"/>
                <a:gd name="connsiteX188" fmla="*/ 292078 w 682623"/>
                <a:gd name="connsiteY188" fmla="*/ 69850 h 384072"/>
                <a:gd name="connsiteX189" fmla="*/ 290626 w 682623"/>
                <a:gd name="connsiteY189" fmla="*/ 70486 h 384072"/>
                <a:gd name="connsiteX190" fmla="*/ 285755 w 682623"/>
                <a:gd name="connsiteY190" fmla="*/ 71484 h 384072"/>
                <a:gd name="connsiteX191" fmla="*/ 276165 w 682623"/>
                <a:gd name="connsiteY191" fmla="*/ 73480 h 384072"/>
                <a:gd name="connsiteX192" fmla="*/ 274441 w 682623"/>
                <a:gd name="connsiteY192" fmla="*/ 74812 h 384072"/>
                <a:gd name="connsiteX193" fmla="*/ 271749 w 682623"/>
                <a:gd name="connsiteY193" fmla="*/ 79924 h 384072"/>
                <a:gd name="connsiteX194" fmla="*/ 270781 w 682623"/>
                <a:gd name="connsiteY194" fmla="*/ 80711 h 384072"/>
                <a:gd name="connsiteX195" fmla="*/ 268814 w 682623"/>
                <a:gd name="connsiteY195" fmla="*/ 81013 h 384072"/>
                <a:gd name="connsiteX196" fmla="*/ 267907 w 682623"/>
                <a:gd name="connsiteY196" fmla="*/ 81497 h 384072"/>
                <a:gd name="connsiteX197" fmla="*/ 266576 w 682623"/>
                <a:gd name="connsiteY197" fmla="*/ 83010 h 384072"/>
                <a:gd name="connsiteX198" fmla="*/ 266727 w 682623"/>
                <a:gd name="connsiteY198" fmla="*/ 83494 h 384072"/>
                <a:gd name="connsiteX199" fmla="*/ 267423 w 682623"/>
                <a:gd name="connsiteY199" fmla="*/ 84039 h 384072"/>
                <a:gd name="connsiteX200" fmla="*/ 267755 w 682623"/>
                <a:gd name="connsiteY200" fmla="*/ 85642 h 384072"/>
                <a:gd name="connsiteX201" fmla="*/ 266757 w 682623"/>
                <a:gd name="connsiteY201" fmla="*/ 91329 h 384072"/>
                <a:gd name="connsiteX202" fmla="*/ 266515 w 682623"/>
                <a:gd name="connsiteY202" fmla="*/ 94233 h 384072"/>
                <a:gd name="connsiteX203" fmla="*/ 267151 w 682623"/>
                <a:gd name="connsiteY203" fmla="*/ 96805 h 384072"/>
                <a:gd name="connsiteX204" fmla="*/ 270115 w 682623"/>
                <a:gd name="connsiteY204" fmla="*/ 99467 h 384072"/>
                <a:gd name="connsiteX205" fmla="*/ 273957 w 682623"/>
                <a:gd name="connsiteY205" fmla="*/ 102068 h 384072"/>
                <a:gd name="connsiteX206" fmla="*/ 273836 w 682623"/>
                <a:gd name="connsiteY206" fmla="*/ 102099 h 384072"/>
                <a:gd name="connsiteX207" fmla="*/ 271356 w 682623"/>
                <a:gd name="connsiteY207" fmla="*/ 102915 h 384072"/>
                <a:gd name="connsiteX208" fmla="*/ 269056 w 682623"/>
                <a:gd name="connsiteY208" fmla="*/ 103460 h 384072"/>
                <a:gd name="connsiteX209" fmla="*/ 267302 w 682623"/>
                <a:gd name="connsiteY209" fmla="*/ 104670 h 384072"/>
                <a:gd name="connsiteX210" fmla="*/ 263974 w 682623"/>
                <a:gd name="connsiteY210" fmla="*/ 108179 h 384072"/>
                <a:gd name="connsiteX211" fmla="*/ 261524 w 682623"/>
                <a:gd name="connsiteY211" fmla="*/ 109571 h 384072"/>
                <a:gd name="connsiteX212" fmla="*/ 258589 w 682623"/>
                <a:gd name="connsiteY212" fmla="*/ 109843 h 384072"/>
                <a:gd name="connsiteX213" fmla="*/ 255594 w 682623"/>
                <a:gd name="connsiteY213" fmla="*/ 109329 h 384072"/>
                <a:gd name="connsiteX214" fmla="*/ 251934 w 682623"/>
                <a:gd name="connsiteY214" fmla="*/ 107846 h 384072"/>
                <a:gd name="connsiteX215" fmla="*/ 247427 w 682623"/>
                <a:gd name="connsiteY215" fmla="*/ 107544 h 384072"/>
                <a:gd name="connsiteX216" fmla="*/ 226825 w 682623"/>
                <a:gd name="connsiteY216" fmla="*/ 109752 h 384072"/>
                <a:gd name="connsiteX217" fmla="*/ 219293 w 682623"/>
                <a:gd name="connsiteY217" fmla="*/ 112565 h 384072"/>
                <a:gd name="connsiteX218" fmla="*/ 215541 w 682623"/>
                <a:gd name="connsiteY218" fmla="*/ 112898 h 384072"/>
                <a:gd name="connsiteX219" fmla="*/ 203138 w 682623"/>
                <a:gd name="connsiteY219" fmla="*/ 111688 h 384072"/>
                <a:gd name="connsiteX220" fmla="*/ 180087 w 682623"/>
                <a:gd name="connsiteY220" fmla="*/ 113050 h 384072"/>
                <a:gd name="connsiteX221" fmla="*/ 174278 w 682623"/>
                <a:gd name="connsiteY221" fmla="*/ 113413 h 384072"/>
                <a:gd name="connsiteX222" fmla="*/ 165839 w 682623"/>
                <a:gd name="connsiteY222" fmla="*/ 111295 h 384072"/>
                <a:gd name="connsiteX223" fmla="*/ 163570 w 682623"/>
                <a:gd name="connsiteY223" fmla="*/ 110175 h 384072"/>
                <a:gd name="connsiteX224" fmla="*/ 159274 w 682623"/>
                <a:gd name="connsiteY224" fmla="*/ 108028 h 384072"/>
                <a:gd name="connsiteX225" fmla="*/ 158215 w 682623"/>
                <a:gd name="connsiteY225" fmla="*/ 106969 h 384072"/>
                <a:gd name="connsiteX226" fmla="*/ 157429 w 682623"/>
                <a:gd name="connsiteY226" fmla="*/ 105547 h 384072"/>
                <a:gd name="connsiteX227" fmla="*/ 155553 w 682623"/>
                <a:gd name="connsiteY227" fmla="*/ 103914 h 384072"/>
                <a:gd name="connsiteX228" fmla="*/ 153496 w 682623"/>
                <a:gd name="connsiteY228" fmla="*/ 102522 h 384072"/>
                <a:gd name="connsiteX229" fmla="*/ 151983 w 682623"/>
                <a:gd name="connsiteY229" fmla="*/ 101826 h 384072"/>
                <a:gd name="connsiteX230" fmla="*/ 150834 w 682623"/>
                <a:gd name="connsiteY230" fmla="*/ 102008 h 384072"/>
                <a:gd name="connsiteX231" fmla="*/ 149835 w 682623"/>
                <a:gd name="connsiteY231" fmla="*/ 102462 h 384072"/>
                <a:gd name="connsiteX232" fmla="*/ 148807 w 682623"/>
                <a:gd name="connsiteY232" fmla="*/ 102492 h 384072"/>
                <a:gd name="connsiteX233" fmla="*/ 147567 w 682623"/>
                <a:gd name="connsiteY233" fmla="*/ 101312 h 384072"/>
                <a:gd name="connsiteX234" fmla="*/ 144178 w 682623"/>
                <a:gd name="connsiteY234" fmla="*/ 96623 h 384072"/>
                <a:gd name="connsiteX235" fmla="*/ 143240 w 682623"/>
                <a:gd name="connsiteY235" fmla="*/ 96048 h 384072"/>
                <a:gd name="connsiteX236" fmla="*/ 140699 w 682623"/>
                <a:gd name="connsiteY236" fmla="*/ 95564 h 384072"/>
                <a:gd name="connsiteX237" fmla="*/ 139671 w 682623"/>
                <a:gd name="connsiteY237" fmla="*/ 95171 h 384072"/>
                <a:gd name="connsiteX238" fmla="*/ 138672 w 682623"/>
                <a:gd name="connsiteY238" fmla="*/ 94324 h 384072"/>
                <a:gd name="connsiteX239" fmla="*/ 128357 w 682623"/>
                <a:gd name="connsiteY239" fmla="*/ 81588 h 384072"/>
                <a:gd name="connsiteX240" fmla="*/ 125180 w 682623"/>
                <a:gd name="connsiteY240" fmla="*/ 79168 h 384072"/>
                <a:gd name="connsiteX241" fmla="*/ 118616 w 682623"/>
                <a:gd name="connsiteY241" fmla="*/ 78260 h 384072"/>
                <a:gd name="connsiteX242" fmla="*/ 117587 w 682623"/>
                <a:gd name="connsiteY242" fmla="*/ 77988 h 384072"/>
                <a:gd name="connsiteX243" fmla="*/ 113413 w 682623"/>
                <a:gd name="connsiteY243" fmla="*/ 76929 h 384072"/>
                <a:gd name="connsiteX244" fmla="*/ 109783 w 682623"/>
                <a:gd name="connsiteY244" fmla="*/ 76203 h 384072"/>
                <a:gd name="connsiteX245" fmla="*/ 106092 w 682623"/>
                <a:gd name="connsiteY245" fmla="*/ 78260 h 384072"/>
                <a:gd name="connsiteX246" fmla="*/ 99799 w 682623"/>
                <a:gd name="connsiteY246" fmla="*/ 83101 h 384072"/>
                <a:gd name="connsiteX247" fmla="*/ 100858 w 682623"/>
                <a:gd name="connsiteY247" fmla="*/ 84250 h 384072"/>
                <a:gd name="connsiteX248" fmla="*/ 100798 w 682623"/>
                <a:gd name="connsiteY248" fmla="*/ 85097 h 384072"/>
                <a:gd name="connsiteX249" fmla="*/ 100344 w 682623"/>
                <a:gd name="connsiteY249" fmla="*/ 85974 h 384072"/>
                <a:gd name="connsiteX250" fmla="*/ 100042 w 682623"/>
                <a:gd name="connsiteY250" fmla="*/ 87154 h 384072"/>
                <a:gd name="connsiteX251" fmla="*/ 99860 w 682623"/>
                <a:gd name="connsiteY251" fmla="*/ 87396 h 384072"/>
                <a:gd name="connsiteX252" fmla="*/ 98922 w 682623"/>
                <a:gd name="connsiteY252" fmla="*/ 87971 h 384072"/>
                <a:gd name="connsiteX253" fmla="*/ 98650 w 682623"/>
                <a:gd name="connsiteY253" fmla="*/ 88364 h 384072"/>
                <a:gd name="connsiteX254" fmla="*/ 98741 w 682623"/>
                <a:gd name="connsiteY254" fmla="*/ 88939 h 384072"/>
                <a:gd name="connsiteX255" fmla="*/ 99225 w 682623"/>
                <a:gd name="connsiteY255" fmla="*/ 89242 h 384072"/>
                <a:gd name="connsiteX256" fmla="*/ 99769 w 682623"/>
                <a:gd name="connsiteY256" fmla="*/ 89393 h 384072"/>
                <a:gd name="connsiteX257" fmla="*/ 99981 w 682623"/>
                <a:gd name="connsiteY257" fmla="*/ 89665 h 384072"/>
                <a:gd name="connsiteX258" fmla="*/ 99558 w 682623"/>
                <a:gd name="connsiteY258" fmla="*/ 92115 h 384072"/>
                <a:gd name="connsiteX259" fmla="*/ 98983 w 682623"/>
                <a:gd name="connsiteY259" fmla="*/ 93930 h 384072"/>
                <a:gd name="connsiteX260" fmla="*/ 97984 w 682623"/>
                <a:gd name="connsiteY260" fmla="*/ 95322 h 384072"/>
                <a:gd name="connsiteX261" fmla="*/ 96320 w 682623"/>
                <a:gd name="connsiteY261" fmla="*/ 96502 h 384072"/>
                <a:gd name="connsiteX262" fmla="*/ 92842 w 682623"/>
                <a:gd name="connsiteY262" fmla="*/ 97228 h 384072"/>
                <a:gd name="connsiteX263" fmla="*/ 91601 w 682623"/>
                <a:gd name="connsiteY263" fmla="*/ 97833 h 384072"/>
                <a:gd name="connsiteX264" fmla="*/ 91632 w 682623"/>
                <a:gd name="connsiteY264" fmla="*/ 99346 h 384072"/>
                <a:gd name="connsiteX265" fmla="*/ 92267 w 682623"/>
                <a:gd name="connsiteY265" fmla="*/ 99950 h 384072"/>
                <a:gd name="connsiteX266" fmla="*/ 94354 w 682623"/>
                <a:gd name="connsiteY266" fmla="*/ 100858 h 384072"/>
                <a:gd name="connsiteX267" fmla="*/ 95141 w 682623"/>
                <a:gd name="connsiteY267" fmla="*/ 101403 h 384072"/>
                <a:gd name="connsiteX268" fmla="*/ 96109 w 682623"/>
                <a:gd name="connsiteY268" fmla="*/ 103974 h 384072"/>
                <a:gd name="connsiteX269" fmla="*/ 96774 w 682623"/>
                <a:gd name="connsiteY269" fmla="*/ 104852 h 384072"/>
                <a:gd name="connsiteX270" fmla="*/ 95262 w 682623"/>
                <a:gd name="connsiteY270" fmla="*/ 106394 h 384072"/>
                <a:gd name="connsiteX271" fmla="*/ 95413 w 682623"/>
                <a:gd name="connsiteY271" fmla="*/ 108754 h 384072"/>
                <a:gd name="connsiteX272" fmla="*/ 96079 w 682623"/>
                <a:gd name="connsiteY272" fmla="*/ 111537 h 384072"/>
                <a:gd name="connsiteX273" fmla="*/ 96291 w 682623"/>
                <a:gd name="connsiteY273" fmla="*/ 116014 h 384072"/>
                <a:gd name="connsiteX274" fmla="*/ 96774 w 682623"/>
                <a:gd name="connsiteY274" fmla="*/ 117406 h 384072"/>
                <a:gd name="connsiteX275" fmla="*/ 97621 w 682623"/>
                <a:gd name="connsiteY275" fmla="*/ 118465 h 384072"/>
                <a:gd name="connsiteX276" fmla="*/ 98771 w 682623"/>
                <a:gd name="connsiteY276" fmla="*/ 119100 h 384072"/>
                <a:gd name="connsiteX277" fmla="*/ 96714 w 682623"/>
                <a:gd name="connsiteY277" fmla="*/ 119977 h 384072"/>
                <a:gd name="connsiteX278" fmla="*/ 89363 w 682623"/>
                <a:gd name="connsiteY278" fmla="*/ 120885 h 384072"/>
                <a:gd name="connsiteX279" fmla="*/ 81376 w 682623"/>
                <a:gd name="connsiteY279" fmla="*/ 122730 h 384072"/>
                <a:gd name="connsiteX280" fmla="*/ 77565 w 682623"/>
                <a:gd name="connsiteY280" fmla="*/ 122095 h 384072"/>
                <a:gd name="connsiteX281" fmla="*/ 76113 w 682623"/>
                <a:gd name="connsiteY281" fmla="*/ 118495 h 384072"/>
                <a:gd name="connsiteX282" fmla="*/ 74781 w 682623"/>
                <a:gd name="connsiteY282" fmla="*/ 119523 h 384072"/>
                <a:gd name="connsiteX283" fmla="*/ 72785 w 682623"/>
                <a:gd name="connsiteY283" fmla="*/ 122427 h 384072"/>
                <a:gd name="connsiteX284" fmla="*/ 71696 w 682623"/>
                <a:gd name="connsiteY284" fmla="*/ 123426 h 384072"/>
                <a:gd name="connsiteX285" fmla="*/ 70788 w 682623"/>
                <a:gd name="connsiteY285" fmla="*/ 123638 h 384072"/>
                <a:gd name="connsiteX286" fmla="*/ 65131 w 682623"/>
                <a:gd name="connsiteY286" fmla="*/ 122821 h 384072"/>
                <a:gd name="connsiteX287" fmla="*/ 64042 w 682623"/>
                <a:gd name="connsiteY287" fmla="*/ 122216 h 384072"/>
                <a:gd name="connsiteX288" fmla="*/ 62923 w 682623"/>
                <a:gd name="connsiteY288" fmla="*/ 121126 h 384072"/>
                <a:gd name="connsiteX289" fmla="*/ 62137 w 682623"/>
                <a:gd name="connsiteY289" fmla="*/ 119735 h 384072"/>
                <a:gd name="connsiteX290" fmla="*/ 61774 w 682623"/>
                <a:gd name="connsiteY290" fmla="*/ 118283 h 384072"/>
                <a:gd name="connsiteX291" fmla="*/ 61259 w 682623"/>
                <a:gd name="connsiteY291" fmla="*/ 117043 h 384072"/>
                <a:gd name="connsiteX292" fmla="*/ 59959 w 682623"/>
                <a:gd name="connsiteY292" fmla="*/ 116226 h 384072"/>
                <a:gd name="connsiteX293" fmla="*/ 51912 w 682623"/>
                <a:gd name="connsiteY293" fmla="*/ 113322 h 384072"/>
                <a:gd name="connsiteX294" fmla="*/ 47676 w 682623"/>
                <a:gd name="connsiteY294" fmla="*/ 112838 h 384072"/>
                <a:gd name="connsiteX295" fmla="*/ 43986 w 682623"/>
                <a:gd name="connsiteY295" fmla="*/ 114380 h 384072"/>
                <a:gd name="connsiteX296" fmla="*/ 43380 w 682623"/>
                <a:gd name="connsiteY296" fmla="*/ 115712 h 384072"/>
                <a:gd name="connsiteX297" fmla="*/ 43592 w 682623"/>
                <a:gd name="connsiteY297" fmla="*/ 117527 h 384072"/>
                <a:gd name="connsiteX298" fmla="*/ 43017 w 682623"/>
                <a:gd name="connsiteY298" fmla="*/ 118676 h 384072"/>
                <a:gd name="connsiteX299" fmla="*/ 42140 w 682623"/>
                <a:gd name="connsiteY299" fmla="*/ 119433 h 384072"/>
                <a:gd name="connsiteX300" fmla="*/ 38147 w 682623"/>
                <a:gd name="connsiteY300" fmla="*/ 121399 h 384072"/>
                <a:gd name="connsiteX301" fmla="*/ 36967 w 682623"/>
                <a:gd name="connsiteY301" fmla="*/ 122397 h 384072"/>
                <a:gd name="connsiteX302" fmla="*/ 36302 w 682623"/>
                <a:gd name="connsiteY302" fmla="*/ 122760 h 384072"/>
                <a:gd name="connsiteX303" fmla="*/ 35818 w 682623"/>
                <a:gd name="connsiteY303" fmla="*/ 122669 h 384072"/>
                <a:gd name="connsiteX304" fmla="*/ 35334 w 682623"/>
                <a:gd name="connsiteY304" fmla="*/ 122246 h 384072"/>
                <a:gd name="connsiteX305" fmla="*/ 34759 w 682623"/>
                <a:gd name="connsiteY305" fmla="*/ 121580 h 384072"/>
                <a:gd name="connsiteX306" fmla="*/ 34003 w 682623"/>
                <a:gd name="connsiteY306" fmla="*/ 122276 h 384072"/>
                <a:gd name="connsiteX307" fmla="*/ 32460 w 682623"/>
                <a:gd name="connsiteY307" fmla="*/ 124545 h 384072"/>
                <a:gd name="connsiteX308" fmla="*/ 31583 w 682623"/>
                <a:gd name="connsiteY308" fmla="*/ 125574 h 384072"/>
                <a:gd name="connsiteX309" fmla="*/ 33398 w 682623"/>
                <a:gd name="connsiteY309" fmla="*/ 126542 h 384072"/>
                <a:gd name="connsiteX310" fmla="*/ 39055 w 682623"/>
                <a:gd name="connsiteY310" fmla="*/ 128659 h 384072"/>
                <a:gd name="connsiteX311" fmla="*/ 41838 w 682623"/>
                <a:gd name="connsiteY311" fmla="*/ 128084 h 384072"/>
                <a:gd name="connsiteX312" fmla="*/ 48463 w 682623"/>
                <a:gd name="connsiteY312" fmla="*/ 130565 h 384072"/>
                <a:gd name="connsiteX313" fmla="*/ 51790 w 682623"/>
                <a:gd name="connsiteY313" fmla="*/ 130051 h 384072"/>
                <a:gd name="connsiteX314" fmla="*/ 53968 w 682623"/>
                <a:gd name="connsiteY314" fmla="*/ 130958 h 384072"/>
                <a:gd name="connsiteX315" fmla="*/ 55723 w 682623"/>
                <a:gd name="connsiteY315" fmla="*/ 133137 h 384072"/>
                <a:gd name="connsiteX316" fmla="*/ 56570 w 682623"/>
                <a:gd name="connsiteY316" fmla="*/ 135889 h 384072"/>
                <a:gd name="connsiteX317" fmla="*/ 56026 w 682623"/>
                <a:gd name="connsiteY317" fmla="*/ 138551 h 384072"/>
                <a:gd name="connsiteX318" fmla="*/ 57720 w 682623"/>
                <a:gd name="connsiteY318" fmla="*/ 139429 h 384072"/>
                <a:gd name="connsiteX319" fmla="*/ 59111 w 682623"/>
                <a:gd name="connsiteY319" fmla="*/ 140760 h 384072"/>
                <a:gd name="connsiteX320" fmla="*/ 59898 w 682623"/>
                <a:gd name="connsiteY320" fmla="*/ 142454 h 384072"/>
                <a:gd name="connsiteX321" fmla="*/ 59777 w 682623"/>
                <a:gd name="connsiteY321" fmla="*/ 144571 h 384072"/>
                <a:gd name="connsiteX322" fmla="*/ 58718 w 682623"/>
                <a:gd name="connsiteY322" fmla="*/ 146326 h 384072"/>
                <a:gd name="connsiteX323" fmla="*/ 55784 w 682623"/>
                <a:gd name="connsiteY323" fmla="*/ 147445 h 384072"/>
                <a:gd name="connsiteX324" fmla="*/ 54634 w 682623"/>
                <a:gd name="connsiteY324" fmla="*/ 148595 h 384072"/>
                <a:gd name="connsiteX325" fmla="*/ 55028 w 682623"/>
                <a:gd name="connsiteY325" fmla="*/ 154101 h 384072"/>
                <a:gd name="connsiteX326" fmla="*/ 53636 w 682623"/>
                <a:gd name="connsiteY326" fmla="*/ 155099 h 384072"/>
                <a:gd name="connsiteX327" fmla="*/ 49854 w 682623"/>
                <a:gd name="connsiteY327" fmla="*/ 157822 h 384072"/>
                <a:gd name="connsiteX328" fmla="*/ 39055 w 682623"/>
                <a:gd name="connsiteY328" fmla="*/ 162359 h 384072"/>
                <a:gd name="connsiteX329" fmla="*/ 37845 w 682623"/>
                <a:gd name="connsiteY329" fmla="*/ 160574 h 384072"/>
                <a:gd name="connsiteX330" fmla="*/ 36514 w 682623"/>
                <a:gd name="connsiteY330" fmla="*/ 159697 h 384072"/>
                <a:gd name="connsiteX331" fmla="*/ 35243 w 682623"/>
                <a:gd name="connsiteY331" fmla="*/ 160030 h 384072"/>
                <a:gd name="connsiteX332" fmla="*/ 34215 w 682623"/>
                <a:gd name="connsiteY332" fmla="*/ 161754 h 384072"/>
                <a:gd name="connsiteX333" fmla="*/ 34487 w 682623"/>
                <a:gd name="connsiteY333" fmla="*/ 166957 h 384072"/>
                <a:gd name="connsiteX334" fmla="*/ 34245 w 682623"/>
                <a:gd name="connsiteY334" fmla="*/ 167381 h 384072"/>
                <a:gd name="connsiteX335" fmla="*/ 33761 w 682623"/>
                <a:gd name="connsiteY335" fmla="*/ 167623 h 384072"/>
                <a:gd name="connsiteX336" fmla="*/ 33307 w 682623"/>
                <a:gd name="connsiteY336" fmla="*/ 167986 h 384072"/>
                <a:gd name="connsiteX337" fmla="*/ 33246 w 682623"/>
                <a:gd name="connsiteY337" fmla="*/ 168773 h 384072"/>
                <a:gd name="connsiteX338" fmla="*/ 33549 w 682623"/>
                <a:gd name="connsiteY338" fmla="*/ 169317 h 384072"/>
                <a:gd name="connsiteX339" fmla="*/ 34003 w 682623"/>
                <a:gd name="connsiteY339" fmla="*/ 169529 h 384072"/>
                <a:gd name="connsiteX340" fmla="*/ 34456 w 682623"/>
                <a:gd name="connsiteY340" fmla="*/ 169680 h 384072"/>
                <a:gd name="connsiteX341" fmla="*/ 34698 w 682623"/>
                <a:gd name="connsiteY341" fmla="*/ 169952 h 384072"/>
                <a:gd name="connsiteX342" fmla="*/ 37754 w 682623"/>
                <a:gd name="connsiteY342" fmla="*/ 175852 h 384072"/>
                <a:gd name="connsiteX343" fmla="*/ 38177 w 682623"/>
                <a:gd name="connsiteY343" fmla="*/ 178090 h 384072"/>
                <a:gd name="connsiteX344" fmla="*/ 37512 w 682623"/>
                <a:gd name="connsiteY344" fmla="*/ 179905 h 384072"/>
                <a:gd name="connsiteX345" fmla="*/ 36060 w 682623"/>
                <a:gd name="connsiteY345" fmla="*/ 181115 h 384072"/>
                <a:gd name="connsiteX346" fmla="*/ 32944 w 682623"/>
                <a:gd name="connsiteY346" fmla="*/ 182688 h 384072"/>
                <a:gd name="connsiteX347" fmla="*/ 32944 w 682623"/>
                <a:gd name="connsiteY347" fmla="*/ 182688 h 384072"/>
                <a:gd name="connsiteX348" fmla="*/ 33277 w 682623"/>
                <a:gd name="connsiteY348" fmla="*/ 185078 h 384072"/>
                <a:gd name="connsiteX349" fmla="*/ 31734 w 682623"/>
                <a:gd name="connsiteY349" fmla="*/ 188043 h 384072"/>
                <a:gd name="connsiteX350" fmla="*/ 32097 w 682623"/>
                <a:gd name="connsiteY350" fmla="*/ 190282 h 384072"/>
                <a:gd name="connsiteX351" fmla="*/ 32672 w 682623"/>
                <a:gd name="connsiteY351" fmla="*/ 190765 h 384072"/>
                <a:gd name="connsiteX352" fmla="*/ 33489 w 682623"/>
                <a:gd name="connsiteY352" fmla="*/ 190705 h 384072"/>
                <a:gd name="connsiteX353" fmla="*/ 34335 w 682623"/>
                <a:gd name="connsiteY353" fmla="*/ 190765 h 384072"/>
                <a:gd name="connsiteX354" fmla="*/ 35001 w 682623"/>
                <a:gd name="connsiteY354" fmla="*/ 191643 h 384072"/>
                <a:gd name="connsiteX355" fmla="*/ 35031 w 682623"/>
                <a:gd name="connsiteY355" fmla="*/ 192853 h 384072"/>
                <a:gd name="connsiteX356" fmla="*/ 34215 w 682623"/>
                <a:gd name="connsiteY356" fmla="*/ 195152 h 384072"/>
                <a:gd name="connsiteX357" fmla="*/ 34184 w 682623"/>
                <a:gd name="connsiteY357" fmla="*/ 195908 h 384072"/>
                <a:gd name="connsiteX358" fmla="*/ 35545 w 682623"/>
                <a:gd name="connsiteY358" fmla="*/ 196755 h 384072"/>
                <a:gd name="connsiteX359" fmla="*/ 38934 w 682623"/>
                <a:gd name="connsiteY359" fmla="*/ 195243 h 384072"/>
                <a:gd name="connsiteX360" fmla="*/ 40598 w 682623"/>
                <a:gd name="connsiteY360" fmla="*/ 195364 h 384072"/>
                <a:gd name="connsiteX361" fmla="*/ 41808 w 682623"/>
                <a:gd name="connsiteY361" fmla="*/ 197028 h 384072"/>
                <a:gd name="connsiteX362" fmla="*/ 41354 w 682623"/>
                <a:gd name="connsiteY362" fmla="*/ 198631 h 384072"/>
                <a:gd name="connsiteX363" fmla="*/ 39055 w 682623"/>
                <a:gd name="connsiteY363" fmla="*/ 201414 h 384072"/>
                <a:gd name="connsiteX364" fmla="*/ 36937 w 682623"/>
                <a:gd name="connsiteY364" fmla="*/ 202624 h 384072"/>
                <a:gd name="connsiteX365" fmla="*/ 36271 w 682623"/>
                <a:gd name="connsiteY365" fmla="*/ 204590 h 384072"/>
                <a:gd name="connsiteX366" fmla="*/ 37028 w 682623"/>
                <a:gd name="connsiteY366" fmla="*/ 206405 h 384072"/>
                <a:gd name="connsiteX367" fmla="*/ 39055 w 682623"/>
                <a:gd name="connsiteY367" fmla="*/ 207010 h 384072"/>
                <a:gd name="connsiteX368" fmla="*/ 40235 w 682623"/>
                <a:gd name="connsiteY368" fmla="*/ 207585 h 384072"/>
                <a:gd name="connsiteX369" fmla="*/ 40598 w 682623"/>
                <a:gd name="connsiteY369" fmla="*/ 208281 h 384072"/>
                <a:gd name="connsiteX370" fmla="*/ 40174 w 682623"/>
                <a:gd name="connsiteY370" fmla="*/ 209007 h 384072"/>
                <a:gd name="connsiteX371" fmla="*/ 39055 w 682623"/>
                <a:gd name="connsiteY371" fmla="*/ 209673 h 384072"/>
                <a:gd name="connsiteX372" fmla="*/ 34547 w 682623"/>
                <a:gd name="connsiteY372" fmla="*/ 211367 h 384072"/>
                <a:gd name="connsiteX373" fmla="*/ 33277 w 682623"/>
                <a:gd name="connsiteY373" fmla="*/ 212425 h 384072"/>
                <a:gd name="connsiteX374" fmla="*/ 36151 w 682623"/>
                <a:gd name="connsiteY374" fmla="*/ 212728 h 384072"/>
                <a:gd name="connsiteX375" fmla="*/ 37603 w 682623"/>
                <a:gd name="connsiteY375" fmla="*/ 213151 h 384072"/>
                <a:gd name="connsiteX376" fmla="*/ 39055 w 682623"/>
                <a:gd name="connsiteY376" fmla="*/ 214392 h 384072"/>
                <a:gd name="connsiteX377" fmla="*/ 39478 w 682623"/>
                <a:gd name="connsiteY377" fmla="*/ 215844 h 384072"/>
                <a:gd name="connsiteX378" fmla="*/ 37603 w 682623"/>
                <a:gd name="connsiteY378" fmla="*/ 216298 h 384072"/>
                <a:gd name="connsiteX379" fmla="*/ 34971 w 682623"/>
                <a:gd name="connsiteY379" fmla="*/ 216328 h 384072"/>
                <a:gd name="connsiteX380" fmla="*/ 33307 w 682623"/>
                <a:gd name="connsiteY380" fmla="*/ 216600 h 384072"/>
                <a:gd name="connsiteX381" fmla="*/ 33307 w 682623"/>
                <a:gd name="connsiteY381" fmla="*/ 216630 h 384072"/>
                <a:gd name="connsiteX382" fmla="*/ 32853 w 682623"/>
                <a:gd name="connsiteY382" fmla="*/ 216993 h 384072"/>
                <a:gd name="connsiteX383" fmla="*/ 32369 w 682623"/>
                <a:gd name="connsiteY383" fmla="*/ 217115 h 384072"/>
                <a:gd name="connsiteX384" fmla="*/ 31855 w 682623"/>
                <a:gd name="connsiteY384" fmla="*/ 216963 h 384072"/>
                <a:gd name="connsiteX385" fmla="*/ 31310 w 682623"/>
                <a:gd name="connsiteY385" fmla="*/ 216600 h 384072"/>
                <a:gd name="connsiteX386" fmla="*/ 29556 w 682623"/>
                <a:gd name="connsiteY386" fmla="*/ 215390 h 384072"/>
                <a:gd name="connsiteX387" fmla="*/ 27438 w 682623"/>
                <a:gd name="connsiteY387" fmla="*/ 215148 h 384072"/>
                <a:gd name="connsiteX388" fmla="*/ 23324 w 682623"/>
                <a:gd name="connsiteY388" fmla="*/ 215602 h 384072"/>
                <a:gd name="connsiteX389" fmla="*/ 19573 w 682623"/>
                <a:gd name="connsiteY389" fmla="*/ 214906 h 384072"/>
                <a:gd name="connsiteX390" fmla="*/ 18211 w 682623"/>
                <a:gd name="connsiteY390" fmla="*/ 215088 h 384072"/>
                <a:gd name="connsiteX391" fmla="*/ 17244 w 682623"/>
                <a:gd name="connsiteY391" fmla="*/ 216570 h 384072"/>
                <a:gd name="connsiteX392" fmla="*/ 16820 w 682623"/>
                <a:gd name="connsiteY392" fmla="*/ 218627 h 384072"/>
                <a:gd name="connsiteX393" fmla="*/ 16003 w 682623"/>
                <a:gd name="connsiteY393" fmla="*/ 219262 h 384072"/>
                <a:gd name="connsiteX394" fmla="*/ 15005 w 682623"/>
                <a:gd name="connsiteY394" fmla="*/ 219444 h 384072"/>
                <a:gd name="connsiteX395" fmla="*/ 14006 w 682623"/>
                <a:gd name="connsiteY395" fmla="*/ 220261 h 384072"/>
                <a:gd name="connsiteX396" fmla="*/ 13734 w 682623"/>
                <a:gd name="connsiteY396" fmla="*/ 221077 h 384072"/>
                <a:gd name="connsiteX397" fmla="*/ 13795 w 682623"/>
                <a:gd name="connsiteY397" fmla="*/ 221834 h 384072"/>
                <a:gd name="connsiteX398" fmla="*/ 13765 w 682623"/>
                <a:gd name="connsiteY398" fmla="*/ 222650 h 384072"/>
                <a:gd name="connsiteX399" fmla="*/ 13099 w 682623"/>
                <a:gd name="connsiteY399" fmla="*/ 223618 h 384072"/>
                <a:gd name="connsiteX400" fmla="*/ 12403 w 682623"/>
                <a:gd name="connsiteY400" fmla="*/ 224133 h 384072"/>
                <a:gd name="connsiteX401" fmla="*/ 10286 w 682623"/>
                <a:gd name="connsiteY401" fmla="*/ 224980 h 384072"/>
                <a:gd name="connsiteX402" fmla="*/ 7714 w 682623"/>
                <a:gd name="connsiteY402" fmla="*/ 226704 h 384072"/>
                <a:gd name="connsiteX403" fmla="*/ 6565 w 682623"/>
                <a:gd name="connsiteY403" fmla="*/ 227793 h 384072"/>
                <a:gd name="connsiteX404" fmla="*/ 2934 w 682623"/>
                <a:gd name="connsiteY404" fmla="*/ 232391 h 384072"/>
                <a:gd name="connsiteX405" fmla="*/ 1634 w 682623"/>
                <a:gd name="connsiteY405" fmla="*/ 233541 h 384072"/>
                <a:gd name="connsiteX406" fmla="*/ 0 w 682623"/>
                <a:gd name="connsiteY406" fmla="*/ 234237 h 384072"/>
                <a:gd name="connsiteX407" fmla="*/ 3661 w 682623"/>
                <a:gd name="connsiteY407" fmla="*/ 235053 h 384072"/>
                <a:gd name="connsiteX408" fmla="*/ 4175 w 682623"/>
                <a:gd name="connsiteY408" fmla="*/ 235175 h 384072"/>
                <a:gd name="connsiteX409" fmla="*/ 8591 w 682623"/>
                <a:gd name="connsiteY409" fmla="*/ 234812 h 384072"/>
                <a:gd name="connsiteX410" fmla="*/ 17939 w 682623"/>
                <a:gd name="connsiteY410" fmla="*/ 234055 h 384072"/>
                <a:gd name="connsiteX411" fmla="*/ 18968 w 682623"/>
                <a:gd name="connsiteY411" fmla="*/ 234600 h 384072"/>
                <a:gd name="connsiteX412" fmla="*/ 20480 w 682623"/>
                <a:gd name="connsiteY412" fmla="*/ 236354 h 384072"/>
                <a:gd name="connsiteX413" fmla="*/ 20934 w 682623"/>
                <a:gd name="connsiteY413" fmla="*/ 236869 h 384072"/>
                <a:gd name="connsiteX414" fmla="*/ 21812 w 682623"/>
                <a:gd name="connsiteY414" fmla="*/ 237292 h 384072"/>
                <a:gd name="connsiteX415" fmla="*/ 23294 w 682623"/>
                <a:gd name="connsiteY415" fmla="*/ 237353 h 384072"/>
                <a:gd name="connsiteX416" fmla="*/ 23747 w 682623"/>
                <a:gd name="connsiteY416" fmla="*/ 238048 h 384072"/>
                <a:gd name="connsiteX417" fmla="*/ 23505 w 682623"/>
                <a:gd name="connsiteY417" fmla="*/ 239258 h 384072"/>
                <a:gd name="connsiteX418" fmla="*/ 22931 w 682623"/>
                <a:gd name="connsiteY418" fmla="*/ 240892 h 384072"/>
                <a:gd name="connsiteX419" fmla="*/ 22235 w 682623"/>
                <a:gd name="connsiteY419" fmla="*/ 242405 h 384072"/>
                <a:gd name="connsiteX420" fmla="*/ 21841 w 682623"/>
                <a:gd name="connsiteY420" fmla="*/ 243040 h 384072"/>
                <a:gd name="connsiteX421" fmla="*/ 20964 w 682623"/>
                <a:gd name="connsiteY421" fmla="*/ 244431 h 384072"/>
                <a:gd name="connsiteX422" fmla="*/ 20692 w 682623"/>
                <a:gd name="connsiteY422" fmla="*/ 245460 h 384072"/>
                <a:gd name="connsiteX423" fmla="*/ 20541 w 682623"/>
                <a:gd name="connsiteY423" fmla="*/ 245944 h 384072"/>
                <a:gd name="connsiteX424" fmla="*/ 20783 w 682623"/>
                <a:gd name="connsiteY424" fmla="*/ 246458 h 384072"/>
                <a:gd name="connsiteX425" fmla="*/ 22175 w 682623"/>
                <a:gd name="connsiteY425" fmla="*/ 250331 h 384072"/>
                <a:gd name="connsiteX426" fmla="*/ 23324 w 682623"/>
                <a:gd name="connsiteY426" fmla="*/ 251692 h 384072"/>
                <a:gd name="connsiteX427" fmla="*/ 24171 w 682623"/>
                <a:gd name="connsiteY427" fmla="*/ 253235 h 384072"/>
                <a:gd name="connsiteX428" fmla="*/ 25109 w 682623"/>
                <a:gd name="connsiteY428" fmla="*/ 254263 h 384072"/>
                <a:gd name="connsiteX429" fmla="*/ 26500 w 682623"/>
                <a:gd name="connsiteY429" fmla="*/ 254021 h 384072"/>
                <a:gd name="connsiteX430" fmla="*/ 26531 w 682623"/>
                <a:gd name="connsiteY430" fmla="*/ 256290 h 384072"/>
                <a:gd name="connsiteX431" fmla="*/ 27317 w 682623"/>
                <a:gd name="connsiteY431" fmla="*/ 256593 h 384072"/>
                <a:gd name="connsiteX432" fmla="*/ 27408 w 682623"/>
                <a:gd name="connsiteY432" fmla="*/ 256653 h 384072"/>
                <a:gd name="connsiteX433" fmla="*/ 27922 w 682623"/>
                <a:gd name="connsiteY433" fmla="*/ 256835 h 384072"/>
                <a:gd name="connsiteX434" fmla="*/ 29798 w 682623"/>
                <a:gd name="connsiteY434" fmla="*/ 256956 h 384072"/>
                <a:gd name="connsiteX435" fmla="*/ 31310 w 682623"/>
                <a:gd name="connsiteY435" fmla="*/ 257893 h 384072"/>
                <a:gd name="connsiteX436" fmla="*/ 31855 w 682623"/>
                <a:gd name="connsiteY436" fmla="*/ 260434 h 384072"/>
                <a:gd name="connsiteX437" fmla="*/ 31068 w 682623"/>
                <a:gd name="connsiteY437" fmla="*/ 261130 h 384072"/>
                <a:gd name="connsiteX438" fmla="*/ 30463 w 682623"/>
                <a:gd name="connsiteY438" fmla="*/ 261675 h 384072"/>
                <a:gd name="connsiteX439" fmla="*/ 28527 w 682623"/>
                <a:gd name="connsiteY439" fmla="*/ 262492 h 384072"/>
                <a:gd name="connsiteX440" fmla="*/ 27620 w 682623"/>
                <a:gd name="connsiteY440" fmla="*/ 263823 h 384072"/>
                <a:gd name="connsiteX441" fmla="*/ 28013 w 682623"/>
                <a:gd name="connsiteY441" fmla="*/ 264730 h 384072"/>
                <a:gd name="connsiteX442" fmla="*/ 28436 w 682623"/>
                <a:gd name="connsiteY442" fmla="*/ 265698 h 384072"/>
                <a:gd name="connsiteX443" fmla="*/ 30251 w 682623"/>
                <a:gd name="connsiteY443" fmla="*/ 267060 h 384072"/>
                <a:gd name="connsiteX444" fmla="*/ 33852 w 682623"/>
                <a:gd name="connsiteY444" fmla="*/ 269026 h 384072"/>
                <a:gd name="connsiteX445" fmla="*/ 37572 w 682623"/>
                <a:gd name="connsiteY445" fmla="*/ 274350 h 384072"/>
                <a:gd name="connsiteX446" fmla="*/ 40961 w 682623"/>
                <a:gd name="connsiteY446" fmla="*/ 277043 h 384072"/>
                <a:gd name="connsiteX447" fmla="*/ 42382 w 682623"/>
                <a:gd name="connsiteY447" fmla="*/ 282821 h 384072"/>
                <a:gd name="connsiteX448" fmla="*/ 42988 w 682623"/>
                <a:gd name="connsiteY448" fmla="*/ 283214 h 384072"/>
                <a:gd name="connsiteX449" fmla="*/ 47344 w 682623"/>
                <a:gd name="connsiteY449" fmla="*/ 285725 h 384072"/>
                <a:gd name="connsiteX450" fmla="*/ 48674 w 682623"/>
                <a:gd name="connsiteY450" fmla="*/ 286995 h 384072"/>
                <a:gd name="connsiteX451" fmla="*/ 49280 w 682623"/>
                <a:gd name="connsiteY451" fmla="*/ 286995 h 384072"/>
                <a:gd name="connsiteX452" fmla="*/ 49734 w 682623"/>
                <a:gd name="connsiteY452" fmla="*/ 285785 h 384072"/>
                <a:gd name="connsiteX453" fmla="*/ 50338 w 682623"/>
                <a:gd name="connsiteY453" fmla="*/ 285331 h 384072"/>
                <a:gd name="connsiteX454" fmla="*/ 51155 w 682623"/>
                <a:gd name="connsiteY454" fmla="*/ 285452 h 384072"/>
                <a:gd name="connsiteX455" fmla="*/ 52033 w 682623"/>
                <a:gd name="connsiteY455" fmla="*/ 285967 h 384072"/>
                <a:gd name="connsiteX456" fmla="*/ 54725 w 682623"/>
                <a:gd name="connsiteY456" fmla="*/ 286451 h 384072"/>
                <a:gd name="connsiteX457" fmla="*/ 56903 w 682623"/>
                <a:gd name="connsiteY457" fmla="*/ 287842 h 384072"/>
                <a:gd name="connsiteX458" fmla="*/ 58718 w 682623"/>
                <a:gd name="connsiteY458" fmla="*/ 289899 h 384072"/>
                <a:gd name="connsiteX459" fmla="*/ 60352 w 682623"/>
                <a:gd name="connsiteY459" fmla="*/ 292471 h 384072"/>
                <a:gd name="connsiteX460" fmla="*/ 62258 w 682623"/>
                <a:gd name="connsiteY460" fmla="*/ 294740 h 384072"/>
                <a:gd name="connsiteX461" fmla="*/ 65313 w 682623"/>
                <a:gd name="connsiteY461" fmla="*/ 296494 h 384072"/>
                <a:gd name="connsiteX462" fmla="*/ 66523 w 682623"/>
                <a:gd name="connsiteY462" fmla="*/ 298854 h 384072"/>
                <a:gd name="connsiteX463" fmla="*/ 67219 w 682623"/>
                <a:gd name="connsiteY463" fmla="*/ 298854 h 384072"/>
                <a:gd name="connsiteX464" fmla="*/ 67975 w 682623"/>
                <a:gd name="connsiteY464" fmla="*/ 296948 h 384072"/>
                <a:gd name="connsiteX465" fmla="*/ 68701 w 682623"/>
                <a:gd name="connsiteY465" fmla="*/ 297402 h 384072"/>
                <a:gd name="connsiteX466" fmla="*/ 71393 w 682623"/>
                <a:gd name="connsiteY466" fmla="*/ 297946 h 384072"/>
                <a:gd name="connsiteX467" fmla="*/ 71847 w 682623"/>
                <a:gd name="connsiteY467" fmla="*/ 298128 h 384072"/>
                <a:gd name="connsiteX468" fmla="*/ 72301 w 682623"/>
                <a:gd name="connsiteY468" fmla="*/ 298461 h 384072"/>
                <a:gd name="connsiteX469" fmla="*/ 72725 w 682623"/>
                <a:gd name="connsiteY469" fmla="*/ 298854 h 384072"/>
                <a:gd name="connsiteX470" fmla="*/ 73148 w 682623"/>
                <a:gd name="connsiteY470" fmla="*/ 299368 h 384072"/>
                <a:gd name="connsiteX471" fmla="*/ 73814 w 682623"/>
                <a:gd name="connsiteY471" fmla="*/ 299913 h 384072"/>
                <a:gd name="connsiteX472" fmla="*/ 74086 w 682623"/>
                <a:gd name="connsiteY472" fmla="*/ 299459 h 384072"/>
                <a:gd name="connsiteX473" fmla="*/ 74298 w 682623"/>
                <a:gd name="connsiteY473" fmla="*/ 298854 h 384072"/>
                <a:gd name="connsiteX474" fmla="*/ 74842 w 682623"/>
                <a:gd name="connsiteY474" fmla="*/ 298854 h 384072"/>
                <a:gd name="connsiteX475" fmla="*/ 76143 w 682623"/>
                <a:gd name="connsiteY475" fmla="*/ 300034 h 384072"/>
                <a:gd name="connsiteX476" fmla="*/ 77020 w 682623"/>
                <a:gd name="connsiteY476" fmla="*/ 301153 h 384072"/>
                <a:gd name="connsiteX477" fmla="*/ 77656 w 682623"/>
                <a:gd name="connsiteY477" fmla="*/ 301909 h 384072"/>
                <a:gd name="connsiteX478" fmla="*/ 78593 w 682623"/>
                <a:gd name="connsiteY478" fmla="*/ 304087 h 384072"/>
                <a:gd name="connsiteX479" fmla="*/ 78260 w 682623"/>
                <a:gd name="connsiteY479" fmla="*/ 306175 h 384072"/>
                <a:gd name="connsiteX480" fmla="*/ 79047 w 682623"/>
                <a:gd name="connsiteY480" fmla="*/ 308202 h 384072"/>
                <a:gd name="connsiteX481" fmla="*/ 80046 w 682623"/>
                <a:gd name="connsiteY481" fmla="*/ 310864 h 384072"/>
                <a:gd name="connsiteX482" fmla="*/ 80711 w 682623"/>
                <a:gd name="connsiteY482" fmla="*/ 311650 h 384072"/>
                <a:gd name="connsiteX483" fmla="*/ 81467 w 682623"/>
                <a:gd name="connsiteY483" fmla="*/ 312225 h 384072"/>
                <a:gd name="connsiteX484" fmla="*/ 85218 w 682623"/>
                <a:gd name="connsiteY484" fmla="*/ 316279 h 384072"/>
                <a:gd name="connsiteX485" fmla="*/ 87699 w 682623"/>
                <a:gd name="connsiteY485" fmla="*/ 320574 h 384072"/>
                <a:gd name="connsiteX486" fmla="*/ 88637 w 682623"/>
                <a:gd name="connsiteY486" fmla="*/ 321754 h 384072"/>
                <a:gd name="connsiteX487" fmla="*/ 93991 w 682623"/>
                <a:gd name="connsiteY487" fmla="*/ 325747 h 384072"/>
                <a:gd name="connsiteX488" fmla="*/ 94838 w 682623"/>
                <a:gd name="connsiteY488" fmla="*/ 326776 h 384072"/>
                <a:gd name="connsiteX489" fmla="*/ 95322 w 682623"/>
                <a:gd name="connsiteY489" fmla="*/ 328198 h 384072"/>
                <a:gd name="connsiteX490" fmla="*/ 96502 w 682623"/>
                <a:gd name="connsiteY490" fmla="*/ 329378 h 384072"/>
                <a:gd name="connsiteX491" fmla="*/ 101373 w 682623"/>
                <a:gd name="connsiteY491" fmla="*/ 332736 h 384072"/>
                <a:gd name="connsiteX492" fmla="*/ 102855 w 682623"/>
                <a:gd name="connsiteY492" fmla="*/ 333401 h 384072"/>
                <a:gd name="connsiteX493" fmla="*/ 111053 w 682623"/>
                <a:gd name="connsiteY493" fmla="*/ 333673 h 384072"/>
                <a:gd name="connsiteX494" fmla="*/ 112173 w 682623"/>
                <a:gd name="connsiteY494" fmla="*/ 334278 h 384072"/>
                <a:gd name="connsiteX495" fmla="*/ 116196 w 682623"/>
                <a:gd name="connsiteY495" fmla="*/ 339119 h 384072"/>
                <a:gd name="connsiteX496" fmla="*/ 116740 w 682623"/>
                <a:gd name="connsiteY496" fmla="*/ 340359 h 384072"/>
                <a:gd name="connsiteX497" fmla="*/ 118011 w 682623"/>
                <a:gd name="connsiteY497" fmla="*/ 344624 h 384072"/>
                <a:gd name="connsiteX498" fmla="*/ 118223 w 682623"/>
                <a:gd name="connsiteY498" fmla="*/ 345955 h 384072"/>
                <a:gd name="connsiteX499" fmla="*/ 118949 w 682623"/>
                <a:gd name="connsiteY499" fmla="*/ 348194 h 384072"/>
                <a:gd name="connsiteX500" fmla="*/ 120522 w 682623"/>
                <a:gd name="connsiteY500" fmla="*/ 348739 h 384072"/>
                <a:gd name="connsiteX501" fmla="*/ 122155 w 682623"/>
                <a:gd name="connsiteY501" fmla="*/ 348950 h 384072"/>
                <a:gd name="connsiteX502" fmla="*/ 123063 w 682623"/>
                <a:gd name="connsiteY502" fmla="*/ 350100 h 384072"/>
                <a:gd name="connsiteX503" fmla="*/ 122307 w 682623"/>
                <a:gd name="connsiteY503" fmla="*/ 350221 h 384072"/>
                <a:gd name="connsiteX504" fmla="*/ 121066 w 682623"/>
                <a:gd name="connsiteY504" fmla="*/ 350765 h 384072"/>
                <a:gd name="connsiteX505" fmla="*/ 120401 w 682623"/>
                <a:gd name="connsiteY505" fmla="*/ 350917 h 384072"/>
                <a:gd name="connsiteX506" fmla="*/ 120401 w 682623"/>
                <a:gd name="connsiteY506" fmla="*/ 351824 h 384072"/>
                <a:gd name="connsiteX507" fmla="*/ 121853 w 682623"/>
                <a:gd name="connsiteY507" fmla="*/ 352308 h 384072"/>
                <a:gd name="connsiteX508" fmla="*/ 122034 w 682623"/>
                <a:gd name="connsiteY508" fmla="*/ 352459 h 384072"/>
                <a:gd name="connsiteX509" fmla="*/ 123033 w 682623"/>
                <a:gd name="connsiteY509" fmla="*/ 353276 h 384072"/>
                <a:gd name="connsiteX510" fmla="*/ 124091 w 682623"/>
                <a:gd name="connsiteY510" fmla="*/ 353488 h 384072"/>
                <a:gd name="connsiteX511" fmla="*/ 125180 w 682623"/>
                <a:gd name="connsiteY511" fmla="*/ 351824 h 384072"/>
                <a:gd name="connsiteX512" fmla="*/ 125755 w 682623"/>
                <a:gd name="connsiteY512" fmla="*/ 354093 h 384072"/>
                <a:gd name="connsiteX513" fmla="*/ 125604 w 682623"/>
                <a:gd name="connsiteY513" fmla="*/ 355273 h 384072"/>
                <a:gd name="connsiteX514" fmla="*/ 125937 w 682623"/>
                <a:gd name="connsiteY514" fmla="*/ 355666 h 384072"/>
                <a:gd name="connsiteX515" fmla="*/ 127933 w 682623"/>
                <a:gd name="connsiteY515" fmla="*/ 355545 h 384072"/>
                <a:gd name="connsiteX516" fmla="*/ 130323 w 682623"/>
                <a:gd name="connsiteY516" fmla="*/ 354668 h 384072"/>
                <a:gd name="connsiteX517" fmla="*/ 131412 w 682623"/>
                <a:gd name="connsiteY517" fmla="*/ 355122 h 384072"/>
                <a:gd name="connsiteX518" fmla="*/ 132048 w 682623"/>
                <a:gd name="connsiteY518" fmla="*/ 357269 h 384072"/>
                <a:gd name="connsiteX519" fmla="*/ 132592 w 682623"/>
                <a:gd name="connsiteY519" fmla="*/ 356876 h 384072"/>
                <a:gd name="connsiteX520" fmla="*/ 132986 w 682623"/>
                <a:gd name="connsiteY520" fmla="*/ 356483 h 384072"/>
                <a:gd name="connsiteX521" fmla="*/ 133258 w 682623"/>
                <a:gd name="connsiteY521" fmla="*/ 356029 h 384072"/>
                <a:gd name="connsiteX522" fmla="*/ 134105 w 682623"/>
                <a:gd name="connsiteY522" fmla="*/ 355545 h 384072"/>
                <a:gd name="connsiteX523" fmla="*/ 142696 w 682623"/>
                <a:gd name="connsiteY523" fmla="*/ 355908 h 384072"/>
                <a:gd name="connsiteX524" fmla="*/ 146962 w 682623"/>
                <a:gd name="connsiteY524" fmla="*/ 356725 h 384072"/>
                <a:gd name="connsiteX525" fmla="*/ 150652 w 682623"/>
                <a:gd name="connsiteY525" fmla="*/ 358268 h 384072"/>
                <a:gd name="connsiteX526" fmla="*/ 155432 w 682623"/>
                <a:gd name="connsiteY526" fmla="*/ 362866 h 384072"/>
                <a:gd name="connsiteX527" fmla="*/ 156158 w 682623"/>
                <a:gd name="connsiteY527" fmla="*/ 364137 h 384072"/>
                <a:gd name="connsiteX528" fmla="*/ 156279 w 682623"/>
                <a:gd name="connsiteY528" fmla="*/ 365226 h 384072"/>
                <a:gd name="connsiteX529" fmla="*/ 156793 w 682623"/>
                <a:gd name="connsiteY529" fmla="*/ 367192 h 384072"/>
                <a:gd name="connsiteX530" fmla="*/ 156914 w 682623"/>
                <a:gd name="connsiteY530" fmla="*/ 368705 h 384072"/>
                <a:gd name="connsiteX531" fmla="*/ 157066 w 682623"/>
                <a:gd name="connsiteY531" fmla="*/ 369431 h 384072"/>
                <a:gd name="connsiteX532" fmla="*/ 157247 w 682623"/>
                <a:gd name="connsiteY532" fmla="*/ 370308 h 384072"/>
                <a:gd name="connsiteX533" fmla="*/ 158064 w 682623"/>
                <a:gd name="connsiteY533" fmla="*/ 370822 h 384072"/>
                <a:gd name="connsiteX534" fmla="*/ 160333 w 682623"/>
                <a:gd name="connsiteY534" fmla="*/ 370943 h 384072"/>
                <a:gd name="connsiteX535" fmla="*/ 172615 w 682623"/>
                <a:gd name="connsiteY535" fmla="*/ 374422 h 384072"/>
                <a:gd name="connsiteX536" fmla="*/ 175519 w 682623"/>
                <a:gd name="connsiteY536" fmla="*/ 376358 h 384072"/>
                <a:gd name="connsiteX537" fmla="*/ 177516 w 682623"/>
                <a:gd name="connsiteY537" fmla="*/ 379504 h 384072"/>
                <a:gd name="connsiteX538" fmla="*/ 177546 w 682623"/>
                <a:gd name="connsiteY538" fmla="*/ 380049 h 384072"/>
                <a:gd name="connsiteX539" fmla="*/ 178726 w 682623"/>
                <a:gd name="connsiteY539" fmla="*/ 379807 h 384072"/>
                <a:gd name="connsiteX540" fmla="*/ 179300 w 682623"/>
                <a:gd name="connsiteY540" fmla="*/ 378869 h 384072"/>
                <a:gd name="connsiteX541" fmla="*/ 179784 w 682623"/>
                <a:gd name="connsiteY541" fmla="*/ 377840 h 384072"/>
                <a:gd name="connsiteX542" fmla="*/ 180722 w 682623"/>
                <a:gd name="connsiteY542" fmla="*/ 377356 h 384072"/>
                <a:gd name="connsiteX543" fmla="*/ 189344 w 682623"/>
                <a:gd name="connsiteY543" fmla="*/ 377356 h 384072"/>
                <a:gd name="connsiteX544" fmla="*/ 199902 w 682623"/>
                <a:gd name="connsiteY544" fmla="*/ 380049 h 384072"/>
                <a:gd name="connsiteX545" fmla="*/ 201081 w 682623"/>
                <a:gd name="connsiteY545" fmla="*/ 380049 h 384072"/>
                <a:gd name="connsiteX546" fmla="*/ 202171 w 682623"/>
                <a:gd name="connsiteY546" fmla="*/ 379686 h 384072"/>
                <a:gd name="connsiteX547" fmla="*/ 203925 w 682623"/>
                <a:gd name="connsiteY547" fmla="*/ 378506 h 384072"/>
                <a:gd name="connsiteX548" fmla="*/ 204802 w 682623"/>
                <a:gd name="connsiteY548" fmla="*/ 378264 h 384072"/>
                <a:gd name="connsiteX549" fmla="*/ 213061 w 682623"/>
                <a:gd name="connsiteY549" fmla="*/ 378264 h 384072"/>
                <a:gd name="connsiteX550" fmla="*/ 214937 w 682623"/>
                <a:gd name="connsiteY550" fmla="*/ 378808 h 384072"/>
                <a:gd name="connsiteX551" fmla="*/ 218022 w 682623"/>
                <a:gd name="connsiteY551" fmla="*/ 380926 h 384072"/>
                <a:gd name="connsiteX552" fmla="*/ 220321 w 682623"/>
                <a:gd name="connsiteY552" fmla="*/ 380956 h 384072"/>
                <a:gd name="connsiteX553" fmla="*/ 222046 w 682623"/>
                <a:gd name="connsiteY553" fmla="*/ 382681 h 384072"/>
                <a:gd name="connsiteX554" fmla="*/ 223770 w 682623"/>
                <a:gd name="connsiteY554" fmla="*/ 383286 h 384072"/>
                <a:gd name="connsiteX555" fmla="*/ 225494 w 682623"/>
                <a:gd name="connsiteY555" fmla="*/ 382681 h 384072"/>
                <a:gd name="connsiteX556" fmla="*/ 227158 w 682623"/>
                <a:gd name="connsiteY556" fmla="*/ 381803 h 384072"/>
                <a:gd name="connsiteX557" fmla="*/ 228761 w 682623"/>
                <a:gd name="connsiteY557" fmla="*/ 381834 h 384072"/>
                <a:gd name="connsiteX558" fmla="*/ 230425 w 682623"/>
                <a:gd name="connsiteY558" fmla="*/ 383830 h 384072"/>
                <a:gd name="connsiteX559" fmla="*/ 230456 w 682623"/>
                <a:gd name="connsiteY559" fmla="*/ 383830 h 384072"/>
                <a:gd name="connsiteX560" fmla="*/ 231121 w 682623"/>
                <a:gd name="connsiteY560" fmla="*/ 384012 h 384072"/>
                <a:gd name="connsiteX561" fmla="*/ 231817 w 682623"/>
                <a:gd name="connsiteY561" fmla="*/ 384072 h 384072"/>
                <a:gd name="connsiteX562" fmla="*/ 232482 w 682623"/>
                <a:gd name="connsiteY562" fmla="*/ 384012 h 384072"/>
                <a:gd name="connsiteX563" fmla="*/ 233238 w 682623"/>
                <a:gd name="connsiteY563" fmla="*/ 383830 h 384072"/>
                <a:gd name="connsiteX564" fmla="*/ 235144 w 682623"/>
                <a:gd name="connsiteY564" fmla="*/ 382469 h 384072"/>
                <a:gd name="connsiteX565" fmla="*/ 238654 w 682623"/>
                <a:gd name="connsiteY565" fmla="*/ 378476 h 384072"/>
                <a:gd name="connsiteX566" fmla="*/ 240287 w 682623"/>
                <a:gd name="connsiteY566" fmla="*/ 377447 h 384072"/>
                <a:gd name="connsiteX567" fmla="*/ 242556 w 682623"/>
                <a:gd name="connsiteY567" fmla="*/ 378415 h 384072"/>
                <a:gd name="connsiteX568" fmla="*/ 245158 w 682623"/>
                <a:gd name="connsiteY568" fmla="*/ 377538 h 384072"/>
                <a:gd name="connsiteX569" fmla="*/ 249514 w 682623"/>
                <a:gd name="connsiteY569" fmla="*/ 374119 h 384072"/>
                <a:gd name="connsiteX570" fmla="*/ 250724 w 682623"/>
                <a:gd name="connsiteY570" fmla="*/ 372758 h 384072"/>
                <a:gd name="connsiteX571" fmla="*/ 252932 w 682623"/>
                <a:gd name="connsiteY571" fmla="*/ 368795 h 384072"/>
                <a:gd name="connsiteX572" fmla="*/ 254414 w 682623"/>
                <a:gd name="connsiteY572" fmla="*/ 367252 h 384072"/>
                <a:gd name="connsiteX573" fmla="*/ 254566 w 682623"/>
                <a:gd name="connsiteY573" fmla="*/ 367222 h 384072"/>
                <a:gd name="connsiteX574" fmla="*/ 254838 w 682623"/>
                <a:gd name="connsiteY574" fmla="*/ 366405 h 384072"/>
                <a:gd name="connsiteX575" fmla="*/ 255140 w 682623"/>
                <a:gd name="connsiteY575" fmla="*/ 364802 h 384072"/>
                <a:gd name="connsiteX576" fmla="*/ 255504 w 682623"/>
                <a:gd name="connsiteY576" fmla="*/ 364137 h 384072"/>
                <a:gd name="connsiteX577" fmla="*/ 257773 w 682623"/>
                <a:gd name="connsiteY577" fmla="*/ 362049 h 384072"/>
                <a:gd name="connsiteX578" fmla="*/ 259678 w 682623"/>
                <a:gd name="connsiteY578" fmla="*/ 361686 h 384072"/>
                <a:gd name="connsiteX579" fmla="*/ 264639 w 682623"/>
                <a:gd name="connsiteY579" fmla="*/ 363259 h 384072"/>
                <a:gd name="connsiteX580" fmla="*/ 268603 w 682623"/>
                <a:gd name="connsiteY580" fmla="*/ 365195 h 384072"/>
                <a:gd name="connsiteX581" fmla="*/ 269843 w 682623"/>
                <a:gd name="connsiteY581" fmla="*/ 365316 h 384072"/>
                <a:gd name="connsiteX582" fmla="*/ 270902 w 682623"/>
                <a:gd name="connsiteY582" fmla="*/ 364802 h 384072"/>
                <a:gd name="connsiteX583" fmla="*/ 271356 w 682623"/>
                <a:gd name="connsiteY583" fmla="*/ 363864 h 384072"/>
                <a:gd name="connsiteX584" fmla="*/ 271779 w 682623"/>
                <a:gd name="connsiteY584" fmla="*/ 362654 h 384072"/>
                <a:gd name="connsiteX585" fmla="*/ 272808 w 682623"/>
                <a:gd name="connsiteY585" fmla="*/ 361262 h 384072"/>
                <a:gd name="connsiteX586" fmla="*/ 274108 w 682623"/>
                <a:gd name="connsiteY586" fmla="*/ 362321 h 384072"/>
                <a:gd name="connsiteX587" fmla="*/ 274562 w 682623"/>
                <a:gd name="connsiteY587" fmla="*/ 362321 h 384072"/>
                <a:gd name="connsiteX588" fmla="*/ 275167 w 682623"/>
                <a:gd name="connsiteY588" fmla="*/ 362291 h 384072"/>
                <a:gd name="connsiteX589" fmla="*/ 276891 w 682623"/>
                <a:gd name="connsiteY589" fmla="*/ 361202 h 384072"/>
                <a:gd name="connsiteX590" fmla="*/ 278888 w 682623"/>
                <a:gd name="connsiteY590" fmla="*/ 360658 h 384072"/>
                <a:gd name="connsiteX591" fmla="*/ 280007 w 682623"/>
                <a:gd name="connsiteY591" fmla="*/ 360083 h 384072"/>
                <a:gd name="connsiteX592" fmla="*/ 281036 w 682623"/>
                <a:gd name="connsiteY592" fmla="*/ 359024 h 384072"/>
                <a:gd name="connsiteX593" fmla="*/ 282488 w 682623"/>
                <a:gd name="connsiteY593" fmla="*/ 358933 h 384072"/>
                <a:gd name="connsiteX594" fmla="*/ 288690 w 682623"/>
                <a:gd name="connsiteY594" fmla="*/ 359357 h 384072"/>
                <a:gd name="connsiteX595" fmla="*/ 290626 w 682623"/>
                <a:gd name="connsiteY595" fmla="*/ 360173 h 384072"/>
                <a:gd name="connsiteX596" fmla="*/ 291170 w 682623"/>
                <a:gd name="connsiteY596" fmla="*/ 359901 h 384072"/>
                <a:gd name="connsiteX597" fmla="*/ 291291 w 682623"/>
                <a:gd name="connsiteY597" fmla="*/ 359478 h 384072"/>
                <a:gd name="connsiteX598" fmla="*/ 291079 w 682623"/>
                <a:gd name="connsiteY598" fmla="*/ 358903 h 384072"/>
                <a:gd name="connsiteX599" fmla="*/ 290323 w 682623"/>
                <a:gd name="connsiteY599" fmla="*/ 357784 h 384072"/>
                <a:gd name="connsiteX600" fmla="*/ 290172 w 682623"/>
                <a:gd name="connsiteY600" fmla="*/ 357300 h 384072"/>
                <a:gd name="connsiteX601" fmla="*/ 290293 w 682623"/>
                <a:gd name="connsiteY601" fmla="*/ 356785 h 384072"/>
                <a:gd name="connsiteX602" fmla="*/ 290626 w 682623"/>
                <a:gd name="connsiteY602" fmla="*/ 356331 h 384072"/>
                <a:gd name="connsiteX603" fmla="*/ 292985 w 682623"/>
                <a:gd name="connsiteY603" fmla="*/ 354759 h 384072"/>
                <a:gd name="connsiteX604" fmla="*/ 295557 w 682623"/>
                <a:gd name="connsiteY604" fmla="*/ 355091 h 384072"/>
                <a:gd name="connsiteX605" fmla="*/ 297341 w 682623"/>
                <a:gd name="connsiteY605" fmla="*/ 354638 h 384072"/>
                <a:gd name="connsiteX606" fmla="*/ 297463 w 682623"/>
                <a:gd name="connsiteY606" fmla="*/ 350705 h 384072"/>
                <a:gd name="connsiteX607" fmla="*/ 299035 w 682623"/>
                <a:gd name="connsiteY607" fmla="*/ 348194 h 384072"/>
                <a:gd name="connsiteX608" fmla="*/ 301365 w 682623"/>
                <a:gd name="connsiteY608" fmla="*/ 347286 h 384072"/>
                <a:gd name="connsiteX609" fmla="*/ 303603 w 682623"/>
                <a:gd name="connsiteY609" fmla="*/ 348073 h 384072"/>
                <a:gd name="connsiteX610" fmla="*/ 305086 w 682623"/>
                <a:gd name="connsiteY610" fmla="*/ 350674 h 384072"/>
                <a:gd name="connsiteX611" fmla="*/ 305086 w 682623"/>
                <a:gd name="connsiteY611" fmla="*/ 350705 h 384072"/>
                <a:gd name="connsiteX612" fmla="*/ 307324 w 682623"/>
                <a:gd name="connsiteY612" fmla="*/ 351915 h 384072"/>
                <a:gd name="connsiteX613" fmla="*/ 316158 w 682623"/>
                <a:gd name="connsiteY613" fmla="*/ 352762 h 384072"/>
                <a:gd name="connsiteX614" fmla="*/ 318941 w 682623"/>
                <a:gd name="connsiteY614" fmla="*/ 352248 h 384072"/>
                <a:gd name="connsiteX615" fmla="*/ 320091 w 682623"/>
                <a:gd name="connsiteY615" fmla="*/ 350886 h 384072"/>
                <a:gd name="connsiteX616" fmla="*/ 320574 w 682623"/>
                <a:gd name="connsiteY616" fmla="*/ 349283 h 384072"/>
                <a:gd name="connsiteX617" fmla="*/ 321301 w 682623"/>
                <a:gd name="connsiteY617" fmla="*/ 347649 h 384072"/>
                <a:gd name="connsiteX618" fmla="*/ 322450 w 682623"/>
                <a:gd name="connsiteY618" fmla="*/ 346833 h 384072"/>
                <a:gd name="connsiteX619" fmla="*/ 323327 w 682623"/>
                <a:gd name="connsiteY619" fmla="*/ 346228 h 384072"/>
                <a:gd name="connsiteX620" fmla="*/ 325142 w 682623"/>
                <a:gd name="connsiteY620" fmla="*/ 345865 h 384072"/>
                <a:gd name="connsiteX621" fmla="*/ 328893 w 682623"/>
                <a:gd name="connsiteY621" fmla="*/ 345865 h 384072"/>
                <a:gd name="connsiteX622" fmla="*/ 330557 w 682623"/>
                <a:gd name="connsiteY622" fmla="*/ 345320 h 384072"/>
                <a:gd name="connsiteX623" fmla="*/ 331586 w 682623"/>
                <a:gd name="connsiteY623" fmla="*/ 344261 h 384072"/>
                <a:gd name="connsiteX624" fmla="*/ 332342 w 682623"/>
                <a:gd name="connsiteY624" fmla="*/ 342930 h 384072"/>
                <a:gd name="connsiteX625" fmla="*/ 333159 w 682623"/>
                <a:gd name="connsiteY625" fmla="*/ 341781 h 384072"/>
                <a:gd name="connsiteX626" fmla="*/ 334430 w 682623"/>
                <a:gd name="connsiteY626" fmla="*/ 341236 h 384072"/>
                <a:gd name="connsiteX627" fmla="*/ 335549 w 682623"/>
                <a:gd name="connsiteY627" fmla="*/ 341085 h 384072"/>
                <a:gd name="connsiteX628" fmla="*/ 336396 w 682623"/>
                <a:gd name="connsiteY628" fmla="*/ 340752 h 384072"/>
                <a:gd name="connsiteX629" fmla="*/ 338090 w 682623"/>
                <a:gd name="connsiteY629" fmla="*/ 339482 h 384072"/>
                <a:gd name="connsiteX630" fmla="*/ 338816 w 682623"/>
                <a:gd name="connsiteY630" fmla="*/ 338544 h 384072"/>
                <a:gd name="connsiteX631" fmla="*/ 339330 w 682623"/>
                <a:gd name="connsiteY631" fmla="*/ 337576 h 384072"/>
                <a:gd name="connsiteX632" fmla="*/ 340026 w 682623"/>
                <a:gd name="connsiteY632" fmla="*/ 336668 h 384072"/>
                <a:gd name="connsiteX633" fmla="*/ 342688 w 682623"/>
                <a:gd name="connsiteY633" fmla="*/ 335337 h 384072"/>
                <a:gd name="connsiteX634" fmla="*/ 342416 w 682623"/>
                <a:gd name="connsiteY634" fmla="*/ 334218 h 384072"/>
                <a:gd name="connsiteX635" fmla="*/ 341690 w 682623"/>
                <a:gd name="connsiteY635" fmla="*/ 333008 h 384072"/>
                <a:gd name="connsiteX636" fmla="*/ 341508 w 682623"/>
                <a:gd name="connsiteY636" fmla="*/ 331919 h 384072"/>
                <a:gd name="connsiteX637" fmla="*/ 342960 w 682623"/>
                <a:gd name="connsiteY637" fmla="*/ 330406 h 384072"/>
                <a:gd name="connsiteX638" fmla="*/ 345290 w 682623"/>
                <a:gd name="connsiteY638" fmla="*/ 328984 h 384072"/>
                <a:gd name="connsiteX639" fmla="*/ 347771 w 682623"/>
                <a:gd name="connsiteY639" fmla="*/ 327956 h 384072"/>
                <a:gd name="connsiteX640" fmla="*/ 349646 w 682623"/>
                <a:gd name="connsiteY640" fmla="*/ 327653 h 384072"/>
                <a:gd name="connsiteX641" fmla="*/ 351794 w 682623"/>
                <a:gd name="connsiteY641" fmla="*/ 327683 h 384072"/>
                <a:gd name="connsiteX642" fmla="*/ 357632 w 682623"/>
                <a:gd name="connsiteY642" fmla="*/ 326655 h 384072"/>
                <a:gd name="connsiteX643" fmla="*/ 359780 w 682623"/>
                <a:gd name="connsiteY643" fmla="*/ 326746 h 384072"/>
                <a:gd name="connsiteX644" fmla="*/ 361898 w 682623"/>
                <a:gd name="connsiteY644" fmla="*/ 327381 h 384072"/>
                <a:gd name="connsiteX645" fmla="*/ 364076 w 682623"/>
                <a:gd name="connsiteY645" fmla="*/ 328652 h 384072"/>
                <a:gd name="connsiteX646" fmla="*/ 370217 w 682623"/>
                <a:gd name="connsiteY646" fmla="*/ 332282 h 384072"/>
                <a:gd name="connsiteX647" fmla="*/ 371972 w 682623"/>
                <a:gd name="connsiteY647" fmla="*/ 332614 h 384072"/>
                <a:gd name="connsiteX648" fmla="*/ 380351 w 682623"/>
                <a:gd name="connsiteY648" fmla="*/ 329438 h 384072"/>
                <a:gd name="connsiteX649" fmla="*/ 381894 w 682623"/>
                <a:gd name="connsiteY649" fmla="*/ 328833 h 384072"/>
                <a:gd name="connsiteX650" fmla="*/ 385948 w 682623"/>
                <a:gd name="connsiteY650" fmla="*/ 328016 h 384072"/>
                <a:gd name="connsiteX651" fmla="*/ 392392 w 682623"/>
                <a:gd name="connsiteY651" fmla="*/ 328561 h 384072"/>
                <a:gd name="connsiteX652" fmla="*/ 396596 w 682623"/>
                <a:gd name="connsiteY652" fmla="*/ 330769 h 384072"/>
                <a:gd name="connsiteX653" fmla="*/ 399440 w 682623"/>
                <a:gd name="connsiteY653" fmla="*/ 330436 h 384072"/>
                <a:gd name="connsiteX654" fmla="*/ 401981 w 682623"/>
                <a:gd name="connsiteY654" fmla="*/ 329257 h 384072"/>
                <a:gd name="connsiteX655" fmla="*/ 402980 w 682623"/>
                <a:gd name="connsiteY655" fmla="*/ 329166 h 384072"/>
                <a:gd name="connsiteX656" fmla="*/ 404613 w 682623"/>
                <a:gd name="connsiteY656" fmla="*/ 329529 h 384072"/>
                <a:gd name="connsiteX657" fmla="*/ 405158 w 682623"/>
                <a:gd name="connsiteY657" fmla="*/ 329922 h 384072"/>
                <a:gd name="connsiteX658" fmla="*/ 406186 w 682623"/>
                <a:gd name="connsiteY658" fmla="*/ 331253 h 384072"/>
                <a:gd name="connsiteX659" fmla="*/ 406973 w 682623"/>
                <a:gd name="connsiteY659" fmla="*/ 331646 h 384072"/>
                <a:gd name="connsiteX660" fmla="*/ 407699 w 682623"/>
                <a:gd name="connsiteY660" fmla="*/ 331556 h 384072"/>
                <a:gd name="connsiteX661" fmla="*/ 410209 w 682623"/>
                <a:gd name="connsiteY661" fmla="*/ 330406 h 384072"/>
                <a:gd name="connsiteX662" fmla="*/ 412025 w 682623"/>
                <a:gd name="connsiteY662" fmla="*/ 331102 h 384072"/>
                <a:gd name="connsiteX663" fmla="*/ 417500 w 682623"/>
                <a:gd name="connsiteY663" fmla="*/ 335398 h 384072"/>
                <a:gd name="connsiteX664" fmla="*/ 421584 w 682623"/>
                <a:gd name="connsiteY664" fmla="*/ 330648 h 384072"/>
                <a:gd name="connsiteX665" fmla="*/ 437769 w 682623"/>
                <a:gd name="connsiteY665" fmla="*/ 330225 h 384072"/>
                <a:gd name="connsiteX666" fmla="*/ 440219 w 682623"/>
                <a:gd name="connsiteY666" fmla="*/ 326594 h 384072"/>
                <a:gd name="connsiteX667" fmla="*/ 444333 w 682623"/>
                <a:gd name="connsiteY667" fmla="*/ 327472 h 384072"/>
                <a:gd name="connsiteX668" fmla="*/ 448296 w 682623"/>
                <a:gd name="connsiteY668" fmla="*/ 329015 h 384072"/>
                <a:gd name="connsiteX669" fmla="*/ 451230 w 682623"/>
                <a:gd name="connsiteY669" fmla="*/ 331495 h 384072"/>
                <a:gd name="connsiteX670" fmla="*/ 452229 w 682623"/>
                <a:gd name="connsiteY670" fmla="*/ 332100 h 384072"/>
                <a:gd name="connsiteX671" fmla="*/ 453469 w 682623"/>
                <a:gd name="connsiteY671" fmla="*/ 332524 h 384072"/>
                <a:gd name="connsiteX672" fmla="*/ 454195 w 682623"/>
                <a:gd name="connsiteY672" fmla="*/ 332554 h 384072"/>
                <a:gd name="connsiteX673" fmla="*/ 459882 w 682623"/>
                <a:gd name="connsiteY673" fmla="*/ 331465 h 384072"/>
                <a:gd name="connsiteX674" fmla="*/ 461849 w 682623"/>
                <a:gd name="connsiteY674" fmla="*/ 330527 h 384072"/>
                <a:gd name="connsiteX675" fmla="*/ 463392 w 682623"/>
                <a:gd name="connsiteY675" fmla="*/ 328954 h 384072"/>
                <a:gd name="connsiteX676" fmla="*/ 463936 w 682623"/>
                <a:gd name="connsiteY676" fmla="*/ 327653 h 384072"/>
                <a:gd name="connsiteX677" fmla="*/ 463936 w 682623"/>
                <a:gd name="connsiteY677" fmla="*/ 327351 h 384072"/>
                <a:gd name="connsiteX678" fmla="*/ 464057 w 682623"/>
                <a:gd name="connsiteY678" fmla="*/ 325747 h 384072"/>
                <a:gd name="connsiteX679" fmla="*/ 464541 w 682623"/>
                <a:gd name="connsiteY679" fmla="*/ 324749 h 384072"/>
                <a:gd name="connsiteX680" fmla="*/ 465297 w 682623"/>
                <a:gd name="connsiteY680" fmla="*/ 324507 h 384072"/>
                <a:gd name="connsiteX681" fmla="*/ 466235 w 682623"/>
                <a:gd name="connsiteY681" fmla="*/ 324810 h 384072"/>
                <a:gd name="connsiteX682" fmla="*/ 467203 w 682623"/>
                <a:gd name="connsiteY682" fmla="*/ 324931 h 384072"/>
                <a:gd name="connsiteX683" fmla="*/ 468020 w 682623"/>
                <a:gd name="connsiteY683" fmla="*/ 324204 h 384072"/>
                <a:gd name="connsiteX684" fmla="*/ 468020 w 682623"/>
                <a:gd name="connsiteY684" fmla="*/ 323115 h 384072"/>
                <a:gd name="connsiteX685" fmla="*/ 467082 w 682623"/>
                <a:gd name="connsiteY685" fmla="*/ 320151 h 384072"/>
                <a:gd name="connsiteX686" fmla="*/ 467022 w 682623"/>
                <a:gd name="connsiteY686" fmla="*/ 318910 h 384072"/>
                <a:gd name="connsiteX687" fmla="*/ 467475 w 682623"/>
                <a:gd name="connsiteY687" fmla="*/ 318154 h 384072"/>
                <a:gd name="connsiteX688" fmla="*/ 471408 w 682623"/>
                <a:gd name="connsiteY688" fmla="*/ 315129 h 384072"/>
                <a:gd name="connsiteX689" fmla="*/ 472316 w 682623"/>
                <a:gd name="connsiteY689" fmla="*/ 314706 h 384072"/>
                <a:gd name="connsiteX690" fmla="*/ 473435 w 682623"/>
                <a:gd name="connsiteY690" fmla="*/ 314131 h 384072"/>
                <a:gd name="connsiteX691" fmla="*/ 475553 w 682623"/>
                <a:gd name="connsiteY691" fmla="*/ 313586 h 384072"/>
                <a:gd name="connsiteX692" fmla="*/ 477579 w 682623"/>
                <a:gd name="connsiteY692" fmla="*/ 313677 h 384072"/>
                <a:gd name="connsiteX693" fmla="*/ 478487 w 682623"/>
                <a:gd name="connsiteY693" fmla="*/ 314131 h 384072"/>
                <a:gd name="connsiteX694" fmla="*/ 480302 w 682623"/>
                <a:gd name="connsiteY694" fmla="*/ 315553 h 384072"/>
                <a:gd name="connsiteX695" fmla="*/ 481149 w 682623"/>
                <a:gd name="connsiteY695" fmla="*/ 315916 h 384072"/>
                <a:gd name="connsiteX696" fmla="*/ 482117 w 682623"/>
                <a:gd name="connsiteY696" fmla="*/ 315825 h 384072"/>
                <a:gd name="connsiteX697" fmla="*/ 483599 w 682623"/>
                <a:gd name="connsiteY697" fmla="*/ 315069 h 384072"/>
                <a:gd name="connsiteX698" fmla="*/ 484295 w 682623"/>
                <a:gd name="connsiteY698" fmla="*/ 314857 h 384072"/>
                <a:gd name="connsiteX699" fmla="*/ 486080 w 682623"/>
                <a:gd name="connsiteY699" fmla="*/ 315220 h 384072"/>
                <a:gd name="connsiteX700" fmla="*/ 489831 w 682623"/>
                <a:gd name="connsiteY700" fmla="*/ 316702 h 384072"/>
                <a:gd name="connsiteX701" fmla="*/ 491828 w 682623"/>
                <a:gd name="connsiteY701" fmla="*/ 316642 h 384072"/>
                <a:gd name="connsiteX702" fmla="*/ 492735 w 682623"/>
                <a:gd name="connsiteY702" fmla="*/ 316279 h 384072"/>
                <a:gd name="connsiteX703" fmla="*/ 493613 w 682623"/>
                <a:gd name="connsiteY703" fmla="*/ 316279 h 384072"/>
                <a:gd name="connsiteX704" fmla="*/ 494399 w 682623"/>
                <a:gd name="connsiteY704" fmla="*/ 316642 h 384072"/>
                <a:gd name="connsiteX705" fmla="*/ 495095 w 682623"/>
                <a:gd name="connsiteY705" fmla="*/ 317398 h 384072"/>
                <a:gd name="connsiteX706" fmla="*/ 497061 w 682623"/>
                <a:gd name="connsiteY706" fmla="*/ 318971 h 384072"/>
                <a:gd name="connsiteX707" fmla="*/ 498876 w 682623"/>
                <a:gd name="connsiteY707" fmla="*/ 318336 h 384072"/>
                <a:gd name="connsiteX708" fmla="*/ 503686 w 682623"/>
                <a:gd name="connsiteY708" fmla="*/ 312981 h 384072"/>
                <a:gd name="connsiteX709" fmla="*/ 504322 w 682623"/>
                <a:gd name="connsiteY709" fmla="*/ 312649 h 384072"/>
                <a:gd name="connsiteX710" fmla="*/ 507286 w 682623"/>
                <a:gd name="connsiteY710" fmla="*/ 312679 h 384072"/>
                <a:gd name="connsiteX711" fmla="*/ 508224 w 682623"/>
                <a:gd name="connsiteY711" fmla="*/ 311983 h 384072"/>
                <a:gd name="connsiteX712" fmla="*/ 509374 w 682623"/>
                <a:gd name="connsiteY712" fmla="*/ 309956 h 384072"/>
                <a:gd name="connsiteX713" fmla="*/ 510251 w 682623"/>
                <a:gd name="connsiteY713" fmla="*/ 307385 h 384072"/>
                <a:gd name="connsiteX714" fmla="*/ 510675 w 682623"/>
                <a:gd name="connsiteY714" fmla="*/ 301425 h 384072"/>
                <a:gd name="connsiteX715" fmla="*/ 511673 w 682623"/>
                <a:gd name="connsiteY715" fmla="*/ 298521 h 384072"/>
                <a:gd name="connsiteX716" fmla="*/ 513397 w 682623"/>
                <a:gd name="connsiteY716" fmla="*/ 296706 h 384072"/>
                <a:gd name="connsiteX717" fmla="*/ 515363 w 682623"/>
                <a:gd name="connsiteY717" fmla="*/ 296041 h 384072"/>
                <a:gd name="connsiteX718" fmla="*/ 519599 w 682623"/>
                <a:gd name="connsiteY718" fmla="*/ 295859 h 384072"/>
                <a:gd name="connsiteX719" fmla="*/ 521928 w 682623"/>
                <a:gd name="connsiteY719" fmla="*/ 294256 h 384072"/>
                <a:gd name="connsiteX720" fmla="*/ 521323 w 682623"/>
                <a:gd name="connsiteY720" fmla="*/ 291291 h 384072"/>
                <a:gd name="connsiteX721" fmla="*/ 518358 w 682623"/>
                <a:gd name="connsiteY721" fmla="*/ 286148 h 384072"/>
                <a:gd name="connsiteX722" fmla="*/ 518631 w 682623"/>
                <a:gd name="connsiteY722" fmla="*/ 283365 h 384072"/>
                <a:gd name="connsiteX723" fmla="*/ 520022 w 682623"/>
                <a:gd name="connsiteY723" fmla="*/ 281248 h 384072"/>
                <a:gd name="connsiteX724" fmla="*/ 521777 w 682623"/>
                <a:gd name="connsiteY724" fmla="*/ 279221 h 384072"/>
                <a:gd name="connsiteX725" fmla="*/ 523017 w 682623"/>
                <a:gd name="connsiteY725" fmla="*/ 276770 h 384072"/>
                <a:gd name="connsiteX726" fmla="*/ 523410 w 682623"/>
                <a:gd name="connsiteY726" fmla="*/ 271627 h 384072"/>
                <a:gd name="connsiteX727" fmla="*/ 523985 w 682623"/>
                <a:gd name="connsiteY727" fmla="*/ 269086 h 384072"/>
                <a:gd name="connsiteX728" fmla="*/ 525528 w 682623"/>
                <a:gd name="connsiteY728" fmla="*/ 267392 h 384072"/>
                <a:gd name="connsiteX729" fmla="*/ 527676 w 682623"/>
                <a:gd name="connsiteY729" fmla="*/ 266878 h 384072"/>
                <a:gd name="connsiteX730" fmla="*/ 531367 w 682623"/>
                <a:gd name="connsiteY730" fmla="*/ 267150 h 384072"/>
                <a:gd name="connsiteX731" fmla="*/ 533545 w 682623"/>
                <a:gd name="connsiteY731" fmla="*/ 266061 h 384072"/>
                <a:gd name="connsiteX732" fmla="*/ 535632 w 682623"/>
                <a:gd name="connsiteY732" fmla="*/ 263520 h 384072"/>
                <a:gd name="connsiteX733" fmla="*/ 536328 w 682623"/>
                <a:gd name="connsiteY733" fmla="*/ 261796 h 384072"/>
                <a:gd name="connsiteX734" fmla="*/ 536509 w 682623"/>
                <a:gd name="connsiteY734" fmla="*/ 261282 h 384072"/>
                <a:gd name="connsiteX735" fmla="*/ 537598 w 682623"/>
                <a:gd name="connsiteY735" fmla="*/ 259708 h 384072"/>
                <a:gd name="connsiteX736" fmla="*/ 540351 w 682623"/>
                <a:gd name="connsiteY736" fmla="*/ 259255 h 384072"/>
                <a:gd name="connsiteX737" fmla="*/ 542348 w 682623"/>
                <a:gd name="connsiteY737" fmla="*/ 258196 h 384072"/>
                <a:gd name="connsiteX738" fmla="*/ 544193 w 682623"/>
                <a:gd name="connsiteY738" fmla="*/ 255685 h 384072"/>
                <a:gd name="connsiteX739" fmla="*/ 544526 w 682623"/>
                <a:gd name="connsiteY739" fmla="*/ 253053 h 384072"/>
                <a:gd name="connsiteX740" fmla="*/ 541803 w 682623"/>
                <a:gd name="connsiteY740" fmla="*/ 251329 h 384072"/>
                <a:gd name="connsiteX741" fmla="*/ 541531 w 682623"/>
                <a:gd name="connsiteY741" fmla="*/ 251057 h 384072"/>
                <a:gd name="connsiteX742" fmla="*/ 541259 w 682623"/>
                <a:gd name="connsiteY742" fmla="*/ 250754 h 384072"/>
                <a:gd name="connsiteX743" fmla="*/ 541047 w 682623"/>
                <a:gd name="connsiteY743" fmla="*/ 250391 h 384072"/>
                <a:gd name="connsiteX744" fmla="*/ 541138 w 682623"/>
                <a:gd name="connsiteY744" fmla="*/ 249574 h 384072"/>
                <a:gd name="connsiteX745" fmla="*/ 541380 w 682623"/>
                <a:gd name="connsiteY745" fmla="*/ 248757 h 384072"/>
                <a:gd name="connsiteX746" fmla="*/ 541713 w 682623"/>
                <a:gd name="connsiteY746" fmla="*/ 248062 h 384072"/>
                <a:gd name="connsiteX747" fmla="*/ 542136 w 682623"/>
                <a:gd name="connsiteY747" fmla="*/ 247426 h 384072"/>
                <a:gd name="connsiteX748" fmla="*/ 544314 w 682623"/>
                <a:gd name="connsiteY748" fmla="*/ 241981 h 384072"/>
                <a:gd name="connsiteX749" fmla="*/ 545585 w 682623"/>
                <a:gd name="connsiteY749" fmla="*/ 239773 h 384072"/>
                <a:gd name="connsiteX750" fmla="*/ 547672 w 682623"/>
                <a:gd name="connsiteY750" fmla="*/ 237958 h 384072"/>
                <a:gd name="connsiteX751" fmla="*/ 551363 w 682623"/>
                <a:gd name="connsiteY751" fmla="*/ 237050 h 384072"/>
                <a:gd name="connsiteX752" fmla="*/ 552421 w 682623"/>
                <a:gd name="connsiteY752" fmla="*/ 236203 h 384072"/>
                <a:gd name="connsiteX753" fmla="*/ 553238 w 682623"/>
                <a:gd name="connsiteY753" fmla="*/ 234509 h 384072"/>
                <a:gd name="connsiteX754" fmla="*/ 553208 w 682623"/>
                <a:gd name="connsiteY754" fmla="*/ 233027 h 384072"/>
                <a:gd name="connsiteX755" fmla="*/ 552875 w 682623"/>
                <a:gd name="connsiteY755" fmla="*/ 231605 h 384072"/>
                <a:gd name="connsiteX756" fmla="*/ 552784 w 682623"/>
                <a:gd name="connsiteY756" fmla="*/ 229941 h 384072"/>
                <a:gd name="connsiteX757" fmla="*/ 552936 w 682623"/>
                <a:gd name="connsiteY757" fmla="*/ 228368 h 384072"/>
                <a:gd name="connsiteX758" fmla="*/ 553057 w 682623"/>
                <a:gd name="connsiteY758" fmla="*/ 228005 h 384072"/>
                <a:gd name="connsiteX759" fmla="*/ 553510 w 682623"/>
                <a:gd name="connsiteY759" fmla="*/ 227823 h 384072"/>
                <a:gd name="connsiteX760" fmla="*/ 558109 w 682623"/>
                <a:gd name="connsiteY760" fmla="*/ 224375 h 384072"/>
                <a:gd name="connsiteX761" fmla="*/ 558956 w 682623"/>
                <a:gd name="connsiteY761" fmla="*/ 223376 h 384072"/>
                <a:gd name="connsiteX762" fmla="*/ 560862 w 682623"/>
                <a:gd name="connsiteY762" fmla="*/ 216691 h 384072"/>
                <a:gd name="connsiteX763" fmla="*/ 561255 w 682623"/>
                <a:gd name="connsiteY763" fmla="*/ 216570 h 384072"/>
                <a:gd name="connsiteX764" fmla="*/ 561194 w 682623"/>
                <a:gd name="connsiteY764" fmla="*/ 216419 h 384072"/>
                <a:gd name="connsiteX765" fmla="*/ 560287 w 682623"/>
                <a:gd name="connsiteY765" fmla="*/ 214846 h 384072"/>
                <a:gd name="connsiteX766" fmla="*/ 559591 w 682623"/>
                <a:gd name="connsiteY766" fmla="*/ 214331 h 384072"/>
                <a:gd name="connsiteX767" fmla="*/ 558623 w 682623"/>
                <a:gd name="connsiteY767" fmla="*/ 214150 h 384072"/>
                <a:gd name="connsiteX768" fmla="*/ 557746 w 682623"/>
                <a:gd name="connsiteY768" fmla="*/ 213757 h 384072"/>
                <a:gd name="connsiteX769" fmla="*/ 557504 w 682623"/>
                <a:gd name="connsiteY769" fmla="*/ 213030 h 384072"/>
                <a:gd name="connsiteX770" fmla="*/ 557383 w 682623"/>
                <a:gd name="connsiteY770" fmla="*/ 212607 h 384072"/>
                <a:gd name="connsiteX771" fmla="*/ 561285 w 682623"/>
                <a:gd name="connsiteY771" fmla="*/ 208251 h 384072"/>
                <a:gd name="connsiteX772" fmla="*/ 563554 w 682623"/>
                <a:gd name="connsiteY772" fmla="*/ 206315 h 384072"/>
                <a:gd name="connsiteX773" fmla="*/ 568515 w 682623"/>
                <a:gd name="connsiteY773" fmla="*/ 203259 h 384072"/>
                <a:gd name="connsiteX774" fmla="*/ 570542 w 682623"/>
                <a:gd name="connsiteY774" fmla="*/ 201414 h 384072"/>
                <a:gd name="connsiteX775" fmla="*/ 571238 w 682623"/>
                <a:gd name="connsiteY775" fmla="*/ 200234 h 384072"/>
                <a:gd name="connsiteX776" fmla="*/ 571722 w 682623"/>
                <a:gd name="connsiteY776" fmla="*/ 197814 h 384072"/>
                <a:gd name="connsiteX777" fmla="*/ 572176 w 682623"/>
                <a:gd name="connsiteY777" fmla="*/ 196604 h 384072"/>
                <a:gd name="connsiteX778" fmla="*/ 573144 w 682623"/>
                <a:gd name="connsiteY778" fmla="*/ 195303 h 384072"/>
                <a:gd name="connsiteX779" fmla="*/ 575352 w 682623"/>
                <a:gd name="connsiteY779" fmla="*/ 193337 h 384072"/>
                <a:gd name="connsiteX780" fmla="*/ 576199 w 682623"/>
                <a:gd name="connsiteY780" fmla="*/ 192248 h 384072"/>
                <a:gd name="connsiteX781" fmla="*/ 576804 w 682623"/>
                <a:gd name="connsiteY781" fmla="*/ 190584 h 384072"/>
                <a:gd name="connsiteX782" fmla="*/ 576774 w 682623"/>
                <a:gd name="connsiteY782" fmla="*/ 189313 h 384072"/>
                <a:gd name="connsiteX783" fmla="*/ 576532 w 682623"/>
                <a:gd name="connsiteY783" fmla="*/ 188103 h 384072"/>
                <a:gd name="connsiteX784" fmla="*/ 576562 w 682623"/>
                <a:gd name="connsiteY784" fmla="*/ 186530 h 384072"/>
                <a:gd name="connsiteX785" fmla="*/ 576986 w 682623"/>
                <a:gd name="connsiteY785" fmla="*/ 185018 h 384072"/>
                <a:gd name="connsiteX786" fmla="*/ 578165 w 682623"/>
                <a:gd name="connsiteY786" fmla="*/ 182991 h 384072"/>
                <a:gd name="connsiteX787" fmla="*/ 578680 w 682623"/>
                <a:gd name="connsiteY787" fmla="*/ 181750 h 384072"/>
                <a:gd name="connsiteX788" fmla="*/ 579829 w 682623"/>
                <a:gd name="connsiteY788" fmla="*/ 176880 h 384072"/>
                <a:gd name="connsiteX789" fmla="*/ 580465 w 682623"/>
                <a:gd name="connsiteY789" fmla="*/ 175277 h 384072"/>
                <a:gd name="connsiteX790" fmla="*/ 584337 w 682623"/>
                <a:gd name="connsiteY790" fmla="*/ 170073 h 384072"/>
                <a:gd name="connsiteX791" fmla="*/ 586182 w 682623"/>
                <a:gd name="connsiteY791" fmla="*/ 168168 h 384072"/>
                <a:gd name="connsiteX792" fmla="*/ 587997 w 682623"/>
                <a:gd name="connsiteY792" fmla="*/ 167139 h 384072"/>
                <a:gd name="connsiteX793" fmla="*/ 592474 w 682623"/>
                <a:gd name="connsiteY793" fmla="*/ 165929 h 384072"/>
                <a:gd name="connsiteX794" fmla="*/ 594471 w 682623"/>
                <a:gd name="connsiteY794" fmla="*/ 162148 h 384072"/>
                <a:gd name="connsiteX795" fmla="*/ 594350 w 682623"/>
                <a:gd name="connsiteY795" fmla="*/ 157610 h 384072"/>
                <a:gd name="connsiteX796" fmla="*/ 593473 w 682623"/>
                <a:gd name="connsiteY796" fmla="*/ 152891 h 384072"/>
                <a:gd name="connsiteX797" fmla="*/ 593200 w 682623"/>
                <a:gd name="connsiteY797" fmla="*/ 148625 h 384072"/>
                <a:gd name="connsiteX798" fmla="*/ 595136 w 682623"/>
                <a:gd name="connsiteY798" fmla="*/ 145267 h 384072"/>
                <a:gd name="connsiteX799" fmla="*/ 598101 w 682623"/>
                <a:gd name="connsiteY799" fmla="*/ 142303 h 384072"/>
                <a:gd name="connsiteX800" fmla="*/ 604333 w 682623"/>
                <a:gd name="connsiteY800" fmla="*/ 137946 h 384072"/>
                <a:gd name="connsiteX801" fmla="*/ 609264 w 682623"/>
                <a:gd name="connsiteY801" fmla="*/ 136797 h 384072"/>
                <a:gd name="connsiteX802" fmla="*/ 609839 w 682623"/>
                <a:gd name="connsiteY802" fmla="*/ 136404 h 384072"/>
                <a:gd name="connsiteX803" fmla="*/ 610625 w 682623"/>
                <a:gd name="connsiteY803" fmla="*/ 135859 h 384072"/>
                <a:gd name="connsiteX804" fmla="*/ 611170 w 682623"/>
                <a:gd name="connsiteY804" fmla="*/ 134830 h 384072"/>
                <a:gd name="connsiteX805" fmla="*/ 611200 w 682623"/>
                <a:gd name="connsiteY805" fmla="*/ 134679 h 384072"/>
                <a:gd name="connsiteX806" fmla="*/ 611351 w 682623"/>
                <a:gd name="connsiteY806" fmla="*/ 133772 h 384072"/>
                <a:gd name="connsiteX807" fmla="*/ 611412 w 682623"/>
                <a:gd name="connsiteY807" fmla="*/ 132774 h 384072"/>
                <a:gd name="connsiteX808" fmla="*/ 611714 w 682623"/>
                <a:gd name="connsiteY808" fmla="*/ 131866 h 384072"/>
                <a:gd name="connsiteX809" fmla="*/ 614225 w 682623"/>
                <a:gd name="connsiteY809" fmla="*/ 128599 h 384072"/>
                <a:gd name="connsiteX810" fmla="*/ 614528 w 682623"/>
                <a:gd name="connsiteY810" fmla="*/ 127419 h 384072"/>
                <a:gd name="connsiteX811" fmla="*/ 614860 w 682623"/>
                <a:gd name="connsiteY811" fmla="*/ 124908 h 384072"/>
                <a:gd name="connsiteX812" fmla="*/ 615254 w 682623"/>
                <a:gd name="connsiteY812" fmla="*/ 123879 h 384072"/>
                <a:gd name="connsiteX813" fmla="*/ 615980 w 682623"/>
                <a:gd name="connsiteY813" fmla="*/ 123032 h 384072"/>
                <a:gd name="connsiteX814" fmla="*/ 617704 w 682623"/>
                <a:gd name="connsiteY814" fmla="*/ 121883 h 384072"/>
                <a:gd name="connsiteX815" fmla="*/ 618461 w 682623"/>
                <a:gd name="connsiteY815" fmla="*/ 121157 h 384072"/>
                <a:gd name="connsiteX816" fmla="*/ 620669 w 682623"/>
                <a:gd name="connsiteY816" fmla="*/ 118101 h 384072"/>
                <a:gd name="connsiteX817" fmla="*/ 621818 w 682623"/>
                <a:gd name="connsiteY817" fmla="*/ 117012 h 384072"/>
                <a:gd name="connsiteX818" fmla="*/ 623664 w 682623"/>
                <a:gd name="connsiteY818" fmla="*/ 116075 h 384072"/>
                <a:gd name="connsiteX819" fmla="*/ 625448 w 682623"/>
                <a:gd name="connsiteY819" fmla="*/ 115469 h 384072"/>
                <a:gd name="connsiteX820" fmla="*/ 626719 w 682623"/>
                <a:gd name="connsiteY820" fmla="*/ 115349 h 384072"/>
                <a:gd name="connsiteX821" fmla="*/ 631378 w 682623"/>
                <a:gd name="connsiteY821" fmla="*/ 116014 h 384072"/>
                <a:gd name="connsiteX822" fmla="*/ 632830 w 682623"/>
                <a:gd name="connsiteY822" fmla="*/ 115893 h 384072"/>
                <a:gd name="connsiteX823" fmla="*/ 634161 w 682623"/>
                <a:gd name="connsiteY823" fmla="*/ 115379 h 384072"/>
                <a:gd name="connsiteX824" fmla="*/ 635310 w 682623"/>
                <a:gd name="connsiteY824" fmla="*/ 114380 h 384072"/>
                <a:gd name="connsiteX825" fmla="*/ 636944 w 682623"/>
                <a:gd name="connsiteY825" fmla="*/ 108935 h 384072"/>
                <a:gd name="connsiteX826" fmla="*/ 640060 w 682623"/>
                <a:gd name="connsiteY826" fmla="*/ 108270 h 384072"/>
                <a:gd name="connsiteX827" fmla="*/ 647502 w 682623"/>
                <a:gd name="connsiteY827" fmla="*/ 111900 h 384072"/>
                <a:gd name="connsiteX828" fmla="*/ 650981 w 682623"/>
                <a:gd name="connsiteY828" fmla="*/ 112414 h 384072"/>
                <a:gd name="connsiteX829" fmla="*/ 654823 w 682623"/>
                <a:gd name="connsiteY829" fmla="*/ 111900 h 384072"/>
                <a:gd name="connsiteX830" fmla="*/ 658483 w 682623"/>
                <a:gd name="connsiteY830" fmla="*/ 110448 h 384072"/>
                <a:gd name="connsiteX831" fmla="*/ 661448 w 682623"/>
                <a:gd name="connsiteY831" fmla="*/ 108088 h 384072"/>
                <a:gd name="connsiteX832" fmla="*/ 663928 w 682623"/>
                <a:gd name="connsiteY832" fmla="*/ 105063 h 384072"/>
                <a:gd name="connsiteX833" fmla="*/ 665138 w 682623"/>
                <a:gd name="connsiteY833" fmla="*/ 104186 h 384072"/>
                <a:gd name="connsiteX834" fmla="*/ 667196 w 682623"/>
                <a:gd name="connsiteY834" fmla="*/ 103309 h 384072"/>
                <a:gd name="connsiteX835" fmla="*/ 669374 w 682623"/>
                <a:gd name="connsiteY835" fmla="*/ 103097 h 384072"/>
                <a:gd name="connsiteX836" fmla="*/ 669978 w 682623"/>
                <a:gd name="connsiteY836" fmla="*/ 102734 h 384072"/>
                <a:gd name="connsiteX837" fmla="*/ 670826 w 682623"/>
                <a:gd name="connsiteY837" fmla="*/ 101191 h 384072"/>
                <a:gd name="connsiteX838" fmla="*/ 670644 w 682623"/>
                <a:gd name="connsiteY838" fmla="*/ 100193 h 384072"/>
                <a:gd name="connsiteX839" fmla="*/ 670130 w 682623"/>
                <a:gd name="connsiteY839" fmla="*/ 99285 h 384072"/>
                <a:gd name="connsiteX840" fmla="*/ 670100 w 682623"/>
                <a:gd name="connsiteY840" fmla="*/ 98105 h 384072"/>
                <a:gd name="connsiteX841" fmla="*/ 671158 w 682623"/>
                <a:gd name="connsiteY841" fmla="*/ 96260 h 384072"/>
                <a:gd name="connsiteX842" fmla="*/ 672792 w 682623"/>
                <a:gd name="connsiteY842" fmla="*/ 95231 h 384072"/>
                <a:gd name="connsiteX843" fmla="*/ 676815 w 682623"/>
                <a:gd name="connsiteY843" fmla="*/ 93840 h 384072"/>
                <a:gd name="connsiteX844" fmla="*/ 678449 w 682623"/>
                <a:gd name="connsiteY844" fmla="*/ 92448 h 384072"/>
                <a:gd name="connsiteX845" fmla="*/ 680990 w 682623"/>
                <a:gd name="connsiteY845" fmla="*/ 88122 h 384072"/>
                <a:gd name="connsiteX846" fmla="*/ 682624 w 682623"/>
                <a:gd name="connsiteY846" fmla="*/ 86337 h 384072"/>
                <a:gd name="connsiteX847" fmla="*/ 678933 w 682623"/>
                <a:gd name="connsiteY847" fmla="*/ 83585 h 38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Lst>
              <a:rect l="l" t="t" r="r" b="b"/>
              <a:pathLst>
                <a:path w="682623" h="384072">
                  <a:moveTo>
                    <a:pt x="678933" y="83585"/>
                  </a:moveTo>
                  <a:lnTo>
                    <a:pt x="678086" y="81921"/>
                  </a:lnTo>
                  <a:lnTo>
                    <a:pt x="679810" y="79924"/>
                  </a:lnTo>
                  <a:lnTo>
                    <a:pt x="679992" y="77776"/>
                  </a:lnTo>
                  <a:lnTo>
                    <a:pt x="680657" y="76506"/>
                  </a:lnTo>
                  <a:lnTo>
                    <a:pt x="681020" y="75084"/>
                  </a:lnTo>
                  <a:lnTo>
                    <a:pt x="680325" y="72482"/>
                  </a:lnTo>
                  <a:lnTo>
                    <a:pt x="679296" y="70576"/>
                  </a:lnTo>
                  <a:lnTo>
                    <a:pt x="677935" y="69003"/>
                  </a:lnTo>
                  <a:lnTo>
                    <a:pt x="674970" y="66432"/>
                  </a:lnTo>
                  <a:lnTo>
                    <a:pt x="671370" y="64556"/>
                  </a:lnTo>
                  <a:lnTo>
                    <a:pt x="671007" y="63921"/>
                  </a:lnTo>
                  <a:lnTo>
                    <a:pt x="669374" y="62923"/>
                  </a:lnTo>
                  <a:lnTo>
                    <a:pt x="667649" y="63377"/>
                  </a:lnTo>
                  <a:lnTo>
                    <a:pt x="665925" y="64375"/>
                  </a:lnTo>
                  <a:lnTo>
                    <a:pt x="664080" y="64950"/>
                  </a:lnTo>
                  <a:lnTo>
                    <a:pt x="656849" y="64950"/>
                  </a:lnTo>
                  <a:lnTo>
                    <a:pt x="655519" y="65615"/>
                  </a:lnTo>
                  <a:lnTo>
                    <a:pt x="655246" y="65585"/>
                  </a:lnTo>
                  <a:lnTo>
                    <a:pt x="654702" y="65041"/>
                  </a:lnTo>
                  <a:lnTo>
                    <a:pt x="653007" y="61743"/>
                  </a:lnTo>
                  <a:lnTo>
                    <a:pt x="651586" y="57357"/>
                  </a:lnTo>
                  <a:lnTo>
                    <a:pt x="650255" y="54513"/>
                  </a:lnTo>
                  <a:lnTo>
                    <a:pt x="642782" y="45438"/>
                  </a:lnTo>
                  <a:lnTo>
                    <a:pt x="642359" y="45256"/>
                  </a:lnTo>
                  <a:lnTo>
                    <a:pt x="641966" y="45195"/>
                  </a:lnTo>
                  <a:lnTo>
                    <a:pt x="641512" y="45226"/>
                  </a:lnTo>
                  <a:lnTo>
                    <a:pt x="639576" y="46133"/>
                  </a:lnTo>
                  <a:lnTo>
                    <a:pt x="638033" y="46254"/>
                  </a:lnTo>
                  <a:lnTo>
                    <a:pt x="636430" y="45952"/>
                  </a:lnTo>
                  <a:lnTo>
                    <a:pt x="634433" y="45195"/>
                  </a:lnTo>
                  <a:lnTo>
                    <a:pt x="634010" y="45135"/>
                  </a:lnTo>
                  <a:lnTo>
                    <a:pt x="633617" y="45195"/>
                  </a:lnTo>
                  <a:lnTo>
                    <a:pt x="633223" y="45377"/>
                  </a:lnTo>
                  <a:lnTo>
                    <a:pt x="632437" y="45952"/>
                  </a:lnTo>
                  <a:lnTo>
                    <a:pt x="631650" y="46164"/>
                  </a:lnTo>
                  <a:lnTo>
                    <a:pt x="630924" y="45982"/>
                  </a:lnTo>
                  <a:lnTo>
                    <a:pt x="630258" y="45377"/>
                  </a:lnTo>
                  <a:lnTo>
                    <a:pt x="625328" y="38359"/>
                  </a:lnTo>
                  <a:lnTo>
                    <a:pt x="624269" y="35545"/>
                  </a:lnTo>
                  <a:lnTo>
                    <a:pt x="624148" y="33609"/>
                  </a:lnTo>
                  <a:lnTo>
                    <a:pt x="624390" y="32006"/>
                  </a:lnTo>
                  <a:lnTo>
                    <a:pt x="624390" y="30645"/>
                  </a:lnTo>
                  <a:lnTo>
                    <a:pt x="623633" y="29495"/>
                  </a:lnTo>
                  <a:lnTo>
                    <a:pt x="622938" y="29374"/>
                  </a:lnTo>
                  <a:lnTo>
                    <a:pt x="620154" y="29525"/>
                  </a:lnTo>
                  <a:lnTo>
                    <a:pt x="620185" y="27317"/>
                  </a:lnTo>
                  <a:lnTo>
                    <a:pt x="621697" y="23112"/>
                  </a:lnTo>
                  <a:lnTo>
                    <a:pt x="618098" y="21448"/>
                  </a:lnTo>
                  <a:lnTo>
                    <a:pt x="614649" y="21055"/>
                  </a:lnTo>
                  <a:lnTo>
                    <a:pt x="611351" y="22265"/>
                  </a:lnTo>
                  <a:lnTo>
                    <a:pt x="610353" y="23263"/>
                  </a:lnTo>
                  <a:lnTo>
                    <a:pt x="610262" y="23263"/>
                  </a:lnTo>
                  <a:lnTo>
                    <a:pt x="610262" y="23263"/>
                  </a:lnTo>
                  <a:lnTo>
                    <a:pt x="610081" y="23293"/>
                  </a:lnTo>
                  <a:lnTo>
                    <a:pt x="607691" y="22930"/>
                  </a:lnTo>
                  <a:lnTo>
                    <a:pt x="605785" y="25169"/>
                  </a:lnTo>
                  <a:lnTo>
                    <a:pt x="604031" y="26440"/>
                  </a:lnTo>
                  <a:lnTo>
                    <a:pt x="602155" y="26954"/>
                  </a:lnTo>
                  <a:lnTo>
                    <a:pt x="596135" y="26409"/>
                  </a:lnTo>
                  <a:lnTo>
                    <a:pt x="594320" y="26500"/>
                  </a:lnTo>
                  <a:lnTo>
                    <a:pt x="592474" y="27105"/>
                  </a:lnTo>
                  <a:lnTo>
                    <a:pt x="587211" y="27347"/>
                  </a:lnTo>
                  <a:lnTo>
                    <a:pt x="585759" y="27892"/>
                  </a:lnTo>
                  <a:lnTo>
                    <a:pt x="582703" y="29495"/>
                  </a:lnTo>
                  <a:lnTo>
                    <a:pt x="578347" y="30100"/>
                  </a:lnTo>
                  <a:lnTo>
                    <a:pt x="573144" y="32551"/>
                  </a:lnTo>
                  <a:lnTo>
                    <a:pt x="570088" y="32792"/>
                  </a:lnTo>
                  <a:lnTo>
                    <a:pt x="566912" y="31825"/>
                  </a:lnTo>
                  <a:lnTo>
                    <a:pt x="564280" y="29979"/>
                  </a:lnTo>
                  <a:lnTo>
                    <a:pt x="561890" y="27438"/>
                  </a:lnTo>
                  <a:lnTo>
                    <a:pt x="556233" y="19451"/>
                  </a:lnTo>
                  <a:lnTo>
                    <a:pt x="555416" y="17969"/>
                  </a:lnTo>
                  <a:lnTo>
                    <a:pt x="554116" y="12221"/>
                  </a:lnTo>
                  <a:lnTo>
                    <a:pt x="553238" y="10649"/>
                  </a:lnTo>
                  <a:lnTo>
                    <a:pt x="551514" y="10286"/>
                  </a:lnTo>
                  <a:lnTo>
                    <a:pt x="547793" y="10316"/>
                  </a:lnTo>
                  <a:lnTo>
                    <a:pt x="546190" y="9650"/>
                  </a:lnTo>
                  <a:lnTo>
                    <a:pt x="545524" y="8652"/>
                  </a:lnTo>
                  <a:lnTo>
                    <a:pt x="544617" y="5959"/>
                  </a:lnTo>
                  <a:lnTo>
                    <a:pt x="543951" y="4780"/>
                  </a:lnTo>
                  <a:lnTo>
                    <a:pt x="543104" y="4054"/>
                  </a:lnTo>
                  <a:lnTo>
                    <a:pt x="541259" y="3388"/>
                  </a:lnTo>
                  <a:lnTo>
                    <a:pt x="537901" y="1513"/>
                  </a:lnTo>
                  <a:lnTo>
                    <a:pt x="536419" y="1119"/>
                  </a:lnTo>
                  <a:lnTo>
                    <a:pt x="531185" y="2662"/>
                  </a:lnTo>
                  <a:lnTo>
                    <a:pt x="527767" y="2723"/>
                  </a:lnTo>
                  <a:lnTo>
                    <a:pt x="526073" y="3025"/>
                  </a:lnTo>
                  <a:lnTo>
                    <a:pt x="524106" y="4114"/>
                  </a:lnTo>
                  <a:lnTo>
                    <a:pt x="523259" y="5385"/>
                  </a:lnTo>
                  <a:lnTo>
                    <a:pt x="522715" y="6897"/>
                  </a:lnTo>
                  <a:lnTo>
                    <a:pt x="521535" y="8440"/>
                  </a:lnTo>
                  <a:lnTo>
                    <a:pt x="520022" y="9226"/>
                  </a:lnTo>
                  <a:lnTo>
                    <a:pt x="518903" y="8743"/>
                  </a:lnTo>
                  <a:lnTo>
                    <a:pt x="517663" y="7805"/>
                  </a:lnTo>
                  <a:lnTo>
                    <a:pt x="515817" y="7048"/>
                  </a:lnTo>
                  <a:lnTo>
                    <a:pt x="512490" y="7744"/>
                  </a:lnTo>
                  <a:lnTo>
                    <a:pt x="504685" y="11193"/>
                  </a:lnTo>
                  <a:lnTo>
                    <a:pt x="502144" y="10649"/>
                  </a:lnTo>
                  <a:lnTo>
                    <a:pt x="500117" y="8803"/>
                  </a:lnTo>
                  <a:lnTo>
                    <a:pt x="497303" y="7623"/>
                  </a:lnTo>
                  <a:lnTo>
                    <a:pt x="494339" y="7139"/>
                  </a:lnTo>
                  <a:lnTo>
                    <a:pt x="491828" y="7321"/>
                  </a:lnTo>
                  <a:lnTo>
                    <a:pt x="488228" y="7018"/>
                  </a:lnTo>
                  <a:lnTo>
                    <a:pt x="482783" y="3932"/>
                  </a:lnTo>
                  <a:lnTo>
                    <a:pt x="479606" y="3630"/>
                  </a:lnTo>
                  <a:lnTo>
                    <a:pt x="478154" y="3267"/>
                  </a:lnTo>
                  <a:lnTo>
                    <a:pt x="475159" y="787"/>
                  </a:lnTo>
                  <a:lnTo>
                    <a:pt x="473617" y="0"/>
                  </a:lnTo>
                  <a:lnTo>
                    <a:pt x="471983" y="30"/>
                  </a:lnTo>
                  <a:lnTo>
                    <a:pt x="450686" y="4568"/>
                  </a:lnTo>
                  <a:lnTo>
                    <a:pt x="444424" y="4961"/>
                  </a:lnTo>
                  <a:lnTo>
                    <a:pt x="441550" y="6020"/>
                  </a:lnTo>
                  <a:lnTo>
                    <a:pt x="441429" y="7079"/>
                  </a:lnTo>
                  <a:lnTo>
                    <a:pt x="441399" y="8228"/>
                  </a:lnTo>
                  <a:lnTo>
                    <a:pt x="441580" y="10649"/>
                  </a:lnTo>
                  <a:lnTo>
                    <a:pt x="441641" y="11163"/>
                  </a:lnTo>
                  <a:lnTo>
                    <a:pt x="441641" y="11647"/>
                  </a:lnTo>
                  <a:lnTo>
                    <a:pt x="441641" y="12131"/>
                  </a:lnTo>
                  <a:lnTo>
                    <a:pt x="441550" y="12615"/>
                  </a:lnTo>
                  <a:lnTo>
                    <a:pt x="440189" y="14490"/>
                  </a:lnTo>
                  <a:lnTo>
                    <a:pt x="439947" y="14702"/>
                  </a:lnTo>
                  <a:lnTo>
                    <a:pt x="436891" y="17697"/>
                  </a:lnTo>
                  <a:lnTo>
                    <a:pt x="435379" y="19512"/>
                  </a:lnTo>
                  <a:lnTo>
                    <a:pt x="434229" y="21690"/>
                  </a:lnTo>
                  <a:lnTo>
                    <a:pt x="430327" y="32702"/>
                  </a:lnTo>
                  <a:lnTo>
                    <a:pt x="428209" y="36725"/>
                  </a:lnTo>
                  <a:lnTo>
                    <a:pt x="425698" y="40264"/>
                  </a:lnTo>
                  <a:lnTo>
                    <a:pt x="422764" y="42987"/>
                  </a:lnTo>
                  <a:lnTo>
                    <a:pt x="420495" y="44076"/>
                  </a:lnTo>
                  <a:lnTo>
                    <a:pt x="419255" y="43592"/>
                  </a:lnTo>
                  <a:lnTo>
                    <a:pt x="418135" y="42443"/>
                  </a:lnTo>
                  <a:lnTo>
                    <a:pt x="416109" y="41505"/>
                  </a:lnTo>
                  <a:lnTo>
                    <a:pt x="414989" y="41959"/>
                  </a:lnTo>
                  <a:lnTo>
                    <a:pt x="411934" y="44560"/>
                  </a:lnTo>
                  <a:lnTo>
                    <a:pt x="410270" y="45256"/>
                  </a:lnTo>
                  <a:lnTo>
                    <a:pt x="408515" y="45075"/>
                  </a:lnTo>
                  <a:lnTo>
                    <a:pt x="407457" y="44742"/>
                  </a:lnTo>
                  <a:lnTo>
                    <a:pt x="406610" y="44893"/>
                  </a:lnTo>
                  <a:lnTo>
                    <a:pt x="405339" y="46254"/>
                  </a:lnTo>
                  <a:lnTo>
                    <a:pt x="404946" y="47222"/>
                  </a:lnTo>
                  <a:lnTo>
                    <a:pt x="404401" y="49733"/>
                  </a:lnTo>
                  <a:lnTo>
                    <a:pt x="403675" y="50943"/>
                  </a:lnTo>
                  <a:lnTo>
                    <a:pt x="402828" y="51578"/>
                  </a:lnTo>
                  <a:lnTo>
                    <a:pt x="400922" y="52244"/>
                  </a:lnTo>
                  <a:lnTo>
                    <a:pt x="396929" y="54513"/>
                  </a:lnTo>
                  <a:lnTo>
                    <a:pt x="396596" y="54694"/>
                  </a:lnTo>
                  <a:lnTo>
                    <a:pt x="392755" y="55783"/>
                  </a:lnTo>
                  <a:lnTo>
                    <a:pt x="390455" y="57115"/>
                  </a:lnTo>
                  <a:lnTo>
                    <a:pt x="385887" y="61017"/>
                  </a:lnTo>
                  <a:lnTo>
                    <a:pt x="383497" y="61834"/>
                  </a:lnTo>
                  <a:lnTo>
                    <a:pt x="381440" y="61108"/>
                  </a:lnTo>
                  <a:lnTo>
                    <a:pt x="377599" y="57901"/>
                  </a:lnTo>
                  <a:lnTo>
                    <a:pt x="375118" y="57175"/>
                  </a:lnTo>
                  <a:lnTo>
                    <a:pt x="371488" y="58446"/>
                  </a:lnTo>
                  <a:lnTo>
                    <a:pt x="370550" y="58355"/>
                  </a:lnTo>
                  <a:lnTo>
                    <a:pt x="369582" y="57024"/>
                  </a:lnTo>
                  <a:lnTo>
                    <a:pt x="369854" y="55874"/>
                  </a:lnTo>
                  <a:lnTo>
                    <a:pt x="370399" y="54664"/>
                  </a:lnTo>
                  <a:lnTo>
                    <a:pt x="370368" y="53303"/>
                  </a:lnTo>
                  <a:lnTo>
                    <a:pt x="368583" y="51306"/>
                  </a:lnTo>
                  <a:lnTo>
                    <a:pt x="366194" y="50943"/>
                  </a:lnTo>
                  <a:lnTo>
                    <a:pt x="361565" y="51760"/>
                  </a:lnTo>
                  <a:lnTo>
                    <a:pt x="360567" y="51276"/>
                  </a:lnTo>
                  <a:lnTo>
                    <a:pt x="358389" y="48796"/>
                  </a:lnTo>
                  <a:lnTo>
                    <a:pt x="357239" y="47918"/>
                  </a:lnTo>
                  <a:lnTo>
                    <a:pt x="356211" y="47646"/>
                  </a:lnTo>
                  <a:lnTo>
                    <a:pt x="355152" y="47585"/>
                  </a:lnTo>
                  <a:lnTo>
                    <a:pt x="345895" y="49885"/>
                  </a:lnTo>
                  <a:lnTo>
                    <a:pt x="344171" y="50792"/>
                  </a:lnTo>
                  <a:lnTo>
                    <a:pt x="343051" y="52819"/>
                  </a:lnTo>
                  <a:lnTo>
                    <a:pt x="342113" y="58173"/>
                  </a:lnTo>
                  <a:lnTo>
                    <a:pt x="340904" y="60351"/>
                  </a:lnTo>
                  <a:lnTo>
                    <a:pt x="340904" y="60442"/>
                  </a:lnTo>
                  <a:lnTo>
                    <a:pt x="340843" y="60503"/>
                  </a:lnTo>
                  <a:lnTo>
                    <a:pt x="340904" y="60563"/>
                  </a:lnTo>
                  <a:lnTo>
                    <a:pt x="340904" y="60654"/>
                  </a:lnTo>
                  <a:lnTo>
                    <a:pt x="341055" y="61410"/>
                  </a:lnTo>
                  <a:lnTo>
                    <a:pt x="341115" y="62166"/>
                  </a:lnTo>
                  <a:lnTo>
                    <a:pt x="341055" y="62892"/>
                  </a:lnTo>
                  <a:lnTo>
                    <a:pt x="340904" y="63619"/>
                  </a:lnTo>
                  <a:lnTo>
                    <a:pt x="335519" y="67128"/>
                  </a:lnTo>
                  <a:lnTo>
                    <a:pt x="321936" y="66886"/>
                  </a:lnTo>
                  <a:lnTo>
                    <a:pt x="315946" y="70425"/>
                  </a:lnTo>
                  <a:lnTo>
                    <a:pt x="314827" y="70637"/>
                  </a:lnTo>
                  <a:lnTo>
                    <a:pt x="302363" y="69215"/>
                  </a:lnTo>
                  <a:lnTo>
                    <a:pt x="296313" y="70032"/>
                  </a:lnTo>
                  <a:lnTo>
                    <a:pt x="294347" y="69941"/>
                  </a:lnTo>
                  <a:lnTo>
                    <a:pt x="292078" y="69850"/>
                  </a:lnTo>
                  <a:lnTo>
                    <a:pt x="290626" y="70486"/>
                  </a:lnTo>
                  <a:lnTo>
                    <a:pt x="285755" y="71484"/>
                  </a:lnTo>
                  <a:lnTo>
                    <a:pt x="276165" y="73480"/>
                  </a:lnTo>
                  <a:lnTo>
                    <a:pt x="274441" y="74812"/>
                  </a:lnTo>
                  <a:lnTo>
                    <a:pt x="271749" y="79924"/>
                  </a:lnTo>
                  <a:lnTo>
                    <a:pt x="270781" y="80711"/>
                  </a:lnTo>
                  <a:lnTo>
                    <a:pt x="268814" y="81013"/>
                  </a:lnTo>
                  <a:lnTo>
                    <a:pt x="267907" y="81497"/>
                  </a:lnTo>
                  <a:lnTo>
                    <a:pt x="266576" y="83010"/>
                  </a:lnTo>
                  <a:lnTo>
                    <a:pt x="266727" y="83494"/>
                  </a:lnTo>
                  <a:lnTo>
                    <a:pt x="267423" y="84039"/>
                  </a:lnTo>
                  <a:lnTo>
                    <a:pt x="267755" y="85642"/>
                  </a:lnTo>
                  <a:lnTo>
                    <a:pt x="266757" y="91329"/>
                  </a:lnTo>
                  <a:lnTo>
                    <a:pt x="266515" y="94233"/>
                  </a:lnTo>
                  <a:lnTo>
                    <a:pt x="267151" y="96805"/>
                  </a:lnTo>
                  <a:lnTo>
                    <a:pt x="270115" y="99467"/>
                  </a:lnTo>
                  <a:lnTo>
                    <a:pt x="273957" y="102068"/>
                  </a:lnTo>
                  <a:lnTo>
                    <a:pt x="273836" y="102099"/>
                  </a:lnTo>
                  <a:lnTo>
                    <a:pt x="271356" y="102915"/>
                  </a:lnTo>
                  <a:lnTo>
                    <a:pt x="269056" y="103460"/>
                  </a:lnTo>
                  <a:lnTo>
                    <a:pt x="267302" y="104670"/>
                  </a:lnTo>
                  <a:lnTo>
                    <a:pt x="263974" y="108179"/>
                  </a:lnTo>
                  <a:lnTo>
                    <a:pt x="261524" y="109571"/>
                  </a:lnTo>
                  <a:lnTo>
                    <a:pt x="258589" y="109843"/>
                  </a:lnTo>
                  <a:lnTo>
                    <a:pt x="255594" y="109329"/>
                  </a:lnTo>
                  <a:lnTo>
                    <a:pt x="251934" y="107846"/>
                  </a:lnTo>
                  <a:lnTo>
                    <a:pt x="247427" y="107544"/>
                  </a:lnTo>
                  <a:lnTo>
                    <a:pt x="226825" y="109752"/>
                  </a:lnTo>
                  <a:lnTo>
                    <a:pt x="219293" y="112565"/>
                  </a:lnTo>
                  <a:lnTo>
                    <a:pt x="215541" y="112898"/>
                  </a:lnTo>
                  <a:lnTo>
                    <a:pt x="203138" y="111688"/>
                  </a:lnTo>
                  <a:lnTo>
                    <a:pt x="180087" y="113050"/>
                  </a:lnTo>
                  <a:lnTo>
                    <a:pt x="174278" y="113413"/>
                  </a:lnTo>
                  <a:lnTo>
                    <a:pt x="165839" y="111295"/>
                  </a:lnTo>
                  <a:lnTo>
                    <a:pt x="163570" y="110175"/>
                  </a:lnTo>
                  <a:lnTo>
                    <a:pt x="159274" y="108028"/>
                  </a:lnTo>
                  <a:lnTo>
                    <a:pt x="158215" y="106969"/>
                  </a:lnTo>
                  <a:lnTo>
                    <a:pt x="157429" y="105547"/>
                  </a:lnTo>
                  <a:lnTo>
                    <a:pt x="155553" y="103914"/>
                  </a:lnTo>
                  <a:lnTo>
                    <a:pt x="153496" y="102522"/>
                  </a:lnTo>
                  <a:lnTo>
                    <a:pt x="151983" y="101826"/>
                  </a:lnTo>
                  <a:lnTo>
                    <a:pt x="150834" y="102008"/>
                  </a:lnTo>
                  <a:lnTo>
                    <a:pt x="149835" y="102462"/>
                  </a:lnTo>
                  <a:lnTo>
                    <a:pt x="148807" y="102492"/>
                  </a:lnTo>
                  <a:lnTo>
                    <a:pt x="147567" y="101312"/>
                  </a:lnTo>
                  <a:lnTo>
                    <a:pt x="144178" y="96623"/>
                  </a:lnTo>
                  <a:lnTo>
                    <a:pt x="143240" y="96048"/>
                  </a:lnTo>
                  <a:lnTo>
                    <a:pt x="140699" y="95564"/>
                  </a:lnTo>
                  <a:lnTo>
                    <a:pt x="139671" y="95171"/>
                  </a:lnTo>
                  <a:lnTo>
                    <a:pt x="138672" y="94324"/>
                  </a:lnTo>
                  <a:lnTo>
                    <a:pt x="128357" y="81588"/>
                  </a:lnTo>
                  <a:lnTo>
                    <a:pt x="125180" y="79168"/>
                  </a:lnTo>
                  <a:lnTo>
                    <a:pt x="118616" y="78260"/>
                  </a:lnTo>
                  <a:lnTo>
                    <a:pt x="117587" y="77988"/>
                  </a:lnTo>
                  <a:lnTo>
                    <a:pt x="113413" y="76929"/>
                  </a:lnTo>
                  <a:lnTo>
                    <a:pt x="109783" y="76203"/>
                  </a:lnTo>
                  <a:lnTo>
                    <a:pt x="106092" y="78260"/>
                  </a:lnTo>
                  <a:lnTo>
                    <a:pt x="99799" y="83101"/>
                  </a:lnTo>
                  <a:lnTo>
                    <a:pt x="100858" y="84250"/>
                  </a:lnTo>
                  <a:lnTo>
                    <a:pt x="100798" y="85097"/>
                  </a:lnTo>
                  <a:lnTo>
                    <a:pt x="100344" y="85974"/>
                  </a:lnTo>
                  <a:lnTo>
                    <a:pt x="100042" y="87154"/>
                  </a:lnTo>
                  <a:lnTo>
                    <a:pt x="99860" y="87396"/>
                  </a:lnTo>
                  <a:lnTo>
                    <a:pt x="98922" y="87971"/>
                  </a:lnTo>
                  <a:lnTo>
                    <a:pt x="98650" y="88364"/>
                  </a:lnTo>
                  <a:lnTo>
                    <a:pt x="98741" y="88939"/>
                  </a:lnTo>
                  <a:lnTo>
                    <a:pt x="99225" y="89242"/>
                  </a:lnTo>
                  <a:lnTo>
                    <a:pt x="99769" y="89393"/>
                  </a:lnTo>
                  <a:lnTo>
                    <a:pt x="99981" y="89665"/>
                  </a:lnTo>
                  <a:lnTo>
                    <a:pt x="99558" y="92115"/>
                  </a:lnTo>
                  <a:lnTo>
                    <a:pt x="98983" y="93930"/>
                  </a:lnTo>
                  <a:lnTo>
                    <a:pt x="97984" y="95322"/>
                  </a:lnTo>
                  <a:lnTo>
                    <a:pt x="96320" y="96502"/>
                  </a:lnTo>
                  <a:lnTo>
                    <a:pt x="92842" y="97228"/>
                  </a:lnTo>
                  <a:lnTo>
                    <a:pt x="91601" y="97833"/>
                  </a:lnTo>
                  <a:lnTo>
                    <a:pt x="91632" y="99346"/>
                  </a:lnTo>
                  <a:lnTo>
                    <a:pt x="92267" y="99950"/>
                  </a:lnTo>
                  <a:lnTo>
                    <a:pt x="94354" y="100858"/>
                  </a:lnTo>
                  <a:lnTo>
                    <a:pt x="95141" y="101403"/>
                  </a:lnTo>
                  <a:lnTo>
                    <a:pt x="96109" y="103974"/>
                  </a:lnTo>
                  <a:lnTo>
                    <a:pt x="96774" y="104852"/>
                  </a:lnTo>
                  <a:lnTo>
                    <a:pt x="95262" y="106394"/>
                  </a:lnTo>
                  <a:lnTo>
                    <a:pt x="95413" y="108754"/>
                  </a:lnTo>
                  <a:lnTo>
                    <a:pt x="96079" y="111537"/>
                  </a:lnTo>
                  <a:lnTo>
                    <a:pt x="96291" y="116014"/>
                  </a:lnTo>
                  <a:lnTo>
                    <a:pt x="96774" y="117406"/>
                  </a:lnTo>
                  <a:lnTo>
                    <a:pt x="97621" y="118465"/>
                  </a:lnTo>
                  <a:lnTo>
                    <a:pt x="98771" y="119100"/>
                  </a:lnTo>
                  <a:lnTo>
                    <a:pt x="96714" y="119977"/>
                  </a:lnTo>
                  <a:lnTo>
                    <a:pt x="89363" y="120885"/>
                  </a:lnTo>
                  <a:lnTo>
                    <a:pt x="81376" y="122730"/>
                  </a:lnTo>
                  <a:lnTo>
                    <a:pt x="77565" y="122095"/>
                  </a:lnTo>
                  <a:lnTo>
                    <a:pt x="76113" y="118495"/>
                  </a:lnTo>
                  <a:lnTo>
                    <a:pt x="74781" y="119523"/>
                  </a:lnTo>
                  <a:lnTo>
                    <a:pt x="72785" y="122427"/>
                  </a:lnTo>
                  <a:lnTo>
                    <a:pt x="71696" y="123426"/>
                  </a:lnTo>
                  <a:lnTo>
                    <a:pt x="70788" y="123638"/>
                  </a:lnTo>
                  <a:lnTo>
                    <a:pt x="65131" y="122821"/>
                  </a:lnTo>
                  <a:lnTo>
                    <a:pt x="64042" y="122216"/>
                  </a:lnTo>
                  <a:lnTo>
                    <a:pt x="62923" y="121126"/>
                  </a:lnTo>
                  <a:lnTo>
                    <a:pt x="62137" y="119735"/>
                  </a:lnTo>
                  <a:lnTo>
                    <a:pt x="61774" y="118283"/>
                  </a:lnTo>
                  <a:lnTo>
                    <a:pt x="61259" y="117043"/>
                  </a:lnTo>
                  <a:lnTo>
                    <a:pt x="59959" y="116226"/>
                  </a:lnTo>
                  <a:lnTo>
                    <a:pt x="51912" y="113322"/>
                  </a:lnTo>
                  <a:lnTo>
                    <a:pt x="47676" y="112838"/>
                  </a:lnTo>
                  <a:lnTo>
                    <a:pt x="43986" y="114380"/>
                  </a:lnTo>
                  <a:lnTo>
                    <a:pt x="43380" y="115712"/>
                  </a:lnTo>
                  <a:lnTo>
                    <a:pt x="43592" y="117527"/>
                  </a:lnTo>
                  <a:lnTo>
                    <a:pt x="43017" y="118676"/>
                  </a:lnTo>
                  <a:lnTo>
                    <a:pt x="42140" y="119433"/>
                  </a:lnTo>
                  <a:lnTo>
                    <a:pt x="38147" y="121399"/>
                  </a:lnTo>
                  <a:lnTo>
                    <a:pt x="36967" y="122397"/>
                  </a:lnTo>
                  <a:lnTo>
                    <a:pt x="36302" y="122760"/>
                  </a:lnTo>
                  <a:lnTo>
                    <a:pt x="35818" y="122669"/>
                  </a:lnTo>
                  <a:lnTo>
                    <a:pt x="35334" y="122246"/>
                  </a:lnTo>
                  <a:lnTo>
                    <a:pt x="34759" y="121580"/>
                  </a:lnTo>
                  <a:lnTo>
                    <a:pt x="34003" y="122276"/>
                  </a:lnTo>
                  <a:lnTo>
                    <a:pt x="32460" y="124545"/>
                  </a:lnTo>
                  <a:lnTo>
                    <a:pt x="31583" y="125574"/>
                  </a:lnTo>
                  <a:lnTo>
                    <a:pt x="33398" y="126542"/>
                  </a:lnTo>
                  <a:lnTo>
                    <a:pt x="39055" y="128659"/>
                  </a:lnTo>
                  <a:lnTo>
                    <a:pt x="41838" y="128084"/>
                  </a:lnTo>
                  <a:lnTo>
                    <a:pt x="48463" y="130565"/>
                  </a:lnTo>
                  <a:lnTo>
                    <a:pt x="51790" y="130051"/>
                  </a:lnTo>
                  <a:lnTo>
                    <a:pt x="53968" y="130958"/>
                  </a:lnTo>
                  <a:lnTo>
                    <a:pt x="55723" y="133137"/>
                  </a:lnTo>
                  <a:lnTo>
                    <a:pt x="56570" y="135889"/>
                  </a:lnTo>
                  <a:lnTo>
                    <a:pt x="56026" y="138551"/>
                  </a:lnTo>
                  <a:lnTo>
                    <a:pt x="57720" y="139429"/>
                  </a:lnTo>
                  <a:lnTo>
                    <a:pt x="59111" y="140760"/>
                  </a:lnTo>
                  <a:lnTo>
                    <a:pt x="59898" y="142454"/>
                  </a:lnTo>
                  <a:lnTo>
                    <a:pt x="59777" y="144571"/>
                  </a:lnTo>
                  <a:lnTo>
                    <a:pt x="58718" y="146326"/>
                  </a:lnTo>
                  <a:lnTo>
                    <a:pt x="55784" y="147445"/>
                  </a:lnTo>
                  <a:lnTo>
                    <a:pt x="54634" y="148595"/>
                  </a:lnTo>
                  <a:lnTo>
                    <a:pt x="55028" y="154101"/>
                  </a:lnTo>
                  <a:lnTo>
                    <a:pt x="53636" y="155099"/>
                  </a:lnTo>
                  <a:lnTo>
                    <a:pt x="49854" y="157822"/>
                  </a:lnTo>
                  <a:lnTo>
                    <a:pt x="39055" y="162359"/>
                  </a:lnTo>
                  <a:lnTo>
                    <a:pt x="37845" y="160574"/>
                  </a:lnTo>
                  <a:lnTo>
                    <a:pt x="36514" y="159697"/>
                  </a:lnTo>
                  <a:lnTo>
                    <a:pt x="35243" y="160030"/>
                  </a:lnTo>
                  <a:lnTo>
                    <a:pt x="34215" y="161754"/>
                  </a:lnTo>
                  <a:lnTo>
                    <a:pt x="34487" y="166957"/>
                  </a:lnTo>
                  <a:lnTo>
                    <a:pt x="34245" y="167381"/>
                  </a:lnTo>
                  <a:lnTo>
                    <a:pt x="33761" y="167623"/>
                  </a:lnTo>
                  <a:lnTo>
                    <a:pt x="33307" y="167986"/>
                  </a:lnTo>
                  <a:lnTo>
                    <a:pt x="33246" y="168773"/>
                  </a:lnTo>
                  <a:lnTo>
                    <a:pt x="33549" y="169317"/>
                  </a:lnTo>
                  <a:lnTo>
                    <a:pt x="34003" y="169529"/>
                  </a:lnTo>
                  <a:lnTo>
                    <a:pt x="34456" y="169680"/>
                  </a:lnTo>
                  <a:lnTo>
                    <a:pt x="34698" y="169952"/>
                  </a:lnTo>
                  <a:lnTo>
                    <a:pt x="37754" y="175852"/>
                  </a:lnTo>
                  <a:lnTo>
                    <a:pt x="38177" y="178090"/>
                  </a:lnTo>
                  <a:lnTo>
                    <a:pt x="37512" y="179905"/>
                  </a:lnTo>
                  <a:lnTo>
                    <a:pt x="36060" y="181115"/>
                  </a:lnTo>
                  <a:lnTo>
                    <a:pt x="32944" y="182688"/>
                  </a:lnTo>
                  <a:lnTo>
                    <a:pt x="32944" y="182688"/>
                  </a:lnTo>
                  <a:lnTo>
                    <a:pt x="33277" y="185078"/>
                  </a:lnTo>
                  <a:lnTo>
                    <a:pt x="31734" y="188043"/>
                  </a:lnTo>
                  <a:lnTo>
                    <a:pt x="32097" y="190282"/>
                  </a:lnTo>
                  <a:lnTo>
                    <a:pt x="32672" y="190765"/>
                  </a:lnTo>
                  <a:lnTo>
                    <a:pt x="33489" y="190705"/>
                  </a:lnTo>
                  <a:lnTo>
                    <a:pt x="34335" y="190765"/>
                  </a:lnTo>
                  <a:lnTo>
                    <a:pt x="35001" y="191643"/>
                  </a:lnTo>
                  <a:lnTo>
                    <a:pt x="35031" y="192853"/>
                  </a:lnTo>
                  <a:lnTo>
                    <a:pt x="34215" y="195152"/>
                  </a:lnTo>
                  <a:lnTo>
                    <a:pt x="34184" y="195908"/>
                  </a:lnTo>
                  <a:lnTo>
                    <a:pt x="35545" y="196755"/>
                  </a:lnTo>
                  <a:lnTo>
                    <a:pt x="38934" y="195243"/>
                  </a:lnTo>
                  <a:lnTo>
                    <a:pt x="40598" y="195364"/>
                  </a:lnTo>
                  <a:lnTo>
                    <a:pt x="41808" y="197028"/>
                  </a:lnTo>
                  <a:lnTo>
                    <a:pt x="41354" y="198631"/>
                  </a:lnTo>
                  <a:lnTo>
                    <a:pt x="39055" y="201414"/>
                  </a:lnTo>
                  <a:lnTo>
                    <a:pt x="36937" y="202624"/>
                  </a:lnTo>
                  <a:lnTo>
                    <a:pt x="36271" y="204590"/>
                  </a:lnTo>
                  <a:lnTo>
                    <a:pt x="37028" y="206405"/>
                  </a:lnTo>
                  <a:lnTo>
                    <a:pt x="39055" y="207010"/>
                  </a:lnTo>
                  <a:lnTo>
                    <a:pt x="40235" y="207585"/>
                  </a:lnTo>
                  <a:lnTo>
                    <a:pt x="40598" y="208281"/>
                  </a:lnTo>
                  <a:lnTo>
                    <a:pt x="40174" y="209007"/>
                  </a:lnTo>
                  <a:lnTo>
                    <a:pt x="39055" y="209673"/>
                  </a:lnTo>
                  <a:lnTo>
                    <a:pt x="34547" y="211367"/>
                  </a:lnTo>
                  <a:lnTo>
                    <a:pt x="33277" y="212425"/>
                  </a:lnTo>
                  <a:lnTo>
                    <a:pt x="36151" y="212728"/>
                  </a:lnTo>
                  <a:lnTo>
                    <a:pt x="37603" y="213151"/>
                  </a:lnTo>
                  <a:lnTo>
                    <a:pt x="39055" y="214392"/>
                  </a:lnTo>
                  <a:lnTo>
                    <a:pt x="39478" y="215844"/>
                  </a:lnTo>
                  <a:lnTo>
                    <a:pt x="37603" y="216298"/>
                  </a:lnTo>
                  <a:lnTo>
                    <a:pt x="34971" y="216328"/>
                  </a:lnTo>
                  <a:lnTo>
                    <a:pt x="33307" y="216600"/>
                  </a:lnTo>
                  <a:lnTo>
                    <a:pt x="33307" y="216630"/>
                  </a:lnTo>
                  <a:lnTo>
                    <a:pt x="32853" y="216993"/>
                  </a:lnTo>
                  <a:lnTo>
                    <a:pt x="32369" y="217115"/>
                  </a:lnTo>
                  <a:lnTo>
                    <a:pt x="31855" y="216963"/>
                  </a:lnTo>
                  <a:lnTo>
                    <a:pt x="31310" y="216600"/>
                  </a:lnTo>
                  <a:lnTo>
                    <a:pt x="29556" y="215390"/>
                  </a:lnTo>
                  <a:lnTo>
                    <a:pt x="27438" y="215148"/>
                  </a:lnTo>
                  <a:lnTo>
                    <a:pt x="23324" y="215602"/>
                  </a:lnTo>
                  <a:lnTo>
                    <a:pt x="19573" y="214906"/>
                  </a:lnTo>
                  <a:lnTo>
                    <a:pt x="18211" y="215088"/>
                  </a:lnTo>
                  <a:lnTo>
                    <a:pt x="17244" y="216570"/>
                  </a:lnTo>
                  <a:lnTo>
                    <a:pt x="16820" y="218627"/>
                  </a:lnTo>
                  <a:lnTo>
                    <a:pt x="16003" y="219262"/>
                  </a:lnTo>
                  <a:lnTo>
                    <a:pt x="15005" y="219444"/>
                  </a:lnTo>
                  <a:lnTo>
                    <a:pt x="14006" y="220261"/>
                  </a:lnTo>
                  <a:lnTo>
                    <a:pt x="13734" y="221077"/>
                  </a:lnTo>
                  <a:lnTo>
                    <a:pt x="13795" y="221834"/>
                  </a:lnTo>
                  <a:lnTo>
                    <a:pt x="13765" y="222650"/>
                  </a:lnTo>
                  <a:lnTo>
                    <a:pt x="13099" y="223618"/>
                  </a:lnTo>
                  <a:lnTo>
                    <a:pt x="12403" y="224133"/>
                  </a:lnTo>
                  <a:lnTo>
                    <a:pt x="10286" y="224980"/>
                  </a:lnTo>
                  <a:lnTo>
                    <a:pt x="7714" y="226704"/>
                  </a:lnTo>
                  <a:lnTo>
                    <a:pt x="6565" y="227793"/>
                  </a:lnTo>
                  <a:lnTo>
                    <a:pt x="2934" y="232391"/>
                  </a:lnTo>
                  <a:lnTo>
                    <a:pt x="1634" y="233541"/>
                  </a:lnTo>
                  <a:lnTo>
                    <a:pt x="0" y="234237"/>
                  </a:lnTo>
                  <a:lnTo>
                    <a:pt x="3661" y="235053"/>
                  </a:lnTo>
                  <a:lnTo>
                    <a:pt x="4175" y="235175"/>
                  </a:lnTo>
                  <a:lnTo>
                    <a:pt x="8591" y="234812"/>
                  </a:lnTo>
                  <a:lnTo>
                    <a:pt x="17939" y="234055"/>
                  </a:lnTo>
                  <a:lnTo>
                    <a:pt x="18968" y="234600"/>
                  </a:lnTo>
                  <a:lnTo>
                    <a:pt x="20480" y="236354"/>
                  </a:lnTo>
                  <a:lnTo>
                    <a:pt x="20934" y="236869"/>
                  </a:lnTo>
                  <a:lnTo>
                    <a:pt x="21812" y="237292"/>
                  </a:lnTo>
                  <a:lnTo>
                    <a:pt x="23294" y="237353"/>
                  </a:lnTo>
                  <a:lnTo>
                    <a:pt x="23747" y="238048"/>
                  </a:lnTo>
                  <a:lnTo>
                    <a:pt x="23505" y="239258"/>
                  </a:lnTo>
                  <a:lnTo>
                    <a:pt x="22931" y="240892"/>
                  </a:lnTo>
                  <a:lnTo>
                    <a:pt x="22235" y="242405"/>
                  </a:lnTo>
                  <a:lnTo>
                    <a:pt x="21841" y="243040"/>
                  </a:lnTo>
                  <a:lnTo>
                    <a:pt x="20964" y="244431"/>
                  </a:lnTo>
                  <a:lnTo>
                    <a:pt x="20692" y="245460"/>
                  </a:lnTo>
                  <a:lnTo>
                    <a:pt x="20541" y="245944"/>
                  </a:lnTo>
                  <a:lnTo>
                    <a:pt x="20783" y="246458"/>
                  </a:lnTo>
                  <a:lnTo>
                    <a:pt x="22175" y="250331"/>
                  </a:lnTo>
                  <a:lnTo>
                    <a:pt x="23324" y="251692"/>
                  </a:lnTo>
                  <a:lnTo>
                    <a:pt x="24171" y="253235"/>
                  </a:lnTo>
                  <a:lnTo>
                    <a:pt x="25109" y="254263"/>
                  </a:lnTo>
                  <a:lnTo>
                    <a:pt x="26500" y="254021"/>
                  </a:lnTo>
                  <a:lnTo>
                    <a:pt x="26531" y="256290"/>
                  </a:lnTo>
                  <a:lnTo>
                    <a:pt x="27317" y="256593"/>
                  </a:lnTo>
                  <a:lnTo>
                    <a:pt x="27408" y="256653"/>
                  </a:lnTo>
                  <a:lnTo>
                    <a:pt x="27922" y="256835"/>
                  </a:lnTo>
                  <a:lnTo>
                    <a:pt x="29798" y="256956"/>
                  </a:lnTo>
                  <a:lnTo>
                    <a:pt x="31310" y="257893"/>
                  </a:lnTo>
                  <a:lnTo>
                    <a:pt x="31855" y="260434"/>
                  </a:lnTo>
                  <a:lnTo>
                    <a:pt x="31068" y="261130"/>
                  </a:lnTo>
                  <a:lnTo>
                    <a:pt x="30463" y="261675"/>
                  </a:lnTo>
                  <a:lnTo>
                    <a:pt x="28527" y="262492"/>
                  </a:lnTo>
                  <a:lnTo>
                    <a:pt x="27620" y="263823"/>
                  </a:lnTo>
                  <a:lnTo>
                    <a:pt x="28013" y="264730"/>
                  </a:lnTo>
                  <a:lnTo>
                    <a:pt x="28436" y="265698"/>
                  </a:lnTo>
                  <a:lnTo>
                    <a:pt x="30251" y="267060"/>
                  </a:lnTo>
                  <a:lnTo>
                    <a:pt x="33852" y="269026"/>
                  </a:lnTo>
                  <a:lnTo>
                    <a:pt x="37572" y="274350"/>
                  </a:lnTo>
                  <a:lnTo>
                    <a:pt x="40961" y="277043"/>
                  </a:lnTo>
                  <a:lnTo>
                    <a:pt x="42382" y="282821"/>
                  </a:lnTo>
                  <a:lnTo>
                    <a:pt x="42988" y="283214"/>
                  </a:lnTo>
                  <a:lnTo>
                    <a:pt x="47344" y="285725"/>
                  </a:lnTo>
                  <a:lnTo>
                    <a:pt x="48674" y="286995"/>
                  </a:lnTo>
                  <a:lnTo>
                    <a:pt x="49280" y="286995"/>
                  </a:lnTo>
                  <a:lnTo>
                    <a:pt x="49734" y="285785"/>
                  </a:lnTo>
                  <a:lnTo>
                    <a:pt x="50338" y="285331"/>
                  </a:lnTo>
                  <a:lnTo>
                    <a:pt x="51155" y="285452"/>
                  </a:lnTo>
                  <a:lnTo>
                    <a:pt x="52033" y="285967"/>
                  </a:lnTo>
                  <a:lnTo>
                    <a:pt x="54725" y="286451"/>
                  </a:lnTo>
                  <a:lnTo>
                    <a:pt x="56903" y="287842"/>
                  </a:lnTo>
                  <a:lnTo>
                    <a:pt x="58718" y="289899"/>
                  </a:lnTo>
                  <a:lnTo>
                    <a:pt x="60352" y="292471"/>
                  </a:lnTo>
                  <a:lnTo>
                    <a:pt x="62258" y="294740"/>
                  </a:lnTo>
                  <a:lnTo>
                    <a:pt x="65313" y="296494"/>
                  </a:lnTo>
                  <a:lnTo>
                    <a:pt x="66523" y="298854"/>
                  </a:lnTo>
                  <a:lnTo>
                    <a:pt x="67219" y="298854"/>
                  </a:lnTo>
                  <a:lnTo>
                    <a:pt x="67975" y="296948"/>
                  </a:lnTo>
                  <a:lnTo>
                    <a:pt x="68701" y="297402"/>
                  </a:lnTo>
                  <a:lnTo>
                    <a:pt x="71393" y="297946"/>
                  </a:lnTo>
                  <a:lnTo>
                    <a:pt x="71847" y="298128"/>
                  </a:lnTo>
                  <a:lnTo>
                    <a:pt x="72301" y="298461"/>
                  </a:lnTo>
                  <a:lnTo>
                    <a:pt x="72725" y="298854"/>
                  </a:lnTo>
                  <a:lnTo>
                    <a:pt x="73148" y="299368"/>
                  </a:lnTo>
                  <a:lnTo>
                    <a:pt x="73814" y="299913"/>
                  </a:lnTo>
                  <a:lnTo>
                    <a:pt x="74086" y="299459"/>
                  </a:lnTo>
                  <a:lnTo>
                    <a:pt x="74298" y="298854"/>
                  </a:lnTo>
                  <a:lnTo>
                    <a:pt x="74842" y="298854"/>
                  </a:lnTo>
                  <a:lnTo>
                    <a:pt x="76143" y="300034"/>
                  </a:lnTo>
                  <a:lnTo>
                    <a:pt x="77020" y="301153"/>
                  </a:lnTo>
                  <a:lnTo>
                    <a:pt x="77656" y="301909"/>
                  </a:lnTo>
                  <a:lnTo>
                    <a:pt x="78593" y="304087"/>
                  </a:lnTo>
                  <a:lnTo>
                    <a:pt x="78260" y="306175"/>
                  </a:lnTo>
                  <a:lnTo>
                    <a:pt x="79047" y="308202"/>
                  </a:lnTo>
                  <a:lnTo>
                    <a:pt x="80046" y="310864"/>
                  </a:lnTo>
                  <a:lnTo>
                    <a:pt x="80711" y="311650"/>
                  </a:lnTo>
                  <a:lnTo>
                    <a:pt x="81467" y="312225"/>
                  </a:lnTo>
                  <a:lnTo>
                    <a:pt x="85218" y="316279"/>
                  </a:lnTo>
                  <a:lnTo>
                    <a:pt x="87699" y="320574"/>
                  </a:lnTo>
                  <a:lnTo>
                    <a:pt x="88637" y="321754"/>
                  </a:lnTo>
                  <a:lnTo>
                    <a:pt x="93991" y="325747"/>
                  </a:lnTo>
                  <a:lnTo>
                    <a:pt x="94838" y="326776"/>
                  </a:lnTo>
                  <a:lnTo>
                    <a:pt x="95322" y="328198"/>
                  </a:lnTo>
                  <a:lnTo>
                    <a:pt x="96502" y="329378"/>
                  </a:lnTo>
                  <a:lnTo>
                    <a:pt x="101373" y="332736"/>
                  </a:lnTo>
                  <a:lnTo>
                    <a:pt x="102855" y="333401"/>
                  </a:lnTo>
                  <a:lnTo>
                    <a:pt x="111053" y="333673"/>
                  </a:lnTo>
                  <a:lnTo>
                    <a:pt x="112173" y="334278"/>
                  </a:lnTo>
                  <a:lnTo>
                    <a:pt x="116196" y="339119"/>
                  </a:lnTo>
                  <a:lnTo>
                    <a:pt x="116740" y="340359"/>
                  </a:lnTo>
                  <a:lnTo>
                    <a:pt x="118011" y="344624"/>
                  </a:lnTo>
                  <a:lnTo>
                    <a:pt x="118223" y="345955"/>
                  </a:lnTo>
                  <a:lnTo>
                    <a:pt x="118949" y="348194"/>
                  </a:lnTo>
                  <a:lnTo>
                    <a:pt x="120522" y="348739"/>
                  </a:lnTo>
                  <a:lnTo>
                    <a:pt x="122155" y="348950"/>
                  </a:lnTo>
                  <a:lnTo>
                    <a:pt x="123063" y="350100"/>
                  </a:lnTo>
                  <a:lnTo>
                    <a:pt x="122307" y="350221"/>
                  </a:lnTo>
                  <a:lnTo>
                    <a:pt x="121066" y="350765"/>
                  </a:lnTo>
                  <a:lnTo>
                    <a:pt x="120401" y="350917"/>
                  </a:lnTo>
                  <a:lnTo>
                    <a:pt x="120401" y="351824"/>
                  </a:lnTo>
                  <a:lnTo>
                    <a:pt x="121853" y="352308"/>
                  </a:lnTo>
                  <a:lnTo>
                    <a:pt x="122034" y="352459"/>
                  </a:lnTo>
                  <a:lnTo>
                    <a:pt x="123033" y="353276"/>
                  </a:lnTo>
                  <a:lnTo>
                    <a:pt x="124091" y="353488"/>
                  </a:lnTo>
                  <a:lnTo>
                    <a:pt x="125180" y="351824"/>
                  </a:lnTo>
                  <a:lnTo>
                    <a:pt x="125755" y="354093"/>
                  </a:lnTo>
                  <a:lnTo>
                    <a:pt x="125604" y="355273"/>
                  </a:lnTo>
                  <a:lnTo>
                    <a:pt x="125937" y="355666"/>
                  </a:lnTo>
                  <a:lnTo>
                    <a:pt x="127933" y="355545"/>
                  </a:lnTo>
                  <a:lnTo>
                    <a:pt x="130323" y="354668"/>
                  </a:lnTo>
                  <a:lnTo>
                    <a:pt x="131412" y="355122"/>
                  </a:lnTo>
                  <a:lnTo>
                    <a:pt x="132048" y="357269"/>
                  </a:lnTo>
                  <a:lnTo>
                    <a:pt x="132592" y="356876"/>
                  </a:lnTo>
                  <a:lnTo>
                    <a:pt x="132986" y="356483"/>
                  </a:lnTo>
                  <a:lnTo>
                    <a:pt x="133258" y="356029"/>
                  </a:lnTo>
                  <a:lnTo>
                    <a:pt x="134105" y="355545"/>
                  </a:lnTo>
                  <a:lnTo>
                    <a:pt x="142696" y="355908"/>
                  </a:lnTo>
                  <a:lnTo>
                    <a:pt x="146962" y="356725"/>
                  </a:lnTo>
                  <a:lnTo>
                    <a:pt x="150652" y="358268"/>
                  </a:lnTo>
                  <a:lnTo>
                    <a:pt x="155432" y="362866"/>
                  </a:lnTo>
                  <a:lnTo>
                    <a:pt x="156158" y="364137"/>
                  </a:lnTo>
                  <a:lnTo>
                    <a:pt x="156279" y="365226"/>
                  </a:lnTo>
                  <a:lnTo>
                    <a:pt x="156793" y="367192"/>
                  </a:lnTo>
                  <a:lnTo>
                    <a:pt x="156914" y="368705"/>
                  </a:lnTo>
                  <a:lnTo>
                    <a:pt x="157066" y="369431"/>
                  </a:lnTo>
                  <a:lnTo>
                    <a:pt x="157247" y="370308"/>
                  </a:lnTo>
                  <a:lnTo>
                    <a:pt x="158064" y="370822"/>
                  </a:lnTo>
                  <a:lnTo>
                    <a:pt x="160333" y="370943"/>
                  </a:lnTo>
                  <a:lnTo>
                    <a:pt x="172615" y="374422"/>
                  </a:lnTo>
                  <a:lnTo>
                    <a:pt x="175519" y="376358"/>
                  </a:lnTo>
                  <a:lnTo>
                    <a:pt x="177516" y="379504"/>
                  </a:lnTo>
                  <a:lnTo>
                    <a:pt x="177546" y="380049"/>
                  </a:lnTo>
                  <a:lnTo>
                    <a:pt x="178726" y="379807"/>
                  </a:lnTo>
                  <a:lnTo>
                    <a:pt x="179300" y="378869"/>
                  </a:lnTo>
                  <a:lnTo>
                    <a:pt x="179784" y="377840"/>
                  </a:lnTo>
                  <a:lnTo>
                    <a:pt x="180722" y="377356"/>
                  </a:lnTo>
                  <a:lnTo>
                    <a:pt x="189344" y="377356"/>
                  </a:lnTo>
                  <a:lnTo>
                    <a:pt x="199902" y="380049"/>
                  </a:lnTo>
                  <a:lnTo>
                    <a:pt x="201081" y="380049"/>
                  </a:lnTo>
                  <a:lnTo>
                    <a:pt x="202171" y="379686"/>
                  </a:lnTo>
                  <a:lnTo>
                    <a:pt x="203925" y="378506"/>
                  </a:lnTo>
                  <a:lnTo>
                    <a:pt x="204802" y="378264"/>
                  </a:lnTo>
                  <a:lnTo>
                    <a:pt x="213061" y="378264"/>
                  </a:lnTo>
                  <a:lnTo>
                    <a:pt x="214937" y="378808"/>
                  </a:lnTo>
                  <a:lnTo>
                    <a:pt x="218022" y="380926"/>
                  </a:lnTo>
                  <a:lnTo>
                    <a:pt x="220321" y="380956"/>
                  </a:lnTo>
                  <a:lnTo>
                    <a:pt x="222046" y="382681"/>
                  </a:lnTo>
                  <a:lnTo>
                    <a:pt x="223770" y="383286"/>
                  </a:lnTo>
                  <a:lnTo>
                    <a:pt x="225494" y="382681"/>
                  </a:lnTo>
                  <a:lnTo>
                    <a:pt x="227158" y="381803"/>
                  </a:lnTo>
                  <a:lnTo>
                    <a:pt x="228761" y="381834"/>
                  </a:lnTo>
                  <a:lnTo>
                    <a:pt x="230425" y="383830"/>
                  </a:lnTo>
                  <a:lnTo>
                    <a:pt x="230456" y="383830"/>
                  </a:lnTo>
                  <a:lnTo>
                    <a:pt x="231121" y="384012"/>
                  </a:lnTo>
                  <a:lnTo>
                    <a:pt x="231817" y="384072"/>
                  </a:lnTo>
                  <a:lnTo>
                    <a:pt x="232482" y="384012"/>
                  </a:lnTo>
                  <a:lnTo>
                    <a:pt x="233238" y="383830"/>
                  </a:lnTo>
                  <a:lnTo>
                    <a:pt x="235144" y="382469"/>
                  </a:lnTo>
                  <a:lnTo>
                    <a:pt x="238654" y="378476"/>
                  </a:lnTo>
                  <a:lnTo>
                    <a:pt x="240287" y="377447"/>
                  </a:lnTo>
                  <a:lnTo>
                    <a:pt x="242556" y="378415"/>
                  </a:lnTo>
                  <a:lnTo>
                    <a:pt x="245158" y="377538"/>
                  </a:lnTo>
                  <a:lnTo>
                    <a:pt x="249514" y="374119"/>
                  </a:lnTo>
                  <a:lnTo>
                    <a:pt x="250724" y="372758"/>
                  </a:lnTo>
                  <a:lnTo>
                    <a:pt x="252932" y="368795"/>
                  </a:lnTo>
                  <a:lnTo>
                    <a:pt x="254414" y="367252"/>
                  </a:lnTo>
                  <a:lnTo>
                    <a:pt x="254566" y="367222"/>
                  </a:lnTo>
                  <a:lnTo>
                    <a:pt x="254838" y="366405"/>
                  </a:lnTo>
                  <a:lnTo>
                    <a:pt x="255140" y="364802"/>
                  </a:lnTo>
                  <a:lnTo>
                    <a:pt x="255504" y="364137"/>
                  </a:lnTo>
                  <a:lnTo>
                    <a:pt x="257773" y="362049"/>
                  </a:lnTo>
                  <a:lnTo>
                    <a:pt x="259678" y="361686"/>
                  </a:lnTo>
                  <a:lnTo>
                    <a:pt x="264639" y="363259"/>
                  </a:lnTo>
                  <a:lnTo>
                    <a:pt x="268603" y="365195"/>
                  </a:lnTo>
                  <a:lnTo>
                    <a:pt x="269843" y="365316"/>
                  </a:lnTo>
                  <a:lnTo>
                    <a:pt x="270902" y="364802"/>
                  </a:lnTo>
                  <a:lnTo>
                    <a:pt x="271356" y="363864"/>
                  </a:lnTo>
                  <a:lnTo>
                    <a:pt x="271779" y="362654"/>
                  </a:lnTo>
                  <a:lnTo>
                    <a:pt x="272808" y="361262"/>
                  </a:lnTo>
                  <a:lnTo>
                    <a:pt x="274108" y="362321"/>
                  </a:lnTo>
                  <a:lnTo>
                    <a:pt x="274562" y="362321"/>
                  </a:lnTo>
                  <a:lnTo>
                    <a:pt x="275167" y="362291"/>
                  </a:lnTo>
                  <a:lnTo>
                    <a:pt x="276891" y="361202"/>
                  </a:lnTo>
                  <a:lnTo>
                    <a:pt x="278888" y="360658"/>
                  </a:lnTo>
                  <a:lnTo>
                    <a:pt x="280007" y="360083"/>
                  </a:lnTo>
                  <a:lnTo>
                    <a:pt x="281036" y="359024"/>
                  </a:lnTo>
                  <a:lnTo>
                    <a:pt x="282488" y="358933"/>
                  </a:lnTo>
                  <a:lnTo>
                    <a:pt x="288690" y="359357"/>
                  </a:lnTo>
                  <a:lnTo>
                    <a:pt x="290626" y="360173"/>
                  </a:lnTo>
                  <a:lnTo>
                    <a:pt x="291170" y="359901"/>
                  </a:lnTo>
                  <a:lnTo>
                    <a:pt x="291291" y="359478"/>
                  </a:lnTo>
                  <a:lnTo>
                    <a:pt x="291079" y="358903"/>
                  </a:lnTo>
                  <a:lnTo>
                    <a:pt x="290323" y="357784"/>
                  </a:lnTo>
                  <a:lnTo>
                    <a:pt x="290172" y="357300"/>
                  </a:lnTo>
                  <a:lnTo>
                    <a:pt x="290293" y="356785"/>
                  </a:lnTo>
                  <a:lnTo>
                    <a:pt x="290626" y="356331"/>
                  </a:lnTo>
                  <a:lnTo>
                    <a:pt x="292985" y="354759"/>
                  </a:lnTo>
                  <a:lnTo>
                    <a:pt x="295557" y="355091"/>
                  </a:lnTo>
                  <a:lnTo>
                    <a:pt x="297341" y="354638"/>
                  </a:lnTo>
                  <a:lnTo>
                    <a:pt x="297463" y="350705"/>
                  </a:lnTo>
                  <a:lnTo>
                    <a:pt x="299035" y="348194"/>
                  </a:lnTo>
                  <a:lnTo>
                    <a:pt x="301365" y="347286"/>
                  </a:lnTo>
                  <a:lnTo>
                    <a:pt x="303603" y="348073"/>
                  </a:lnTo>
                  <a:lnTo>
                    <a:pt x="305086" y="350674"/>
                  </a:lnTo>
                  <a:lnTo>
                    <a:pt x="305086" y="350705"/>
                  </a:lnTo>
                  <a:lnTo>
                    <a:pt x="307324" y="351915"/>
                  </a:lnTo>
                  <a:lnTo>
                    <a:pt x="316158" y="352762"/>
                  </a:lnTo>
                  <a:lnTo>
                    <a:pt x="318941" y="352248"/>
                  </a:lnTo>
                  <a:lnTo>
                    <a:pt x="320091" y="350886"/>
                  </a:lnTo>
                  <a:lnTo>
                    <a:pt x="320574" y="349283"/>
                  </a:lnTo>
                  <a:lnTo>
                    <a:pt x="321301" y="347649"/>
                  </a:lnTo>
                  <a:lnTo>
                    <a:pt x="322450" y="346833"/>
                  </a:lnTo>
                  <a:lnTo>
                    <a:pt x="323327" y="346228"/>
                  </a:lnTo>
                  <a:lnTo>
                    <a:pt x="325142" y="345865"/>
                  </a:lnTo>
                  <a:lnTo>
                    <a:pt x="328893" y="345865"/>
                  </a:lnTo>
                  <a:lnTo>
                    <a:pt x="330557" y="345320"/>
                  </a:lnTo>
                  <a:lnTo>
                    <a:pt x="331586" y="344261"/>
                  </a:lnTo>
                  <a:lnTo>
                    <a:pt x="332342" y="342930"/>
                  </a:lnTo>
                  <a:lnTo>
                    <a:pt x="333159" y="341781"/>
                  </a:lnTo>
                  <a:lnTo>
                    <a:pt x="334430" y="341236"/>
                  </a:lnTo>
                  <a:lnTo>
                    <a:pt x="335549" y="341085"/>
                  </a:lnTo>
                  <a:lnTo>
                    <a:pt x="336396" y="340752"/>
                  </a:lnTo>
                  <a:lnTo>
                    <a:pt x="338090" y="339482"/>
                  </a:lnTo>
                  <a:lnTo>
                    <a:pt x="338816" y="338544"/>
                  </a:lnTo>
                  <a:lnTo>
                    <a:pt x="339330" y="337576"/>
                  </a:lnTo>
                  <a:lnTo>
                    <a:pt x="340026" y="336668"/>
                  </a:lnTo>
                  <a:lnTo>
                    <a:pt x="342688" y="335337"/>
                  </a:lnTo>
                  <a:lnTo>
                    <a:pt x="342416" y="334218"/>
                  </a:lnTo>
                  <a:lnTo>
                    <a:pt x="341690" y="333008"/>
                  </a:lnTo>
                  <a:lnTo>
                    <a:pt x="341508" y="331919"/>
                  </a:lnTo>
                  <a:lnTo>
                    <a:pt x="342960" y="330406"/>
                  </a:lnTo>
                  <a:lnTo>
                    <a:pt x="345290" y="328984"/>
                  </a:lnTo>
                  <a:lnTo>
                    <a:pt x="347771" y="327956"/>
                  </a:lnTo>
                  <a:lnTo>
                    <a:pt x="349646" y="327653"/>
                  </a:lnTo>
                  <a:lnTo>
                    <a:pt x="351794" y="327683"/>
                  </a:lnTo>
                  <a:lnTo>
                    <a:pt x="357632" y="326655"/>
                  </a:lnTo>
                  <a:lnTo>
                    <a:pt x="359780" y="326746"/>
                  </a:lnTo>
                  <a:lnTo>
                    <a:pt x="361898" y="327381"/>
                  </a:lnTo>
                  <a:lnTo>
                    <a:pt x="364076" y="328652"/>
                  </a:lnTo>
                  <a:lnTo>
                    <a:pt x="370217" y="332282"/>
                  </a:lnTo>
                  <a:lnTo>
                    <a:pt x="371972" y="332614"/>
                  </a:lnTo>
                  <a:lnTo>
                    <a:pt x="380351" y="329438"/>
                  </a:lnTo>
                  <a:lnTo>
                    <a:pt x="381894" y="328833"/>
                  </a:lnTo>
                  <a:lnTo>
                    <a:pt x="385948" y="328016"/>
                  </a:lnTo>
                  <a:lnTo>
                    <a:pt x="392392" y="328561"/>
                  </a:lnTo>
                  <a:lnTo>
                    <a:pt x="396596" y="330769"/>
                  </a:lnTo>
                  <a:lnTo>
                    <a:pt x="399440" y="330436"/>
                  </a:lnTo>
                  <a:lnTo>
                    <a:pt x="401981" y="329257"/>
                  </a:lnTo>
                  <a:lnTo>
                    <a:pt x="402980" y="329166"/>
                  </a:lnTo>
                  <a:lnTo>
                    <a:pt x="404613" y="329529"/>
                  </a:lnTo>
                  <a:lnTo>
                    <a:pt x="405158" y="329922"/>
                  </a:lnTo>
                  <a:lnTo>
                    <a:pt x="406186" y="331253"/>
                  </a:lnTo>
                  <a:lnTo>
                    <a:pt x="406973" y="331646"/>
                  </a:lnTo>
                  <a:lnTo>
                    <a:pt x="407699" y="331556"/>
                  </a:lnTo>
                  <a:lnTo>
                    <a:pt x="410209" y="330406"/>
                  </a:lnTo>
                  <a:lnTo>
                    <a:pt x="412025" y="331102"/>
                  </a:lnTo>
                  <a:lnTo>
                    <a:pt x="417500" y="335398"/>
                  </a:lnTo>
                  <a:lnTo>
                    <a:pt x="421584" y="330648"/>
                  </a:lnTo>
                  <a:lnTo>
                    <a:pt x="437769" y="330225"/>
                  </a:lnTo>
                  <a:lnTo>
                    <a:pt x="440219" y="326594"/>
                  </a:lnTo>
                  <a:lnTo>
                    <a:pt x="444333" y="327472"/>
                  </a:lnTo>
                  <a:lnTo>
                    <a:pt x="448296" y="329015"/>
                  </a:lnTo>
                  <a:lnTo>
                    <a:pt x="451230" y="331495"/>
                  </a:lnTo>
                  <a:lnTo>
                    <a:pt x="452229" y="332100"/>
                  </a:lnTo>
                  <a:lnTo>
                    <a:pt x="453469" y="332524"/>
                  </a:lnTo>
                  <a:lnTo>
                    <a:pt x="454195" y="332554"/>
                  </a:lnTo>
                  <a:lnTo>
                    <a:pt x="459882" y="331465"/>
                  </a:lnTo>
                  <a:lnTo>
                    <a:pt x="461849" y="330527"/>
                  </a:lnTo>
                  <a:lnTo>
                    <a:pt x="463392" y="328954"/>
                  </a:lnTo>
                  <a:lnTo>
                    <a:pt x="463936" y="327653"/>
                  </a:lnTo>
                  <a:lnTo>
                    <a:pt x="463936" y="327351"/>
                  </a:lnTo>
                  <a:lnTo>
                    <a:pt x="464057" y="325747"/>
                  </a:lnTo>
                  <a:lnTo>
                    <a:pt x="464541" y="324749"/>
                  </a:lnTo>
                  <a:lnTo>
                    <a:pt x="465297" y="324507"/>
                  </a:lnTo>
                  <a:lnTo>
                    <a:pt x="466235" y="324810"/>
                  </a:lnTo>
                  <a:lnTo>
                    <a:pt x="467203" y="324931"/>
                  </a:lnTo>
                  <a:lnTo>
                    <a:pt x="468020" y="324204"/>
                  </a:lnTo>
                  <a:lnTo>
                    <a:pt x="468020" y="323115"/>
                  </a:lnTo>
                  <a:lnTo>
                    <a:pt x="467082" y="320151"/>
                  </a:lnTo>
                  <a:lnTo>
                    <a:pt x="467022" y="318910"/>
                  </a:lnTo>
                  <a:lnTo>
                    <a:pt x="467475" y="318154"/>
                  </a:lnTo>
                  <a:lnTo>
                    <a:pt x="471408" y="315129"/>
                  </a:lnTo>
                  <a:lnTo>
                    <a:pt x="472316" y="314706"/>
                  </a:lnTo>
                  <a:lnTo>
                    <a:pt x="473435" y="314131"/>
                  </a:lnTo>
                  <a:lnTo>
                    <a:pt x="475553" y="313586"/>
                  </a:lnTo>
                  <a:lnTo>
                    <a:pt x="477579" y="313677"/>
                  </a:lnTo>
                  <a:lnTo>
                    <a:pt x="478487" y="314131"/>
                  </a:lnTo>
                  <a:lnTo>
                    <a:pt x="480302" y="315553"/>
                  </a:lnTo>
                  <a:lnTo>
                    <a:pt x="481149" y="315916"/>
                  </a:lnTo>
                  <a:lnTo>
                    <a:pt x="482117" y="315825"/>
                  </a:lnTo>
                  <a:lnTo>
                    <a:pt x="483599" y="315069"/>
                  </a:lnTo>
                  <a:lnTo>
                    <a:pt x="484295" y="314857"/>
                  </a:lnTo>
                  <a:lnTo>
                    <a:pt x="486080" y="315220"/>
                  </a:lnTo>
                  <a:lnTo>
                    <a:pt x="489831" y="316702"/>
                  </a:lnTo>
                  <a:lnTo>
                    <a:pt x="491828" y="316642"/>
                  </a:lnTo>
                  <a:lnTo>
                    <a:pt x="492735" y="316279"/>
                  </a:lnTo>
                  <a:lnTo>
                    <a:pt x="493613" y="316279"/>
                  </a:lnTo>
                  <a:lnTo>
                    <a:pt x="494399" y="316642"/>
                  </a:lnTo>
                  <a:lnTo>
                    <a:pt x="495095" y="317398"/>
                  </a:lnTo>
                  <a:lnTo>
                    <a:pt x="497061" y="318971"/>
                  </a:lnTo>
                  <a:lnTo>
                    <a:pt x="498876" y="318336"/>
                  </a:lnTo>
                  <a:lnTo>
                    <a:pt x="503686" y="312981"/>
                  </a:lnTo>
                  <a:lnTo>
                    <a:pt x="504322" y="312649"/>
                  </a:lnTo>
                  <a:lnTo>
                    <a:pt x="507286" y="312679"/>
                  </a:lnTo>
                  <a:lnTo>
                    <a:pt x="508224" y="311983"/>
                  </a:lnTo>
                  <a:lnTo>
                    <a:pt x="509374" y="309956"/>
                  </a:lnTo>
                  <a:lnTo>
                    <a:pt x="510251" y="307385"/>
                  </a:lnTo>
                  <a:lnTo>
                    <a:pt x="510675" y="301425"/>
                  </a:lnTo>
                  <a:lnTo>
                    <a:pt x="511673" y="298521"/>
                  </a:lnTo>
                  <a:lnTo>
                    <a:pt x="513397" y="296706"/>
                  </a:lnTo>
                  <a:lnTo>
                    <a:pt x="515363" y="296041"/>
                  </a:lnTo>
                  <a:lnTo>
                    <a:pt x="519599" y="295859"/>
                  </a:lnTo>
                  <a:lnTo>
                    <a:pt x="521928" y="294256"/>
                  </a:lnTo>
                  <a:lnTo>
                    <a:pt x="521323" y="291291"/>
                  </a:lnTo>
                  <a:lnTo>
                    <a:pt x="518358" y="286148"/>
                  </a:lnTo>
                  <a:lnTo>
                    <a:pt x="518631" y="283365"/>
                  </a:lnTo>
                  <a:lnTo>
                    <a:pt x="520022" y="281248"/>
                  </a:lnTo>
                  <a:lnTo>
                    <a:pt x="521777" y="279221"/>
                  </a:lnTo>
                  <a:lnTo>
                    <a:pt x="523017" y="276770"/>
                  </a:lnTo>
                  <a:lnTo>
                    <a:pt x="523410" y="271627"/>
                  </a:lnTo>
                  <a:lnTo>
                    <a:pt x="523985" y="269086"/>
                  </a:lnTo>
                  <a:lnTo>
                    <a:pt x="525528" y="267392"/>
                  </a:lnTo>
                  <a:lnTo>
                    <a:pt x="527676" y="266878"/>
                  </a:lnTo>
                  <a:lnTo>
                    <a:pt x="531367" y="267150"/>
                  </a:lnTo>
                  <a:lnTo>
                    <a:pt x="533545" y="266061"/>
                  </a:lnTo>
                  <a:lnTo>
                    <a:pt x="535632" y="263520"/>
                  </a:lnTo>
                  <a:lnTo>
                    <a:pt x="536328" y="261796"/>
                  </a:lnTo>
                  <a:lnTo>
                    <a:pt x="536509" y="261282"/>
                  </a:lnTo>
                  <a:lnTo>
                    <a:pt x="537598" y="259708"/>
                  </a:lnTo>
                  <a:lnTo>
                    <a:pt x="540351" y="259255"/>
                  </a:lnTo>
                  <a:lnTo>
                    <a:pt x="542348" y="258196"/>
                  </a:lnTo>
                  <a:lnTo>
                    <a:pt x="544193" y="255685"/>
                  </a:lnTo>
                  <a:lnTo>
                    <a:pt x="544526" y="253053"/>
                  </a:lnTo>
                  <a:lnTo>
                    <a:pt x="541803" y="251329"/>
                  </a:lnTo>
                  <a:lnTo>
                    <a:pt x="541531" y="251057"/>
                  </a:lnTo>
                  <a:lnTo>
                    <a:pt x="541259" y="250754"/>
                  </a:lnTo>
                  <a:lnTo>
                    <a:pt x="541047" y="250391"/>
                  </a:lnTo>
                  <a:lnTo>
                    <a:pt x="541138" y="249574"/>
                  </a:lnTo>
                  <a:lnTo>
                    <a:pt x="541380" y="248757"/>
                  </a:lnTo>
                  <a:lnTo>
                    <a:pt x="541713" y="248062"/>
                  </a:lnTo>
                  <a:lnTo>
                    <a:pt x="542136" y="247426"/>
                  </a:lnTo>
                  <a:lnTo>
                    <a:pt x="544314" y="241981"/>
                  </a:lnTo>
                  <a:lnTo>
                    <a:pt x="545585" y="239773"/>
                  </a:lnTo>
                  <a:lnTo>
                    <a:pt x="547672" y="237958"/>
                  </a:lnTo>
                  <a:lnTo>
                    <a:pt x="551363" y="237050"/>
                  </a:lnTo>
                  <a:lnTo>
                    <a:pt x="552421" y="236203"/>
                  </a:lnTo>
                  <a:lnTo>
                    <a:pt x="553238" y="234509"/>
                  </a:lnTo>
                  <a:lnTo>
                    <a:pt x="553208" y="233027"/>
                  </a:lnTo>
                  <a:lnTo>
                    <a:pt x="552875" y="231605"/>
                  </a:lnTo>
                  <a:lnTo>
                    <a:pt x="552784" y="229941"/>
                  </a:lnTo>
                  <a:lnTo>
                    <a:pt x="552936" y="228368"/>
                  </a:lnTo>
                  <a:lnTo>
                    <a:pt x="553057" y="228005"/>
                  </a:lnTo>
                  <a:lnTo>
                    <a:pt x="553510" y="227823"/>
                  </a:lnTo>
                  <a:lnTo>
                    <a:pt x="558109" y="224375"/>
                  </a:lnTo>
                  <a:lnTo>
                    <a:pt x="558956" y="223376"/>
                  </a:lnTo>
                  <a:lnTo>
                    <a:pt x="560862" y="216691"/>
                  </a:lnTo>
                  <a:lnTo>
                    <a:pt x="561255" y="216570"/>
                  </a:lnTo>
                  <a:lnTo>
                    <a:pt x="561194" y="216419"/>
                  </a:lnTo>
                  <a:lnTo>
                    <a:pt x="560287" y="214846"/>
                  </a:lnTo>
                  <a:lnTo>
                    <a:pt x="559591" y="214331"/>
                  </a:lnTo>
                  <a:lnTo>
                    <a:pt x="558623" y="214150"/>
                  </a:lnTo>
                  <a:lnTo>
                    <a:pt x="557746" y="213757"/>
                  </a:lnTo>
                  <a:lnTo>
                    <a:pt x="557504" y="213030"/>
                  </a:lnTo>
                  <a:lnTo>
                    <a:pt x="557383" y="212607"/>
                  </a:lnTo>
                  <a:lnTo>
                    <a:pt x="561285" y="208251"/>
                  </a:lnTo>
                  <a:lnTo>
                    <a:pt x="563554" y="206315"/>
                  </a:lnTo>
                  <a:lnTo>
                    <a:pt x="568515" y="203259"/>
                  </a:lnTo>
                  <a:lnTo>
                    <a:pt x="570542" y="201414"/>
                  </a:lnTo>
                  <a:lnTo>
                    <a:pt x="571238" y="200234"/>
                  </a:lnTo>
                  <a:lnTo>
                    <a:pt x="571722" y="197814"/>
                  </a:lnTo>
                  <a:lnTo>
                    <a:pt x="572176" y="196604"/>
                  </a:lnTo>
                  <a:lnTo>
                    <a:pt x="573144" y="195303"/>
                  </a:lnTo>
                  <a:lnTo>
                    <a:pt x="575352" y="193337"/>
                  </a:lnTo>
                  <a:lnTo>
                    <a:pt x="576199" y="192248"/>
                  </a:lnTo>
                  <a:lnTo>
                    <a:pt x="576804" y="190584"/>
                  </a:lnTo>
                  <a:lnTo>
                    <a:pt x="576774" y="189313"/>
                  </a:lnTo>
                  <a:lnTo>
                    <a:pt x="576532" y="188103"/>
                  </a:lnTo>
                  <a:lnTo>
                    <a:pt x="576562" y="186530"/>
                  </a:lnTo>
                  <a:lnTo>
                    <a:pt x="576986" y="185018"/>
                  </a:lnTo>
                  <a:lnTo>
                    <a:pt x="578165" y="182991"/>
                  </a:lnTo>
                  <a:lnTo>
                    <a:pt x="578680" y="181750"/>
                  </a:lnTo>
                  <a:lnTo>
                    <a:pt x="579829" y="176880"/>
                  </a:lnTo>
                  <a:lnTo>
                    <a:pt x="580465" y="175277"/>
                  </a:lnTo>
                  <a:lnTo>
                    <a:pt x="584337" y="170073"/>
                  </a:lnTo>
                  <a:lnTo>
                    <a:pt x="586182" y="168168"/>
                  </a:lnTo>
                  <a:lnTo>
                    <a:pt x="587997" y="167139"/>
                  </a:lnTo>
                  <a:lnTo>
                    <a:pt x="592474" y="165929"/>
                  </a:lnTo>
                  <a:lnTo>
                    <a:pt x="594471" y="162148"/>
                  </a:lnTo>
                  <a:lnTo>
                    <a:pt x="594350" y="157610"/>
                  </a:lnTo>
                  <a:lnTo>
                    <a:pt x="593473" y="152891"/>
                  </a:lnTo>
                  <a:lnTo>
                    <a:pt x="593200" y="148625"/>
                  </a:lnTo>
                  <a:lnTo>
                    <a:pt x="595136" y="145267"/>
                  </a:lnTo>
                  <a:lnTo>
                    <a:pt x="598101" y="142303"/>
                  </a:lnTo>
                  <a:lnTo>
                    <a:pt x="604333" y="137946"/>
                  </a:lnTo>
                  <a:lnTo>
                    <a:pt x="609264" y="136797"/>
                  </a:lnTo>
                  <a:lnTo>
                    <a:pt x="609839" y="136404"/>
                  </a:lnTo>
                  <a:lnTo>
                    <a:pt x="610625" y="135859"/>
                  </a:lnTo>
                  <a:lnTo>
                    <a:pt x="611170" y="134830"/>
                  </a:lnTo>
                  <a:lnTo>
                    <a:pt x="611200" y="134679"/>
                  </a:lnTo>
                  <a:lnTo>
                    <a:pt x="611351" y="133772"/>
                  </a:lnTo>
                  <a:lnTo>
                    <a:pt x="611412" y="132774"/>
                  </a:lnTo>
                  <a:lnTo>
                    <a:pt x="611714" y="131866"/>
                  </a:lnTo>
                  <a:lnTo>
                    <a:pt x="614225" y="128599"/>
                  </a:lnTo>
                  <a:lnTo>
                    <a:pt x="614528" y="127419"/>
                  </a:lnTo>
                  <a:lnTo>
                    <a:pt x="614860" y="124908"/>
                  </a:lnTo>
                  <a:lnTo>
                    <a:pt x="615254" y="123879"/>
                  </a:lnTo>
                  <a:lnTo>
                    <a:pt x="615980" y="123032"/>
                  </a:lnTo>
                  <a:lnTo>
                    <a:pt x="617704" y="121883"/>
                  </a:lnTo>
                  <a:lnTo>
                    <a:pt x="618461" y="121157"/>
                  </a:lnTo>
                  <a:lnTo>
                    <a:pt x="620669" y="118101"/>
                  </a:lnTo>
                  <a:lnTo>
                    <a:pt x="621818" y="117012"/>
                  </a:lnTo>
                  <a:lnTo>
                    <a:pt x="623664" y="116075"/>
                  </a:lnTo>
                  <a:lnTo>
                    <a:pt x="625448" y="115469"/>
                  </a:lnTo>
                  <a:lnTo>
                    <a:pt x="626719" y="115349"/>
                  </a:lnTo>
                  <a:lnTo>
                    <a:pt x="631378" y="116014"/>
                  </a:lnTo>
                  <a:lnTo>
                    <a:pt x="632830" y="115893"/>
                  </a:lnTo>
                  <a:lnTo>
                    <a:pt x="634161" y="115379"/>
                  </a:lnTo>
                  <a:lnTo>
                    <a:pt x="635310" y="114380"/>
                  </a:lnTo>
                  <a:lnTo>
                    <a:pt x="636944" y="108935"/>
                  </a:lnTo>
                  <a:lnTo>
                    <a:pt x="640060" y="108270"/>
                  </a:lnTo>
                  <a:lnTo>
                    <a:pt x="647502" y="111900"/>
                  </a:lnTo>
                  <a:lnTo>
                    <a:pt x="650981" y="112414"/>
                  </a:lnTo>
                  <a:lnTo>
                    <a:pt x="654823" y="111900"/>
                  </a:lnTo>
                  <a:lnTo>
                    <a:pt x="658483" y="110448"/>
                  </a:lnTo>
                  <a:lnTo>
                    <a:pt x="661448" y="108088"/>
                  </a:lnTo>
                  <a:lnTo>
                    <a:pt x="663928" y="105063"/>
                  </a:lnTo>
                  <a:lnTo>
                    <a:pt x="665138" y="104186"/>
                  </a:lnTo>
                  <a:lnTo>
                    <a:pt x="667196" y="103309"/>
                  </a:lnTo>
                  <a:lnTo>
                    <a:pt x="669374" y="103097"/>
                  </a:lnTo>
                  <a:lnTo>
                    <a:pt x="669978" y="102734"/>
                  </a:lnTo>
                  <a:lnTo>
                    <a:pt x="670826" y="101191"/>
                  </a:lnTo>
                  <a:lnTo>
                    <a:pt x="670644" y="100193"/>
                  </a:lnTo>
                  <a:lnTo>
                    <a:pt x="670130" y="99285"/>
                  </a:lnTo>
                  <a:lnTo>
                    <a:pt x="670100" y="98105"/>
                  </a:lnTo>
                  <a:lnTo>
                    <a:pt x="671158" y="96260"/>
                  </a:lnTo>
                  <a:lnTo>
                    <a:pt x="672792" y="95231"/>
                  </a:lnTo>
                  <a:lnTo>
                    <a:pt x="676815" y="93840"/>
                  </a:lnTo>
                  <a:lnTo>
                    <a:pt x="678449" y="92448"/>
                  </a:lnTo>
                  <a:lnTo>
                    <a:pt x="680990" y="88122"/>
                  </a:lnTo>
                  <a:lnTo>
                    <a:pt x="682624" y="86337"/>
                  </a:lnTo>
                  <a:lnTo>
                    <a:pt x="678933" y="83585"/>
                  </a:lnTo>
                  <a:close/>
                </a:path>
              </a:pathLst>
            </a:custGeom>
            <a:solidFill>
              <a:srgbClr val="96A3AC"/>
            </a:solidFill>
            <a:ln w="3175" cap="rnd">
              <a:solidFill>
                <a:schemeClr val="bg1"/>
              </a:solidFill>
              <a:prstDash val="solid"/>
              <a:round/>
            </a:ln>
          </p:spPr>
          <p:txBody>
            <a:bodyPr rtlCol="0" anchor="ctr"/>
            <a:lstStyle/>
            <a:p>
              <a:endParaRPr lang="en-ID"/>
            </a:p>
          </p:txBody>
        </p:sp>
        <p:sp>
          <p:nvSpPr>
            <p:cNvPr id="47" name="Freeform: Shape 46">
              <a:extLst>
                <a:ext uri="{FF2B5EF4-FFF2-40B4-BE49-F238E27FC236}">
                  <a16:creationId xmlns:a16="http://schemas.microsoft.com/office/drawing/2014/main" id="{8005090F-C2A1-5853-B828-108F9912BB2C}"/>
                </a:ext>
              </a:extLst>
            </p:cNvPr>
            <p:cNvSpPr/>
            <p:nvPr/>
          </p:nvSpPr>
          <p:spPr>
            <a:xfrm>
              <a:off x="9692033" y="4904597"/>
              <a:ext cx="673726" cy="634292"/>
            </a:xfrm>
            <a:custGeom>
              <a:avLst/>
              <a:gdLst>
                <a:gd name="connsiteX0" fmla="*/ 452289 w 866764"/>
                <a:gd name="connsiteY0" fmla="*/ 813642 h 816032"/>
                <a:gd name="connsiteX1" fmla="*/ 452380 w 866764"/>
                <a:gd name="connsiteY1" fmla="*/ 812493 h 816032"/>
                <a:gd name="connsiteX2" fmla="*/ 452985 w 866764"/>
                <a:gd name="connsiteY2" fmla="*/ 811495 h 816032"/>
                <a:gd name="connsiteX3" fmla="*/ 452985 w 866764"/>
                <a:gd name="connsiteY3" fmla="*/ 810648 h 816032"/>
                <a:gd name="connsiteX4" fmla="*/ 450656 w 866764"/>
                <a:gd name="connsiteY4" fmla="*/ 810043 h 816032"/>
                <a:gd name="connsiteX5" fmla="*/ 449445 w 866764"/>
                <a:gd name="connsiteY5" fmla="*/ 809891 h 816032"/>
                <a:gd name="connsiteX6" fmla="*/ 448175 w 866764"/>
                <a:gd name="connsiteY6" fmla="*/ 809952 h 816032"/>
                <a:gd name="connsiteX7" fmla="*/ 447540 w 866764"/>
                <a:gd name="connsiteY7" fmla="*/ 810557 h 816032"/>
                <a:gd name="connsiteX8" fmla="*/ 446784 w 866764"/>
                <a:gd name="connsiteY8" fmla="*/ 811132 h 816032"/>
                <a:gd name="connsiteX9" fmla="*/ 445876 w 866764"/>
                <a:gd name="connsiteY9" fmla="*/ 811464 h 816032"/>
                <a:gd name="connsiteX10" fmla="*/ 444726 w 866764"/>
                <a:gd name="connsiteY10" fmla="*/ 811464 h 816032"/>
                <a:gd name="connsiteX11" fmla="*/ 444726 w 866764"/>
                <a:gd name="connsiteY11" fmla="*/ 812190 h 816032"/>
                <a:gd name="connsiteX12" fmla="*/ 448719 w 866764"/>
                <a:gd name="connsiteY12" fmla="*/ 814762 h 816032"/>
                <a:gd name="connsiteX13" fmla="*/ 450988 w 866764"/>
                <a:gd name="connsiteY13" fmla="*/ 815851 h 816032"/>
                <a:gd name="connsiteX14" fmla="*/ 453681 w 866764"/>
                <a:gd name="connsiteY14" fmla="*/ 816032 h 816032"/>
                <a:gd name="connsiteX15" fmla="*/ 453681 w 866764"/>
                <a:gd name="connsiteY15" fmla="*/ 815276 h 816032"/>
                <a:gd name="connsiteX16" fmla="*/ 452743 w 866764"/>
                <a:gd name="connsiteY16" fmla="*/ 814702 h 816032"/>
                <a:gd name="connsiteX17" fmla="*/ 452319 w 866764"/>
                <a:gd name="connsiteY17" fmla="*/ 813673 h 816032"/>
                <a:gd name="connsiteX18" fmla="*/ 742219 w 866764"/>
                <a:gd name="connsiteY18" fmla="*/ 745910 h 816032"/>
                <a:gd name="connsiteX19" fmla="*/ 739557 w 866764"/>
                <a:gd name="connsiteY19" fmla="*/ 746545 h 816032"/>
                <a:gd name="connsiteX20" fmla="*/ 738014 w 866764"/>
                <a:gd name="connsiteY20" fmla="*/ 746726 h 816032"/>
                <a:gd name="connsiteX21" fmla="*/ 734354 w 866764"/>
                <a:gd name="connsiteY21" fmla="*/ 748088 h 816032"/>
                <a:gd name="connsiteX22" fmla="*/ 733869 w 866764"/>
                <a:gd name="connsiteY22" fmla="*/ 748027 h 816032"/>
                <a:gd name="connsiteX23" fmla="*/ 732750 w 866764"/>
                <a:gd name="connsiteY23" fmla="*/ 747452 h 816032"/>
                <a:gd name="connsiteX24" fmla="*/ 731903 w 866764"/>
                <a:gd name="connsiteY24" fmla="*/ 747301 h 816032"/>
                <a:gd name="connsiteX25" fmla="*/ 731540 w 866764"/>
                <a:gd name="connsiteY25" fmla="*/ 747664 h 816032"/>
                <a:gd name="connsiteX26" fmla="*/ 730875 w 866764"/>
                <a:gd name="connsiteY26" fmla="*/ 749237 h 816032"/>
                <a:gd name="connsiteX27" fmla="*/ 730512 w 866764"/>
                <a:gd name="connsiteY27" fmla="*/ 749600 h 816032"/>
                <a:gd name="connsiteX28" fmla="*/ 729786 w 866764"/>
                <a:gd name="connsiteY28" fmla="*/ 750084 h 816032"/>
                <a:gd name="connsiteX29" fmla="*/ 728001 w 866764"/>
                <a:gd name="connsiteY29" fmla="*/ 752202 h 816032"/>
                <a:gd name="connsiteX30" fmla="*/ 727002 w 866764"/>
                <a:gd name="connsiteY30" fmla="*/ 752686 h 816032"/>
                <a:gd name="connsiteX31" fmla="*/ 726639 w 866764"/>
                <a:gd name="connsiteY31" fmla="*/ 753170 h 816032"/>
                <a:gd name="connsiteX32" fmla="*/ 727184 w 866764"/>
                <a:gd name="connsiteY32" fmla="*/ 754229 h 816032"/>
                <a:gd name="connsiteX33" fmla="*/ 728243 w 866764"/>
                <a:gd name="connsiteY33" fmla="*/ 755288 h 816032"/>
                <a:gd name="connsiteX34" fmla="*/ 729513 w 866764"/>
                <a:gd name="connsiteY34" fmla="*/ 755771 h 816032"/>
                <a:gd name="connsiteX35" fmla="*/ 730663 w 866764"/>
                <a:gd name="connsiteY35" fmla="*/ 755378 h 816032"/>
                <a:gd name="connsiteX36" fmla="*/ 732417 w 866764"/>
                <a:gd name="connsiteY36" fmla="*/ 753805 h 816032"/>
                <a:gd name="connsiteX37" fmla="*/ 733295 w 866764"/>
                <a:gd name="connsiteY37" fmla="*/ 753442 h 816032"/>
                <a:gd name="connsiteX38" fmla="*/ 734626 w 866764"/>
                <a:gd name="connsiteY38" fmla="*/ 753200 h 816032"/>
                <a:gd name="connsiteX39" fmla="*/ 735564 w 866764"/>
                <a:gd name="connsiteY39" fmla="*/ 752626 h 816032"/>
                <a:gd name="connsiteX40" fmla="*/ 736471 w 866764"/>
                <a:gd name="connsiteY40" fmla="*/ 751869 h 816032"/>
                <a:gd name="connsiteX41" fmla="*/ 737742 w 866764"/>
                <a:gd name="connsiteY41" fmla="*/ 751083 h 816032"/>
                <a:gd name="connsiteX42" fmla="*/ 738680 w 866764"/>
                <a:gd name="connsiteY42" fmla="*/ 750750 h 816032"/>
                <a:gd name="connsiteX43" fmla="*/ 741130 w 866764"/>
                <a:gd name="connsiteY43" fmla="*/ 750326 h 816032"/>
                <a:gd name="connsiteX44" fmla="*/ 742612 w 866764"/>
                <a:gd name="connsiteY44" fmla="*/ 750266 h 816032"/>
                <a:gd name="connsiteX45" fmla="*/ 742612 w 866764"/>
                <a:gd name="connsiteY45" fmla="*/ 749570 h 816032"/>
                <a:gd name="connsiteX46" fmla="*/ 741856 w 866764"/>
                <a:gd name="connsiteY46" fmla="*/ 747241 h 816032"/>
                <a:gd name="connsiteX47" fmla="*/ 742612 w 866764"/>
                <a:gd name="connsiteY47" fmla="*/ 746908 h 816032"/>
                <a:gd name="connsiteX48" fmla="*/ 743248 w 866764"/>
                <a:gd name="connsiteY48" fmla="*/ 746454 h 816032"/>
                <a:gd name="connsiteX49" fmla="*/ 743127 w 866764"/>
                <a:gd name="connsiteY49" fmla="*/ 745728 h 816032"/>
                <a:gd name="connsiteX50" fmla="*/ 742158 w 866764"/>
                <a:gd name="connsiteY50" fmla="*/ 745819 h 816032"/>
                <a:gd name="connsiteX51" fmla="*/ 671310 w 866764"/>
                <a:gd name="connsiteY51" fmla="*/ 763092 h 816032"/>
                <a:gd name="connsiteX52" fmla="*/ 672762 w 866764"/>
                <a:gd name="connsiteY52" fmla="*/ 761731 h 816032"/>
                <a:gd name="connsiteX53" fmla="*/ 673639 w 866764"/>
                <a:gd name="connsiteY53" fmla="*/ 759674 h 816032"/>
                <a:gd name="connsiteX54" fmla="*/ 670916 w 866764"/>
                <a:gd name="connsiteY54" fmla="*/ 759674 h 816032"/>
                <a:gd name="connsiteX55" fmla="*/ 671158 w 866764"/>
                <a:gd name="connsiteY55" fmla="*/ 760067 h 816032"/>
                <a:gd name="connsiteX56" fmla="*/ 671401 w 866764"/>
                <a:gd name="connsiteY56" fmla="*/ 760914 h 816032"/>
                <a:gd name="connsiteX57" fmla="*/ 671642 w 866764"/>
                <a:gd name="connsiteY57" fmla="*/ 761277 h 816032"/>
                <a:gd name="connsiteX58" fmla="*/ 671279 w 866764"/>
                <a:gd name="connsiteY58" fmla="*/ 761338 h 816032"/>
                <a:gd name="connsiteX59" fmla="*/ 670190 w 866764"/>
                <a:gd name="connsiteY59" fmla="*/ 761277 h 816032"/>
                <a:gd name="connsiteX60" fmla="*/ 670916 w 866764"/>
                <a:gd name="connsiteY60" fmla="*/ 762760 h 816032"/>
                <a:gd name="connsiteX61" fmla="*/ 667468 w 866764"/>
                <a:gd name="connsiteY61" fmla="*/ 763153 h 816032"/>
                <a:gd name="connsiteX62" fmla="*/ 665290 w 866764"/>
                <a:gd name="connsiteY62" fmla="*/ 764938 h 816032"/>
                <a:gd name="connsiteX63" fmla="*/ 663354 w 866764"/>
                <a:gd name="connsiteY63" fmla="*/ 767388 h 816032"/>
                <a:gd name="connsiteX64" fmla="*/ 660570 w 866764"/>
                <a:gd name="connsiteY64" fmla="*/ 769778 h 816032"/>
                <a:gd name="connsiteX65" fmla="*/ 660752 w 866764"/>
                <a:gd name="connsiteY65" fmla="*/ 770201 h 816032"/>
                <a:gd name="connsiteX66" fmla="*/ 660752 w 866764"/>
                <a:gd name="connsiteY66" fmla="*/ 770353 h 816032"/>
                <a:gd name="connsiteX67" fmla="*/ 661266 w 866764"/>
                <a:gd name="connsiteY67" fmla="*/ 770564 h 816032"/>
                <a:gd name="connsiteX68" fmla="*/ 659421 w 866764"/>
                <a:gd name="connsiteY68" fmla="*/ 771896 h 816032"/>
                <a:gd name="connsiteX69" fmla="*/ 656971 w 866764"/>
                <a:gd name="connsiteY69" fmla="*/ 772924 h 816032"/>
                <a:gd name="connsiteX70" fmla="*/ 654429 w 866764"/>
                <a:gd name="connsiteY70" fmla="*/ 773166 h 816032"/>
                <a:gd name="connsiteX71" fmla="*/ 652281 w 866764"/>
                <a:gd name="connsiteY71" fmla="*/ 772077 h 816032"/>
                <a:gd name="connsiteX72" fmla="*/ 653431 w 866764"/>
                <a:gd name="connsiteY72" fmla="*/ 770958 h 816032"/>
                <a:gd name="connsiteX73" fmla="*/ 649589 w 866764"/>
                <a:gd name="connsiteY73" fmla="*/ 770020 h 816032"/>
                <a:gd name="connsiteX74" fmla="*/ 648198 w 866764"/>
                <a:gd name="connsiteY74" fmla="*/ 768931 h 816032"/>
                <a:gd name="connsiteX75" fmla="*/ 647502 w 866764"/>
                <a:gd name="connsiteY75" fmla="*/ 768931 h 816032"/>
                <a:gd name="connsiteX76" fmla="*/ 646957 w 866764"/>
                <a:gd name="connsiteY76" fmla="*/ 769627 h 816032"/>
                <a:gd name="connsiteX77" fmla="*/ 646413 w 866764"/>
                <a:gd name="connsiteY77" fmla="*/ 769627 h 816032"/>
                <a:gd name="connsiteX78" fmla="*/ 645747 w 866764"/>
                <a:gd name="connsiteY78" fmla="*/ 769536 h 816032"/>
                <a:gd name="connsiteX79" fmla="*/ 644779 w 866764"/>
                <a:gd name="connsiteY79" fmla="*/ 769748 h 816032"/>
                <a:gd name="connsiteX80" fmla="*/ 644023 w 866764"/>
                <a:gd name="connsiteY80" fmla="*/ 770201 h 816032"/>
                <a:gd name="connsiteX81" fmla="*/ 643085 w 866764"/>
                <a:gd name="connsiteY81" fmla="*/ 771049 h 816032"/>
                <a:gd name="connsiteX82" fmla="*/ 639939 w 866764"/>
                <a:gd name="connsiteY82" fmla="*/ 772924 h 816032"/>
                <a:gd name="connsiteX83" fmla="*/ 639243 w 866764"/>
                <a:gd name="connsiteY83" fmla="*/ 773196 h 816032"/>
                <a:gd name="connsiteX84" fmla="*/ 635492 w 866764"/>
                <a:gd name="connsiteY84" fmla="*/ 773892 h 816032"/>
                <a:gd name="connsiteX85" fmla="*/ 632225 w 866764"/>
                <a:gd name="connsiteY85" fmla="*/ 774074 h 816032"/>
                <a:gd name="connsiteX86" fmla="*/ 631015 w 866764"/>
                <a:gd name="connsiteY86" fmla="*/ 774346 h 816032"/>
                <a:gd name="connsiteX87" fmla="*/ 630894 w 866764"/>
                <a:gd name="connsiteY87" fmla="*/ 774649 h 816032"/>
                <a:gd name="connsiteX88" fmla="*/ 629653 w 866764"/>
                <a:gd name="connsiteY88" fmla="*/ 776645 h 816032"/>
                <a:gd name="connsiteX89" fmla="*/ 628685 w 866764"/>
                <a:gd name="connsiteY89" fmla="*/ 777310 h 816032"/>
                <a:gd name="connsiteX90" fmla="*/ 628111 w 866764"/>
                <a:gd name="connsiteY90" fmla="*/ 777462 h 816032"/>
                <a:gd name="connsiteX91" fmla="*/ 627263 w 866764"/>
                <a:gd name="connsiteY91" fmla="*/ 777522 h 816032"/>
                <a:gd name="connsiteX92" fmla="*/ 626114 w 866764"/>
                <a:gd name="connsiteY92" fmla="*/ 778248 h 816032"/>
                <a:gd name="connsiteX93" fmla="*/ 624359 w 866764"/>
                <a:gd name="connsiteY93" fmla="*/ 781425 h 816032"/>
                <a:gd name="connsiteX94" fmla="*/ 623058 w 866764"/>
                <a:gd name="connsiteY94" fmla="*/ 782151 h 816032"/>
                <a:gd name="connsiteX95" fmla="*/ 620820 w 866764"/>
                <a:gd name="connsiteY95" fmla="*/ 782241 h 816032"/>
                <a:gd name="connsiteX96" fmla="*/ 619580 w 866764"/>
                <a:gd name="connsiteY96" fmla="*/ 781909 h 816032"/>
                <a:gd name="connsiteX97" fmla="*/ 618249 w 866764"/>
                <a:gd name="connsiteY97" fmla="*/ 780941 h 816032"/>
                <a:gd name="connsiteX98" fmla="*/ 616585 w 866764"/>
                <a:gd name="connsiteY98" fmla="*/ 780215 h 816032"/>
                <a:gd name="connsiteX99" fmla="*/ 615133 w 866764"/>
                <a:gd name="connsiteY99" fmla="*/ 780457 h 816032"/>
                <a:gd name="connsiteX100" fmla="*/ 614104 w 866764"/>
                <a:gd name="connsiteY100" fmla="*/ 780185 h 816032"/>
                <a:gd name="connsiteX101" fmla="*/ 613741 w 866764"/>
                <a:gd name="connsiteY101" fmla="*/ 777916 h 816032"/>
                <a:gd name="connsiteX102" fmla="*/ 613318 w 866764"/>
                <a:gd name="connsiteY102" fmla="*/ 776706 h 816032"/>
                <a:gd name="connsiteX103" fmla="*/ 612652 w 866764"/>
                <a:gd name="connsiteY103" fmla="*/ 775617 h 816032"/>
                <a:gd name="connsiteX104" fmla="*/ 612501 w 866764"/>
                <a:gd name="connsiteY104" fmla="*/ 774618 h 816032"/>
                <a:gd name="connsiteX105" fmla="*/ 613711 w 866764"/>
                <a:gd name="connsiteY105" fmla="*/ 773711 h 816032"/>
                <a:gd name="connsiteX106" fmla="*/ 613167 w 866764"/>
                <a:gd name="connsiteY106" fmla="*/ 771412 h 816032"/>
                <a:gd name="connsiteX107" fmla="*/ 613893 w 866764"/>
                <a:gd name="connsiteY107" fmla="*/ 769718 h 816032"/>
                <a:gd name="connsiteX108" fmla="*/ 614739 w 866764"/>
                <a:gd name="connsiteY108" fmla="*/ 768447 h 816032"/>
                <a:gd name="connsiteX109" fmla="*/ 614437 w 866764"/>
                <a:gd name="connsiteY109" fmla="*/ 767449 h 816032"/>
                <a:gd name="connsiteX110" fmla="*/ 615223 w 866764"/>
                <a:gd name="connsiteY110" fmla="*/ 766541 h 816032"/>
                <a:gd name="connsiteX111" fmla="*/ 615677 w 866764"/>
                <a:gd name="connsiteY111" fmla="*/ 766239 h 816032"/>
                <a:gd name="connsiteX112" fmla="*/ 616040 w 866764"/>
                <a:gd name="connsiteY112" fmla="*/ 766359 h 816032"/>
                <a:gd name="connsiteX113" fmla="*/ 616555 w 866764"/>
                <a:gd name="connsiteY113" fmla="*/ 766753 h 816032"/>
                <a:gd name="connsiteX114" fmla="*/ 617129 w 866764"/>
                <a:gd name="connsiteY114" fmla="*/ 765906 h 816032"/>
                <a:gd name="connsiteX115" fmla="*/ 616615 w 866764"/>
                <a:gd name="connsiteY115" fmla="*/ 765422 h 816032"/>
                <a:gd name="connsiteX116" fmla="*/ 616615 w 866764"/>
                <a:gd name="connsiteY116" fmla="*/ 765059 h 816032"/>
                <a:gd name="connsiteX117" fmla="*/ 617129 w 866764"/>
                <a:gd name="connsiteY117" fmla="*/ 764272 h 816032"/>
                <a:gd name="connsiteX118" fmla="*/ 616343 w 866764"/>
                <a:gd name="connsiteY118" fmla="*/ 763153 h 816032"/>
                <a:gd name="connsiteX119" fmla="*/ 615526 w 866764"/>
                <a:gd name="connsiteY119" fmla="*/ 763002 h 816032"/>
                <a:gd name="connsiteX120" fmla="*/ 615012 w 866764"/>
                <a:gd name="connsiteY120" fmla="*/ 763909 h 816032"/>
                <a:gd name="connsiteX121" fmla="*/ 615133 w 866764"/>
                <a:gd name="connsiteY121" fmla="*/ 765876 h 816032"/>
                <a:gd name="connsiteX122" fmla="*/ 614165 w 866764"/>
                <a:gd name="connsiteY122" fmla="*/ 765361 h 816032"/>
                <a:gd name="connsiteX123" fmla="*/ 613741 w 866764"/>
                <a:gd name="connsiteY123" fmla="*/ 764666 h 816032"/>
                <a:gd name="connsiteX124" fmla="*/ 613832 w 866764"/>
                <a:gd name="connsiteY124" fmla="*/ 763758 h 816032"/>
                <a:gd name="connsiteX125" fmla="*/ 614437 w 866764"/>
                <a:gd name="connsiteY125" fmla="*/ 762729 h 816032"/>
                <a:gd name="connsiteX126" fmla="*/ 613711 w 866764"/>
                <a:gd name="connsiteY126" fmla="*/ 762034 h 816032"/>
                <a:gd name="connsiteX127" fmla="*/ 616010 w 866764"/>
                <a:gd name="connsiteY127" fmla="*/ 760188 h 816032"/>
                <a:gd name="connsiteX128" fmla="*/ 617160 w 866764"/>
                <a:gd name="connsiteY128" fmla="*/ 758887 h 816032"/>
                <a:gd name="connsiteX129" fmla="*/ 617916 w 866764"/>
                <a:gd name="connsiteY129" fmla="*/ 757375 h 816032"/>
                <a:gd name="connsiteX130" fmla="*/ 612017 w 866764"/>
                <a:gd name="connsiteY130" fmla="*/ 757375 h 816032"/>
                <a:gd name="connsiteX131" fmla="*/ 610504 w 866764"/>
                <a:gd name="connsiteY131" fmla="*/ 757133 h 816032"/>
                <a:gd name="connsiteX132" fmla="*/ 608356 w 866764"/>
                <a:gd name="connsiteY132" fmla="*/ 756074 h 816032"/>
                <a:gd name="connsiteX133" fmla="*/ 607207 w 866764"/>
                <a:gd name="connsiteY133" fmla="*/ 755832 h 816032"/>
                <a:gd name="connsiteX134" fmla="*/ 605089 w 866764"/>
                <a:gd name="connsiteY134" fmla="*/ 756225 h 816032"/>
                <a:gd name="connsiteX135" fmla="*/ 589298 w 866764"/>
                <a:gd name="connsiteY135" fmla="*/ 761701 h 816032"/>
                <a:gd name="connsiteX136" fmla="*/ 586454 w 866764"/>
                <a:gd name="connsiteY136" fmla="*/ 762064 h 816032"/>
                <a:gd name="connsiteX137" fmla="*/ 583611 w 866764"/>
                <a:gd name="connsiteY137" fmla="*/ 761459 h 816032"/>
                <a:gd name="connsiteX138" fmla="*/ 581856 w 866764"/>
                <a:gd name="connsiteY138" fmla="*/ 759976 h 816032"/>
                <a:gd name="connsiteX139" fmla="*/ 580465 w 866764"/>
                <a:gd name="connsiteY139" fmla="*/ 758131 h 816032"/>
                <a:gd name="connsiteX140" fmla="*/ 578650 w 866764"/>
                <a:gd name="connsiteY140" fmla="*/ 756528 h 816032"/>
                <a:gd name="connsiteX141" fmla="*/ 577893 w 866764"/>
                <a:gd name="connsiteY141" fmla="*/ 757375 h 816032"/>
                <a:gd name="connsiteX142" fmla="*/ 577198 w 866764"/>
                <a:gd name="connsiteY142" fmla="*/ 756528 h 816032"/>
                <a:gd name="connsiteX143" fmla="*/ 575655 w 866764"/>
                <a:gd name="connsiteY143" fmla="*/ 757314 h 816032"/>
                <a:gd name="connsiteX144" fmla="*/ 574172 w 866764"/>
                <a:gd name="connsiteY144" fmla="*/ 757224 h 816032"/>
                <a:gd name="connsiteX145" fmla="*/ 571692 w 866764"/>
                <a:gd name="connsiteY145" fmla="*/ 756528 h 816032"/>
                <a:gd name="connsiteX146" fmla="*/ 566125 w 866764"/>
                <a:gd name="connsiteY146" fmla="*/ 757375 h 816032"/>
                <a:gd name="connsiteX147" fmla="*/ 563040 w 866764"/>
                <a:gd name="connsiteY147" fmla="*/ 757375 h 816032"/>
                <a:gd name="connsiteX148" fmla="*/ 562132 w 866764"/>
                <a:gd name="connsiteY148" fmla="*/ 757133 h 816032"/>
                <a:gd name="connsiteX149" fmla="*/ 561436 w 866764"/>
                <a:gd name="connsiteY149" fmla="*/ 756649 h 816032"/>
                <a:gd name="connsiteX150" fmla="*/ 560953 w 866764"/>
                <a:gd name="connsiteY150" fmla="*/ 756105 h 816032"/>
                <a:gd name="connsiteX151" fmla="*/ 560589 w 866764"/>
                <a:gd name="connsiteY151" fmla="*/ 755832 h 816032"/>
                <a:gd name="connsiteX152" fmla="*/ 559047 w 866764"/>
                <a:gd name="connsiteY152" fmla="*/ 755742 h 816032"/>
                <a:gd name="connsiteX153" fmla="*/ 556173 w 866764"/>
                <a:gd name="connsiteY153" fmla="*/ 756346 h 816032"/>
                <a:gd name="connsiteX154" fmla="*/ 551514 w 866764"/>
                <a:gd name="connsiteY154" fmla="*/ 756619 h 816032"/>
                <a:gd name="connsiteX155" fmla="*/ 548519 w 866764"/>
                <a:gd name="connsiteY155" fmla="*/ 756377 h 816032"/>
                <a:gd name="connsiteX156" fmla="*/ 546341 w 866764"/>
                <a:gd name="connsiteY156" fmla="*/ 755167 h 816032"/>
                <a:gd name="connsiteX157" fmla="*/ 545494 w 866764"/>
                <a:gd name="connsiteY157" fmla="*/ 752293 h 816032"/>
                <a:gd name="connsiteX158" fmla="*/ 545675 w 866764"/>
                <a:gd name="connsiteY158" fmla="*/ 751597 h 816032"/>
                <a:gd name="connsiteX159" fmla="*/ 546038 w 866764"/>
                <a:gd name="connsiteY159" fmla="*/ 750992 h 816032"/>
                <a:gd name="connsiteX160" fmla="*/ 546250 w 866764"/>
                <a:gd name="connsiteY160" fmla="*/ 750387 h 816032"/>
                <a:gd name="connsiteX161" fmla="*/ 546099 w 866764"/>
                <a:gd name="connsiteY161" fmla="*/ 749661 h 816032"/>
                <a:gd name="connsiteX162" fmla="*/ 545524 w 866764"/>
                <a:gd name="connsiteY162" fmla="*/ 749479 h 816032"/>
                <a:gd name="connsiteX163" fmla="*/ 543739 w 866764"/>
                <a:gd name="connsiteY163" fmla="*/ 749721 h 816032"/>
                <a:gd name="connsiteX164" fmla="*/ 542650 w 866764"/>
                <a:gd name="connsiteY164" fmla="*/ 748390 h 816032"/>
                <a:gd name="connsiteX165" fmla="*/ 537871 w 866764"/>
                <a:gd name="connsiteY165" fmla="*/ 747332 h 816032"/>
                <a:gd name="connsiteX166" fmla="*/ 537719 w 866764"/>
                <a:gd name="connsiteY166" fmla="*/ 748330 h 816032"/>
                <a:gd name="connsiteX167" fmla="*/ 537477 w 866764"/>
                <a:gd name="connsiteY167" fmla="*/ 748693 h 816032"/>
                <a:gd name="connsiteX168" fmla="*/ 537114 w 866764"/>
                <a:gd name="connsiteY168" fmla="*/ 748965 h 816032"/>
                <a:gd name="connsiteX169" fmla="*/ 536509 w 866764"/>
                <a:gd name="connsiteY169" fmla="*/ 749661 h 816032"/>
                <a:gd name="connsiteX170" fmla="*/ 530278 w 866764"/>
                <a:gd name="connsiteY170" fmla="*/ 747332 h 816032"/>
                <a:gd name="connsiteX171" fmla="*/ 527434 w 866764"/>
                <a:gd name="connsiteY171" fmla="*/ 748239 h 816032"/>
                <a:gd name="connsiteX172" fmla="*/ 525740 w 866764"/>
                <a:gd name="connsiteY172" fmla="*/ 748995 h 816032"/>
                <a:gd name="connsiteX173" fmla="*/ 524772 w 866764"/>
                <a:gd name="connsiteY173" fmla="*/ 749661 h 816032"/>
                <a:gd name="connsiteX174" fmla="*/ 522684 w 866764"/>
                <a:gd name="connsiteY174" fmla="*/ 748632 h 816032"/>
                <a:gd name="connsiteX175" fmla="*/ 512701 w 866764"/>
                <a:gd name="connsiteY175" fmla="*/ 747029 h 816032"/>
                <a:gd name="connsiteX176" fmla="*/ 510432 w 866764"/>
                <a:gd name="connsiteY176" fmla="*/ 747089 h 816032"/>
                <a:gd name="connsiteX177" fmla="*/ 508254 w 866764"/>
                <a:gd name="connsiteY177" fmla="*/ 747483 h 816032"/>
                <a:gd name="connsiteX178" fmla="*/ 506137 w 866764"/>
                <a:gd name="connsiteY178" fmla="*/ 748118 h 816032"/>
                <a:gd name="connsiteX179" fmla="*/ 499875 w 866764"/>
                <a:gd name="connsiteY179" fmla="*/ 751113 h 816032"/>
                <a:gd name="connsiteX180" fmla="*/ 497182 w 866764"/>
                <a:gd name="connsiteY180" fmla="*/ 751900 h 816032"/>
                <a:gd name="connsiteX181" fmla="*/ 488984 w 866764"/>
                <a:gd name="connsiteY181" fmla="*/ 753261 h 816032"/>
                <a:gd name="connsiteX182" fmla="*/ 486836 w 866764"/>
                <a:gd name="connsiteY182" fmla="*/ 754350 h 816032"/>
                <a:gd name="connsiteX183" fmla="*/ 483206 w 866764"/>
                <a:gd name="connsiteY183" fmla="*/ 753533 h 816032"/>
                <a:gd name="connsiteX184" fmla="*/ 474343 w 866764"/>
                <a:gd name="connsiteY184" fmla="*/ 755953 h 816032"/>
                <a:gd name="connsiteX185" fmla="*/ 470621 w 866764"/>
                <a:gd name="connsiteY185" fmla="*/ 754713 h 816032"/>
                <a:gd name="connsiteX186" fmla="*/ 469654 w 866764"/>
                <a:gd name="connsiteY186" fmla="*/ 754199 h 816032"/>
                <a:gd name="connsiteX187" fmla="*/ 467627 w 866764"/>
                <a:gd name="connsiteY187" fmla="*/ 754078 h 816032"/>
                <a:gd name="connsiteX188" fmla="*/ 466840 w 866764"/>
                <a:gd name="connsiteY188" fmla="*/ 753503 h 816032"/>
                <a:gd name="connsiteX189" fmla="*/ 466659 w 866764"/>
                <a:gd name="connsiteY189" fmla="*/ 752535 h 816032"/>
                <a:gd name="connsiteX190" fmla="*/ 466840 w 866764"/>
                <a:gd name="connsiteY190" fmla="*/ 748481 h 816032"/>
                <a:gd name="connsiteX191" fmla="*/ 466689 w 866764"/>
                <a:gd name="connsiteY191" fmla="*/ 746333 h 816032"/>
                <a:gd name="connsiteX192" fmla="*/ 465539 w 866764"/>
                <a:gd name="connsiteY192" fmla="*/ 741130 h 816032"/>
                <a:gd name="connsiteX193" fmla="*/ 464208 w 866764"/>
                <a:gd name="connsiteY193" fmla="*/ 742158 h 816032"/>
                <a:gd name="connsiteX194" fmla="*/ 462544 w 866764"/>
                <a:gd name="connsiteY194" fmla="*/ 743157 h 816032"/>
                <a:gd name="connsiteX195" fmla="*/ 460699 w 866764"/>
                <a:gd name="connsiteY195" fmla="*/ 743943 h 816032"/>
                <a:gd name="connsiteX196" fmla="*/ 458914 w 866764"/>
                <a:gd name="connsiteY196" fmla="*/ 744216 h 816032"/>
                <a:gd name="connsiteX197" fmla="*/ 457250 w 866764"/>
                <a:gd name="connsiteY197" fmla="*/ 743762 h 816032"/>
                <a:gd name="connsiteX198" fmla="*/ 453923 w 866764"/>
                <a:gd name="connsiteY198" fmla="*/ 741644 h 816032"/>
                <a:gd name="connsiteX199" fmla="*/ 450958 w 866764"/>
                <a:gd name="connsiteY199" fmla="*/ 740827 h 816032"/>
                <a:gd name="connsiteX200" fmla="*/ 449082 w 866764"/>
                <a:gd name="connsiteY200" fmla="*/ 740011 h 816032"/>
                <a:gd name="connsiteX201" fmla="*/ 447358 w 866764"/>
                <a:gd name="connsiteY201" fmla="*/ 738982 h 816032"/>
                <a:gd name="connsiteX202" fmla="*/ 446844 w 866764"/>
                <a:gd name="connsiteY202" fmla="*/ 737984 h 816032"/>
                <a:gd name="connsiteX203" fmla="*/ 448296 w 866764"/>
                <a:gd name="connsiteY203" fmla="*/ 737076 h 816032"/>
                <a:gd name="connsiteX204" fmla="*/ 450535 w 866764"/>
                <a:gd name="connsiteY204" fmla="*/ 737197 h 816032"/>
                <a:gd name="connsiteX205" fmla="*/ 454467 w 866764"/>
                <a:gd name="connsiteY205" fmla="*/ 737984 h 816032"/>
                <a:gd name="connsiteX206" fmla="*/ 456615 w 866764"/>
                <a:gd name="connsiteY206" fmla="*/ 737923 h 816032"/>
                <a:gd name="connsiteX207" fmla="*/ 457613 w 866764"/>
                <a:gd name="connsiteY207" fmla="*/ 737711 h 816032"/>
                <a:gd name="connsiteX208" fmla="*/ 458551 w 866764"/>
                <a:gd name="connsiteY208" fmla="*/ 737288 h 816032"/>
                <a:gd name="connsiteX209" fmla="*/ 459035 w 866764"/>
                <a:gd name="connsiteY209" fmla="*/ 736744 h 816032"/>
                <a:gd name="connsiteX210" fmla="*/ 459852 w 866764"/>
                <a:gd name="connsiteY210" fmla="*/ 735201 h 816032"/>
                <a:gd name="connsiteX211" fmla="*/ 460336 w 866764"/>
                <a:gd name="connsiteY211" fmla="*/ 734898 h 816032"/>
                <a:gd name="connsiteX212" fmla="*/ 460608 w 866764"/>
                <a:gd name="connsiteY212" fmla="*/ 734051 h 816032"/>
                <a:gd name="connsiteX213" fmla="*/ 458581 w 866764"/>
                <a:gd name="connsiteY213" fmla="*/ 729090 h 816032"/>
                <a:gd name="connsiteX214" fmla="*/ 456313 w 866764"/>
                <a:gd name="connsiteY214" fmla="*/ 727789 h 816032"/>
                <a:gd name="connsiteX215" fmla="*/ 451745 w 866764"/>
                <a:gd name="connsiteY215" fmla="*/ 727305 h 816032"/>
                <a:gd name="connsiteX216" fmla="*/ 448387 w 866764"/>
                <a:gd name="connsiteY216" fmla="*/ 728606 h 816032"/>
                <a:gd name="connsiteX217" fmla="*/ 449627 w 866764"/>
                <a:gd name="connsiteY217" fmla="*/ 732660 h 816032"/>
                <a:gd name="connsiteX218" fmla="*/ 447056 w 866764"/>
                <a:gd name="connsiteY218" fmla="*/ 732508 h 816032"/>
                <a:gd name="connsiteX219" fmla="*/ 445967 w 866764"/>
                <a:gd name="connsiteY219" fmla="*/ 732780 h 816032"/>
                <a:gd name="connsiteX220" fmla="*/ 445513 w 866764"/>
                <a:gd name="connsiteY220" fmla="*/ 733718 h 816032"/>
                <a:gd name="connsiteX221" fmla="*/ 445271 w 866764"/>
                <a:gd name="connsiteY221" fmla="*/ 734868 h 816032"/>
                <a:gd name="connsiteX222" fmla="*/ 444636 w 866764"/>
                <a:gd name="connsiteY222" fmla="*/ 735624 h 816032"/>
                <a:gd name="connsiteX223" fmla="*/ 443728 w 866764"/>
                <a:gd name="connsiteY223" fmla="*/ 736108 h 816032"/>
                <a:gd name="connsiteX224" fmla="*/ 442669 w 866764"/>
                <a:gd name="connsiteY224" fmla="*/ 736411 h 816032"/>
                <a:gd name="connsiteX225" fmla="*/ 440158 w 866764"/>
                <a:gd name="connsiteY225" fmla="*/ 736501 h 816032"/>
                <a:gd name="connsiteX226" fmla="*/ 434501 w 866764"/>
                <a:gd name="connsiteY226" fmla="*/ 735927 h 816032"/>
                <a:gd name="connsiteX227" fmla="*/ 432958 w 866764"/>
                <a:gd name="connsiteY227" fmla="*/ 736411 h 816032"/>
                <a:gd name="connsiteX228" fmla="*/ 430175 w 866764"/>
                <a:gd name="connsiteY228" fmla="*/ 735685 h 816032"/>
                <a:gd name="connsiteX229" fmla="*/ 421705 w 866764"/>
                <a:gd name="connsiteY229" fmla="*/ 734807 h 816032"/>
                <a:gd name="connsiteX230" fmla="*/ 419920 w 866764"/>
                <a:gd name="connsiteY230" fmla="*/ 733688 h 816032"/>
                <a:gd name="connsiteX231" fmla="*/ 417833 w 866764"/>
                <a:gd name="connsiteY231" fmla="*/ 730149 h 816032"/>
                <a:gd name="connsiteX232" fmla="*/ 417712 w 866764"/>
                <a:gd name="connsiteY232" fmla="*/ 729272 h 816032"/>
                <a:gd name="connsiteX233" fmla="*/ 417833 w 866764"/>
                <a:gd name="connsiteY233" fmla="*/ 726367 h 816032"/>
                <a:gd name="connsiteX234" fmla="*/ 416744 w 866764"/>
                <a:gd name="connsiteY234" fmla="*/ 722798 h 816032"/>
                <a:gd name="connsiteX235" fmla="*/ 416744 w 866764"/>
                <a:gd name="connsiteY235" fmla="*/ 721345 h 816032"/>
                <a:gd name="connsiteX236" fmla="*/ 417833 w 866764"/>
                <a:gd name="connsiteY236" fmla="*/ 720196 h 816032"/>
                <a:gd name="connsiteX237" fmla="*/ 417833 w 866764"/>
                <a:gd name="connsiteY237" fmla="*/ 719349 h 816032"/>
                <a:gd name="connsiteX238" fmla="*/ 415897 w 866764"/>
                <a:gd name="connsiteY238" fmla="*/ 718472 h 816032"/>
                <a:gd name="connsiteX239" fmla="*/ 414929 w 866764"/>
                <a:gd name="connsiteY239" fmla="*/ 717655 h 816032"/>
                <a:gd name="connsiteX240" fmla="*/ 414082 w 866764"/>
                <a:gd name="connsiteY240" fmla="*/ 717655 h 816032"/>
                <a:gd name="connsiteX241" fmla="*/ 412630 w 866764"/>
                <a:gd name="connsiteY241" fmla="*/ 718986 h 816032"/>
                <a:gd name="connsiteX242" fmla="*/ 411510 w 866764"/>
                <a:gd name="connsiteY242" fmla="*/ 720499 h 816032"/>
                <a:gd name="connsiteX243" fmla="*/ 411026 w 866764"/>
                <a:gd name="connsiteY243" fmla="*/ 721920 h 816032"/>
                <a:gd name="connsiteX244" fmla="*/ 411298 w 866764"/>
                <a:gd name="connsiteY244" fmla="*/ 723524 h 816032"/>
                <a:gd name="connsiteX245" fmla="*/ 412297 w 866764"/>
                <a:gd name="connsiteY245" fmla="*/ 725550 h 816032"/>
                <a:gd name="connsiteX246" fmla="*/ 411178 w 866764"/>
                <a:gd name="connsiteY246" fmla="*/ 726670 h 816032"/>
                <a:gd name="connsiteX247" fmla="*/ 411510 w 866764"/>
                <a:gd name="connsiteY247" fmla="*/ 728394 h 816032"/>
                <a:gd name="connsiteX248" fmla="*/ 412387 w 866764"/>
                <a:gd name="connsiteY248" fmla="*/ 730481 h 816032"/>
                <a:gd name="connsiteX249" fmla="*/ 412962 w 866764"/>
                <a:gd name="connsiteY249" fmla="*/ 732690 h 816032"/>
                <a:gd name="connsiteX250" fmla="*/ 412690 w 866764"/>
                <a:gd name="connsiteY250" fmla="*/ 735443 h 816032"/>
                <a:gd name="connsiteX251" fmla="*/ 411752 w 866764"/>
                <a:gd name="connsiteY251" fmla="*/ 737379 h 816032"/>
                <a:gd name="connsiteX252" fmla="*/ 410179 w 866764"/>
                <a:gd name="connsiteY252" fmla="*/ 738498 h 816032"/>
                <a:gd name="connsiteX253" fmla="*/ 408213 w 866764"/>
                <a:gd name="connsiteY253" fmla="*/ 738861 h 816032"/>
                <a:gd name="connsiteX254" fmla="*/ 405793 w 866764"/>
                <a:gd name="connsiteY254" fmla="*/ 738680 h 816032"/>
                <a:gd name="connsiteX255" fmla="*/ 404885 w 866764"/>
                <a:gd name="connsiteY255" fmla="*/ 738407 h 816032"/>
                <a:gd name="connsiteX256" fmla="*/ 404008 w 866764"/>
                <a:gd name="connsiteY256" fmla="*/ 738014 h 816032"/>
                <a:gd name="connsiteX257" fmla="*/ 403766 w 866764"/>
                <a:gd name="connsiteY257" fmla="*/ 737621 h 816032"/>
                <a:gd name="connsiteX258" fmla="*/ 403857 w 866764"/>
                <a:gd name="connsiteY258" fmla="*/ 737107 h 816032"/>
                <a:gd name="connsiteX259" fmla="*/ 403766 w 866764"/>
                <a:gd name="connsiteY259" fmla="*/ 736683 h 816032"/>
                <a:gd name="connsiteX260" fmla="*/ 402979 w 866764"/>
                <a:gd name="connsiteY260" fmla="*/ 736471 h 816032"/>
                <a:gd name="connsiteX261" fmla="*/ 402163 w 866764"/>
                <a:gd name="connsiteY261" fmla="*/ 736381 h 816032"/>
                <a:gd name="connsiteX262" fmla="*/ 401769 w 866764"/>
                <a:gd name="connsiteY262" fmla="*/ 736078 h 816032"/>
                <a:gd name="connsiteX263" fmla="*/ 401225 w 866764"/>
                <a:gd name="connsiteY263" fmla="*/ 734929 h 816032"/>
                <a:gd name="connsiteX264" fmla="*/ 400590 w 866764"/>
                <a:gd name="connsiteY264" fmla="*/ 732962 h 816032"/>
                <a:gd name="connsiteX265" fmla="*/ 400529 w 866764"/>
                <a:gd name="connsiteY265" fmla="*/ 728334 h 816032"/>
                <a:gd name="connsiteX266" fmla="*/ 400227 w 866764"/>
                <a:gd name="connsiteY266" fmla="*/ 726034 h 816032"/>
                <a:gd name="connsiteX267" fmla="*/ 399803 w 866764"/>
                <a:gd name="connsiteY267" fmla="*/ 727123 h 816032"/>
                <a:gd name="connsiteX268" fmla="*/ 397776 w 866764"/>
                <a:gd name="connsiteY268" fmla="*/ 730179 h 816032"/>
                <a:gd name="connsiteX269" fmla="*/ 398200 w 866764"/>
                <a:gd name="connsiteY269" fmla="*/ 731480 h 816032"/>
                <a:gd name="connsiteX270" fmla="*/ 397867 w 866764"/>
                <a:gd name="connsiteY270" fmla="*/ 732811 h 816032"/>
                <a:gd name="connsiteX271" fmla="*/ 396354 w 866764"/>
                <a:gd name="connsiteY271" fmla="*/ 735685 h 816032"/>
                <a:gd name="connsiteX272" fmla="*/ 396869 w 866764"/>
                <a:gd name="connsiteY272" fmla="*/ 736229 h 816032"/>
                <a:gd name="connsiteX273" fmla="*/ 397020 w 866764"/>
                <a:gd name="connsiteY273" fmla="*/ 736471 h 816032"/>
                <a:gd name="connsiteX274" fmla="*/ 396869 w 866764"/>
                <a:gd name="connsiteY274" fmla="*/ 736744 h 816032"/>
                <a:gd name="connsiteX275" fmla="*/ 396354 w 866764"/>
                <a:gd name="connsiteY275" fmla="*/ 737288 h 816032"/>
                <a:gd name="connsiteX276" fmla="*/ 396354 w 866764"/>
                <a:gd name="connsiteY276" fmla="*/ 737984 h 816032"/>
                <a:gd name="connsiteX277" fmla="*/ 397595 w 866764"/>
                <a:gd name="connsiteY277" fmla="*/ 738710 h 816032"/>
                <a:gd name="connsiteX278" fmla="*/ 397534 w 866764"/>
                <a:gd name="connsiteY278" fmla="*/ 739587 h 816032"/>
                <a:gd name="connsiteX279" fmla="*/ 396838 w 866764"/>
                <a:gd name="connsiteY279" fmla="*/ 740616 h 816032"/>
                <a:gd name="connsiteX280" fmla="*/ 395840 w 866764"/>
                <a:gd name="connsiteY280" fmla="*/ 743490 h 816032"/>
                <a:gd name="connsiteX281" fmla="*/ 395719 w 866764"/>
                <a:gd name="connsiteY281" fmla="*/ 744216 h 816032"/>
                <a:gd name="connsiteX282" fmla="*/ 395931 w 866764"/>
                <a:gd name="connsiteY282" fmla="*/ 744216 h 816032"/>
                <a:gd name="connsiteX283" fmla="*/ 396385 w 866764"/>
                <a:gd name="connsiteY283" fmla="*/ 744700 h 816032"/>
                <a:gd name="connsiteX284" fmla="*/ 396869 w 866764"/>
                <a:gd name="connsiteY284" fmla="*/ 745426 h 816032"/>
                <a:gd name="connsiteX285" fmla="*/ 397080 w 866764"/>
                <a:gd name="connsiteY285" fmla="*/ 746152 h 816032"/>
                <a:gd name="connsiteX286" fmla="*/ 396233 w 866764"/>
                <a:gd name="connsiteY286" fmla="*/ 747936 h 816032"/>
                <a:gd name="connsiteX287" fmla="*/ 394630 w 866764"/>
                <a:gd name="connsiteY287" fmla="*/ 750448 h 816032"/>
                <a:gd name="connsiteX288" fmla="*/ 393541 w 866764"/>
                <a:gd name="connsiteY288" fmla="*/ 753049 h 816032"/>
                <a:gd name="connsiteX289" fmla="*/ 394297 w 866764"/>
                <a:gd name="connsiteY289" fmla="*/ 755076 h 816032"/>
                <a:gd name="connsiteX290" fmla="*/ 393753 w 866764"/>
                <a:gd name="connsiteY290" fmla="*/ 756346 h 816032"/>
                <a:gd name="connsiteX291" fmla="*/ 393874 w 866764"/>
                <a:gd name="connsiteY291" fmla="*/ 757345 h 816032"/>
                <a:gd name="connsiteX292" fmla="*/ 394358 w 866764"/>
                <a:gd name="connsiteY292" fmla="*/ 758192 h 816032"/>
                <a:gd name="connsiteX293" fmla="*/ 394993 w 866764"/>
                <a:gd name="connsiteY293" fmla="*/ 759009 h 816032"/>
                <a:gd name="connsiteX294" fmla="*/ 394509 w 866764"/>
                <a:gd name="connsiteY294" fmla="*/ 759009 h 816032"/>
                <a:gd name="connsiteX295" fmla="*/ 394388 w 866764"/>
                <a:gd name="connsiteY295" fmla="*/ 759130 h 816032"/>
                <a:gd name="connsiteX296" fmla="*/ 394388 w 866764"/>
                <a:gd name="connsiteY296" fmla="*/ 759372 h 816032"/>
                <a:gd name="connsiteX297" fmla="*/ 394267 w 866764"/>
                <a:gd name="connsiteY297" fmla="*/ 759704 h 816032"/>
                <a:gd name="connsiteX298" fmla="*/ 393541 w 866764"/>
                <a:gd name="connsiteY298" fmla="*/ 759704 h 816032"/>
                <a:gd name="connsiteX299" fmla="*/ 392936 w 866764"/>
                <a:gd name="connsiteY299" fmla="*/ 759825 h 816032"/>
                <a:gd name="connsiteX300" fmla="*/ 391454 w 866764"/>
                <a:gd name="connsiteY300" fmla="*/ 760551 h 816032"/>
                <a:gd name="connsiteX301" fmla="*/ 391454 w 866764"/>
                <a:gd name="connsiteY301" fmla="*/ 761065 h 816032"/>
                <a:gd name="connsiteX302" fmla="*/ 391575 w 866764"/>
                <a:gd name="connsiteY302" fmla="*/ 761217 h 816032"/>
                <a:gd name="connsiteX303" fmla="*/ 391786 w 866764"/>
                <a:gd name="connsiteY303" fmla="*/ 761217 h 816032"/>
                <a:gd name="connsiteX304" fmla="*/ 392210 w 866764"/>
                <a:gd name="connsiteY304" fmla="*/ 761308 h 816032"/>
                <a:gd name="connsiteX305" fmla="*/ 391454 w 866764"/>
                <a:gd name="connsiteY305" fmla="*/ 762094 h 816032"/>
                <a:gd name="connsiteX306" fmla="*/ 392754 w 866764"/>
                <a:gd name="connsiteY306" fmla="*/ 762729 h 816032"/>
                <a:gd name="connsiteX307" fmla="*/ 393511 w 866764"/>
                <a:gd name="connsiteY307" fmla="*/ 763516 h 816032"/>
                <a:gd name="connsiteX308" fmla="*/ 394176 w 866764"/>
                <a:gd name="connsiteY308" fmla="*/ 764363 h 816032"/>
                <a:gd name="connsiteX309" fmla="*/ 394993 w 866764"/>
                <a:gd name="connsiteY309" fmla="*/ 765180 h 816032"/>
                <a:gd name="connsiteX310" fmla="*/ 395628 w 866764"/>
                <a:gd name="connsiteY310" fmla="*/ 765422 h 816032"/>
                <a:gd name="connsiteX311" fmla="*/ 397020 w 866764"/>
                <a:gd name="connsiteY311" fmla="*/ 765543 h 816032"/>
                <a:gd name="connsiteX312" fmla="*/ 397746 w 866764"/>
                <a:gd name="connsiteY312" fmla="*/ 765936 h 816032"/>
                <a:gd name="connsiteX313" fmla="*/ 398169 w 866764"/>
                <a:gd name="connsiteY313" fmla="*/ 766571 h 816032"/>
                <a:gd name="connsiteX314" fmla="*/ 397958 w 866764"/>
                <a:gd name="connsiteY314" fmla="*/ 767600 h 816032"/>
                <a:gd name="connsiteX315" fmla="*/ 398442 w 866764"/>
                <a:gd name="connsiteY315" fmla="*/ 768235 h 816032"/>
                <a:gd name="connsiteX316" fmla="*/ 400801 w 866764"/>
                <a:gd name="connsiteY316" fmla="*/ 768749 h 816032"/>
                <a:gd name="connsiteX317" fmla="*/ 406700 w 866764"/>
                <a:gd name="connsiteY317" fmla="*/ 768477 h 816032"/>
                <a:gd name="connsiteX318" fmla="*/ 408122 w 866764"/>
                <a:gd name="connsiteY318" fmla="*/ 769778 h 816032"/>
                <a:gd name="connsiteX319" fmla="*/ 410966 w 866764"/>
                <a:gd name="connsiteY319" fmla="*/ 768538 h 816032"/>
                <a:gd name="connsiteX320" fmla="*/ 418045 w 866764"/>
                <a:gd name="connsiteY320" fmla="*/ 768780 h 816032"/>
                <a:gd name="connsiteX321" fmla="*/ 419799 w 866764"/>
                <a:gd name="connsiteY321" fmla="*/ 767449 h 816032"/>
                <a:gd name="connsiteX322" fmla="*/ 420495 w 866764"/>
                <a:gd name="connsiteY322" fmla="*/ 767630 h 816032"/>
                <a:gd name="connsiteX323" fmla="*/ 421070 w 866764"/>
                <a:gd name="connsiteY323" fmla="*/ 767630 h 816032"/>
                <a:gd name="connsiteX324" fmla="*/ 421705 w 866764"/>
                <a:gd name="connsiteY324" fmla="*/ 767328 h 816032"/>
                <a:gd name="connsiteX325" fmla="*/ 422552 w 866764"/>
                <a:gd name="connsiteY325" fmla="*/ 766722 h 816032"/>
                <a:gd name="connsiteX326" fmla="*/ 425940 w 866764"/>
                <a:gd name="connsiteY326" fmla="*/ 768568 h 816032"/>
                <a:gd name="connsiteX327" fmla="*/ 430115 w 866764"/>
                <a:gd name="connsiteY327" fmla="*/ 769143 h 816032"/>
                <a:gd name="connsiteX328" fmla="*/ 438767 w 866764"/>
                <a:gd name="connsiteY328" fmla="*/ 768901 h 816032"/>
                <a:gd name="connsiteX329" fmla="*/ 440340 w 866764"/>
                <a:gd name="connsiteY329" fmla="*/ 769627 h 816032"/>
                <a:gd name="connsiteX330" fmla="*/ 443183 w 866764"/>
                <a:gd name="connsiteY330" fmla="*/ 772894 h 816032"/>
                <a:gd name="connsiteX331" fmla="*/ 445029 w 866764"/>
                <a:gd name="connsiteY331" fmla="*/ 773650 h 816032"/>
                <a:gd name="connsiteX332" fmla="*/ 447691 w 866764"/>
                <a:gd name="connsiteY332" fmla="*/ 773136 h 816032"/>
                <a:gd name="connsiteX333" fmla="*/ 448114 w 866764"/>
                <a:gd name="connsiteY333" fmla="*/ 773257 h 816032"/>
                <a:gd name="connsiteX334" fmla="*/ 448538 w 866764"/>
                <a:gd name="connsiteY334" fmla="*/ 772107 h 816032"/>
                <a:gd name="connsiteX335" fmla="*/ 449476 w 866764"/>
                <a:gd name="connsiteY335" fmla="*/ 772107 h 816032"/>
                <a:gd name="connsiteX336" fmla="*/ 451230 w 866764"/>
                <a:gd name="connsiteY336" fmla="*/ 772864 h 816032"/>
                <a:gd name="connsiteX337" fmla="*/ 458430 w 866764"/>
                <a:gd name="connsiteY337" fmla="*/ 772864 h 816032"/>
                <a:gd name="connsiteX338" fmla="*/ 458884 w 866764"/>
                <a:gd name="connsiteY338" fmla="*/ 772713 h 816032"/>
                <a:gd name="connsiteX339" fmla="*/ 459338 w 866764"/>
                <a:gd name="connsiteY339" fmla="*/ 772350 h 816032"/>
                <a:gd name="connsiteX340" fmla="*/ 459882 w 866764"/>
                <a:gd name="connsiteY340" fmla="*/ 772047 h 816032"/>
                <a:gd name="connsiteX341" fmla="*/ 460548 w 866764"/>
                <a:gd name="connsiteY341" fmla="*/ 772047 h 816032"/>
                <a:gd name="connsiteX342" fmla="*/ 460639 w 866764"/>
                <a:gd name="connsiteY342" fmla="*/ 772259 h 816032"/>
                <a:gd name="connsiteX343" fmla="*/ 461002 w 866764"/>
                <a:gd name="connsiteY343" fmla="*/ 772773 h 816032"/>
                <a:gd name="connsiteX344" fmla="*/ 461486 w 866764"/>
                <a:gd name="connsiteY344" fmla="*/ 773317 h 816032"/>
                <a:gd name="connsiteX345" fmla="*/ 461939 w 866764"/>
                <a:gd name="connsiteY345" fmla="*/ 773620 h 816032"/>
                <a:gd name="connsiteX346" fmla="*/ 469502 w 866764"/>
                <a:gd name="connsiteY346" fmla="*/ 774618 h 816032"/>
                <a:gd name="connsiteX347" fmla="*/ 480483 w 866764"/>
                <a:gd name="connsiteY347" fmla="*/ 773620 h 816032"/>
                <a:gd name="connsiteX348" fmla="*/ 480483 w 866764"/>
                <a:gd name="connsiteY348" fmla="*/ 774316 h 816032"/>
                <a:gd name="connsiteX349" fmla="*/ 480665 w 866764"/>
                <a:gd name="connsiteY349" fmla="*/ 775435 h 816032"/>
                <a:gd name="connsiteX350" fmla="*/ 486715 w 866764"/>
                <a:gd name="connsiteY350" fmla="*/ 778248 h 816032"/>
                <a:gd name="connsiteX351" fmla="*/ 488440 w 866764"/>
                <a:gd name="connsiteY351" fmla="*/ 777583 h 816032"/>
                <a:gd name="connsiteX352" fmla="*/ 490406 w 866764"/>
                <a:gd name="connsiteY352" fmla="*/ 777976 h 816032"/>
                <a:gd name="connsiteX353" fmla="*/ 492251 w 866764"/>
                <a:gd name="connsiteY353" fmla="*/ 778884 h 816032"/>
                <a:gd name="connsiteX354" fmla="*/ 493582 w 866764"/>
                <a:gd name="connsiteY354" fmla="*/ 779791 h 816032"/>
                <a:gd name="connsiteX355" fmla="*/ 495700 w 866764"/>
                <a:gd name="connsiteY355" fmla="*/ 782272 h 816032"/>
                <a:gd name="connsiteX356" fmla="*/ 496819 w 866764"/>
                <a:gd name="connsiteY356" fmla="*/ 783210 h 816032"/>
                <a:gd name="connsiteX357" fmla="*/ 497787 w 866764"/>
                <a:gd name="connsiteY357" fmla="*/ 782847 h 816032"/>
                <a:gd name="connsiteX358" fmla="*/ 498423 w 866764"/>
                <a:gd name="connsiteY358" fmla="*/ 782847 h 816032"/>
                <a:gd name="connsiteX359" fmla="*/ 499875 w 866764"/>
                <a:gd name="connsiteY359" fmla="*/ 783724 h 816032"/>
                <a:gd name="connsiteX360" fmla="*/ 502325 w 866764"/>
                <a:gd name="connsiteY360" fmla="*/ 784178 h 816032"/>
                <a:gd name="connsiteX361" fmla="*/ 511249 w 866764"/>
                <a:gd name="connsiteY361" fmla="*/ 784299 h 816032"/>
                <a:gd name="connsiteX362" fmla="*/ 512308 w 866764"/>
                <a:gd name="connsiteY362" fmla="*/ 784541 h 816032"/>
                <a:gd name="connsiteX363" fmla="*/ 513004 w 866764"/>
                <a:gd name="connsiteY363" fmla="*/ 785055 h 816032"/>
                <a:gd name="connsiteX364" fmla="*/ 513488 w 866764"/>
                <a:gd name="connsiteY364" fmla="*/ 785569 h 816032"/>
                <a:gd name="connsiteX365" fmla="*/ 514032 w 866764"/>
                <a:gd name="connsiteY365" fmla="*/ 785811 h 816032"/>
                <a:gd name="connsiteX366" fmla="*/ 514819 w 866764"/>
                <a:gd name="connsiteY366" fmla="*/ 786386 h 816032"/>
                <a:gd name="connsiteX367" fmla="*/ 515575 w 866764"/>
                <a:gd name="connsiteY367" fmla="*/ 787747 h 816032"/>
                <a:gd name="connsiteX368" fmla="*/ 516120 w 866764"/>
                <a:gd name="connsiteY368" fmla="*/ 789260 h 816032"/>
                <a:gd name="connsiteX369" fmla="*/ 516422 w 866764"/>
                <a:gd name="connsiteY369" fmla="*/ 790410 h 816032"/>
                <a:gd name="connsiteX370" fmla="*/ 516513 w 866764"/>
                <a:gd name="connsiteY370" fmla="*/ 792013 h 816032"/>
                <a:gd name="connsiteX371" fmla="*/ 515908 w 866764"/>
                <a:gd name="connsiteY371" fmla="*/ 794191 h 816032"/>
                <a:gd name="connsiteX372" fmla="*/ 515726 w 866764"/>
                <a:gd name="connsiteY372" fmla="*/ 795552 h 816032"/>
                <a:gd name="connsiteX373" fmla="*/ 516059 w 866764"/>
                <a:gd name="connsiteY373" fmla="*/ 799818 h 816032"/>
                <a:gd name="connsiteX374" fmla="*/ 515696 w 866764"/>
                <a:gd name="connsiteY374" fmla="*/ 801119 h 816032"/>
                <a:gd name="connsiteX375" fmla="*/ 514365 w 866764"/>
                <a:gd name="connsiteY375" fmla="*/ 802087 h 816032"/>
                <a:gd name="connsiteX376" fmla="*/ 514365 w 866764"/>
                <a:gd name="connsiteY376" fmla="*/ 802782 h 816032"/>
                <a:gd name="connsiteX377" fmla="*/ 539050 w 866764"/>
                <a:gd name="connsiteY377" fmla="*/ 801996 h 816032"/>
                <a:gd name="connsiteX378" fmla="*/ 541017 w 866764"/>
                <a:gd name="connsiteY378" fmla="*/ 802177 h 816032"/>
                <a:gd name="connsiteX379" fmla="*/ 542620 w 866764"/>
                <a:gd name="connsiteY379" fmla="*/ 802782 h 816032"/>
                <a:gd name="connsiteX380" fmla="*/ 545222 w 866764"/>
                <a:gd name="connsiteY380" fmla="*/ 801754 h 816032"/>
                <a:gd name="connsiteX381" fmla="*/ 546734 w 866764"/>
                <a:gd name="connsiteY381" fmla="*/ 801451 h 816032"/>
                <a:gd name="connsiteX382" fmla="*/ 548489 w 866764"/>
                <a:gd name="connsiteY382" fmla="*/ 801330 h 816032"/>
                <a:gd name="connsiteX383" fmla="*/ 549275 w 866764"/>
                <a:gd name="connsiteY383" fmla="*/ 801482 h 816032"/>
                <a:gd name="connsiteX384" fmla="*/ 549850 w 866764"/>
                <a:gd name="connsiteY384" fmla="*/ 801814 h 816032"/>
                <a:gd name="connsiteX385" fmla="*/ 550485 w 866764"/>
                <a:gd name="connsiteY385" fmla="*/ 802087 h 816032"/>
                <a:gd name="connsiteX386" fmla="*/ 551514 w 866764"/>
                <a:gd name="connsiteY386" fmla="*/ 802087 h 816032"/>
                <a:gd name="connsiteX387" fmla="*/ 552210 w 866764"/>
                <a:gd name="connsiteY387" fmla="*/ 801814 h 816032"/>
                <a:gd name="connsiteX388" fmla="*/ 553057 w 866764"/>
                <a:gd name="connsiteY388" fmla="*/ 800907 h 816032"/>
                <a:gd name="connsiteX389" fmla="*/ 553662 w 866764"/>
                <a:gd name="connsiteY389" fmla="*/ 800544 h 816032"/>
                <a:gd name="connsiteX390" fmla="*/ 555870 w 866764"/>
                <a:gd name="connsiteY390" fmla="*/ 800060 h 816032"/>
                <a:gd name="connsiteX391" fmla="*/ 561588 w 866764"/>
                <a:gd name="connsiteY391" fmla="*/ 800544 h 816032"/>
                <a:gd name="connsiteX392" fmla="*/ 563161 w 866764"/>
                <a:gd name="connsiteY392" fmla="*/ 800241 h 816032"/>
                <a:gd name="connsiteX393" fmla="*/ 568848 w 866764"/>
                <a:gd name="connsiteY393" fmla="*/ 798154 h 816032"/>
                <a:gd name="connsiteX394" fmla="*/ 570361 w 866764"/>
                <a:gd name="connsiteY394" fmla="*/ 797216 h 816032"/>
                <a:gd name="connsiteX395" fmla="*/ 571298 w 866764"/>
                <a:gd name="connsiteY395" fmla="*/ 796793 h 816032"/>
                <a:gd name="connsiteX396" fmla="*/ 573749 w 866764"/>
                <a:gd name="connsiteY396" fmla="*/ 796490 h 816032"/>
                <a:gd name="connsiteX397" fmla="*/ 575685 w 866764"/>
                <a:gd name="connsiteY397" fmla="*/ 796006 h 816032"/>
                <a:gd name="connsiteX398" fmla="*/ 582461 w 866764"/>
                <a:gd name="connsiteY398" fmla="*/ 795764 h 816032"/>
                <a:gd name="connsiteX399" fmla="*/ 591597 w 866764"/>
                <a:gd name="connsiteY399" fmla="*/ 796793 h 816032"/>
                <a:gd name="connsiteX400" fmla="*/ 593291 w 866764"/>
                <a:gd name="connsiteY400" fmla="*/ 796248 h 816032"/>
                <a:gd name="connsiteX401" fmla="*/ 594834 w 866764"/>
                <a:gd name="connsiteY401" fmla="*/ 795371 h 816032"/>
                <a:gd name="connsiteX402" fmla="*/ 601187 w 866764"/>
                <a:gd name="connsiteY402" fmla="*/ 793495 h 816032"/>
                <a:gd name="connsiteX403" fmla="*/ 622000 w 866764"/>
                <a:gd name="connsiteY403" fmla="*/ 794372 h 816032"/>
                <a:gd name="connsiteX404" fmla="*/ 629381 w 866764"/>
                <a:gd name="connsiteY404" fmla="*/ 791983 h 816032"/>
                <a:gd name="connsiteX405" fmla="*/ 633677 w 866764"/>
                <a:gd name="connsiteY405" fmla="*/ 791196 h 816032"/>
                <a:gd name="connsiteX406" fmla="*/ 637307 w 866764"/>
                <a:gd name="connsiteY406" fmla="*/ 791801 h 816032"/>
                <a:gd name="connsiteX407" fmla="*/ 638094 w 866764"/>
                <a:gd name="connsiteY407" fmla="*/ 791589 h 816032"/>
                <a:gd name="connsiteX408" fmla="*/ 638971 w 866764"/>
                <a:gd name="connsiteY408" fmla="*/ 790894 h 816032"/>
                <a:gd name="connsiteX409" fmla="*/ 639788 w 866764"/>
                <a:gd name="connsiteY409" fmla="*/ 790651 h 816032"/>
                <a:gd name="connsiteX410" fmla="*/ 640604 w 866764"/>
                <a:gd name="connsiteY410" fmla="*/ 790894 h 816032"/>
                <a:gd name="connsiteX411" fmla="*/ 641512 w 866764"/>
                <a:gd name="connsiteY411" fmla="*/ 791620 h 816032"/>
                <a:gd name="connsiteX412" fmla="*/ 643327 w 866764"/>
                <a:gd name="connsiteY412" fmla="*/ 792709 h 816032"/>
                <a:gd name="connsiteX413" fmla="*/ 645112 w 866764"/>
                <a:gd name="connsiteY413" fmla="*/ 792709 h 816032"/>
                <a:gd name="connsiteX414" fmla="*/ 647109 w 866764"/>
                <a:gd name="connsiteY414" fmla="*/ 792497 h 816032"/>
                <a:gd name="connsiteX415" fmla="*/ 649498 w 866764"/>
                <a:gd name="connsiteY415" fmla="*/ 792860 h 816032"/>
                <a:gd name="connsiteX416" fmla="*/ 650254 w 866764"/>
                <a:gd name="connsiteY416" fmla="*/ 793344 h 816032"/>
                <a:gd name="connsiteX417" fmla="*/ 651707 w 866764"/>
                <a:gd name="connsiteY417" fmla="*/ 794856 h 816032"/>
                <a:gd name="connsiteX418" fmla="*/ 651858 w 866764"/>
                <a:gd name="connsiteY418" fmla="*/ 795159 h 816032"/>
                <a:gd name="connsiteX419" fmla="*/ 654641 w 866764"/>
                <a:gd name="connsiteY419" fmla="*/ 795159 h 816032"/>
                <a:gd name="connsiteX420" fmla="*/ 656063 w 866764"/>
                <a:gd name="connsiteY420" fmla="*/ 794826 h 816032"/>
                <a:gd name="connsiteX421" fmla="*/ 661902 w 866764"/>
                <a:gd name="connsiteY421" fmla="*/ 792436 h 816032"/>
                <a:gd name="connsiteX422" fmla="*/ 662779 w 866764"/>
                <a:gd name="connsiteY422" fmla="*/ 791892 h 816032"/>
                <a:gd name="connsiteX423" fmla="*/ 663777 w 866764"/>
                <a:gd name="connsiteY423" fmla="*/ 791438 h 816032"/>
                <a:gd name="connsiteX424" fmla="*/ 664957 w 866764"/>
                <a:gd name="connsiteY424" fmla="*/ 791226 h 816032"/>
                <a:gd name="connsiteX425" fmla="*/ 665532 w 866764"/>
                <a:gd name="connsiteY425" fmla="*/ 790682 h 816032"/>
                <a:gd name="connsiteX426" fmla="*/ 666530 w 866764"/>
                <a:gd name="connsiteY426" fmla="*/ 787989 h 816032"/>
                <a:gd name="connsiteX427" fmla="*/ 667044 w 866764"/>
                <a:gd name="connsiteY427" fmla="*/ 787021 h 816032"/>
                <a:gd name="connsiteX428" fmla="*/ 668133 w 866764"/>
                <a:gd name="connsiteY428" fmla="*/ 785630 h 816032"/>
                <a:gd name="connsiteX429" fmla="*/ 669222 w 866764"/>
                <a:gd name="connsiteY429" fmla="*/ 783815 h 816032"/>
                <a:gd name="connsiteX430" fmla="*/ 670160 w 866764"/>
                <a:gd name="connsiteY430" fmla="*/ 781758 h 816032"/>
                <a:gd name="connsiteX431" fmla="*/ 670856 w 866764"/>
                <a:gd name="connsiteY431" fmla="*/ 779700 h 816032"/>
                <a:gd name="connsiteX432" fmla="*/ 669978 w 866764"/>
                <a:gd name="connsiteY432" fmla="*/ 778097 h 816032"/>
                <a:gd name="connsiteX433" fmla="*/ 671037 w 866764"/>
                <a:gd name="connsiteY433" fmla="*/ 776343 h 816032"/>
                <a:gd name="connsiteX434" fmla="*/ 672671 w 866764"/>
                <a:gd name="connsiteY434" fmla="*/ 774528 h 816032"/>
                <a:gd name="connsiteX435" fmla="*/ 673609 w 866764"/>
                <a:gd name="connsiteY435" fmla="*/ 772773 h 816032"/>
                <a:gd name="connsiteX436" fmla="*/ 671430 w 866764"/>
                <a:gd name="connsiteY436" fmla="*/ 774195 h 816032"/>
                <a:gd name="connsiteX437" fmla="*/ 669858 w 866764"/>
                <a:gd name="connsiteY437" fmla="*/ 771624 h 816032"/>
                <a:gd name="connsiteX438" fmla="*/ 668073 w 866764"/>
                <a:gd name="connsiteY438" fmla="*/ 765785 h 816032"/>
                <a:gd name="connsiteX439" fmla="*/ 669585 w 866764"/>
                <a:gd name="connsiteY439" fmla="*/ 764151 h 816032"/>
                <a:gd name="connsiteX440" fmla="*/ 671279 w 866764"/>
                <a:gd name="connsiteY440" fmla="*/ 762941 h 816032"/>
                <a:gd name="connsiteX441" fmla="*/ 763304 w 866764"/>
                <a:gd name="connsiteY441" fmla="*/ 736441 h 816032"/>
                <a:gd name="connsiteX442" fmla="*/ 762639 w 866764"/>
                <a:gd name="connsiteY442" fmla="*/ 735745 h 816032"/>
                <a:gd name="connsiteX443" fmla="*/ 762488 w 866764"/>
                <a:gd name="connsiteY443" fmla="*/ 735745 h 816032"/>
                <a:gd name="connsiteX444" fmla="*/ 762548 w 866764"/>
                <a:gd name="connsiteY444" fmla="*/ 735655 h 816032"/>
                <a:gd name="connsiteX445" fmla="*/ 762608 w 866764"/>
                <a:gd name="connsiteY445" fmla="*/ 734898 h 816032"/>
                <a:gd name="connsiteX446" fmla="*/ 763002 w 866764"/>
                <a:gd name="connsiteY446" fmla="*/ 734595 h 816032"/>
                <a:gd name="connsiteX447" fmla="*/ 763758 w 866764"/>
                <a:gd name="connsiteY447" fmla="*/ 733809 h 816032"/>
                <a:gd name="connsiteX448" fmla="*/ 764212 w 866764"/>
                <a:gd name="connsiteY448" fmla="*/ 733023 h 816032"/>
                <a:gd name="connsiteX449" fmla="*/ 763667 w 866764"/>
                <a:gd name="connsiteY449" fmla="*/ 732660 h 816032"/>
                <a:gd name="connsiteX450" fmla="*/ 763002 w 866764"/>
                <a:gd name="connsiteY450" fmla="*/ 731994 h 816032"/>
                <a:gd name="connsiteX451" fmla="*/ 760551 w 866764"/>
                <a:gd name="connsiteY451" fmla="*/ 727940 h 816032"/>
                <a:gd name="connsiteX452" fmla="*/ 757950 w 866764"/>
                <a:gd name="connsiteY452" fmla="*/ 726095 h 816032"/>
                <a:gd name="connsiteX453" fmla="*/ 757738 w 866764"/>
                <a:gd name="connsiteY453" fmla="*/ 725339 h 816032"/>
                <a:gd name="connsiteX454" fmla="*/ 757738 w 866764"/>
                <a:gd name="connsiteY454" fmla="*/ 723614 h 816032"/>
                <a:gd name="connsiteX455" fmla="*/ 758192 w 866764"/>
                <a:gd name="connsiteY455" fmla="*/ 721648 h 816032"/>
                <a:gd name="connsiteX456" fmla="*/ 759160 w 866764"/>
                <a:gd name="connsiteY456" fmla="*/ 720256 h 816032"/>
                <a:gd name="connsiteX457" fmla="*/ 760128 w 866764"/>
                <a:gd name="connsiteY457" fmla="*/ 719198 h 816032"/>
                <a:gd name="connsiteX458" fmla="*/ 760551 w 866764"/>
                <a:gd name="connsiteY458" fmla="*/ 718199 h 816032"/>
                <a:gd name="connsiteX459" fmla="*/ 761065 w 866764"/>
                <a:gd name="connsiteY459" fmla="*/ 716415 h 816032"/>
                <a:gd name="connsiteX460" fmla="*/ 762245 w 866764"/>
                <a:gd name="connsiteY460" fmla="*/ 715053 h 816032"/>
                <a:gd name="connsiteX461" fmla="*/ 763395 w 866764"/>
                <a:gd name="connsiteY461" fmla="*/ 713994 h 816032"/>
                <a:gd name="connsiteX462" fmla="*/ 764000 w 866764"/>
                <a:gd name="connsiteY462" fmla="*/ 713147 h 816032"/>
                <a:gd name="connsiteX463" fmla="*/ 764000 w 866764"/>
                <a:gd name="connsiteY463" fmla="*/ 712179 h 816032"/>
                <a:gd name="connsiteX464" fmla="*/ 763455 w 866764"/>
                <a:gd name="connsiteY464" fmla="*/ 711030 h 816032"/>
                <a:gd name="connsiteX465" fmla="*/ 763304 w 866764"/>
                <a:gd name="connsiteY465" fmla="*/ 710062 h 816032"/>
                <a:gd name="connsiteX466" fmla="*/ 763304 w 866764"/>
                <a:gd name="connsiteY466" fmla="*/ 707339 h 816032"/>
                <a:gd name="connsiteX467" fmla="*/ 763607 w 866764"/>
                <a:gd name="connsiteY467" fmla="*/ 705887 h 816032"/>
                <a:gd name="connsiteX468" fmla="*/ 764998 w 866764"/>
                <a:gd name="connsiteY468" fmla="*/ 703739 h 816032"/>
                <a:gd name="connsiteX469" fmla="*/ 765361 w 866764"/>
                <a:gd name="connsiteY469" fmla="*/ 702227 h 816032"/>
                <a:gd name="connsiteX470" fmla="*/ 764817 w 866764"/>
                <a:gd name="connsiteY470" fmla="*/ 701682 h 816032"/>
                <a:gd name="connsiteX471" fmla="*/ 764212 w 866764"/>
                <a:gd name="connsiteY471" fmla="*/ 701440 h 816032"/>
                <a:gd name="connsiteX472" fmla="*/ 763486 w 866764"/>
                <a:gd name="connsiteY472" fmla="*/ 701591 h 816032"/>
                <a:gd name="connsiteX473" fmla="*/ 762639 w 866764"/>
                <a:gd name="connsiteY473" fmla="*/ 702257 h 816032"/>
                <a:gd name="connsiteX474" fmla="*/ 761126 w 866764"/>
                <a:gd name="connsiteY474" fmla="*/ 703981 h 816032"/>
                <a:gd name="connsiteX475" fmla="*/ 760551 w 866764"/>
                <a:gd name="connsiteY475" fmla="*/ 704647 h 816032"/>
                <a:gd name="connsiteX476" fmla="*/ 759856 w 866764"/>
                <a:gd name="connsiteY476" fmla="*/ 704647 h 816032"/>
                <a:gd name="connsiteX477" fmla="*/ 759856 w 866764"/>
                <a:gd name="connsiteY477" fmla="*/ 703800 h 816032"/>
                <a:gd name="connsiteX478" fmla="*/ 759190 w 866764"/>
                <a:gd name="connsiteY478" fmla="*/ 703800 h 816032"/>
                <a:gd name="connsiteX479" fmla="*/ 757768 w 866764"/>
                <a:gd name="connsiteY479" fmla="*/ 704647 h 816032"/>
                <a:gd name="connsiteX480" fmla="*/ 757768 w 866764"/>
                <a:gd name="connsiteY480" fmla="*/ 705403 h 816032"/>
                <a:gd name="connsiteX481" fmla="*/ 758343 w 866764"/>
                <a:gd name="connsiteY481" fmla="*/ 707339 h 816032"/>
                <a:gd name="connsiteX482" fmla="*/ 758283 w 866764"/>
                <a:gd name="connsiteY482" fmla="*/ 710788 h 816032"/>
                <a:gd name="connsiteX483" fmla="*/ 757496 w 866764"/>
                <a:gd name="connsiteY483" fmla="*/ 714055 h 816032"/>
                <a:gd name="connsiteX484" fmla="*/ 754864 w 866764"/>
                <a:gd name="connsiteY484" fmla="*/ 716868 h 816032"/>
                <a:gd name="connsiteX485" fmla="*/ 754441 w 866764"/>
                <a:gd name="connsiteY485" fmla="*/ 719773 h 816032"/>
                <a:gd name="connsiteX486" fmla="*/ 753624 w 866764"/>
                <a:gd name="connsiteY486" fmla="*/ 722677 h 816032"/>
                <a:gd name="connsiteX487" fmla="*/ 751234 w 866764"/>
                <a:gd name="connsiteY487" fmla="*/ 724007 h 816032"/>
                <a:gd name="connsiteX488" fmla="*/ 750629 w 866764"/>
                <a:gd name="connsiteY488" fmla="*/ 724492 h 816032"/>
                <a:gd name="connsiteX489" fmla="*/ 749721 w 866764"/>
                <a:gd name="connsiteY489" fmla="*/ 725702 h 816032"/>
                <a:gd name="connsiteX490" fmla="*/ 748995 w 866764"/>
                <a:gd name="connsiteY490" fmla="*/ 727245 h 816032"/>
                <a:gd name="connsiteX491" fmla="*/ 748844 w 866764"/>
                <a:gd name="connsiteY491" fmla="*/ 728757 h 816032"/>
                <a:gd name="connsiteX492" fmla="*/ 749540 w 866764"/>
                <a:gd name="connsiteY492" fmla="*/ 729755 h 816032"/>
                <a:gd name="connsiteX493" fmla="*/ 752141 w 866764"/>
                <a:gd name="connsiteY493" fmla="*/ 731238 h 816032"/>
                <a:gd name="connsiteX494" fmla="*/ 752958 w 866764"/>
                <a:gd name="connsiteY494" fmla="*/ 731843 h 816032"/>
                <a:gd name="connsiteX495" fmla="*/ 753442 w 866764"/>
                <a:gd name="connsiteY495" fmla="*/ 733053 h 816032"/>
                <a:gd name="connsiteX496" fmla="*/ 753321 w 866764"/>
                <a:gd name="connsiteY496" fmla="*/ 733900 h 816032"/>
                <a:gd name="connsiteX497" fmla="*/ 753019 w 866764"/>
                <a:gd name="connsiteY497" fmla="*/ 734898 h 816032"/>
                <a:gd name="connsiteX498" fmla="*/ 752958 w 866764"/>
                <a:gd name="connsiteY498" fmla="*/ 736501 h 816032"/>
                <a:gd name="connsiteX499" fmla="*/ 754078 w 866764"/>
                <a:gd name="connsiteY499" fmla="*/ 739617 h 816032"/>
                <a:gd name="connsiteX500" fmla="*/ 753987 w 866764"/>
                <a:gd name="connsiteY500" fmla="*/ 740797 h 816032"/>
                <a:gd name="connsiteX501" fmla="*/ 752293 w 866764"/>
                <a:gd name="connsiteY501" fmla="*/ 741190 h 816032"/>
                <a:gd name="connsiteX502" fmla="*/ 752293 w 866764"/>
                <a:gd name="connsiteY502" fmla="*/ 741947 h 816032"/>
                <a:gd name="connsiteX503" fmla="*/ 752989 w 866764"/>
                <a:gd name="connsiteY503" fmla="*/ 741947 h 816032"/>
                <a:gd name="connsiteX504" fmla="*/ 752989 w 866764"/>
                <a:gd name="connsiteY504" fmla="*/ 742673 h 816032"/>
                <a:gd name="connsiteX505" fmla="*/ 751506 w 866764"/>
                <a:gd name="connsiteY505" fmla="*/ 743187 h 816032"/>
                <a:gd name="connsiteX506" fmla="*/ 751385 w 866764"/>
                <a:gd name="connsiteY506" fmla="*/ 744276 h 816032"/>
                <a:gd name="connsiteX507" fmla="*/ 752081 w 866764"/>
                <a:gd name="connsiteY507" fmla="*/ 745546 h 816032"/>
                <a:gd name="connsiteX508" fmla="*/ 752989 w 866764"/>
                <a:gd name="connsiteY508" fmla="*/ 746575 h 816032"/>
                <a:gd name="connsiteX509" fmla="*/ 754229 w 866764"/>
                <a:gd name="connsiteY509" fmla="*/ 746999 h 816032"/>
                <a:gd name="connsiteX510" fmla="*/ 755651 w 866764"/>
                <a:gd name="connsiteY510" fmla="*/ 747150 h 816032"/>
                <a:gd name="connsiteX511" fmla="*/ 756437 w 866764"/>
                <a:gd name="connsiteY511" fmla="*/ 747815 h 816032"/>
                <a:gd name="connsiteX512" fmla="*/ 755741 w 866764"/>
                <a:gd name="connsiteY512" fmla="*/ 749661 h 816032"/>
                <a:gd name="connsiteX513" fmla="*/ 756951 w 866764"/>
                <a:gd name="connsiteY513" fmla="*/ 749116 h 816032"/>
                <a:gd name="connsiteX514" fmla="*/ 757950 w 866764"/>
                <a:gd name="connsiteY514" fmla="*/ 748330 h 816032"/>
                <a:gd name="connsiteX515" fmla="*/ 758736 w 866764"/>
                <a:gd name="connsiteY515" fmla="*/ 747452 h 816032"/>
                <a:gd name="connsiteX516" fmla="*/ 759250 w 866764"/>
                <a:gd name="connsiteY516" fmla="*/ 746545 h 816032"/>
                <a:gd name="connsiteX517" fmla="*/ 758555 w 866764"/>
                <a:gd name="connsiteY517" fmla="*/ 746454 h 816032"/>
                <a:gd name="connsiteX518" fmla="*/ 758222 w 866764"/>
                <a:gd name="connsiteY518" fmla="*/ 746636 h 816032"/>
                <a:gd name="connsiteX519" fmla="*/ 758010 w 866764"/>
                <a:gd name="connsiteY519" fmla="*/ 746969 h 816032"/>
                <a:gd name="connsiteX520" fmla="*/ 757798 w 866764"/>
                <a:gd name="connsiteY520" fmla="*/ 747301 h 816032"/>
                <a:gd name="connsiteX521" fmla="*/ 758283 w 866764"/>
                <a:gd name="connsiteY521" fmla="*/ 744397 h 816032"/>
                <a:gd name="connsiteX522" fmla="*/ 760219 w 866764"/>
                <a:gd name="connsiteY522" fmla="*/ 742249 h 816032"/>
                <a:gd name="connsiteX523" fmla="*/ 762820 w 866764"/>
                <a:gd name="connsiteY523" fmla="*/ 741281 h 816032"/>
                <a:gd name="connsiteX524" fmla="*/ 765392 w 866764"/>
                <a:gd name="connsiteY524" fmla="*/ 741886 h 816032"/>
                <a:gd name="connsiteX525" fmla="*/ 765906 w 866764"/>
                <a:gd name="connsiteY525" fmla="*/ 739496 h 816032"/>
                <a:gd name="connsiteX526" fmla="*/ 765482 w 866764"/>
                <a:gd name="connsiteY526" fmla="*/ 738286 h 816032"/>
                <a:gd name="connsiteX527" fmla="*/ 763334 w 866764"/>
                <a:gd name="connsiteY527" fmla="*/ 736411 h 816032"/>
                <a:gd name="connsiteX528" fmla="*/ 371246 w 866764"/>
                <a:gd name="connsiteY528" fmla="*/ 695692 h 816032"/>
                <a:gd name="connsiteX529" fmla="*/ 369249 w 866764"/>
                <a:gd name="connsiteY529" fmla="*/ 694966 h 816032"/>
                <a:gd name="connsiteX530" fmla="*/ 367434 w 866764"/>
                <a:gd name="connsiteY530" fmla="*/ 693666 h 816032"/>
                <a:gd name="connsiteX531" fmla="*/ 367374 w 866764"/>
                <a:gd name="connsiteY531" fmla="*/ 693303 h 816032"/>
                <a:gd name="connsiteX532" fmla="*/ 367374 w 866764"/>
                <a:gd name="connsiteY532" fmla="*/ 693000 h 816032"/>
                <a:gd name="connsiteX533" fmla="*/ 367252 w 866764"/>
                <a:gd name="connsiteY533" fmla="*/ 692849 h 816032"/>
                <a:gd name="connsiteX534" fmla="*/ 366799 w 866764"/>
                <a:gd name="connsiteY534" fmla="*/ 692849 h 816032"/>
                <a:gd name="connsiteX535" fmla="*/ 367706 w 866764"/>
                <a:gd name="connsiteY535" fmla="*/ 695359 h 816032"/>
                <a:gd name="connsiteX536" fmla="*/ 368341 w 866764"/>
                <a:gd name="connsiteY536" fmla="*/ 696721 h 816032"/>
                <a:gd name="connsiteX537" fmla="*/ 369189 w 866764"/>
                <a:gd name="connsiteY537" fmla="*/ 697991 h 816032"/>
                <a:gd name="connsiteX538" fmla="*/ 371669 w 866764"/>
                <a:gd name="connsiteY538" fmla="*/ 700381 h 816032"/>
                <a:gd name="connsiteX539" fmla="*/ 372274 w 866764"/>
                <a:gd name="connsiteY539" fmla="*/ 701440 h 816032"/>
                <a:gd name="connsiteX540" fmla="*/ 372970 w 866764"/>
                <a:gd name="connsiteY540" fmla="*/ 701440 h 816032"/>
                <a:gd name="connsiteX541" fmla="*/ 372728 w 866764"/>
                <a:gd name="connsiteY541" fmla="*/ 697386 h 816032"/>
                <a:gd name="connsiteX542" fmla="*/ 371215 w 866764"/>
                <a:gd name="connsiteY542" fmla="*/ 695722 h 816032"/>
                <a:gd name="connsiteX543" fmla="*/ 798940 w 866764"/>
                <a:gd name="connsiteY543" fmla="*/ 654006 h 816032"/>
                <a:gd name="connsiteX544" fmla="*/ 797216 w 866764"/>
                <a:gd name="connsiteY544" fmla="*/ 654096 h 816032"/>
                <a:gd name="connsiteX545" fmla="*/ 795734 w 866764"/>
                <a:gd name="connsiteY545" fmla="*/ 654339 h 816032"/>
                <a:gd name="connsiteX546" fmla="*/ 795008 w 866764"/>
                <a:gd name="connsiteY546" fmla="*/ 654550 h 816032"/>
                <a:gd name="connsiteX547" fmla="*/ 794070 w 866764"/>
                <a:gd name="connsiteY547" fmla="*/ 655579 h 816032"/>
                <a:gd name="connsiteX548" fmla="*/ 794221 w 866764"/>
                <a:gd name="connsiteY548" fmla="*/ 657182 h 816032"/>
                <a:gd name="connsiteX549" fmla="*/ 795492 w 866764"/>
                <a:gd name="connsiteY549" fmla="*/ 657757 h 816032"/>
                <a:gd name="connsiteX550" fmla="*/ 797397 w 866764"/>
                <a:gd name="connsiteY550" fmla="*/ 657303 h 816032"/>
                <a:gd name="connsiteX551" fmla="*/ 799213 w 866764"/>
                <a:gd name="connsiteY551" fmla="*/ 657394 h 816032"/>
                <a:gd name="connsiteX552" fmla="*/ 800635 w 866764"/>
                <a:gd name="connsiteY552" fmla="*/ 657697 h 816032"/>
                <a:gd name="connsiteX553" fmla="*/ 802601 w 866764"/>
                <a:gd name="connsiteY553" fmla="*/ 657212 h 816032"/>
                <a:gd name="connsiteX554" fmla="*/ 803387 w 866764"/>
                <a:gd name="connsiteY554" fmla="*/ 657273 h 816032"/>
                <a:gd name="connsiteX555" fmla="*/ 803811 w 866764"/>
                <a:gd name="connsiteY555" fmla="*/ 656910 h 816032"/>
                <a:gd name="connsiteX556" fmla="*/ 804234 w 866764"/>
                <a:gd name="connsiteY556" fmla="*/ 655942 h 816032"/>
                <a:gd name="connsiteX557" fmla="*/ 804234 w 866764"/>
                <a:gd name="connsiteY557" fmla="*/ 654822 h 816032"/>
                <a:gd name="connsiteX558" fmla="*/ 803992 w 866764"/>
                <a:gd name="connsiteY558" fmla="*/ 654278 h 816032"/>
                <a:gd name="connsiteX559" fmla="*/ 798880 w 866764"/>
                <a:gd name="connsiteY559" fmla="*/ 654006 h 816032"/>
                <a:gd name="connsiteX560" fmla="*/ 347226 w 866764"/>
                <a:gd name="connsiteY560" fmla="*/ 651041 h 816032"/>
                <a:gd name="connsiteX561" fmla="*/ 340692 w 866764"/>
                <a:gd name="connsiteY561" fmla="*/ 646746 h 816032"/>
                <a:gd name="connsiteX562" fmla="*/ 339118 w 866764"/>
                <a:gd name="connsiteY562" fmla="*/ 644931 h 816032"/>
                <a:gd name="connsiteX563" fmla="*/ 335095 w 866764"/>
                <a:gd name="connsiteY563" fmla="*/ 638154 h 816032"/>
                <a:gd name="connsiteX564" fmla="*/ 333915 w 866764"/>
                <a:gd name="connsiteY564" fmla="*/ 637458 h 816032"/>
                <a:gd name="connsiteX565" fmla="*/ 332735 w 866764"/>
                <a:gd name="connsiteY565" fmla="*/ 638396 h 816032"/>
                <a:gd name="connsiteX566" fmla="*/ 329620 w 866764"/>
                <a:gd name="connsiteY566" fmla="*/ 643297 h 816032"/>
                <a:gd name="connsiteX567" fmla="*/ 329408 w 866764"/>
                <a:gd name="connsiteY567" fmla="*/ 644446 h 816032"/>
                <a:gd name="connsiteX568" fmla="*/ 329741 w 866764"/>
                <a:gd name="connsiteY568" fmla="*/ 645475 h 816032"/>
                <a:gd name="connsiteX569" fmla="*/ 330316 w 866764"/>
                <a:gd name="connsiteY569" fmla="*/ 646746 h 816032"/>
                <a:gd name="connsiteX570" fmla="*/ 331072 w 866764"/>
                <a:gd name="connsiteY570" fmla="*/ 649408 h 816032"/>
                <a:gd name="connsiteX571" fmla="*/ 331193 w 866764"/>
                <a:gd name="connsiteY571" fmla="*/ 652040 h 816032"/>
                <a:gd name="connsiteX572" fmla="*/ 330316 w 866764"/>
                <a:gd name="connsiteY572" fmla="*/ 658453 h 816032"/>
                <a:gd name="connsiteX573" fmla="*/ 330890 w 866764"/>
                <a:gd name="connsiteY573" fmla="*/ 659088 h 816032"/>
                <a:gd name="connsiteX574" fmla="*/ 331828 w 866764"/>
                <a:gd name="connsiteY574" fmla="*/ 660933 h 816032"/>
                <a:gd name="connsiteX575" fmla="*/ 332342 w 866764"/>
                <a:gd name="connsiteY575" fmla="*/ 661659 h 816032"/>
                <a:gd name="connsiteX576" fmla="*/ 332645 w 866764"/>
                <a:gd name="connsiteY576" fmla="*/ 661720 h 816032"/>
                <a:gd name="connsiteX577" fmla="*/ 334036 w 866764"/>
                <a:gd name="connsiteY577" fmla="*/ 661659 h 816032"/>
                <a:gd name="connsiteX578" fmla="*/ 334430 w 866764"/>
                <a:gd name="connsiteY578" fmla="*/ 661871 h 816032"/>
                <a:gd name="connsiteX579" fmla="*/ 334430 w 866764"/>
                <a:gd name="connsiteY579" fmla="*/ 662325 h 816032"/>
                <a:gd name="connsiteX580" fmla="*/ 334278 w 866764"/>
                <a:gd name="connsiteY580" fmla="*/ 662839 h 816032"/>
                <a:gd name="connsiteX581" fmla="*/ 334399 w 866764"/>
                <a:gd name="connsiteY581" fmla="*/ 663172 h 816032"/>
                <a:gd name="connsiteX582" fmla="*/ 337182 w 866764"/>
                <a:gd name="connsiteY582" fmla="*/ 663958 h 816032"/>
                <a:gd name="connsiteX583" fmla="*/ 338211 w 866764"/>
                <a:gd name="connsiteY583" fmla="*/ 664684 h 816032"/>
                <a:gd name="connsiteX584" fmla="*/ 338544 w 866764"/>
                <a:gd name="connsiteY584" fmla="*/ 666348 h 816032"/>
                <a:gd name="connsiteX585" fmla="*/ 339724 w 866764"/>
                <a:gd name="connsiteY585" fmla="*/ 665259 h 816032"/>
                <a:gd name="connsiteX586" fmla="*/ 340934 w 866764"/>
                <a:gd name="connsiteY586" fmla="*/ 665047 h 816032"/>
                <a:gd name="connsiteX587" fmla="*/ 342719 w 866764"/>
                <a:gd name="connsiteY587" fmla="*/ 665501 h 816032"/>
                <a:gd name="connsiteX588" fmla="*/ 344201 w 866764"/>
                <a:gd name="connsiteY588" fmla="*/ 665653 h 816032"/>
                <a:gd name="connsiteX589" fmla="*/ 344715 w 866764"/>
                <a:gd name="connsiteY589" fmla="*/ 665471 h 816032"/>
                <a:gd name="connsiteX590" fmla="*/ 344957 w 866764"/>
                <a:gd name="connsiteY590" fmla="*/ 658786 h 816032"/>
                <a:gd name="connsiteX591" fmla="*/ 345350 w 866764"/>
                <a:gd name="connsiteY591" fmla="*/ 657303 h 816032"/>
                <a:gd name="connsiteX592" fmla="*/ 346137 w 866764"/>
                <a:gd name="connsiteY592" fmla="*/ 656154 h 816032"/>
                <a:gd name="connsiteX593" fmla="*/ 347801 w 866764"/>
                <a:gd name="connsiteY593" fmla="*/ 655458 h 816032"/>
                <a:gd name="connsiteX594" fmla="*/ 349313 w 866764"/>
                <a:gd name="connsiteY594" fmla="*/ 655397 h 816032"/>
                <a:gd name="connsiteX595" fmla="*/ 349918 w 866764"/>
                <a:gd name="connsiteY595" fmla="*/ 654913 h 816032"/>
                <a:gd name="connsiteX596" fmla="*/ 348980 w 866764"/>
                <a:gd name="connsiteY596" fmla="*/ 652947 h 816032"/>
                <a:gd name="connsiteX597" fmla="*/ 347196 w 866764"/>
                <a:gd name="connsiteY597" fmla="*/ 651071 h 816032"/>
                <a:gd name="connsiteX598" fmla="*/ 618007 w 866764"/>
                <a:gd name="connsiteY598" fmla="*/ 636067 h 816032"/>
                <a:gd name="connsiteX599" fmla="*/ 617099 w 866764"/>
                <a:gd name="connsiteY599" fmla="*/ 636702 h 816032"/>
                <a:gd name="connsiteX600" fmla="*/ 616161 w 866764"/>
                <a:gd name="connsiteY600" fmla="*/ 637640 h 816032"/>
                <a:gd name="connsiteX601" fmla="*/ 614739 w 866764"/>
                <a:gd name="connsiteY601" fmla="*/ 638124 h 816032"/>
                <a:gd name="connsiteX602" fmla="*/ 614195 w 866764"/>
                <a:gd name="connsiteY602" fmla="*/ 638487 h 816032"/>
                <a:gd name="connsiteX603" fmla="*/ 614437 w 866764"/>
                <a:gd name="connsiteY603" fmla="*/ 639303 h 816032"/>
                <a:gd name="connsiteX604" fmla="*/ 614891 w 866764"/>
                <a:gd name="connsiteY604" fmla="*/ 640090 h 816032"/>
                <a:gd name="connsiteX605" fmla="*/ 615526 w 866764"/>
                <a:gd name="connsiteY605" fmla="*/ 640937 h 816032"/>
                <a:gd name="connsiteX606" fmla="*/ 615828 w 866764"/>
                <a:gd name="connsiteY606" fmla="*/ 641028 h 816032"/>
                <a:gd name="connsiteX607" fmla="*/ 616282 w 866764"/>
                <a:gd name="connsiteY607" fmla="*/ 641028 h 816032"/>
                <a:gd name="connsiteX608" fmla="*/ 618884 w 866764"/>
                <a:gd name="connsiteY608" fmla="*/ 641512 h 816032"/>
                <a:gd name="connsiteX609" fmla="*/ 620185 w 866764"/>
                <a:gd name="connsiteY609" fmla="*/ 641209 h 816032"/>
                <a:gd name="connsiteX610" fmla="*/ 621395 w 866764"/>
                <a:gd name="connsiteY610" fmla="*/ 640665 h 816032"/>
                <a:gd name="connsiteX611" fmla="*/ 622998 w 866764"/>
                <a:gd name="connsiteY611" fmla="*/ 640393 h 816032"/>
                <a:gd name="connsiteX612" fmla="*/ 624087 w 866764"/>
                <a:gd name="connsiteY612" fmla="*/ 640907 h 816032"/>
                <a:gd name="connsiteX613" fmla="*/ 625085 w 866764"/>
                <a:gd name="connsiteY613" fmla="*/ 641754 h 816032"/>
                <a:gd name="connsiteX614" fmla="*/ 625963 w 866764"/>
                <a:gd name="connsiteY614" fmla="*/ 641905 h 816032"/>
                <a:gd name="connsiteX615" fmla="*/ 626810 w 866764"/>
                <a:gd name="connsiteY615" fmla="*/ 640393 h 816032"/>
                <a:gd name="connsiteX616" fmla="*/ 624813 w 866764"/>
                <a:gd name="connsiteY616" fmla="*/ 640120 h 816032"/>
                <a:gd name="connsiteX617" fmla="*/ 621546 w 866764"/>
                <a:gd name="connsiteY617" fmla="*/ 637428 h 816032"/>
                <a:gd name="connsiteX618" fmla="*/ 618007 w 866764"/>
                <a:gd name="connsiteY618" fmla="*/ 636067 h 816032"/>
                <a:gd name="connsiteX619" fmla="*/ 866764 w 866764"/>
                <a:gd name="connsiteY619" fmla="*/ 631801 h 816032"/>
                <a:gd name="connsiteX620" fmla="*/ 865887 w 866764"/>
                <a:gd name="connsiteY620" fmla="*/ 630531 h 816032"/>
                <a:gd name="connsiteX621" fmla="*/ 865010 w 866764"/>
                <a:gd name="connsiteY621" fmla="*/ 629805 h 816032"/>
                <a:gd name="connsiteX622" fmla="*/ 864132 w 866764"/>
                <a:gd name="connsiteY622" fmla="*/ 629865 h 816032"/>
                <a:gd name="connsiteX623" fmla="*/ 861137 w 866764"/>
                <a:gd name="connsiteY623" fmla="*/ 633405 h 816032"/>
                <a:gd name="connsiteX624" fmla="*/ 854542 w 866764"/>
                <a:gd name="connsiteY624" fmla="*/ 633042 h 816032"/>
                <a:gd name="connsiteX625" fmla="*/ 851245 w 866764"/>
                <a:gd name="connsiteY625" fmla="*/ 634524 h 816032"/>
                <a:gd name="connsiteX626" fmla="*/ 849733 w 866764"/>
                <a:gd name="connsiteY626" fmla="*/ 635613 h 816032"/>
                <a:gd name="connsiteX627" fmla="*/ 838509 w 866764"/>
                <a:gd name="connsiteY627" fmla="*/ 641179 h 816032"/>
                <a:gd name="connsiteX628" fmla="*/ 832519 w 866764"/>
                <a:gd name="connsiteY628" fmla="*/ 643085 h 816032"/>
                <a:gd name="connsiteX629" fmla="*/ 831551 w 866764"/>
                <a:gd name="connsiteY629" fmla="*/ 643962 h 816032"/>
                <a:gd name="connsiteX630" fmla="*/ 830795 w 866764"/>
                <a:gd name="connsiteY630" fmla="*/ 645233 h 816032"/>
                <a:gd name="connsiteX631" fmla="*/ 827437 w 866764"/>
                <a:gd name="connsiteY631" fmla="*/ 648439 h 816032"/>
                <a:gd name="connsiteX632" fmla="*/ 826681 w 866764"/>
                <a:gd name="connsiteY632" fmla="*/ 649438 h 816032"/>
                <a:gd name="connsiteX633" fmla="*/ 826227 w 866764"/>
                <a:gd name="connsiteY633" fmla="*/ 649862 h 816032"/>
                <a:gd name="connsiteX634" fmla="*/ 823232 w 866764"/>
                <a:gd name="connsiteY634" fmla="*/ 650648 h 816032"/>
                <a:gd name="connsiteX635" fmla="*/ 822748 w 866764"/>
                <a:gd name="connsiteY635" fmla="*/ 651102 h 816032"/>
                <a:gd name="connsiteX636" fmla="*/ 821841 w 866764"/>
                <a:gd name="connsiteY636" fmla="*/ 652917 h 816032"/>
                <a:gd name="connsiteX637" fmla="*/ 821145 w 866764"/>
                <a:gd name="connsiteY637" fmla="*/ 653945 h 816032"/>
                <a:gd name="connsiteX638" fmla="*/ 820479 w 866764"/>
                <a:gd name="connsiteY638" fmla="*/ 655397 h 816032"/>
                <a:gd name="connsiteX639" fmla="*/ 820237 w 866764"/>
                <a:gd name="connsiteY639" fmla="*/ 656396 h 816032"/>
                <a:gd name="connsiteX640" fmla="*/ 820237 w 866764"/>
                <a:gd name="connsiteY640" fmla="*/ 657152 h 816032"/>
                <a:gd name="connsiteX641" fmla="*/ 820025 w 866764"/>
                <a:gd name="connsiteY641" fmla="*/ 657787 h 816032"/>
                <a:gd name="connsiteX642" fmla="*/ 819148 w 866764"/>
                <a:gd name="connsiteY642" fmla="*/ 658453 h 816032"/>
                <a:gd name="connsiteX643" fmla="*/ 819602 w 866764"/>
                <a:gd name="connsiteY643" fmla="*/ 659360 h 816032"/>
                <a:gd name="connsiteX644" fmla="*/ 818725 w 866764"/>
                <a:gd name="connsiteY644" fmla="*/ 659996 h 816032"/>
                <a:gd name="connsiteX645" fmla="*/ 816335 w 866764"/>
                <a:gd name="connsiteY645" fmla="*/ 660752 h 816032"/>
                <a:gd name="connsiteX646" fmla="*/ 812433 w 866764"/>
                <a:gd name="connsiteY646" fmla="*/ 663263 h 816032"/>
                <a:gd name="connsiteX647" fmla="*/ 810769 w 866764"/>
                <a:gd name="connsiteY647" fmla="*/ 663868 h 816032"/>
                <a:gd name="connsiteX648" fmla="*/ 811434 w 866764"/>
                <a:gd name="connsiteY648" fmla="*/ 664866 h 816032"/>
                <a:gd name="connsiteX649" fmla="*/ 812009 w 866764"/>
                <a:gd name="connsiteY649" fmla="*/ 664866 h 816032"/>
                <a:gd name="connsiteX650" fmla="*/ 812644 w 866764"/>
                <a:gd name="connsiteY650" fmla="*/ 664775 h 816032"/>
                <a:gd name="connsiteX651" fmla="*/ 813612 w 866764"/>
                <a:gd name="connsiteY651" fmla="*/ 665441 h 816032"/>
                <a:gd name="connsiteX652" fmla="*/ 813733 w 866764"/>
                <a:gd name="connsiteY652" fmla="*/ 665955 h 816032"/>
                <a:gd name="connsiteX653" fmla="*/ 813098 w 866764"/>
                <a:gd name="connsiteY653" fmla="*/ 666833 h 816032"/>
                <a:gd name="connsiteX654" fmla="*/ 813249 w 866764"/>
                <a:gd name="connsiteY654" fmla="*/ 667407 h 816032"/>
                <a:gd name="connsiteX655" fmla="*/ 815700 w 866764"/>
                <a:gd name="connsiteY655" fmla="*/ 669948 h 816032"/>
                <a:gd name="connsiteX656" fmla="*/ 817091 w 866764"/>
                <a:gd name="connsiteY656" fmla="*/ 670916 h 816032"/>
                <a:gd name="connsiteX657" fmla="*/ 818120 w 866764"/>
                <a:gd name="connsiteY657" fmla="*/ 672278 h 816032"/>
                <a:gd name="connsiteX658" fmla="*/ 818422 w 866764"/>
                <a:gd name="connsiteY658" fmla="*/ 674819 h 816032"/>
                <a:gd name="connsiteX659" fmla="*/ 817817 w 866764"/>
                <a:gd name="connsiteY659" fmla="*/ 677632 h 816032"/>
                <a:gd name="connsiteX660" fmla="*/ 814943 w 866764"/>
                <a:gd name="connsiteY660" fmla="*/ 685619 h 816032"/>
                <a:gd name="connsiteX661" fmla="*/ 813612 w 866764"/>
                <a:gd name="connsiteY661" fmla="*/ 687283 h 816032"/>
                <a:gd name="connsiteX662" fmla="*/ 815428 w 866764"/>
                <a:gd name="connsiteY662" fmla="*/ 690822 h 816032"/>
                <a:gd name="connsiteX663" fmla="*/ 815669 w 866764"/>
                <a:gd name="connsiteY663" fmla="*/ 691578 h 816032"/>
                <a:gd name="connsiteX664" fmla="*/ 816335 w 866764"/>
                <a:gd name="connsiteY664" fmla="*/ 691790 h 816032"/>
                <a:gd name="connsiteX665" fmla="*/ 820479 w 866764"/>
                <a:gd name="connsiteY665" fmla="*/ 694422 h 816032"/>
                <a:gd name="connsiteX666" fmla="*/ 825199 w 866764"/>
                <a:gd name="connsiteY666" fmla="*/ 691729 h 816032"/>
                <a:gd name="connsiteX667" fmla="*/ 828829 w 866764"/>
                <a:gd name="connsiteY667" fmla="*/ 688644 h 816032"/>
                <a:gd name="connsiteX668" fmla="*/ 831733 w 866764"/>
                <a:gd name="connsiteY668" fmla="*/ 685104 h 816032"/>
                <a:gd name="connsiteX669" fmla="*/ 835756 w 866764"/>
                <a:gd name="connsiteY669" fmla="*/ 679024 h 816032"/>
                <a:gd name="connsiteX670" fmla="*/ 837390 w 866764"/>
                <a:gd name="connsiteY670" fmla="*/ 677451 h 816032"/>
                <a:gd name="connsiteX671" fmla="*/ 841928 w 866764"/>
                <a:gd name="connsiteY671" fmla="*/ 674849 h 816032"/>
                <a:gd name="connsiteX672" fmla="*/ 844287 w 866764"/>
                <a:gd name="connsiteY672" fmla="*/ 674032 h 816032"/>
                <a:gd name="connsiteX673" fmla="*/ 846344 w 866764"/>
                <a:gd name="connsiteY673" fmla="*/ 674093 h 816032"/>
                <a:gd name="connsiteX674" fmla="*/ 851578 w 866764"/>
                <a:gd name="connsiteY674" fmla="*/ 675605 h 816032"/>
                <a:gd name="connsiteX675" fmla="*/ 850640 w 866764"/>
                <a:gd name="connsiteY675" fmla="*/ 673760 h 816032"/>
                <a:gd name="connsiteX676" fmla="*/ 850217 w 866764"/>
                <a:gd name="connsiteY676" fmla="*/ 673276 h 816032"/>
                <a:gd name="connsiteX677" fmla="*/ 851003 w 866764"/>
                <a:gd name="connsiteY677" fmla="*/ 672550 h 816032"/>
                <a:gd name="connsiteX678" fmla="*/ 851608 w 866764"/>
                <a:gd name="connsiteY678" fmla="*/ 671824 h 816032"/>
                <a:gd name="connsiteX679" fmla="*/ 852001 w 866764"/>
                <a:gd name="connsiteY679" fmla="*/ 671038 h 816032"/>
                <a:gd name="connsiteX680" fmla="*/ 852274 w 866764"/>
                <a:gd name="connsiteY680" fmla="*/ 670100 h 816032"/>
                <a:gd name="connsiteX681" fmla="*/ 851306 w 866764"/>
                <a:gd name="connsiteY681" fmla="*/ 669918 h 816032"/>
                <a:gd name="connsiteX682" fmla="*/ 850519 w 866764"/>
                <a:gd name="connsiteY682" fmla="*/ 669646 h 816032"/>
                <a:gd name="connsiteX683" fmla="*/ 849702 w 866764"/>
                <a:gd name="connsiteY683" fmla="*/ 669252 h 816032"/>
                <a:gd name="connsiteX684" fmla="*/ 848795 w 866764"/>
                <a:gd name="connsiteY684" fmla="*/ 668617 h 816032"/>
                <a:gd name="connsiteX685" fmla="*/ 851215 w 866764"/>
                <a:gd name="connsiteY685" fmla="*/ 663081 h 816032"/>
                <a:gd name="connsiteX686" fmla="*/ 852153 w 866764"/>
                <a:gd name="connsiteY686" fmla="*/ 662748 h 816032"/>
                <a:gd name="connsiteX687" fmla="*/ 852546 w 866764"/>
                <a:gd name="connsiteY687" fmla="*/ 661992 h 816032"/>
                <a:gd name="connsiteX688" fmla="*/ 852727 w 866764"/>
                <a:gd name="connsiteY688" fmla="*/ 661206 h 816032"/>
                <a:gd name="connsiteX689" fmla="*/ 852969 w 866764"/>
                <a:gd name="connsiteY689" fmla="*/ 660722 h 816032"/>
                <a:gd name="connsiteX690" fmla="*/ 853635 w 866764"/>
                <a:gd name="connsiteY690" fmla="*/ 660601 h 816032"/>
                <a:gd name="connsiteX691" fmla="*/ 855420 w 866764"/>
                <a:gd name="connsiteY691" fmla="*/ 660601 h 816032"/>
                <a:gd name="connsiteX692" fmla="*/ 855692 w 866764"/>
                <a:gd name="connsiteY692" fmla="*/ 660722 h 816032"/>
                <a:gd name="connsiteX693" fmla="*/ 856237 w 866764"/>
                <a:gd name="connsiteY693" fmla="*/ 659602 h 816032"/>
                <a:gd name="connsiteX694" fmla="*/ 857507 w 866764"/>
                <a:gd name="connsiteY694" fmla="*/ 656063 h 816032"/>
                <a:gd name="connsiteX695" fmla="*/ 858112 w 866764"/>
                <a:gd name="connsiteY695" fmla="*/ 655337 h 816032"/>
                <a:gd name="connsiteX696" fmla="*/ 859020 w 866764"/>
                <a:gd name="connsiteY696" fmla="*/ 654732 h 816032"/>
                <a:gd name="connsiteX697" fmla="*/ 859534 w 866764"/>
                <a:gd name="connsiteY697" fmla="*/ 653370 h 816032"/>
                <a:gd name="connsiteX698" fmla="*/ 859776 w 866764"/>
                <a:gd name="connsiteY698" fmla="*/ 650134 h 816032"/>
                <a:gd name="connsiteX699" fmla="*/ 860230 w 866764"/>
                <a:gd name="connsiteY699" fmla="*/ 648712 h 816032"/>
                <a:gd name="connsiteX700" fmla="*/ 862438 w 866764"/>
                <a:gd name="connsiteY700" fmla="*/ 646231 h 816032"/>
                <a:gd name="connsiteX701" fmla="*/ 863194 w 866764"/>
                <a:gd name="connsiteY701" fmla="*/ 644991 h 816032"/>
                <a:gd name="connsiteX702" fmla="*/ 863800 w 866764"/>
                <a:gd name="connsiteY702" fmla="*/ 640998 h 816032"/>
                <a:gd name="connsiteX703" fmla="*/ 864283 w 866764"/>
                <a:gd name="connsiteY703" fmla="*/ 640332 h 816032"/>
                <a:gd name="connsiteX704" fmla="*/ 866371 w 866764"/>
                <a:gd name="connsiteY704" fmla="*/ 639243 h 816032"/>
                <a:gd name="connsiteX705" fmla="*/ 865312 w 866764"/>
                <a:gd name="connsiteY705" fmla="*/ 634100 h 816032"/>
                <a:gd name="connsiteX706" fmla="*/ 866704 w 866764"/>
                <a:gd name="connsiteY706" fmla="*/ 632437 h 816032"/>
                <a:gd name="connsiteX707" fmla="*/ 866704 w 866764"/>
                <a:gd name="connsiteY707" fmla="*/ 631741 h 816032"/>
                <a:gd name="connsiteX708" fmla="*/ 582945 w 866764"/>
                <a:gd name="connsiteY708" fmla="*/ 639666 h 816032"/>
                <a:gd name="connsiteX709" fmla="*/ 581977 w 866764"/>
                <a:gd name="connsiteY709" fmla="*/ 640393 h 816032"/>
                <a:gd name="connsiteX710" fmla="*/ 580737 w 866764"/>
                <a:gd name="connsiteY710" fmla="*/ 640665 h 816032"/>
                <a:gd name="connsiteX711" fmla="*/ 578347 w 866764"/>
                <a:gd name="connsiteY711" fmla="*/ 640665 h 816032"/>
                <a:gd name="connsiteX712" fmla="*/ 577167 w 866764"/>
                <a:gd name="connsiteY712" fmla="*/ 641179 h 816032"/>
                <a:gd name="connsiteX713" fmla="*/ 579013 w 866764"/>
                <a:gd name="connsiteY713" fmla="*/ 642087 h 816032"/>
                <a:gd name="connsiteX714" fmla="*/ 583701 w 866764"/>
                <a:gd name="connsiteY714" fmla="*/ 643327 h 816032"/>
                <a:gd name="connsiteX715" fmla="*/ 585728 w 866764"/>
                <a:gd name="connsiteY715" fmla="*/ 643508 h 816032"/>
                <a:gd name="connsiteX716" fmla="*/ 587574 w 866764"/>
                <a:gd name="connsiteY716" fmla="*/ 642813 h 816032"/>
                <a:gd name="connsiteX717" fmla="*/ 589086 w 866764"/>
                <a:gd name="connsiteY717" fmla="*/ 641058 h 816032"/>
                <a:gd name="connsiteX718" fmla="*/ 589994 w 866764"/>
                <a:gd name="connsiteY718" fmla="*/ 638759 h 816032"/>
                <a:gd name="connsiteX719" fmla="*/ 590236 w 866764"/>
                <a:gd name="connsiteY719" fmla="*/ 636490 h 816032"/>
                <a:gd name="connsiteX720" fmla="*/ 588995 w 866764"/>
                <a:gd name="connsiteY720" fmla="*/ 633435 h 816032"/>
                <a:gd name="connsiteX721" fmla="*/ 586303 w 866764"/>
                <a:gd name="connsiteY721" fmla="*/ 630470 h 816032"/>
                <a:gd name="connsiteX722" fmla="*/ 582824 w 866764"/>
                <a:gd name="connsiteY722" fmla="*/ 628171 h 816032"/>
                <a:gd name="connsiteX723" fmla="*/ 579224 w 866764"/>
                <a:gd name="connsiteY723" fmla="*/ 627112 h 816032"/>
                <a:gd name="connsiteX724" fmla="*/ 578770 w 866764"/>
                <a:gd name="connsiteY724" fmla="*/ 627294 h 816032"/>
                <a:gd name="connsiteX725" fmla="*/ 578287 w 866764"/>
                <a:gd name="connsiteY725" fmla="*/ 627596 h 816032"/>
                <a:gd name="connsiteX726" fmla="*/ 577833 w 866764"/>
                <a:gd name="connsiteY726" fmla="*/ 627808 h 816032"/>
                <a:gd name="connsiteX727" fmla="*/ 577833 w 866764"/>
                <a:gd name="connsiteY727" fmla="*/ 628595 h 816032"/>
                <a:gd name="connsiteX728" fmla="*/ 581705 w 866764"/>
                <a:gd name="connsiteY728" fmla="*/ 629593 h 816032"/>
                <a:gd name="connsiteX729" fmla="*/ 583187 w 866764"/>
                <a:gd name="connsiteY729" fmla="*/ 630379 h 816032"/>
                <a:gd name="connsiteX730" fmla="*/ 582612 w 866764"/>
                <a:gd name="connsiteY730" fmla="*/ 631801 h 816032"/>
                <a:gd name="connsiteX731" fmla="*/ 582612 w 866764"/>
                <a:gd name="connsiteY731" fmla="*/ 632497 h 816032"/>
                <a:gd name="connsiteX732" fmla="*/ 583520 w 866764"/>
                <a:gd name="connsiteY732" fmla="*/ 633102 h 816032"/>
                <a:gd name="connsiteX733" fmla="*/ 584004 w 866764"/>
                <a:gd name="connsiteY733" fmla="*/ 634252 h 816032"/>
                <a:gd name="connsiteX734" fmla="*/ 584700 w 866764"/>
                <a:gd name="connsiteY734" fmla="*/ 637247 h 816032"/>
                <a:gd name="connsiteX735" fmla="*/ 583883 w 866764"/>
                <a:gd name="connsiteY735" fmla="*/ 637882 h 816032"/>
                <a:gd name="connsiteX736" fmla="*/ 582915 w 866764"/>
                <a:gd name="connsiteY736" fmla="*/ 639637 h 816032"/>
                <a:gd name="connsiteX737" fmla="*/ 786477 w 866764"/>
                <a:gd name="connsiteY737" fmla="*/ 634494 h 816032"/>
                <a:gd name="connsiteX738" fmla="*/ 786144 w 866764"/>
                <a:gd name="connsiteY738" fmla="*/ 634131 h 816032"/>
                <a:gd name="connsiteX739" fmla="*/ 784359 w 866764"/>
                <a:gd name="connsiteY739" fmla="*/ 635220 h 816032"/>
                <a:gd name="connsiteX740" fmla="*/ 782241 w 866764"/>
                <a:gd name="connsiteY740" fmla="*/ 635038 h 816032"/>
                <a:gd name="connsiteX741" fmla="*/ 781001 w 866764"/>
                <a:gd name="connsiteY741" fmla="*/ 633828 h 816032"/>
                <a:gd name="connsiteX742" fmla="*/ 781939 w 866764"/>
                <a:gd name="connsiteY742" fmla="*/ 631771 h 816032"/>
                <a:gd name="connsiteX743" fmla="*/ 780426 w 866764"/>
                <a:gd name="connsiteY743" fmla="*/ 631136 h 816032"/>
                <a:gd name="connsiteX744" fmla="*/ 779096 w 866764"/>
                <a:gd name="connsiteY744" fmla="*/ 627899 h 816032"/>
                <a:gd name="connsiteX745" fmla="*/ 777825 w 866764"/>
                <a:gd name="connsiteY745" fmla="*/ 627052 h 816032"/>
                <a:gd name="connsiteX746" fmla="*/ 776403 w 866764"/>
                <a:gd name="connsiteY746" fmla="*/ 627778 h 816032"/>
                <a:gd name="connsiteX747" fmla="*/ 774739 w 866764"/>
                <a:gd name="connsiteY747" fmla="*/ 629109 h 816032"/>
                <a:gd name="connsiteX748" fmla="*/ 773257 w 866764"/>
                <a:gd name="connsiteY748" fmla="*/ 629593 h 816032"/>
                <a:gd name="connsiteX749" fmla="*/ 772289 w 866764"/>
                <a:gd name="connsiteY749" fmla="*/ 627808 h 816032"/>
                <a:gd name="connsiteX750" fmla="*/ 771926 w 866764"/>
                <a:gd name="connsiteY750" fmla="*/ 628746 h 816032"/>
                <a:gd name="connsiteX751" fmla="*/ 771744 w 866764"/>
                <a:gd name="connsiteY751" fmla="*/ 629835 h 816032"/>
                <a:gd name="connsiteX752" fmla="*/ 771684 w 866764"/>
                <a:gd name="connsiteY752" fmla="*/ 632134 h 816032"/>
                <a:gd name="connsiteX753" fmla="*/ 771926 w 866764"/>
                <a:gd name="connsiteY753" fmla="*/ 633042 h 816032"/>
                <a:gd name="connsiteX754" fmla="*/ 773196 w 866764"/>
                <a:gd name="connsiteY754" fmla="*/ 633889 h 816032"/>
                <a:gd name="connsiteX755" fmla="*/ 773771 w 866764"/>
                <a:gd name="connsiteY755" fmla="*/ 634887 h 816032"/>
                <a:gd name="connsiteX756" fmla="*/ 774437 w 866764"/>
                <a:gd name="connsiteY756" fmla="*/ 634887 h 816032"/>
                <a:gd name="connsiteX757" fmla="*/ 775132 w 866764"/>
                <a:gd name="connsiteY757" fmla="*/ 633828 h 816032"/>
                <a:gd name="connsiteX758" fmla="*/ 776070 w 866764"/>
                <a:gd name="connsiteY758" fmla="*/ 632920 h 816032"/>
                <a:gd name="connsiteX759" fmla="*/ 777220 w 866764"/>
                <a:gd name="connsiteY759" fmla="*/ 632618 h 816032"/>
                <a:gd name="connsiteX760" fmla="*/ 778551 w 866764"/>
                <a:gd name="connsiteY760" fmla="*/ 633314 h 816032"/>
                <a:gd name="connsiteX761" fmla="*/ 778007 w 866764"/>
                <a:gd name="connsiteY761" fmla="*/ 635008 h 816032"/>
                <a:gd name="connsiteX762" fmla="*/ 778733 w 866764"/>
                <a:gd name="connsiteY762" fmla="*/ 636944 h 816032"/>
                <a:gd name="connsiteX763" fmla="*/ 780063 w 866764"/>
                <a:gd name="connsiteY763" fmla="*/ 638245 h 816032"/>
                <a:gd name="connsiteX764" fmla="*/ 781304 w 866764"/>
                <a:gd name="connsiteY764" fmla="*/ 638094 h 816032"/>
                <a:gd name="connsiteX765" fmla="*/ 782241 w 866764"/>
                <a:gd name="connsiteY765" fmla="*/ 638638 h 816032"/>
                <a:gd name="connsiteX766" fmla="*/ 782756 w 866764"/>
                <a:gd name="connsiteY766" fmla="*/ 638094 h 816032"/>
                <a:gd name="connsiteX767" fmla="*/ 783905 w 866764"/>
                <a:gd name="connsiteY767" fmla="*/ 638457 h 816032"/>
                <a:gd name="connsiteX768" fmla="*/ 785146 w 866764"/>
                <a:gd name="connsiteY768" fmla="*/ 637882 h 816032"/>
                <a:gd name="connsiteX769" fmla="*/ 786205 w 866764"/>
                <a:gd name="connsiteY769" fmla="*/ 636793 h 816032"/>
                <a:gd name="connsiteX770" fmla="*/ 786809 w 866764"/>
                <a:gd name="connsiteY770" fmla="*/ 635643 h 816032"/>
                <a:gd name="connsiteX771" fmla="*/ 786689 w 866764"/>
                <a:gd name="connsiteY771" fmla="*/ 634796 h 816032"/>
                <a:gd name="connsiteX772" fmla="*/ 786537 w 866764"/>
                <a:gd name="connsiteY772" fmla="*/ 634433 h 816032"/>
                <a:gd name="connsiteX773" fmla="*/ 758797 w 866764"/>
                <a:gd name="connsiteY773" fmla="*/ 611563 h 816032"/>
                <a:gd name="connsiteX774" fmla="*/ 755832 w 866764"/>
                <a:gd name="connsiteY774" fmla="*/ 613287 h 816032"/>
                <a:gd name="connsiteX775" fmla="*/ 754713 w 866764"/>
                <a:gd name="connsiteY775" fmla="*/ 615586 h 816032"/>
                <a:gd name="connsiteX776" fmla="*/ 755076 w 866764"/>
                <a:gd name="connsiteY776" fmla="*/ 616797 h 816032"/>
                <a:gd name="connsiteX777" fmla="*/ 756134 w 866764"/>
                <a:gd name="connsiteY777" fmla="*/ 617523 h 816032"/>
                <a:gd name="connsiteX778" fmla="*/ 758283 w 866764"/>
                <a:gd name="connsiteY778" fmla="*/ 617855 h 816032"/>
                <a:gd name="connsiteX779" fmla="*/ 759613 w 866764"/>
                <a:gd name="connsiteY779" fmla="*/ 617855 h 816032"/>
                <a:gd name="connsiteX780" fmla="*/ 761973 w 866764"/>
                <a:gd name="connsiteY780" fmla="*/ 616948 h 816032"/>
                <a:gd name="connsiteX781" fmla="*/ 762790 w 866764"/>
                <a:gd name="connsiteY781" fmla="*/ 614800 h 816032"/>
                <a:gd name="connsiteX782" fmla="*/ 761640 w 866764"/>
                <a:gd name="connsiteY782" fmla="*/ 612531 h 816032"/>
                <a:gd name="connsiteX783" fmla="*/ 760733 w 866764"/>
                <a:gd name="connsiteY783" fmla="*/ 611533 h 816032"/>
                <a:gd name="connsiteX784" fmla="*/ 758827 w 866764"/>
                <a:gd name="connsiteY784" fmla="*/ 611593 h 816032"/>
                <a:gd name="connsiteX785" fmla="*/ 684711 w 866764"/>
                <a:gd name="connsiteY785" fmla="*/ 611140 h 816032"/>
                <a:gd name="connsiteX786" fmla="*/ 680960 w 866764"/>
                <a:gd name="connsiteY786" fmla="*/ 609082 h 816032"/>
                <a:gd name="connsiteX787" fmla="*/ 677814 w 866764"/>
                <a:gd name="connsiteY787" fmla="*/ 608931 h 816032"/>
                <a:gd name="connsiteX788" fmla="*/ 677814 w 866764"/>
                <a:gd name="connsiteY788" fmla="*/ 609778 h 816032"/>
                <a:gd name="connsiteX789" fmla="*/ 678600 w 866764"/>
                <a:gd name="connsiteY789" fmla="*/ 610474 h 816032"/>
                <a:gd name="connsiteX790" fmla="*/ 679477 w 866764"/>
                <a:gd name="connsiteY790" fmla="*/ 611079 h 816032"/>
                <a:gd name="connsiteX791" fmla="*/ 680566 w 866764"/>
                <a:gd name="connsiteY791" fmla="*/ 611412 h 816032"/>
                <a:gd name="connsiteX792" fmla="*/ 680506 w 866764"/>
                <a:gd name="connsiteY792" fmla="*/ 611744 h 816032"/>
                <a:gd name="connsiteX793" fmla="*/ 680113 w 866764"/>
                <a:gd name="connsiteY793" fmla="*/ 612743 h 816032"/>
                <a:gd name="connsiteX794" fmla="*/ 680657 w 866764"/>
                <a:gd name="connsiteY794" fmla="*/ 613802 h 816032"/>
                <a:gd name="connsiteX795" fmla="*/ 682018 w 866764"/>
                <a:gd name="connsiteY795" fmla="*/ 614467 h 816032"/>
                <a:gd name="connsiteX796" fmla="*/ 681020 w 866764"/>
                <a:gd name="connsiteY796" fmla="*/ 614921 h 816032"/>
                <a:gd name="connsiteX797" fmla="*/ 680203 w 866764"/>
                <a:gd name="connsiteY797" fmla="*/ 614860 h 816032"/>
                <a:gd name="connsiteX798" fmla="*/ 679326 w 866764"/>
                <a:gd name="connsiteY798" fmla="*/ 614619 h 816032"/>
                <a:gd name="connsiteX799" fmla="*/ 678177 w 866764"/>
                <a:gd name="connsiteY799" fmla="*/ 614467 h 816032"/>
                <a:gd name="connsiteX800" fmla="*/ 677632 w 866764"/>
                <a:gd name="connsiteY800" fmla="*/ 614830 h 816032"/>
                <a:gd name="connsiteX801" fmla="*/ 676634 w 866764"/>
                <a:gd name="connsiteY801" fmla="*/ 616403 h 816032"/>
                <a:gd name="connsiteX802" fmla="*/ 675726 w 866764"/>
                <a:gd name="connsiteY802" fmla="*/ 616827 h 816032"/>
                <a:gd name="connsiteX803" fmla="*/ 674395 w 866764"/>
                <a:gd name="connsiteY803" fmla="*/ 616131 h 816032"/>
                <a:gd name="connsiteX804" fmla="*/ 672731 w 866764"/>
                <a:gd name="connsiteY804" fmla="*/ 614649 h 816032"/>
                <a:gd name="connsiteX805" fmla="*/ 671007 w 866764"/>
                <a:gd name="connsiteY805" fmla="*/ 613681 h 816032"/>
                <a:gd name="connsiteX806" fmla="*/ 669555 w 866764"/>
                <a:gd name="connsiteY806" fmla="*/ 614497 h 816032"/>
                <a:gd name="connsiteX807" fmla="*/ 668163 w 866764"/>
                <a:gd name="connsiteY807" fmla="*/ 613771 h 816032"/>
                <a:gd name="connsiteX808" fmla="*/ 667679 w 866764"/>
                <a:gd name="connsiteY808" fmla="*/ 614709 h 816032"/>
                <a:gd name="connsiteX809" fmla="*/ 667952 w 866764"/>
                <a:gd name="connsiteY809" fmla="*/ 616343 h 816032"/>
                <a:gd name="connsiteX810" fmla="*/ 668859 w 866764"/>
                <a:gd name="connsiteY810" fmla="*/ 617704 h 816032"/>
                <a:gd name="connsiteX811" fmla="*/ 668496 w 866764"/>
                <a:gd name="connsiteY811" fmla="*/ 618158 h 816032"/>
                <a:gd name="connsiteX812" fmla="*/ 668345 w 866764"/>
                <a:gd name="connsiteY812" fmla="*/ 618461 h 816032"/>
                <a:gd name="connsiteX813" fmla="*/ 668103 w 866764"/>
                <a:gd name="connsiteY813" fmla="*/ 619277 h 816032"/>
                <a:gd name="connsiteX814" fmla="*/ 669737 w 866764"/>
                <a:gd name="connsiteY814" fmla="*/ 620215 h 816032"/>
                <a:gd name="connsiteX815" fmla="*/ 671612 w 866764"/>
                <a:gd name="connsiteY815" fmla="*/ 623270 h 816032"/>
                <a:gd name="connsiteX816" fmla="*/ 673306 w 866764"/>
                <a:gd name="connsiteY816" fmla="*/ 623936 h 816032"/>
                <a:gd name="connsiteX817" fmla="*/ 675726 w 866764"/>
                <a:gd name="connsiteY817" fmla="*/ 623724 h 816032"/>
                <a:gd name="connsiteX818" fmla="*/ 676513 w 866764"/>
                <a:gd name="connsiteY818" fmla="*/ 622998 h 816032"/>
                <a:gd name="connsiteX819" fmla="*/ 676331 w 866764"/>
                <a:gd name="connsiteY819" fmla="*/ 621576 h 816032"/>
                <a:gd name="connsiteX820" fmla="*/ 676422 w 866764"/>
                <a:gd name="connsiteY820" fmla="*/ 620064 h 816032"/>
                <a:gd name="connsiteX821" fmla="*/ 677874 w 866764"/>
                <a:gd name="connsiteY821" fmla="*/ 617492 h 816032"/>
                <a:gd name="connsiteX822" fmla="*/ 678903 w 866764"/>
                <a:gd name="connsiteY822" fmla="*/ 616494 h 816032"/>
                <a:gd name="connsiteX823" fmla="*/ 680264 w 866764"/>
                <a:gd name="connsiteY823" fmla="*/ 616101 h 816032"/>
                <a:gd name="connsiteX824" fmla="*/ 683198 w 866764"/>
                <a:gd name="connsiteY824" fmla="*/ 616222 h 816032"/>
                <a:gd name="connsiteX825" fmla="*/ 684590 w 866764"/>
                <a:gd name="connsiteY825" fmla="*/ 615798 h 816032"/>
                <a:gd name="connsiteX826" fmla="*/ 686103 w 866764"/>
                <a:gd name="connsiteY826" fmla="*/ 614558 h 816032"/>
                <a:gd name="connsiteX827" fmla="*/ 686647 w 866764"/>
                <a:gd name="connsiteY827" fmla="*/ 615586 h 816032"/>
                <a:gd name="connsiteX828" fmla="*/ 687131 w 866764"/>
                <a:gd name="connsiteY828" fmla="*/ 616010 h 816032"/>
                <a:gd name="connsiteX829" fmla="*/ 687615 w 866764"/>
                <a:gd name="connsiteY829" fmla="*/ 615889 h 816032"/>
                <a:gd name="connsiteX830" fmla="*/ 688220 w 866764"/>
                <a:gd name="connsiteY830" fmla="*/ 615314 h 816032"/>
                <a:gd name="connsiteX831" fmla="*/ 687555 w 866764"/>
                <a:gd name="connsiteY831" fmla="*/ 613711 h 816032"/>
                <a:gd name="connsiteX832" fmla="*/ 684650 w 866764"/>
                <a:gd name="connsiteY832" fmla="*/ 611170 h 816032"/>
                <a:gd name="connsiteX833" fmla="*/ 821750 w 866764"/>
                <a:gd name="connsiteY833" fmla="*/ 617099 h 816032"/>
                <a:gd name="connsiteX834" fmla="*/ 823111 w 866764"/>
                <a:gd name="connsiteY834" fmla="*/ 617886 h 816032"/>
                <a:gd name="connsiteX835" fmla="*/ 827468 w 866764"/>
                <a:gd name="connsiteY835" fmla="*/ 619277 h 816032"/>
                <a:gd name="connsiteX836" fmla="*/ 826772 w 866764"/>
                <a:gd name="connsiteY836" fmla="*/ 619761 h 816032"/>
                <a:gd name="connsiteX837" fmla="*/ 825925 w 866764"/>
                <a:gd name="connsiteY837" fmla="*/ 620578 h 816032"/>
                <a:gd name="connsiteX838" fmla="*/ 825319 w 866764"/>
                <a:gd name="connsiteY838" fmla="*/ 620850 h 816032"/>
                <a:gd name="connsiteX839" fmla="*/ 825319 w 866764"/>
                <a:gd name="connsiteY839" fmla="*/ 621576 h 816032"/>
                <a:gd name="connsiteX840" fmla="*/ 826802 w 866764"/>
                <a:gd name="connsiteY840" fmla="*/ 621576 h 816032"/>
                <a:gd name="connsiteX841" fmla="*/ 827952 w 866764"/>
                <a:gd name="connsiteY841" fmla="*/ 621274 h 816032"/>
                <a:gd name="connsiteX842" fmla="*/ 830190 w 866764"/>
                <a:gd name="connsiteY842" fmla="*/ 620064 h 816032"/>
                <a:gd name="connsiteX843" fmla="*/ 830009 w 866764"/>
                <a:gd name="connsiteY843" fmla="*/ 619459 h 816032"/>
                <a:gd name="connsiteX844" fmla="*/ 829736 w 866764"/>
                <a:gd name="connsiteY844" fmla="*/ 619005 h 816032"/>
                <a:gd name="connsiteX845" fmla="*/ 829343 w 866764"/>
                <a:gd name="connsiteY845" fmla="*/ 618672 h 816032"/>
                <a:gd name="connsiteX846" fmla="*/ 828829 w 866764"/>
                <a:gd name="connsiteY846" fmla="*/ 618430 h 816032"/>
                <a:gd name="connsiteX847" fmla="*/ 829283 w 866764"/>
                <a:gd name="connsiteY847" fmla="*/ 618249 h 816032"/>
                <a:gd name="connsiteX848" fmla="*/ 830221 w 866764"/>
                <a:gd name="connsiteY848" fmla="*/ 617704 h 816032"/>
                <a:gd name="connsiteX849" fmla="*/ 829797 w 866764"/>
                <a:gd name="connsiteY849" fmla="*/ 616827 h 816032"/>
                <a:gd name="connsiteX850" fmla="*/ 829615 w 866764"/>
                <a:gd name="connsiteY850" fmla="*/ 615829 h 816032"/>
                <a:gd name="connsiteX851" fmla="*/ 829524 w 866764"/>
                <a:gd name="connsiteY851" fmla="*/ 614497 h 816032"/>
                <a:gd name="connsiteX852" fmla="*/ 829827 w 866764"/>
                <a:gd name="connsiteY852" fmla="*/ 613348 h 816032"/>
                <a:gd name="connsiteX853" fmla="*/ 829827 w 866764"/>
                <a:gd name="connsiteY853" fmla="*/ 612682 h 816032"/>
                <a:gd name="connsiteX854" fmla="*/ 829524 w 866764"/>
                <a:gd name="connsiteY854" fmla="*/ 612531 h 816032"/>
                <a:gd name="connsiteX855" fmla="*/ 828829 w 866764"/>
                <a:gd name="connsiteY855" fmla="*/ 613015 h 816032"/>
                <a:gd name="connsiteX856" fmla="*/ 829071 w 866764"/>
                <a:gd name="connsiteY856" fmla="*/ 612652 h 816032"/>
                <a:gd name="connsiteX857" fmla="*/ 829313 w 866764"/>
                <a:gd name="connsiteY857" fmla="*/ 612198 h 816032"/>
                <a:gd name="connsiteX858" fmla="*/ 829676 w 866764"/>
                <a:gd name="connsiteY858" fmla="*/ 611744 h 816032"/>
                <a:gd name="connsiteX859" fmla="*/ 830221 w 866764"/>
                <a:gd name="connsiteY859" fmla="*/ 611351 h 816032"/>
                <a:gd name="connsiteX860" fmla="*/ 829918 w 866764"/>
                <a:gd name="connsiteY860" fmla="*/ 611109 h 816032"/>
                <a:gd name="connsiteX861" fmla="*/ 829827 w 866764"/>
                <a:gd name="connsiteY861" fmla="*/ 611049 h 816032"/>
                <a:gd name="connsiteX862" fmla="*/ 829767 w 866764"/>
                <a:gd name="connsiteY862" fmla="*/ 610958 h 816032"/>
                <a:gd name="connsiteX863" fmla="*/ 829555 w 866764"/>
                <a:gd name="connsiteY863" fmla="*/ 610535 h 816032"/>
                <a:gd name="connsiteX864" fmla="*/ 826106 w 866764"/>
                <a:gd name="connsiteY864" fmla="*/ 613045 h 816032"/>
                <a:gd name="connsiteX865" fmla="*/ 825380 w 866764"/>
                <a:gd name="connsiteY865" fmla="*/ 611835 h 816032"/>
                <a:gd name="connsiteX866" fmla="*/ 824956 w 866764"/>
                <a:gd name="connsiteY866" fmla="*/ 611835 h 816032"/>
                <a:gd name="connsiteX867" fmla="*/ 824049 w 866764"/>
                <a:gd name="connsiteY867" fmla="*/ 612168 h 816032"/>
                <a:gd name="connsiteX868" fmla="*/ 824745 w 866764"/>
                <a:gd name="connsiteY868" fmla="*/ 610595 h 816032"/>
                <a:gd name="connsiteX869" fmla="*/ 826046 w 866764"/>
                <a:gd name="connsiteY869" fmla="*/ 609748 h 816032"/>
                <a:gd name="connsiteX870" fmla="*/ 828859 w 866764"/>
                <a:gd name="connsiteY870" fmla="*/ 608992 h 816032"/>
                <a:gd name="connsiteX871" fmla="*/ 828647 w 866764"/>
                <a:gd name="connsiteY871" fmla="*/ 607963 h 816032"/>
                <a:gd name="connsiteX872" fmla="*/ 826742 w 866764"/>
                <a:gd name="connsiteY872" fmla="*/ 608175 h 816032"/>
                <a:gd name="connsiteX873" fmla="*/ 824352 w 866764"/>
                <a:gd name="connsiteY873" fmla="*/ 609415 h 816032"/>
                <a:gd name="connsiteX874" fmla="*/ 822688 w 866764"/>
                <a:gd name="connsiteY874" fmla="*/ 611381 h 816032"/>
                <a:gd name="connsiteX875" fmla="*/ 822688 w 866764"/>
                <a:gd name="connsiteY875" fmla="*/ 610535 h 816032"/>
                <a:gd name="connsiteX876" fmla="*/ 822052 w 866764"/>
                <a:gd name="connsiteY876" fmla="*/ 611170 h 816032"/>
                <a:gd name="connsiteX877" fmla="*/ 821780 w 866764"/>
                <a:gd name="connsiteY877" fmla="*/ 611351 h 816032"/>
                <a:gd name="connsiteX878" fmla="*/ 821326 w 866764"/>
                <a:gd name="connsiteY878" fmla="*/ 611351 h 816032"/>
                <a:gd name="connsiteX879" fmla="*/ 821236 w 866764"/>
                <a:gd name="connsiteY879" fmla="*/ 612592 h 816032"/>
                <a:gd name="connsiteX880" fmla="*/ 820298 w 866764"/>
                <a:gd name="connsiteY880" fmla="*/ 613832 h 816032"/>
                <a:gd name="connsiteX881" fmla="*/ 819209 w 866764"/>
                <a:gd name="connsiteY881" fmla="*/ 615012 h 816032"/>
                <a:gd name="connsiteX882" fmla="*/ 818543 w 866764"/>
                <a:gd name="connsiteY882" fmla="*/ 616071 h 816032"/>
                <a:gd name="connsiteX883" fmla="*/ 823353 w 866764"/>
                <a:gd name="connsiteY883" fmla="*/ 616071 h 816032"/>
                <a:gd name="connsiteX884" fmla="*/ 821811 w 866764"/>
                <a:gd name="connsiteY884" fmla="*/ 617099 h 816032"/>
                <a:gd name="connsiteX885" fmla="*/ 527464 w 866764"/>
                <a:gd name="connsiteY885" fmla="*/ 605815 h 816032"/>
                <a:gd name="connsiteX886" fmla="*/ 526829 w 866764"/>
                <a:gd name="connsiteY886" fmla="*/ 605724 h 816032"/>
                <a:gd name="connsiteX887" fmla="*/ 524741 w 866764"/>
                <a:gd name="connsiteY887" fmla="*/ 605815 h 816032"/>
                <a:gd name="connsiteX888" fmla="*/ 525649 w 866764"/>
                <a:gd name="connsiteY888" fmla="*/ 607933 h 816032"/>
                <a:gd name="connsiteX889" fmla="*/ 527010 w 866764"/>
                <a:gd name="connsiteY889" fmla="*/ 608931 h 816032"/>
                <a:gd name="connsiteX890" fmla="*/ 528614 w 866764"/>
                <a:gd name="connsiteY890" fmla="*/ 609536 h 816032"/>
                <a:gd name="connsiteX891" fmla="*/ 530217 w 866764"/>
                <a:gd name="connsiteY891" fmla="*/ 610535 h 816032"/>
                <a:gd name="connsiteX892" fmla="*/ 532970 w 866764"/>
                <a:gd name="connsiteY892" fmla="*/ 613045 h 816032"/>
                <a:gd name="connsiteX893" fmla="*/ 534513 w 866764"/>
                <a:gd name="connsiteY893" fmla="*/ 613560 h 816032"/>
                <a:gd name="connsiteX894" fmla="*/ 537084 w 866764"/>
                <a:gd name="connsiteY894" fmla="*/ 613711 h 816032"/>
                <a:gd name="connsiteX895" fmla="*/ 537084 w 866764"/>
                <a:gd name="connsiteY895" fmla="*/ 613015 h 816032"/>
                <a:gd name="connsiteX896" fmla="*/ 535481 w 866764"/>
                <a:gd name="connsiteY896" fmla="*/ 610504 h 816032"/>
                <a:gd name="connsiteX897" fmla="*/ 527464 w 866764"/>
                <a:gd name="connsiteY897" fmla="*/ 605815 h 816032"/>
                <a:gd name="connsiteX898" fmla="*/ 559440 w 866764"/>
                <a:gd name="connsiteY898" fmla="*/ 599614 h 816032"/>
                <a:gd name="connsiteX899" fmla="*/ 555447 w 866764"/>
                <a:gd name="connsiteY899" fmla="*/ 599523 h 816032"/>
                <a:gd name="connsiteX900" fmla="*/ 554479 w 866764"/>
                <a:gd name="connsiteY900" fmla="*/ 599886 h 816032"/>
                <a:gd name="connsiteX901" fmla="*/ 552452 w 866764"/>
                <a:gd name="connsiteY901" fmla="*/ 601519 h 816032"/>
                <a:gd name="connsiteX902" fmla="*/ 551272 w 866764"/>
                <a:gd name="connsiteY902" fmla="*/ 601882 h 816032"/>
                <a:gd name="connsiteX903" fmla="*/ 547521 w 866764"/>
                <a:gd name="connsiteY903" fmla="*/ 608962 h 816032"/>
                <a:gd name="connsiteX904" fmla="*/ 550092 w 866764"/>
                <a:gd name="connsiteY904" fmla="*/ 609113 h 816032"/>
                <a:gd name="connsiteX905" fmla="*/ 553753 w 866764"/>
                <a:gd name="connsiteY905" fmla="*/ 606390 h 816032"/>
                <a:gd name="connsiteX906" fmla="*/ 559167 w 866764"/>
                <a:gd name="connsiteY906" fmla="*/ 601126 h 816032"/>
                <a:gd name="connsiteX907" fmla="*/ 559077 w 866764"/>
                <a:gd name="connsiteY907" fmla="*/ 600461 h 816032"/>
                <a:gd name="connsiteX908" fmla="*/ 559167 w 866764"/>
                <a:gd name="connsiteY908" fmla="*/ 599947 h 816032"/>
                <a:gd name="connsiteX909" fmla="*/ 559440 w 866764"/>
                <a:gd name="connsiteY909" fmla="*/ 599644 h 816032"/>
                <a:gd name="connsiteX910" fmla="*/ 215118 w 866764"/>
                <a:gd name="connsiteY910" fmla="*/ 595621 h 816032"/>
                <a:gd name="connsiteX911" fmla="*/ 214664 w 866764"/>
                <a:gd name="connsiteY911" fmla="*/ 595862 h 816032"/>
                <a:gd name="connsiteX912" fmla="*/ 214331 w 866764"/>
                <a:gd name="connsiteY912" fmla="*/ 597103 h 816032"/>
                <a:gd name="connsiteX913" fmla="*/ 213757 w 866764"/>
                <a:gd name="connsiteY913" fmla="*/ 600400 h 816032"/>
                <a:gd name="connsiteX914" fmla="*/ 215118 w 866764"/>
                <a:gd name="connsiteY914" fmla="*/ 599553 h 816032"/>
                <a:gd name="connsiteX915" fmla="*/ 215300 w 866764"/>
                <a:gd name="connsiteY915" fmla="*/ 600552 h 816032"/>
                <a:gd name="connsiteX916" fmla="*/ 215511 w 866764"/>
                <a:gd name="connsiteY916" fmla="*/ 600915 h 816032"/>
                <a:gd name="connsiteX917" fmla="*/ 215874 w 866764"/>
                <a:gd name="connsiteY917" fmla="*/ 601187 h 816032"/>
                <a:gd name="connsiteX918" fmla="*/ 216479 w 866764"/>
                <a:gd name="connsiteY918" fmla="*/ 601913 h 816032"/>
                <a:gd name="connsiteX919" fmla="*/ 216479 w 866764"/>
                <a:gd name="connsiteY919" fmla="*/ 599493 h 816032"/>
                <a:gd name="connsiteX920" fmla="*/ 216873 w 866764"/>
                <a:gd name="connsiteY920" fmla="*/ 597648 h 816032"/>
                <a:gd name="connsiteX921" fmla="*/ 216721 w 866764"/>
                <a:gd name="connsiteY921" fmla="*/ 596377 h 816032"/>
                <a:gd name="connsiteX922" fmla="*/ 215118 w 866764"/>
                <a:gd name="connsiteY922" fmla="*/ 595651 h 816032"/>
                <a:gd name="connsiteX923" fmla="*/ 493794 w 866764"/>
                <a:gd name="connsiteY923" fmla="*/ 593987 h 816032"/>
                <a:gd name="connsiteX924" fmla="*/ 491707 w 866764"/>
                <a:gd name="connsiteY924" fmla="*/ 594441 h 816032"/>
                <a:gd name="connsiteX925" fmla="*/ 487865 w 866764"/>
                <a:gd name="connsiteY925" fmla="*/ 596377 h 816032"/>
                <a:gd name="connsiteX926" fmla="*/ 485445 w 866764"/>
                <a:gd name="connsiteY926" fmla="*/ 595651 h 816032"/>
                <a:gd name="connsiteX927" fmla="*/ 483720 w 866764"/>
                <a:gd name="connsiteY927" fmla="*/ 594320 h 816032"/>
                <a:gd name="connsiteX928" fmla="*/ 482420 w 866764"/>
                <a:gd name="connsiteY928" fmla="*/ 593624 h 816032"/>
                <a:gd name="connsiteX929" fmla="*/ 481270 w 866764"/>
                <a:gd name="connsiteY929" fmla="*/ 594804 h 816032"/>
                <a:gd name="connsiteX930" fmla="*/ 481270 w 866764"/>
                <a:gd name="connsiteY930" fmla="*/ 595590 h 816032"/>
                <a:gd name="connsiteX931" fmla="*/ 482268 w 866764"/>
                <a:gd name="connsiteY931" fmla="*/ 596588 h 816032"/>
                <a:gd name="connsiteX932" fmla="*/ 483115 w 866764"/>
                <a:gd name="connsiteY932" fmla="*/ 597889 h 816032"/>
                <a:gd name="connsiteX933" fmla="*/ 484114 w 866764"/>
                <a:gd name="connsiteY933" fmla="*/ 598615 h 816032"/>
                <a:gd name="connsiteX934" fmla="*/ 485505 w 866764"/>
                <a:gd name="connsiteY934" fmla="*/ 597920 h 816032"/>
                <a:gd name="connsiteX935" fmla="*/ 486383 w 866764"/>
                <a:gd name="connsiteY935" fmla="*/ 598706 h 816032"/>
                <a:gd name="connsiteX936" fmla="*/ 487320 w 866764"/>
                <a:gd name="connsiteY936" fmla="*/ 600037 h 816032"/>
                <a:gd name="connsiteX937" fmla="*/ 487623 w 866764"/>
                <a:gd name="connsiteY937" fmla="*/ 601278 h 816032"/>
                <a:gd name="connsiteX938" fmla="*/ 486534 w 866764"/>
                <a:gd name="connsiteY938" fmla="*/ 601852 h 816032"/>
                <a:gd name="connsiteX939" fmla="*/ 483085 w 866764"/>
                <a:gd name="connsiteY939" fmla="*/ 601852 h 816032"/>
                <a:gd name="connsiteX940" fmla="*/ 481149 w 866764"/>
                <a:gd name="connsiteY940" fmla="*/ 600945 h 816032"/>
                <a:gd name="connsiteX941" fmla="*/ 479969 w 866764"/>
                <a:gd name="connsiteY941" fmla="*/ 597648 h 816032"/>
                <a:gd name="connsiteX942" fmla="*/ 478578 w 866764"/>
                <a:gd name="connsiteY942" fmla="*/ 597920 h 816032"/>
                <a:gd name="connsiteX943" fmla="*/ 477731 w 866764"/>
                <a:gd name="connsiteY943" fmla="*/ 597405 h 816032"/>
                <a:gd name="connsiteX944" fmla="*/ 476974 w 866764"/>
                <a:gd name="connsiteY944" fmla="*/ 596831 h 816032"/>
                <a:gd name="connsiteX945" fmla="*/ 476339 w 866764"/>
                <a:gd name="connsiteY945" fmla="*/ 596195 h 816032"/>
                <a:gd name="connsiteX946" fmla="*/ 475825 w 866764"/>
                <a:gd name="connsiteY946" fmla="*/ 595560 h 816032"/>
                <a:gd name="connsiteX947" fmla="*/ 474887 w 866764"/>
                <a:gd name="connsiteY947" fmla="*/ 596498 h 816032"/>
                <a:gd name="connsiteX948" fmla="*/ 474070 w 866764"/>
                <a:gd name="connsiteY948" fmla="*/ 598555 h 816032"/>
                <a:gd name="connsiteX949" fmla="*/ 473072 w 866764"/>
                <a:gd name="connsiteY949" fmla="*/ 599463 h 816032"/>
                <a:gd name="connsiteX950" fmla="*/ 473526 w 866764"/>
                <a:gd name="connsiteY950" fmla="*/ 599644 h 816032"/>
                <a:gd name="connsiteX951" fmla="*/ 474463 w 866764"/>
                <a:gd name="connsiteY951" fmla="*/ 600310 h 816032"/>
                <a:gd name="connsiteX952" fmla="*/ 473980 w 866764"/>
                <a:gd name="connsiteY952" fmla="*/ 600793 h 816032"/>
                <a:gd name="connsiteX953" fmla="*/ 473556 w 866764"/>
                <a:gd name="connsiteY953" fmla="*/ 601489 h 816032"/>
                <a:gd name="connsiteX954" fmla="*/ 473102 w 866764"/>
                <a:gd name="connsiteY954" fmla="*/ 601792 h 816032"/>
                <a:gd name="connsiteX955" fmla="*/ 473556 w 866764"/>
                <a:gd name="connsiteY955" fmla="*/ 603183 h 816032"/>
                <a:gd name="connsiteX956" fmla="*/ 472709 w 866764"/>
                <a:gd name="connsiteY956" fmla="*/ 605694 h 816032"/>
                <a:gd name="connsiteX957" fmla="*/ 473132 w 866764"/>
                <a:gd name="connsiteY957" fmla="*/ 607328 h 816032"/>
                <a:gd name="connsiteX958" fmla="*/ 476914 w 866764"/>
                <a:gd name="connsiteY958" fmla="*/ 605936 h 816032"/>
                <a:gd name="connsiteX959" fmla="*/ 488984 w 866764"/>
                <a:gd name="connsiteY959" fmla="*/ 605694 h 816032"/>
                <a:gd name="connsiteX960" fmla="*/ 492372 w 866764"/>
                <a:gd name="connsiteY960" fmla="*/ 604726 h 816032"/>
                <a:gd name="connsiteX961" fmla="*/ 494308 w 866764"/>
                <a:gd name="connsiteY961" fmla="*/ 603819 h 816032"/>
                <a:gd name="connsiteX962" fmla="*/ 495156 w 866764"/>
                <a:gd name="connsiteY962" fmla="*/ 602972 h 816032"/>
                <a:gd name="connsiteX963" fmla="*/ 494853 w 866764"/>
                <a:gd name="connsiteY963" fmla="*/ 596710 h 816032"/>
                <a:gd name="connsiteX964" fmla="*/ 495156 w 866764"/>
                <a:gd name="connsiteY964" fmla="*/ 595469 h 816032"/>
                <a:gd name="connsiteX965" fmla="*/ 493885 w 866764"/>
                <a:gd name="connsiteY965" fmla="*/ 593836 h 816032"/>
                <a:gd name="connsiteX966" fmla="*/ 505018 w 866764"/>
                <a:gd name="connsiteY966" fmla="*/ 596377 h 816032"/>
                <a:gd name="connsiteX967" fmla="*/ 506470 w 866764"/>
                <a:gd name="connsiteY967" fmla="*/ 596014 h 816032"/>
                <a:gd name="connsiteX968" fmla="*/ 507316 w 866764"/>
                <a:gd name="connsiteY968" fmla="*/ 594441 h 816032"/>
                <a:gd name="connsiteX969" fmla="*/ 507105 w 866764"/>
                <a:gd name="connsiteY969" fmla="*/ 593231 h 816032"/>
                <a:gd name="connsiteX970" fmla="*/ 506137 w 866764"/>
                <a:gd name="connsiteY970" fmla="*/ 592293 h 816032"/>
                <a:gd name="connsiteX971" fmla="*/ 504715 w 866764"/>
                <a:gd name="connsiteY971" fmla="*/ 591628 h 816032"/>
                <a:gd name="connsiteX972" fmla="*/ 504866 w 866764"/>
                <a:gd name="connsiteY972" fmla="*/ 591143 h 816032"/>
                <a:gd name="connsiteX973" fmla="*/ 504352 w 866764"/>
                <a:gd name="connsiteY973" fmla="*/ 590962 h 816032"/>
                <a:gd name="connsiteX974" fmla="*/ 502658 w 866764"/>
                <a:gd name="connsiteY974" fmla="*/ 590962 h 816032"/>
                <a:gd name="connsiteX975" fmla="*/ 501296 w 866764"/>
                <a:gd name="connsiteY975" fmla="*/ 592505 h 816032"/>
                <a:gd name="connsiteX976" fmla="*/ 503475 w 866764"/>
                <a:gd name="connsiteY976" fmla="*/ 595258 h 816032"/>
                <a:gd name="connsiteX977" fmla="*/ 504987 w 866764"/>
                <a:gd name="connsiteY977" fmla="*/ 596437 h 816032"/>
                <a:gd name="connsiteX978" fmla="*/ 568576 w 866764"/>
                <a:gd name="connsiteY978" fmla="*/ 599220 h 816032"/>
                <a:gd name="connsiteX979" fmla="*/ 568455 w 866764"/>
                <a:gd name="connsiteY979" fmla="*/ 599281 h 816032"/>
                <a:gd name="connsiteX980" fmla="*/ 568243 w 866764"/>
                <a:gd name="connsiteY980" fmla="*/ 599523 h 816032"/>
                <a:gd name="connsiteX981" fmla="*/ 574777 w 866764"/>
                <a:gd name="connsiteY981" fmla="*/ 605452 h 816032"/>
                <a:gd name="connsiteX982" fmla="*/ 578317 w 866764"/>
                <a:gd name="connsiteY982" fmla="*/ 607116 h 816032"/>
                <a:gd name="connsiteX983" fmla="*/ 580525 w 866764"/>
                <a:gd name="connsiteY983" fmla="*/ 604212 h 816032"/>
                <a:gd name="connsiteX984" fmla="*/ 580525 w 866764"/>
                <a:gd name="connsiteY984" fmla="*/ 603486 h 816032"/>
                <a:gd name="connsiteX985" fmla="*/ 579950 w 866764"/>
                <a:gd name="connsiteY985" fmla="*/ 602427 h 816032"/>
                <a:gd name="connsiteX986" fmla="*/ 580041 w 866764"/>
                <a:gd name="connsiteY986" fmla="*/ 601338 h 816032"/>
                <a:gd name="connsiteX987" fmla="*/ 580737 w 866764"/>
                <a:gd name="connsiteY987" fmla="*/ 600552 h 816032"/>
                <a:gd name="connsiteX988" fmla="*/ 581977 w 866764"/>
                <a:gd name="connsiteY988" fmla="*/ 600340 h 816032"/>
                <a:gd name="connsiteX989" fmla="*/ 580979 w 866764"/>
                <a:gd name="connsiteY989" fmla="*/ 598555 h 816032"/>
                <a:gd name="connsiteX990" fmla="*/ 579406 w 866764"/>
                <a:gd name="connsiteY990" fmla="*/ 597738 h 816032"/>
                <a:gd name="connsiteX991" fmla="*/ 577591 w 866764"/>
                <a:gd name="connsiteY991" fmla="*/ 597224 h 816032"/>
                <a:gd name="connsiteX992" fmla="*/ 575806 w 866764"/>
                <a:gd name="connsiteY992" fmla="*/ 596347 h 816032"/>
                <a:gd name="connsiteX993" fmla="*/ 574626 w 866764"/>
                <a:gd name="connsiteY993" fmla="*/ 595136 h 816032"/>
                <a:gd name="connsiteX994" fmla="*/ 572962 w 866764"/>
                <a:gd name="connsiteY994" fmla="*/ 592354 h 816032"/>
                <a:gd name="connsiteX995" fmla="*/ 571692 w 866764"/>
                <a:gd name="connsiteY995" fmla="*/ 590841 h 816032"/>
                <a:gd name="connsiteX996" fmla="*/ 567245 w 866764"/>
                <a:gd name="connsiteY996" fmla="*/ 593987 h 816032"/>
                <a:gd name="connsiteX997" fmla="*/ 567456 w 866764"/>
                <a:gd name="connsiteY997" fmla="*/ 594622 h 816032"/>
                <a:gd name="connsiteX998" fmla="*/ 567184 w 866764"/>
                <a:gd name="connsiteY998" fmla="*/ 596044 h 816032"/>
                <a:gd name="connsiteX999" fmla="*/ 566670 w 866764"/>
                <a:gd name="connsiteY999" fmla="*/ 597648 h 816032"/>
                <a:gd name="connsiteX1000" fmla="*/ 566125 w 866764"/>
                <a:gd name="connsiteY1000" fmla="*/ 598706 h 816032"/>
                <a:gd name="connsiteX1001" fmla="*/ 568062 w 866764"/>
                <a:gd name="connsiteY1001" fmla="*/ 598797 h 816032"/>
                <a:gd name="connsiteX1002" fmla="*/ 568939 w 866764"/>
                <a:gd name="connsiteY1002" fmla="*/ 598706 h 816032"/>
                <a:gd name="connsiteX1003" fmla="*/ 568727 w 866764"/>
                <a:gd name="connsiteY1003" fmla="*/ 599069 h 816032"/>
                <a:gd name="connsiteX1004" fmla="*/ 568606 w 866764"/>
                <a:gd name="connsiteY1004" fmla="*/ 599190 h 816032"/>
                <a:gd name="connsiteX1005" fmla="*/ 210550 w 866764"/>
                <a:gd name="connsiteY1005" fmla="*/ 590690 h 816032"/>
                <a:gd name="connsiteX1006" fmla="*/ 210157 w 866764"/>
                <a:gd name="connsiteY1006" fmla="*/ 590357 h 816032"/>
                <a:gd name="connsiteX1007" fmla="*/ 209643 w 866764"/>
                <a:gd name="connsiteY1007" fmla="*/ 590085 h 816032"/>
                <a:gd name="connsiteX1008" fmla="*/ 208765 w 866764"/>
                <a:gd name="connsiteY1008" fmla="*/ 591325 h 816032"/>
                <a:gd name="connsiteX1009" fmla="*/ 208372 w 866764"/>
                <a:gd name="connsiteY1009" fmla="*/ 593080 h 816032"/>
                <a:gd name="connsiteX1010" fmla="*/ 208251 w 866764"/>
                <a:gd name="connsiteY1010" fmla="*/ 597163 h 816032"/>
                <a:gd name="connsiteX1011" fmla="*/ 208917 w 866764"/>
                <a:gd name="connsiteY1011" fmla="*/ 595862 h 816032"/>
                <a:gd name="connsiteX1012" fmla="*/ 209733 w 866764"/>
                <a:gd name="connsiteY1012" fmla="*/ 594713 h 816032"/>
                <a:gd name="connsiteX1013" fmla="*/ 210338 w 866764"/>
                <a:gd name="connsiteY1013" fmla="*/ 593654 h 816032"/>
                <a:gd name="connsiteX1014" fmla="*/ 210338 w 866764"/>
                <a:gd name="connsiteY1014" fmla="*/ 592444 h 816032"/>
                <a:gd name="connsiteX1015" fmla="*/ 210732 w 866764"/>
                <a:gd name="connsiteY1015" fmla="*/ 592202 h 816032"/>
                <a:gd name="connsiteX1016" fmla="*/ 211185 w 866764"/>
                <a:gd name="connsiteY1016" fmla="*/ 591839 h 816032"/>
                <a:gd name="connsiteX1017" fmla="*/ 211639 w 866764"/>
                <a:gd name="connsiteY1017" fmla="*/ 591628 h 816032"/>
                <a:gd name="connsiteX1018" fmla="*/ 211639 w 866764"/>
                <a:gd name="connsiteY1018" fmla="*/ 590901 h 816032"/>
                <a:gd name="connsiteX1019" fmla="*/ 211004 w 866764"/>
                <a:gd name="connsiteY1019" fmla="*/ 590901 h 816032"/>
                <a:gd name="connsiteX1020" fmla="*/ 210550 w 866764"/>
                <a:gd name="connsiteY1020" fmla="*/ 590720 h 816032"/>
                <a:gd name="connsiteX1021" fmla="*/ 428512 w 866764"/>
                <a:gd name="connsiteY1021" fmla="*/ 585274 h 816032"/>
                <a:gd name="connsiteX1022" fmla="*/ 427755 w 866764"/>
                <a:gd name="connsiteY1022" fmla="*/ 585274 h 816032"/>
                <a:gd name="connsiteX1023" fmla="*/ 427755 w 866764"/>
                <a:gd name="connsiteY1023" fmla="*/ 586091 h 816032"/>
                <a:gd name="connsiteX1024" fmla="*/ 428512 w 866764"/>
                <a:gd name="connsiteY1024" fmla="*/ 586575 h 816032"/>
                <a:gd name="connsiteX1025" fmla="*/ 428965 w 866764"/>
                <a:gd name="connsiteY1025" fmla="*/ 586363 h 816032"/>
                <a:gd name="connsiteX1026" fmla="*/ 428814 w 866764"/>
                <a:gd name="connsiteY1026" fmla="*/ 585880 h 816032"/>
                <a:gd name="connsiteX1027" fmla="*/ 428512 w 866764"/>
                <a:gd name="connsiteY1027" fmla="*/ 585305 h 816032"/>
                <a:gd name="connsiteX1028" fmla="*/ 497787 w 866764"/>
                <a:gd name="connsiteY1028" fmla="*/ 592384 h 816032"/>
                <a:gd name="connsiteX1029" fmla="*/ 500570 w 866764"/>
                <a:gd name="connsiteY1029" fmla="*/ 587755 h 816032"/>
                <a:gd name="connsiteX1030" fmla="*/ 501357 w 866764"/>
                <a:gd name="connsiteY1030" fmla="*/ 586938 h 816032"/>
                <a:gd name="connsiteX1031" fmla="*/ 501357 w 866764"/>
                <a:gd name="connsiteY1031" fmla="*/ 586152 h 816032"/>
                <a:gd name="connsiteX1032" fmla="*/ 500843 w 866764"/>
                <a:gd name="connsiteY1032" fmla="*/ 586031 h 816032"/>
                <a:gd name="connsiteX1033" fmla="*/ 500782 w 866764"/>
                <a:gd name="connsiteY1033" fmla="*/ 585880 h 816032"/>
                <a:gd name="connsiteX1034" fmla="*/ 500782 w 866764"/>
                <a:gd name="connsiteY1034" fmla="*/ 585698 h 816032"/>
                <a:gd name="connsiteX1035" fmla="*/ 500631 w 866764"/>
                <a:gd name="connsiteY1035" fmla="*/ 585365 h 816032"/>
                <a:gd name="connsiteX1036" fmla="*/ 499784 w 866764"/>
                <a:gd name="connsiteY1036" fmla="*/ 585970 h 816032"/>
                <a:gd name="connsiteX1037" fmla="*/ 499118 w 866764"/>
                <a:gd name="connsiteY1037" fmla="*/ 586061 h 816032"/>
                <a:gd name="connsiteX1038" fmla="*/ 498513 w 866764"/>
                <a:gd name="connsiteY1038" fmla="*/ 585819 h 816032"/>
                <a:gd name="connsiteX1039" fmla="*/ 497908 w 866764"/>
                <a:gd name="connsiteY1039" fmla="*/ 585335 h 816032"/>
                <a:gd name="connsiteX1040" fmla="*/ 496668 w 866764"/>
                <a:gd name="connsiteY1040" fmla="*/ 585002 h 816032"/>
                <a:gd name="connsiteX1041" fmla="*/ 495216 w 866764"/>
                <a:gd name="connsiteY1041" fmla="*/ 585365 h 816032"/>
                <a:gd name="connsiteX1042" fmla="*/ 493885 w 866764"/>
                <a:gd name="connsiteY1042" fmla="*/ 586091 h 816032"/>
                <a:gd name="connsiteX1043" fmla="*/ 493068 w 866764"/>
                <a:gd name="connsiteY1043" fmla="*/ 586908 h 816032"/>
                <a:gd name="connsiteX1044" fmla="*/ 492584 w 866764"/>
                <a:gd name="connsiteY1044" fmla="*/ 588239 h 816032"/>
                <a:gd name="connsiteX1045" fmla="*/ 492887 w 866764"/>
                <a:gd name="connsiteY1045" fmla="*/ 589026 h 816032"/>
                <a:gd name="connsiteX1046" fmla="*/ 493431 w 866764"/>
                <a:gd name="connsiteY1046" fmla="*/ 589812 h 816032"/>
                <a:gd name="connsiteX1047" fmla="*/ 493734 w 866764"/>
                <a:gd name="connsiteY1047" fmla="*/ 591174 h 816032"/>
                <a:gd name="connsiteX1048" fmla="*/ 494490 w 866764"/>
                <a:gd name="connsiteY1048" fmla="*/ 592020 h 816032"/>
                <a:gd name="connsiteX1049" fmla="*/ 496154 w 866764"/>
                <a:gd name="connsiteY1049" fmla="*/ 592505 h 816032"/>
                <a:gd name="connsiteX1050" fmla="*/ 497787 w 866764"/>
                <a:gd name="connsiteY1050" fmla="*/ 592323 h 816032"/>
                <a:gd name="connsiteX1051" fmla="*/ 588179 w 866764"/>
                <a:gd name="connsiteY1051" fmla="*/ 582159 h 816032"/>
                <a:gd name="connsiteX1052" fmla="*/ 585759 w 866764"/>
                <a:gd name="connsiteY1052" fmla="*/ 583701 h 816032"/>
                <a:gd name="connsiteX1053" fmla="*/ 584095 w 866764"/>
                <a:gd name="connsiteY1053" fmla="*/ 585244 h 816032"/>
                <a:gd name="connsiteX1054" fmla="*/ 583369 w 866764"/>
                <a:gd name="connsiteY1054" fmla="*/ 586575 h 816032"/>
                <a:gd name="connsiteX1055" fmla="*/ 584488 w 866764"/>
                <a:gd name="connsiteY1055" fmla="*/ 587695 h 816032"/>
                <a:gd name="connsiteX1056" fmla="*/ 586848 w 866764"/>
                <a:gd name="connsiteY1056" fmla="*/ 587453 h 816032"/>
                <a:gd name="connsiteX1057" fmla="*/ 588844 w 866764"/>
                <a:gd name="connsiteY1057" fmla="*/ 586273 h 816032"/>
                <a:gd name="connsiteX1058" fmla="*/ 588905 w 866764"/>
                <a:gd name="connsiteY1058" fmla="*/ 583429 h 816032"/>
                <a:gd name="connsiteX1059" fmla="*/ 588693 w 866764"/>
                <a:gd name="connsiteY1059" fmla="*/ 583127 h 816032"/>
                <a:gd name="connsiteX1060" fmla="*/ 588149 w 866764"/>
                <a:gd name="connsiteY1060" fmla="*/ 583066 h 816032"/>
                <a:gd name="connsiteX1061" fmla="*/ 588875 w 866764"/>
                <a:gd name="connsiteY1061" fmla="*/ 582219 h 816032"/>
                <a:gd name="connsiteX1062" fmla="*/ 588149 w 866764"/>
                <a:gd name="connsiteY1062" fmla="*/ 582219 h 816032"/>
                <a:gd name="connsiteX1063" fmla="*/ 753019 w 866764"/>
                <a:gd name="connsiteY1063" fmla="*/ 595106 h 816032"/>
                <a:gd name="connsiteX1064" fmla="*/ 755136 w 866764"/>
                <a:gd name="connsiteY1064" fmla="*/ 594804 h 816032"/>
                <a:gd name="connsiteX1065" fmla="*/ 761247 w 866764"/>
                <a:gd name="connsiteY1065" fmla="*/ 588875 h 816032"/>
                <a:gd name="connsiteX1066" fmla="*/ 763607 w 866764"/>
                <a:gd name="connsiteY1066" fmla="*/ 587543 h 816032"/>
                <a:gd name="connsiteX1067" fmla="*/ 774588 w 866764"/>
                <a:gd name="connsiteY1067" fmla="*/ 584670 h 816032"/>
                <a:gd name="connsiteX1068" fmla="*/ 777825 w 866764"/>
                <a:gd name="connsiteY1068" fmla="*/ 582975 h 816032"/>
                <a:gd name="connsiteX1069" fmla="*/ 776343 w 866764"/>
                <a:gd name="connsiteY1069" fmla="*/ 580828 h 816032"/>
                <a:gd name="connsiteX1070" fmla="*/ 771351 w 866764"/>
                <a:gd name="connsiteY1070" fmla="*/ 579678 h 816032"/>
                <a:gd name="connsiteX1071" fmla="*/ 770292 w 866764"/>
                <a:gd name="connsiteY1071" fmla="*/ 577833 h 816032"/>
                <a:gd name="connsiteX1072" fmla="*/ 768749 w 866764"/>
                <a:gd name="connsiteY1072" fmla="*/ 578287 h 816032"/>
                <a:gd name="connsiteX1073" fmla="*/ 758524 w 866764"/>
                <a:gd name="connsiteY1073" fmla="*/ 579769 h 816032"/>
                <a:gd name="connsiteX1074" fmla="*/ 748148 w 866764"/>
                <a:gd name="connsiteY1074" fmla="*/ 585728 h 816032"/>
                <a:gd name="connsiteX1075" fmla="*/ 747543 w 866764"/>
                <a:gd name="connsiteY1075" fmla="*/ 586515 h 816032"/>
                <a:gd name="connsiteX1076" fmla="*/ 744094 w 866764"/>
                <a:gd name="connsiteY1076" fmla="*/ 589298 h 816032"/>
                <a:gd name="connsiteX1077" fmla="*/ 742764 w 866764"/>
                <a:gd name="connsiteY1077" fmla="*/ 591688 h 816032"/>
                <a:gd name="connsiteX1078" fmla="*/ 741947 w 866764"/>
                <a:gd name="connsiteY1078" fmla="*/ 592747 h 816032"/>
                <a:gd name="connsiteX1079" fmla="*/ 740586 w 866764"/>
                <a:gd name="connsiteY1079" fmla="*/ 593987 h 816032"/>
                <a:gd name="connsiteX1080" fmla="*/ 738377 w 866764"/>
                <a:gd name="connsiteY1080" fmla="*/ 592777 h 816032"/>
                <a:gd name="connsiteX1081" fmla="*/ 737863 w 866764"/>
                <a:gd name="connsiteY1081" fmla="*/ 592414 h 816032"/>
                <a:gd name="connsiteX1082" fmla="*/ 737379 w 866764"/>
                <a:gd name="connsiteY1082" fmla="*/ 593049 h 816032"/>
                <a:gd name="connsiteX1083" fmla="*/ 736229 w 866764"/>
                <a:gd name="connsiteY1083" fmla="*/ 594169 h 816032"/>
                <a:gd name="connsiteX1084" fmla="*/ 735745 w 866764"/>
                <a:gd name="connsiteY1084" fmla="*/ 594804 h 816032"/>
                <a:gd name="connsiteX1085" fmla="*/ 734595 w 866764"/>
                <a:gd name="connsiteY1085" fmla="*/ 594259 h 816032"/>
                <a:gd name="connsiteX1086" fmla="*/ 733991 w 866764"/>
                <a:gd name="connsiteY1086" fmla="*/ 595923 h 816032"/>
                <a:gd name="connsiteX1087" fmla="*/ 733718 w 866764"/>
                <a:gd name="connsiteY1087" fmla="*/ 599947 h 816032"/>
                <a:gd name="connsiteX1088" fmla="*/ 734293 w 866764"/>
                <a:gd name="connsiteY1088" fmla="*/ 601096 h 816032"/>
                <a:gd name="connsiteX1089" fmla="*/ 735685 w 866764"/>
                <a:gd name="connsiteY1089" fmla="*/ 602639 h 816032"/>
                <a:gd name="connsiteX1090" fmla="*/ 737530 w 866764"/>
                <a:gd name="connsiteY1090" fmla="*/ 603909 h 816032"/>
                <a:gd name="connsiteX1091" fmla="*/ 739285 w 866764"/>
                <a:gd name="connsiteY1091" fmla="*/ 604242 h 816032"/>
                <a:gd name="connsiteX1092" fmla="*/ 738649 w 866764"/>
                <a:gd name="connsiteY1092" fmla="*/ 602760 h 816032"/>
                <a:gd name="connsiteX1093" fmla="*/ 738559 w 866764"/>
                <a:gd name="connsiteY1093" fmla="*/ 601156 h 816032"/>
                <a:gd name="connsiteX1094" fmla="*/ 739163 w 866764"/>
                <a:gd name="connsiteY1094" fmla="*/ 599947 h 816032"/>
                <a:gd name="connsiteX1095" fmla="*/ 740586 w 866764"/>
                <a:gd name="connsiteY1095" fmla="*/ 599523 h 816032"/>
                <a:gd name="connsiteX1096" fmla="*/ 739557 w 866764"/>
                <a:gd name="connsiteY1096" fmla="*/ 597103 h 816032"/>
                <a:gd name="connsiteX1097" fmla="*/ 741190 w 866764"/>
                <a:gd name="connsiteY1097" fmla="*/ 595621 h 816032"/>
                <a:gd name="connsiteX1098" fmla="*/ 746787 w 866764"/>
                <a:gd name="connsiteY1098" fmla="*/ 593140 h 816032"/>
                <a:gd name="connsiteX1099" fmla="*/ 748058 w 866764"/>
                <a:gd name="connsiteY1099" fmla="*/ 594017 h 816032"/>
                <a:gd name="connsiteX1100" fmla="*/ 750387 w 866764"/>
                <a:gd name="connsiteY1100" fmla="*/ 594743 h 816032"/>
                <a:gd name="connsiteX1101" fmla="*/ 752989 w 866764"/>
                <a:gd name="connsiteY1101" fmla="*/ 595076 h 816032"/>
                <a:gd name="connsiteX1102" fmla="*/ 606662 w 866764"/>
                <a:gd name="connsiteY1102" fmla="*/ 581221 h 816032"/>
                <a:gd name="connsiteX1103" fmla="*/ 608599 w 866764"/>
                <a:gd name="connsiteY1103" fmla="*/ 581160 h 816032"/>
                <a:gd name="connsiteX1104" fmla="*/ 609657 w 866764"/>
                <a:gd name="connsiteY1104" fmla="*/ 579829 h 816032"/>
                <a:gd name="connsiteX1105" fmla="*/ 607146 w 866764"/>
                <a:gd name="connsiteY1105" fmla="*/ 577954 h 816032"/>
                <a:gd name="connsiteX1106" fmla="*/ 606178 w 866764"/>
                <a:gd name="connsiteY1106" fmla="*/ 577470 h 816032"/>
                <a:gd name="connsiteX1107" fmla="*/ 604938 w 866764"/>
                <a:gd name="connsiteY1107" fmla="*/ 578438 h 816032"/>
                <a:gd name="connsiteX1108" fmla="*/ 603668 w 866764"/>
                <a:gd name="connsiteY1108" fmla="*/ 578952 h 816032"/>
                <a:gd name="connsiteX1109" fmla="*/ 602639 w 866764"/>
                <a:gd name="connsiteY1109" fmla="*/ 579527 h 816032"/>
                <a:gd name="connsiteX1110" fmla="*/ 602034 w 866764"/>
                <a:gd name="connsiteY1110" fmla="*/ 580676 h 816032"/>
                <a:gd name="connsiteX1111" fmla="*/ 604333 w 866764"/>
                <a:gd name="connsiteY1111" fmla="*/ 580797 h 816032"/>
                <a:gd name="connsiteX1112" fmla="*/ 606662 w 866764"/>
                <a:gd name="connsiteY1112" fmla="*/ 581221 h 816032"/>
                <a:gd name="connsiteX1113" fmla="*/ 385766 w 866764"/>
                <a:gd name="connsiteY1113" fmla="*/ 576320 h 816032"/>
                <a:gd name="connsiteX1114" fmla="*/ 385403 w 866764"/>
                <a:gd name="connsiteY1114" fmla="*/ 575564 h 816032"/>
                <a:gd name="connsiteX1115" fmla="*/ 384768 w 866764"/>
                <a:gd name="connsiteY1115" fmla="*/ 575412 h 816032"/>
                <a:gd name="connsiteX1116" fmla="*/ 385101 w 866764"/>
                <a:gd name="connsiteY1116" fmla="*/ 576320 h 816032"/>
                <a:gd name="connsiteX1117" fmla="*/ 385040 w 866764"/>
                <a:gd name="connsiteY1117" fmla="*/ 576865 h 816032"/>
                <a:gd name="connsiteX1118" fmla="*/ 385252 w 866764"/>
                <a:gd name="connsiteY1118" fmla="*/ 577016 h 816032"/>
                <a:gd name="connsiteX1119" fmla="*/ 385252 w 866764"/>
                <a:gd name="connsiteY1119" fmla="*/ 577228 h 816032"/>
                <a:gd name="connsiteX1120" fmla="*/ 385585 w 866764"/>
                <a:gd name="connsiteY1120" fmla="*/ 578014 h 816032"/>
                <a:gd name="connsiteX1121" fmla="*/ 386190 w 866764"/>
                <a:gd name="connsiteY1121" fmla="*/ 578287 h 816032"/>
                <a:gd name="connsiteX1122" fmla="*/ 386523 w 866764"/>
                <a:gd name="connsiteY1122" fmla="*/ 578014 h 816032"/>
                <a:gd name="connsiteX1123" fmla="*/ 386220 w 866764"/>
                <a:gd name="connsiteY1123" fmla="*/ 576804 h 816032"/>
                <a:gd name="connsiteX1124" fmla="*/ 385736 w 866764"/>
                <a:gd name="connsiteY1124" fmla="*/ 576320 h 816032"/>
                <a:gd name="connsiteX1125" fmla="*/ 630682 w 866764"/>
                <a:gd name="connsiteY1125" fmla="*/ 589903 h 816032"/>
                <a:gd name="connsiteX1126" fmla="*/ 633495 w 866764"/>
                <a:gd name="connsiteY1126" fmla="*/ 585577 h 816032"/>
                <a:gd name="connsiteX1127" fmla="*/ 634796 w 866764"/>
                <a:gd name="connsiteY1127" fmla="*/ 584609 h 816032"/>
                <a:gd name="connsiteX1128" fmla="*/ 636218 w 866764"/>
                <a:gd name="connsiteY1128" fmla="*/ 584065 h 816032"/>
                <a:gd name="connsiteX1129" fmla="*/ 640483 w 866764"/>
                <a:gd name="connsiteY1129" fmla="*/ 581191 h 816032"/>
                <a:gd name="connsiteX1130" fmla="*/ 641996 w 866764"/>
                <a:gd name="connsiteY1130" fmla="*/ 579799 h 816032"/>
                <a:gd name="connsiteX1131" fmla="*/ 642994 w 866764"/>
                <a:gd name="connsiteY1131" fmla="*/ 580011 h 816032"/>
                <a:gd name="connsiteX1132" fmla="*/ 644628 w 866764"/>
                <a:gd name="connsiteY1132" fmla="*/ 579497 h 816032"/>
                <a:gd name="connsiteX1133" fmla="*/ 646443 w 866764"/>
                <a:gd name="connsiteY1133" fmla="*/ 579134 h 816032"/>
                <a:gd name="connsiteX1134" fmla="*/ 648198 w 866764"/>
                <a:gd name="connsiteY1134" fmla="*/ 579799 h 816032"/>
                <a:gd name="connsiteX1135" fmla="*/ 648500 w 866764"/>
                <a:gd name="connsiteY1135" fmla="*/ 579708 h 816032"/>
                <a:gd name="connsiteX1136" fmla="*/ 648742 w 866764"/>
                <a:gd name="connsiteY1136" fmla="*/ 579708 h 816032"/>
                <a:gd name="connsiteX1137" fmla="*/ 648924 w 866764"/>
                <a:gd name="connsiteY1137" fmla="*/ 579557 h 816032"/>
                <a:gd name="connsiteX1138" fmla="*/ 648863 w 866764"/>
                <a:gd name="connsiteY1138" fmla="*/ 579013 h 816032"/>
                <a:gd name="connsiteX1139" fmla="*/ 646866 w 866764"/>
                <a:gd name="connsiteY1139" fmla="*/ 578377 h 816032"/>
                <a:gd name="connsiteX1140" fmla="*/ 644991 w 866764"/>
                <a:gd name="connsiteY1140" fmla="*/ 577288 h 816032"/>
                <a:gd name="connsiteX1141" fmla="*/ 643327 w 866764"/>
                <a:gd name="connsiteY1141" fmla="*/ 575897 h 816032"/>
                <a:gd name="connsiteX1142" fmla="*/ 641996 w 866764"/>
                <a:gd name="connsiteY1142" fmla="*/ 574293 h 816032"/>
                <a:gd name="connsiteX1143" fmla="*/ 641240 w 866764"/>
                <a:gd name="connsiteY1143" fmla="*/ 574293 h 816032"/>
                <a:gd name="connsiteX1144" fmla="*/ 640423 w 866764"/>
                <a:gd name="connsiteY1144" fmla="*/ 575231 h 816032"/>
                <a:gd name="connsiteX1145" fmla="*/ 639243 w 866764"/>
                <a:gd name="connsiteY1145" fmla="*/ 575897 h 816032"/>
                <a:gd name="connsiteX1146" fmla="*/ 636460 w 866764"/>
                <a:gd name="connsiteY1146" fmla="*/ 576653 h 816032"/>
                <a:gd name="connsiteX1147" fmla="*/ 636460 w 866764"/>
                <a:gd name="connsiteY1147" fmla="*/ 577439 h 816032"/>
                <a:gd name="connsiteX1148" fmla="*/ 637247 w 866764"/>
                <a:gd name="connsiteY1148" fmla="*/ 577561 h 816032"/>
                <a:gd name="connsiteX1149" fmla="*/ 637670 w 866764"/>
                <a:gd name="connsiteY1149" fmla="*/ 577772 h 816032"/>
                <a:gd name="connsiteX1150" fmla="*/ 638003 w 866764"/>
                <a:gd name="connsiteY1150" fmla="*/ 578014 h 816032"/>
                <a:gd name="connsiteX1151" fmla="*/ 638577 w 866764"/>
                <a:gd name="connsiteY1151" fmla="*/ 578287 h 816032"/>
                <a:gd name="connsiteX1152" fmla="*/ 638577 w 866764"/>
                <a:gd name="connsiteY1152" fmla="*/ 579013 h 816032"/>
                <a:gd name="connsiteX1153" fmla="*/ 626991 w 866764"/>
                <a:gd name="connsiteY1153" fmla="*/ 584428 h 816032"/>
                <a:gd name="connsiteX1154" fmla="*/ 625872 w 866764"/>
                <a:gd name="connsiteY1154" fmla="*/ 584609 h 816032"/>
                <a:gd name="connsiteX1155" fmla="*/ 625721 w 866764"/>
                <a:gd name="connsiteY1155" fmla="*/ 585123 h 816032"/>
                <a:gd name="connsiteX1156" fmla="*/ 625872 w 866764"/>
                <a:gd name="connsiteY1156" fmla="*/ 586091 h 816032"/>
                <a:gd name="connsiteX1157" fmla="*/ 626477 w 866764"/>
                <a:gd name="connsiteY1157" fmla="*/ 586726 h 816032"/>
                <a:gd name="connsiteX1158" fmla="*/ 627626 w 866764"/>
                <a:gd name="connsiteY1158" fmla="*/ 586182 h 816032"/>
                <a:gd name="connsiteX1159" fmla="*/ 626235 w 866764"/>
                <a:gd name="connsiteY1159" fmla="*/ 588935 h 816032"/>
                <a:gd name="connsiteX1160" fmla="*/ 625842 w 866764"/>
                <a:gd name="connsiteY1160" fmla="*/ 589359 h 816032"/>
                <a:gd name="connsiteX1161" fmla="*/ 623573 w 866764"/>
                <a:gd name="connsiteY1161" fmla="*/ 589359 h 816032"/>
                <a:gd name="connsiteX1162" fmla="*/ 622695 w 866764"/>
                <a:gd name="connsiteY1162" fmla="*/ 589570 h 816032"/>
                <a:gd name="connsiteX1163" fmla="*/ 622000 w 866764"/>
                <a:gd name="connsiteY1163" fmla="*/ 590145 h 816032"/>
                <a:gd name="connsiteX1164" fmla="*/ 621304 w 866764"/>
                <a:gd name="connsiteY1164" fmla="*/ 590145 h 816032"/>
                <a:gd name="connsiteX1165" fmla="*/ 620154 w 866764"/>
                <a:gd name="connsiteY1165" fmla="*/ 589298 h 816032"/>
                <a:gd name="connsiteX1166" fmla="*/ 618672 w 866764"/>
                <a:gd name="connsiteY1166" fmla="*/ 589540 h 816032"/>
                <a:gd name="connsiteX1167" fmla="*/ 617341 w 866764"/>
                <a:gd name="connsiteY1167" fmla="*/ 590478 h 816032"/>
                <a:gd name="connsiteX1168" fmla="*/ 616585 w 866764"/>
                <a:gd name="connsiteY1168" fmla="*/ 591657 h 816032"/>
                <a:gd name="connsiteX1169" fmla="*/ 615163 w 866764"/>
                <a:gd name="connsiteY1169" fmla="*/ 590931 h 816032"/>
                <a:gd name="connsiteX1170" fmla="*/ 616827 w 866764"/>
                <a:gd name="connsiteY1170" fmla="*/ 593806 h 816032"/>
                <a:gd name="connsiteX1171" fmla="*/ 621183 w 866764"/>
                <a:gd name="connsiteY1171" fmla="*/ 593473 h 816032"/>
                <a:gd name="connsiteX1172" fmla="*/ 629321 w 866764"/>
                <a:gd name="connsiteY1172" fmla="*/ 590901 h 816032"/>
                <a:gd name="connsiteX1173" fmla="*/ 630712 w 866764"/>
                <a:gd name="connsiteY1173" fmla="*/ 589933 h 816032"/>
                <a:gd name="connsiteX1174" fmla="*/ 545494 w 866764"/>
                <a:gd name="connsiteY1174" fmla="*/ 570784 h 816032"/>
                <a:gd name="connsiteX1175" fmla="*/ 547490 w 866764"/>
                <a:gd name="connsiteY1175" fmla="*/ 572418 h 816032"/>
                <a:gd name="connsiteX1176" fmla="*/ 548942 w 866764"/>
                <a:gd name="connsiteY1176" fmla="*/ 572720 h 816032"/>
                <a:gd name="connsiteX1177" fmla="*/ 548005 w 866764"/>
                <a:gd name="connsiteY1177" fmla="*/ 571419 h 816032"/>
                <a:gd name="connsiteX1178" fmla="*/ 547430 w 866764"/>
                <a:gd name="connsiteY1178" fmla="*/ 570844 h 816032"/>
                <a:gd name="connsiteX1179" fmla="*/ 546795 w 866764"/>
                <a:gd name="connsiteY1179" fmla="*/ 570330 h 816032"/>
                <a:gd name="connsiteX1180" fmla="*/ 547763 w 866764"/>
                <a:gd name="connsiteY1180" fmla="*/ 568455 h 816032"/>
                <a:gd name="connsiteX1181" fmla="*/ 549608 w 866764"/>
                <a:gd name="connsiteY1181" fmla="*/ 562405 h 816032"/>
                <a:gd name="connsiteX1182" fmla="*/ 548096 w 866764"/>
                <a:gd name="connsiteY1182" fmla="*/ 562405 h 816032"/>
                <a:gd name="connsiteX1183" fmla="*/ 546129 w 866764"/>
                <a:gd name="connsiteY1183" fmla="*/ 563282 h 816032"/>
                <a:gd name="connsiteX1184" fmla="*/ 544344 w 866764"/>
                <a:gd name="connsiteY1184" fmla="*/ 564734 h 816032"/>
                <a:gd name="connsiteX1185" fmla="*/ 543376 w 866764"/>
                <a:gd name="connsiteY1185" fmla="*/ 566367 h 816032"/>
                <a:gd name="connsiteX1186" fmla="*/ 543830 w 866764"/>
                <a:gd name="connsiteY1186" fmla="*/ 568546 h 816032"/>
                <a:gd name="connsiteX1187" fmla="*/ 545494 w 866764"/>
                <a:gd name="connsiteY1187" fmla="*/ 570815 h 816032"/>
                <a:gd name="connsiteX1188" fmla="*/ 507468 w 866764"/>
                <a:gd name="connsiteY1188" fmla="*/ 569725 h 816032"/>
                <a:gd name="connsiteX1189" fmla="*/ 508436 w 866764"/>
                <a:gd name="connsiteY1189" fmla="*/ 572841 h 816032"/>
                <a:gd name="connsiteX1190" fmla="*/ 510130 w 866764"/>
                <a:gd name="connsiteY1190" fmla="*/ 576109 h 816032"/>
                <a:gd name="connsiteX1191" fmla="*/ 511612 w 866764"/>
                <a:gd name="connsiteY1191" fmla="*/ 578317 h 816032"/>
                <a:gd name="connsiteX1192" fmla="*/ 515091 w 866764"/>
                <a:gd name="connsiteY1192" fmla="*/ 574717 h 816032"/>
                <a:gd name="connsiteX1193" fmla="*/ 515424 w 866764"/>
                <a:gd name="connsiteY1193" fmla="*/ 574263 h 816032"/>
                <a:gd name="connsiteX1194" fmla="*/ 516846 w 866764"/>
                <a:gd name="connsiteY1194" fmla="*/ 573567 h 816032"/>
                <a:gd name="connsiteX1195" fmla="*/ 517148 w 866764"/>
                <a:gd name="connsiteY1195" fmla="*/ 573113 h 816032"/>
                <a:gd name="connsiteX1196" fmla="*/ 517027 w 866764"/>
                <a:gd name="connsiteY1196" fmla="*/ 572236 h 816032"/>
                <a:gd name="connsiteX1197" fmla="*/ 515696 w 866764"/>
                <a:gd name="connsiteY1197" fmla="*/ 568878 h 816032"/>
                <a:gd name="connsiteX1198" fmla="*/ 512127 w 866764"/>
                <a:gd name="connsiteY1198" fmla="*/ 564915 h 816032"/>
                <a:gd name="connsiteX1199" fmla="*/ 510947 w 866764"/>
                <a:gd name="connsiteY1199" fmla="*/ 563191 h 816032"/>
                <a:gd name="connsiteX1200" fmla="*/ 510251 w 866764"/>
                <a:gd name="connsiteY1200" fmla="*/ 563191 h 816032"/>
                <a:gd name="connsiteX1201" fmla="*/ 509434 w 866764"/>
                <a:gd name="connsiteY1201" fmla="*/ 563857 h 816032"/>
                <a:gd name="connsiteX1202" fmla="*/ 508466 w 866764"/>
                <a:gd name="connsiteY1202" fmla="*/ 563433 h 816032"/>
                <a:gd name="connsiteX1203" fmla="*/ 506076 w 866764"/>
                <a:gd name="connsiteY1203" fmla="*/ 561588 h 816032"/>
                <a:gd name="connsiteX1204" fmla="*/ 504685 w 866764"/>
                <a:gd name="connsiteY1204" fmla="*/ 561588 h 816032"/>
                <a:gd name="connsiteX1205" fmla="*/ 504685 w 866764"/>
                <a:gd name="connsiteY1205" fmla="*/ 562132 h 816032"/>
                <a:gd name="connsiteX1206" fmla="*/ 504806 w 866764"/>
                <a:gd name="connsiteY1206" fmla="*/ 562283 h 816032"/>
                <a:gd name="connsiteX1207" fmla="*/ 505018 w 866764"/>
                <a:gd name="connsiteY1207" fmla="*/ 562283 h 816032"/>
                <a:gd name="connsiteX1208" fmla="*/ 505441 w 866764"/>
                <a:gd name="connsiteY1208" fmla="*/ 562405 h 816032"/>
                <a:gd name="connsiteX1209" fmla="*/ 504866 w 866764"/>
                <a:gd name="connsiteY1209" fmla="*/ 563131 h 816032"/>
                <a:gd name="connsiteX1210" fmla="*/ 504745 w 866764"/>
                <a:gd name="connsiteY1210" fmla="*/ 563494 h 816032"/>
                <a:gd name="connsiteX1211" fmla="*/ 504685 w 866764"/>
                <a:gd name="connsiteY1211" fmla="*/ 564068 h 816032"/>
                <a:gd name="connsiteX1212" fmla="*/ 505895 w 866764"/>
                <a:gd name="connsiteY1212" fmla="*/ 564461 h 816032"/>
                <a:gd name="connsiteX1213" fmla="*/ 507075 w 866764"/>
                <a:gd name="connsiteY1213" fmla="*/ 566398 h 816032"/>
                <a:gd name="connsiteX1214" fmla="*/ 508133 w 866764"/>
                <a:gd name="connsiteY1214" fmla="*/ 567214 h 816032"/>
                <a:gd name="connsiteX1215" fmla="*/ 508133 w 866764"/>
                <a:gd name="connsiteY1215" fmla="*/ 568001 h 816032"/>
                <a:gd name="connsiteX1216" fmla="*/ 507407 w 866764"/>
                <a:gd name="connsiteY1216" fmla="*/ 569755 h 816032"/>
                <a:gd name="connsiteX1217" fmla="*/ 733991 w 866764"/>
                <a:gd name="connsiteY1217" fmla="*/ 571994 h 816032"/>
                <a:gd name="connsiteX1218" fmla="*/ 733113 w 866764"/>
                <a:gd name="connsiteY1218" fmla="*/ 573507 h 816032"/>
                <a:gd name="connsiteX1219" fmla="*/ 734051 w 866764"/>
                <a:gd name="connsiteY1219" fmla="*/ 573356 h 816032"/>
                <a:gd name="connsiteX1220" fmla="*/ 734929 w 866764"/>
                <a:gd name="connsiteY1220" fmla="*/ 573870 h 816032"/>
                <a:gd name="connsiteX1221" fmla="*/ 735715 w 866764"/>
                <a:gd name="connsiteY1221" fmla="*/ 574777 h 816032"/>
                <a:gd name="connsiteX1222" fmla="*/ 736441 w 866764"/>
                <a:gd name="connsiteY1222" fmla="*/ 575806 h 816032"/>
                <a:gd name="connsiteX1223" fmla="*/ 737137 w 866764"/>
                <a:gd name="connsiteY1223" fmla="*/ 575140 h 816032"/>
                <a:gd name="connsiteX1224" fmla="*/ 737833 w 866764"/>
                <a:gd name="connsiteY1224" fmla="*/ 575231 h 816032"/>
                <a:gd name="connsiteX1225" fmla="*/ 738589 w 866764"/>
                <a:gd name="connsiteY1225" fmla="*/ 575594 h 816032"/>
                <a:gd name="connsiteX1226" fmla="*/ 739557 w 866764"/>
                <a:gd name="connsiteY1226" fmla="*/ 575806 h 816032"/>
                <a:gd name="connsiteX1227" fmla="*/ 740313 w 866764"/>
                <a:gd name="connsiteY1227" fmla="*/ 575382 h 816032"/>
                <a:gd name="connsiteX1228" fmla="*/ 740586 w 866764"/>
                <a:gd name="connsiteY1228" fmla="*/ 574445 h 816032"/>
                <a:gd name="connsiteX1229" fmla="*/ 740797 w 866764"/>
                <a:gd name="connsiteY1229" fmla="*/ 573386 h 816032"/>
                <a:gd name="connsiteX1230" fmla="*/ 741312 w 866764"/>
                <a:gd name="connsiteY1230" fmla="*/ 572720 h 816032"/>
                <a:gd name="connsiteX1231" fmla="*/ 744337 w 866764"/>
                <a:gd name="connsiteY1231" fmla="*/ 573597 h 816032"/>
                <a:gd name="connsiteX1232" fmla="*/ 746031 w 866764"/>
                <a:gd name="connsiteY1232" fmla="*/ 573597 h 816032"/>
                <a:gd name="connsiteX1233" fmla="*/ 746757 w 866764"/>
                <a:gd name="connsiteY1233" fmla="*/ 571934 h 816032"/>
                <a:gd name="connsiteX1234" fmla="*/ 746121 w 866764"/>
                <a:gd name="connsiteY1234" fmla="*/ 571934 h 816032"/>
                <a:gd name="connsiteX1235" fmla="*/ 746121 w 866764"/>
                <a:gd name="connsiteY1235" fmla="*/ 572720 h 816032"/>
                <a:gd name="connsiteX1236" fmla="*/ 745395 w 866764"/>
                <a:gd name="connsiteY1236" fmla="*/ 572720 h 816032"/>
                <a:gd name="connsiteX1237" fmla="*/ 745486 w 866764"/>
                <a:gd name="connsiteY1237" fmla="*/ 572176 h 816032"/>
                <a:gd name="connsiteX1238" fmla="*/ 745637 w 866764"/>
                <a:gd name="connsiteY1238" fmla="*/ 571843 h 816032"/>
                <a:gd name="connsiteX1239" fmla="*/ 746121 w 866764"/>
                <a:gd name="connsiteY1239" fmla="*/ 571056 h 816032"/>
                <a:gd name="connsiteX1240" fmla="*/ 745698 w 866764"/>
                <a:gd name="connsiteY1240" fmla="*/ 569695 h 816032"/>
                <a:gd name="connsiteX1241" fmla="*/ 746454 w 866764"/>
                <a:gd name="connsiteY1241" fmla="*/ 567668 h 816032"/>
                <a:gd name="connsiteX1242" fmla="*/ 746152 w 866764"/>
                <a:gd name="connsiteY1242" fmla="*/ 566307 h 816032"/>
                <a:gd name="connsiteX1243" fmla="*/ 745274 w 866764"/>
                <a:gd name="connsiteY1243" fmla="*/ 565793 h 816032"/>
                <a:gd name="connsiteX1244" fmla="*/ 744397 w 866764"/>
                <a:gd name="connsiteY1244" fmla="*/ 565793 h 816032"/>
                <a:gd name="connsiteX1245" fmla="*/ 743550 w 866764"/>
                <a:gd name="connsiteY1245" fmla="*/ 566216 h 816032"/>
                <a:gd name="connsiteX1246" fmla="*/ 742703 w 866764"/>
                <a:gd name="connsiteY1246" fmla="*/ 567184 h 816032"/>
                <a:gd name="connsiteX1247" fmla="*/ 742582 w 866764"/>
                <a:gd name="connsiteY1247" fmla="*/ 565339 h 816032"/>
                <a:gd name="connsiteX1248" fmla="*/ 741523 w 866764"/>
                <a:gd name="connsiteY1248" fmla="*/ 564583 h 816032"/>
                <a:gd name="connsiteX1249" fmla="*/ 740192 w 866764"/>
                <a:gd name="connsiteY1249" fmla="*/ 563887 h 816032"/>
                <a:gd name="connsiteX1250" fmla="*/ 739254 w 866764"/>
                <a:gd name="connsiteY1250" fmla="*/ 562374 h 816032"/>
                <a:gd name="connsiteX1251" fmla="*/ 740586 w 866764"/>
                <a:gd name="connsiteY1251" fmla="*/ 562374 h 816032"/>
                <a:gd name="connsiteX1252" fmla="*/ 740586 w 866764"/>
                <a:gd name="connsiteY1252" fmla="*/ 561557 h 816032"/>
                <a:gd name="connsiteX1253" fmla="*/ 732085 w 866764"/>
                <a:gd name="connsiteY1253" fmla="*/ 558260 h 816032"/>
                <a:gd name="connsiteX1254" fmla="*/ 730905 w 866764"/>
                <a:gd name="connsiteY1254" fmla="*/ 556838 h 816032"/>
                <a:gd name="connsiteX1255" fmla="*/ 730481 w 866764"/>
                <a:gd name="connsiteY1255" fmla="*/ 558472 h 816032"/>
                <a:gd name="connsiteX1256" fmla="*/ 730814 w 866764"/>
                <a:gd name="connsiteY1256" fmla="*/ 559016 h 816032"/>
                <a:gd name="connsiteX1257" fmla="*/ 731540 w 866764"/>
                <a:gd name="connsiteY1257" fmla="*/ 559258 h 816032"/>
                <a:gd name="connsiteX1258" fmla="*/ 732296 w 866764"/>
                <a:gd name="connsiteY1258" fmla="*/ 559984 h 816032"/>
                <a:gd name="connsiteX1259" fmla="*/ 733174 w 866764"/>
                <a:gd name="connsiteY1259" fmla="*/ 561799 h 816032"/>
                <a:gd name="connsiteX1260" fmla="*/ 733658 w 866764"/>
                <a:gd name="connsiteY1260" fmla="*/ 562405 h 816032"/>
                <a:gd name="connsiteX1261" fmla="*/ 734384 w 866764"/>
                <a:gd name="connsiteY1261" fmla="*/ 563161 h 816032"/>
                <a:gd name="connsiteX1262" fmla="*/ 734777 w 866764"/>
                <a:gd name="connsiteY1262" fmla="*/ 563009 h 816032"/>
                <a:gd name="connsiteX1263" fmla="*/ 735443 w 866764"/>
                <a:gd name="connsiteY1263" fmla="*/ 562646 h 816032"/>
                <a:gd name="connsiteX1264" fmla="*/ 736290 w 866764"/>
                <a:gd name="connsiteY1264" fmla="*/ 562525 h 816032"/>
                <a:gd name="connsiteX1265" fmla="*/ 737137 w 866764"/>
                <a:gd name="connsiteY1265" fmla="*/ 563191 h 816032"/>
                <a:gd name="connsiteX1266" fmla="*/ 737318 w 866764"/>
                <a:gd name="connsiteY1266" fmla="*/ 564038 h 816032"/>
                <a:gd name="connsiteX1267" fmla="*/ 737046 w 866764"/>
                <a:gd name="connsiteY1267" fmla="*/ 564794 h 816032"/>
                <a:gd name="connsiteX1268" fmla="*/ 736653 w 866764"/>
                <a:gd name="connsiteY1268" fmla="*/ 565369 h 816032"/>
                <a:gd name="connsiteX1269" fmla="*/ 736441 w 866764"/>
                <a:gd name="connsiteY1269" fmla="*/ 565611 h 816032"/>
                <a:gd name="connsiteX1270" fmla="*/ 735775 w 866764"/>
                <a:gd name="connsiteY1270" fmla="*/ 566700 h 816032"/>
                <a:gd name="connsiteX1271" fmla="*/ 734898 w 866764"/>
                <a:gd name="connsiteY1271" fmla="*/ 567940 h 816032"/>
                <a:gd name="connsiteX1272" fmla="*/ 734414 w 866764"/>
                <a:gd name="connsiteY1272" fmla="*/ 569332 h 816032"/>
                <a:gd name="connsiteX1273" fmla="*/ 735049 w 866764"/>
                <a:gd name="connsiteY1273" fmla="*/ 571056 h 816032"/>
                <a:gd name="connsiteX1274" fmla="*/ 734414 w 866764"/>
                <a:gd name="connsiteY1274" fmla="*/ 571480 h 816032"/>
                <a:gd name="connsiteX1275" fmla="*/ 733960 w 866764"/>
                <a:gd name="connsiteY1275" fmla="*/ 571964 h 816032"/>
                <a:gd name="connsiteX1276" fmla="*/ 624753 w 866764"/>
                <a:gd name="connsiteY1276" fmla="*/ 551332 h 816032"/>
                <a:gd name="connsiteX1277" fmla="*/ 622242 w 866764"/>
                <a:gd name="connsiteY1277" fmla="*/ 552573 h 816032"/>
                <a:gd name="connsiteX1278" fmla="*/ 621002 w 866764"/>
                <a:gd name="connsiteY1278" fmla="*/ 552996 h 816032"/>
                <a:gd name="connsiteX1279" fmla="*/ 619307 w 866764"/>
                <a:gd name="connsiteY1279" fmla="*/ 552906 h 816032"/>
                <a:gd name="connsiteX1280" fmla="*/ 621334 w 866764"/>
                <a:gd name="connsiteY1280" fmla="*/ 556142 h 816032"/>
                <a:gd name="connsiteX1281" fmla="*/ 621697 w 866764"/>
                <a:gd name="connsiteY1281" fmla="*/ 555900 h 816032"/>
                <a:gd name="connsiteX1282" fmla="*/ 621788 w 866764"/>
                <a:gd name="connsiteY1282" fmla="*/ 555900 h 816032"/>
                <a:gd name="connsiteX1283" fmla="*/ 621788 w 866764"/>
                <a:gd name="connsiteY1283" fmla="*/ 555779 h 816032"/>
                <a:gd name="connsiteX1284" fmla="*/ 622030 w 866764"/>
                <a:gd name="connsiteY1284" fmla="*/ 555296 h 816032"/>
                <a:gd name="connsiteX1285" fmla="*/ 623210 w 866764"/>
                <a:gd name="connsiteY1285" fmla="*/ 556052 h 816032"/>
                <a:gd name="connsiteX1286" fmla="*/ 624208 w 866764"/>
                <a:gd name="connsiteY1286" fmla="*/ 556052 h 816032"/>
                <a:gd name="connsiteX1287" fmla="*/ 624964 w 866764"/>
                <a:gd name="connsiteY1287" fmla="*/ 555416 h 816032"/>
                <a:gd name="connsiteX1288" fmla="*/ 625509 w 866764"/>
                <a:gd name="connsiteY1288" fmla="*/ 554509 h 816032"/>
                <a:gd name="connsiteX1289" fmla="*/ 625025 w 866764"/>
                <a:gd name="connsiteY1289" fmla="*/ 554116 h 816032"/>
                <a:gd name="connsiteX1290" fmla="*/ 624147 w 866764"/>
                <a:gd name="connsiteY1290" fmla="*/ 552936 h 816032"/>
                <a:gd name="connsiteX1291" fmla="*/ 624511 w 866764"/>
                <a:gd name="connsiteY1291" fmla="*/ 552210 h 816032"/>
                <a:gd name="connsiteX1292" fmla="*/ 624783 w 866764"/>
                <a:gd name="connsiteY1292" fmla="*/ 551363 h 816032"/>
                <a:gd name="connsiteX1293" fmla="*/ 561346 w 866764"/>
                <a:gd name="connsiteY1293" fmla="*/ 568515 h 816032"/>
                <a:gd name="connsiteX1294" fmla="*/ 564129 w 866764"/>
                <a:gd name="connsiteY1294" fmla="*/ 566640 h 816032"/>
                <a:gd name="connsiteX1295" fmla="*/ 565399 w 866764"/>
                <a:gd name="connsiteY1295" fmla="*/ 565550 h 816032"/>
                <a:gd name="connsiteX1296" fmla="*/ 566095 w 866764"/>
                <a:gd name="connsiteY1296" fmla="*/ 564764 h 816032"/>
                <a:gd name="connsiteX1297" fmla="*/ 566791 w 866764"/>
                <a:gd name="connsiteY1297" fmla="*/ 563615 h 816032"/>
                <a:gd name="connsiteX1298" fmla="*/ 567245 w 866764"/>
                <a:gd name="connsiteY1298" fmla="*/ 562616 h 816032"/>
                <a:gd name="connsiteX1299" fmla="*/ 567819 w 866764"/>
                <a:gd name="connsiteY1299" fmla="*/ 561890 h 816032"/>
                <a:gd name="connsiteX1300" fmla="*/ 568939 w 866764"/>
                <a:gd name="connsiteY1300" fmla="*/ 561588 h 816032"/>
                <a:gd name="connsiteX1301" fmla="*/ 568939 w 866764"/>
                <a:gd name="connsiteY1301" fmla="*/ 560892 h 816032"/>
                <a:gd name="connsiteX1302" fmla="*/ 567547 w 866764"/>
                <a:gd name="connsiteY1302" fmla="*/ 560892 h 816032"/>
                <a:gd name="connsiteX1303" fmla="*/ 567547 w 866764"/>
                <a:gd name="connsiteY1303" fmla="*/ 560015 h 816032"/>
                <a:gd name="connsiteX1304" fmla="*/ 568939 w 866764"/>
                <a:gd name="connsiteY1304" fmla="*/ 560015 h 816032"/>
                <a:gd name="connsiteX1305" fmla="*/ 568939 w 866764"/>
                <a:gd name="connsiteY1305" fmla="*/ 559228 h 816032"/>
                <a:gd name="connsiteX1306" fmla="*/ 567245 w 866764"/>
                <a:gd name="connsiteY1306" fmla="*/ 558502 h 816032"/>
                <a:gd name="connsiteX1307" fmla="*/ 567245 w 866764"/>
                <a:gd name="connsiteY1307" fmla="*/ 556868 h 816032"/>
                <a:gd name="connsiteX1308" fmla="*/ 568939 w 866764"/>
                <a:gd name="connsiteY1308" fmla="*/ 552936 h 816032"/>
                <a:gd name="connsiteX1309" fmla="*/ 569392 w 866764"/>
                <a:gd name="connsiteY1309" fmla="*/ 552301 h 816032"/>
                <a:gd name="connsiteX1310" fmla="*/ 569786 w 866764"/>
                <a:gd name="connsiteY1310" fmla="*/ 551484 h 816032"/>
                <a:gd name="connsiteX1311" fmla="*/ 570118 w 866764"/>
                <a:gd name="connsiteY1311" fmla="*/ 550606 h 816032"/>
                <a:gd name="connsiteX1312" fmla="*/ 570330 w 866764"/>
                <a:gd name="connsiteY1312" fmla="*/ 549729 h 816032"/>
                <a:gd name="connsiteX1313" fmla="*/ 568969 w 866764"/>
                <a:gd name="connsiteY1313" fmla="*/ 549639 h 816032"/>
                <a:gd name="connsiteX1314" fmla="*/ 567577 w 866764"/>
                <a:gd name="connsiteY1314" fmla="*/ 549729 h 816032"/>
                <a:gd name="connsiteX1315" fmla="*/ 568001 w 866764"/>
                <a:gd name="connsiteY1315" fmla="*/ 550909 h 816032"/>
                <a:gd name="connsiteX1316" fmla="*/ 568273 w 866764"/>
                <a:gd name="connsiteY1316" fmla="*/ 551363 h 816032"/>
                <a:gd name="connsiteX1317" fmla="*/ 566882 w 866764"/>
                <a:gd name="connsiteY1317" fmla="*/ 552936 h 816032"/>
                <a:gd name="connsiteX1318" fmla="*/ 564129 w 866764"/>
                <a:gd name="connsiteY1318" fmla="*/ 552512 h 816032"/>
                <a:gd name="connsiteX1319" fmla="*/ 563342 w 866764"/>
                <a:gd name="connsiteY1319" fmla="*/ 551726 h 816032"/>
                <a:gd name="connsiteX1320" fmla="*/ 564824 w 866764"/>
                <a:gd name="connsiteY1320" fmla="*/ 549699 h 816032"/>
                <a:gd name="connsiteX1321" fmla="*/ 561890 w 866764"/>
                <a:gd name="connsiteY1321" fmla="*/ 550606 h 816032"/>
                <a:gd name="connsiteX1322" fmla="*/ 558744 w 866764"/>
                <a:gd name="connsiteY1322" fmla="*/ 552301 h 816032"/>
                <a:gd name="connsiteX1323" fmla="*/ 555870 w 866764"/>
                <a:gd name="connsiteY1323" fmla="*/ 554479 h 816032"/>
                <a:gd name="connsiteX1324" fmla="*/ 554418 w 866764"/>
                <a:gd name="connsiteY1324" fmla="*/ 556415 h 816032"/>
                <a:gd name="connsiteX1325" fmla="*/ 555084 w 866764"/>
                <a:gd name="connsiteY1325" fmla="*/ 556294 h 816032"/>
                <a:gd name="connsiteX1326" fmla="*/ 555779 w 866764"/>
                <a:gd name="connsiteY1326" fmla="*/ 556475 h 816032"/>
                <a:gd name="connsiteX1327" fmla="*/ 556475 w 866764"/>
                <a:gd name="connsiteY1327" fmla="*/ 556899 h 816032"/>
                <a:gd name="connsiteX1328" fmla="*/ 553359 w 866764"/>
                <a:gd name="connsiteY1328" fmla="*/ 558653 h 816032"/>
                <a:gd name="connsiteX1329" fmla="*/ 552119 w 866764"/>
                <a:gd name="connsiteY1329" fmla="*/ 560015 h 816032"/>
                <a:gd name="connsiteX1330" fmla="*/ 551121 w 866764"/>
                <a:gd name="connsiteY1330" fmla="*/ 564461 h 816032"/>
                <a:gd name="connsiteX1331" fmla="*/ 551121 w 866764"/>
                <a:gd name="connsiteY1331" fmla="*/ 565793 h 816032"/>
                <a:gd name="connsiteX1332" fmla="*/ 551968 w 866764"/>
                <a:gd name="connsiteY1332" fmla="*/ 566398 h 816032"/>
                <a:gd name="connsiteX1333" fmla="*/ 553027 w 866764"/>
                <a:gd name="connsiteY1333" fmla="*/ 566761 h 816032"/>
                <a:gd name="connsiteX1334" fmla="*/ 555174 w 866764"/>
                <a:gd name="connsiteY1334" fmla="*/ 568425 h 816032"/>
                <a:gd name="connsiteX1335" fmla="*/ 556112 w 866764"/>
                <a:gd name="connsiteY1335" fmla="*/ 568818 h 816032"/>
                <a:gd name="connsiteX1336" fmla="*/ 559712 w 866764"/>
                <a:gd name="connsiteY1336" fmla="*/ 568969 h 816032"/>
                <a:gd name="connsiteX1337" fmla="*/ 561316 w 866764"/>
                <a:gd name="connsiteY1337" fmla="*/ 568546 h 816032"/>
                <a:gd name="connsiteX1338" fmla="*/ 725671 w 866764"/>
                <a:gd name="connsiteY1338" fmla="*/ 554297 h 816032"/>
                <a:gd name="connsiteX1339" fmla="*/ 725671 w 866764"/>
                <a:gd name="connsiteY1339" fmla="*/ 555144 h 816032"/>
                <a:gd name="connsiteX1340" fmla="*/ 726942 w 866764"/>
                <a:gd name="connsiteY1340" fmla="*/ 555870 h 816032"/>
                <a:gd name="connsiteX1341" fmla="*/ 728092 w 866764"/>
                <a:gd name="connsiteY1341" fmla="*/ 555991 h 816032"/>
                <a:gd name="connsiteX1342" fmla="*/ 728938 w 866764"/>
                <a:gd name="connsiteY1342" fmla="*/ 555900 h 816032"/>
                <a:gd name="connsiteX1343" fmla="*/ 729483 w 866764"/>
                <a:gd name="connsiteY1343" fmla="*/ 555659 h 816032"/>
                <a:gd name="connsiteX1344" fmla="*/ 729483 w 866764"/>
                <a:gd name="connsiteY1344" fmla="*/ 555235 h 816032"/>
                <a:gd name="connsiteX1345" fmla="*/ 729937 w 866764"/>
                <a:gd name="connsiteY1345" fmla="*/ 555235 h 816032"/>
                <a:gd name="connsiteX1346" fmla="*/ 730663 w 866764"/>
                <a:gd name="connsiteY1346" fmla="*/ 555023 h 816032"/>
                <a:gd name="connsiteX1347" fmla="*/ 730663 w 866764"/>
                <a:gd name="connsiteY1347" fmla="*/ 553753 h 816032"/>
                <a:gd name="connsiteX1348" fmla="*/ 729755 w 866764"/>
                <a:gd name="connsiteY1348" fmla="*/ 552331 h 816032"/>
                <a:gd name="connsiteX1349" fmla="*/ 729120 w 866764"/>
                <a:gd name="connsiteY1349" fmla="*/ 551756 h 816032"/>
                <a:gd name="connsiteX1350" fmla="*/ 728908 w 866764"/>
                <a:gd name="connsiteY1350" fmla="*/ 550969 h 816032"/>
                <a:gd name="connsiteX1351" fmla="*/ 728334 w 866764"/>
                <a:gd name="connsiteY1351" fmla="*/ 549548 h 816032"/>
                <a:gd name="connsiteX1352" fmla="*/ 727335 w 866764"/>
                <a:gd name="connsiteY1352" fmla="*/ 548942 h 816032"/>
                <a:gd name="connsiteX1353" fmla="*/ 726307 w 866764"/>
                <a:gd name="connsiteY1353" fmla="*/ 548519 h 816032"/>
                <a:gd name="connsiteX1354" fmla="*/ 726519 w 866764"/>
                <a:gd name="connsiteY1354" fmla="*/ 547460 h 816032"/>
                <a:gd name="connsiteX1355" fmla="*/ 727214 w 866764"/>
                <a:gd name="connsiteY1355" fmla="*/ 546250 h 816032"/>
                <a:gd name="connsiteX1356" fmla="*/ 726882 w 866764"/>
                <a:gd name="connsiteY1356" fmla="*/ 545615 h 816032"/>
                <a:gd name="connsiteX1357" fmla="*/ 726004 w 866764"/>
                <a:gd name="connsiteY1357" fmla="*/ 545403 h 816032"/>
                <a:gd name="connsiteX1358" fmla="*/ 725369 w 866764"/>
                <a:gd name="connsiteY1358" fmla="*/ 545191 h 816032"/>
                <a:gd name="connsiteX1359" fmla="*/ 724976 w 866764"/>
                <a:gd name="connsiteY1359" fmla="*/ 544980 h 816032"/>
                <a:gd name="connsiteX1360" fmla="*/ 724582 w 866764"/>
                <a:gd name="connsiteY1360" fmla="*/ 544828 h 816032"/>
                <a:gd name="connsiteX1361" fmla="*/ 724189 w 866764"/>
                <a:gd name="connsiteY1361" fmla="*/ 544919 h 816032"/>
                <a:gd name="connsiteX1362" fmla="*/ 723614 w 866764"/>
                <a:gd name="connsiteY1362" fmla="*/ 544738 h 816032"/>
                <a:gd name="connsiteX1363" fmla="*/ 722707 w 866764"/>
                <a:gd name="connsiteY1363" fmla="*/ 544102 h 816032"/>
                <a:gd name="connsiteX1364" fmla="*/ 721920 w 866764"/>
                <a:gd name="connsiteY1364" fmla="*/ 544223 h 816032"/>
                <a:gd name="connsiteX1365" fmla="*/ 722011 w 866764"/>
                <a:gd name="connsiteY1365" fmla="*/ 545010 h 816032"/>
                <a:gd name="connsiteX1366" fmla="*/ 721708 w 866764"/>
                <a:gd name="connsiteY1366" fmla="*/ 545222 h 816032"/>
                <a:gd name="connsiteX1367" fmla="*/ 720317 w 866764"/>
                <a:gd name="connsiteY1367" fmla="*/ 545131 h 816032"/>
                <a:gd name="connsiteX1368" fmla="*/ 719167 w 866764"/>
                <a:gd name="connsiteY1368" fmla="*/ 546160 h 816032"/>
                <a:gd name="connsiteX1369" fmla="*/ 719530 w 866764"/>
                <a:gd name="connsiteY1369" fmla="*/ 547672 h 816032"/>
                <a:gd name="connsiteX1370" fmla="*/ 720740 w 866764"/>
                <a:gd name="connsiteY1370" fmla="*/ 548549 h 816032"/>
                <a:gd name="connsiteX1371" fmla="*/ 721436 w 866764"/>
                <a:gd name="connsiteY1371" fmla="*/ 549336 h 816032"/>
                <a:gd name="connsiteX1372" fmla="*/ 722586 w 866764"/>
                <a:gd name="connsiteY1372" fmla="*/ 549759 h 816032"/>
                <a:gd name="connsiteX1373" fmla="*/ 723644 w 866764"/>
                <a:gd name="connsiteY1373" fmla="*/ 550365 h 816032"/>
                <a:gd name="connsiteX1374" fmla="*/ 723372 w 866764"/>
                <a:gd name="connsiteY1374" fmla="*/ 551332 h 816032"/>
                <a:gd name="connsiteX1375" fmla="*/ 722979 w 866764"/>
                <a:gd name="connsiteY1375" fmla="*/ 552361 h 816032"/>
                <a:gd name="connsiteX1376" fmla="*/ 723675 w 866764"/>
                <a:gd name="connsiteY1376" fmla="*/ 553450 h 816032"/>
                <a:gd name="connsiteX1377" fmla="*/ 724945 w 866764"/>
                <a:gd name="connsiteY1377" fmla="*/ 553571 h 816032"/>
                <a:gd name="connsiteX1378" fmla="*/ 726276 w 866764"/>
                <a:gd name="connsiteY1378" fmla="*/ 552815 h 816032"/>
                <a:gd name="connsiteX1379" fmla="*/ 727214 w 866764"/>
                <a:gd name="connsiteY1379" fmla="*/ 552875 h 816032"/>
                <a:gd name="connsiteX1380" fmla="*/ 726821 w 866764"/>
                <a:gd name="connsiteY1380" fmla="*/ 553662 h 816032"/>
                <a:gd name="connsiteX1381" fmla="*/ 725702 w 866764"/>
                <a:gd name="connsiteY1381" fmla="*/ 554327 h 816032"/>
                <a:gd name="connsiteX1382" fmla="*/ 593715 w 866764"/>
                <a:gd name="connsiteY1382" fmla="*/ 571934 h 816032"/>
                <a:gd name="connsiteX1383" fmla="*/ 595136 w 866764"/>
                <a:gd name="connsiteY1383" fmla="*/ 571389 h 816032"/>
                <a:gd name="connsiteX1384" fmla="*/ 595832 w 866764"/>
                <a:gd name="connsiteY1384" fmla="*/ 571238 h 816032"/>
                <a:gd name="connsiteX1385" fmla="*/ 596347 w 866764"/>
                <a:gd name="connsiteY1385" fmla="*/ 570815 h 816032"/>
                <a:gd name="connsiteX1386" fmla="*/ 599190 w 866764"/>
                <a:gd name="connsiteY1386" fmla="*/ 565187 h 816032"/>
                <a:gd name="connsiteX1387" fmla="*/ 599432 w 866764"/>
                <a:gd name="connsiteY1387" fmla="*/ 562646 h 816032"/>
                <a:gd name="connsiteX1388" fmla="*/ 600400 w 866764"/>
                <a:gd name="connsiteY1388" fmla="*/ 557897 h 816032"/>
                <a:gd name="connsiteX1389" fmla="*/ 600642 w 866764"/>
                <a:gd name="connsiteY1389" fmla="*/ 555719 h 816032"/>
                <a:gd name="connsiteX1390" fmla="*/ 600370 w 866764"/>
                <a:gd name="connsiteY1390" fmla="*/ 550758 h 816032"/>
                <a:gd name="connsiteX1391" fmla="*/ 599735 w 866764"/>
                <a:gd name="connsiteY1391" fmla="*/ 548670 h 816032"/>
                <a:gd name="connsiteX1392" fmla="*/ 598555 w 866764"/>
                <a:gd name="connsiteY1392" fmla="*/ 546583 h 816032"/>
                <a:gd name="connsiteX1393" fmla="*/ 596074 w 866764"/>
                <a:gd name="connsiteY1393" fmla="*/ 544828 h 816032"/>
                <a:gd name="connsiteX1394" fmla="*/ 594441 w 866764"/>
                <a:gd name="connsiteY1394" fmla="*/ 544042 h 816032"/>
                <a:gd name="connsiteX1395" fmla="*/ 593684 w 866764"/>
                <a:gd name="connsiteY1395" fmla="*/ 544556 h 816032"/>
                <a:gd name="connsiteX1396" fmla="*/ 593291 w 866764"/>
                <a:gd name="connsiteY1396" fmla="*/ 544919 h 816032"/>
                <a:gd name="connsiteX1397" fmla="*/ 591294 w 866764"/>
                <a:gd name="connsiteY1397" fmla="*/ 545101 h 816032"/>
                <a:gd name="connsiteX1398" fmla="*/ 590568 w 866764"/>
                <a:gd name="connsiteY1398" fmla="*/ 545403 h 816032"/>
                <a:gd name="connsiteX1399" fmla="*/ 589056 w 866764"/>
                <a:gd name="connsiteY1399" fmla="*/ 547853 h 816032"/>
                <a:gd name="connsiteX1400" fmla="*/ 588481 w 866764"/>
                <a:gd name="connsiteY1400" fmla="*/ 548549 h 816032"/>
                <a:gd name="connsiteX1401" fmla="*/ 581917 w 866764"/>
                <a:gd name="connsiteY1401" fmla="*/ 552936 h 816032"/>
                <a:gd name="connsiteX1402" fmla="*/ 578135 w 866764"/>
                <a:gd name="connsiteY1402" fmla="*/ 556959 h 816032"/>
                <a:gd name="connsiteX1403" fmla="*/ 577107 w 866764"/>
                <a:gd name="connsiteY1403" fmla="*/ 557685 h 816032"/>
                <a:gd name="connsiteX1404" fmla="*/ 576623 w 866764"/>
                <a:gd name="connsiteY1404" fmla="*/ 557141 h 816032"/>
                <a:gd name="connsiteX1405" fmla="*/ 576169 w 866764"/>
                <a:gd name="connsiteY1405" fmla="*/ 556989 h 816032"/>
                <a:gd name="connsiteX1406" fmla="*/ 575655 w 866764"/>
                <a:gd name="connsiteY1406" fmla="*/ 557171 h 816032"/>
                <a:gd name="connsiteX1407" fmla="*/ 575080 w 866764"/>
                <a:gd name="connsiteY1407" fmla="*/ 557685 h 816032"/>
                <a:gd name="connsiteX1408" fmla="*/ 575080 w 866764"/>
                <a:gd name="connsiteY1408" fmla="*/ 558381 h 816032"/>
                <a:gd name="connsiteX1409" fmla="*/ 576441 w 866764"/>
                <a:gd name="connsiteY1409" fmla="*/ 559016 h 816032"/>
                <a:gd name="connsiteX1410" fmla="*/ 577591 w 866764"/>
                <a:gd name="connsiteY1410" fmla="*/ 560378 h 816032"/>
                <a:gd name="connsiteX1411" fmla="*/ 579134 w 866764"/>
                <a:gd name="connsiteY1411" fmla="*/ 563221 h 816032"/>
                <a:gd name="connsiteX1412" fmla="*/ 579013 w 866764"/>
                <a:gd name="connsiteY1412" fmla="*/ 563433 h 816032"/>
                <a:gd name="connsiteX1413" fmla="*/ 578891 w 866764"/>
                <a:gd name="connsiteY1413" fmla="*/ 564159 h 816032"/>
                <a:gd name="connsiteX1414" fmla="*/ 578982 w 866764"/>
                <a:gd name="connsiteY1414" fmla="*/ 565097 h 816032"/>
                <a:gd name="connsiteX1415" fmla="*/ 579466 w 866764"/>
                <a:gd name="connsiteY1415" fmla="*/ 565974 h 816032"/>
                <a:gd name="connsiteX1416" fmla="*/ 580041 w 866764"/>
                <a:gd name="connsiteY1416" fmla="*/ 566730 h 816032"/>
                <a:gd name="connsiteX1417" fmla="*/ 580313 w 866764"/>
                <a:gd name="connsiteY1417" fmla="*/ 567456 h 816032"/>
                <a:gd name="connsiteX1418" fmla="*/ 580253 w 866764"/>
                <a:gd name="connsiteY1418" fmla="*/ 568152 h 816032"/>
                <a:gd name="connsiteX1419" fmla="*/ 579799 w 866764"/>
                <a:gd name="connsiteY1419" fmla="*/ 568788 h 816032"/>
                <a:gd name="connsiteX1420" fmla="*/ 582582 w 866764"/>
                <a:gd name="connsiteY1420" fmla="*/ 570361 h 816032"/>
                <a:gd name="connsiteX1421" fmla="*/ 583248 w 866764"/>
                <a:gd name="connsiteY1421" fmla="*/ 571087 h 816032"/>
                <a:gd name="connsiteX1422" fmla="*/ 583581 w 866764"/>
                <a:gd name="connsiteY1422" fmla="*/ 571964 h 816032"/>
                <a:gd name="connsiteX1423" fmla="*/ 584185 w 866764"/>
                <a:gd name="connsiteY1423" fmla="*/ 574263 h 816032"/>
                <a:gd name="connsiteX1424" fmla="*/ 584639 w 866764"/>
                <a:gd name="connsiteY1424" fmla="*/ 575110 h 816032"/>
                <a:gd name="connsiteX1425" fmla="*/ 585335 w 866764"/>
                <a:gd name="connsiteY1425" fmla="*/ 575806 h 816032"/>
                <a:gd name="connsiteX1426" fmla="*/ 585728 w 866764"/>
                <a:gd name="connsiteY1426" fmla="*/ 575957 h 816032"/>
                <a:gd name="connsiteX1427" fmla="*/ 585970 w 866764"/>
                <a:gd name="connsiteY1427" fmla="*/ 576683 h 816032"/>
                <a:gd name="connsiteX1428" fmla="*/ 587089 w 866764"/>
                <a:gd name="connsiteY1428" fmla="*/ 575987 h 816032"/>
                <a:gd name="connsiteX1429" fmla="*/ 588995 w 866764"/>
                <a:gd name="connsiteY1429" fmla="*/ 575534 h 816032"/>
                <a:gd name="connsiteX1430" fmla="*/ 590145 w 866764"/>
                <a:gd name="connsiteY1430" fmla="*/ 575110 h 816032"/>
                <a:gd name="connsiteX1431" fmla="*/ 593624 w 866764"/>
                <a:gd name="connsiteY1431" fmla="*/ 571964 h 816032"/>
                <a:gd name="connsiteX1432" fmla="*/ 493703 w 866764"/>
                <a:gd name="connsiteY1432" fmla="*/ 552210 h 816032"/>
                <a:gd name="connsiteX1433" fmla="*/ 493915 w 866764"/>
                <a:gd name="connsiteY1433" fmla="*/ 550122 h 816032"/>
                <a:gd name="connsiteX1434" fmla="*/ 493915 w 866764"/>
                <a:gd name="connsiteY1434" fmla="*/ 547884 h 816032"/>
                <a:gd name="connsiteX1435" fmla="*/ 493643 w 866764"/>
                <a:gd name="connsiteY1435" fmla="*/ 545797 h 816032"/>
                <a:gd name="connsiteX1436" fmla="*/ 493038 w 866764"/>
                <a:gd name="connsiteY1436" fmla="*/ 544163 h 816032"/>
                <a:gd name="connsiteX1437" fmla="*/ 492463 w 866764"/>
                <a:gd name="connsiteY1437" fmla="*/ 543679 h 816032"/>
                <a:gd name="connsiteX1438" fmla="*/ 491888 w 866764"/>
                <a:gd name="connsiteY1438" fmla="*/ 543437 h 816032"/>
                <a:gd name="connsiteX1439" fmla="*/ 491374 w 866764"/>
                <a:gd name="connsiteY1439" fmla="*/ 543558 h 816032"/>
                <a:gd name="connsiteX1440" fmla="*/ 490920 w 866764"/>
                <a:gd name="connsiteY1440" fmla="*/ 544163 h 816032"/>
                <a:gd name="connsiteX1441" fmla="*/ 490255 w 866764"/>
                <a:gd name="connsiteY1441" fmla="*/ 544163 h 816032"/>
                <a:gd name="connsiteX1442" fmla="*/ 488954 w 866764"/>
                <a:gd name="connsiteY1442" fmla="*/ 543407 h 816032"/>
                <a:gd name="connsiteX1443" fmla="*/ 487199 w 866764"/>
                <a:gd name="connsiteY1443" fmla="*/ 543891 h 816032"/>
                <a:gd name="connsiteX1444" fmla="*/ 483993 w 866764"/>
                <a:gd name="connsiteY1444" fmla="*/ 545827 h 816032"/>
                <a:gd name="connsiteX1445" fmla="*/ 484749 w 866764"/>
                <a:gd name="connsiteY1445" fmla="*/ 546613 h 816032"/>
                <a:gd name="connsiteX1446" fmla="*/ 483842 w 866764"/>
                <a:gd name="connsiteY1446" fmla="*/ 546976 h 816032"/>
                <a:gd name="connsiteX1447" fmla="*/ 483630 w 866764"/>
                <a:gd name="connsiteY1447" fmla="*/ 547370 h 816032"/>
                <a:gd name="connsiteX1448" fmla="*/ 483962 w 866764"/>
                <a:gd name="connsiteY1448" fmla="*/ 548216 h 816032"/>
                <a:gd name="connsiteX1449" fmla="*/ 483115 w 866764"/>
                <a:gd name="connsiteY1449" fmla="*/ 548822 h 816032"/>
                <a:gd name="connsiteX1450" fmla="*/ 482631 w 866764"/>
                <a:gd name="connsiteY1450" fmla="*/ 549396 h 816032"/>
                <a:gd name="connsiteX1451" fmla="*/ 482692 w 866764"/>
                <a:gd name="connsiteY1451" fmla="*/ 549941 h 816032"/>
                <a:gd name="connsiteX1452" fmla="*/ 483418 w 866764"/>
                <a:gd name="connsiteY1452" fmla="*/ 550576 h 816032"/>
                <a:gd name="connsiteX1453" fmla="*/ 482541 w 866764"/>
                <a:gd name="connsiteY1453" fmla="*/ 551302 h 816032"/>
                <a:gd name="connsiteX1454" fmla="*/ 482268 w 866764"/>
                <a:gd name="connsiteY1454" fmla="*/ 551574 h 816032"/>
                <a:gd name="connsiteX1455" fmla="*/ 482601 w 866764"/>
                <a:gd name="connsiteY1455" fmla="*/ 552936 h 816032"/>
                <a:gd name="connsiteX1456" fmla="*/ 483176 w 866764"/>
                <a:gd name="connsiteY1456" fmla="*/ 552210 h 816032"/>
                <a:gd name="connsiteX1457" fmla="*/ 483811 w 866764"/>
                <a:gd name="connsiteY1457" fmla="*/ 551756 h 816032"/>
                <a:gd name="connsiteX1458" fmla="*/ 484568 w 866764"/>
                <a:gd name="connsiteY1458" fmla="*/ 551756 h 816032"/>
                <a:gd name="connsiteX1459" fmla="*/ 485414 w 866764"/>
                <a:gd name="connsiteY1459" fmla="*/ 552210 h 816032"/>
                <a:gd name="connsiteX1460" fmla="*/ 485929 w 866764"/>
                <a:gd name="connsiteY1460" fmla="*/ 551544 h 816032"/>
                <a:gd name="connsiteX1461" fmla="*/ 486292 w 866764"/>
                <a:gd name="connsiteY1461" fmla="*/ 551393 h 816032"/>
                <a:gd name="connsiteX1462" fmla="*/ 486564 w 866764"/>
                <a:gd name="connsiteY1462" fmla="*/ 551817 h 816032"/>
                <a:gd name="connsiteX1463" fmla="*/ 486776 w 866764"/>
                <a:gd name="connsiteY1463" fmla="*/ 552936 h 816032"/>
                <a:gd name="connsiteX1464" fmla="*/ 487623 w 866764"/>
                <a:gd name="connsiteY1464" fmla="*/ 552421 h 816032"/>
                <a:gd name="connsiteX1465" fmla="*/ 488470 w 866764"/>
                <a:gd name="connsiteY1465" fmla="*/ 552270 h 816032"/>
                <a:gd name="connsiteX1466" fmla="*/ 489347 w 866764"/>
                <a:gd name="connsiteY1466" fmla="*/ 552452 h 816032"/>
                <a:gd name="connsiteX1467" fmla="*/ 490225 w 866764"/>
                <a:gd name="connsiteY1467" fmla="*/ 552936 h 816032"/>
                <a:gd name="connsiteX1468" fmla="*/ 489922 w 866764"/>
                <a:gd name="connsiteY1468" fmla="*/ 553057 h 816032"/>
                <a:gd name="connsiteX1469" fmla="*/ 489680 w 866764"/>
                <a:gd name="connsiteY1469" fmla="*/ 553057 h 816032"/>
                <a:gd name="connsiteX1470" fmla="*/ 489499 w 866764"/>
                <a:gd name="connsiteY1470" fmla="*/ 553117 h 816032"/>
                <a:gd name="connsiteX1471" fmla="*/ 489559 w 866764"/>
                <a:gd name="connsiteY1471" fmla="*/ 553632 h 816032"/>
                <a:gd name="connsiteX1472" fmla="*/ 489862 w 866764"/>
                <a:gd name="connsiteY1472" fmla="*/ 553904 h 816032"/>
                <a:gd name="connsiteX1473" fmla="*/ 489952 w 866764"/>
                <a:gd name="connsiteY1473" fmla="*/ 554025 h 816032"/>
                <a:gd name="connsiteX1474" fmla="*/ 490013 w 866764"/>
                <a:gd name="connsiteY1474" fmla="*/ 554176 h 816032"/>
                <a:gd name="connsiteX1475" fmla="*/ 490255 w 866764"/>
                <a:gd name="connsiteY1475" fmla="*/ 554509 h 816032"/>
                <a:gd name="connsiteX1476" fmla="*/ 491223 w 866764"/>
                <a:gd name="connsiteY1476" fmla="*/ 553843 h 816032"/>
                <a:gd name="connsiteX1477" fmla="*/ 491949 w 866764"/>
                <a:gd name="connsiteY1477" fmla="*/ 553057 h 816032"/>
                <a:gd name="connsiteX1478" fmla="*/ 492312 w 866764"/>
                <a:gd name="connsiteY1478" fmla="*/ 551998 h 816032"/>
                <a:gd name="connsiteX1479" fmla="*/ 492312 w 866764"/>
                <a:gd name="connsiteY1479" fmla="*/ 550576 h 816032"/>
                <a:gd name="connsiteX1480" fmla="*/ 493038 w 866764"/>
                <a:gd name="connsiteY1480" fmla="*/ 550576 h 816032"/>
                <a:gd name="connsiteX1481" fmla="*/ 493673 w 866764"/>
                <a:gd name="connsiteY1481" fmla="*/ 552240 h 816032"/>
                <a:gd name="connsiteX1482" fmla="*/ 354698 w 866764"/>
                <a:gd name="connsiteY1482" fmla="*/ 535239 h 816032"/>
                <a:gd name="connsiteX1483" fmla="*/ 353034 w 866764"/>
                <a:gd name="connsiteY1483" fmla="*/ 534331 h 816032"/>
                <a:gd name="connsiteX1484" fmla="*/ 352429 w 866764"/>
                <a:gd name="connsiteY1484" fmla="*/ 533877 h 816032"/>
                <a:gd name="connsiteX1485" fmla="*/ 351431 w 866764"/>
                <a:gd name="connsiteY1485" fmla="*/ 533968 h 816032"/>
                <a:gd name="connsiteX1486" fmla="*/ 350523 w 866764"/>
                <a:gd name="connsiteY1486" fmla="*/ 534240 h 816032"/>
                <a:gd name="connsiteX1487" fmla="*/ 349706 w 866764"/>
                <a:gd name="connsiteY1487" fmla="*/ 534755 h 816032"/>
                <a:gd name="connsiteX1488" fmla="*/ 349011 w 866764"/>
                <a:gd name="connsiteY1488" fmla="*/ 535481 h 816032"/>
                <a:gd name="connsiteX1489" fmla="*/ 350493 w 866764"/>
                <a:gd name="connsiteY1489" fmla="*/ 536691 h 816032"/>
                <a:gd name="connsiteX1490" fmla="*/ 351492 w 866764"/>
                <a:gd name="connsiteY1490" fmla="*/ 538022 h 816032"/>
                <a:gd name="connsiteX1491" fmla="*/ 352701 w 866764"/>
                <a:gd name="connsiteY1491" fmla="*/ 539080 h 816032"/>
                <a:gd name="connsiteX1492" fmla="*/ 354819 w 866764"/>
                <a:gd name="connsiteY1492" fmla="*/ 539504 h 816032"/>
                <a:gd name="connsiteX1493" fmla="*/ 355848 w 866764"/>
                <a:gd name="connsiteY1493" fmla="*/ 539020 h 816032"/>
                <a:gd name="connsiteX1494" fmla="*/ 356090 w 866764"/>
                <a:gd name="connsiteY1494" fmla="*/ 537901 h 816032"/>
                <a:gd name="connsiteX1495" fmla="*/ 355848 w 866764"/>
                <a:gd name="connsiteY1495" fmla="*/ 536691 h 816032"/>
                <a:gd name="connsiteX1496" fmla="*/ 355454 w 866764"/>
                <a:gd name="connsiteY1496" fmla="*/ 535874 h 816032"/>
                <a:gd name="connsiteX1497" fmla="*/ 354698 w 866764"/>
                <a:gd name="connsiteY1497" fmla="*/ 535239 h 816032"/>
                <a:gd name="connsiteX1498" fmla="*/ 392149 w 866764"/>
                <a:gd name="connsiteY1498" fmla="*/ 527162 h 816032"/>
                <a:gd name="connsiteX1499" fmla="*/ 394600 w 866764"/>
                <a:gd name="connsiteY1499" fmla="*/ 526768 h 816032"/>
                <a:gd name="connsiteX1500" fmla="*/ 396990 w 866764"/>
                <a:gd name="connsiteY1500" fmla="*/ 525800 h 816032"/>
                <a:gd name="connsiteX1501" fmla="*/ 398593 w 866764"/>
                <a:gd name="connsiteY1501" fmla="*/ 524348 h 816032"/>
                <a:gd name="connsiteX1502" fmla="*/ 395144 w 866764"/>
                <a:gd name="connsiteY1502" fmla="*/ 524348 h 816032"/>
                <a:gd name="connsiteX1503" fmla="*/ 393087 w 866764"/>
                <a:gd name="connsiteY1503" fmla="*/ 525165 h 816032"/>
                <a:gd name="connsiteX1504" fmla="*/ 388550 w 866764"/>
                <a:gd name="connsiteY1504" fmla="*/ 525225 h 816032"/>
                <a:gd name="connsiteX1505" fmla="*/ 386129 w 866764"/>
                <a:gd name="connsiteY1505" fmla="*/ 525951 h 816032"/>
                <a:gd name="connsiteX1506" fmla="*/ 377145 w 866764"/>
                <a:gd name="connsiteY1506" fmla="*/ 531488 h 816032"/>
                <a:gd name="connsiteX1507" fmla="*/ 377145 w 866764"/>
                <a:gd name="connsiteY1507" fmla="*/ 532304 h 816032"/>
                <a:gd name="connsiteX1508" fmla="*/ 379383 w 866764"/>
                <a:gd name="connsiteY1508" fmla="*/ 532244 h 816032"/>
                <a:gd name="connsiteX1509" fmla="*/ 385131 w 866764"/>
                <a:gd name="connsiteY1509" fmla="*/ 530701 h 816032"/>
                <a:gd name="connsiteX1510" fmla="*/ 387400 w 866764"/>
                <a:gd name="connsiteY1510" fmla="*/ 530641 h 816032"/>
                <a:gd name="connsiteX1511" fmla="*/ 389487 w 866764"/>
                <a:gd name="connsiteY1511" fmla="*/ 530278 h 816032"/>
                <a:gd name="connsiteX1512" fmla="*/ 390697 w 866764"/>
                <a:gd name="connsiteY1512" fmla="*/ 529128 h 816032"/>
                <a:gd name="connsiteX1513" fmla="*/ 390334 w 866764"/>
                <a:gd name="connsiteY1513" fmla="*/ 526829 h 816032"/>
                <a:gd name="connsiteX1514" fmla="*/ 392180 w 866764"/>
                <a:gd name="connsiteY1514" fmla="*/ 527222 h 816032"/>
                <a:gd name="connsiteX1515" fmla="*/ 701652 w 866764"/>
                <a:gd name="connsiteY1515" fmla="*/ 526133 h 816032"/>
                <a:gd name="connsiteX1516" fmla="*/ 701440 w 866764"/>
                <a:gd name="connsiteY1516" fmla="*/ 525679 h 816032"/>
                <a:gd name="connsiteX1517" fmla="*/ 700805 w 866764"/>
                <a:gd name="connsiteY1517" fmla="*/ 525074 h 816032"/>
                <a:gd name="connsiteX1518" fmla="*/ 699806 w 866764"/>
                <a:gd name="connsiteY1518" fmla="*/ 524439 h 816032"/>
                <a:gd name="connsiteX1519" fmla="*/ 698597 w 866764"/>
                <a:gd name="connsiteY1519" fmla="*/ 523925 h 816032"/>
                <a:gd name="connsiteX1520" fmla="*/ 697386 w 866764"/>
                <a:gd name="connsiteY1520" fmla="*/ 524197 h 816032"/>
                <a:gd name="connsiteX1521" fmla="*/ 696267 w 866764"/>
                <a:gd name="connsiteY1521" fmla="*/ 524076 h 816032"/>
                <a:gd name="connsiteX1522" fmla="*/ 695390 w 866764"/>
                <a:gd name="connsiteY1522" fmla="*/ 524136 h 816032"/>
                <a:gd name="connsiteX1523" fmla="*/ 695118 w 866764"/>
                <a:gd name="connsiteY1523" fmla="*/ 525528 h 816032"/>
                <a:gd name="connsiteX1524" fmla="*/ 695329 w 866764"/>
                <a:gd name="connsiteY1524" fmla="*/ 527101 h 816032"/>
                <a:gd name="connsiteX1525" fmla="*/ 695632 w 866764"/>
                <a:gd name="connsiteY1525" fmla="*/ 528129 h 816032"/>
                <a:gd name="connsiteX1526" fmla="*/ 695481 w 866764"/>
                <a:gd name="connsiteY1526" fmla="*/ 528916 h 816032"/>
                <a:gd name="connsiteX1527" fmla="*/ 695118 w 866764"/>
                <a:gd name="connsiteY1527" fmla="*/ 529642 h 816032"/>
                <a:gd name="connsiteX1528" fmla="*/ 694573 w 866764"/>
                <a:gd name="connsiteY1528" fmla="*/ 532486 h 816032"/>
                <a:gd name="connsiteX1529" fmla="*/ 694996 w 866764"/>
                <a:gd name="connsiteY1529" fmla="*/ 533514 h 816032"/>
                <a:gd name="connsiteX1530" fmla="*/ 696207 w 866764"/>
                <a:gd name="connsiteY1530" fmla="*/ 533908 h 816032"/>
                <a:gd name="connsiteX1531" fmla="*/ 696479 w 866764"/>
                <a:gd name="connsiteY1531" fmla="*/ 534452 h 816032"/>
                <a:gd name="connsiteX1532" fmla="*/ 696388 w 866764"/>
                <a:gd name="connsiteY1532" fmla="*/ 535209 h 816032"/>
                <a:gd name="connsiteX1533" fmla="*/ 697477 w 866764"/>
                <a:gd name="connsiteY1533" fmla="*/ 535904 h 816032"/>
                <a:gd name="connsiteX1534" fmla="*/ 698536 w 866764"/>
                <a:gd name="connsiteY1534" fmla="*/ 535511 h 816032"/>
                <a:gd name="connsiteX1535" fmla="*/ 698294 w 866764"/>
                <a:gd name="connsiteY1535" fmla="*/ 531608 h 816032"/>
                <a:gd name="connsiteX1536" fmla="*/ 697144 w 866764"/>
                <a:gd name="connsiteY1536" fmla="*/ 530278 h 816032"/>
                <a:gd name="connsiteX1537" fmla="*/ 696630 w 866764"/>
                <a:gd name="connsiteY1537" fmla="*/ 529491 h 816032"/>
                <a:gd name="connsiteX1538" fmla="*/ 697235 w 866764"/>
                <a:gd name="connsiteY1538" fmla="*/ 529430 h 816032"/>
                <a:gd name="connsiteX1539" fmla="*/ 697598 w 866764"/>
                <a:gd name="connsiteY1539" fmla="*/ 529128 h 816032"/>
                <a:gd name="connsiteX1540" fmla="*/ 697749 w 866764"/>
                <a:gd name="connsiteY1540" fmla="*/ 528583 h 816032"/>
                <a:gd name="connsiteX1541" fmla="*/ 698143 w 866764"/>
                <a:gd name="connsiteY1541" fmla="*/ 527736 h 816032"/>
                <a:gd name="connsiteX1542" fmla="*/ 699020 w 866764"/>
                <a:gd name="connsiteY1542" fmla="*/ 527101 h 816032"/>
                <a:gd name="connsiteX1543" fmla="*/ 699897 w 866764"/>
                <a:gd name="connsiteY1543" fmla="*/ 527162 h 816032"/>
                <a:gd name="connsiteX1544" fmla="*/ 700260 w 866764"/>
                <a:gd name="connsiteY1544" fmla="*/ 527283 h 816032"/>
                <a:gd name="connsiteX1545" fmla="*/ 700623 w 866764"/>
                <a:gd name="connsiteY1545" fmla="*/ 527373 h 816032"/>
                <a:gd name="connsiteX1546" fmla="*/ 701289 w 866764"/>
                <a:gd name="connsiteY1546" fmla="*/ 527736 h 816032"/>
                <a:gd name="connsiteX1547" fmla="*/ 701833 w 866764"/>
                <a:gd name="connsiteY1547" fmla="*/ 528220 h 816032"/>
                <a:gd name="connsiteX1548" fmla="*/ 702378 w 866764"/>
                <a:gd name="connsiteY1548" fmla="*/ 527978 h 816032"/>
                <a:gd name="connsiteX1549" fmla="*/ 702136 w 866764"/>
                <a:gd name="connsiteY1549" fmla="*/ 526829 h 816032"/>
                <a:gd name="connsiteX1550" fmla="*/ 701652 w 866764"/>
                <a:gd name="connsiteY1550" fmla="*/ 526133 h 816032"/>
                <a:gd name="connsiteX1551" fmla="*/ 478941 w 866764"/>
                <a:gd name="connsiteY1551" fmla="*/ 525467 h 816032"/>
                <a:gd name="connsiteX1552" fmla="*/ 478063 w 866764"/>
                <a:gd name="connsiteY1552" fmla="*/ 527343 h 816032"/>
                <a:gd name="connsiteX1553" fmla="*/ 477156 w 866764"/>
                <a:gd name="connsiteY1553" fmla="*/ 531427 h 816032"/>
                <a:gd name="connsiteX1554" fmla="*/ 479274 w 866764"/>
                <a:gd name="connsiteY1554" fmla="*/ 530913 h 816032"/>
                <a:gd name="connsiteX1555" fmla="*/ 481573 w 866764"/>
                <a:gd name="connsiteY1555" fmla="*/ 529763 h 816032"/>
                <a:gd name="connsiteX1556" fmla="*/ 483357 w 866764"/>
                <a:gd name="connsiteY1556" fmla="*/ 528039 h 816032"/>
                <a:gd name="connsiteX1557" fmla="*/ 484749 w 866764"/>
                <a:gd name="connsiteY1557" fmla="*/ 526768 h 816032"/>
                <a:gd name="connsiteX1558" fmla="*/ 484991 w 866764"/>
                <a:gd name="connsiteY1558" fmla="*/ 524923 h 816032"/>
                <a:gd name="connsiteX1559" fmla="*/ 485657 w 866764"/>
                <a:gd name="connsiteY1559" fmla="*/ 522866 h 816032"/>
                <a:gd name="connsiteX1560" fmla="*/ 486715 w 866764"/>
                <a:gd name="connsiteY1560" fmla="*/ 521595 h 816032"/>
                <a:gd name="connsiteX1561" fmla="*/ 488167 w 866764"/>
                <a:gd name="connsiteY1561" fmla="*/ 522019 h 816032"/>
                <a:gd name="connsiteX1562" fmla="*/ 488651 w 866764"/>
                <a:gd name="connsiteY1562" fmla="*/ 519508 h 816032"/>
                <a:gd name="connsiteX1563" fmla="*/ 487320 w 866764"/>
                <a:gd name="connsiteY1563" fmla="*/ 517753 h 816032"/>
                <a:gd name="connsiteX1564" fmla="*/ 483418 w 866764"/>
                <a:gd name="connsiteY1564" fmla="*/ 515606 h 816032"/>
                <a:gd name="connsiteX1565" fmla="*/ 483811 w 866764"/>
                <a:gd name="connsiteY1565" fmla="*/ 515061 h 816032"/>
                <a:gd name="connsiteX1566" fmla="*/ 484477 w 866764"/>
                <a:gd name="connsiteY1566" fmla="*/ 513427 h 816032"/>
                <a:gd name="connsiteX1567" fmla="*/ 484719 w 866764"/>
                <a:gd name="connsiteY1567" fmla="*/ 512520 h 816032"/>
                <a:gd name="connsiteX1568" fmla="*/ 484719 w 866764"/>
                <a:gd name="connsiteY1568" fmla="*/ 510856 h 816032"/>
                <a:gd name="connsiteX1569" fmla="*/ 483962 w 866764"/>
                <a:gd name="connsiteY1569" fmla="*/ 510856 h 816032"/>
                <a:gd name="connsiteX1570" fmla="*/ 482268 w 866764"/>
                <a:gd name="connsiteY1570" fmla="*/ 512641 h 816032"/>
                <a:gd name="connsiteX1571" fmla="*/ 479878 w 866764"/>
                <a:gd name="connsiteY1571" fmla="*/ 514335 h 816032"/>
                <a:gd name="connsiteX1572" fmla="*/ 477791 w 866764"/>
                <a:gd name="connsiteY1572" fmla="*/ 516483 h 816032"/>
                <a:gd name="connsiteX1573" fmla="*/ 477095 w 866764"/>
                <a:gd name="connsiteY1573" fmla="*/ 519568 h 816032"/>
                <a:gd name="connsiteX1574" fmla="*/ 478759 w 866764"/>
                <a:gd name="connsiteY1574" fmla="*/ 518994 h 816032"/>
                <a:gd name="connsiteX1575" fmla="*/ 479788 w 866764"/>
                <a:gd name="connsiteY1575" fmla="*/ 519568 h 816032"/>
                <a:gd name="connsiteX1576" fmla="*/ 479969 w 866764"/>
                <a:gd name="connsiteY1576" fmla="*/ 520779 h 816032"/>
                <a:gd name="connsiteX1577" fmla="*/ 479122 w 866764"/>
                <a:gd name="connsiteY1577" fmla="*/ 522019 h 816032"/>
                <a:gd name="connsiteX1578" fmla="*/ 479122 w 866764"/>
                <a:gd name="connsiteY1578" fmla="*/ 522745 h 816032"/>
                <a:gd name="connsiteX1579" fmla="*/ 479606 w 866764"/>
                <a:gd name="connsiteY1579" fmla="*/ 522957 h 816032"/>
                <a:gd name="connsiteX1580" fmla="*/ 480030 w 866764"/>
                <a:gd name="connsiteY1580" fmla="*/ 523350 h 816032"/>
                <a:gd name="connsiteX1581" fmla="*/ 480483 w 866764"/>
                <a:gd name="connsiteY1581" fmla="*/ 523592 h 816032"/>
                <a:gd name="connsiteX1582" fmla="*/ 480483 w 866764"/>
                <a:gd name="connsiteY1582" fmla="*/ 524318 h 816032"/>
                <a:gd name="connsiteX1583" fmla="*/ 478820 w 866764"/>
                <a:gd name="connsiteY1583" fmla="*/ 525437 h 816032"/>
                <a:gd name="connsiteX1584" fmla="*/ 579254 w 866764"/>
                <a:gd name="connsiteY1584" fmla="*/ 518661 h 816032"/>
                <a:gd name="connsiteX1585" fmla="*/ 580525 w 866764"/>
                <a:gd name="connsiteY1585" fmla="*/ 518842 h 816032"/>
                <a:gd name="connsiteX1586" fmla="*/ 581251 w 866764"/>
                <a:gd name="connsiteY1586" fmla="*/ 518842 h 816032"/>
                <a:gd name="connsiteX1587" fmla="*/ 581766 w 866764"/>
                <a:gd name="connsiteY1587" fmla="*/ 516664 h 816032"/>
                <a:gd name="connsiteX1588" fmla="*/ 583338 w 866764"/>
                <a:gd name="connsiteY1588" fmla="*/ 516150 h 816032"/>
                <a:gd name="connsiteX1589" fmla="*/ 585244 w 866764"/>
                <a:gd name="connsiteY1589" fmla="*/ 516150 h 816032"/>
                <a:gd name="connsiteX1590" fmla="*/ 586726 w 866764"/>
                <a:gd name="connsiteY1590" fmla="*/ 515575 h 816032"/>
                <a:gd name="connsiteX1591" fmla="*/ 587332 w 866764"/>
                <a:gd name="connsiteY1591" fmla="*/ 514577 h 816032"/>
                <a:gd name="connsiteX1592" fmla="*/ 587574 w 866764"/>
                <a:gd name="connsiteY1592" fmla="*/ 513579 h 816032"/>
                <a:gd name="connsiteX1593" fmla="*/ 587301 w 866764"/>
                <a:gd name="connsiteY1593" fmla="*/ 512822 h 816032"/>
                <a:gd name="connsiteX1594" fmla="*/ 585365 w 866764"/>
                <a:gd name="connsiteY1594" fmla="*/ 512247 h 816032"/>
                <a:gd name="connsiteX1595" fmla="*/ 584639 w 866764"/>
                <a:gd name="connsiteY1595" fmla="*/ 511673 h 816032"/>
                <a:gd name="connsiteX1596" fmla="*/ 584095 w 866764"/>
                <a:gd name="connsiteY1596" fmla="*/ 511098 h 816032"/>
                <a:gd name="connsiteX1597" fmla="*/ 583701 w 866764"/>
                <a:gd name="connsiteY1597" fmla="*/ 510856 h 816032"/>
                <a:gd name="connsiteX1598" fmla="*/ 580525 w 866764"/>
                <a:gd name="connsiteY1598" fmla="*/ 510039 h 816032"/>
                <a:gd name="connsiteX1599" fmla="*/ 579557 w 866764"/>
                <a:gd name="connsiteY1599" fmla="*/ 510523 h 816032"/>
                <a:gd name="connsiteX1600" fmla="*/ 579194 w 866764"/>
                <a:gd name="connsiteY1600" fmla="*/ 512883 h 816032"/>
                <a:gd name="connsiteX1601" fmla="*/ 578710 w 866764"/>
                <a:gd name="connsiteY1601" fmla="*/ 513125 h 816032"/>
                <a:gd name="connsiteX1602" fmla="*/ 575775 w 866764"/>
                <a:gd name="connsiteY1602" fmla="*/ 508406 h 816032"/>
                <a:gd name="connsiteX1603" fmla="*/ 574747 w 866764"/>
                <a:gd name="connsiteY1603" fmla="*/ 509404 h 816032"/>
                <a:gd name="connsiteX1604" fmla="*/ 573416 w 866764"/>
                <a:gd name="connsiteY1604" fmla="*/ 509918 h 816032"/>
                <a:gd name="connsiteX1605" fmla="*/ 572236 w 866764"/>
                <a:gd name="connsiteY1605" fmla="*/ 510705 h 816032"/>
                <a:gd name="connsiteX1606" fmla="*/ 571661 w 866764"/>
                <a:gd name="connsiteY1606" fmla="*/ 512520 h 816032"/>
                <a:gd name="connsiteX1607" fmla="*/ 573234 w 866764"/>
                <a:gd name="connsiteY1607" fmla="*/ 512701 h 816032"/>
                <a:gd name="connsiteX1608" fmla="*/ 573628 w 866764"/>
                <a:gd name="connsiteY1608" fmla="*/ 513639 h 816032"/>
                <a:gd name="connsiteX1609" fmla="*/ 573113 w 866764"/>
                <a:gd name="connsiteY1609" fmla="*/ 516392 h 816032"/>
                <a:gd name="connsiteX1610" fmla="*/ 572841 w 866764"/>
                <a:gd name="connsiteY1610" fmla="*/ 516483 h 816032"/>
                <a:gd name="connsiteX1611" fmla="*/ 572357 w 866764"/>
                <a:gd name="connsiteY1611" fmla="*/ 516483 h 816032"/>
                <a:gd name="connsiteX1612" fmla="*/ 571904 w 866764"/>
                <a:gd name="connsiteY1612" fmla="*/ 516755 h 816032"/>
                <a:gd name="connsiteX1613" fmla="*/ 571661 w 866764"/>
                <a:gd name="connsiteY1613" fmla="*/ 517632 h 816032"/>
                <a:gd name="connsiteX1614" fmla="*/ 571752 w 866764"/>
                <a:gd name="connsiteY1614" fmla="*/ 518116 h 816032"/>
                <a:gd name="connsiteX1615" fmla="*/ 571843 w 866764"/>
                <a:gd name="connsiteY1615" fmla="*/ 518298 h 816032"/>
                <a:gd name="connsiteX1616" fmla="*/ 571904 w 866764"/>
                <a:gd name="connsiteY1616" fmla="*/ 518661 h 816032"/>
                <a:gd name="connsiteX1617" fmla="*/ 571661 w 866764"/>
                <a:gd name="connsiteY1617" fmla="*/ 519568 h 816032"/>
                <a:gd name="connsiteX1618" fmla="*/ 579254 w 866764"/>
                <a:gd name="connsiteY1618" fmla="*/ 518661 h 816032"/>
                <a:gd name="connsiteX1619" fmla="*/ 537356 w 866764"/>
                <a:gd name="connsiteY1619" fmla="*/ 520053 h 816032"/>
                <a:gd name="connsiteX1620" fmla="*/ 537114 w 866764"/>
                <a:gd name="connsiteY1620" fmla="*/ 518842 h 816032"/>
                <a:gd name="connsiteX1621" fmla="*/ 536661 w 866764"/>
                <a:gd name="connsiteY1621" fmla="*/ 518056 h 816032"/>
                <a:gd name="connsiteX1622" fmla="*/ 535965 w 866764"/>
                <a:gd name="connsiteY1622" fmla="*/ 517511 h 816032"/>
                <a:gd name="connsiteX1623" fmla="*/ 535329 w 866764"/>
                <a:gd name="connsiteY1623" fmla="*/ 517148 h 816032"/>
                <a:gd name="connsiteX1624" fmla="*/ 535057 w 866764"/>
                <a:gd name="connsiteY1624" fmla="*/ 516846 h 816032"/>
                <a:gd name="connsiteX1625" fmla="*/ 535269 w 866764"/>
                <a:gd name="connsiteY1625" fmla="*/ 515938 h 816032"/>
                <a:gd name="connsiteX1626" fmla="*/ 536237 w 866764"/>
                <a:gd name="connsiteY1626" fmla="*/ 514879 h 816032"/>
                <a:gd name="connsiteX1627" fmla="*/ 536479 w 866764"/>
                <a:gd name="connsiteY1627" fmla="*/ 514063 h 816032"/>
                <a:gd name="connsiteX1628" fmla="*/ 536237 w 866764"/>
                <a:gd name="connsiteY1628" fmla="*/ 512792 h 816032"/>
                <a:gd name="connsiteX1629" fmla="*/ 535541 w 866764"/>
                <a:gd name="connsiteY1629" fmla="*/ 511068 h 816032"/>
                <a:gd name="connsiteX1630" fmla="*/ 534603 w 866764"/>
                <a:gd name="connsiteY1630" fmla="*/ 509434 h 816032"/>
                <a:gd name="connsiteX1631" fmla="*/ 533696 w 866764"/>
                <a:gd name="connsiteY1631" fmla="*/ 508466 h 816032"/>
                <a:gd name="connsiteX1632" fmla="*/ 531215 w 866764"/>
                <a:gd name="connsiteY1632" fmla="*/ 508164 h 816032"/>
                <a:gd name="connsiteX1633" fmla="*/ 530247 w 866764"/>
                <a:gd name="connsiteY1633" fmla="*/ 508164 h 816032"/>
                <a:gd name="connsiteX1634" fmla="*/ 530338 w 866764"/>
                <a:gd name="connsiteY1634" fmla="*/ 509192 h 816032"/>
                <a:gd name="connsiteX1635" fmla="*/ 530943 w 866764"/>
                <a:gd name="connsiteY1635" fmla="*/ 511733 h 816032"/>
                <a:gd name="connsiteX1636" fmla="*/ 530943 w 866764"/>
                <a:gd name="connsiteY1636" fmla="*/ 513397 h 816032"/>
                <a:gd name="connsiteX1637" fmla="*/ 530519 w 866764"/>
                <a:gd name="connsiteY1637" fmla="*/ 515394 h 816032"/>
                <a:gd name="connsiteX1638" fmla="*/ 529370 w 866764"/>
                <a:gd name="connsiteY1638" fmla="*/ 516937 h 816032"/>
                <a:gd name="connsiteX1639" fmla="*/ 527494 w 866764"/>
                <a:gd name="connsiteY1639" fmla="*/ 517330 h 816032"/>
                <a:gd name="connsiteX1640" fmla="*/ 528462 w 866764"/>
                <a:gd name="connsiteY1640" fmla="*/ 517904 h 816032"/>
                <a:gd name="connsiteX1641" fmla="*/ 528855 w 866764"/>
                <a:gd name="connsiteY1641" fmla="*/ 518056 h 816032"/>
                <a:gd name="connsiteX1642" fmla="*/ 528069 w 866764"/>
                <a:gd name="connsiteY1642" fmla="*/ 518631 h 816032"/>
                <a:gd name="connsiteX1643" fmla="*/ 527464 w 866764"/>
                <a:gd name="connsiteY1643" fmla="*/ 519327 h 816032"/>
                <a:gd name="connsiteX1644" fmla="*/ 527071 w 866764"/>
                <a:gd name="connsiteY1644" fmla="*/ 520173 h 816032"/>
                <a:gd name="connsiteX1645" fmla="*/ 526799 w 866764"/>
                <a:gd name="connsiteY1645" fmla="*/ 521232 h 816032"/>
                <a:gd name="connsiteX1646" fmla="*/ 528855 w 866764"/>
                <a:gd name="connsiteY1646" fmla="*/ 521293 h 816032"/>
                <a:gd name="connsiteX1647" fmla="*/ 529521 w 866764"/>
                <a:gd name="connsiteY1647" fmla="*/ 521232 h 816032"/>
                <a:gd name="connsiteX1648" fmla="*/ 529521 w 866764"/>
                <a:gd name="connsiteY1648" fmla="*/ 522079 h 816032"/>
                <a:gd name="connsiteX1649" fmla="*/ 529128 w 866764"/>
                <a:gd name="connsiteY1649" fmla="*/ 522654 h 816032"/>
                <a:gd name="connsiteX1650" fmla="*/ 528886 w 866764"/>
                <a:gd name="connsiteY1650" fmla="*/ 523320 h 816032"/>
                <a:gd name="connsiteX1651" fmla="*/ 528795 w 866764"/>
                <a:gd name="connsiteY1651" fmla="*/ 524136 h 816032"/>
                <a:gd name="connsiteX1652" fmla="*/ 528855 w 866764"/>
                <a:gd name="connsiteY1652" fmla="*/ 525286 h 816032"/>
                <a:gd name="connsiteX1653" fmla="*/ 530308 w 866764"/>
                <a:gd name="connsiteY1653" fmla="*/ 524318 h 816032"/>
                <a:gd name="connsiteX1654" fmla="*/ 536358 w 866764"/>
                <a:gd name="connsiteY1654" fmla="*/ 521383 h 816032"/>
                <a:gd name="connsiteX1655" fmla="*/ 537114 w 866764"/>
                <a:gd name="connsiteY1655" fmla="*/ 520809 h 816032"/>
                <a:gd name="connsiteX1656" fmla="*/ 537326 w 866764"/>
                <a:gd name="connsiteY1656" fmla="*/ 520113 h 816032"/>
                <a:gd name="connsiteX1657" fmla="*/ 388005 w 866764"/>
                <a:gd name="connsiteY1657" fmla="*/ 502779 h 816032"/>
                <a:gd name="connsiteX1658" fmla="*/ 387581 w 866764"/>
                <a:gd name="connsiteY1658" fmla="*/ 502870 h 816032"/>
                <a:gd name="connsiteX1659" fmla="*/ 387370 w 866764"/>
                <a:gd name="connsiteY1659" fmla="*/ 504624 h 816032"/>
                <a:gd name="connsiteX1660" fmla="*/ 386281 w 866764"/>
                <a:gd name="connsiteY1660" fmla="*/ 505441 h 816032"/>
                <a:gd name="connsiteX1661" fmla="*/ 383437 w 866764"/>
                <a:gd name="connsiteY1661" fmla="*/ 506107 h 816032"/>
                <a:gd name="connsiteX1662" fmla="*/ 383437 w 866764"/>
                <a:gd name="connsiteY1662" fmla="*/ 506833 h 816032"/>
                <a:gd name="connsiteX1663" fmla="*/ 385403 w 866764"/>
                <a:gd name="connsiteY1663" fmla="*/ 507922 h 816032"/>
                <a:gd name="connsiteX1664" fmla="*/ 387944 w 866764"/>
                <a:gd name="connsiteY1664" fmla="*/ 508254 h 816032"/>
                <a:gd name="connsiteX1665" fmla="*/ 390485 w 866764"/>
                <a:gd name="connsiteY1665" fmla="*/ 507861 h 816032"/>
                <a:gd name="connsiteX1666" fmla="*/ 392422 w 866764"/>
                <a:gd name="connsiteY1666" fmla="*/ 506833 h 816032"/>
                <a:gd name="connsiteX1667" fmla="*/ 392422 w 866764"/>
                <a:gd name="connsiteY1667" fmla="*/ 506107 h 816032"/>
                <a:gd name="connsiteX1668" fmla="*/ 391000 w 866764"/>
                <a:gd name="connsiteY1668" fmla="*/ 505986 h 816032"/>
                <a:gd name="connsiteX1669" fmla="*/ 389911 w 866764"/>
                <a:gd name="connsiteY1669" fmla="*/ 505562 h 816032"/>
                <a:gd name="connsiteX1670" fmla="*/ 389033 w 866764"/>
                <a:gd name="connsiteY1670" fmla="*/ 504806 h 816032"/>
                <a:gd name="connsiteX1671" fmla="*/ 388247 w 866764"/>
                <a:gd name="connsiteY1671" fmla="*/ 503656 h 816032"/>
                <a:gd name="connsiteX1672" fmla="*/ 388156 w 866764"/>
                <a:gd name="connsiteY1672" fmla="*/ 503293 h 816032"/>
                <a:gd name="connsiteX1673" fmla="*/ 388156 w 866764"/>
                <a:gd name="connsiteY1673" fmla="*/ 502960 h 816032"/>
                <a:gd name="connsiteX1674" fmla="*/ 388005 w 866764"/>
                <a:gd name="connsiteY1674" fmla="*/ 502779 h 816032"/>
                <a:gd name="connsiteX1675" fmla="*/ 514728 w 866764"/>
                <a:gd name="connsiteY1675" fmla="*/ 494702 h 816032"/>
                <a:gd name="connsiteX1676" fmla="*/ 513911 w 866764"/>
                <a:gd name="connsiteY1676" fmla="*/ 493976 h 816032"/>
                <a:gd name="connsiteX1677" fmla="*/ 512217 w 866764"/>
                <a:gd name="connsiteY1677" fmla="*/ 494097 h 816032"/>
                <a:gd name="connsiteX1678" fmla="*/ 510977 w 866764"/>
                <a:gd name="connsiteY1678" fmla="*/ 494853 h 816032"/>
                <a:gd name="connsiteX1679" fmla="*/ 509979 w 866764"/>
                <a:gd name="connsiteY1679" fmla="*/ 495972 h 816032"/>
                <a:gd name="connsiteX1680" fmla="*/ 508375 w 866764"/>
                <a:gd name="connsiteY1680" fmla="*/ 496638 h 816032"/>
                <a:gd name="connsiteX1681" fmla="*/ 506560 w 866764"/>
                <a:gd name="connsiteY1681" fmla="*/ 496940 h 816032"/>
                <a:gd name="connsiteX1682" fmla="*/ 507831 w 866764"/>
                <a:gd name="connsiteY1682" fmla="*/ 497666 h 816032"/>
                <a:gd name="connsiteX1683" fmla="*/ 512429 w 866764"/>
                <a:gd name="connsiteY1683" fmla="*/ 498483 h 816032"/>
                <a:gd name="connsiteX1684" fmla="*/ 514758 w 866764"/>
                <a:gd name="connsiteY1684" fmla="*/ 498241 h 816032"/>
                <a:gd name="connsiteX1685" fmla="*/ 514426 w 866764"/>
                <a:gd name="connsiteY1685" fmla="*/ 496819 h 816032"/>
                <a:gd name="connsiteX1686" fmla="*/ 514607 w 866764"/>
                <a:gd name="connsiteY1686" fmla="*/ 496124 h 816032"/>
                <a:gd name="connsiteX1687" fmla="*/ 514758 w 866764"/>
                <a:gd name="connsiteY1687" fmla="*/ 494732 h 816032"/>
                <a:gd name="connsiteX1688" fmla="*/ 539897 w 866764"/>
                <a:gd name="connsiteY1688" fmla="*/ 492372 h 816032"/>
                <a:gd name="connsiteX1689" fmla="*/ 540593 w 866764"/>
                <a:gd name="connsiteY1689" fmla="*/ 493310 h 816032"/>
                <a:gd name="connsiteX1690" fmla="*/ 541682 w 866764"/>
                <a:gd name="connsiteY1690" fmla="*/ 494006 h 816032"/>
                <a:gd name="connsiteX1691" fmla="*/ 545524 w 866764"/>
                <a:gd name="connsiteY1691" fmla="*/ 495700 h 816032"/>
                <a:gd name="connsiteX1692" fmla="*/ 548912 w 866764"/>
                <a:gd name="connsiteY1692" fmla="*/ 499240 h 816032"/>
                <a:gd name="connsiteX1693" fmla="*/ 550001 w 866764"/>
                <a:gd name="connsiteY1693" fmla="*/ 499724 h 816032"/>
                <a:gd name="connsiteX1694" fmla="*/ 551211 w 866764"/>
                <a:gd name="connsiteY1694" fmla="*/ 500207 h 816032"/>
                <a:gd name="connsiteX1695" fmla="*/ 552452 w 866764"/>
                <a:gd name="connsiteY1695" fmla="*/ 502325 h 816032"/>
                <a:gd name="connsiteX1696" fmla="*/ 553450 w 866764"/>
                <a:gd name="connsiteY1696" fmla="*/ 502839 h 816032"/>
                <a:gd name="connsiteX1697" fmla="*/ 555114 w 866764"/>
                <a:gd name="connsiteY1697" fmla="*/ 503202 h 816032"/>
                <a:gd name="connsiteX1698" fmla="*/ 557897 w 866764"/>
                <a:gd name="connsiteY1698" fmla="*/ 504836 h 816032"/>
                <a:gd name="connsiteX1699" fmla="*/ 562525 w 866764"/>
                <a:gd name="connsiteY1699" fmla="*/ 505501 h 816032"/>
                <a:gd name="connsiteX1700" fmla="*/ 563675 w 866764"/>
                <a:gd name="connsiteY1700" fmla="*/ 504987 h 816032"/>
                <a:gd name="connsiteX1701" fmla="*/ 564401 w 866764"/>
                <a:gd name="connsiteY1701" fmla="*/ 502022 h 816032"/>
                <a:gd name="connsiteX1702" fmla="*/ 566882 w 866764"/>
                <a:gd name="connsiteY1702" fmla="*/ 498846 h 816032"/>
                <a:gd name="connsiteX1703" fmla="*/ 566610 w 866764"/>
                <a:gd name="connsiteY1703" fmla="*/ 497666 h 816032"/>
                <a:gd name="connsiteX1704" fmla="*/ 566216 w 866764"/>
                <a:gd name="connsiteY1704" fmla="*/ 496668 h 816032"/>
                <a:gd name="connsiteX1705" fmla="*/ 565672 w 866764"/>
                <a:gd name="connsiteY1705" fmla="*/ 495942 h 816032"/>
                <a:gd name="connsiteX1706" fmla="*/ 564794 w 866764"/>
                <a:gd name="connsiteY1706" fmla="*/ 495670 h 816032"/>
                <a:gd name="connsiteX1707" fmla="*/ 565490 w 866764"/>
                <a:gd name="connsiteY1707" fmla="*/ 494853 h 816032"/>
                <a:gd name="connsiteX1708" fmla="*/ 563221 w 866764"/>
                <a:gd name="connsiteY1708" fmla="*/ 494218 h 816032"/>
                <a:gd name="connsiteX1709" fmla="*/ 560166 w 866764"/>
                <a:gd name="connsiteY1709" fmla="*/ 492887 h 816032"/>
                <a:gd name="connsiteX1710" fmla="*/ 557352 w 866764"/>
                <a:gd name="connsiteY1710" fmla="*/ 492372 h 816032"/>
                <a:gd name="connsiteX1711" fmla="*/ 555810 w 866764"/>
                <a:gd name="connsiteY1711" fmla="*/ 494097 h 816032"/>
                <a:gd name="connsiteX1712" fmla="*/ 554842 w 866764"/>
                <a:gd name="connsiteY1712" fmla="*/ 492735 h 816032"/>
                <a:gd name="connsiteX1713" fmla="*/ 553117 w 866764"/>
                <a:gd name="connsiteY1713" fmla="*/ 491707 h 816032"/>
                <a:gd name="connsiteX1714" fmla="*/ 551211 w 866764"/>
                <a:gd name="connsiteY1714" fmla="*/ 491465 h 816032"/>
                <a:gd name="connsiteX1715" fmla="*/ 549608 w 866764"/>
                <a:gd name="connsiteY1715" fmla="*/ 492524 h 816032"/>
                <a:gd name="connsiteX1716" fmla="*/ 549124 w 866764"/>
                <a:gd name="connsiteY1716" fmla="*/ 491858 h 816032"/>
                <a:gd name="connsiteX1717" fmla="*/ 548549 w 866764"/>
                <a:gd name="connsiteY1717" fmla="*/ 491344 h 816032"/>
                <a:gd name="connsiteX1718" fmla="*/ 547823 w 866764"/>
                <a:gd name="connsiteY1718" fmla="*/ 491011 h 816032"/>
                <a:gd name="connsiteX1719" fmla="*/ 546795 w 866764"/>
                <a:gd name="connsiteY1719" fmla="*/ 490951 h 816032"/>
                <a:gd name="connsiteX1720" fmla="*/ 546795 w 866764"/>
                <a:gd name="connsiteY1720" fmla="*/ 490134 h 816032"/>
                <a:gd name="connsiteX1721" fmla="*/ 547551 w 866764"/>
                <a:gd name="connsiteY1721" fmla="*/ 490134 h 816032"/>
                <a:gd name="connsiteX1722" fmla="*/ 547551 w 866764"/>
                <a:gd name="connsiteY1722" fmla="*/ 489287 h 816032"/>
                <a:gd name="connsiteX1723" fmla="*/ 546583 w 866764"/>
                <a:gd name="connsiteY1723" fmla="*/ 488742 h 816032"/>
                <a:gd name="connsiteX1724" fmla="*/ 546099 w 866764"/>
                <a:gd name="connsiteY1724" fmla="*/ 488561 h 816032"/>
                <a:gd name="connsiteX1725" fmla="*/ 540533 w 866764"/>
                <a:gd name="connsiteY1725" fmla="*/ 488198 h 816032"/>
                <a:gd name="connsiteX1726" fmla="*/ 539202 w 866764"/>
                <a:gd name="connsiteY1726" fmla="*/ 488561 h 816032"/>
                <a:gd name="connsiteX1727" fmla="*/ 538869 w 866764"/>
                <a:gd name="connsiteY1727" fmla="*/ 489559 h 816032"/>
                <a:gd name="connsiteX1728" fmla="*/ 539171 w 866764"/>
                <a:gd name="connsiteY1728" fmla="*/ 490981 h 816032"/>
                <a:gd name="connsiteX1729" fmla="*/ 539837 w 866764"/>
                <a:gd name="connsiteY1729" fmla="*/ 492403 h 816032"/>
                <a:gd name="connsiteX1730" fmla="*/ 467899 w 866764"/>
                <a:gd name="connsiteY1730" fmla="*/ 505683 h 816032"/>
                <a:gd name="connsiteX1731" fmla="*/ 469714 w 866764"/>
                <a:gd name="connsiteY1731" fmla="*/ 506379 h 816032"/>
                <a:gd name="connsiteX1732" fmla="*/ 471680 w 866764"/>
                <a:gd name="connsiteY1732" fmla="*/ 504927 h 816032"/>
                <a:gd name="connsiteX1733" fmla="*/ 474463 w 866764"/>
                <a:gd name="connsiteY1733" fmla="*/ 501296 h 816032"/>
                <a:gd name="connsiteX1734" fmla="*/ 477428 w 866764"/>
                <a:gd name="connsiteY1734" fmla="*/ 498302 h 816032"/>
                <a:gd name="connsiteX1735" fmla="*/ 480000 w 866764"/>
                <a:gd name="connsiteY1735" fmla="*/ 494883 h 816032"/>
                <a:gd name="connsiteX1736" fmla="*/ 480695 w 866764"/>
                <a:gd name="connsiteY1736" fmla="*/ 491283 h 816032"/>
                <a:gd name="connsiteX1737" fmla="*/ 477912 w 866764"/>
                <a:gd name="connsiteY1737" fmla="*/ 487714 h 816032"/>
                <a:gd name="connsiteX1738" fmla="*/ 477337 w 866764"/>
                <a:gd name="connsiteY1738" fmla="*/ 487804 h 816032"/>
                <a:gd name="connsiteX1739" fmla="*/ 476884 w 866764"/>
                <a:gd name="connsiteY1739" fmla="*/ 487714 h 816032"/>
                <a:gd name="connsiteX1740" fmla="*/ 476581 w 866764"/>
                <a:gd name="connsiteY1740" fmla="*/ 487835 h 816032"/>
                <a:gd name="connsiteX1741" fmla="*/ 476521 w 866764"/>
                <a:gd name="connsiteY1741" fmla="*/ 488561 h 816032"/>
                <a:gd name="connsiteX1742" fmla="*/ 475825 w 866764"/>
                <a:gd name="connsiteY1742" fmla="*/ 488561 h 816032"/>
                <a:gd name="connsiteX1743" fmla="*/ 475189 w 866764"/>
                <a:gd name="connsiteY1743" fmla="*/ 487865 h 816032"/>
                <a:gd name="connsiteX1744" fmla="*/ 474343 w 866764"/>
                <a:gd name="connsiteY1744" fmla="*/ 487714 h 816032"/>
                <a:gd name="connsiteX1745" fmla="*/ 473405 w 866764"/>
                <a:gd name="connsiteY1745" fmla="*/ 487986 h 816032"/>
                <a:gd name="connsiteX1746" fmla="*/ 472437 w 866764"/>
                <a:gd name="connsiteY1746" fmla="*/ 488591 h 816032"/>
                <a:gd name="connsiteX1747" fmla="*/ 472437 w 866764"/>
                <a:gd name="connsiteY1747" fmla="*/ 489317 h 816032"/>
                <a:gd name="connsiteX1748" fmla="*/ 472739 w 866764"/>
                <a:gd name="connsiteY1748" fmla="*/ 489378 h 816032"/>
                <a:gd name="connsiteX1749" fmla="*/ 473768 w 866764"/>
                <a:gd name="connsiteY1749" fmla="*/ 489317 h 816032"/>
                <a:gd name="connsiteX1750" fmla="*/ 473163 w 866764"/>
                <a:gd name="connsiteY1750" fmla="*/ 490194 h 816032"/>
                <a:gd name="connsiteX1751" fmla="*/ 472437 w 866764"/>
                <a:gd name="connsiteY1751" fmla="*/ 490981 h 816032"/>
                <a:gd name="connsiteX1752" fmla="*/ 470924 w 866764"/>
                <a:gd name="connsiteY1752" fmla="*/ 490678 h 816032"/>
                <a:gd name="connsiteX1753" fmla="*/ 469290 w 866764"/>
                <a:gd name="connsiteY1753" fmla="*/ 492463 h 816032"/>
                <a:gd name="connsiteX1754" fmla="*/ 468141 w 866764"/>
                <a:gd name="connsiteY1754" fmla="*/ 495095 h 816032"/>
                <a:gd name="connsiteX1755" fmla="*/ 468201 w 866764"/>
                <a:gd name="connsiteY1755" fmla="*/ 497243 h 816032"/>
                <a:gd name="connsiteX1756" fmla="*/ 468353 w 866764"/>
                <a:gd name="connsiteY1756" fmla="*/ 498241 h 816032"/>
                <a:gd name="connsiteX1757" fmla="*/ 467869 w 866764"/>
                <a:gd name="connsiteY1757" fmla="*/ 504080 h 816032"/>
                <a:gd name="connsiteX1758" fmla="*/ 467869 w 866764"/>
                <a:gd name="connsiteY1758" fmla="*/ 505683 h 816032"/>
                <a:gd name="connsiteX1759" fmla="*/ 651314 w 866764"/>
                <a:gd name="connsiteY1759" fmla="*/ 504382 h 816032"/>
                <a:gd name="connsiteX1760" fmla="*/ 652372 w 866764"/>
                <a:gd name="connsiteY1760" fmla="*/ 503656 h 816032"/>
                <a:gd name="connsiteX1761" fmla="*/ 654339 w 866764"/>
                <a:gd name="connsiteY1761" fmla="*/ 502900 h 816032"/>
                <a:gd name="connsiteX1762" fmla="*/ 662991 w 866764"/>
                <a:gd name="connsiteY1762" fmla="*/ 501811 h 816032"/>
                <a:gd name="connsiteX1763" fmla="*/ 664684 w 866764"/>
                <a:gd name="connsiteY1763" fmla="*/ 501085 h 816032"/>
                <a:gd name="connsiteX1764" fmla="*/ 673579 w 866764"/>
                <a:gd name="connsiteY1764" fmla="*/ 493764 h 816032"/>
                <a:gd name="connsiteX1765" fmla="*/ 676150 w 866764"/>
                <a:gd name="connsiteY1765" fmla="*/ 490830 h 816032"/>
                <a:gd name="connsiteX1766" fmla="*/ 677904 w 866764"/>
                <a:gd name="connsiteY1766" fmla="*/ 487714 h 816032"/>
                <a:gd name="connsiteX1767" fmla="*/ 673034 w 866764"/>
                <a:gd name="connsiteY1767" fmla="*/ 488077 h 816032"/>
                <a:gd name="connsiteX1768" fmla="*/ 669737 w 866764"/>
                <a:gd name="connsiteY1768" fmla="*/ 488984 h 816032"/>
                <a:gd name="connsiteX1769" fmla="*/ 667074 w 866764"/>
                <a:gd name="connsiteY1769" fmla="*/ 491707 h 816032"/>
                <a:gd name="connsiteX1770" fmla="*/ 664352 w 866764"/>
                <a:gd name="connsiteY1770" fmla="*/ 493159 h 816032"/>
                <a:gd name="connsiteX1771" fmla="*/ 661357 w 866764"/>
                <a:gd name="connsiteY1771" fmla="*/ 494006 h 816032"/>
                <a:gd name="connsiteX1772" fmla="*/ 659330 w 866764"/>
                <a:gd name="connsiteY1772" fmla="*/ 493340 h 816032"/>
                <a:gd name="connsiteX1773" fmla="*/ 657243 w 866764"/>
                <a:gd name="connsiteY1773" fmla="*/ 493915 h 816032"/>
                <a:gd name="connsiteX1774" fmla="*/ 651465 w 866764"/>
                <a:gd name="connsiteY1774" fmla="*/ 493189 h 816032"/>
                <a:gd name="connsiteX1775" fmla="*/ 648954 w 866764"/>
                <a:gd name="connsiteY1775" fmla="*/ 493340 h 816032"/>
                <a:gd name="connsiteX1776" fmla="*/ 647562 w 866764"/>
                <a:gd name="connsiteY1776" fmla="*/ 494157 h 816032"/>
                <a:gd name="connsiteX1777" fmla="*/ 645717 w 866764"/>
                <a:gd name="connsiteY1777" fmla="*/ 495761 h 816032"/>
                <a:gd name="connsiteX1778" fmla="*/ 644144 w 866764"/>
                <a:gd name="connsiteY1778" fmla="*/ 497636 h 816032"/>
                <a:gd name="connsiteX1779" fmla="*/ 643478 w 866764"/>
                <a:gd name="connsiteY1779" fmla="*/ 499330 h 816032"/>
                <a:gd name="connsiteX1780" fmla="*/ 642752 w 866764"/>
                <a:gd name="connsiteY1780" fmla="*/ 500631 h 816032"/>
                <a:gd name="connsiteX1781" fmla="*/ 639485 w 866764"/>
                <a:gd name="connsiteY1781" fmla="*/ 503686 h 816032"/>
                <a:gd name="connsiteX1782" fmla="*/ 638699 w 866764"/>
                <a:gd name="connsiteY1782" fmla="*/ 505199 h 816032"/>
                <a:gd name="connsiteX1783" fmla="*/ 639152 w 866764"/>
                <a:gd name="connsiteY1783" fmla="*/ 507468 h 816032"/>
                <a:gd name="connsiteX1784" fmla="*/ 640604 w 866764"/>
                <a:gd name="connsiteY1784" fmla="*/ 507801 h 816032"/>
                <a:gd name="connsiteX1785" fmla="*/ 644537 w 866764"/>
                <a:gd name="connsiteY1785" fmla="*/ 506802 h 816032"/>
                <a:gd name="connsiteX1786" fmla="*/ 645838 w 866764"/>
                <a:gd name="connsiteY1786" fmla="*/ 506893 h 816032"/>
                <a:gd name="connsiteX1787" fmla="*/ 646655 w 866764"/>
                <a:gd name="connsiteY1787" fmla="*/ 507075 h 816032"/>
                <a:gd name="connsiteX1788" fmla="*/ 647350 w 866764"/>
                <a:gd name="connsiteY1788" fmla="*/ 507075 h 816032"/>
                <a:gd name="connsiteX1789" fmla="*/ 648319 w 866764"/>
                <a:gd name="connsiteY1789" fmla="*/ 506802 h 816032"/>
                <a:gd name="connsiteX1790" fmla="*/ 649408 w 866764"/>
                <a:gd name="connsiteY1790" fmla="*/ 506137 h 816032"/>
                <a:gd name="connsiteX1791" fmla="*/ 651374 w 866764"/>
                <a:gd name="connsiteY1791" fmla="*/ 504352 h 816032"/>
                <a:gd name="connsiteX1792" fmla="*/ 396233 w 866764"/>
                <a:gd name="connsiteY1792" fmla="*/ 478124 h 816032"/>
                <a:gd name="connsiteX1793" fmla="*/ 394509 w 866764"/>
                <a:gd name="connsiteY1793" fmla="*/ 477428 h 816032"/>
                <a:gd name="connsiteX1794" fmla="*/ 382378 w 866764"/>
                <a:gd name="connsiteY1794" fmla="*/ 478124 h 816032"/>
                <a:gd name="connsiteX1795" fmla="*/ 382257 w 866764"/>
                <a:gd name="connsiteY1795" fmla="*/ 478880 h 816032"/>
                <a:gd name="connsiteX1796" fmla="*/ 382499 w 866764"/>
                <a:gd name="connsiteY1796" fmla="*/ 480514 h 816032"/>
                <a:gd name="connsiteX1797" fmla="*/ 383256 w 866764"/>
                <a:gd name="connsiteY1797" fmla="*/ 482147 h 816032"/>
                <a:gd name="connsiteX1798" fmla="*/ 384496 w 866764"/>
                <a:gd name="connsiteY1798" fmla="*/ 482904 h 816032"/>
                <a:gd name="connsiteX1799" fmla="*/ 385797 w 866764"/>
                <a:gd name="connsiteY1799" fmla="*/ 483358 h 816032"/>
                <a:gd name="connsiteX1800" fmla="*/ 386674 w 866764"/>
                <a:gd name="connsiteY1800" fmla="*/ 484386 h 816032"/>
                <a:gd name="connsiteX1801" fmla="*/ 386765 w 866764"/>
                <a:gd name="connsiteY1801" fmla="*/ 485505 h 816032"/>
                <a:gd name="connsiteX1802" fmla="*/ 385585 w 866764"/>
                <a:gd name="connsiteY1802" fmla="*/ 486171 h 816032"/>
                <a:gd name="connsiteX1803" fmla="*/ 385585 w 866764"/>
                <a:gd name="connsiteY1803" fmla="*/ 486957 h 816032"/>
                <a:gd name="connsiteX1804" fmla="*/ 386976 w 866764"/>
                <a:gd name="connsiteY1804" fmla="*/ 487472 h 816032"/>
                <a:gd name="connsiteX1805" fmla="*/ 387491 w 866764"/>
                <a:gd name="connsiteY1805" fmla="*/ 487835 h 816032"/>
                <a:gd name="connsiteX1806" fmla="*/ 388247 w 866764"/>
                <a:gd name="connsiteY1806" fmla="*/ 488530 h 816032"/>
                <a:gd name="connsiteX1807" fmla="*/ 389306 w 866764"/>
                <a:gd name="connsiteY1807" fmla="*/ 487986 h 816032"/>
                <a:gd name="connsiteX1808" fmla="*/ 391575 w 866764"/>
                <a:gd name="connsiteY1808" fmla="*/ 487411 h 816032"/>
                <a:gd name="connsiteX1809" fmla="*/ 392422 w 866764"/>
                <a:gd name="connsiteY1809" fmla="*/ 486927 h 816032"/>
                <a:gd name="connsiteX1810" fmla="*/ 392845 w 866764"/>
                <a:gd name="connsiteY1810" fmla="*/ 485687 h 816032"/>
                <a:gd name="connsiteX1811" fmla="*/ 392785 w 866764"/>
                <a:gd name="connsiteY1811" fmla="*/ 484356 h 816032"/>
                <a:gd name="connsiteX1812" fmla="*/ 393027 w 866764"/>
                <a:gd name="connsiteY1812" fmla="*/ 483085 h 816032"/>
                <a:gd name="connsiteX1813" fmla="*/ 394448 w 866764"/>
                <a:gd name="connsiteY1813" fmla="*/ 482117 h 816032"/>
                <a:gd name="connsiteX1814" fmla="*/ 394327 w 866764"/>
                <a:gd name="connsiteY1814" fmla="*/ 480786 h 816032"/>
                <a:gd name="connsiteX1815" fmla="*/ 395507 w 866764"/>
                <a:gd name="connsiteY1815" fmla="*/ 479304 h 816032"/>
                <a:gd name="connsiteX1816" fmla="*/ 396142 w 866764"/>
                <a:gd name="connsiteY1816" fmla="*/ 478064 h 816032"/>
                <a:gd name="connsiteX1817" fmla="*/ 720045 w 866764"/>
                <a:gd name="connsiteY1817" fmla="*/ 490588 h 816032"/>
                <a:gd name="connsiteX1818" fmla="*/ 720256 w 866764"/>
                <a:gd name="connsiteY1818" fmla="*/ 491525 h 816032"/>
                <a:gd name="connsiteX1819" fmla="*/ 720680 w 866764"/>
                <a:gd name="connsiteY1819" fmla="*/ 492251 h 816032"/>
                <a:gd name="connsiteX1820" fmla="*/ 721678 w 866764"/>
                <a:gd name="connsiteY1820" fmla="*/ 492554 h 816032"/>
                <a:gd name="connsiteX1821" fmla="*/ 728061 w 866764"/>
                <a:gd name="connsiteY1821" fmla="*/ 492705 h 816032"/>
                <a:gd name="connsiteX1822" fmla="*/ 728908 w 866764"/>
                <a:gd name="connsiteY1822" fmla="*/ 492554 h 816032"/>
                <a:gd name="connsiteX1823" fmla="*/ 729876 w 866764"/>
                <a:gd name="connsiteY1823" fmla="*/ 492070 h 816032"/>
                <a:gd name="connsiteX1824" fmla="*/ 730179 w 866764"/>
                <a:gd name="connsiteY1824" fmla="*/ 491586 h 816032"/>
                <a:gd name="connsiteX1825" fmla="*/ 730391 w 866764"/>
                <a:gd name="connsiteY1825" fmla="*/ 490981 h 816032"/>
                <a:gd name="connsiteX1826" fmla="*/ 730996 w 866764"/>
                <a:gd name="connsiteY1826" fmla="*/ 490164 h 816032"/>
                <a:gd name="connsiteX1827" fmla="*/ 732085 w 866764"/>
                <a:gd name="connsiteY1827" fmla="*/ 489226 h 816032"/>
                <a:gd name="connsiteX1828" fmla="*/ 733023 w 866764"/>
                <a:gd name="connsiteY1828" fmla="*/ 488682 h 816032"/>
                <a:gd name="connsiteX1829" fmla="*/ 742158 w 866764"/>
                <a:gd name="connsiteY1829" fmla="*/ 485354 h 816032"/>
                <a:gd name="connsiteX1830" fmla="*/ 745819 w 866764"/>
                <a:gd name="connsiteY1830" fmla="*/ 484628 h 816032"/>
                <a:gd name="connsiteX1831" fmla="*/ 748269 w 866764"/>
                <a:gd name="connsiteY1831" fmla="*/ 485354 h 816032"/>
                <a:gd name="connsiteX1832" fmla="*/ 748814 w 866764"/>
                <a:gd name="connsiteY1832" fmla="*/ 484023 h 816032"/>
                <a:gd name="connsiteX1833" fmla="*/ 748693 w 866764"/>
                <a:gd name="connsiteY1833" fmla="*/ 482752 h 816032"/>
                <a:gd name="connsiteX1834" fmla="*/ 748027 w 866764"/>
                <a:gd name="connsiteY1834" fmla="*/ 482208 h 816032"/>
                <a:gd name="connsiteX1835" fmla="*/ 746878 w 866764"/>
                <a:gd name="connsiteY1835" fmla="*/ 482964 h 816032"/>
                <a:gd name="connsiteX1836" fmla="*/ 746333 w 866764"/>
                <a:gd name="connsiteY1836" fmla="*/ 481724 h 816032"/>
                <a:gd name="connsiteX1837" fmla="*/ 745728 w 866764"/>
                <a:gd name="connsiteY1837" fmla="*/ 480786 h 816032"/>
                <a:gd name="connsiteX1838" fmla="*/ 745335 w 866764"/>
                <a:gd name="connsiteY1838" fmla="*/ 479939 h 816032"/>
                <a:gd name="connsiteX1839" fmla="*/ 745517 w 866764"/>
                <a:gd name="connsiteY1839" fmla="*/ 479001 h 816032"/>
                <a:gd name="connsiteX1840" fmla="*/ 746061 w 866764"/>
                <a:gd name="connsiteY1840" fmla="*/ 478699 h 816032"/>
                <a:gd name="connsiteX1841" fmla="*/ 748935 w 866764"/>
                <a:gd name="connsiteY1841" fmla="*/ 477489 h 816032"/>
                <a:gd name="connsiteX1842" fmla="*/ 744216 w 866764"/>
                <a:gd name="connsiteY1842" fmla="*/ 477156 h 816032"/>
                <a:gd name="connsiteX1843" fmla="*/ 741493 w 866764"/>
                <a:gd name="connsiteY1843" fmla="*/ 476369 h 816032"/>
                <a:gd name="connsiteX1844" fmla="*/ 741432 w 866764"/>
                <a:gd name="connsiteY1844" fmla="*/ 474948 h 816032"/>
                <a:gd name="connsiteX1845" fmla="*/ 740434 w 866764"/>
                <a:gd name="connsiteY1845" fmla="*/ 475825 h 816032"/>
                <a:gd name="connsiteX1846" fmla="*/ 739436 w 866764"/>
                <a:gd name="connsiteY1846" fmla="*/ 476279 h 816032"/>
                <a:gd name="connsiteX1847" fmla="*/ 738226 w 866764"/>
                <a:gd name="connsiteY1847" fmla="*/ 476279 h 816032"/>
                <a:gd name="connsiteX1848" fmla="*/ 736562 w 866764"/>
                <a:gd name="connsiteY1848" fmla="*/ 475795 h 816032"/>
                <a:gd name="connsiteX1849" fmla="*/ 737500 w 866764"/>
                <a:gd name="connsiteY1849" fmla="*/ 477216 h 816032"/>
                <a:gd name="connsiteX1850" fmla="*/ 738498 w 866764"/>
                <a:gd name="connsiteY1850" fmla="*/ 478275 h 816032"/>
                <a:gd name="connsiteX1851" fmla="*/ 739073 w 866764"/>
                <a:gd name="connsiteY1851" fmla="*/ 479304 h 816032"/>
                <a:gd name="connsiteX1852" fmla="*/ 738680 w 866764"/>
                <a:gd name="connsiteY1852" fmla="*/ 480605 h 816032"/>
                <a:gd name="connsiteX1853" fmla="*/ 737590 w 866764"/>
                <a:gd name="connsiteY1853" fmla="*/ 479546 h 816032"/>
                <a:gd name="connsiteX1854" fmla="*/ 733688 w 866764"/>
                <a:gd name="connsiteY1854" fmla="*/ 477095 h 816032"/>
                <a:gd name="connsiteX1855" fmla="*/ 730179 w 866764"/>
                <a:gd name="connsiteY1855" fmla="*/ 476218 h 816032"/>
                <a:gd name="connsiteX1856" fmla="*/ 727547 w 866764"/>
                <a:gd name="connsiteY1856" fmla="*/ 474222 h 816032"/>
                <a:gd name="connsiteX1857" fmla="*/ 726156 w 866764"/>
                <a:gd name="connsiteY1857" fmla="*/ 473465 h 816032"/>
                <a:gd name="connsiteX1858" fmla="*/ 722586 w 866764"/>
                <a:gd name="connsiteY1858" fmla="*/ 472830 h 816032"/>
                <a:gd name="connsiteX1859" fmla="*/ 719107 w 866764"/>
                <a:gd name="connsiteY1859" fmla="*/ 472830 h 816032"/>
                <a:gd name="connsiteX1860" fmla="*/ 707672 w 866764"/>
                <a:gd name="connsiteY1860" fmla="*/ 475371 h 816032"/>
                <a:gd name="connsiteX1861" fmla="*/ 706825 w 866764"/>
                <a:gd name="connsiteY1861" fmla="*/ 476248 h 816032"/>
                <a:gd name="connsiteX1862" fmla="*/ 706250 w 866764"/>
                <a:gd name="connsiteY1862" fmla="*/ 477731 h 816032"/>
                <a:gd name="connsiteX1863" fmla="*/ 704828 w 866764"/>
                <a:gd name="connsiteY1863" fmla="*/ 478305 h 816032"/>
                <a:gd name="connsiteX1864" fmla="*/ 703043 w 866764"/>
                <a:gd name="connsiteY1864" fmla="*/ 478548 h 816032"/>
                <a:gd name="connsiteX1865" fmla="*/ 701319 w 866764"/>
                <a:gd name="connsiteY1865" fmla="*/ 479031 h 816032"/>
                <a:gd name="connsiteX1866" fmla="*/ 700200 w 866764"/>
                <a:gd name="connsiteY1866" fmla="*/ 480090 h 816032"/>
                <a:gd name="connsiteX1867" fmla="*/ 699806 w 866764"/>
                <a:gd name="connsiteY1867" fmla="*/ 481421 h 816032"/>
                <a:gd name="connsiteX1868" fmla="*/ 699927 w 866764"/>
                <a:gd name="connsiteY1868" fmla="*/ 484235 h 816032"/>
                <a:gd name="connsiteX1869" fmla="*/ 700139 w 866764"/>
                <a:gd name="connsiteY1869" fmla="*/ 485687 h 816032"/>
                <a:gd name="connsiteX1870" fmla="*/ 700744 w 866764"/>
                <a:gd name="connsiteY1870" fmla="*/ 487683 h 816032"/>
                <a:gd name="connsiteX1871" fmla="*/ 701652 w 866764"/>
                <a:gd name="connsiteY1871" fmla="*/ 488833 h 816032"/>
                <a:gd name="connsiteX1872" fmla="*/ 702741 w 866764"/>
                <a:gd name="connsiteY1872" fmla="*/ 487774 h 816032"/>
                <a:gd name="connsiteX1873" fmla="*/ 703376 w 866764"/>
                <a:gd name="connsiteY1873" fmla="*/ 487774 h 816032"/>
                <a:gd name="connsiteX1874" fmla="*/ 703376 w 866764"/>
                <a:gd name="connsiteY1874" fmla="*/ 488621 h 816032"/>
                <a:gd name="connsiteX1875" fmla="*/ 704132 w 866764"/>
                <a:gd name="connsiteY1875" fmla="*/ 488621 h 816032"/>
                <a:gd name="connsiteX1876" fmla="*/ 704677 w 866764"/>
                <a:gd name="connsiteY1876" fmla="*/ 487260 h 816032"/>
                <a:gd name="connsiteX1877" fmla="*/ 705917 w 866764"/>
                <a:gd name="connsiteY1877" fmla="*/ 486231 h 816032"/>
                <a:gd name="connsiteX1878" fmla="*/ 707581 w 866764"/>
                <a:gd name="connsiteY1878" fmla="*/ 485596 h 816032"/>
                <a:gd name="connsiteX1879" fmla="*/ 710243 w 866764"/>
                <a:gd name="connsiteY1879" fmla="*/ 485233 h 816032"/>
                <a:gd name="connsiteX1880" fmla="*/ 711816 w 866764"/>
                <a:gd name="connsiteY1880" fmla="*/ 484688 h 816032"/>
                <a:gd name="connsiteX1881" fmla="*/ 712724 w 866764"/>
                <a:gd name="connsiteY1881" fmla="*/ 484568 h 816032"/>
                <a:gd name="connsiteX1882" fmla="*/ 713571 w 866764"/>
                <a:gd name="connsiteY1882" fmla="*/ 484840 h 816032"/>
                <a:gd name="connsiteX1883" fmla="*/ 714660 w 866764"/>
                <a:gd name="connsiteY1883" fmla="*/ 485959 h 816032"/>
                <a:gd name="connsiteX1884" fmla="*/ 717050 w 866764"/>
                <a:gd name="connsiteY1884" fmla="*/ 486534 h 816032"/>
                <a:gd name="connsiteX1885" fmla="*/ 718048 w 866764"/>
                <a:gd name="connsiteY1885" fmla="*/ 487351 h 816032"/>
                <a:gd name="connsiteX1886" fmla="*/ 719682 w 866764"/>
                <a:gd name="connsiteY1886" fmla="*/ 489771 h 816032"/>
                <a:gd name="connsiteX1887" fmla="*/ 720075 w 866764"/>
                <a:gd name="connsiteY1887" fmla="*/ 490648 h 816032"/>
                <a:gd name="connsiteX1888" fmla="*/ 130051 w 866764"/>
                <a:gd name="connsiteY1888" fmla="*/ 478457 h 816032"/>
                <a:gd name="connsiteX1889" fmla="*/ 128387 w 866764"/>
                <a:gd name="connsiteY1889" fmla="*/ 475280 h 816032"/>
                <a:gd name="connsiteX1890" fmla="*/ 126844 w 866764"/>
                <a:gd name="connsiteY1890" fmla="*/ 472770 h 816032"/>
                <a:gd name="connsiteX1891" fmla="*/ 123214 w 866764"/>
                <a:gd name="connsiteY1891" fmla="*/ 470138 h 816032"/>
                <a:gd name="connsiteX1892" fmla="*/ 119070 w 866764"/>
                <a:gd name="connsiteY1892" fmla="*/ 468595 h 816032"/>
                <a:gd name="connsiteX1893" fmla="*/ 115893 w 866764"/>
                <a:gd name="connsiteY1893" fmla="*/ 469321 h 816032"/>
                <a:gd name="connsiteX1894" fmla="*/ 113413 w 866764"/>
                <a:gd name="connsiteY1894" fmla="*/ 467960 h 816032"/>
                <a:gd name="connsiteX1895" fmla="*/ 112354 w 866764"/>
                <a:gd name="connsiteY1895" fmla="*/ 467082 h 816032"/>
                <a:gd name="connsiteX1896" fmla="*/ 111567 w 866764"/>
                <a:gd name="connsiteY1896" fmla="*/ 464813 h 816032"/>
                <a:gd name="connsiteX1897" fmla="*/ 109510 w 866764"/>
                <a:gd name="connsiteY1897" fmla="*/ 461153 h 816032"/>
                <a:gd name="connsiteX1898" fmla="*/ 109571 w 866764"/>
                <a:gd name="connsiteY1898" fmla="*/ 460911 h 816032"/>
                <a:gd name="connsiteX1899" fmla="*/ 109117 w 866764"/>
                <a:gd name="connsiteY1899" fmla="*/ 460397 h 816032"/>
                <a:gd name="connsiteX1900" fmla="*/ 109117 w 866764"/>
                <a:gd name="connsiteY1900" fmla="*/ 460124 h 816032"/>
                <a:gd name="connsiteX1901" fmla="*/ 109026 w 866764"/>
                <a:gd name="connsiteY1901" fmla="*/ 459761 h 816032"/>
                <a:gd name="connsiteX1902" fmla="*/ 106697 w 866764"/>
                <a:gd name="connsiteY1902" fmla="*/ 459247 h 816032"/>
                <a:gd name="connsiteX1903" fmla="*/ 104095 w 866764"/>
                <a:gd name="connsiteY1903" fmla="*/ 461456 h 816032"/>
                <a:gd name="connsiteX1904" fmla="*/ 100011 w 866764"/>
                <a:gd name="connsiteY1904" fmla="*/ 466870 h 816032"/>
                <a:gd name="connsiteX1905" fmla="*/ 100858 w 866764"/>
                <a:gd name="connsiteY1905" fmla="*/ 467657 h 816032"/>
                <a:gd name="connsiteX1906" fmla="*/ 100284 w 866764"/>
                <a:gd name="connsiteY1906" fmla="*/ 468413 h 816032"/>
                <a:gd name="connsiteX1907" fmla="*/ 100707 w 866764"/>
                <a:gd name="connsiteY1907" fmla="*/ 470380 h 816032"/>
                <a:gd name="connsiteX1908" fmla="*/ 100011 w 866764"/>
                <a:gd name="connsiteY1908" fmla="*/ 471741 h 816032"/>
                <a:gd name="connsiteX1909" fmla="*/ 102310 w 866764"/>
                <a:gd name="connsiteY1909" fmla="*/ 473102 h 816032"/>
                <a:gd name="connsiteX1910" fmla="*/ 106152 w 866764"/>
                <a:gd name="connsiteY1910" fmla="*/ 477912 h 816032"/>
                <a:gd name="connsiteX1911" fmla="*/ 108331 w 866764"/>
                <a:gd name="connsiteY1911" fmla="*/ 479727 h 816032"/>
                <a:gd name="connsiteX1912" fmla="*/ 108572 w 866764"/>
                <a:gd name="connsiteY1912" fmla="*/ 481603 h 816032"/>
                <a:gd name="connsiteX1913" fmla="*/ 110932 w 866764"/>
                <a:gd name="connsiteY1913" fmla="*/ 483932 h 816032"/>
                <a:gd name="connsiteX1914" fmla="*/ 115893 w 866764"/>
                <a:gd name="connsiteY1914" fmla="*/ 487683 h 816032"/>
                <a:gd name="connsiteX1915" fmla="*/ 118979 w 866764"/>
                <a:gd name="connsiteY1915" fmla="*/ 491223 h 816032"/>
                <a:gd name="connsiteX1916" fmla="*/ 119705 w 866764"/>
                <a:gd name="connsiteY1916" fmla="*/ 491737 h 816032"/>
                <a:gd name="connsiteX1917" fmla="*/ 121823 w 866764"/>
                <a:gd name="connsiteY1917" fmla="*/ 491737 h 816032"/>
                <a:gd name="connsiteX1918" fmla="*/ 122912 w 866764"/>
                <a:gd name="connsiteY1918" fmla="*/ 491525 h 816032"/>
                <a:gd name="connsiteX1919" fmla="*/ 123365 w 866764"/>
                <a:gd name="connsiteY1919" fmla="*/ 490830 h 816032"/>
                <a:gd name="connsiteX1920" fmla="*/ 123516 w 866764"/>
                <a:gd name="connsiteY1920" fmla="*/ 489287 h 816032"/>
                <a:gd name="connsiteX1921" fmla="*/ 123153 w 866764"/>
                <a:gd name="connsiteY1921" fmla="*/ 488621 h 816032"/>
                <a:gd name="connsiteX1922" fmla="*/ 122579 w 866764"/>
                <a:gd name="connsiteY1922" fmla="*/ 487260 h 816032"/>
                <a:gd name="connsiteX1923" fmla="*/ 122579 w 866764"/>
                <a:gd name="connsiteY1923" fmla="*/ 485899 h 816032"/>
                <a:gd name="connsiteX1924" fmla="*/ 123850 w 866764"/>
                <a:gd name="connsiteY1924" fmla="*/ 485294 h 816032"/>
                <a:gd name="connsiteX1925" fmla="*/ 124545 w 866764"/>
                <a:gd name="connsiteY1925" fmla="*/ 484840 h 816032"/>
                <a:gd name="connsiteX1926" fmla="*/ 125211 w 866764"/>
                <a:gd name="connsiteY1926" fmla="*/ 483842 h 816032"/>
                <a:gd name="connsiteX1927" fmla="*/ 126148 w 866764"/>
                <a:gd name="connsiteY1927" fmla="*/ 482783 h 816032"/>
                <a:gd name="connsiteX1928" fmla="*/ 127631 w 866764"/>
                <a:gd name="connsiteY1928" fmla="*/ 482147 h 816032"/>
                <a:gd name="connsiteX1929" fmla="*/ 130353 w 866764"/>
                <a:gd name="connsiteY1929" fmla="*/ 482359 h 816032"/>
                <a:gd name="connsiteX1930" fmla="*/ 133711 w 866764"/>
                <a:gd name="connsiteY1930" fmla="*/ 483267 h 816032"/>
                <a:gd name="connsiteX1931" fmla="*/ 136616 w 866764"/>
                <a:gd name="connsiteY1931" fmla="*/ 484598 h 816032"/>
                <a:gd name="connsiteX1932" fmla="*/ 137946 w 866764"/>
                <a:gd name="connsiteY1932" fmla="*/ 486140 h 816032"/>
                <a:gd name="connsiteX1933" fmla="*/ 136979 w 866764"/>
                <a:gd name="connsiteY1933" fmla="*/ 482571 h 816032"/>
                <a:gd name="connsiteX1934" fmla="*/ 130051 w 866764"/>
                <a:gd name="connsiteY1934" fmla="*/ 478457 h 816032"/>
                <a:gd name="connsiteX1935" fmla="*/ 539353 w 866764"/>
                <a:gd name="connsiteY1935" fmla="*/ 481875 h 816032"/>
                <a:gd name="connsiteX1936" fmla="*/ 540260 w 866764"/>
                <a:gd name="connsiteY1936" fmla="*/ 479757 h 816032"/>
                <a:gd name="connsiteX1937" fmla="*/ 539988 w 866764"/>
                <a:gd name="connsiteY1937" fmla="*/ 478094 h 816032"/>
                <a:gd name="connsiteX1938" fmla="*/ 538839 w 866764"/>
                <a:gd name="connsiteY1938" fmla="*/ 477428 h 816032"/>
                <a:gd name="connsiteX1939" fmla="*/ 537235 w 866764"/>
                <a:gd name="connsiteY1939" fmla="*/ 478033 h 816032"/>
                <a:gd name="connsiteX1940" fmla="*/ 536539 w 866764"/>
                <a:gd name="connsiteY1940" fmla="*/ 477398 h 816032"/>
                <a:gd name="connsiteX1941" fmla="*/ 536630 w 866764"/>
                <a:gd name="connsiteY1941" fmla="*/ 476611 h 816032"/>
                <a:gd name="connsiteX1942" fmla="*/ 537356 w 866764"/>
                <a:gd name="connsiteY1942" fmla="*/ 475855 h 816032"/>
                <a:gd name="connsiteX1943" fmla="*/ 537991 w 866764"/>
                <a:gd name="connsiteY1943" fmla="*/ 474857 h 816032"/>
                <a:gd name="connsiteX1944" fmla="*/ 537901 w 866764"/>
                <a:gd name="connsiteY1944" fmla="*/ 473374 h 816032"/>
                <a:gd name="connsiteX1945" fmla="*/ 538324 w 866764"/>
                <a:gd name="connsiteY1945" fmla="*/ 473254 h 816032"/>
                <a:gd name="connsiteX1946" fmla="*/ 538597 w 866764"/>
                <a:gd name="connsiteY1946" fmla="*/ 473102 h 816032"/>
                <a:gd name="connsiteX1947" fmla="*/ 539262 w 866764"/>
                <a:gd name="connsiteY1947" fmla="*/ 472588 h 816032"/>
                <a:gd name="connsiteX1948" fmla="*/ 535087 w 866764"/>
                <a:gd name="connsiteY1948" fmla="*/ 469412 h 816032"/>
                <a:gd name="connsiteX1949" fmla="*/ 536661 w 866764"/>
                <a:gd name="connsiteY1949" fmla="*/ 465539 h 816032"/>
                <a:gd name="connsiteX1950" fmla="*/ 537114 w 866764"/>
                <a:gd name="connsiteY1950" fmla="*/ 463149 h 816032"/>
                <a:gd name="connsiteX1951" fmla="*/ 536116 w 866764"/>
                <a:gd name="connsiteY1951" fmla="*/ 462060 h 816032"/>
                <a:gd name="connsiteX1952" fmla="*/ 528190 w 866764"/>
                <a:gd name="connsiteY1952" fmla="*/ 462060 h 816032"/>
                <a:gd name="connsiteX1953" fmla="*/ 525528 w 866764"/>
                <a:gd name="connsiteY1953" fmla="*/ 461032 h 816032"/>
                <a:gd name="connsiteX1954" fmla="*/ 524772 w 866764"/>
                <a:gd name="connsiteY1954" fmla="*/ 460548 h 816032"/>
                <a:gd name="connsiteX1955" fmla="*/ 524439 w 866764"/>
                <a:gd name="connsiteY1955" fmla="*/ 459792 h 816032"/>
                <a:gd name="connsiteX1956" fmla="*/ 523713 w 866764"/>
                <a:gd name="connsiteY1956" fmla="*/ 457190 h 816032"/>
                <a:gd name="connsiteX1957" fmla="*/ 523713 w 866764"/>
                <a:gd name="connsiteY1957" fmla="*/ 456615 h 816032"/>
                <a:gd name="connsiteX1958" fmla="*/ 524136 w 866764"/>
                <a:gd name="connsiteY1958" fmla="*/ 456252 h 816032"/>
                <a:gd name="connsiteX1959" fmla="*/ 523683 w 866764"/>
                <a:gd name="connsiteY1959" fmla="*/ 455405 h 816032"/>
                <a:gd name="connsiteX1960" fmla="*/ 522745 w 866764"/>
                <a:gd name="connsiteY1960" fmla="*/ 454558 h 816032"/>
                <a:gd name="connsiteX1961" fmla="*/ 521716 w 866764"/>
                <a:gd name="connsiteY1961" fmla="*/ 454165 h 816032"/>
                <a:gd name="connsiteX1962" fmla="*/ 520718 w 866764"/>
                <a:gd name="connsiteY1962" fmla="*/ 454074 h 816032"/>
                <a:gd name="connsiteX1963" fmla="*/ 520143 w 866764"/>
                <a:gd name="connsiteY1963" fmla="*/ 453741 h 816032"/>
                <a:gd name="connsiteX1964" fmla="*/ 519901 w 866764"/>
                <a:gd name="connsiteY1964" fmla="*/ 453015 h 816032"/>
                <a:gd name="connsiteX1965" fmla="*/ 520052 w 866764"/>
                <a:gd name="connsiteY1965" fmla="*/ 451775 h 816032"/>
                <a:gd name="connsiteX1966" fmla="*/ 518570 w 866764"/>
                <a:gd name="connsiteY1966" fmla="*/ 451049 h 816032"/>
                <a:gd name="connsiteX1967" fmla="*/ 516332 w 866764"/>
                <a:gd name="connsiteY1967" fmla="*/ 451472 h 816032"/>
                <a:gd name="connsiteX1968" fmla="*/ 510795 w 866764"/>
                <a:gd name="connsiteY1968" fmla="*/ 454286 h 816032"/>
                <a:gd name="connsiteX1969" fmla="*/ 509979 w 866764"/>
                <a:gd name="connsiteY1969" fmla="*/ 455103 h 816032"/>
                <a:gd name="connsiteX1970" fmla="*/ 509616 w 866764"/>
                <a:gd name="connsiteY1970" fmla="*/ 456222 h 816032"/>
                <a:gd name="connsiteX1971" fmla="*/ 509858 w 866764"/>
                <a:gd name="connsiteY1971" fmla="*/ 457281 h 816032"/>
                <a:gd name="connsiteX1972" fmla="*/ 510251 w 866764"/>
                <a:gd name="connsiteY1972" fmla="*/ 458067 h 816032"/>
                <a:gd name="connsiteX1973" fmla="*/ 510160 w 866764"/>
                <a:gd name="connsiteY1973" fmla="*/ 458642 h 816032"/>
                <a:gd name="connsiteX1974" fmla="*/ 508980 w 866764"/>
                <a:gd name="connsiteY1974" fmla="*/ 458975 h 816032"/>
                <a:gd name="connsiteX1975" fmla="*/ 510160 w 866764"/>
                <a:gd name="connsiteY1975" fmla="*/ 459913 h 816032"/>
                <a:gd name="connsiteX1976" fmla="*/ 511552 w 866764"/>
                <a:gd name="connsiteY1976" fmla="*/ 462030 h 816032"/>
                <a:gd name="connsiteX1977" fmla="*/ 512429 w 866764"/>
                <a:gd name="connsiteY1977" fmla="*/ 462968 h 816032"/>
                <a:gd name="connsiteX1978" fmla="*/ 511824 w 866764"/>
                <a:gd name="connsiteY1978" fmla="*/ 464632 h 816032"/>
                <a:gd name="connsiteX1979" fmla="*/ 512217 w 866764"/>
                <a:gd name="connsiteY1979" fmla="*/ 465237 h 816032"/>
                <a:gd name="connsiteX1980" fmla="*/ 513064 w 866764"/>
                <a:gd name="connsiteY1980" fmla="*/ 464904 h 816032"/>
                <a:gd name="connsiteX1981" fmla="*/ 513790 w 866764"/>
                <a:gd name="connsiteY1981" fmla="*/ 463755 h 816032"/>
                <a:gd name="connsiteX1982" fmla="*/ 514486 w 866764"/>
                <a:gd name="connsiteY1982" fmla="*/ 463755 h 816032"/>
                <a:gd name="connsiteX1983" fmla="*/ 516029 w 866764"/>
                <a:gd name="connsiteY1983" fmla="*/ 465539 h 816032"/>
                <a:gd name="connsiteX1984" fmla="*/ 518207 w 866764"/>
                <a:gd name="connsiteY1984" fmla="*/ 467203 h 816032"/>
                <a:gd name="connsiteX1985" fmla="*/ 520083 w 866764"/>
                <a:gd name="connsiteY1985" fmla="*/ 469351 h 816032"/>
                <a:gd name="connsiteX1986" fmla="*/ 520657 w 866764"/>
                <a:gd name="connsiteY1986" fmla="*/ 472618 h 816032"/>
                <a:gd name="connsiteX1987" fmla="*/ 522321 w 866764"/>
                <a:gd name="connsiteY1987" fmla="*/ 471681 h 816032"/>
                <a:gd name="connsiteX1988" fmla="*/ 523501 w 866764"/>
                <a:gd name="connsiteY1988" fmla="*/ 472467 h 816032"/>
                <a:gd name="connsiteX1989" fmla="*/ 525104 w 866764"/>
                <a:gd name="connsiteY1989" fmla="*/ 475371 h 816032"/>
                <a:gd name="connsiteX1990" fmla="*/ 526194 w 866764"/>
                <a:gd name="connsiteY1990" fmla="*/ 476672 h 816032"/>
                <a:gd name="connsiteX1991" fmla="*/ 527222 w 866764"/>
                <a:gd name="connsiteY1991" fmla="*/ 477549 h 816032"/>
                <a:gd name="connsiteX1992" fmla="*/ 528402 w 866764"/>
                <a:gd name="connsiteY1992" fmla="*/ 478064 h 816032"/>
                <a:gd name="connsiteX1993" fmla="*/ 529945 w 866764"/>
                <a:gd name="connsiteY1993" fmla="*/ 478215 h 816032"/>
                <a:gd name="connsiteX1994" fmla="*/ 530489 w 866764"/>
                <a:gd name="connsiteY1994" fmla="*/ 478971 h 816032"/>
                <a:gd name="connsiteX1995" fmla="*/ 532365 w 866764"/>
                <a:gd name="connsiteY1995" fmla="*/ 483872 h 816032"/>
                <a:gd name="connsiteX1996" fmla="*/ 533454 w 866764"/>
                <a:gd name="connsiteY1996" fmla="*/ 484991 h 816032"/>
                <a:gd name="connsiteX1997" fmla="*/ 535753 w 866764"/>
                <a:gd name="connsiteY1997" fmla="*/ 486625 h 816032"/>
                <a:gd name="connsiteX1998" fmla="*/ 536539 w 866764"/>
                <a:gd name="connsiteY1998" fmla="*/ 487774 h 816032"/>
                <a:gd name="connsiteX1999" fmla="*/ 537175 w 866764"/>
                <a:gd name="connsiteY1999" fmla="*/ 487774 h 816032"/>
                <a:gd name="connsiteX2000" fmla="*/ 536751 w 866764"/>
                <a:gd name="connsiteY2000" fmla="*/ 485868 h 816032"/>
                <a:gd name="connsiteX2001" fmla="*/ 536539 w 866764"/>
                <a:gd name="connsiteY2001" fmla="*/ 485384 h 816032"/>
                <a:gd name="connsiteX2002" fmla="*/ 537931 w 866764"/>
                <a:gd name="connsiteY2002" fmla="*/ 483993 h 816032"/>
                <a:gd name="connsiteX2003" fmla="*/ 539383 w 866764"/>
                <a:gd name="connsiteY2003" fmla="*/ 481966 h 816032"/>
                <a:gd name="connsiteX2004" fmla="*/ 394509 w 866764"/>
                <a:gd name="connsiteY2004" fmla="*/ 456585 h 816032"/>
                <a:gd name="connsiteX2005" fmla="*/ 394448 w 866764"/>
                <a:gd name="connsiteY2005" fmla="*/ 456010 h 816032"/>
                <a:gd name="connsiteX2006" fmla="*/ 394600 w 866764"/>
                <a:gd name="connsiteY2006" fmla="*/ 455859 h 816032"/>
                <a:gd name="connsiteX2007" fmla="*/ 393995 w 866764"/>
                <a:gd name="connsiteY2007" fmla="*/ 455466 h 816032"/>
                <a:gd name="connsiteX2008" fmla="*/ 393390 w 866764"/>
                <a:gd name="connsiteY2008" fmla="*/ 454770 h 816032"/>
                <a:gd name="connsiteX2009" fmla="*/ 393178 w 866764"/>
                <a:gd name="connsiteY2009" fmla="*/ 453953 h 816032"/>
                <a:gd name="connsiteX2010" fmla="*/ 393087 w 866764"/>
                <a:gd name="connsiteY2010" fmla="*/ 453318 h 816032"/>
                <a:gd name="connsiteX2011" fmla="*/ 393601 w 866764"/>
                <a:gd name="connsiteY2011" fmla="*/ 452441 h 816032"/>
                <a:gd name="connsiteX2012" fmla="*/ 392966 w 866764"/>
                <a:gd name="connsiteY2012" fmla="*/ 451684 h 816032"/>
                <a:gd name="connsiteX2013" fmla="*/ 391726 w 866764"/>
                <a:gd name="connsiteY2013" fmla="*/ 451170 h 816032"/>
                <a:gd name="connsiteX2014" fmla="*/ 389427 w 866764"/>
                <a:gd name="connsiteY2014" fmla="*/ 450837 h 816032"/>
                <a:gd name="connsiteX2015" fmla="*/ 388519 w 866764"/>
                <a:gd name="connsiteY2015" fmla="*/ 450928 h 816032"/>
                <a:gd name="connsiteX2016" fmla="*/ 387702 w 866764"/>
                <a:gd name="connsiteY2016" fmla="*/ 451200 h 816032"/>
                <a:gd name="connsiteX2017" fmla="*/ 386916 w 866764"/>
                <a:gd name="connsiteY2017" fmla="*/ 451745 h 816032"/>
                <a:gd name="connsiteX2018" fmla="*/ 387339 w 866764"/>
                <a:gd name="connsiteY2018" fmla="*/ 452229 h 816032"/>
                <a:gd name="connsiteX2019" fmla="*/ 387339 w 866764"/>
                <a:gd name="connsiteY2019" fmla="*/ 452289 h 816032"/>
                <a:gd name="connsiteX2020" fmla="*/ 387128 w 866764"/>
                <a:gd name="connsiteY2020" fmla="*/ 452471 h 816032"/>
                <a:gd name="connsiteX2021" fmla="*/ 386916 w 866764"/>
                <a:gd name="connsiteY2021" fmla="*/ 453318 h 816032"/>
                <a:gd name="connsiteX2022" fmla="*/ 386008 w 866764"/>
                <a:gd name="connsiteY2022" fmla="*/ 452713 h 816032"/>
                <a:gd name="connsiteX2023" fmla="*/ 385010 w 866764"/>
                <a:gd name="connsiteY2023" fmla="*/ 452410 h 816032"/>
                <a:gd name="connsiteX2024" fmla="*/ 383921 w 866764"/>
                <a:gd name="connsiteY2024" fmla="*/ 452350 h 816032"/>
                <a:gd name="connsiteX2025" fmla="*/ 382771 w 866764"/>
                <a:gd name="connsiteY2025" fmla="*/ 452441 h 816032"/>
                <a:gd name="connsiteX2026" fmla="*/ 384254 w 866764"/>
                <a:gd name="connsiteY2026" fmla="*/ 453469 h 816032"/>
                <a:gd name="connsiteX2027" fmla="*/ 385585 w 866764"/>
                <a:gd name="connsiteY2027" fmla="*/ 454104 h 816032"/>
                <a:gd name="connsiteX2028" fmla="*/ 382045 w 866764"/>
                <a:gd name="connsiteY2028" fmla="*/ 455708 h 816032"/>
                <a:gd name="connsiteX2029" fmla="*/ 383134 w 866764"/>
                <a:gd name="connsiteY2029" fmla="*/ 455708 h 816032"/>
                <a:gd name="connsiteX2030" fmla="*/ 385040 w 866764"/>
                <a:gd name="connsiteY2030" fmla="*/ 456403 h 816032"/>
                <a:gd name="connsiteX2031" fmla="*/ 385887 w 866764"/>
                <a:gd name="connsiteY2031" fmla="*/ 456585 h 816032"/>
                <a:gd name="connsiteX2032" fmla="*/ 386765 w 866764"/>
                <a:gd name="connsiteY2032" fmla="*/ 456252 h 816032"/>
                <a:gd name="connsiteX2033" fmla="*/ 387521 w 866764"/>
                <a:gd name="connsiteY2033" fmla="*/ 455556 h 816032"/>
                <a:gd name="connsiteX2034" fmla="*/ 388398 w 866764"/>
                <a:gd name="connsiteY2034" fmla="*/ 454951 h 816032"/>
                <a:gd name="connsiteX2035" fmla="*/ 389639 w 866764"/>
                <a:gd name="connsiteY2035" fmla="*/ 454891 h 816032"/>
                <a:gd name="connsiteX2036" fmla="*/ 389064 w 866764"/>
                <a:gd name="connsiteY2036" fmla="*/ 456131 h 816032"/>
                <a:gd name="connsiteX2037" fmla="*/ 388035 w 866764"/>
                <a:gd name="connsiteY2037" fmla="*/ 457825 h 816032"/>
                <a:gd name="connsiteX2038" fmla="*/ 386704 w 866764"/>
                <a:gd name="connsiteY2038" fmla="*/ 458975 h 816032"/>
                <a:gd name="connsiteX2039" fmla="*/ 383770 w 866764"/>
                <a:gd name="connsiteY2039" fmla="*/ 458098 h 816032"/>
                <a:gd name="connsiteX2040" fmla="*/ 382106 w 866764"/>
                <a:gd name="connsiteY2040" fmla="*/ 458884 h 816032"/>
                <a:gd name="connsiteX2041" fmla="*/ 380714 w 866764"/>
                <a:gd name="connsiteY2041" fmla="*/ 460185 h 816032"/>
                <a:gd name="connsiteX2042" fmla="*/ 380018 w 866764"/>
                <a:gd name="connsiteY2042" fmla="*/ 461334 h 816032"/>
                <a:gd name="connsiteX2043" fmla="*/ 380018 w 866764"/>
                <a:gd name="connsiteY2043" fmla="*/ 462060 h 816032"/>
                <a:gd name="connsiteX2044" fmla="*/ 380623 w 866764"/>
                <a:gd name="connsiteY2044" fmla="*/ 462938 h 816032"/>
                <a:gd name="connsiteX2045" fmla="*/ 381955 w 866764"/>
                <a:gd name="connsiteY2045" fmla="*/ 463603 h 816032"/>
                <a:gd name="connsiteX2046" fmla="*/ 385071 w 866764"/>
                <a:gd name="connsiteY2046" fmla="*/ 464481 h 816032"/>
                <a:gd name="connsiteX2047" fmla="*/ 386553 w 866764"/>
                <a:gd name="connsiteY2047" fmla="*/ 464601 h 816032"/>
                <a:gd name="connsiteX2048" fmla="*/ 388005 w 866764"/>
                <a:gd name="connsiteY2048" fmla="*/ 463966 h 816032"/>
                <a:gd name="connsiteX2049" fmla="*/ 389064 w 866764"/>
                <a:gd name="connsiteY2049" fmla="*/ 462756 h 816032"/>
                <a:gd name="connsiteX2050" fmla="*/ 390002 w 866764"/>
                <a:gd name="connsiteY2050" fmla="*/ 462060 h 816032"/>
                <a:gd name="connsiteX2051" fmla="*/ 391091 w 866764"/>
                <a:gd name="connsiteY2051" fmla="*/ 462938 h 816032"/>
                <a:gd name="connsiteX2052" fmla="*/ 391696 w 866764"/>
                <a:gd name="connsiteY2052" fmla="*/ 462938 h 816032"/>
                <a:gd name="connsiteX2053" fmla="*/ 392059 w 866764"/>
                <a:gd name="connsiteY2053" fmla="*/ 461123 h 816032"/>
                <a:gd name="connsiteX2054" fmla="*/ 394237 w 866764"/>
                <a:gd name="connsiteY2054" fmla="*/ 459368 h 816032"/>
                <a:gd name="connsiteX2055" fmla="*/ 393844 w 866764"/>
                <a:gd name="connsiteY2055" fmla="*/ 458128 h 816032"/>
                <a:gd name="connsiteX2056" fmla="*/ 397262 w 866764"/>
                <a:gd name="connsiteY2056" fmla="*/ 456615 h 816032"/>
                <a:gd name="connsiteX2057" fmla="*/ 394509 w 866764"/>
                <a:gd name="connsiteY2057" fmla="*/ 456615 h 816032"/>
                <a:gd name="connsiteX2058" fmla="*/ 106273 w 866764"/>
                <a:gd name="connsiteY2058" fmla="*/ 439584 h 816032"/>
                <a:gd name="connsiteX2059" fmla="*/ 108663 w 866764"/>
                <a:gd name="connsiteY2059" fmla="*/ 442185 h 816032"/>
                <a:gd name="connsiteX2060" fmla="*/ 109964 w 866764"/>
                <a:gd name="connsiteY2060" fmla="*/ 443274 h 816032"/>
                <a:gd name="connsiteX2061" fmla="*/ 111476 w 866764"/>
                <a:gd name="connsiteY2061" fmla="*/ 443728 h 816032"/>
                <a:gd name="connsiteX2062" fmla="*/ 112475 w 866764"/>
                <a:gd name="connsiteY2062" fmla="*/ 443577 h 816032"/>
                <a:gd name="connsiteX2063" fmla="*/ 113594 w 866764"/>
                <a:gd name="connsiteY2063" fmla="*/ 442972 h 816032"/>
                <a:gd name="connsiteX2064" fmla="*/ 114532 w 866764"/>
                <a:gd name="connsiteY2064" fmla="*/ 442851 h 816032"/>
                <a:gd name="connsiteX2065" fmla="*/ 117103 w 866764"/>
                <a:gd name="connsiteY2065" fmla="*/ 443425 h 816032"/>
                <a:gd name="connsiteX2066" fmla="*/ 117648 w 866764"/>
                <a:gd name="connsiteY2066" fmla="*/ 443305 h 816032"/>
                <a:gd name="connsiteX2067" fmla="*/ 118646 w 866764"/>
                <a:gd name="connsiteY2067" fmla="*/ 441308 h 816032"/>
                <a:gd name="connsiteX2068" fmla="*/ 118979 w 866764"/>
                <a:gd name="connsiteY2068" fmla="*/ 439372 h 816032"/>
                <a:gd name="connsiteX2069" fmla="*/ 118707 w 866764"/>
                <a:gd name="connsiteY2069" fmla="*/ 437496 h 816032"/>
                <a:gd name="connsiteX2070" fmla="*/ 117950 w 866764"/>
                <a:gd name="connsiteY2070" fmla="*/ 435681 h 816032"/>
                <a:gd name="connsiteX2071" fmla="*/ 114381 w 866764"/>
                <a:gd name="connsiteY2071" fmla="*/ 431113 h 816032"/>
                <a:gd name="connsiteX2072" fmla="*/ 113291 w 866764"/>
                <a:gd name="connsiteY2072" fmla="*/ 428028 h 816032"/>
                <a:gd name="connsiteX2073" fmla="*/ 109026 w 866764"/>
                <a:gd name="connsiteY2073" fmla="*/ 424488 h 816032"/>
                <a:gd name="connsiteX2074" fmla="*/ 108300 w 866764"/>
                <a:gd name="connsiteY2074" fmla="*/ 422885 h 816032"/>
                <a:gd name="connsiteX2075" fmla="*/ 108058 w 866764"/>
                <a:gd name="connsiteY2075" fmla="*/ 421282 h 816032"/>
                <a:gd name="connsiteX2076" fmla="*/ 107453 w 866764"/>
                <a:gd name="connsiteY2076" fmla="*/ 420071 h 816032"/>
                <a:gd name="connsiteX2077" fmla="*/ 105578 w 866764"/>
                <a:gd name="connsiteY2077" fmla="*/ 419708 h 816032"/>
                <a:gd name="connsiteX2078" fmla="*/ 105789 w 866764"/>
                <a:gd name="connsiteY2078" fmla="*/ 419255 h 816032"/>
                <a:gd name="connsiteX2079" fmla="*/ 106062 w 866764"/>
                <a:gd name="connsiteY2079" fmla="*/ 418438 h 816032"/>
                <a:gd name="connsiteX2080" fmla="*/ 106304 w 866764"/>
                <a:gd name="connsiteY2080" fmla="*/ 418045 h 816032"/>
                <a:gd name="connsiteX2081" fmla="*/ 105184 w 866764"/>
                <a:gd name="connsiteY2081" fmla="*/ 418831 h 816032"/>
                <a:gd name="connsiteX2082" fmla="*/ 103793 w 866764"/>
                <a:gd name="connsiteY2082" fmla="*/ 420344 h 816032"/>
                <a:gd name="connsiteX2083" fmla="*/ 102371 w 866764"/>
                <a:gd name="connsiteY2083" fmla="*/ 421403 h 816032"/>
                <a:gd name="connsiteX2084" fmla="*/ 101100 w 866764"/>
                <a:gd name="connsiteY2084" fmla="*/ 420888 h 816032"/>
                <a:gd name="connsiteX2085" fmla="*/ 98741 w 866764"/>
                <a:gd name="connsiteY2085" fmla="*/ 416714 h 816032"/>
                <a:gd name="connsiteX2086" fmla="*/ 97924 w 866764"/>
                <a:gd name="connsiteY2086" fmla="*/ 415655 h 816032"/>
                <a:gd name="connsiteX2087" fmla="*/ 99104 w 866764"/>
                <a:gd name="connsiteY2087" fmla="*/ 414384 h 816032"/>
                <a:gd name="connsiteX2088" fmla="*/ 100041 w 866764"/>
                <a:gd name="connsiteY2088" fmla="*/ 413598 h 816032"/>
                <a:gd name="connsiteX2089" fmla="*/ 100647 w 866764"/>
                <a:gd name="connsiteY2089" fmla="*/ 412630 h 816032"/>
                <a:gd name="connsiteX2090" fmla="*/ 100798 w 866764"/>
                <a:gd name="connsiteY2090" fmla="*/ 410845 h 816032"/>
                <a:gd name="connsiteX2091" fmla="*/ 100616 w 866764"/>
                <a:gd name="connsiteY2091" fmla="*/ 409907 h 816032"/>
                <a:gd name="connsiteX2092" fmla="*/ 95171 w 866764"/>
                <a:gd name="connsiteY2092" fmla="*/ 395507 h 816032"/>
                <a:gd name="connsiteX2093" fmla="*/ 91752 w 866764"/>
                <a:gd name="connsiteY2093" fmla="*/ 395507 h 816032"/>
                <a:gd name="connsiteX2094" fmla="*/ 91752 w 866764"/>
                <a:gd name="connsiteY2094" fmla="*/ 396233 h 816032"/>
                <a:gd name="connsiteX2095" fmla="*/ 92327 w 866764"/>
                <a:gd name="connsiteY2095" fmla="*/ 397232 h 816032"/>
                <a:gd name="connsiteX2096" fmla="*/ 92267 w 866764"/>
                <a:gd name="connsiteY2096" fmla="*/ 398321 h 816032"/>
                <a:gd name="connsiteX2097" fmla="*/ 91934 w 866764"/>
                <a:gd name="connsiteY2097" fmla="*/ 399591 h 816032"/>
                <a:gd name="connsiteX2098" fmla="*/ 91752 w 866764"/>
                <a:gd name="connsiteY2098" fmla="*/ 401134 h 816032"/>
                <a:gd name="connsiteX2099" fmla="*/ 91904 w 866764"/>
                <a:gd name="connsiteY2099" fmla="*/ 402011 h 816032"/>
                <a:gd name="connsiteX2100" fmla="*/ 93114 w 866764"/>
                <a:gd name="connsiteY2100" fmla="*/ 405974 h 816032"/>
                <a:gd name="connsiteX2101" fmla="*/ 91057 w 866764"/>
                <a:gd name="connsiteY2101" fmla="*/ 405158 h 816032"/>
                <a:gd name="connsiteX2102" fmla="*/ 91934 w 866764"/>
                <a:gd name="connsiteY2102" fmla="*/ 407245 h 816032"/>
                <a:gd name="connsiteX2103" fmla="*/ 91874 w 866764"/>
                <a:gd name="connsiteY2103" fmla="*/ 409635 h 816032"/>
                <a:gd name="connsiteX2104" fmla="*/ 90966 w 866764"/>
                <a:gd name="connsiteY2104" fmla="*/ 411601 h 816032"/>
                <a:gd name="connsiteX2105" fmla="*/ 88637 w 866764"/>
                <a:gd name="connsiteY2105" fmla="*/ 412811 h 816032"/>
                <a:gd name="connsiteX2106" fmla="*/ 86882 w 866764"/>
                <a:gd name="connsiteY2106" fmla="*/ 414505 h 816032"/>
                <a:gd name="connsiteX2107" fmla="*/ 85884 w 866764"/>
                <a:gd name="connsiteY2107" fmla="*/ 414899 h 816032"/>
                <a:gd name="connsiteX2108" fmla="*/ 85006 w 866764"/>
                <a:gd name="connsiteY2108" fmla="*/ 414233 h 816032"/>
                <a:gd name="connsiteX2109" fmla="*/ 84643 w 866764"/>
                <a:gd name="connsiteY2109" fmla="*/ 412993 h 816032"/>
                <a:gd name="connsiteX2110" fmla="*/ 84280 w 866764"/>
                <a:gd name="connsiteY2110" fmla="*/ 412297 h 816032"/>
                <a:gd name="connsiteX2111" fmla="*/ 83464 w 866764"/>
                <a:gd name="connsiteY2111" fmla="*/ 413295 h 816032"/>
                <a:gd name="connsiteX2112" fmla="*/ 82193 w 866764"/>
                <a:gd name="connsiteY2112" fmla="*/ 411571 h 816032"/>
                <a:gd name="connsiteX2113" fmla="*/ 81437 w 866764"/>
                <a:gd name="connsiteY2113" fmla="*/ 409393 h 816032"/>
                <a:gd name="connsiteX2114" fmla="*/ 80650 w 866764"/>
                <a:gd name="connsiteY2114" fmla="*/ 408546 h 816032"/>
                <a:gd name="connsiteX2115" fmla="*/ 79289 w 866764"/>
                <a:gd name="connsiteY2115" fmla="*/ 410875 h 816032"/>
                <a:gd name="connsiteX2116" fmla="*/ 78593 w 866764"/>
                <a:gd name="connsiteY2116" fmla="*/ 410875 h 816032"/>
                <a:gd name="connsiteX2117" fmla="*/ 78472 w 866764"/>
                <a:gd name="connsiteY2117" fmla="*/ 410149 h 816032"/>
                <a:gd name="connsiteX2118" fmla="*/ 77897 w 866764"/>
                <a:gd name="connsiteY2118" fmla="*/ 408485 h 816032"/>
                <a:gd name="connsiteX2119" fmla="*/ 77746 w 866764"/>
                <a:gd name="connsiteY2119" fmla="*/ 412176 h 816032"/>
                <a:gd name="connsiteX2120" fmla="*/ 77141 w 866764"/>
                <a:gd name="connsiteY2120" fmla="*/ 416018 h 816032"/>
                <a:gd name="connsiteX2121" fmla="*/ 75901 w 866764"/>
                <a:gd name="connsiteY2121" fmla="*/ 419073 h 816032"/>
                <a:gd name="connsiteX2122" fmla="*/ 74509 w 866764"/>
                <a:gd name="connsiteY2122" fmla="*/ 420525 h 816032"/>
                <a:gd name="connsiteX2123" fmla="*/ 73874 w 866764"/>
                <a:gd name="connsiteY2123" fmla="*/ 420858 h 816032"/>
                <a:gd name="connsiteX2124" fmla="*/ 73299 w 866764"/>
                <a:gd name="connsiteY2124" fmla="*/ 421493 h 816032"/>
                <a:gd name="connsiteX2125" fmla="*/ 73088 w 866764"/>
                <a:gd name="connsiteY2125" fmla="*/ 422371 h 816032"/>
                <a:gd name="connsiteX2126" fmla="*/ 73481 w 866764"/>
                <a:gd name="connsiteY2126" fmla="*/ 423369 h 816032"/>
                <a:gd name="connsiteX2127" fmla="*/ 73632 w 866764"/>
                <a:gd name="connsiteY2127" fmla="*/ 424397 h 816032"/>
                <a:gd name="connsiteX2128" fmla="*/ 72997 w 866764"/>
                <a:gd name="connsiteY2128" fmla="*/ 425608 h 816032"/>
                <a:gd name="connsiteX2129" fmla="*/ 72210 w 866764"/>
                <a:gd name="connsiteY2129" fmla="*/ 426787 h 816032"/>
                <a:gd name="connsiteX2130" fmla="*/ 71817 w 866764"/>
                <a:gd name="connsiteY2130" fmla="*/ 427755 h 816032"/>
                <a:gd name="connsiteX2131" fmla="*/ 72452 w 866764"/>
                <a:gd name="connsiteY2131" fmla="*/ 429873 h 816032"/>
                <a:gd name="connsiteX2132" fmla="*/ 75326 w 866764"/>
                <a:gd name="connsiteY2132" fmla="*/ 431385 h 816032"/>
                <a:gd name="connsiteX2133" fmla="*/ 75931 w 866764"/>
                <a:gd name="connsiteY2133" fmla="*/ 433412 h 816032"/>
                <a:gd name="connsiteX2134" fmla="*/ 76567 w 866764"/>
                <a:gd name="connsiteY2134" fmla="*/ 433412 h 816032"/>
                <a:gd name="connsiteX2135" fmla="*/ 77776 w 866764"/>
                <a:gd name="connsiteY2135" fmla="*/ 432081 h 816032"/>
                <a:gd name="connsiteX2136" fmla="*/ 79198 w 866764"/>
                <a:gd name="connsiteY2136" fmla="*/ 431476 h 816032"/>
                <a:gd name="connsiteX2137" fmla="*/ 80499 w 866764"/>
                <a:gd name="connsiteY2137" fmla="*/ 430629 h 816032"/>
                <a:gd name="connsiteX2138" fmla="*/ 81467 w 866764"/>
                <a:gd name="connsiteY2138" fmla="*/ 428572 h 816032"/>
                <a:gd name="connsiteX2139" fmla="*/ 81588 w 866764"/>
                <a:gd name="connsiteY2139" fmla="*/ 426273 h 816032"/>
                <a:gd name="connsiteX2140" fmla="*/ 80801 w 866764"/>
                <a:gd name="connsiteY2140" fmla="*/ 422371 h 816032"/>
                <a:gd name="connsiteX2141" fmla="*/ 80801 w 866764"/>
                <a:gd name="connsiteY2141" fmla="*/ 420495 h 816032"/>
                <a:gd name="connsiteX2142" fmla="*/ 81498 w 866764"/>
                <a:gd name="connsiteY2142" fmla="*/ 418468 h 816032"/>
                <a:gd name="connsiteX2143" fmla="*/ 82526 w 866764"/>
                <a:gd name="connsiteY2143" fmla="*/ 418771 h 816032"/>
                <a:gd name="connsiteX2144" fmla="*/ 83706 w 866764"/>
                <a:gd name="connsiteY2144" fmla="*/ 420525 h 816032"/>
                <a:gd name="connsiteX2145" fmla="*/ 86398 w 866764"/>
                <a:gd name="connsiteY2145" fmla="*/ 426908 h 816032"/>
                <a:gd name="connsiteX2146" fmla="*/ 87396 w 866764"/>
                <a:gd name="connsiteY2146" fmla="*/ 428693 h 816032"/>
                <a:gd name="connsiteX2147" fmla="*/ 89000 w 866764"/>
                <a:gd name="connsiteY2147" fmla="*/ 430115 h 816032"/>
                <a:gd name="connsiteX2148" fmla="*/ 89000 w 866764"/>
                <a:gd name="connsiteY2148" fmla="*/ 430962 h 816032"/>
                <a:gd name="connsiteX2149" fmla="*/ 87790 w 866764"/>
                <a:gd name="connsiteY2149" fmla="*/ 430418 h 816032"/>
                <a:gd name="connsiteX2150" fmla="*/ 86095 w 866764"/>
                <a:gd name="connsiteY2150" fmla="*/ 428875 h 816032"/>
                <a:gd name="connsiteX2151" fmla="*/ 84855 w 866764"/>
                <a:gd name="connsiteY2151" fmla="*/ 428542 h 816032"/>
                <a:gd name="connsiteX2152" fmla="*/ 85279 w 866764"/>
                <a:gd name="connsiteY2152" fmla="*/ 429812 h 816032"/>
                <a:gd name="connsiteX2153" fmla="*/ 86943 w 866764"/>
                <a:gd name="connsiteY2153" fmla="*/ 432474 h 816032"/>
                <a:gd name="connsiteX2154" fmla="*/ 87124 w 866764"/>
                <a:gd name="connsiteY2154" fmla="*/ 433352 h 816032"/>
                <a:gd name="connsiteX2155" fmla="*/ 87336 w 866764"/>
                <a:gd name="connsiteY2155" fmla="*/ 435530 h 816032"/>
                <a:gd name="connsiteX2156" fmla="*/ 87638 w 866764"/>
                <a:gd name="connsiteY2156" fmla="*/ 436589 h 816032"/>
                <a:gd name="connsiteX2157" fmla="*/ 89000 w 866764"/>
                <a:gd name="connsiteY2157" fmla="*/ 438192 h 816032"/>
                <a:gd name="connsiteX2158" fmla="*/ 92690 w 866764"/>
                <a:gd name="connsiteY2158" fmla="*/ 439190 h 816032"/>
                <a:gd name="connsiteX2159" fmla="*/ 94566 w 866764"/>
                <a:gd name="connsiteY2159" fmla="*/ 440552 h 816032"/>
                <a:gd name="connsiteX2160" fmla="*/ 96139 w 866764"/>
                <a:gd name="connsiteY2160" fmla="*/ 437617 h 816032"/>
                <a:gd name="connsiteX2161" fmla="*/ 99527 w 866764"/>
                <a:gd name="connsiteY2161" fmla="*/ 437103 h 816032"/>
                <a:gd name="connsiteX2162" fmla="*/ 103400 w 866764"/>
                <a:gd name="connsiteY2162" fmla="*/ 438131 h 816032"/>
                <a:gd name="connsiteX2163" fmla="*/ 106304 w 866764"/>
                <a:gd name="connsiteY2163" fmla="*/ 439705 h 816032"/>
                <a:gd name="connsiteX2164" fmla="*/ 109692 w 866764"/>
                <a:gd name="connsiteY2164" fmla="*/ 405037 h 816032"/>
                <a:gd name="connsiteX2165" fmla="*/ 110357 w 866764"/>
                <a:gd name="connsiteY2165" fmla="*/ 405853 h 816032"/>
                <a:gd name="connsiteX2166" fmla="*/ 108300 w 866764"/>
                <a:gd name="connsiteY2166" fmla="*/ 405853 h 816032"/>
                <a:gd name="connsiteX2167" fmla="*/ 109692 w 866764"/>
                <a:gd name="connsiteY2167" fmla="*/ 406730 h 816032"/>
                <a:gd name="connsiteX2168" fmla="*/ 109692 w 866764"/>
                <a:gd name="connsiteY2168" fmla="*/ 407457 h 816032"/>
                <a:gd name="connsiteX2169" fmla="*/ 108482 w 866764"/>
                <a:gd name="connsiteY2169" fmla="*/ 407578 h 816032"/>
                <a:gd name="connsiteX2170" fmla="*/ 107332 w 866764"/>
                <a:gd name="connsiteY2170" fmla="*/ 407457 h 816032"/>
                <a:gd name="connsiteX2171" fmla="*/ 106334 w 866764"/>
                <a:gd name="connsiteY2171" fmla="*/ 407154 h 816032"/>
                <a:gd name="connsiteX2172" fmla="*/ 105578 w 866764"/>
                <a:gd name="connsiteY2172" fmla="*/ 406730 h 816032"/>
                <a:gd name="connsiteX2173" fmla="*/ 107634 w 866764"/>
                <a:gd name="connsiteY2173" fmla="*/ 403100 h 816032"/>
                <a:gd name="connsiteX2174" fmla="*/ 108391 w 866764"/>
                <a:gd name="connsiteY2174" fmla="*/ 401043 h 816032"/>
                <a:gd name="connsiteX2175" fmla="*/ 109026 w 866764"/>
                <a:gd name="connsiteY2175" fmla="*/ 398623 h 816032"/>
                <a:gd name="connsiteX2176" fmla="*/ 107907 w 866764"/>
                <a:gd name="connsiteY2176" fmla="*/ 397988 h 816032"/>
                <a:gd name="connsiteX2177" fmla="*/ 106999 w 866764"/>
                <a:gd name="connsiteY2177" fmla="*/ 397292 h 816032"/>
                <a:gd name="connsiteX2178" fmla="*/ 105880 w 866764"/>
                <a:gd name="connsiteY2178" fmla="*/ 396838 h 816032"/>
                <a:gd name="connsiteX2179" fmla="*/ 104156 w 866764"/>
                <a:gd name="connsiteY2179" fmla="*/ 396959 h 816032"/>
                <a:gd name="connsiteX2180" fmla="*/ 104852 w 866764"/>
                <a:gd name="connsiteY2180" fmla="*/ 395810 h 816032"/>
                <a:gd name="connsiteX2181" fmla="*/ 105456 w 866764"/>
                <a:gd name="connsiteY2181" fmla="*/ 394116 h 816032"/>
                <a:gd name="connsiteX2182" fmla="*/ 105245 w 866764"/>
                <a:gd name="connsiteY2182" fmla="*/ 392633 h 816032"/>
                <a:gd name="connsiteX2183" fmla="*/ 103490 w 866764"/>
                <a:gd name="connsiteY2183" fmla="*/ 392119 h 816032"/>
                <a:gd name="connsiteX2184" fmla="*/ 102462 w 866764"/>
                <a:gd name="connsiteY2184" fmla="*/ 394842 h 816032"/>
                <a:gd name="connsiteX2185" fmla="*/ 101584 w 866764"/>
                <a:gd name="connsiteY2185" fmla="*/ 395507 h 816032"/>
                <a:gd name="connsiteX2186" fmla="*/ 99981 w 866764"/>
                <a:gd name="connsiteY2186" fmla="*/ 394509 h 816032"/>
                <a:gd name="connsiteX2187" fmla="*/ 99467 w 866764"/>
                <a:gd name="connsiteY2187" fmla="*/ 396173 h 816032"/>
                <a:gd name="connsiteX2188" fmla="*/ 100162 w 866764"/>
                <a:gd name="connsiteY2188" fmla="*/ 397201 h 816032"/>
                <a:gd name="connsiteX2189" fmla="*/ 101282 w 866764"/>
                <a:gd name="connsiteY2189" fmla="*/ 397897 h 816032"/>
                <a:gd name="connsiteX2190" fmla="*/ 102038 w 866764"/>
                <a:gd name="connsiteY2190" fmla="*/ 398593 h 816032"/>
                <a:gd name="connsiteX2191" fmla="*/ 102340 w 866764"/>
                <a:gd name="connsiteY2191" fmla="*/ 399833 h 816032"/>
                <a:gd name="connsiteX2192" fmla="*/ 102613 w 866764"/>
                <a:gd name="connsiteY2192" fmla="*/ 402526 h 816032"/>
                <a:gd name="connsiteX2193" fmla="*/ 102794 w 866764"/>
                <a:gd name="connsiteY2193" fmla="*/ 403433 h 816032"/>
                <a:gd name="connsiteX2194" fmla="*/ 104791 w 866764"/>
                <a:gd name="connsiteY2194" fmla="*/ 407426 h 816032"/>
                <a:gd name="connsiteX2195" fmla="*/ 106122 w 866764"/>
                <a:gd name="connsiteY2195" fmla="*/ 409211 h 816032"/>
                <a:gd name="connsiteX2196" fmla="*/ 107634 w 866764"/>
                <a:gd name="connsiteY2196" fmla="*/ 410724 h 816032"/>
                <a:gd name="connsiteX2197" fmla="*/ 106878 w 866764"/>
                <a:gd name="connsiteY2197" fmla="*/ 411541 h 816032"/>
                <a:gd name="connsiteX2198" fmla="*/ 108663 w 866764"/>
                <a:gd name="connsiteY2198" fmla="*/ 413719 h 816032"/>
                <a:gd name="connsiteX2199" fmla="*/ 110024 w 866764"/>
                <a:gd name="connsiteY2199" fmla="*/ 414021 h 816032"/>
                <a:gd name="connsiteX2200" fmla="*/ 111688 w 866764"/>
                <a:gd name="connsiteY2200" fmla="*/ 413507 h 816032"/>
                <a:gd name="connsiteX2201" fmla="*/ 114471 w 866764"/>
                <a:gd name="connsiteY2201" fmla="*/ 413144 h 816032"/>
                <a:gd name="connsiteX2202" fmla="*/ 114471 w 866764"/>
                <a:gd name="connsiteY2202" fmla="*/ 412267 h 816032"/>
                <a:gd name="connsiteX2203" fmla="*/ 113080 w 866764"/>
                <a:gd name="connsiteY2203" fmla="*/ 411783 h 816032"/>
                <a:gd name="connsiteX2204" fmla="*/ 112445 w 866764"/>
                <a:gd name="connsiteY2204" fmla="*/ 410633 h 816032"/>
                <a:gd name="connsiteX2205" fmla="*/ 111809 w 866764"/>
                <a:gd name="connsiteY2205" fmla="*/ 407426 h 816032"/>
                <a:gd name="connsiteX2206" fmla="*/ 113352 w 866764"/>
                <a:gd name="connsiteY2206" fmla="*/ 407366 h 816032"/>
                <a:gd name="connsiteX2207" fmla="*/ 113836 w 866764"/>
                <a:gd name="connsiteY2207" fmla="*/ 407426 h 816032"/>
                <a:gd name="connsiteX2208" fmla="*/ 111961 w 866764"/>
                <a:gd name="connsiteY2208" fmla="*/ 405944 h 816032"/>
                <a:gd name="connsiteX2209" fmla="*/ 110872 w 866764"/>
                <a:gd name="connsiteY2209" fmla="*/ 405369 h 816032"/>
                <a:gd name="connsiteX2210" fmla="*/ 109631 w 866764"/>
                <a:gd name="connsiteY2210" fmla="*/ 405037 h 816032"/>
                <a:gd name="connsiteX2211" fmla="*/ 127631 w 866764"/>
                <a:gd name="connsiteY2211" fmla="*/ 386553 h 816032"/>
                <a:gd name="connsiteX2212" fmla="*/ 129022 w 866764"/>
                <a:gd name="connsiteY2212" fmla="*/ 386553 h 816032"/>
                <a:gd name="connsiteX2213" fmla="*/ 129204 w 866764"/>
                <a:gd name="connsiteY2213" fmla="*/ 384889 h 816032"/>
                <a:gd name="connsiteX2214" fmla="*/ 130202 w 866764"/>
                <a:gd name="connsiteY2214" fmla="*/ 382983 h 816032"/>
                <a:gd name="connsiteX2215" fmla="*/ 132411 w 866764"/>
                <a:gd name="connsiteY2215" fmla="*/ 380019 h 816032"/>
                <a:gd name="connsiteX2216" fmla="*/ 131503 w 866764"/>
                <a:gd name="connsiteY2216" fmla="*/ 380170 h 816032"/>
                <a:gd name="connsiteX2217" fmla="*/ 127661 w 866764"/>
                <a:gd name="connsiteY2217" fmla="*/ 385645 h 816032"/>
                <a:gd name="connsiteX2218" fmla="*/ 127661 w 866764"/>
                <a:gd name="connsiteY2218" fmla="*/ 386523 h 816032"/>
                <a:gd name="connsiteX2219" fmla="*/ 653068 w 866764"/>
                <a:gd name="connsiteY2219" fmla="*/ 385827 h 816032"/>
                <a:gd name="connsiteX2220" fmla="*/ 652766 w 866764"/>
                <a:gd name="connsiteY2220" fmla="*/ 386220 h 816032"/>
                <a:gd name="connsiteX2221" fmla="*/ 652614 w 866764"/>
                <a:gd name="connsiteY2221" fmla="*/ 386765 h 816032"/>
                <a:gd name="connsiteX2222" fmla="*/ 652372 w 866764"/>
                <a:gd name="connsiteY2222" fmla="*/ 387279 h 816032"/>
                <a:gd name="connsiteX2223" fmla="*/ 648137 w 866764"/>
                <a:gd name="connsiteY2223" fmla="*/ 382529 h 816032"/>
                <a:gd name="connsiteX2224" fmla="*/ 647925 w 866764"/>
                <a:gd name="connsiteY2224" fmla="*/ 381713 h 816032"/>
                <a:gd name="connsiteX2225" fmla="*/ 643085 w 866764"/>
                <a:gd name="connsiteY2225" fmla="*/ 380291 h 816032"/>
                <a:gd name="connsiteX2226" fmla="*/ 641028 w 866764"/>
                <a:gd name="connsiteY2226" fmla="*/ 380049 h 816032"/>
                <a:gd name="connsiteX2227" fmla="*/ 626265 w 866764"/>
                <a:gd name="connsiteY2227" fmla="*/ 382862 h 816032"/>
                <a:gd name="connsiteX2228" fmla="*/ 625902 w 866764"/>
                <a:gd name="connsiteY2228" fmla="*/ 384556 h 816032"/>
                <a:gd name="connsiteX2229" fmla="*/ 625207 w 866764"/>
                <a:gd name="connsiteY2229" fmla="*/ 385827 h 816032"/>
                <a:gd name="connsiteX2230" fmla="*/ 624662 w 866764"/>
                <a:gd name="connsiteY2230" fmla="*/ 387128 h 816032"/>
                <a:gd name="connsiteX2231" fmla="*/ 624844 w 866764"/>
                <a:gd name="connsiteY2231" fmla="*/ 388973 h 816032"/>
                <a:gd name="connsiteX2232" fmla="*/ 625721 w 866764"/>
                <a:gd name="connsiteY2232" fmla="*/ 390516 h 816032"/>
                <a:gd name="connsiteX2233" fmla="*/ 628927 w 866764"/>
                <a:gd name="connsiteY2233" fmla="*/ 394267 h 816032"/>
                <a:gd name="connsiteX2234" fmla="*/ 630410 w 866764"/>
                <a:gd name="connsiteY2234" fmla="*/ 395416 h 816032"/>
                <a:gd name="connsiteX2235" fmla="*/ 632164 w 866764"/>
                <a:gd name="connsiteY2235" fmla="*/ 396052 h 816032"/>
                <a:gd name="connsiteX2236" fmla="*/ 633495 w 866764"/>
                <a:gd name="connsiteY2236" fmla="*/ 396264 h 816032"/>
                <a:gd name="connsiteX2237" fmla="*/ 634615 w 866764"/>
                <a:gd name="connsiteY2237" fmla="*/ 396657 h 816032"/>
                <a:gd name="connsiteX2238" fmla="*/ 635825 w 866764"/>
                <a:gd name="connsiteY2238" fmla="*/ 397806 h 816032"/>
                <a:gd name="connsiteX2239" fmla="*/ 636490 w 866764"/>
                <a:gd name="connsiteY2239" fmla="*/ 399077 h 816032"/>
                <a:gd name="connsiteX2240" fmla="*/ 637004 w 866764"/>
                <a:gd name="connsiteY2240" fmla="*/ 400771 h 816032"/>
                <a:gd name="connsiteX2241" fmla="*/ 637095 w 866764"/>
                <a:gd name="connsiteY2241" fmla="*/ 402374 h 816032"/>
                <a:gd name="connsiteX2242" fmla="*/ 636521 w 866764"/>
                <a:gd name="connsiteY2242" fmla="*/ 403433 h 816032"/>
                <a:gd name="connsiteX2243" fmla="*/ 637428 w 866764"/>
                <a:gd name="connsiteY2243" fmla="*/ 403766 h 816032"/>
                <a:gd name="connsiteX2244" fmla="*/ 638214 w 866764"/>
                <a:gd name="connsiteY2244" fmla="*/ 404250 h 816032"/>
                <a:gd name="connsiteX2245" fmla="*/ 638820 w 866764"/>
                <a:gd name="connsiteY2245" fmla="*/ 404915 h 816032"/>
                <a:gd name="connsiteX2246" fmla="*/ 639273 w 866764"/>
                <a:gd name="connsiteY2246" fmla="*/ 405823 h 816032"/>
                <a:gd name="connsiteX2247" fmla="*/ 639697 w 866764"/>
                <a:gd name="connsiteY2247" fmla="*/ 405611 h 816032"/>
                <a:gd name="connsiteX2248" fmla="*/ 639818 w 866764"/>
                <a:gd name="connsiteY2248" fmla="*/ 405611 h 816032"/>
                <a:gd name="connsiteX2249" fmla="*/ 639818 w 866764"/>
                <a:gd name="connsiteY2249" fmla="*/ 405490 h 816032"/>
                <a:gd name="connsiteX2250" fmla="*/ 640029 w 866764"/>
                <a:gd name="connsiteY2250" fmla="*/ 405037 h 816032"/>
                <a:gd name="connsiteX2251" fmla="*/ 640393 w 866764"/>
                <a:gd name="connsiteY2251" fmla="*/ 406549 h 816032"/>
                <a:gd name="connsiteX2252" fmla="*/ 640181 w 866764"/>
                <a:gd name="connsiteY2252" fmla="*/ 409423 h 816032"/>
                <a:gd name="connsiteX2253" fmla="*/ 640695 w 866764"/>
                <a:gd name="connsiteY2253" fmla="*/ 410754 h 816032"/>
                <a:gd name="connsiteX2254" fmla="*/ 639031 w 866764"/>
                <a:gd name="connsiteY2254" fmla="*/ 411510 h 816032"/>
                <a:gd name="connsiteX2255" fmla="*/ 638608 w 866764"/>
                <a:gd name="connsiteY2255" fmla="*/ 412751 h 816032"/>
                <a:gd name="connsiteX2256" fmla="*/ 638547 w 866764"/>
                <a:gd name="connsiteY2256" fmla="*/ 414203 h 816032"/>
                <a:gd name="connsiteX2257" fmla="*/ 637882 w 866764"/>
                <a:gd name="connsiteY2257" fmla="*/ 415564 h 816032"/>
                <a:gd name="connsiteX2258" fmla="*/ 637307 w 866764"/>
                <a:gd name="connsiteY2258" fmla="*/ 415746 h 816032"/>
                <a:gd name="connsiteX2259" fmla="*/ 634857 w 866764"/>
                <a:gd name="connsiteY2259" fmla="*/ 415564 h 816032"/>
                <a:gd name="connsiteX2260" fmla="*/ 633677 w 866764"/>
                <a:gd name="connsiteY2260" fmla="*/ 416774 h 816032"/>
                <a:gd name="connsiteX2261" fmla="*/ 633132 w 866764"/>
                <a:gd name="connsiteY2261" fmla="*/ 417167 h 816032"/>
                <a:gd name="connsiteX2262" fmla="*/ 631317 w 866764"/>
                <a:gd name="connsiteY2262" fmla="*/ 417561 h 816032"/>
                <a:gd name="connsiteX2263" fmla="*/ 629986 w 866764"/>
                <a:gd name="connsiteY2263" fmla="*/ 418014 h 816032"/>
                <a:gd name="connsiteX2264" fmla="*/ 629018 w 866764"/>
                <a:gd name="connsiteY2264" fmla="*/ 418771 h 816032"/>
                <a:gd name="connsiteX2265" fmla="*/ 628141 w 866764"/>
                <a:gd name="connsiteY2265" fmla="*/ 420616 h 816032"/>
                <a:gd name="connsiteX2266" fmla="*/ 627989 w 866764"/>
                <a:gd name="connsiteY2266" fmla="*/ 422249 h 816032"/>
                <a:gd name="connsiteX2267" fmla="*/ 628715 w 866764"/>
                <a:gd name="connsiteY2267" fmla="*/ 422945 h 816032"/>
                <a:gd name="connsiteX2268" fmla="*/ 630379 w 866764"/>
                <a:gd name="connsiteY2268" fmla="*/ 421977 h 816032"/>
                <a:gd name="connsiteX2269" fmla="*/ 630319 w 866764"/>
                <a:gd name="connsiteY2269" fmla="*/ 422764 h 816032"/>
                <a:gd name="connsiteX2270" fmla="*/ 630410 w 866764"/>
                <a:gd name="connsiteY2270" fmla="*/ 424397 h 816032"/>
                <a:gd name="connsiteX2271" fmla="*/ 630410 w 866764"/>
                <a:gd name="connsiteY2271" fmla="*/ 425184 h 816032"/>
                <a:gd name="connsiteX2272" fmla="*/ 630833 w 866764"/>
                <a:gd name="connsiteY2272" fmla="*/ 424972 h 816032"/>
                <a:gd name="connsiteX2273" fmla="*/ 631983 w 866764"/>
                <a:gd name="connsiteY2273" fmla="*/ 424670 h 816032"/>
                <a:gd name="connsiteX2274" fmla="*/ 632467 w 866764"/>
                <a:gd name="connsiteY2274" fmla="*/ 424458 h 816032"/>
                <a:gd name="connsiteX2275" fmla="*/ 632920 w 866764"/>
                <a:gd name="connsiteY2275" fmla="*/ 425880 h 816032"/>
                <a:gd name="connsiteX2276" fmla="*/ 633889 w 866764"/>
                <a:gd name="connsiteY2276" fmla="*/ 427271 h 816032"/>
                <a:gd name="connsiteX2277" fmla="*/ 634857 w 866764"/>
                <a:gd name="connsiteY2277" fmla="*/ 428149 h 816032"/>
                <a:gd name="connsiteX2278" fmla="*/ 635280 w 866764"/>
                <a:gd name="connsiteY2278" fmla="*/ 428028 h 816032"/>
                <a:gd name="connsiteX2279" fmla="*/ 635704 w 866764"/>
                <a:gd name="connsiteY2279" fmla="*/ 428209 h 816032"/>
                <a:gd name="connsiteX2280" fmla="*/ 637942 w 866764"/>
                <a:gd name="connsiteY2280" fmla="*/ 430932 h 816032"/>
                <a:gd name="connsiteX2281" fmla="*/ 638971 w 866764"/>
                <a:gd name="connsiteY2281" fmla="*/ 431628 h 816032"/>
                <a:gd name="connsiteX2282" fmla="*/ 640393 w 866764"/>
                <a:gd name="connsiteY2282" fmla="*/ 431870 h 816032"/>
                <a:gd name="connsiteX2283" fmla="*/ 642480 w 866764"/>
                <a:gd name="connsiteY2283" fmla="*/ 432717 h 816032"/>
                <a:gd name="connsiteX2284" fmla="*/ 643478 w 866764"/>
                <a:gd name="connsiteY2284" fmla="*/ 432414 h 816032"/>
                <a:gd name="connsiteX2285" fmla="*/ 644083 w 866764"/>
                <a:gd name="connsiteY2285" fmla="*/ 431476 h 816032"/>
                <a:gd name="connsiteX2286" fmla="*/ 644719 w 866764"/>
                <a:gd name="connsiteY2286" fmla="*/ 428844 h 816032"/>
                <a:gd name="connsiteX2287" fmla="*/ 645535 w 866764"/>
                <a:gd name="connsiteY2287" fmla="*/ 427604 h 816032"/>
                <a:gd name="connsiteX2288" fmla="*/ 650376 w 866764"/>
                <a:gd name="connsiteY2288" fmla="*/ 426152 h 816032"/>
                <a:gd name="connsiteX2289" fmla="*/ 652796 w 866764"/>
                <a:gd name="connsiteY2289" fmla="*/ 424972 h 816032"/>
                <a:gd name="connsiteX2290" fmla="*/ 652796 w 866764"/>
                <a:gd name="connsiteY2290" fmla="*/ 423248 h 816032"/>
                <a:gd name="connsiteX2291" fmla="*/ 651797 w 866764"/>
                <a:gd name="connsiteY2291" fmla="*/ 420404 h 816032"/>
                <a:gd name="connsiteX2292" fmla="*/ 652917 w 866764"/>
                <a:gd name="connsiteY2292" fmla="*/ 417742 h 816032"/>
                <a:gd name="connsiteX2293" fmla="*/ 655276 w 866764"/>
                <a:gd name="connsiteY2293" fmla="*/ 415927 h 816032"/>
                <a:gd name="connsiteX2294" fmla="*/ 657938 w 866764"/>
                <a:gd name="connsiteY2294" fmla="*/ 415594 h 816032"/>
                <a:gd name="connsiteX2295" fmla="*/ 656547 w 866764"/>
                <a:gd name="connsiteY2295" fmla="*/ 410784 h 816032"/>
                <a:gd name="connsiteX2296" fmla="*/ 655488 w 866764"/>
                <a:gd name="connsiteY2296" fmla="*/ 401921 h 816032"/>
                <a:gd name="connsiteX2297" fmla="*/ 655488 w 866764"/>
                <a:gd name="connsiteY2297" fmla="*/ 400438 h 816032"/>
                <a:gd name="connsiteX2298" fmla="*/ 655791 w 866764"/>
                <a:gd name="connsiteY2298" fmla="*/ 398653 h 816032"/>
                <a:gd name="connsiteX2299" fmla="*/ 657001 w 866764"/>
                <a:gd name="connsiteY2299" fmla="*/ 396990 h 816032"/>
                <a:gd name="connsiteX2300" fmla="*/ 657001 w 866764"/>
                <a:gd name="connsiteY2300" fmla="*/ 396233 h 816032"/>
                <a:gd name="connsiteX2301" fmla="*/ 655155 w 866764"/>
                <a:gd name="connsiteY2301" fmla="*/ 396173 h 816032"/>
                <a:gd name="connsiteX2302" fmla="*/ 655760 w 866764"/>
                <a:gd name="connsiteY2302" fmla="*/ 395447 h 816032"/>
                <a:gd name="connsiteX2303" fmla="*/ 654913 w 866764"/>
                <a:gd name="connsiteY2303" fmla="*/ 395205 h 816032"/>
                <a:gd name="connsiteX2304" fmla="*/ 654490 w 866764"/>
                <a:gd name="connsiteY2304" fmla="*/ 394902 h 816032"/>
                <a:gd name="connsiteX2305" fmla="*/ 653703 w 866764"/>
                <a:gd name="connsiteY2305" fmla="*/ 393844 h 816032"/>
                <a:gd name="connsiteX2306" fmla="*/ 655972 w 866764"/>
                <a:gd name="connsiteY2306" fmla="*/ 393208 h 816032"/>
                <a:gd name="connsiteX2307" fmla="*/ 656456 w 866764"/>
                <a:gd name="connsiteY2307" fmla="*/ 391121 h 816032"/>
                <a:gd name="connsiteX2308" fmla="*/ 656638 w 866764"/>
                <a:gd name="connsiteY2308" fmla="*/ 388761 h 816032"/>
                <a:gd name="connsiteX2309" fmla="*/ 657908 w 866764"/>
                <a:gd name="connsiteY2309" fmla="*/ 387309 h 816032"/>
                <a:gd name="connsiteX2310" fmla="*/ 657001 w 866764"/>
                <a:gd name="connsiteY2310" fmla="*/ 385766 h 816032"/>
                <a:gd name="connsiteX2311" fmla="*/ 655882 w 866764"/>
                <a:gd name="connsiteY2311" fmla="*/ 384768 h 816032"/>
                <a:gd name="connsiteX2312" fmla="*/ 654581 w 866764"/>
                <a:gd name="connsiteY2312" fmla="*/ 384435 h 816032"/>
                <a:gd name="connsiteX2313" fmla="*/ 653068 w 866764"/>
                <a:gd name="connsiteY2313" fmla="*/ 384889 h 816032"/>
                <a:gd name="connsiteX2314" fmla="*/ 653370 w 866764"/>
                <a:gd name="connsiteY2314" fmla="*/ 384980 h 816032"/>
                <a:gd name="connsiteX2315" fmla="*/ 653613 w 866764"/>
                <a:gd name="connsiteY2315" fmla="*/ 384980 h 816032"/>
                <a:gd name="connsiteX2316" fmla="*/ 653733 w 866764"/>
                <a:gd name="connsiteY2316" fmla="*/ 385191 h 816032"/>
                <a:gd name="connsiteX2317" fmla="*/ 653673 w 866764"/>
                <a:gd name="connsiteY2317" fmla="*/ 385706 h 816032"/>
                <a:gd name="connsiteX2318" fmla="*/ 653038 w 866764"/>
                <a:gd name="connsiteY2318" fmla="*/ 385857 h 816032"/>
                <a:gd name="connsiteX2319" fmla="*/ 601913 w 866764"/>
                <a:gd name="connsiteY2319" fmla="*/ 387430 h 816032"/>
                <a:gd name="connsiteX2320" fmla="*/ 602669 w 866764"/>
                <a:gd name="connsiteY2320" fmla="*/ 383256 h 816032"/>
                <a:gd name="connsiteX2321" fmla="*/ 603032 w 866764"/>
                <a:gd name="connsiteY2321" fmla="*/ 383165 h 816032"/>
                <a:gd name="connsiteX2322" fmla="*/ 603305 w 866764"/>
                <a:gd name="connsiteY2322" fmla="*/ 383165 h 816032"/>
                <a:gd name="connsiteX2323" fmla="*/ 603456 w 866764"/>
                <a:gd name="connsiteY2323" fmla="*/ 383013 h 816032"/>
                <a:gd name="connsiteX2324" fmla="*/ 603456 w 866764"/>
                <a:gd name="connsiteY2324" fmla="*/ 382439 h 816032"/>
                <a:gd name="connsiteX2325" fmla="*/ 600673 w 866764"/>
                <a:gd name="connsiteY2325" fmla="*/ 380049 h 816032"/>
                <a:gd name="connsiteX2326" fmla="*/ 600037 w 866764"/>
                <a:gd name="connsiteY2326" fmla="*/ 379141 h 816032"/>
                <a:gd name="connsiteX2327" fmla="*/ 599220 w 866764"/>
                <a:gd name="connsiteY2327" fmla="*/ 379141 h 816032"/>
                <a:gd name="connsiteX2328" fmla="*/ 599220 w 866764"/>
                <a:gd name="connsiteY2328" fmla="*/ 380019 h 816032"/>
                <a:gd name="connsiteX2329" fmla="*/ 598585 w 866764"/>
                <a:gd name="connsiteY2329" fmla="*/ 380019 h 816032"/>
                <a:gd name="connsiteX2330" fmla="*/ 597889 w 866764"/>
                <a:gd name="connsiteY2330" fmla="*/ 379323 h 816032"/>
                <a:gd name="connsiteX2331" fmla="*/ 597103 w 866764"/>
                <a:gd name="connsiteY2331" fmla="*/ 379414 h 816032"/>
                <a:gd name="connsiteX2332" fmla="*/ 596347 w 866764"/>
                <a:gd name="connsiteY2332" fmla="*/ 379988 h 816032"/>
                <a:gd name="connsiteX2333" fmla="*/ 595742 w 866764"/>
                <a:gd name="connsiteY2333" fmla="*/ 380805 h 816032"/>
                <a:gd name="connsiteX2334" fmla="*/ 595439 w 866764"/>
                <a:gd name="connsiteY2334" fmla="*/ 380442 h 816032"/>
                <a:gd name="connsiteX2335" fmla="*/ 594985 w 866764"/>
                <a:gd name="connsiteY2335" fmla="*/ 379958 h 816032"/>
                <a:gd name="connsiteX2336" fmla="*/ 594380 w 866764"/>
                <a:gd name="connsiteY2336" fmla="*/ 379716 h 816032"/>
                <a:gd name="connsiteX2337" fmla="*/ 593684 w 866764"/>
                <a:gd name="connsiteY2337" fmla="*/ 380019 h 816032"/>
                <a:gd name="connsiteX2338" fmla="*/ 593382 w 866764"/>
                <a:gd name="connsiteY2338" fmla="*/ 380805 h 816032"/>
                <a:gd name="connsiteX2339" fmla="*/ 593866 w 866764"/>
                <a:gd name="connsiteY2339" fmla="*/ 381471 h 816032"/>
                <a:gd name="connsiteX2340" fmla="*/ 595106 w 866764"/>
                <a:gd name="connsiteY2340" fmla="*/ 382408 h 816032"/>
                <a:gd name="connsiteX2341" fmla="*/ 595590 w 866764"/>
                <a:gd name="connsiteY2341" fmla="*/ 383225 h 816032"/>
                <a:gd name="connsiteX2342" fmla="*/ 596740 w 866764"/>
                <a:gd name="connsiteY2342" fmla="*/ 384314 h 816032"/>
                <a:gd name="connsiteX2343" fmla="*/ 597133 w 866764"/>
                <a:gd name="connsiteY2343" fmla="*/ 384859 h 816032"/>
                <a:gd name="connsiteX2344" fmla="*/ 597254 w 866764"/>
                <a:gd name="connsiteY2344" fmla="*/ 385615 h 816032"/>
                <a:gd name="connsiteX2345" fmla="*/ 596982 w 866764"/>
                <a:gd name="connsiteY2345" fmla="*/ 386250 h 816032"/>
                <a:gd name="connsiteX2346" fmla="*/ 596800 w 866764"/>
                <a:gd name="connsiteY2346" fmla="*/ 387037 h 816032"/>
                <a:gd name="connsiteX2347" fmla="*/ 597133 w 866764"/>
                <a:gd name="connsiteY2347" fmla="*/ 388126 h 816032"/>
                <a:gd name="connsiteX2348" fmla="*/ 598222 w 866764"/>
                <a:gd name="connsiteY2348" fmla="*/ 387430 h 816032"/>
                <a:gd name="connsiteX2349" fmla="*/ 599160 w 866764"/>
                <a:gd name="connsiteY2349" fmla="*/ 387521 h 816032"/>
                <a:gd name="connsiteX2350" fmla="*/ 600219 w 866764"/>
                <a:gd name="connsiteY2350" fmla="*/ 387884 h 816032"/>
                <a:gd name="connsiteX2351" fmla="*/ 601610 w 866764"/>
                <a:gd name="connsiteY2351" fmla="*/ 388126 h 816032"/>
                <a:gd name="connsiteX2352" fmla="*/ 601822 w 866764"/>
                <a:gd name="connsiteY2352" fmla="*/ 387400 h 816032"/>
                <a:gd name="connsiteX2353" fmla="*/ 133530 w 866764"/>
                <a:gd name="connsiteY2353" fmla="*/ 375935 h 816032"/>
                <a:gd name="connsiteX2354" fmla="*/ 133409 w 866764"/>
                <a:gd name="connsiteY2354" fmla="*/ 374694 h 816032"/>
                <a:gd name="connsiteX2355" fmla="*/ 132743 w 866764"/>
                <a:gd name="connsiteY2355" fmla="*/ 374331 h 816032"/>
                <a:gd name="connsiteX2356" fmla="*/ 130353 w 866764"/>
                <a:gd name="connsiteY2356" fmla="*/ 374846 h 816032"/>
                <a:gd name="connsiteX2357" fmla="*/ 128569 w 866764"/>
                <a:gd name="connsiteY2357" fmla="*/ 375481 h 816032"/>
                <a:gd name="connsiteX2358" fmla="*/ 127026 w 866764"/>
                <a:gd name="connsiteY2358" fmla="*/ 377114 h 816032"/>
                <a:gd name="connsiteX2359" fmla="*/ 125211 w 866764"/>
                <a:gd name="connsiteY2359" fmla="*/ 380109 h 816032"/>
                <a:gd name="connsiteX2360" fmla="*/ 124939 w 866764"/>
                <a:gd name="connsiteY2360" fmla="*/ 381440 h 816032"/>
                <a:gd name="connsiteX2361" fmla="*/ 125271 w 866764"/>
                <a:gd name="connsiteY2361" fmla="*/ 382590 h 816032"/>
                <a:gd name="connsiteX2362" fmla="*/ 126088 w 866764"/>
                <a:gd name="connsiteY2362" fmla="*/ 382378 h 816032"/>
                <a:gd name="connsiteX2363" fmla="*/ 126905 w 866764"/>
                <a:gd name="connsiteY2363" fmla="*/ 380956 h 816032"/>
                <a:gd name="connsiteX2364" fmla="*/ 128024 w 866764"/>
                <a:gd name="connsiteY2364" fmla="*/ 379807 h 816032"/>
                <a:gd name="connsiteX2365" fmla="*/ 128810 w 866764"/>
                <a:gd name="connsiteY2365" fmla="*/ 379383 h 816032"/>
                <a:gd name="connsiteX2366" fmla="*/ 129658 w 866764"/>
                <a:gd name="connsiteY2366" fmla="*/ 379051 h 816032"/>
                <a:gd name="connsiteX2367" fmla="*/ 131110 w 866764"/>
                <a:gd name="connsiteY2367" fmla="*/ 378264 h 816032"/>
                <a:gd name="connsiteX2368" fmla="*/ 132380 w 866764"/>
                <a:gd name="connsiteY2368" fmla="*/ 377296 h 816032"/>
                <a:gd name="connsiteX2369" fmla="*/ 133500 w 866764"/>
                <a:gd name="connsiteY2369" fmla="*/ 375935 h 816032"/>
                <a:gd name="connsiteX2370" fmla="*/ 117920 w 866764"/>
                <a:gd name="connsiteY2370" fmla="*/ 372274 h 816032"/>
                <a:gd name="connsiteX2371" fmla="*/ 117436 w 866764"/>
                <a:gd name="connsiteY2371" fmla="*/ 372425 h 816032"/>
                <a:gd name="connsiteX2372" fmla="*/ 116982 w 866764"/>
                <a:gd name="connsiteY2372" fmla="*/ 372153 h 816032"/>
                <a:gd name="connsiteX2373" fmla="*/ 116438 w 866764"/>
                <a:gd name="connsiteY2373" fmla="*/ 371669 h 816032"/>
                <a:gd name="connsiteX2374" fmla="*/ 114320 w 866764"/>
                <a:gd name="connsiteY2374" fmla="*/ 372728 h 816032"/>
                <a:gd name="connsiteX2375" fmla="*/ 112747 w 866764"/>
                <a:gd name="connsiteY2375" fmla="*/ 373061 h 816032"/>
                <a:gd name="connsiteX2376" fmla="*/ 111809 w 866764"/>
                <a:gd name="connsiteY2376" fmla="*/ 374392 h 816032"/>
                <a:gd name="connsiteX2377" fmla="*/ 113291 w 866764"/>
                <a:gd name="connsiteY2377" fmla="*/ 377477 h 816032"/>
                <a:gd name="connsiteX2378" fmla="*/ 116861 w 866764"/>
                <a:gd name="connsiteY2378" fmla="*/ 380593 h 816032"/>
                <a:gd name="connsiteX2379" fmla="*/ 118162 w 866764"/>
                <a:gd name="connsiteY2379" fmla="*/ 381108 h 816032"/>
                <a:gd name="connsiteX2380" fmla="*/ 117194 w 866764"/>
                <a:gd name="connsiteY2380" fmla="*/ 379958 h 816032"/>
                <a:gd name="connsiteX2381" fmla="*/ 116438 w 866764"/>
                <a:gd name="connsiteY2381" fmla="*/ 379474 h 816032"/>
                <a:gd name="connsiteX2382" fmla="*/ 116287 w 866764"/>
                <a:gd name="connsiteY2382" fmla="*/ 379171 h 816032"/>
                <a:gd name="connsiteX2383" fmla="*/ 115440 w 866764"/>
                <a:gd name="connsiteY2383" fmla="*/ 378415 h 816032"/>
                <a:gd name="connsiteX2384" fmla="*/ 114078 w 866764"/>
                <a:gd name="connsiteY2384" fmla="*/ 377356 h 816032"/>
                <a:gd name="connsiteX2385" fmla="*/ 114411 w 866764"/>
                <a:gd name="connsiteY2385" fmla="*/ 375965 h 816032"/>
                <a:gd name="connsiteX2386" fmla="*/ 116982 w 866764"/>
                <a:gd name="connsiteY2386" fmla="*/ 375299 h 816032"/>
                <a:gd name="connsiteX2387" fmla="*/ 117799 w 866764"/>
                <a:gd name="connsiteY2387" fmla="*/ 374543 h 816032"/>
                <a:gd name="connsiteX2388" fmla="*/ 118313 w 866764"/>
                <a:gd name="connsiteY2388" fmla="*/ 373877 h 816032"/>
                <a:gd name="connsiteX2389" fmla="*/ 118646 w 866764"/>
                <a:gd name="connsiteY2389" fmla="*/ 373272 h 816032"/>
                <a:gd name="connsiteX2390" fmla="*/ 118646 w 866764"/>
                <a:gd name="connsiteY2390" fmla="*/ 372819 h 816032"/>
                <a:gd name="connsiteX2391" fmla="*/ 118011 w 866764"/>
                <a:gd name="connsiteY2391" fmla="*/ 372819 h 816032"/>
                <a:gd name="connsiteX2392" fmla="*/ 118102 w 866764"/>
                <a:gd name="connsiteY2392" fmla="*/ 372456 h 816032"/>
                <a:gd name="connsiteX2393" fmla="*/ 117890 w 866764"/>
                <a:gd name="connsiteY2393" fmla="*/ 372305 h 816032"/>
                <a:gd name="connsiteX2394" fmla="*/ 110387 w 866764"/>
                <a:gd name="connsiteY2394" fmla="*/ 357693 h 816032"/>
                <a:gd name="connsiteX2395" fmla="*/ 110297 w 866764"/>
                <a:gd name="connsiteY2395" fmla="*/ 355999 h 816032"/>
                <a:gd name="connsiteX2396" fmla="*/ 109873 w 866764"/>
                <a:gd name="connsiteY2396" fmla="*/ 354184 h 816032"/>
                <a:gd name="connsiteX2397" fmla="*/ 108300 w 866764"/>
                <a:gd name="connsiteY2397" fmla="*/ 352490 h 816032"/>
                <a:gd name="connsiteX2398" fmla="*/ 107090 w 866764"/>
                <a:gd name="connsiteY2398" fmla="*/ 351975 h 816032"/>
                <a:gd name="connsiteX2399" fmla="*/ 106939 w 866764"/>
                <a:gd name="connsiteY2399" fmla="*/ 351370 h 816032"/>
                <a:gd name="connsiteX2400" fmla="*/ 106697 w 866764"/>
                <a:gd name="connsiteY2400" fmla="*/ 350947 h 816032"/>
                <a:gd name="connsiteX2401" fmla="*/ 104458 w 866764"/>
                <a:gd name="connsiteY2401" fmla="*/ 352036 h 816032"/>
                <a:gd name="connsiteX2402" fmla="*/ 102583 w 866764"/>
                <a:gd name="connsiteY2402" fmla="*/ 353549 h 816032"/>
                <a:gd name="connsiteX2403" fmla="*/ 101373 w 866764"/>
                <a:gd name="connsiteY2403" fmla="*/ 354940 h 816032"/>
                <a:gd name="connsiteX2404" fmla="*/ 100041 w 866764"/>
                <a:gd name="connsiteY2404" fmla="*/ 357421 h 816032"/>
                <a:gd name="connsiteX2405" fmla="*/ 99225 w 866764"/>
                <a:gd name="connsiteY2405" fmla="*/ 358570 h 816032"/>
                <a:gd name="connsiteX2406" fmla="*/ 98257 w 866764"/>
                <a:gd name="connsiteY2406" fmla="*/ 359054 h 816032"/>
                <a:gd name="connsiteX2407" fmla="*/ 96532 w 866764"/>
                <a:gd name="connsiteY2407" fmla="*/ 363441 h 816032"/>
                <a:gd name="connsiteX2408" fmla="*/ 96109 w 866764"/>
                <a:gd name="connsiteY2408" fmla="*/ 365831 h 816032"/>
                <a:gd name="connsiteX2409" fmla="*/ 94203 w 866764"/>
                <a:gd name="connsiteY2409" fmla="*/ 369733 h 816032"/>
                <a:gd name="connsiteX2410" fmla="*/ 92449 w 866764"/>
                <a:gd name="connsiteY2410" fmla="*/ 381138 h 816032"/>
                <a:gd name="connsiteX2411" fmla="*/ 92449 w 866764"/>
                <a:gd name="connsiteY2411" fmla="*/ 384102 h 816032"/>
                <a:gd name="connsiteX2412" fmla="*/ 93084 w 866764"/>
                <a:gd name="connsiteY2412" fmla="*/ 384102 h 816032"/>
                <a:gd name="connsiteX2413" fmla="*/ 94505 w 866764"/>
                <a:gd name="connsiteY2413" fmla="*/ 381259 h 816032"/>
                <a:gd name="connsiteX2414" fmla="*/ 95594 w 866764"/>
                <a:gd name="connsiteY2414" fmla="*/ 379565 h 816032"/>
                <a:gd name="connsiteX2415" fmla="*/ 96532 w 866764"/>
                <a:gd name="connsiteY2415" fmla="*/ 378385 h 816032"/>
                <a:gd name="connsiteX2416" fmla="*/ 98226 w 866764"/>
                <a:gd name="connsiteY2416" fmla="*/ 377356 h 816032"/>
                <a:gd name="connsiteX2417" fmla="*/ 99376 w 866764"/>
                <a:gd name="connsiteY2417" fmla="*/ 379686 h 816032"/>
                <a:gd name="connsiteX2418" fmla="*/ 101373 w 866764"/>
                <a:gd name="connsiteY2418" fmla="*/ 380019 h 816032"/>
                <a:gd name="connsiteX2419" fmla="*/ 100949 w 866764"/>
                <a:gd name="connsiteY2419" fmla="*/ 381108 h 816032"/>
                <a:gd name="connsiteX2420" fmla="*/ 101100 w 866764"/>
                <a:gd name="connsiteY2420" fmla="*/ 381894 h 816032"/>
                <a:gd name="connsiteX2421" fmla="*/ 101736 w 866764"/>
                <a:gd name="connsiteY2421" fmla="*/ 382318 h 816032"/>
                <a:gd name="connsiteX2422" fmla="*/ 102794 w 866764"/>
                <a:gd name="connsiteY2422" fmla="*/ 382439 h 816032"/>
                <a:gd name="connsiteX2423" fmla="*/ 102794 w 866764"/>
                <a:gd name="connsiteY2423" fmla="*/ 381713 h 816032"/>
                <a:gd name="connsiteX2424" fmla="*/ 102129 w 866764"/>
                <a:gd name="connsiteY2424" fmla="*/ 380472 h 816032"/>
                <a:gd name="connsiteX2425" fmla="*/ 102946 w 866764"/>
                <a:gd name="connsiteY2425" fmla="*/ 379504 h 816032"/>
                <a:gd name="connsiteX2426" fmla="*/ 104519 w 866764"/>
                <a:gd name="connsiteY2426" fmla="*/ 379232 h 816032"/>
                <a:gd name="connsiteX2427" fmla="*/ 106213 w 866764"/>
                <a:gd name="connsiteY2427" fmla="*/ 380019 h 816032"/>
                <a:gd name="connsiteX2428" fmla="*/ 106364 w 866764"/>
                <a:gd name="connsiteY2428" fmla="*/ 379323 h 816032"/>
                <a:gd name="connsiteX2429" fmla="*/ 106576 w 866764"/>
                <a:gd name="connsiteY2429" fmla="*/ 378930 h 816032"/>
                <a:gd name="connsiteX2430" fmla="*/ 106757 w 866764"/>
                <a:gd name="connsiteY2430" fmla="*/ 378476 h 816032"/>
                <a:gd name="connsiteX2431" fmla="*/ 106818 w 866764"/>
                <a:gd name="connsiteY2431" fmla="*/ 377568 h 816032"/>
                <a:gd name="connsiteX2432" fmla="*/ 107877 w 866764"/>
                <a:gd name="connsiteY2432" fmla="*/ 378082 h 816032"/>
                <a:gd name="connsiteX2433" fmla="*/ 108240 w 866764"/>
                <a:gd name="connsiteY2433" fmla="*/ 378385 h 816032"/>
                <a:gd name="connsiteX2434" fmla="*/ 107786 w 866764"/>
                <a:gd name="connsiteY2434" fmla="*/ 376509 h 816032"/>
                <a:gd name="connsiteX2435" fmla="*/ 107574 w 866764"/>
                <a:gd name="connsiteY2435" fmla="*/ 375935 h 816032"/>
                <a:gd name="connsiteX2436" fmla="*/ 108240 w 866764"/>
                <a:gd name="connsiteY2436" fmla="*/ 375935 h 816032"/>
                <a:gd name="connsiteX2437" fmla="*/ 108996 w 866764"/>
                <a:gd name="connsiteY2437" fmla="*/ 377447 h 816032"/>
                <a:gd name="connsiteX2438" fmla="*/ 109631 w 866764"/>
                <a:gd name="connsiteY2438" fmla="*/ 377266 h 816032"/>
                <a:gd name="connsiteX2439" fmla="*/ 110115 w 866764"/>
                <a:gd name="connsiteY2439" fmla="*/ 375935 h 816032"/>
                <a:gd name="connsiteX2440" fmla="*/ 110418 w 866764"/>
                <a:gd name="connsiteY2440" fmla="*/ 369552 h 816032"/>
                <a:gd name="connsiteX2441" fmla="*/ 110297 w 866764"/>
                <a:gd name="connsiteY2441" fmla="*/ 367797 h 816032"/>
                <a:gd name="connsiteX2442" fmla="*/ 109601 w 866764"/>
                <a:gd name="connsiteY2442" fmla="*/ 368765 h 816032"/>
                <a:gd name="connsiteX2443" fmla="*/ 109117 w 866764"/>
                <a:gd name="connsiteY2443" fmla="*/ 370066 h 816032"/>
                <a:gd name="connsiteX2444" fmla="*/ 108633 w 866764"/>
                <a:gd name="connsiteY2444" fmla="*/ 370973 h 816032"/>
                <a:gd name="connsiteX2445" fmla="*/ 107907 w 866764"/>
                <a:gd name="connsiteY2445" fmla="*/ 370701 h 816032"/>
                <a:gd name="connsiteX2446" fmla="*/ 107725 w 866764"/>
                <a:gd name="connsiteY2446" fmla="*/ 369884 h 816032"/>
                <a:gd name="connsiteX2447" fmla="*/ 108179 w 866764"/>
                <a:gd name="connsiteY2447" fmla="*/ 368916 h 816032"/>
                <a:gd name="connsiteX2448" fmla="*/ 110539 w 866764"/>
                <a:gd name="connsiteY2448" fmla="*/ 365770 h 816032"/>
                <a:gd name="connsiteX2449" fmla="*/ 110932 w 866764"/>
                <a:gd name="connsiteY2449" fmla="*/ 365074 h 816032"/>
                <a:gd name="connsiteX2450" fmla="*/ 111023 w 866764"/>
                <a:gd name="connsiteY2450" fmla="*/ 364439 h 816032"/>
                <a:gd name="connsiteX2451" fmla="*/ 110962 w 866764"/>
                <a:gd name="connsiteY2451" fmla="*/ 363411 h 816032"/>
                <a:gd name="connsiteX2452" fmla="*/ 110781 w 866764"/>
                <a:gd name="connsiteY2452" fmla="*/ 362533 h 816032"/>
                <a:gd name="connsiteX2453" fmla="*/ 110478 w 866764"/>
                <a:gd name="connsiteY2453" fmla="*/ 361565 h 816032"/>
                <a:gd name="connsiteX2454" fmla="*/ 110418 w 866764"/>
                <a:gd name="connsiteY2454" fmla="*/ 360416 h 816032"/>
                <a:gd name="connsiteX2455" fmla="*/ 110962 w 866764"/>
                <a:gd name="connsiteY2455" fmla="*/ 359024 h 816032"/>
                <a:gd name="connsiteX2456" fmla="*/ 110297 w 866764"/>
                <a:gd name="connsiteY2456" fmla="*/ 357663 h 816032"/>
                <a:gd name="connsiteX2457" fmla="*/ 485868 w 866764"/>
                <a:gd name="connsiteY2457" fmla="*/ 344322 h 816032"/>
                <a:gd name="connsiteX2458" fmla="*/ 485051 w 866764"/>
                <a:gd name="connsiteY2458" fmla="*/ 344624 h 816032"/>
                <a:gd name="connsiteX2459" fmla="*/ 484325 w 866764"/>
                <a:gd name="connsiteY2459" fmla="*/ 345381 h 816032"/>
                <a:gd name="connsiteX2460" fmla="*/ 483932 w 866764"/>
                <a:gd name="connsiteY2460" fmla="*/ 346439 h 816032"/>
                <a:gd name="connsiteX2461" fmla="*/ 484083 w 866764"/>
                <a:gd name="connsiteY2461" fmla="*/ 347650 h 816032"/>
                <a:gd name="connsiteX2462" fmla="*/ 485021 w 866764"/>
                <a:gd name="connsiteY2462" fmla="*/ 346893 h 816032"/>
                <a:gd name="connsiteX2463" fmla="*/ 485929 w 866764"/>
                <a:gd name="connsiteY2463" fmla="*/ 346833 h 816032"/>
                <a:gd name="connsiteX2464" fmla="*/ 486836 w 866764"/>
                <a:gd name="connsiteY2464" fmla="*/ 347377 h 816032"/>
                <a:gd name="connsiteX2465" fmla="*/ 487593 w 866764"/>
                <a:gd name="connsiteY2465" fmla="*/ 348466 h 816032"/>
                <a:gd name="connsiteX2466" fmla="*/ 487925 w 866764"/>
                <a:gd name="connsiteY2466" fmla="*/ 347892 h 816032"/>
                <a:gd name="connsiteX2467" fmla="*/ 488288 w 866764"/>
                <a:gd name="connsiteY2467" fmla="*/ 347680 h 816032"/>
                <a:gd name="connsiteX2468" fmla="*/ 488772 w 866764"/>
                <a:gd name="connsiteY2468" fmla="*/ 349495 h 816032"/>
                <a:gd name="connsiteX2469" fmla="*/ 491041 w 866764"/>
                <a:gd name="connsiteY2469" fmla="*/ 350402 h 816032"/>
                <a:gd name="connsiteX2470" fmla="*/ 491041 w 866764"/>
                <a:gd name="connsiteY2470" fmla="*/ 351643 h 816032"/>
                <a:gd name="connsiteX2471" fmla="*/ 492191 w 866764"/>
                <a:gd name="connsiteY2471" fmla="*/ 351038 h 816032"/>
                <a:gd name="connsiteX2472" fmla="*/ 493340 w 866764"/>
                <a:gd name="connsiteY2472" fmla="*/ 350796 h 816032"/>
                <a:gd name="connsiteX2473" fmla="*/ 494218 w 866764"/>
                <a:gd name="connsiteY2473" fmla="*/ 351189 h 816032"/>
                <a:gd name="connsiteX2474" fmla="*/ 494550 w 866764"/>
                <a:gd name="connsiteY2474" fmla="*/ 352520 h 816032"/>
                <a:gd name="connsiteX2475" fmla="*/ 495125 w 866764"/>
                <a:gd name="connsiteY2475" fmla="*/ 352520 h 816032"/>
                <a:gd name="connsiteX2476" fmla="*/ 496214 w 866764"/>
                <a:gd name="connsiteY2476" fmla="*/ 351492 h 816032"/>
                <a:gd name="connsiteX2477" fmla="*/ 496880 w 866764"/>
                <a:gd name="connsiteY2477" fmla="*/ 352338 h 816032"/>
                <a:gd name="connsiteX2478" fmla="*/ 497908 w 866764"/>
                <a:gd name="connsiteY2478" fmla="*/ 355727 h 816032"/>
                <a:gd name="connsiteX2479" fmla="*/ 493734 w 866764"/>
                <a:gd name="connsiteY2479" fmla="*/ 357360 h 816032"/>
                <a:gd name="connsiteX2480" fmla="*/ 497182 w 866764"/>
                <a:gd name="connsiteY2480" fmla="*/ 361353 h 816032"/>
                <a:gd name="connsiteX2481" fmla="*/ 497515 w 866764"/>
                <a:gd name="connsiteY2481" fmla="*/ 359508 h 816032"/>
                <a:gd name="connsiteX2482" fmla="*/ 498725 w 866764"/>
                <a:gd name="connsiteY2482" fmla="*/ 358419 h 816032"/>
                <a:gd name="connsiteX2483" fmla="*/ 499996 w 866764"/>
                <a:gd name="connsiteY2483" fmla="*/ 357905 h 816032"/>
                <a:gd name="connsiteX2484" fmla="*/ 500601 w 866764"/>
                <a:gd name="connsiteY2484" fmla="*/ 357784 h 816032"/>
                <a:gd name="connsiteX2485" fmla="*/ 500964 w 866764"/>
                <a:gd name="connsiteY2485" fmla="*/ 358994 h 816032"/>
                <a:gd name="connsiteX2486" fmla="*/ 501902 w 866764"/>
                <a:gd name="connsiteY2486" fmla="*/ 360113 h 816032"/>
                <a:gd name="connsiteX2487" fmla="*/ 503051 w 866764"/>
                <a:gd name="connsiteY2487" fmla="*/ 360567 h 816032"/>
                <a:gd name="connsiteX2488" fmla="*/ 504080 w 866764"/>
                <a:gd name="connsiteY2488" fmla="*/ 359811 h 816032"/>
                <a:gd name="connsiteX2489" fmla="*/ 504745 w 866764"/>
                <a:gd name="connsiteY2489" fmla="*/ 359811 h 816032"/>
                <a:gd name="connsiteX2490" fmla="*/ 505562 w 866764"/>
                <a:gd name="connsiteY2490" fmla="*/ 360688 h 816032"/>
                <a:gd name="connsiteX2491" fmla="*/ 506288 w 866764"/>
                <a:gd name="connsiteY2491" fmla="*/ 360567 h 816032"/>
                <a:gd name="connsiteX2492" fmla="*/ 506953 w 866764"/>
                <a:gd name="connsiteY2492" fmla="*/ 359871 h 816032"/>
                <a:gd name="connsiteX2493" fmla="*/ 507589 w 866764"/>
                <a:gd name="connsiteY2493" fmla="*/ 359084 h 816032"/>
                <a:gd name="connsiteX2494" fmla="*/ 508133 w 866764"/>
                <a:gd name="connsiteY2494" fmla="*/ 358782 h 816032"/>
                <a:gd name="connsiteX2495" fmla="*/ 508587 w 866764"/>
                <a:gd name="connsiteY2495" fmla="*/ 358903 h 816032"/>
                <a:gd name="connsiteX2496" fmla="*/ 508859 w 866764"/>
                <a:gd name="connsiteY2496" fmla="*/ 358782 h 816032"/>
                <a:gd name="connsiteX2497" fmla="*/ 508950 w 866764"/>
                <a:gd name="connsiteY2497" fmla="*/ 357784 h 816032"/>
                <a:gd name="connsiteX2498" fmla="*/ 508859 w 866764"/>
                <a:gd name="connsiteY2498" fmla="*/ 356846 h 816032"/>
                <a:gd name="connsiteX2499" fmla="*/ 508678 w 866764"/>
                <a:gd name="connsiteY2499" fmla="*/ 356392 h 816032"/>
                <a:gd name="connsiteX2500" fmla="*/ 508436 w 866764"/>
                <a:gd name="connsiteY2500" fmla="*/ 356120 h 816032"/>
                <a:gd name="connsiteX2501" fmla="*/ 508224 w 866764"/>
                <a:gd name="connsiteY2501" fmla="*/ 355757 h 816032"/>
                <a:gd name="connsiteX2502" fmla="*/ 506893 w 866764"/>
                <a:gd name="connsiteY2502" fmla="*/ 353760 h 816032"/>
                <a:gd name="connsiteX2503" fmla="*/ 504806 w 866764"/>
                <a:gd name="connsiteY2503" fmla="*/ 351975 h 816032"/>
                <a:gd name="connsiteX2504" fmla="*/ 500601 w 866764"/>
                <a:gd name="connsiteY2504" fmla="*/ 349283 h 816032"/>
                <a:gd name="connsiteX2505" fmla="*/ 498937 w 866764"/>
                <a:gd name="connsiteY2505" fmla="*/ 348496 h 816032"/>
                <a:gd name="connsiteX2506" fmla="*/ 498362 w 866764"/>
                <a:gd name="connsiteY2506" fmla="*/ 347952 h 816032"/>
                <a:gd name="connsiteX2507" fmla="*/ 497908 w 866764"/>
                <a:gd name="connsiteY2507" fmla="*/ 346802 h 816032"/>
                <a:gd name="connsiteX2508" fmla="*/ 497757 w 866764"/>
                <a:gd name="connsiteY2508" fmla="*/ 345260 h 816032"/>
                <a:gd name="connsiteX2509" fmla="*/ 498090 w 866764"/>
                <a:gd name="connsiteY2509" fmla="*/ 342356 h 816032"/>
                <a:gd name="connsiteX2510" fmla="*/ 497908 w 866764"/>
                <a:gd name="connsiteY2510" fmla="*/ 341206 h 816032"/>
                <a:gd name="connsiteX2511" fmla="*/ 496547 w 866764"/>
                <a:gd name="connsiteY2511" fmla="*/ 339845 h 816032"/>
                <a:gd name="connsiteX2512" fmla="*/ 489589 w 866764"/>
                <a:gd name="connsiteY2512" fmla="*/ 335488 h 816032"/>
                <a:gd name="connsiteX2513" fmla="*/ 487532 w 866764"/>
                <a:gd name="connsiteY2513" fmla="*/ 335973 h 816032"/>
                <a:gd name="connsiteX2514" fmla="*/ 486534 w 866764"/>
                <a:gd name="connsiteY2514" fmla="*/ 337062 h 816032"/>
                <a:gd name="connsiteX2515" fmla="*/ 486171 w 866764"/>
                <a:gd name="connsiteY2515" fmla="*/ 338604 h 816032"/>
                <a:gd name="connsiteX2516" fmla="*/ 486171 w 866764"/>
                <a:gd name="connsiteY2516" fmla="*/ 340359 h 816032"/>
                <a:gd name="connsiteX2517" fmla="*/ 486655 w 866764"/>
                <a:gd name="connsiteY2517" fmla="*/ 342476 h 816032"/>
                <a:gd name="connsiteX2518" fmla="*/ 486655 w 866764"/>
                <a:gd name="connsiteY2518" fmla="*/ 343808 h 816032"/>
                <a:gd name="connsiteX2519" fmla="*/ 485808 w 866764"/>
                <a:gd name="connsiteY2519" fmla="*/ 344382 h 816032"/>
                <a:gd name="connsiteX2520" fmla="*/ 461002 w 866764"/>
                <a:gd name="connsiteY2520" fmla="*/ 439614 h 816032"/>
                <a:gd name="connsiteX2521" fmla="*/ 460820 w 866764"/>
                <a:gd name="connsiteY2521" fmla="*/ 439674 h 816032"/>
                <a:gd name="connsiteX2522" fmla="*/ 460760 w 866764"/>
                <a:gd name="connsiteY2522" fmla="*/ 439886 h 816032"/>
                <a:gd name="connsiteX2523" fmla="*/ 460760 w 866764"/>
                <a:gd name="connsiteY2523" fmla="*/ 440431 h 816032"/>
                <a:gd name="connsiteX2524" fmla="*/ 461607 w 866764"/>
                <a:gd name="connsiteY2524" fmla="*/ 439795 h 816032"/>
                <a:gd name="connsiteX2525" fmla="*/ 462121 w 866764"/>
                <a:gd name="connsiteY2525" fmla="*/ 439674 h 816032"/>
                <a:gd name="connsiteX2526" fmla="*/ 463482 w 866764"/>
                <a:gd name="connsiteY2526" fmla="*/ 440431 h 816032"/>
                <a:gd name="connsiteX2527" fmla="*/ 465237 w 866764"/>
                <a:gd name="connsiteY2527" fmla="*/ 439674 h 816032"/>
                <a:gd name="connsiteX2528" fmla="*/ 467294 w 866764"/>
                <a:gd name="connsiteY2528" fmla="*/ 439856 h 816032"/>
                <a:gd name="connsiteX2529" fmla="*/ 468988 w 866764"/>
                <a:gd name="connsiteY2529" fmla="*/ 440915 h 816032"/>
                <a:gd name="connsiteX2530" fmla="*/ 469593 w 866764"/>
                <a:gd name="connsiteY2530" fmla="*/ 442821 h 816032"/>
                <a:gd name="connsiteX2531" fmla="*/ 470954 w 866764"/>
                <a:gd name="connsiteY2531" fmla="*/ 442609 h 816032"/>
                <a:gd name="connsiteX2532" fmla="*/ 471862 w 866764"/>
                <a:gd name="connsiteY2532" fmla="*/ 443425 h 816032"/>
                <a:gd name="connsiteX2533" fmla="*/ 473102 w 866764"/>
                <a:gd name="connsiteY2533" fmla="*/ 446027 h 816032"/>
                <a:gd name="connsiteX2534" fmla="*/ 471771 w 866764"/>
                <a:gd name="connsiteY2534" fmla="*/ 446904 h 816032"/>
                <a:gd name="connsiteX2535" fmla="*/ 471771 w 866764"/>
                <a:gd name="connsiteY2535" fmla="*/ 447570 h 816032"/>
                <a:gd name="connsiteX2536" fmla="*/ 472437 w 866764"/>
                <a:gd name="connsiteY2536" fmla="*/ 448296 h 816032"/>
                <a:gd name="connsiteX2537" fmla="*/ 473072 w 866764"/>
                <a:gd name="connsiteY2537" fmla="*/ 449204 h 816032"/>
                <a:gd name="connsiteX2538" fmla="*/ 473768 w 866764"/>
                <a:gd name="connsiteY2538" fmla="*/ 450625 h 816032"/>
                <a:gd name="connsiteX2539" fmla="*/ 474252 w 866764"/>
                <a:gd name="connsiteY2539" fmla="*/ 451351 h 816032"/>
                <a:gd name="connsiteX2540" fmla="*/ 476097 w 866764"/>
                <a:gd name="connsiteY2540" fmla="*/ 453257 h 816032"/>
                <a:gd name="connsiteX2541" fmla="*/ 477549 w 866764"/>
                <a:gd name="connsiteY2541" fmla="*/ 454256 h 816032"/>
                <a:gd name="connsiteX2542" fmla="*/ 479062 w 866764"/>
                <a:gd name="connsiteY2542" fmla="*/ 454437 h 816032"/>
                <a:gd name="connsiteX2543" fmla="*/ 480605 w 866764"/>
                <a:gd name="connsiteY2543" fmla="*/ 453257 h 816032"/>
                <a:gd name="connsiteX2544" fmla="*/ 480605 w 866764"/>
                <a:gd name="connsiteY2544" fmla="*/ 452380 h 816032"/>
                <a:gd name="connsiteX2545" fmla="*/ 479001 w 866764"/>
                <a:gd name="connsiteY2545" fmla="*/ 451382 h 816032"/>
                <a:gd name="connsiteX2546" fmla="*/ 480695 w 866764"/>
                <a:gd name="connsiteY2546" fmla="*/ 449567 h 816032"/>
                <a:gd name="connsiteX2547" fmla="*/ 483388 w 866764"/>
                <a:gd name="connsiteY2547" fmla="*/ 448478 h 816032"/>
                <a:gd name="connsiteX2548" fmla="*/ 484779 w 866764"/>
                <a:gd name="connsiteY2548" fmla="*/ 449597 h 816032"/>
                <a:gd name="connsiteX2549" fmla="*/ 485203 w 866764"/>
                <a:gd name="connsiteY2549" fmla="*/ 449718 h 816032"/>
                <a:gd name="connsiteX2550" fmla="*/ 487532 w 866764"/>
                <a:gd name="connsiteY2550" fmla="*/ 453227 h 816032"/>
                <a:gd name="connsiteX2551" fmla="*/ 487744 w 866764"/>
                <a:gd name="connsiteY2551" fmla="*/ 454649 h 816032"/>
                <a:gd name="connsiteX2552" fmla="*/ 488167 w 866764"/>
                <a:gd name="connsiteY2552" fmla="*/ 455345 h 816032"/>
                <a:gd name="connsiteX2553" fmla="*/ 489287 w 866764"/>
                <a:gd name="connsiteY2553" fmla="*/ 455617 h 816032"/>
                <a:gd name="connsiteX2554" fmla="*/ 491434 w 866764"/>
                <a:gd name="connsiteY2554" fmla="*/ 455314 h 816032"/>
                <a:gd name="connsiteX2555" fmla="*/ 493673 w 866764"/>
                <a:gd name="connsiteY2555" fmla="*/ 454558 h 816032"/>
                <a:gd name="connsiteX2556" fmla="*/ 495730 w 866764"/>
                <a:gd name="connsiteY2556" fmla="*/ 453499 h 816032"/>
                <a:gd name="connsiteX2557" fmla="*/ 497213 w 866764"/>
                <a:gd name="connsiteY2557" fmla="*/ 452350 h 816032"/>
                <a:gd name="connsiteX2558" fmla="*/ 498090 w 866764"/>
                <a:gd name="connsiteY2558" fmla="*/ 450414 h 816032"/>
                <a:gd name="connsiteX2559" fmla="*/ 499149 w 866764"/>
                <a:gd name="connsiteY2559" fmla="*/ 445271 h 816032"/>
                <a:gd name="connsiteX2560" fmla="*/ 499965 w 866764"/>
                <a:gd name="connsiteY2560" fmla="*/ 443637 h 816032"/>
                <a:gd name="connsiteX2561" fmla="*/ 498513 w 866764"/>
                <a:gd name="connsiteY2561" fmla="*/ 441096 h 816032"/>
                <a:gd name="connsiteX2562" fmla="*/ 498423 w 866764"/>
                <a:gd name="connsiteY2562" fmla="*/ 438162 h 816032"/>
                <a:gd name="connsiteX2563" fmla="*/ 499300 w 866764"/>
                <a:gd name="connsiteY2563" fmla="*/ 432293 h 816032"/>
                <a:gd name="connsiteX2564" fmla="*/ 490164 w 866764"/>
                <a:gd name="connsiteY2564" fmla="*/ 433806 h 816032"/>
                <a:gd name="connsiteX2565" fmla="*/ 488228 w 866764"/>
                <a:gd name="connsiteY2565" fmla="*/ 434683 h 816032"/>
                <a:gd name="connsiteX2566" fmla="*/ 486503 w 866764"/>
                <a:gd name="connsiteY2566" fmla="*/ 434078 h 816032"/>
                <a:gd name="connsiteX2567" fmla="*/ 482480 w 866764"/>
                <a:gd name="connsiteY2567" fmla="*/ 433685 h 816032"/>
                <a:gd name="connsiteX2568" fmla="*/ 479637 w 866764"/>
                <a:gd name="connsiteY2568" fmla="*/ 431718 h 816032"/>
                <a:gd name="connsiteX2569" fmla="*/ 478245 w 866764"/>
                <a:gd name="connsiteY2569" fmla="*/ 431658 h 816032"/>
                <a:gd name="connsiteX2570" fmla="*/ 474796 w 866764"/>
                <a:gd name="connsiteY2570" fmla="*/ 432263 h 816032"/>
                <a:gd name="connsiteX2571" fmla="*/ 474100 w 866764"/>
                <a:gd name="connsiteY2571" fmla="*/ 431839 h 816032"/>
                <a:gd name="connsiteX2572" fmla="*/ 473677 w 866764"/>
                <a:gd name="connsiteY2572" fmla="*/ 430902 h 816032"/>
                <a:gd name="connsiteX2573" fmla="*/ 473374 w 866764"/>
                <a:gd name="connsiteY2573" fmla="*/ 429843 h 816032"/>
                <a:gd name="connsiteX2574" fmla="*/ 473042 w 866764"/>
                <a:gd name="connsiteY2574" fmla="*/ 429147 h 816032"/>
                <a:gd name="connsiteX2575" fmla="*/ 469532 w 866764"/>
                <a:gd name="connsiteY2575" fmla="*/ 427483 h 816032"/>
                <a:gd name="connsiteX2576" fmla="*/ 466810 w 866764"/>
                <a:gd name="connsiteY2576" fmla="*/ 425608 h 816032"/>
                <a:gd name="connsiteX2577" fmla="*/ 465509 w 866764"/>
                <a:gd name="connsiteY2577" fmla="*/ 424246 h 816032"/>
                <a:gd name="connsiteX2578" fmla="*/ 464783 w 866764"/>
                <a:gd name="connsiteY2578" fmla="*/ 422703 h 816032"/>
                <a:gd name="connsiteX2579" fmla="*/ 465055 w 866764"/>
                <a:gd name="connsiteY2579" fmla="*/ 422159 h 816032"/>
                <a:gd name="connsiteX2580" fmla="*/ 466084 w 866764"/>
                <a:gd name="connsiteY2580" fmla="*/ 420616 h 816032"/>
                <a:gd name="connsiteX2581" fmla="*/ 465570 w 866764"/>
                <a:gd name="connsiteY2581" fmla="*/ 419860 h 816032"/>
                <a:gd name="connsiteX2582" fmla="*/ 465479 w 866764"/>
                <a:gd name="connsiteY2582" fmla="*/ 418801 h 816032"/>
                <a:gd name="connsiteX2583" fmla="*/ 465539 w 866764"/>
                <a:gd name="connsiteY2583" fmla="*/ 416714 h 816032"/>
                <a:gd name="connsiteX2584" fmla="*/ 465297 w 866764"/>
                <a:gd name="connsiteY2584" fmla="*/ 416411 h 816032"/>
                <a:gd name="connsiteX2585" fmla="*/ 464813 w 866764"/>
                <a:gd name="connsiteY2585" fmla="*/ 416078 h 816032"/>
                <a:gd name="connsiteX2586" fmla="*/ 464329 w 866764"/>
                <a:gd name="connsiteY2586" fmla="*/ 415443 h 816032"/>
                <a:gd name="connsiteX2587" fmla="*/ 464118 w 866764"/>
                <a:gd name="connsiteY2587" fmla="*/ 414293 h 816032"/>
                <a:gd name="connsiteX2588" fmla="*/ 461758 w 866764"/>
                <a:gd name="connsiteY2588" fmla="*/ 411571 h 816032"/>
                <a:gd name="connsiteX2589" fmla="*/ 461576 w 866764"/>
                <a:gd name="connsiteY2589" fmla="*/ 409968 h 816032"/>
                <a:gd name="connsiteX2590" fmla="*/ 461576 w 866764"/>
                <a:gd name="connsiteY2590" fmla="*/ 408122 h 816032"/>
                <a:gd name="connsiteX2591" fmla="*/ 461334 w 866764"/>
                <a:gd name="connsiteY2591" fmla="*/ 406730 h 816032"/>
                <a:gd name="connsiteX2592" fmla="*/ 459065 w 866764"/>
                <a:gd name="connsiteY2592" fmla="*/ 404220 h 816032"/>
                <a:gd name="connsiteX2593" fmla="*/ 458763 w 866764"/>
                <a:gd name="connsiteY2593" fmla="*/ 403191 h 816032"/>
                <a:gd name="connsiteX2594" fmla="*/ 460669 w 866764"/>
                <a:gd name="connsiteY2594" fmla="*/ 402616 h 816032"/>
                <a:gd name="connsiteX2595" fmla="*/ 460669 w 866764"/>
                <a:gd name="connsiteY2595" fmla="*/ 401890 h 816032"/>
                <a:gd name="connsiteX2596" fmla="*/ 458702 w 866764"/>
                <a:gd name="connsiteY2596" fmla="*/ 399410 h 816032"/>
                <a:gd name="connsiteX2597" fmla="*/ 459096 w 866764"/>
                <a:gd name="connsiteY2597" fmla="*/ 395356 h 816032"/>
                <a:gd name="connsiteX2598" fmla="*/ 460941 w 866764"/>
                <a:gd name="connsiteY2598" fmla="*/ 391514 h 816032"/>
                <a:gd name="connsiteX2599" fmla="*/ 463452 w 866764"/>
                <a:gd name="connsiteY2599" fmla="*/ 389669 h 816032"/>
                <a:gd name="connsiteX2600" fmla="*/ 461909 w 866764"/>
                <a:gd name="connsiteY2600" fmla="*/ 387642 h 816032"/>
                <a:gd name="connsiteX2601" fmla="*/ 452894 w 866764"/>
                <a:gd name="connsiteY2601" fmla="*/ 380684 h 816032"/>
                <a:gd name="connsiteX2602" fmla="*/ 452350 w 866764"/>
                <a:gd name="connsiteY2602" fmla="*/ 379565 h 816032"/>
                <a:gd name="connsiteX2603" fmla="*/ 452410 w 866764"/>
                <a:gd name="connsiteY2603" fmla="*/ 377599 h 816032"/>
                <a:gd name="connsiteX2604" fmla="*/ 452864 w 866764"/>
                <a:gd name="connsiteY2604" fmla="*/ 376358 h 816032"/>
                <a:gd name="connsiteX2605" fmla="*/ 453741 w 866764"/>
                <a:gd name="connsiteY2605" fmla="*/ 375330 h 816032"/>
                <a:gd name="connsiteX2606" fmla="*/ 454800 w 866764"/>
                <a:gd name="connsiteY2606" fmla="*/ 374603 h 816032"/>
                <a:gd name="connsiteX2607" fmla="*/ 455829 w 866764"/>
                <a:gd name="connsiteY2607" fmla="*/ 374301 h 816032"/>
                <a:gd name="connsiteX2608" fmla="*/ 453893 w 866764"/>
                <a:gd name="connsiteY2608" fmla="*/ 373212 h 816032"/>
                <a:gd name="connsiteX2609" fmla="*/ 447510 w 866764"/>
                <a:gd name="connsiteY2609" fmla="*/ 371125 h 816032"/>
                <a:gd name="connsiteX2610" fmla="*/ 445362 w 866764"/>
                <a:gd name="connsiteY2610" fmla="*/ 371034 h 816032"/>
                <a:gd name="connsiteX2611" fmla="*/ 443062 w 866764"/>
                <a:gd name="connsiteY2611" fmla="*/ 371306 h 816032"/>
                <a:gd name="connsiteX2612" fmla="*/ 440733 w 866764"/>
                <a:gd name="connsiteY2612" fmla="*/ 371306 h 816032"/>
                <a:gd name="connsiteX2613" fmla="*/ 438585 w 866764"/>
                <a:gd name="connsiteY2613" fmla="*/ 370308 h 816032"/>
                <a:gd name="connsiteX2614" fmla="*/ 436800 w 866764"/>
                <a:gd name="connsiteY2614" fmla="*/ 372214 h 816032"/>
                <a:gd name="connsiteX2615" fmla="*/ 434925 w 866764"/>
                <a:gd name="connsiteY2615" fmla="*/ 372305 h 816032"/>
                <a:gd name="connsiteX2616" fmla="*/ 432898 w 866764"/>
                <a:gd name="connsiteY2616" fmla="*/ 371578 h 816032"/>
                <a:gd name="connsiteX2617" fmla="*/ 430720 w 866764"/>
                <a:gd name="connsiteY2617" fmla="*/ 371125 h 816032"/>
                <a:gd name="connsiteX2618" fmla="*/ 425849 w 866764"/>
                <a:gd name="connsiteY2618" fmla="*/ 370762 h 816032"/>
                <a:gd name="connsiteX2619" fmla="*/ 421372 w 866764"/>
                <a:gd name="connsiteY2619" fmla="*/ 369431 h 816032"/>
                <a:gd name="connsiteX2620" fmla="*/ 417409 w 866764"/>
                <a:gd name="connsiteY2620" fmla="*/ 367706 h 816032"/>
                <a:gd name="connsiteX2621" fmla="*/ 415383 w 866764"/>
                <a:gd name="connsiteY2621" fmla="*/ 366405 h 816032"/>
                <a:gd name="connsiteX2622" fmla="*/ 414505 w 866764"/>
                <a:gd name="connsiteY2622" fmla="*/ 364984 h 816032"/>
                <a:gd name="connsiteX2623" fmla="*/ 413870 w 866764"/>
                <a:gd name="connsiteY2623" fmla="*/ 362836 h 816032"/>
                <a:gd name="connsiteX2624" fmla="*/ 412267 w 866764"/>
                <a:gd name="connsiteY2624" fmla="*/ 361353 h 816032"/>
                <a:gd name="connsiteX2625" fmla="*/ 410240 w 866764"/>
                <a:gd name="connsiteY2625" fmla="*/ 360990 h 816032"/>
                <a:gd name="connsiteX2626" fmla="*/ 408304 w 866764"/>
                <a:gd name="connsiteY2626" fmla="*/ 362170 h 816032"/>
                <a:gd name="connsiteX2627" fmla="*/ 407215 w 866764"/>
                <a:gd name="connsiteY2627" fmla="*/ 361535 h 816032"/>
                <a:gd name="connsiteX2628" fmla="*/ 406156 w 866764"/>
                <a:gd name="connsiteY2628" fmla="*/ 362170 h 816032"/>
                <a:gd name="connsiteX2629" fmla="*/ 404764 w 866764"/>
                <a:gd name="connsiteY2629" fmla="*/ 361444 h 816032"/>
                <a:gd name="connsiteX2630" fmla="*/ 401890 w 866764"/>
                <a:gd name="connsiteY2630" fmla="*/ 360930 h 816032"/>
                <a:gd name="connsiteX2631" fmla="*/ 400650 w 866764"/>
                <a:gd name="connsiteY2631" fmla="*/ 359750 h 816032"/>
                <a:gd name="connsiteX2632" fmla="*/ 399894 w 866764"/>
                <a:gd name="connsiteY2632" fmla="*/ 360355 h 816032"/>
                <a:gd name="connsiteX2633" fmla="*/ 399289 w 866764"/>
                <a:gd name="connsiteY2633" fmla="*/ 360355 h 816032"/>
                <a:gd name="connsiteX2634" fmla="*/ 399016 w 866764"/>
                <a:gd name="connsiteY2634" fmla="*/ 359932 h 816032"/>
                <a:gd name="connsiteX2635" fmla="*/ 399289 w 866764"/>
                <a:gd name="connsiteY2635" fmla="*/ 359054 h 816032"/>
                <a:gd name="connsiteX2636" fmla="*/ 399289 w 866764"/>
                <a:gd name="connsiteY2636" fmla="*/ 358147 h 816032"/>
                <a:gd name="connsiteX2637" fmla="*/ 396657 w 866764"/>
                <a:gd name="connsiteY2637" fmla="*/ 357602 h 816032"/>
                <a:gd name="connsiteX2638" fmla="*/ 392301 w 866764"/>
                <a:gd name="connsiteY2638" fmla="*/ 354123 h 816032"/>
                <a:gd name="connsiteX2639" fmla="*/ 387854 w 866764"/>
                <a:gd name="connsiteY2639" fmla="*/ 352369 h 816032"/>
                <a:gd name="connsiteX2640" fmla="*/ 386008 w 866764"/>
                <a:gd name="connsiteY2640" fmla="*/ 350251 h 816032"/>
                <a:gd name="connsiteX2641" fmla="*/ 384859 w 866764"/>
                <a:gd name="connsiteY2641" fmla="*/ 348043 h 816032"/>
                <a:gd name="connsiteX2642" fmla="*/ 384798 w 866764"/>
                <a:gd name="connsiteY2642" fmla="*/ 346772 h 816032"/>
                <a:gd name="connsiteX2643" fmla="*/ 384012 w 866764"/>
                <a:gd name="connsiteY2643" fmla="*/ 345229 h 816032"/>
                <a:gd name="connsiteX2644" fmla="*/ 382348 w 866764"/>
                <a:gd name="connsiteY2644" fmla="*/ 339784 h 816032"/>
                <a:gd name="connsiteX2645" fmla="*/ 382348 w 866764"/>
                <a:gd name="connsiteY2645" fmla="*/ 338604 h 816032"/>
                <a:gd name="connsiteX2646" fmla="*/ 380230 w 866764"/>
                <a:gd name="connsiteY2646" fmla="*/ 338181 h 816032"/>
                <a:gd name="connsiteX2647" fmla="*/ 378234 w 866764"/>
                <a:gd name="connsiteY2647" fmla="*/ 337031 h 816032"/>
                <a:gd name="connsiteX2648" fmla="*/ 377205 w 866764"/>
                <a:gd name="connsiteY2648" fmla="*/ 335247 h 816032"/>
                <a:gd name="connsiteX2649" fmla="*/ 377931 w 866764"/>
                <a:gd name="connsiteY2649" fmla="*/ 332978 h 816032"/>
                <a:gd name="connsiteX2650" fmla="*/ 376933 w 866764"/>
                <a:gd name="connsiteY2650" fmla="*/ 331949 h 816032"/>
                <a:gd name="connsiteX2651" fmla="*/ 375541 w 866764"/>
                <a:gd name="connsiteY2651" fmla="*/ 331162 h 816032"/>
                <a:gd name="connsiteX2652" fmla="*/ 374059 w 866764"/>
                <a:gd name="connsiteY2652" fmla="*/ 330709 h 816032"/>
                <a:gd name="connsiteX2653" fmla="*/ 372728 w 866764"/>
                <a:gd name="connsiteY2653" fmla="*/ 330557 h 816032"/>
                <a:gd name="connsiteX2654" fmla="*/ 372153 w 866764"/>
                <a:gd name="connsiteY2654" fmla="*/ 330225 h 816032"/>
                <a:gd name="connsiteX2655" fmla="*/ 370671 w 866764"/>
                <a:gd name="connsiteY2655" fmla="*/ 328621 h 816032"/>
                <a:gd name="connsiteX2656" fmla="*/ 369642 w 866764"/>
                <a:gd name="connsiteY2656" fmla="*/ 328107 h 816032"/>
                <a:gd name="connsiteX2657" fmla="*/ 367010 w 866764"/>
                <a:gd name="connsiteY2657" fmla="*/ 328561 h 816032"/>
                <a:gd name="connsiteX2658" fmla="*/ 361747 w 866764"/>
                <a:gd name="connsiteY2658" fmla="*/ 331435 h 816032"/>
                <a:gd name="connsiteX2659" fmla="*/ 359629 w 866764"/>
                <a:gd name="connsiteY2659" fmla="*/ 332100 h 816032"/>
                <a:gd name="connsiteX2660" fmla="*/ 353427 w 866764"/>
                <a:gd name="connsiteY2660" fmla="*/ 332100 h 816032"/>
                <a:gd name="connsiteX2661" fmla="*/ 352369 w 866764"/>
                <a:gd name="connsiteY2661" fmla="*/ 332463 h 816032"/>
                <a:gd name="connsiteX2662" fmla="*/ 350523 w 866764"/>
                <a:gd name="connsiteY2662" fmla="*/ 334127 h 816032"/>
                <a:gd name="connsiteX2663" fmla="*/ 349071 w 866764"/>
                <a:gd name="connsiteY2663" fmla="*/ 334611 h 816032"/>
                <a:gd name="connsiteX2664" fmla="*/ 349374 w 866764"/>
                <a:gd name="connsiteY2664" fmla="*/ 335428 h 816032"/>
                <a:gd name="connsiteX2665" fmla="*/ 349374 w 866764"/>
                <a:gd name="connsiteY2665" fmla="*/ 336487 h 816032"/>
                <a:gd name="connsiteX2666" fmla="*/ 349011 w 866764"/>
                <a:gd name="connsiteY2666" fmla="*/ 337606 h 816032"/>
                <a:gd name="connsiteX2667" fmla="*/ 348315 w 866764"/>
                <a:gd name="connsiteY2667" fmla="*/ 338574 h 816032"/>
                <a:gd name="connsiteX2668" fmla="*/ 347438 w 866764"/>
                <a:gd name="connsiteY2668" fmla="*/ 339028 h 816032"/>
                <a:gd name="connsiteX2669" fmla="*/ 345381 w 866764"/>
                <a:gd name="connsiteY2669" fmla="*/ 339088 h 816032"/>
                <a:gd name="connsiteX2670" fmla="*/ 344231 w 866764"/>
                <a:gd name="connsiteY2670" fmla="*/ 339451 h 816032"/>
                <a:gd name="connsiteX2671" fmla="*/ 344019 w 866764"/>
                <a:gd name="connsiteY2671" fmla="*/ 339905 h 816032"/>
                <a:gd name="connsiteX2672" fmla="*/ 343596 w 866764"/>
                <a:gd name="connsiteY2672" fmla="*/ 341508 h 816032"/>
                <a:gd name="connsiteX2673" fmla="*/ 343233 w 866764"/>
                <a:gd name="connsiteY2673" fmla="*/ 341871 h 816032"/>
                <a:gd name="connsiteX2674" fmla="*/ 340843 w 866764"/>
                <a:gd name="connsiteY2674" fmla="*/ 342688 h 816032"/>
                <a:gd name="connsiteX2675" fmla="*/ 337939 w 866764"/>
                <a:gd name="connsiteY2675" fmla="*/ 344110 h 816032"/>
                <a:gd name="connsiteX2676" fmla="*/ 334914 w 866764"/>
                <a:gd name="connsiteY2676" fmla="*/ 344836 h 816032"/>
                <a:gd name="connsiteX2677" fmla="*/ 330346 w 866764"/>
                <a:gd name="connsiteY2677" fmla="*/ 347105 h 816032"/>
                <a:gd name="connsiteX2678" fmla="*/ 328047 w 866764"/>
                <a:gd name="connsiteY2678" fmla="*/ 347619 h 816032"/>
                <a:gd name="connsiteX2679" fmla="*/ 327078 w 866764"/>
                <a:gd name="connsiteY2679" fmla="*/ 347982 h 816032"/>
                <a:gd name="connsiteX2680" fmla="*/ 324719 w 866764"/>
                <a:gd name="connsiteY2680" fmla="*/ 349616 h 816032"/>
                <a:gd name="connsiteX2681" fmla="*/ 323932 w 866764"/>
                <a:gd name="connsiteY2681" fmla="*/ 349979 h 816032"/>
                <a:gd name="connsiteX2682" fmla="*/ 323327 w 866764"/>
                <a:gd name="connsiteY2682" fmla="*/ 350433 h 816032"/>
                <a:gd name="connsiteX2683" fmla="*/ 322964 w 866764"/>
                <a:gd name="connsiteY2683" fmla="*/ 351492 h 816032"/>
                <a:gd name="connsiteX2684" fmla="*/ 322813 w 866764"/>
                <a:gd name="connsiteY2684" fmla="*/ 352853 h 816032"/>
                <a:gd name="connsiteX2685" fmla="*/ 322873 w 866764"/>
                <a:gd name="connsiteY2685" fmla="*/ 354184 h 816032"/>
                <a:gd name="connsiteX2686" fmla="*/ 325173 w 866764"/>
                <a:gd name="connsiteY2686" fmla="*/ 352974 h 816032"/>
                <a:gd name="connsiteX2687" fmla="*/ 336214 w 866764"/>
                <a:gd name="connsiteY2687" fmla="*/ 352036 h 816032"/>
                <a:gd name="connsiteX2688" fmla="*/ 337848 w 866764"/>
                <a:gd name="connsiteY2688" fmla="*/ 351552 h 816032"/>
                <a:gd name="connsiteX2689" fmla="*/ 338755 w 866764"/>
                <a:gd name="connsiteY2689" fmla="*/ 350886 h 816032"/>
                <a:gd name="connsiteX2690" fmla="*/ 338877 w 866764"/>
                <a:gd name="connsiteY2690" fmla="*/ 349223 h 816032"/>
                <a:gd name="connsiteX2691" fmla="*/ 338060 w 866764"/>
                <a:gd name="connsiteY2691" fmla="*/ 348164 h 816032"/>
                <a:gd name="connsiteX2692" fmla="*/ 336729 w 866764"/>
                <a:gd name="connsiteY2692" fmla="*/ 347680 h 816032"/>
                <a:gd name="connsiteX2693" fmla="*/ 335307 w 866764"/>
                <a:gd name="connsiteY2693" fmla="*/ 347680 h 816032"/>
                <a:gd name="connsiteX2694" fmla="*/ 335307 w 866764"/>
                <a:gd name="connsiteY2694" fmla="*/ 346772 h 816032"/>
                <a:gd name="connsiteX2695" fmla="*/ 336638 w 866764"/>
                <a:gd name="connsiteY2695" fmla="*/ 346318 h 816032"/>
                <a:gd name="connsiteX2696" fmla="*/ 338060 w 866764"/>
                <a:gd name="connsiteY2696" fmla="*/ 346712 h 816032"/>
                <a:gd name="connsiteX2697" fmla="*/ 339603 w 866764"/>
                <a:gd name="connsiteY2697" fmla="*/ 347317 h 816032"/>
                <a:gd name="connsiteX2698" fmla="*/ 341267 w 866764"/>
                <a:gd name="connsiteY2698" fmla="*/ 347650 h 816032"/>
                <a:gd name="connsiteX2699" fmla="*/ 342628 w 866764"/>
                <a:gd name="connsiteY2699" fmla="*/ 347740 h 816032"/>
                <a:gd name="connsiteX2700" fmla="*/ 343414 w 866764"/>
                <a:gd name="connsiteY2700" fmla="*/ 348073 h 816032"/>
                <a:gd name="connsiteX2701" fmla="*/ 345350 w 866764"/>
                <a:gd name="connsiteY2701" fmla="*/ 350433 h 816032"/>
                <a:gd name="connsiteX2702" fmla="*/ 346681 w 866764"/>
                <a:gd name="connsiteY2702" fmla="*/ 351370 h 816032"/>
                <a:gd name="connsiteX2703" fmla="*/ 348133 w 866764"/>
                <a:gd name="connsiteY2703" fmla="*/ 351492 h 816032"/>
                <a:gd name="connsiteX2704" fmla="*/ 351219 w 866764"/>
                <a:gd name="connsiteY2704" fmla="*/ 350886 h 816032"/>
                <a:gd name="connsiteX2705" fmla="*/ 352883 w 866764"/>
                <a:gd name="connsiteY2705" fmla="*/ 350796 h 816032"/>
                <a:gd name="connsiteX2706" fmla="*/ 354184 w 866764"/>
                <a:gd name="connsiteY2706" fmla="*/ 350886 h 816032"/>
                <a:gd name="connsiteX2707" fmla="*/ 356664 w 866764"/>
                <a:gd name="connsiteY2707" fmla="*/ 351612 h 816032"/>
                <a:gd name="connsiteX2708" fmla="*/ 360113 w 866764"/>
                <a:gd name="connsiteY2708" fmla="*/ 353367 h 816032"/>
                <a:gd name="connsiteX2709" fmla="*/ 369945 w 866764"/>
                <a:gd name="connsiteY2709" fmla="*/ 360174 h 816032"/>
                <a:gd name="connsiteX2710" fmla="*/ 372244 w 866764"/>
                <a:gd name="connsiteY2710" fmla="*/ 361323 h 816032"/>
                <a:gd name="connsiteX2711" fmla="*/ 372728 w 866764"/>
                <a:gd name="connsiteY2711" fmla="*/ 361837 h 816032"/>
                <a:gd name="connsiteX2712" fmla="*/ 373726 w 866764"/>
                <a:gd name="connsiteY2712" fmla="*/ 364106 h 816032"/>
                <a:gd name="connsiteX2713" fmla="*/ 374331 w 866764"/>
                <a:gd name="connsiteY2713" fmla="*/ 364621 h 816032"/>
                <a:gd name="connsiteX2714" fmla="*/ 375299 w 866764"/>
                <a:gd name="connsiteY2714" fmla="*/ 364984 h 816032"/>
                <a:gd name="connsiteX2715" fmla="*/ 378143 w 866764"/>
                <a:gd name="connsiteY2715" fmla="*/ 367827 h 816032"/>
                <a:gd name="connsiteX2716" fmla="*/ 380654 w 866764"/>
                <a:gd name="connsiteY2716" fmla="*/ 368916 h 816032"/>
                <a:gd name="connsiteX2717" fmla="*/ 383679 w 866764"/>
                <a:gd name="connsiteY2717" fmla="*/ 370671 h 816032"/>
                <a:gd name="connsiteX2718" fmla="*/ 384617 w 866764"/>
                <a:gd name="connsiteY2718" fmla="*/ 371427 h 816032"/>
                <a:gd name="connsiteX2719" fmla="*/ 385040 w 866764"/>
                <a:gd name="connsiteY2719" fmla="*/ 372305 h 816032"/>
                <a:gd name="connsiteX2720" fmla="*/ 385343 w 866764"/>
                <a:gd name="connsiteY2720" fmla="*/ 373636 h 816032"/>
                <a:gd name="connsiteX2721" fmla="*/ 386069 w 866764"/>
                <a:gd name="connsiteY2721" fmla="*/ 374150 h 816032"/>
                <a:gd name="connsiteX2722" fmla="*/ 386795 w 866764"/>
                <a:gd name="connsiteY2722" fmla="*/ 374331 h 816032"/>
                <a:gd name="connsiteX2723" fmla="*/ 387128 w 866764"/>
                <a:gd name="connsiteY2723" fmla="*/ 374725 h 816032"/>
                <a:gd name="connsiteX2724" fmla="*/ 387521 w 866764"/>
                <a:gd name="connsiteY2724" fmla="*/ 375118 h 816032"/>
                <a:gd name="connsiteX2725" fmla="*/ 389880 w 866764"/>
                <a:gd name="connsiteY2725" fmla="*/ 376842 h 816032"/>
                <a:gd name="connsiteX2726" fmla="*/ 390183 w 866764"/>
                <a:gd name="connsiteY2726" fmla="*/ 377840 h 816032"/>
                <a:gd name="connsiteX2727" fmla="*/ 390274 w 866764"/>
                <a:gd name="connsiteY2727" fmla="*/ 379928 h 816032"/>
                <a:gd name="connsiteX2728" fmla="*/ 390606 w 866764"/>
                <a:gd name="connsiteY2728" fmla="*/ 380835 h 816032"/>
                <a:gd name="connsiteX2729" fmla="*/ 391998 w 866764"/>
                <a:gd name="connsiteY2729" fmla="*/ 381864 h 816032"/>
                <a:gd name="connsiteX2730" fmla="*/ 394146 w 866764"/>
                <a:gd name="connsiteY2730" fmla="*/ 382620 h 816032"/>
                <a:gd name="connsiteX2731" fmla="*/ 398532 w 866764"/>
                <a:gd name="connsiteY2731" fmla="*/ 383256 h 816032"/>
                <a:gd name="connsiteX2732" fmla="*/ 400166 w 866764"/>
                <a:gd name="connsiteY2732" fmla="*/ 383921 h 816032"/>
                <a:gd name="connsiteX2733" fmla="*/ 401588 w 866764"/>
                <a:gd name="connsiteY2733" fmla="*/ 385494 h 816032"/>
                <a:gd name="connsiteX2734" fmla="*/ 403736 w 866764"/>
                <a:gd name="connsiteY2734" fmla="*/ 388973 h 816032"/>
                <a:gd name="connsiteX2735" fmla="*/ 403736 w 866764"/>
                <a:gd name="connsiteY2735" fmla="*/ 389699 h 816032"/>
                <a:gd name="connsiteX2736" fmla="*/ 403010 w 866764"/>
                <a:gd name="connsiteY2736" fmla="*/ 389699 h 816032"/>
                <a:gd name="connsiteX2737" fmla="*/ 403010 w 866764"/>
                <a:gd name="connsiteY2737" fmla="*/ 390576 h 816032"/>
                <a:gd name="connsiteX2738" fmla="*/ 403766 w 866764"/>
                <a:gd name="connsiteY2738" fmla="*/ 392210 h 816032"/>
                <a:gd name="connsiteX2739" fmla="*/ 402465 w 866764"/>
                <a:gd name="connsiteY2739" fmla="*/ 394116 h 816032"/>
                <a:gd name="connsiteX2740" fmla="*/ 400590 w 866764"/>
                <a:gd name="connsiteY2740" fmla="*/ 396052 h 816032"/>
                <a:gd name="connsiteX2741" fmla="*/ 399591 w 866764"/>
                <a:gd name="connsiteY2741" fmla="*/ 397806 h 816032"/>
                <a:gd name="connsiteX2742" fmla="*/ 400438 w 866764"/>
                <a:gd name="connsiteY2742" fmla="*/ 397927 h 816032"/>
                <a:gd name="connsiteX2743" fmla="*/ 400953 w 866764"/>
                <a:gd name="connsiteY2743" fmla="*/ 397746 h 816032"/>
                <a:gd name="connsiteX2744" fmla="*/ 401316 w 866764"/>
                <a:gd name="connsiteY2744" fmla="*/ 397383 h 816032"/>
                <a:gd name="connsiteX2745" fmla="*/ 401679 w 866764"/>
                <a:gd name="connsiteY2745" fmla="*/ 396929 h 816032"/>
                <a:gd name="connsiteX2746" fmla="*/ 404099 w 866764"/>
                <a:gd name="connsiteY2746" fmla="*/ 402284 h 816032"/>
                <a:gd name="connsiteX2747" fmla="*/ 405158 w 866764"/>
                <a:gd name="connsiteY2747" fmla="*/ 403433 h 816032"/>
                <a:gd name="connsiteX2748" fmla="*/ 406579 w 866764"/>
                <a:gd name="connsiteY2748" fmla="*/ 403615 h 816032"/>
                <a:gd name="connsiteX2749" fmla="*/ 409786 w 866764"/>
                <a:gd name="connsiteY2749" fmla="*/ 402798 h 816032"/>
                <a:gd name="connsiteX2750" fmla="*/ 411268 w 866764"/>
                <a:gd name="connsiteY2750" fmla="*/ 402647 h 816032"/>
                <a:gd name="connsiteX2751" fmla="*/ 418196 w 866764"/>
                <a:gd name="connsiteY2751" fmla="*/ 404250 h 816032"/>
                <a:gd name="connsiteX2752" fmla="*/ 419708 w 866764"/>
                <a:gd name="connsiteY2752" fmla="*/ 404250 h 816032"/>
                <a:gd name="connsiteX2753" fmla="*/ 422764 w 866764"/>
                <a:gd name="connsiteY2753" fmla="*/ 403645 h 816032"/>
                <a:gd name="connsiteX2754" fmla="*/ 424700 w 866764"/>
                <a:gd name="connsiteY2754" fmla="*/ 403463 h 816032"/>
                <a:gd name="connsiteX2755" fmla="*/ 426152 w 866764"/>
                <a:gd name="connsiteY2755" fmla="*/ 403705 h 816032"/>
                <a:gd name="connsiteX2756" fmla="*/ 429601 w 866764"/>
                <a:gd name="connsiteY2756" fmla="*/ 404825 h 816032"/>
                <a:gd name="connsiteX2757" fmla="*/ 431628 w 866764"/>
                <a:gd name="connsiteY2757" fmla="*/ 405067 h 816032"/>
                <a:gd name="connsiteX2758" fmla="*/ 438525 w 866764"/>
                <a:gd name="connsiteY2758" fmla="*/ 404250 h 816032"/>
                <a:gd name="connsiteX2759" fmla="*/ 444363 w 866764"/>
                <a:gd name="connsiteY2759" fmla="*/ 404643 h 816032"/>
                <a:gd name="connsiteX2760" fmla="*/ 444696 w 866764"/>
                <a:gd name="connsiteY2760" fmla="*/ 403917 h 816032"/>
                <a:gd name="connsiteX2761" fmla="*/ 445392 w 866764"/>
                <a:gd name="connsiteY2761" fmla="*/ 404734 h 816032"/>
                <a:gd name="connsiteX2762" fmla="*/ 446420 w 866764"/>
                <a:gd name="connsiteY2762" fmla="*/ 406730 h 816032"/>
                <a:gd name="connsiteX2763" fmla="*/ 446299 w 866764"/>
                <a:gd name="connsiteY2763" fmla="*/ 406973 h 816032"/>
                <a:gd name="connsiteX2764" fmla="*/ 446209 w 866764"/>
                <a:gd name="connsiteY2764" fmla="*/ 407759 h 816032"/>
                <a:gd name="connsiteX2765" fmla="*/ 446420 w 866764"/>
                <a:gd name="connsiteY2765" fmla="*/ 408788 h 816032"/>
                <a:gd name="connsiteX2766" fmla="*/ 447207 w 866764"/>
                <a:gd name="connsiteY2766" fmla="*/ 409846 h 816032"/>
                <a:gd name="connsiteX2767" fmla="*/ 446481 w 866764"/>
                <a:gd name="connsiteY2767" fmla="*/ 410996 h 816032"/>
                <a:gd name="connsiteX2768" fmla="*/ 445452 w 866764"/>
                <a:gd name="connsiteY2768" fmla="*/ 411571 h 816032"/>
                <a:gd name="connsiteX2769" fmla="*/ 443002 w 866764"/>
                <a:gd name="connsiteY2769" fmla="*/ 412267 h 816032"/>
                <a:gd name="connsiteX2770" fmla="*/ 445967 w 866764"/>
                <a:gd name="connsiteY2770" fmla="*/ 412418 h 816032"/>
                <a:gd name="connsiteX2771" fmla="*/ 448417 w 866764"/>
                <a:gd name="connsiteY2771" fmla="*/ 412872 h 816032"/>
                <a:gd name="connsiteX2772" fmla="*/ 450595 w 866764"/>
                <a:gd name="connsiteY2772" fmla="*/ 413658 h 816032"/>
                <a:gd name="connsiteX2773" fmla="*/ 452652 w 866764"/>
                <a:gd name="connsiteY2773" fmla="*/ 414747 h 816032"/>
                <a:gd name="connsiteX2774" fmla="*/ 450565 w 866764"/>
                <a:gd name="connsiteY2774" fmla="*/ 418771 h 816032"/>
                <a:gd name="connsiteX2775" fmla="*/ 451956 w 866764"/>
                <a:gd name="connsiteY2775" fmla="*/ 418771 h 816032"/>
                <a:gd name="connsiteX2776" fmla="*/ 451956 w 866764"/>
                <a:gd name="connsiteY2776" fmla="*/ 419648 h 816032"/>
                <a:gd name="connsiteX2777" fmla="*/ 451714 w 866764"/>
                <a:gd name="connsiteY2777" fmla="*/ 419920 h 816032"/>
                <a:gd name="connsiteX2778" fmla="*/ 451351 w 866764"/>
                <a:gd name="connsiteY2778" fmla="*/ 420465 h 816032"/>
                <a:gd name="connsiteX2779" fmla="*/ 451412 w 866764"/>
                <a:gd name="connsiteY2779" fmla="*/ 420979 h 816032"/>
                <a:gd name="connsiteX2780" fmla="*/ 452289 w 866764"/>
                <a:gd name="connsiteY2780" fmla="*/ 421221 h 816032"/>
                <a:gd name="connsiteX2781" fmla="*/ 453045 w 866764"/>
                <a:gd name="connsiteY2781" fmla="*/ 421009 h 816032"/>
                <a:gd name="connsiteX2782" fmla="*/ 453197 w 866764"/>
                <a:gd name="connsiteY2782" fmla="*/ 420495 h 816032"/>
                <a:gd name="connsiteX2783" fmla="*/ 453197 w 866764"/>
                <a:gd name="connsiteY2783" fmla="*/ 419951 h 816032"/>
                <a:gd name="connsiteX2784" fmla="*/ 453318 w 866764"/>
                <a:gd name="connsiteY2784" fmla="*/ 419648 h 816032"/>
                <a:gd name="connsiteX2785" fmla="*/ 454256 w 866764"/>
                <a:gd name="connsiteY2785" fmla="*/ 418922 h 816032"/>
                <a:gd name="connsiteX2786" fmla="*/ 455012 w 866764"/>
                <a:gd name="connsiteY2786" fmla="*/ 418105 h 816032"/>
                <a:gd name="connsiteX2787" fmla="*/ 455829 w 866764"/>
                <a:gd name="connsiteY2787" fmla="*/ 418045 h 816032"/>
                <a:gd name="connsiteX2788" fmla="*/ 456797 w 866764"/>
                <a:gd name="connsiteY2788" fmla="*/ 419648 h 816032"/>
                <a:gd name="connsiteX2789" fmla="*/ 455345 w 866764"/>
                <a:gd name="connsiteY2789" fmla="*/ 420979 h 816032"/>
                <a:gd name="connsiteX2790" fmla="*/ 453590 w 866764"/>
                <a:gd name="connsiteY2790" fmla="*/ 423399 h 816032"/>
                <a:gd name="connsiteX2791" fmla="*/ 453106 w 866764"/>
                <a:gd name="connsiteY2791" fmla="*/ 425577 h 816032"/>
                <a:gd name="connsiteX2792" fmla="*/ 455375 w 866764"/>
                <a:gd name="connsiteY2792" fmla="*/ 426061 h 816032"/>
                <a:gd name="connsiteX2793" fmla="*/ 454739 w 866764"/>
                <a:gd name="connsiteY2793" fmla="*/ 424428 h 816032"/>
                <a:gd name="connsiteX2794" fmla="*/ 456192 w 866764"/>
                <a:gd name="connsiteY2794" fmla="*/ 424125 h 816032"/>
                <a:gd name="connsiteX2795" fmla="*/ 457765 w 866764"/>
                <a:gd name="connsiteY2795" fmla="*/ 424488 h 816032"/>
                <a:gd name="connsiteX2796" fmla="*/ 459035 w 866764"/>
                <a:gd name="connsiteY2796" fmla="*/ 425487 h 816032"/>
                <a:gd name="connsiteX2797" fmla="*/ 459913 w 866764"/>
                <a:gd name="connsiteY2797" fmla="*/ 428512 h 816032"/>
                <a:gd name="connsiteX2798" fmla="*/ 461395 w 866764"/>
                <a:gd name="connsiteY2798" fmla="*/ 430085 h 816032"/>
                <a:gd name="connsiteX2799" fmla="*/ 461607 w 866764"/>
                <a:gd name="connsiteY2799" fmla="*/ 431567 h 816032"/>
                <a:gd name="connsiteX2800" fmla="*/ 461123 w 866764"/>
                <a:gd name="connsiteY2800" fmla="*/ 432626 h 816032"/>
                <a:gd name="connsiteX2801" fmla="*/ 459247 w 866764"/>
                <a:gd name="connsiteY2801" fmla="*/ 434380 h 816032"/>
                <a:gd name="connsiteX2802" fmla="*/ 458824 w 866764"/>
                <a:gd name="connsiteY2802" fmla="*/ 435227 h 816032"/>
                <a:gd name="connsiteX2803" fmla="*/ 459126 w 866764"/>
                <a:gd name="connsiteY2803" fmla="*/ 436105 h 816032"/>
                <a:gd name="connsiteX2804" fmla="*/ 460820 w 866764"/>
                <a:gd name="connsiteY2804" fmla="*/ 435802 h 816032"/>
                <a:gd name="connsiteX2805" fmla="*/ 461607 w 866764"/>
                <a:gd name="connsiteY2805" fmla="*/ 436468 h 816032"/>
                <a:gd name="connsiteX2806" fmla="*/ 461607 w 866764"/>
                <a:gd name="connsiteY2806" fmla="*/ 439584 h 816032"/>
                <a:gd name="connsiteX2807" fmla="*/ 461213 w 866764"/>
                <a:gd name="connsiteY2807" fmla="*/ 439644 h 816032"/>
                <a:gd name="connsiteX2808" fmla="*/ 382378 w 866764"/>
                <a:gd name="connsiteY2808" fmla="*/ 315492 h 816032"/>
                <a:gd name="connsiteX2809" fmla="*/ 383467 w 866764"/>
                <a:gd name="connsiteY2809" fmla="*/ 315795 h 816032"/>
                <a:gd name="connsiteX2810" fmla="*/ 384284 w 866764"/>
                <a:gd name="connsiteY2810" fmla="*/ 316309 h 816032"/>
                <a:gd name="connsiteX2811" fmla="*/ 385131 w 866764"/>
                <a:gd name="connsiteY2811" fmla="*/ 317338 h 816032"/>
                <a:gd name="connsiteX2812" fmla="*/ 385887 w 866764"/>
                <a:gd name="connsiteY2812" fmla="*/ 317549 h 816032"/>
                <a:gd name="connsiteX2813" fmla="*/ 387370 w 866764"/>
                <a:gd name="connsiteY2813" fmla="*/ 314434 h 816032"/>
                <a:gd name="connsiteX2814" fmla="*/ 388761 w 866764"/>
                <a:gd name="connsiteY2814" fmla="*/ 313133 h 816032"/>
                <a:gd name="connsiteX2815" fmla="*/ 390365 w 866764"/>
                <a:gd name="connsiteY2815" fmla="*/ 314282 h 816032"/>
                <a:gd name="connsiteX2816" fmla="*/ 391151 w 866764"/>
                <a:gd name="connsiteY2816" fmla="*/ 311983 h 816032"/>
                <a:gd name="connsiteX2817" fmla="*/ 390213 w 866764"/>
                <a:gd name="connsiteY2817" fmla="*/ 310107 h 816032"/>
                <a:gd name="connsiteX2818" fmla="*/ 388519 w 866764"/>
                <a:gd name="connsiteY2818" fmla="*/ 308686 h 816032"/>
                <a:gd name="connsiteX2819" fmla="*/ 386886 w 866764"/>
                <a:gd name="connsiteY2819" fmla="*/ 307778 h 816032"/>
                <a:gd name="connsiteX2820" fmla="*/ 385645 w 866764"/>
                <a:gd name="connsiteY2820" fmla="*/ 308444 h 816032"/>
                <a:gd name="connsiteX2821" fmla="*/ 384284 w 866764"/>
                <a:gd name="connsiteY2821" fmla="*/ 309623 h 816032"/>
                <a:gd name="connsiteX2822" fmla="*/ 383195 w 866764"/>
                <a:gd name="connsiteY2822" fmla="*/ 310985 h 816032"/>
                <a:gd name="connsiteX2823" fmla="*/ 382771 w 866764"/>
                <a:gd name="connsiteY2823" fmla="*/ 312255 h 816032"/>
                <a:gd name="connsiteX2824" fmla="*/ 382166 w 866764"/>
                <a:gd name="connsiteY2824" fmla="*/ 312709 h 816032"/>
                <a:gd name="connsiteX2825" fmla="*/ 380866 w 866764"/>
                <a:gd name="connsiteY2825" fmla="*/ 312951 h 816032"/>
                <a:gd name="connsiteX2826" fmla="*/ 379655 w 866764"/>
                <a:gd name="connsiteY2826" fmla="*/ 313738 h 816032"/>
                <a:gd name="connsiteX2827" fmla="*/ 379323 w 866764"/>
                <a:gd name="connsiteY2827" fmla="*/ 315825 h 816032"/>
                <a:gd name="connsiteX2828" fmla="*/ 380230 w 866764"/>
                <a:gd name="connsiteY2828" fmla="*/ 315462 h 816032"/>
                <a:gd name="connsiteX2829" fmla="*/ 381259 w 866764"/>
                <a:gd name="connsiteY2829" fmla="*/ 315401 h 816032"/>
                <a:gd name="connsiteX2830" fmla="*/ 382348 w 866764"/>
                <a:gd name="connsiteY2830" fmla="*/ 315523 h 816032"/>
                <a:gd name="connsiteX2831" fmla="*/ 409665 w 866764"/>
                <a:gd name="connsiteY2831" fmla="*/ 314706 h 816032"/>
                <a:gd name="connsiteX2832" fmla="*/ 406519 w 866764"/>
                <a:gd name="connsiteY2832" fmla="*/ 313012 h 816032"/>
                <a:gd name="connsiteX2833" fmla="*/ 403736 w 866764"/>
                <a:gd name="connsiteY2833" fmla="*/ 310894 h 816032"/>
                <a:gd name="connsiteX2834" fmla="*/ 401376 w 866764"/>
                <a:gd name="connsiteY2834" fmla="*/ 308504 h 816032"/>
                <a:gd name="connsiteX2835" fmla="*/ 400831 w 866764"/>
                <a:gd name="connsiteY2835" fmla="*/ 308444 h 816032"/>
                <a:gd name="connsiteX2836" fmla="*/ 400408 w 866764"/>
                <a:gd name="connsiteY2836" fmla="*/ 308504 h 816032"/>
                <a:gd name="connsiteX2837" fmla="*/ 400136 w 866764"/>
                <a:gd name="connsiteY2837" fmla="*/ 308353 h 816032"/>
                <a:gd name="connsiteX2838" fmla="*/ 400045 w 866764"/>
                <a:gd name="connsiteY2838" fmla="*/ 307748 h 816032"/>
                <a:gd name="connsiteX2839" fmla="*/ 398623 w 866764"/>
                <a:gd name="connsiteY2839" fmla="*/ 308504 h 816032"/>
                <a:gd name="connsiteX2840" fmla="*/ 401648 w 866764"/>
                <a:gd name="connsiteY2840" fmla="*/ 313072 h 816032"/>
                <a:gd name="connsiteX2841" fmla="*/ 402042 w 866764"/>
                <a:gd name="connsiteY2841" fmla="*/ 314675 h 816032"/>
                <a:gd name="connsiteX2842" fmla="*/ 402707 w 866764"/>
                <a:gd name="connsiteY2842" fmla="*/ 315674 h 816032"/>
                <a:gd name="connsiteX2843" fmla="*/ 405884 w 866764"/>
                <a:gd name="connsiteY2843" fmla="*/ 318548 h 816032"/>
                <a:gd name="connsiteX2844" fmla="*/ 406942 w 866764"/>
                <a:gd name="connsiteY2844" fmla="*/ 319122 h 816032"/>
                <a:gd name="connsiteX2845" fmla="*/ 406942 w 866764"/>
                <a:gd name="connsiteY2845" fmla="*/ 319939 h 816032"/>
                <a:gd name="connsiteX2846" fmla="*/ 405793 w 866764"/>
                <a:gd name="connsiteY2846" fmla="*/ 320786 h 816032"/>
                <a:gd name="connsiteX2847" fmla="*/ 405793 w 866764"/>
                <a:gd name="connsiteY2847" fmla="*/ 321573 h 816032"/>
                <a:gd name="connsiteX2848" fmla="*/ 406549 w 866764"/>
                <a:gd name="connsiteY2848" fmla="*/ 322178 h 816032"/>
                <a:gd name="connsiteX2849" fmla="*/ 409211 w 866764"/>
                <a:gd name="connsiteY2849" fmla="*/ 322632 h 816032"/>
                <a:gd name="connsiteX2850" fmla="*/ 410693 w 866764"/>
                <a:gd name="connsiteY2850" fmla="*/ 323721 h 816032"/>
                <a:gd name="connsiteX2851" fmla="*/ 411661 w 866764"/>
                <a:gd name="connsiteY2851" fmla="*/ 324023 h 816032"/>
                <a:gd name="connsiteX2852" fmla="*/ 414112 w 866764"/>
                <a:gd name="connsiteY2852" fmla="*/ 323660 h 816032"/>
                <a:gd name="connsiteX2853" fmla="*/ 416048 w 866764"/>
                <a:gd name="connsiteY2853" fmla="*/ 322420 h 816032"/>
                <a:gd name="connsiteX2854" fmla="*/ 419285 w 866764"/>
                <a:gd name="connsiteY2854" fmla="*/ 319153 h 816032"/>
                <a:gd name="connsiteX2855" fmla="*/ 419285 w 866764"/>
                <a:gd name="connsiteY2855" fmla="*/ 318396 h 816032"/>
                <a:gd name="connsiteX2856" fmla="*/ 417288 w 866764"/>
                <a:gd name="connsiteY2856" fmla="*/ 317791 h 816032"/>
                <a:gd name="connsiteX2857" fmla="*/ 414596 w 866764"/>
                <a:gd name="connsiteY2857" fmla="*/ 317852 h 816032"/>
                <a:gd name="connsiteX2858" fmla="*/ 412690 w 866764"/>
                <a:gd name="connsiteY2858" fmla="*/ 317549 h 816032"/>
                <a:gd name="connsiteX2859" fmla="*/ 413053 w 866764"/>
                <a:gd name="connsiteY2859" fmla="*/ 315795 h 816032"/>
                <a:gd name="connsiteX2860" fmla="*/ 409635 w 866764"/>
                <a:gd name="connsiteY2860" fmla="*/ 314706 h 816032"/>
                <a:gd name="connsiteX2861" fmla="*/ 55118 w 866764"/>
                <a:gd name="connsiteY2861" fmla="*/ 307355 h 816032"/>
                <a:gd name="connsiteX2862" fmla="*/ 53333 w 866764"/>
                <a:gd name="connsiteY2862" fmla="*/ 305993 h 816032"/>
                <a:gd name="connsiteX2863" fmla="*/ 51790 w 866764"/>
                <a:gd name="connsiteY2863" fmla="*/ 304420 h 816032"/>
                <a:gd name="connsiteX2864" fmla="*/ 50278 w 866764"/>
                <a:gd name="connsiteY2864" fmla="*/ 305086 h 816032"/>
                <a:gd name="connsiteX2865" fmla="*/ 50550 w 866764"/>
                <a:gd name="connsiteY2865" fmla="*/ 306598 h 816032"/>
                <a:gd name="connsiteX2866" fmla="*/ 51579 w 866764"/>
                <a:gd name="connsiteY2866" fmla="*/ 308262 h 816032"/>
                <a:gd name="connsiteX2867" fmla="*/ 53636 w 866764"/>
                <a:gd name="connsiteY2867" fmla="*/ 310652 h 816032"/>
                <a:gd name="connsiteX2868" fmla="*/ 54634 w 866764"/>
                <a:gd name="connsiteY2868" fmla="*/ 311408 h 816032"/>
                <a:gd name="connsiteX2869" fmla="*/ 55935 w 866764"/>
                <a:gd name="connsiteY2869" fmla="*/ 311711 h 816032"/>
                <a:gd name="connsiteX2870" fmla="*/ 57992 w 866764"/>
                <a:gd name="connsiteY2870" fmla="*/ 311771 h 816032"/>
                <a:gd name="connsiteX2871" fmla="*/ 56812 w 866764"/>
                <a:gd name="connsiteY2871" fmla="*/ 309018 h 816032"/>
                <a:gd name="connsiteX2872" fmla="*/ 55118 w 866764"/>
                <a:gd name="connsiteY2872" fmla="*/ 307294 h 816032"/>
                <a:gd name="connsiteX2873" fmla="*/ 435651 w 866764"/>
                <a:gd name="connsiteY2873" fmla="*/ 299610 h 816032"/>
                <a:gd name="connsiteX2874" fmla="*/ 435742 w 866764"/>
                <a:gd name="connsiteY2874" fmla="*/ 299187 h 816032"/>
                <a:gd name="connsiteX2875" fmla="*/ 435863 w 866764"/>
                <a:gd name="connsiteY2875" fmla="*/ 298763 h 816032"/>
                <a:gd name="connsiteX2876" fmla="*/ 434108 w 866764"/>
                <a:gd name="connsiteY2876" fmla="*/ 299913 h 816032"/>
                <a:gd name="connsiteX2877" fmla="*/ 429026 w 866764"/>
                <a:gd name="connsiteY2877" fmla="*/ 307355 h 816032"/>
                <a:gd name="connsiteX2878" fmla="*/ 427392 w 866764"/>
                <a:gd name="connsiteY2878" fmla="*/ 311802 h 816032"/>
                <a:gd name="connsiteX2879" fmla="*/ 426182 w 866764"/>
                <a:gd name="connsiteY2879" fmla="*/ 313102 h 816032"/>
                <a:gd name="connsiteX2880" fmla="*/ 424791 w 866764"/>
                <a:gd name="connsiteY2880" fmla="*/ 314161 h 816032"/>
                <a:gd name="connsiteX2881" fmla="*/ 423429 w 866764"/>
                <a:gd name="connsiteY2881" fmla="*/ 315855 h 816032"/>
                <a:gd name="connsiteX2882" fmla="*/ 426545 w 866764"/>
                <a:gd name="connsiteY2882" fmla="*/ 316127 h 816032"/>
                <a:gd name="connsiteX2883" fmla="*/ 429722 w 866764"/>
                <a:gd name="connsiteY2883" fmla="*/ 314010 h 816032"/>
                <a:gd name="connsiteX2884" fmla="*/ 432323 w 866764"/>
                <a:gd name="connsiteY2884" fmla="*/ 310592 h 816032"/>
                <a:gd name="connsiteX2885" fmla="*/ 433836 w 866764"/>
                <a:gd name="connsiteY2885" fmla="*/ 306901 h 816032"/>
                <a:gd name="connsiteX2886" fmla="*/ 435197 w 866764"/>
                <a:gd name="connsiteY2886" fmla="*/ 305993 h 816032"/>
                <a:gd name="connsiteX2887" fmla="*/ 436891 w 866764"/>
                <a:gd name="connsiteY2887" fmla="*/ 303361 h 816032"/>
                <a:gd name="connsiteX2888" fmla="*/ 437405 w 866764"/>
                <a:gd name="connsiteY2888" fmla="*/ 300881 h 816032"/>
                <a:gd name="connsiteX2889" fmla="*/ 435197 w 866764"/>
                <a:gd name="connsiteY2889" fmla="*/ 300487 h 816032"/>
                <a:gd name="connsiteX2890" fmla="*/ 435560 w 866764"/>
                <a:gd name="connsiteY2890" fmla="*/ 300064 h 816032"/>
                <a:gd name="connsiteX2891" fmla="*/ 435681 w 866764"/>
                <a:gd name="connsiteY2891" fmla="*/ 299641 h 816032"/>
                <a:gd name="connsiteX2892" fmla="*/ 445573 w 866764"/>
                <a:gd name="connsiteY2892" fmla="*/ 296888 h 816032"/>
                <a:gd name="connsiteX2893" fmla="*/ 446541 w 866764"/>
                <a:gd name="connsiteY2893" fmla="*/ 297856 h 816032"/>
                <a:gd name="connsiteX2894" fmla="*/ 448417 w 866764"/>
                <a:gd name="connsiteY2894" fmla="*/ 296918 h 816032"/>
                <a:gd name="connsiteX2895" fmla="*/ 449627 w 866764"/>
                <a:gd name="connsiteY2895" fmla="*/ 293893 h 816032"/>
                <a:gd name="connsiteX2896" fmla="*/ 449688 w 866764"/>
                <a:gd name="connsiteY2896" fmla="*/ 292047 h 816032"/>
                <a:gd name="connsiteX2897" fmla="*/ 449264 w 866764"/>
                <a:gd name="connsiteY2897" fmla="*/ 291624 h 816032"/>
                <a:gd name="connsiteX2898" fmla="*/ 448356 w 866764"/>
                <a:gd name="connsiteY2898" fmla="*/ 291231 h 816032"/>
                <a:gd name="connsiteX2899" fmla="*/ 447630 w 866764"/>
                <a:gd name="connsiteY2899" fmla="*/ 291654 h 816032"/>
                <a:gd name="connsiteX2900" fmla="*/ 447207 w 866764"/>
                <a:gd name="connsiteY2900" fmla="*/ 292017 h 816032"/>
                <a:gd name="connsiteX2901" fmla="*/ 447147 w 866764"/>
                <a:gd name="connsiteY2901" fmla="*/ 291110 h 816032"/>
                <a:gd name="connsiteX2902" fmla="*/ 446965 w 866764"/>
                <a:gd name="connsiteY2902" fmla="*/ 289960 h 816032"/>
                <a:gd name="connsiteX2903" fmla="*/ 446088 w 866764"/>
                <a:gd name="connsiteY2903" fmla="*/ 290172 h 816032"/>
                <a:gd name="connsiteX2904" fmla="*/ 445301 w 866764"/>
                <a:gd name="connsiteY2904" fmla="*/ 291291 h 816032"/>
                <a:gd name="connsiteX2905" fmla="*/ 444726 w 866764"/>
                <a:gd name="connsiteY2905" fmla="*/ 292531 h 816032"/>
                <a:gd name="connsiteX2906" fmla="*/ 444363 w 866764"/>
                <a:gd name="connsiteY2906" fmla="*/ 293832 h 816032"/>
                <a:gd name="connsiteX2907" fmla="*/ 444787 w 866764"/>
                <a:gd name="connsiteY2907" fmla="*/ 294679 h 816032"/>
                <a:gd name="connsiteX2908" fmla="*/ 445815 w 866764"/>
                <a:gd name="connsiteY2908" fmla="*/ 295193 h 816032"/>
                <a:gd name="connsiteX2909" fmla="*/ 446148 w 866764"/>
                <a:gd name="connsiteY2909" fmla="*/ 295738 h 816032"/>
                <a:gd name="connsiteX2910" fmla="*/ 445664 w 866764"/>
                <a:gd name="connsiteY2910" fmla="*/ 296010 h 816032"/>
                <a:gd name="connsiteX2911" fmla="*/ 445573 w 866764"/>
                <a:gd name="connsiteY2911" fmla="*/ 296857 h 816032"/>
                <a:gd name="connsiteX2912" fmla="*/ 696237 w 866764"/>
                <a:gd name="connsiteY2912" fmla="*/ 333643 h 816032"/>
                <a:gd name="connsiteX2913" fmla="*/ 696146 w 866764"/>
                <a:gd name="connsiteY2913" fmla="*/ 333492 h 816032"/>
                <a:gd name="connsiteX2914" fmla="*/ 696237 w 866764"/>
                <a:gd name="connsiteY2914" fmla="*/ 333492 h 816032"/>
                <a:gd name="connsiteX2915" fmla="*/ 696479 w 866764"/>
                <a:gd name="connsiteY2915" fmla="*/ 333008 h 816032"/>
                <a:gd name="connsiteX2916" fmla="*/ 696479 w 866764"/>
                <a:gd name="connsiteY2916" fmla="*/ 332131 h 816032"/>
                <a:gd name="connsiteX2917" fmla="*/ 694633 w 866764"/>
                <a:gd name="connsiteY2917" fmla="*/ 330679 h 816032"/>
                <a:gd name="connsiteX2918" fmla="*/ 690943 w 866764"/>
                <a:gd name="connsiteY2918" fmla="*/ 325717 h 816032"/>
                <a:gd name="connsiteX2919" fmla="*/ 687010 w 866764"/>
                <a:gd name="connsiteY2919" fmla="*/ 322934 h 816032"/>
                <a:gd name="connsiteX2920" fmla="*/ 685407 w 866764"/>
                <a:gd name="connsiteY2920" fmla="*/ 320907 h 816032"/>
                <a:gd name="connsiteX2921" fmla="*/ 687192 w 866764"/>
                <a:gd name="connsiteY2921" fmla="*/ 319969 h 816032"/>
                <a:gd name="connsiteX2922" fmla="*/ 690640 w 866764"/>
                <a:gd name="connsiteY2922" fmla="*/ 319697 h 816032"/>
                <a:gd name="connsiteX2923" fmla="*/ 692304 w 866764"/>
                <a:gd name="connsiteY2923" fmla="*/ 320242 h 816032"/>
                <a:gd name="connsiteX2924" fmla="*/ 693030 w 866764"/>
                <a:gd name="connsiteY2924" fmla="*/ 321996 h 816032"/>
                <a:gd name="connsiteX2925" fmla="*/ 693242 w 866764"/>
                <a:gd name="connsiteY2925" fmla="*/ 322390 h 816032"/>
                <a:gd name="connsiteX2926" fmla="*/ 694392 w 866764"/>
                <a:gd name="connsiteY2926" fmla="*/ 323297 h 816032"/>
                <a:gd name="connsiteX2927" fmla="*/ 694331 w 866764"/>
                <a:gd name="connsiteY2927" fmla="*/ 324053 h 816032"/>
                <a:gd name="connsiteX2928" fmla="*/ 693756 w 866764"/>
                <a:gd name="connsiteY2928" fmla="*/ 325354 h 816032"/>
                <a:gd name="connsiteX2929" fmla="*/ 693666 w 866764"/>
                <a:gd name="connsiteY2929" fmla="*/ 325748 h 816032"/>
                <a:gd name="connsiteX2930" fmla="*/ 693544 w 866764"/>
                <a:gd name="connsiteY2930" fmla="*/ 326352 h 816032"/>
                <a:gd name="connsiteX2931" fmla="*/ 693363 w 866764"/>
                <a:gd name="connsiteY2931" fmla="*/ 326988 h 816032"/>
                <a:gd name="connsiteX2932" fmla="*/ 693514 w 866764"/>
                <a:gd name="connsiteY2932" fmla="*/ 327593 h 816032"/>
                <a:gd name="connsiteX2933" fmla="*/ 694422 w 866764"/>
                <a:gd name="connsiteY2933" fmla="*/ 328198 h 816032"/>
                <a:gd name="connsiteX2934" fmla="*/ 693696 w 866764"/>
                <a:gd name="connsiteY2934" fmla="*/ 328954 h 816032"/>
                <a:gd name="connsiteX2935" fmla="*/ 694724 w 866764"/>
                <a:gd name="connsiteY2935" fmla="*/ 329862 h 816032"/>
                <a:gd name="connsiteX2936" fmla="*/ 695722 w 866764"/>
                <a:gd name="connsiteY2936" fmla="*/ 330951 h 816032"/>
                <a:gd name="connsiteX2937" fmla="*/ 696933 w 866764"/>
                <a:gd name="connsiteY2937" fmla="*/ 331465 h 816032"/>
                <a:gd name="connsiteX2938" fmla="*/ 698536 w 866764"/>
                <a:gd name="connsiteY2938" fmla="*/ 330648 h 816032"/>
                <a:gd name="connsiteX2939" fmla="*/ 701531 w 866764"/>
                <a:gd name="connsiteY2939" fmla="*/ 331828 h 816032"/>
                <a:gd name="connsiteX2940" fmla="*/ 702801 w 866764"/>
                <a:gd name="connsiteY2940" fmla="*/ 330527 h 816032"/>
                <a:gd name="connsiteX2941" fmla="*/ 703043 w 866764"/>
                <a:gd name="connsiteY2941" fmla="*/ 328470 h 816032"/>
                <a:gd name="connsiteX2942" fmla="*/ 703043 w 866764"/>
                <a:gd name="connsiteY2942" fmla="*/ 327381 h 816032"/>
                <a:gd name="connsiteX2943" fmla="*/ 701561 w 866764"/>
                <a:gd name="connsiteY2943" fmla="*/ 326474 h 816032"/>
                <a:gd name="connsiteX2944" fmla="*/ 699716 w 866764"/>
                <a:gd name="connsiteY2944" fmla="*/ 324295 h 816032"/>
                <a:gd name="connsiteX2945" fmla="*/ 698385 w 866764"/>
                <a:gd name="connsiteY2945" fmla="*/ 321603 h 816032"/>
                <a:gd name="connsiteX2946" fmla="*/ 698506 w 866764"/>
                <a:gd name="connsiteY2946" fmla="*/ 319213 h 816032"/>
                <a:gd name="connsiteX2947" fmla="*/ 697417 w 866764"/>
                <a:gd name="connsiteY2947" fmla="*/ 319365 h 816032"/>
                <a:gd name="connsiteX2948" fmla="*/ 696781 w 866764"/>
                <a:gd name="connsiteY2948" fmla="*/ 319092 h 816032"/>
                <a:gd name="connsiteX2949" fmla="*/ 696479 w 866764"/>
                <a:gd name="connsiteY2949" fmla="*/ 318366 h 816032"/>
                <a:gd name="connsiteX2950" fmla="*/ 696418 w 866764"/>
                <a:gd name="connsiteY2950" fmla="*/ 317186 h 816032"/>
                <a:gd name="connsiteX2951" fmla="*/ 695481 w 866764"/>
                <a:gd name="connsiteY2951" fmla="*/ 316249 h 816032"/>
                <a:gd name="connsiteX2952" fmla="*/ 694785 w 866764"/>
                <a:gd name="connsiteY2952" fmla="*/ 315341 h 816032"/>
                <a:gd name="connsiteX2953" fmla="*/ 694361 w 866764"/>
                <a:gd name="connsiteY2953" fmla="*/ 314343 h 816032"/>
                <a:gd name="connsiteX2954" fmla="*/ 695662 w 866764"/>
                <a:gd name="connsiteY2954" fmla="*/ 313526 h 816032"/>
                <a:gd name="connsiteX2955" fmla="*/ 693484 w 866764"/>
                <a:gd name="connsiteY2955" fmla="*/ 312316 h 816032"/>
                <a:gd name="connsiteX2956" fmla="*/ 692153 w 866764"/>
                <a:gd name="connsiteY2956" fmla="*/ 311257 h 816032"/>
                <a:gd name="connsiteX2957" fmla="*/ 688735 w 866764"/>
                <a:gd name="connsiteY2957" fmla="*/ 306477 h 816032"/>
                <a:gd name="connsiteX2958" fmla="*/ 688281 w 866764"/>
                <a:gd name="connsiteY2958" fmla="*/ 305993 h 816032"/>
                <a:gd name="connsiteX2959" fmla="*/ 687464 w 866764"/>
                <a:gd name="connsiteY2959" fmla="*/ 305388 h 816032"/>
                <a:gd name="connsiteX2960" fmla="*/ 684015 w 866764"/>
                <a:gd name="connsiteY2960" fmla="*/ 304087 h 816032"/>
                <a:gd name="connsiteX2961" fmla="*/ 679780 w 866764"/>
                <a:gd name="connsiteY2961" fmla="*/ 300276 h 816032"/>
                <a:gd name="connsiteX2962" fmla="*/ 679538 w 866764"/>
                <a:gd name="connsiteY2962" fmla="*/ 299610 h 816032"/>
                <a:gd name="connsiteX2963" fmla="*/ 682715 w 866764"/>
                <a:gd name="connsiteY2963" fmla="*/ 295042 h 816032"/>
                <a:gd name="connsiteX2964" fmla="*/ 683319 w 866764"/>
                <a:gd name="connsiteY2964" fmla="*/ 293893 h 816032"/>
                <a:gd name="connsiteX2965" fmla="*/ 681595 w 866764"/>
                <a:gd name="connsiteY2965" fmla="*/ 292622 h 816032"/>
                <a:gd name="connsiteX2966" fmla="*/ 678873 w 866764"/>
                <a:gd name="connsiteY2966" fmla="*/ 291957 h 816032"/>
                <a:gd name="connsiteX2967" fmla="*/ 676997 w 866764"/>
                <a:gd name="connsiteY2967" fmla="*/ 290807 h 816032"/>
                <a:gd name="connsiteX2968" fmla="*/ 677723 w 866764"/>
                <a:gd name="connsiteY2968" fmla="*/ 288145 h 816032"/>
                <a:gd name="connsiteX2969" fmla="*/ 675817 w 866764"/>
                <a:gd name="connsiteY2969" fmla="*/ 287661 h 816032"/>
                <a:gd name="connsiteX2970" fmla="*/ 657757 w 866764"/>
                <a:gd name="connsiteY2970" fmla="*/ 288145 h 816032"/>
                <a:gd name="connsiteX2971" fmla="*/ 658483 w 866764"/>
                <a:gd name="connsiteY2971" fmla="*/ 291200 h 816032"/>
                <a:gd name="connsiteX2972" fmla="*/ 658664 w 866764"/>
                <a:gd name="connsiteY2972" fmla="*/ 293318 h 816032"/>
                <a:gd name="connsiteX2973" fmla="*/ 657697 w 866764"/>
                <a:gd name="connsiteY2973" fmla="*/ 294740 h 816032"/>
                <a:gd name="connsiteX2974" fmla="*/ 655034 w 866764"/>
                <a:gd name="connsiteY2974" fmla="*/ 295617 h 816032"/>
                <a:gd name="connsiteX2975" fmla="*/ 650769 w 866764"/>
                <a:gd name="connsiteY2975" fmla="*/ 296313 h 816032"/>
                <a:gd name="connsiteX2976" fmla="*/ 648651 w 866764"/>
                <a:gd name="connsiteY2976" fmla="*/ 297160 h 816032"/>
                <a:gd name="connsiteX2977" fmla="*/ 647381 w 866764"/>
                <a:gd name="connsiteY2977" fmla="*/ 298824 h 816032"/>
                <a:gd name="connsiteX2978" fmla="*/ 646715 w 866764"/>
                <a:gd name="connsiteY2978" fmla="*/ 298824 h 816032"/>
                <a:gd name="connsiteX2979" fmla="*/ 646594 w 866764"/>
                <a:gd name="connsiteY2979" fmla="*/ 298279 h 816032"/>
                <a:gd name="connsiteX2980" fmla="*/ 646020 w 866764"/>
                <a:gd name="connsiteY2980" fmla="*/ 297190 h 816032"/>
                <a:gd name="connsiteX2981" fmla="*/ 645808 w 866764"/>
                <a:gd name="connsiteY2981" fmla="*/ 297946 h 816032"/>
                <a:gd name="connsiteX2982" fmla="*/ 645475 w 866764"/>
                <a:gd name="connsiteY2982" fmla="*/ 298491 h 816032"/>
                <a:gd name="connsiteX2983" fmla="*/ 645082 w 866764"/>
                <a:gd name="connsiteY2983" fmla="*/ 298975 h 816032"/>
                <a:gd name="connsiteX2984" fmla="*/ 644658 w 866764"/>
                <a:gd name="connsiteY2984" fmla="*/ 299641 h 816032"/>
                <a:gd name="connsiteX2985" fmla="*/ 641935 w 866764"/>
                <a:gd name="connsiteY2985" fmla="*/ 299217 h 816032"/>
                <a:gd name="connsiteX2986" fmla="*/ 638184 w 866764"/>
                <a:gd name="connsiteY2986" fmla="*/ 300124 h 816032"/>
                <a:gd name="connsiteX2987" fmla="*/ 634917 w 866764"/>
                <a:gd name="connsiteY2987" fmla="*/ 300367 h 816032"/>
                <a:gd name="connsiteX2988" fmla="*/ 633677 w 866764"/>
                <a:gd name="connsiteY2988" fmla="*/ 297946 h 816032"/>
                <a:gd name="connsiteX2989" fmla="*/ 632981 w 866764"/>
                <a:gd name="connsiteY2989" fmla="*/ 297946 h 816032"/>
                <a:gd name="connsiteX2990" fmla="*/ 632316 w 866764"/>
                <a:gd name="connsiteY2990" fmla="*/ 298793 h 816032"/>
                <a:gd name="connsiteX2991" fmla="*/ 629532 w 866764"/>
                <a:gd name="connsiteY2991" fmla="*/ 301244 h 816032"/>
                <a:gd name="connsiteX2992" fmla="*/ 628837 w 866764"/>
                <a:gd name="connsiteY2992" fmla="*/ 301607 h 816032"/>
                <a:gd name="connsiteX2993" fmla="*/ 627899 w 866764"/>
                <a:gd name="connsiteY2993" fmla="*/ 301940 h 816032"/>
                <a:gd name="connsiteX2994" fmla="*/ 627082 w 866764"/>
                <a:gd name="connsiteY2994" fmla="*/ 302424 h 816032"/>
                <a:gd name="connsiteX2995" fmla="*/ 626719 w 866764"/>
                <a:gd name="connsiteY2995" fmla="*/ 303240 h 816032"/>
                <a:gd name="connsiteX2996" fmla="*/ 626719 w 866764"/>
                <a:gd name="connsiteY2996" fmla="*/ 304420 h 816032"/>
                <a:gd name="connsiteX2997" fmla="*/ 626568 w 866764"/>
                <a:gd name="connsiteY2997" fmla="*/ 305146 h 816032"/>
                <a:gd name="connsiteX2998" fmla="*/ 626205 w 866764"/>
                <a:gd name="connsiteY2998" fmla="*/ 305661 h 816032"/>
                <a:gd name="connsiteX2999" fmla="*/ 625418 w 866764"/>
                <a:gd name="connsiteY2999" fmla="*/ 306144 h 816032"/>
                <a:gd name="connsiteX3000" fmla="*/ 625811 w 866764"/>
                <a:gd name="connsiteY3000" fmla="*/ 306387 h 816032"/>
                <a:gd name="connsiteX3001" fmla="*/ 626053 w 866764"/>
                <a:gd name="connsiteY3001" fmla="*/ 306629 h 816032"/>
                <a:gd name="connsiteX3002" fmla="*/ 626326 w 866764"/>
                <a:gd name="connsiteY3002" fmla="*/ 306840 h 816032"/>
                <a:gd name="connsiteX3003" fmla="*/ 626749 w 866764"/>
                <a:gd name="connsiteY3003" fmla="*/ 306961 h 816032"/>
                <a:gd name="connsiteX3004" fmla="*/ 626386 w 866764"/>
                <a:gd name="connsiteY3004" fmla="*/ 308202 h 816032"/>
                <a:gd name="connsiteX3005" fmla="*/ 626235 w 866764"/>
                <a:gd name="connsiteY3005" fmla="*/ 309593 h 816032"/>
                <a:gd name="connsiteX3006" fmla="*/ 625842 w 866764"/>
                <a:gd name="connsiteY3006" fmla="*/ 310652 h 816032"/>
                <a:gd name="connsiteX3007" fmla="*/ 624692 w 866764"/>
                <a:gd name="connsiteY3007" fmla="*/ 311045 h 816032"/>
                <a:gd name="connsiteX3008" fmla="*/ 624692 w 866764"/>
                <a:gd name="connsiteY3008" fmla="*/ 311923 h 816032"/>
                <a:gd name="connsiteX3009" fmla="*/ 626659 w 866764"/>
                <a:gd name="connsiteY3009" fmla="*/ 312830 h 816032"/>
                <a:gd name="connsiteX3010" fmla="*/ 630138 w 866764"/>
                <a:gd name="connsiteY3010" fmla="*/ 316097 h 816032"/>
                <a:gd name="connsiteX3011" fmla="*/ 631953 w 866764"/>
                <a:gd name="connsiteY3011" fmla="*/ 316823 h 816032"/>
                <a:gd name="connsiteX3012" fmla="*/ 633253 w 866764"/>
                <a:gd name="connsiteY3012" fmla="*/ 317005 h 816032"/>
                <a:gd name="connsiteX3013" fmla="*/ 634191 w 866764"/>
                <a:gd name="connsiteY3013" fmla="*/ 317459 h 816032"/>
                <a:gd name="connsiteX3014" fmla="*/ 635643 w 866764"/>
                <a:gd name="connsiteY3014" fmla="*/ 318487 h 816032"/>
                <a:gd name="connsiteX3015" fmla="*/ 637095 w 866764"/>
                <a:gd name="connsiteY3015" fmla="*/ 319304 h 816032"/>
                <a:gd name="connsiteX3016" fmla="*/ 645626 w 866764"/>
                <a:gd name="connsiteY3016" fmla="*/ 322208 h 816032"/>
                <a:gd name="connsiteX3017" fmla="*/ 647744 w 866764"/>
                <a:gd name="connsiteY3017" fmla="*/ 322480 h 816032"/>
                <a:gd name="connsiteX3018" fmla="*/ 649619 w 866764"/>
                <a:gd name="connsiteY3018" fmla="*/ 321966 h 816032"/>
                <a:gd name="connsiteX3019" fmla="*/ 651102 w 866764"/>
                <a:gd name="connsiteY3019" fmla="*/ 320726 h 816032"/>
                <a:gd name="connsiteX3020" fmla="*/ 655639 w 866764"/>
                <a:gd name="connsiteY3020" fmla="*/ 314766 h 816032"/>
                <a:gd name="connsiteX3021" fmla="*/ 655942 w 866764"/>
                <a:gd name="connsiteY3021" fmla="*/ 314766 h 816032"/>
                <a:gd name="connsiteX3022" fmla="*/ 657454 w 866764"/>
                <a:gd name="connsiteY3022" fmla="*/ 311469 h 816032"/>
                <a:gd name="connsiteX3023" fmla="*/ 658786 w 866764"/>
                <a:gd name="connsiteY3023" fmla="*/ 310077 h 816032"/>
                <a:gd name="connsiteX3024" fmla="*/ 660177 w 866764"/>
                <a:gd name="connsiteY3024" fmla="*/ 309260 h 816032"/>
                <a:gd name="connsiteX3025" fmla="*/ 661902 w 866764"/>
                <a:gd name="connsiteY3025" fmla="*/ 308807 h 816032"/>
                <a:gd name="connsiteX3026" fmla="*/ 664049 w 866764"/>
                <a:gd name="connsiteY3026" fmla="*/ 308595 h 816032"/>
                <a:gd name="connsiteX3027" fmla="*/ 665259 w 866764"/>
                <a:gd name="connsiteY3027" fmla="*/ 308686 h 816032"/>
                <a:gd name="connsiteX3028" fmla="*/ 668496 w 866764"/>
                <a:gd name="connsiteY3028" fmla="*/ 309381 h 816032"/>
                <a:gd name="connsiteX3029" fmla="*/ 669525 w 866764"/>
                <a:gd name="connsiteY3029" fmla="*/ 309896 h 816032"/>
                <a:gd name="connsiteX3030" fmla="*/ 670553 w 866764"/>
                <a:gd name="connsiteY3030" fmla="*/ 311045 h 816032"/>
                <a:gd name="connsiteX3031" fmla="*/ 670886 w 866764"/>
                <a:gd name="connsiteY3031" fmla="*/ 312195 h 816032"/>
                <a:gd name="connsiteX3032" fmla="*/ 669858 w 866764"/>
                <a:gd name="connsiteY3032" fmla="*/ 312709 h 816032"/>
                <a:gd name="connsiteX3033" fmla="*/ 669737 w 866764"/>
                <a:gd name="connsiteY3033" fmla="*/ 313072 h 816032"/>
                <a:gd name="connsiteX3034" fmla="*/ 666711 w 866764"/>
                <a:gd name="connsiteY3034" fmla="*/ 315160 h 816032"/>
                <a:gd name="connsiteX3035" fmla="*/ 664019 w 866764"/>
                <a:gd name="connsiteY3035" fmla="*/ 317610 h 816032"/>
                <a:gd name="connsiteX3036" fmla="*/ 662809 w 866764"/>
                <a:gd name="connsiteY3036" fmla="*/ 317882 h 816032"/>
                <a:gd name="connsiteX3037" fmla="*/ 661690 w 866764"/>
                <a:gd name="connsiteY3037" fmla="*/ 317943 h 816032"/>
                <a:gd name="connsiteX3038" fmla="*/ 660570 w 866764"/>
                <a:gd name="connsiteY3038" fmla="*/ 318094 h 816032"/>
                <a:gd name="connsiteX3039" fmla="*/ 659481 w 866764"/>
                <a:gd name="connsiteY3039" fmla="*/ 318850 h 816032"/>
                <a:gd name="connsiteX3040" fmla="*/ 657848 w 866764"/>
                <a:gd name="connsiteY3040" fmla="*/ 321300 h 816032"/>
                <a:gd name="connsiteX3041" fmla="*/ 657424 w 866764"/>
                <a:gd name="connsiteY3041" fmla="*/ 321633 h 816032"/>
                <a:gd name="connsiteX3042" fmla="*/ 653582 w 866764"/>
                <a:gd name="connsiteY3042" fmla="*/ 322450 h 816032"/>
                <a:gd name="connsiteX3043" fmla="*/ 653098 w 866764"/>
                <a:gd name="connsiteY3043" fmla="*/ 322450 h 816032"/>
                <a:gd name="connsiteX3044" fmla="*/ 652735 w 866764"/>
                <a:gd name="connsiteY3044" fmla="*/ 322299 h 816032"/>
                <a:gd name="connsiteX3045" fmla="*/ 652312 w 866764"/>
                <a:gd name="connsiteY3045" fmla="*/ 322238 h 816032"/>
                <a:gd name="connsiteX3046" fmla="*/ 651586 w 866764"/>
                <a:gd name="connsiteY3046" fmla="*/ 322450 h 816032"/>
                <a:gd name="connsiteX3047" fmla="*/ 650739 w 866764"/>
                <a:gd name="connsiteY3047" fmla="*/ 323116 h 816032"/>
                <a:gd name="connsiteX3048" fmla="*/ 650134 w 866764"/>
                <a:gd name="connsiteY3048" fmla="*/ 323327 h 816032"/>
                <a:gd name="connsiteX3049" fmla="*/ 650134 w 866764"/>
                <a:gd name="connsiteY3049" fmla="*/ 324084 h 816032"/>
                <a:gd name="connsiteX3050" fmla="*/ 651767 w 866764"/>
                <a:gd name="connsiteY3050" fmla="*/ 324386 h 816032"/>
                <a:gd name="connsiteX3051" fmla="*/ 652917 w 866764"/>
                <a:gd name="connsiteY3051" fmla="*/ 325324 h 816032"/>
                <a:gd name="connsiteX3052" fmla="*/ 656002 w 866764"/>
                <a:gd name="connsiteY3052" fmla="*/ 329438 h 816032"/>
                <a:gd name="connsiteX3053" fmla="*/ 656880 w 866764"/>
                <a:gd name="connsiteY3053" fmla="*/ 330285 h 816032"/>
                <a:gd name="connsiteX3054" fmla="*/ 657938 w 866764"/>
                <a:gd name="connsiteY3054" fmla="*/ 330588 h 816032"/>
                <a:gd name="connsiteX3055" fmla="*/ 663111 w 866764"/>
                <a:gd name="connsiteY3055" fmla="*/ 330799 h 816032"/>
                <a:gd name="connsiteX3056" fmla="*/ 669071 w 866764"/>
                <a:gd name="connsiteY3056" fmla="*/ 332009 h 816032"/>
                <a:gd name="connsiteX3057" fmla="*/ 671521 w 866764"/>
                <a:gd name="connsiteY3057" fmla="*/ 333099 h 816032"/>
                <a:gd name="connsiteX3058" fmla="*/ 674032 w 866764"/>
                <a:gd name="connsiteY3058" fmla="*/ 334732 h 816032"/>
                <a:gd name="connsiteX3059" fmla="*/ 675424 w 866764"/>
                <a:gd name="connsiteY3059" fmla="*/ 335307 h 816032"/>
                <a:gd name="connsiteX3060" fmla="*/ 679024 w 866764"/>
                <a:gd name="connsiteY3060" fmla="*/ 335761 h 816032"/>
                <a:gd name="connsiteX3061" fmla="*/ 682230 w 866764"/>
                <a:gd name="connsiteY3061" fmla="*/ 336880 h 816032"/>
                <a:gd name="connsiteX3062" fmla="*/ 683955 w 866764"/>
                <a:gd name="connsiteY3062" fmla="*/ 337122 h 816032"/>
                <a:gd name="connsiteX3063" fmla="*/ 690519 w 866764"/>
                <a:gd name="connsiteY3063" fmla="*/ 336517 h 816032"/>
                <a:gd name="connsiteX3064" fmla="*/ 693726 w 866764"/>
                <a:gd name="connsiteY3064" fmla="*/ 335761 h 816032"/>
                <a:gd name="connsiteX3065" fmla="*/ 696328 w 866764"/>
                <a:gd name="connsiteY3065" fmla="*/ 334702 h 816032"/>
                <a:gd name="connsiteX3066" fmla="*/ 696085 w 866764"/>
                <a:gd name="connsiteY3066" fmla="*/ 333704 h 816032"/>
                <a:gd name="connsiteX3067" fmla="*/ 538143 w 866764"/>
                <a:gd name="connsiteY3067" fmla="*/ 271870 h 816032"/>
                <a:gd name="connsiteX3068" fmla="*/ 539262 w 866764"/>
                <a:gd name="connsiteY3068" fmla="*/ 277587 h 816032"/>
                <a:gd name="connsiteX3069" fmla="*/ 539958 w 866764"/>
                <a:gd name="connsiteY3069" fmla="*/ 277587 h 816032"/>
                <a:gd name="connsiteX3070" fmla="*/ 544859 w 866764"/>
                <a:gd name="connsiteY3070" fmla="*/ 271174 h 816032"/>
                <a:gd name="connsiteX3071" fmla="*/ 545554 w 866764"/>
                <a:gd name="connsiteY3071" fmla="*/ 268209 h 816032"/>
                <a:gd name="connsiteX3072" fmla="*/ 542015 w 866764"/>
                <a:gd name="connsiteY3072" fmla="*/ 266001 h 816032"/>
                <a:gd name="connsiteX3073" fmla="*/ 541107 w 866764"/>
                <a:gd name="connsiteY3073" fmla="*/ 266092 h 816032"/>
                <a:gd name="connsiteX3074" fmla="*/ 540472 w 866764"/>
                <a:gd name="connsiteY3074" fmla="*/ 266243 h 816032"/>
                <a:gd name="connsiteX3075" fmla="*/ 540230 w 866764"/>
                <a:gd name="connsiteY3075" fmla="*/ 266697 h 816032"/>
                <a:gd name="connsiteX3076" fmla="*/ 540563 w 866764"/>
                <a:gd name="connsiteY3076" fmla="*/ 267634 h 816032"/>
                <a:gd name="connsiteX3077" fmla="*/ 538415 w 866764"/>
                <a:gd name="connsiteY3077" fmla="*/ 269147 h 816032"/>
                <a:gd name="connsiteX3078" fmla="*/ 538143 w 866764"/>
                <a:gd name="connsiteY3078" fmla="*/ 271900 h 816032"/>
                <a:gd name="connsiteX3079" fmla="*/ 48281 w 866764"/>
                <a:gd name="connsiteY3079" fmla="*/ 286451 h 816032"/>
                <a:gd name="connsiteX3080" fmla="*/ 47374 w 866764"/>
                <a:gd name="connsiteY3080" fmla="*/ 282851 h 816032"/>
                <a:gd name="connsiteX3081" fmla="*/ 46890 w 866764"/>
                <a:gd name="connsiteY3081" fmla="*/ 281580 h 816032"/>
                <a:gd name="connsiteX3082" fmla="*/ 45861 w 866764"/>
                <a:gd name="connsiteY3082" fmla="*/ 279917 h 816032"/>
                <a:gd name="connsiteX3083" fmla="*/ 45075 w 866764"/>
                <a:gd name="connsiteY3083" fmla="*/ 279705 h 816032"/>
                <a:gd name="connsiteX3084" fmla="*/ 44167 w 866764"/>
                <a:gd name="connsiteY3084" fmla="*/ 280219 h 816032"/>
                <a:gd name="connsiteX3085" fmla="*/ 42685 w 866764"/>
                <a:gd name="connsiteY3085" fmla="*/ 280733 h 816032"/>
                <a:gd name="connsiteX3086" fmla="*/ 40900 w 866764"/>
                <a:gd name="connsiteY3086" fmla="*/ 280854 h 816032"/>
                <a:gd name="connsiteX3087" fmla="*/ 39992 w 866764"/>
                <a:gd name="connsiteY3087" fmla="*/ 280612 h 816032"/>
                <a:gd name="connsiteX3088" fmla="*/ 37875 w 866764"/>
                <a:gd name="connsiteY3088" fmla="*/ 279130 h 816032"/>
                <a:gd name="connsiteX3089" fmla="*/ 36544 w 866764"/>
                <a:gd name="connsiteY3089" fmla="*/ 278585 h 816032"/>
                <a:gd name="connsiteX3090" fmla="*/ 33730 w 866764"/>
                <a:gd name="connsiteY3090" fmla="*/ 278041 h 816032"/>
                <a:gd name="connsiteX3091" fmla="*/ 32369 w 866764"/>
                <a:gd name="connsiteY3091" fmla="*/ 277557 h 816032"/>
                <a:gd name="connsiteX3092" fmla="*/ 31219 w 866764"/>
                <a:gd name="connsiteY3092" fmla="*/ 276831 h 816032"/>
                <a:gd name="connsiteX3093" fmla="*/ 30826 w 866764"/>
                <a:gd name="connsiteY3093" fmla="*/ 276135 h 816032"/>
                <a:gd name="connsiteX3094" fmla="*/ 28739 w 866764"/>
                <a:gd name="connsiteY3094" fmla="*/ 263611 h 816032"/>
                <a:gd name="connsiteX3095" fmla="*/ 27559 w 866764"/>
                <a:gd name="connsiteY3095" fmla="*/ 261131 h 816032"/>
                <a:gd name="connsiteX3096" fmla="*/ 29284 w 866764"/>
                <a:gd name="connsiteY3096" fmla="*/ 261766 h 816032"/>
                <a:gd name="connsiteX3097" fmla="*/ 29919 w 866764"/>
                <a:gd name="connsiteY3097" fmla="*/ 261221 h 816032"/>
                <a:gd name="connsiteX3098" fmla="*/ 30312 w 866764"/>
                <a:gd name="connsiteY3098" fmla="*/ 258619 h 816032"/>
                <a:gd name="connsiteX3099" fmla="*/ 27922 w 866764"/>
                <a:gd name="connsiteY3099" fmla="*/ 258166 h 816032"/>
                <a:gd name="connsiteX3100" fmla="*/ 21993 w 866764"/>
                <a:gd name="connsiteY3100" fmla="*/ 255352 h 816032"/>
                <a:gd name="connsiteX3101" fmla="*/ 21993 w 866764"/>
                <a:gd name="connsiteY3101" fmla="*/ 254596 h 816032"/>
                <a:gd name="connsiteX3102" fmla="*/ 23384 w 866764"/>
                <a:gd name="connsiteY3102" fmla="*/ 254596 h 816032"/>
                <a:gd name="connsiteX3103" fmla="*/ 23384 w 866764"/>
                <a:gd name="connsiteY3103" fmla="*/ 253719 h 816032"/>
                <a:gd name="connsiteX3104" fmla="*/ 22265 w 866764"/>
                <a:gd name="connsiteY3104" fmla="*/ 253265 h 816032"/>
                <a:gd name="connsiteX3105" fmla="*/ 21388 w 866764"/>
                <a:gd name="connsiteY3105" fmla="*/ 252085 h 816032"/>
                <a:gd name="connsiteX3106" fmla="*/ 21085 w 866764"/>
                <a:gd name="connsiteY3106" fmla="*/ 250572 h 816032"/>
                <a:gd name="connsiteX3107" fmla="*/ 21630 w 866764"/>
                <a:gd name="connsiteY3107" fmla="*/ 249181 h 816032"/>
                <a:gd name="connsiteX3108" fmla="*/ 22628 w 866764"/>
                <a:gd name="connsiteY3108" fmla="*/ 248425 h 816032"/>
                <a:gd name="connsiteX3109" fmla="*/ 28799 w 866764"/>
                <a:gd name="connsiteY3109" fmla="*/ 246035 h 816032"/>
                <a:gd name="connsiteX3110" fmla="*/ 30887 w 866764"/>
                <a:gd name="connsiteY3110" fmla="*/ 244764 h 816032"/>
                <a:gd name="connsiteX3111" fmla="*/ 32157 w 866764"/>
                <a:gd name="connsiteY3111" fmla="*/ 242586 h 816032"/>
                <a:gd name="connsiteX3112" fmla="*/ 32339 w 866764"/>
                <a:gd name="connsiteY3112" fmla="*/ 238835 h 816032"/>
                <a:gd name="connsiteX3113" fmla="*/ 31643 w 866764"/>
                <a:gd name="connsiteY3113" fmla="*/ 238835 h 816032"/>
                <a:gd name="connsiteX3114" fmla="*/ 31643 w 866764"/>
                <a:gd name="connsiteY3114" fmla="*/ 239712 h 816032"/>
                <a:gd name="connsiteX3115" fmla="*/ 30947 w 866764"/>
                <a:gd name="connsiteY3115" fmla="*/ 239712 h 816032"/>
                <a:gd name="connsiteX3116" fmla="*/ 30403 w 866764"/>
                <a:gd name="connsiteY3116" fmla="*/ 238623 h 816032"/>
                <a:gd name="connsiteX3117" fmla="*/ 29374 w 866764"/>
                <a:gd name="connsiteY3117" fmla="*/ 238049 h 816032"/>
                <a:gd name="connsiteX3118" fmla="*/ 26772 w 866764"/>
                <a:gd name="connsiteY3118" fmla="*/ 237262 h 816032"/>
                <a:gd name="connsiteX3119" fmla="*/ 25774 w 866764"/>
                <a:gd name="connsiteY3119" fmla="*/ 236627 h 816032"/>
                <a:gd name="connsiteX3120" fmla="*/ 24957 w 866764"/>
                <a:gd name="connsiteY3120" fmla="*/ 235840 h 816032"/>
                <a:gd name="connsiteX3121" fmla="*/ 24020 w 866764"/>
                <a:gd name="connsiteY3121" fmla="*/ 235175 h 816032"/>
                <a:gd name="connsiteX3122" fmla="*/ 22628 w 866764"/>
                <a:gd name="connsiteY3122" fmla="*/ 234751 h 816032"/>
                <a:gd name="connsiteX3123" fmla="*/ 19936 w 866764"/>
                <a:gd name="connsiteY3123" fmla="*/ 236324 h 816032"/>
                <a:gd name="connsiteX3124" fmla="*/ 17334 w 866764"/>
                <a:gd name="connsiteY3124" fmla="*/ 237383 h 816032"/>
                <a:gd name="connsiteX3125" fmla="*/ 14400 w 866764"/>
                <a:gd name="connsiteY3125" fmla="*/ 237958 h 816032"/>
                <a:gd name="connsiteX3126" fmla="*/ 5052 w 866764"/>
                <a:gd name="connsiteY3126" fmla="*/ 238321 h 816032"/>
                <a:gd name="connsiteX3127" fmla="*/ 4114 w 866764"/>
                <a:gd name="connsiteY3127" fmla="*/ 238502 h 816032"/>
                <a:gd name="connsiteX3128" fmla="*/ 3600 w 866764"/>
                <a:gd name="connsiteY3128" fmla="*/ 239591 h 816032"/>
                <a:gd name="connsiteX3129" fmla="*/ 998 w 866764"/>
                <a:gd name="connsiteY3129" fmla="*/ 242949 h 816032"/>
                <a:gd name="connsiteX3130" fmla="*/ 0 w 866764"/>
                <a:gd name="connsiteY3130" fmla="*/ 243948 h 816032"/>
                <a:gd name="connsiteX3131" fmla="*/ 1543 w 866764"/>
                <a:gd name="connsiteY3131" fmla="*/ 243948 h 816032"/>
                <a:gd name="connsiteX3132" fmla="*/ 2390 w 866764"/>
                <a:gd name="connsiteY3132" fmla="*/ 244704 h 816032"/>
                <a:gd name="connsiteX3133" fmla="*/ 2753 w 866764"/>
                <a:gd name="connsiteY3133" fmla="*/ 246065 h 816032"/>
                <a:gd name="connsiteX3134" fmla="*/ 2692 w 866764"/>
                <a:gd name="connsiteY3134" fmla="*/ 247941 h 816032"/>
                <a:gd name="connsiteX3135" fmla="*/ 4568 w 866764"/>
                <a:gd name="connsiteY3135" fmla="*/ 246821 h 816032"/>
                <a:gd name="connsiteX3136" fmla="*/ 5113 w 866764"/>
                <a:gd name="connsiteY3136" fmla="*/ 247699 h 816032"/>
                <a:gd name="connsiteX3137" fmla="*/ 4840 w 866764"/>
                <a:gd name="connsiteY3137" fmla="*/ 250482 h 816032"/>
                <a:gd name="connsiteX3138" fmla="*/ 5536 w 866764"/>
                <a:gd name="connsiteY3138" fmla="*/ 252115 h 816032"/>
                <a:gd name="connsiteX3139" fmla="*/ 6383 w 866764"/>
                <a:gd name="connsiteY3139" fmla="*/ 252811 h 816032"/>
                <a:gd name="connsiteX3140" fmla="*/ 7563 w 866764"/>
                <a:gd name="connsiteY3140" fmla="*/ 252962 h 816032"/>
                <a:gd name="connsiteX3141" fmla="*/ 9317 w 866764"/>
                <a:gd name="connsiteY3141" fmla="*/ 252962 h 816032"/>
                <a:gd name="connsiteX3142" fmla="*/ 9590 w 866764"/>
                <a:gd name="connsiteY3142" fmla="*/ 253749 h 816032"/>
                <a:gd name="connsiteX3143" fmla="*/ 12282 w 866764"/>
                <a:gd name="connsiteY3143" fmla="*/ 259285 h 816032"/>
                <a:gd name="connsiteX3144" fmla="*/ 13553 w 866764"/>
                <a:gd name="connsiteY3144" fmla="*/ 260132 h 816032"/>
                <a:gd name="connsiteX3145" fmla="*/ 15882 w 866764"/>
                <a:gd name="connsiteY3145" fmla="*/ 261191 h 816032"/>
                <a:gd name="connsiteX3146" fmla="*/ 18453 w 866764"/>
                <a:gd name="connsiteY3146" fmla="*/ 263006 h 816032"/>
                <a:gd name="connsiteX3147" fmla="*/ 20359 w 866764"/>
                <a:gd name="connsiteY3147" fmla="*/ 265003 h 816032"/>
                <a:gd name="connsiteX3148" fmla="*/ 21569 w 866764"/>
                <a:gd name="connsiteY3148" fmla="*/ 267453 h 816032"/>
                <a:gd name="connsiteX3149" fmla="*/ 22265 w 866764"/>
                <a:gd name="connsiteY3149" fmla="*/ 272505 h 816032"/>
                <a:gd name="connsiteX3150" fmla="*/ 22991 w 866764"/>
                <a:gd name="connsiteY3150" fmla="*/ 274986 h 816032"/>
                <a:gd name="connsiteX3151" fmla="*/ 24080 w 866764"/>
                <a:gd name="connsiteY3151" fmla="*/ 277406 h 816032"/>
                <a:gd name="connsiteX3152" fmla="*/ 25442 w 866764"/>
                <a:gd name="connsiteY3152" fmla="*/ 279251 h 816032"/>
                <a:gd name="connsiteX3153" fmla="*/ 25442 w 866764"/>
                <a:gd name="connsiteY3153" fmla="*/ 278646 h 816032"/>
                <a:gd name="connsiteX3154" fmla="*/ 25532 w 866764"/>
                <a:gd name="connsiteY3154" fmla="*/ 278343 h 816032"/>
                <a:gd name="connsiteX3155" fmla="*/ 26833 w 866764"/>
                <a:gd name="connsiteY3155" fmla="*/ 278918 h 816032"/>
                <a:gd name="connsiteX3156" fmla="*/ 30312 w 866764"/>
                <a:gd name="connsiteY3156" fmla="*/ 279947 h 816032"/>
                <a:gd name="connsiteX3157" fmla="*/ 29737 w 866764"/>
                <a:gd name="connsiteY3157" fmla="*/ 281066 h 816032"/>
                <a:gd name="connsiteX3158" fmla="*/ 29041 w 866764"/>
                <a:gd name="connsiteY3158" fmla="*/ 281550 h 816032"/>
                <a:gd name="connsiteX3159" fmla="*/ 28285 w 866764"/>
                <a:gd name="connsiteY3159" fmla="*/ 281399 h 816032"/>
                <a:gd name="connsiteX3160" fmla="*/ 28709 w 866764"/>
                <a:gd name="connsiteY3160" fmla="*/ 281974 h 816032"/>
                <a:gd name="connsiteX3161" fmla="*/ 29919 w 866764"/>
                <a:gd name="connsiteY3161" fmla="*/ 282276 h 816032"/>
                <a:gd name="connsiteX3162" fmla="*/ 31310 w 866764"/>
                <a:gd name="connsiteY3162" fmla="*/ 282276 h 816032"/>
                <a:gd name="connsiteX3163" fmla="*/ 33035 w 866764"/>
                <a:gd name="connsiteY3163" fmla="*/ 282488 h 816032"/>
                <a:gd name="connsiteX3164" fmla="*/ 34033 w 866764"/>
                <a:gd name="connsiteY3164" fmla="*/ 283093 h 816032"/>
                <a:gd name="connsiteX3165" fmla="*/ 36604 w 866764"/>
                <a:gd name="connsiteY3165" fmla="*/ 285211 h 816032"/>
                <a:gd name="connsiteX3166" fmla="*/ 37512 w 866764"/>
                <a:gd name="connsiteY3166" fmla="*/ 285664 h 816032"/>
                <a:gd name="connsiteX3167" fmla="*/ 39085 w 866764"/>
                <a:gd name="connsiteY3167" fmla="*/ 285785 h 816032"/>
                <a:gd name="connsiteX3168" fmla="*/ 40839 w 866764"/>
                <a:gd name="connsiteY3168" fmla="*/ 286148 h 816032"/>
                <a:gd name="connsiteX3169" fmla="*/ 42473 w 866764"/>
                <a:gd name="connsiteY3169" fmla="*/ 286814 h 816032"/>
                <a:gd name="connsiteX3170" fmla="*/ 44803 w 866764"/>
                <a:gd name="connsiteY3170" fmla="*/ 288387 h 816032"/>
                <a:gd name="connsiteX3171" fmla="*/ 47313 w 866764"/>
                <a:gd name="connsiteY3171" fmla="*/ 289083 h 816032"/>
                <a:gd name="connsiteX3172" fmla="*/ 48221 w 866764"/>
                <a:gd name="connsiteY3172" fmla="*/ 289779 h 816032"/>
                <a:gd name="connsiteX3173" fmla="*/ 49461 w 866764"/>
                <a:gd name="connsiteY3173" fmla="*/ 289022 h 816032"/>
                <a:gd name="connsiteX3174" fmla="*/ 49461 w 866764"/>
                <a:gd name="connsiteY3174" fmla="*/ 288175 h 816032"/>
                <a:gd name="connsiteX3175" fmla="*/ 48221 w 866764"/>
                <a:gd name="connsiteY3175" fmla="*/ 286451 h 816032"/>
                <a:gd name="connsiteX3176" fmla="*/ 568182 w 866764"/>
                <a:gd name="connsiteY3176" fmla="*/ 216479 h 816032"/>
                <a:gd name="connsiteX3177" fmla="*/ 567033 w 866764"/>
                <a:gd name="connsiteY3177" fmla="*/ 214725 h 816032"/>
                <a:gd name="connsiteX3178" fmla="*/ 565672 w 866764"/>
                <a:gd name="connsiteY3178" fmla="*/ 213333 h 816032"/>
                <a:gd name="connsiteX3179" fmla="*/ 563433 w 866764"/>
                <a:gd name="connsiteY3179" fmla="*/ 212547 h 816032"/>
                <a:gd name="connsiteX3180" fmla="*/ 558078 w 866764"/>
                <a:gd name="connsiteY3180" fmla="*/ 213999 h 816032"/>
                <a:gd name="connsiteX3181" fmla="*/ 556536 w 866764"/>
                <a:gd name="connsiteY3181" fmla="*/ 214211 h 816032"/>
                <a:gd name="connsiteX3182" fmla="*/ 556203 w 866764"/>
                <a:gd name="connsiteY3182" fmla="*/ 213938 h 816032"/>
                <a:gd name="connsiteX3183" fmla="*/ 555779 w 866764"/>
                <a:gd name="connsiteY3183" fmla="*/ 213363 h 816032"/>
                <a:gd name="connsiteX3184" fmla="*/ 555144 w 866764"/>
                <a:gd name="connsiteY3184" fmla="*/ 212788 h 816032"/>
                <a:gd name="connsiteX3185" fmla="*/ 554146 w 866764"/>
                <a:gd name="connsiteY3185" fmla="*/ 212547 h 816032"/>
                <a:gd name="connsiteX3186" fmla="*/ 547733 w 866764"/>
                <a:gd name="connsiteY3186" fmla="*/ 213999 h 816032"/>
                <a:gd name="connsiteX3187" fmla="*/ 544163 w 866764"/>
                <a:gd name="connsiteY3187" fmla="*/ 214180 h 816032"/>
                <a:gd name="connsiteX3188" fmla="*/ 544163 w 866764"/>
                <a:gd name="connsiteY3188" fmla="*/ 214997 h 816032"/>
                <a:gd name="connsiteX3189" fmla="*/ 545373 w 866764"/>
                <a:gd name="connsiteY3189" fmla="*/ 215451 h 816032"/>
                <a:gd name="connsiteX3190" fmla="*/ 545585 w 866764"/>
                <a:gd name="connsiteY3190" fmla="*/ 216630 h 816032"/>
                <a:gd name="connsiteX3191" fmla="*/ 545434 w 866764"/>
                <a:gd name="connsiteY3191" fmla="*/ 218234 h 816032"/>
                <a:gd name="connsiteX3192" fmla="*/ 545524 w 866764"/>
                <a:gd name="connsiteY3192" fmla="*/ 219958 h 816032"/>
                <a:gd name="connsiteX3193" fmla="*/ 546280 w 866764"/>
                <a:gd name="connsiteY3193" fmla="*/ 221198 h 816032"/>
                <a:gd name="connsiteX3194" fmla="*/ 547249 w 866764"/>
                <a:gd name="connsiteY3194" fmla="*/ 222106 h 816032"/>
                <a:gd name="connsiteX3195" fmla="*/ 547672 w 866764"/>
                <a:gd name="connsiteY3195" fmla="*/ 223135 h 816032"/>
                <a:gd name="connsiteX3196" fmla="*/ 546825 w 866764"/>
                <a:gd name="connsiteY3196" fmla="*/ 224859 h 816032"/>
                <a:gd name="connsiteX3197" fmla="*/ 547581 w 866764"/>
                <a:gd name="connsiteY3197" fmla="*/ 224859 h 816032"/>
                <a:gd name="connsiteX3198" fmla="*/ 546886 w 866764"/>
                <a:gd name="connsiteY3198" fmla="*/ 225434 h 816032"/>
                <a:gd name="connsiteX3199" fmla="*/ 546613 w 866764"/>
                <a:gd name="connsiteY3199" fmla="*/ 225615 h 816032"/>
                <a:gd name="connsiteX3200" fmla="*/ 546129 w 866764"/>
                <a:gd name="connsiteY3200" fmla="*/ 225766 h 816032"/>
                <a:gd name="connsiteX3201" fmla="*/ 546129 w 866764"/>
                <a:gd name="connsiteY3201" fmla="*/ 226523 h 816032"/>
                <a:gd name="connsiteX3202" fmla="*/ 546795 w 866764"/>
                <a:gd name="connsiteY3202" fmla="*/ 226523 h 816032"/>
                <a:gd name="connsiteX3203" fmla="*/ 546795 w 866764"/>
                <a:gd name="connsiteY3203" fmla="*/ 227400 h 816032"/>
                <a:gd name="connsiteX3204" fmla="*/ 546129 w 866764"/>
                <a:gd name="connsiteY3204" fmla="*/ 227733 h 816032"/>
                <a:gd name="connsiteX3205" fmla="*/ 545494 w 866764"/>
                <a:gd name="connsiteY3205" fmla="*/ 228217 h 816032"/>
                <a:gd name="connsiteX3206" fmla="*/ 545645 w 866764"/>
                <a:gd name="connsiteY3206" fmla="*/ 228731 h 816032"/>
                <a:gd name="connsiteX3207" fmla="*/ 545494 w 866764"/>
                <a:gd name="connsiteY3207" fmla="*/ 229790 h 816032"/>
                <a:gd name="connsiteX3208" fmla="*/ 546250 w 866764"/>
                <a:gd name="connsiteY3208" fmla="*/ 229971 h 816032"/>
                <a:gd name="connsiteX3209" fmla="*/ 546976 w 866764"/>
                <a:gd name="connsiteY3209" fmla="*/ 230456 h 816032"/>
                <a:gd name="connsiteX3210" fmla="*/ 547551 w 866764"/>
                <a:gd name="connsiteY3210" fmla="*/ 230667 h 816032"/>
                <a:gd name="connsiteX3211" fmla="*/ 546704 w 866764"/>
                <a:gd name="connsiteY3211" fmla="*/ 231212 h 816032"/>
                <a:gd name="connsiteX3212" fmla="*/ 546190 w 866764"/>
                <a:gd name="connsiteY3212" fmla="*/ 231756 h 816032"/>
                <a:gd name="connsiteX3213" fmla="*/ 545827 w 866764"/>
                <a:gd name="connsiteY3213" fmla="*/ 232361 h 816032"/>
                <a:gd name="connsiteX3214" fmla="*/ 545464 w 866764"/>
                <a:gd name="connsiteY3214" fmla="*/ 233118 h 816032"/>
                <a:gd name="connsiteX3215" fmla="*/ 546099 w 866764"/>
                <a:gd name="connsiteY3215" fmla="*/ 233118 h 816032"/>
                <a:gd name="connsiteX3216" fmla="*/ 547218 w 866764"/>
                <a:gd name="connsiteY3216" fmla="*/ 232331 h 816032"/>
                <a:gd name="connsiteX3217" fmla="*/ 553057 w 866764"/>
                <a:gd name="connsiteY3217" fmla="*/ 230667 h 816032"/>
                <a:gd name="connsiteX3218" fmla="*/ 553299 w 866764"/>
                <a:gd name="connsiteY3218" fmla="*/ 231272 h 816032"/>
                <a:gd name="connsiteX3219" fmla="*/ 553541 w 866764"/>
                <a:gd name="connsiteY3219" fmla="*/ 231665 h 816032"/>
                <a:gd name="connsiteX3220" fmla="*/ 553722 w 866764"/>
                <a:gd name="connsiteY3220" fmla="*/ 232180 h 816032"/>
                <a:gd name="connsiteX3221" fmla="*/ 553722 w 866764"/>
                <a:gd name="connsiteY3221" fmla="*/ 233118 h 816032"/>
                <a:gd name="connsiteX3222" fmla="*/ 554448 w 866764"/>
                <a:gd name="connsiteY3222" fmla="*/ 233118 h 816032"/>
                <a:gd name="connsiteX3223" fmla="*/ 555084 w 866764"/>
                <a:gd name="connsiteY3223" fmla="*/ 232089 h 816032"/>
                <a:gd name="connsiteX3224" fmla="*/ 556233 w 866764"/>
                <a:gd name="connsiteY3224" fmla="*/ 230939 h 816032"/>
                <a:gd name="connsiteX3225" fmla="*/ 557352 w 866764"/>
                <a:gd name="connsiteY3225" fmla="*/ 230546 h 816032"/>
                <a:gd name="connsiteX3226" fmla="*/ 557867 w 866764"/>
                <a:gd name="connsiteY3226" fmla="*/ 231817 h 816032"/>
                <a:gd name="connsiteX3227" fmla="*/ 557443 w 866764"/>
                <a:gd name="connsiteY3227" fmla="*/ 232240 h 816032"/>
                <a:gd name="connsiteX3228" fmla="*/ 555174 w 866764"/>
                <a:gd name="connsiteY3228" fmla="*/ 235598 h 816032"/>
                <a:gd name="connsiteX3229" fmla="*/ 558381 w 866764"/>
                <a:gd name="connsiteY3229" fmla="*/ 236808 h 816032"/>
                <a:gd name="connsiteX3230" fmla="*/ 560136 w 866764"/>
                <a:gd name="connsiteY3230" fmla="*/ 237111 h 816032"/>
                <a:gd name="connsiteX3231" fmla="*/ 562344 w 866764"/>
                <a:gd name="connsiteY3231" fmla="*/ 237232 h 816032"/>
                <a:gd name="connsiteX3232" fmla="*/ 563009 w 866764"/>
                <a:gd name="connsiteY3232" fmla="*/ 236445 h 816032"/>
                <a:gd name="connsiteX3233" fmla="*/ 562344 w 866764"/>
                <a:gd name="connsiteY3233" fmla="*/ 234661 h 816032"/>
                <a:gd name="connsiteX3234" fmla="*/ 561104 w 866764"/>
                <a:gd name="connsiteY3234" fmla="*/ 232694 h 816032"/>
                <a:gd name="connsiteX3235" fmla="*/ 559954 w 866764"/>
                <a:gd name="connsiteY3235" fmla="*/ 231393 h 816032"/>
                <a:gd name="connsiteX3236" fmla="*/ 559621 w 866764"/>
                <a:gd name="connsiteY3236" fmla="*/ 231726 h 816032"/>
                <a:gd name="connsiteX3237" fmla="*/ 559410 w 866764"/>
                <a:gd name="connsiteY3237" fmla="*/ 231847 h 816032"/>
                <a:gd name="connsiteX3238" fmla="*/ 558563 w 866764"/>
                <a:gd name="connsiteY3238" fmla="*/ 232210 h 816032"/>
                <a:gd name="connsiteX3239" fmla="*/ 559319 w 866764"/>
                <a:gd name="connsiteY3239" fmla="*/ 230425 h 816032"/>
                <a:gd name="connsiteX3240" fmla="*/ 560287 w 866764"/>
                <a:gd name="connsiteY3240" fmla="*/ 228761 h 816032"/>
                <a:gd name="connsiteX3241" fmla="*/ 561618 w 866764"/>
                <a:gd name="connsiteY3241" fmla="*/ 227612 h 816032"/>
                <a:gd name="connsiteX3242" fmla="*/ 563403 w 866764"/>
                <a:gd name="connsiteY3242" fmla="*/ 227340 h 816032"/>
                <a:gd name="connsiteX3243" fmla="*/ 562888 w 866764"/>
                <a:gd name="connsiteY3243" fmla="*/ 226855 h 816032"/>
                <a:gd name="connsiteX3244" fmla="*/ 562253 w 866764"/>
                <a:gd name="connsiteY3244" fmla="*/ 226553 h 816032"/>
                <a:gd name="connsiteX3245" fmla="*/ 561497 w 866764"/>
                <a:gd name="connsiteY3245" fmla="*/ 226402 h 816032"/>
                <a:gd name="connsiteX3246" fmla="*/ 560559 w 866764"/>
                <a:gd name="connsiteY3246" fmla="*/ 226402 h 816032"/>
                <a:gd name="connsiteX3247" fmla="*/ 564764 w 866764"/>
                <a:gd name="connsiteY3247" fmla="*/ 223195 h 816032"/>
                <a:gd name="connsiteX3248" fmla="*/ 565944 w 866764"/>
                <a:gd name="connsiteY3248" fmla="*/ 223316 h 816032"/>
                <a:gd name="connsiteX3249" fmla="*/ 567305 w 866764"/>
                <a:gd name="connsiteY3249" fmla="*/ 223951 h 816032"/>
                <a:gd name="connsiteX3250" fmla="*/ 568425 w 866764"/>
                <a:gd name="connsiteY3250" fmla="*/ 225101 h 816032"/>
                <a:gd name="connsiteX3251" fmla="*/ 568878 w 866764"/>
                <a:gd name="connsiteY3251" fmla="*/ 226855 h 816032"/>
                <a:gd name="connsiteX3252" fmla="*/ 568334 w 866764"/>
                <a:gd name="connsiteY3252" fmla="*/ 227944 h 816032"/>
                <a:gd name="connsiteX3253" fmla="*/ 567063 w 866764"/>
                <a:gd name="connsiteY3253" fmla="*/ 229094 h 816032"/>
                <a:gd name="connsiteX3254" fmla="*/ 564764 w 866764"/>
                <a:gd name="connsiteY3254" fmla="*/ 230576 h 816032"/>
                <a:gd name="connsiteX3255" fmla="*/ 566549 w 866764"/>
                <a:gd name="connsiteY3255" fmla="*/ 230849 h 816032"/>
                <a:gd name="connsiteX3256" fmla="*/ 568213 w 866764"/>
                <a:gd name="connsiteY3256" fmla="*/ 233269 h 816032"/>
                <a:gd name="connsiteX3257" fmla="*/ 569937 w 866764"/>
                <a:gd name="connsiteY3257" fmla="*/ 233874 h 816032"/>
                <a:gd name="connsiteX3258" fmla="*/ 570270 w 866764"/>
                <a:gd name="connsiteY3258" fmla="*/ 234388 h 816032"/>
                <a:gd name="connsiteX3259" fmla="*/ 570270 w 866764"/>
                <a:gd name="connsiteY3259" fmla="*/ 235507 h 816032"/>
                <a:gd name="connsiteX3260" fmla="*/ 570451 w 866764"/>
                <a:gd name="connsiteY3260" fmla="*/ 236627 h 816032"/>
                <a:gd name="connsiteX3261" fmla="*/ 571298 w 866764"/>
                <a:gd name="connsiteY3261" fmla="*/ 237141 h 816032"/>
                <a:gd name="connsiteX3262" fmla="*/ 574172 w 866764"/>
                <a:gd name="connsiteY3262" fmla="*/ 238018 h 816032"/>
                <a:gd name="connsiteX3263" fmla="*/ 574808 w 866764"/>
                <a:gd name="connsiteY3263" fmla="*/ 238321 h 816032"/>
                <a:gd name="connsiteX3264" fmla="*/ 575866 w 866764"/>
                <a:gd name="connsiteY3264" fmla="*/ 239047 h 816032"/>
                <a:gd name="connsiteX3265" fmla="*/ 576260 w 866764"/>
                <a:gd name="connsiteY3265" fmla="*/ 238381 h 816032"/>
                <a:gd name="connsiteX3266" fmla="*/ 576350 w 866764"/>
                <a:gd name="connsiteY3266" fmla="*/ 237202 h 816032"/>
                <a:gd name="connsiteX3267" fmla="*/ 576532 w 866764"/>
                <a:gd name="connsiteY3267" fmla="*/ 236354 h 816032"/>
                <a:gd name="connsiteX3268" fmla="*/ 577409 w 866764"/>
                <a:gd name="connsiteY3268" fmla="*/ 235659 h 816032"/>
                <a:gd name="connsiteX3269" fmla="*/ 577893 w 866764"/>
                <a:gd name="connsiteY3269" fmla="*/ 235659 h 816032"/>
                <a:gd name="connsiteX3270" fmla="*/ 578014 w 866764"/>
                <a:gd name="connsiteY3270" fmla="*/ 235538 h 816032"/>
                <a:gd name="connsiteX3271" fmla="*/ 577893 w 866764"/>
                <a:gd name="connsiteY3271" fmla="*/ 234661 h 816032"/>
                <a:gd name="connsiteX3272" fmla="*/ 577107 w 866764"/>
                <a:gd name="connsiteY3272" fmla="*/ 233571 h 816032"/>
                <a:gd name="connsiteX3273" fmla="*/ 575866 w 866764"/>
                <a:gd name="connsiteY3273" fmla="*/ 232331 h 816032"/>
                <a:gd name="connsiteX3274" fmla="*/ 575292 w 866764"/>
                <a:gd name="connsiteY3274" fmla="*/ 231030 h 816032"/>
                <a:gd name="connsiteX3275" fmla="*/ 576562 w 866764"/>
                <a:gd name="connsiteY3275" fmla="*/ 229730 h 816032"/>
                <a:gd name="connsiteX3276" fmla="*/ 575049 w 866764"/>
                <a:gd name="connsiteY3276" fmla="*/ 228670 h 816032"/>
                <a:gd name="connsiteX3277" fmla="*/ 575171 w 866764"/>
                <a:gd name="connsiteY3277" fmla="*/ 227521 h 816032"/>
                <a:gd name="connsiteX3278" fmla="*/ 576320 w 866764"/>
                <a:gd name="connsiteY3278" fmla="*/ 226462 h 816032"/>
                <a:gd name="connsiteX3279" fmla="*/ 577863 w 866764"/>
                <a:gd name="connsiteY3279" fmla="*/ 225676 h 816032"/>
                <a:gd name="connsiteX3280" fmla="*/ 577167 w 866764"/>
                <a:gd name="connsiteY3280" fmla="*/ 225585 h 816032"/>
                <a:gd name="connsiteX3281" fmla="*/ 575806 w 866764"/>
                <a:gd name="connsiteY3281" fmla="*/ 224799 h 816032"/>
                <a:gd name="connsiteX3282" fmla="*/ 576562 w 866764"/>
                <a:gd name="connsiteY3282" fmla="*/ 224042 h 816032"/>
                <a:gd name="connsiteX3283" fmla="*/ 577439 w 866764"/>
                <a:gd name="connsiteY3283" fmla="*/ 223498 h 816032"/>
                <a:gd name="connsiteX3284" fmla="*/ 578559 w 866764"/>
                <a:gd name="connsiteY3284" fmla="*/ 223195 h 816032"/>
                <a:gd name="connsiteX3285" fmla="*/ 579950 w 866764"/>
                <a:gd name="connsiteY3285" fmla="*/ 223195 h 816032"/>
                <a:gd name="connsiteX3286" fmla="*/ 579617 w 866764"/>
                <a:gd name="connsiteY3286" fmla="*/ 220231 h 816032"/>
                <a:gd name="connsiteX3287" fmla="*/ 581221 w 866764"/>
                <a:gd name="connsiteY3287" fmla="*/ 217901 h 816032"/>
                <a:gd name="connsiteX3288" fmla="*/ 583732 w 866764"/>
                <a:gd name="connsiteY3288" fmla="*/ 216177 h 816032"/>
                <a:gd name="connsiteX3289" fmla="*/ 586091 w 866764"/>
                <a:gd name="connsiteY3289" fmla="*/ 214967 h 816032"/>
                <a:gd name="connsiteX3290" fmla="*/ 585819 w 866764"/>
                <a:gd name="connsiteY3290" fmla="*/ 214392 h 816032"/>
                <a:gd name="connsiteX3291" fmla="*/ 585668 w 866764"/>
                <a:gd name="connsiteY3291" fmla="*/ 213182 h 816032"/>
                <a:gd name="connsiteX3292" fmla="*/ 585335 w 866764"/>
                <a:gd name="connsiteY3292" fmla="*/ 212093 h 816032"/>
                <a:gd name="connsiteX3293" fmla="*/ 585335 w 866764"/>
                <a:gd name="connsiteY3293" fmla="*/ 211730 h 816032"/>
                <a:gd name="connsiteX3294" fmla="*/ 585244 w 866764"/>
                <a:gd name="connsiteY3294" fmla="*/ 211518 h 816032"/>
                <a:gd name="connsiteX3295" fmla="*/ 584760 w 866764"/>
                <a:gd name="connsiteY3295" fmla="*/ 211579 h 816032"/>
                <a:gd name="connsiteX3296" fmla="*/ 584760 w 866764"/>
                <a:gd name="connsiteY3296" fmla="*/ 210822 h 816032"/>
                <a:gd name="connsiteX3297" fmla="*/ 585214 w 866764"/>
                <a:gd name="connsiteY3297" fmla="*/ 210399 h 816032"/>
                <a:gd name="connsiteX3298" fmla="*/ 586091 w 866764"/>
                <a:gd name="connsiteY3298" fmla="*/ 209189 h 816032"/>
                <a:gd name="connsiteX3299" fmla="*/ 583218 w 866764"/>
                <a:gd name="connsiteY3299" fmla="*/ 210610 h 816032"/>
                <a:gd name="connsiteX3300" fmla="*/ 582340 w 866764"/>
                <a:gd name="connsiteY3300" fmla="*/ 210822 h 816032"/>
                <a:gd name="connsiteX3301" fmla="*/ 579648 w 866764"/>
                <a:gd name="connsiteY3301" fmla="*/ 210913 h 816032"/>
                <a:gd name="connsiteX3302" fmla="*/ 579254 w 866764"/>
                <a:gd name="connsiteY3302" fmla="*/ 210822 h 816032"/>
                <a:gd name="connsiteX3303" fmla="*/ 577954 w 866764"/>
                <a:gd name="connsiteY3303" fmla="*/ 211821 h 816032"/>
                <a:gd name="connsiteX3304" fmla="*/ 575806 w 866764"/>
                <a:gd name="connsiteY3304" fmla="*/ 214694 h 816032"/>
                <a:gd name="connsiteX3305" fmla="*/ 575806 w 866764"/>
                <a:gd name="connsiteY3305" fmla="*/ 215753 h 816032"/>
                <a:gd name="connsiteX3306" fmla="*/ 574414 w 866764"/>
                <a:gd name="connsiteY3306" fmla="*/ 216873 h 816032"/>
                <a:gd name="connsiteX3307" fmla="*/ 571661 w 866764"/>
                <a:gd name="connsiteY3307" fmla="*/ 218355 h 816032"/>
                <a:gd name="connsiteX3308" fmla="*/ 569453 w 866764"/>
                <a:gd name="connsiteY3308" fmla="*/ 219142 h 816032"/>
                <a:gd name="connsiteX3309" fmla="*/ 569665 w 866764"/>
                <a:gd name="connsiteY3309" fmla="*/ 218204 h 816032"/>
                <a:gd name="connsiteX3310" fmla="*/ 568182 w 866764"/>
                <a:gd name="connsiteY3310" fmla="*/ 216358 h 816032"/>
                <a:gd name="connsiteX3311" fmla="*/ 610081 w 866764"/>
                <a:gd name="connsiteY3311" fmla="*/ 156249 h 816032"/>
                <a:gd name="connsiteX3312" fmla="*/ 608387 w 866764"/>
                <a:gd name="connsiteY3312" fmla="*/ 154736 h 816032"/>
                <a:gd name="connsiteX3313" fmla="*/ 606844 w 866764"/>
                <a:gd name="connsiteY3313" fmla="*/ 153677 h 816032"/>
                <a:gd name="connsiteX3314" fmla="*/ 598737 w 866764"/>
                <a:gd name="connsiteY3314" fmla="*/ 151439 h 816032"/>
                <a:gd name="connsiteX3315" fmla="*/ 595802 w 866764"/>
                <a:gd name="connsiteY3315" fmla="*/ 151348 h 816032"/>
                <a:gd name="connsiteX3316" fmla="*/ 593140 w 866764"/>
                <a:gd name="connsiteY3316" fmla="*/ 152255 h 816032"/>
                <a:gd name="connsiteX3317" fmla="*/ 587241 w 866764"/>
                <a:gd name="connsiteY3317" fmla="*/ 155432 h 816032"/>
                <a:gd name="connsiteX3318" fmla="*/ 585396 w 866764"/>
                <a:gd name="connsiteY3318" fmla="*/ 155371 h 816032"/>
                <a:gd name="connsiteX3319" fmla="*/ 586243 w 866764"/>
                <a:gd name="connsiteY3319" fmla="*/ 156975 h 816032"/>
                <a:gd name="connsiteX3320" fmla="*/ 587695 w 866764"/>
                <a:gd name="connsiteY3320" fmla="*/ 158548 h 816032"/>
                <a:gd name="connsiteX3321" fmla="*/ 594380 w 866764"/>
                <a:gd name="connsiteY3321" fmla="*/ 163479 h 816032"/>
                <a:gd name="connsiteX3322" fmla="*/ 597859 w 866764"/>
                <a:gd name="connsiteY3322" fmla="*/ 165294 h 816032"/>
                <a:gd name="connsiteX3323" fmla="*/ 600067 w 866764"/>
                <a:gd name="connsiteY3323" fmla="*/ 165505 h 816032"/>
                <a:gd name="connsiteX3324" fmla="*/ 609476 w 866764"/>
                <a:gd name="connsiteY3324" fmla="*/ 162480 h 816032"/>
                <a:gd name="connsiteX3325" fmla="*/ 610746 w 866764"/>
                <a:gd name="connsiteY3325" fmla="*/ 161331 h 816032"/>
                <a:gd name="connsiteX3326" fmla="*/ 610292 w 866764"/>
                <a:gd name="connsiteY3326" fmla="*/ 159516 h 816032"/>
                <a:gd name="connsiteX3327" fmla="*/ 610958 w 866764"/>
                <a:gd name="connsiteY3327" fmla="*/ 157912 h 816032"/>
                <a:gd name="connsiteX3328" fmla="*/ 610081 w 866764"/>
                <a:gd name="connsiteY3328" fmla="*/ 156218 h 816032"/>
                <a:gd name="connsiteX3329" fmla="*/ 519296 w 866764"/>
                <a:gd name="connsiteY3329" fmla="*/ 124636 h 816032"/>
                <a:gd name="connsiteX3330" fmla="*/ 518903 w 866764"/>
                <a:gd name="connsiteY3330" fmla="*/ 123759 h 816032"/>
                <a:gd name="connsiteX3331" fmla="*/ 518177 w 866764"/>
                <a:gd name="connsiteY3331" fmla="*/ 122942 h 816032"/>
                <a:gd name="connsiteX3332" fmla="*/ 517239 w 866764"/>
                <a:gd name="connsiteY3332" fmla="*/ 122337 h 816032"/>
                <a:gd name="connsiteX3333" fmla="*/ 516180 w 866764"/>
                <a:gd name="connsiteY3333" fmla="*/ 122095 h 816032"/>
                <a:gd name="connsiteX3334" fmla="*/ 515000 w 866764"/>
                <a:gd name="connsiteY3334" fmla="*/ 121641 h 816032"/>
                <a:gd name="connsiteX3335" fmla="*/ 514456 w 866764"/>
                <a:gd name="connsiteY3335" fmla="*/ 120612 h 816032"/>
                <a:gd name="connsiteX3336" fmla="*/ 514184 w 866764"/>
                <a:gd name="connsiteY3336" fmla="*/ 119463 h 816032"/>
                <a:gd name="connsiteX3337" fmla="*/ 513790 w 866764"/>
                <a:gd name="connsiteY3337" fmla="*/ 118707 h 816032"/>
                <a:gd name="connsiteX3338" fmla="*/ 512157 w 866764"/>
                <a:gd name="connsiteY3338" fmla="*/ 118162 h 816032"/>
                <a:gd name="connsiteX3339" fmla="*/ 508043 w 866764"/>
                <a:gd name="connsiteY3339" fmla="*/ 117708 h 816032"/>
                <a:gd name="connsiteX3340" fmla="*/ 504775 w 866764"/>
                <a:gd name="connsiteY3340" fmla="*/ 116226 h 816032"/>
                <a:gd name="connsiteX3341" fmla="*/ 497182 w 866764"/>
                <a:gd name="connsiteY3341" fmla="*/ 122125 h 816032"/>
                <a:gd name="connsiteX3342" fmla="*/ 493824 w 866764"/>
                <a:gd name="connsiteY3342" fmla="*/ 126693 h 816032"/>
                <a:gd name="connsiteX3343" fmla="*/ 492312 w 866764"/>
                <a:gd name="connsiteY3343" fmla="*/ 129809 h 816032"/>
                <a:gd name="connsiteX3344" fmla="*/ 491677 w 866764"/>
                <a:gd name="connsiteY3344" fmla="*/ 132955 h 816032"/>
                <a:gd name="connsiteX3345" fmla="*/ 492161 w 866764"/>
                <a:gd name="connsiteY3345" fmla="*/ 136313 h 816032"/>
                <a:gd name="connsiteX3346" fmla="*/ 493552 w 866764"/>
                <a:gd name="connsiteY3346" fmla="*/ 137311 h 816032"/>
                <a:gd name="connsiteX3347" fmla="*/ 495730 w 866764"/>
                <a:gd name="connsiteY3347" fmla="*/ 137372 h 816032"/>
                <a:gd name="connsiteX3348" fmla="*/ 498513 w 866764"/>
                <a:gd name="connsiteY3348" fmla="*/ 138007 h 816032"/>
                <a:gd name="connsiteX3349" fmla="*/ 499179 w 866764"/>
                <a:gd name="connsiteY3349" fmla="*/ 138370 h 816032"/>
                <a:gd name="connsiteX3350" fmla="*/ 500601 w 866764"/>
                <a:gd name="connsiteY3350" fmla="*/ 139580 h 816032"/>
                <a:gd name="connsiteX3351" fmla="*/ 500661 w 866764"/>
                <a:gd name="connsiteY3351" fmla="*/ 139852 h 816032"/>
                <a:gd name="connsiteX3352" fmla="*/ 500540 w 866764"/>
                <a:gd name="connsiteY3352" fmla="*/ 140911 h 816032"/>
                <a:gd name="connsiteX3353" fmla="*/ 500601 w 866764"/>
                <a:gd name="connsiteY3353" fmla="*/ 141214 h 816032"/>
                <a:gd name="connsiteX3354" fmla="*/ 500873 w 866764"/>
                <a:gd name="connsiteY3354" fmla="*/ 141304 h 816032"/>
                <a:gd name="connsiteX3355" fmla="*/ 501720 w 866764"/>
                <a:gd name="connsiteY3355" fmla="*/ 141123 h 816032"/>
                <a:gd name="connsiteX3356" fmla="*/ 502053 w 866764"/>
                <a:gd name="connsiteY3356" fmla="*/ 141184 h 816032"/>
                <a:gd name="connsiteX3357" fmla="*/ 503626 w 866764"/>
                <a:gd name="connsiteY3357" fmla="*/ 142575 h 816032"/>
                <a:gd name="connsiteX3358" fmla="*/ 504322 w 866764"/>
                <a:gd name="connsiteY3358" fmla="*/ 143452 h 816032"/>
                <a:gd name="connsiteX3359" fmla="*/ 504775 w 866764"/>
                <a:gd name="connsiteY3359" fmla="*/ 144572 h 816032"/>
                <a:gd name="connsiteX3360" fmla="*/ 506318 w 866764"/>
                <a:gd name="connsiteY3360" fmla="*/ 143755 h 816032"/>
                <a:gd name="connsiteX3361" fmla="*/ 508769 w 866764"/>
                <a:gd name="connsiteY3361" fmla="*/ 141607 h 816032"/>
                <a:gd name="connsiteX3362" fmla="*/ 509979 w 866764"/>
                <a:gd name="connsiteY3362" fmla="*/ 141184 h 816032"/>
                <a:gd name="connsiteX3363" fmla="*/ 513306 w 866764"/>
                <a:gd name="connsiteY3363" fmla="*/ 140639 h 816032"/>
                <a:gd name="connsiteX3364" fmla="*/ 515091 w 866764"/>
                <a:gd name="connsiteY3364" fmla="*/ 139973 h 816032"/>
                <a:gd name="connsiteX3365" fmla="*/ 515878 w 866764"/>
                <a:gd name="connsiteY3365" fmla="*/ 139126 h 816032"/>
                <a:gd name="connsiteX3366" fmla="*/ 516241 w 866764"/>
                <a:gd name="connsiteY3366" fmla="*/ 138612 h 816032"/>
                <a:gd name="connsiteX3367" fmla="*/ 517995 w 866764"/>
                <a:gd name="connsiteY3367" fmla="*/ 139641 h 816032"/>
                <a:gd name="connsiteX3368" fmla="*/ 518691 w 866764"/>
                <a:gd name="connsiteY3368" fmla="*/ 139550 h 816032"/>
                <a:gd name="connsiteX3369" fmla="*/ 518903 w 866764"/>
                <a:gd name="connsiteY3369" fmla="*/ 138582 h 816032"/>
                <a:gd name="connsiteX3370" fmla="*/ 518631 w 866764"/>
                <a:gd name="connsiteY3370" fmla="*/ 137644 h 816032"/>
                <a:gd name="connsiteX3371" fmla="*/ 517935 w 866764"/>
                <a:gd name="connsiteY3371" fmla="*/ 136253 h 816032"/>
                <a:gd name="connsiteX3372" fmla="*/ 517269 w 866764"/>
                <a:gd name="connsiteY3372" fmla="*/ 132562 h 816032"/>
                <a:gd name="connsiteX3373" fmla="*/ 517602 w 866764"/>
                <a:gd name="connsiteY3373" fmla="*/ 130898 h 816032"/>
                <a:gd name="connsiteX3374" fmla="*/ 519326 w 866764"/>
                <a:gd name="connsiteY3374" fmla="*/ 130353 h 816032"/>
                <a:gd name="connsiteX3375" fmla="*/ 519326 w 866764"/>
                <a:gd name="connsiteY3375" fmla="*/ 127933 h 816032"/>
                <a:gd name="connsiteX3376" fmla="*/ 517330 w 866764"/>
                <a:gd name="connsiteY3376" fmla="*/ 127480 h 816032"/>
                <a:gd name="connsiteX3377" fmla="*/ 516604 w 866764"/>
                <a:gd name="connsiteY3377" fmla="*/ 126058 h 816032"/>
                <a:gd name="connsiteX3378" fmla="*/ 517209 w 866764"/>
                <a:gd name="connsiteY3378" fmla="*/ 124727 h 816032"/>
                <a:gd name="connsiteX3379" fmla="*/ 519326 w 866764"/>
                <a:gd name="connsiteY3379" fmla="*/ 124636 h 816032"/>
                <a:gd name="connsiteX3380" fmla="*/ 365588 w 866764"/>
                <a:gd name="connsiteY3380" fmla="*/ 526042 h 816032"/>
                <a:gd name="connsiteX3381" fmla="*/ 364832 w 866764"/>
                <a:gd name="connsiteY3381" fmla="*/ 525951 h 816032"/>
                <a:gd name="connsiteX3382" fmla="*/ 364832 w 866764"/>
                <a:gd name="connsiteY3382" fmla="*/ 525225 h 816032"/>
                <a:gd name="connsiteX3383" fmla="*/ 365437 w 866764"/>
                <a:gd name="connsiteY3383" fmla="*/ 524378 h 816032"/>
                <a:gd name="connsiteX3384" fmla="*/ 364409 w 866764"/>
                <a:gd name="connsiteY3384" fmla="*/ 524530 h 816032"/>
                <a:gd name="connsiteX3385" fmla="*/ 363380 w 866764"/>
                <a:gd name="connsiteY3385" fmla="*/ 524439 h 816032"/>
                <a:gd name="connsiteX3386" fmla="*/ 362684 w 866764"/>
                <a:gd name="connsiteY3386" fmla="*/ 523895 h 816032"/>
                <a:gd name="connsiteX3387" fmla="*/ 362684 w 866764"/>
                <a:gd name="connsiteY3387" fmla="*/ 522775 h 816032"/>
                <a:gd name="connsiteX3388" fmla="*/ 366133 w 866764"/>
                <a:gd name="connsiteY3388" fmla="*/ 522049 h 816032"/>
                <a:gd name="connsiteX3389" fmla="*/ 365952 w 866764"/>
                <a:gd name="connsiteY3389" fmla="*/ 520869 h 816032"/>
                <a:gd name="connsiteX3390" fmla="*/ 367313 w 866764"/>
                <a:gd name="connsiteY3390" fmla="*/ 520718 h 816032"/>
                <a:gd name="connsiteX3391" fmla="*/ 370943 w 866764"/>
                <a:gd name="connsiteY3391" fmla="*/ 521202 h 816032"/>
                <a:gd name="connsiteX3392" fmla="*/ 370671 w 866764"/>
                <a:gd name="connsiteY3392" fmla="*/ 520748 h 816032"/>
                <a:gd name="connsiteX3393" fmla="*/ 370550 w 866764"/>
                <a:gd name="connsiteY3393" fmla="*/ 520385 h 816032"/>
                <a:gd name="connsiteX3394" fmla="*/ 370489 w 866764"/>
                <a:gd name="connsiteY3394" fmla="*/ 520022 h 816032"/>
                <a:gd name="connsiteX3395" fmla="*/ 370338 w 866764"/>
                <a:gd name="connsiteY3395" fmla="*/ 519629 h 816032"/>
                <a:gd name="connsiteX3396" fmla="*/ 372093 w 866764"/>
                <a:gd name="connsiteY3396" fmla="*/ 519901 h 816032"/>
                <a:gd name="connsiteX3397" fmla="*/ 384042 w 866764"/>
                <a:gd name="connsiteY3397" fmla="*/ 519357 h 816032"/>
                <a:gd name="connsiteX3398" fmla="*/ 384526 w 866764"/>
                <a:gd name="connsiteY3398" fmla="*/ 519357 h 816032"/>
                <a:gd name="connsiteX3399" fmla="*/ 390455 w 866764"/>
                <a:gd name="connsiteY3399" fmla="*/ 517481 h 816032"/>
                <a:gd name="connsiteX3400" fmla="*/ 392512 w 866764"/>
                <a:gd name="connsiteY3400" fmla="*/ 516452 h 816032"/>
                <a:gd name="connsiteX3401" fmla="*/ 392512 w 866764"/>
                <a:gd name="connsiteY3401" fmla="*/ 515666 h 816032"/>
                <a:gd name="connsiteX3402" fmla="*/ 391998 w 866764"/>
                <a:gd name="connsiteY3402" fmla="*/ 515122 h 816032"/>
                <a:gd name="connsiteX3403" fmla="*/ 391817 w 866764"/>
                <a:gd name="connsiteY3403" fmla="*/ 514849 h 816032"/>
                <a:gd name="connsiteX3404" fmla="*/ 391968 w 866764"/>
                <a:gd name="connsiteY3404" fmla="*/ 514607 h 816032"/>
                <a:gd name="connsiteX3405" fmla="*/ 392512 w 866764"/>
                <a:gd name="connsiteY3405" fmla="*/ 514063 h 816032"/>
                <a:gd name="connsiteX3406" fmla="*/ 387823 w 866764"/>
                <a:gd name="connsiteY3406" fmla="*/ 510463 h 816032"/>
                <a:gd name="connsiteX3407" fmla="*/ 385766 w 866764"/>
                <a:gd name="connsiteY3407" fmla="*/ 509828 h 816032"/>
                <a:gd name="connsiteX3408" fmla="*/ 383497 w 866764"/>
                <a:gd name="connsiteY3408" fmla="*/ 508436 h 816032"/>
                <a:gd name="connsiteX3409" fmla="*/ 380926 w 866764"/>
                <a:gd name="connsiteY3409" fmla="*/ 508013 h 816032"/>
                <a:gd name="connsiteX3410" fmla="*/ 380049 w 866764"/>
                <a:gd name="connsiteY3410" fmla="*/ 507650 h 816032"/>
                <a:gd name="connsiteX3411" fmla="*/ 379353 w 866764"/>
                <a:gd name="connsiteY3411" fmla="*/ 507650 h 816032"/>
                <a:gd name="connsiteX3412" fmla="*/ 379353 w 866764"/>
                <a:gd name="connsiteY3412" fmla="*/ 506863 h 816032"/>
                <a:gd name="connsiteX3413" fmla="*/ 380079 w 866764"/>
                <a:gd name="connsiteY3413" fmla="*/ 506772 h 816032"/>
                <a:gd name="connsiteX3414" fmla="*/ 382045 w 866764"/>
                <a:gd name="connsiteY3414" fmla="*/ 506137 h 816032"/>
                <a:gd name="connsiteX3415" fmla="*/ 382045 w 866764"/>
                <a:gd name="connsiteY3415" fmla="*/ 505260 h 816032"/>
                <a:gd name="connsiteX3416" fmla="*/ 380563 w 866764"/>
                <a:gd name="connsiteY3416" fmla="*/ 505018 h 816032"/>
                <a:gd name="connsiteX3417" fmla="*/ 379323 w 866764"/>
                <a:gd name="connsiteY3417" fmla="*/ 504564 h 816032"/>
                <a:gd name="connsiteX3418" fmla="*/ 378234 w 866764"/>
                <a:gd name="connsiteY3418" fmla="*/ 503868 h 816032"/>
                <a:gd name="connsiteX3419" fmla="*/ 377235 w 866764"/>
                <a:gd name="connsiteY3419" fmla="*/ 502870 h 816032"/>
                <a:gd name="connsiteX3420" fmla="*/ 378899 w 866764"/>
                <a:gd name="connsiteY3420" fmla="*/ 501055 h 816032"/>
                <a:gd name="connsiteX3421" fmla="*/ 380260 w 866764"/>
                <a:gd name="connsiteY3421" fmla="*/ 497788 h 816032"/>
                <a:gd name="connsiteX3422" fmla="*/ 380714 w 866764"/>
                <a:gd name="connsiteY3422" fmla="*/ 494702 h 816032"/>
                <a:gd name="connsiteX3423" fmla="*/ 379686 w 866764"/>
                <a:gd name="connsiteY3423" fmla="*/ 493310 h 816032"/>
                <a:gd name="connsiteX3424" fmla="*/ 374573 w 866764"/>
                <a:gd name="connsiteY3424" fmla="*/ 493703 h 816032"/>
                <a:gd name="connsiteX3425" fmla="*/ 372698 w 866764"/>
                <a:gd name="connsiteY3425" fmla="*/ 494430 h 816032"/>
                <a:gd name="connsiteX3426" fmla="*/ 370973 w 866764"/>
                <a:gd name="connsiteY3426" fmla="*/ 495700 h 816032"/>
                <a:gd name="connsiteX3427" fmla="*/ 370973 w 866764"/>
                <a:gd name="connsiteY3427" fmla="*/ 496487 h 816032"/>
                <a:gd name="connsiteX3428" fmla="*/ 373817 w 866764"/>
                <a:gd name="connsiteY3428" fmla="*/ 497666 h 816032"/>
                <a:gd name="connsiteX3429" fmla="*/ 375693 w 866764"/>
                <a:gd name="connsiteY3429" fmla="*/ 500692 h 816032"/>
                <a:gd name="connsiteX3430" fmla="*/ 375813 w 866764"/>
                <a:gd name="connsiteY3430" fmla="*/ 503777 h 816032"/>
                <a:gd name="connsiteX3431" fmla="*/ 373424 w 866764"/>
                <a:gd name="connsiteY3431" fmla="*/ 505199 h 816032"/>
                <a:gd name="connsiteX3432" fmla="*/ 372032 w 866764"/>
                <a:gd name="connsiteY3432" fmla="*/ 504987 h 816032"/>
                <a:gd name="connsiteX3433" fmla="*/ 370943 w 866764"/>
                <a:gd name="connsiteY3433" fmla="*/ 504382 h 816032"/>
                <a:gd name="connsiteX3434" fmla="*/ 368916 w 866764"/>
                <a:gd name="connsiteY3434" fmla="*/ 502839 h 816032"/>
                <a:gd name="connsiteX3435" fmla="*/ 368100 w 866764"/>
                <a:gd name="connsiteY3435" fmla="*/ 502446 h 816032"/>
                <a:gd name="connsiteX3436" fmla="*/ 367585 w 866764"/>
                <a:gd name="connsiteY3436" fmla="*/ 502355 h 816032"/>
                <a:gd name="connsiteX3437" fmla="*/ 367162 w 866764"/>
                <a:gd name="connsiteY3437" fmla="*/ 502204 h 816032"/>
                <a:gd name="connsiteX3438" fmla="*/ 363441 w 866764"/>
                <a:gd name="connsiteY3438" fmla="*/ 498846 h 816032"/>
                <a:gd name="connsiteX3439" fmla="*/ 362684 w 866764"/>
                <a:gd name="connsiteY3439" fmla="*/ 499724 h 816032"/>
                <a:gd name="connsiteX3440" fmla="*/ 358661 w 866764"/>
                <a:gd name="connsiteY3440" fmla="*/ 496850 h 816032"/>
                <a:gd name="connsiteX3441" fmla="*/ 356483 w 866764"/>
                <a:gd name="connsiteY3441" fmla="*/ 496063 h 816032"/>
                <a:gd name="connsiteX3442" fmla="*/ 356090 w 866764"/>
                <a:gd name="connsiteY3442" fmla="*/ 495035 h 816032"/>
                <a:gd name="connsiteX3443" fmla="*/ 355817 w 866764"/>
                <a:gd name="connsiteY3443" fmla="*/ 492524 h 816032"/>
                <a:gd name="connsiteX3444" fmla="*/ 357209 w 866764"/>
                <a:gd name="connsiteY3444" fmla="*/ 492524 h 816032"/>
                <a:gd name="connsiteX3445" fmla="*/ 356362 w 866764"/>
                <a:gd name="connsiteY3445" fmla="*/ 489982 h 816032"/>
                <a:gd name="connsiteX3446" fmla="*/ 356029 w 866764"/>
                <a:gd name="connsiteY3446" fmla="*/ 488228 h 816032"/>
                <a:gd name="connsiteX3447" fmla="*/ 356271 w 866764"/>
                <a:gd name="connsiteY3447" fmla="*/ 486443 h 816032"/>
                <a:gd name="connsiteX3448" fmla="*/ 357209 w 866764"/>
                <a:gd name="connsiteY3448" fmla="*/ 483781 h 816032"/>
                <a:gd name="connsiteX3449" fmla="*/ 355575 w 866764"/>
                <a:gd name="connsiteY3449" fmla="*/ 483660 h 816032"/>
                <a:gd name="connsiteX3450" fmla="*/ 354244 w 866764"/>
                <a:gd name="connsiteY3450" fmla="*/ 483085 h 816032"/>
                <a:gd name="connsiteX3451" fmla="*/ 351733 w 866764"/>
                <a:gd name="connsiteY3451" fmla="*/ 481331 h 816032"/>
                <a:gd name="connsiteX3452" fmla="*/ 352036 w 866764"/>
                <a:gd name="connsiteY3452" fmla="*/ 480151 h 816032"/>
                <a:gd name="connsiteX3453" fmla="*/ 352127 w 866764"/>
                <a:gd name="connsiteY3453" fmla="*/ 479425 h 816032"/>
                <a:gd name="connsiteX3454" fmla="*/ 352429 w 866764"/>
                <a:gd name="connsiteY3454" fmla="*/ 479062 h 816032"/>
                <a:gd name="connsiteX3455" fmla="*/ 354668 w 866764"/>
                <a:gd name="connsiteY3455" fmla="*/ 478729 h 816032"/>
                <a:gd name="connsiteX3456" fmla="*/ 356513 w 866764"/>
                <a:gd name="connsiteY3456" fmla="*/ 477670 h 816032"/>
                <a:gd name="connsiteX3457" fmla="*/ 357875 w 866764"/>
                <a:gd name="connsiteY3457" fmla="*/ 477428 h 816032"/>
                <a:gd name="connsiteX3458" fmla="*/ 357451 w 866764"/>
                <a:gd name="connsiteY3458" fmla="*/ 476581 h 816032"/>
                <a:gd name="connsiteX3459" fmla="*/ 357300 w 866764"/>
                <a:gd name="connsiteY3459" fmla="*/ 475583 h 816032"/>
                <a:gd name="connsiteX3460" fmla="*/ 357451 w 866764"/>
                <a:gd name="connsiteY3460" fmla="*/ 474494 h 816032"/>
                <a:gd name="connsiteX3461" fmla="*/ 357875 w 866764"/>
                <a:gd name="connsiteY3461" fmla="*/ 473344 h 816032"/>
                <a:gd name="connsiteX3462" fmla="*/ 355999 w 866764"/>
                <a:gd name="connsiteY3462" fmla="*/ 472618 h 816032"/>
                <a:gd name="connsiteX3463" fmla="*/ 354214 w 866764"/>
                <a:gd name="connsiteY3463" fmla="*/ 471408 h 816032"/>
                <a:gd name="connsiteX3464" fmla="*/ 350977 w 866764"/>
                <a:gd name="connsiteY3464" fmla="*/ 468474 h 816032"/>
                <a:gd name="connsiteX3465" fmla="*/ 349283 w 866764"/>
                <a:gd name="connsiteY3465" fmla="*/ 469321 h 816032"/>
                <a:gd name="connsiteX3466" fmla="*/ 346893 w 866764"/>
                <a:gd name="connsiteY3466" fmla="*/ 469593 h 816032"/>
                <a:gd name="connsiteX3467" fmla="*/ 344503 w 866764"/>
                <a:gd name="connsiteY3467" fmla="*/ 469321 h 816032"/>
                <a:gd name="connsiteX3468" fmla="*/ 342749 w 866764"/>
                <a:gd name="connsiteY3468" fmla="*/ 468474 h 816032"/>
                <a:gd name="connsiteX3469" fmla="*/ 340782 w 866764"/>
                <a:gd name="connsiteY3469" fmla="*/ 468837 h 816032"/>
                <a:gd name="connsiteX3470" fmla="*/ 339451 w 866764"/>
                <a:gd name="connsiteY3470" fmla="*/ 467082 h 816032"/>
                <a:gd name="connsiteX3471" fmla="*/ 339028 w 866764"/>
                <a:gd name="connsiteY3471" fmla="*/ 464813 h 816032"/>
                <a:gd name="connsiteX3472" fmla="*/ 339663 w 866764"/>
                <a:gd name="connsiteY3472" fmla="*/ 463694 h 816032"/>
                <a:gd name="connsiteX3473" fmla="*/ 340571 w 866764"/>
                <a:gd name="connsiteY3473" fmla="*/ 463089 h 816032"/>
                <a:gd name="connsiteX3474" fmla="*/ 340722 w 866764"/>
                <a:gd name="connsiteY3474" fmla="*/ 461758 h 816032"/>
                <a:gd name="connsiteX3475" fmla="*/ 340722 w 866764"/>
                <a:gd name="connsiteY3475" fmla="*/ 460427 h 816032"/>
                <a:gd name="connsiteX3476" fmla="*/ 341055 w 866764"/>
                <a:gd name="connsiteY3476" fmla="*/ 459792 h 816032"/>
                <a:gd name="connsiteX3477" fmla="*/ 342144 w 866764"/>
                <a:gd name="connsiteY3477" fmla="*/ 459913 h 816032"/>
                <a:gd name="connsiteX3478" fmla="*/ 343021 w 866764"/>
                <a:gd name="connsiteY3478" fmla="*/ 460124 h 816032"/>
                <a:gd name="connsiteX3479" fmla="*/ 343808 w 866764"/>
                <a:gd name="connsiteY3479" fmla="*/ 460124 h 816032"/>
                <a:gd name="connsiteX3480" fmla="*/ 344745 w 866764"/>
                <a:gd name="connsiteY3480" fmla="*/ 459792 h 816032"/>
                <a:gd name="connsiteX3481" fmla="*/ 348980 w 866764"/>
                <a:gd name="connsiteY3481" fmla="*/ 461456 h 816032"/>
                <a:gd name="connsiteX3482" fmla="*/ 353851 w 866764"/>
                <a:gd name="connsiteY3482" fmla="*/ 459217 h 816032"/>
                <a:gd name="connsiteX3483" fmla="*/ 355575 w 866764"/>
                <a:gd name="connsiteY3483" fmla="*/ 458007 h 816032"/>
                <a:gd name="connsiteX3484" fmla="*/ 358570 w 866764"/>
                <a:gd name="connsiteY3484" fmla="*/ 455859 h 816032"/>
                <a:gd name="connsiteX3485" fmla="*/ 362352 w 866764"/>
                <a:gd name="connsiteY3485" fmla="*/ 454135 h 816032"/>
                <a:gd name="connsiteX3486" fmla="*/ 372728 w 866764"/>
                <a:gd name="connsiteY3486" fmla="*/ 453348 h 816032"/>
                <a:gd name="connsiteX3487" fmla="*/ 380684 w 866764"/>
                <a:gd name="connsiteY3487" fmla="*/ 454074 h 816032"/>
                <a:gd name="connsiteX3488" fmla="*/ 382741 w 866764"/>
                <a:gd name="connsiteY3488" fmla="*/ 453348 h 816032"/>
                <a:gd name="connsiteX3489" fmla="*/ 379323 w 866764"/>
                <a:gd name="connsiteY3489" fmla="*/ 452471 h 816032"/>
                <a:gd name="connsiteX3490" fmla="*/ 380987 w 866764"/>
                <a:gd name="connsiteY3490" fmla="*/ 451715 h 816032"/>
                <a:gd name="connsiteX3491" fmla="*/ 384828 w 866764"/>
                <a:gd name="connsiteY3491" fmla="*/ 448538 h 816032"/>
                <a:gd name="connsiteX3492" fmla="*/ 385887 w 866764"/>
                <a:gd name="connsiteY3492" fmla="*/ 448054 h 816032"/>
                <a:gd name="connsiteX3493" fmla="*/ 386946 w 866764"/>
                <a:gd name="connsiteY3493" fmla="*/ 447812 h 816032"/>
                <a:gd name="connsiteX3494" fmla="*/ 389336 w 866764"/>
                <a:gd name="connsiteY3494" fmla="*/ 447691 h 816032"/>
                <a:gd name="connsiteX3495" fmla="*/ 389850 w 866764"/>
                <a:gd name="connsiteY3495" fmla="*/ 447449 h 816032"/>
                <a:gd name="connsiteX3496" fmla="*/ 390334 w 866764"/>
                <a:gd name="connsiteY3496" fmla="*/ 446874 h 816032"/>
                <a:gd name="connsiteX3497" fmla="*/ 391000 w 866764"/>
                <a:gd name="connsiteY3497" fmla="*/ 446330 h 816032"/>
                <a:gd name="connsiteX3498" fmla="*/ 392059 w 866764"/>
                <a:gd name="connsiteY3498" fmla="*/ 446088 h 816032"/>
                <a:gd name="connsiteX3499" fmla="*/ 395870 w 866764"/>
                <a:gd name="connsiteY3499" fmla="*/ 446088 h 816032"/>
                <a:gd name="connsiteX3500" fmla="*/ 396717 w 866764"/>
                <a:gd name="connsiteY3500" fmla="*/ 445906 h 816032"/>
                <a:gd name="connsiteX3501" fmla="*/ 397353 w 866764"/>
                <a:gd name="connsiteY3501" fmla="*/ 445604 h 816032"/>
                <a:gd name="connsiteX3502" fmla="*/ 398018 w 866764"/>
                <a:gd name="connsiteY3502" fmla="*/ 445664 h 816032"/>
                <a:gd name="connsiteX3503" fmla="*/ 398956 w 866764"/>
                <a:gd name="connsiteY3503" fmla="*/ 446572 h 816032"/>
                <a:gd name="connsiteX3504" fmla="*/ 399682 w 866764"/>
                <a:gd name="connsiteY3504" fmla="*/ 448629 h 816032"/>
                <a:gd name="connsiteX3505" fmla="*/ 398774 w 866764"/>
                <a:gd name="connsiteY3505" fmla="*/ 450383 h 816032"/>
                <a:gd name="connsiteX3506" fmla="*/ 395174 w 866764"/>
                <a:gd name="connsiteY3506" fmla="*/ 453409 h 816032"/>
                <a:gd name="connsiteX3507" fmla="*/ 395961 w 866764"/>
                <a:gd name="connsiteY3507" fmla="*/ 454316 h 816032"/>
                <a:gd name="connsiteX3508" fmla="*/ 396990 w 866764"/>
                <a:gd name="connsiteY3508" fmla="*/ 454800 h 816032"/>
                <a:gd name="connsiteX3509" fmla="*/ 398230 w 866764"/>
                <a:gd name="connsiteY3509" fmla="*/ 454982 h 816032"/>
                <a:gd name="connsiteX3510" fmla="*/ 399682 w 866764"/>
                <a:gd name="connsiteY3510" fmla="*/ 454982 h 816032"/>
                <a:gd name="connsiteX3511" fmla="*/ 400953 w 866764"/>
                <a:gd name="connsiteY3511" fmla="*/ 455556 h 816032"/>
                <a:gd name="connsiteX3512" fmla="*/ 401709 w 866764"/>
                <a:gd name="connsiteY3512" fmla="*/ 456585 h 816032"/>
                <a:gd name="connsiteX3513" fmla="*/ 402586 w 866764"/>
                <a:gd name="connsiteY3513" fmla="*/ 457251 h 816032"/>
                <a:gd name="connsiteX3514" fmla="*/ 404129 w 866764"/>
                <a:gd name="connsiteY3514" fmla="*/ 456645 h 816032"/>
                <a:gd name="connsiteX3515" fmla="*/ 404038 w 866764"/>
                <a:gd name="connsiteY3515" fmla="*/ 457432 h 816032"/>
                <a:gd name="connsiteX3516" fmla="*/ 403736 w 866764"/>
                <a:gd name="connsiteY3516" fmla="*/ 457765 h 816032"/>
                <a:gd name="connsiteX3517" fmla="*/ 402768 w 866764"/>
                <a:gd name="connsiteY3517" fmla="*/ 458158 h 816032"/>
                <a:gd name="connsiteX3518" fmla="*/ 402768 w 866764"/>
                <a:gd name="connsiteY3518" fmla="*/ 458944 h 816032"/>
                <a:gd name="connsiteX3519" fmla="*/ 404552 w 866764"/>
                <a:gd name="connsiteY3519" fmla="*/ 458491 h 816032"/>
                <a:gd name="connsiteX3520" fmla="*/ 406307 w 866764"/>
                <a:gd name="connsiteY3520" fmla="*/ 457765 h 816032"/>
                <a:gd name="connsiteX3521" fmla="*/ 408001 w 866764"/>
                <a:gd name="connsiteY3521" fmla="*/ 457432 h 816032"/>
                <a:gd name="connsiteX3522" fmla="*/ 409695 w 866764"/>
                <a:gd name="connsiteY3522" fmla="*/ 458158 h 816032"/>
                <a:gd name="connsiteX3523" fmla="*/ 410058 w 866764"/>
                <a:gd name="connsiteY3523" fmla="*/ 459822 h 816032"/>
                <a:gd name="connsiteX3524" fmla="*/ 414233 w 866764"/>
                <a:gd name="connsiteY3524" fmla="*/ 465509 h 816032"/>
                <a:gd name="connsiteX3525" fmla="*/ 414505 w 866764"/>
                <a:gd name="connsiteY3525" fmla="*/ 467717 h 816032"/>
                <a:gd name="connsiteX3526" fmla="*/ 416683 w 866764"/>
                <a:gd name="connsiteY3526" fmla="*/ 469895 h 816032"/>
                <a:gd name="connsiteX3527" fmla="*/ 417137 w 866764"/>
                <a:gd name="connsiteY3527" fmla="*/ 471136 h 816032"/>
                <a:gd name="connsiteX3528" fmla="*/ 416502 w 866764"/>
                <a:gd name="connsiteY3528" fmla="*/ 472588 h 816032"/>
                <a:gd name="connsiteX3529" fmla="*/ 417409 w 866764"/>
                <a:gd name="connsiteY3529" fmla="*/ 472497 h 816032"/>
                <a:gd name="connsiteX3530" fmla="*/ 417712 w 866764"/>
                <a:gd name="connsiteY3530" fmla="*/ 472800 h 816032"/>
                <a:gd name="connsiteX3531" fmla="*/ 417772 w 866764"/>
                <a:gd name="connsiteY3531" fmla="*/ 473405 h 816032"/>
                <a:gd name="connsiteX3532" fmla="*/ 417924 w 866764"/>
                <a:gd name="connsiteY3532" fmla="*/ 474191 h 816032"/>
                <a:gd name="connsiteX3533" fmla="*/ 418680 w 866764"/>
                <a:gd name="connsiteY3533" fmla="*/ 473042 h 816032"/>
                <a:gd name="connsiteX3534" fmla="*/ 419739 w 866764"/>
                <a:gd name="connsiteY3534" fmla="*/ 473465 h 816032"/>
                <a:gd name="connsiteX3535" fmla="*/ 420737 w 866764"/>
                <a:gd name="connsiteY3535" fmla="*/ 473465 h 816032"/>
                <a:gd name="connsiteX3536" fmla="*/ 421312 w 866764"/>
                <a:gd name="connsiteY3536" fmla="*/ 470985 h 816032"/>
                <a:gd name="connsiteX3537" fmla="*/ 421947 w 866764"/>
                <a:gd name="connsiteY3537" fmla="*/ 470985 h 816032"/>
                <a:gd name="connsiteX3538" fmla="*/ 422219 w 866764"/>
                <a:gd name="connsiteY3538" fmla="*/ 471650 h 816032"/>
                <a:gd name="connsiteX3539" fmla="*/ 422552 w 866764"/>
                <a:gd name="connsiteY3539" fmla="*/ 471983 h 816032"/>
                <a:gd name="connsiteX3540" fmla="*/ 422945 w 866764"/>
                <a:gd name="connsiteY3540" fmla="*/ 472195 h 816032"/>
                <a:gd name="connsiteX3541" fmla="*/ 423399 w 866764"/>
                <a:gd name="connsiteY3541" fmla="*/ 472588 h 816032"/>
                <a:gd name="connsiteX3542" fmla="*/ 424821 w 866764"/>
                <a:gd name="connsiteY3542" fmla="*/ 472346 h 816032"/>
                <a:gd name="connsiteX3543" fmla="*/ 426636 w 866764"/>
                <a:gd name="connsiteY3543" fmla="*/ 473556 h 816032"/>
                <a:gd name="connsiteX3544" fmla="*/ 428239 w 866764"/>
                <a:gd name="connsiteY3544" fmla="*/ 475492 h 816032"/>
                <a:gd name="connsiteX3545" fmla="*/ 428965 w 866764"/>
                <a:gd name="connsiteY3545" fmla="*/ 477458 h 816032"/>
                <a:gd name="connsiteX3546" fmla="*/ 429964 w 866764"/>
                <a:gd name="connsiteY3546" fmla="*/ 476884 h 816032"/>
                <a:gd name="connsiteX3547" fmla="*/ 430357 w 866764"/>
                <a:gd name="connsiteY3547" fmla="*/ 476581 h 816032"/>
                <a:gd name="connsiteX3548" fmla="*/ 431446 w 866764"/>
                <a:gd name="connsiteY3548" fmla="*/ 481512 h 816032"/>
                <a:gd name="connsiteX3549" fmla="*/ 432384 w 866764"/>
                <a:gd name="connsiteY3549" fmla="*/ 483660 h 816032"/>
                <a:gd name="connsiteX3550" fmla="*/ 433775 w 866764"/>
                <a:gd name="connsiteY3550" fmla="*/ 482934 h 816032"/>
                <a:gd name="connsiteX3551" fmla="*/ 434471 w 866764"/>
                <a:gd name="connsiteY3551" fmla="*/ 482934 h 816032"/>
                <a:gd name="connsiteX3552" fmla="*/ 434411 w 866764"/>
                <a:gd name="connsiteY3552" fmla="*/ 487290 h 816032"/>
                <a:gd name="connsiteX3553" fmla="*/ 435106 w 866764"/>
                <a:gd name="connsiteY3553" fmla="*/ 488742 h 816032"/>
                <a:gd name="connsiteX3554" fmla="*/ 436891 w 866764"/>
                <a:gd name="connsiteY3554" fmla="*/ 489317 h 816032"/>
                <a:gd name="connsiteX3555" fmla="*/ 438464 w 866764"/>
                <a:gd name="connsiteY3555" fmla="*/ 489559 h 816032"/>
                <a:gd name="connsiteX3556" fmla="*/ 442306 w 866764"/>
                <a:gd name="connsiteY3556" fmla="*/ 491011 h 816032"/>
                <a:gd name="connsiteX3557" fmla="*/ 443456 w 866764"/>
                <a:gd name="connsiteY3557" fmla="*/ 491737 h 816032"/>
                <a:gd name="connsiteX3558" fmla="*/ 444847 w 866764"/>
                <a:gd name="connsiteY3558" fmla="*/ 490073 h 816032"/>
                <a:gd name="connsiteX3559" fmla="*/ 446602 w 866764"/>
                <a:gd name="connsiteY3559" fmla="*/ 488621 h 816032"/>
                <a:gd name="connsiteX3560" fmla="*/ 447449 w 866764"/>
                <a:gd name="connsiteY3560" fmla="*/ 487320 h 816032"/>
                <a:gd name="connsiteX3561" fmla="*/ 446178 w 866764"/>
                <a:gd name="connsiteY3561" fmla="*/ 486171 h 816032"/>
                <a:gd name="connsiteX3562" fmla="*/ 446632 w 866764"/>
                <a:gd name="connsiteY3562" fmla="*/ 485505 h 816032"/>
                <a:gd name="connsiteX3563" fmla="*/ 446753 w 866764"/>
                <a:gd name="connsiteY3563" fmla="*/ 485505 h 816032"/>
                <a:gd name="connsiteX3564" fmla="*/ 446814 w 866764"/>
                <a:gd name="connsiteY3564" fmla="*/ 485868 h 816032"/>
                <a:gd name="connsiteX3565" fmla="*/ 446935 w 866764"/>
                <a:gd name="connsiteY3565" fmla="*/ 486171 h 816032"/>
                <a:gd name="connsiteX3566" fmla="*/ 446814 w 866764"/>
                <a:gd name="connsiteY3566" fmla="*/ 485505 h 816032"/>
                <a:gd name="connsiteX3567" fmla="*/ 446904 w 866764"/>
                <a:gd name="connsiteY3567" fmla="*/ 484961 h 816032"/>
                <a:gd name="connsiteX3568" fmla="*/ 446814 w 866764"/>
                <a:gd name="connsiteY3568" fmla="*/ 484598 h 816032"/>
                <a:gd name="connsiteX3569" fmla="*/ 446178 w 866764"/>
                <a:gd name="connsiteY3569" fmla="*/ 484507 h 816032"/>
                <a:gd name="connsiteX3570" fmla="*/ 446178 w 866764"/>
                <a:gd name="connsiteY3570" fmla="*/ 483781 h 816032"/>
                <a:gd name="connsiteX3571" fmla="*/ 447570 w 866764"/>
                <a:gd name="connsiteY3571" fmla="*/ 483781 h 816032"/>
                <a:gd name="connsiteX3572" fmla="*/ 447570 w 866764"/>
                <a:gd name="connsiteY3572" fmla="*/ 482904 h 816032"/>
                <a:gd name="connsiteX3573" fmla="*/ 446178 w 866764"/>
                <a:gd name="connsiteY3573" fmla="*/ 482178 h 816032"/>
                <a:gd name="connsiteX3574" fmla="*/ 448447 w 866764"/>
                <a:gd name="connsiteY3574" fmla="*/ 479969 h 816032"/>
                <a:gd name="connsiteX3575" fmla="*/ 448871 w 866764"/>
                <a:gd name="connsiteY3575" fmla="*/ 478668 h 816032"/>
                <a:gd name="connsiteX3576" fmla="*/ 448992 w 866764"/>
                <a:gd name="connsiteY3576" fmla="*/ 476158 h 816032"/>
                <a:gd name="connsiteX3577" fmla="*/ 448719 w 866764"/>
                <a:gd name="connsiteY3577" fmla="*/ 474222 h 816032"/>
                <a:gd name="connsiteX3578" fmla="*/ 447963 w 866764"/>
                <a:gd name="connsiteY3578" fmla="*/ 473133 h 816032"/>
                <a:gd name="connsiteX3579" fmla="*/ 445573 w 866764"/>
                <a:gd name="connsiteY3579" fmla="*/ 471771 h 816032"/>
                <a:gd name="connsiteX3580" fmla="*/ 445755 w 866764"/>
                <a:gd name="connsiteY3580" fmla="*/ 471106 h 816032"/>
                <a:gd name="connsiteX3581" fmla="*/ 446027 w 866764"/>
                <a:gd name="connsiteY3581" fmla="*/ 470682 h 816032"/>
                <a:gd name="connsiteX3582" fmla="*/ 446451 w 866764"/>
                <a:gd name="connsiteY3582" fmla="*/ 470380 h 816032"/>
                <a:gd name="connsiteX3583" fmla="*/ 446965 w 866764"/>
                <a:gd name="connsiteY3583" fmla="*/ 470107 h 816032"/>
                <a:gd name="connsiteX3584" fmla="*/ 446451 w 866764"/>
                <a:gd name="connsiteY3584" fmla="*/ 469472 h 816032"/>
                <a:gd name="connsiteX3585" fmla="*/ 446209 w 866764"/>
                <a:gd name="connsiteY3585" fmla="*/ 468776 h 816032"/>
                <a:gd name="connsiteX3586" fmla="*/ 446360 w 866764"/>
                <a:gd name="connsiteY3586" fmla="*/ 467960 h 816032"/>
                <a:gd name="connsiteX3587" fmla="*/ 446965 w 866764"/>
                <a:gd name="connsiteY3587" fmla="*/ 466931 h 816032"/>
                <a:gd name="connsiteX3588" fmla="*/ 445452 w 866764"/>
                <a:gd name="connsiteY3588" fmla="*/ 466296 h 816032"/>
                <a:gd name="connsiteX3589" fmla="*/ 444908 w 866764"/>
                <a:gd name="connsiteY3589" fmla="*/ 466175 h 816032"/>
                <a:gd name="connsiteX3590" fmla="*/ 445604 w 866764"/>
                <a:gd name="connsiteY3590" fmla="*/ 465297 h 816032"/>
                <a:gd name="connsiteX3591" fmla="*/ 444182 w 866764"/>
                <a:gd name="connsiteY3591" fmla="*/ 465297 h 816032"/>
                <a:gd name="connsiteX3592" fmla="*/ 443062 w 866764"/>
                <a:gd name="connsiteY3592" fmla="*/ 465025 h 816032"/>
                <a:gd name="connsiteX3593" fmla="*/ 442185 w 866764"/>
                <a:gd name="connsiteY3593" fmla="*/ 464481 h 816032"/>
                <a:gd name="connsiteX3594" fmla="*/ 441459 w 866764"/>
                <a:gd name="connsiteY3594" fmla="*/ 463694 h 816032"/>
                <a:gd name="connsiteX3595" fmla="*/ 444515 w 866764"/>
                <a:gd name="connsiteY3595" fmla="*/ 462666 h 816032"/>
                <a:gd name="connsiteX3596" fmla="*/ 444938 w 866764"/>
                <a:gd name="connsiteY3596" fmla="*/ 462030 h 816032"/>
                <a:gd name="connsiteX3597" fmla="*/ 444636 w 866764"/>
                <a:gd name="connsiteY3597" fmla="*/ 460790 h 816032"/>
                <a:gd name="connsiteX3598" fmla="*/ 443728 w 866764"/>
                <a:gd name="connsiteY3598" fmla="*/ 460064 h 816032"/>
                <a:gd name="connsiteX3599" fmla="*/ 442548 w 866764"/>
                <a:gd name="connsiteY3599" fmla="*/ 459731 h 816032"/>
                <a:gd name="connsiteX3600" fmla="*/ 441429 w 866764"/>
                <a:gd name="connsiteY3600" fmla="*/ 459792 h 816032"/>
                <a:gd name="connsiteX3601" fmla="*/ 441853 w 866764"/>
                <a:gd name="connsiteY3601" fmla="*/ 458370 h 816032"/>
                <a:gd name="connsiteX3602" fmla="*/ 441731 w 866764"/>
                <a:gd name="connsiteY3602" fmla="*/ 457099 h 816032"/>
                <a:gd name="connsiteX3603" fmla="*/ 441459 w 866764"/>
                <a:gd name="connsiteY3603" fmla="*/ 455919 h 816032"/>
                <a:gd name="connsiteX3604" fmla="*/ 441459 w 866764"/>
                <a:gd name="connsiteY3604" fmla="*/ 454921 h 816032"/>
                <a:gd name="connsiteX3605" fmla="*/ 441943 w 866764"/>
                <a:gd name="connsiteY3605" fmla="*/ 453741 h 816032"/>
                <a:gd name="connsiteX3606" fmla="*/ 443274 w 866764"/>
                <a:gd name="connsiteY3606" fmla="*/ 451231 h 816032"/>
                <a:gd name="connsiteX3607" fmla="*/ 443546 w 866764"/>
                <a:gd name="connsiteY3607" fmla="*/ 450141 h 816032"/>
                <a:gd name="connsiteX3608" fmla="*/ 443093 w 866764"/>
                <a:gd name="connsiteY3608" fmla="*/ 449143 h 816032"/>
                <a:gd name="connsiteX3609" fmla="*/ 442125 w 866764"/>
                <a:gd name="connsiteY3609" fmla="*/ 447903 h 816032"/>
                <a:gd name="connsiteX3610" fmla="*/ 441187 w 866764"/>
                <a:gd name="connsiteY3610" fmla="*/ 446269 h 816032"/>
                <a:gd name="connsiteX3611" fmla="*/ 440763 w 866764"/>
                <a:gd name="connsiteY3611" fmla="*/ 444061 h 816032"/>
                <a:gd name="connsiteX3612" fmla="*/ 439281 w 866764"/>
                <a:gd name="connsiteY3612" fmla="*/ 439039 h 816032"/>
                <a:gd name="connsiteX3613" fmla="*/ 439190 w 866764"/>
                <a:gd name="connsiteY3613" fmla="*/ 436649 h 816032"/>
                <a:gd name="connsiteX3614" fmla="*/ 444091 w 866764"/>
                <a:gd name="connsiteY3614" fmla="*/ 434169 h 816032"/>
                <a:gd name="connsiteX3615" fmla="*/ 445634 w 866764"/>
                <a:gd name="connsiteY3615" fmla="*/ 433987 h 816032"/>
                <a:gd name="connsiteX3616" fmla="*/ 446269 w 866764"/>
                <a:gd name="connsiteY3616" fmla="*/ 435621 h 816032"/>
                <a:gd name="connsiteX3617" fmla="*/ 446451 w 866764"/>
                <a:gd name="connsiteY3617" fmla="*/ 434108 h 816032"/>
                <a:gd name="connsiteX3618" fmla="*/ 446753 w 866764"/>
                <a:gd name="connsiteY3618" fmla="*/ 432837 h 816032"/>
                <a:gd name="connsiteX3619" fmla="*/ 447328 w 866764"/>
                <a:gd name="connsiteY3619" fmla="*/ 431930 h 816032"/>
                <a:gd name="connsiteX3620" fmla="*/ 448387 w 866764"/>
                <a:gd name="connsiteY3620" fmla="*/ 431567 h 816032"/>
                <a:gd name="connsiteX3621" fmla="*/ 447267 w 866764"/>
                <a:gd name="connsiteY3621" fmla="*/ 430690 h 816032"/>
                <a:gd name="connsiteX3622" fmla="*/ 447116 w 866764"/>
                <a:gd name="connsiteY3622" fmla="*/ 429843 h 816032"/>
                <a:gd name="connsiteX3623" fmla="*/ 447419 w 866764"/>
                <a:gd name="connsiteY3623" fmla="*/ 428965 h 816032"/>
                <a:gd name="connsiteX3624" fmla="*/ 447630 w 866764"/>
                <a:gd name="connsiteY3624" fmla="*/ 428028 h 816032"/>
                <a:gd name="connsiteX3625" fmla="*/ 447207 w 866764"/>
                <a:gd name="connsiteY3625" fmla="*/ 427060 h 816032"/>
                <a:gd name="connsiteX3626" fmla="*/ 445362 w 866764"/>
                <a:gd name="connsiteY3626" fmla="*/ 426364 h 816032"/>
                <a:gd name="connsiteX3627" fmla="*/ 444938 w 866764"/>
                <a:gd name="connsiteY3627" fmla="*/ 425608 h 816032"/>
                <a:gd name="connsiteX3628" fmla="*/ 444151 w 866764"/>
                <a:gd name="connsiteY3628" fmla="*/ 424791 h 816032"/>
                <a:gd name="connsiteX3629" fmla="*/ 439402 w 866764"/>
                <a:gd name="connsiteY3629" fmla="*/ 421251 h 816032"/>
                <a:gd name="connsiteX3630" fmla="*/ 436952 w 866764"/>
                <a:gd name="connsiteY3630" fmla="*/ 418287 h 816032"/>
                <a:gd name="connsiteX3631" fmla="*/ 435348 w 866764"/>
                <a:gd name="connsiteY3631" fmla="*/ 416925 h 816032"/>
                <a:gd name="connsiteX3632" fmla="*/ 433533 w 866764"/>
                <a:gd name="connsiteY3632" fmla="*/ 416351 h 816032"/>
                <a:gd name="connsiteX3633" fmla="*/ 431476 w 866764"/>
                <a:gd name="connsiteY3633" fmla="*/ 416078 h 816032"/>
                <a:gd name="connsiteX3634" fmla="*/ 421796 w 866764"/>
                <a:gd name="connsiteY3634" fmla="*/ 412267 h 816032"/>
                <a:gd name="connsiteX3635" fmla="*/ 420677 w 866764"/>
                <a:gd name="connsiteY3635" fmla="*/ 412024 h 816032"/>
                <a:gd name="connsiteX3636" fmla="*/ 418377 w 866764"/>
                <a:gd name="connsiteY3636" fmla="*/ 410724 h 816032"/>
                <a:gd name="connsiteX3637" fmla="*/ 412599 w 866764"/>
                <a:gd name="connsiteY3637" fmla="*/ 411601 h 816032"/>
                <a:gd name="connsiteX3638" fmla="*/ 411117 w 866764"/>
                <a:gd name="connsiteY3638" fmla="*/ 411510 h 816032"/>
                <a:gd name="connsiteX3639" fmla="*/ 407366 w 866764"/>
                <a:gd name="connsiteY3639" fmla="*/ 409211 h 816032"/>
                <a:gd name="connsiteX3640" fmla="*/ 402556 w 866764"/>
                <a:gd name="connsiteY3640" fmla="*/ 402435 h 816032"/>
                <a:gd name="connsiteX3641" fmla="*/ 399440 w 866764"/>
                <a:gd name="connsiteY3641" fmla="*/ 401013 h 816032"/>
                <a:gd name="connsiteX3642" fmla="*/ 399440 w 866764"/>
                <a:gd name="connsiteY3642" fmla="*/ 400227 h 816032"/>
                <a:gd name="connsiteX3643" fmla="*/ 400045 w 866764"/>
                <a:gd name="connsiteY3643" fmla="*/ 399319 h 816032"/>
                <a:gd name="connsiteX3644" fmla="*/ 399652 w 866764"/>
                <a:gd name="connsiteY3644" fmla="*/ 398593 h 816032"/>
                <a:gd name="connsiteX3645" fmla="*/ 398623 w 866764"/>
                <a:gd name="connsiteY3645" fmla="*/ 398079 h 816032"/>
                <a:gd name="connsiteX3646" fmla="*/ 397353 w 866764"/>
                <a:gd name="connsiteY3646" fmla="*/ 397806 h 816032"/>
                <a:gd name="connsiteX3647" fmla="*/ 397353 w 866764"/>
                <a:gd name="connsiteY3647" fmla="*/ 396929 h 816032"/>
                <a:gd name="connsiteX3648" fmla="*/ 398079 w 866764"/>
                <a:gd name="connsiteY3648" fmla="*/ 396596 h 816032"/>
                <a:gd name="connsiteX3649" fmla="*/ 400136 w 866764"/>
                <a:gd name="connsiteY3649" fmla="*/ 395386 h 816032"/>
                <a:gd name="connsiteX3650" fmla="*/ 396717 w 866764"/>
                <a:gd name="connsiteY3650" fmla="*/ 392180 h 816032"/>
                <a:gd name="connsiteX3651" fmla="*/ 394267 w 866764"/>
                <a:gd name="connsiteY3651" fmla="*/ 390939 h 816032"/>
                <a:gd name="connsiteX3652" fmla="*/ 393148 w 866764"/>
                <a:gd name="connsiteY3652" fmla="*/ 392543 h 816032"/>
                <a:gd name="connsiteX3653" fmla="*/ 391877 w 866764"/>
                <a:gd name="connsiteY3653" fmla="*/ 393420 h 816032"/>
                <a:gd name="connsiteX3654" fmla="*/ 381713 w 866764"/>
                <a:gd name="connsiteY3654" fmla="*/ 391786 h 816032"/>
                <a:gd name="connsiteX3655" fmla="*/ 374876 w 866764"/>
                <a:gd name="connsiteY3655" fmla="*/ 392089 h 816032"/>
                <a:gd name="connsiteX3656" fmla="*/ 373333 w 866764"/>
                <a:gd name="connsiteY3656" fmla="*/ 391877 h 816032"/>
                <a:gd name="connsiteX3657" fmla="*/ 372758 w 866764"/>
                <a:gd name="connsiteY3657" fmla="*/ 391302 h 816032"/>
                <a:gd name="connsiteX3658" fmla="*/ 373000 w 866764"/>
                <a:gd name="connsiteY3658" fmla="*/ 390546 h 816032"/>
                <a:gd name="connsiteX3659" fmla="*/ 373847 w 866764"/>
                <a:gd name="connsiteY3659" fmla="*/ 389669 h 816032"/>
                <a:gd name="connsiteX3660" fmla="*/ 374815 w 866764"/>
                <a:gd name="connsiteY3660" fmla="*/ 389276 h 816032"/>
                <a:gd name="connsiteX3661" fmla="*/ 377114 w 866764"/>
                <a:gd name="connsiteY3661" fmla="*/ 389276 h 816032"/>
                <a:gd name="connsiteX3662" fmla="*/ 377992 w 866764"/>
                <a:gd name="connsiteY3662" fmla="*/ 388943 h 816032"/>
                <a:gd name="connsiteX3663" fmla="*/ 377992 w 866764"/>
                <a:gd name="connsiteY3663" fmla="*/ 388126 h 816032"/>
                <a:gd name="connsiteX3664" fmla="*/ 376570 w 866764"/>
                <a:gd name="connsiteY3664" fmla="*/ 387521 h 816032"/>
                <a:gd name="connsiteX3665" fmla="*/ 373847 w 866764"/>
                <a:gd name="connsiteY3665" fmla="*/ 386916 h 816032"/>
                <a:gd name="connsiteX3666" fmla="*/ 372758 w 866764"/>
                <a:gd name="connsiteY3666" fmla="*/ 386069 h 816032"/>
                <a:gd name="connsiteX3667" fmla="*/ 371730 w 866764"/>
                <a:gd name="connsiteY3667" fmla="*/ 384980 h 816032"/>
                <a:gd name="connsiteX3668" fmla="*/ 370519 w 866764"/>
                <a:gd name="connsiteY3668" fmla="*/ 384224 h 816032"/>
                <a:gd name="connsiteX3669" fmla="*/ 369309 w 866764"/>
                <a:gd name="connsiteY3669" fmla="*/ 384284 h 816032"/>
                <a:gd name="connsiteX3670" fmla="*/ 368311 w 866764"/>
                <a:gd name="connsiteY3670" fmla="*/ 385645 h 816032"/>
                <a:gd name="connsiteX3671" fmla="*/ 369098 w 866764"/>
                <a:gd name="connsiteY3671" fmla="*/ 382983 h 816032"/>
                <a:gd name="connsiteX3672" fmla="*/ 370429 w 866764"/>
                <a:gd name="connsiteY3672" fmla="*/ 381834 h 816032"/>
                <a:gd name="connsiteX3673" fmla="*/ 371881 w 866764"/>
                <a:gd name="connsiteY3673" fmla="*/ 381168 h 816032"/>
                <a:gd name="connsiteX3674" fmla="*/ 373121 w 866764"/>
                <a:gd name="connsiteY3674" fmla="*/ 380019 h 816032"/>
                <a:gd name="connsiteX3675" fmla="*/ 373363 w 866764"/>
                <a:gd name="connsiteY3675" fmla="*/ 378597 h 816032"/>
                <a:gd name="connsiteX3676" fmla="*/ 372909 w 866764"/>
                <a:gd name="connsiteY3676" fmla="*/ 376963 h 816032"/>
                <a:gd name="connsiteX3677" fmla="*/ 371881 w 866764"/>
                <a:gd name="connsiteY3677" fmla="*/ 375451 h 816032"/>
                <a:gd name="connsiteX3678" fmla="*/ 370368 w 866764"/>
                <a:gd name="connsiteY3678" fmla="*/ 374331 h 816032"/>
                <a:gd name="connsiteX3679" fmla="*/ 368493 w 866764"/>
                <a:gd name="connsiteY3679" fmla="*/ 373666 h 816032"/>
                <a:gd name="connsiteX3680" fmla="*/ 365135 w 866764"/>
                <a:gd name="connsiteY3680" fmla="*/ 373242 h 816032"/>
                <a:gd name="connsiteX3681" fmla="*/ 363501 w 866764"/>
                <a:gd name="connsiteY3681" fmla="*/ 372698 h 816032"/>
                <a:gd name="connsiteX3682" fmla="*/ 360204 w 866764"/>
                <a:gd name="connsiteY3682" fmla="*/ 370762 h 816032"/>
                <a:gd name="connsiteX3683" fmla="*/ 358389 w 866764"/>
                <a:gd name="connsiteY3683" fmla="*/ 370368 h 816032"/>
                <a:gd name="connsiteX3684" fmla="*/ 356513 w 866764"/>
                <a:gd name="connsiteY3684" fmla="*/ 371155 h 816032"/>
                <a:gd name="connsiteX3685" fmla="*/ 357390 w 866764"/>
                <a:gd name="connsiteY3685" fmla="*/ 371488 h 816032"/>
                <a:gd name="connsiteX3686" fmla="*/ 359327 w 866764"/>
                <a:gd name="connsiteY3686" fmla="*/ 372698 h 816032"/>
                <a:gd name="connsiteX3687" fmla="*/ 357935 w 866764"/>
                <a:gd name="connsiteY3687" fmla="*/ 374180 h 816032"/>
                <a:gd name="connsiteX3688" fmla="*/ 356574 w 866764"/>
                <a:gd name="connsiteY3688" fmla="*/ 374362 h 816032"/>
                <a:gd name="connsiteX3689" fmla="*/ 355303 w 866764"/>
                <a:gd name="connsiteY3689" fmla="*/ 374210 h 816032"/>
                <a:gd name="connsiteX3690" fmla="*/ 354153 w 866764"/>
                <a:gd name="connsiteY3690" fmla="*/ 374755 h 816032"/>
                <a:gd name="connsiteX3691" fmla="*/ 352974 w 866764"/>
                <a:gd name="connsiteY3691" fmla="*/ 375844 h 816032"/>
                <a:gd name="connsiteX3692" fmla="*/ 351975 w 866764"/>
                <a:gd name="connsiteY3692" fmla="*/ 376177 h 816032"/>
                <a:gd name="connsiteX3693" fmla="*/ 350070 w 866764"/>
                <a:gd name="connsiteY3693" fmla="*/ 375995 h 816032"/>
                <a:gd name="connsiteX3694" fmla="*/ 348648 w 866764"/>
                <a:gd name="connsiteY3694" fmla="*/ 374755 h 816032"/>
                <a:gd name="connsiteX3695" fmla="*/ 345502 w 866764"/>
                <a:gd name="connsiteY3695" fmla="*/ 365468 h 816032"/>
                <a:gd name="connsiteX3696" fmla="*/ 343747 w 866764"/>
                <a:gd name="connsiteY3696" fmla="*/ 363229 h 816032"/>
                <a:gd name="connsiteX3697" fmla="*/ 341145 w 866764"/>
                <a:gd name="connsiteY3697" fmla="*/ 362321 h 816032"/>
                <a:gd name="connsiteX3698" fmla="*/ 335488 w 866764"/>
                <a:gd name="connsiteY3698" fmla="*/ 362231 h 816032"/>
                <a:gd name="connsiteX3699" fmla="*/ 334006 w 866764"/>
                <a:gd name="connsiteY3699" fmla="*/ 361868 h 816032"/>
                <a:gd name="connsiteX3700" fmla="*/ 332009 w 866764"/>
                <a:gd name="connsiteY3700" fmla="*/ 360264 h 816032"/>
                <a:gd name="connsiteX3701" fmla="*/ 330920 w 866764"/>
                <a:gd name="connsiteY3701" fmla="*/ 359811 h 816032"/>
                <a:gd name="connsiteX3702" fmla="*/ 329226 w 866764"/>
                <a:gd name="connsiteY3702" fmla="*/ 359811 h 816032"/>
                <a:gd name="connsiteX3703" fmla="*/ 328167 w 866764"/>
                <a:gd name="connsiteY3703" fmla="*/ 360325 h 816032"/>
                <a:gd name="connsiteX3704" fmla="*/ 326111 w 866764"/>
                <a:gd name="connsiteY3704" fmla="*/ 362231 h 816032"/>
                <a:gd name="connsiteX3705" fmla="*/ 325385 w 866764"/>
                <a:gd name="connsiteY3705" fmla="*/ 360809 h 816032"/>
                <a:gd name="connsiteX3706" fmla="*/ 323962 w 866764"/>
                <a:gd name="connsiteY3706" fmla="*/ 359508 h 816032"/>
                <a:gd name="connsiteX3707" fmla="*/ 322329 w 866764"/>
                <a:gd name="connsiteY3707" fmla="*/ 358540 h 816032"/>
                <a:gd name="connsiteX3708" fmla="*/ 320968 w 866764"/>
                <a:gd name="connsiteY3708" fmla="*/ 358177 h 816032"/>
                <a:gd name="connsiteX3709" fmla="*/ 319969 w 866764"/>
                <a:gd name="connsiteY3709" fmla="*/ 358328 h 816032"/>
                <a:gd name="connsiteX3710" fmla="*/ 318003 w 866764"/>
                <a:gd name="connsiteY3710" fmla="*/ 358994 h 816032"/>
                <a:gd name="connsiteX3711" fmla="*/ 317186 w 866764"/>
                <a:gd name="connsiteY3711" fmla="*/ 359084 h 816032"/>
                <a:gd name="connsiteX3712" fmla="*/ 316309 w 866764"/>
                <a:gd name="connsiteY3712" fmla="*/ 358721 h 816032"/>
                <a:gd name="connsiteX3713" fmla="*/ 315250 w 866764"/>
                <a:gd name="connsiteY3713" fmla="*/ 357632 h 816032"/>
                <a:gd name="connsiteX3714" fmla="*/ 314161 w 866764"/>
                <a:gd name="connsiteY3714" fmla="*/ 357027 h 816032"/>
                <a:gd name="connsiteX3715" fmla="*/ 312013 w 866764"/>
                <a:gd name="connsiteY3715" fmla="*/ 354607 h 816032"/>
                <a:gd name="connsiteX3716" fmla="*/ 309593 w 866764"/>
                <a:gd name="connsiteY3716" fmla="*/ 350917 h 816032"/>
                <a:gd name="connsiteX3717" fmla="*/ 308353 w 866764"/>
                <a:gd name="connsiteY3717" fmla="*/ 351007 h 816032"/>
                <a:gd name="connsiteX3718" fmla="*/ 303422 w 866764"/>
                <a:gd name="connsiteY3718" fmla="*/ 353367 h 816032"/>
                <a:gd name="connsiteX3719" fmla="*/ 302575 w 866764"/>
                <a:gd name="connsiteY3719" fmla="*/ 352762 h 816032"/>
                <a:gd name="connsiteX3720" fmla="*/ 301456 w 866764"/>
                <a:gd name="connsiteY3720" fmla="*/ 352913 h 816032"/>
                <a:gd name="connsiteX3721" fmla="*/ 300124 w 866764"/>
                <a:gd name="connsiteY3721" fmla="*/ 353276 h 816032"/>
                <a:gd name="connsiteX3722" fmla="*/ 298642 w 866764"/>
                <a:gd name="connsiteY3722" fmla="*/ 353337 h 816032"/>
                <a:gd name="connsiteX3723" fmla="*/ 299308 w 866764"/>
                <a:gd name="connsiteY3723" fmla="*/ 351643 h 816032"/>
                <a:gd name="connsiteX3724" fmla="*/ 298642 w 866764"/>
                <a:gd name="connsiteY3724" fmla="*/ 351643 h 816032"/>
                <a:gd name="connsiteX3725" fmla="*/ 297553 w 866764"/>
                <a:gd name="connsiteY3725" fmla="*/ 353125 h 816032"/>
                <a:gd name="connsiteX3726" fmla="*/ 295587 w 866764"/>
                <a:gd name="connsiteY3726" fmla="*/ 352611 h 816032"/>
                <a:gd name="connsiteX3727" fmla="*/ 294649 w 866764"/>
                <a:gd name="connsiteY3727" fmla="*/ 351219 h 816032"/>
                <a:gd name="connsiteX3728" fmla="*/ 296555 w 866764"/>
                <a:gd name="connsiteY3728" fmla="*/ 350009 h 816032"/>
                <a:gd name="connsiteX3729" fmla="*/ 296555 w 866764"/>
                <a:gd name="connsiteY3729" fmla="*/ 349283 h 816032"/>
                <a:gd name="connsiteX3730" fmla="*/ 291745 w 866764"/>
                <a:gd name="connsiteY3730" fmla="*/ 350009 h 816032"/>
                <a:gd name="connsiteX3731" fmla="*/ 291745 w 866764"/>
                <a:gd name="connsiteY3731" fmla="*/ 346772 h 816032"/>
                <a:gd name="connsiteX3732" fmla="*/ 292713 w 866764"/>
                <a:gd name="connsiteY3732" fmla="*/ 347347 h 816032"/>
                <a:gd name="connsiteX3733" fmla="*/ 293106 w 866764"/>
                <a:gd name="connsiteY3733" fmla="*/ 347650 h 816032"/>
                <a:gd name="connsiteX3734" fmla="*/ 293741 w 866764"/>
                <a:gd name="connsiteY3734" fmla="*/ 346802 h 816032"/>
                <a:gd name="connsiteX3735" fmla="*/ 294437 w 866764"/>
                <a:gd name="connsiteY3735" fmla="*/ 346288 h 816032"/>
                <a:gd name="connsiteX3736" fmla="*/ 295224 w 866764"/>
                <a:gd name="connsiteY3736" fmla="*/ 346076 h 816032"/>
                <a:gd name="connsiteX3737" fmla="*/ 296222 w 866764"/>
                <a:gd name="connsiteY3737" fmla="*/ 346016 h 816032"/>
                <a:gd name="connsiteX3738" fmla="*/ 297311 w 866764"/>
                <a:gd name="connsiteY3738" fmla="*/ 345774 h 816032"/>
                <a:gd name="connsiteX3739" fmla="*/ 298128 w 866764"/>
                <a:gd name="connsiteY3739" fmla="*/ 345260 h 816032"/>
                <a:gd name="connsiteX3740" fmla="*/ 298763 w 866764"/>
                <a:gd name="connsiteY3740" fmla="*/ 344715 h 816032"/>
                <a:gd name="connsiteX3741" fmla="*/ 300608 w 866764"/>
                <a:gd name="connsiteY3741" fmla="*/ 343505 h 816032"/>
                <a:gd name="connsiteX3742" fmla="*/ 301425 w 866764"/>
                <a:gd name="connsiteY3742" fmla="*/ 343354 h 816032"/>
                <a:gd name="connsiteX3743" fmla="*/ 304935 w 866764"/>
                <a:gd name="connsiteY3743" fmla="*/ 345744 h 816032"/>
                <a:gd name="connsiteX3744" fmla="*/ 305116 w 866764"/>
                <a:gd name="connsiteY3744" fmla="*/ 346076 h 816032"/>
                <a:gd name="connsiteX3745" fmla="*/ 305630 w 866764"/>
                <a:gd name="connsiteY3745" fmla="*/ 346318 h 816032"/>
                <a:gd name="connsiteX3746" fmla="*/ 307324 w 866764"/>
                <a:gd name="connsiteY3746" fmla="*/ 347377 h 816032"/>
                <a:gd name="connsiteX3747" fmla="*/ 308202 w 866764"/>
                <a:gd name="connsiteY3747" fmla="*/ 347680 h 816032"/>
                <a:gd name="connsiteX3748" fmla="*/ 310077 w 866764"/>
                <a:gd name="connsiteY3748" fmla="*/ 346561 h 816032"/>
                <a:gd name="connsiteX3749" fmla="*/ 311136 w 866764"/>
                <a:gd name="connsiteY3749" fmla="*/ 346258 h 816032"/>
                <a:gd name="connsiteX3750" fmla="*/ 311620 w 866764"/>
                <a:gd name="connsiteY3750" fmla="*/ 347226 h 816032"/>
                <a:gd name="connsiteX3751" fmla="*/ 312588 w 866764"/>
                <a:gd name="connsiteY3751" fmla="*/ 348345 h 816032"/>
                <a:gd name="connsiteX3752" fmla="*/ 314797 w 866764"/>
                <a:gd name="connsiteY3752" fmla="*/ 348164 h 816032"/>
                <a:gd name="connsiteX3753" fmla="*/ 317126 w 866764"/>
                <a:gd name="connsiteY3753" fmla="*/ 347619 h 816032"/>
                <a:gd name="connsiteX3754" fmla="*/ 318578 w 866764"/>
                <a:gd name="connsiteY3754" fmla="*/ 347680 h 816032"/>
                <a:gd name="connsiteX3755" fmla="*/ 319032 w 866764"/>
                <a:gd name="connsiteY3755" fmla="*/ 346591 h 816032"/>
                <a:gd name="connsiteX3756" fmla="*/ 319848 w 866764"/>
                <a:gd name="connsiteY3756" fmla="*/ 346137 h 816032"/>
                <a:gd name="connsiteX3757" fmla="*/ 322329 w 866764"/>
                <a:gd name="connsiteY3757" fmla="*/ 346046 h 816032"/>
                <a:gd name="connsiteX3758" fmla="*/ 323055 w 866764"/>
                <a:gd name="connsiteY3758" fmla="*/ 345471 h 816032"/>
                <a:gd name="connsiteX3759" fmla="*/ 323569 w 866764"/>
                <a:gd name="connsiteY3759" fmla="*/ 342779 h 816032"/>
                <a:gd name="connsiteX3760" fmla="*/ 324053 w 866764"/>
                <a:gd name="connsiteY3760" fmla="*/ 341932 h 816032"/>
                <a:gd name="connsiteX3761" fmla="*/ 325385 w 866764"/>
                <a:gd name="connsiteY3761" fmla="*/ 341690 h 816032"/>
                <a:gd name="connsiteX3762" fmla="*/ 326746 w 866764"/>
                <a:gd name="connsiteY3762" fmla="*/ 341993 h 816032"/>
                <a:gd name="connsiteX3763" fmla="*/ 328077 w 866764"/>
                <a:gd name="connsiteY3763" fmla="*/ 342507 h 816032"/>
                <a:gd name="connsiteX3764" fmla="*/ 329287 w 866764"/>
                <a:gd name="connsiteY3764" fmla="*/ 342749 h 816032"/>
                <a:gd name="connsiteX3765" fmla="*/ 330285 w 866764"/>
                <a:gd name="connsiteY3765" fmla="*/ 342476 h 816032"/>
                <a:gd name="connsiteX3766" fmla="*/ 332312 w 866764"/>
                <a:gd name="connsiteY3766" fmla="*/ 341327 h 816032"/>
                <a:gd name="connsiteX3767" fmla="*/ 333734 w 866764"/>
                <a:gd name="connsiteY3767" fmla="*/ 341206 h 816032"/>
                <a:gd name="connsiteX3768" fmla="*/ 333492 w 866764"/>
                <a:gd name="connsiteY3768" fmla="*/ 340752 h 816032"/>
                <a:gd name="connsiteX3769" fmla="*/ 333038 w 866764"/>
                <a:gd name="connsiteY3769" fmla="*/ 339542 h 816032"/>
                <a:gd name="connsiteX3770" fmla="*/ 333885 w 866764"/>
                <a:gd name="connsiteY3770" fmla="*/ 339482 h 816032"/>
                <a:gd name="connsiteX3771" fmla="*/ 334430 w 866764"/>
                <a:gd name="connsiteY3771" fmla="*/ 339209 h 816032"/>
                <a:gd name="connsiteX3772" fmla="*/ 335095 w 866764"/>
                <a:gd name="connsiteY3772" fmla="*/ 338635 h 816032"/>
                <a:gd name="connsiteX3773" fmla="*/ 335882 w 866764"/>
                <a:gd name="connsiteY3773" fmla="*/ 338514 h 816032"/>
                <a:gd name="connsiteX3774" fmla="*/ 337364 w 866764"/>
                <a:gd name="connsiteY3774" fmla="*/ 338756 h 816032"/>
                <a:gd name="connsiteX3775" fmla="*/ 337969 w 866764"/>
                <a:gd name="connsiteY3775" fmla="*/ 338635 h 816032"/>
                <a:gd name="connsiteX3776" fmla="*/ 338725 w 866764"/>
                <a:gd name="connsiteY3776" fmla="*/ 337999 h 816032"/>
                <a:gd name="connsiteX3777" fmla="*/ 339179 w 866764"/>
                <a:gd name="connsiteY3777" fmla="*/ 337545 h 816032"/>
                <a:gd name="connsiteX3778" fmla="*/ 339542 w 866764"/>
                <a:gd name="connsiteY3778" fmla="*/ 337182 h 816032"/>
                <a:gd name="connsiteX3779" fmla="*/ 340238 w 866764"/>
                <a:gd name="connsiteY3779" fmla="*/ 336275 h 816032"/>
                <a:gd name="connsiteX3780" fmla="*/ 340692 w 866764"/>
                <a:gd name="connsiteY3780" fmla="*/ 335458 h 816032"/>
                <a:gd name="connsiteX3781" fmla="*/ 341418 w 866764"/>
                <a:gd name="connsiteY3781" fmla="*/ 333068 h 816032"/>
                <a:gd name="connsiteX3782" fmla="*/ 341841 w 866764"/>
                <a:gd name="connsiteY3782" fmla="*/ 332221 h 816032"/>
                <a:gd name="connsiteX3783" fmla="*/ 342719 w 866764"/>
                <a:gd name="connsiteY3783" fmla="*/ 331435 h 816032"/>
                <a:gd name="connsiteX3784" fmla="*/ 345986 w 866764"/>
                <a:gd name="connsiteY3784" fmla="*/ 329801 h 816032"/>
                <a:gd name="connsiteX3785" fmla="*/ 346833 w 866764"/>
                <a:gd name="connsiteY3785" fmla="*/ 328924 h 816032"/>
                <a:gd name="connsiteX3786" fmla="*/ 346833 w 866764"/>
                <a:gd name="connsiteY3786" fmla="*/ 328168 h 816032"/>
                <a:gd name="connsiteX3787" fmla="*/ 343747 w 866764"/>
                <a:gd name="connsiteY3787" fmla="*/ 328440 h 816032"/>
                <a:gd name="connsiteX3788" fmla="*/ 341024 w 866764"/>
                <a:gd name="connsiteY3788" fmla="*/ 329257 h 816032"/>
                <a:gd name="connsiteX3789" fmla="*/ 335851 w 866764"/>
                <a:gd name="connsiteY3789" fmla="*/ 332131 h 816032"/>
                <a:gd name="connsiteX3790" fmla="*/ 335367 w 866764"/>
                <a:gd name="connsiteY3790" fmla="*/ 330194 h 816032"/>
                <a:gd name="connsiteX3791" fmla="*/ 336124 w 866764"/>
                <a:gd name="connsiteY3791" fmla="*/ 329075 h 816032"/>
                <a:gd name="connsiteX3792" fmla="*/ 339300 w 866764"/>
                <a:gd name="connsiteY3792" fmla="*/ 327320 h 816032"/>
                <a:gd name="connsiteX3793" fmla="*/ 338816 w 866764"/>
                <a:gd name="connsiteY3793" fmla="*/ 326685 h 816032"/>
                <a:gd name="connsiteX3794" fmla="*/ 338695 w 866764"/>
                <a:gd name="connsiteY3794" fmla="*/ 326352 h 816032"/>
                <a:gd name="connsiteX3795" fmla="*/ 339300 w 866764"/>
                <a:gd name="connsiteY3795" fmla="*/ 324870 h 816032"/>
                <a:gd name="connsiteX3796" fmla="*/ 337727 w 866764"/>
                <a:gd name="connsiteY3796" fmla="*/ 323116 h 816032"/>
                <a:gd name="connsiteX3797" fmla="*/ 336819 w 866764"/>
                <a:gd name="connsiteY3797" fmla="*/ 321028 h 816032"/>
                <a:gd name="connsiteX3798" fmla="*/ 335579 w 866764"/>
                <a:gd name="connsiteY3798" fmla="*/ 319001 h 816032"/>
                <a:gd name="connsiteX3799" fmla="*/ 333068 w 866764"/>
                <a:gd name="connsiteY3799" fmla="*/ 317489 h 816032"/>
                <a:gd name="connsiteX3800" fmla="*/ 333341 w 866764"/>
                <a:gd name="connsiteY3800" fmla="*/ 318306 h 816032"/>
                <a:gd name="connsiteX3801" fmla="*/ 333764 w 866764"/>
                <a:gd name="connsiteY3801" fmla="*/ 319122 h 816032"/>
                <a:gd name="connsiteX3802" fmla="*/ 333431 w 866764"/>
                <a:gd name="connsiteY3802" fmla="*/ 319243 h 816032"/>
                <a:gd name="connsiteX3803" fmla="*/ 333189 w 866764"/>
                <a:gd name="connsiteY3803" fmla="*/ 319243 h 816032"/>
                <a:gd name="connsiteX3804" fmla="*/ 333068 w 866764"/>
                <a:gd name="connsiteY3804" fmla="*/ 319365 h 816032"/>
                <a:gd name="connsiteX3805" fmla="*/ 333068 w 866764"/>
                <a:gd name="connsiteY3805" fmla="*/ 319939 h 816032"/>
                <a:gd name="connsiteX3806" fmla="*/ 331525 w 866764"/>
                <a:gd name="connsiteY3806" fmla="*/ 318306 h 816032"/>
                <a:gd name="connsiteX3807" fmla="*/ 330920 w 866764"/>
                <a:gd name="connsiteY3807" fmla="*/ 316097 h 816032"/>
                <a:gd name="connsiteX3808" fmla="*/ 330557 w 866764"/>
                <a:gd name="connsiteY3808" fmla="*/ 313768 h 816032"/>
                <a:gd name="connsiteX3809" fmla="*/ 329650 w 866764"/>
                <a:gd name="connsiteY3809" fmla="*/ 311832 h 816032"/>
                <a:gd name="connsiteX3810" fmla="*/ 328954 w 866764"/>
                <a:gd name="connsiteY3810" fmla="*/ 312649 h 816032"/>
                <a:gd name="connsiteX3811" fmla="*/ 328470 w 866764"/>
                <a:gd name="connsiteY3811" fmla="*/ 311287 h 816032"/>
                <a:gd name="connsiteX3812" fmla="*/ 327653 w 866764"/>
                <a:gd name="connsiteY3812" fmla="*/ 310470 h 816032"/>
                <a:gd name="connsiteX3813" fmla="*/ 327139 w 866764"/>
                <a:gd name="connsiteY3813" fmla="*/ 310531 h 816032"/>
                <a:gd name="connsiteX3814" fmla="*/ 327532 w 866764"/>
                <a:gd name="connsiteY3814" fmla="*/ 311802 h 816032"/>
                <a:gd name="connsiteX3815" fmla="*/ 326231 w 866764"/>
                <a:gd name="connsiteY3815" fmla="*/ 312981 h 816032"/>
                <a:gd name="connsiteX3816" fmla="*/ 325445 w 866764"/>
                <a:gd name="connsiteY3816" fmla="*/ 314252 h 816032"/>
                <a:gd name="connsiteX3817" fmla="*/ 324810 w 866764"/>
                <a:gd name="connsiteY3817" fmla="*/ 314252 h 816032"/>
                <a:gd name="connsiteX3818" fmla="*/ 321996 w 866764"/>
                <a:gd name="connsiteY3818" fmla="*/ 306840 h 816032"/>
                <a:gd name="connsiteX3819" fmla="*/ 321815 w 866764"/>
                <a:gd name="connsiteY3819" fmla="*/ 305388 h 816032"/>
                <a:gd name="connsiteX3820" fmla="*/ 321996 w 866764"/>
                <a:gd name="connsiteY3820" fmla="*/ 300790 h 816032"/>
                <a:gd name="connsiteX3821" fmla="*/ 323660 w 866764"/>
                <a:gd name="connsiteY3821" fmla="*/ 298854 h 816032"/>
                <a:gd name="connsiteX3822" fmla="*/ 327411 w 866764"/>
                <a:gd name="connsiteY3822" fmla="*/ 298007 h 816032"/>
                <a:gd name="connsiteX3823" fmla="*/ 331374 w 866764"/>
                <a:gd name="connsiteY3823" fmla="*/ 297644 h 816032"/>
                <a:gd name="connsiteX3824" fmla="*/ 333734 w 866764"/>
                <a:gd name="connsiteY3824" fmla="*/ 297099 h 816032"/>
                <a:gd name="connsiteX3825" fmla="*/ 332645 w 866764"/>
                <a:gd name="connsiteY3825" fmla="*/ 296010 h 816032"/>
                <a:gd name="connsiteX3826" fmla="*/ 332342 w 866764"/>
                <a:gd name="connsiteY3826" fmla="*/ 294588 h 816032"/>
                <a:gd name="connsiteX3827" fmla="*/ 332735 w 866764"/>
                <a:gd name="connsiteY3827" fmla="*/ 293167 h 816032"/>
                <a:gd name="connsiteX3828" fmla="*/ 333734 w 866764"/>
                <a:gd name="connsiteY3828" fmla="*/ 292199 h 816032"/>
                <a:gd name="connsiteX3829" fmla="*/ 333734 w 866764"/>
                <a:gd name="connsiteY3829" fmla="*/ 291382 h 816032"/>
                <a:gd name="connsiteX3830" fmla="*/ 333038 w 866764"/>
                <a:gd name="connsiteY3830" fmla="*/ 290232 h 816032"/>
                <a:gd name="connsiteX3831" fmla="*/ 333552 w 866764"/>
                <a:gd name="connsiteY3831" fmla="*/ 290081 h 816032"/>
                <a:gd name="connsiteX3832" fmla="*/ 335821 w 866764"/>
                <a:gd name="connsiteY3832" fmla="*/ 290626 h 816032"/>
                <a:gd name="connsiteX3833" fmla="*/ 338544 w 866764"/>
                <a:gd name="connsiteY3833" fmla="*/ 290505 h 816032"/>
                <a:gd name="connsiteX3834" fmla="*/ 339270 w 866764"/>
                <a:gd name="connsiteY3834" fmla="*/ 290626 h 816032"/>
                <a:gd name="connsiteX3835" fmla="*/ 339814 w 866764"/>
                <a:gd name="connsiteY3835" fmla="*/ 291170 h 816032"/>
                <a:gd name="connsiteX3836" fmla="*/ 340843 w 866764"/>
                <a:gd name="connsiteY3836" fmla="*/ 293076 h 816032"/>
                <a:gd name="connsiteX3837" fmla="*/ 341327 w 866764"/>
                <a:gd name="connsiteY3837" fmla="*/ 293802 h 816032"/>
                <a:gd name="connsiteX3838" fmla="*/ 341599 w 866764"/>
                <a:gd name="connsiteY3838" fmla="*/ 294377 h 816032"/>
                <a:gd name="connsiteX3839" fmla="*/ 341478 w 866764"/>
                <a:gd name="connsiteY3839" fmla="*/ 294921 h 816032"/>
                <a:gd name="connsiteX3840" fmla="*/ 341539 w 866764"/>
                <a:gd name="connsiteY3840" fmla="*/ 295314 h 816032"/>
                <a:gd name="connsiteX3841" fmla="*/ 349343 w 866764"/>
                <a:gd name="connsiteY3841" fmla="*/ 295950 h 816032"/>
                <a:gd name="connsiteX3842" fmla="*/ 351098 w 866764"/>
                <a:gd name="connsiteY3842" fmla="*/ 296525 h 816032"/>
                <a:gd name="connsiteX3843" fmla="*/ 353034 w 866764"/>
                <a:gd name="connsiteY3843" fmla="*/ 297765 h 816032"/>
                <a:gd name="connsiteX3844" fmla="*/ 354728 w 866764"/>
                <a:gd name="connsiteY3844" fmla="*/ 299187 h 816032"/>
                <a:gd name="connsiteX3845" fmla="*/ 356513 w 866764"/>
                <a:gd name="connsiteY3845" fmla="*/ 301123 h 816032"/>
                <a:gd name="connsiteX3846" fmla="*/ 357602 w 866764"/>
                <a:gd name="connsiteY3846" fmla="*/ 303240 h 816032"/>
                <a:gd name="connsiteX3847" fmla="*/ 357149 w 866764"/>
                <a:gd name="connsiteY3847" fmla="*/ 305207 h 816032"/>
                <a:gd name="connsiteX3848" fmla="*/ 358238 w 866764"/>
                <a:gd name="connsiteY3848" fmla="*/ 306356 h 816032"/>
                <a:gd name="connsiteX3849" fmla="*/ 360839 w 866764"/>
                <a:gd name="connsiteY3849" fmla="*/ 310410 h 816032"/>
                <a:gd name="connsiteX3850" fmla="*/ 361323 w 866764"/>
                <a:gd name="connsiteY3850" fmla="*/ 311711 h 816032"/>
                <a:gd name="connsiteX3851" fmla="*/ 360960 w 866764"/>
                <a:gd name="connsiteY3851" fmla="*/ 313072 h 816032"/>
                <a:gd name="connsiteX3852" fmla="*/ 360234 w 866764"/>
                <a:gd name="connsiteY3852" fmla="*/ 314403 h 816032"/>
                <a:gd name="connsiteX3853" fmla="*/ 359508 w 866764"/>
                <a:gd name="connsiteY3853" fmla="*/ 315069 h 816032"/>
                <a:gd name="connsiteX3854" fmla="*/ 359205 w 866764"/>
                <a:gd name="connsiteY3854" fmla="*/ 314554 h 816032"/>
                <a:gd name="connsiteX3855" fmla="*/ 358691 w 866764"/>
                <a:gd name="connsiteY3855" fmla="*/ 314252 h 816032"/>
                <a:gd name="connsiteX3856" fmla="*/ 357723 w 866764"/>
                <a:gd name="connsiteY3856" fmla="*/ 314191 h 816032"/>
                <a:gd name="connsiteX3857" fmla="*/ 357149 w 866764"/>
                <a:gd name="connsiteY3857" fmla="*/ 314554 h 816032"/>
                <a:gd name="connsiteX3858" fmla="*/ 357844 w 866764"/>
                <a:gd name="connsiteY3858" fmla="*/ 315674 h 816032"/>
                <a:gd name="connsiteX3859" fmla="*/ 356755 w 866764"/>
                <a:gd name="connsiteY3859" fmla="*/ 317005 h 816032"/>
                <a:gd name="connsiteX3860" fmla="*/ 349586 w 866764"/>
                <a:gd name="connsiteY3860" fmla="*/ 320635 h 816032"/>
                <a:gd name="connsiteX3861" fmla="*/ 350947 w 866764"/>
                <a:gd name="connsiteY3861" fmla="*/ 315674 h 816032"/>
                <a:gd name="connsiteX3862" fmla="*/ 350947 w 866764"/>
                <a:gd name="connsiteY3862" fmla="*/ 314161 h 816032"/>
                <a:gd name="connsiteX3863" fmla="*/ 347650 w 866764"/>
                <a:gd name="connsiteY3863" fmla="*/ 315583 h 816032"/>
                <a:gd name="connsiteX3864" fmla="*/ 346318 w 866764"/>
                <a:gd name="connsiteY3864" fmla="*/ 316672 h 816032"/>
                <a:gd name="connsiteX3865" fmla="*/ 346863 w 866764"/>
                <a:gd name="connsiteY3865" fmla="*/ 318306 h 816032"/>
                <a:gd name="connsiteX3866" fmla="*/ 345683 w 866764"/>
                <a:gd name="connsiteY3866" fmla="*/ 319818 h 816032"/>
                <a:gd name="connsiteX3867" fmla="*/ 344745 w 866764"/>
                <a:gd name="connsiteY3867" fmla="*/ 321482 h 816032"/>
                <a:gd name="connsiteX3868" fmla="*/ 348769 w 866764"/>
                <a:gd name="connsiteY3868" fmla="*/ 322480 h 816032"/>
                <a:gd name="connsiteX3869" fmla="*/ 351128 w 866764"/>
                <a:gd name="connsiteY3869" fmla="*/ 322601 h 816032"/>
                <a:gd name="connsiteX3870" fmla="*/ 352732 w 866764"/>
                <a:gd name="connsiteY3870" fmla="*/ 321875 h 816032"/>
                <a:gd name="connsiteX3871" fmla="*/ 354214 w 866764"/>
                <a:gd name="connsiteY3871" fmla="*/ 320998 h 816032"/>
                <a:gd name="connsiteX3872" fmla="*/ 356513 w 866764"/>
                <a:gd name="connsiteY3872" fmla="*/ 320423 h 816032"/>
                <a:gd name="connsiteX3873" fmla="*/ 358752 w 866764"/>
                <a:gd name="connsiteY3873" fmla="*/ 320272 h 816032"/>
                <a:gd name="connsiteX3874" fmla="*/ 359992 w 866764"/>
                <a:gd name="connsiteY3874" fmla="*/ 320665 h 816032"/>
                <a:gd name="connsiteX3875" fmla="*/ 360446 w 866764"/>
                <a:gd name="connsiteY3875" fmla="*/ 320181 h 816032"/>
                <a:gd name="connsiteX3876" fmla="*/ 361051 w 866764"/>
                <a:gd name="connsiteY3876" fmla="*/ 319728 h 816032"/>
                <a:gd name="connsiteX3877" fmla="*/ 361777 w 866764"/>
                <a:gd name="connsiteY3877" fmla="*/ 319334 h 816032"/>
                <a:gd name="connsiteX3878" fmla="*/ 362654 w 866764"/>
                <a:gd name="connsiteY3878" fmla="*/ 319062 h 816032"/>
                <a:gd name="connsiteX3879" fmla="*/ 362654 w 866764"/>
                <a:gd name="connsiteY3879" fmla="*/ 318306 h 816032"/>
                <a:gd name="connsiteX3880" fmla="*/ 361989 w 866764"/>
                <a:gd name="connsiteY3880" fmla="*/ 318215 h 816032"/>
                <a:gd name="connsiteX3881" fmla="*/ 361565 w 866764"/>
                <a:gd name="connsiteY3881" fmla="*/ 318003 h 816032"/>
                <a:gd name="connsiteX3882" fmla="*/ 361142 w 866764"/>
                <a:gd name="connsiteY3882" fmla="*/ 317701 h 816032"/>
                <a:gd name="connsiteX3883" fmla="*/ 360597 w 866764"/>
                <a:gd name="connsiteY3883" fmla="*/ 317428 h 816032"/>
                <a:gd name="connsiteX3884" fmla="*/ 362110 w 866764"/>
                <a:gd name="connsiteY3884" fmla="*/ 316793 h 816032"/>
                <a:gd name="connsiteX3885" fmla="*/ 364015 w 866764"/>
                <a:gd name="connsiteY3885" fmla="*/ 316249 h 816032"/>
                <a:gd name="connsiteX3886" fmla="*/ 367827 w 866764"/>
                <a:gd name="connsiteY3886" fmla="*/ 315704 h 816032"/>
                <a:gd name="connsiteX3887" fmla="*/ 369793 w 866764"/>
                <a:gd name="connsiteY3887" fmla="*/ 315099 h 816032"/>
                <a:gd name="connsiteX3888" fmla="*/ 373000 w 866764"/>
                <a:gd name="connsiteY3888" fmla="*/ 312346 h 816032"/>
                <a:gd name="connsiteX3889" fmla="*/ 374059 w 866764"/>
                <a:gd name="connsiteY3889" fmla="*/ 311711 h 816032"/>
                <a:gd name="connsiteX3890" fmla="*/ 373908 w 866764"/>
                <a:gd name="connsiteY3890" fmla="*/ 310168 h 816032"/>
                <a:gd name="connsiteX3891" fmla="*/ 368856 w 866764"/>
                <a:gd name="connsiteY3891" fmla="*/ 301062 h 816032"/>
                <a:gd name="connsiteX3892" fmla="*/ 366768 w 866764"/>
                <a:gd name="connsiteY3892" fmla="*/ 294619 h 816032"/>
                <a:gd name="connsiteX3893" fmla="*/ 361989 w 866764"/>
                <a:gd name="connsiteY3893" fmla="*/ 290353 h 816032"/>
                <a:gd name="connsiteX3894" fmla="*/ 360688 w 866764"/>
                <a:gd name="connsiteY3894" fmla="*/ 287873 h 816032"/>
                <a:gd name="connsiteX3895" fmla="*/ 352096 w 866764"/>
                <a:gd name="connsiteY3895" fmla="*/ 278918 h 816032"/>
                <a:gd name="connsiteX3896" fmla="*/ 350947 w 866764"/>
                <a:gd name="connsiteY3896" fmla="*/ 277406 h 816032"/>
                <a:gd name="connsiteX3897" fmla="*/ 349706 w 866764"/>
                <a:gd name="connsiteY3897" fmla="*/ 273775 h 816032"/>
                <a:gd name="connsiteX3898" fmla="*/ 349253 w 866764"/>
                <a:gd name="connsiteY3898" fmla="*/ 273261 h 816032"/>
                <a:gd name="connsiteX3899" fmla="*/ 348950 w 866764"/>
                <a:gd name="connsiteY3899" fmla="*/ 272989 h 816032"/>
                <a:gd name="connsiteX3900" fmla="*/ 345048 w 866764"/>
                <a:gd name="connsiteY3900" fmla="*/ 270206 h 816032"/>
                <a:gd name="connsiteX3901" fmla="*/ 339935 w 866764"/>
                <a:gd name="connsiteY3901" fmla="*/ 268270 h 816032"/>
                <a:gd name="connsiteX3902" fmla="*/ 334702 w 866764"/>
                <a:gd name="connsiteY3902" fmla="*/ 265093 h 816032"/>
                <a:gd name="connsiteX3903" fmla="*/ 333371 w 866764"/>
                <a:gd name="connsiteY3903" fmla="*/ 263823 h 816032"/>
                <a:gd name="connsiteX3904" fmla="*/ 331919 w 866764"/>
                <a:gd name="connsiteY3904" fmla="*/ 261554 h 816032"/>
                <a:gd name="connsiteX3905" fmla="*/ 329589 w 866764"/>
                <a:gd name="connsiteY3905" fmla="*/ 254445 h 816032"/>
                <a:gd name="connsiteX3906" fmla="*/ 326564 w 866764"/>
                <a:gd name="connsiteY3906" fmla="*/ 247638 h 816032"/>
                <a:gd name="connsiteX3907" fmla="*/ 326080 w 866764"/>
                <a:gd name="connsiteY3907" fmla="*/ 245732 h 816032"/>
                <a:gd name="connsiteX3908" fmla="*/ 325838 w 866764"/>
                <a:gd name="connsiteY3908" fmla="*/ 243161 h 816032"/>
                <a:gd name="connsiteX3909" fmla="*/ 325233 w 866764"/>
                <a:gd name="connsiteY3909" fmla="*/ 240741 h 816032"/>
                <a:gd name="connsiteX3910" fmla="*/ 324386 w 866764"/>
                <a:gd name="connsiteY3910" fmla="*/ 238684 h 816032"/>
                <a:gd name="connsiteX3911" fmla="*/ 323388 w 866764"/>
                <a:gd name="connsiteY3911" fmla="*/ 237111 h 816032"/>
                <a:gd name="connsiteX3912" fmla="*/ 320877 w 866764"/>
                <a:gd name="connsiteY3912" fmla="*/ 234025 h 816032"/>
                <a:gd name="connsiteX3913" fmla="*/ 319455 w 866764"/>
                <a:gd name="connsiteY3913" fmla="*/ 232694 h 816032"/>
                <a:gd name="connsiteX3914" fmla="*/ 317186 w 866764"/>
                <a:gd name="connsiteY3914" fmla="*/ 231545 h 816032"/>
                <a:gd name="connsiteX3915" fmla="*/ 313374 w 866764"/>
                <a:gd name="connsiteY3915" fmla="*/ 228550 h 816032"/>
                <a:gd name="connsiteX3916" fmla="*/ 312316 w 866764"/>
                <a:gd name="connsiteY3916" fmla="*/ 227249 h 816032"/>
                <a:gd name="connsiteX3917" fmla="*/ 311559 w 866764"/>
                <a:gd name="connsiteY3917" fmla="*/ 225766 h 816032"/>
                <a:gd name="connsiteX3918" fmla="*/ 310259 w 866764"/>
                <a:gd name="connsiteY3918" fmla="*/ 221440 h 816032"/>
                <a:gd name="connsiteX3919" fmla="*/ 310259 w 866764"/>
                <a:gd name="connsiteY3919" fmla="*/ 221289 h 816032"/>
                <a:gd name="connsiteX3920" fmla="*/ 310138 w 866764"/>
                <a:gd name="connsiteY3920" fmla="*/ 220805 h 816032"/>
                <a:gd name="connsiteX3921" fmla="*/ 310259 w 866764"/>
                <a:gd name="connsiteY3921" fmla="*/ 218597 h 816032"/>
                <a:gd name="connsiteX3922" fmla="*/ 310017 w 866764"/>
                <a:gd name="connsiteY3922" fmla="*/ 218113 h 816032"/>
                <a:gd name="connsiteX3923" fmla="*/ 309079 w 866764"/>
                <a:gd name="connsiteY3923" fmla="*/ 218173 h 816032"/>
                <a:gd name="connsiteX3924" fmla="*/ 308867 w 866764"/>
                <a:gd name="connsiteY3924" fmla="*/ 217719 h 816032"/>
                <a:gd name="connsiteX3925" fmla="*/ 308323 w 866764"/>
                <a:gd name="connsiteY3925" fmla="*/ 217296 h 816032"/>
                <a:gd name="connsiteX3926" fmla="*/ 305933 w 866764"/>
                <a:gd name="connsiteY3926" fmla="*/ 216570 h 816032"/>
                <a:gd name="connsiteX3927" fmla="*/ 305388 w 866764"/>
                <a:gd name="connsiteY3927" fmla="*/ 216086 h 816032"/>
                <a:gd name="connsiteX3928" fmla="*/ 304450 w 866764"/>
                <a:gd name="connsiteY3928" fmla="*/ 215602 h 816032"/>
                <a:gd name="connsiteX3929" fmla="*/ 299187 w 866764"/>
                <a:gd name="connsiteY3929" fmla="*/ 211488 h 816032"/>
                <a:gd name="connsiteX3930" fmla="*/ 297916 w 866764"/>
                <a:gd name="connsiteY3930" fmla="*/ 208009 h 816032"/>
                <a:gd name="connsiteX3931" fmla="*/ 297462 w 866764"/>
                <a:gd name="connsiteY3931" fmla="*/ 207434 h 816032"/>
                <a:gd name="connsiteX3932" fmla="*/ 296283 w 866764"/>
                <a:gd name="connsiteY3932" fmla="*/ 206890 h 816032"/>
                <a:gd name="connsiteX3933" fmla="*/ 296040 w 866764"/>
                <a:gd name="connsiteY3933" fmla="*/ 205619 h 816032"/>
                <a:gd name="connsiteX3934" fmla="*/ 296434 w 866764"/>
                <a:gd name="connsiteY3934" fmla="*/ 202866 h 816032"/>
                <a:gd name="connsiteX3935" fmla="*/ 295919 w 866764"/>
                <a:gd name="connsiteY3935" fmla="*/ 200113 h 816032"/>
                <a:gd name="connsiteX3936" fmla="*/ 294861 w 866764"/>
                <a:gd name="connsiteY3936" fmla="*/ 198086 h 816032"/>
                <a:gd name="connsiteX3937" fmla="*/ 294104 w 866764"/>
                <a:gd name="connsiteY3937" fmla="*/ 196090 h 816032"/>
                <a:gd name="connsiteX3938" fmla="*/ 294377 w 866764"/>
                <a:gd name="connsiteY3938" fmla="*/ 193337 h 816032"/>
                <a:gd name="connsiteX3939" fmla="*/ 298219 w 866764"/>
                <a:gd name="connsiteY3939" fmla="*/ 185653 h 816032"/>
                <a:gd name="connsiteX3940" fmla="*/ 298219 w 866764"/>
                <a:gd name="connsiteY3940" fmla="*/ 184262 h 816032"/>
                <a:gd name="connsiteX3941" fmla="*/ 301244 w 866764"/>
                <a:gd name="connsiteY3941" fmla="*/ 175942 h 816032"/>
                <a:gd name="connsiteX3942" fmla="*/ 303966 w 866764"/>
                <a:gd name="connsiteY3942" fmla="*/ 171647 h 816032"/>
                <a:gd name="connsiteX3943" fmla="*/ 305328 w 866764"/>
                <a:gd name="connsiteY3943" fmla="*/ 168864 h 816032"/>
                <a:gd name="connsiteX3944" fmla="*/ 305055 w 866764"/>
                <a:gd name="connsiteY3944" fmla="*/ 167593 h 816032"/>
                <a:gd name="connsiteX3945" fmla="*/ 303210 w 866764"/>
                <a:gd name="connsiteY3945" fmla="*/ 167079 h 816032"/>
                <a:gd name="connsiteX3946" fmla="*/ 302030 w 866764"/>
                <a:gd name="connsiteY3946" fmla="*/ 165868 h 816032"/>
                <a:gd name="connsiteX3947" fmla="*/ 301032 w 866764"/>
                <a:gd name="connsiteY3947" fmla="*/ 164477 h 816032"/>
                <a:gd name="connsiteX3948" fmla="*/ 299822 w 866764"/>
                <a:gd name="connsiteY3948" fmla="*/ 163449 h 816032"/>
                <a:gd name="connsiteX3949" fmla="*/ 300034 w 866764"/>
                <a:gd name="connsiteY3949" fmla="*/ 161694 h 816032"/>
                <a:gd name="connsiteX3950" fmla="*/ 299550 w 866764"/>
                <a:gd name="connsiteY3950" fmla="*/ 159788 h 816032"/>
                <a:gd name="connsiteX3951" fmla="*/ 298521 w 866764"/>
                <a:gd name="connsiteY3951" fmla="*/ 158064 h 816032"/>
                <a:gd name="connsiteX3952" fmla="*/ 297069 w 866764"/>
                <a:gd name="connsiteY3952" fmla="*/ 156854 h 816032"/>
                <a:gd name="connsiteX3953" fmla="*/ 298219 w 866764"/>
                <a:gd name="connsiteY3953" fmla="*/ 155734 h 816032"/>
                <a:gd name="connsiteX3954" fmla="*/ 299459 w 866764"/>
                <a:gd name="connsiteY3954" fmla="*/ 155280 h 816032"/>
                <a:gd name="connsiteX3955" fmla="*/ 301849 w 866764"/>
                <a:gd name="connsiteY3955" fmla="*/ 155190 h 816032"/>
                <a:gd name="connsiteX3956" fmla="*/ 303361 w 866764"/>
                <a:gd name="connsiteY3956" fmla="*/ 156067 h 816032"/>
                <a:gd name="connsiteX3957" fmla="*/ 304269 w 866764"/>
                <a:gd name="connsiteY3957" fmla="*/ 156309 h 816032"/>
                <a:gd name="connsiteX3958" fmla="*/ 304692 w 866764"/>
                <a:gd name="connsiteY3958" fmla="*/ 155674 h 816032"/>
                <a:gd name="connsiteX3959" fmla="*/ 304813 w 866764"/>
                <a:gd name="connsiteY3959" fmla="*/ 154524 h 816032"/>
                <a:gd name="connsiteX3960" fmla="*/ 305176 w 866764"/>
                <a:gd name="connsiteY3960" fmla="*/ 153889 h 816032"/>
                <a:gd name="connsiteX3961" fmla="*/ 305812 w 866764"/>
                <a:gd name="connsiteY3961" fmla="*/ 153617 h 816032"/>
                <a:gd name="connsiteX3962" fmla="*/ 306750 w 866764"/>
                <a:gd name="connsiteY3962" fmla="*/ 153496 h 816032"/>
                <a:gd name="connsiteX3963" fmla="*/ 304844 w 866764"/>
                <a:gd name="connsiteY3963" fmla="*/ 152498 h 816032"/>
                <a:gd name="connsiteX3964" fmla="*/ 304965 w 866764"/>
                <a:gd name="connsiteY3964" fmla="*/ 151015 h 816032"/>
                <a:gd name="connsiteX3965" fmla="*/ 306568 w 866764"/>
                <a:gd name="connsiteY3965" fmla="*/ 149805 h 816032"/>
                <a:gd name="connsiteX3966" fmla="*/ 308050 w 866764"/>
                <a:gd name="connsiteY3966" fmla="*/ 149714 h 816032"/>
                <a:gd name="connsiteX3967" fmla="*/ 308111 w 866764"/>
                <a:gd name="connsiteY3967" fmla="*/ 150289 h 816032"/>
                <a:gd name="connsiteX3968" fmla="*/ 309260 w 866764"/>
                <a:gd name="connsiteY3968" fmla="*/ 150894 h 816032"/>
                <a:gd name="connsiteX3969" fmla="*/ 310349 w 866764"/>
                <a:gd name="connsiteY3969" fmla="*/ 151650 h 816032"/>
                <a:gd name="connsiteX3970" fmla="*/ 311166 w 866764"/>
                <a:gd name="connsiteY3970" fmla="*/ 151741 h 816032"/>
                <a:gd name="connsiteX3971" fmla="*/ 311559 w 866764"/>
                <a:gd name="connsiteY3971" fmla="*/ 150320 h 816032"/>
                <a:gd name="connsiteX3972" fmla="*/ 312316 w 866764"/>
                <a:gd name="connsiteY3972" fmla="*/ 150320 h 816032"/>
                <a:gd name="connsiteX3973" fmla="*/ 312316 w 866764"/>
                <a:gd name="connsiteY3973" fmla="*/ 151227 h 816032"/>
                <a:gd name="connsiteX3974" fmla="*/ 312951 w 866764"/>
                <a:gd name="connsiteY3974" fmla="*/ 151227 h 816032"/>
                <a:gd name="connsiteX3975" fmla="*/ 312951 w 866764"/>
                <a:gd name="connsiteY3975" fmla="*/ 149503 h 816032"/>
                <a:gd name="connsiteX3976" fmla="*/ 313707 w 866764"/>
                <a:gd name="connsiteY3976" fmla="*/ 150349 h 816032"/>
                <a:gd name="connsiteX3977" fmla="*/ 314312 w 866764"/>
                <a:gd name="connsiteY3977" fmla="*/ 150349 h 816032"/>
                <a:gd name="connsiteX3978" fmla="*/ 313526 w 866764"/>
                <a:gd name="connsiteY3978" fmla="*/ 148202 h 816032"/>
                <a:gd name="connsiteX3979" fmla="*/ 313859 w 866764"/>
                <a:gd name="connsiteY3979" fmla="*/ 146417 h 816032"/>
                <a:gd name="connsiteX3980" fmla="*/ 315129 w 866764"/>
                <a:gd name="connsiteY3980" fmla="*/ 144874 h 816032"/>
                <a:gd name="connsiteX3981" fmla="*/ 317126 w 866764"/>
                <a:gd name="connsiteY3981" fmla="*/ 143634 h 816032"/>
                <a:gd name="connsiteX3982" fmla="*/ 318003 w 866764"/>
                <a:gd name="connsiteY3982" fmla="*/ 144269 h 816032"/>
                <a:gd name="connsiteX3983" fmla="*/ 318880 w 866764"/>
                <a:gd name="connsiteY3983" fmla="*/ 144511 h 816032"/>
                <a:gd name="connsiteX3984" fmla="*/ 320907 w 866764"/>
                <a:gd name="connsiteY3984" fmla="*/ 144511 h 816032"/>
                <a:gd name="connsiteX3985" fmla="*/ 320847 w 866764"/>
                <a:gd name="connsiteY3985" fmla="*/ 144269 h 816032"/>
                <a:gd name="connsiteX3986" fmla="*/ 321784 w 866764"/>
                <a:gd name="connsiteY3986" fmla="*/ 143634 h 816032"/>
                <a:gd name="connsiteX3987" fmla="*/ 323388 w 866764"/>
                <a:gd name="connsiteY3987" fmla="*/ 142877 h 816032"/>
                <a:gd name="connsiteX3988" fmla="*/ 324416 w 866764"/>
                <a:gd name="connsiteY3988" fmla="*/ 141788 h 816032"/>
                <a:gd name="connsiteX3989" fmla="*/ 325233 w 866764"/>
                <a:gd name="connsiteY3989" fmla="*/ 140336 h 816032"/>
                <a:gd name="connsiteX3990" fmla="*/ 325475 w 866764"/>
                <a:gd name="connsiteY3990" fmla="*/ 138491 h 816032"/>
                <a:gd name="connsiteX3991" fmla="*/ 324749 w 866764"/>
                <a:gd name="connsiteY3991" fmla="*/ 136192 h 816032"/>
                <a:gd name="connsiteX3992" fmla="*/ 327683 w 866764"/>
                <a:gd name="connsiteY3992" fmla="*/ 135254 h 816032"/>
                <a:gd name="connsiteX3993" fmla="*/ 330436 w 866764"/>
                <a:gd name="connsiteY3993" fmla="*/ 135587 h 816032"/>
                <a:gd name="connsiteX3994" fmla="*/ 332766 w 866764"/>
                <a:gd name="connsiteY3994" fmla="*/ 137251 h 816032"/>
                <a:gd name="connsiteX3995" fmla="*/ 334339 w 866764"/>
                <a:gd name="connsiteY3995" fmla="*/ 140367 h 816032"/>
                <a:gd name="connsiteX3996" fmla="*/ 333734 w 866764"/>
                <a:gd name="connsiteY3996" fmla="*/ 141728 h 816032"/>
                <a:gd name="connsiteX3997" fmla="*/ 333552 w 866764"/>
                <a:gd name="connsiteY3997" fmla="*/ 142575 h 816032"/>
                <a:gd name="connsiteX3998" fmla="*/ 333976 w 866764"/>
                <a:gd name="connsiteY3998" fmla="*/ 142938 h 816032"/>
                <a:gd name="connsiteX3999" fmla="*/ 334641 w 866764"/>
                <a:gd name="connsiteY3999" fmla="*/ 143180 h 816032"/>
                <a:gd name="connsiteX4000" fmla="*/ 337092 w 866764"/>
                <a:gd name="connsiteY4000" fmla="*/ 144602 h 816032"/>
                <a:gd name="connsiteX4001" fmla="*/ 337727 w 866764"/>
                <a:gd name="connsiteY4001" fmla="*/ 146780 h 816032"/>
                <a:gd name="connsiteX4002" fmla="*/ 336910 w 866764"/>
                <a:gd name="connsiteY4002" fmla="*/ 148020 h 816032"/>
                <a:gd name="connsiteX4003" fmla="*/ 335670 w 866764"/>
                <a:gd name="connsiteY4003" fmla="*/ 148897 h 816032"/>
                <a:gd name="connsiteX4004" fmla="*/ 335035 w 866764"/>
                <a:gd name="connsiteY4004" fmla="*/ 149957 h 816032"/>
                <a:gd name="connsiteX4005" fmla="*/ 333552 w 866764"/>
                <a:gd name="connsiteY4005" fmla="*/ 151076 h 816032"/>
                <a:gd name="connsiteX4006" fmla="*/ 330104 w 866764"/>
                <a:gd name="connsiteY4006" fmla="*/ 151711 h 816032"/>
                <a:gd name="connsiteX4007" fmla="*/ 323660 w 866764"/>
                <a:gd name="connsiteY4007" fmla="*/ 152044 h 816032"/>
                <a:gd name="connsiteX4008" fmla="*/ 321482 w 866764"/>
                <a:gd name="connsiteY4008" fmla="*/ 152921 h 816032"/>
                <a:gd name="connsiteX4009" fmla="*/ 322420 w 866764"/>
                <a:gd name="connsiteY4009" fmla="*/ 154887 h 816032"/>
                <a:gd name="connsiteX4010" fmla="*/ 326050 w 866764"/>
                <a:gd name="connsiteY4010" fmla="*/ 158759 h 816032"/>
                <a:gd name="connsiteX4011" fmla="*/ 326050 w 866764"/>
                <a:gd name="connsiteY4011" fmla="*/ 159274 h 816032"/>
                <a:gd name="connsiteX4012" fmla="*/ 325929 w 866764"/>
                <a:gd name="connsiteY4012" fmla="*/ 159395 h 816032"/>
                <a:gd name="connsiteX4013" fmla="*/ 325657 w 866764"/>
                <a:gd name="connsiteY4013" fmla="*/ 159395 h 816032"/>
                <a:gd name="connsiteX4014" fmla="*/ 325354 w 866764"/>
                <a:gd name="connsiteY4014" fmla="*/ 159485 h 816032"/>
                <a:gd name="connsiteX4015" fmla="*/ 328319 w 866764"/>
                <a:gd name="connsiteY4015" fmla="*/ 163055 h 816032"/>
                <a:gd name="connsiteX4016" fmla="*/ 329136 w 866764"/>
                <a:gd name="connsiteY4016" fmla="*/ 165022 h 816032"/>
                <a:gd name="connsiteX4017" fmla="*/ 328167 w 866764"/>
                <a:gd name="connsiteY4017" fmla="*/ 166928 h 816032"/>
                <a:gd name="connsiteX4018" fmla="*/ 332131 w 866764"/>
                <a:gd name="connsiteY4018" fmla="*/ 166655 h 816032"/>
                <a:gd name="connsiteX4019" fmla="*/ 333885 w 866764"/>
                <a:gd name="connsiteY4019" fmla="*/ 166928 h 816032"/>
                <a:gd name="connsiteX4020" fmla="*/ 335791 w 866764"/>
                <a:gd name="connsiteY4020" fmla="*/ 167744 h 816032"/>
                <a:gd name="connsiteX4021" fmla="*/ 340540 w 866764"/>
                <a:gd name="connsiteY4021" fmla="*/ 171162 h 816032"/>
                <a:gd name="connsiteX4022" fmla="*/ 342356 w 866764"/>
                <a:gd name="connsiteY4022" fmla="*/ 174248 h 816032"/>
                <a:gd name="connsiteX4023" fmla="*/ 344745 w 866764"/>
                <a:gd name="connsiteY4023" fmla="*/ 175126 h 816032"/>
                <a:gd name="connsiteX4024" fmla="*/ 347105 w 866764"/>
                <a:gd name="connsiteY4024" fmla="*/ 175640 h 816032"/>
                <a:gd name="connsiteX4025" fmla="*/ 348164 w 866764"/>
                <a:gd name="connsiteY4025" fmla="*/ 176517 h 816032"/>
                <a:gd name="connsiteX4026" fmla="*/ 349192 w 866764"/>
                <a:gd name="connsiteY4026" fmla="*/ 176638 h 816032"/>
                <a:gd name="connsiteX4027" fmla="*/ 354426 w 866764"/>
                <a:gd name="connsiteY4027" fmla="*/ 180208 h 816032"/>
                <a:gd name="connsiteX4028" fmla="*/ 356180 w 866764"/>
                <a:gd name="connsiteY4028" fmla="*/ 179784 h 816032"/>
                <a:gd name="connsiteX4029" fmla="*/ 357814 w 866764"/>
                <a:gd name="connsiteY4029" fmla="*/ 180450 h 816032"/>
                <a:gd name="connsiteX4030" fmla="*/ 359538 w 866764"/>
                <a:gd name="connsiteY4030" fmla="*/ 181418 h 816032"/>
                <a:gd name="connsiteX4031" fmla="*/ 363259 w 866764"/>
                <a:gd name="connsiteY4031" fmla="*/ 182235 h 816032"/>
                <a:gd name="connsiteX4032" fmla="*/ 365468 w 866764"/>
                <a:gd name="connsiteY4032" fmla="*/ 183021 h 816032"/>
                <a:gd name="connsiteX4033" fmla="*/ 369552 w 866764"/>
                <a:gd name="connsiteY4033" fmla="*/ 185169 h 816032"/>
                <a:gd name="connsiteX4034" fmla="*/ 371518 w 866764"/>
                <a:gd name="connsiteY4034" fmla="*/ 188194 h 816032"/>
                <a:gd name="connsiteX4035" fmla="*/ 372123 w 866764"/>
                <a:gd name="connsiteY4035" fmla="*/ 192490 h 816032"/>
                <a:gd name="connsiteX4036" fmla="*/ 371609 w 866764"/>
                <a:gd name="connsiteY4036" fmla="*/ 197088 h 816032"/>
                <a:gd name="connsiteX4037" fmla="*/ 370217 w 866764"/>
                <a:gd name="connsiteY4037" fmla="*/ 200991 h 816032"/>
                <a:gd name="connsiteX4038" fmla="*/ 371306 w 866764"/>
                <a:gd name="connsiteY4038" fmla="*/ 202866 h 816032"/>
                <a:gd name="connsiteX4039" fmla="*/ 373182 w 866764"/>
                <a:gd name="connsiteY4039" fmla="*/ 204621 h 816032"/>
                <a:gd name="connsiteX4040" fmla="*/ 374936 w 866764"/>
                <a:gd name="connsiteY4040" fmla="*/ 206708 h 816032"/>
                <a:gd name="connsiteX4041" fmla="*/ 375753 w 866764"/>
                <a:gd name="connsiteY4041" fmla="*/ 209643 h 816032"/>
                <a:gd name="connsiteX4042" fmla="*/ 376086 w 866764"/>
                <a:gd name="connsiteY4042" fmla="*/ 210399 h 816032"/>
                <a:gd name="connsiteX4043" fmla="*/ 377538 w 866764"/>
                <a:gd name="connsiteY4043" fmla="*/ 212274 h 816032"/>
                <a:gd name="connsiteX4044" fmla="*/ 377871 w 866764"/>
                <a:gd name="connsiteY4044" fmla="*/ 213273 h 816032"/>
                <a:gd name="connsiteX4045" fmla="*/ 377598 w 866764"/>
                <a:gd name="connsiteY4045" fmla="*/ 214664 h 816032"/>
                <a:gd name="connsiteX4046" fmla="*/ 376328 w 866764"/>
                <a:gd name="connsiteY4046" fmla="*/ 216933 h 816032"/>
                <a:gd name="connsiteX4047" fmla="*/ 375783 w 866764"/>
                <a:gd name="connsiteY4047" fmla="*/ 218264 h 816032"/>
                <a:gd name="connsiteX4048" fmla="*/ 376933 w 866764"/>
                <a:gd name="connsiteY4048" fmla="*/ 217780 h 816032"/>
                <a:gd name="connsiteX4049" fmla="*/ 384435 w 866764"/>
                <a:gd name="connsiteY4049" fmla="*/ 216630 h 816032"/>
                <a:gd name="connsiteX4050" fmla="*/ 386886 w 866764"/>
                <a:gd name="connsiteY4050" fmla="*/ 216993 h 816032"/>
                <a:gd name="connsiteX4051" fmla="*/ 401527 w 866764"/>
                <a:gd name="connsiteY4051" fmla="*/ 222802 h 816032"/>
                <a:gd name="connsiteX4052" fmla="*/ 410240 w 866764"/>
                <a:gd name="connsiteY4052" fmla="*/ 224073 h 816032"/>
                <a:gd name="connsiteX4053" fmla="*/ 412115 w 866764"/>
                <a:gd name="connsiteY4053" fmla="*/ 223679 h 816032"/>
                <a:gd name="connsiteX4054" fmla="*/ 413961 w 866764"/>
                <a:gd name="connsiteY4054" fmla="*/ 222802 h 816032"/>
                <a:gd name="connsiteX4055" fmla="*/ 414747 w 866764"/>
                <a:gd name="connsiteY4055" fmla="*/ 221955 h 816032"/>
                <a:gd name="connsiteX4056" fmla="*/ 413325 w 866764"/>
                <a:gd name="connsiteY4056" fmla="*/ 221561 h 816032"/>
                <a:gd name="connsiteX4057" fmla="*/ 411238 w 866764"/>
                <a:gd name="connsiteY4057" fmla="*/ 221350 h 816032"/>
                <a:gd name="connsiteX4058" fmla="*/ 409635 w 866764"/>
                <a:gd name="connsiteY4058" fmla="*/ 220745 h 816032"/>
                <a:gd name="connsiteX4059" fmla="*/ 408455 w 866764"/>
                <a:gd name="connsiteY4059" fmla="*/ 219716 h 816032"/>
                <a:gd name="connsiteX4060" fmla="*/ 407517 w 866764"/>
                <a:gd name="connsiteY4060" fmla="*/ 218264 h 816032"/>
                <a:gd name="connsiteX4061" fmla="*/ 407215 w 866764"/>
                <a:gd name="connsiteY4061" fmla="*/ 217054 h 816032"/>
                <a:gd name="connsiteX4062" fmla="*/ 407215 w 866764"/>
                <a:gd name="connsiteY4062" fmla="*/ 215995 h 816032"/>
                <a:gd name="connsiteX4063" fmla="*/ 406973 w 866764"/>
                <a:gd name="connsiteY4063" fmla="*/ 215269 h 816032"/>
                <a:gd name="connsiteX4064" fmla="*/ 400166 w 866764"/>
                <a:gd name="connsiteY4064" fmla="*/ 213757 h 816032"/>
                <a:gd name="connsiteX4065" fmla="*/ 389729 w 866764"/>
                <a:gd name="connsiteY4065" fmla="*/ 208463 h 816032"/>
                <a:gd name="connsiteX4066" fmla="*/ 386734 w 866764"/>
                <a:gd name="connsiteY4066" fmla="*/ 205498 h 816032"/>
                <a:gd name="connsiteX4067" fmla="*/ 381380 w 866764"/>
                <a:gd name="connsiteY4067" fmla="*/ 198359 h 816032"/>
                <a:gd name="connsiteX4068" fmla="*/ 380442 w 866764"/>
                <a:gd name="connsiteY4068" fmla="*/ 196816 h 816032"/>
                <a:gd name="connsiteX4069" fmla="*/ 379867 w 866764"/>
                <a:gd name="connsiteY4069" fmla="*/ 196211 h 816032"/>
                <a:gd name="connsiteX4070" fmla="*/ 378960 w 866764"/>
                <a:gd name="connsiteY4070" fmla="*/ 195969 h 816032"/>
                <a:gd name="connsiteX4071" fmla="*/ 376933 w 866764"/>
                <a:gd name="connsiteY4071" fmla="*/ 195787 h 816032"/>
                <a:gd name="connsiteX4072" fmla="*/ 376146 w 866764"/>
                <a:gd name="connsiteY4072" fmla="*/ 195424 h 816032"/>
                <a:gd name="connsiteX4073" fmla="*/ 375844 w 866764"/>
                <a:gd name="connsiteY4073" fmla="*/ 194668 h 816032"/>
                <a:gd name="connsiteX4074" fmla="*/ 375329 w 866764"/>
                <a:gd name="connsiteY4074" fmla="*/ 192429 h 816032"/>
                <a:gd name="connsiteX4075" fmla="*/ 374301 w 866764"/>
                <a:gd name="connsiteY4075" fmla="*/ 190433 h 816032"/>
                <a:gd name="connsiteX4076" fmla="*/ 373545 w 866764"/>
                <a:gd name="connsiteY4076" fmla="*/ 188406 h 816032"/>
                <a:gd name="connsiteX4077" fmla="*/ 373787 w 866764"/>
                <a:gd name="connsiteY4077" fmla="*/ 186046 h 816032"/>
                <a:gd name="connsiteX4078" fmla="*/ 376298 w 866764"/>
                <a:gd name="connsiteY4078" fmla="*/ 181993 h 816032"/>
                <a:gd name="connsiteX4079" fmla="*/ 379655 w 866764"/>
                <a:gd name="connsiteY4079" fmla="*/ 180057 h 816032"/>
                <a:gd name="connsiteX4080" fmla="*/ 383709 w 866764"/>
                <a:gd name="connsiteY4080" fmla="*/ 179875 h 816032"/>
                <a:gd name="connsiteX4081" fmla="*/ 388307 w 866764"/>
                <a:gd name="connsiteY4081" fmla="*/ 181024 h 816032"/>
                <a:gd name="connsiteX4082" fmla="*/ 393964 w 866764"/>
                <a:gd name="connsiteY4082" fmla="*/ 184019 h 816032"/>
                <a:gd name="connsiteX4083" fmla="*/ 402253 w 866764"/>
                <a:gd name="connsiteY4083" fmla="*/ 184655 h 816032"/>
                <a:gd name="connsiteX4084" fmla="*/ 404159 w 866764"/>
                <a:gd name="connsiteY4084" fmla="*/ 185169 h 816032"/>
                <a:gd name="connsiteX4085" fmla="*/ 407547 w 866764"/>
                <a:gd name="connsiteY4085" fmla="*/ 187287 h 816032"/>
                <a:gd name="connsiteX4086" fmla="*/ 416502 w 866764"/>
                <a:gd name="connsiteY4086" fmla="*/ 198359 h 816032"/>
                <a:gd name="connsiteX4087" fmla="*/ 416925 w 866764"/>
                <a:gd name="connsiteY4087" fmla="*/ 199236 h 816032"/>
                <a:gd name="connsiteX4088" fmla="*/ 417288 w 866764"/>
                <a:gd name="connsiteY4088" fmla="*/ 200355 h 816032"/>
                <a:gd name="connsiteX4089" fmla="*/ 417893 w 866764"/>
                <a:gd name="connsiteY4089" fmla="*/ 201323 h 816032"/>
                <a:gd name="connsiteX4090" fmla="*/ 418952 w 866764"/>
                <a:gd name="connsiteY4090" fmla="*/ 201717 h 816032"/>
                <a:gd name="connsiteX4091" fmla="*/ 419406 w 866764"/>
                <a:gd name="connsiteY4091" fmla="*/ 202261 h 816032"/>
                <a:gd name="connsiteX4092" fmla="*/ 419224 w 866764"/>
                <a:gd name="connsiteY4092" fmla="*/ 203471 h 816032"/>
                <a:gd name="connsiteX4093" fmla="*/ 418589 w 866764"/>
                <a:gd name="connsiteY4093" fmla="*/ 205468 h 816032"/>
                <a:gd name="connsiteX4094" fmla="*/ 419073 w 866764"/>
                <a:gd name="connsiteY4094" fmla="*/ 206799 h 816032"/>
                <a:gd name="connsiteX4095" fmla="*/ 422764 w 866764"/>
                <a:gd name="connsiteY4095" fmla="*/ 212486 h 816032"/>
                <a:gd name="connsiteX4096" fmla="*/ 422401 w 866764"/>
                <a:gd name="connsiteY4096" fmla="*/ 211458 h 816032"/>
                <a:gd name="connsiteX4097" fmla="*/ 422492 w 866764"/>
                <a:gd name="connsiteY4097" fmla="*/ 210913 h 816032"/>
                <a:gd name="connsiteX4098" fmla="*/ 423218 w 866764"/>
                <a:gd name="connsiteY4098" fmla="*/ 210338 h 816032"/>
                <a:gd name="connsiteX4099" fmla="*/ 424609 w 866764"/>
                <a:gd name="connsiteY4099" fmla="*/ 210641 h 816032"/>
                <a:gd name="connsiteX4100" fmla="*/ 425759 w 866764"/>
                <a:gd name="connsiteY4100" fmla="*/ 211518 h 816032"/>
                <a:gd name="connsiteX4101" fmla="*/ 426212 w 866764"/>
                <a:gd name="connsiteY4101" fmla="*/ 212819 h 816032"/>
                <a:gd name="connsiteX4102" fmla="*/ 426817 w 866764"/>
                <a:gd name="connsiteY4102" fmla="*/ 213031 h 816032"/>
                <a:gd name="connsiteX4103" fmla="*/ 430387 w 866764"/>
                <a:gd name="connsiteY4103" fmla="*/ 214937 h 816032"/>
                <a:gd name="connsiteX4104" fmla="*/ 429903 w 866764"/>
                <a:gd name="connsiteY4104" fmla="*/ 216177 h 816032"/>
                <a:gd name="connsiteX4105" fmla="*/ 430206 w 866764"/>
                <a:gd name="connsiteY4105" fmla="*/ 216993 h 816032"/>
                <a:gd name="connsiteX4106" fmla="*/ 430902 w 866764"/>
                <a:gd name="connsiteY4106" fmla="*/ 217175 h 816032"/>
                <a:gd name="connsiteX4107" fmla="*/ 431688 w 866764"/>
                <a:gd name="connsiteY4107" fmla="*/ 216570 h 816032"/>
                <a:gd name="connsiteX4108" fmla="*/ 432444 w 866764"/>
                <a:gd name="connsiteY4108" fmla="*/ 216570 h 816032"/>
                <a:gd name="connsiteX4109" fmla="*/ 432444 w 866764"/>
                <a:gd name="connsiteY4109" fmla="*/ 217387 h 816032"/>
                <a:gd name="connsiteX4110" fmla="*/ 432142 w 866764"/>
                <a:gd name="connsiteY4110" fmla="*/ 218779 h 816032"/>
                <a:gd name="connsiteX4111" fmla="*/ 434169 w 866764"/>
                <a:gd name="connsiteY4111" fmla="*/ 219262 h 816032"/>
                <a:gd name="connsiteX4112" fmla="*/ 439342 w 866764"/>
                <a:gd name="connsiteY4112" fmla="*/ 219142 h 816032"/>
                <a:gd name="connsiteX4113" fmla="*/ 439342 w 866764"/>
                <a:gd name="connsiteY4113" fmla="*/ 218234 h 816032"/>
                <a:gd name="connsiteX4114" fmla="*/ 437496 w 866764"/>
                <a:gd name="connsiteY4114" fmla="*/ 218143 h 816032"/>
                <a:gd name="connsiteX4115" fmla="*/ 437194 w 866764"/>
                <a:gd name="connsiteY4115" fmla="*/ 217387 h 816032"/>
                <a:gd name="connsiteX4116" fmla="*/ 438131 w 866764"/>
                <a:gd name="connsiteY4116" fmla="*/ 216661 h 816032"/>
                <a:gd name="connsiteX4117" fmla="*/ 440098 w 866764"/>
                <a:gd name="connsiteY4117" fmla="*/ 216600 h 816032"/>
                <a:gd name="connsiteX4118" fmla="*/ 440098 w 866764"/>
                <a:gd name="connsiteY4118" fmla="*/ 215783 h 816032"/>
                <a:gd name="connsiteX4119" fmla="*/ 439009 w 866764"/>
                <a:gd name="connsiteY4119" fmla="*/ 214755 h 816032"/>
                <a:gd name="connsiteX4120" fmla="*/ 439463 w 866764"/>
                <a:gd name="connsiteY4120" fmla="*/ 213696 h 816032"/>
                <a:gd name="connsiteX4121" fmla="*/ 442125 w 866764"/>
                <a:gd name="connsiteY4121" fmla="*/ 211609 h 816032"/>
                <a:gd name="connsiteX4122" fmla="*/ 441641 w 866764"/>
                <a:gd name="connsiteY4122" fmla="*/ 211004 h 816032"/>
                <a:gd name="connsiteX4123" fmla="*/ 441399 w 866764"/>
                <a:gd name="connsiteY4123" fmla="*/ 210369 h 816032"/>
                <a:gd name="connsiteX4124" fmla="*/ 441338 w 866764"/>
                <a:gd name="connsiteY4124" fmla="*/ 209521 h 816032"/>
                <a:gd name="connsiteX4125" fmla="*/ 441338 w 866764"/>
                <a:gd name="connsiteY4125" fmla="*/ 208281 h 816032"/>
                <a:gd name="connsiteX4126" fmla="*/ 440400 w 866764"/>
                <a:gd name="connsiteY4126" fmla="*/ 208886 h 816032"/>
                <a:gd name="connsiteX4127" fmla="*/ 439523 w 866764"/>
                <a:gd name="connsiteY4127" fmla="*/ 209007 h 816032"/>
                <a:gd name="connsiteX4128" fmla="*/ 438857 w 866764"/>
                <a:gd name="connsiteY4128" fmla="*/ 208463 h 816032"/>
                <a:gd name="connsiteX4129" fmla="*/ 438616 w 866764"/>
                <a:gd name="connsiteY4129" fmla="*/ 207071 h 816032"/>
                <a:gd name="connsiteX4130" fmla="*/ 438948 w 866764"/>
                <a:gd name="connsiteY4130" fmla="*/ 206617 h 816032"/>
                <a:gd name="connsiteX4131" fmla="*/ 439674 w 866764"/>
                <a:gd name="connsiteY4131" fmla="*/ 206617 h 816032"/>
                <a:gd name="connsiteX4132" fmla="*/ 440370 w 866764"/>
                <a:gd name="connsiteY4132" fmla="*/ 206436 h 816032"/>
                <a:gd name="connsiteX4133" fmla="*/ 440673 w 866764"/>
                <a:gd name="connsiteY4133" fmla="*/ 205438 h 816032"/>
                <a:gd name="connsiteX4134" fmla="*/ 440310 w 866764"/>
                <a:gd name="connsiteY4134" fmla="*/ 204500 h 816032"/>
                <a:gd name="connsiteX4135" fmla="*/ 438525 w 866764"/>
                <a:gd name="connsiteY4135" fmla="*/ 203289 h 816032"/>
                <a:gd name="connsiteX4136" fmla="*/ 437950 w 866764"/>
                <a:gd name="connsiteY4136" fmla="*/ 202594 h 816032"/>
                <a:gd name="connsiteX4137" fmla="*/ 437950 w 866764"/>
                <a:gd name="connsiteY4137" fmla="*/ 201414 h 816032"/>
                <a:gd name="connsiteX4138" fmla="*/ 439221 w 866764"/>
                <a:gd name="connsiteY4138" fmla="*/ 200264 h 816032"/>
                <a:gd name="connsiteX4139" fmla="*/ 439342 w 866764"/>
                <a:gd name="connsiteY4139" fmla="*/ 199206 h 816032"/>
                <a:gd name="connsiteX4140" fmla="*/ 438222 w 866764"/>
                <a:gd name="connsiteY4140" fmla="*/ 197754 h 816032"/>
                <a:gd name="connsiteX4141" fmla="*/ 434259 w 866764"/>
                <a:gd name="connsiteY4141" fmla="*/ 196453 h 816032"/>
                <a:gd name="connsiteX4142" fmla="*/ 432777 w 866764"/>
                <a:gd name="connsiteY4142" fmla="*/ 195454 h 816032"/>
                <a:gd name="connsiteX4143" fmla="*/ 431506 w 866764"/>
                <a:gd name="connsiteY4143" fmla="*/ 194063 h 816032"/>
                <a:gd name="connsiteX4144" fmla="*/ 429843 w 866764"/>
                <a:gd name="connsiteY4144" fmla="*/ 192883 h 816032"/>
                <a:gd name="connsiteX4145" fmla="*/ 428179 w 866764"/>
                <a:gd name="connsiteY4145" fmla="*/ 192278 h 816032"/>
                <a:gd name="connsiteX4146" fmla="*/ 426908 w 866764"/>
                <a:gd name="connsiteY4146" fmla="*/ 192701 h 816032"/>
                <a:gd name="connsiteX4147" fmla="*/ 420041 w 866764"/>
                <a:gd name="connsiteY4147" fmla="*/ 189707 h 816032"/>
                <a:gd name="connsiteX4148" fmla="*/ 419345 w 866764"/>
                <a:gd name="connsiteY4148" fmla="*/ 189919 h 816032"/>
                <a:gd name="connsiteX4149" fmla="*/ 417924 w 866764"/>
                <a:gd name="connsiteY4149" fmla="*/ 189102 h 816032"/>
                <a:gd name="connsiteX4150" fmla="*/ 416472 w 866764"/>
                <a:gd name="connsiteY4150" fmla="*/ 187559 h 816032"/>
                <a:gd name="connsiteX4151" fmla="*/ 415806 w 866764"/>
                <a:gd name="connsiteY4151" fmla="*/ 185592 h 816032"/>
                <a:gd name="connsiteX4152" fmla="*/ 412387 w 866764"/>
                <a:gd name="connsiteY4152" fmla="*/ 183475 h 816032"/>
                <a:gd name="connsiteX4153" fmla="*/ 411631 w 866764"/>
                <a:gd name="connsiteY4153" fmla="*/ 182749 h 816032"/>
                <a:gd name="connsiteX4154" fmla="*/ 411147 w 866764"/>
                <a:gd name="connsiteY4154" fmla="*/ 182053 h 816032"/>
                <a:gd name="connsiteX4155" fmla="*/ 409574 w 866764"/>
                <a:gd name="connsiteY4155" fmla="*/ 178211 h 816032"/>
                <a:gd name="connsiteX4156" fmla="*/ 409362 w 866764"/>
                <a:gd name="connsiteY4156" fmla="*/ 176245 h 816032"/>
                <a:gd name="connsiteX4157" fmla="*/ 409967 w 866764"/>
                <a:gd name="connsiteY4157" fmla="*/ 174158 h 816032"/>
                <a:gd name="connsiteX4158" fmla="*/ 411692 w 866764"/>
                <a:gd name="connsiteY4158" fmla="*/ 171889 h 816032"/>
                <a:gd name="connsiteX4159" fmla="*/ 412085 w 866764"/>
                <a:gd name="connsiteY4159" fmla="*/ 171949 h 816032"/>
                <a:gd name="connsiteX4160" fmla="*/ 412781 w 866764"/>
                <a:gd name="connsiteY4160" fmla="*/ 170890 h 816032"/>
                <a:gd name="connsiteX4161" fmla="*/ 413083 w 866764"/>
                <a:gd name="connsiteY4161" fmla="*/ 170225 h 816032"/>
                <a:gd name="connsiteX4162" fmla="*/ 416018 w 866764"/>
                <a:gd name="connsiteY4162" fmla="*/ 171405 h 816032"/>
                <a:gd name="connsiteX4163" fmla="*/ 418287 w 866764"/>
                <a:gd name="connsiteY4163" fmla="*/ 170951 h 816032"/>
                <a:gd name="connsiteX4164" fmla="*/ 423460 w 866764"/>
                <a:gd name="connsiteY4164" fmla="*/ 168621 h 816032"/>
                <a:gd name="connsiteX4165" fmla="*/ 424942 w 866764"/>
                <a:gd name="connsiteY4165" fmla="*/ 168531 h 816032"/>
                <a:gd name="connsiteX4166" fmla="*/ 428633 w 866764"/>
                <a:gd name="connsiteY4166" fmla="*/ 169438 h 816032"/>
                <a:gd name="connsiteX4167" fmla="*/ 432414 w 866764"/>
                <a:gd name="connsiteY4167" fmla="*/ 168954 h 816032"/>
                <a:gd name="connsiteX4168" fmla="*/ 433806 w 866764"/>
                <a:gd name="connsiteY4168" fmla="*/ 169438 h 816032"/>
                <a:gd name="connsiteX4169" fmla="*/ 435893 w 866764"/>
                <a:gd name="connsiteY4169" fmla="*/ 170951 h 816032"/>
                <a:gd name="connsiteX4170" fmla="*/ 439553 w 866764"/>
                <a:gd name="connsiteY4170" fmla="*/ 174430 h 816032"/>
                <a:gd name="connsiteX4171" fmla="*/ 442094 w 866764"/>
                <a:gd name="connsiteY4171" fmla="*/ 176063 h 816032"/>
                <a:gd name="connsiteX4172" fmla="*/ 444968 w 866764"/>
                <a:gd name="connsiteY4172" fmla="*/ 177183 h 816032"/>
                <a:gd name="connsiteX4173" fmla="*/ 453076 w 866764"/>
                <a:gd name="connsiteY4173" fmla="*/ 178514 h 816032"/>
                <a:gd name="connsiteX4174" fmla="*/ 457160 w 866764"/>
                <a:gd name="connsiteY4174" fmla="*/ 180298 h 816032"/>
                <a:gd name="connsiteX4175" fmla="*/ 459550 w 866764"/>
                <a:gd name="connsiteY4175" fmla="*/ 183475 h 816032"/>
                <a:gd name="connsiteX4176" fmla="*/ 461486 w 866764"/>
                <a:gd name="connsiteY4176" fmla="*/ 187256 h 816032"/>
                <a:gd name="connsiteX4177" fmla="*/ 464148 w 866764"/>
                <a:gd name="connsiteY4177" fmla="*/ 190947 h 816032"/>
                <a:gd name="connsiteX4178" fmla="*/ 465721 w 866764"/>
                <a:gd name="connsiteY4178" fmla="*/ 192006 h 816032"/>
                <a:gd name="connsiteX4179" fmla="*/ 467536 w 866764"/>
                <a:gd name="connsiteY4179" fmla="*/ 192883 h 816032"/>
                <a:gd name="connsiteX4180" fmla="*/ 468958 w 866764"/>
                <a:gd name="connsiteY4180" fmla="*/ 194124 h 816032"/>
                <a:gd name="connsiteX4181" fmla="*/ 469593 w 866764"/>
                <a:gd name="connsiteY4181" fmla="*/ 196271 h 816032"/>
                <a:gd name="connsiteX4182" fmla="*/ 470380 w 866764"/>
                <a:gd name="connsiteY4182" fmla="*/ 198026 h 816032"/>
                <a:gd name="connsiteX4183" fmla="*/ 472255 w 866764"/>
                <a:gd name="connsiteY4183" fmla="*/ 198419 h 816032"/>
                <a:gd name="connsiteX4184" fmla="*/ 476521 w 866764"/>
                <a:gd name="connsiteY4184" fmla="*/ 197481 h 816032"/>
                <a:gd name="connsiteX4185" fmla="*/ 479818 w 866764"/>
                <a:gd name="connsiteY4185" fmla="*/ 195061 h 816032"/>
                <a:gd name="connsiteX4186" fmla="*/ 478789 w 866764"/>
                <a:gd name="connsiteY4186" fmla="*/ 191855 h 816032"/>
                <a:gd name="connsiteX4187" fmla="*/ 472467 w 866764"/>
                <a:gd name="connsiteY4187" fmla="*/ 185955 h 816032"/>
                <a:gd name="connsiteX4188" fmla="*/ 466991 w 866764"/>
                <a:gd name="connsiteY4188" fmla="*/ 178574 h 816032"/>
                <a:gd name="connsiteX4189" fmla="*/ 463694 w 866764"/>
                <a:gd name="connsiteY4189" fmla="*/ 175216 h 816032"/>
                <a:gd name="connsiteX4190" fmla="*/ 460729 w 866764"/>
                <a:gd name="connsiteY4190" fmla="*/ 175156 h 816032"/>
                <a:gd name="connsiteX4191" fmla="*/ 460124 w 866764"/>
                <a:gd name="connsiteY4191" fmla="*/ 174339 h 816032"/>
                <a:gd name="connsiteX4192" fmla="*/ 459005 w 866764"/>
                <a:gd name="connsiteY4192" fmla="*/ 171616 h 816032"/>
                <a:gd name="connsiteX4193" fmla="*/ 458309 w 866764"/>
                <a:gd name="connsiteY4193" fmla="*/ 171011 h 816032"/>
                <a:gd name="connsiteX4194" fmla="*/ 457220 w 866764"/>
                <a:gd name="connsiteY4194" fmla="*/ 170860 h 816032"/>
                <a:gd name="connsiteX4195" fmla="*/ 454165 w 866764"/>
                <a:gd name="connsiteY4195" fmla="*/ 169922 h 816032"/>
                <a:gd name="connsiteX4196" fmla="*/ 453106 w 866764"/>
                <a:gd name="connsiteY4196" fmla="*/ 169378 h 816032"/>
                <a:gd name="connsiteX4197" fmla="*/ 451140 w 866764"/>
                <a:gd name="connsiteY4197" fmla="*/ 170346 h 816032"/>
                <a:gd name="connsiteX4198" fmla="*/ 448810 w 866764"/>
                <a:gd name="connsiteY4198" fmla="*/ 169317 h 816032"/>
                <a:gd name="connsiteX4199" fmla="*/ 446753 w 866764"/>
                <a:gd name="connsiteY4199" fmla="*/ 167502 h 816032"/>
                <a:gd name="connsiteX4200" fmla="*/ 445543 w 866764"/>
                <a:gd name="connsiteY4200" fmla="*/ 166111 h 816032"/>
                <a:gd name="connsiteX4201" fmla="*/ 443093 w 866764"/>
                <a:gd name="connsiteY4201" fmla="*/ 161331 h 816032"/>
                <a:gd name="connsiteX4202" fmla="*/ 441338 w 866764"/>
                <a:gd name="connsiteY4202" fmla="*/ 159244 h 816032"/>
                <a:gd name="connsiteX4203" fmla="*/ 439311 w 866764"/>
                <a:gd name="connsiteY4203" fmla="*/ 159425 h 816032"/>
                <a:gd name="connsiteX4204" fmla="*/ 440068 w 866764"/>
                <a:gd name="connsiteY4204" fmla="*/ 160272 h 816032"/>
                <a:gd name="connsiteX4205" fmla="*/ 439311 w 866764"/>
                <a:gd name="connsiteY4205" fmla="*/ 161089 h 816032"/>
                <a:gd name="connsiteX4206" fmla="*/ 440763 w 866764"/>
                <a:gd name="connsiteY4206" fmla="*/ 163449 h 816032"/>
                <a:gd name="connsiteX4207" fmla="*/ 441368 w 866764"/>
                <a:gd name="connsiteY4207" fmla="*/ 164991 h 816032"/>
                <a:gd name="connsiteX4208" fmla="*/ 441368 w 866764"/>
                <a:gd name="connsiteY4208" fmla="*/ 166141 h 816032"/>
                <a:gd name="connsiteX4209" fmla="*/ 440431 w 866764"/>
                <a:gd name="connsiteY4209" fmla="*/ 166897 h 816032"/>
                <a:gd name="connsiteX4210" fmla="*/ 437708 w 866764"/>
                <a:gd name="connsiteY4210" fmla="*/ 167260 h 816032"/>
                <a:gd name="connsiteX4211" fmla="*/ 436528 w 866764"/>
                <a:gd name="connsiteY4211" fmla="*/ 167744 h 816032"/>
                <a:gd name="connsiteX4212" fmla="*/ 435500 w 866764"/>
                <a:gd name="connsiteY4212" fmla="*/ 167351 h 816032"/>
                <a:gd name="connsiteX4213" fmla="*/ 431658 w 866764"/>
                <a:gd name="connsiteY4213" fmla="*/ 166534 h 816032"/>
                <a:gd name="connsiteX4214" fmla="*/ 431083 w 866764"/>
                <a:gd name="connsiteY4214" fmla="*/ 165929 h 816032"/>
                <a:gd name="connsiteX4215" fmla="*/ 427906 w 866764"/>
                <a:gd name="connsiteY4215" fmla="*/ 164477 h 816032"/>
                <a:gd name="connsiteX4216" fmla="*/ 426908 w 866764"/>
                <a:gd name="connsiteY4216" fmla="*/ 163600 h 816032"/>
                <a:gd name="connsiteX4217" fmla="*/ 422733 w 866764"/>
                <a:gd name="connsiteY4217" fmla="*/ 157792 h 816032"/>
                <a:gd name="connsiteX4218" fmla="*/ 421947 w 866764"/>
                <a:gd name="connsiteY4218" fmla="*/ 154615 h 816032"/>
                <a:gd name="connsiteX4219" fmla="*/ 422370 w 866764"/>
                <a:gd name="connsiteY4219" fmla="*/ 152286 h 816032"/>
                <a:gd name="connsiteX4220" fmla="*/ 423883 w 866764"/>
                <a:gd name="connsiteY4220" fmla="*/ 150864 h 816032"/>
                <a:gd name="connsiteX4221" fmla="*/ 430811 w 866764"/>
                <a:gd name="connsiteY4221" fmla="*/ 150047 h 816032"/>
                <a:gd name="connsiteX4222" fmla="*/ 431628 w 866764"/>
                <a:gd name="connsiteY4222" fmla="*/ 149533 h 816032"/>
                <a:gd name="connsiteX4223" fmla="*/ 431567 w 866764"/>
                <a:gd name="connsiteY4223" fmla="*/ 148414 h 816032"/>
                <a:gd name="connsiteX4224" fmla="*/ 429601 w 866764"/>
                <a:gd name="connsiteY4224" fmla="*/ 146689 h 816032"/>
                <a:gd name="connsiteX4225" fmla="*/ 428965 w 866764"/>
                <a:gd name="connsiteY4225" fmla="*/ 145389 h 816032"/>
                <a:gd name="connsiteX4226" fmla="*/ 427846 w 866764"/>
                <a:gd name="connsiteY4226" fmla="*/ 145812 h 816032"/>
                <a:gd name="connsiteX4227" fmla="*/ 426334 w 866764"/>
                <a:gd name="connsiteY4227" fmla="*/ 145963 h 816032"/>
                <a:gd name="connsiteX4228" fmla="*/ 424730 w 866764"/>
                <a:gd name="connsiteY4228" fmla="*/ 145812 h 816032"/>
                <a:gd name="connsiteX4229" fmla="*/ 423399 w 866764"/>
                <a:gd name="connsiteY4229" fmla="*/ 145389 h 816032"/>
                <a:gd name="connsiteX4230" fmla="*/ 419920 w 866764"/>
                <a:gd name="connsiteY4230" fmla="*/ 142605 h 816032"/>
                <a:gd name="connsiteX4231" fmla="*/ 419285 w 866764"/>
                <a:gd name="connsiteY4231" fmla="*/ 142424 h 816032"/>
                <a:gd name="connsiteX4232" fmla="*/ 418680 w 866764"/>
                <a:gd name="connsiteY4232" fmla="*/ 140215 h 816032"/>
                <a:gd name="connsiteX4233" fmla="*/ 417258 w 866764"/>
                <a:gd name="connsiteY4233" fmla="*/ 137614 h 816032"/>
                <a:gd name="connsiteX4234" fmla="*/ 415564 w 866764"/>
                <a:gd name="connsiteY4234" fmla="*/ 135436 h 816032"/>
                <a:gd name="connsiteX4235" fmla="*/ 414051 w 866764"/>
                <a:gd name="connsiteY4235" fmla="*/ 134528 h 816032"/>
                <a:gd name="connsiteX4236" fmla="*/ 411752 w 866764"/>
                <a:gd name="connsiteY4236" fmla="*/ 133863 h 816032"/>
                <a:gd name="connsiteX4237" fmla="*/ 409967 w 866764"/>
                <a:gd name="connsiteY4237" fmla="*/ 132048 h 816032"/>
                <a:gd name="connsiteX4238" fmla="*/ 409120 w 866764"/>
                <a:gd name="connsiteY4238" fmla="*/ 129416 h 816032"/>
                <a:gd name="connsiteX4239" fmla="*/ 409665 w 866764"/>
                <a:gd name="connsiteY4239" fmla="*/ 126239 h 816032"/>
                <a:gd name="connsiteX4240" fmla="*/ 411056 w 866764"/>
                <a:gd name="connsiteY4240" fmla="*/ 124273 h 816032"/>
                <a:gd name="connsiteX4241" fmla="*/ 413174 w 866764"/>
                <a:gd name="connsiteY4241" fmla="*/ 122549 h 816032"/>
                <a:gd name="connsiteX4242" fmla="*/ 415443 w 866764"/>
                <a:gd name="connsiteY4242" fmla="*/ 121187 h 816032"/>
                <a:gd name="connsiteX4243" fmla="*/ 420979 w 866764"/>
                <a:gd name="connsiteY4243" fmla="*/ 119070 h 816032"/>
                <a:gd name="connsiteX4244" fmla="*/ 424276 w 866764"/>
                <a:gd name="connsiteY4244" fmla="*/ 118707 h 816032"/>
                <a:gd name="connsiteX4245" fmla="*/ 425517 w 866764"/>
                <a:gd name="connsiteY4245" fmla="*/ 118979 h 816032"/>
                <a:gd name="connsiteX4246" fmla="*/ 427513 w 866764"/>
                <a:gd name="connsiteY4246" fmla="*/ 119402 h 816032"/>
                <a:gd name="connsiteX4247" fmla="*/ 438827 w 866764"/>
                <a:gd name="connsiteY4247" fmla="*/ 124939 h 816032"/>
                <a:gd name="connsiteX4248" fmla="*/ 443214 w 866764"/>
                <a:gd name="connsiteY4248" fmla="*/ 126028 h 816032"/>
                <a:gd name="connsiteX4249" fmla="*/ 447540 w 866764"/>
                <a:gd name="connsiteY4249" fmla="*/ 126269 h 816032"/>
                <a:gd name="connsiteX4250" fmla="*/ 451261 w 866764"/>
                <a:gd name="connsiteY4250" fmla="*/ 125483 h 816032"/>
                <a:gd name="connsiteX4251" fmla="*/ 461425 w 866764"/>
                <a:gd name="connsiteY4251" fmla="*/ 119947 h 816032"/>
                <a:gd name="connsiteX4252" fmla="*/ 474463 w 866764"/>
                <a:gd name="connsiteY4252" fmla="*/ 112868 h 816032"/>
                <a:gd name="connsiteX4253" fmla="*/ 473586 w 866764"/>
                <a:gd name="connsiteY4253" fmla="*/ 112626 h 816032"/>
                <a:gd name="connsiteX4254" fmla="*/ 471922 w 866764"/>
                <a:gd name="connsiteY4254" fmla="*/ 112747 h 816032"/>
                <a:gd name="connsiteX4255" fmla="*/ 471348 w 866764"/>
                <a:gd name="connsiteY4255" fmla="*/ 112384 h 816032"/>
                <a:gd name="connsiteX4256" fmla="*/ 470954 w 866764"/>
                <a:gd name="connsiteY4256" fmla="*/ 111567 h 816032"/>
                <a:gd name="connsiteX4257" fmla="*/ 470954 w 866764"/>
                <a:gd name="connsiteY4257" fmla="*/ 110902 h 816032"/>
                <a:gd name="connsiteX4258" fmla="*/ 471378 w 866764"/>
                <a:gd name="connsiteY4258" fmla="*/ 110478 h 816032"/>
                <a:gd name="connsiteX4259" fmla="*/ 473556 w 866764"/>
                <a:gd name="connsiteY4259" fmla="*/ 109934 h 816032"/>
                <a:gd name="connsiteX4260" fmla="*/ 473647 w 866764"/>
                <a:gd name="connsiteY4260" fmla="*/ 108996 h 816032"/>
                <a:gd name="connsiteX4261" fmla="*/ 472890 w 866764"/>
                <a:gd name="connsiteY4261" fmla="*/ 107877 h 816032"/>
                <a:gd name="connsiteX4262" fmla="*/ 471680 w 866764"/>
                <a:gd name="connsiteY4262" fmla="*/ 106939 h 816032"/>
                <a:gd name="connsiteX4263" fmla="*/ 473193 w 866764"/>
                <a:gd name="connsiteY4263" fmla="*/ 106152 h 816032"/>
                <a:gd name="connsiteX4264" fmla="*/ 477670 w 866764"/>
                <a:gd name="connsiteY4264" fmla="*/ 102764 h 816032"/>
                <a:gd name="connsiteX4265" fmla="*/ 479637 w 866764"/>
                <a:gd name="connsiteY4265" fmla="*/ 100042 h 816032"/>
                <a:gd name="connsiteX4266" fmla="*/ 482026 w 866764"/>
                <a:gd name="connsiteY4266" fmla="*/ 98922 h 816032"/>
                <a:gd name="connsiteX4267" fmla="*/ 484809 w 866764"/>
                <a:gd name="connsiteY4267" fmla="*/ 98620 h 816032"/>
                <a:gd name="connsiteX4268" fmla="*/ 486927 w 866764"/>
                <a:gd name="connsiteY4268" fmla="*/ 99467 h 816032"/>
                <a:gd name="connsiteX4269" fmla="*/ 487804 w 866764"/>
                <a:gd name="connsiteY4269" fmla="*/ 98166 h 816032"/>
                <a:gd name="connsiteX4270" fmla="*/ 488924 w 866764"/>
                <a:gd name="connsiteY4270" fmla="*/ 97803 h 816032"/>
                <a:gd name="connsiteX4271" fmla="*/ 490103 w 866764"/>
                <a:gd name="connsiteY4271" fmla="*/ 97652 h 816032"/>
                <a:gd name="connsiteX4272" fmla="*/ 491041 w 866764"/>
                <a:gd name="connsiteY4272" fmla="*/ 96956 h 816032"/>
                <a:gd name="connsiteX4273" fmla="*/ 492312 w 866764"/>
                <a:gd name="connsiteY4273" fmla="*/ 97380 h 816032"/>
                <a:gd name="connsiteX4274" fmla="*/ 497243 w 866764"/>
                <a:gd name="connsiteY4274" fmla="*/ 98166 h 816032"/>
                <a:gd name="connsiteX4275" fmla="*/ 497455 w 866764"/>
                <a:gd name="connsiteY4275" fmla="*/ 99921 h 816032"/>
                <a:gd name="connsiteX4276" fmla="*/ 498120 w 866764"/>
                <a:gd name="connsiteY4276" fmla="*/ 101221 h 816032"/>
                <a:gd name="connsiteX4277" fmla="*/ 499209 w 866764"/>
                <a:gd name="connsiteY4277" fmla="*/ 102129 h 816032"/>
                <a:gd name="connsiteX4278" fmla="*/ 500661 w 866764"/>
                <a:gd name="connsiteY4278" fmla="*/ 102764 h 816032"/>
                <a:gd name="connsiteX4279" fmla="*/ 500207 w 866764"/>
                <a:gd name="connsiteY4279" fmla="*/ 104307 h 816032"/>
                <a:gd name="connsiteX4280" fmla="*/ 501508 w 866764"/>
                <a:gd name="connsiteY4280" fmla="*/ 105850 h 816032"/>
                <a:gd name="connsiteX4281" fmla="*/ 502567 w 866764"/>
                <a:gd name="connsiteY4281" fmla="*/ 107514 h 816032"/>
                <a:gd name="connsiteX4282" fmla="*/ 503475 w 866764"/>
                <a:gd name="connsiteY4282" fmla="*/ 109480 h 816032"/>
                <a:gd name="connsiteX4283" fmla="*/ 504170 w 866764"/>
                <a:gd name="connsiteY4283" fmla="*/ 109480 h 816032"/>
                <a:gd name="connsiteX4284" fmla="*/ 504775 w 866764"/>
                <a:gd name="connsiteY4284" fmla="*/ 108754 h 816032"/>
                <a:gd name="connsiteX4285" fmla="*/ 506923 w 866764"/>
                <a:gd name="connsiteY4285" fmla="*/ 106908 h 816032"/>
                <a:gd name="connsiteX4286" fmla="*/ 510402 w 866764"/>
                <a:gd name="connsiteY4286" fmla="*/ 108633 h 816032"/>
                <a:gd name="connsiteX4287" fmla="*/ 510190 w 866764"/>
                <a:gd name="connsiteY4287" fmla="*/ 109057 h 816032"/>
                <a:gd name="connsiteX4288" fmla="*/ 510130 w 866764"/>
                <a:gd name="connsiteY4288" fmla="*/ 109147 h 816032"/>
                <a:gd name="connsiteX4289" fmla="*/ 509676 w 866764"/>
                <a:gd name="connsiteY4289" fmla="*/ 109480 h 816032"/>
                <a:gd name="connsiteX4290" fmla="*/ 511552 w 866764"/>
                <a:gd name="connsiteY4290" fmla="*/ 110327 h 816032"/>
                <a:gd name="connsiteX4291" fmla="*/ 513518 w 866764"/>
                <a:gd name="connsiteY4291" fmla="*/ 110206 h 816032"/>
                <a:gd name="connsiteX4292" fmla="*/ 517300 w 866764"/>
                <a:gd name="connsiteY4292" fmla="*/ 108633 h 816032"/>
                <a:gd name="connsiteX4293" fmla="*/ 520930 w 866764"/>
                <a:gd name="connsiteY4293" fmla="*/ 110115 h 816032"/>
                <a:gd name="connsiteX4294" fmla="*/ 524167 w 866764"/>
                <a:gd name="connsiteY4294" fmla="*/ 107514 h 816032"/>
                <a:gd name="connsiteX4295" fmla="*/ 527131 w 866764"/>
                <a:gd name="connsiteY4295" fmla="*/ 103793 h 816032"/>
                <a:gd name="connsiteX4296" fmla="*/ 530005 w 866764"/>
                <a:gd name="connsiteY4296" fmla="*/ 101917 h 816032"/>
                <a:gd name="connsiteX4297" fmla="*/ 531608 w 866764"/>
                <a:gd name="connsiteY4297" fmla="*/ 101524 h 816032"/>
                <a:gd name="connsiteX4298" fmla="*/ 534906 w 866764"/>
                <a:gd name="connsiteY4298" fmla="*/ 99830 h 816032"/>
                <a:gd name="connsiteX4299" fmla="*/ 536237 w 866764"/>
                <a:gd name="connsiteY4299" fmla="*/ 99436 h 816032"/>
                <a:gd name="connsiteX4300" fmla="*/ 538082 w 866764"/>
                <a:gd name="connsiteY4300" fmla="*/ 99497 h 816032"/>
                <a:gd name="connsiteX4301" fmla="*/ 539867 w 866764"/>
                <a:gd name="connsiteY4301" fmla="*/ 99315 h 816032"/>
                <a:gd name="connsiteX4302" fmla="*/ 540805 w 866764"/>
                <a:gd name="connsiteY4302" fmla="*/ 98378 h 816032"/>
                <a:gd name="connsiteX4303" fmla="*/ 540079 w 866764"/>
                <a:gd name="connsiteY4303" fmla="*/ 96109 h 816032"/>
                <a:gd name="connsiteX4304" fmla="*/ 541561 w 866764"/>
                <a:gd name="connsiteY4304" fmla="*/ 95988 h 816032"/>
                <a:gd name="connsiteX4305" fmla="*/ 542802 w 866764"/>
                <a:gd name="connsiteY4305" fmla="*/ 95322 h 816032"/>
                <a:gd name="connsiteX4306" fmla="*/ 544889 w 866764"/>
                <a:gd name="connsiteY4306" fmla="*/ 93568 h 816032"/>
                <a:gd name="connsiteX4307" fmla="*/ 544889 w 866764"/>
                <a:gd name="connsiteY4307" fmla="*/ 91541 h 816032"/>
                <a:gd name="connsiteX4308" fmla="*/ 546674 w 866764"/>
                <a:gd name="connsiteY4308" fmla="*/ 91117 h 816032"/>
                <a:gd name="connsiteX4309" fmla="*/ 554842 w 866764"/>
                <a:gd name="connsiteY4309" fmla="*/ 91026 h 816032"/>
                <a:gd name="connsiteX4310" fmla="*/ 556142 w 866764"/>
                <a:gd name="connsiteY4310" fmla="*/ 91601 h 816032"/>
                <a:gd name="connsiteX4311" fmla="*/ 557988 w 866764"/>
                <a:gd name="connsiteY4311" fmla="*/ 92781 h 816032"/>
                <a:gd name="connsiteX4312" fmla="*/ 556838 w 866764"/>
                <a:gd name="connsiteY4312" fmla="*/ 92963 h 816032"/>
                <a:gd name="connsiteX4313" fmla="*/ 555810 w 866764"/>
                <a:gd name="connsiteY4313" fmla="*/ 93477 h 816032"/>
                <a:gd name="connsiteX4314" fmla="*/ 554993 w 866764"/>
                <a:gd name="connsiteY4314" fmla="*/ 94264 h 816032"/>
                <a:gd name="connsiteX4315" fmla="*/ 554569 w 866764"/>
                <a:gd name="connsiteY4315" fmla="*/ 95262 h 816032"/>
                <a:gd name="connsiteX4316" fmla="*/ 554388 w 866764"/>
                <a:gd name="connsiteY4316" fmla="*/ 96805 h 816032"/>
                <a:gd name="connsiteX4317" fmla="*/ 554781 w 866764"/>
                <a:gd name="connsiteY4317" fmla="*/ 97137 h 816032"/>
                <a:gd name="connsiteX4318" fmla="*/ 555689 w 866764"/>
                <a:gd name="connsiteY4318" fmla="*/ 97258 h 816032"/>
                <a:gd name="connsiteX4319" fmla="*/ 556959 w 866764"/>
                <a:gd name="connsiteY4319" fmla="*/ 98136 h 816032"/>
                <a:gd name="connsiteX4320" fmla="*/ 559077 w 866764"/>
                <a:gd name="connsiteY4320" fmla="*/ 99255 h 816032"/>
                <a:gd name="connsiteX4321" fmla="*/ 566942 w 866764"/>
                <a:gd name="connsiteY4321" fmla="*/ 100556 h 816032"/>
                <a:gd name="connsiteX4322" fmla="*/ 567003 w 866764"/>
                <a:gd name="connsiteY4322" fmla="*/ 101161 h 816032"/>
                <a:gd name="connsiteX4323" fmla="*/ 567668 w 866764"/>
                <a:gd name="connsiteY4323" fmla="*/ 101161 h 816032"/>
                <a:gd name="connsiteX4324" fmla="*/ 571056 w 866764"/>
                <a:gd name="connsiteY4324" fmla="*/ 98106 h 816032"/>
                <a:gd name="connsiteX4325" fmla="*/ 575201 w 866764"/>
                <a:gd name="connsiteY4325" fmla="*/ 99346 h 816032"/>
                <a:gd name="connsiteX4326" fmla="*/ 579436 w 866764"/>
                <a:gd name="connsiteY4326" fmla="*/ 102099 h 816032"/>
                <a:gd name="connsiteX4327" fmla="*/ 583127 w 866764"/>
                <a:gd name="connsiteY4327" fmla="*/ 103641 h 816032"/>
                <a:gd name="connsiteX4328" fmla="*/ 584851 w 866764"/>
                <a:gd name="connsiteY4328" fmla="*/ 103763 h 816032"/>
                <a:gd name="connsiteX4329" fmla="*/ 589873 w 866764"/>
                <a:gd name="connsiteY4329" fmla="*/ 104791 h 816032"/>
                <a:gd name="connsiteX4330" fmla="*/ 591416 w 866764"/>
                <a:gd name="connsiteY4330" fmla="*/ 105699 h 816032"/>
                <a:gd name="connsiteX4331" fmla="*/ 592898 w 866764"/>
                <a:gd name="connsiteY4331" fmla="*/ 106969 h 816032"/>
                <a:gd name="connsiteX4332" fmla="*/ 595016 w 866764"/>
                <a:gd name="connsiteY4332" fmla="*/ 108028 h 816032"/>
                <a:gd name="connsiteX4333" fmla="*/ 597133 w 866764"/>
                <a:gd name="connsiteY4333" fmla="*/ 108451 h 816032"/>
                <a:gd name="connsiteX4334" fmla="*/ 597980 w 866764"/>
                <a:gd name="connsiteY4334" fmla="*/ 108633 h 816032"/>
                <a:gd name="connsiteX4335" fmla="*/ 601731 w 866764"/>
                <a:gd name="connsiteY4335" fmla="*/ 107332 h 816032"/>
                <a:gd name="connsiteX4336" fmla="*/ 606027 w 866764"/>
                <a:gd name="connsiteY4336" fmla="*/ 108058 h 816032"/>
                <a:gd name="connsiteX4337" fmla="*/ 610444 w 866764"/>
                <a:gd name="connsiteY4337" fmla="*/ 109510 h 816032"/>
                <a:gd name="connsiteX4338" fmla="*/ 614558 w 866764"/>
                <a:gd name="connsiteY4338" fmla="*/ 110297 h 816032"/>
                <a:gd name="connsiteX4339" fmla="*/ 621697 w 866764"/>
                <a:gd name="connsiteY4339" fmla="*/ 109722 h 816032"/>
                <a:gd name="connsiteX4340" fmla="*/ 622817 w 866764"/>
                <a:gd name="connsiteY4340" fmla="*/ 109873 h 816032"/>
                <a:gd name="connsiteX4341" fmla="*/ 623966 w 866764"/>
                <a:gd name="connsiteY4341" fmla="*/ 110539 h 816032"/>
                <a:gd name="connsiteX4342" fmla="*/ 629412 w 866764"/>
                <a:gd name="connsiteY4342" fmla="*/ 110720 h 816032"/>
                <a:gd name="connsiteX4343" fmla="*/ 631105 w 866764"/>
                <a:gd name="connsiteY4343" fmla="*/ 111144 h 816032"/>
                <a:gd name="connsiteX4344" fmla="*/ 633314 w 866764"/>
                <a:gd name="connsiteY4344" fmla="*/ 110176 h 816032"/>
                <a:gd name="connsiteX4345" fmla="*/ 636641 w 866764"/>
                <a:gd name="connsiteY4345" fmla="*/ 111083 h 816032"/>
                <a:gd name="connsiteX4346" fmla="*/ 639757 w 866764"/>
                <a:gd name="connsiteY4346" fmla="*/ 112868 h 816032"/>
                <a:gd name="connsiteX4347" fmla="*/ 641330 w 866764"/>
                <a:gd name="connsiteY4347" fmla="*/ 114562 h 816032"/>
                <a:gd name="connsiteX4348" fmla="*/ 642087 w 866764"/>
                <a:gd name="connsiteY4348" fmla="*/ 114562 h 816032"/>
                <a:gd name="connsiteX4349" fmla="*/ 641784 w 866764"/>
                <a:gd name="connsiteY4349" fmla="*/ 113473 h 816032"/>
                <a:gd name="connsiteX4350" fmla="*/ 641361 w 866764"/>
                <a:gd name="connsiteY4350" fmla="*/ 112838 h 816032"/>
                <a:gd name="connsiteX4351" fmla="*/ 641361 w 866764"/>
                <a:gd name="connsiteY4351" fmla="*/ 111930 h 816032"/>
                <a:gd name="connsiteX4352" fmla="*/ 642117 w 866764"/>
                <a:gd name="connsiteY4352" fmla="*/ 111930 h 816032"/>
                <a:gd name="connsiteX4353" fmla="*/ 642359 w 866764"/>
                <a:gd name="connsiteY4353" fmla="*/ 112838 h 816032"/>
                <a:gd name="connsiteX4354" fmla="*/ 642752 w 866764"/>
                <a:gd name="connsiteY4354" fmla="*/ 113655 h 816032"/>
                <a:gd name="connsiteX4355" fmla="*/ 643781 w 866764"/>
                <a:gd name="connsiteY4355" fmla="*/ 113080 h 816032"/>
                <a:gd name="connsiteX4356" fmla="*/ 645445 w 866764"/>
                <a:gd name="connsiteY4356" fmla="*/ 112687 h 816032"/>
                <a:gd name="connsiteX4357" fmla="*/ 646957 w 866764"/>
                <a:gd name="connsiteY4357" fmla="*/ 112868 h 816032"/>
                <a:gd name="connsiteX4358" fmla="*/ 647623 w 866764"/>
                <a:gd name="connsiteY4358" fmla="*/ 114108 h 816032"/>
                <a:gd name="connsiteX4359" fmla="*/ 646957 w 866764"/>
                <a:gd name="connsiteY4359" fmla="*/ 114653 h 816032"/>
                <a:gd name="connsiteX4360" fmla="*/ 645354 w 866764"/>
                <a:gd name="connsiteY4360" fmla="*/ 115107 h 816032"/>
                <a:gd name="connsiteX4361" fmla="*/ 643508 w 866764"/>
                <a:gd name="connsiteY4361" fmla="*/ 115349 h 816032"/>
                <a:gd name="connsiteX4362" fmla="*/ 642117 w 866764"/>
                <a:gd name="connsiteY4362" fmla="*/ 115349 h 816032"/>
                <a:gd name="connsiteX4363" fmla="*/ 642117 w 866764"/>
                <a:gd name="connsiteY4363" fmla="*/ 116166 h 816032"/>
                <a:gd name="connsiteX4364" fmla="*/ 644295 w 866764"/>
                <a:gd name="connsiteY4364" fmla="*/ 117133 h 816032"/>
                <a:gd name="connsiteX4365" fmla="*/ 644931 w 866764"/>
                <a:gd name="connsiteY4365" fmla="*/ 119282 h 816032"/>
                <a:gd name="connsiteX4366" fmla="*/ 645172 w 866764"/>
                <a:gd name="connsiteY4366" fmla="*/ 121792 h 816032"/>
                <a:gd name="connsiteX4367" fmla="*/ 646261 w 866764"/>
                <a:gd name="connsiteY4367" fmla="*/ 123638 h 816032"/>
                <a:gd name="connsiteX4368" fmla="*/ 645989 w 866764"/>
                <a:gd name="connsiteY4368" fmla="*/ 124152 h 816032"/>
                <a:gd name="connsiteX4369" fmla="*/ 649771 w 866764"/>
                <a:gd name="connsiteY4369" fmla="*/ 124515 h 816032"/>
                <a:gd name="connsiteX4370" fmla="*/ 652856 w 866764"/>
                <a:gd name="connsiteY4370" fmla="*/ 123123 h 816032"/>
                <a:gd name="connsiteX4371" fmla="*/ 655095 w 866764"/>
                <a:gd name="connsiteY4371" fmla="*/ 120673 h 816032"/>
                <a:gd name="connsiteX4372" fmla="*/ 655942 w 866764"/>
                <a:gd name="connsiteY4372" fmla="*/ 117436 h 816032"/>
                <a:gd name="connsiteX4373" fmla="*/ 657485 w 866764"/>
                <a:gd name="connsiteY4373" fmla="*/ 115197 h 816032"/>
                <a:gd name="connsiteX4374" fmla="*/ 662869 w 866764"/>
                <a:gd name="connsiteY4374" fmla="*/ 110902 h 816032"/>
                <a:gd name="connsiteX4375" fmla="*/ 662174 w 866764"/>
                <a:gd name="connsiteY4375" fmla="*/ 109571 h 816032"/>
                <a:gd name="connsiteX4376" fmla="*/ 662234 w 866764"/>
                <a:gd name="connsiteY4376" fmla="*/ 108754 h 816032"/>
                <a:gd name="connsiteX4377" fmla="*/ 662537 w 866764"/>
                <a:gd name="connsiteY4377" fmla="*/ 108331 h 816032"/>
                <a:gd name="connsiteX4378" fmla="*/ 663535 w 866764"/>
                <a:gd name="connsiteY4378" fmla="*/ 107907 h 816032"/>
                <a:gd name="connsiteX4379" fmla="*/ 663172 w 866764"/>
                <a:gd name="connsiteY4379" fmla="*/ 107786 h 816032"/>
                <a:gd name="connsiteX4380" fmla="*/ 662930 w 866764"/>
                <a:gd name="connsiteY4380" fmla="*/ 107786 h 816032"/>
                <a:gd name="connsiteX4381" fmla="*/ 662779 w 866764"/>
                <a:gd name="connsiteY4381" fmla="*/ 107544 h 816032"/>
                <a:gd name="connsiteX4382" fmla="*/ 662839 w 866764"/>
                <a:gd name="connsiteY4382" fmla="*/ 106969 h 816032"/>
                <a:gd name="connsiteX4383" fmla="*/ 663747 w 866764"/>
                <a:gd name="connsiteY4383" fmla="*/ 106757 h 816032"/>
                <a:gd name="connsiteX4384" fmla="*/ 664201 w 866764"/>
                <a:gd name="connsiteY4384" fmla="*/ 106455 h 816032"/>
                <a:gd name="connsiteX4385" fmla="*/ 664291 w 866764"/>
                <a:gd name="connsiteY4385" fmla="*/ 105819 h 816032"/>
                <a:gd name="connsiteX4386" fmla="*/ 664291 w 866764"/>
                <a:gd name="connsiteY4386" fmla="*/ 104519 h 816032"/>
                <a:gd name="connsiteX4387" fmla="*/ 664806 w 866764"/>
                <a:gd name="connsiteY4387" fmla="*/ 105668 h 816032"/>
                <a:gd name="connsiteX4388" fmla="*/ 664927 w 866764"/>
                <a:gd name="connsiteY4388" fmla="*/ 106182 h 816032"/>
                <a:gd name="connsiteX4389" fmla="*/ 665622 w 866764"/>
                <a:gd name="connsiteY4389" fmla="*/ 106182 h 816032"/>
                <a:gd name="connsiteX4390" fmla="*/ 666348 w 866764"/>
                <a:gd name="connsiteY4390" fmla="*/ 105487 h 816032"/>
                <a:gd name="connsiteX4391" fmla="*/ 666923 w 866764"/>
                <a:gd name="connsiteY4391" fmla="*/ 104367 h 816032"/>
                <a:gd name="connsiteX4392" fmla="*/ 667740 w 866764"/>
                <a:gd name="connsiteY4392" fmla="*/ 101947 h 816032"/>
                <a:gd name="connsiteX4393" fmla="*/ 668375 w 866764"/>
                <a:gd name="connsiteY4393" fmla="*/ 101947 h 816032"/>
                <a:gd name="connsiteX4394" fmla="*/ 668708 w 866764"/>
                <a:gd name="connsiteY4394" fmla="*/ 102613 h 816032"/>
                <a:gd name="connsiteX4395" fmla="*/ 669222 w 866764"/>
                <a:gd name="connsiteY4395" fmla="*/ 103188 h 816032"/>
                <a:gd name="connsiteX4396" fmla="*/ 669948 w 866764"/>
                <a:gd name="connsiteY4396" fmla="*/ 103551 h 816032"/>
                <a:gd name="connsiteX4397" fmla="*/ 670795 w 866764"/>
                <a:gd name="connsiteY4397" fmla="*/ 103702 h 816032"/>
                <a:gd name="connsiteX4398" fmla="*/ 672127 w 866764"/>
                <a:gd name="connsiteY4398" fmla="*/ 103339 h 816032"/>
                <a:gd name="connsiteX4399" fmla="*/ 672066 w 866764"/>
                <a:gd name="connsiteY4399" fmla="*/ 102552 h 816032"/>
                <a:gd name="connsiteX4400" fmla="*/ 671461 w 866764"/>
                <a:gd name="connsiteY4400" fmla="*/ 101705 h 816032"/>
                <a:gd name="connsiteX4401" fmla="*/ 671158 w 866764"/>
                <a:gd name="connsiteY4401" fmla="*/ 101191 h 816032"/>
                <a:gd name="connsiteX4402" fmla="*/ 672368 w 866764"/>
                <a:gd name="connsiteY4402" fmla="*/ 100042 h 816032"/>
                <a:gd name="connsiteX4403" fmla="*/ 675242 w 866764"/>
                <a:gd name="connsiteY4403" fmla="*/ 98771 h 816032"/>
                <a:gd name="connsiteX4404" fmla="*/ 676664 w 866764"/>
                <a:gd name="connsiteY4404" fmla="*/ 97773 h 816032"/>
                <a:gd name="connsiteX4405" fmla="*/ 677662 w 866764"/>
                <a:gd name="connsiteY4405" fmla="*/ 96532 h 816032"/>
                <a:gd name="connsiteX4406" fmla="*/ 677360 w 866764"/>
                <a:gd name="connsiteY4406" fmla="*/ 96109 h 816032"/>
                <a:gd name="connsiteX4407" fmla="*/ 676392 w 866764"/>
                <a:gd name="connsiteY4407" fmla="*/ 95685 h 816032"/>
                <a:gd name="connsiteX4408" fmla="*/ 675333 w 866764"/>
                <a:gd name="connsiteY4408" fmla="*/ 94445 h 816032"/>
                <a:gd name="connsiteX4409" fmla="*/ 675061 w 866764"/>
                <a:gd name="connsiteY4409" fmla="*/ 93356 h 816032"/>
                <a:gd name="connsiteX4410" fmla="*/ 675333 w 866764"/>
                <a:gd name="connsiteY4410" fmla="*/ 92569 h 816032"/>
                <a:gd name="connsiteX4411" fmla="*/ 676210 w 866764"/>
                <a:gd name="connsiteY4411" fmla="*/ 92086 h 816032"/>
                <a:gd name="connsiteX4412" fmla="*/ 677723 w 866764"/>
                <a:gd name="connsiteY4412" fmla="*/ 91934 h 816032"/>
                <a:gd name="connsiteX4413" fmla="*/ 678600 w 866764"/>
                <a:gd name="connsiteY4413" fmla="*/ 91269 h 816032"/>
                <a:gd name="connsiteX4414" fmla="*/ 679296 w 866764"/>
                <a:gd name="connsiteY4414" fmla="*/ 89847 h 816032"/>
                <a:gd name="connsiteX4415" fmla="*/ 679205 w 866764"/>
                <a:gd name="connsiteY4415" fmla="*/ 88425 h 816032"/>
                <a:gd name="connsiteX4416" fmla="*/ 676513 w 866764"/>
                <a:gd name="connsiteY4416" fmla="*/ 87215 h 816032"/>
                <a:gd name="connsiteX4417" fmla="*/ 675635 w 866764"/>
                <a:gd name="connsiteY4417" fmla="*/ 85914 h 816032"/>
                <a:gd name="connsiteX4418" fmla="*/ 674244 w 866764"/>
                <a:gd name="connsiteY4418" fmla="*/ 83161 h 816032"/>
                <a:gd name="connsiteX4419" fmla="*/ 673972 w 866764"/>
                <a:gd name="connsiteY4419" fmla="*/ 81376 h 816032"/>
                <a:gd name="connsiteX4420" fmla="*/ 675696 w 866764"/>
                <a:gd name="connsiteY4420" fmla="*/ 78200 h 816032"/>
                <a:gd name="connsiteX4421" fmla="*/ 675000 w 866764"/>
                <a:gd name="connsiteY4421" fmla="*/ 77625 h 816032"/>
                <a:gd name="connsiteX4422" fmla="*/ 673488 w 866764"/>
                <a:gd name="connsiteY4422" fmla="*/ 77232 h 816032"/>
                <a:gd name="connsiteX4423" fmla="*/ 673488 w 866764"/>
                <a:gd name="connsiteY4423" fmla="*/ 76233 h 816032"/>
                <a:gd name="connsiteX4424" fmla="*/ 675363 w 866764"/>
                <a:gd name="connsiteY4424" fmla="*/ 73511 h 816032"/>
                <a:gd name="connsiteX4425" fmla="*/ 674183 w 866764"/>
                <a:gd name="connsiteY4425" fmla="*/ 71393 h 816032"/>
                <a:gd name="connsiteX4426" fmla="*/ 673851 w 866764"/>
                <a:gd name="connsiteY4426" fmla="*/ 69215 h 816032"/>
                <a:gd name="connsiteX4427" fmla="*/ 674305 w 866764"/>
                <a:gd name="connsiteY4427" fmla="*/ 66856 h 816032"/>
                <a:gd name="connsiteX4428" fmla="*/ 675363 w 866764"/>
                <a:gd name="connsiteY4428" fmla="*/ 64163 h 816032"/>
                <a:gd name="connsiteX4429" fmla="*/ 673820 w 866764"/>
                <a:gd name="connsiteY4429" fmla="*/ 62046 h 816032"/>
                <a:gd name="connsiteX4430" fmla="*/ 674940 w 866764"/>
                <a:gd name="connsiteY4430" fmla="*/ 61078 h 816032"/>
                <a:gd name="connsiteX4431" fmla="*/ 681323 w 866764"/>
                <a:gd name="connsiteY4431" fmla="*/ 60473 h 816032"/>
                <a:gd name="connsiteX4432" fmla="*/ 683047 w 866764"/>
                <a:gd name="connsiteY4432" fmla="*/ 59656 h 816032"/>
                <a:gd name="connsiteX4433" fmla="*/ 685709 w 866764"/>
                <a:gd name="connsiteY4433" fmla="*/ 57447 h 816032"/>
                <a:gd name="connsiteX4434" fmla="*/ 688523 w 866764"/>
                <a:gd name="connsiteY4434" fmla="*/ 55784 h 816032"/>
                <a:gd name="connsiteX4435" fmla="*/ 689098 w 866764"/>
                <a:gd name="connsiteY4435" fmla="*/ 55209 h 816032"/>
                <a:gd name="connsiteX4436" fmla="*/ 689339 w 866764"/>
                <a:gd name="connsiteY4436" fmla="*/ 54665 h 816032"/>
                <a:gd name="connsiteX4437" fmla="*/ 689763 w 866764"/>
                <a:gd name="connsiteY4437" fmla="*/ 54271 h 816032"/>
                <a:gd name="connsiteX4438" fmla="*/ 690822 w 866764"/>
                <a:gd name="connsiteY4438" fmla="*/ 54120 h 816032"/>
                <a:gd name="connsiteX4439" fmla="*/ 695934 w 866764"/>
                <a:gd name="connsiteY4439" fmla="*/ 49098 h 816032"/>
                <a:gd name="connsiteX4440" fmla="*/ 696993 w 866764"/>
                <a:gd name="connsiteY4440" fmla="*/ 50338 h 816032"/>
                <a:gd name="connsiteX4441" fmla="*/ 698899 w 866764"/>
                <a:gd name="connsiteY4441" fmla="*/ 51337 h 816032"/>
                <a:gd name="connsiteX4442" fmla="*/ 701047 w 866764"/>
                <a:gd name="connsiteY4442" fmla="*/ 51881 h 816032"/>
                <a:gd name="connsiteX4443" fmla="*/ 702922 w 866764"/>
                <a:gd name="connsiteY4443" fmla="*/ 51730 h 816032"/>
                <a:gd name="connsiteX4444" fmla="*/ 704223 w 866764"/>
                <a:gd name="connsiteY4444" fmla="*/ 50550 h 816032"/>
                <a:gd name="connsiteX4445" fmla="*/ 705131 w 866764"/>
                <a:gd name="connsiteY4445" fmla="*/ 48433 h 816032"/>
                <a:gd name="connsiteX4446" fmla="*/ 705615 w 866764"/>
                <a:gd name="connsiteY4446" fmla="*/ 45861 h 816032"/>
                <a:gd name="connsiteX4447" fmla="*/ 705615 w 866764"/>
                <a:gd name="connsiteY4447" fmla="*/ 43260 h 816032"/>
                <a:gd name="connsiteX4448" fmla="*/ 705161 w 866764"/>
                <a:gd name="connsiteY4448" fmla="*/ 40779 h 816032"/>
                <a:gd name="connsiteX4449" fmla="*/ 703528 w 866764"/>
                <a:gd name="connsiteY4449" fmla="*/ 34759 h 816032"/>
                <a:gd name="connsiteX4450" fmla="*/ 703043 w 866764"/>
                <a:gd name="connsiteY4450" fmla="*/ 30191 h 816032"/>
                <a:gd name="connsiteX4451" fmla="*/ 702559 w 866764"/>
                <a:gd name="connsiteY4451" fmla="*/ 28043 h 816032"/>
                <a:gd name="connsiteX4452" fmla="*/ 701470 w 866764"/>
                <a:gd name="connsiteY4452" fmla="*/ 26289 h 816032"/>
                <a:gd name="connsiteX4453" fmla="*/ 702105 w 866764"/>
                <a:gd name="connsiteY4453" fmla="*/ 25048 h 816032"/>
                <a:gd name="connsiteX4454" fmla="*/ 701742 w 866764"/>
                <a:gd name="connsiteY4454" fmla="*/ 21841 h 816032"/>
                <a:gd name="connsiteX4455" fmla="*/ 702166 w 866764"/>
                <a:gd name="connsiteY4455" fmla="*/ 20389 h 816032"/>
                <a:gd name="connsiteX4456" fmla="*/ 701803 w 866764"/>
                <a:gd name="connsiteY4456" fmla="*/ 19694 h 816032"/>
                <a:gd name="connsiteX4457" fmla="*/ 701591 w 866764"/>
                <a:gd name="connsiteY4457" fmla="*/ 18847 h 816032"/>
                <a:gd name="connsiteX4458" fmla="*/ 701470 w 866764"/>
                <a:gd name="connsiteY4458" fmla="*/ 17939 h 816032"/>
                <a:gd name="connsiteX4459" fmla="*/ 701470 w 866764"/>
                <a:gd name="connsiteY4459" fmla="*/ 17001 h 816032"/>
                <a:gd name="connsiteX4460" fmla="*/ 699595 w 866764"/>
                <a:gd name="connsiteY4460" fmla="*/ 19663 h 816032"/>
                <a:gd name="connsiteX4461" fmla="*/ 698597 w 866764"/>
                <a:gd name="connsiteY4461" fmla="*/ 18696 h 816032"/>
                <a:gd name="connsiteX4462" fmla="*/ 694029 w 866764"/>
                <a:gd name="connsiteY4462" fmla="*/ 16517 h 816032"/>
                <a:gd name="connsiteX4463" fmla="*/ 688311 w 866764"/>
                <a:gd name="connsiteY4463" fmla="*/ 12554 h 816032"/>
                <a:gd name="connsiteX4464" fmla="*/ 689188 w 866764"/>
                <a:gd name="connsiteY4464" fmla="*/ 11012 h 816032"/>
                <a:gd name="connsiteX4465" fmla="*/ 689491 w 866764"/>
                <a:gd name="connsiteY4465" fmla="*/ 9197 h 816032"/>
                <a:gd name="connsiteX4466" fmla="*/ 687887 w 866764"/>
                <a:gd name="connsiteY4466" fmla="*/ 8834 h 816032"/>
                <a:gd name="connsiteX4467" fmla="*/ 686133 w 866764"/>
                <a:gd name="connsiteY4467" fmla="*/ 8138 h 816032"/>
                <a:gd name="connsiteX4468" fmla="*/ 682261 w 866764"/>
                <a:gd name="connsiteY4468" fmla="*/ 7230 h 816032"/>
                <a:gd name="connsiteX4469" fmla="*/ 679568 w 866764"/>
                <a:gd name="connsiteY4469" fmla="*/ 4901 h 816032"/>
                <a:gd name="connsiteX4470" fmla="*/ 677753 w 866764"/>
                <a:gd name="connsiteY4470" fmla="*/ 4386 h 816032"/>
                <a:gd name="connsiteX4471" fmla="*/ 675121 w 866764"/>
                <a:gd name="connsiteY4471" fmla="*/ 4629 h 816032"/>
                <a:gd name="connsiteX4472" fmla="*/ 671249 w 866764"/>
                <a:gd name="connsiteY4472" fmla="*/ 4961 h 816032"/>
                <a:gd name="connsiteX4473" fmla="*/ 669132 w 866764"/>
                <a:gd name="connsiteY4473" fmla="*/ 4417 h 816032"/>
                <a:gd name="connsiteX4474" fmla="*/ 667861 w 866764"/>
                <a:gd name="connsiteY4474" fmla="*/ 3418 h 816032"/>
                <a:gd name="connsiteX4475" fmla="*/ 665169 w 866764"/>
                <a:gd name="connsiteY4475" fmla="*/ 605 h 816032"/>
                <a:gd name="connsiteX4476" fmla="*/ 664352 w 866764"/>
                <a:gd name="connsiteY4476" fmla="*/ 121 h 816032"/>
                <a:gd name="connsiteX4477" fmla="*/ 662900 w 866764"/>
                <a:gd name="connsiteY4477" fmla="*/ 0 h 816032"/>
                <a:gd name="connsiteX4478" fmla="*/ 660691 w 866764"/>
                <a:gd name="connsiteY4478" fmla="*/ 1966 h 816032"/>
                <a:gd name="connsiteX4479" fmla="*/ 655185 w 866764"/>
                <a:gd name="connsiteY4479" fmla="*/ 2117 h 816032"/>
                <a:gd name="connsiteX4480" fmla="*/ 652523 w 866764"/>
                <a:gd name="connsiteY4480" fmla="*/ 2814 h 816032"/>
                <a:gd name="connsiteX4481" fmla="*/ 649801 w 866764"/>
                <a:gd name="connsiteY4481" fmla="*/ 4840 h 816032"/>
                <a:gd name="connsiteX4482" fmla="*/ 649045 w 866764"/>
                <a:gd name="connsiteY4482" fmla="*/ 5143 h 816032"/>
                <a:gd name="connsiteX4483" fmla="*/ 648379 w 866764"/>
                <a:gd name="connsiteY4483" fmla="*/ 5143 h 816032"/>
                <a:gd name="connsiteX4484" fmla="*/ 647683 w 866764"/>
                <a:gd name="connsiteY4484" fmla="*/ 5355 h 816032"/>
                <a:gd name="connsiteX4485" fmla="*/ 647018 w 866764"/>
                <a:gd name="connsiteY4485" fmla="*/ 6081 h 816032"/>
                <a:gd name="connsiteX4486" fmla="*/ 646443 w 866764"/>
                <a:gd name="connsiteY4486" fmla="*/ 7623 h 816032"/>
                <a:gd name="connsiteX4487" fmla="*/ 646383 w 866764"/>
                <a:gd name="connsiteY4487" fmla="*/ 9408 h 816032"/>
                <a:gd name="connsiteX4488" fmla="*/ 646655 w 866764"/>
                <a:gd name="connsiteY4488" fmla="*/ 11163 h 816032"/>
                <a:gd name="connsiteX4489" fmla="*/ 647139 w 866764"/>
                <a:gd name="connsiteY4489" fmla="*/ 12615 h 816032"/>
                <a:gd name="connsiteX4490" fmla="*/ 647592 w 866764"/>
                <a:gd name="connsiteY4490" fmla="*/ 13220 h 816032"/>
                <a:gd name="connsiteX4491" fmla="*/ 648349 w 866764"/>
                <a:gd name="connsiteY4491" fmla="*/ 14248 h 816032"/>
                <a:gd name="connsiteX4492" fmla="*/ 649801 w 866764"/>
                <a:gd name="connsiteY4492" fmla="*/ 14854 h 816032"/>
                <a:gd name="connsiteX4493" fmla="*/ 651192 w 866764"/>
                <a:gd name="connsiteY4493" fmla="*/ 15126 h 816032"/>
                <a:gd name="connsiteX4494" fmla="*/ 652342 w 866764"/>
                <a:gd name="connsiteY4494" fmla="*/ 15640 h 816032"/>
                <a:gd name="connsiteX4495" fmla="*/ 653219 w 866764"/>
                <a:gd name="connsiteY4495" fmla="*/ 16578 h 816032"/>
                <a:gd name="connsiteX4496" fmla="*/ 653794 w 866764"/>
                <a:gd name="connsiteY4496" fmla="*/ 17636 h 816032"/>
                <a:gd name="connsiteX4497" fmla="*/ 654702 w 866764"/>
                <a:gd name="connsiteY4497" fmla="*/ 20783 h 816032"/>
                <a:gd name="connsiteX4498" fmla="*/ 654792 w 866764"/>
                <a:gd name="connsiteY4498" fmla="*/ 21721 h 816032"/>
                <a:gd name="connsiteX4499" fmla="*/ 654641 w 866764"/>
                <a:gd name="connsiteY4499" fmla="*/ 23657 h 816032"/>
                <a:gd name="connsiteX4500" fmla="*/ 654822 w 866764"/>
                <a:gd name="connsiteY4500" fmla="*/ 24473 h 816032"/>
                <a:gd name="connsiteX4501" fmla="*/ 655367 w 866764"/>
                <a:gd name="connsiteY4501" fmla="*/ 24897 h 816032"/>
                <a:gd name="connsiteX4502" fmla="*/ 656971 w 866764"/>
                <a:gd name="connsiteY4502" fmla="*/ 25169 h 816032"/>
                <a:gd name="connsiteX4503" fmla="*/ 657515 w 866764"/>
                <a:gd name="connsiteY4503" fmla="*/ 25744 h 816032"/>
                <a:gd name="connsiteX4504" fmla="*/ 658029 w 866764"/>
                <a:gd name="connsiteY4504" fmla="*/ 27378 h 816032"/>
                <a:gd name="connsiteX4505" fmla="*/ 658180 w 866764"/>
                <a:gd name="connsiteY4505" fmla="*/ 28799 h 816032"/>
                <a:gd name="connsiteX4506" fmla="*/ 658029 w 866764"/>
                <a:gd name="connsiteY4506" fmla="*/ 30191 h 816032"/>
                <a:gd name="connsiteX4507" fmla="*/ 657666 w 866764"/>
                <a:gd name="connsiteY4507" fmla="*/ 31764 h 816032"/>
                <a:gd name="connsiteX4508" fmla="*/ 656486 w 866764"/>
                <a:gd name="connsiteY4508" fmla="*/ 32883 h 816032"/>
                <a:gd name="connsiteX4509" fmla="*/ 656305 w 866764"/>
                <a:gd name="connsiteY4509" fmla="*/ 33700 h 816032"/>
                <a:gd name="connsiteX4510" fmla="*/ 657334 w 866764"/>
                <a:gd name="connsiteY4510" fmla="*/ 35878 h 816032"/>
                <a:gd name="connsiteX4511" fmla="*/ 657757 w 866764"/>
                <a:gd name="connsiteY4511" fmla="*/ 36453 h 816032"/>
                <a:gd name="connsiteX4512" fmla="*/ 659149 w 866764"/>
                <a:gd name="connsiteY4512" fmla="*/ 37663 h 816032"/>
                <a:gd name="connsiteX4513" fmla="*/ 659451 w 866764"/>
                <a:gd name="connsiteY4513" fmla="*/ 38419 h 816032"/>
                <a:gd name="connsiteX4514" fmla="*/ 659270 w 866764"/>
                <a:gd name="connsiteY4514" fmla="*/ 39418 h 816032"/>
                <a:gd name="connsiteX4515" fmla="*/ 658755 w 866764"/>
                <a:gd name="connsiteY4515" fmla="*/ 39690 h 816032"/>
                <a:gd name="connsiteX4516" fmla="*/ 658120 w 866764"/>
                <a:gd name="connsiteY4516" fmla="*/ 39902 h 816032"/>
                <a:gd name="connsiteX4517" fmla="*/ 657575 w 866764"/>
                <a:gd name="connsiteY4517" fmla="*/ 40658 h 816032"/>
                <a:gd name="connsiteX4518" fmla="*/ 656456 w 866764"/>
                <a:gd name="connsiteY4518" fmla="*/ 43743 h 816032"/>
                <a:gd name="connsiteX4519" fmla="*/ 654913 w 866764"/>
                <a:gd name="connsiteY4519" fmla="*/ 46859 h 816032"/>
                <a:gd name="connsiteX4520" fmla="*/ 653733 w 866764"/>
                <a:gd name="connsiteY4520" fmla="*/ 48554 h 816032"/>
                <a:gd name="connsiteX4521" fmla="*/ 653098 w 866764"/>
                <a:gd name="connsiteY4521" fmla="*/ 48856 h 816032"/>
                <a:gd name="connsiteX4522" fmla="*/ 652372 w 866764"/>
                <a:gd name="connsiteY4522" fmla="*/ 48674 h 816032"/>
                <a:gd name="connsiteX4523" fmla="*/ 643781 w 866764"/>
                <a:gd name="connsiteY4523" fmla="*/ 50520 h 816032"/>
                <a:gd name="connsiteX4524" fmla="*/ 642480 w 866764"/>
                <a:gd name="connsiteY4524" fmla="*/ 51095 h 816032"/>
                <a:gd name="connsiteX4525" fmla="*/ 639788 w 866764"/>
                <a:gd name="connsiteY4525" fmla="*/ 52759 h 816032"/>
                <a:gd name="connsiteX4526" fmla="*/ 637519 w 866764"/>
                <a:gd name="connsiteY4526" fmla="*/ 53787 h 816032"/>
                <a:gd name="connsiteX4527" fmla="*/ 636399 w 866764"/>
                <a:gd name="connsiteY4527" fmla="*/ 53908 h 816032"/>
                <a:gd name="connsiteX4528" fmla="*/ 635038 w 866764"/>
                <a:gd name="connsiteY4528" fmla="*/ 53666 h 816032"/>
                <a:gd name="connsiteX4529" fmla="*/ 633646 w 866764"/>
                <a:gd name="connsiteY4529" fmla="*/ 53666 h 816032"/>
                <a:gd name="connsiteX4530" fmla="*/ 631136 w 866764"/>
                <a:gd name="connsiteY4530" fmla="*/ 54846 h 816032"/>
                <a:gd name="connsiteX4531" fmla="*/ 629684 w 866764"/>
                <a:gd name="connsiteY4531" fmla="*/ 55118 h 816032"/>
                <a:gd name="connsiteX4532" fmla="*/ 627748 w 866764"/>
                <a:gd name="connsiteY4532" fmla="*/ 54392 h 816032"/>
                <a:gd name="connsiteX4533" fmla="*/ 624783 w 866764"/>
                <a:gd name="connsiteY4533" fmla="*/ 51367 h 816032"/>
                <a:gd name="connsiteX4534" fmla="*/ 622544 w 866764"/>
                <a:gd name="connsiteY4534" fmla="*/ 50580 h 816032"/>
                <a:gd name="connsiteX4535" fmla="*/ 621516 w 866764"/>
                <a:gd name="connsiteY4535" fmla="*/ 50943 h 816032"/>
                <a:gd name="connsiteX4536" fmla="*/ 617764 w 866764"/>
                <a:gd name="connsiteY4536" fmla="*/ 53273 h 816032"/>
                <a:gd name="connsiteX4537" fmla="*/ 614286 w 866764"/>
                <a:gd name="connsiteY4537" fmla="*/ 53515 h 816032"/>
                <a:gd name="connsiteX4538" fmla="*/ 613136 w 866764"/>
                <a:gd name="connsiteY4538" fmla="*/ 53878 h 816032"/>
                <a:gd name="connsiteX4539" fmla="*/ 611896 w 866764"/>
                <a:gd name="connsiteY4539" fmla="*/ 54725 h 816032"/>
                <a:gd name="connsiteX4540" fmla="*/ 611170 w 866764"/>
                <a:gd name="connsiteY4540" fmla="*/ 55391 h 816032"/>
                <a:gd name="connsiteX4541" fmla="*/ 610474 w 866764"/>
                <a:gd name="connsiteY4541" fmla="*/ 55814 h 816032"/>
                <a:gd name="connsiteX4542" fmla="*/ 609325 w 866764"/>
                <a:gd name="connsiteY4542" fmla="*/ 55965 h 816032"/>
                <a:gd name="connsiteX4543" fmla="*/ 608356 w 866764"/>
                <a:gd name="connsiteY4543" fmla="*/ 55723 h 816032"/>
                <a:gd name="connsiteX4544" fmla="*/ 606269 w 866764"/>
                <a:gd name="connsiteY4544" fmla="*/ 54574 h 816032"/>
                <a:gd name="connsiteX4545" fmla="*/ 605271 w 866764"/>
                <a:gd name="connsiteY4545" fmla="*/ 54241 h 816032"/>
                <a:gd name="connsiteX4546" fmla="*/ 596407 w 866764"/>
                <a:gd name="connsiteY4546" fmla="*/ 53666 h 816032"/>
                <a:gd name="connsiteX4547" fmla="*/ 595046 w 866764"/>
                <a:gd name="connsiteY4547" fmla="*/ 54090 h 816032"/>
                <a:gd name="connsiteX4548" fmla="*/ 594259 w 866764"/>
                <a:gd name="connsiteY4548" fmla="*/ 55239 h 816032"/>
                <a:gd name="connsiteX4549" fmla="*/ 593594 w 866764"/>
                <a:gd name="connsiteY4549" fmla="*/ 56600 h 816032"/>
                <a:gd name="connsiteX4550" fmla="*/ 592717 w 866764"/>
                <a:gd name="connsiteY4550" fmla="*/ 57599 h 816032"/>
                <a:gd name="connsiteX4551" fmla="*/ 591718 w 866764"/>
                <a:gd name="connsiteY4551" fmla="*/ 57962 h 816032"/>
                <a:gd name="connsiteX4552" fmla="*/ 590931 w 866764"/>
                <a:gd name="connsiteY4552" fmla="*/ 57871 h 816032"/>
                <a:gd name="connsiteX4553" fmla="*/ 590145 w 866764"/>
                <a:gd name="connsiteY4553" fmla="*/ 57659 h 816032"/>
                <a:gd name="connsiteX4554" fmla="*/ 589086 w 866764"/>
                <a:gd name="connsiteY4554" fmla="*/ 57569 h 816032"/>
                <a:gd name="connsiteX4555" fmla="*/ 586515 w 866764"/>
                <a:gd name="connsiteY4555" fmla="*/ 57992 h 816032"/>
                <a:gd name="connsiteX4556" fmla="*/ 569635 w 866764"/>
                <a:gd name="connsiteY4556" fmla="*/ 63014 h 816032"/>
                <a:gd name="connsiteX4557" fmla="*/ 567275 w 866764"/>
                <a:gd name="connsiteY4557" fmla="*/ 63165 h 816032"/>
                <a:gd name="connsiteX4558" fmla="*/ 564946 w 866764"/>
                <a:gd name="connsiteY4558" fmla="*/ 62832 h 816032"/>
                <a:gd name="connsiteX4559" fmla="*/ 562979 w 866764"/>
                <a:gd name="connsiteY4559" fmla="*/ 61743 h 816032"/>
                <a:gd name="connsiteX4560" fmla="*/ 558684 w 866764"/>
                <a:gd name="connsiteY4560" fmla="*/ 56298 h 816032"/>
                <a:gd name="connsiteX4561" fmla="*/ 556748 w 866764"/>
                <a:gd name="connsiteY4561" fmla="*/ 54785 h 816032"/>
                <a:gd name="connsiteX4562" fmla="*/ 556324 w 866764"/>
                <a:gd name="connsiteY4562" fmla="*/ 54634 h 816032"/>
                <a:gd name="connsiteX4563" fmla="*/ 552573 w 866764"/>
                <a:gd name="connsiteY4563" fmla="*/ 53001 h 816032"/>
                <a:gd name="connsiteX4564" fmla="*/ 552180 w 866764"/>
                <a:gd name="connsiteY4564" fmla="*/ 52577 h 816032"/>
                <a:gd name="connsiteX4565" fmla="*/ 551393 w 866764"/>
                <a:gd name="connsiteY4565" fmla="*/ 51367 h 816032"/>
                <a:gd name="connsiteX4566" fmla="*/ 551091 w 866764"/>
                <a:gd name="connsiteY4566" fmla="*/ 51064 h 816032"/>
                <a:gd name="connsiteX4567" fmla="*/ 550576 w 866764"/>
                <a:gd name="connsiteY4567" fmla="*/ 51064 h 816032"/>
                <a:gd name="connsiteX4568" fmla="*/ 548942 w 866764"/>
                <a:gd name="connsiteY4568" fmla="*/ 51367 h 816032"/>
                <a:gd name="connsiteX4569" fmla="*/ 532486 w 866764"/>
                <a:gd name="connsiteY4569" fmla="*/ 44923 h 816032"/>
                <a:gd name="connsiteX4570" fmla="*/ 529400 w 866764"/>
                <a:gd name="connsiteY4570" fmla="*/ 43169 h 816032"/>
                <a:gd name="connsiteX4571" fmla="*/ 528039 w 866764"/>
                <a:gd name="connsiteY4571" fmla="*/ 43017 h 816032"/>
                <a:gd name="connsiteX4572" fmla="*/ 527040 w 866764"/>
                <a:gd name="connsiteY4572" fmla="*/ 43199 h 816032"/>
                <a:gd name="connsiteX4573" fmla="*/ 524953 w 866764"/>
                <a:gd name="connsiteY4573" fmla="*/ 43895 h 816032"/>
                <a:gd name="connsiteX4574" fmla="*/ 521051 w 866764"/>
                <a:gd name="connsiteY4574" fmla="*/ 44137 h 816032"/>
                <a:gd name="connsiteX4575" fmla="*/ 520718 w 866764"/>
                <a:gd name="connsiteY4575" fmla="*/ 45801 h 816032"/>
                <a:gd name="connsiteX4576" fmla="*/ 520990 w 866764"/>
                <a:gd name="connsiteY4576" fmla="*/ 47948 h 816032"/>
                <a:gd name="connsiteX4577" fmla="*/ 520113 w 866764"/>
                <a:gd name="connsiteY4577" fmla="*/ 49734 h 816032"/>
                <a:gd name="connsiteX4578" fmla="*/ 518116 w 866764"/>
                <a:gd name="connsiteY4578" fmla="*/ 49643 h 816032"/>
                <a:gd name="connsiteX4579" fmla="*/ 515908 w 866764"/>
                <a:gd name="connsiteY4579" fmla="*/ 47828 h 816032"/>
                <a:gd name="connsiteX4580" fmla="*/ 512520 w 866764"/>
                <a:gd name="connsiteY4580" fmla="*/ 43774 h 816032"/>
                <a:gd name="connsiteX4581" fmla="*/ 510553 w 866764"/>
                <a:gd name="connsiteY4581" fmla="*/ 42140 h 816032"/>
                <a:gd name="connsiteX4582" fmla="*/ 508708 w 866764"/>
                <a:gd name="connsiteY4582" fmla="*/ 41324 h 816032"/>
                <a:gd name="connsiteX4583" fmla="*/ 506742 w 866764"/>
                <a:gd name="connsiteY4583" fmla="*/ 41051 h 816032"/>
                <a:gd name="connsiteX4584" fmla="*/ 504412 w 866764"/>
                <a:gd name="connsiteY4584" fmla="*/ 41051 h 816032"/>
                <a:gd name="connsiteX4585" fmla="*/ 505048 w 866764"/>
                <a:gd name="connsiteY4585" fmla="*/ 39811 h 816032"/>
                <a:gd name="connsiteX4586" fmla="*/ 501539 w 866764"/>
                <a:gd name="connsiteY4586" fmla="*/ 39872 h 816032"/>
                <a:gd name="connsiteX4587" fmla="*/ 500177 w 866764"/>
                <a:gd name="connsiteY4587" fmla="*/ 39569 h 816032"/>
                <a:gd name="connsiteX4588" fmla="*/ 498604 w 866764"/>
                <a:gd name="connsiteY4588" fmla="*/ 38268 h 816032"/>
                <a:gd name="connsiteX4589" fmla="*/ 498544 w 866764"/>
                <a:gd name="connsiteY4589" fmla="*/ 37814 h 816032"/>
                <a:gd name="connsiteX4590" fmla="*/ 498786 w 866764"/>
                <a:gd name="connsiteY4590" fmla="*/ 36453 h 816032"/>
                <a:gd name="connsiteX4591" fmla="*/ 498665 w 866764"/>
                <a:gd name="connsiteY4591" fmla="*/ 35818 h 816032"/>
                <a:gd name="connsiteX4592" fmla="*/ 498271 w 866764"/>
                <a:gd name="connsiteY4592" fmla="*/ 35424 h 816032"/>
                <a:gd name="connsiteX4593" fmla="*/ 497303 w 866764"/>
                <a:gd name="connsiteY4593" fmla="*/ 34880 h 816032"/>
                <a:gd name="connsiteX4594" fmla="*/ 496940 w 866764"/>
                <a:gd name="connsiteY4594" fmla="*/ 34517 h 816032"/>
                <a:gd name="connsiteX4595" fmla="*/ 496396 w 866764"/>
                <a:gd name="connsiteY4595" fmla="*/ 33791 h 816032"/>
                <a:gd name="connsiteX4596" fmla="*/ 495882 w 866764"/>
                <a:gd name="connsiteY4596" fmla="*/ 33307 h 816032"/>
                <a:gd name="connsiteX4597" fmla="*/ 495458 w 866764"/>
                <a:gd name="connsiteY4597" fmla="*/ 32732 h 816032"/>
                <a:gd name="connsiteX4598" fmla="*/ 495186 w 866764"/>
                <a:gd name="connsiteY4598" fmla="*/ 31734 h 816032"/>
                <a:gd name="connsiteX4599" fmla="*/ 494853 w 866764"/>
                <a:gd name="connsiteY4599" fmla="*/ 28315 h 816032"/>
                <a:gd name="connsiteX4600" fmla="*/ 493613 w 866764"/>
                <a:gd name="connsiteY4600" fmla="*/ 25079 h 816032"/>
                <a:gd name="connsiteX4601" fmla="*/ 491525 w 866764"/>
                <a:gd name="connsiteY4601" fmla="*/ 23354 h 816032"/>
                <a:gd name="connsiteX4602" fmla="*/ 488621 w 866764"/>
                <a:gd name="connsiteY4602" fmla="*/ 24383 h 816032"/>
                <a:gd name="connsiteX4603" fmla="*/ 486383 w 866764"/>
                <a:gd name="connsiteY4603" fmla="*/ 24836 h 816032"/>
                <a:gd name="connsiteX4604" fmla="*/ 484325 w 866764"/>
                <a:gd name="connsiteY4604" fmla="*/ 27529 h 816032"/>
                <a:gd name="connsiteX4605" fmla="*/ 482813 w 866764"/>
                <a:gd name="connsiteY4605" fmla="*/ 27831 h 816032"/>
                <a:gd name="connsiteX4606" fmla="*/ 480695 w 866764"/>
                <a:gd name="connsiteY4606" fmla="*/ 27498 h 816032"/>
                <a:gd name="connsiteX4607" fmla="*/ 479122 w 866764"/>
                <a:gd name="connsiteY4607" fmla="*/ 27650 h 816032"/>
                <a:gd name="connsiteX4608" fmla="*/ 475764 w 866764"/>
                <a:gd name="connsiteY4608" fmla="*/ 28587 h 816032"/>
                <a:gd name="connsiteX4609" fmla="*/ 474857 w 866764"/>
                <a:gd name="connsiteY4609" fmla="*/ 28678 h 816032"/>
                <a:gd name="connsiteX4610" fmla="*/ 472164 w 866764"/>
                <a:gd name="connsiteY4610" fmla="*/ 28376 h 816032"/>
                <a:gd name="connsiteX4611" fmla="*/ 471287 w 866764"/>
                <a:gd name="connsiteY4611" fmla="*/ 28497 h 816032"/>
                <a:gd name="connsiteX4612" fmla="*/ 470621 w 866764"/>
                <a:gd name="connsiteY4612" fmla="*/ 28860 h 816032"/>
                <a:gd name="connsiteX4613" fmla="*/ 469926 w 866764"/>
                <a:gd name="connsiteY4613" fmla="*/ 29072 h 816032"/>
                <a:gd name="connsiteX4614" fmla="*/ 468988 w 866764"/>
                <a:gd name="connsiteY4614" fmla="*/ 28769 h 816032"/>
                <a:gd name="connsiteX4615" fmla="*/ 468806 w 866764"/>
                <a:gd name="connsiteY4615" fmla="*/ 28104 h 816032"/>
                <a:gd name="connsiteX4616" fmla="*/ 469049 w 866764"/>
                <a:gd name="connsiteY4616" fmla="*/ 27075 h 816032"/>
                <a:gd name="connsiteX4617" fmla="*/ 468958 w 866764"/>
                <a:gd name="connsiteY4617" fmla="*/ 26016 h 816032"/>
                <a:gd name="connsiteX4618" fmla="*/ 466991 w 866764"/>
                <a:gd name="connsiteY4618" fmla="*/ 24867 h 816032"/>
                <a:gd name="connsiteX4619" fmla="*/ 465358 w 866764"/>
                <a:gd name="connsiteY4619" fmla="*/ 23173 h 816032"/>
                <a:gd name="connsiteX4620" fmla="*/ 463603 w 866764"/>
                <a:gd name="connsiteY4620" fmla="*/ 23384 h 816032"/>
                <a:gd name="connsiteX4621" fmla="*/ 461697 w 866764"/>
                <a:gd name="connsiteY4621" fmla="*/ 24110 h 816032"/>
                <a:gd name="connsiteX4622" fmla="*/ 460033 w 866764"/>
                <a:gd name="connsiteY4622" fmla="*/ 25109 h 816032"/>
                <a:gd name="connsiteX4623" fmla="*/ 459882 w 866764"/>
                <a:gd name="connsiteY4623" fmla="*/ 25199 h 816032"/>
                <a:gd name="connsiteX4624" fmla="*/ 458400 w 866764"/>
                <a:gd name="connsiteY4624" fmla="*/ 26379 h 816032"/>
                <a:gd name="connsiteX4625" fmla="*/ 457976 w 866764"/>
                <a:gd name="connsiteY4625" fmla="*/ 27166 h 816032"/>
                <a:gd name="connsiteX4626" fmla="*/ 457523 w 866764"/>
                <a:gd name="connsiteY4626" fmla="*/ 29102 h 816032"/>
                <a:gd name="connsiteX4627" fmla="*/ 457250 w 866764"/>
                <a:gd name="connsiteY4627" fmla="*/ 29586 h 816032"/>
                <a:gd name="connsiteX4628" fmla="*/ 456494 w 866764"/>
                <a:gd name="connsiteY4628" fmla="*/ 29525 h 816032"/>
                <a:gd name="connsiteX4629" fmla="*/ 456071 w 866764"/>
                <a:gd name="connsiteY4629" fmla="*/ 29011 h 816032"/>
                <a:gd name="connsiteX4630" fmla="*/ 455617 w 866764"/>
                <a:gd name="connsiteY4630" fmla="*/ 28285 h 816032"/>
                <a:gd name="connsiteX4631" fmla="*/ 454830 w 866764"/>
                <a:gd name="connsiteY4631" fmla="*/ 27710 h 816032"/>
                <a:gd name="connsiteX4632" fmla="*/ 451835 w 866764"/>
                <a:gd name="connsiteY4632" fmla="*/ 26894 h 816032"/>
                <a:gd name="connsiteX4633" fmla="*/ 447812 w 866764"/>
                <a:gd name="connsiteY4633" fmla="*/ 26561 h 816032"/>
                <a:gd name="connsiteX4634" fmla="*/ 444878 w 866764"/>
                <a:gd name="connsiteY4634" fmla="*/ 27831 h 816032"/>
                <a:gd name="connsiteX4635" fmla="*/ 445120 w 866764"/>
                <a:gd name="connsiteY4635" fmla="*/ 31794 h 816032"/>
                <a:gd name="connsiteX4636" fmla="*/ 445392 w 866764"/>
                <a:gd name="connsiteY4636" fmla="*/ 34517 h 816032"/>
                <a:gd name="connsiteX4637" fmla="*/ 445392 w 866764"/>
                <a:gd name="connsiteY4637" fmla="*/ 35545 h 816032"/>
                <a:gd name="connsiteX4638" fmla="*/ 444726 w 866764"/>
                <a:gd name="connsiteY4638" fmla="*/ 36483 h 816032"/>
                <a:gd name="connsiteX4639" fmla="*/ 443607 w 866764"/>
                <a:gd name="connsiteY4639" fmla="*/ 36997 h 816032"/>
                <a:gd name="connsiteX4640" fmla="*/ 442427 w 866764"/>
                <a:gd name="connsiteY4640" fmla="*/ 36786 h 816032"/>
                <a:gd name="connsiteX4641" fmla="*/ 440189 w 866764"/>
                <a:gd name="connsiteY4641" fmla="*/ 35394 h 816032"/>
                <a:gd name="connsiteX4642" fmla="*/ 439826 w 866764"/>
                <a:gd name="connsiteY4642" fmla="*/ 36271 h 816032"/>
                <a:gd name="connsiteX4643" fmla="*/ 439342 w 866764"/>
                <a:gd name="connsiteY4643" fmla="*/ 36574 h 816032"/>
                <a:gd name="connsiteX4644" fmla="*/ 438797 w 866764"/>
                <a:gd name="connsiteY4644" fmla="*/ 36695 h 816032"/>
                <a:gd name="connsiteX4645" fmla="*/ 438222 w 866764"/>
                <a:gd name="connsiteY4645" fmla="*/ 37058 h 816032"/>
                <a:gd name="connsiteX4646" fmla="*/ 436559 w 866764"/>
                <a:gd name="connsiteY4646" fmla="*/ 38601 h 816032"/>
                <a:gd name="connsiteX4647" fmla="*/ 435076 w 866764"/>
                <a:gd name="connsiteY4647" fmla="*/ 38692 h 816032"/>
                <a:gd name="connsiteX4648" fmla="*/ 430327 w 866764"/>
                <a:gd name="connsiteY4648" fmla="*/ 35485 h 816032"/>
                <a:gd name="connsiteX4649" fmla="*/ 429510 w 866764"/>
                <a:gd name="connsiteY4649" fmla="*/ 35394 h 816032"/>
                <a:gd name="connsiteX4650" fmla="*/ 426787 w 866764"/>
                <a:gd name="connsiteY4650" fmla="*/ 37723 h 816032"/>
                <a:gd name="connsiteX4651" fmla="*/ 425184 w 866764"/>
                <a:gd name="connsiteY4651" fmla="*/ 38449 h 816032"/>
                <a:gd name="connsiteX4652" fmla="*/ 423097 w 866764"/>
                <a:gd name="connsiteY4652" fmla="*/ 38934 h 816032"/>
                <a:gd name="connsiteX4653" fmla="*/ 420949 w 866764"/>
                <a:gd name="connsiteY4653" fmla="*/ 39146 h 816032"/>
                <a:gd name="connsiteX4654" fmla="*/ 419164 w 866764"/>
                <a:gd name="connsiteY4654" fmla="*/ 39055 h 816032"/>
                <a:gd name="connsiteX4655" fmla="*/ 417651 w 866764"/>
                <a:gd name="connsiteY4655" fmla="*/ 39720 h 816032"/>
                <a:gd name="connsiteX4656" fmla="*/ 415383 w 866764"/>
                <a:gd name="connsiteY4656" fmla="*/ 43229 h 816032"/>
                <a:gd name="connsiteX4657" fmla="*/ 413749 w 866764"/>
                <a:gd name="connsiteY4657" fmla="*/ 43623 h 816032"/>
                <a:gd name="connsiteX4658" fmla="*/ 410452 w 866764"/>
                <a:gd name="connsiteY4658" fmla="*/ 42927 h 816032"/>
                <a:gd name="connsiteX4659" fmla="*/ 407093 w 866764"/>
                <a:gd name="connsiteY4659" fmla="*/ 42927 h 816032"/>
                <a:gd name="connsiteX4660" fmla="*/ 405158 w 866764"/>
                <a:gd name="connsiteY4660" fmla="*/ 43592 h 816032"/>
                <a:gd name="connsiteX4661" fmla="*/ 402647 w 866764"/>
                <a:gd name="connsiteY4661" fmla="*/ 45952 h 816032"/>
                <a:gd name="connsiteX4662" fmla="*/ 402344 w 866764"/>
                <a:gd name="connsiteY4662" fmla="*/ 46103 h 816032"/>
                <a:gd name="connsiteX4663" fmla="*/ 401104 w 866764"/>
                <a:gd name="connsiteY4663" fmla="*/ 46859 h 816032"/>
                <a:gd name="connsiteX4664" fmla="*/ 397716 w 866764"/>
                <a:gd name="connsiteY4664" fmla="*/ 46738 h 816032"/>
                <a:gd name="connsiteX4665" fmla="*/ 391091 w 866764"/>
                <a:gd name="connsiteY4665" fmla="*/ 43562 h 816032"/>
                <a:gd name="connsiteX4666" fmla="*/ 381168 w 866764"/>
                <a:gd name="connsiteY4666" fmla="*/ 43320 h 816032"/>
                <a:gd name="connsiteX4667" fmla="*/ 379262 w 866764"/>
                <a:gd name="connsiteY4667" fmla="*/ 43895 h 816032"/>
                <a:gd name="connsiteX4668" fmla="*/ 376207 w 866764"/>
                <a:gd name="connsiteY4668" fmla="*/ 45952 h 816032"/>
                <a:gd name="connsiteX4669" fmla="*/ 374422 w 866764"/>
                <a:gd name="connsiteY4669" fmla="*/ 46859 h 816032"/>
                <a:gd name="connsiteX4670" fmla="*/ 372274 w 866764"/>
                <a:gd name="connsiteY4670" fmla="*/ 47102 h 816032"/>
                <a:gd name="connsiteX4671" fmla="*/ 371215 w 866764"/>
                <a:gd name="connsiteY4671" fmla="*/ 46164 h 816032"/>
                <a:gd name="connsiteX4672" fmla="*/ 370278 w 866764"/>
                <a:gd name="connsiteY4672" fmla="*/ 44742 h 816032"/>
                <a:gd name="connsiteX4673" fmla="*/ 368402 w 866764"/>
                <a:gd name="connsiteY4673" fmla="*/ 43532 h 816032"/>
                <a:gd name="connsiteX4674" fmla="*/ 366617 w 866764"/>
                <a:gd name="connsiteY4674" fmla="*/ 43653 h 816032"/>
                <a:gd name="connsiteX4675" fmla="*/ 364258 w 866764"/>
                <a:gd name="connsiteY4675" fmla="*/ 44591 h 816032"/>
                <a:gd name="connsiteX4676" fmla="*/ 362019 w 866764"/>
                <a:gd name="connsiteY4676" fmla="*/ 45892 h 816032"/>
                <a:gd name="connsiteX4677" fmla="*/ 360537 w 866764"/>
                <a:gd name="connsiteY4677" fmla="*/ 47162 h 816032"/>
                <a:gd name="connsiteX4678" fmla="*/ 360204 w 866764"/>
                <a:gd name="connsiteY4678" fmla="*/ 48100 h 816032"/>
                <a:gd name="connsiteX4679" fmla="*/ 360053 w 866764"/>
                <a:gd name="connsiteY4679" fmla="*/ 50338 h 816032"/>
                <a:gd name="connsiteX4680" fmla="*/ 359538 w 866764"/>
                <a:gd name="connsiteY4680" fmla="*/ 51518 h 816032"/>
                <a:gd name="connsiteX4681" fmla="*/ 358631 w 866764"/>
                <a:gd name="connsiteY4681" fmla="*/ 52365 h 816032"/>
                <a:gd name="connsiteX4682" fmla="*/ 357542 w 866764"/>
                <a:gd name="connsiteY4682" fmla="*/ 52940 h 816032"/>
                <a:gd name="connsiteX4683" fmla="*/ 355273 w 866764"/>
                <a:gd name="connsiteY4683" fmla="*/ 53545 h 816032"/>
                <a:gd name="connsiteX4684" fmla="*/ 351038 w 866764"/>
                <a:gd name="connsiteY4684" fmla="*/ 53968 h 816032"/>
                <a:gd name="connsiteX4685" fmla="*/ 331072 w 866764"/>
                <a:gd name="connsiteY4685" fmla="*/ 51155 h 816032"/>
                <a:gd name="connsiteX4686" fmla="*/ 321936 w 866764"/>
                <a:gd name="connsiteY4686" fmla="*/ 50520 h 816032"/>
                <a:gd name="connsiteX4687" fmla="*/ 319001 w 866764"/>
                <a:gd name="connsiteY4687" fmla="*/ 51004 h 816032"/>
                <a:gd name="connsiteX4688" fmla="*/ 317398 w 866764"/>
                <a:gd name="connsiteY4688" fmla="*/ 51276 h 816032"/>
                <a:gd name="connsiteX4689" fmla="*/ 315523 w 866764"/>
                <a:gd name="connsiteY4689" fmla="*/ 52789 h 816032"/>
                <a:gd name="connsiteX4690" fmla="*/ 314403 w 866764"/>
                <a:gd name="connsiteY4690" fmla="*/ 53696 h 816032"/>
                <a:gd name="connsiteX4691" fmla="*/ 313465 w 866764"/>
                <a:gd name="connsiteY4691" fmla="*/ 57145 h 816032"/>
                <a:gd name="connsiteX4692" fmla="*/ 313344 w 866764"/>
                <a:gd name="connsiteY4692" fmla="*/ 57569 h 816032"/>
                <a:gd name="connsiteX4693" fmla="*/ 312921 w 866764"/>
                <a:gd name="connsiteY4693" fmla="*/ 67309 h 816032"/>
                <a:gd name="connsiteX4694" fmla="*/ 311983 w 866764"/>
                <a:gd name="connsiteY4694" fmla="*/ 72029 h 816032"/>
                <a:gd name="connsiteX4695" fmla="*/ 310833 w 866764"/>
                <a:gd name="connsiteY4695" fmla="*/ 74509 h 816032"/>
                <a:gd name="connsiteX4696" fmla="*/ 309744 w 866764"/>
                <a:gd name="connsiteY4696" fmla="*/ 75235 h 816032"/>
                <a:gd name="connsiteX4697" fmla="*/ 308413 w 866764"/>
                <a:gd name="connsiteY4697" fmla="*/ 74630 h 816032"/>
                <a:gd name="connsiteX4698" fmla="*/ 306628 w 866764"/>
                <a:gd name="connsiteY4698" fmla="*/ 73148 h 816032"/>
                <a:gd name="connsiteX4699" fmla="*/ 305842 w 866764"/>
                <a:gd name="connsiteY4699" fmla="*/ 72180 h 816032"/>
                <a:gd name="connsiteX4700" fmla="*/ 305418 w 866764"/>
                <a:gd name="connsiteY4700" fmla="*/ 71212 h 816032"/>
                <a:gd name="connsiteX4701" fmla="*/ 304935 w 866764"/>
                <a:gd name="connsiteY4701" fmla="*/ 70637 h 816032"/>
                <a:gd name="connsiteX4702" fmla="*/ 304813 w 866764"/>
                <a:gd name="connsiteY4702" fmla="*/ 70516 h 816032"/>
                <a:gd name="connsiteX4703" fmla="*/ 303634 w 866764"/>
                <a:gd name="connsiteY4703" fmla="*/ 70244 h 816032"/>
                <a:gd name="connsiteX4704" fmla="*/ 302121 w 866764"/>
                <a:gd name="connsiteY4704" fmla="*/ 70607 h 816032"/>
                <a:gd name="connsiteX4705" fmla="*/ 301788 w 866764"/>
                <a:gd name="connsiteY4705" fmla="*/ 71514 h 816032"/>
                <a:gd name="connsiteX4706" fmla="*/ 301879 w 866764"/>
                <a:gd name="connsiteY4706" fmla="*/ 72603 h 816032"/>
                <a:gd name="connsiteX4707" fmla="*/ 301637 w 866764"/>
                <a:gd name="connsiteY4707" fmla="*/ 73602 h 816032"/>
                <a:gd name="connsiteX4708" fmla="*/ 299913 w 866764"/>
                <a:gd name="connsiteY4708" fmla="*/ 75629 h 816032"/>
                <a:gd name="connsiteX4709" fmla="*/ 298188 w 866764"/>
                <a:gd name="connsiteY4709" fmla="*/ 76960 h 816032"/>
                <a:gd name="connsiteX4710" fmla="*/ 297825 w 866764"/>
                <a:gd name="connsiteY4710" fmla="*/ 77081 h 816032"/>
                <a:gd name="connsiteX4711" fmla="*/ 296283 w 866764"/>
                <a:gd name="connsiteY4711" fmla="*/ 77625 h 816032"/>
                <a:gd name="connsiteX4712" fmla="*/ 294074 w 866764"/>
                <a:gd name="connsiteY4712" fmla="*/ 77746 h 816032"/>
                <a:gd name="connsiteX4713" fmla="*/ 290777 w 866764"/>
                <a:gd name="connsiteY4713" fmla="*/ 77293 h 816032"/>
                <a:gd name="connsiteX4714" fmla="*/ 289173 w 866764"/>
                <a:gd name="connsiteY4714" fmla="*/ 77293 h 816032"/>
                <a:gd name="connsiteX4715" fmla="*/ 287237 w 866764"/>
                <a:gd name="connsiteY4715" fmla="*/ 77837 h 816032"/>
                <a:gd name="connsiteX4716" fmla="*/ 285846 w 866764"/>
                <a:gd name="connsiteY4716" fmla="*/ 78170 h 816032"/>
                <a:gd name="connsiteX4717" fmla="*/ 284212 w 866764"/>
                <a:gd name="connsiteY4717" fmla="*/ 78321 h 816032"/>
                <a:gd name="connsiteX4718" fmla="*/ 281217 w 866764"/>
                <a:gd name="connsiteY4718" fmla="*/ 78200 h 816032"/>
                <a:gd name="connsiteX4719" fmla="*/ 280068 w 866764"/>
                <a:gd name="connsiteY4719" fmla="*/ 77807 h 816032"/>
                <a:gd name="connsiteX4720" fmla="*/ 277950 w 866764"/>
                <a:gd name="connsiteY4720" fmla="*/ 76536 h 816032"/>
                <a:gd name="connsiteX4721" fmla="*/ 277042 w 866764"/>
                <a:gd name="connsiteY4721" fmla="*/ 76113 h 816032"/>
                <a:gd name="connsiteX4722" fmla="*/ 275772 w 866764"/>
                <a:gd name="connsiteY4722" fmla="*/ 76022 h 816032"/>
                <a:gd name="connsiteX4723" fmla="*/ 273231 w 866764"/>
                <a:gd name="connsiteY4723" fmla="*/ 76445 h 816032"/>
                <a:gd name="connsiteX4724" fmla="*/ 271325 w 866764"/>
                <a:gd name="connsiteY4724" fmla="*/ 76506 h 816032"/>
                <a:gd name="connsiteX4725" fmla="*/ 270478 w 866764"/>
                <a:gd name="connsiteY4725" fmla="*/ 77020 h 816032"/>
                <a:gd name="connsiteX4726" fmla="*/ 269843 w 866764"/>
                <a:gd name="connsiteY4726" fmla="*/ 76960 h 816032"/>
                <a:gd name="connsiteX4727" fmla="*/ 269631 w 866764"/>
                <a:gd name="connsiteY4727" fmla="*/ 76536 h 816032"/>
                <a:gd name="connsiteX4728" fmla="*/ 269480 w 866764"/>
                <a:gd name="connsiteY4728" fmla="*/ 74933 h 816032"/>
                <a:gd name="connsiteX4729" fmla="*/ 269207 w 866764"/>
                <a:gd name="connsiteY4729" fmla="*/ 74449 h 816032"/>
                <a:gd name="connsiteX4730" fmla="*/ 268270 w 866764"/>
                <a:gd name="connsiteY4730" fmla="*/ 74207 h 816032"/>
                <a:gd name="connsiteX4731" fmla="*/ 265214 w 866764"/>
                <a:gd name="connsiteY4731" fmla="*/ 73844 h 816032"/>
                <a:gd name="connsiteX4732" fmla="*/ 261403 w 866764"/>
                <a:gd name="connsiteY4732" fmla="*/ 72725 h 816032"/>
                <a:gd name="connsiteX4733" fmla="*/ 260253 w 866764"/>
                <a:gd name="connsiteY4733" fmla="*/ 72603 h 816032"/>
                <a:gd name="connsiteX4734" fmla="*/ 259467 w 866764"/>
                <a:gd name="connsiteY4734" fmla="*/ 72513 h 816032"/>
                <a:gd name="connsiteX4735" fmla="*/ 257167 w 866764"/>
                <a:gd name="connsiteY4735" fmla="*/ 72694 h 816032"/>
                <a:gd name="connsiteX4736" fmla="*/ 254868 w 866764"/>
                <a:gd name="connsiteY4736" fmla="*/ 73692 h 816032"/>
                <a:gd name="connsiteX4737" fmla="*/ 251238 w 866764"/>
                <a:gd name="connsiteY4737" fmla="*/ 76718 h 816032"/>
                <a:gd name="connsiteX4738" fmla="*/ 249120 w 866764"/>
                <a:gd name="connsiteY4738" fmla="*/ 77413 h 816032"/>
                <a:gd name="connsiteX4739" fmla="*/ 248394 w 866764"/>
                <a:gd name="connsiteY4739" fmla="*/ 77171 h 816032"/>
                <a:gd name="connsiteX4740" fmla="*/ 245037 w 866764"/>
                <a:gd name="connsiteY4740" fmla="*/ 75507 h 816032"/>
                <a:gd name="connsiteX4741" fmla="*/ 244795 w 866764"/>
                <a:gd name="connsiteY4741" fmla="*/ 75144 h 816032"/>
                <a:gd name="connsiteX4742" fmla="*/ 244643 w 866764"/>
                <a:gd name="connsiteY4742" fmla="*/ 74540 h 816032"/>
                <a:gd name="connsiteX4743" fmla="*/ 244341 w 866764"/>
                <a:gd name="connsiteY4743" fmla="*/ 73935 h 816032"/>
                <a:gd name="connsiteX4744" fmla="*/ 243615 w 866764"/>
                <a:gd name="connsiteY4744" fmla="*/ 73692 h 816032"/>
                <a:gd name="connsiteX4745" fmla="*/ 243191 w 866764"/>
                <a:gd name="connsiteY4745" fmla="*/ 73935 h 816032"/>
                <a:gd name="connsiteX4746" fmla="*/ 242163 w 866764"/>
                <a:gd name="connsiteY4746" fmla="*/ 74993 h 816032"/>
                <a:gd name="connsiteX4747" fmla="*/ 241679 w 866764"/>
                <a:gd name="connsiteY4747" fmla="*/ 75326 h 816032"/>
                <a:gd name="connsiteX4748" fmla="*/ 235235 w 866764"/>
                <a:gd name="connsiteY4748" fmla="*/ 77050 h 816032"/>
                <a:gd name="connsiteX4749" fmla="*/ 232180 w 866764"/>
                <a:gd name="connsiteY4749" fmla="*/ 78593 h 816032"/>
                <a:gd name="connsiteX4750" fmla="*/ 231242 w 866764"/>
                <a:gd name="connsiteY4750" fmla="*/ 79229 h 816032"/>
                <a:gd name="connsiteX4751" fmla="*/ 229578 w 866764"/>
                <a:gd name="connsiteY4751" fmla="*/ 80378 h 816032"/>
                <a:gd name="connsiteX4752" fmla="*/ 228792 w 866764"/>
                <a:gd name="connsiteY4752" fmla="*/ 81195 h 816032"/>
                <a:gd name="connsiteX4753" fmla="*/ 228398 w 866764"/>
                <a:gd name="connsiteY4753" fmla="*/ 82344 h 816032"/>
                <a:gd name="connsiteX4754" fmla="*/ 228307 w 866764"/>
                <a:gd name="connsiteY4754" fmla="*/ 84371 h 816032"/>
                <a:gd name="connsiteX4755" fmla="*/ 228307 w 866764"/>
                <a:gd name="connsiteY4755" fmla="*/ 84765 h 816032"/>
                <a:gd name="connsiteX4756" fmla="*/ 228096 w 866764"/>
                <a:gd name="connsiteY4756" fmla="*/ 85702 h 816032"/>
                <a:gd name="connsiteX4757" fmla="*/ 226734 w 866764"/>
                <a:gd name="connsiteY4757" fmla="*/ 87578 h 816032"/>
                <a:gd name="connsiteX4758" fmla="*/ 223135 w 866764"/>
                <a:gd name="connsiteY4758" fmla="*/ 90754 h 816032"/>
                <a:gd name="connsiteX4759" fmla="*/ 221773 w 866764"/>
                <a:gd name="connsiteY4759" fmla="*/ 93053 h 816032"/>
                <a:gd name="connsiteX4760" fmla="*/ 221773 w 866764"/>
                <a:gd name="connsiteY4760" fmla="*/ 93053 h 816032"/>
                <a:gd name="connsiteX4761" fmla="*/ 217992 w 866764"/>
                <a:gd name="connsiteY4761" fmla="*/ 95534 h 816032"/>
                <a:gd name="connsiteX4762" fmla="*/ 216993 w 866764"/>
                <a:gd name="connsiteY4762" fmla="*/ 96683 h 816032"/>
                <a:gd name="connsiteX4763" fmla="*/ 216812 w 866764"/>
                <a:gd name="connsiteY4763" fmla="*/ 97682 h 816032"/>
                <a:gd name="connsiteX4764" fmla="*/ 216812 w 866764"/>
                <a:gd name="connsiteY4764" fmla="*/ 99013 h 816032"/>
                <a:gd name="connsiteX4765" fmla="*/ 216449 w 866764"/>
                <a:gd name="connsiteY4765" fmla="*/ 100405 h 816032"/>
                <a:gd name="connsiteX4766" fmla="*/ 215178 w 866764"/>
                <a:gd name="connsiteY4766" fmla="*/ 101614 h 816032"/>
                <a:gd name="connsiteX4767" fmla="*/ 214331 w 866764"/>
                <a:gd name="connsiteY4767" fmla="*/ 101796 h 816032"/>
                <a:gd name="connsiteX4768" fmla="*/ 212305 w 866764"/>
                <a:gd name="connsiteY4768" fmla="*/ 102220 h 816032"/>
                <a:gd name="connsiteX4769" fmla="*/ 207071 w 866764"/>
                <a:gd name="connsiteY4769" fmla="*/ 101131 h 816032"/>
                <a:gd name="connsiteX4770" fmla="*/ 204227 w 866764"/>
                <a:gd name="connsiteY4770" fmla="*/ 102311 h 816032"/>
                <a:gd name="connsiteX4771" fmla="*/ 204016 w 866764"/>
                <a:gd name="connsiteY4771" fmla="*/ 102794 h 816032"/>
                <a:gd name="connsiteX4772" fmla="*/ 203804 w 866764"/>
                <a:gd name="connsiteY4772" fmla="*/ 104367 h 816032"/>
                <a:gd name="connsiteX4773" fmla="*/ 203411 w 866764"/>
                <a:gd name="connsiteY4773" fmla="*/ 105033 h 816032"/>
                <a:gd name="connsiteX4774" fmla="*/ 202926 w 866764"/>
                <a:gd name="connsiteY4774" fmla="*/ 105215 h 816032"/>
                <a:gd name="connsiteX4775" fmla="*/ 201474 w 866764"/>
                <a:gd name="connsiteY4775" fmla="*/ 105124 h 816032"/>
                <a:gd name="connsiteX4776" fmla="*/ 200900 w 866764"/>
                <a:gd name="connsiteY4776" fmla="*/ 105215 h 816032"/>
                <a:gd name="connsiteX4777" fmla="*/ 199871 w 866764"/>
                <a:gd name="connsiteY4777" fmla="*/ 105971 h 816032"/>
                <a:gd name="connsiteX4778" fmla="*/ 197542 w 866764"/>
                <a:gd name="connsiteY4778" fmla="*/ 108119 h 816032"/>
                <a:gd name="connsiteX4779" fmla="*/ 196665 w 866764"/>
                <a:gd name="connsiteY4779" fmla="*/ 108663 h 816032"/>
                <a:gd name="connsiteX4780" fmla="*/ 193851 w 866764"/>
                <a:gd name="connsiteY4780" fmla="*/ 108149 h 816032"/>
                <a:gd name="connsiteX4781" fmla="*/ 189404 w 866764"/>
                <a:gd name="connsiteY4781" fmla="*/ 104489 h 816032"/>
                <a:gd name="connsiteX4782" fmla="*/ 189011 w 866764"/>
                <a:gd name="connsiteY4782" fmla="*/ 104489 h 816032"/>
                <a:gd name="connsiteX4783" fmla="*/ 181327 w 866764"/>
                <a:gd name="connsiteY4783" fmla="*/ 103460 h 816032"/>
                <a:gd name="connsiteX4784" fmla="*/ 178846 w 866764"/>
                <a:gd name="connsiteY4784" fmla="*/ 103520 h 816032"/>
                <a:gd name="connsiteX4785" fmla="*/ 176456 w 866764"/>
                <a:gd name="connsiteY4785" fmla="*/ 104519 h 816032"/>
                <a:gd name="connsiteX4786" fmla="*/ 172796 w 866764"/>
                <a:gd name="connsiteY4786" fmla="*/ 107877 h 816032"/>
                <a:gd name="connsiteX4787" fmla="*/ 171223 w 866764"/>
                <a:gd name="connsiteY4787" fmla="*/ 108694 h 816032"/>
                <a:gd name="connsiteX4788" fmla="*/ 167835 w 866764"/>
                <a:gd name="connsiteY4788" fmla="*/ 109359 h 816032"/>
                <a:gd name="connsiteX4789" fmla="*/ 164356 w 866764"/>
                <a:gd name="connsiteY4789" fmla="*/ 109359 h 816032"/>
                <a:gd name="connsiteX4790" fmla="*/ 162843 w 866764"/>
                <a:gd name="connsiteY4790" fmla="*/ 109057 h 816032"/>
                <a:gd name="connsiteX4791" fmla="*/ 159153 w 866764"/>
                <a:gd name="connsiteY4791" fmla="*/ 108361 h 816032"/>
                <a:gd name="connsiteX4792" fmla="*/ 156521 w 866764"/>
                <a:gd name="connsiteY4792" fmla="*/ 108240 h 816032"/>
                <a:gd name="connsiteX4793" fmla="*/ 149382 w 866764"/>
                <a:gd name="connsiteY4793" fmla="*/ 110206 h 816032"/>
                <a:gd name="connsiteX4794" fmla="*/ 134589 w 866764"/>
                <a:gd name="connsiteY4794" fmla="*/ 110750 h 816032"/>
                <a:gd name="connsiteX4795" fmla="*/ 134770 w 866764"/>
                <a:gd name="connsiteY4795" fmla="*/ 116529 h 816032"/>
                <a:gd name="connsiteX4796" fmla="*/ 134135 w 866764"/>
                <a:gd name="connsiteY4796" fmla="*/ 119100 h 816032"/>
                <a:gd name="connsiteX4797" fmla="*/ 132411 w 866764"/>
                <a:gd name="connsiteY4797" fmla="*/ 121006 h 816032"/>
                <a:gd name="connsiteX4798" fmla="*/ 133409 w 866764"/>
                <a:gd name="connsiteY4798" fmla="*/ 121762 h 816032"/>
                <a:gd name="connsiteX4799" fmla="*/ 133772 w 866764"/>
                <a:gd name="connsiteY4799" fmla="*/ 122670 h 816032"/>
                <a:gd name="connsiteX4800" fmla="*/ 133984 w 866764"/>
                <a:gd name="connsiteY4800" fmla="*/ 123638 h 816032"/>
                <a:gd name="connsiteX4801" fmla="*/ 134407 w 866764"/>
                <a:gd name="connsiteY4801" fmla="*/ 124545 h 816032"/>
                <a:gd name="connsiteX4802" fmla="*/ 137281 w 866764"/>
                <a:gd name="connsiteY4802" fmla="*/ 127056 h 816032"/>
                <a:gd name="connsiteX4803" fmla="*/ 139943 w 866764"/>
                <a:gd name="connsiteY4803" fmla="*/ 130051 h 816032"/>
                <a:gd name="connsiteX4804" fmla="*/ 140972 w 866764"/>
                <a:gd name="connsiteY4804" fmla="*/ 131775 h 816032"/>
                <a:gd name="connsiteX4805" fmla="*/ 141637 w 866764"/>
                <a:gd name="connsiteY4805" fmla="*/ 133893 h 816032"/>
                <a:gd name="connsiteX4806" fmla="*/ 141788 w 866764"/>
                <a:gd name="connsiteY4806" fmla="*/ 136283 h 816032"/>
                <a:gd name="connsiteX4807" fmla="*/ 141425 w 866764"/>
                <a:gd name="connsiteY4807" fmla="*/ 138521 h 816032"/>
                <a:gd name="connsiteX4808" fmla="*/ 140367 w 866764"/>
                <a:gd name="connsiteY4808" fmla="*/ 142757 h 816032"/>
                <a:gd name="connsiteX4809" fmla="*/ 140185 w 866764"/>
                <a:gd name="connsiteY4809" fmla="*/ 144148 h 816032"/>
                <a:gd name="connsiteX4810" fmla="*/ 140185 w 866764"/>
                <a:gd name="connsiteY4810" fmla="*/ 145146 h 816032"/>
                <a:gd name="connsiteX4811" fmla="*/ 139973 w 866764"/>
                <a:gd name="connsiteY4811" fmla="*/ 146115 h 816032"/>
                <a:gd name="connsiteX4812" fmla="*/ 139459 w 866764"/>
                <a:gd name="connsiteY4812" fmla="*/ 147324 h 816032"/>
                <a:gd name="connsiteX4813" fmla="*/ 138763 w 866764"/>
                <a:gd name="connsiteY4813" fmla="*/ 148020 h 816032"/>
                <a:gd name="connsiteX4814" fmla="*/ 137826 w 866764"/>
                <a:gd name="connsiteY4814" fmla="*/ 148504 h 816032"/>
                <a:gd name="connsiteX4815" fmla="*/ 136918 w 866764"/>
                <a:gd name="connsiteY4815" fmla="*/ 149200 h 816032"/>
                <a:gd name="connsiteX4816" fmla="*/ 136222 w 866764"/>
                <a:gd name="connsiteY4816" fmla="*/ 150440 h 816032"/>
                <a:gd name="connsiteX4817" fmla="*/ 134921 w 866764"/>
                <a:gd name="connsiteY4817" fmla="*/ 150773 h 816032"/>
                <a:gd name="connsiteX4818" fmla="*/ 133832 w 866764"/>
                <a:gd name="connsiteY4818" fmla="*/ 151469 h 816032"/>
                <a:gd name="connsiteX4819" fmla="*/ 133227 w 866764"/>
                <a:gd name="connsiteY4819" fmla="*/ 152528 h 816032"/>
                <a:gd name="connsiteX4820" fmla="*/ 133288 w 866764"/>
                <a:gd name="connsiteY4820" fmla="*/ 154040 h 816032"/>
                <a:gd name="connsiteX4821" fmla="*/ 132985 w 866764"/>
                <a:gd name="connsiteY4821" fmla="*/ 154736 h 816032"/>
                <a:gd name="connsiteX4822" fmla="*/ 132652 w 866764"/>
                <a:gd name="connsiteY4822" fmla="*/ 155341 h 816032"/>
                <a:gd name="connsiteX4823" fmla="*/ 131654 w 866764"/>
                <a:gd name="connsiteY4823" fmla="*/ 156612 h 816032"/>
                <a:gd name="connsiteX4824" fmla="*/ 129173 w 866764"/>
                <a:gd name="connsiteY4824" fmla="*/ 158185 h 816032"/>
                <a:gd name="connsiteX4825" fmla="*/ 126905 w 866764"/>
                <a:gd name="connsiteY4825" fmla="*/ 157670 h 816032"/>
                <a:gd name="connsiteX4826" fmla="*/ 124606 w 866764"/>
                <a:gd name="connsiteY4826" fmla="*/ 156672 h 816032"/>
                <a:gd name="connsiteX4827" fmla="*/ 121913 w 866764"/>
                <a:gd name="connsiteY4827" fmla="*/ 156733 h 816032"/>
                <a:gd name="connsiteX4828" fmla="*/ 120582 w 866764"/>
                <a:gd name="connsiteY4828" fmla="*/ 157549 h 816032"/>
                <a:gd name="connsiteX4829" fmla="*/ 120038 w 866764"/>
                <a:gd name="connsiteY4829" fmla="*/ 158578 h 816032"/>
                <a:gd name="connsiteX4830" fmla="*/ 119645 w 866764"/>
                <a:gd name="connsiteY4830" fmla="*/ 159728 h 816032"/>
                <a:gd name="connsiteX4831" fmla="*/ 118828 w 866764"/>
                <a:gd name="connsiteY4831" fmla="*/ 160998 h 816032"/>
                <a:gd name="connsiteX4832" fmla="*/ 117920 w 866764"/>
                <a:gd name="connsiteY4832" fmla="*/ 161452 h 816032"/>
                <a:gd name="connsiteX4833" fmla="*/ 115833 w 866764"/>
                <a:gd name="connsiteY4833" fmla="*/ 161906 h 816032"/>
                <a:gd name="connsiteX4834" fmla="*/ 114955 w 866764"/>
                <a:gd name="connsiteY4834" fmla="*/ 162753 h 816032"/>
                <a:gd name="connsiteX4835" fmla="*/ 114804 w 866764"/>
                <a:gd name="connsiteY4835" fmla="*/ 163902 h 816032"/>
                <a:gd name="connsiteX4836" fmla="*/ 115228 w 866764"/>
                <a:gd name="connsiteY4836" fmla="*/ 167200 h 816032"/>
                <a:gd name="connsiteX4837" fmla="*/ 115288 w 866764"/>
                <a:gd name="connsiteY4837" fmla="*/ 168470 h 816032"/>
                <a:gd name="connsiteX4838" fmla="*/ 114955 w 866764"/>
                <a:gd name="connsiteY4838" fmla="*/ 169953 h 816032"/>
                <a:gd name="connsiteX4839" fmla="*/ 114502 w 866764"/>
                <a:gd name="connsiteY4839" fmla="*/ 170951 h 816032"/>
                <a:gd name="connsiteX4840" fmla="*/ 113413 w 866764"/>
                <a:gd name="connsiteY4840" fmla="*/ 172826 h 816032"/>
                <a:gd name="connsiteX4841" fmla="*/ 111870 w 866764"/>
                <a:gd name="connsiteY4841" fmla="*/ 176396 h 816032"/>
                <a:gd name="connsiteX4842" fmla="*/ 111567 w 866764"/>
                <a:gd name="connsiteY4842" fmla="*/ 177062 h 816032"/>
                <a:gd name="connsiteX4843" fmla="*/ 110781 w 866764"/>
                <a:gd name="connsiteY4843" fmla="*/ 177697 h 816032"/>
                <a:gd name="connsiteX4844" fmla="*/ 109692 w 866764"/>
                <a:gd name="connsiteY4844" fmla="*/ 178211 h 816032"/>
                <a:gd name="connsiteX4845" fmla="*/ 108603 w 866764"/>
                <a:gd name="connsiteY4845" fmla="*/ 178907 h 816032"/>
                <a:gd name="connsiteX4846" fmla="*/ 107816 w 866764"/>
                <a:gd name="connsiteY4846" fmla="*/ 180087 h 816032"/>
                <a:gd name="connsiteX4847" fmla="*/ 107362 w 866764"/>
                <a:gd name="connsiteY4847" fmla="*/ 182840 h 816032"/>
                <a:gd name="connsiteX4848" fmla="*/ 107574 w 866764"/>
                <a:gd name="connsiteY4848" fmla="*/ 185260 h 816032"/>
                <a:gd name="connsiteX4849" fmla="*/ 107574 w 866764"/>
                <a:gd name="connsiteY4849" fmla="*/ 187741 h 816032"/>
                <a:gd name="connsiteX4850" fmla="*/ 106425 w 866764"/>
                <a:gd name="connsiteY4850" fmla="*/ 190614 h 816032"/>
                <a:gd name="connsiteX4851" fmla="*/ 105880 w 866764"/>
                <a:gd name="connsiteY4851" fmla="*/ 191038 h 816032"/>
                <a:gd name="connsiteX4852" fmla="*/ 104398 w 866764"/>
                <a:gd name="connsiteY4852" fmla="*/ 191461 h 816032"/>
                <a:gd name="connsiteX4853" fmla="*/ 103944 w 866764"/>
                <a:gd name="connsiteY4853" fmla="*/ 192097 h 816032"/>
                <a:gd name="connsiteX4854" fmla="*/ 103883 w 866764"/>
                <a:gd name="connsiteY4854" fmla="*/ 192853 h 816032"/>
                <a:gd name="connsiteX4855" fmla="*/ 104216 w 866764"/>
                <a:gd name="connsiteY4855" fmla="*/ 194184 h 816032"/>
                <a:gd name="connsiteX4856" fmla="*/ 104216 w 866764"/>
                <a:gd name="connsiteY4856" fmla="*/ 194789 h 816032"/>
                <a:gd name="connsiteX4857" fmla="*/ 104730 w 866764"/>
                <a:gd name="connsiteY4857" fmla="*/ 197028 h 816032"/>
                <a:gd name="connsiteX4858" fmla="*/ 104579 w 866764"/>
                <a:gd name="connsiteY4858" fmla="*/ 197572 h 816032"/>
                <a:gd name="connsiteX4859" fmla="*/ 103066 w 866764"/>
                <a:gd name="connsiteY4859" fmla="*/ 201474 h 816032"/>
                <a:gd name="connsiteX4860" fmla="*/ 102643 w 866764"/>
                <a:gd name="connsiteY4860" fmla="*/ 202322 h 816032"/>
                <a:gd name="connsiteX4861" fmla="*/ 101917 w 866764"/>
                <a:gd name="connsiteY4861" fmla="*/ 202806 h 816032"/>
                <a:gd name="connsiteX4862" fmla="*/ 99406 w 866764"/>
                <a:gd name="connsiteY4862" fmla="*/ 203895 h 816032"/>
                <a:gd name="connsiteX4863" fmla="*/ 95625 w 866764"/>
                <a:gd name="connsiteY4863" fmla="*/ 205558 h 816032"/>
                <a:gd name="connsiteX4864" fmla="*/ 93114 w 866764"/>
                <a:gd name="connsiteY4864" fmla="*/ 205801 h 816032"/>
                <a:gd name="connsiteX4865" fmla="*/ 87790 w 866764"/>
                <a:gd name="connsiteY4865" fmla="*/ 205075 h 816032"/>
                <a:gd name="connsiteX4866" fmla="*/ 85944 w 866764"/>
                <a:gd name="connsiteY4866" fmla="*/ 205498 h 816032"/>
                <a:gd name="connsiteX4867" fmla="*/ 84341 w 866764"/>
                <a:gd name="connsiteY4867" fmla="*/ 206345 h 816032"/>
                <a:gd name="connsiteX4868" fmla="*/ 81013 w 866764"/>
                <a:gd name="connsiteY4868" fmla="*/ 205982 h 816032"/>
                <a:gd name="connsiteX4869" fmla="*/ 79108 w 866764"/>
                <a:gd name="connsiteY4869" fmla="*/ 206768 h 816032"/>
                <a:gd name="connsiteX4870" fmla="*/ 77746 w 866764"/>
                <a:gd name="connsiteY4870" fmla="*/ 208191 h 816032"/>
                <a:gd name="connsiteX4871" fmla="*/ 76596 w 866764"/>
                <a:gd name="connsiteY4871" fmla="*/ 210096 h 816032"/>
                <a:gd name="connsiteX4872" fmla="*/ 75750 w 866764"/>
                <a:gd name="connsiteY4872" fmla="*/ 212244 h 816032"/>
                <a:gd name="connsiteX4873" fmla="*/ 75326 w 866764"/>
                <a:gd name="connsiteY4873" fmla="*/ 214392 h 816032"/>
                <a:gd name="connsiteX4874" fmla="*/ 73662 w 866764"/>
                <a:gd name="connsiteY4874" fmla="*/ 214725 h 816032"/>
                <a:gd name="connsiteX4875" fmla="*/ 68641 w 866764"/>
                <a:gd name="connsiteY4875" fmla="*/ 214846 h 816032"/>
                <a:gd name="connsiteX4876" fmla="*/ 67431 w 866764"/>
                <a:gd name="connsiteY4876" fmla="*/ 215209 h 816032"/>
                <a:gd name="connsiteX4877" fmla="*/ 67945 w 866764"/>
                <a:gd name="connsiteY4877" fmla="*/ 216146 h 816032"/>
                <a:gd name="connsiteX4878" fmla="*/ 69457 w 866764"/>
                <a:gd name="connsiteY4878" fmla="*/ 223437 h 816032"/>
                <a:gd name="connsiteX4879" fmla="*/ 69972 w 866764"/>
                <a:gd name="connsiteY4879" fmla="*/ 224163 h 816032"/>
                <a:gd name="connsiteX4880" fmla="*/ 72362 w 866764"/>
                <a:gd name="connsiteY4880" fmla="*/ 226341 h 816032"/>
                <a:gd name="connsiteX4881" fmla="*/ 76990 w 866764"/>
                <a:gd name="connsiteY4881" fmla="*/ 233390 h 816032"/>
                <a:gd name="connsiteX4882" fmla="*/ 77383 w 866764"/>
                <a:gd name="connsiteY4882" fmla="*/ 235477 h 816032"/>
                <a:gd name="connsiteX4883" fmla="*/ 76567 w 866764"/>
                <a:gd name="connsiteY4883" fmla="*/ 237867 h 816032"/>
                <a:gd name="connsiteX4884" fmla="*/ 74812 w 866764"/>
                <a:gd name="connsiteY4884" fmla="*/ 239531 h 816032"/>
                <a:gd name="connsiteX4885" fmla="*/ 73118 w 866764"/>
                <a:gd name="connsiteY4885" fmla="*/ 239349 h 816032"/>
                <a:gd name="connsiteX4886" fmla="*/ 71333 w 866764"/>
                <a:gd name="connsiteY4886" fmla="*/ 238351 h 816032"/>
                <a:gd name="connsiteX4887" fmla="*/ 67582 w 866764"/>
                <a:gd name="connsiteY4887" fmla="*/ 237020 h 816032"/>
                <a:gd name="connsiteX4888" fmla="*/ 67461 w 866764"/>
                <a:gd name="connsiteY4888" fmla="*/ 237020 h 816032"/>
                <a:gd name="connsiteX4889" fmla="*/ 66462 w 866764"/>
                <a:gd name="connsiteY4889" fmla="*/ 236839 h 816032"/>
                <a:gd name="connsiteX4890" fmla="*/ 65616 w 866764"/>
                <a:gd name="connsiteY4890" fmla="*/ 237141 h 816032"/>
                <a:gd name="connsiteX4891" fmla="*/ 64919 w 866764"/>
                <a:gd name="connsiteY4891" fmla="*/ 238049 h 816032"/>
                <a:gd name="connsiteX4892" fmla="*/ 65162 w 866764"/>
                <a:gd name="connsiteY4892" fmla="*/ 238532 h 816032"/>
                <a:gd name="connsiteX4893" fmla="*/ 65736 w 866764"/>
                <a:gd name="connsiteY4893" fmla="*/ 239047 h 816032"/>
                <a:gd name="connsiteX4894" fmla="*/ 66069 w 866764"/>
                <a:gd name="connsiteY4894" fmla="*/ 240015 h 816032"/>
                <a:gd name="connsiteX4895" fmla="*/ 65918 w 866764"/>
                <a:gd name="connsiteY4895" fmla="*/ 240620 h 816032"/>
                <a:gd name="connsiteX4896" fmla="*/ 65282 w 866764"/>
                <a:gd name="connsiteY4896" fmla="*/ 242072 h 816032"/>
                <a:gd name="connsiteX4897" fmla="*/ 65162 w 866764"/>
                <a:gd name="connsiteY4897" fmla="*/ 242435 h 816032"/>
                <a:gd name="connsiteX4898" fmla="*/ 65434 w 866764"/>
                <a:gd name="connsiteY4898" fmla="*/ 242828 h 816032"/>
                <a:gd name="connsiteX4899" fmla="*/ 66160 w 866764"/>
                <a:gd name="connsiteY4899" fmla="*/ 243675 h 816032"/>
                <a:gd name="connsiteX4900" fmla="*/ 66342 w 866764"/>
                <a:gd name="connsiteY4900" fmla="*/ 244038 h 816032"/>
                <a:gd name="connsiteX4901" fmla="*/ 66735 w 866764"/>
                <a:gd name="connsiteY4901" fmla="*/ 245067 h 816032"/>
                <a:gd name="connsiteX4902" fmla="*/ 67279 w 866764"/>
                <a:gd name="connsiteY4902" fmla="*/ 245612 h 816032"/>
                <a:gd name="connsiteX4903" fmla="*/ 67582 w 866764"/>
                <a:gd name="connsiteY4903" fmla="*/ 246247 h 816032"/>
                <a:gd name="connsiteX4904" fmla="*/ 67279 w 866764"/>
                <a:gd name="connsiteY4904" fmla="*/ 247517 h 816032"/>
                <a:gd name="connsiteX4905" fmla="*/ 65888 w 866764"/>
                <a:gd name="connsiteY4905" fmla="*/ 249060 h 816032"/>
                <a:gd name="connsiteX4906" fmla="*/ 64012 w 866764"/>
                <a:gd name="connsiteY4906" fmla="*/ 250058 h 816032"/>
                <a:gd name="connsiteX4907" fmla="*/ 62500 w 866764"/>
                <a:gd name="connsiteY4907" fmla="*/ 251420 h 816032"/>
                <a:gd name="connsiteX4908" fmla="*/ 62197 w 866764"/>
                <a:gd name="connsiteY4908" fmla="*/ 254051 h 816032"/>
                <a:gd name="connsiteX4909" fmla="*/ 61320 w 866764"/>
                <a:gd name="connsiteY4909" fmla="*/ 253568 h 816032"/>
                <a:gd name="connsiteX4910" fmla="*/ 60442 w 866764"/>
                <a:gd name="connsiteY4910" fmla="*/ 253295 h 816032"/>
                <a:gd name="connsiteX4911" fmla="*/ 59565 w 866764"/>
                <a:gd name="connsiteY4911" fmla="*/ 253295 h 816032"/>
                <a:gd name="connsiteX4912" fmla="*/ 58748 w 866764"/>
                <a:gd name="connsiteY4912" fmla="*/ 253568 h 816032"/>
                <a:gd name="connsiteX4913" fmla="*/ 57962 w 866764"/>
                <a:gd name="connsiteY4913" fmla="*/ 254354 h 816032"/>
                <a:gd name="connsiteX4914" fmla="*/ 57841 w 866764"/>
                <a:gd name="connsiteY4914" fmla="*/ 255292 h 816032"/>
                <a:gd name="connsiteX4915" fmla="*/ 57841 w 866764"/>
                <a:gd name="connsiteY4915" fmla="*/ 256169 h 816032"/>
                <a:gd name="connsiteX4916" fmla="*/ 57538 w 866764"/>
                <a:gd name="connsiteY4916" fmla="*/ 256804 h 816032"/>
                <a:gd name="connsiteX4917" fmla="*/ 55935 w 866764"/>
                <a:gd name="connsiteY4917" fmla="*/ 257167 h 816032"/>
                <a:gd name="connsiteX4918" fmla="*/ 53908 w 866764"/>
                <a:gd name="connsiteY4918" fmla="*/ 256290 h 816032"/>
                <a:gd name="connsiteX4919" fmla="*/ 51034 w 866764"/>
                <a:gd name="connsiteY4919" fmla="*/ 253900 h 816032"/>
                <a:gd name="connsiteX4920" fmla="*/ 46436 w 866764"/>
                <a:gd name="connsiteY4920" fmla="*/ 251662 h 816032"/>
                <a:gd name="connsiteX4921" fmla="*/ 42413 w 866764"/>
                <a:gd name="connsiteY4921" fmla="*/ 250482 h 816032"/>
                <a:gd name="connsiteX4922" fmla="*/ 39055 w 866764"/>
                <a:gd name="connsiteY4922" fmla="*/ 249423 h 816032"/>
                <a:gd name="connsiteX4923" fmla="*/ 37421 w 866764"/>
                <a:gd name="connsiteY4923" fmla="*/ 250391 h 816032"/>
                <a:gd name="connsiteX4924" fmla="*/ 37875 w 866764"/>
                <a:gd name="connsiteY4924" fmla="*/ 250482 h 816032"/>
                <a:gd name="connsiteX4925" fmla="*/ 38449 w 866764"/>
                <a:gd name="connsiteY4925" fmla="*/ 250391 h 816032"/>
                <a:gd name="connsiteX4926" fmla="*/ 39629 w 866764"/>
                <a:gd name="connsiteY4926" fmla="*/ 251087 h 816032"/>
                <a:gd name="connsiteX4927" fmla="*/ 41928 w 866764"/>
                <a:gd name="connsiteY4927" fmla="*/ 251904 h 816032"/>
                <a:gd name="connsiteX4928" fmla="*/ 46375 w 866764"/>
                <a:gd name="connsiteY4928" fmla="*/ 252841 h 816032"/>
                <a:gd name="connsiteX4929" fmla="*/ 47162 w 866764"/>
                <a:gd name="connsiteY4929" fmla="*/ 253688 h 816032"/>
                <a:gd name="connsiteX4930" fmla="*/ 48009 w 866764"/>
                <a:gd name="connsiteY4930" fmla="*/ 254263 h 816032"/>
                <a:gd name="connsiteX4931" fmla="*/ 49159 w 866764"/>
                <a:gd name="connsiteY4931" fmla="*/ 254536 h 816032"/>
                <a:gd name="connsiteX4932" fmla="*/ 49673 w 866764"/>
                <a:gd name="connsiteY4932" fmla="*/ 254777 h 816032"/>
                <a:gd name="connsiteX4933" fmla="*/ 51246 w 866764"/>
                <a:gd name="connsiteY4933" fmla="*/ 256018 h 816032"/>
                <a:gd name="connsiteX4934" fmla="*/ 51579 w 866764"/>
                <a:gd name="connsiteY4934" fmla="*/ 256502 h 816032"/>
                <a:gd name="connsiteX4935" fmla="*/ 52365 w 866764"/>
                <a:gd name="connsiteY4935" fmla="*/ 257107 h 816032"/>
                <a:gd name="connsiteX4936" fmla="*/ 54090 w 866764"/>
                <a:gd name="connsiteY4936" fmla="*/ 257561 h 816032"/>
                <a:gd name="connsiteX4937" fmla="*/ 55754 w 866764"/>
                <a:gd name="connsiteY4937" fmla="*/ 258650 h 816032"/>
                <a:gd name="connsiteX4938" fmla="*/ 56389 w 866764"/>
                <a:gd name="connsiteY4938" fmla="*/ 261070 h 816032"/>
                <a:gd name="connsiteX4939" fmla="*/ 56177 w 866764"/>
                <a:gd name="connsiteY4939" fmla="*/ 261131 h 816032"/>
                <a:gd name="connsiteX4940" fmla="*/ 55209 w 866764"/>
                <a:gd name="connsiteY4940" fmla="*/ 261735 h 816032"/>
                <a:gd name="connsiteX4941" fmla="*/ 55028 w 866764"/>
                <a:gd name="connsiteY4941" fmla="*/ 261826 h 816032"/>
                <a:gd name="connsiteX4942" fmla="*/ 55028 w 866764"/>
                <a:gd name="connsiteY4942" fmla="*/ 264367 h 816032"/>
                <a:gd name="connsiteX4943" fmla="*/ 54331 w 866764"/>
                <a:gd name="connsiteY4943" fmla="*/ 265245 h 816032"/>
                <a:gd name="connsiteX4944" fmla="*/ 53636 w 866764"/>
                <a:gd name="connsiteY4944" fmla="*/ 265850 h 816032"/>
                <a:gd name="connsiteX4945" fmla="*/ 52970 w 866764"/>
                <a:gd name="connsiteY4945" fmla="*/ 265910 h 816032"/>
                <a:gd name="connsiteX4946" fmla="*/ 52214 w 866764"/>
                <a:gd name="connsiteY4946" fmla="*/ 265093 h 816032"/>
                <a:gd name="connsiteX4947" fmla="*/ 52275 w 866764"/>
                <a:gd name="connsiteY4947" fmla="*/ 266636 h 816032"/>
                <a:gd name="connsiteX4948" fmla="*/ 52093 w 866764"/>
                <a:gd name="connsiteY4948" fmla="*/ 267907 h 816032"/>
                <a:gd name="connsiteX4949" fmla="*/ 51669 w 866764"/>
                <a:gd name="connsiteY4949" fmla="*/ 269026 h 816032"/>
                <a:gd name="connsiteX4950" fmla="*/ 50883 w 866764"/>
                <a:gd name="connsiteY4950" fmla="*/ 269994 h 816032"/>
                <a:gd name="connsiteX4951" fmla="*/ 52486 w 866764"/>
                <a:gd name="connsiteY4951" fmla="*/ 269510 h 816032"/>
                <a:gd name="connsiteX4952" fmla="*/ 54120 w 866764"/>
                <a:gd name="connsiteY4952" fmla="*/ 269389 h 816032"/>
                <a:gd name="connsiteX4953" fmla="*/ 55874 w 866764"/>
                <a:gd name="connsiteY4953" fmla="*/ 269570 h 816032"/>
                <a:gd name="connsiteX4954" fmla="*/ 57780 w 866764"/>
                <a:gd name="connsiteY4954" fmla="*/ 269994 h 816032"/>
                <a:gd name="connsiteX4955" fmla="*/ 56661 w 866764"/>
                <a:gd name="connsiteY4955" fmla="*/ 270962 h 816032"/>
                <a:gd name="connsiteX4956" fmla="*/ 57810 w 866764"/>
                <a:gd name="connsiteY4956" fmla="*/ 271113 h 816032"/>
                <a:gd name="connsiteX4957" fmla="*/ 58960 w 866764"/>
                <a:gd name="connsiteY4957" fmla="*/ 271749 h 816032"/>
                <a:gd name="connsiteX4958" fmla="*/ 59837 w 866764"/>
                <a:gd name="connsiteY4958" fmla="*/ 272505 h 816032"/>
                <a:gd name="connsiteX4959" fmla="*/ 59777 w 866764"/>
                <a:gd name="connsiteY4959" fmla="*/ 270992 h 816032"/>
                <a:gd name="connsiteX4960" fmla="*/ 61168 w 866764"/>
                <a:gd name="connsiteY4960" fmla="*/ 271053 h 816032"/>
                <a:gd name="connsiteX4961" fmla="*/ 62953 w 866764"/>
                <a:gd name="connsiteY4961" fmla="*/ 271839 h 816032"/>
                <a:gd name="connsiteX4962" fmla="*/ 63982 w 866764"/>
                <a:gd name="connsiteY4962" fmla="*/ 272505 h 816032"/>
                <a:gd name="connsiteX4963" fmla="*/ 63982 w 866764"/>
                <a:gd name="connsiteY4963" fmla="*/ 273322 h 816032"/>
                <a:gd name="connsiteX4964" fmla="*/ 63104 w 866764"/>
                <a:gd name="connsiteY4964" fmla="*/ 274441 h 816032"/>
                <a:gd name="connsiteX4965" fmla="*/ 62137 w 866764"/>
                <a:gd name="connsiteY4965" fmla="*/ 274532 h 816032"/>
                <a:gd name="connsiteX4966" fmla="*/ 60896 w 866764"/>
                <a:gd name="connsiteY4966" fmla="*/ 274229 h 816032"/>
                <a:gd name="connsiteX4967" fmla="*/ 59142 w 866764"/>
                <a:gd name="connsiteY4967" fmla="*/ 274138 h 816032"/>
                <a:gd name="connsiteX4968" fmla="*/ 59142 w 866764"/>
                <a:gd name="connsiteY4968" fmla="*/ 274895 h 816032"/>
                <a:gd name="connsiteX4969" fmla="*/ 63044 w 866764"/>
                <a:gd name="connsiteY4969" fmla="*/ 277285 h 816032"/>
                <a:gd name="connsiteX4970" fmla="*/ 64012 w 866764"/>
                <a:gd name="connsiteY4970" fmla="*/ 278253 h 816032"/>
                <a:gd name="connsiteX4971" fmla="*/ 64345 w 866764"/>
                <a:gd name="connsiteY4971" fmla="*/ 279886 h 816032"/>
                <a:gd name="connsiteX4972" fmla="*/ 62953 w 866764"/>
                <a:gd name="connsiteY4972" fmla="*/ 280219 h 816032"/>
                <a:gd name="connsiteX4973" fmla="*/ 60836 w 866764"/>
                <a:gd name="connsiteY4973" fmla="*/ 280158 h 816032"/>
                <a:gd name="connsiteX4974" fmla="*/ 59111 w 866764"/>
                <a:gd name="connsiteY4974" fmla="*/ 280673 h 816032"/>
                <a:gd name="connsiteX4975" fmla="*/ 59928 w 866764"/>
                <a:gd name="connsiteY4975" fmla="*/ 281217 h 816032"/>
                <a:gd name="connsiteX4976" fmla="*/ 61048 w 866764"/>
                <a:gd name="connsiteY4976" fmla="*/ 283063 h 816032"/>
                <a:gd name="connsiteX4977" fmla="*/ 61864 w 866764"/>
                <a:gd name="connsiteY4977" fmla="*/ 284031 h 816032"/>
                <a:gd name="connsiteX4978" fmla="*/ 61864 w 866764"/>
                <a:gd name="connsiteY4978" fmla="*/ 284757 h 816032"/>
                <a:gd name="connsiteX4979" fmla="*/ 61168 w 866764"/>
                <a:gd name="connsiteY4979" fmla="*/ 284757 h 816032"/>
                <a:gd name="connsiteX4980" fmla="*/ 61168 w 866764"/>
                <a:gd name="connsiteY4980" fmla="*/ 285574 h 816032"/>
                <a:gd name="connsiteX4981" fmla="*/ 63467 w 866764"/>
                <a:gd name="connsiteY4981" fmla="*/ 285816 h 816032"/>
                <a:gd name="connsiteX4982" fmla="*/ 64556 w 866764"/>
                <a:gd name="connsiteY4982" fmla="*/ 286995 h 816032"/>
                <a:gd name="connsiteX4983" fmla="*/ 65313 w 866764"/>
                <a:gd name="connsiteY4983" fmla="*/ 288508 h 816032"/>
                <a:gd name="connsiteX4984" fmla="*/ 66674 w 866764"/>
                <a:gd name="connsiteY4984" fmla="*/ 289718 h 816032"/>
                <a:gd name="connsiteX4985" fmla="*/ 66886 w 866764"/>
                <a:gd name="connsiteY4985" fmla="*/ 293439 h 816032"/>
                <a:gd name="connsiteX4986" fmla="*/ 70093 w 866764"/>
                <a:gd name="connsiteY4986" fmla="*/ 296978 h 816032"/>
                <a:gd name="connsiteX4987" fmla="*/ 74177 w 866764"/>
                <a:gd name="connsiteY4987" fmla="*/ 298884 h 816032"/>
                <a:gd name="connsiteX4988" fmla="*/ 76990 w 866764"/>
                <a:gd name="connsiteY4988" fmla="*/ 297795 h 816032"/>
                <a:gd name="connsiteX4989" fmla="*/ 78200 w 866764"/>
                <a:gd name="connsiteY4989" fmla="*/ 298763 h 816032"/>
                <a:gd name="connsiteX4990" fmla="*/ 79561 w 866764"/>
                <a:gd name="connsiteY4990" fmla="*/ 299398 h 816032"/>
                <a:gd name="connsiteX4991" fmla="*/ 80983 w 866764"/>
                <a:gd name="connsiteY4991" fmla="*/ 299459 h 816032"/>
                <a:gd name="connsiteX4992" fmla="*/ 82496 w 866764"/>
                <a:gd name="connsiteY4992" fmla="*/ 298672 h 816032"/>
                <a:gd name="connsiteX4993" fmla="*/ 82950 w 866764"/>
                <a:gd name="connsiteY4993" fmla="*/ 299731 h 816032"/>
                <a:gd name="connsiteX4994" fmla="*/ 83676 w 866764"/>
                <a:gd name="connsiteY4994" fmla="*/ 300094 h 816032"/>
                <a:gd name="connsiteX4995" fmla="*/ 84704 w 866764"/>
                <a:gd name="connsiteY4995" fmla="*/ 299943 h 816032"/>
                <a:gd name="connsiteX4996" fmla="*/ 85914 w 866764"/>
                <a:gd name="connsiteY4996" fmla="*/ 299459 h 816032"/>
                <a:gd name="connsiteX4997" fmla="*/ 85914 w 866764"/>
                <a:gd name="connsiteY4997" fmla="*/ 300336 h 816032"/>
                <a:gd name="connsiteX4998" fmla="*/ 85309 w 866764"/>
                <a:gd name="connsiteY4998" fmla="*/ 301365 h 816032"/>
                <a:gd name="connsiteX4999" fmla="*/ 85188 w 866764"/>
                <a:gd name="connsiteY4999" fmla="*/ 302726 h 816032"/>
                <a:gd name="connsiteX5000" fmla="*/ 85430 w 866764"/>
                <a:gd name="connsiteY5000" fmla="*/ 304118 h 816032"/>
                <a:gd name="connsiteX5001" fmla="*/ 85944 w 866764"/>
                <a:gd name="connsiteY5001" fmla="*/ 305207 h 816032"/>
                <a:gd name="connsiteX5002" fmla="*/ 85581 w 866764"/>
                <a:gd name="connsiteY5002" fmla="*/ 306296 h 816032"/>
                <a:gd name="connsiteX5003" fmla="*/ 86549 w 866764"/>
                <a:gd name="connsiteY5003" fmla="*/ 307324 h 816032"/>
                <a:gd name="connsiteX5004" fmla="*/ 89514 w 866764"/>
                <a:gd name="connsiteY5004" fmla="*/ 309200 h 816032"/>
                <a:gd name="connsiteX5005" fmla="*/ 97380 w 866764"/>
                <a:gd name="connsiteY5005" fmla="*/ 318366 h 816032"/>
                <a:gd name="connsiteX5006" fmla="*/ 100586 w 866764"/>
                <a:gd name="connsiteY5006" fmla="*/ 320665 h 816032"/>
                <a:gd name="connsiteX5007" fmla="*/ 103823 w 866764"/>
                <a:gd name="connsiteY5007" fmla="*/ 322390 h 816032"/>
                <a:gd name="connsiteX5008" fmla="*/ 106485 w 866764"/>
                <a:gd name="connsiteY5008" fmla="*/ 324477 h 816032"/>
                <a:gd name="connsiteX5009" fmla="*/ 108421 w 866764"/>
                <a:gd name="connsiteY5009" fmla="*/ 327320 h 816032"/>
                <a:gd name="connsiteX5010" fmla="*/ 109420 w 866764"/>
                <a:gd name="connsiteY5010" fmla="*/ 331283 h 816032"/>
                <a:gd name="connsiteX5011" fmla="*/ 109208 w 866764"/>
                <a:gd name="connsiteY5011" fmla="*/ 331646 h 816032"/>
                <a:gd name="connsiteX5012" fmla="*/ 108754 w 866764"/>
                <a:gd name="connsiteY5012" fmla="*/ 332009 h 816032"/>
                <a:gd name="connsiteX5013" fmla="*/ 108270 w 866764"/>
                <a:gd name="connsiteY5013" fmla="*/ 332494 h 816032"/>
                <a:gd name="connsiteX5014" fmla="*/ 108028 w 866764"/>
                <a:gd name="connsiteY5014" fmla="*/ 333280 h 816032"/>
                <a:gd name="connsiteX5015" fmla="*/ 108149 w 866764"/>
                <a:gd name="connsiteY5015" fmla="*/ 333583 h 816032"/>
                <a:gd name="connsiteX5016" fmla="*/ 108360 w 866764"/>
                <a:gd name="connsiteY5016" fmla="*/ 333825 h 816032"/>
                <a:gd name="connsiteX5017" fmla="*/ 108603 w 866764"/>
                <a:gd name="connsiteY5017" fmla="*/ 334218 h 816032"/>
                <a:gd name="connsiteX5018" fmla="*/ 108724 w 866764"/>
                <a:gd name="connsiteY5018" fmla="*/ 334914 h 816032"/>
                <a:gd name="connsiteX5019" fmla="*/ 109026 w 866764"/>
                <a:gd name="connsiteY5019" fmla="*/ 335549 h 816032"/>
                <a:gd name="connsiteX5020" fmla="*/ 109722 w 866764"/>
                <a:gd name="connsiteY5020" fmla="*/ 336214 h 816032"/>
                <a:gd name="connsiteX5021" fmla="*/ 110448 w 866764"/>
                <a:gd name="connsiteY5021" fmla="*/ 337031 h 816032"/>
                <a:gd name="connsiteX5022" fmla="*/ 110750 w 866764"/>
                <a:gd name="connsiteY5022" fmla="*/ 338120 h 816032"/>
                <a:gd name="connsiteX5023" fmla="*/ 111325 w 866764"/>
                <a:gd name="connsiteY5023" fmla="*/ 338998 h 816032"/>
                <a:gd name="connsiteX5024" fmla="*/ 112505 w 866764"/>
                <a:gd name="connsiteY5024" fmla="*/ 338060 h 816032"/>
                <a:gd name="connsiteX5025" fmla="*/ 113503 w 866764"/>
                <a:gd name="connsiteY5025" fmla="*/ 336668 h 816032"/>
                <a:gd name="connsiteX5026" fmla="*/ 113564 w 866764"/>
                <a:gd name="connsiteY5026" fmla="*/ 336154 h 816032"/>
                <a:gd name="connsiteX5027" fmla="*/ 114441 w 866764"/>
                <a:gd name="connsiteY5027" fmla="*/ 335761 h 816032"/>
                <a:gd name="connsiteX5028" fmla="*/ 115077 w 866764"/>
                <a:gd name="connsiteY5028" fmla="*/ 335670 h 816032"/>
                <a:gd name="connsiteX5029" fmla="*/ 118011 w 866764"/>
                <a:gd name="connsiteY5029" fmla="*/ 336577 h 816032"/>
                <a:gd name="connsiteX5030" fmla="*/ 119826 w 866764"/>
                <a:gd name="connsiteY5030" fmla="*/ 337576 h 816032"/>
                <a:gd name="connsiteX5031" fmla="*/ 120703 w 866764"/>
                <a:gd name="connsiteY5031" fmla="*/ 337788 h 816032"/>
                <a:gd name="connsiteX5032" fmla="*/ 121006 w 866764"/>
                <a:gd name="connsiteY5032" fmla="*/ 337425 h 816032"/>
                <a:gd name="connsiteX5033" fmla="*/ 120794 w 866764"/>
                <a:gd name="connsiteY5033" fmla="*/ 336577 h 816032"/>
                <a:gd name="connsiteX5034" fmla="*/ 120159 w 866764"/>
                <a:gd name="connsiteY5034" fmla="*/ 335730 h 816032"/>
                <a:gd name="connsiteX5035" fmla="*/ 118192 w 866764"/>
                <a:gd name="connsiteY5035" fmla="*/ 334853 h 816032"/>
                <a:gd name="connsiteX5036" fmla="*/ 113534 w 866764"/>
                <a:gd name="connsiteY5036" fmla="*/ 331314 h 816032"/>
                <a:gd name="connsiteX5037" fmla="*/ 112717 w 866764"/>
                <a:gd name="connsiteY5037" fmla="*/ 331435 h 816032"/>
                <a:gd name="connsiteX5038" fmla="*/ 112324 w 866764"/>
                <a:gd name="connsiteY5038" fmla="*/ 331344 h 816032"/>
                <a:gd name="connsiteX5039" fmla="*/ 112172 w 866764"/>
                <a:gd name="connsiteY5039" fmla="*/ 330799 h 816032"/>
                <a:gd name="connsiteX5040" fmla="*/ 112112 w 866764"/>
                <a:gd name="connsiteY5040" fmla="*/ 329589 h 816032"/>
                <a:gd name="connsiteX5041" fmla="*/ 113564 w 866764"/>
                <a:gd name="connsiteY5041" fmla="*/ 330497 h 816032"/>
                <a:gd name="connsiteX5042" fmla="*/ 113988 w 866764"/>
                <a:gd name="connsiteY5042" fmla="*/ 329257 h 816032"/>
                <a:gd name="connsiteX5043" fmla="*/ 114714 w 866764"/>
                <a:gd name="connsiteY5043" fmla="*/ 328621 h 816032"/>
                <a:gd name="connsiteX5044" fmla="*/ 115500 w 866764"/>
                <a:gd name="connsiteY5044" fmla="*/ 328137 h 816032"/>
                <a:gd name="connsiteX5045" fmla="*/ 116256 w 866764"/>
                <a:gd name="connsiteY5045" fmla="*/ 327260 h 816032"/>
                <a:gd name="connsiteX5046" fmla="*/ 116619 w 866764"/>
                <a:gd name="connsiteY5046" fmla="*/ 325868 h 816032"/>
                <a:gd name="connsiteX5047" fmla="*/ 116619 w 866764"/>
                <a:gd name="connsiteY5047" fmla="*/ 324507 h 816032"/>
                <a:gd name="connsiteX5048" fmla="*/ 117043 w 866764"/>
                <a:gd name="connsiteY5048" fmla="*/ 323509 h 816032"/>
                <a:gd name="connsiteX5049" fmla="*/ 115560 w 866764"/>
                <a:gd name="connsiteY5049" fmla="*/ 323206 h 816032"/>
                <a:gd name="connsiteX5050" fmla="*/ 115560 w 866764"/>
                <a:gd name="connsiteY5050" fmla="*/ 322329 h 816032"/>
                <a:gd name="connsiteX5051" fmla="*/ 116589 w 866764"/>
                <a:gd name="connsiteY5051" fmla="*/ 321906 h 816032"/>
                <a:gd name="connsiteX5052" fmla="*/ 117406 w 866764"/>
                <a:gd name="connsiteY5052" fmla="*/ 321391 h 816032"/>
                <a:gd name="connsiteX5053" fmla="*/ 117981 w 866764"/>
                <a:gd name="connsiteY5053" fmla="*/ 320726 h 816032"/>
                <a:gd name="connsiteX5054" fmla="*/ 118374 w 866764"/>
                <a:gd name="connsiteY5054" fmla="*/ 319879 h 816032"/>
                <a:gd name="connsiteX5055" fmla="*/ 119009 w 866764"/>
                <a:gd name="connsiteY5055" fmla="*/ 320695 h 816032"/>
                <a:gd name="connsiteX5056" fmla="*/ 120128 w 866764"/>
                <a:gd name="connsiteY5056" fmla="*/ 319516 h 816032"/>
                <a:gd name="connsiteX5057" fmla="*/ 121308 w 866764"/>
                <a:gd name="connsiteY5057" fmla="*/ 320211 h 816032"/>
                <a:gd name="connsiteX5058" fmla="*/ 121701 w 866764"/>
                <a:gd name="connsiteY5058" fmla="*/ 322208 h 816032"/>
                <a:gd name="connsiteX5059" fmla="*/ 120461 w 866764"/>
                <a:gd name="connsiteY5059" fmla="*/ 324810 h 816032"/>
                <a:gd name="connsiteX5060" fmla="*/ 120794 w 866764"/>
                <a:gd name="connsiteY5060" fmla="*/ 324326 h 816032"/>
                <a:gd name="connsiteX5061" fmla="*/ 121127 w 866764"/>
                <a:gd name="connsiteY5061" fmla="*/ 323963 h 816032"/>
                <a:gd name="connsiteX5062" fmla="*/ 121671 w 866764"/>
                <a:gd name="connsiteY5062" fmla="*/ 323781 h 816032"/>
                <a:gd name="connsiteX5063" fmla="*/ 122518 w 866764"/>
                <a:gd name="connsiteY5063" fmla="*/ 323902 h 816032"/>
                <a:gd name="connsiteX5064" fmla="*/ 122518 w 866764"/>
                <a:gd name="connsiteY5064" fmla="*/ 324507 h 816032"/>
                <a:gd name="connsiteX5065" fmla="*/ 122397 w 866764"/>
                <a:gd name="connsiteY5065" fmla="*/ 324659 h 816032"/>
                <a:gd name="connsiteX5066" fmla="*/ 122458 w 866764"/>
                <a:gd name="connsiteY5066" fmla="*/ 324870 h 816032"/>
                <a:gd name="connsiteX5067" fmla="*/ 122549 w 866764"/>
                <a:gd name="connsiteY5067" fmla="*/ 325173 h 816032"/>
                <a:gd name="connsiteX5068" fmla="*/ 122549 w 866764"/>
                <a:gd name="connsiteY5068" fmla="*/ 325626 h 816032"/>
                <a:gd name="connsiteX5069" fmla="*/ 123426 w 866764"/>
                <a:gd name="connsiteY5069" fmla="*/ 325324 h 816032"/>
                <a:gd name="connsiteX5070" fmla="*/ 123698 w 866764"/>
                <a:gd name="connsiteY5070" fmla="*/ 326111 h 816032"/>
                <a:gd name="connsiteX5071" fmla="*/ 123698 w 866764"/>
                <a:gd name="connsiteY5071" fmla="*/ 327260 h 816032"/>
                <a:gd name="connsiteX5072" fmla="*/ 123910 w 866764"/>
                <a:gd name="connsiteY5072" fmla="*/ 328077 h 816032"/>
                <a:gd name="connsiteX5073" fmla="*/ 122397 w 866764"/>
                <a:gd name="connsiteY5073" fmla="*/ 328742 h 816032"/>
                <a:gd name="connsiteX5074" fmla="*/ 126572 w 866764"/>
                <a:gd name="connsiteY5074" fmla="*/ 328803 h 816032"/>
                <a:gd name="connsiteX5075" fmla="*/ 126118 w 866764"/>
                <a:gd name="connsiteY5075" fmla="*/ 328228 h 816032"/>
                <a:gd name="connsiteX5076" fmla="*/ 124999 w 866764"/>
                <a:gd name="connsiteY5076" fmla="*/ 327986 h 816032"/>
                <a:gd name="connsiteX5077" fmla="*/ 124576 w 866764"/>
                <a:gd name="connsiteY5077" fmla="*/ 326806 h 816032"/>
                <a:gd name="connsiteX5078" fmla="*/ 124939 w 866764"/>
                <a:gd name="connsiteY5078" fmla="*/ 326050 h 816032"/>
                <a:gd name="connsiteX5079" fmla="*/ 126723 w 866764"/>
                <a:gd name="connsiteY5079" fmla="*/ 325112 h 816032"/>
                <a:gd name="connsiteX5080" fmla="*/ 127298 w 866764"/>
                <a:gd name="connsiteY5080" fmla="*/ 323932 h 816032"/>
                <a:gd name="connsiteX5081" fmla="*/ 128054 w 866764"/>
                <a:gd name="connsiteY5081" fmla="*/ 323932 h 816032"/>
                <a:gd name="connsiteX5082" fmla="*/ 128871 w 866764"/>
                <a:gd name="connsiteY5082" fmla="*/ 324931 h 816032"/>
                <a:gd name="connsiteX5083" fmla="*/ 129960 w 866764"/>
                <a:gd name="connsiteY5083" fmla="*/ 325445 h 816032"/>
                <a:gd name="connsiteX5084" fmla="*/ 131110 w 866764"/>
                <a:gd name="connsiteY5084" fmla="*/ 325445 h 816032"/>
                <a:gd name="connsiteX5085" fmla="*/ 132078 w 866764"/>
                <a:gd name="connsiteY5085" fmla="*/ 324810 h 816032"/>
                <a:gd name="connsiteX5086" fmla="*/ 132804 w 866764"/>
                <a:gd name="connsiteY5086" fmla="*/ 324810 h 816032"/>
                <a:gd name="connsiteX5087" fmla="*/ 132804 w 866764"/>
                <a:gd name="connsiteY5087" fmla="*/ 325626 h 816032"/>
                <a:gd name="connsiteX5088" fmla="*/ 131926 w 866764"/>
                <a:gd name="connsiteY5088" fmla="*/ 325868 h 816032"/>
                <a:gd name="connsiteX5089" fmla="*/ 131624 w 866764"/>
                <a:gd name="connsiteY5089" fmla="*/ 326383 h 816032"/>
                <a:gd name="connsiteX5090" fmla="*/ 131412 w 866764"/>
                <a:gd name="connsiteY5090" fmla="*/ 326383 h 816032"/>
                <a:gd name="connsiteX5091" fmla="*/ 131685 w 866764"/>
                <a:gd name="connsiteY5091" fmla="*/ 327442 h 816032"/>
                <a:gd name="connsiteX5092" fmla="*/ 132350 w 866764"/>
                <a:gd name="connsiteY5092" fmla="*/ 328531 h 816032"/>
                <a:gd name="connsiteX5093" fmla="*/ 133318 w 866764"/>
                <a:gd name="connsiteY5093" fmla="*/ 329045 h 816032"/>
                <a:gd name="connsiteX5094" fmla="*/ 134498 w 866764"/>
                <a:gd name="connsiteY5094" fmla="*/ 328410 h 816032"/>
                <a:gd name="connsiteX5095" fmla="*/ 134952 w 866764"/>
                <a:gd name="connsiteY5095" fmla="*/ 328682 h 816032"/>
                <a:gd name="connsiteX5096" fmla="*/ 135859 w 866764"/>
                <a:gd name="connsiteY5096" fmla="*/ 329438 h 816032"/>
                <a:gd name="connsiteX5097" fmla="*/ 137039 w 866764"/>
                <a:gd name="connsiteY5097" fmla="*/ 330194 h 816032"/>
                <a:gd name="connsiteX5098" fmla="*/ 138279 w 866764"/>
                <a:gd name="connsiteY5098" fmla="*/ 330467 h 816032"/>
                <a:gd name="connsiteX5099" fmla="*/ 138279 w 866764"/>
                <a:gd name="connsiteY5099" fmla="*/ 331283 h 816032"/>
                <a:gd name="connsiteX5100" fmla="*/ 143846 w 866764"/>
                <a:gd name="connsiteY5100" fmla="*/ 332009 h 816032"/>
                <a:gd name="connsiteX5101" fmla="*/ 141728 w 866764"/>
                <a:gd name="connsiteY5101" fmla="*/ 330467 h 816032"/>
                <a:gd name="connsiteX5102" fmla="*/ 143513 w 866764"/>
                <a:gd name="connsiteY5102" fmla="*/ 328621 h 816032"/>
                <a:gd name="connsiteX5103" fmla="*/ 144027 w 866764"/>
                <a:gd name="connsiteY5103" fmla="*/ 328410 h 816032"/>
                <a:gd name="connsiteX5104" fmla="*/ 144541 w 866764"/>
                <a:gd name="connsiteY5104" fmla="*/ 328228 h 816032"/>
                <a:gd name="connsiteX5105" fmla="*/ 145903 w 866764"/>
                <a:gd name="connsiteY5105" fmla="*/ 328742 h 816032"/>
                <a:gd name="connsiteX5106" fmla="*/ 145449 w 866764"/>
                <a:gd name="connsiteY5106" fmla="*/ 327895 h 816032"/>
                <a:gd name="connsiteX5107" fmla="*/ 145449 w 866764"/>
                <a:gd name="connsiteY5107" fmla="*/ 327109 h 816032"/>
                <a:gd name="connsiteX5108" fmla="*/ 145812 w 866764"/>
                <a:gd name="connsiteY5108" fmla="*/ 326352 h 816032"/>
                <a:gd name="connsiteX5109" fmla="*/ 146508 w 866764"/>
                <a:gd name="connsiteY5109" fmla="*/ 325596 h 816032"/>
                <a:gd name="connsiteX5110" fmla="*/ 151590 w 866764"/>
                <a:gd name="connsiteY5110" fmla="*/ 330285 h 816032"/>
                <a:gd name="connsiteX5111" fmla="*/ 154040 w 866764"/>
                <a:gd name="connsiteY5111" fmla="*/ 333310 h 816032"/>
                <a:gd name="connsiteX5112" fmla="*/ 154131 w 866764"/>
                <a:gd name="connsiteY5112" fmla="*/ 336093 h 816032"/>
                <a:gd name="connsiteX5113" fmla="*/ 153314 w 866764"/>
                <a:gd name="connsiteY5113" fmla="*/ 335791 h 816032"/>
                <a:gd name="connsiteX5114" fmla="*/ 152558 w 866764"/>
                <a:gd name="connsiteY5114" fmla="*/ 336426 h 816032"/>
                <a:gd name="connsiteX5115" fmla="*/ 152255 w 866764"/>
                <a:gd name="connsiteY5115" fmla="*/ 337485 h 816032"/>
                <a:gd name="connsiteX5116" fmla="*/ 152800 w 866764"/>
                <a:gd name="connsiteY5116" fmla="*/ 338423 h 816032"/>
                <a:gd name="connsiteX5117" fmla="*/ 152074 w 866764"/>
                <a:gd name="connsiteY5117" fmla="*/ 339966 h 816032"/>
                <a:gd name="connsiteX5118" fmla="*/ 152255 w 866764"/>
                <a:gd name="connsiteY5118" fmla="*/ 341206 h 816032"/>
                <a:gd name="connsiteX5119" fmla="*/ 153526 w 866764"/>
                <a:gd name="connsiteY5119" fmla="*/ 343263 h 816032"/>
                <a:gd name="connsiteX5120" fmla="*/ 153980 w 866764"/>
                <a:gd name="connsiteY5120" fmla="*/ 343566 h 816032"/>
                <a:gd name="connsiteX5121" fmla="*/ 154434 w 866764"/>
                <a:gd name="connsiteY5121" fmla="*/ 343445 h 816032"/>
                <a:gd name="connsiteX5122" fmla="*/ 154797 w 866764"/>
                <a:gd name="connsiteY5122" fmla="*/ 343566 h 816032"/>
                <a:gd name="connsiteX5123" fmla="*/ 155069 w 866764"/>
                <a:gd name="connsiteY5123" fmla="*/ 345350 h 816032"/>
                <a:gd name="connsiteX5124" fmla="*/ 155402 w 866764"/>
                <a:gd name="connsiteY5124" fmla="*/ 345895 h 816032"/>
                <a:gd name="connsiteX5125" fmla="*/ 156218 w 866764"/>
                <a:gd name="connsiteY5125" fmla="*/ 346591 h 816032"/>
                <a:gd name="connsiteX5126" fmla="*/ 155825 w 866764"/>
                <a:gd name="connsiteY5126" fmla="*/ 347710 h 816032"/>
                <a:gd name="connsiteX5127" fmla="*/ 155341 w 866764"/>
                <a:gd name="connsiteY5127" fmla="*/ 348013 h 816032"/>
                <a:gd name="connsiteX5128" fmla="*/ 154766 w 866764"/>
                <a:gd name="connsiteY5128" fmla="*/ 347801 h 816032"/>
                <a:gd name="connsiteX5129" fmla="*/ 154131 w 866764"/>
                <a:gd name="connsiteY5129" fmla="*/ 347468 h 816032"/>
                <a:gd name="connsiteX5130" fmla="*/ 154131 w 866764"/>
                <a:gd name="connsiteY5130" fmla="*/ 347165 h 816032"/>
                <a:gd name="connsiteX5131" fmla="*/ 151741 w 866764"/>
                <a:gd name="connsiteY5131" fmla="*/ 344564 h 816032"/>
                <a:gd name="connsiteX5132" fmla="*/ 150108 w 866764"/>
                <a:gd name="connsiteY5132" fmla="*/ 343656 h 816032"/>
                <a:gd name="connsiteX5133" fmla="*/ 148262 w 866764"/>
                <a:gd name="connsiteY5133" fmla="*/ 343566 h 816032"/>
                <a:gd name="connsiteX5134" fmla="*/ 147173 w 866764"/>
                <a:gd name="connsiteY5134" fmla="*/ 344322 h 816032"/>
                <a:gd name="connsiteX5135" fmla="*/ 147960 w 866764"/>
                <a:gd name="connsiteY5135" fmla="*/ 345865 h 816032"/>
                <a:gd name="connsiteX5136" fmla="*/ 147960 w 866764"/>
                <a:gd name="connsiteY5136" fmla="*/ 346591 h 816032"/>
                <a:gd name="connsiteX5137" fmla="*/ 147324 w 866764"/>
                <a:gd name="connsiteY5137" fmla="*/ 347014 h 816032"/>
                <a:gd name="connsiteX5138" fmla="*/ 146901 w 866764"/>
                <a:gd name="connsiteY5138" fmla="*/ 347407 h 816032"/>
                <a:gd name="connsiteX5139" fmla="*/ 146659 w 866764"/>
                <a:gd name="connsiteY5139" fmla="*/ 348013 h 816032"/>
                <a:gd name="connsiteX5140" fmla="*/ 146538 w 866764"/>
                <a:gd name="connsiteY5140" fmla="*/ 349071 h 816032"/>
                <a:gd name="connsiteX5141" fmla="*/ 144088 w 866764"/>
                <a:gd name="connsiteY5141" fmla="*/ 346954 h 816032"/>
                <a:gd name="connsiteX5142" fmla="*/ 142757 w 866764"/>
                <a:gd name="connsiteY5142" fmla="*/ 346137 h 816032"/>
                <a:gd name="connsiteX5143" fmla="*/ 141395 w 866764"/>
                <a:gd name="connsiteY5143" fmla="*/ 345835 h 816032"/>
                <a:gd name="connsiteX5144" fmla="*/ 140548 w 866764"/>
                <a:gd name="connsiteY5144" fmla="*/ 345078 h 816032"/>
                <a:gd name="connsiteX5145" fmla="*/ 140669 w 866764"/>
                <a:gd name="connsiteY5145" fmla="*/ 343414 h 816032"/>
                <a:gd name="connsiteX5146" fmla="*/ 141002 w 866764"/>
                <a:gd name="connsiteY5146" fmla="*/ 341750 h 816032"/>
                <a:gd name="connsiteX5147" fmla="*/ 140760 w 866764"/>
                <a:gd name="connsiteY5147" fmla="*/ 340994 h 816032"/>
                <a:gd name="connsiteX5148" fmla="*/ 138945 w 866764"/>
                <a:gd name="connsiteY5148" fmla="*/ 340813 h 816032"/>
                <a:gd name="connsiteX5149" fmla="*/ 137826 w 866764"/>
                <a:gd name="connsiteY5149" fmla="*/ 340359 h 816032"/>
                <a:gd name="connsiteX5150" fmla="*/ 136857 w 866764"/>
                <a:gd name="connsiteY5150" fmla="*/ 339784 h 816032"/>
                <a:gd name="connsiteX5151" fmla="*/ 135496 w 866764"/>
                <a:gd name="connsiteY5151" fmla="*/ 339300 h 816032"/>
                <a:gd name="connsiteX5152" fmla="*/ 133893 w 866764"/>
                <a:gd name="connsiteY5152" fmla="*/ 339300 h 816032"/>
                <a:gd name="connsiteX5153" fmla="*/ 132683 w 866764"/>
                <a:gd name="connsiteY5153" fmla="*/ 339663 h 816032"/>
                <a:gd name="connsiteX5154" fmla="*/ 131654 w 866764"/>
                <a:gd name="connsiteY5154" fmla="*/ 339603 h 816032"/>
                <a:gd name="connsiteX5155" fmla="*/ 130686 w 866764"/>
                <a:gd name="connsiteY5155" fmla="*/ 338393 h 816032"/>
                <a:gd name="connsiteX5156" fmla="*/ 130021 w 866764"/>
                <a:gd name="connsiteY5156" fmla="*/ 338393 h 816032"/>
                <a:gd name="connsiteX5157" fmla="*/ 129536 w 866764"/>
                <a:gd name="connsiteY5157" fmla="*/ 340541 h 816032"/>
                <a:gd name="connsiteX5158" fmla="*/ 128327 w 866764"/>
                <a:gd name="connsiteY5158" fmla="*/ 341508 h 816032"/>
                <a:gd name="connsiteX5159" fmla="*/ 126632 w 866764"/>
                <a:gd name="connsiteY5159" fmla="*/ 341720 h 816032"/>
                <a:gd name="connsiteX5160" fmla="*/ 124606 w 866764"/>
                <a:gd name="connsiteY5160" fmla="*/ 341720 h 816032"/>
                <a:gd name="connsiteX5161" fmla="*/ 125150 w 866764"/>
                <a:gd name="connsiteY5161" fmla="*/ 340934 h 816032"/>
                <a:gd name="connsiteX5162" fmla="*/ 125090 w 866764"/>
                <a:gd name="connsiteY5162" fmla="*/ 340510 h 816032"/>
                <a:gd name="connsiteX5163" fmla="*/ 124787 w 866764"/>
                <a:gd name="connsiteY5163" fmla="*/ 340268 h 816032"/>
                <a:gd name="connsiteX5164" fmla="*/ 124606 w 866764"/>
                <a:gd name="connsiteY5164" fmla="*/ 340056 h 816032"/>
                <a:gd name="connsiteX5165" fmla="*/ 124939 w 866764"/>
                <a:gd name="connsiteY5165" fmla="*/ 339663 h 816032"/>
                <a:gd name="connsiteX5166" fmla="*/ 125029 w 866764"/>
                <a:gd name="connsiteY5166" fmla="*/ 339209 h 816032"/>
                <a:gd name="connsiteX5167" fmla="*/ 124908 w 866764"/>
                <a:gd name="connsiteY5167" fmla="*/ 338574 h 816032"/>
                <a:gd name="connsiteX5168" fmla="*/ 124576 w 866764"/>
                <a:gd name="connsiteY5168" fmla="*/ 337636 h 816032"/>
                <a:gd name="connsiteX5169" fmla="*/ 123879 w 866764"/>
                <a:gd name="connsiteY5169" fmla="*/ 337636 h 816032"/>
                <a:gd name="connsiteX5170" fmla="*/ 122881 w 866764"/>
                <a:gd name="connsiteY5170" fmla="*/ 339633 h 816032"/>
                <a:gd name="connsiteX5171" fmla="*/ 121490 w 866764"/>
                <a:gd name="connsiteY5171" fmla="*/ 341387 h 816032"/>
                <a:gd name="connsiteX5172" fmla="*/ 119584 w 866764"/>
                <a:gd name="connsiteY5172" fmla="*/ 342265 h 816032"/>
                <a:gd name="connsiteX5173" fmla="*/ 117618 w 866764"/>
                <a:gd name="connsiteY5173" fmla="*/ 341660 h 816032"/>
                <a:gd name="connsiteX5174" fmla="*/ 116014 w 866764"/>
                <a:gd name="connsiteY5174" fmla="*/ 340631 h 816032"/>
                <a:gd name="connsiteX5175" fmla="*/ 115379 w 866764"/>
                <a:gd name="connsiteY5175" fmla="*/ 338665 h 816032"/>
                <a:gd name="connsiteX5176" fmla="*/ 114834 w 866764"/>
                <a:gd name="connsiteY5176" fmla="*/ 337788 h 816032"/>
                <a:gd name="connsiteX5177" fmla="*/ 113594 w 866764"/>
                <a:gd name="connsiteY5177" fmla="*/ 340026 h 816032"/>
                <a:gd name="connsiteX5178" fmla="*/ 113262 w 866764"/>
                <a:gd name="connsiteY5178" fmla="*/ 341811 h 816032"/>
                <a:gd name="connsiteX5179" fmla="*/ 113473 w 866764"/>
                <a:gd name="connsiteY5179" fmla="*/ 343959 h 816032"/>
                <a:gd name="connsiteX5180" fmla="*/ 114320 w 866764"/>
                <a:gd name="connsiteY5180" fmla="*/ 345744 h 816032"/>
                <a:gd name="connsiteX5181" fmla="*/ 116468 w 866764"/>
                <a:gd name="connsiteY5181" fmla="*/ 346681 h 816032"/>
                <a:gd name="connsiteX5182" fmla="*/ 117285 w 866764"/>
                <a:gd name="connsiteY5182" fmla="*/ 347165 h 816032"/>
                <a:gd name="connsiteX5183" fmla="*/ 118071 w 866764"/>
                <a:gd name="connsiteY5183" fmla="*/ 347861 h 816032"/>
                <a:gd name="connsiteX5184" fmla="*/ 118404 w 866764"/>
                <a:gd name="connsiteY5184" fmla="*/ 348618 h 816032"/>
                <a:gd name="connsiteX5185" fmla="*/ 117920 w 866764"/>
                <a:gd name="connsiteY5185" fmla="*/ 348981 h 816032"/>
                <a:gd name="connsiteX5186" fmla="*/ 116770 w 866764"/>
                <a:gd name="connsiteY5186" fmla="*/ 349071 h 816032"/>
                <a:gd name="connsiteX5187" fmla="*/ 114623 w 866764"/>
                <a:gd name="connsiteY5187" fmla="*/ 349011 h 816032"/>
                <a:gd name="connsiteX5188" fmla="*/ 112808 w 866764"/>
                <a:gd name="connsiteY5188" fmla="*/ 349858 h 816032"/>
                <a:gd name="connsiteX5189" fmla="*/ 112021 w 866764"/>
                <a:gd name="connsiteY5189" fmla="*/ 351794 h 816032"/>
                <a:gd name="connsiteX5190" fmla="*/ 111567 w 866764"/>
                <a:gd name="connsiteY5190" fmla="*/ 353972 h 816032"/>
                <a:gd name="connsiteX5191" fmla="*/ 110811 w 866764"/>
                <a:gd name="connsiteY5191" fmla="*/ 355485 h 816032"/>
                <a:gd name="connsiteX5192" fmla="*/ 110811 w 866764"/>
                <a:gd name="connsiteY5192" fmla="*/ 356241 h 816032"/>
                <a:gd name="connsiteX5193" fmla="*/ 114260 w 866764"/>
                <a:gd name="connsiteY5193" fmla="*/ 358812 h 816032"/>
                <a:gd name="connsiteX5194" fmla="*/ 114623 w 866764"/>
                <a:gd name="connsiteY5194" fmla="*/ 359690 h 816032"/>
                <a:gd name="connsiteX5195" fmla="*/ 114804 w 866764"/>
                <a:gd name="connsiteY5195" fmla="*/ 360779 h 816032"/>
                <a:gd name="connsiteX5196" fmla="*/ 115197 w 866764"/>
                <a:gd name="connsiteY5196" fmla="*/ 361263 h 816032"/>
                <a:gd name="connsiteX5197" fmla="*/ 116287 w 866764"/>
                <a:gd name="connsiteY5197" fmla="*/ 360416 h 816032"/>
                <a:gd name="connsiteX5198" fmla="*/ 117073 w 866764"/>
                <a:gd name="connsiteY5198" fmla="*/ 360597 h 816032"/>
                <a:gd name="connsiteX5199" fmla="*/ 117708 w 866764"/>
                <a:gd name="connsiteY5199" fmla="*/ 360022 h 816032"/>
                <a:gd name="connsiteX5200" fmla="*/ 118313 w 866764"/>
                <a:gd name="connsiteY5200" fmla="*/ 359811 h 816032"/>
                <a:gd name="connsiteX5201" fmla="*/ 119039 w 866764"/>
                <a:gd name="connsiteY5201" fmla="*/ 361081 h 816032"/>
                <a:gd name="connsiteX5202" fmla="*/ 119765 w 866764"/>
                <a:gd name="connsiteY5202" fmla="*/ 359780 h 816032"/>
                <a:gd name="connsiteX5203" fmla="*/ 120975 w 866764"/>
                <a:gd name="connsiteY5203" fmla="*/ 358086 h 816032"/>
                <a:gd name="connsiteX5204" fmla="*/ 122458 w 866764"/>
                <a:gd name="connsiteY5204" fmla="*/ 356695 h 816032"/>
                <a:gd name="connsiteX5205" fmla="*/ 123940 w 866764"/>
                <a:gd name="connsiteY5205" fmla="*/ 356241 h 816032"/>
                <a:gd name="connsiteX5206" fmla="*/ 125302 w 866764"/>
                <a:gd name="connsiteY5206" fmla="*/ 357209 h 816032"/>
                <a:gd name="connsiteX5207" fmla="*/ 126300 w 866764"/>
                <a:gd name="connsiteY5207" fmla="*/ 359084 h 816032"/>
                <a:gd name="connsiteX5208" fmla="*/ 128750 w 866764"/>
                <a:gd name="connsiteY5208" fmla="*/ 368644 h 816032"/>
                <a:gd name="connsiteX5209" fmla="*/ 129446 w 866764"/>
                <a:gd name="connsiteY5209" fmla="*/ 370096 h 816032"/>
                <a:gd name="connsiteX5210" fmla="*/ 130686 w 866764"/>
                <a:gd name="connsiteY5210" fmla="*/ 371215 h 816032"/>
                <a:gd name="connsiteX5211" fmla="*/ 132048 w 866764"/>
                <a:gd name="connsiteY5211" fmla="*/ 371669 h 816032"/>
                <a:gd name="connsiteX5212" fmla="*/ 135950 w 866764"/>
                <a:gd name="connsiteY5212" fmla="*/ 371669 h 816032"/>
                <a:gd name="connsiteX5213" fmla="*/ 136857 w 866764"/>
                <a:gd name="connsiteY5213" fmla="*/ 372728 h 816032"/>
                <a:gd name="connsiteX5214" fmla="*/ 138431 w 866764"/>
                <a:gd name="connsiteY5214" fmla="*/ 377175 h 816032"/>
                <a:gd name="connsiteX5215" fmla="*/ 140548 w 866764"/>
                <a:gd name="connsiteY5215" fmla="*/ 379293 h 816032"/>
                <a:gd name="connsiteX5216" fmla="*/ 140548 w 866764"/>
                <a:gd name="connsiteY5216" fmla="*/ 381864 h 816032"/>
                <a:gd name="connsiteX5217" fmla="*/ 139761 w 866764"/>
                <a:gd name="connsiteY5217" fmla="*/ 386674 h 816032"/>
                <a:gd name="connsiteX5218" fmla="*/ 139973 w 866764"/>
                <a:gd name="connsiteY5218" fmla="*/ 387944 h 816032"/>
                <a:gd name="connsiteX5219" fmla="*/ 140911 w 866764"/>
                <a:gd name="connsiteY5219" fmla="*/ 389639 h 816032"/>
                <a:gd name="connsiteX5220" fmla="*/ 141123 w 866764"/>
                <a:gd name="connsiteY5220" fmla="*/ 390728 h 816032"/>
                <a:gd name="connsiteX5221" fmla="*/ 141667 w 866764"/>
                <a:gd name="connsiteY5221" fmla="*/ 391272 h 816032"/>
                <a:gd name="connsiteX5222" fmla="*/ 142817 w 866764"/>
                <a:gd name="connsiteY5222" fmla="*/ 390758 h 816032"/>
                <a:gd name="connsiteX5223" fmla="*/ 143906 w 866764"/>
                <a:gd name="connsiteY5223" fmla="*/ 389911 h 816032"/>
                <a:gd name="connsiteX5224" fmla="*/ 144269 w 866764"/>
                <a:gd name="connsiteY5224" fmla="*/ 389457 h 816032"/>
                <a:gd name="connsiteX5225" fmla="*/ 145207 w 866764"/>
                <a:gd name="connsiteY5225" fmla="*/ 389033 h 816032"/>
                <a:gd name="connsiteX5226" fmla="*/ 145993 w 866764"/>
                <a:gd name="connsiteY5226" fmla="*/ 388277 h 816032"/>
                <a:gd name="connsiteX5227" fmla="*/ 146780 w 866764"/>
                <a:gd name="connsiteY5227" fmla="*/ 387793 h 816032"/>
                <a:gd name="connsiteX5228" fmla="*/ 147718 w 866764"/>
                <a:gd name="connsiteY5228" fmla="*/ 388338 h 816032"/>
                <a:gd name="connsiteX5229" fmla="*/ 147869 w 866764"/>
                <a:gd name="connsiteY5229" fmla="*/ 389033 h 816032"/>
                <a:gd name="connsiteX5230" fmla="*/ 147597 w 866764"/>
                <a:gd name="connsiteY5230" fmla="*/ 390002 h 816032"/>
                <a:gd name="connsiteX5231" fmla="*/ 146629 w 866764"/>
                <a:gd name="connsiteY5231" fmla="*/ 391877 h 816032"/>
                <a:gd name="connsiteX5232" fmla="*/ 147082 w 866764"/>
                <a:gd name="connsiteY5232" fmla="*/ 392059 h 816032"/>
                <a:gd name="connsiteX5233" fmla="*/ 147657 w 866764"/>
                <a:gd name="connsiteY5233" fmla="*/ 392512 h 816032"/>
                <a:gd name="connsiteX5234" fmla="*/ 148051 w 866764"/>
                <a:gd name="connsiteY5234" fmla="*/ 392754 h 816032"/>
                <a:gd name="connsiteX5235" fmla="*/ 147385 w 866764"/>
                <a:gd name="connsiteY5235" fmla="*/ 392845 h 816032"/>
                <a:gd name="connsiteX5236" fmla="*/ 146931 w 866764"/>
                <a:gd name="connsiteY5236" fmla="*/ 393027 h 816032"/>
                <a:gd name="connsiteX5237" fmla="*/ 146024 w 866764"/>
                <a:gd name="connsiteY5237" fmla="*/ 393541 h 816032"/>
                <a:gd name="connsiteX5238" fmla="*/ 147173 w 866764"/>
                <a:gd name="connsiteY5238" fmla="*/ 394055 h 816032"/>
                <a:gd name="connsiteX5239" fmla="*/ 147808 w 866764"/>
                <a:gd name="connsiteY5239" fmla="*/ 394267 h 816032"/>
                <a:gd name="connsiteX5240" fmla="*/ 148746 w 866764"/>
                <a:gd name="connsiteY5240" fmla="*/ 394267 h 816032"/>
                <a:gd name="connsiteX5241" fmla="*/ 148746 w 866764"/>
                <a:gd name="connsiteY5241" fmla="*/ 395144 h 816032"/>
                <a:gd name="connsiteX5242" fmla="*/ 148262 w 866764"/>
                <a:gd name="connsiteY5242" fmla="*/ 396233 h 816032"/>
                <a:gd name="connsiteX5243" fmla="*/ 149230 w 866764"/>
                <a:gd name="connsiteY5243" fmla="*/ 398442 h 816032"/>
                <a:gd name="connsiteX5244" fmla="*/ 148746 w 866764"/>
                <a:gd name="connsiteY5244" fmla="*/ 399984 h 816032"/>
                <a:gd name="connsiteX5245" fmla="*/ 150138 w 866764"/>
                <a:gd name="connsiteY5245" fmla="*/ 399107 h 816032"/>
                <a:gd name="connsiteX5246" fmla="*/ 149775 w 866764"/>
                <a:gd name="connsiteY5246" fmla="*/ 400559 h 816032"/>
                <a:gd name="connsiteX5247" fmla="*/ 148837 w 866764"/>
                <a:gd name="connsiteY5247" fmla="*/ 400862 h 816032"/>
                <a:gd name="connsiteX5248" fmla="*/ 147687 w 866764"/>
                <a:gd name="connsiteY5248" fmla="*/ 400287 h 816032"/>
                <a:gd name="connsiteX5249" fmla="*/ 146659 w 866764"/>
                <a:gd name="connsiteY5249" fmla="*/ 399107 h 816032"/>
                <a:gd name="connsiteX5250" fmla="*/ 146508 w 866764"/>
                <a:gd name="connsiteY5250" fmla="*/ 399621 h 816032"/>
                <a:gd name="connsiteX5251" fmla="*/ 146447 w 866764"/>
                <a:gd name="connsiteY5251" fmla="*/ 399743 h 816032"/>
                <a:gd name="connsiteX5252" fmla="*/ 146356 w 866764"/>
                <a:gd name="connsiteY5252" fmla="*/ 399743 h 816032"/>
                <a:gd name="connsiteX5253" fmla="*/ 146054 w 866764"/>
                <a:gd name="connsiteY5253" fmla="*/ 399984 h 816032"/>
                <a:gd name="connsiteX5254" fmla="*/ 146326 w 866764"/>
                <a:gd name="connsiteY5254" fmla="*/ 401406 h 816032"/>
                <a:gd name="connsiteX5255" fmla="*/ 146810 w 866764"/>
                <a:gd name="connsiteY5255" fmla="*/ 402616 h 816032"/>
                <a:gd name="connsiteX5256" fmla="*/ 147627 w 866764"/>
                <a:gd name="connsiteY5256" fmla="*/ 403494 h 816032"/>
                <a:gd name="connsiteX5257" fmla="*/ 148777 w 866764"/>
                <a:gd name="connsiteY5257" fmla="*/ 403978 h 816032"/>
                <a:gd name="connsiteX5258" fmla="*/ 149654 w 866764"/>
                <a:gd name="connsiteY5258" fmla="*/ 402707 h 816032"/>
                <a:gd name="connsiteX5259" fmla="*/ 150410 w 866764"/>
                <a:gd name="connsiteY5259" fmla="*/ 402616 h 816032"/>
                <a:gd name="connsiteX5260" fmla="*/ 152225 w 866764"/>
                <a:gd name="connsiteY5260" fmla="*/ 403978 h 816032"/>
                <a:gd name="connsiteX5261" fmla="*/ 151529 w 866764"/>
                <a:gd name="connsiteY5261" fmla="*/ 405188 h 816032"/>
                <a:gd name="connsiteX5262" fmla="*/ 150652 w 866764"/>
                <a:gd name="connsiteY5262" fmla="*/ 406216 h 816032"/>
                <a:gd name="connsiteX5263" fmla="*/ 149503 w 866764"/>
                <a:gd name="connsiteY5263" fmla="*/ 406912 h 816032"/>
                <a:gd name="connsiteX5264" fmla="*/ 148474 w 866764"/>
                <a:gd name="connsiteY5264" fmla="*/ 406428 h 816032"/>
                <a:gd name="connsiteX5265" fmla="*/ 148746 w 866764"/>
                <a:gd name="connsiteY5265" fmla="*/ 405611 h 816032"/>
                <a:gd name="connsiteX5266" fmla="*/ 148262 w 866764"/>
                <a:gd name="connsiteY5266" fmla="*/ 406247 h 816032"/>
                <a:gd name="connsiteX5267" fmla="*/ 147355 w 866764"/>
                <a:gd name="connsiteY5267" fmla="*/ 408092 h 816032"/>
                <a:gd name="connsiteX5268" fmla="*/ 147748 w 866764"/>
                <a:gd name="connsiteY5268" fmla="*/ 407759 h 816032"/>
                <a:gd name="connsiteX5269" fmla="*/ 148716 w 866764"/>
                <a:gd name="connsiteY5269" fmla="*/ 407215 h 816032"/>
                <a:gd name="connsiteX5270" fmla="*/ 149049 w 866764"/>
                <a:gd name="connsiteY5270" fmla="*/ 408546 h 816032"/>
                <a:gd name="connsiteX5271" fmla="*/ 148686 w 866764"/>
                <a:gd name="connsiteY5271" fmla="*/ 409423 h 816032"/>
                <a:gd name="connsiteX5272" fmla="*/ 147808 w 866764"/>
                <a:gd name="connsiteY5272" fmla="*/ 410028 h 816032"/>
                <a:gd name="connsiteX5273" fmla="*/ 146629 w 866764"/>
                <a:gd name="connsiteY5273" fmla="*/ 410512 h 816032"/>
                <a:gd name="connsiteX5274" fmla="*/ 147899 w 866764"/>
                <a:gd name="connsiteY5274" fmla="*/ 410845 h 816032"/>
                <a:gd name="connsiteX5275" fmla="*/ 150985 w 866764"/>
                <a:gd name="connsiteY5275" fmla="*/ 410905 h 816032"/>
                <a:gd name="connsiteX5276" fmla="*/ 152195 w 866764"/>
                <a:gd name="connsiteY5276" fmla="*/ 411298 h 816032"/>
                <a:gd name="connsiteX5277" fmla="*/ 152739 w 866764"/>
                <a:gd name="connsiteY5277" fmla="*/ 412448 h 816032"/>
                <a:gd name="connsiteX5278" fmla="*/ 153012 w 866764"/>
                <a:gd name="connsiteY5278" fmla="*/ 413991 h 816032"/>
                <a:gd name="connsiteX5279" fmla="*/ 153708 w 866764"/>
                <a:gd name="connsiteY5279" fmla="*/ 415171 h 816032"/>
                <a:gd name="connsiteX5280" fmla="*/ 155614 w 866764"/>
                <a:gd name="connsiteY5280" fmla="*/ 415322 h 816032"/>
                <a:gd name="connsiteX5281" fmla="*/ 155674 w 866764"/>
                <a:gd name="connsiteY5281" fmla="*/ 414082 h 816032"/>
                <a:gd name="connsiteX5282" fmla="*/ 156460 w 866764"/>
                <a:gd name="connsiteY5282" fmla="*/ 413386 h 816032"/>
                <a:gd name="connsiteX5283" fmla="*/ 157701 w 866764"/>
                <a:gd name="connsiteY5283" fmla="*/ 413053 h 816032"/>
                <a:gd name="connsiteX5284" fmla="*/ 158185 w 866764"/>
                <a:gd name="connsiteY5284" fmla="*/ 412932 h 816032"/>
                <a:gd name="connsiteX5285" fmla="*/ 157429 w 866764"/>
                <a:gd name="connsiteY5285" fmla="*/ 412811 h 816032"/>
                <a:gd name="connsiteX5286" fmla="*/ 156793 w 866764"/>
                <a:gd name="connsiteY5286" fmla="*/ 412509 h 816032"/>
                <a:gd name="connsiteX5287" fmla="*/ 156279 w 866764"/>
                <a:gd name="connsiteY5287" fmla="*/ 412055 h 816032"/>
                <a:gd name="connsiteX5288" fmla="*/ 157126 w 866764"/>
                <a:gd name="connsiteY5288" fmla="*/ 410784 h 816032"/>
                <a:gd name="connsiteX5289" fmla="*/ 157882 w 866764"/>
                <a:gd name="connsiteY5289" fmla="*/ 410935 h 816032"/>
                <a:gd name="connsiteX5290" fmla="*/ 158639 w 866764"/>
                <a:gd name="connsiteY5290" fmla="*/ 411631 h 816032"/>
                <a:gd name="connsiteX5291" fmla="*/ 159455 w 866764"/>
                <a:gd name="connsiteY5291" fmla="*/ 412055 h 816032"/>
                <a:gd name="connsiteX5292" fmla="*/ 161452 w 866764"/>
                <a:gd name="connsiteY5292" fmla="*/ 412176 h 816032"/>
                <a:gd name="connsiteX5293" fmla="*/ 162148 w 866764"/>
                <a:gd name="connsiteY5293" fmla="*/ 411964 h 816032"/>
                <a:gd name="connsiteX5294" fmla="*/ 163267 w 866764"/>
                <a:gd name="connsiteY5294" fmla="*/ 411298 h 816032"/>
                <a:gd name="connsiteX5295" fmla="*/ 164719 w 866764"/>
                <a:gd name="connsiteY5295" fmla="*/ 410089 h 816032"/>
                <a:gd name="connsiteX5296" fmla="*/ 165445 w 866764"/>
                <a:gd name="connsiteY5296" fmla="*/ 409211 h 816032"/>
                <a:gd name="connsiteX5297" fmla="*/ 164991 w 866764"/>
                <a:gd name="connsiteY5297" fmla="*/ 408818 h 816032"/>
                <a:gd name="connsiteX5298" fmla="*/ 164870 w 866764"/>
                <a:gd name="connsiteY5298" fmla="*/ 408394 h 816032"/>
                <a:gd name="connsiteX5299" fmla="*/ 165173 w 866764"/>
                <a:gd name="connsiteY5299" fmla="*/ 407638 h 816032"/>
                <a:gd name="connsiteX5300" fmla="*/ 165990 w 866764"/>
                <a:gd name="connsiteY5300" fmla="*/ 407275 h 816032"/>
                <a:gd name="connsiteX5301" fmla="*/ 167351 w 866764"/>
                <a:gd name="connsiteY5301" fmla="*/ 408092 h 816032"/>
                <a:gd name="connsiteX5302" fmla="*/ 168107 w 866764"/>
                <a:gd name="connsiteY5302" fmla="*/ 407215 h 816032"/>
                <a:gd name="connsiteX5303" fmla="*/ 167714 w 866764"/>
                <a:gd name="connsiteY5303" fmla="*/ 407003 h 816032"/>
                <a:gd name="connsiteX5304" fmla="*/ 167593 w 866764"/>
                <a:gd name="connsiteY5304" fmla="*/ 407003 h 816032"/>
                <a:gd name="connsiteX5305" fmla="*/ 167351 w 866764"/>
                <a:gd name="connsiteY5305" fmla="*/ 406519 h 816032"/>
                <a:gd name="connsiteX5306" fmla="*/ 168017 w 866764"/>
                <a:gd name="connsiteY5306" fmla="*/ 406065 h 816032"/>
                <a:gd name="connsiteX5307" fmla="*/ 170164 w 866764"/>
                <a:gd name="connsiteY5307" fmla="*/ 405037 h 816032"/>
                <a:gd name="connsiteX5308" fmla="*/ 171193 w 866764"/>
                <a:gd name="connsiteY5308" fmla="*/ 404825 h 816032"/>
                <a:gd name="connsiteX5309" fmla="*/ 171919 w 866764"/>
                <a:gd name="connsiteY5309" fmla="*/ 404401 h 816032"/>
                <a:gd name="connsiteX5310" fmla="*/ 172312 w 866764"/>
                <a:gd name="connsiteY5310" fmla="*/ 403342 h 816032"/>
                <a:gd name="connsiteX5311" fmla="*/ 172554 w 866764"/>
                <a:gd name="connsiteY5311" fmla="*/ 402042 h 816032"/>
                <a:gd name="connsiteX5312" fmla="*/ 172917 w 866764"/>
                <a:gd name="connsiteY5312" fmla="*/ 400801 h 816032"/>
                <a:gd name="connsiteX5313" fmla="*/ 172615 w 866764"/>
                <a:gd name="connsiteY5313" fmla="*/ 400529 h 816032"/>
                <a:gd name="connsiteX5314" fmla="*/ 172463 w 866764"/>
                <a:gd name="connsiteY5314" fmla="*/ 400529 h 816032"/>
                <a:gd name="connsiteX5315" fmla="*/ 172373 w 866764"/>
                <a:gd name="connsiteY5315" fmla="*/ 400438 h 816032"/>
                <a:gd name="connsiteX5316" fmla="*/ 172161 w 866764"/>
                <a:gd name="connsiteY5316" fmla="*/ 400015 h 816032"/>
                <a:gd name="connsiteX5317" fmla="*/ 173583 w 866764"/>
                <a:gd name="connsiteY5317" fmla="*/ 400015 h 816032"/>
                <a:gd name="connsiteX5318" fmla="*/ 169438 w 866764"/>
                <a:gd name="connsiteY5318" fmla="*/ 393692 h 816032"/>
                <a:gd name="connsiteX5319" fmla="*/ 169106 w 866764"/>
                <a:gd name="connsiteY5319" fmla="*/ 392754 h 816032"/>
                <a:gd name="connsiteX5320" fmla="*/ 170073 w 866764"/>
                <a:gd name="connsiteY5320" fmla="*/ 392664 h 816032"/>
                <a:gd name="connsiteX5321" fmla="*/ 170497 w 866764"/>
                <a:gd name="connsiteY5321" fmla="*/ 392543 h 816032"/>
                <a:gd name="connsiteX5322" fmla="*/ 171011 w 866764"/>
                <a:gd name="connsiteY5322" fmla="*/ 392724 h 816032"/>
                <a:gd name="connsiteX5323" fmla="*/ 172161 w 866764"/>
                <a:gd name="connsiteY5323" fmla="*/ 393571 h 816032"/>
                <a:gd name="connsiteX5324" fmla="*/ 174278 w 866764"/>
                <a:gd name="connsiteY5324" fmla="*/ 395901 h 816032"/>
                <a:gd name="connsiteX5325" fmla="*/ 175247 w 866764"/>
                <a:gd name="connsiteY5325" fmla="*/ 402919 h 816032"/>
                <a:gd name="connsiteX5326" fmla="*/ 176003 w 866764"/>
                <a:gd name="connsiteY5326" fmla="*/ 404008 h 816032"/>
                <a:gd name="connsiteX5327" fmla="*/ 177879 w 866764"/>
                <a:gd name="connsiteY5327" fmla="*/ 404099 h 816032"/>
                <a:gd name="connsiteX5328" fmla="*/ 179935 w 866764"/>
                <a:gd name="connsiteY5328" fmla="*/ 404583 h 816032"/>
                <a:gd name="connsiteX5329" fmla="*/ 181176 w 866764"/>
                <a:gd name="connsiteY5329" fmla="*/ 405793 h 816032"/>
                <a:gd name="connsiteX5330" fmla="*/ 180541 w 866764"/>
                <a:gd name="connsiteY5330" fmla="*/ 408122 h 816032"/>
                <a:gd name="connsiteX5331" fmla="*/ 181599 w 866764"/>
                <a:gd name="connsiteY5331" fmla="*/ 407880 h 816032"/>
                <a:gd name="connsiteX5332" fmla="*/ 182023 w 866764"/>
                <a:gd name="connsiteY5332" fmla="*/ 407699 h 816032"/>
                <a:gd name="connsiteX5333" fmla="*/ 182598 w 866764"/>
                <a:gd name="connsiteY5333" fmla="*/ 407245 h 816032"/>
                <a:gd name="connsiteX5334" fmla="*/ 183384 w 866764"/>
                <a:gd name="connsiteY5334" fmla="*/ 407729 h 816032"/>
                <a:gd name="connsiteX5335" fmla="*/ 184201 w 866764"/>
                <a:gd name="connsiteY5335" fmla="*/ 407850 h 816032"/>
                <a:gd name="connsiteX5336" fmla="*/ 185048 w 866764"/>
                <a:gd name="connsiteY5336" fmla="*/ 407699 h 816032"/>
                <a:gd name="connsiteX5337" fmla="*/ 185955 w 866764"/>
                <a:gd name="connsiteY5337" fmla="*/ 407245 h 816032"/>
                <a:gd name="connsiteX5338" fmla="*/ 185351 w 866764"/>
                <a:gd name="connsiteY5338" fmla="*/ 408848 h 816032"/>
                <a:gd name="connsiteX5339" fmla="*/ 187347 w 866764"/>
                <a:gd name="connsiteY5339" fmla="*/ 408848 h 816032"/>
                <a:gd name="connsiteX5340" fmla="*/ 186349 w 866764"/>
                <a:gd name="connsiteY5340" fmla="*/ 409483 h 816032"/>
                <a:gd name="connsiteX5341" fmla="*/ 185955 w 866764"/>
                <a:gd name="connsiteY5341" fmla="*/ 409635 h 816032"/>
                <a:gd name="connsiteX5342" fmla="*/ 185955 w 866764"/>
                <a:gd name="connsiteY5342" fmla="*/ 410512 h 816032"/>
                <a:gd name="connsiteX5343" fmla="*/ 186379 w 866764"/>
                <a:gd name="connsiteY5343" fmla="*/ 410694 h 816032"/>
                <a:gd name="connsiteX5344" fmla="*/ 187347 w 866764"/>
                <a:gd name="connsiteY5344" fmla="*/ 411329 h 816032"/>
                <a:gd name="connsiteX5345" fmla="*/ 186742 w 866764"/>
                <a:gd name="connsiteY5345" fmla="*/ 412236 h 816032"/>
                <a:gd name="connsiteX5346" fmla="*/ 186651 w 866764"/>
                <a:gd name="connsiteY5346" fmla="*/ 412751 h 816032"/>
                <a:gd name="connsiteX5347" fmla="*/ 186893 w 866764"/>
                <a:gd name="connsiteY5347" fmla="*/ 413144 h 816032"/>
                <a:gd name="connsiteX5348" fmla="*/ 187378 w 866764"/>
                <a:gd name="connsiteY5348" fmla="*/ 413658 h 816032"/>
                <a:gd name="connsiteX5349" fmla="*/ 187378 w 866764"/>
                <a:gd name="connsiteY5349" fmla="*/ 414535 h 816032"/>
                <a:gd name="connsiteX5350" fmla="*/ 185986 w 866764"/>
                <a:gd name="connsiteY5350" fmla="*/ 413719 h 816032"/>
                <a:gd name="connsiteX5351" fmla="*/ 184473 w 866764"/>
                <a:gd name="connsiteY5351" fmla="*/ 412478 h 816032"/>
                <a:gd name="connsiteX5352" fmla="*/ 182870 w 866764"/>
                <a:gd name="connsiteY5352" fmla="*/ 411631 h 816032"/>
                <a:gd name="connsiteX5353" fmla="*/ 181176 w 866764"/>
                <a:gd name="connsiteY5353" fmla="*/ 412055 h 816032"/>
                <a:gd name="connsiteX5354" fmla="*/ 185260 w 866764"/>
                <a:gd name="connsiteY5354" fmla="*/ 414112 h 816032"/>
                <a:gd name="connsiteX5355" fmla="*/ 185955 w 866764"/>
                <a:gd name="connsiteY5355" fmla="*/ 414929 h 816032"/>
                <a:gd name="connsiteX5356" fmla="*/ 186500 w 866764"/>
                <a:gd name="connsiteY5356" fmla="*/ 415050 h 816032"/>
                <a:gd name="connsiteX5357" fmla="*/ 187770 w 866764"/>
                <a:gd name="connsiteY5357" fmla="*/ 415110 h 816032"/>
                <a:gd name="connsiteX5358" fmla="*/ 189193 w 866764"/>
                <a:gd name="connsiteY5358" fmla="*/ 415383 h 816032"/>
                <a:gd name="connsiteX5359" fmla="*/ 190130 w 866764"/>
                <a:gd name="connsiteY5359" fmla="*/ 416139 h 816032"/>
                <a:gd name="connsiteX5360" fmla="*/ 190735 w 866764"/>
                <a:gd name="connsiteY5360" fmla="*/ 416139 h 816032"/>
                <a:gd name="connsiteX5361" fmla="*/ 191915 w 866764"/>
                <a:gd name="connsiteY5361" fmla="*/ 413991 h 816032"/>
                <a:gd name="connsiteX5362" fmla="*/ 198389 w 866764"/>
                <a:gd name="connsiteY5362" fmla="*/ 409635 h 816032"/>
                <a:gd name="connsiteX5363" fmla="*/ 199781 w 866764"/>
                <a:gd name="connsiteY5363" fmla="*/ 410361 h 816032"/>
                <a:gd name="connsiteX5364" fmla="*/ 201172 w 866764"/>
                <a:gd name="connsiteY5364" fmla="*/ 409998 h 816032"/>
                <a:gd name="connsiteX5365" fmla="*/ 202624 w 866764"/>
                <a:gd name="connsiteY5365" fmla="*/ 409272 h 816032"/>
                <a:gd name="connsiteX5366" fmla="*/ 204288 w 866764"/>
                <a:gd name="connsiteY5366" fmla="*/ 408878 h 816032"/>
                <a:gd name="connsiteX5367" fmla="*/ 210157 w 866764"/>
                <a:gd name="connsiteY5367" fmla="*/ 408878 h 816032"/>
                <a:gd name="connsiteX5368" fmla="*/ 212819 w 866764"/>
                <a:gd name="connsiteY5368" fmla="*/ 411238 h 816032"/>
                <a:gd name="connsiteX5369" fmla="*/ 214785 w 866764"/>
                <a:gd name="connsiteY5369" fmla="*/ 412357 h 816032"/>
                <a:gd name="connsiteX5370" fmla="*/ 215693 w 866764"/>
                <a:gd name="connsiteY5370" fmla="*/ 411722 h 816032"/>
                <a:gd name="connsiteX5371" fmla="*/ 215995 w 866764"/>
                <a:gd name="connsiteY5371" fmla="*/ 409483 h 816032"/>
                <a:gd name="connsiteX5372" fmla="*/ 216752 w 866764"/>
                <a:gd name="connsiteY5372" fmla="*/ 408183 h 816032"/>
                <a:gd name="connsiteX5373" fmla="*/ 221683 w 866764"/>
                <a:gd name="connsiteY5373" fmla="*/ 404310 h 816032"/>
                <a:gd name="connsiteX5374" fmla="*/ 222620 w 866764"/>
                <a:gd name="connsiteY5374" fmla="*/ 404038 h 816032"/>
                <a:gd name="connsiteX5375" fmla="*/ 223195 w 866764"/>
                <a:gd name="connsiteY5375" fmla="*/ 404462 h 816032"/>
                <a:gd name="connsiteX5376" fmla="*/ 223709 w 866764"/>
                <a:gd name="connsiteY5376" fmla="*/ 405309 h 816032"/>
                <a:gd name="connsiteX5377" fmla="*/ 224224 w 866764"/>
                <a:gd name="connsiteY5377" fmla="*/ 406156 h 816032"/>
                <a:gd name="connsiteX5378" fmla="*/ 225010 w 866764"/>
                <a:gd name="connsiteY5378" fmla="*/ 406549 h 816032"/>
                <a:gd name="connsiteX5379" fmla="*/ 226553 w 866764"/>
                <a:gd name="connsiteY5379" fmla="*/ 406489 h 816032"/>
                <a:gd name="connsiteX5380" fmla="*/ 227491 w 866764"/>
                <a:gd name="connsiteY5380" fmla="*/ 406277 h 816032"/>
                <a:gd name="connsiteX5381" fmla="*/ 231575 w 866764"/>
                <a:gd name="connsiteY5381" fmla="*/ 403554 h 816032"/>
                <a:gd name="connsiteX5382" fmla="*/ 234479 w 866764"/>
                <a:gd name="connsiteY5382" fmla="*/ 402495 h 816032"/>
                <a:gd name="connsiteX5383" fmla="*/ 237474 w 866764"/>
                <a:gd name="connsiteY5383" fmla="*/ 402616 h 816032"/>
                <a:gd name="connsiteX5384" fmla="*/ 239833 w 866764"/>
                <a:gd name="connsiteY5384" fmla="*/ 404795 h 816032"/>
                <a:gd name="connsiteX5385" fmla="*/ 241679 w 866764"/>
                <a:gd name="connsiteY5385" fmla="*/ 403947 h 816032"/>
                <a:gd name="connsiteX5386" fmla="*/ 243645 w 866764"/>
                <a:gd name="connsiteY5386" fmla="*/ 404038 h 816032"/>
                <a:gd name="connsiteX5387" fmla="*/ 248848 w 866764"/>
                <a:gd name="connsiteY5387" fmla="*/ 406186 h 816032"/>
                <a:gd name="connsiteX5388" fmla="*/ 252025 w 866764"/>
                <a:gd name="connsiteY5388" fmla="*/ 407094 h 816032"/>
                <a:gd name="connsiteX5389" fmla="*/ 253567 w 866764"/>
                <a:gd name="connsiteY5389" fmla="*/ 408092 h 816032"/>
                <a:gd name="connsiteX5390" fmla="*/ 253356 w 866764"/>
                <a:gd name="connsiteY5390" fmla="*/ 409272 h 816032"/>
                <a:gd name="connsiteX5391" fmla="*/ 253840 w 866764"/>
                <a:gd name="connsiteY5391" fmla="*/ 409423 h 816032"/>
                <a:gd name="connsiteX5392" fmla="*/ 254717 w 866764"/>
                <a:gd name="connsiteY5392" fmla="*/ 409272 h 816032"/>
                <a:gd name="connsiteX5393" fmla="*/ 255655 w 866764"/>
                <a:gd name="connsiteY5393" fmla="*/ 409605 h 816032"/>
                <a:gd name="connsiteX5394" fmla="*/ 256320 w 866764"/>
                <a:gd name="connsiteY5394" fmla="*/ 410512 h 816032"/>
                <a:gd name="connsiteX5395" fmla="*/ 256895 w 866764"/>
                <a:gd name="connsiteY5395" fmla="*/ 412085 h 816032"/>
                <a:gd name="connsiteX5396" fmla="*/ 257712 w 866764"/>
                <a:gd name="connsiteY5396" fmla="*/ 412902 h 816032"/>
                <a:gd name="connsiteX5397" fmla="*/ 258408 w 866764"/>
                <a:gd name="connsiteY5397" fmla="*/ 410966 h 816032"/>
                <a:gd name="connsiteX5398" fmla="*/ 259739 w 866764"/>
                <a:gd name="connsiteY5398" fmla="*/ 409393 h 816032"/>
                <a:gd name="connsiteX5399" fmla="*/ 261312 w 866764"/>
                <a:gd name="connsiteY5399" fmla="*/ 408546 h 816032"/>
                <a:gd name="connsiteX5400" fmla="*/ 262552 w 866764"/>
                <a:gd name="connsiteY5400" fmla="*/ 408818 h 816032"/>
                <a:gd name="connsiteX5401" fmla="*/ 263157 w 866764"/>
                <a:gd name="connsiteY5401" fmla="*/ 408818 h 816032"/>
                <a:gd name="connsiteX5402" fmla="*/ 264095 w 866764"/>
                <a:gd name="connsiteY5402" fmla="*/ 408455 h 816032"/>
                <a:gd name="connsiteX5403" fmla="*/ 265487 w 866764"/>
                <a:gd name="connsiteY5403" fmla="*/ 408757 h 816032"/>
                <a:gd name="connsiteX5404" fmla="*/ 266788 w 866764"/>
                <a:gd name="connsiteY5404" fmla="*/ 409393 h 816032"/>
                <a:gd name="connsiteX5405" fmla="*/ 267332 w 866764"/>
                <a:gd name="connsiteY5405" fmla="*/ 410058 h 816032"/>
                <a:gd name="connsiteX5406" fmla="*/ 271113 w 866764"/>
                <a:gd name="connsiteY5406" fmla="*/ 409605 h 816032"/>
                <a:gd name="connsiteX5407" fmla="*/ 273715 w 866764"/>
                <a:gd name="connsiteY5407" fmla="*/ 410028 h 816032"/>
                <a:gd name="connsiteX5408" fmla="*/ 275651 w 866764"/>
                <a:gd name="connsiteY5408" fmla="*/ 410694 h 816032"/>
                <a:gd name="connsiteX5409" fmla="*/ 277133 w 866764"/>
                <a:gd name="connsiteY5409" fmla="*/ 410572 h 816032"/>
                <a:gd name="connsiteX5410" fmla="*/ 277708 w 866764"/>
                <a:gd name="connsiteY5410" fmla="*/ 409605 h 816032"/>
                <a:gd name="connsiteX5411" fmla="*/ 277012 w 866764"/>
                <a:gd name="connsiteY5411" fmla="*/ 408818 h 816032"/>
                <a:gd name="connsiteX5412" fmla="*/ 277890 w 866764"/>
                <a:gd name="connsiteY5412" fmla="*/ 408304 h 816032"/>
                <a:gd name="connsiteX5413" fmla="*/ 278525 w 866764"/>
                <a:gd name="connsiteY5413" fmla="*/ 407578 h 816032"/>
                <a:gd name="connsiteX5414" fmla="*/ 278767 w 866764"/>
                <a:gd name="connsiteY5414" fmla="*/ 406700 h 816032"/>
                <a:gd name="connsiteX5415" fmla="*/ 278374 w 866764"/>
                <a:gd name="connsiteY5415" fmla="*/ 405611 h 816032"/>
                <a:gd name="connsiteX5416" fmla="*/ 277890 w 866764"/>
                <a:gd name="connsiteY5416" fmla="*/ 406126 h 816032"/>
                <a:gd name="connsiteX5417" fmla="*/ 277496 w 866764"/>
                <a:gd name="connsiteY5417" fmla="*/ 406186 h 816032"/>
                <a:gd name="connsiteX5418" fmla="*/ 276982 w 866764"/>
                <a:gd name="connsiteY5418" fmla="*/ 405732 h 816032"/>
                <a:gd name="connsiteX5419" fmla="*/ 276256 w 866764"/>
                <a:gd name="connsiteY5419" fmla="*/ 404795 h 816032"/>
                <a:gd name="connsiteX5420" fmla="*/ 277012 w 866764"/>
                <a:gd name="connsiteY5420" fmla="*/ 403978 h 816032"/>
                <a:gd name="connsiteX5421" fmla="*/ 279765 w 866764"/>
                <a:gd name="connsiteY5421" fmla="*/ 402011 h 816032"/>
                <a:gd name="connsiteX5422" fmla="*/ 279674 w 866764"/>
                <a:gd name="connsiteY5422" fmla="*/ 400892 h 816032"/>
                <a:gd name="connsiteX5423" fmla="*/ 279191 w 866764"/>
                <a:gd name="connsiteY5423" fmla="*/ 398775 h 816032"/>
                <a:gd name="connsiteX5424" fmla="*/ 279069 w 866764"/>
                <a:gd name="connsiteY5424" fmla="*/ 397564 h 816032"/>
                <a:gd name="connsiteX5425" fmla="*/ 283759 w 866764"/>
                <a:gd name="connsiteY5425" fmla="*/ 400257 h 816032"/>
                <a:gd name="connsiteX5426" fmla="*/ 284817 w 866764"/>
                <a:gd name="connsiteY5426" fmla="*/ 400559 h 816032"/>
                <a:gd name="connsiteX5427" fmla="*/ 285241 w 866764"/>
                <a:gd name="connsiteY5427" fmla="*/ 400771 h 816032"/>
                <a:gd name="connsiteX5428" fmla="*/ 285785 w 866764"/>
                <a:gd name="connsiteY5428" fmla="*/ 401346 h 816032"/>
                <a:gd name="connsiteX5429" fmla="*/ 286693 w 866764"/>
                <a:gd name="connsiteY5429" fmla="*/ 403191 h 816032"/>
                <a:gd name="connsiteX5430" fmla="*/ 291503 w 866764"/>
                <a:gd name="connsiteY5430" fmla="*/ 408697 h 816032"/>
                <a:gd name="connsiteX5431" fmla="*/ 292894 w 866764"/>
                <a:gd name="connsiteY5431" fmla="*/ 411298 h 816032"/>
                <a:gd name="connsiteX5432" fmla="*/ 291835 w 866764"/>
                <a:gd name="connsiteY5432" fmla="*/ 411631 h 816032"/>
                <a:gd name="connsiteX5433" fmla="*/ 291624 w 866764"/>
                <a:gd name="connsiteY5433" fmla="*/ 411904 h 816032"/>
                <a:gd name="connsiteX5434" fmla="*/ 291896 w 866764"/>
                <a:gd name="connsiteY5434" fmla="*/ 412236 h 816032"/>
                <a:gd name="connsiteX5435" fmla="*/ 292198 w 866764"/>
                <a:gd name="connsiteY5435" fmla="*/ 412902 h 816032"/>
                <a:gd name="connsiteX5436" fmla="*/ 292380 w 866764"/>
                <a:gd name="connsiteY5436" fmla="*/ 412962 h 816032"/>
                <a:gd name="connsiteX5437" fmla="*/ 293530 w 866764"/>
                <a:gd name="connsiteY5437" fmla="*/ 414959 h 816032"/>
                <a:gd name="connsiteX5438" fmla="*/ 293530 w 866764"/>
                <a:gd name="connsiteY5438" fmla="*/ 415292 h 816032"/>
                <a:gd name="connsiteX5439" fmla="*/ 295254 w 866764"/>
                <a:gd name="connsiteY5439" fmla="*/ 416351 h 816032"/>
                <a:gd name="connsiteX5440" fmla="*/ 296646 w 866764"/>
                <a:gd name="connsiteY5440" fmla="*/ 416744 h 816032"/>
                <a:gd name="connsiteX5441" fmla="*/ 297886 w 866764"/>
                <a:gd name="connsiteY5441" fmla="*/ 416411 h 816032"/>
                <a:gd name="connsiteX5442" fmla="*/ 299035 w 866764"/>
                <a:gd name="connsiteY5442" fmla="*/ 415262 h 816032"/>
                <a:gd name="connsiteX5443" fmla="*/ 299035 w 866764"/>
                <a:gd name="connsiteY5443" fmla="*/ 414626 h 816032"/>
                <a:gd name="connsiteX5444" fmla="*/ 298824 w 866764"/>
                <a:gd name="connsiteY5444" fmla="*/ 414324 h 816032"/>
                <a:gd name="connsiteX5445" fmla="*/ 298915 w 866764"/>
                <a:gd name="connsiteY5445" fmla="*/ 414082 h 816032"/>
                <a:gd name="connsiteX5446" fmla="*/ 299641 w 866764"/>
                <a:gd name="connsiteY5446" fmla="*/ 413598 h 816032"/>
                <a:gd name="connsiteX5447" fmla="*/ 299641 w 866764"/>
                <a:gd name="connsiteY5447" fmla="*/ 412872 h 816032"/>
                <a:gd name="connsiteX5448" fmla="*/ 298915 w 866764"/>
                <a:gd name="connsiteY5448" fmla="*/ 412690 h 816032"/>
                <a:gd name="connsiteX5449" fmla="*/ 298521 w 866764"/>
                <a:gd name="connsiteY5449" fmla="*/ 412509 h 816032"/>
                <a:gd name="connsiteX5450" fmla="*/ 298219 w 866764"/>
                <a:gd name="connsiteY5450" fmla="*/ 412267 h 816032"/>
                <a:gd name="connsiteX5451" fmla="*/ 297704 w 866764"/>
                <a:gd name="connsiteY5451" fmla="*/ 411994 h 816032"/>
                <a:gd name="connsiteX5452" fmla="*/ 297704 w 866764"/>
                <a:gd name="connsiteY5452" fmla="*/ 411268 h 816032"/>
                <a:gd name="connsiteX5453" fmla="*/ 298188 w 866764"/>
                <a:gd name="connsiteY5453" fmla="*/ 410391 h 816032"/>
                <a:gd name="connsiteX5454" fmla="*/ 299096 w 866764"/>
                <a:gd name="connsiteY5454" fmla="*/ 409030 h 816032"/>
                <a:gd name="connsiteX5455" fmla="*/ 300245 w 866764"/>
                <a:gd name="connsiteY5455" fmla="*/ 408062 h 816032"/>
                <a:gd name="connsiteX5456" fmla="*/ 301395 w 866764"/>
                <a:gd name="connsiteY5456" fmla="*/ 408394 h 816032"/>
                <a:gd name="connsiteX5457" fmla="*/ 302696 w 866764"/>
                <a:gd name="connsiteY5457" fmla="*/ 408969 h 816032"/>
                <a:gd name="connsiteX5458" fmla="*/ 303634 w 866764"/>
                <a:gd name="connsiteY5458" fmla="*/ 408304 h 816032"/>
                <a:gd name="connsiteX5459" fmla="*/ 303513 w 866764"/>
                <a:gd name="connsiteY5459" fmla="*/ 407396 h 816032"/>
                <a:gd name="connsiteX5460" fmla="*/ 301667 w 866764"/>
                <a:gd name="connsiteY5460" fmla="*/ 407154 h 816032"/>
                <a:gd name="connsiteX5461" fmla="*/ 303664 w 866764"/>
                <a:gd name="connsiteY5461" fmla="*/ 404976 h 816032"/>
                <a:gd name="connsiteX5462" fmla="*/ 306054 w 866764"/>
                <a:gd name="connsiteY5462" fmla="*/ 405974 h 816032"/>
                <a:gd name="connsiteX5463" fmla="*/ 307476 w 866764"/>
                <a:gd name="connsiteY5463" fmla="*/ 408394 h 816032"/>
                <a:gd name="connsiteX5464" fmla="*/ 306568 w 866764"/>
                <a:gd name="connsiteY5464" fmla="*/ 410452 h 816032"/>
                <a:gd name="connsiteX5465" fmla="*/ 308171 w 866764"/>
                <a:gd name="connsiteY5465" fmla="*/ 412962 h 816032"/>
                <a:gd name="connsiteX5466" fmla="*/ 308686 w 866764"/>
                <a:gd name="connsiteY5466" fmla="*/ 413598 h 816032"/>
                <a:gd name="connsiteX5467" fmla="*/ 309321 w 866764"/>
                <a:gd name="connsiteY5467" fmla="*/ 413930 h 816032"/>
                <a:gd name="connsiteX5468" fmla="*/ 310985 w 866764"/>
                <a:gd name="connsiteY5468" fmla="*/ 414354 h 816032"/>
                <a:gd name="connsiteX5469" fmla="*/ 313284 w 866764"/>
                <a:gd name="connsiteY5469" fmla="*/ 415897 h 816032"/>
                <a:gd name="connsiteX5470" fmla="*/ 317095 w 866764"/>
                <a:gd name="connsiteY5470" fmla="*/ 416895 h 816032"/>
                <a:gd name="connsiteX5471" fmla="*/ 318971 w 866764"/>
                <a:gd name="connsiteY5471" fmla="*/ 417651 h 816032"/>
                <a:gd name="connsiteX5472" fmla="*/ 318215 w 866764"/>
                <a:gd name="connsiteY5472" fmla="*/ 419013 h 816032"/>
                <a:gd name="connsiteX5473" fmla="*/ 316400 w 866764"/>
                <a:gd name="connsiteY5473" fmla="*/ 420434 h 816032"/>
                <a:gd name="connsiteX5474" fmla="*/ 315553 w 866764"/>
                <a:gd name="connsiteY5474" fmla="*/ 421645 h 816032"/>
                <a:gd name="connsiteX5475" fmla="*/ 319667 w 866764"/>
                <a:gd name="connsiteY5475" fmla="*/ 424125 h 816032"/>
                <a:gd name="connsiteX5476" fmla="*/ 321089 w 866764"/>
                <a:gd name="connsiteY5476" fmla="*/ 423399 h 816032"/>
                <a:gd name="connsiteX5477" fmla="*/ 324749 w 866764"/>
                <a:gd name="connsiteY5477" fmla="*/ 423006 h 816032"/>
                <a:gd name="connsiteX5478" fmla="*/ 326564 w 866764"/>
                <a:gd name="connsiteY5478" fmla="*/ 422461 h 816032"/>
                <a:gd name="connsiteX5479" fmla="*/ 326746 w 866764"/>
                <a:gd name="connsiteY5479" fmla="*/ 423036 h 816032"/>
                <a:gd name="connsiteX5480" fmla="*/ 327048 w 866764"/>
                <a:gd name="connsiteY5480" fmla="*/ 423581 h 816032"/>
                <a:gd name="connsiteX5481" fmla="*/ 327169 w 866764"/>
                <a:gd name="connsiteY5481" fmla="*/ 424125 h 816032"/>
                <a:gd name="connsiteX5482" fmla="*/ 327926 w 866764"/>
                <a:gd name="connsiteY5482" fmla="*/ 422461 h 816032"/>
                <a:gd name="connsiteX5483" fmla="*/ 328621 w 866764"/>
                <a:gd name="connsiteY5483" fmla="*/ 422461 h 816032"/>
                <a:gd name="connsiteX5484" fmla="*/ 330013 w 866764"/>
                <a:gd name="connsiteY5484" fmla="*/ 428149 h 816032"/>
                <a:gd name="connsiteX5485" fmla="*/ 331405 w 866764"/>
                <a:gd name="connsiteY5485" fmla="*/ 427604 h 816032"/>
                <a:gd name="connsiteX5486" fmla="*/ 334399 w 866764"/>
                <a:gd name="connsiteY5486" fmla="*/ 428118 h 816032"/>
                <a:gd name="connsiteX5487" fmla="*/ 336124 w 866764"/>
                <a:gd name="connsiteY5487" fmla="*/ 428118 h 816032"/>
                <a:gd name="connsiteX5488" fmla="*/ 335488 w 866764"/>
                <a:gd name="connsiteY5488" fmla="*/ 426848 h 816032"/>
                <a:gd name="connsiteX5489" fmla="*/ 334248 w 866764"/>
                <a:gd name="connsiteY5489" fmla="*/ 426182 h 816032"/>
                <a:gd name="connsiteX5490" fmla="*/ 332766 w 866764"/>
                <a:gd name="connsiteY5490" fmla="*/ 426091 h 816032"/>
                <a:gd name="connsiteX5491" fmla="*/ 331405 w 866764"/>
                <a:gd name="connsiteY5491" fmla="*/ 426515 h 816032"/>
                <a:gd name="connsiteX5492" fmla="*/ 332554 w 866764"/>
                <a:gd name="connsiteY5492" fmla="*/ 424760 h 816032"/>
                <a:gd name="connsiteX5493" fmla="*/ 334369 w 866764"/>
                <a:gd name="connsiteY5493" fmla="*/ 424397 h 816032"/>
                <a:gd name="connsiteX5494" fmla="*/ 340268 w 866764"/>
                <a:gd name="connsiteY5494" fmla="*/ 425033 h 816032"/>
                <a:gd name="connsiteX5495" fmla="*/ 341750 w 866764"/>
                <a:gd name="connsiteY5495" fmla="*/ 425426 h 816032"/>
                <a:gd name="connsiteX5496" fmla="*/ 343112 w 866764"/>
                <a:gd name="connsiteY5496" fmla="*/ 426394 h 816032"/>
                <a:gd name="connsiteX5497" fmla="*/ 344443 w 866764"/>
                <a:gd name="connsiteY5497" fmla="*/ 428209 h 816032"/>
                <a:gd name="connsiteX5498" fmla="*/ 342446 w 866764"/>
                <a:gd name="connsiteY5498" fmla="*/ 428209 h 816032"/>
                <a:gd name="connsiteX5499" fmla="*/ 342446 w 866764"/>
                <a:gd name="connsiteY5499" fmla="*/ 428996 h 816032"/>
                <a:gd name="connsiteX5500" fmla="*/ 345925 w 866764"/>
                <a:gd name="connsiteY5500" fmla="*/ 429328 h 816032"/>
                <a:gd name="connsiteX5501" fmla="*/ 347014 w 866764"/>
                <a:gd name="connsiteY5501" fmla="*/ 429026 h 816032"/>
                <a:gd name="connsiteX5502" fmla="*/ 350251 w 866764"/>
                <a:gd name="connsiteY5502" fmla="*/ 426182 h 816032"/>
                <a:gd name="connsiteX5503" fmla="*/ 351582 w 866764"/>
                <a:gd name="connsiteY5503" fmla="*/ 426424 h 816032"/>
                <a:gd name="connsiteX5504" fmla="*/ 354214 w 866764"/>
                <a:gd name="connsiteY5504" fmla="*/ 429026 h 816032"/>
                <a:gd name="connsiteX5505" fmla="*/ 352157 w 866764"/>
                <a:gd name="connsiteY5505" fmla="*/ 430629 h 816032"/>
                <a:gd name="connsiteX5506" fmla="*/ 353730 w 866764"/>
                <a:gd name="connsiteY5506" fmla="*/ 431204 h 816032"/>
                <a:gd name="connsiteX5507" fmla="*/ 360688 w 866764"/>
                <a:gd name="connsiteY5507" fmla="*/ 432051 h 816032"/>
                <a:gd name="connsiteX5508" fmla="*/ 361686 w 866764"/>
                <a:gd name="connsiteY5508" fmla="*/ 432172 h 816032"/>
                <a:gd name="connsiteX5509" fmla="*/ 361686 w 866764"/>
                <a:gd name="connsiteY5509" fmla="*/ 433049 h 816032"/>
                <a:gd name="connsiteX5510" fmla="*/ 360416 w 866764"/>
                <a:gd name="connsiteY5510" fmla="*/ 433200 h 816032"/>
                <a:gd name="connsiteX5511" fmla="*/ 358147 w 866764"/>
                <a:gd name="connsiteY5511" fmla="*/ 433745 h 816032"/>
                <a:gd name="connsiteX5512" fmla="*/ 356876 w 866764"/>
                <a:gd name="connsiteY5512" fmla="*/ 433866 h 816032"/>
                <a:gd name="connsiteX5513" fmla="*/ 356876 w 866764"/>
                <a:gd name="connsiteY5513" fmla="*/ 435469 h 816032"/>
                <a:gd name="connsiteX5514" fmla="*/ 358752 w 866764"/>
                <a:gd name="connsiteY5514" fmla="*/ 435984 h 816032"/>
                <a:gd name="connsiteX5515" fmla="*/ 360355 w 866764"/>
                <a:gd name="connsiteY5515" fmla="*/ 437345 h 816032"/>
                <a:gd name="connsiteX5516" fmla="*/ 360990 w 866764"/>
                <a:gd name="connsiteY5516" fmla="*/ 438737 h 816032"/>
                <a:gd name="connsiteX5517" fmla="*/ 359992 w 866764"/>
                <a:gd name="connsiteY5517" fmla="*/ 439372 h 816032"/>
                <a:gd name="connsiteX5518" fmla="*/ 358298 w 866764"/>
                <a:gd name="connsiteY5518" fmla="*/ 439795 h 816032"/>
                <a:gd name="connsiteX5519" fmla="*/ 356604 w 866764"/>
                <a:gd name="connsiteY5519" fmla="*/ 441520 h 816032"/>
                <a:gd name="connsiteX5520" fmla="*/ 349374 w 866764"/>
                <a:gd name="connsiteY5520" fmla="*/ 443516 h 816032"/>
                <a:gd name="connsiteX5521" fmla="*/ 346137 w 866764"/>
                <a:gd name="connsiteY5521" fmla="*/ 443910 h 816032"/>
                <a:gd name="connsiteX5522" fmla="*/ 343172 w 866764"/>
                <a:gd name="connsiteY5522" fmla="*/ 442639 h 816032"/>
                <a:gd name="connsiteX5523" fmla="*/ 341145 w 866764"/>
                <a:gd name="connsiteY5523" fmla="*/ 443184 h 816032"/>
                <a:gd name="connsiteX5524" fmla="*/ 336184 w 866764"/>
                <a:gd name="connsiteY5524" fmla="*/ 441217 h 816032"/>
                <a:gd name="connsiteX5525" fmla="*/ 333461 w 866764"/>
                <a:gd name="connsiteY5525" fmla="*/ 441036 h 816032"/>
                <a:gd name="connsiteX5526" fmla="*/ 332554 w 866764"/>
                <a:gd name="connsiteY5526" fmla="*/ 441641 h 816032"/>
                <a:gd name="connsiteX5527" fmla="*/ 330316 w 866764"/>
                <a:gd name="connsiteY5527" fmla="*/ 443758 h 816032"/>
                <a:gd name="connsiteX5528" fmla="*/ 328984 w 866764"/>
                <a:gd name="connsiteY5528" fmla="*/ 444212 h 816032"/>
                <a:gd name="connsiteX5529" fmla="*/ 327683 w 866764"/>
                <a:gd name="connsiteY5529" fmla="*/ 444424 h 816032"/>
                <a:gd name="connsiteX5530" fmla="*/ 326685 w 866764"/>
                <a:gd name="connsiteY5530" fmla="*/ 444999 h 816032"/>
                <a:gd name="connsiteX5531" fmla="*/ 324537 w 866764"/>
                <a:gd name="connsiteY5531" fmla="*/ 446663 h 816032"/>
                <a:gd name="connsiteX5532" fmla="*/ 327895 w 866764"/>
                <a:gd name="connsiteY5532" fmla="*/ 446844 h 816032"/>
                <a:gd name="connsiteX5533" fmla="*/ 327563 w 866764"/>
                <a:gd name="connsiteY5533" fmla="*/ 447026 h 816032"/>
                <a:gd name="connsiteX5534" fmla="*/ 327230 w 866764"/>
                <a:gd name="connsiteY5534" fmla="*/ 447419 h 816032"/>
                <a:gd name="connsiteX5535" fmla="*/ 329075 w 866764"/>
                <a:gd name="connsiteY5535" fmla="*/ 447540 h 816032"/>
                <a:gd name="connsiteX5536" fmla="*/ 331556 w 866764"/>
                <a:gd name="connsiteY5536" fmla="*/ 449415 h 816032"/>
                <a:gd name="connsiteX5537" fmla="*/ 333129 w 866764"/>
                <a:gd name="connsiteY5537" fmla="*/ 449899 h 816032"/>
                <a:gd name="connsiteX5538" fmla="*/ 334278 w 866764"/>
                <a:gd name="connsiteY5538" fmla="*/ 450535 h 816032"/>
                <a:gd name="connsiteX5539" fmla="*/ 335730 w 866764"/>
                <a:gd name="connsiteY5539" fmla="*/ 451896 h 816032"/>
                <a:gd name="connsiteX5540" fmla="*/ 336729 w 866764"/>
                <a:gd name="connsiteY5540" fmla="*/ 453257 h 816032"/>
                <a:gd name="connsiteX5541" fmla="*/ 336517 w 866764"/>
                <a:gd name="connsiteY5541" fmla="*/ 453893 h 816032"/>
                <a:gd name="connsiteX5542" fmla="*/ 334490 w 866764"/>
                <a:gd name="connsiteY5542" fmla="*/ 456706 h 816032"/>
                <a:gd name="connsiteX5543" fmla="*/ 333824 w 866764"/>
                <a:gd name="connsiteY5543" fmla="*/ 457099 h 816032"/>
                <a:gd name="connsiteX5544" fmla="*/ 333008 w 866764"/>
                <a:gd name="connsiteY5544" fmla="*/ 457099 h 816032"/>
                <a:gd name="connsiteX5545" fmla="*/ 332161 w 866764"/>
                <a:gd name="connsiteY5545" fmla="*/ 457039 h 816032"/>
                <a:gd name="connsiteX5546" fmla="*/ 331405 w 866764"/>
                <a:gd name="connsiteY5546" fmla="*/ 457039 h 816032"/>
                <a:gd name="connsiteX5547" fmla="*/ 328954 w 866764"/>
                <a:gd name="connsiteY5547" fmla="*/ 457825 h 816032"/>
                <a:gd name="connsiteX5548" fmla="*/ 327381 w 866764"/>
                <a:gd name="connsiteY5548" fmla="*/ 458067 h 816032"/>
                <a:gd name="connsiteX5549" fmla="*/ 325808 w 866764"/>
                <a:gd name="connsiteY5549" fmla="*/ 457855 h 816032"/>
                <a:gd name="connsiteX5550" fmla="*/ 324326 w 866764"/>
                <a:gd name="connsiteY5550" fmla="*/ 456918 h 816032"/>
                <a:gd name="connsiteX5551" fmla="*/ 321210 w 866764"/>
                <a:gd name="connsiteY5551" fmla="*/ 454376 h 816032"/>
                <a:gd name="connsiteX5552" fmla="*/ 319304 w 866764"/>
                <a:gd name="connsiteY5552" fmla="*/ 453862 h 816032"/>
                <a:gd name="connsiteX5553" fmla="*/ 318699 w 866764"/>
                <a:gd name="connsiteY5553" fmla="*/ 453499 h 816032"/>
                <a:gd name="connsiteX5554" fmla="*/ 316884 w 866764"/>
                <a:gd name="connsiteY5554" fmla="*/ 450656 h 816032"/>
                <a:gd name="connsiteX5555" fmla="*/ 308837 w 866764"/>
                <a:gd name="connsiteY5555" fmla="*/ 444121 h 816032"/>
                <a:gd name="connsiteX5556" fmla="*/ 307899 w 866764"/>
                <a:gd name="connsiteY5556" fmla="*/ 443819 h 816032"/>
                <a:gd name="connsiteX5557" fmla="*/ 307022 w 866764"/>
                <a:gd name="connsiteY5557" fmla="*/ 442972 h 816032"/>
                <a:gd name="connsiteX5558" fmla="*/ 301002 w 866764"/>
                <a:gd name="connsiteY5558" fmla="*/ 441006 h 816032"/>
                <a:gd name="connsiteX5559" fmla="*/ 290020 w 866764"/>
                <a:gd name="connsiteY5559" fmla="*/ 435621 h 816032"/>
                <a:gd name="connsiteX5560" fmla="*/ 282125 w 866764"/>
                <a:gd name="connsiteY5560" fmla="*/ 433987 h 816032"/>
                <a:gd name="connsiteX5561" fmla="*/ 281369 w 866764"/>
                <a:gd name="connsiteY5561" fmla="*/ 434169 h 816032"/>
                <a:gd name="connsiteX5562" fmla="*/ 280280 w 866764"/>
                <a:gd name="connsiteY5562" fmla="*/ 434622 h 816032"/>
                <a:gd name="connsiteX5563" fmla="*/ 279221 w 866764"/>
                <a:gd name="connsiteY5563" fmla="*/ 434169 h 816032"/>
                <a:gd name="connsiteX5564" fmla="*/ 278192 w 866764"/>
                <a:gd name="connsiteY5564" fmla="*/ 433412 h 816032"/>
                <a:gd name="connsiteX5565" fmla="*/ 275107 w 866764"/>
                <a:gd name="connsiteY5565" fmla="*/ 432263 h 816032"/>
                <a:gd name="connsiteX5566" fmla="*/ 273443 w 866764"/>
                <a:gd name="connsiteY5566" fmla="*/ 430781 h 816032"/>
                <a:gd name="connsiteX5567" fmla="*/ 271870 w 866764"/>
                <a:gd name="connsiteY5567" fmla="*/ 429812 h 816032"/>
                <a:gd name="connsiteX5568" fmla="*/ 270024 w 866764"/>
                <a:gd name="connsiteY5568" fmla="*/ 430599 h 816032"/>
                <a:gd name="connsiteX5569" fmla="*/ 268814 w 866764"/>
                <a:gd name="connsiteY5569" fmla="*/ 429994 h 816032"/>
                <a:gd name="connsiteX5570" fmla="*/ 264458 w 866764"/>
                <a:gd name="connsiteY5570" fmla="*/ 428996 h 816032"/>
                <a:gd name="connsiteX5571" fmla="*/ 261342 w 866764"/>
                <a:gd name="connsiteY5571" fmla="*/ 428996 h 816032"/>
                <a:gd name="connsiteX5572" fmla="*/ 260525 w 866764"/>
                <a:gd name="connsiteY5572" fmla="*/ 428723 h 816032"/>
                <a:gd name="connsiteX5573" fmla="*/ 259951 w 866764"/>
                <a:gd name="connsiteY5573" fmla="*/ 428149 h 816032"/>
                <a:gd name="connsiteX5574" fmla="*/ 259588 w 866764"/>
                <a:gd name="connsiteY5574" fmla="*/ 427574 h 816032"/>
                <a:gd name="connsiteX5575" fmla="*/ 259285 w 866764"/>
                <a:gd name="connsiteY5575" fmla="*/ 427302 h 816032"/>
                <a:gd name="connsiteX5576" fmla="*/ 255625 w 866764"/>
                <a:gd name="connsiteY5576" fmla="*/ 426182 h 816032"/>
                <a:gd name="connsiteX5577" fmla="*/ 254777 w 866764"/>
                <a:gd name="connsiteY5577" fmla="*/ 425759 h 816032"/>
                <a:gd name="connsiteX5578" fmla="*/ 254051 w 866764"/>
                <a:gd name="connsiteY5578" fmla="*/ 424549 h 816032"/>
                <a:gd name="connsiteX5579" fmla="*/ 252962 w 866764"/>
                <a:gd name="connsiteY5579" fmla="*/ 421523 h 816032"/>
                <a:gd name="connsiteX5580" fmla="*/ 252358 w 866764"/>
                <a:gd name="connsiteY5580" fmla="*/ 420919 h 816032"/>
                <a:gd name="connsiteX5581" fmla="*/ 251510 w 866764"/>
                <a:gd name="connsiteY5581" fmla="*/ 420677 h 816032"/>
                <a:gd name="connsiteX5582" fmla="*/ 250845 w 866764"/>
                <a:gd name="connsiteY5582" fmla="*/ 420162 h 816032"/>
                <a:gd name="connsiteX5583" fmla="*/ 249998 w 866764"/>
                <a:gd name="connsiteY5583" fmla="*/ 419345 h 816032"/>
                <a:gd name="connsiteX5584" fmla="*/ 249483 w 866764"/>
                <a:gd name="connsiteY5584" fmla="*/ 419345 h 816032"/>
                <a:gd name="connsiteX5585" fmla="*/ 248334 w 866764"/>
                <a:gd name="connsiteY5585" fmla="*/ 419920 h 816032"/>
                <a:gd name="connsiteX5586" fmla="*/ 247547 w 866764"/>
                <a:gd name="connsiteY5586" fmla="*/ 420041 h 816032"/>
                <a:gd name="connsiteX5587" fmla="*/ 246458 w 866764"/>
                <a:gd name="connsiteY5587" fmla="*/ 419829 h 816032"/>
                <a:gd name="connsiteX5588" fmla="*/ 243463 w 866764"/>
                <a:gd name="connsiteY5588" fmla="*/ 418498 h 816032"/>
                <a:gd name="connsiteX5589" fmla="*/ 242344 w 866764"/>
                <a:gd name="connsiteY5589" fmla="*/ 417621 h 816032"/>
                <a:gd name="connsiteX5590" fmla="*/ 241618 w 866764"/>
                <a:gd name="connsiteY5590" fmla="*/ 416351 h 816032"/>
                <a:gd name="connsiteX5591" fmla="*/ 241225 w 866764"/>
                <a:gd name="connsiteY5591" fmla="*/ 415020 h 816032"/>
                <a:gd name="connsiteX5592" fmla="*/ 240590 w 866764"/>
                <a:gd name="connsiteY5592" fmla="*/ 413991 h 816032"/>
                <a:gd name="connsiteX5593" fmla="*/ 239319 w 866764"/>
                <a:gd name="connsiteY5593" fmla="*/ 413567 h 816032"/>
                <a:gd name="connsiteX5594" fmla="*/ 237776 w 866764"/>
                <a:gd name="connsiteY5594" fmla="*/ 413356 h 816032"/>
                <a:gd name="connsiteX5595" fmla="*/ 236324 w 866764"/>
                <a:gd name="connsiteY5595" fmla="*/ 412811 h 816032"/>
                <a:gd name="connsiteX5596" fmla="*/ 235053 w 866764"/>
                <a:gd name="connsiteY5596" fmla="*/ 412055 h 816032"/>
                <a:gd name="connsiteX5597" fmla="*/ 234086 w 866764"/>
                <a:gd name="connsiteY5597" fmla="*/ 411238 h 816032"/>
                <a:gd name="connsiteX5598" fmla="*/ 233148 w 866764"/>
                <a:gd name="connsiteY5598" fmla="*/ 411752 h 816032"/>
                <a:gd name="connsiteX5599" fmla="*/ 232210 w 866764"/>
                <a:gd name="connsiteY5599" fmla="*/ 411934 h 816032"/>
                <a:gd name="connsiteX5600" fmla="*/ 230032 w 866764"/>
                <a:gd name="connsiteY5600" fmla="*/ 411934 h 816032"/>
                <a:gd name="connsiteX5601" fmla="*/ 223376 w 866764"/>
                <a:gd name="connsiteY5601" fmla="*/ 410694 h 816032"/>
                <a:gd name="connsiteX5602" fmla="*/ 222499 w 866764"/>
                <a:gd name="connsiteY5602" fmla="*/ 411601 h 816032"/>
                <a:gd name="connsiteX5603" fmla="*/ 214815 w 866764"/>
                <a:gd name="connsiteY5603" fmla="*/ 416048 h 816032"/>
                <a:gd name="connsiteX5604" fmla="*/ 212547 w 866764"/>
                <a:gd name="connsiteY5604" fmla="*/ 419103 h 816032"/>
                <a:gd name="connsiteX5605" fmla="*/ 208493 w 866764"/>
                <a:gd name="connsiteY5605" fmla="*/ 426666 h 816032"/>
                <a:gd name="connsiteX5606" fmla="*/ 205831 w 866764"/>
                <a:gd name="connsiteY5606" fmla="*/ 429691 h 816032"/>
                <a:gd name="connsiteX5607" fmla="*/ 202563 w 866764"/>
                <a:gd name="connsiteY5607" fmla="*/ 431748 h 816032"/>
                <a:gd name="connsiteX5608" fmla="*/ 200537 w 866764"/>
                <a:gd name="connsiteY5608" fmla="*/ 432596 h 816032"/>
                <a:gd name="connsiteX5609" fmla="*/ 198601 w 866764"/>
                <a:gd name="connsiteY5609" fmla="*/ 432959 h 816032"/>
                <a:gd name="connsiteX5610" fmla="*/ 190614 w 866764"/>
                <a:gd name="connsiteY5610" fmla="*/ 431295 h 816032"/>
                <a:gd name="connsiteX5611" fmla="*/ 185592 w 866764"/>
                <a:gd name="connsiteY5611" fmla="*/ 427755 h 816032"/>
                <a:gd name="connsiteX5612" fmla="*/ 184171 w 866764"/>
                <a:gd name="connsiteY5612" fmla="*/ 427271 h 816032"/>
                <a:gd name="connsiteX5613" fmla="*/ 181993 w 866764"/>
                <a:gd name="connsiteY5613" fmla="*/ 427271 h 816032"/>
                <a:gd name="connsiteX5614" fmla="*/ 180238 w 866764"/>
                <a:gd name="connsiteY5614" fmla="*/ 427029 h 816032"/>
                <a:gd name="connsiteX5615" fmla="*/ 178756 w 866764"/>
                <a:gd name="connsiteY5615" fmla="*/ 426303 h 816032"/>
                <a:gd name="connsiteX5616" fmla="*/ 178242 w 866764"/>
                <a:gd name="connsiteY5616" fmla="*/ 425547 h 816032"/>
                <a:gd name="connsiteX5617" fmla="*/ 178695 w 866764"/>
                <a:gd name="connsiteY5617" fmla="*/ 426394 h 816032"/>
                <a:gd name="connsiteX5618" fmla="*/ 178937 w 866764"/>
                <a:gd name="connsiteY5618" fmla="*/ 427513 h 816032"/>
                <a:gd name="connsiteX5619" fmla="*/ 179028 w 866764"/>
                <a:gd name="connsiteY5619" fmla="*/ 428935 h 816032"/>
                <a:gd name="connsiteX5620" fmla="*/ 177999 w 866764"/>
                <a:gd name="connsiteY5620" fmla="*/ 428118 h 816032"/>
                <a:gd name="connsiteX5621" fmla="*/ 176668 w 866764"/>
                <a:gd name="connsiteY5621" fmla="*/ 426001 h 816032"/>
                <a:gd name="connsiteX5622" fmla="*/ 175579 w 866764"/>
                <a:gd name="connsiteY5622" fmla="*/ 424881 h 816032"/>
                <a:gd name="connsiteX5623" fmla="*/ 175730 w 866764"/>
                <a:gd name="connsiteY5623" fmla="*/ 426787 h 816032"/>
                <a:gd name="connsiteX5624" fmla="*/ 175519 w 866764"/>
                <a:gd name="connsiteY5624" fmla="*/ 433806 h 816032"/>
                <a:gd name="connsiteX5625" fmla="*/ 175307 w 866764"/>
                <a:gd name="connsiteY5625" fmla="*/ 435318 h 816032"/>
                <a:gd name="connsiteX5626" fmla="*/ 174853 w 866764"/>
                <a:gd name="connsiteY5626" fmla="*/ 436528 h 816032"/>
                <a:gd name="connsiteX5627" fmla="*/ 171284 w 866764"/>
                <a:gd name="connsiteY5627" fmla="*/ 441762 h 816032"/>
                <a:gd name="connsiteX5628" fmla="*/ 171072 w 866764"/>
                <a:gd name="connsiteY5628" fmla="*/ 442518 h 816032"/>
                <a:gd name="connsiteX5629" fmla="*/ 166534 w 866764"/>
                <a:gd name="connsiteY5629" fmla="*/ 448931 h 816032"/>
                <a:gd name="connsiteX5630" fmla="*/ 167169 w 866764"/>
                <a:gd name="connsiteY5630" fmla="*/ 448296 h 816032"/>
                <a:gd name="connsiteX5631" fmla="*/ 168047 w 866764"/>
                <a:gd name="connsiteY5631" fmla="*/ 447630 h 816032"/>
                <a:gd name="connsiteX5632" fmla="*/ 169045 w 866764"/>
                <a:gd name="connsiteY5632" fmla="*/ 447026 h 816032"/>
                <a:gd name="connsiteX5633" fmla="*/ 170013 w 866764"/>
                <a:gd name="connsiteY5633" fmla="*/ 446632 h 816032"/>
                <a:gd name="connsiteX5634" fmla="*/ 170225 w 866764"/>
                <a:gd name="connsiteY5634" fmla="*/ 446935 h 816032"/>
                <a:gd name="connsiteX5635" fmla="*/ 170225 w 866764"/>
                <a:gd name="connsiteY5635" fmla="*/ 447026 h 816032"/>
                <a:gd name="connsiteX5636" fmla="*/ 170406 w 866764"/>
                <a:gd name="connsiteY5636" fmla="*/ 447116 h 816032"/>
                <a:gd name="connsiteX5637" fmla="*/ 170769 w 866764"/>
                <a:gd name="connsiteY5637" fmla="*/ 447358 h 816032"/>
                <a:gd name="connsiteX5638" fmla="*/ 170769 w 866764"/>
                <a:gd name="connsiteY5638" fmla="*/ 448236 h 816032"/>
                <a:gd name="connsiteX5639" fmla="*/ 169620 w 866764"/>
                <a:gd name="connsiteY5639" fmla="*/ 449173 h 816032"/>
                <a:gd name="connsiteX5640" fmla="*/ 168500 w 866764"/>
                <a:gd name="connsiteY5640" fmla="*/ 450353 h 816032"/>
                <a:gd name="connsiteX5641" fmla="*/ 167291 w 866764"/>
                <a:gd name="connsiteY5641" fmla="*/ 451079 h 816032"/>
                <a:gd name="connsiteX5642" fmla="*/ 165899 w 866764"/>
                <a:gd name="connsiteY5642" fmla="*/ 450625 h 816032"/>
                <a:gd name="connsiteX5643" fmla="*/ 163297 w 866764"/>
                <a:gd name="connsiteY5643" fmla="*/ 453530 h 816032"/>
                <a:gd name="connsiteX5644" fmla="*/ 158881 w 866764"/>
                <a:gd name="connsiteY5644" fmla="*/ 457069 h 816032"/>
                <a:gd name="connsiteX5645" fmla="*/ 154494 w 866764"/>
                <a:gd name="connsiteY5645" fmla="*/ 458975 h 816032"/>
                <a:gd name="connsiteX5646" fmla="*/ 152104 w 866764"/>
                <a:gd name="connsiteY5646" fmla="*/ 457039 h 816032"/>
                <a:gd name="connsiteX5647" fmla="*/ 151409 w 866764"/>
                <a:gd name="connsiteY5647" fmla="*/ 457039 h 816032"/>
                <a:gd name="connsiteX5648" fmla="*/ 148656 w 866764"/>
                <a:gd name="connsiteY5648" fmla="*/ 464995 h 816032"/>
                <a:gd name="connsiteX5649" fmla="*/ 149200 w 866764"/>
                <a:gd name="connsiteY5649" fmla="*/ 465902 h 816032"/>
                <a:gd name="connsiteX5650" fmla="*/ 148807 w 866764"/>
                <a:gd name="connsiteY5650" fmla="*/ 467657 h 816032"/>
                <a:gd name="connsiteX5651" fmla="*/ 149351 w 866764"/>
                <a:gd name="connsiteY5651" fmla="*/ 469079 h 816032"/>
                <a:gd name="connsiteX5652" fmla="*/ 150259 w 866764"/>
                <a:gd name="connsiteY5652" fmla="*/ 469775 h 816032"/>
                <a:gd name="connsiteX5653" fmla="*/ 160847 w 866764"/>
                <a:gd name="connsiteY5653" fmla="*/ 472770 h 816032"/>
                <a:gd name="connsiteX5654" fmla="*/ 165233 w 866764"/>
                <a:gd name="connsiteY5654" fmla="*/ 474948 h 816032"/>
                <a:gd name="connsiteX5655" fmla="*/ 166625 w 866764"/>
                <a:gd name="connsiteY5655" fmla="*/ 475916 h 816032"/>
                <a:gd name="connsiteX5656" fmla="*/ 167684 w 866764"/>
                <a:gd name="connsiteY5656" fmla="*/ 477489 h 816032"/>
                <a:gd name="connsiteX5657" fmla="*/ 169347 w 866764"/>
                <a:gd name="connsiteY5657" fmla="*/ 482783 h 816032"/>
                <a:gd name="connsiteX5658" fmla="*/ 169620 w 866764"/>
                <a:gd name="connsiteY5658" fmla="*/ 484719 h 816032"/>
                <a:gd name="connsiteX5659" fmla="*/ 169257 w 866764"/>
                <a:gd name="connsiteY5659" fmla="*/ 486625 h 816032"/>
                <a:gd name="connsiteX5660" fmla="*/ 168017 w 866764"/>
                <a:gd name="connsiteY5660" fmla="*/ 489015 h 816032"/>
                <a:gd name="connsiteX5661" fmla="*/ 168984 w 866764"/>
                <a:gd name="connsiteY5661" fmla="*/ 489771 h 816032"/>
                <a:gd name="connsiteX5662" fmla="*/ 169196 w 866764"/>
                <a:gd name="connsiteY5662" fmla="*/ 490799 h 816032"/>
                <a:gd name="connsiteX5663" fmla="*/ 169196 w 866764"/>
                <a:gd name="connsiteY5663" fmla="*/ 491949 h 816032"/>
                <a:gd name="connsiteX5664" fmla="*/ 169408 w 866764"/>
                <a:gd name="connsiteY5664" fmla="*/ 493068 h 816032"/>
                <a:gd name="connsiteX5665" fmla="*/ 170043 w 866764"/>
                <a:gd name="connsiteY5665" fmla="*/ 493068 h 816032"/>
                <a:gd name="connsiteX5666" fmla="*/ 170558 w 866764"/>
                <a:gd name="connsiteY5666" fmla="*/ 489922 h 816032"/>
                <a:gd name="connsiteX5667" fmla="*/ 172524 w 866764"/>
                <a:gd name="connsiteY5667" fmla="*/ 489408 h 816032"/>
                <a:gd name="connsiteX5668" fmla="*/ 178453 w 866764"/>
                <a:gd name="connsiteY5668" fmla="*/ 491041 h 816032"/>
                <a:gd name="connsiteX5669" fmla="*/ 179451 w 866764"/>
                <a:gd name="connsiteY5669" fmla="*/ 491919 h 816032"/>
                <a:gd name="connsiteX5670" fmla="*/ 181418 w 866764"/>
                <a:gd name="connsiteY5670" fmla="*/ 494278 h 816032"/>
                <a:gd name="connsiteX5671" fmla="*/ 182567 w 866764"/>
                <a:gd name="connsiteY5671" fmla="*/ 495337 h 816032"/>
                <a:gd name="connsiteX5672" fmla="*/ 184625 w 866764"/>
                <a:gd name="connsiteY5672" fmla="*/ 496305 h 816032"/>
                <a:gd name="connsiteX5673" fmla="*/ 193307 w 866764"/>
                <a:gd name="connsiteY5673" fmla="*/ 501992 h 816032"/>
                <a:gd name="connsiteX5674" fmla="*/ 195243 w 866764"/>
                <a:gd name="connsiteY5674" fmla="*/ 503868 h 816032"/>
                <a:gd name="connsiteX5675" fmla="*/ 199085 w 866764"/>
                <a:gd name="connsiteY5675" fmla="*/ 509192 h 816032"/>
                <a:gd name="connsiteX5676" fmla="*/ 205891 w 866764"/>
                <a:gd name="connsiteY5676" fmla="*/ 521202 h 816032"/>
                <a:gd name="connsiteX5677" fmla="*/ 206617 w 866764"/>
                <a:gd name="connsiteY5677" fmla="*/ 523169 h 816032"/>
                <a:gd name="connsiteX5678" fmla="*/ 207555 w 866764"/>
                <a:gd name="connsiteY5678" fmla="*/ 525770 h 816032"/>
                <a:gd name="connsiteX5679" fmla="*/ 208009 w 866764"/>
                <a:gd name="connsiteY5679" fmla="*/ 530459 h 816032"/>
                <a:gd name="connsiteX5680" fmla="*/ 206648 w 866764"/>
                <a:gd name="connsiteY5680" fmla="*/ 534210 h 816032"/>
                <a:gd name="connsiteX5681" fmla="*/ 203895 w 866764"/>
                <a:gd name="connsiteY5681" fmla="*/ 536902 h 816032"/>
                <a:gd name="connsiteX5682" fmla="*/ 197572 w 866764"/>
                <a:gd name="connsiteY5682" fmla="*/ 541592 h 816032"/>
                <a:gd name="connsiteX5683" fmla="*/ 195787 w 866764"/>
                <a:gd name="connsiteY5683" fmla="*/ 544798 h 816032"/>
                <a:gd name="connsiteX5684" fmla="*/ 195091 w 866764"/>
                <a:gd name="connsiteY5684" fmla="*/ 548973 h 816032"/>
                <a:gd name="connsiteX5685" fmla="*/ 195303 w 866764"/>
                <a:gd name="connsiteY5685" fmla="*/ 553632 h 816032"/>
                <a:gd name="connsiteX5686" fmla="*/ 196211 w 866764"/>
                <a:gd name="connsiteY5686" fmla="*/ 558169 h 816032"/>
                <a:gd name="connsiteX5687" fmla="*/ 198268 w 866764"/>
                <a:gd name="connsiteY5687" fmla="*/ 561769 h 816032"/>
                <a:gd name="connsiteX5688" fmla="*/ 201293 w 866764"/>
                <a:gd name="connsiteY5688" fmla="*/ 564613 h 816032"/>
                <a:gd name="connsiteX5689" fmla="*/ 203864 w 866764"/>
                <a:gd name="connsiteY5689" fmla="*/ 567638 h 816032"/>
                <a:gd name="connsiteX5690" fmla="*/ 204590 w 866764"/>
                <a:gd name="connsiteY5690" fmla="*/ 571722 h 816032"/>
                <a:gd name="connsiteX5691" fmla="*/ 205195 w 866764"/>
                <a:gd name="connsiteY5691" fmla="*/ 570391 h 816032"/>
                <a:gd name="connsiteX5692" fmla="*/ 205679 w 866764"/>
                <a:gd name="connsiteY5692" fmla="*/ 570088 h 816032"/>
                <a:gd name="connsiteX5693" fmla="*/ 206587 w 866764"/>
                <a:gd name="connsiteY5693" fmla="*/ 570149 h 816032"/>
                <a:gd name="connsiteX5694" fmla="*/ 206466 w 866764"/>
                <a:gd name="connsiteY5694" fmla="*/ 570935 h 816032"/>
                <a:gd name="connsiteX5695" fmla="*/ 206164 w 866764"/>
                <a:gd name="connsiteY5695" fmla="*/ 571298 h 816032"/>
                <a:gd name="connsiteX5696" fmla="*/ 205195 w 866764"/>
                <a:gd name="connsiteY5696" fmla="*/ 571752 h 816032"/>
                <a:gd name="connsiteX5697" fmla="*/ 207222 w 866764"/>
                <a:gd name="connsiteY5697" fmla="*/ 571178 h 816032"/>
                <a:gd name="connsiteX5698" fmla="*/ 208674 w 866764"/>
                <a:gd name="connsiteY5698" fmla="*/ 572024 h 816032"/>
                <a:gd name="connsiteX5699" fmla="*/ 209400 w 866764"/>
                <a:gd name="connsiteY5699" fmla="*/ 573688 h 816032"/>
                <a:gd name="connsiteX5700" fmla="*/ 209340 w 866764"/>
                <a:gd name="connsiteY5700" fmla="*/ 575624 h 816032"/>
                <a:gd name="connsiteX5701" fmla="*/ 208856 w 866764"/>
                <a:gd name="connsiteY5701" fmla="*/ 576623 h 816032"/>
                <a:gd name="connsiteX5702" fmla="*/ 207525 w 866764"/>
                <a:gd name="connsiteY5702" fmla="*/ 578559 h 816032"/>
                <a:gd name="connsiteX5703" fmla="*/ 207222 w 866764"/>
                <a:gd name="connsiteY5703" fmla="*/ 579617 h 816032"/>
                <a:gd name="connsiteX5704" fmla="*/ 207313 w 866764"/>
                <a:gd name="connsiteY5704" fmla="*/ 581251 h 816032"/>
                <a:gd name="connsiteX5705" fmla="*/ 207555 w 866764"/>
                <a:gd name="connsiteY5705" fmla="*/ 582370 h 816032"/>
                <a:gd name="connsiteX5706" fmla="*/ 207646 w 866764"/>
                <a:gd name="connsiteY5706" fmla="*/ 583308 h 816032"/>
                <a:gd name="connsiteX5707" fmla="*/ 207253 w 866764"/>
                <a:gd name="connsiteY5707" fmla="*/ 584397 h 816032"/>
                <a:gd name="connsiteX5708" fmla="*/ 208069 w 866764"/>
                <a:gd name="connsiteY5708" fmla="*/ 585668 h 816032"/>
                <a:gd name="connsiteX5709" fmla="*/ 208614 w 866764"/>
                <a:gd name="connsiteY5709" fmla="*/ 587150 h 816032"/>
                <a:gd name="connsiteX5710" fmla="*/ 209158 w 866764"/>
                <a:gd name="connsiteY5710" fmla="*/ 588027 h 816032"/>
                <a:gd name="connsiteX5711" fmla="*/ 210066 w 866764"/>
                <a:gd name="connsiteY5711" fmla="*/ 587543 h 816032"/>
                <a:gd name="connsiteX5712" fmla="*/ 210701 w 866764"/>
                <a:gd name="connsiteY5712" fmla="*/ 587543 h 816032"/>
                <a:gd name="connsiteX5713" fmla="*/ 211336 w 866764"/>
                <a:gd name="connsiteY5713" fmla="*/ 588663 h 816032"/>
                <a:gd name="connsiteX5714" fmla="*/ 213696 w 866764"/>
                <a:gd name="connsiteY5714" fmla="*/ 589540 h 816032"/>
                <a:gd name="connsiteX5715" fmla="*/ 214876 w 866764"/>
                <a:gd name="connsiteY5715" fmla="*/ 590690 h 816032"/>
                <a:gd name="connsiteX5716" fmla="*/ 217447 w 866764"/>
                <a:gd name="connsiteY5716" fmla="*/ 589570 h 816032"/>
                <a:gd name="connsiteX5717" fmla="*/ 218990 w 866764"/>
                <a:gd name="connsiteY5717" fmla="*/ 589238 h 816032"/>
                <a:gd name="connsiteX5718" fmla="*/ 220805 w 866764"/>
                <a:gd name="connsiteY5718" fmla="*/ 589147 h 816032"/>
                <a:gd name="connsiteX5719" fmla="*/ 223891 w 866764"/>
                <a:gd name="connsiteY5719" fmla="*/ 595046 h 816032"/>
                <a:gd name="connsiteX5720" fmla="*/ 224224 w 866764"/>
                <a:gd name="connsiteY5720" fmla="*/ 595318 h 816032"/>
                <a:gd name="connsiteX5721" fmla="*/ 225978 w 866764"/>
                <a:gd name="connsiteY5721" fmla="*/ 598585 h 816032"/>
                <a:gd name="connsiteX5722" fmla="*/ 226825 w 866764"/>
                <a:gd name="connsiteY5722" fmla="*/ 598585 h 816032"/>
                <a:gd name="connsiteX5723" fmla="*/ 227461 w 866764"/>
                <a:gd name="connsiteY5723" fmla="*/ 598222 h 816032"/>
                <a:gd name="connsiteX5724" fmla="*/ 228035 w 866764"/>
                <a:gd name="connsiteY5724" fmla="*/ 597617 h 816032"/>
                <a:gd name="connsiteX5725" fmla="*/ 232210 w 866764"/>
                <a:gd name="connsiteY5725" fmla="*/ 594047 h 816032"/>
                <a:gd name="connsiteX5726" fmla="*/ 232845 w 866764"/>
                <a:gd name="connsiteY5726" fmla="*/ 593019 h 816032"/>
                <a:gd name="connsiteX5727" fmla="*/ 232482 w 866764"/>
                <a:gd name="connsiteY5727" fmla="*/ 592081 h 816032"/>
                <a:gd name="connsiteX5728" fmla="*/ 233118 w 866764"/>
                <a:gd name="connsiteY5728" fmla="*/ 591325 h 816032"/>
                <a:gd name="connsiteX5729" fmla="*/ 234297 w 866764"/>
                <a:gd name="connsiteY5729" fmla="*/ 590841 h 816032"/>
                <a:gd name="connsiteX5730" fmla="*/ 235659 w 866764"/>
                <a:gd name="connsiteY5730" fmla="*/ 590750 h 816032"/>
                <a:gd name="connsiteX5731" fmla="*/ 235659 w 866764"/>
                <a:gd name="connsiteY5731" fmla="*/ 589964 h 816032"/>
                <a:gd name="connsiteX5732" fmla="*/ 234267 w 866764"/>
                <a:gd name="connsiteY5732" fmla="*/ 589782 h 816032"/>
                <a:gd name="connsiteX5733" fmla="*/ 233208 w 866764"/>
                <a:gd name="connsiteY5733" fmla="*/ 589147 h 816032"/>
                <a:gd name="connsiteX5734" fmla="*/ 231484 w 866764"/>
                <a:gd name="connsiteY5734" fmla="*/ 587604 h 816032"/>
                <a:gd name="connsiteX5735" fmla="*/ 232119 w 866764"/>
                <a:gd name="connsiteY5735" fmla="*/ 586243 h 816032"/>
                <a:gd name="connsiteX5736" fmla="*/ 231847 w 866764"/>
                <a:gd name="connsiteY5736" fmla="*/ 585214 h 816032"/>
                <a:gd name="connsiteX5737" fmla="*/ 231212 w 866764"/>
                <a:gd name="connsiteY5737" fmla="*/ 584216 h 816032"/>
                <a:gd name="connsiteX5738" fmla="*/ 230788 w 866764"/>
                <a:gd name="connsiteY5738" fmla="*/ 582885 h 816032"/>
                <a:gd name="connsiteX5739" fmla="*/ 230849 w 866764"/>
                <a:gd name="connsiteY5739" fmla="*/ 581826 h 816032"/>
                <a:gd name="connsiteX5740" fmla="*/ 231333 w 866764"/>
                <a:gd name="connsiteY5740" fmla="*/ 580434 h 816032"/>
                <a:gd name="connsiteX5741" fmla="*/ 232361 w 866764"/>
                <a:gd name="connsiteY5741" fmla="*/ 569423 h 816032"/>
                <a:gd name="connsiteX5742" fmla="*/ 232936 w 866764"/>
                <a:gd name="connsiteY5742" fmla="*/ 567880 h 816032"/>
                <a:gd name="connsiteX5743" fmla="*/ 234116 w 866764"/>
                <a:gd name="connsiteY5743" fmla="*/ 566670 h 816032"/>
                <a:gd name="connsiteX5744" fmla="*/ 237897 w 866764"/>
                <a:gd name="connsiteY5744" fmla="*/ 565672 h 816032"/>
                <a:gd name="connsiteX5745" fmla="*/ 241709 w 866764"/>
                <a:gd name="connsiteY5745" fmla="*/ 563494 h 816032"/>
                <a:gd name="connsiteX5746" fmla="*/ 243524 w 866764"/>
                <a:gd name="connsiteY5746" fmla="*/ 563009 h 816032"/>
                <a:gd name="connsiteX5747" fmla="*/ 247305 w 866764"/>
                <a:gd name="connsiteY5747" fmla="*/ 563191 h 816032"/>
                <a:gd name="connsiteX5748" fmla="*/ 254112 w 866764"/>
                <a:gd name="connsiteY5748" fmla="*/ 564583 h 816032"/>
                <a:gd name="connsiteX5749" fmla="*/ 254294 w 866764"/>
                <a:gd name="connsiteY5749" fmla="*/ 565399 h 816032"/>
                <a:gd name="connsiteX5750" fmla="*/ 254142 w 866764"/>
                <a:gd name="connsiteY5750" fmla="*/ 568546 h 816032"/>
                <a:gd name="connsiteX5751" fmla="*/ 253658 w 866764"/>
                <a:gd name="connsiteY5751" fmla="*/ 570784 h 816032"/>
                <a:gd name="connsiteX5752" fmla="*/ 253567 w 866764"/>
                <a:gd name="connsiteY5752" fmla="*/ 572085 h 816032"/>
                <a:gd name="connsiteX5753" fmla="*/ 253325 w 866764"/>
                <a:gd name="connsiteY5753" fmla="*/ 573234 h 816032"/>
                <a:gd name="connsiteX5754" fmla="*/ 252841 w 866764"/>
                <a:gd name="connsiteY5754" fmla="*/ 574263 h 816032"/>
                <a:gd name="connsiteX5755" fmla="*/ 252358 w 866764"/>
                <a:gd name="connsiteY5755" fmla="*/ 574898 h 816032"/>
                <a:gd name="connsiteX5756" fmla="*/ 252115 w 866764"/>
                <a:gd name="connsiteY5756" fmla="*/ 574838 h 816032"/>
                <a:gd name="connsiteX5757" fmla="*/ 252569 w 866764"/>
                <a:gd name="connsiteY5757" fmla="*/ 576562 h 816032"/>
                <a:gd name="connsiteX5758" fmla="*/ 253658 w 866764"/>
                <a:gd name="connsiteY5758" fmla="*/ 577712 h 816032"/>
                <a:gd name="connsiteX5759" fmla="*/ 256320 w 866764"/>
                <a:gd name="connsiteY5759" fmla="*/ 579557 h 816032"/>
                <a:gd name="connsiteX5760" fmla="*/ 258831 w 866764"/>
                <a:gd name="connsiteY5760" fmla="*/ 577802 h 816032"/>
                <a:gd name="connsiteX5761" fmla="*/ 260979 w 866764"/>
                <a:gd name="connsiteY5761" fmla="*/ 578831 h 816032"/>
                <a:gd name="connsiteX5762" fmla="*/ 268028 w 866764"/>
                <a:gd name="connsiteY5762" fmla="*/ 587755 h 816032"/>
                <a:gd name="connsiteX5763" fmla="*/ 269570 w 866764"/>
                <a:gd name="connsiteY5763" fmla="*/ 590690 h 816032"/>
                <a:gd name="connsiteX5764" fmla="*/ 269419 w 866764"/>
                <a:gd name="connsiteY5764" fmla="*/ 592928 h 816032"/>
                <a:gd name="connsiteX5765" fmla="*/ 271265 w 866764"/>
                <a:gd name="connsiteY5765" fmla="*/ 594895 h 816032"/>
                <a:gd name="connsiteX5766" fmla="*/ 272838 w 866764"/>
                <a:gd name="connsiteY5766" fmla="*/ 598525 h 816032"/>
                <a:gd name="connsiteX5767" fmla="*/ 274743 w 866764"/>
                <a:gd name="connsiteY5767" fmla="*/ 601338 h 816032"/>
                <a:gd name="connsiteX5768" fmla="*/ 277708 w 866764"/>
                <a:gd name="connsiteY5768" fmla="*/ 600854 h 816032"/>
                <a:gd name="connsiteX5769" fmla="*/ 275953 w 866764"/>
                <a:gd name="connsiteY5769" fmla="*/ 604605 h 816032"/>
                <a:gd name="connsiteX5770" fmla="*/ 275742 w 866764"/>
                <a:gd name="connsiteY5770" fmla="*/ 606572 h 816032"/>
                <a:gd name="connsiteX5771" fmla="*/ 277708 w 866764"/>
                <a:gd name="connsiteY5771" fmla="*/ 607207 h 816032"/>
                <a:gd name="connsiteX5772" fmla="*/ 277708 w 866764"/>
                <a:gd name="connsiteY5772" fmla="*/ 608024 h 816032"/>
                <a:gd name="connsiteX5773" fmla="*/ 276044 w 866764"/>
                <a:gd name="connsiteY5773" fmla="*/ 608175 h 816032"/>
                <a:gd name="connsiteX5774" fmla="*/ 275681 w 866764"/>
                <a:gd name="connsiteY5774" fmla="*/ 609536 h 816032"/>
                <a:gd name="connsiteX5775" fmla="*/ 275833 w 866764"/>
                <a:gd name="connsiteY5775" fmla="*/ 611321 h 816032"/>
                <a:gd name="connsiteX5776" fmla="*/ 275651 w 866764"/>
                <a:gd name="connsiteY5776" fmla="*/ 612804 h 816032"/>
                <a:gd name="connsiteX5777" fmla="*/ 277739 w 866764"/>
                <a:gd name="connsiteY5777" fmla="*/ 612804 h 816032"/>
                <a:gd name="connsiteX5778" fmla="*/ 276801 w 866764"/>
                <a:gd name="connsiteY5778" fmla="*/ 614497 h 816032"/>
                <a:gd name="connsiteX5779" fmla="*/ 276286 w 866764"/>
                <a:gd name="connsiteY5779" fmla="*/ 615072 h 816032"/>
                <a:gd name="connsiteX5780" fmla="*/ 277315 w 866764"/>
                <a:gd name="connsiteY5780" fmla="*/ 616252 h 816032"/>
                <a:gd name="connsiteX5781" fmla="*/ 277739 w 866764"/>
                <a:gd name="connsiteY5781" fmla="*/ 618127 h 816032"/>
                <a:gd name="connsiteX5782" fmla="*/ 277254 w 866764"/>
                <a:gd name="connsiteY5782" fmla="*/ 619489 h 816032"/>
                <a:gd name="connsiteX5783" fmla="*/ 275621 w 866764"/>
                <a:gd name="connsiteY5783" fmla="*/ 619065 h 816032"/>
                <a:gd name="connsiteX5784" fmla="*/ 275016 w 866764"/>
                <a:gd name="connsiteY5784" fmla="*/ 620699 h 816032"/>
                <a:gd name="connsiteX5785" fmla="*/ 274380 w 866764"/>
                <a:gd name="connsiteY5785" fmla="*/ 621939 h 816032"/>
                <a:gd name="connsiteX5786" fmla="*/ 274290 w 866764"/>
                <a:gd name="connsiteY5786" fmla="*/ 623210 h 816032"/>
                <a:gd name="connsiteX5787" fmla="*/ 275258 w 866764"/>
                <a:gd name="connsiteY5787" fmla="*/ 624934 h 816032"/>
                <a:gd name="connsiteX5788" fmla="*/ 276044 w 866764"/>
                <a:gd name="connsiteY5788" fmla="*/ 625933 h 816032"/>
                <a:gd name="connsiteX5789" fmla="*/ 277012 w 866764"/>
                <a:gd name="connsiteY5789" fmla="*/ 626810 h 816032"/>
                <a:gd name="connsiteX5790" fmla="*/ 278011 w 866764"/>
                <a:gd name="connsiteY5790" fmla="*/ 627022 h 816032"/>
                <a:gd name="connsiteX5791" fmla="*/ 279039 w 866764"/>
                <a:gd name="connsiteY5791" fmla="*/ 626053 h 816032"/>
                <a:gd name="connsiteX5792" fmla="*/ 279735 w 866764"/>
                <a:gd name="connsiteY5792" fmla="*/ 626053 h 816032"/>
                <a:gd name="connsiteX5793" fmla="*/ 280945 w 866764"/>
                <a:gd name="connsiteY5793" fmla="*/ 627596 h 816032"/>
                <a:gd name="connsiteX5794" fmla="*/ 284454 w 866764"/>
                <a:gd name="connsiteY5794" fmla="*/ 628897 h 816032"/>
                <a:gd name="connsiteX5795" fmla="*/ 285906 w 866764"/>
                <a:gd name="connsiteY5795" fmla="*/ 630016 h 816032"/>
                <a:gd name="connsiteX5796" fmla="*/ 286451 w 866764"/>
                <a:gd name="connsiteY5796" fmla="*/ 631711 h 816032"/>
                <a:gd name="connsiteX5797" fmla="*/ 286572 w 866764"/>
                <a:gd name="connsiteY5797" fmla="*/ 633828 h 816032"/>
                <a:gd name="connsiteX5798" fmla="*/ 286904 w 866764"/>
                <a:gd name="connsiteY5798" fmla="*/ 635795 h 816032"/>
                <a:gd name="connsiteX5799" fmla="*/ 288054 w 866764"/>
                <a:gd name="connsiteY5799" fmla="*/ 637065 h 816032"/>
                <a:gd name="connsiteX5800" fmla="*/ 288236 w 866764"/>
                <a:gd name="connsiteY5800" fmla="*/ 636339 h 816032"/>
                <a:gd name="connsiteX5801" fmla="*/ 288236 w 866764"/>
                <a:gd name="connsiteY5801" fmla="*/ 635734 h 816032"/>
                <a:gd name="connsiteX5802" fmla="*/ 288478 w 866764"/>
                <a:gd name="connsiteY5802" fmla="*/ 635401 h 816032"/>
                <a:gd name="connsiteX5803" fmla="*/ 289416 w 866764"/>
                <a:gd name="connsiteY5803" fmla="*/ 635492 h 816032"/>
                <a:gd name="connsiteX5804" fmla="*/ 289416 w 866764"/>
                <a:gd name="connsiteY5804" fmla="*/ 634706 h 816032"/>
                <a:gd name="connsiteX5805" fmla="*/ 288629 w 866764"/>
                <a:gd name="connsiteY5805" fmla="*/ 633405 h 816032"/>
                <a:gd name="connsiteX5806" fmla="*/ 288327 w 866764"/>
                <a:gd name="connsiteY5806" fmla="*/ 632043 h 816032"/>
                <a:gd name="connsiteX5807" fmla="*/ 288780 w 866764"/>
                <a:gd name="connsiteY5807" fmla="*/ 630833 h 816032"/>
                <a:gd name="connsiteX5808" fmla="*/ 290081 w 866764"/>
                <a:gd name="connsiteY5808" fmla="*/ 630016 h 816032"/>
                <a:gd name="connsiteX5809" fmla="*/ 289688 w 866764"/>
                <a:gd name="connsiteY5809" fmla="*/ 629018 h 816032"/>
                <a:gd name="connsiteX5810" fmla="*/ 290081 w 866764"/>
                <a:gd name="connsiteY5810" fmla="*/ 628383 h 816032"/>
                <a:gd name="connsiteX5811" fmla="*/ 288205 w 866764"/>
                <a:gd name="connsiteY5811" fmla="*/ 623815 h 816032"/>
                <a:gd name="connsiteX5812" fmla="*/ 287570 w 866764"/>
                <a:gd name="connsiteY5812" fmla="*/ 621667 h 816032"/>
                <a:gd name="connsiteX5813" fmla="*/ 287267 w 866764"/>
                <a:gd name="connsiteY5813" fmla="*/ 619035 h 816032"/>
                <a:gd name="connsiteX5814" fmla="*/ 287328 w 866764"/>
                <a:gd name="connsiteY5814" fmla="*/ 612289 h 816032"/>
                <a:gd name="connsiteX5815" fmla="*/ 287933 w 866764"/>
                <a:gd name="connsiteY5815" fmla="*/ 611079 h 816032"/>
                <a:gd name="connsiteX5816" fmla="*/ 289416 w 866764"/>
                <a:gd name="connsiteY5816" fmla="*/ 610262 h 816032"/>
                <a:gd name="connsiteX5817" fmla="*/ 290232 w 866764"/>
                <a:gd name="connsiteY5817" fmla="*/ 612743 h 816032"/>
                <a:gd name="connsiteX5818" fmla="*/ 291563 w 866764"/>
                <a:gd name="connsiteY5818" fmla="*/ 611624 h 816032"/>
                <a:gd name="connsiteX5819" fmla="*/ 292078 w 866764"/>
                <a:gd name="connsiteY5819" fmla="*/ 609264 h 816032"/>
                <a:gd name="connsiteX5820" fmla="*/ 290414 w 866764"/>
                <a:gd name="connsiteY5820" fmla="*/ 607963 h 816032"/>
                <a:gd name="connsiteX5821" fmla="*/ 289960 w 866764"/>
                <a:gd name="connsiteY5821" fmla="*/ 607510 h 816032"/>
                <a:gd name="connsiteX5822" fmla="*/ 290111 w 866764"/>
                <a:gd name="connsiteY5822" fmla="*/ 606481 h 816032"/>
                <a:gd name="connsiteX5823" fmla="*/ 290656 w 866764"/>
                <a:gd name="connsiteY5823" fmla="*/ 605422 h 816032"/>
                <a:gd name="connsiteX5824" fmla="*/ 291503 w 866764"/>
                <a:gd name="connsiteY5824" fmla="*/ 604817 h 816032"/>
                <a:gd name="connsiteX5825" fmla="*/ 292380 w 866764"/>
                <a:gd name="connsiteY5825" fmla="*/ 604938 h 816032"/>
                <a:gd name="connsiteX5826" fmla="*/ 293015 w 866764"/>
                <a:gd name="connsiteY5826" fmla="*/ 605543 h 816032"/>
                <a:gd name="connsiteX5827" fmla="*/ 293378 w 866764"/>
                <a:gd name="connsiteY5827" fmla="*/ 606390 h 816032"/>
                <a:gd name="connsiteX5828" fmla="*/ 293560 w 866764"/>
                <a:gd name="connsiteY5828" fmla="*/ 607207 h 816032"/>
                <a:gd name="connsiteX5829" fmla="*/ 294256 w 866764"/>
                <a:gd name="connsiteY5829" fmla="*/ 607207 h 816032"/>
                <a:gd name="connsiteX5830" fmla="*/ 294377 w 866764"/>
                <a:gd name="connsiteY5830" fmla="*/ 605452 h 816032"/>
                <a:gd name="connsiteX5831" fmla="*/ 293984 w 866764"/>
                <a:gd name="connsiteY5831" fmla="*/ 604061 h 816032"/>
                <a:gd name="connsiteX5832" fmla="*/ 293015 w 866764"/>
                <a:gd name="connsiteY5832" fmla="*/ 603244 h 816032"/>
                <a:gd name="connsiteX5833" fmla="*/ 291472 w 866764"/>
                <a:gd name="connsiteY5833" fmla="*/ 603244 h 816032"/>
                <a:gd name="connsiteX5834" fmla="*/ 292320 w 866764"/>
                <a:gd name="connsiteY5834" fmla="*/ 600703 h 816032"/>
                <a:gd name="connsiteX5835" fmla="*/ 293590 w 866764"/>
                <a:gd name="connsiteY5835" fmla="*/ 599069 h 816032"/>
                <a:gd name="connsiteX5836" fmla="*/ 296918 w 866764"/>
                <a:gd name="connsiteY5836" fmla="*/ 596891 h 816032"/>
                <a:gd name="connsiteX5837" fmla="*/ 296736 w 866764"/>
                <a:gd name="connsiteY5837" fmla="*/ 591991 h 816032"/>
                <a:gd name="connsiteX5838" fmla="*/ 301274 w 866764"/>
                <a:gd name="connsiteY5838" fmla="*/ 589631 h 816032"/>
                <a:gd name="connsiteX5839" fmla="*/ 307597 w 866764"/>
                <a:gd name="connsiteY5839" fmla="*/ 588935 h 816032"/>
                <a:gd name="connsiteX5840" fmla="*/ 312739 w 866764"/>
                <a:gd name="connsiteY5840" fmla="*/ 589026 h 816032"/>
                <a:gd name="connsiteX5841" fmla="*/ 315613 w 866764"/>
                <a:gd name="connsiteY5841" fmla="*/ 589540 h 816032"/>
                <a:gd name="connsiteX5842" fmla="*/ 317791 w 866764"/>
                <a:gd name="connsiteY5842" fmla="*/ 590780 h 816032"/>
                <a:gd name="connsiteX5843" fmla="*/ 319183 w 866764"/>
                <a:gd name="connsiteY5843" fmla="*/ 592807 h 816032"/>
                <a:gd name="connsiteX5844" fmla="*/ 319879 w 866764"/>
                <a:gd name="connsiteY5844" fmla="*/ 596982 h 816032"/>
                <a:gd name="connsiteX5845" fmla="*/ 320817 w 866764"/>
                <a:gd name="connsiteY5845" fmla="*/ 599463 h 816032"/>
                <a:gd name="connsiteX5846" fmla="*/ 321028 w 866764"/>
                <a:gd name="connsiteY5846" fmla="*/ 601217 h 816032"/>
                <a:gd name="connsiteX5847" fmla="*/ 320454 w 866764"/>
                <a:gd name="connsiteY5847" fmla="*/ 603909 h 816032"/>
                <a:gd name="connsiteX5848" fmla="*/ 320574 w 866764"/>
                <a:gd name="connsiteY5848" fmla="*/ 604938 h 816032"/>
                <a:gd name="connsiteX5849" fmla="*/ 320998 w 866764"/>
                <a:gd name="connsiteY5849" fmla="*/ 605543 h 816032"/>
                <a:gd name="connsiteX5850" fmla="*/ 322389 w 866764"/>
                <a:gd name="connsiteY5850" fmla="*/ 603970 h 816032"/>
                <a:gd name="connsiteX5851" fmla="*/ 322783 w 866764"/>
                <a:gd name="connsiteY5851" fmla="*/ 603093 h 816032"/>
                <a:gd name="connsiteX5852" fmla="*/ 323327 w 866764"/>
                <a:gd name="connsiteY5852" fmla="*/ 603274 h 816032"/>
                <a:gd name="connsiteX5853" fmla="*/ 327532 w 866764"/>
                <a:gd name="connsiteY5853" fmla="*/ 606813 h 816032"/>
                <a:gd name="connsiteX5854" fmla="*/ 327986 w 866764"/>
                <a:gd name="connsiteY5854" fmla="*/ 608175 h 816032"/>
                <a:gd name="connsiteX5855" fmla="*/ 326534 w 866764"/>
                <a:gd name="connsiteY5855" fmla="*/ 609536 h 816032"/>
                <a:gd name="connsiteX5856" fmla="*/ 330890 w 866764"/>
                <a:gd name="connsiteY5856" fmla="*/ 612440 h 816032"/>
                <a:gd name="connsiteX5857" fmla="*/ 332040 w 866764"/>
                <a:gd name="connsiteY5857" fmla="*/ 613439 h 816032"/>
                <a:gd name="connsiteX5858" fmla="*/ 332796 w 866764"/>
                <a:gd name="connsiteY5858" fmla="*/ 614619 h 816032"/>
                <a:gd name="connsiteX5859" fmla="*/ 335035 w 866764"/>
                <a:gd name="connsiteY5859" fmla="*/ 619065 h 816032"/>
                <a:gd name="connsiteX5860" fmla="*/ 335488 w 866764"/>
                <a:gd name="connsiteY5860" fmla="*/ 620941 h 816032"/>
                <a:gd name="connsiteX5861" fmla="*/ 336366 w 866764"/>
                <a:gd name="connsiteY5861" fmla="*/ 622212 h 816032"/>
                <a:gd name="connsiteX5862" fmla="*/ 338423 w 866764"/>
                <a:gd name="connsiteY5862" fmla="*/ 622212 h 816032"/>
                <a:gd name="connsiteX5863" fmla="*/ 342749 w 866764"/>
                <a:gd name="connsiteY5863" fmla="*/ 621304 h 816032"/>
                <a:gd name="connsiteX5864" fmla="*/ 344292 w 866764"/>
                <a:gd name="connsiteY5864" fmla="*/ 621939 h 816032"/>
                <a:gd name="connsiteX5865" fmla="*/ 345713 w 866764"/>
                <a:gd name="connsiteY5865" fmla="*/ 623452 h 816032"/>
                <a:gd name="connsiteX5866" fmla="*/ 346409 w 866764"/>
                <a:gd name="connsiteY5866" fmla="*/ 625297 h 816032"/>
                <a:gd name="connsiteX5867" fmla="*/ 345834 w 866764"/>
                <a:gd name="connsiteY5867" fmla="*/ 626840 h 816032"/>
                <a:gd name="connsiteX5868" fmla="*/ 345834 w 866764"/>
                <a:gd name="connsiteY5868" fmla="*/ 627566 h 816032"/>
                <a:gd name="connsiteX5869" fmla="*/ 347044 w 866764"/>
                <a:gd name="connsiteY5869" fmla="*/ 628504 h 816032"/>
                <a:gd name="connsiteX5870" fmla="*/ 347770 w 866764"/>
                <a:gd name="connsiteY5870" fmla="*/ 629835 h 816032"/>
                <a:gd name="connsiteX5871" fmla="*/ 348678 w 866764"/>
                <a:gd name="connsiteY5871" fmla="*/ 631045 h 816032"/>
                <a:gd name="connsiteX5872" fmla="*/ 353155 w 866764"/>
                <a:gd name="connsiteY5872" fmla="*/ 632074 h 816032"/>
                <a:gd name="connsiteX5873" fmla="*/ 354426 w 866764"/>
                <a:gd name="connsiteY5873" fmla="*/ 631892 h 816032"/>
                <a:gd name="connsiteX5874" fmla="*/ 355424 w 866764"/>
                <a:gd name="connsiteY5874" fmla="*/ 630682 h 816032"/>
                <a:gd name="connsiteX5875" fmla="*/ 358873 w 866764"/>
                <a:gd name="connsiteY5875" fmla="*/ 632255 h 816032"/>
                <a:gd name="connsiteX5876" fmla="*/ 359629 w 866764"/>
                <a:gd name="connsiteY5876" fmla="*/ 629563 h 816032"/>
                <a:gd name="connsiteX5877" fmla="*/ 357421 w 866764"/>
                <a:gd name="connsiteY5877" fmla="*/ 627717 h 816032"/>
                <a:gd name="connsiteX5878" fmla="*/ 354396 w 866764"/>
                <a:gd name="connsiteY5878" fmla="*/ 625993 h 816032"/>
                <a:gd name="connsiteX5879" fmla="*/ 352671 w 866764"/>
                <a:gd name="connsiteY5879" fmla="*/ 623664 h 816032"/>
                <a:gd name="connsiteX5880" fmla="*/ 353609 w 866764"/>
                <a:gd name="connsiteY5880" fmla="*/ 623119 h 816032"/>
                <a:gd name="connsiteX5881" fmla="*/ 354033 w 866764"/>
                <a:gd name="connsiteY5881" fmla="*/ 622544 h 816032"/>
                <a:gd name="connsiteX5882" fmla="*/ 353942 w 866764"/>
                <a:gd name="connsiteY5882" fmla="*/ 621939 h 816032"/>
                <a:gd name="connsiteX5883" fmla="*/ 353337 w 866764"/>
                <a:gd name="connsiteY5883" fmla="*/ 621304 h 816032"/>
                <a:gd name="connsiteX5884" fmla="*/ 353337 w 866764"/>
                <a:gd name="connsiteY5884" fmla="*/ 620578 h 816032"/>
                <a:gd name="connsiteX5885" fmla="*/ 353760 w 866764"/>
                <a:gd name="connsiteY5885" fmla="*/ 620427 h 816032"/>
                <a:gd name="connsiteX5886" fmla="*/ 354698 w 866764"/>
                <a:gd name="connsiteY5886" fmla="*/ 619791 h 816032"/>
                <a:gd name="connsiteX5887" fmla="*/ 353730 w 866764"/>
                <a:gd name="connsiteY5887" fmla="*/ 619701 h 816032"/>
                <a:gd name="connsiteX5888" fmla="*/ 353337 w 866764"/>
                <a:gd name="connsiteY5888" fmla="*/ 619277 h 816032"/>
                <a:gd name="connsiteX5889" fmla="*/ 353095 w 866764"/>
                <a:gd name="connsiteY5889" fmla="*/ 618702 h 816032"/>
                <a:gd name="connsiteX5890" fmla="*/ 352671 w 866764"/>
                <a:gd name="connsiteY5890" fmla="*/ 618158 h 816032"/>
                <a:gd name="connsiteX5891" fmla="*/ 350796 w 866764"/>
                <a:gd name="connsiteY5891" fmla="*/ 617371 h 816032"/>
                <a:gd name="connsiteX5892" fmla="*/ 349646 w 866764"/>
                <a:gd name="connsiteY5892" fmla="*/ 616555 h 816032"/>
                <a:gd name="connsiteX5893" fmla="*/ 347650 w 866764"/>
                <a:gd name="connsiteY5893" fmla="*/ 615768 h 816032"/>
                <a:gd name="connsiteX5894" fmla="*/ 347226 w 866764"/>
                <a:gd name="connsiteY5894" fmla="*/ 615405 h 816032"/>
                <a:gd name="connsiteX5895" fmla="*/ 346167 w 866764"/>
                <a:gd name="connsiteY5895" fmla="*/ 613378 h 816032"/>
                <a:gd name="connsiteX5896" fmla="*/ 344201 w 866764"/>
                <a:gd name="connsiteY5896" fmla="*/ 610444 h 816032"/>
                <a:gd name="connsiteX5897" fmla="*/ 342719 w 866764"/>
                <a:gd name="connsiteY5897" fmla="*/ 607388 h 816032"/>
                <a:gd name="connsiteX5898" fmla="*/ 342597 w 866764"/>
                <a:gd name="connsiteY5898" fmla="*/ 604424 h 816032"/>
                <a:gd name="connsiteX5899" fmla="*/ 345108 w 866764"/>
                <a:gd name="connsiteY5899" fmla="*/ 602397 h 816032"/>
                <a:gd name="connsiteX5900" fmla="*/ 342386 w 866764"/>
                <a:gd name="connsiteY5900" fmla="*/ 602397 h 816032"/>
                <a:gd name="connsiteX5901" fmla="*/ 342597 w 866764"/>
                <a:gd name="connsiteY5901" fmla="*/ 602004 h 816032"/>
                <a:gd name="connsiteX5902" fmla="*/ 342870 w 866764"/>
                <a:gd name="connsiteY5902" fmla="*/ 601187 h 816032"/>
                <a:gd name="connsiteX5903" fmla="*/ 343082 w 866764"/>
                <a:gd name="connsiteY5903" fmla="*/ 600793 h 816032"/>
                <a:gd name="connsiteX5904" fmla="*/ 341720 w 866764"/>
                <a:gd name="connsiteY5904" fmla="*/ 599704 h 816032"/>
                <a:gd name="connsiteX5905" fmla="*/ 342234 w 866764"/>
                <a:gd name="connsiteY5905" fmla="*/ 598555 h 816032"/>
                <a:gd name="connsiteX5906" fmla="*/ 343505 w 866764"/>
                <a:gd name="connsiteY5906" fmla="*/ 597345 h 816032"/>
                <a:gd name="connsiteX5907" fmla="*/ 344382 w 866764"/>
                <a:gd name="connsiteY5907" fmla="*/ 596074 h 816032"/>
                <a:gd name="connsiteX5908" fmla="*/ 345350 w 866764"/>
                <a:gd name="connsiteY5908" fmla="*/ 596831 h 816032"/>
                <a:gd name="connsiteX5909" fmla="*/ 346772 w 866764"/>
                <a:gd name="connsiteY5909" fmla="*/ 597587 h 816032"/>
                <a:gd name="connsiteX5910" fmla="*/ 348073 w 866764"/>
                <a:gd name="connsiteY5910" fmla="*/ 597678 h 816032"/>
                <a:gd name="connsiteX5911" fmla="*/ 348648 w 866764"/>
                <a:gd name="connsiteY5911" fmla="*/ 596437 h 816032"/>
                <a:gd name="connsiteX5912" fmla="*/ 348587 w 866764"/>
                <a:gd name="connsiteY5912" fmla="*/ 595832 h 816032"/>
                <a:gd name="connsiteX5913" fmla="*/ 348527 w 866764"/>
                <a:gd name="connsiteY5913" fmla="*/ 595469 h 816032"/>
                <a:gd name="connsiteX5914" fmla="*/ 348527 w 866764"/>
                <a:gd name="connsiteY5914" fmla="*/ 595106 h 816032"/>
                <a:gd name="connsiteX5915" fmla="*/ 348678 w 866764"/>
                <a:gd name="connsiteY5915" fmla="*/ 594441 h 816032"/>
                <a:gd name="connsiteX5916" fmla="*/ 349071 w 866764"/>
                <a:gd name="connsiteY5916" fmla="*/ 593775 h 816032"/>
                <a:gd name="connsiteX5917" fmla="*/ 350221 w 866764"/>
                <a:gd name="connsiteY5917" fmla="*/ 592958 h 816032"/>
                <a:gd name="connsiteX5918" fmla="*/ 350644 w 866764"/>
                <a:gd name="connsiteY5918" fmla="*/ 592081 h 816032"/>
                <a:gd name="connsiteX5919" fmla="*/ 349102 w 866764"/>
                <a:gd name="connsiteY5919" fmla="*/ 591446 h 816032"/>
                <a:gd name="connsiteX5920" fmla="*/ 348315 w 866764"/>
                <a:gd name="connsiteY5920" fmla="*/ 591294 h 816032"/>
                <a:gd name="connsiteX5921" fmla="*/ 347256 w 866764"/>
                <a:gd name="connsiteY5921" fmla="*/ 591234 h 816032"/>
                <a:gd name="connsiteX5922" fmla="*/ 347256 w 866764"/>
                <a:gd name="connsiteY5922" fmla="*/ 590508 h 816032"/>
                <a:gd name="connsiteX5923" fmla="*/ 348376 w 866764"/>
                <a:gd name="connsiteY5923" fmla="*/ 590115 h 816032"/>
                <a:gd name="connsiteX5924" fmla="*/ 348769 w 866764"/>
                <a:gd name="connsiteY5924" fmla="*/ 589116 h 816032"/>
                <a:gd name="connsiteX5925" fmla="*/ 348527 w 866764"/>
                <a:gd name="connsiteY5925" fmla="*/ 587816 h 816032"/>
                <a:gd name="connsiteX5926" fmla="*/ 347891 w 866764"/>
                <a:gd name="connsiteY5926" fmla="*/ 586575 h 816032"/>
                <a:gd name="connsiteX5927" fmla="*/ 345108 w 866764"/>
                <a:gd name="connsiteY5927" fmla="*/ 583974 h 816032"/>
                <a:gd name="connsiteX5928" fmla="*/ 343777 w 866764"/>
                <a:gd name="connsiteY5928" fmla="*/ 581947 h 816032"/>
                <a:gd name="connsiteX5929" fmla="*/ 344080 w 866764"/>
                <a:gd name="connsiteY5929" fmla="*/ 581040 h 816032"/>
                <a:gd name="connsiteX5930" fmla="*/ 343354 w 866764"/>
                <a:gd name="connsiteY5930" fmla="*/ 580041 h 816032"/>
                <a:gd name="connsiteX5931" fmla="*/ 341357 w 866764"/>
                <a:gd name="connsiteY5931" fmla="*/ 575382 h 816032"/>
                <a:gd name="connsiteX5932" fmla="*/ 340359 w 866764"/>
                <a:gd name="connsiteY5932" fmla="*/ 573870 h 816032"/>
                <a:gd name="connsiteX5933" fmla="*/ 340722 w 866764"/>
                <a:gd name="connsiteY5933" fmla="*/ 572932 h 816032"/>
                <a:gd name="connsiteX5934" fmla="*/ 340843 w 866764"/>
                <a:gd name="connsiteY5934" fmla="*/ 571994 h 816032"/>
                <a:gd name="connsiteX5935" fmla="*/ 340692 w 866764"/>
                <a:gd name="connsiteY5935" fmla="*/ 570996 h 816032"/>
                <a:gd name="connsiteX5936" fmla="*/ 340359 w 866764"/>
                <a:gd name="connsiteY5936" fmla="*/ 569907 h 816032"/>
                <a:gd name="connsiteX5937" fmla="*/ 340026 w 866764"/>
                <a:gd name="connsiteY5937" fmla="*/ 570149 h 816032"/>
                <a:gd name="connsiteX5938" fmla="*/ 339935 w 866764"/>
                <a:gd name="connsiteY5938" fmla="*/ 570149 h 816032"/>
                <a:gd name="connsiteX5939" fmla="*/ 339875 w 866764"/>
                <a:gd name="connsiteY5939" fmla="*/ 570240 h 816032"/>
                <a:gd name="connsiteX5940" fmla="*/ 339663 w 866764"/>
                <a:gd name="connsiteY5940" fmla="*/ 570633 h 816032"/>
                <a:gd name="connsiteX5941" fmla="*/ 339270 w 866764"/>
                <a:gd name="connsiteY5941" fmla="*/ 570118 h 816032"/>
                <a:gd name="connsiteX5942" fmla="*/ 338483 w 866764"/>
                <a:gd name="connsiteY5942" fmla="*/ 568878 h 816032"/>
                <a:gd name="connsiteX5943" fmla="*/ 338241 w 866764"/>
                <a:gd name="connsiteY5943" fmla="*/ 568303 h 816032"/>
                <a:gd name="connsiteX5944" fmla="*/ 338755 w 866764"/>
                <a:gd name="connsiteY5944" fmla="*/ 568303 h 816032"/>
                <a:gd name="connsiteX5945" fmla="*/ 339814 w 866764"/>
                <a:gd name="connsiteY5945" fmla="*/ 568243 h 816032"/>
                <a:gd name="connsiteX5946" fmla="*/ 340359 w 866764"/>
                <a:gd name="connsiteY5946" fmla="*/ 568303 h 816032"/>
                <a:gd name="connsiteX5947" fmla="*/ 339784 w 866764"/>
                <a:gd name="connsiteY5947" fmla="*/ 566247 h 816032"/>
                <a:gd name="connsiteX5948" fmla="*/ 338967 w 866764"/>
                <a:gd name="connsiteY5948" fmla="*/ 564310 h 816032"/>
                <a:gd name="connsiteX5949" fmla="*/ 339149 w 866764"/>
                <a:gd name="connsiteY5949" fmla="*/ 562949 h 816032"/>
                <a:gd name="connsiteX5950" fmla="*/ 336426 w 866764"/>
                <a:gd name="connsiteY5950" fmla="*/ 559289 h 816032"/>
                <a:gd name="connsiteX5951" fmla="*/ 335519 w 866764"/>
                <a:gd name="connsiteY5951" fmla="*/ 557231 h 816032"/>
                <a:gd name="connsiteX5952" fmla="*/ 337062 w 866764"/>
                <a:gd name="connsiteY5952" fmla="*/ 557837 h 816032"/>
                <a:gd name="connsiteX5953" fmla="*/ 337303 w 866764"/>
                <a:gd name="connsiteY5953" fmla="*/ 557262 h 816032"/>
                <a:gd name="connsiteX5954" fmla="*/ 336456 w 866764"/>
                <a:gd name="connsiteY5954" fmla="*/ 556324 h 816032"/>
                <a:gd name="connsiteX5955" fmla="*/ 334732 w 866764"/>
                <a:gd name="connsiteY5955" fmla="*/ 555749 h 816032"/>
                <a:gd name="connsiteX5956" fmla="*/ 335488 w 866764"/>
                <a:gd name="connsiteY5956" fmla="*/ 554902 h 816032"/>
                <a:gd name="connsiteX5957" fmla="*/ 334914 w 866764"/>
                <a:gd name="connsiteY5957" fmla="*/ 554630 h 816032"/>
                <a:gd name="connsiteX5958" fmla="*/ 334793 w 866764"/>
                <a:gd name="connsiteY5958" fmla="*/ 554509 h 816032"/>
                <a:gd name="connsiteX5959" fmla="*/ 335488 w 866764"/>
                <a:gd name="connsiteY5959" fmla="*/ 554116 h 816032"/>
                <a:gd name="connsiteX5960" fmla="*/ 335216 w 866764"/>
                <a:gd name="connsiteY5960" fmla="*/ 553692 h 816032"/>
                <a:gd name="connsiteX5961" fmla="*/ 335004 w 866764"/>
                <a:gd name="connsiteY5961" fmla="*/ 553390 h 816032"/>
                <a:gd name="connsiteX5962" fmla="*/ 334823 w 866764"/>
                <a:gd name="connsiteY5962" fmla="*/ 553057 h 816032"/>
                <a:gd name="connsiteX5963" fmla="*/ 334762 w 866764"/>
                <a:gd name="connsiteY5963" fmla="*/ 552512 h 816032"/>
                <a:gd name="connsiteX5964" fmla="*/ 333401 w 866764"/>
                <a:gd name="connsiteY5964" fmla="*/ 552966 h 816032"/>
                <a:gd name="connsiteX5965" fmla="*/ 331344 w 866764"/>
                <a:gd name="connsiteY5965" fmla="*/ 553208 h 816032"/>
                <a:gd name="connsiteX5966" fmla="*/ 329438 w 866764"/>
                <a:gd name="connsiteY5966" fmla="*/ 552845 h 816032"/>
                <a:gd name="connsiteX5967" fmla="*/ 328621 w 866764"/>
                <a:gd name="connsiteY5967" fmla="*/ 551393 h 816032"/>
                <a:gd name="connsiteX5968" fmla="*/ 328833 w 866764"/>
                <a:gd name="connsiteY5968" fmla="*/ 548398 h 816032"/>
                <a:gd name="connsiteX5969" fmla="*/ 329166 w 866764"/>
                <a:gd name="connsiteY5969" fmla="*/ 546886 h 816032"/>
                <a:gd name="connsiteX5970" fmla="*/ 329650 w 866764"/>
                <a:gd name="connsiteY5970" fmla="*/ 546220 h 816032"/>
                <a:gd name="connsiteX5971" fmla="*/ 330285 w 866764"/>
                <a:gd name="connsiteY5971" fmla="*/ 545645 h 816032"/>
                <a:gd name="connsiteX5972" fmla="*/ 329771 w 866764"/>
                <a:gd name="connsiteY5972" fmla="*/ 544435 h 816032"/>
                <a:gd name="connsiteX5973" fmla="*/ 328954 w 866764"/>
                <a:gd name="connsiteY5973" fmla="*/ 543316 h 816032"/>
                <a:gd name="connsiteX5974" fmla="*/ 328621 w 866764"/>
                <a:gd name="connsiteY5974" fmla="*/ 542983 h 816032"/>
                <a:gd name="connsiteX5975" fmla="*/ 325173 w 866764"/>
                <a:gd name="connsiteY5975" fmla="*/ 537296 h 816032"/>
                <a:gd name="connsiteX5976" fmla="*/ 324477 w 866764"/>
                <a:gd name="connsiteY5976" fmla="*/ 535178 h 816032"/>
                <a:gd name="connsiteX5977" fmla="*/ 322057 w 866764"/>
                <a:gd name="connsiteY5977" fmla="*/ 531185 h 816032"/>
                <a:gd name="connsiteX5978" fmla="*/ 320998 w 866764"/>
                <a:gd name="connsiteY5978" fmla="*/ 530247 h 816032"/>
                <a:gd name="connsiteX5979" fmla="*/ 320998 w 866764"/>
                <a:gd name="connsiteY5979" fmla="*/ 529461 h 816032"/>
                <a:gd name="connsiteX5980" fmla="*/ 321663 w 866764"/>
                <a:gd name="connsiteY5980" fmla="*/ 529461 h 816032"/>
                <a:gd name="connsiteX5981" fmla="*/ 321663 w 866764"/>
                <a:gd name="connsiteY5981" fmla="*/ 528735 h 816032"/>
                <a:gd name="connsiteX5982" fmla="*/ 320302 w 866764"/>
                <a:gd name="connsiteY5982" fmla="*/ 528735 h 816032"/>
                <a:gd name="connsiteX5983" fmla="*/ 320998 w 866764"/>
                <a:gd name="connsiteY5983" fmla="*/ 527071 h 816032"/>
                <a:gd name="connsiteX5984" fmla="*/ 320091 w 866764"/>
                <a:gd name="connsiteY5984" fmla="*/ 526526 h 816032"/>
                <a:gd name="connsiteX5985" fmla="*/ 314797 w 866764"/>
                <a:gd name="connsiteY5985" fmla="*/ 520748 h 816032"/>
                <a:gd name="connsiteX5986" fmla="*/ 314736 w 866764"/>
                <a:gd name="connsiteY5986" fmla="*/ 519599 h 816032"/>
                <a:gd name="connsiteX5987" fmla="*/ 315401 w 866764"/>
                <a:gd name="connsiteY5987" fmla="*/ 518056 h 816032"/>
                <a:gd name="connsiteX5988" fmla="*/ 315462 w 866764"/>
                <a:gd name="connsiteY5988" fmla="*/ 516876 h 816032"/>
                <a:gd name="connsiteX5989" fmla="*/ 314252 w 866764"/>
                <a:gd name="connsiteY5989" fmla="*/ 515969 h 816032"/>
                <a:gd name="connsiteX5990" fmla="*/ 314010 w 866764"/>
                <a:gd name="connsiteY5990" fmla="*/ 515636 h 816032"/>
                <a:gd name="connsiteX5991" fmla="*/ 314131 w 866764"/>
                <a:gd name="connsiteY5991" fmla="*/ 513427 h 816032"/>
                <a:gd name="connsiteX5992" fmla="*/ 314010 w 866764"/>
                <a:gd name="connsiteY5992" fmla="*/ 512853 h 816032"/>
                <a:gd name="connsiteX5993" fmla="*/ 313526 w 866764"/>
                <a:gd name="connsiteY5993" fmla="*/ 512096 h 816032"/>
                <a:gd name="connsiteX5994" fmla="*/ 312981 w 866764"/>
                <a:gd name="connsiteY5994" fmla="*/ 511612 h 816032"/>
                <a:gd name="connsiteX5995" fmla="*/ 312437 w 866764"/>
                <a:gd name="connsiteY5995" fmla="*/ 510917 h 816032"/>
                <a:gd name="connsiteX5996" fmla="*/ 312013 w 866764"/>
                <a:gd name="connsiteY5996" fmla="*/ 509646 h 816032"/>
                <a:gd name="connsiteX5997" fmla="*/ 312013 w 866764"/>
                <a:gd name="connsiteY5997" fmla="*/ 508980 h 816032"/>
                <a:gd name="connsiteX5998" fmla="*/ 312528 w 866764"/>
                <a:gd name="connsiteY5998" fmla="*/ 507619 h 816032"/>
                <a:gd name="connsiteX5999" fmla="*/ 312648 w 866764"/>
                <a:gd name="connsiteY5999" fmla="*/ 506863 h 816032"/>
                <a:gd name="connsiteX6000" fmla="*/ 312437 w 866764"/>
                <a:gd name="connsiteY6000" fmla="*/ 506137 h 816032"/>
                <a:gd name="connsiteX6001" fmla="*/ 311499 w 866764"/>
                <a:gd name="connsiteY6001" fmla="*/ 504745 h 816032"/>
                <a:gd name="connsiteX6002" fmla="*/ 311257 w 866764"/>
                <a:gd name="connsiteY6002" fmla="*/ 504140 h 816032"/>
                <a:gd name="connsiteX6003" fmla="*/ 311590 w 866764"/>
                <a:gd name="connsiteY6003" fmla="*/ 501266 h 816032"/>
                <a:gd name="connsiteX6004" fmla="*/ 312800 w 866764"/>
                <a:gd name="connsiteY6004" fmla="*/ 499572 h 816032"/>
                <a:gd name="connsiteX6005" fmla="*/ 314615 w 866764"/>
                <a:gd name="connsiteY6005" fmla="*/ 498544 h 816032"/>
                <a:gd name="connsiteX6006" fmla="*/ 316823 w 866764"/>
                <a:gd name="connsiteY6006" fmla="*/ 497727 h 816032"/>
                <a:gd name="connsiteX6007" fmla="*/ 317822 w 866764"/>
                <a:gd name="connsiteY6007" fmla="*/ 498665 h 816032"/>
                <a:gd name="connsiteX6008" fmla="*/ 318880 w 866764"/>
                <a:gd name="connsiteY6008" fmla="*/ 500117 h 816032"/>
                <a:gd name="connsiteX6009" fmla="*/ 318578 w 866764"/>
                <a:gd name="connsiteY6009" fmla="*/ 500964 h 816032"/>
                <a:gd name="connsiteX6010" fmla="*/ 319213 w 866764"/>
                <a:gd name="connsiteY6010" fmla="*/ 501932 h 816032"/>
                <a:gd name="connsiteX6011" fmla="*/ 320363 w 866764"/>
                <a:gd name="connsiteY6011" fmla="*/ 502809 h 816032"/>
                <a:gd name="connsiteX6012" fmla="*/ 321633 w 866764"/>
                <a:gd name="connsiteY6012" fmla="*/ 503323 h 816032"/>
                <a:gd name="connsiteX6013" fmla="*/ 321180 w 866764"/>
                <a:gd name="connsiteY6013" fmla="*/ 504473 h 816032"/>
                <a:gd name="connsiteX6014" fmla="*/ 320968 w 866764"/>
                <a:gd name="connsiteY6014" fmla="*/ 504897 h 816032"/>
                <a:gd name="connsiteX6015" fmla="*/ 323781 w 866764"/>
                <a:gd name="connsiteY6015" fmla="*/ 506590 h 816032"/>
                <a:gd name="connsiteX6016" fmla="*/ 324477 w 866764"/>
                <a:gd name="connsiteY6016" fmla="*/ 507316 h 816032"/>
                <a:gd name="connsiteX6017" fmla="*/ 326020 w 866764"/>
                <a:gd name="connsiteY6017" fmla="*/ 506076 h 816032"/>
                <a:gd name="connsiteX6018" fmla="*/ 327593 w 866764"/>
                <a:gd name="connsiteY6018" fmla="*/ 505199 h 816032"/>
                <a:gd name="connsiteX6019" fmla="*/ 329347 w 866764"/>
                <a:gd name="connsiteY6019" fmla="*/ 504987 h 816032"/>
                <a:gd name="connsiteX6020" fmla="*/ 331374 w 866764"/>
                <a:gd name="connsiteY6020" fmla="*/ 505774 h 816032"/>
                <a:gd name="connsiteX6021" fmla="*/ 330981 w 866764"/>
                <a:gd name="connsiteY6021" fmla="*/ 504897 h 816032"/>
                <a:gd name="connsiteX6022" fmla="*/ 330588 w 866764"/>
                <a:gd name="connsiteY6022" fmla="*/ 504534 h 816032"/>
                <a:gd name="connsiteX6023" fmla="*/ 329317 w 866764"/>
                <a:gd name="connsiteY6023" fmla="*/ 504201 h 816032"/>
                <a:gd name="connsiteX6024" fmla="*/ 330436 w 866764"/>
                <a:gd name="connsiteY6024" fmla="*/ 504201 h 816032"/>
                <a:gd name="connsiteX6025" fmla="*/ 331314 w 866764"/>
                <a:gd name="connsiteY6025" fmla="*/ 504352 h 816032"/>
                <a:gd name="connsiteX6026" fmla="*/ 332766 w 866764"/>
                <a:gd name="connsiteY6026" fmla="*/ 504897 h 816032"/>
                <a:gd name="connsiteX6027" fmla="*/ 332826 w 866764"/>
                <a:gd name="connsiteY6027" fmla="*/ 505138 h 816032"/>
                <a:gd name="connsiteX6028" fmla="*/ 332887 w 866764"/>
                <a:gd name="connsiteY6028" fmla="*/ 505592 h 816032"/>
                <a:gd name="connsiteX6029" fmla="*/ 333068 w 866764"/>
                <a:gd name="connsiteY6029" fmla="*/ 506107 h 816032"/>
                <a:gd name="connsiteX6030" fmla="*/ 333431 w 866764"/>
                <a:gd name="connsiteY6030" fmla="*/ 506470 h 816032"/>
                <a:gd name="connsiteX6031" fmla="*/ 333915 w 866764"/>
                <a:gd name="connsiteY6031" fmla="*/ 506530 h 816032"/>
                <a:gd name="connsiteX6032" fmla="*/ 335065 w 866764"/>
                <a:gd name="connsiteY6032" fmla="*/ 506349 h 816032"/>
                <a:gd name="connsiteX6033" fmla="*/ 335519 w 866764"/>
                <a:gd name="connsiteY6033" fmla="*/ 506470 h 816032"/>
                <a:gd name="connsiteX6034" fmla="*/ 337213 w 866764"/>
                <a:gd name="connsiteY6034" fmla="*/ 507982 h 816032"/>
                <a:gd name="connsiteX6035" fmla="*/ 338241 w 866764"/>
                <a:gd name="connsiteY6035" fmla="*/ 509495 h 816032"/>
                <a:gd name="connsiteX6036" fmla="*/ 339633 w 866764"/>
                <a:gd name="connsiteY6036" fmla="*/ 513670 h 816032"/>
                <a:gd name="connsiteX6037" fmla="*/ 340268 w 866764"/>
                <a:gd name="connsiteY6037" fmla="*/ 512580 h 816032"/>
                <a:gd name="connsiteX6038" fmla="*/ 341267 w 866764"/>
                <a:gd name="connsiteY6038" fmla="*/ 511854 h 816032"/>
                <a:gd name="connsiteX6039" fmla="*/ 343747 w 866764"/>
                <a:gd name="connsiteY6039" fmla="*/ 510493 h 816032"/>
                <a:gd name="connsiteX6040" fmla="*/ 345108 w 866764"/>
                <a:gd name="connsiteY6040" fmla="*/ 512883 h 816032"/>
                <a:gd name="connsiteX6041" fmla="*/ 343747 w 866764"/>
                <a:gd name="connsiteY6041" fmla="*/ 513670 h 816032"/>
                <a:gd name="connsiteX6042" fmla="*/ 345381 w 866764"/>
                <a:gd name="connsiteY6042" fmla="*/ 514214 h 816032"/>
                <a:gd name="connsiteX6043" fmla="*/ 348920 w 866764"/>
                <a:gd name="connsiteY6043" fmla="*/ 513367 h 816032"/>
                <a:gd name="connsiteX6044" fmla="*/ 350342 w 866764"/>
                <a:gd name="connsiteY6044" fmla="*/ 514002 h 816032"/>
                <a:gd name="connsiteX6045" fmla="*/ 351007 w 866764"/>
                <a:gd name="connsiteY6045" fmla="*/ 514456 h 816032"/>
                <a:gd name="connsiteX6046" fmla="*/ 351764 w 866764"/>
                <a:gd name="connsiteY6046" fmla="*/ 514637 h 816032"/>
                <a:gd name="connsiteX6047" fmla="*/ 352429 w 866764"/>
                <a:gd name="connsiteY6047" fmla="*/ 514940 h 816032"/>
                <a:gd name="connsiteX6048" fmla="*/ 352701 w 866764"/>
                <a:gd name="connsiteY6048" fmla="*/ 515636 h 816032"/>
                <a:gd name="connsiteX6049" fmla="*/ 352701 w 866764"/>
                <a:gd name="connsiteY6049" fmla="*/ 516695 h 816032"/>
                <a:gd name="connsiteX6050" fmla="*/ 352883 w 866764"/>
                <a:gd name="connsiteY6050" fmla="*/ 517421 h 816032"/>
                <a:gd name="connsiteX6051" fmla="*/ 353367 w 866764"/>
                <a:gd name="connsiteY6051" fmla="*/ 518479 h 816032"/>
                <a:gd name="connsiteX6052" fmla="*/ 353367 w 866764"/>
                <a:gd name="connsiteY6052" fmla="*/ 519205 h 816032"/>
                <a:gd name="connsiteX6053" fmla="*/ 352822 w 866764"/>
                <a:gd name="connsiteY6053" fmla="*/ 518812 h 816032"/>
                <a:gd name="connsiteX6054" fmla="*/ 350614 w 866764"/>
                <a:gd name="connsiteY6054" fmla="*/ 517632 h 816032"/>
                <a:gd name="connsiteX6055" fmla="*/ 350463 w 866764"/>
                <a:gd name="connsiteY6055" fmla="*/ 519357 h 816032"/>
                <a:gd name="connsiteX6056" fmla="*/ 349737 w 866764"/>
                <a:gd name="connsiteY6056" fmla="*/ 520990 h 816032"/>
                <a:gd name="connsiteX6057" fmla="*/ 348708 w 866764"/>
                <a:gd name="connsiteY6057" fmla="*/ 521837 h 816032"/>
                <a:gd name="connsiteX6058" fmla="*/ 347589 w 866764"/>
                <a:gd name="connsiteY6058" fmla="*/ 521263 h 816032"/>
                <a:gd name="connsiteX6059" fmla="*/ 346470 w 866764"/>
                <a:gd name="connsiteY6059" fmla="*/ 520506 h 816032"/>
                <a:gd name="connsiteX6060" fmla="*/ 346228 w 866764"/>
                <a:gd name="connsiteY6060" fmla="*/ 521928 h 816032"/>
                <a:gd name="connsiteX6061" fmla="*/ 346530 w 866764"/>
                <a:gd name="connsiteY6061" fmla="*/ 525588 h 816032"/>
                <a:gd name="connsiteX6062" fmla="*/ 346530 w 866764"/>
                <a:gd name="connsiteY6062" fmla="*/ 525831 h 816032"/>
                <a:gd name="connsiteX6063" fmla="*/ 347498 w 866764"/>
                <a:gd name="connsiteY6063" fmla="*/ 526375 h 816032"/>
                <a:gd name="connsiteX6064" fmla="*/ 348527 w 866764"/>
                <a:gd name="connsiteY6064" fmla="*/ 526375 h 816032"/>
                <a:gd name="connsiteX6065" fmla="*/ 349283 w 866764"/>
                <a:gd name="connsiteY6065" fmla="*/ 525588 h 816032"/>
                <a:gd name="connsiteX6066" fmla="*/ 351492 w 866764"/>
                <a:gd name="connsiteY6066" fmla="*/ 526920 h 816032"/>
                <a:gd name="connsiteX6067" fmla="*/ 352218 w 866764"/>
                <a:gd name="connsiteY6067" fmla="*/ 527706 h 816032"/>
                <a:gd name="connsiteX6068" fmla="*/ 352701 w 866764"/>
                <a:gd name="connsiteY6068" fmla="*/ 528795 h 816032"/>
                <a:gd name="connsiteX6069" fmla="*/ 350644 w 866764"/>
                <a:gd name="connsiteY6069" fmla="*/ 528009 h 816032"/>
                <a:gd name="connsiteX6070" fmla="*/ 351582 w 866764"/>
                <a:gd name="connsiteY6070" fmla="*/ 529340 h 816032"/>
                <a:gd name="connsiteX6071" fmla="*/ 352883 w 866764"/>
                <a:gd name="connsiteY6071" fmla="*/ 529461 h 816032"/>
                <a:gd name="connsiteX6072" fmla="*/ 354274 w 866764"/>
                <a:gd name="connsiteY6072" fmla="*/ 529219 h 816032"/>
                <a:gd name="connsiteX6073" fmla="*/ 355454 w 866764"/>
                <a:gd name="connsiteY6073" fmla="*/ 529521 h 816032"/>
                <a:gd name="connsiteX6074" fmla="*/ 355454 w 866764"/>
                <a:gd name="connsiteY6074" fmla="*/ 530308 h 816032"/>
                <a:gd name="connsiteX6075" fmla="*/ 353397 w 866764"/>
                <a:gd name="connsiteY6075" fmla="*/ 530308 h 816032"/>
                <a:gd name="connsiteX6076" fmla="*/ 353397 w 866764"/>
                <a:gd name="connsiteY6076" fmla="*/ 531094 h 816032"/>
                <a:gd name="connsiteX6077" fmla="*/ 354910 w 866764"/>
                <a:gd name="connsiteY6077" fmla="*/ 531851 h 816032"/>
                <a:gd name="connsiteX6078" fmla="*/ 356150 w 866764"/>
                <a:gd name="connsiteY6078" fmla="*/ 532274 h 816032"/>
                <a:gd name="connsiteX6079" fmla="*/ 357602 w 866764"/>
                <a:gd name="connsiteY6079" fmla="*/ 532274 h 816032"/>
                <a:gd name="connsiteX6080" fmla="*/ 359690 w 866764"/>
                <a:gd name="connsiteY6080" fmla="*/ 531911 h 816032"/>
                <a:gd name="connsiteX6081" fmla="*/ 358782 w 866764"/>
                <a:gd name="connsiteY6081" fmla="*/ 529975 h 816032"/>
                <a:gd name="connsiteX6082" fmla="*/ 357875 w 866764"/>
                <a:gd name="connsiteY6082" fmla="*/ 528463 h 816032"/>
                <a:gd name="connsiteX6083" fmla="*/ 357935 w 866764"/>
                <a:gd name="connsiteY6083" fmla="*/ 527464 h 816032"/>
                <a:gd name="connsiteX6084" fmla="*/ 359992 w 866764"/>
                <a:gd name="connsiteY6084" fmla="*/ 527101 h 816032"/>
                <a:gd name="connsiteX6085" fmla="*/ 363743 w 866764"/>
                <a:gd name="connsiteY6085" fmla="*/ 527252 h 816032"/>
                <a:gd name="connsiteX6086" fmla="*/ 365588 w 866764"/>
                <a:gd name="connsiteY6086" fmla="*/ 527071 h 816032"/>
                <a:gd name="connsiteX6087" fmla="*/ 367162 w 866764"/>
                <a:gd name="connsiteY6087" fmla="*/ 526405 h 816032"/>
                <a:gd name="connsiteX6088" fmla="*/ 365256 w 866764"/>
                <a:gd name="connsiteY6088" fmla="*/ 525649 h 81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Lst>
              <a:rect l="l" t="t" r="r" b="b"/>
              <a:pathLst>
                <a:path w="866764" h="816032">
                  <a:moveTo>
                    <a:pt x="452289" y="813642"/>
                  </a:moveTo>
                  <a:lnTo>
                    <a:pt x="452380" y="812493"/>
                  </a:lnTo>
                  <a:lnTo>
                    <a:pt x="452985" y="811495"/>
                  </a:lnTo>
                  <a:lnTo>
                    <a:pt x="452985" y="810648"/>
                  </a:lnTo>
                  <a:lnTo>
                    <a:pt x="450656" y="810043"/>
                  </a:lnTo>
                  <a:lnTo>
                    <a:pt x="449445" y="809891"/>
                  </a:lnTo>
                  <a:lnTo>
                    <a:pt x="448175" y="809952"/>
                  </a:lnTo>
                  <a:lnTo>
                    <a:pt x="447540" y="810557"/>
                  </a:lnTo>
                  <a:lnTo>
                    <a:pt x="446784" y="811132"/>
                  </a:lnTo>
                  <a:lnTo>
                    <a:pt x="445876" y="811464"/>
                  </a:lnTo>
                  <a:lnTo>
                    <a:pt x="444726" y="811464"/>
                  </a:lnTo>
                  <a:lnTo>
                    <a:pt x="444726" y="812190"/>
                  </a:lnTo>
                  <a:lnTo>
                    <a:pt x="448719" y="814762"/>
                  </a:lnTo>
                  <a:lnTo>
                    <a:pt x="450988" y="815851"/>
                  </a:lnTo>
                  <a:lnTo>
                    <a:pt x="453681" y="816032"/>
                  </a:lnTo>
                  <a:lnTo>
                    <a:pt x="453681" y="815276"/>
                  </a:lnTo>
                  <a:lnTo>
                    <a:pt x="452743" y="814702"/>
                  </a:lnTo>
                  <a:lnTo>
                    <a:pt x="452319" y="813673"/>
                  </a:lnTo>
                  <a:close/>
                  <a:moveTo>
                    <a:pt x="742219" y="745910"/>
                  </a:moveTo>
                  <a:lnTo>
                    <a:pt x="739557" y="746545"/>
                  </a:lnTo>
                  <a:lnTo>
                    <a:pt x="738014" y="746726"/>
                  </a:lnTo>
                  <a:lnTo>
                    <a:pt x="734354" y="748088"/>
                  </a:lnTo>
                  <a:lnTo>
                    <a:pt x="733869" y="748027"/>
                  </a:lnTo>
                  <a:lnTo>
                    <a:pt x="732750" y="747452"/>
                  </a:lnTo>
                  <a:lnTo>
                    <a:pt x="731903" y="747301"/>
                  </a:lnTo>
                  <a:lnTo>
                    <a:pt x="731540" y="747664"/>
                  </a:lnTo>
                  <a:lnTo>
                    <a:pt x="730875" y="749237"/>
                  </a:lnTo>
                  <a:lnTo>
                    <a:pt x="730512" y="749600"/>
                  </a:lnTo>
                  <a:lnTo>
                    <a:pt x="729786" y="750084"/>
                  </a:lnTo>
                  <a:lnTo>
                    <a:pt x="728001" y="752202"/>
                  </a:lnTo>
                  <a:lnTo>
                    <a:pt x="727002" y="752686"/>
                  </a:lnTo>
                  <a:lnTo>
                    <a:pt x="726639" y="753170"/>
                  </a:lnTo>
                  <a:lnTo>
                    <a:pt x="727184" y="754229"/>
                  </a:lnTo>
                  <a:lnTo>
                    <a:pt x="728243" y="755288"/>
                  </a:lnTo>
                  <a:lnTo>
                    <a:pt x="729513" y="755771"/>
                  </a:lnTo>
                  <a:lnTo>
                    <a:pt x="730663" y="755378"/>
                  </a:lnTo>
                  <a:lnTo>
                    <a:pt x="732417" y="753805"/>
                  </a:lnTo>
                  <a:lnTo>
                    <a:pt x="733295" y="753442"/>
                  </a:lnTo>
                  <a:lnTo>
                    <a:pt x="734626" y="753200"/>
                  </a:lnTo>
                  <a:lnTo>
                    <a:pt x="735564" y="752626"/>
                  </a:lnTo>
                  <a:lnTo>
                    <a:pt x="736471" y="751869"/>
                  </a:lnTo>
                  <a:lnTo>
                    <a:pt x="737742" y="751083"/>
                  </a:lnTo>
                  <a:lnTo>
                    <a:pt x="738680" y="750750"/>
                  </a:lnTo>
                  <a:lnTo>
                    <a:pt x="741130" y="750326"/>
                  </a:lnTo>
                  <a:lnTo>
                    <a:pt x="742612" y="750266"/>
                  </a:lnTo>
                  <a:lnTo>
                    <a:pt x="742612" y="749570"/>
                  </a:lnTo>
                  <a:lnTo>
                    <a:pt x="741856" y="747241"/>
                  </a:lnTo>
                  <a:lnTo>
                    <a:pt x="742612" y="746908"/>
                  </a:lnTo>
                  <a:lnTo>
                    <a:pt x="743248" y="746454"/>
                  </a:lnTo>
                  <a:lnTo>
                    <a:pt x="743127" y="745728"/>
                  </a:lnTo>
                  <a:lnTo>
                    <a:pt x="742158" y="745819"/>
                  </a:lnTo>
                  <a:close/>
                  <a:moveTo>
                    <a:pt x="671310" y="763092"/>
                  </a:moveTo>
                  <a:lnTo>
                    <a:pt x="672762" y="761731"/>
                  </a:lnTo>
                  <a:lnTo>
                    <a:pt x="673639" y="759674"/>
                  </a:lnTo>
                  <a:lnTo>
                    <a:pt x="670916" y="759674"/>
                  </a:lnTo>
                  <a:lnTo>
                    <a:pt x="671158" y="760067"/>
                  </a:lnTo>
                  <a:lnTo>
                    <a:pt x="671401" y="760914"/>
                  </a:lnTo>
                  <a:lnTo>
                    <a:pt x="671642" y="761277"/>
                  </a:lnTo>
                  <a:lnTo>
                    <a:pt x="671279" y="761338"/>
                  </a:lnTo>
                  <a:lnTo>
                    <a:pt x="670190" y="761277"/>
                  </a:lnTo>
                  <a:lnTo>
                    <a:pt x="670916" y="762760"/>
                  </a:lnTo>
                  <a:lnTo>
                    <a:pt x="667468" y="763153"/>
                  </a:lnTo>
                  <a:lnTo>
                    <a:pt x="665290" y="764938"/>
                  </a:lnTo>
                  <a:lnTo>
                    <a:pt x="663354" y="767388"/>
                  </a:lnTo>
                  <a:lnTo>
                    <a:pt x="660570" y="769778"/>
                  </a:lnTo>
                  <a:lnTo>
                    <a:pt x="660752" y="770201"/>
                  </a:lnTo>
                  <a:lnTo>
                    <a:pt x="660752" y="770353"/>
                  </a:lnTo>
                  <a:lnTo>
                    <a:pt x="661266" y="770564"/>
                  </a:lnTo>
                  <a:lnTo>
                    <a:pt x="659421" y="771896"/>
                  </a:lnTo>
                  <a:lnTo>
                    <a:pt x="656971" y="772924"/>
                  </a:lnTo>
                  <a:lnTo>
                    <a:pt x="654429" y="773166"/>
                  </a:lnTo>
                  <a:lnTo>
                    <a:pt x="652281" y="772077"/>
                  </a:lnTo>
                  <a:lnTo>
                    <a:pt x="653431" y="770958"/>
                  </a:lnTo>
                  <a:lnTo>
                    <a:pt x="649589" y="770020"/>
                  </a:lnTo>
                  <a:lnTo>
                    <a:pt x="648198" y="768931"/>
                  </a:lnTo>
                  <a:lnTo>
                    <a:pt x="647502" y="768931"/>
                  </a:lnTo>
                  <a:lnTo>
                    <a:pt x="646957" y="769627"/>
                  </a:lnTo>
                  <a:lnTo>
                    <a:pt x="646413" y="769627"/>
                  </a:lnTo>
                  <a:lnTo>
                    <a:pt x="645747" y="769536"/>
                  </a:lnTo>
                  <a:lnTo>
                    <a:pt x="644779" y="769748"/>
                  </a:lnTo>
                  <a:lnTo>
                    <a:pt x="644023" y="770201"/>
                  </a:lnTo>
                  <a:lnTo>
                    <a:pt x="643085" y="771049"/>
                  </a:lnTo>
                  <a:lnTo>
                    <a:pt x="639939" y="772924"/>
                  </a:lnTo>
                  <a:lnTo>
                    <a:pt x="639243" y="773196"/>
                  </a:lnTo>
                  <a:lnTo>
                    <a:pt x="635492" y="773892"/>
                  </a:lnTo>
                  <a:lnTo>
                    <a:pt x="632225" y="774074"/>
                  </a:lnTo>
                  <a:lnTo>
                    <a:pt x="631015" y="774346"/>
                  </a:lnTo>
                  <a:lnTo>
                    <a:pt x="630894" y="774649"/>
                  </a:lnTo>
                  <a:lnTo>
                    <a:pt x="629653" y="776645"/>
                  </a:lnTo>
                  <a:lnTo>
                    <a:pt x="628685" y="777310"/>
                  </a:lnTo>
                  <a:lnTo>
                    <a:pt x="628111" y="777462"/>
                  </a:lnTo>
                  <a:lnTo>
                    <a:pt x="627263" y="777522"/>
                  </a:lnTo>
                  <a:lnTo>
                    <a:pt x="626114" y="778248"/>
                  </a:lnTo>
                  <a:lnTo>
                    <a:pt x="624359" y="781425"/>
                  </a:lnTo>
                  <a:lnTo>
                    <a:pt x="623058" y="782151"/>
                  </a:lnTo>
                  <a:lnTo>
                    <a:pt x="620820" y="782241"/>
                  </a:lnTo>
                  <a:lnTo>
                    <a:pt x="619580" y="781909"/>
                  </a:lnTo>
                  <a:lnTo>
                    <a:pt x="618249" y="780941"/>
                  </a:lnTo>
                  <a:lnTo>
                    <a:pt x="616585" y="780215"/>
                  </a:lnTo>
                  <a:lnTo>
                    <a:pt x="615133" y="780457"/>
                  </a:lnTo>
                  <a:lnTo>
                    <a:pt x="614104" y="780185"/>
                  </a:lnTo>
                  <a:lnTo>
                    <a:pt x="613741" y="777916"/>
                  </a:lnTo>
                  <a:lnTo>
                    <a:pt x="613318" y="776706"/>
                  </a:lnTo>
                  <a:lnTo>
                    <a:pt x="612652" y="775617"/>
                  </a:lnTo>
                  <a:lnTo>
                    <a:pt x="612501" y="774618"/>
                  </a:lnTo>
                  <a:lnTo>
                    <a:pt x="613711" y="773711"/>
                  </a:lnTo>
                  <a:lnTo>
                    <a:pt x="613167" y="771412"/>
                  </a:lnTo>
                  <a:lnTo>
                    <a:pt x="613893" y="769718"/>
                  </a:lnTo>
                  <a:lnTo>
                    <a:pt x="614739" y="768447"/>
                  </a:lnTo>
                  <a:lnTo>
                    <a:pt x="614437" y="767449"/>
                  </a:lnTo>
                  <a:lnTo>
                    <a:pt x="615223" y="766541"/>
                  </a:lnTo>
                  <a:lnTo>
                    <a:pt x="615677" y="766239"/>
                  </a:lnTo>
                  <a:lnTo>
                    <a:pt x="616040" y="766359"/>
                  </a:lnTo>
                  <a:lnTo>
                    <a:pt x="616555" y="766753"/>
                  </a:lnTo>
                  <a:lnTo>
                    <a:pt x="617129" y="765906"/>
                  </a:lnTo>
                  <a:lnTo>
                    <a:pt x="616615" y="765422"/>
                  </a:lnTo>
                  <a:lnTo>
                    <a:pt x="616615" y="765059"/>
                  </a:lnTo>
                  <a:lnTo>
                    <a:pt x="617129" y="764272"/>
                  </a:lnTo>
                  <a:lnTo>
                    <a:pt x="616343" y="763153"/>
                  </a:lnTo>
                  <a:lnTo>
                    <a:pt x="615526" y="763002"/>
                  </a:lnTo>
                  <a:lnTo>
                    <a:pt x="615012" y="763909"/>
                  </a:lnTo>
                  <a:lnTo>
                    <a:pt x="615133" y="765876"/>
                  </a:lnTo>
                  <a:lnTo>
                    <a:pt x="614165" y="765361"/>
                  </a:lnTo>
                  <a:lnTo>
                    <a:pt x="613741" y="764666"/>
                  </a:lnTo>
                  <a:lnTo>
                    <a:pt x="613832" y="763758"/>
                  </a:lnTo>
                  <a:lnTo>
                    <a:pt x="614437" y="762729"/>
                  </a:lnTo>
                  <a:lnTo>
                    <a:pt x="613711" y="762034"/>
                  </a:lnTo>
                  <a:lnTo>
                    <a:pt x="616010" y="760188"/>
                  </a:lnTo>
                  <a:lnTo>
                    <a:pt x="617160" y="758887"/>
                  </a:lnTo>
                  <a:lnTo>
                    <a:pt x="617916" y="757375"/>
                  </a:lnTo>
                  <a:lnTo>
                    <a:pt x="612017" y="757375"/>
                  </a:lnTo>
                  <a:lnTo>
                    <a:pt x="610504" y="757133"/>
                  </a:lnTo>
                  <a:lnTo>
                    <a:pt x="608356" y="756074"/>
                  </a:lnTo>
                  <a:lnTo>
                    <a:pt x="607207" y="755832"/>
                  </a:lnTo>
                  <a:lnTo>
                    <a:pt x="605089" y="756225"/>
                  </a:lnTo>
                  <a:lnTo>
                    <a:pt x="589298" y="761701"/>
                  </a:lnTo>
                  <a:lnTo>
                    <a:pt x="586454" y="762064"/>
                  </a:lnTo>
                  <a:lnTo>
                    <a:pt x="583611" y="761459"/>
                  </a:lnTo>
                  <a:lnTo>
                    <a:pt x="581856" y="759976"/>
                  </a:lnTo>
                  <a:lnTo>
                    <a:pt x="580465" y="758131"/>
                  </a:lnTo>
                  <a:lnTo>
                    <a:pt x="578650" y="756528"/>
                  </a:lnTo>
                  <a:lnTo>
                    <a:pt x="577893" y="757375"/>
                  </a:lnTo>
                  <a:lnTo>
                    <a:pt x="577198" y="756528"/>
                  </a:lnTo>
                  <a:lnTo>
                    <a:pt x="575655" y="757314"/>
                  </a:lnTo>
                  <a:lnTo>
                    <a:pt x="574172" y="757224"/>
                  </a:lnTo>
                  <a:lnTo>
                    <a:pt x="571692" y="756528"/>
                  </a:lnTo>
                  <a:lnTo>
                    <a:pt x="566125" y="757375"/>
                  </a:lnTo>
                  <a:lnTo>
                    <a:pt x="563040" y="757375"/>
                  </a:lnTo>
                  <a:lnTo>
                    <a:pt x="562132" y="757133"/>
                  </a:lnTo>
                  <a:lnTo>
                    <a:pt x="561436" y="756649"/>
                  </a:lnTo>
                  <a:lnTo>
                    <a:pt x="560953" y="756105"/>
                  </a:lnTo>
                  <a:lnTo>
                    <a:pt x="560589" y="755832"/>
                  </a:lnTo>
                  <a:lnTo>
                    <a:pt x="559047" y="755742"/>
                  </a:lnTo>
                  <a:lnTo>
                    <a:pt x="556173" y="756346"/>
                  </a:lnTo>
                  <a:lnTo>
                    <a:pt x="551514" y="756619"/>
                  </a:lnTo>
                  <a:lnTo>
                    <a:pt x="548519" y="756377"/>
                  </a:lnTo>
                  <a:lnTo>
                    <a:pt x="546341" y="755167"/>
                  </a:lnTo>
                  <a:lnTo>
                    <a:pt x="545494" y="752293"/>
                  </a:lnTo>
                  <a:lnTo>
                    <a:pt x="545675" y="751597"/>
                  </a:lnTo>
                  <a:lnTo>
                    <a:pt x="546038" y="750992"/>
                  </a:lnTo>
                  <a:lnTo>
                    <a:pt x="546250" y="750387"/>
                  </a:lnTo>
                  <a:lnTo>
                    <a:pt x="546099" y="749661"/>
                  </a:lnTo>
                  <a:lnTo>
                    <a:pt x="545524" y="749479"/>
                  </a:lnTo>
                  <a:lnTo>
                    <a:pt x="543739" y="749721"/>
                  </a:lnTo>
                  <a:lnTo>
                    <a:pt x="542650" y="748390"/>
                  </a:lnTo>
                  <a:lnTo>
                    <a:pt x="537871" y="747332"/>
                  </a:lnTo>
                  <a:lnTo>
                    <a:pt x="537719" y="748330"/>
                  </a:lnTo>
                  <a:lnTo>
                    <a:pt x="537477" y="748693"/>
                  </a:lnTo>
                  <a:lnTo>
                    <a:pt x="537114" y="748965"/>
                  </a:lnTo>
                  <a:lnTo>
                    <a:pt x="536509" y="749661"/>
                  </a:lnTo>
                  <a:lnTo>
                    <a:pt x="530278" y="747332"/>
                  </a:lnTo>
                  <a:lnTo>
                    <a:pt x="527434" y="748239"/>
                  </a:lnTo>
                  <a:lnTo>
                    <a:pt x="525740" y="748995"/>
                  </a:lnTo>
                  <a:lnTo>
                    <a:pt x="524772" y="749661"/>
                  </a:lnTo>
                  <a:lnTo>
                    <a:pt x="522684" y="748632"/>
                  </a:lnTo>
                  <a:lnTo>
                    <a:pt x="512701" y="747029"/>
                  </a:lnTo>
                  <a:lnTo>
                    <a:pt x="510432" y="747089"/>
                  </a:lnTo>
                  <a:lnTo>
                    <a:pt x="508254" y="747483"/>
                  </a:lnTo>
                  <a:lnTo>
                    <a:pt x="506137" y="748118"/>
                  </a:lnTo>
                  <a:lnTo>
                    <a:pt x="499875" y="751113"/>
                  </a:lnTo>
                  <a:lnTo>
                    <a:pt x="497182" y="751900"/>
                  </a:lnTo>
                  <a:lnTo>
                    <a:pt x="488984" y="753261"/>
                  </a:lnTo>
                  <a:lnTo>
                    <a:pt x="486836" y="754350"/>
                  </a:lnTo>
                  <a:lnTo>
                    <a:pt x="483206" y="753533"/>
                  </a:lnTo>
                  <a:lnTo>
                    <a:pt x="474343" y="755953"/>
                  </a:lnTo>
                  <a:lnTo>
                    <a:pt x="470621" y="754713"/>
                  </a:lnTo>
                  <a:lnTo>
                    <a:pt x="469654" y="754199"/>
                  </a:lnTo>
                  <a:lnTo>
                    <a:pt x="467627" y="754078"/>
                  </a:lnTo>
                  <a:lnTo>
                    <a:pt x="466840" y="753503"/>
                  </a:lnTo>
                  <a:lnTo>
                    <a:pt x="466659" y="752535"/>
                  </a:lnTo>
                  <a:lnTo>
                    <a:pt x="466840" y="748481"/>
                  </a:lnTo>
                  <a:lnTo>
                    <a:pt x="466689" y="746333"/>
                  </a:lnTo>
                  <a:lnTo>
                    <a:pt x="465539" y="741130"/>
                  </a:lnTo>
                  <a:lnTo>
                    <a:pt x="464208" y="742158"/>
                  </a:lnTo>
                  <a:lnTo>
                    <a:pt x="462544" y="743157"/>
                  </a:lnTo>
                  <a:lnTo>
                    <a:pt x="460699" y="743943"/>
                  </a:lnTo>
                  <a:lnTo>
                    <a:pt x="458914" y="744216"/>
                  </a:lnTo>
                  <a:lnTo>
                    <a:pt x="457250" y="743762"/>
                  </a:lnTo>
                  <a:lnTo>
                    <a:pt x="453923" y="741644"/>
                  </a:lnTo>
                  <a:lnTo>
                    <a:pt x="450958" y="740827"/>
                  </a:lnTo>
                  <a:lnTo>
                    <a:pt x="449082" y="740011"/>
                  </a:lnTo>
                  <a:lnTo>
                    <a:pt x="447358" y="738982"/>
                  </a:lnTo>
                  <a:lnTo>
                    <a:pt x="446844" y="737984"/>
                  </a:lnTo>
                  <a:lnTo>
                    <a:pt x="448296" y="737076"/>
                  </a:lnTo>
                  <a:lnTo>
                    <a:pt x="450535" y="737197"/>
                  </a:lnTo>
                  <a:lnTo>
                    <a:pt x="454467" y="737984"/>
                  </a:lnTo>
                  <a:lnTo>
                    <a:pt x="456615" y="737923"/>
                  </a:lnTo>
                  <a:lnTo>
                    <a:pt x="457613" y="737711"/>
                  </a:lnTo>
                  <a:lnTo>
                    <a:pt x="458551" y="737288"/>
                  </a:lnTo>
                  <a:lnTo>
                    <a:pt x="459035" y="736744"/>
                  </a:lnTo>
                  <a:lnTo>
                    <a:pt x="459852" y="735201"/>
                  </a:lnTo>
                  <a:lnTo>
                    <a:pt x="460336" y="734898"/>
                  </a:lnTo>
                  <a:lnTo>
                    <a:pt x="460608" y="734051"/>
                  </a:lnTo>
                  <a:lnTo>
                    <a:pt x="458581" y="729090"/>
                  </a:lnTo>
                  <a:lnTo>
                    <a:pt x="456313" y="727789"/>
                  </a:lnTo>
                  <a:lnTo>
                    <a:pt x="451745" y="727305"/>
                  </a:lnTo>
                  <a:lnTo>
                    <a:pt x="448387" y="728606"/>
                  </a:lnTo>
                  <a:lnTo>
                    <a:pt x="449627" y="732660"/>
                  </a:lnTo>
                  <a:lnTo>
                    <a:pt x="447056" y="732508"/>
                  </a:lnTo>
                  <a:lnTo>
                    <a:pt x="445967" y="732780"/>
                  </a:lnTo>
                  <a:lnTo>
                    <a:pt x="445513" y="733718"/>
                  </a:lnTo>
                  <a:lnTo>
                    <a:pt x="445271" y="734868"/>
                  </a:lnTo>
                  <a:lnTo>
                    <a:pt x="444636" y="735624"/>
                  </a:lnTo>
                  <a:lnTo>
                    <a:pt x="443728" y="736108"/>
                  </a:lnTo>
                  <a:lnTo>
                    <a:pt x="442669" y="736411"/>
                  </a:lnTo>
                  <a:lnTo>
                    <a:pt x="440158" y="736501"/>
                  </a:lnTo>
                  <a:lnTo>
                    <a:pt x="434501" y="735927"/>
                  </a:lnTo>
                  <a:lnTo>
                    <a:pt x="432958" y="736411"/>
                  </a:lnTo>
                  <a:lnTo>
                    <a:pt x="430175" y="735685"/>
                  </a:lnTo>
                  <a:lnTo>
                    <a:pt x="421705" y="734807"/>
                  </a:lnTo>
                  <a:lnTo>
                    <a:pt x="419920" y="733688"/>
                  </a:lnTo>
                  <a:lnTo>
                    <a:pt x="417833" y="730149"/>
                  </a:lnTo>
                  <a:lnTo>
                    <a:pt x="417712" y="729272"/>
                  </a:lnTo>
                  <a:lnTo>
                    <a:pt x="417833" y="726367"/>
                  </a:lnTo>
                  <a:lnTo>
                    <a:pt x="416744" y="722798"/>
                  </a:lnTo>
                  <a:lnTo>
                    <a:pt x="416744" y="721345"/>
                  </a:lnTo>
                  <a:lnTo>
                    <a:pt x="417833" y="720196"/>
                  </a:lnTo>
                  <a:lnTo>
                    <a:pt x="417833" y="719349"/>
                  </a:lnTo>
                  <a:lnTo>
                    <a:pt x="415897" y="718472"/>
                  </a:lnTo>
                  <a:lnTo>
                    <a:pt x="414929" y="717655"/>
                  </a:lnTo>
                  <a:lnTo>
                    <a:pt x="414082" y="717655"/>
                  </a:lnTo>
                  <a:lnTo>
                    <a:pt x="412630" y="718986"/>
                  </a:lnTo>
                  <a:lnTo>
                    <a:pt x="411510" y="720499"/>
                  </a:lnTo>
                  <a:lnTo>
                    <a:pt x="411026" y="721920"/>
                  </a:lnTo>
                  <a:lnTo>
                    <a:pt x="411298" y="723524"/>
                  </a:lnTo>
                  <a:lnTo>
                    <a:pt x="412297" y="725550"/>
                  </a:lnTo>
                  <a:lnTo>
                    <a:pt x="411178" y="726670"/>
                  </a:lnTo>
                  <a:lnTo>
                    <a:pt x="411510" y="728394"/>
                  </a:lnTo>
                  <a:lnTo>
                    <a:pt x="412387" y="730481"/>
                  </a:lnTo>
                  <a:lnTo>
                    <a:pt x="412962" y="732690"/>
                  </a:lnTo>
                  <a:lnTo>
                    <a:pt x="412690" y="735443"/>
                  </a:lnTo>
                  <a:lnTo>
                    <a:pt x="411752" y="737379"/>
                  </a:lnTo>
                  <a:lnTo>
                    <a:pt x="410179" y="738498"/>
                  </a:lnTo>
                  <a:lnTo>
                    <a:pt x="408213" y="738861"/>
                  </a:lnTo>
                  <a:lnTo>
                    <a:pt x="405793" y="738680"/>
                  </a:lnTo>
                  <a:lnTo>
                    <a:pt x="404885" y="738407"/>
                  </a:lnTo>
                  <a:lnTo>
                    <a:pt x="404008" y="738014"/>
                  </a:lnTo>
                  <a:lnTo>
                    <a:pt x="403766" y="737621"/>
                  </a:lnTo>
                  <a:lnTo>
                    <a:pt x="403857" y="737107"/>
                  </a:lnTo>
                  <a:lnTo>
                    <a:pt x="403766" y="736683"/>
                  </a:lnTo>
                  <a:lnTo>
                    <a:pt x="402979" y="736471"/>
                  </a:lnTo>
                  <a:lnTo>
                    <a:pt x="402163" y="736381"/>
                  </a:lnTo>
                  <a:lnTo>
                    <a:pt x="401769" y="736078"/>
                  </a:lnTo>
                  <a:lnTo>
                    <a:pt x="401225" y="734929"/>
                  </a:lnTo>
                  <a:lnTo>
                    <a:pt x="400590" y="732962"/>
                  </a:lnTo>
                  <a:lnTo>
                    <a:pt x="400529" y="728334"/>
                  </a:lnTo>
                  <a:lnTo>
                    <a:pt x="400227" y="726034"/>
                  </a:lnTo>
                  <a:lnTo>
                    <a:pt x="399803" y="727123"/>
                  </a:lnTo>
                  <a:lnTo>
                    <a:pt x="397776" y="730179"/>
                  </a:lnTo>
                  <a:lnTo>
                    <a:pt x="398200" y="731480"/>
                  </a:lnTo>
                  <a:lnTo>
                    <a:pt x="397867" y="732811"/>
                  </a:lnTo>
                  <a:lnTo>
                    <a:pt x="396354" y="735685"/>
                  </a:lnTo>
                  <a:lnTo>
                    <a:pt x="396869" y="736229"/>
                  </a:lnTo>
                  <a:lnTo>
                    <a:pt x="397020" y="736471"/>
                  </a:lnTo>
                  <a:lnTo>
                    <a:pt x="396869" y="736744"/>
                  </a:lnTo>
                  <a:lnTo>
                    <a:pt x="396354" y="737288"/>
                  </a:lnTo>
                  <a:lnTo>
                    <a:pt x="396354" y="737984"/>
                  </a:lnTo>
                  <a:lnTo>
                    <a:pt x="397595" y="738710"/>
                  </a:lnTo>
                  <a:lnTo>
                    <a:pt x="397534" y="739587"/>
                  </a:lnTo>
                  <a:lnTo>
                    <a:pt x="396838" y="740616"/>
                  </a:lnTo>
                  <a:lnTo>
                    <a:pt x="395840" y="743490"/>
                  </a:lnTo>
                  <a:lnTo>
                    <a:pt x="395719" y="744216"/>
                  </a:lnTo>
                  <a:lnTo>
                    <a:pt x="395931" y="744216"/>
                  </a:lnTo>
                  <a:lnTo>
                    <a:pt x="396385" y="744700"/>
                  </a:lnTo>
                  <a:lnTo>
                    <a:pt x="396869" y="745426"/>
                  </a:lnTo>
                  <a:lnTo>
                    <a:pt x="397080" y="746152"/>
                  </a:lnTo>
                  <a:lnTo>
                    <a:pt x="396233" y="747936"/>
                  </a:lnTo>
                  <a:lnTo>
                    <a:pt x="394630" y="750448"/>
                  </a:lnTo>
                  <a:lnTo>
                    <a:pt x="393541" y="753049"/>
                  </a:lnTo>
                  <a:lnTo>
                    <a:pt x="394297" y="755076"/>
                  </a:lnTo>
                  <a:lnTo>
                    <a:pt x="393753" y="756346"/>
                  </a:lnTo>
                  <a:lnTo>
                    <a:pt x="393874" y="757345"/>
                  </a:lnTo>
                  <a:lnTo>
                    <a:pt x="394358" y="758192"/>
                  </a:lnTo>
                  <a:lnTo>
                    <a:pt x="394993" y="759009"/>
                  </a:lnTo>
                  <a:lnTo>
                    <a:pt x="394509" y="759009"/>
                  </a:lnTo>
                  <a:lnTo>
                    <a:pt x="394388" y="759130"/>
                  </a:lnTo>
                  <a:lnTo>
                    <a:pt x="394388" y="759372"/>
                  </a:lnTo>
                  <a:lnTo>
                    <a:pt x="394267" y="759704"/>
                  </a:lnTo>
                  <a:lnTo>
                    <a:pt x="393541" y="759704"/>
                  </a:lnTo>
                  <a:lnTo>
                    <a:pt x="392936" y="759825"/>
                  </a:lnTo>
                  <a:lnTo>
                    <a:pt x="391454" y="760551"/>
                  </a:lnTo>
                  <a:lnTo>
                    <a:pt x="391454" y="761065"/>
                  </a:lnTo>
                  <a:lnTo>
                    <a:pt x="391575" y="761217"/>
                  </a:lnTo>
                  <a:lnTo>
                    <a:pt x="391786" y="761217"/>
                  </a:lnTo>
                  <a:lnTo>
                    <a:pt x="392210" y="761308"/>
                  </a:lnTo>
                  <a:lnTo>
                    <a:pt x="391454" y="762094"/>
                  </a:lnTo>
                  <a:lnTo>
                    <a:pt x="392754" y="762729"/>
                  </a:lnTo>
                  <a:lnTo>
                    <a:pt x="393511" y="763516"/>
                  </a:lnTo>
                  <a:lnTo>
                    <a:pt x="394176" y="764363"/>
                  </a:lnTo>
                  <a:lnTo>
                    <a:pt x="394993" y="765180"/>
                  </a:lnTo>
                  <a:lnTo>
                    <a:pt x="395628" y="765422"/>
                  </a:lnTo>
                  <a:lnTo>
                    <a:pt x="397020" y="765543"/>
                  </a:lnTo>
                  <a:lnTo>
                    <a:pt x="397746" y="765936"/>
                  </a:lnTo>
                  <a:lnTo>
                    <a:pt x="398169" y="766571"/>
                  </a:lnTo>
                  <a:lnTo>
                    <a:pt x="397958" y="767600"/>
                  </a:lnTo>
                  <a:lnTo>
                    <a:pt x="398442" y="768235"/>
                  </a:lnTo>
                  <a:lnTo>
                    <a:pt x="400801" y="768749"/>
                  </a:lnTo>
                  <a:lnTo>
                    <a:pt x="406700" y="768477"/>
                  </a:lnTo>
                  <a:lnTo>
                    <a:pt x="408122" y="769778"/>
                  </a:lnTo>
                  <a:lnTo>
                    <a:pt x="410966" y="768538"/>
                  </a:lnTo>
                  <a:lnTo>
                    <a:pt x="418045" y="768780"/>
                  </a:lnTo>
                  <a:lnTo>
                    <a:pt x="419799" y="767449"/>
                  </a:lnTo>
                  <a:lnTo>
                    <a:pt x="420495" y="767630"/>
                  </a:lnTo>
                  <a:lnTo>
                    <a:pt x="421070" y="767630"/>
                  </a:lnTo>
                  <a:lnTo>
                    <a:pt x="421705" y="767328"/>
                  </a:lnTo>
                  <a:lnTo>
                    <a:pt x="422552" y="766722"/>
                  </a:lnTo>
                  <a:lnTo>
                    <a:pt x="425940" y="768568"/>
                  </a:lnTo>
                  <a:lnTo>
                    <a:pt x="430115" y="769143"/>
                  </a:lnTo>
                  <a:lnTo>
                    <a:pt x="438767" y="768901"/>
                  </a:lnTo>
                  <a:lnTo>
                    <a:pt x="440340" y="769627"/>
                  </a:lnTo>
                  <a:lnTo>
                    <a:pt x="443183" y="772894"/>
                  </a:lnTo>
                  <a:lnTo>
                    <a:pt x="445029" y="773650"/>
                  </a:lnTo>
                  <a:lnTo>
                    <a:pt x="447691" y="773136"/>
                  </a:lnTo>
                  <a:lnTo>
                    <a:pt x="448114" y="773257"/>
                  </a:lnTo>
                  <a:lnTo>
                    <a:pt x="448538" y="772107"/>
                  </a:lnTo>
                  <a:lnTo>
                    <a:pt x="449476" y="772107"/>
                  </a:lnTo>
                  <a:lnTo>
                    <a:pt x="451230" y="772864"/>
                  </a:lnTo>
                  <a:lnTo>
                    <a:pt x="458430" y="772864"/>
                  </a:lnTo>
                  <a:lnTo>
                    <a:pt x="458884" y="772713"/>
                  </a:lnTo>
                  <a:lnTo>
                    <a:pt x="459338" y="772350"/>
                  </a:lnTo>
                  <a:lnTo>
                    <a:pt x="459882" y="772047"/>
                  </a:lnTo>
                  <a:lnTo>
                    <a:pt x="460548" y="772047"/>
                  </a:lnTo>
                  <a:lnTo>
                    <a:pt x="460639" y="772259"/>
                  </a:lnTo>
                  <a:lnTo>
                    <a:pt x="461002" y="772773"/>
                  </a:lnTo>
                  <a:lnTo>
                    <a:pt x="461486" y="773317"/>
                  </a:lnTo>
                  <a:lnTo>
                    <a:pt x="461939" y="773620"/>
                  </a:lnTo>
                  <a:lnTo>
                    <a:pt x="469502" y="774618"/>
                  </a:lnTo>
                  <a:lnTo>
                    <a:pt x="480483" y="773620"/>
                  </a:lnTo>
                  <a:lnTo>
                    <a:pt x="480483" y="774316"/>
                  </a:lnTo>
                  <a:lnTo>
                    <a:pt x="480665" y="775435"/>
                  </a:lnTo>
                  <a:lnTo>
                    <a:pt x="486715" y="778248"/>
                  </a:lnTo>
                  <a:lnTo>
                    <a:pt x="488440" y="777583"/>
                  </a:lnTo>
                  <a:lnTo>
                    <a:pt x="490406" y="777976"/>
                  </a:lnTo>
                  <a:lnTo>
                    <a:pt x="492251" y="778884"/>
                  </a:lnTo>
                  <a:lnTo>
                    <a:pt x="493582" y="779791"/>
                  </a:lnTo>
                  <a:lnTo>
                    <a:pt x="495700" y="782272"/>
                  </a:lnTo>
                  <a:lnTo>
                    <a:pt x="496819" y="783210"/>
                  </a:lnTo>
                  <a:lnTo>
                    <a:pt x="497787" y="782847"/>
                  </a:lnTo>
                  <a:lnTo>
                    <a:pt x="498423" y="782847"/>
                  </a:lnTo>
                  <a:lnTo>
                    <a:pt x="499875" y="783724"/>
                  </a:lnTo>
                  <a:lnTo>
                    <a:pt x="502325" y="784178"/>
                  </a:lnTo>
                  <a:lnTo>
                    <a:pt x="511249" y="784299"/>
                  </a:lnTo>
                  <a:lnTo>
                    <a:pt x="512308" y="784541"/>
                  </a:lnTo>
                  <a:lnTo>
                    <a:pt x="513004" y="785055"/>
                  </a:lnTo>
                  <a:lnTo>
                    <a:pt x="513488" y="785569"/>
                  </a:lnTo>
                  <a:lnTo>
                    <a:pt x="514032" y="785811"/>
                  </a:lnTo>
                  <a:lnTo>
                    <a:pt x="514819" y="786386"/>
                  </a:lnTo>
                  <a:lnTo>
                    <a:pt x="515575" y="787747"/>
                  </a:lnTo>
                  <a:lnTo>
                    <a:pt x="516120" y="789260"/>
                  </a:lnTo>
                  <a:lnTo>
                    <a:pt x="516422" y="790410"/>
                  </a:lnTo>
                  <a:lnTo>
                    <a:pt x="516513" y="792013"/>
                  </a:lnTo>
                  <a:lnTo>
                    <a:pt x="515908" y="794191"/>
                  </a:lnTo>
                  <a:lnTo>
                    <a:pt x="515726" y="795552"/>
                  </a:lnTo>
                  <a:lnTo>
                    <a:pt x="516059" y="799818"/>
                  </a:lnTo>
                  <a:lnTo>
                    <a:pt x="515696" y="801119"/>
                  </a:lnTo>
                  <a:lnTo>
                    <a:pt x="514365" y="802087"/>
                  </a:lnTo>
                  <a:lnTo>
                    <a:pt x="514365" y="802782"/>
                  </a:lnTo>
                  <a:lnTo>
                    <a:pt x="539050" y="801996"/>
                  </a:lnTo>
                  <a:lnTo>
                    <a:pt x="541017" y="802177"/>
                  </a:lnTo>
                  <a:lnTo>
                    <a:pt x="542620" y="802782"/>
                  </a:lnTo>
                  <a:lnTo>
                    <a:pt x="545222" y="801754"/>
                  </a:lnTo>
                  <a:lnTo>
                    <a:pt x="546734" y="801451"/>
                  </a:lnTo>
                  <a:lnTo>
                    <a:pt x="548489" y="801330"/>
                  </a:lnTo>
                  <a:lnTo>
                    <a:pt x="549275" y="801482"/>
                  </a:lnTo>
                  <a:lnTo>
                    <a:pt x="549850" y="801814"/>
                  </a:lnTo>
                  <a:lnTo>
                    <a:pt x="550485" y="802087"/>
                  </a:lnTo>
                  <a:lnTo>
                    <a:pt x="551514" y="802087"/>
                  </a:lnTo>
                  <a:lnTo>
                    <a:pt x="552210" y="801814"/>
                  </a:lnTo>
                  <a:lnTo>
                    <a:pt x="553057" y="800907"/>
                  </a:lnTo>
                  <a:lnTo>
                    <a:pt x="553662" y="800544"/>
                  </a:lnTo>
                  <a:lnTo>
                    <a:pt x="555870" y="800060"/>
                  </a:lnTo>
                  <a:lnTo>
                    <a:pt x="561588" y="800544"/>
                  </a:lnTo>
                  <a:lnTo>
                    <a:pt x="563161" y="800241"/>
                  </a:lnTo>
                  <a:lnTo>
                    <a:pt x="568848" y="798154"/>
                  </a:lnTo>
                  <a:lnTo>
                    <a:pt x="570361" y="797216"/>
                  </a:lnTo>
                  <a:lnTo>
                    <a:pt x="571298" y="796793"/>
                  </a:lnTo>
                  <a:lnTo>
                    <a:pt x="573749" y="796490"/>
                  </a:lnTo>
                  <a:lnTo>
                    <a:pt x="575685" y="796006"/>
                  </a:lnTo>
                  <a:lnTo>
                    <a:pt x="582461" y="795764"/>
                  </a:lnTo>
                  <a:lnTo>
                    <a:pt x="591597" y="796793"/>
                  </a:lnTo>
                  <a:lnTo>
                    <a:pt x="593291" y="796248"/>
                  </a:lnTo>
                  <a:lnTo>
                    <a:pt x="594834" y="795371"/>
                  </a:lnTo>
                  <a:lnTo>
                    <a:pt x="601187" y="793495"/>
                  </a:lnTo>
                  <a:lnTo>
                    <a:pt x="622000" y="794372"/>
                  </a:lnTo>
                  <a:lnTo>
                    <a:pt x="629381" y="791983"/>
                  </a:lnTo>
                  <a:lnTo>
                    <a:pt x="633677" y="791196"/>
                  </a:lnTo>
                  <a:lnTo>
                    <a:pt x="637307" y="791801"/>
                  </a:lnTo>
                  <a:lnTo>
                    <a:pt x="638094" y="791589"/>
                  </a:lnTo>
                  <a:lnTo>
                    <a:pt x="638971" y="790894"/>
                  </a:lnTo>
                  <a:lnTo>
                    <a:pt x="639788" y="790651"/>
                  </a:lnTo>
                  <a:lnTo>
                    <a:pt x="640604" y="790894"/>
                  </a:lnTo>
                  <a:lnTo>
                    <a:pt x="641512" y="791620"/>
                  </a:lnTo>
                  <a:lnTo>
                    <a:pt x="643327" y="792709"/>
                  </a:lnTo>
                  <a:lnTo>
                    <a:pt x="645112" y="792709"/>
                  </a:lnTo>
                  <a:lnTo>
                    <a:pt x="647109" y="792497"/>
                  </a:lnTo>
                  <a:lnTo>
                    <a:pt x="649498" y="792860"/>
                  </a:lnTo>
                  <a:lnTo>
                    <a:pt x="650254" y="793344"/>
                  </a:lnTo>
                  <a:lnTo>
                    <a:pt x="651707" y="794856"/>
                  </a:lnTo>
                  <a:lnTo>
                    <a:pt x="651858" y="795159"/>
                  </a:lnTo>
                  <a:lnTo>
                    <a:pt x="654641" y="795159"/>
                  </a:lnTo>
                  <a:lnTo>
                    <a:pt x="656063" y="794826"/>
                  </a:lnTo>
                  <a:lnTo>
                    <a:pt x="661902" y="792436"/>
                  </a:lnTo>
                  <a:lnTo>
                    <a:pt x="662779" y="791892"/>
                  </a:lnTo>
                  <a:lnTo>
                    <a:pt x="663777" y="791438"/>
                  </a:lnTo>
                  <a:lnTo>
                    <a:pt x="664957" y="791226"/>
                  </a:lnTo>
                  <a:lnTo>
                    <a:pt x="665532" y="790682"/>
                  </a:lnTo>
                  <a:lnTo>
                    <a:pt x="666530" y="787989"/>
                  </a:lnTo>
                  <a:lnTo>
                    <a:pt x="667044" y="787021"/>
                  </a:lnTo>
                  <a:lnTo>
                    <a:pt x="668133" y="785630"/>
                  </a:lnTo>
                  <a:lnTo>
                    <a:pt x="669222" y="783815"/>
                  </a:lnTo>
                  <a:lnTo>
                    <a:pt x="670160" y="781758"/>
                  </a:lnTo>
                  <a:lnTo>
                    <a:pt x="670856" y="779700"/>
                  </a:lnTo>
                  <a:lnTo>
                    <a:pt x="669978" y="778097"/>
                  </a:lnTo>
                  <a:lnTo>
                    <a:pt x="671037" y="776343"/>
                  </a:lnTo>
                  <a:lnTo>
                    <a:pt x="672671" y="774528"/>
                  </a:lnTo>
                  <a:lnTo>
                    <a:pt x="673609" y="772773"/>
                  </a:lnTo>
                  <a:lnTo>
                    <a:pt x="671430" y="774195"/>
                  </a:lnTo>
                  <a:lnTo>
                    <a:pt x="669858" y="771624"/>
                  </a:lnTo>
                  <a:lnTo>
                    <a:pt x="668073" y="765785"/>
                  </a:lnTo>
                  <a:lnTo>
                    <a:pt x="669585" y="764151"/>
                  </a:lnTo>
                  <a:lnTo>
                    <a:pt x="671279" y="762941"/>
                  </a:lnTo>
                  <a:close/>
                  <a:moveTo>
                    <a:pt x="763304" y="736441"/>
                  </a:moveTo>
                  <a:lnTo>
                    <a:pt x="762639" y="735745"/>
                  </a:lnTo>
                  <a:lnTo>
                    <a:pt x="762488" y="735745"/>
                  </a:lnTo>
                  <a:lnTo>
                    <a:pt x="762548" y="735655"/>
                  </a:lnTo>
                  <a:lnTo>
                    <a:pt x="762608" y="734898"/>
                  </a:lnTo>
                  <a:lnTo>
                    <a:pt x="763002" y="734595"/>
                  </a:lnTo>
                  <a:lnTo>
                    <a:pt x="763758" y="733809"/>
                  </a:lnTo>
                  <a:lnTo>
                    <a:pt x="764212" y="733023"/>
                  </a:lnTo>
                  <a:lnTo>
                    <a:pt x="763667" y="732660"/>
                  </a:lnTo>
                  <a:lnTo>
                    <a:pt x="763002" y="731994"/>
                  </a:lnTo>
                  <a:lnTo>
                    <a:pt x="760551" y="727940"/>
                  </a:lnTo>
                  <a:lnTo>
                    <a:pt x="757950" y="726095"/>
                  </a:lnTo>
                  <a:lnTo>
                    <a:pt x="757738" y="725339"/>
                  </a:lnTo>
                  <a:lnTo>
                    <a:pt x="757738" y="723614"/>
                  </a:lnTo>
                  <a:lnTo>
                    <a:pt x="758192" y="721648"/>
                  </a:lnTo>
                  <a:lnTo>
                    <a:pt x="759160" y="720256"/>
                  </a:lnTo>
                  <a:lnTo>
                    <a:pt x="760128" y="719198"/>
                  </a:lnTo>
                  <a:lnTo>
                    <a:pt x="760551" y="718199"/>
                  </a:lnTo>
                  <a:lnTo>
                    <a:pt x="761065" y="716415"/>
                  </a:lnTo>
                  <a:lnTo>
                    <a:pt x="762245" y="715053"/>
                  </a:lnTo>
                  <a:lnTo>
                    <a:pt x="763395" y="713994"/>
                  </a:lnTo>
                  <a:lnTo>
                    <a:pt x="764000" y="713147"/>
                  </a:lnTo>
                  <a:lnTo>
                    <a:pt x="764000" y="712179"/>
                  </a:lnTo>
                  <a:lnTo>
                    <a:pt x="763455" y="711030"/>
                  </a:lnTo>
                  <a:lnTo>
                    <a:pt x="763304" y="710062"/>
                  </a:lnTo>
                  <a:lnTo>
                    <a:pt x="763304" y="707339"/>
                  </a:lnTo>
                  <a:lnTo>
                    <a:pt x="763607" y="705887"/>
                  </a:lnTo>
                  <a:lnTo>
                    <a:pt x="764998" y="703739"/>
                  </a:lnTo>
                  <a:lnTo>
                    <a:pt x="765361" y="702227"/>
                  </a:lnTo>
                  <a:lnTo>
                    <a:pt x="764817" y="701682"/>
                  </a:lnTo>
                  <a:lnTo>
                    <a:pt x="764212" y="701440"/>
                  </a:lnTo>
                  <a:lnTo>
                    <a:pt x="763486" y="701591"/>
                  </a:lnTo>
                  <a:lnTo>
                    <a:pt x="762639" y="702257"/>
                  </a:lnTo>
                  <a:lnTo>
                    <a:pt x="761126" y="703981"/>
                  </a:lnTo>
                  <a:lnTo>
                    <a:pt x="760551" y="704647"/>
                  </a:lnTo>
                  <a:lnTo>
                    <a:pt x="759856" y="704647"/>
                  </a:lnTo>
                  <a:lnTo>
                    <a:pt x="759856" y="703800"/>
                  </a:lnTo>
                  <a:lnTo>
                    <a:pt x="759190" y="703800"/>
                  </a:lnTo>
                  <a:lnTo>
                    <a:pt x="757768" y="704647"/>
                  </a:lnTo>
                  <a:lnTo>
                    <a:pt x="757768" y="705403"/>
                  </a:lnTo>
                  <a:lnTo>
                    <a:pt x="758343" y="707339"/>
                  </a:lnTo>
                  <a:lnTo>
                    <a:pt x="758283" y="710788"/>
                  </a:lnTo>
                  <a:lnTo>
                    <a:pt x="757496" y="714055"/>
                  </a:lnTo>
                  <a:lnTo>
                    <a:pt x="754864" y="716868"/>
                  </a:lnTo>
                  <a:lnTo>
                    <a:pt x="754441" y="719773"/>
                  </a:lnTo>
                  <a:lnTo>
                    <a:pt x="753624" y="722677"/>
                  </a:lnTo>
                  <a:lnTo>
                    <a:pt x="751234" y="724007"/>
                  </a:lnTo>
                  <a:lnTo>
                    <a:pt x="750629" y="724492"/>
                  </a:lnTo>
                  <a:lnTo>
                    <a:pt x="749721" y="725702"/>
                  </a:lnTo>
                  <a:lnTo>
                    <a:pt x="748995" y="727245"/>
                  </a:lnTo>
                  <a:lnTo>
                    <a:pt x="748844" y="728757"/>
                  </a:lnTo>
                  <a:lnTo>
                    <a:pt x="749540" y="729755"/>
                  </a:lnTo>
                  <a:lnTo>
                    <a:pt x="752141" y="731238"/>
                  </a:lnTo>
                  <a:lnTo>
                    <a:pt x="752958" y="731843"/>
                  </a:lnTo>
                  <a:lnTo>
                    <a:pt x="753442" y="733053"/>
                  </a:lnTo>
                  <a:lnTo>
                    <a:pt x="753321" y="733900"/>
                  </a:lnTo>
                  <a:lnTo>
                    <a:pt x="753019" y="734898"/>
                  </a:lnTo>
                  <a:lnTo>
                    <a:pt x="752958" y="736501"/>
                  </a:lnTo>
                  <a:lnTo>
                    <a:pt x="754078" y="739617"/>
                  </a:lnTo>
                  <a:lnTo>
                    <a:pt x="753987" y="740797"/>
                  </a:lnTo>
                  <a:lnTo>
                    <a:pt x="752293" y="741190"/>
                  </a:lnTo>
                  <a:lnTo>
                    <a:pt x="752293" y="741947"/>
                  </a:lnTo>
                  <a:lnTo>
                    <a:pt x="752989" y="741947"/>
                  </a:lnTo>
                  <a:lnTo>
                    <a:pt x="752989" y="742673"/>
                  </a:lnTo>
                  <a:lnTo>
                    <a:pt x="751506" y="743187"/>
                  </a:lnTo>
                  <a:lnTo>
                    <a:pt x="751385" y="744276"/>
                  </a:lnTo>
                  <a:lnTo>
                    <a:pt x="752081" y="745546"/>
                  </a:lnTo>
                  <a:lnTo>
                    <a:pt x="752989" y="746575"/>
                  </a:lnTo>
                  <a:lnTo>
                    <a:pt x="754229" y="746999"/>
                  </a:lnTo>
                  <a:lnTo>
                    <a:pt x="755651" y="747150"/>
                  </a:lnTo>
                  <a:lnTo>
                    <a:pt x="756437" y="747815"/>
                  </a:lnTo>
                  <a:lnTo>
                    <a:pt x="755741" y="749661"/>
                  </a:lnTo>
                  <a:lnTo>
                    <a:pt x="756951" y="749116"/>
                  </a:lnTo>
                  <a:lnTo>
                    <a:pt x="757950" y="748330"/>
                  </a:lnTo>
                  <a:lnTo>
                    <a:pt x="758736" y="747452"/>
                  </a:lnTo>
                  <a:lnTo>
                    <a:pt x="759250" y="746545"/>
                  </a:lnTo>
                  <a:lnTo>
                    <a:pt x="758555" y="746454"/>
                  </a:lnTo>
                  <a:lnTo>
                    <a:pt x="758222" y="746636"/>
                  </a:lnTo>
                  <a:lnTo>
                    <a:pt x="758010" y="746969"/>
                  </a:lnTo>
                  <a:lnTo>
                    <a:pt x="757798" y="747301"/>
                  </a:lnTo>
                  <a:lnTo>
                    <a:pt x="758283" y="744397"/>
                  </a:lnTo>
                  <a:lnTo>
                    <a:pt x="760219" y="742249"/>
                  </a:lnTo>
                  <a:lnTo>
                    <a:pt x="762820" y="741281"/>
                  </a:lnTo>
                  <a:lnTo>
                    <a:pt x="765392" y="741886"/>
                  </a:lnTo>
                  <a:lnTo>
                    <a:pt x="765906" y="739496"/>
                  </a:lnTo>
                  <a:lnTo>
                    <a:pt x="765482" y="738286"/>
                  </a:lnTo>
                  <a:lnTo>
                    <a:pt x="763334" y="736411"/>
                  </a:lnTo>
                  <a:close/>
                  <a:moveTo>
                    <a:pt x="371246" y="695692"/>
                  </a:moveTo>
                  <a:lnTo>
                    <a:pt x="369249" y="694966"/>
                  </a:lnTo>
                  <a:lnTo>
                    <a:pt x="367434" y="693666"/>
                  </a:lnTo>
                  <a:lnTo>
                    <a:pt x="367374" y="693303"/>
                  </a:lnTo>
                  <a:lnTo>
                    <a:pt x="367374" y="693000"/>
                  </a:lnTo>
                  <a:lnTo>
                    <a:pt x="367252" y="692849"/>
                  </a:lnTo>
                  <a:lnTo>
                    <a:pt x="366799" y="692849"/>
                  </a:lnTo>
                  <a:lnTo>
                    <a:pt x="367706" y="695359"/>
                  </a:lnTo>
                  <a:lnTo>
                    <a:pt x="368341" y="696721"/>
                  </a:lnTo>
                  <a:lnTo>
                    <a:pt x="369189" y="697991"/>
                  </a:lnTo>
                  <a:lnTo>
                    <a:pt x="371669" y="700381"/>
                  </a:lnTo>
                  <a:lnTo>
                    <a:pt x="372274" y="701440"/>
                  </a:lnTo>
                  <a:lnTo>
                    <a:pt x="372970" y="701440"/>
                  </a:lnTo>
                  <a:lnTo>
                    <a:pt x="372728" y="697386"/>
                  </a:lnTo>
                  <a:lnTo>
                    <a:pt x="371215" y="695722"/>
                  </a:lnTo>
                  <a:close/>
                  <a:moveTo>
                    <a:pt x="798940" y="654006"/>
                  </a:moveTo>
                  <a:lnTo>
                    <a:pt x="797216" y="654096"/>
                  </a:lnTo>
                  <a:lnTo>
                    <a:pt x="795734" y="654339"/>
                  </a:lnTo>
                  <a:lnTo>
                    <a:pt x="795008" y="654550"/>
                  </a:lnTo>
                  <a:lnTo>
                    <a:pt x="794070" y="655579"/>
                  </a:lnTo>
                  <a:lnTo>
                    <a:pt x="794221" y="657182"/>
                  </a:lnTo>
                  <a:lnTo>
                    <a:pt x="795492" y="657757"/>
                  </a:lnTo>
                  <a:lnTo>
                    <a:pt x="797397" y="657303"/>
                  </a:lnTo>
                  <a:lnTo>
                    <a:pt x="799213" y="657394"/>
                  </a:lnTo>
                  <a:lnTo>
                    <a:pt x="800635" y="657697"/>
                  </a:lnTo>
                  <a:lnTo>
                    <a:pt x="802601" y="657212"/>
                  </a:lnTo>
                  <a:lnTo>
                    <a:pt x="803387" y="657273"/>
                  </a:lnTo>
                  <a:lnTo>
                    <a:pt x="803811" y="656910"/>
                  </a:lnTo>
                  <a:lnTo>
                    <a:pt x="804234" y="655942"/>
                  </a:lnTo>
                  <a:lnTo>
                    <a:pt x="804234" y="654822"/>
                  </a:lnTo>
                  <a:lnTo>
                    <a:pt x="803992" y="654278"/>
                  </a:lnTo>
                  <a:lnTo>
                    <a:pt x="798880" y="654006"/>
                  </a:lnTo>
                  <a:close/>
                  <a:moveTo>
                    <a:pt x="347226" y="651041"/>
                  </a:moveTo>
                  <a:lnTo>
                    <a:pt x="340692" y="646746"/>
                  </a:lnTo>
                  <a:lnTo>
                    <a:pt x="339118" y="644931"/>
                  </a:lnTo>
                  <a:lnTo>
                    <a:pt x="335095" y="638154"/>
                  </a:lnTo>
                  <a:lnTo>
                    <a:pt x="333915" y="637458"/>
                  </a:lnTo>
                  <a:lnTo>
                    <a:pt x="332735" y="638396"/>
                  </a:lnTo>
                  <a:lnTo>
                    <a:pt x="329620" y="643297"/>
                  </a:lnTo>
                  <a:lnTo>
                    <a:pt x="329408" y="644446"/>
                  </a:lnTo>
                  <a:lnTo>
                    <a:pt x="329741" y="645475"/>
                  </a:lnTo>
                  <a:lnTo>
                    <a:pt x="330316" y="646746"/>
                  </a:lnTo>
                  <a:lnTo>
                    <a:pt x="331072" y="649408"/>
                  </a:lnTo>
                  <a:lnTo>
                    <a:pt x="331193" y="652040"/>
                  </a:lnTo>
                  <a:lnTo>
                    <a:pt x="330316" y="658453"/>
                  </a:lnTo>
                  <a:lnTo>
                    <a:pt x="330890" y="659088"/>
                  </a:lnTo>
                  <a:lnTo>
                    <a:pt x="331828" y="660933"/>
                  </a:lnTo>
                  <a:lnTo>
                    <a:pt x="332342" y="661659"/>
                  </a:lnTo>
                  <a:lnTo>
                    <a:pt x="332645" y="661720"/>
                  </a:lnTo>
                  <a:lnTo>
                    <a:pt x="334036" y="661659"/>
                  </a:lnTo>
                  <a:lnTo>
                    <a:pt x="334430" y="661871"/>
                  </a:lnTo>
                  <a:lnTo>
                    <a:pt x="334430" y="662325"/>
                  </a:lnTo>
                  <a:lnTo>
                    <a:pt x="334278" y="662839"/>
                  </a:lnTo>
                  <a:lnTo>
                    <a:pt x="334399" y="663172"/>
                  </a:lnTo>
                  <a:lnTo>
                    <a:pt x="337182" y="663958"/>
                  </a:lnTo>
                  <a:lnTo>
                    <a:pt x="338211" y="664684"/>
                  </a:lnTo>
                  <a:lnTo>
                    <a:pt x="338544" y="666348"/>
                  </a:lnTo>
                  <a:lnTo>
                    <a:pt x="339724" y="665259"/>
                  </a:lnTo>
                  <a:lnTo>
                    <a:pt x="340934" y="665047"/>
                  </a:lnTo>
                  <a:lnTo>
                    <a:pt x="342719" y="665501"/>
                  </a:lnTo>
                  <a:lnTo>
                    <a:pt x="344201" y="665653"/>
                  </a:lnTo>
                  <a:lnTo>
                    <a:pt x="344715" y="665471"/>
                  </a:lnTo>
                  <a:lnTo>
                    <a:pt x="344957" y="658786"/>
                  </a:lnTo>
                  <a:lnTo>
                    <a:pt x="345350" y="657303"/>
                  </a:lnTo>
                  <a:lnTo>
                    <a:pt x="346137" y="656154"/>
                  </a:lnTo>
                  <a:lnTo>
                    <a:pt x="347801" y="655458"/>
                  </a:lnTo>
                  <a:lnTo>
                    <a:pt x="349313" y="655397"/>
                  </a:lnTo>
                  <a:lnTo>
                    <a:pt x="349918" y="654913"/>
                  </a:lnTo>
                  <a:lnTo>
                    <a:pt x="348980" y="652947"/>
                  </a:lnTo>
                  <a:lnTo>
                    <a:pt x="347196" y="651071"/>
                  </a:lnTo>
                  <a:close/>
                  <a:moveTo>
                    <a:pt x="618007" y="636067"/>
                  </a:moveTo>
                  <a:lnTo>
                    <a:pt x="617099" y="636702"/>
                  </a:lnTo>
                  <a:lnTo>
                    <a:pt x="616161" y="637640"/>
                  </a:lnTo>
                  <a:lnTo>
                    <a:pt x="614739" y="638124"/>
                  </a:lnTo>
                  <a:lnTo>
                    <a:pt x="614195" y="638487"/>
                  </a:lnTo>
                  <a:lnTo>
                    <a:pt x="614437" y="639303"/>
                  </a:lnTo>
                  <a:lnTo>
                    <a:pt x="614891" y="640090"/>
                  </a:lnTo>
                  <a:lnTo>
                    <a:pt x="615526" y="640937"/>
                  </a:lnTo>
                  <a:lnTo>
                    <a:pt x="615828" y="641028"/>
                  </a:lnTo>
                  <a:lnTo>
                    <a:pt x="616282" y="641028"/>
                  </a:lnTo>
                  <a:lnTo>
                    <a:pt x="618884" y="641512"/>
                  </a:lnTo>
                  <a:lnTo>
                    <a:pt x="620185" y="641209"/>
                  </a:lnTo>
                  <a:lnTo>
                    <a:pt x="621395" y="640665"/>
                  </a:lnTo>
                  <a:lnTo>
                    <a:pt x="622998" y="640393"/>
                  </a:lnTo>
                  <a:lnTo>
                    <a:pt x="624087" y="640907"/>
                  </a:lnTo>
                  <a:lnTo>
                    <a:pt x="625085" y="641754"/>
                  </a:lnTo>
                  <a:lnTo>
                    <a:pt x="625963" y="641905"/>
                  </a:lnTo>
                  <a:lnTo>
                    <a:pt x="626810" y="640393"/>
                  </a:lnTo>
                  <a:lnTo>
                    <a:pt x="624813" y="640120"/>
                  </a:lnTo>
                  <a:lnTo>
                    <a:pt x="621546" y="637428"/>
                  </a:lnTo>
                  <a:lnTo>
                    <a:pt x="618007" y="636067"/>
                  </a:lnTo>
                  <a:close/>
                  <a:moveTo>
                    <a:pt x="866764" y="631801"/>
                  </a:moveTo>
                  <a:lnTo>
                    <a:pt x="865887" y="630531"/>
                  </a:lnTo>
                  <a:lnTo>
                    <a:pt x="865010" y="629805"/>
                  </a:lnTo>
                  <a:lnTo>
                    <a:pt x="864132" y="629865"/>
                  </a:lnTo>
                  <a:lnTo>
                    <a:pt x="861137" y="633405"/>
                  </a:lnTo>
                  <a:lnTo>
                    <a:pt x="854542" y="633042"/>
                  </a:lnTo>
                  <a:lnTo>
                    <a:pt x="851245" y="634524"/>
                  </a:lnTo>
                  <a:lnTo>
                    <a:pt x="849733" y="635613"/>
                  </a:lnTo>
                  <a:lnTo>
                    <a:pt x="838509" y="641179"/>
                  </a:lnTo>
                  <a:lnTo>
                    <a:pt x="832519" y="643085"/>
                  </a:lnTo>
                  <a:lnTo>
                    <a:pt x="831551" y="643962"/>
                  </a:lnTo>
                  <a:lnTo>
                    <a:pt x="830795" y="645233"/>
                  </a:lnTo>
                  <a:lnTo>
                    <a:pt x="827437" y="648439"/>
                  </a:lnTo>
                  <a:lnTo>
                    <a:pt x="826681" y="649438"/>
                  </a:lnTo>
                  <a:lnTo>
                    <a:pt x="826227" y="649862"/>
                  </a:lnTo>
                  <a:lnTo>
                    <a:pt x="823232" y="650648"/>
                  </a:lnTo>
                  <a:lnTo>
                    <a:pt x="822748" y="651102"/>
                  </a:lnTo>
                  <a:lnTo>
                    <a:pt x="821841" y="652917"/>
                  </a:lnTo>
                  <a:lnTo>
                    <a:pt x="821145" y="653945"/>
                  </a:lnTo>
                  <a:lnTo>
                    <a:pt x="820479" y="655397"/>
                  </a:lnTo>
                  <a:lnTo>
                    <a:pt x="820237" y="656396"/>
                  </a:lnTo>
                  <a:lnTo>
                    <a:pt x="820237" y="657152"/>
                  </a:lnTo>
                  <a:lnTo>
                    <a:pt x="820025" y="657787"/>
                  </a:lnTo>
                  <a:lnTo>
                    <a:pt x="819148" y="658453"/>
                  </a:lnTo>
                  <a:lnTo>
                    <a:pt x="819602" y="659360"/>
                  </a:lnTo>
                  <a:lnTo>
                    <a:pt x="818725" y="659996"/>
                  </a:lnTo>
                  <a:lnTo>
                    <a:pt x="816335" y="660752"/>
                  </a:lnTo>
                  <a:lnTo>
                    <a:pt x="812433" y="663263"/>
                  </a:lnTo>
                  <a:lnTo>
                    <a:pt x="810769" y="663868"/>
                  </a:lnTo>
                  <a:lnTo>
                    <a:pt x="811434" y="664866"/>
                  </a:lnTo>
                  <a:lnTo>
                    <a:pt x="812009" y="664866"/>
                  </a:lnTo>
                  <a:lnTo>
                    <a:pt x="812644" y="664775"/>
                  </a:lnTo>
                  <a:lnTo>
                    <a:pt x="813612" y="665441"/>
                  </a:lnTo>
                  <a:lnTo>
                    <a:pt x="813733" y="665955"/>
                  </a:lnTo>
                  <a:lnTo>
                    <a:pt x="813098" y="666833"/>
                  </a:lnTo>
                  <a:lnTo>
                    <a:pt x="813249" y="667407"/>
                  </a:lnTo>
                  <a:lnTo>
                    <a:pt x="815700" y="669948"/>
                  </a:lnTo>
                  <a:lnTo>
                    <a:pt x="817091" y="670916"/>
                  </a:lnTo>
                  <a:lnTo>
                    <a:pt x="818120" y="672278"/>
                  </a:lnTo>
                  <a:lnTo>
                    <a:pt x="818422" y="674819"/>
                  </a:lnTo>
                  <a:lnTo>
                    <a:pt x="817817" y="677632"/>
                  </a:lnTo>
                  <a:lnTo>
                    <a:pt x="814943" y="685619"/>
                  </a:lnTo>
                  <a:lnTo>
                    <a:pt x="813612" y="687283"/>
                  </a:lnTo>
                  <a:lnTo>
                    <a:pt x="815428" y="690822"/>
                  </a:lnTo>
                  <a:lnTo>
                    <a:pt x="815669" y="691578"/>
                  </a:lnTo>
                  <a:lnTo>
                    <a:pt x="816335" y="691790"/>
                  </a:lnTo>
                  <a:lnTo>
                    <a:pt x="820479" y="694422"/>
                  </a:lnTo>
                  <a:lnTo>
                    <a:pt x="825199" y="691729"/>
                  </a:lnTo>
                  <a:lnTo>
                    <a:pt x="828829" y="688644"/>
                  </a:lnTo>
                  <a:lnTo>
                    <a:pt x="831733" y="685104"/>
                  </a:lnTo>
                  <a:lnTo>
                    <a:pt x="835756" y="679024"/>
                  </a:lnTo>
                  <a:lnTo>
                    <a:pt x="837390" y="677451"/>
                  </a:lnTo>
                  <a:lnTo>
                    <a:pt x="841928" y="674849"/>
                  </a:lnTo>
                  <a:lnTo>
                    <a:pt x="844287" y="674032"/>
                  </a:lnTo>
                  <a:lnTo>
                    <a:pt x="846344" y="674093"/>
                  </a:lnTo>
                  <a:lnTo>
                    <a:pt x="851578" y="675605"/>
                  </a:lnTo>
                  <a:lnTo>
                    <a:pt x="850640" y="673760"/>
                  </a:lnTo>
                  <a:lnTo>
                    <a:pt x="850217" y="673276"/>
                  </a:lnTo>
                  <a:lnTo>
                    <a:pt x="851003" y="672550"/>
                  </a:lnTo>
                  <a:lnTo>
                    <a:pt x="851608" y="671824"/>
                  </a:lnTo>
                  <a:lnTo>
                    <a:pt x="852001" y="671038"/>
                  </a:lnTo>
                  <a:lnTo>
                    <a:pt x="852274" y="670100"/>
                  </a:lnTo>
                  <a:lnTo>
                    <a:pt x="851306" y="669918"/>
                  </a:lnTo>
                  <a:lnTo>
                    <a:pt x="850519" y="669646"/>
                  </a:lnTo>
                  <a:lnTo>
                    <a:pt x="849702" y="669252"/>
                  </a:lnTo>
                  <a:lnTo>
                    <a:pt x="848795" y="668617"/>
                  </a:lnTo>
                  <a:lnTo>
                    <a:pt x="851215" y="663081"/>
                  </a:lnTo>
                  <a:lnTo>
                    <a:pt x="852153" y="662748"/>
                  </a:lnTo>
                  <a:lnTo>
                    <a:pt x="852546" y="661992"/>
                  </a:lnTo>
                  <a:lnTo>
                    <a:pt x="852727" y="661206"/>
                  </a:lnTo>
                  <a:lnTo>
                    <a:pt x="852969" y="660722"/>
                  </a:lnTo>
                  <a:lnTo>
                    <a:pt x="853635" y="660601"/>
                  </a:lnTo>
                  <a:lnTo>
                    <a:pt x="855420" y="660601"/>
                  </a:lnTo>
                  <a:lnTo>
                    <a:pt x="855692" y="660722"/>
                  </a:lnTo>
                  <a:lnTo>
                    <a:pt x="856237" y="659602"/>
                  </a:lnTo>
                  <a:lnTo>
                    <a:pt x="857507" y="656063"/>
                  </a:lnTo>
                  <a:lnTo>
                    <a:pt x="858112" y="655337"/>
                  </a:lnTo>
                  <a:lnTo>
                    <a:pt x="859020" y="654732"/>
                  </a:lnTo>
                  <a:lnTo>
                    <a:pt x="859534" y="653370"/>
                  </a:lnTo>
                  <a:lnTo>
                    <a:pt x="859776" y="650134"/>
                  </a:lnTo>
                  <a:lnTo>
                    <a:pt x="860230" y="648712"/>
                  </a:lnTo>
                  <a:lnTo>
                    <a:pt x="862438" y="646231"/>
                  </a:lnTo>
                  <a:lnTo>
                    <a:pt x="863194" y="644991"/>
                  </a:lnTo>
                  <a:lnTo>
                    <a:pt x="863800" y="640998"/>
                  </a:lnTo>
                  <a:lnTo>
                    <a:pt x="864283" y="640332"/>
                  </a:lnTo>
                  <a:lnTo>
                    <a:pt x="866371" y="639243"/>
                  </a:lnTo>
                  <a:lnTo>
                    <a:pt x="865312" y="634100"/>
                  </a:lnTo>
                  <a:lnTo>
                    <a:pt x="866704" y="632437"/>
                  </a:lnTo>
                  <a:lnTo>
                    <a:pt x="866704" y="631741"/>
                  </a:lnTo>
                  <a:close/>
                  <a:moveTo>
                    <a:pt x="582945" y="639666"/>
                  </a:moveTo>
                  <a:lnTo>
                    <a:pt x="581977" y="640393"/>
                  </a:lnTo>
                  <a:lnTo>
                    <a:pt x="580737" y="640665"/>
                  </a:lnTo>
                  <a:lnTo>
                    <a:pt x="578347" y="640665"/>
                  </a:lnTo>
                  <a:lnTo>
                    <a:pt x="577167" y="641179"/>
                  </a:lnTo>
                  <a:lnTo>
                    <a:pt x="579013" y="642087"/>
                  </a:lnTo>
                  <a:lnTo>
                    <a:pt x="583701" y="643327"/>
                  </a:lnTo>
                  <a:lnTo>
                    <a:pt x="585728" y="643508"/>
                  </a:lnTo>
                  <a:lnTo>
                    <a:pt x="587574" y="642813"/>
                  </a:lnTo>
                  <a:lnTo>
                    <a:pt x="589086" y="641058"/>
                  </a:lnTo>
                  <a:lnTo>
                    <a:pt x="589994" y="638759"/>
                  </a:lnTo>
                  <a:lnTo>
                    <a:pt x="590236" y="636490"/>
                  </a:lnTo>
                  <a:lnTo>
                    <a:pt x="588995" y="633435"/>
                  </a:lnTo>
                  <a:lnTo>
                    <a:pt x="586303" y="630470"/>
                  </a:lnTo>
                  <a:lnTo>
                    <a:pt x="582824" y="628171"/>
                  </a:lnTo>
                  <a:lnTo>
                    <a:pt x="579224" y="627112"/>
                  </a:lnTo>
                  <a:lnTo>
                    <a:pt x="578770" y="627294"/>
                  </a:lnTo>
                  <a:lnTo>
                    <a:pt x="578287" y="627596"/>
                  </a:lnTo>
                  <a:lnTo>
                    <a:pt x="577833" y="627808"/>
                  </a:lnTo>
                  <a:lnTo>
                    <a:pt x="577833" y="628595"/>
                  </a:lnTo>
                  <a:lnTo>
                    <a:pt x="581705" y="629593"/>
                  </a:lnTo>
                  <a:lnTo>
                    <a:pt x="583187" y="630379"/>
                  </a:lnTo>
                  <a:lnTo>
                    <a:pt x="582612" y="631801"/>
                  </a:lnTo>
                  <a:lnTo>
                    <a:pt x="582612" y="632497"/>
                  </a:lnTo>
                  <a:lnTo>
                    <a:pt x="583520" y="633102"/>
                  </a:lnTo>
                  <a:lnTo>
                    <a:pt x="584004" y="634252"/>
                  </a:lnTo>
                  <a:lnTo>
                    <a:pt x="584700" y="637247"/>
                  </a:lnTo>
                  <a:lnTo>
                    <a:pt x="583883" y="637882"/>
                  </a:lnTo>
                  <a:lnTo>
                    <a:pt x="582915" y="639637"/>
                  </a:lnTo>
                  <a:close/>
                  <a:moveTo>
                    <a:pt x="786477" y="634494"/>
                  </a:moveTo>
                  <a:lnTo>
                    <a:pt x="786144" y="634131"/>
                  </a:lnTo>
                  <a:lnTo>
                    <a:pt x="784359" y="635220"/>
                  </a:lnTo>
                  <a:lnTo>
                    <a:pt x="782241" y="635038"/>
                  </a:lnTo>
                  <a:lnTo>
                    <a:pt x="781001" y="633828"/>
                  </a:lnTo>
                  <a:lnTo>
                    <a:pt x="781939" y="631771"/>
                  </a:lnTo>
                  <a:lnTo>
                    <a:pt x="780426" y="631136"/>
                  </a:lnTo>
                  <a:lnTo>
                    <a:pt x="779096" y="627899"/>
                  </a:lnTo>
                  <a:lnTo>
                    <a:pt x="777825" y="627052"/>
                  </a:lnTo>
                  <a:lnTo>
                    <a:pt x="776403" y="627778"/>
                  </a:lnTo>
                  <a:lnTo>
                    <a:pt x="774739" y="629109"/>
                  </a:lnTo>
                  <a:lnTo>
                    <a:pt x="773257" y="629593"/>
                  </a:lnTo>
                  <a:lnTo>
                    <a:pt x="772289" y="627808"/>
                  </a:lnTo>
                  <a:lnTo>
                    <a:pt x="771926" y="628746"/>
                  </a:lnTo>
                  <a:lnTo>
                    <a:pt x="771744" y="629835"/>
                  </a:lnTo>
                  <a:lnTo>
                    <a:pt x="771684" y="632134"/>
                  </a:lnTo>
                  <a:lnTo>
                    <a:pt x="771926" y="633042"/>
                  </a:lnTo>
                  <a:lnTo>
                    <a:pt x="773196" y="633889"/>
                  </a:lnTo>
                  <a:lnTo>
                    <a:pt x="773771" y="634887"/>
                  </a:lnTo>
                  <a:lnTo>
                    <a:pt x="774437" y="634887"/>
                  </a:lnTo>
                  <a:lnTo>
                    <a:pt x="775132" y="633828"/>
                  </a:lnTo>
                  <a:lnTo>
                    <a:pt x="776070" y="632920"/>
                  </a:lnTo>
                  <a:lnTo>
                    <a:pt x="777220" y="632618"/>
                  </a:lnTo>
                  <a:lnTo>
                    <a:pt x="778551" y="633314"/>
                  </a:lnTo>
                  <a:lnTo>
                    <a:pt x="778007" y="635008"/>
                  </a:lnTo>
                  <a:lnTo>
                    <a:pt x="778733" y="636944"/>
                  </a:lnTo>
                  <a:lnTo>
                    <a:pt x="780063" y="638245"/>
                  </a:lnTo>
                  <a:lnTo>
                    <a:pt x="781304" y="638094"/>
                  </a:lnTo>
                  <a:lnTo>
                    <a:pt x="782241" y="638638"/>
                  </a:lnTo>
                  <a:lnTo>
                    <a:pt x="782756" y="638094"/>
                  </a:lnTo>
                  <a:lnTo>
                    <a:pt x="783905" y="638457"/>
                  </a:lnTo>
                  <a:lnTo>
                    <a:pt x="785146" y="637882"/>
                  </a:lnTo>
                  <a:lnTo>
                    <a:pt x="786205" y="636793"/>
                  </a:lnTo>
                  <a:lnTo>
                    <a:pt x="786809" y="635643"/>
                  </a:lnTo>
                  <a:lnTo>
                    <a:pt x="786689" y="634796"/>
                  </a:lnTo>
                  <a:lnTo>
                    <a:pt x="786537" y="634433"/>
                  </a:lnTo>
                  <a:close/>
                  <a:moveTo>
                    <a:pt x="758797" y="611563"/>
                  </a:moveTo>
                  <a:lnTo>
                    <a:pt x="755832" y="613287"/>
                  </a:lnTo>
                  <a:lnTo>
                    <a:pt x="754713" y="615586"/>
                  </a:lnTo>
                  <a:lnTo>
                    <a:pt x="755076" y="616797"/>
                  </a:lnTo>
                  <a:lnTo>
                    <a:pt x="756134" y="617523"/>
                  </a:lnTo>
                  <a:lnTo>
                    <a:pt x="758283" y="617855"/>
                  </a:lnTo>
                  <a:lnTo>
                    <a:pt x="759613" y="617855"/>
                  </a:lnTo>
                  <a:lnTo>
                    <a:pt x="761973" y="616948"/>
                  </a:lnTo>
                  <a:lnTo>
                    <a:pt x="762790" y="614800"/>
                  </a:lnTo>
                  <a:lnTo>
                    <a:pt x="761640" y="612531"/>
                  </a:lnTo>
                  <a:lnTo>
                    <a:pt x="760733" y="611533"/>
                  </a:lnTo>
                  <a:lnTo>
                    <a:pt x="758827" y="611593"/>
                  </a:lnTo>
                  <a:close/>
                  <a:moveTo>
                    <a:pt x="684711" y="611140"/>
                  </a:moveTo>
                  <a:lnTo>
                    <a:pt x="680960" y="609082"/>
                  </a:lnTo>
                  <a:lnTo>
                    <a:pt x="677814" y="608931"/>
                  </a:lnTo>
                  <a:lnTo>
                    <a:pt x="677814" y="609778"/>
                  </a:lnTo>
                  <a:lnTo>
                    <a:pt x="678600" y="610474"/>
                  </a:lnTo>
                  <a:lnTo>
                    <a:pt x="679477" y="611079"/>
                  </a:lnTo>
                  <a:lnTo>
                    <a:pt x="680566" y="611412"/>
                  </a:lnTo>
                  <a:lnTo>
                    <a:pt x="680506" y="611744"/>
                  </a:lnTo>
                  <a:lnTo>
                    <a:pt x="680113" y="612743"/>
                  </a:lnTo>
                  <a:lnTo>
                    <a:pt x="680657" y="613802"/>
                  </a:lnTo>
                  <a:lnTo>
                    <a:pt x="682018" y="614467"/>
                  </a:lnTo>
                  <a:lnTo>
                    <a:pt x="681020" y="614921"/>
                  </a:lnTo>
                  <a:lnTo>
                    <a:pt x="680203" y="614860"/>
                  </a:lnTo>
                  <a:lnTo>
                    <a:pt x="679326" y="614619"/>
                  </a:lnTo>
                  <a:lnTo>
                    <a:pt x="678177" y="614467"/>
                  </a:lnTo>
                  <a:lnTo>
                    <a:pt x="677632" y="614830"/>
                  </a:lnTo>
                  <a:lnTo>
                    <a:pt x="676634" y="616403"/>
                  </a:lnTo>
                  <a:lnTo>
                    <a:pt x="675726" y="616827"/>
                  </a:lnTo>
                  <a:lnTo>
                    <a:pt x="674395" y="616131"/>
                  </a:lnTo>
                  <a:lnTo>
                    <a:pt x="672731" y="614649"/>
                  </a:lnTo>
                  <a:lnTo>
                    <a:pt x="671007" y="613681"/>
                  </a:lnTo>
                  <a:lnTo>
                    <a:pt x="669555" y="614497"/>
                  </a:lnTo>
                  <a:lnTo>
                    <a:pt x="668163" y="613771"/>
                  </a:lnTo>
                  <a:lnTo>
                    <a:pt x="667679" y="614709"/>
                  </a:lnTo>
                  <a:lnTo>
                    <a:pt x="667952" y="616343"/>
                  </a:lnTo>
                  <a:lnTo>
                    <a:pt x="668859" y="617704"/>
                  </a:lnTo>
                  <a:lnTo>
                    <a:pt x="668496" y="618158"/>
                  </a:lnTo>
                  <a:lnTo>
                    <a:pt x="668345" y="618461"/>
                  </a:lnTo>
                  <a:lnTo>
                    <a:pt x="668103" y="619277"/>
                  </a:lnTo>
                  <a:lnTo>
                    <a:pt x="669737" y="620215"/>
                  </a:lnTo>
                  <a:lnTo>
                    <a:pt x="671612" y="623270"/>
                  </a:lnTo>
                  <a:lnTo>
                    <a:pt x="673306" y="623936"/>
                  </a:lnTo>
                  <a:lnTo>
                    <a:pt x="675726" y="623724"/>
                  </a:lnTo>
                  <a:lnTo>
                    <a:pt x="676513" y="622998"/>
                  </a:lnTo>
                  <a:lnTo>
                    <a:pt x="676331" y="621576"/>
                  </a:lnTo>
                  <a:lnTo>
                    <a:pt x="676422" y="620064"/>
                  </a:lnTo>
                  <a:lnTo>
                    <a:pt x="677874" y="617492"/>
                  </a:lnTo>
                  <a:lnTo>
                    <a:pt x="678903" y="616494"/>
                  </a:lnTo>
                  <a:lnTo>
                    <a:pt x="680264" y="616101"/>
                  </a:lnTo>
                  <a:lnTo>
                    <a:pt x="683198" y="616222"/>
                  </a:lnTo>
                  <a:lnTo>
                    <a:pt x="684590" y="615798"/>
                  </a:lnTo>
                  <a:lnTo>
                    <a:pt x="686103" y="614558"/>
                  </a:lnTo>
                  <a:lnTo>
                    <a:pt x="686647" y="615586"/>
                  </a:lnTo>
                  <a:lnTo>
                    <a:pt x="687131" y="616010"/>
                  </a:lnTo>
                  <a:lnTo>
                    <a:pt x="687615" y="615889"/>
                  </a:lnTo>
                  <a:lnTo>
                    <a:pt x="688220" y="615314"/>
                  </a:lnTo>
                  <a:lnTo>
                    <a:pt x="687555" y="613711"/>
                  </a:lnTo>
                  <a:lnTo>
                    <a:pt x="684650" y="611170"/>
                  </a:lnTo>
                  <a:close/>
                  <a:moveTo>
                    <a:pt x="821750" y="617099"/>
                  </a:moveTo>
                  <a:lnTo>
                    <a:pt x="823111" y="617886"/>
                  </a:lnTo>
                  <a:lnTo>
                    <a:pt x="827468" y="619277"/>
                  </a:lnTo>
                  <a:lnTo>
                    <a:pt x="826772" y="619761"/>
                  </a:lnTo>
                  <a:lnTo>
                    <a:pt x="825925" y="620578"/>
                  </a:lnTo>
                  <a:lnTo>
                    <a:pt x="825319" y="620850"/>
                  </a:lnTo>
                  <a:lnTo>
                    <a:pt x="825319" y="621576"/>
                  </a:lnTo>
                  <a:lnTo>
                    <a:pt x="826802" y="621576"/>
                  </a:lnTo>
                  <a:lnTo>
                    <a:pt x="827952" y="621274"/>
                  </a:lnTo>
                  <a:lnTo>
                    <a:pt x="830190" y="620064"/>
                  </a:lnTo>
                  <a:lnTo>
                    <a:pt x="830009" y="619459"/>
                  </a:lnTo>
                  <a:lnTo>
                    <a:pt x="829736" y="619005"/>
                  </a:lnTo>
                  <a:lnTo>
                    <a:pt x="829343" y="618672"/>
                  </a:lnTo>
                  <a:lnTo>
                    <a:pt x="828829" y="618430"/>
                  </a:lnTo>
                  <a:lnTo>
                    <a:pt x="829283" y="618249"/>
                  </a:lnTo>
                  <a:lnTo>
                    <a:pt x="830221" y="617704"/>
                  </a:lnTo>
                  <a:lnTo>
                    <a:pt x="829797" y="616827"/>
                  </a:lnTo>
                  <a:lnTo>
                    <a:pt x="829615" y="615829"/>
                  </a:lnTo>
                  <a:lnTo>
                    <a:pt x="829524" y="614497"/>
                  </a:lnTo>
                  <a:lnTo>
                    <a:pt x="829827" y="613348"/>
                  </a:lnTo>
                  <a:lnTo>
                    <a:pt x="829827" y="612682"/>
                  </a:lnTo>
                  <a:lnTo>
                    <a:pt x="829524" y="612531"/>
                  </a:lnTo>
                  <a:lnTo>
                    <a:pt x="828829" y="613015"/>
                  </a:lnTo>
                  <a:lnTo>
                    <a:pt x="829071" y="612652"/>
                  </a:lnTo>
                  <a:lnTo>
                    <a:pt x="829313" y="612198"/>
                  </a:lnTo>
                  <a:lnTo>
                    <a:pt x="829676" y="611744"/>
                  </a:lnTo>
                  <a:lnTo>
                    <a:pt x="830221" y="611351"/>
                  </a:lnTo>
                  <a:lnTo>
                    <a:pt x="829918" y="611109"/>
                  </a:lnTo>
                  <a:lnTo>
                    <a:pt x="829827" y="611049"/>
                  </a:lnTo>
                  <a:lnTo>
                    <a:pt x="829767" y="610958"/>
                  </a:lnTo>
                  <a:lnTo>
                    <a:pt x="829555" y="610535"/>
                  </a:lnTo>
                  <a:lnTo>
                    <a:pt x="826106" y="613045"/>
                  </a:lnTo>
                  <a:lnTo>
                    <a:pt x="825380" y="611835"/>
                  </a:lnTo>
                  <a:lnTo>
                    <a:pt x="824956" y="611835"/>
                  </a:lnTo>
                  <a:lnTo>
                    <a:pt x="824049" y="612168"/>
                  </a:lnTo>
                  <a:lnTo>
                    <a:pt x="824745" y="610595"/>
                  </a:lnTo>
                  <a:lnTo>
                    <a:pt x="826046" y="609748"/>
                  </a:lnTo>
                  <a:lnTo>
                    <a:pt x="828859" y="608992"/>
                  </a:lnTo>
                  <a:lnTo>
                    <a:pt x="828647" y="607963"/>
                  </a:lnTo>
                  <a:lnTo>
                    <a:pt x="826742" y="608175"/>
                  </a:lnTo>
                  <a:lnTo>
                    <a:pt x="824352" y="609415"/>
                  </a:lnTo>
                  <a:lnTo>
                    <a:pt x="822688" y="611381"/>
                  </a:lnTo>
                  <a:lnTo>
                    <a:pt x="822688" y="610535"/>
                  </a:lnTo>
                  <a:lnTo>
                    <a:pt x="822052" y="611170"/>
                  </a:lnTo>
                  <a:lnTo>
                    <a:pt x="821780" y="611351"/>
                  </a:lnTo>
                  <a:lnTo>
                    <a:pt x="821326" y="611351"/>
                  </a:lnTo>
                  <a:lnTo>
                    <a:pt x="821236" y="612592"/>
                  </a:lnTo>
                  <a:lnTo>
                    <a:pt x="820298" y="613832"/>
                  </a:lnTo>
                  <a:lnTo>
                    <a:pt x="819209" y="615012"/>
                  </a:lnTo>
                  <a:lnTo>
                    <a:pt x="818543" y="616071"/>
                  </a:lnTo>
                  <a:lnTo>
                    <a:pt x="823353" y="616071"/>
                  </a:lnTo>
                  <a:lnTo>
                    <a:pt x="821811" y="617099"/>
                  </a:lnTo>
                  <a:close/>
                  <a:moveTo>
                    <a:pt x="527464" y="605815"/>
                  </a:moveTo>
                  <a:lnTo>
                    <a:pt x="526829" y="605724"/>
                  </a:lnTo>
                  <a:lnTo>
                    <a:pt x="524741" y="605815"/>
                  </a:lnTo>
                  <a:lnTo>
                    <a:pt x="525649" y="607933"/>
                  </a:lnTo>
                  <a:lnTo>
                    <a:pt x="527010" y="608931"/>
                  </a:lnTo>
                  <a:lnTo>
                    <a:pt x="528614" y="609536"/>
                  </a:lnTo>
                  <a:lnTo>
                    <a:pt x="530217" y="610535"/>
                  </a:lnTo>
                  <a:lnTo>
                    <a:pt x="532970" y="613045"/>
                  </a:lnTo>
                  <a:lnTo>
                    <a:pt x="534513" y="613560"/>
                  </a:lnTo>
                  <a:lnTo>
                    <a:pt x="537084" y="613711"/>
                  </a:lnTo>
                  <a:lnTo>
                    <a:pt x="537084" y="613015"/>
                  </a:lnTo>
                  <a:lnTo>
                    <a:pt x="535481" y="610504"/>
                  </a:lnTo>
                  <a:lnTo>
                    <a:pt x="527464" y="605815"/>
                  </a:lnTo>
                  <a:close/>
                  <a:moveTo>
                    <a:pt x="559440" y="599614"/>
                  </a:moveTo>
                  <a:lnTo>
                    <a:pt x="555447" y="599523"/>
                  </a:lnTo>
                  <a:lnTo>
                    <a:pt x="554479" y="599886"/>
                  </a:lnTo>
                  <a:lnTo>
                    <a:pt x="552452" y="601519"/>
                  </a:lnTo>
                  <a:lnTo>
                    <a:pt x="551272" y="601882"/>
                  </a:lnTo>
                  <a:lnTo>
                    <a:pt x="547521" y="608962"/>
                  </a:lnTo>
                  <a:lnTo>
                    <a:pt x="550092" y="609113"/>
                  </a:lnTo>
                  <a:lnTo>
                    <a:pt x="553753" y="606390"/>
                  </a:lnTo>
                  <a:lnTo>
                    <a:pt x="559167" y="601126"/>
                  </a:lnTo>
                  <a:lnTo>
                    <a:pt x="559077" y="600461"/>
                  </a:lnTo>
                  <a:lnTo>
                    <a:pt x="559167" y="599947"/>
                  </a:lnTo>
                  <a:lnTo>
                    <a:pt x="559440" y="599644"/>
                  </a:lnTo>
                  <a:close/>
                  <a:moveTo>
                    <a:pt x="215118" y="595621"/>
                  </a:moveTo>
                  <a:lnTo>
                    <a:pt x="214664" y="595862"/>
                  </a:lnTo>
                  <a:lnTo>
                    <a:pt x="214331" y="597103"/>
                  </a:lnTo>
                  <a:lnTo>
                    <a:pt x="213757" y="600400"/>
                  </a:lnTo>
                  <a:lnTo>
                    <a:pt x="215118" y="599553"/>
                  </a:lnTo>
                  <a:lnTo>
                    <a:pt x="215300" y="600552"/>
                  </a:lnTo>
                  <a:lnTo>
                    <a:pt x="215511" y="600915"/>
                  </a:lnTo>
                  <a:lnTo>
                    <a:pt x="215874" y="601187"/>
                  </a:lnTo>
                  <a:lnTo>
                    <a:pt x="216479" y="601913"/>
                  </a:lnTo>
                  <a:lnTo>
                    <a:pt x="216479" y="599493"/>
                  </a:lnTo>
                  <a:lnTo>
                    <a:pt x="216873" y="597648"/>
                  </a:lnTo>
                  <a:lnTo>
                    <a:pt x="216721" y="596377"/>
                  </a:lnTo>
                  <a:lnTo>
                    <a:pt x="215118" y="595651"/>
                  </a:lnTo>
                  <a:close/>
                  <a:moveTo>
                    <a:pt x="493794" y="593987"/>
                  </a:moveTo>
                  <a:lnTo>
                    <a:pt x="491707" y="594441"/>
                  </a:lnTo>
                  <a:lnTo>
                    <a:pt x="487865" y="596377"/>
                  </a:lnTo>
                  <a:lnTo>
                    <a:pt x="485445" y="595651"/>
                  </a:lnTo>
                  <a:lnTo>
                    <a:pt x="483720" y="594320"/>
                  </a:lnTo>
                  <a:lnTo>
                    <a:pt x="482420" y="593624"/>
                  </a:lnTo>
                  <a:lnTo>
                    <a:pt x="481270" y="594804"/>
                  </a:lnTo>
                  <a:lnTo>
                    <a:pt x="481270" y="595590"/>
                  </a:lnTo>
                  <a:lnTo>
                    <a:pt x="482268" y="596588"/>
                  </a:lnTo>
                  <a:lnTo>
                    <a:pt x="483115" y="597889"/>
                  </a:lnTo>
                  <a:lnTo>
                    <a:pt x="484114" y="598615"/>
                  </a:lnTo>
                  <a:lnTo>
                    <a:pt x="485505" y="597920"/>
                  </a:lnTo>
                  <a:lnTo>
                    <a:pt x="486383" y="598706"/>
                  </a:lnTo>
                  <a:lnTo>
                    <a:pt x="487320" y="600037"/>
                  </a:lnTo>
                  <a:lnTo>
                    <a:pt x="487623" y="601278"/>
                  </a:lnTo>
                  <a:lnTo>
                    <a:pt x="486534" y="601852"/>
                  </a:lnTo>
                  <a:lnTo>
                    <a:pt x="483085" y="601852"/>
                  </a:lnTo>
                  <a:lnTo>
                    <a:pt x="481149" y="600945"/>
                  </a:lnTo>
                  <a:lnTo>
                    <a:pt x="479969" y="597648"/>
                  </a:lnTo>
                  <a:lnTo>
                    <a:pt x="478578" y="597920"/>
                  </a:lnTo>
                  <a:lnTo>
                    <a:pt x="477731" y="597405"/>
                  </a:lnTo>
                  <a:lnTo>
                    <a:pt x="476974" y="596831"/>
                  </a:lnTo>
                  <a:lnTo>
                    <a:pt x="476339" y="596195"/>
                  </a:lnTo>
                  <a:lnTo>
                    <a:pt x="475825" y="595560"/>
                  </a:lnTo>
                  <a:lnTo>
                    <a:pt x="474887" y="596498"/>
                  </a:lnTo>
                  <a:lnTo>
                    <a:pt x="474070" y="598555"/>
                  </a:lnTo>
                  <a:lnTo>
                    <a:pt x="473072" y="599463"/>
                  </a:lnTo>
                  <a:lnTo>
                    <a:pt x="473526" y="599644"/>
                  </a:lnTo>
                  <a:lnTo>
                    <a:pt x="474463" y="600310"/>
                  </a:lnTo>
                  <a:lnTo>
                    <a:pt x="473980" y="600793"/>
                  </a:lnTo>
                  <a:lnTo>
                    <a:pt x="473556" y="601489"/>
                  </a:lnTo>
                  <a:lnTo>
                    <a:pt x="473102" y="601792"/>
                  </a:lnTo>
                  <a:lnTo>
                    <a:pt x="473556" y="603183"/>
                  </a:lnTo>
                  <a:lnTo>
                    <a:pt x="472709" y="605694"/>
                  </a:lnTo>
                  <a:lnTo>
                    <a:pt x="473132" y="607328"/>
                  </a:lnTo>
                  <a:lnTo>
                    <a:pt x="476914" y="605936"/>
                  </a:lnTo>
                  <a:lnTo>
                    <a:pt x="488984" y="605694"/>
                  </a:lnTo>
                  <a:lnTo>
                    <a:pt x="492372" y="604726"/>
                  </a:lnTo>
                  <a:lnTo>
                    <a:pt x="494308" y="603819"/>
                  </a:lnTo>
                  <a:lnTo>
                    <a:pt x="495156" y="602972"/>
                  </a:lnTo>
                  <a:lnTo>
                    <a:pt x="494853" y="596710"/>
                  </a:lnTo>
                  <a:lnTo>
                    <a:pt x="495156" y="595469"/>
                  </a:lnTo>
                  <a:lnTo>
                    <a:pt x="493885" y="593836"/>
                  </a:lnTo>
                  <a:close/>
                  <a:moveTo>
                    <a:pt x="505018" y="596377"/>
                  </a:moveTo>
                  <a:lnTo>
                    <a:pt x="506470" y="596014"/>
                  </a:lnTo>
                  <a:lnTo>
                    <a:pt x="507316" y="594441"/>
                  </a:lnTo>
                  <a:lnTo>
                    <a:pt x="507105" y="593231"/>
                  </a:lnTo>
                  <a:lnTo>
                    <a:pt x="506137" y="592293"/>
                  </a:lnTo>
                  <a:lnTo>
                    <a:pt x="504715" y="591628"/>
                  </a:lnTo>
                  <a:lnTo>
                    <a:pt x="504866" y="591143"/>
                  </a:lnTo>
                  <a:lnTo>
                    <a:pt x="504352" y="590962"/>
                  </a:lnTo>
                  <a:lnTo>
                    <a:pt x="502658" y="590962"/>
                  </a:lnTo>
                  <a:lnTo>
                    <a:pt x="501296" y="592505"/>
                  </a:lnTo>
                  <a:lnTo>
                    <a:pt x="503475" y="595258"/>
                  </a:lnTo>
                  <a:lnTo>
                    <a:pt x="504987" y="596437"/>
                  </a:lnTo>
                  <a:close/>
                  <a:moveTo>
                    <a:pt x="568576" y="599220"/>
                  </a:moveTo>
                  <a:lnTo>
                    <a:pt x="568455" y="599281"/>
                  </a:lnTo>
                  <a:lnTo>
                    <a:pt x="568243" y="599523"/>
                  </a:lnTo>
                  <a:lnTo>
                    <a:pt x="574777" y="605452"/>
                  </a:lnTo>
                  <a:lnTo>
                    <a:pt x="578317" y="607116"/>
                  </a:lnTo>
                  <a:lnTo>
                    <a:pt x="580525" y="604212"/>
                  </a:lnTo>
                  <a:lnTo>
                    <a:pt x="580525" y="603486"/>
                  </a:lnTo>
                  <a:lnTo>
                    <a:pt x="579950" y="602427"/>
                  </a:lnTo>
                  <a:lnTo>
                    <a:pt x="580041" y="601338"/>
                  </a:lnTo>
                  <a:lnTo>
                    <a:pt x="580737" y="600552"/>
                  </a:lnTo>
                  <a:lnTo>
                    <a:pt x="581977" y="600340"/>
                  </a:lnTo>
                  <a:lnTo>
                    <a:pt x="580979" y="598555"/>
                  </a:lnTo>
                  <a:lnTo>
                    <a:pt x="579406" y="597738"/>
                  </a:lnTo>
                  <a:lnTo>
                    <a:pt x="577591" y="597224"/>
                  </a:lnTo>
                  <a:lnTo>
                    <a:pt x="575806" y="596347"/>
                  </a:lnTo>
                  <a:lnTo>
                    <a:pt x="574626" y="595136"/>
                  </a:lnTo>
                  <a:lnTo>
                    <a:pt x="572962" y="592354"/>
                  </a:lnTo>
                  <a:lnTo>
                    <a:pt x="571692" y="590841"/>
                  </a:lnTo>
                  <a:lnTo>
                    <a:pt x="567245" y="593987"/>
                  </a:lnTo>
                  <a:lnTo>
                    <a:pt x="567456" y="594622"/>
                  </a:lnTo>
                  <a:lnTo>
                    <a:pt x="567184" y="596044"/>
                  </a:lnTo>
                  <a:lnTo>
                    <a:pt x="566670" y="597648"/>
                  </a:lnTo>
                  <a:lnTo>
                    <a:pt x="566125" y="598706"/>
                  </a:lnTo>
                  <a:lnTo>
                    <a:pt x="568062" y="598797"/>
                  </a:lnTo>
                  <a:lnTo>
                    <a:pt x="568939" y="598706"/>
                  </a:lnTo>
                  <a:lnTo>
                    <a:pt x="568727" y="599069"/>
                  </a:lnTo>
                  <a:lnTo>
                    <a:pt x="568606" y="599190"/>
                  </a:lnTo>
                  <a:close/>
                  <a:moveTo>
                    <a:pt x="210550" y="590690"/>
                  </a:moveTo>
                  <a:lnTo>
                    <a:pt x="210157" y="590357"/>
                  </a:lnTo>
                  <a:lnTo>
                    <a:pt x="209643" y="590085"/>
                  </a:lnTo>
                  <a:lnTo>
                    <a:pt x="208765" y="591325"/>
                  </a:lnTo>
                  <a:lnTo>
                    <a:pt x="208372" y="593080"/>
                  </a:lnTo>
                  <a:lnTo>
                    <a:pt x="208251" y="597163"/>
                  </a:lnTo>
                  <a:lnTo>
                    <a:pt x="208917" y="595862"/>
                  </a:lnTo>
                  <a:lnTo>
                    <a:pt x="209733" y="594713"/>
                  </a:lnTo>
                  <a:lnTo>
                    <a:pt x="210338" y="593654"/>
                  </a:lnTo>
                  <a:lnTo>
                    <a:pt x="210338" y="592444"/>
                  </a:lnTo>
                  <a:lnTo>
                    <a:pt x="210732" y="592202"/>
                  </a:lnTo>
                  <a:lnTo>
                    <a:pt x="211185" y="591839"/>
                  </a:lnTo>
                  <a:lnTo>
                    <a:pt x="211639" y="591628"/>
                  </a:lnTo>
                  <a:lnTo>
                    <a:pt x="211639" y="590901"/>
                  </a:lnTo>
                  <a:lnTo>
                    <a:pt x="211004" y="590901"/>
                  </a:lnTo>
                  <a:lnTo>
                    <a:pt x="210550" y="590720"/>
                  </a:lnTo>
                  <a:close/>
                  <a:moveTo>
                    <a:pt x="428512" y="585274"/>
                  </a:moveTo>
                  <a:lnTo>
                    <a:pt x="427755" y="585274"/>
                  </a:lnTo>
                  <a:lnTo>
                    <a:pt x="427755" y="586091"/>
                  </a:lnTo>
                  <a:lnTo>
                    <a:pt x="428512" y="586575"/>
                  </a:lnTo>
                  <a:lnTo>
                    <a:pt x="428965" y="586363"/>
                  </a:lnTo>
                  <a:lnTo>
                    <a:pt x="428814" y="585880"/>
                  </a:lnTo>
                  <a:lnTo>
                    <a:pt x="428512" y="585305"/>
                  </a:lnTo>
                  <a:close/>
                  <a:moveTo>
                    <a:pt x="497787" y="592384"/>
                  </a:moveTo>
                  <a:lnTo>
                    <a:pt x="500570" y="587755"/>
                  </a:lnTo>
                  <a:lnTo>
                    <a:pt x="501357" y="586938"/>
                  </a:lnTo>
                  <a:lnTo>
                    <a:pt x="501357" y="586152"/>
                  </a:lnTo>
                  <a:lnTo>
                    <a:pt x="500843" y="586031"/>
                  </a:lnTo>
                  <a:lnTo>
                    <a:pt x="500782" y="585880"/>
                  </a:lnTo>
                  <a:lnTo>
                    <a:pt x="500782" y="585698"/>
                  </a:lnTo>
                  <a:lnTo>
                    <a:pt x="500631" y="585365"/>
                  </a:lnTo>
                  <a:lnTo>
                    <a:pt x="499784" y="585970"/>
                  </a:lnTo>
                  <a:lnTo>
                    <a:pt x="499118" y="586061"/>
                  </a:lnTo>
                  <a:lnTo>
                    <a:pt x="498513" y="585819"/>
                  </a:lnTo>
                  <a:lnTo>
                    <a:pt x="497908" y="585335"/>
                  </a:lnTo>
                  <a:lnTo>
                    <a:pt x="496668" y="585002"/>
                  </a:lnTo>
                  <a:lnTo>
                    <a:pt x="495216" y="585365"/>
                  </a:lnTo>
                  <a:lnTo>
                    <a:pt x="493885" y="586091"/>
                  </a:lnTo>
                  <a:lnTo>
                    <a:pt x="493068" y="586908"/>
                  </a:lnTo>
                  <a:lnTo>
                    <a:pt x="492584" y="588239"/>
                  </a:lnTo>
                  <a:lnTo>
                    <a:pt x="492887" y="589026"/>
                  </a:lnTo>
                  <a:lnTo>
                    <a:pt x="493431" y="589812"/>
                  </a:lnTo>
                  <a:lnTo>
                    <a:pt x="493734" y="591174"/>
                  </a:lnTo>
                  <a:lnTo>
                    <a:pt x="494490" y="592020"/>
                  </a:lnTo>
                  <a:lnTo>
                    <a:pt x="496154" y="592505"/>
                  </a:lnTo>
                  <a:lnTo>
                    <a:pt x="497787" y="592323"/>
                  </a:lnTo>
                  <a:close/>
                  <a:moveTo>
                    <a:pt x="588179" y="582159"/>
                  </a:moveTo>
                  <a:lnTo>
                    <a:pt x="585759" y="583701"/>
                  </a:lnTo>
                  <a:lnTo>
                    <a:pt x="584095" y="585244"/>
                  </a:lnTo>
                  <a:lnTo>
                    <a:pt x="583369" y="586575"/>
                  </a:lnTo>
                  <a:lnTo>
                    <a:pt x="584488" y="587695"/>
                  </a:lnTo>
                  <a:lnTo>
                    <a:pt x="586848" y="587453"/>
                  </a:lnTo>
                  <a:lnTo>
                    <a:pt x="588844" y="586273"/>
                  </a:lnTo>
                  <a:lnTo>
                    <a:pt x="588905" y="583429"/>
                  </a:lnTo>
                  <a:lnTo>
                    <a:pt x="588693" y="583127"/>
                  </a:lnTo>
                  <a:lnTo>
                    <a:pt x="588149" y="583066"/>
                  </a:lnTo>
                  <a:lnTo>
                    <a:pt x="588875" y="582219"/>
                  </a:lnTo>
                  <a:lnTo>
                    <a:pt x="588149" y="582219"/>
                  </a:lnTo>
                  <a:close/>
                  <a:moveTo>
                    <a:pt x="753019" y="595106"/>
                  </a:moveTo>
                  <a:lnTo>
                    <a:pt x="755136" y="594804"/>
                  </a:lnTo>
                  <a:lnTo>
                    <a:pt x="761247" y="588875"/>
                  </a:lnTo>
                  <a:lnTo>
                    <a:pt x="763607" y="587543"/>
                  </a:lnTo>
                  <a:lnTo>
                    <a:pt x="774588" y="584670"/>
                  </a:lnTo>
                  <a:lnTo>
                    <a:pt x="777825" y="582975"/>
                  </a:lnTo>
                  <a:lnTo>
                    <a:pt x="776343" y="580828"/>
                  </a:lnTo>
                  <a:lnTo>
                    <a:pt x="771351" y="579678"/>
                  </a:lnTo>
                  <a:lnTo>
                    <a:pt x="770292" y="577833"/>
                  </a:lnTo>
                  <a:lnTo>
                    <a:pt x="768749" y="578287"/>
                  </a:lnTo>
                  <a:lnTo>
                    <a:pt x="758524" y="579769"/>
                  </a:lnTo>
                  <a:lnTo>
                    <a:pt x="748148" y="585728"/>
                  </a:lnTo>
                  <a:lnTo>
                    <a:pt x="747543" y="586515"/>
                  </a:lnTo>
                  <a:lnTo>
                    <a:pt x="744094" y="589298"/>
                  </a:lnTo>
                  <a:lnTo>
                    <a:pt x="742764" y="591688"/>
                  </a:lnTo>
                  <a:lnTo>
                    <a:pt x="741947" y="592747"/>
                  </a:lnTo>
                  <a:lnTo>
                    <a:pt x="740586" y="593987"/>
                  </a:lnTo>
                  <a:lnTo>
                    <a:pt x="738377" y="592777"/>
                  </a:lnTo>
                  <a:lnTo>
                    <a:pt x="737863" y="592414"/>
                  </a:lnTo>
                  <a:lnTo>
                    <a:pt x="737379" y="593049"/>
                  </a:lnTo>
                  <a:lnTo>
                    <a:pt x="736229" y="594169"/>
                  </a:lnTo>
                  <a:lnTo>
                    <a:pt x="735745" y="594804"/>
                  </a:lnTo>
                  <a:lnTo>
                    <a:pt x="734595" y="594259"/>
                  </a:lnTo>
                  <a:lnTo>
                    <a:pt x="733991" y="595923"/>
                  </a:lnTo>
                  <a:lnTo>
                    <a:pt x="733718" y="599947"/>
                  </a:lnTo>
                  <a:lnTo>
                    <a:pt x="734293" y="601096"/>
                  </a:lnTo>
                  <a:lnTo>
                    <a:pt x="735685" y="602639"/>
                  </a:lnTo>
                  <a:lnTo>
                    <a:pt x="737530" y="603909"/>
                  </a:lnTo>
                  <a:lnTo>
                    <a:pt x="739285" y="604242"/>
                  </a:lnTo>
                  <a:lnTo>
                    <a:pt x="738649" y="602760"/>
                  </a:lnTo>
                  <a:lnTo>
                    <a:pt x="738559" y="601156"/>
                  </a:lnTo>
                  <a:lnTo>
                    <a:pt x="739163" y="599947"/>
                  </a:lnTo>
                  <a:lnTo>
                    <a:pt x="740586" y="599523"/>
                  </a:lnTo>
                  <a:lnTo>
                    <a:pt x="739557" y="597103"/>
                  </a:lnTo>
                  <a:lnTo>
                    <a:pt x="741190" y="595621"/>
                  </a:lnTo>
                  <a:lnTo>
                    <a:pt x="746787" y="593140"/>
                  </a:lnTo>
                  <a:lnTo>
                    <a:pt x="748058" y="594017"/>
                  </a:lnTo>
                  <a:lnTo>
                    <a:pt x="750387" y="594743"/>
                  </a:lnTo>
                  <a:lnTo>
                    <a:pt x="752989" y="595076"/>
                  </a:lnTo>
                  <a:close/>
                  <a:moveTo>
                    <a:pt x="606662" y="581221"/>
                  </a:moveTo>
                  <a:lnTo>
                    <a:pt x="608599" y="581160"/>
                  </a:lnTo>
                  <a:lnTo>
                    <a:pt x="609657" y="579829"/>
                  </a:lnTo>
                  <a:lnTo>
                    <a:pt x="607146" y="577954"/>
                  </a:lnTo>
                  <a:lnTo>
                    <a:pt x="606178" y="577470"/>
                  </a:lnTo>
                  <a:lnTo>
                    <a:pt x="604938" y="578438"/>
                  </a:lnTo>
                  <a:lnTo>
                    <a:pt x="603668" y="578952"/>
                  </a:lnTo>
                  <a:lnTo>
                    <a:pt x="602639" y="579527"/>
                  </a:lnTo>
                  <a:lnTo>
                    <a:pt x="602034" y="580676"/>
                  </a:lnTo>
                  <a:lnTo>
                    <a:pt x="604333" y="580797"/>
                  </a:lnTo>
                  <a:lnTo>
                    <a:pt x="606662" y="581221"/>
                  </a:lnTo>
                  <a:close/>
                  <a:moveTo>
                    <a:pt x="385766" y="576320"/>
                  </a:moveTo>
                  <a:lnTo>
                    <a:pt x="385403" y="575564"/>
                  </a:lnTo>
                  <a:lnTo>
                    <a:pt x="384768" y="575412"/>
                  </a:lnTo>
                  <a:lnTo>
                    <a:pt x="385101" y="576320"/>
                  </a:lnTo>
                  <a:lnTo>
                    <a:pt x="385040" y="576865"/>
                  </a:lnTo>
                  <a:lnTo>
                    <a:pt x="385252" y="577016"/>
                  </a:lnTo>
                  <a:lnTo>
                    <a:pt x="385252" y="577228"/>
                  </a:lnTo>
                  <a:lnTo>
                    <a:pt x="385585" y="578014"/>
                  </a:lnTo>
                  <a:lnTo>
                    <a:pt x="386190" y="578287"/>
                  </a:lnTo>
                  <a:lnTo>
                    <a:pt x="386523" y="578014"/>
                  </a:lnTo>
                  <a:lnTo>
                    <a:pt x="386220" y="576804"/>
                  </a:lnTo>
                  <a:lnTo>
                    <a:pt x="385736" y="576320"/>
                  </a:lnTo>
                  <a:close/>
                  <a:moveTo>
                    <a:pt x="630682" y="589903"/>
                  </a:moveTo>
                  <a:lnTo>
                    <a:pt x="633495" y="585577"/>
                  </a:lnTo>
                  <a:lnTo>
                    <a:pt x="634796" y="584609"/>
                  </a:lnTo>
                  <a:lnTo>
                    <a:pt x="636218" y="584065"/>
                  </a:lnTo>
                  <a:lnTo>
                    <a:pt x="640483" y="581191"/>
                  </a:lnTo>
                  <a:lnTo>
                    <a:pt x="641996" y="579799"/>
                  </a:lnTo>
                  <a:lnTo>
                    <a:pt x="642994" y="580011"/>
                  </a:lnTo>
                  <a:lnTo>
                    <a:pt x="644628" y="579497"/>
                  </a:lnTo>
                  <a:lnTo>
                    <a:pt x="646443" y="579134"/>
                  </a:lnTo>
                  <a:lnTo>
                    <a:pt x="648198" y="579799"/>
                  </a:lnTo>
                  <a:lnTo>
                    <a:pt x="648500" y="579708"/>
                  </a:lnTo>
                  <a:lnTo>
                    <a:pt x="648742" y="579708"/>
                  </a:lnTo>
                  <a:lnTo>
                    <a:pt x="648924" y="579557"/>
                  </a:lnTo>
                  <a:lnTo>
                    <a:pt x="648863" y="579013"/>
                  </a:lnTo>
                  <a:lnTo>
                    <a:pt x="646866" y="578377"/>
                  </a:lnTo>
                  <a:lnTo>
                    <a:pt x="644991" y="577288"/>
                  </a:lnTo>
                  <a:lnTo>
                    <a:pt x="643327" y="575897"/>
                  </a:lnTo>
                  <a:lnTo>
                    <a:pt x="641996" y="574293"/>
                  </a:lnTo>
                  <a:lnTo>
                    <a:pt x="641240" y="574293"/>
                  </a:lnTo>
                  <a:lnTo>
                    <a:pt x="640423" y="575231"/>
                  </a:lnTo>
                  <a:lnTo>
                    <a:pt x="639243" y="575897"/>
                  </a:lnTo>
                  <a:lnTo>
                    <a:pt x="636460" y="576653"/>
                  </a:lnTo>
                  <a:lnTo>
                    <a:pt x="636460" y="577439"/>
                  </a:lnTo>
                  <a:lnTo>
                    <a:pt x="637247" y="577561"/>
                  </a:lnTo>
                  <a:lnTo>
                    <a:pt x="637670" y="577772"/>
                  </a:lnTo>
                  <a:lnTo>
                    <a:pt x="638003" y="578014"/>
                  </a:lnTo>
                  <a:lnTo>
                    <a:pt x="638577" y="578287"/>
                  </a:lnTo>
                  <a:lnTo>
                    <a:pt x="638577" y="579013"/>
                  </a:lnTo>
                  <a:lnTo>
                    <a:pt x="626991" y="584428"/>
                  </a:lnTo>
                  <a:lnTo>
                    <a:pt x="625872" y="584609"/>
                  </a:lnTo>
                  <a:lnTo>
                    <a:pt x="625721" y="585123"/>
                  </a:lnTo>
                  <a:lnTo>
                    <a:pt x="625872" y="586091"/>
                  </a:lnTo>
                  <a:lnTo>
                    <a:pt x="626477" y="586726"/>
                  </a:lnTo>
                  <a:lnTo>
                    <a:pt x="627626" y="586182"/>
                  </a:lnTo>
                  <a:lnTo>
                    <a:pt x="626235" y="588935"/>
                  </a:lnTo>
                  <a:lnTo>
                    <a:pt x="625842" y="589359"/>
                  </a:lnTo>
                  <a:lnTo>
                    <a:pt x="623573" y="589359"/>
                  </a:lnTo>
                  <a:lnTo>
                    <a:pt x="622695" y="589570"/>
                  </a:lnTo>
                  <a:lnTo>
                    <a:pt x="622000" y="590145"/>
                  </a:lnTo>
                  <a:lnTo>
                    <a:pt x="621304" y="590145"/>
                  </a:lnTo>
                  <a:lnTo>
                    <a:pt x="620154" y="589298"/>
                  </a:lnTo>
                  <a:lnTo>
                    <a:pt x="618672" y="589540"/>
                  </a:lnTo>
                  <a:lnTo>
                    <a:pt x="617341" y="590478"/>
                  </a:lnTo>
                  <a:lnTo>
                    <a:pt x="616585" y="591657"/>
                  </a:lnTo>
                  <a:lnTo>
                    <a:pt x="615163" y="590931"/>
                  </a:lnTo>
                  <a:lnTo>
                    <a:pt x="616827" y="593806"/>
                  </a:lnTo>
                  <a:lnTo>
                    <a:pt x="621183" y="593473"/>
                  </a:lnTo>
                  <a:lnTo>
                    <a:pt x="629321" y="590901"/>
                  </a:lnTo>
                  <a:lnTo>
                    <a:pt x="630712" y="589933"/>
                  </a:lnTo>
                  <a:close/>
                  <a:moveTo>
                    <a:pt x="545494" y="570784"/>
                  </a:moveTo>
                  <a:lnTo>
                    <a:pt x="547490" y="572418"/>
                  </a:lnTo>
                  <a:lnTo>
                    <a:pt x="548942" y="572720"/>
                  </a:lnTo>
                  <a:lnTo>
                    <a:pt x="548005" y="571419"/>
                  </a:lnTo>
                  <a:lnTo>
                    <a:pt x="547430" y="570844"/>
                  </a:lnTo>
                  <a:lnTo>
                    <a:pt x="546795" y="570330"/>
                  </a:lnTo>
                  <a:lnTo>
                    <a:pt x="547763" y="568455"/>
                  </a:lnTo>
                  <a:lnTo>
                    <a:pt x="549608" y="562405"/>
                  </a:lnTo>
                  <a:lnTo>
                    <a:pt x="548096" y="562405"/>
                  </a:lnTo>
                  <a:lnTo>
                    <a:pt x="546129" y="563282"/>
                  </a:lnTo>
                  <a:lnTo>
                    <a:pt x="544344" y="564734"/>
                  </a:lnTo>
                  <a:lnTo>
                    <a:pt x="543376" y="566367"/>
                  </a:lnTo>
                  <a:lnTo>
                    <a:pt x="543830" y="568546"/>
                  </a:lnTo>
                  <a:lnTo>
                    <a:pt x="545494" y="570815"/>
                  </a:lnTo>
                  <a:close/>
                  <a:moveTo>
                    <a:pt x="507468" y="569725"/>
                  </a:moveTo>
                  <a:lnTo>
                    <a:pt x="508436" y="572841"/>
                  </a:lnTo>
                  <a:lnTo>
                    <a:pt x="510130" y="576109"/>
                  </a:lnTo>
                  <a:lnTo>
                    <a:pt x="511612" y="578317"/>
                  </a:lnTo>
                  <a:lnTo>
                    <a:pt x="515091" y="574717"/>
                  </a:lnTo>
                  <a:lnTo>
                    <a:pt x="515424" y="574263"/>
                  </a:lnTo>
                  <a:lnTo>
                    <a:pt x="516846" y="573567"/>
                  </a:lnTo>
                  <a:lnTo>
                    <a:pt x="517148" y="573113"/>
                  </a:lnTo>
                  <a:lnTo>
                    <a:pt x="517027" y="572236"/>
                  </a:lnTo>
                  <a:lnTo>
                    <a:pt x="515696" y="568878"/>
                  </a:lnTo>
                  <a:lnTo>
                    <a:pt x="512127" y="564915"/>
                  </a:lnTo>
                  <a:lnTo>
                    <a:pt x="510947" y="563191"/>
                  </a:lnTo>
                  <a:lnTo>
                    <a:pt x="510251" y="563191"/>
                  </a:lnTo>
                  <a:lnTo>
                    <a:pt x="509434" y="563857"/>
                  </a:lnTo>
                  <a:lnTo>
                    <a:pt x="508466" y="563433"/>
                  </a:lnTo>
                  <a:lnTo>
                    <a:pt x="506076" y="561588"/>
                  </a:lnTo>
                  <a:lnTo>
                    <a:pt x="504685" y="561588"/>
                  </a:lnTo>
                  <a:lnTo>
                    <a:pt x="504685" y="562132"/>
                  </a:lnTo>
                  <a:lnTo>
                    <a:pt x="504806" y="562283"/>
                  </a:lnTo>
                  <a:lnTo>
                    <a:pt x="505018" y="562283"/>
                  </a:lnTo>
                  <a:lnTo>
                    <a:pt x="505441" y="562405"/>
                  </a:lnTo>
                  <a:lnTo>
                    <a:pt x="504866" y="563131"/>
                  </a:lnTo>
                  <a:lnTo>
                    <a:pt x="504745" y="563494"/>
                  </a:lnTo>
                  <a:lnTo>
                    <a:pt x="504685" y="564068"/>
                  </a:lnTo>
                  <a:lnTo>
                    <a:pt x="505895" y="564461"/>
                  </a:lnTo>
                  <a:lnTo>
                    <a:pt x="507075" y="566398"/>
                  </a:lnTo>
                  <a:lnTo>
                    <a:pt x="508133" y="567214"/>
                  </a:lnTo>
                  <a:lnTo>
                    <a:pt x="508133" y="568001"/>
                  </a:lnTo>
                  <a:lnTo>
                    <a:pt x="507407" y="569755"/>
                  </a:lnTo>
                  <a:close/>
                  <a:moveTo>
                    <a:pt x="733991" y="571994"/>
                  </a:moveTo>
                  <a:lnTo>
                    <a:pt x="733113" y="573507"/>
                  </a:lnTo>
                  <a:lnTo>
                    <a:pt x="734051" y="573356"/>
                  </a:lnTo>
                  <a:lnTo>
                    <a:pt x="734929" y="573870"/>
                  </a:lnTo>
                  <a:lnTo>
                    <a:pt x="735715" y="574777"/>
                  </a:lnTo>
                  <a:lnTo>
                    <a:pt x="736441" y="575806"/>
                  </a:lnTo>
                  <a:lnTo>
                    <a:pt x="737137" y="575140"/>
                  </a:lnTo>
                  <a:lnTo>
                    <a:pt x="737833" y="575231"/>
                  </a:lnTo>
                  <a:lnTo>
                    <a:pt x="738589" y="575594"/>
                  </a:lnTo>
                  <a:lnTo>
                    <a:pt x="739557" y="575806"/>
                  </a:lnTo>
                  <a:lnTo>
                    <a:pt x="740313" y="575382"/>
                  </a:lnTo>
                  <a:lnTo>
                    <a:pt x="740586" y="574445"/>
                  </a:lnTo>
                  <a:lnTo>
                    <a:pt x="740797" y="573386"/>
                  </a:lnTo>
                  <a:lnTo>
                    <a:pt x="741312" y="572720"/>
                  </a:lnTo>
                  <a:lnTo>
                    <a:pt x="744337" y="573597"/>
                  </a:lnTo>
                  <a:lnTo>
                    <a:pt x="746031" y="573597"/>
                  </a:lnTo>
                  <a:lnTo>
                    <a:pt x="746757" y="571934"/>
                  </a:lnTo>
                  <a:lnTo>
                    <a:pt x="746121" y="571934"/>
                  </a:lnTo>
                  <a:lnTo>
                    <a:pt x="746121" y="572720"/>
                  </a:lnTo>
                  <a:lnTo>
                    <a:pt x="745395" y="572720"/>
                  </a:lnTo>
                  <a:lnTo>
                    <a:pt x="745486" y="572176"/>
                  </a:lnTo>
                  <a:lnTo>
                    <a:pt x="745637" y="571843"/>
                  </a:lnTo>
                  <a:lnTo>
                    <a:pt x="746121" y="571056"/>
                  </a:lnTo>
                  <a:lnTo>
                    <a:pt x="745698" y="569695"/>
                  </a:lnTo>
                  <a:lnTo>
                    <a:pt x="746454" y="567668"/>
                  </a:lnTo>
                  <a:lnTo>
                    <a:pt x="746152" y="566307"/>
                  </a:lnTo>
                  <a:lnTo>
                    <a:pt x="745274" y="565793"/>
                  </a:lnTo>
                  <a:lnTo>
                    <a:pt x="744397" y="565793"/>
                  </a:lnTo>
                  <a:lnTo>
                    <a:pt x="743550" y="566216"/>
                  </a:lnTo>
                  <a:lnTo>
                    <a:pt x="742703" y="567184"/>
                  </a:lnTo>
                  <a:lnTo>
                    <a:pt x="742582" y="565339"/>
                  </a:lnTo>
                  <a:lnTo>
                    <a:pt x="741523" y="564583"/>
                  </a:lnTo>
                  <a:lnTo>
                    <a:pt x="740192" y="563887"/>
                  </a:lnTo>
                  <a:lnTo>
                    <a:pt x="739254" y="562374"/>
                  </a:lnTo>
                  <a:lnTo>
                    <a:pt x="740586" y="562374"/>
                  </a:lnTo>
                  <a:lnTo>
                    <a:pt x="740586" y="561557"/>
                  </a:lnTo>
                  <a:lnTo>
                    <a:pt x="732085" y="558260"/>
                  </a:lnTo>
                  <a:lnTo>
                    <a:pt x="730905" y="556838"/>
                  </a:lnTo>
                  <a:lnTo>
                    <a:pt x="730481" y="558472"/>
                  </a:lnTo>
                  <a:lnTo>
                    <a:pt x="730814" y="559016"/>
                  </a:lnTo>
                  <a:lnTo>
                    <a:pt x="731540" y="559258"/>
                  </a:lnTo>
                  <a:lnTo>
                    <a:pt x="732296" y="559984"/>
                  </a:lnTo>
                  <a:lnTo>
                    <a:pt x="733174" y="561799"/>
                  </a:lnTo>
                  <a:lnTo>
                    <a:pt x="733658" y="562405"/>
                  </a:lnTo>
                  <a:lnTo>
                    <a:pt x="734384" y="563161"/>
                  </a:lnTo>
                  <a:lnTo>
                    <a:pt x="734777" y="563009"/>
                  </a:lnTo>
                  <a:lnTo>
                    <a:pt x="735443" y="562646"/>
                  </a:lnTo>
                  <a:lnTo>
                    <a:pt x="736290" y="562525"/>
                  </a:lnTo>
                  <a:lnTo>
                    <a:pt x="737137" y="563191"/>
                  </a:lnTo>
                  <a:lnTo>
                    <a:pt x="737318" y="564038"/>
                  </a:lnTo>
                  <a:lnTo>
                    <a:pt x="737046" y="564794"/>
                  </a:lnTo>
                  <a:lnTo>
                    <a:pt x="736653" y="565369"/>
                  </a:lnTo>
                  <a:lnTo>
                    <a:pt x="736441" y="565611"/>
                  </a:lnTo>
                  <a:lnTo>
                    <a:pt x="735775" y="566700"/>
                  </a:lnTo>
                  <a:lnTo>
                    <a:pt x="734898" y="567940"/>
                  </a:lnTo>
                  <a:lnTo>
                    <a:pt x="734414" y="569332"/>
                  </a:lnTo>
                  <a:lnTo>
                    <a:pt x="735049" y="571056"/>
                  </a:lnTo>
                  <a:lnTo>
                    <a:pt x="734414" y="571480"/>
                  </a:lnTo>
                  <a:lnTo>
                    <a:pt x="733960" y="571964"/>
                  </a:lnTo>
                  <a:close/>
                  <a:moveTo>
                    <a:pt x="624753" y="551332"/>
                  </a:moveTo>
                  <a:lnTo>
                    <a:pt x="622242" y="552573"/>
                  </a:lnTo>
                  <a:lnTo>
                    <a:pt x="621002" y="552996"/>
                  </a:lnTo>
                  <a:lnTo>
                    <a:pt x="619307" y="552906"/>
                  </a:lnTo>
                  <a:lnTo>
                    <a:pt x="621334" y="556142"/>
                  </a:lnTo>
                  <a:lnTo>
                    <a:pt x="621697" y="555900"/>
                  </a:lnTo>
                  <a:lnTo>
                    <a:pt x="621788" y="555900"/>
                  </a:lnTo>
                  <a:lnTo>
                    <a:pt x="621788" y="555779"/>
                  </a:lnTo>
                  <a:lnTo>
                    <a:pt x="622030" y="555296"/>
                  </a:lnTo>
                  <a:lnTo>
                    <a:pt x="623210" y="556052"/>
                  </a:lnTo>
                  <a:lnTo>
                    <a:pt x="624208" y="556052"/>
                  </a:lnTo>
                  <a:lnTo>
                    <a:pt x="624964" y="555416"/>
                  </a:lnTo>
                  <a:lnTo>
                    <a:pt x="625509" y="554509"/>
                  </a:lnTo>
                  <a:lnTo>
                    <a:pt x="625025" y="554116"/>
                  </a:lnTo>
                  <a:lnTo>
                    <a:pt x="624147" y="552936"/>
                  </a:lnTo>
                  <a:lnTo>
                    <a:pt x="624511" y="552210"/>
                  </a:lnTo>
                  <a:lnTo>
                    <a:pt x="624783" y="551363"/>
                  </a:lnTo>
                  <a:close/>
                  <a:moveTo>
                    <a:pt x="561346" y="568515"/>
                  </a:moveTo>
                  <a:lnTo>
                    <a:pt x="564129" y="566640"/>
                  </a:lnTo>
                  <a:lnTo>
                    <a:pt x="565399" y="565550"/>
                  </a:lnTo>
                  <a:lnTo>
                    <a:pt x="566095" y="564764"/>
                  </a:lnTo>
                  <a:lnTo>
                    <a:pt x="566791" y="563615"/>
                  </a:lnTo>
                  <a:lnTo>
                    <a:pt x="567245" y="562616"/>
                  </a:lnTo>
                  <a:lnTo>
                    <a:pt x="567819" y="561890"/>
                  </a:lnTo>
                  <a:lnTo>
                    <a:pt x="568939" y="561588"/>
                  </a:lnTo>
                  <a:lnTo>
                    <a:pt x="568939" y="560892"/>
                  </a:lnTo>
                  <a:lnTo>
                    <a:pt x="567547" y="560892"/>
                  </a:lnTo>
                  <a:lnTo>
                    <a:pt x="567547" y="560015"/>
                  </a:lnTo>
                  <a:lnTo>
                    <a:pt x="568939" y="560015"/>
                  </a:lnTo>
                  <a:lnTo>
                    <a:pt x="568939" y="559228"/>
                  </a:lnTo>
                  <a:lnTo>
                    <a:pt x="567245" y="558502"/>
                  </a:lnTo>
                  <a:lnTo>
                    <a:pt x="567245" y="556868"/>
                  </a:lnTo>
                  <a:lnTo>
                    <a:pt x="568939" y="552936"/>
                  </a:lnTo>
                  <a:lnTo>
                    <a:pt x="569392" y="552301"/>
                  </a:lnTo>
                  <a:lnTo>
                    <a:pt x="569786" y="551484"/>
                  </a:lnTo>
                  <a:lnTo>
                    <a:pt x="570118" y="550606"/>
                  </a:lnTo>
                  <a:lnTo>
                    <a:pt x="570330" y="549729"/>
                  </a:lnTo>
                  <a:lnTo>
                    <a:pt x="568969" y="549639"/>
                  </a:lnTo>
                  <a:lnTo>
                    <a:pt x="567577" y="549729"/>
                  </a:lnTo>
                  <a:lnTo>
                    <a:pt x="568001" y="550909"/>
                  </a:lnTo>
                  <a:lnTo>
                    <a:pt x="568273" y="551363"/>
                  </a:lnTo>
                  <a:lnTo>
                    <a:pt x="566882" y="552936"/>
                  </a:lnTo>
                  <a:lnTo>
                    <a:pt x="564129" y="552512"/>
                  </a:lnTo>
                  <a:lnTo>
                    <a:pt x="563342" y="551726"/>
                  </a:lnTo>
                  <a:lnTo>
                    <a:pt x="564824" y="549699"/>
                  </a:lnTo>
                  <a:lnTo>
                    <a:pt x="561890" y="550606"/>
                  </a:lnTo>
                  <a:lnTo>
                    <a:pt x="558744" y="552301"/>
                  </a:lnTo>
                  <a:lnTo>
                    <a:pt x="555870" y="554479"/>
                  </a:lnTo>
                  <a:lnTo>
                    <a:pt x="554418" y="556415"/>
                  </a:lnTo>
                  <a:lnTo>
                    <a:pt x="555084" y="556294"/>
                  </a:lnTo>
                  <a:lnTo>
                    <a:pt x="555779" y="556475"/>
                  </a:lnTo>
                  <a:lnTo>
                    <a:pt x="556475" y="556899"/>
                  </a:lnTo>
                  <a:lnTo>
                    <a:pt x="553359" y="558653"/>
                  </a:lnTo>
                  <a:lnTo>
                    <a:pt x="552119" y="560015"/>
                  </a:lnTo>
                  <a:lnTo>
                    <a:pt x="551121" y="564461"/>
                  </a:lnTo>
                  <a:lnTo>
                    <a:pt x="551121" y="565793"/>
                  </a:lnTo>
                  <a:lnTo>
                    <a:pt x="551968" y="566398"/>
                  </a:lnTo>
                  <a:lnTo>
                    <a:pt x="553027" y="566761"/>
                  </a:lnTo>
                  <a:lnTo>
                    <a:pt x="555174" y="568425"/>
                  </a:lnTo>
                  <a:lnTo>
                    <a:pt x="556112" y="568818"/>
                  </a:lnTo>
                  <a:lnTo>
                    <a:pt x="559712" y="568969"/>
                  </a:lnTo>
                  <a:lnTo>
                    <a:pt x="561316" y="568546"/>
                  </a:lnTo>
                  <a:close/>
                  <a:moveTo>
                    <a:pt x="725671" y="554297"/>
                  </a:moveTo>
                  <a:lnTo>
                    <a:pt x="725671" y="555144"/>
                  </a:lnTo>
                  <a:lnTo>
                    <a:pt x="726942" y="555870"/>
                  </a:lnTo>
                  <a:lnTo>
                    <a:pt x="728092" y="555991"/>
                  </a:lnTo>
                  <a:lnTo>
                    <a:pt x="728938" y="555900"/>
                  </a:lnTo>
                  <a:lnTo>
                    <a:pt x="729483" y="555659"/>
                  </a:lnTo>
                  <a:lnTo>
                    <a:pt x="729483" y="555235"/>
                  </a:lnTo>
                  <a:lnTo>
                    <a:pt x="729937" y="555235"/>
                  </a:lnTo>
                  <a:lnTo>
                    <a:pt x="730663" y="555023"/>
                  </a:lnTo>
                  <a:lnTo>
                    <a:pt x="730663" y="553753"/>
                  </a:lnTo>
                  <a:lnTo>
                    <a:pt x="729755" y="552331"/>
                  </a:lnTo>
                  <a:lnTo>
                    <a:pt x="729120" y="551756"/>
                  </a:lnTo>
                  <a:lnTo>
                    <a:pt x="728908" y="550969"/>
                  </a:lnTo>
                  <a:lnTo>
                    <a:pt x="728334" y="549548"/>
                  </a:lnTo>
                  <a:lnTo>
                    <a:pt x="727335" y="548942"/>
                  </a:lnTo>
                  <a:lnTo>
                    <a:pt x="726307" y="548519"/>
                  </a:lnTo>
                  <a:lnTo>
                    <a:pt x="726519" y="547460"/>
                  </a:lnTo>
                  <a:lnTo>
                    <a:pt x="727214" y="546250"/>
                  </a:lnTo>
                  <a:lnTo>
                    <a:pt x="726882" y="545615"/>
                  </a:lnTo>
                  <a:lnTo>
                    <a:pt x="726004" y="545403"/>
                  </a:lnTo>
                  <a:lnTo>
                    <a:pt x="725369" y="545191"/>
                  </a:lnTo>
                  <a:lnTo>
                    <a:pt x="724976" y="544980"/>
                  </a:lnTo>
                  <a:lnTo>
                    <a:pt x="724582" y="544828"/>
                  </a:lnTo>
                  <a:lnTo>
                    <a:pt x="724189" y="544919"/>
                  </a:lnTo>
                  <a:lnTo>
                    <a:pt x="723614" y="544738"/>
                  </a:lnTo>
                  <a:lnTo>
                    <a:pt x="722707" y="544102"/>
                  </a:lnTo>
                  <a:lnTo>
                    <a:pt x="721920" y="544223"/>
                  </a:lnTo>
                  <a:lnTo>
                    <a:pt x="722011" y="545010"/>
                  </a:lnTo>
                  <a:lnTo>
                    <a:pt x="721708" y="545222"/>
                  </a:lnTo>
                  <a:lnTo>
                    <a:pt x="720317" y="545131"/>
                  </a:lnTo>
                  <a:lnTo>
                    <a:pt x="719167" y="546160"/>
                  </a:lnTo>
                  <a:lnTo>
                    <a:pt x="719530" y="547672"/>
                  </a:lnTo>
                  <a:lnTo>
                    <a:pt x="720740" y="548549"/>
                  </a:lnTo>
                  <a:lnTo>
                    <a:pt x="721436" y="549336"/>
                  </a:lnTo>
                  <a:lnTo>
                    <a:pt x="722586" y="549759"/>
                  </a:lnTo>
                  <a:lnTo>
                    <a:pt x="723644" y="550365"/>
                  </a:lnTo>
                  <a:lnTo>
                    <a:pt x="723372" y="551332"/>
                  </a:lnTo>
                  <a:lnTo>
                    <a:pt x="722979" y="552361"/>
                  </a:lnTo>
                  <a:lnTo>
                    <a:pt x="723675" y="553450"/>
                  </a:lnTo>
                  <a:lnTo>
                    <a:pt x="724945" y="553571"/>
                  </a:lnTo>
                  <a:lnTo>
                    <a:pt x="726276" y="552815"/>
                  </a:lnTo>
                  <a:lnTo>
                    <a:pt x="727214" y="552875"/>
                  </a:lnTo>
                  <a:lnTo>
                    <a:pt x="726821" y="553662"/>
                  </a:lnTo>
                  <a:lnTo>
                    <a:pt x="725702" y="554327"/>
                  </a:lnTo>
                  <a:close/>
                  <a:moveTo>
                    <a:pt x="593715" y="571934"/>
                  </a:moveTo>
                  <a:lnTo>
                    <a:pt x="595136" y="571389"/>
                  </a:lnTo>
                  <a:lnTo>
                    <a:pt x="595832" y="571238"/>
                  </a:lnTo>
                  <a:lnTo>
                    <a:pt x="596347" y="570815"/>
                  </a:lnTo>
                  <a:lnTo>
                    <a:pt x="599190" y="565187"/>
                  </a:lnTo>
                  <a:lnTo>
                    <a:pt x="599432" y="562646"/>
                  </a:lnTo>
                  <a:lnTo>
                    <a:pt x="600400" y="557897"/>
                  </a:lnTo>
                  <a:lnTo>
                    <a:pt x="600642" y="555719"/>
                  </a:lnTo>
                  <a:lnTo>
                    <a:pt x="600370" y="550758"/>
                  </a:lnTo>
                  <a:lnTo>
                    <a:pt x="599735" y="548670"/>
                  </a:lnTo>
                  <a:lnTo>
                    <a:pt x="598555" y="546583"/>
                  </a:lnTo>
                  <a:lnTo>
                    <a:pt x="596074" y="544828"/>
                  </a:lnTo>
                  <a:lnTo>
                    <a:pt x="594441" y="544042"/>
                  </a:lnTo>
                  <a:lnTo>
                    <a:pt x="593684" y="544556"/>
                  </a:lnTo>
                  <a:lnTo>
                    <a:pt x="593291" y="544919"/>
                  </a:lnTo>
                  <a:lnTo>
                    <a:pt x="591294" y="545101"/>
                  </a:lnTo>
                  <a:lnTo>
                    <a:pt x="590568" y="545403"/>
                  </a:lnTo>
                  <a:lnTo>
                    <a:pt x="589056" y="547853"/>
                  </a:lnTo>
                  <a:lnTo>
                    <a:pt x="588481" y="548549"/>
                  </a:lnTo>
                  <a:lnTo>
                    <a:pt x="581917" y="552936"/>
                  </a:lnTo>
                  <a:lnTo>
                    <a:pt x="578135" y="556959"/>
                  </a:lnTo>
                  <a:lnTo>
                    <a:pt x="577107" y="557685"/>
                  </a:lnTo>
                  <a:lnTo>
                    <a:pt x="576623" y="557141"/>
                  </a:lnTo>
                  <a:lnTo>
                    <a:pt x="576169" y="556989"/>
                  </a:lnTo>
                  <a:lnTo>
                    <a:pt x="575655" y="557171"/>
                  </a:lnTo>
                  <a:lnTo>
                    <a:pt x="575080" y="557685"/>
                  </a:lnTo>
                  <a:lnTo>
                    <a:pt x="575080" y="558381"/>
                  </a:lnTo>
                  <a:lnTo>
                    <a:pt x="576441" y="559016"/>
                  </a:lnTo>
                  <a:lnTo>
                    <a:pt x="577591" y="560378"/>
                  </a:lnTo>
                  <a:lnTo>
                    <a:pt x="579134" y="563221"/>
                  </a:lnTo>
                  <a:lnTo>
                    <a:pt x="579013" y="563433"/>
                  </a:lnTo>
                  <a:lnTo>
                    <a:pt x="578891" y="564159"/>
                  </a:lnTo>
                  <a:lnTo>
                    <a:pt x="578982" y="565097"/>
                  </a:lnTo>
                  <a:lnTo>
                    <a:pt x="579466" y="565974"/>
                  </a:lnTo>
                  <a:lnTo>
                    <a:pt x="580041" y="566730"/>
                  </a:lnTo>
                  <a:lnTo>
                    <a:pt x="580313" y="567456"/>
                  </a:lnTo>
                  <a:lnTo>
                    <a:pt x="580253" y="568152"/>
                  </a:lnTo>
                  <a:lnTo>
                    <a:pt x="579799" y="568788"/>
                  </a:lnTo>
                  <a:lnTo>
                    <a:pt x="582582" y="570361"/>
                  </a:lnTo>
                  <a:lnTo>
                    <a:pt x="583248" y="571087"/>
                  </a:lnTo>
                  <a:lnTo>
                    <a:pt x="583581" y="571964"/>
                  </a:lnTo>
                  <a:lnTo>
                    <a:pt x="584185" y="574263"/>
                  </a:lnTo>
                  <a:lnTo>
                    <a:pt x="584639" y="575110"/>
                  </a:lnTo>
                  <a:lnTo>
                    <a:pt x="585335" y="575806"/>
                  </a:lnTo>
                  <a:lnTo>
                    <a:pt x="585728" y="575957"/>
                  </a:lnTo>
                  <a:lnTo>
                    <a:pt x="585970" y="576683"/>
                  </a:lnTo>
                  <a:lnTo>
                    <a:pt x="587089" y="575987"/>
                  </a:lnTo>
                  <a:lnTo>
                    <a:pt x="588995" y="575534"/>
                  </a:lnTo>
                  <a:lnTo>
                    <a:pt x="590145" y="575110"/>
                  </a:lnTo>
                  <a:lnTo>
                    <a:pt x="593624" y="571964"/>
                  </a:lnTo>
                  <a:close/>
                  <a:moveTo>
                    <a:pt x="493703" y="552210"/>
                  </a:moveTo>
                  <a:lnTo>
                    <a:pt x="493915" y="550122"/>
                  </a:lnTo>
                  <a:lnTo>
                    <a:pt x="493915" y="547884"/>
                  </a:lnTo>
                  <a:lnTo>
                    <a:pt x="493643" y="545797"/>
                  </a:lnTo>
                  <a:lnTo>
                    <a:pt x="493038" y="544163"/>
                  </a:lnTo>
                  <a:lnTo>
                    <a:pt x="492463" y="543679"/>
                  </a:lnTo>
                  <a:lnTo>
                    <a:pt x="491888" y="543437"/>
                  </a:lnTo>
                  <a:lnTo>
                    <a:pt x="491374" y="543558"/>
                  </a:lnTo>
                  <a:lnTo>
                    <a:pt x="490920" y="544163"/>
                  </a:lnTo>
                  <a:lnTo>
                    <a:pt x="490255" y="544163"/>
                  </a:lnTo>
                  <a:lnTo>
                    <a:pt x="488954" y="543407"/>
                  </a:lnTo>
                  <a:lnTo>
                    <a:pt x="487199" y="543891"/>
                  </a:lnTo>
                  <a:lnTo>
                    <a:pt x="483993" y="545827"/>
                  </a:lnTo>
                  <a:lnTo>
                    <a:pt x="484749" y="546613"/>
                  </a:lnTo>
                  <a:lnTo>
                    <a:pt x="483842" y="546976"/>
                  </a:lnTo>
                  <a:lnTo>
                    <a:pt x="483630" y="547370"/>
                  </a:lnTo>
                  <a:lnTo>
                    <a:pt x="483962" y="548216"/>
                  </a:lnTo>
                  <a:lnTo>
                    <a:pt x="483115" y="548822"/>
                  </a:lnTo>
                  <a:lnTo>
                    <a:pt x="482631" y="549396"/>
                  </a:lnTo>
                  <a:lnTo>
                    <a:pt x="482692" y="549941"/>
                  </a:lnTo>
                  <a:lnTo>
                    <a:pt x="483418" y="550576"/>
                  </a:lnTo>
                  <a:lnTo>
                    <a:pt x="482541" y="551302"/>
                  </a:lnTo>
                  <a:lnTo>
                    <a:pt x="482268" y="551574"/>
                  </a:lnTo>
                  <a:lnTo>
                    <a:pt x="482601" y="552936"/>
                  </a:lnTo>
                  <a:lnTo>
                    <a:pt x="483176" y="552210"/>
                  </a:lnTo>
                  <a:lnTo>
                    <a:pt x="483811" y="551756"/>
                  </a:lnTo>
                  <a:lnTo>
                    <a:pt x="484568" y="551756"/>
                  </a:lnTo>
                  <a:lnTo>
                    <a:pt x="485414" y="552210"/>
                  </a:lnTo>
                  <a:lnTo>
                    <a:pt x="485929" y="551544"/>
                  </a:lnTo>
                  <a:lnTo>
                    <a:pt x="486292" y="551393"/>
                  </a:lnTo>
                  <a:lnTo>
                    <a:pt x="486564" y="551817"/>
                  </a:lnTo>
                  <a:lnTo>
                    <a:pt x="486776" y="552936"/>
                  </a:lnTo>
                  <a:lnTo>
                    <a:pt x="487623" y="552421"/>
                  </a:lnTo>
                  <a:lnTo>
                    <a:pt x="488470" y="552270"/>
                  </a:lnTo>
                  <a:lnTo>
                    <a:pt x="489347" y="552452"/>
                  </a:lnTo>
                  <a:lnTo>
                    <a:pt x="490225" y="552936"/>
                  </a:lnTo>
                  <a:lnTo>
                    <a:pt x="489922" y="553057"/>
                  </a:lnTo>
                  <a:lnTo>
                    <a:pt x="489680" y="553057"/>
                  </a:lnTo>
                  <a:lnTo>
                    <a:pt x="489499" y="553117"/>
                  </a:lnTo>
                  <a:lnTo>
                    <a:pt x="489559" y="553632"/>
                  </a:lnTo>
                  <a:lnTo>
                    <a:pt x="489862" y="553904"/>
                  </a:lnTo>
                  <a:lnTo>
                    <a:pt x="489952" y="554025"/>
                  </a:lnTo>
                  <a:lnTo>
                    <a:pt x="490013" y="554176"/>
                  </a:lnTo>
                  <a:lnTo>
                    <a:pt x="490255" y="554509"/>
                  </a:lnTo>
                  <a:lnTo>
                    <a:pt x="491223" y="553843"/>
                  </a:lnTo>
                  <a:lnTo>
                    <a:pt x="491949" y="553057"/>
                  </a:lnTo>
                  <a:lnTo>
                    <a:pt x="492312" y="551998"/>
                  </a:lnTo>
                  <a:lnTo>
                    <a:pt x="492312" y="550576"/>
                  </a:lnTo>
                  <a:lnTo>
                    <a:pt x="493038" y="550576"/>
                  </a:lnTo>
                  <a:lnTo>
                    <a:pt x="493673" y="552240"/>
                  </a:lnTo>
                  <a:close/>
                  <a:moveTo>
                    <a:pt x="354698" y="535239"/>
                  </a:moveTo>
                  <a:lnTo>
                    <a:pt x="353034" y="534331"/>
                  </a:lnTo>
                  <a:lnTo>
                    <a:pt x="352429" y="533877"/>
                  </a:lnTo>
                  <a:lnTo>
                    <a:pt x="351431" y="533968"/>
                  </a:lnTo>
                  <a:lnTo>
                    <a:pt x="350523" y="534240"/>
                  </a:lnTo>
                  <a:lnTo>
                    <a:pt x="349706" y="534755"/>
                  </a:lnTo>
                  <a:lnTo>
                    <a:pt x="349011" y="535481"/>
                  </a:lnTo>
                  <a:lnTo>
                    <a:pt x="350493" y="536691"/>
                  </a:lnTo>
                  <a:lnTo>
                    <a:pt x="351492" y="538022"/>
                  </a:lnTo>
                  <a:lnTo>
                    <a:pt x="352701" y="539080"/>
                  </a:lnTo>
                  <a:lnTo>
                    <a:pt x="354819" y="539504"/>
                  </a:lnTo>
                  <a:lnTo>
                    <a:pt x="355848" y="539020"/>
                  </a:lnTo>
                  <a:lnTo>
                    <a:pt x="356090" y="537901"/>
                  </a:lnTo>
                  <a:lnTo>
                    <a:pt x="355848" y="536691"/>
                  </a:lnTo>
                  <a:lnTo>
                    <a:pt x="355454" y="535874"/>
                  </a:lnTo>
                  <a:lnTo>
                    <a:pt x="354698" y="535239"/>
                  </a:lnTo>
                  <a:close/>
                  <a:moveTo>
                    <a:pt x="392149" y="527162"/>
                  </a:moveTo>
                  <a:lnTo>
                    <a:pt x="394600" y="526768"/>
                  </a:lnTo>
                  <a:lnTo>
                    <a:pt x="396990" y="525800"/>
                  </a:lnTo>
                  <a:lnTo>
                    <a:pt x="398593" y="524348"/>
                  </a:lnTo>
                  <a:lnTo>
                    <a:pt x="395144" y="524348"/>
                  </a:lnTo>
                  <a:lnTo>
                    <a:pt x="393087" y="525165"/>
                  </a:lnTo>
                  <a:lnTo>
                    <a:pt x="388550" y="525225"/>
                  </a:lnTo>
                  <a:lnTo>
                    <a:pt x="386129" y="525951"/>
                  </a:lnTo>
                  <a:lnTo>
                    <a:pt x="377145" y="531488"/>
                  </a:lnTo>
                  <a:lnTo>
                    <a:pt x="377145" y="532304"/>
                  </a:lnTo>
                  <a:lnTo>
                    <a:pt x="379383" y="532244"/>
                  </a:lnTo>
                  <a:lnTo>
                    <a:pt x="385131" y="530701"/>
                  </a:lnTo>
                  <a:lnTo>
                    <a:pt x="387400" y="530641"/>
                  </a:lnTo>
                  <a:lnTo>
                    <a:pt x="389487" y="530278"/>
                  </a:lnTo>
                  <a:lnTo>
                    <a:pt x="390697" y="529128"/>
                  </a:lnTo>
                  <a:lnTo>
                    <a:pt x="390334" y="526829"/>
                  </a:lnTo>
                  <a:lnTo>
                    <a:pt x="392180" y="527222"/>
                  </a:lnTo>
                  <a:close/>
                  <a:moveTo>
                    <a:pt x="701652" y="526133"/>
                  </a:moveTo>
                  <a:lnTo>
                    <a:pt x="701440" y="525679"/>
                  </a:lnTo>
                  <a:lnTo>
                    <a:pt x="700805" y="525074"/>
                  </a:lnTo>
                  <a:lnTo>
                    <a:pt x="699806" y="524439"/>
                  </a:lnTo>
                  <a:lnTo>
                    <a:pt x="698597" y="523925"/>
                  </a:lnTo>
                  <a:lnTo>
                    <a:pt x="697386" y="524197"/>
                  </a:lnTo>
                  <a:lnTo>
                    <a:pt x="696267" y="524076"/>
                  </a:lnTo>
                  <a:lnTo>
                    <a:pt x="695390" y="524136"/>
                  </a:lnTo>
                  <a:lnTo>
                    <a:pt x="695118" y="525528"/>
                  </a:lnTo>
                  <a:lnTo>
                    <a:pt x="695329" y="527101"/>
                  </a:lnTo>
                  <a:lnTo>
                    <a:pt x="695632" y="528129"/>
                  </a:lnTo>
                  <a:lnTo>
                    <a:pt x="695481" y="528916"/>
                  </a:lnTo>
                  <a:lnTo>
                    <a:pt x="695118" y="529642"/>
                  </a:lnTo>
                  <a:lnTo>
                    <a:pt x="694573" y="532486"/>
                  </a:lnTo>
                  <a:lnTo>
                    <a:pt x="694996" y="533514"/>
                  </a:lnTo>
                  <a:lnTo>
                    <a:pt x="696207" y="533908"/>
                  </a:lnTo>
                  <a:lnTo>
                    <a:pt x="696479" y="534452"/>
                  </a:lnTo>
                  <a:lnTo>
                    <a:pt x="696388" y="535209"/>
                  </a:lnTo>
                  <a:lnTo>
                    <a:pt x="697477" y="535904"/>
                  </a:lnTo>
                  <a:lnTo>
                    <a:pt x="698536" y="535511"/>
                  </a:lnTo>
                  <a:lnTo>
                    <a:pt x="698294" y="531608"/>
                  </a:lnTo>
                  <a:lnTo>
                    <a:pt x="697144" y="530278"/>
                  </a:lnTo>
                  <a:lnTo>
                    <a:pt x="696630" y="529491"/>
                  </a:lnTo>
                  <a:lnTo>
                    <a:pt x="697235" y="529430"/>
                  </a:lnTo>
                  <a:lnTo>
                    <a:pt x="697598" y="529128"/>
                  </a:lnTo>
                  <a:lnTo>
                    <a:pt x="697749" y="528583"/>
                  </a:lnTo>
                  <a:lnTo>
                    <a:pt x="698143" y="527736"/>
                  </a:lnTo>
                  <a:lnTo>
                    <a:pt x="699020" y="527101"/>
                  </a:lnTo>
                  <a:lnTo>
                    <a:pt x="699897" y="527162"/>
                  </a:lnTo>
                  <a:lnTo>
                    <a:pt x="700260" y="527283"/>
                  </a:lnTo>
                  <a:lnTo>
                    <a:pt x="700623" y="527373"/>
                  </a:lnTo>
                  <a:lnTo>
                    <a:pt x="701289" y="527736"/>
                  </a:lnTo>
                  <a:lnTo>
                    <a:pt x="701833" y="528220"/>
                  </a:lnTo>
                  <a:lnTo>
                    <a:pt x="702378" y="527978"/>
                  </a:lnTo>
                  <a:lnTo>
                    <a:pt x="702136" y="526829"/>
                  </a:lnTo>
                  <a:lnTo>
                    <a:pt x="701652" y="526133"/>
                  </a:lnTo>
                  <a:close/>
                  <a:moveTo>
                    <a:pt x="478941" y="525467"/>
                  </a:moveTo>
                  <a:lnTo>
                    <a:pt x="478063" y="527343"/>
                  </a:lnTo>
                  <a:lnTo>
                    <a:pt x="477156" y="531427"/>
                  </a:lnTo>
                  <a:lnTo>
                    <a:pt x="479274" y="530913"/>
                  </a:lnTo>
                  <a:lnTo>
                    <a:pt x="481573" y="529763"/>
                  </a:lnTo>
                  <a:lnTo>
                    <a:pt x="483357" y="528039"/>
                  </a:lnTo>
                  <a:lnTo>
                    <a:pt x="484749" y="526768"/>
                  </a:lnTo>
                  <a:lnTo>
                    <a:pt x="484991" y="524923"/>
                  </a:lnTo>
                  <a:lnTo>
                    <a:pt x="485657" y="522866"/>
                  </a:lnTo>
                  <a:lnTo>
                    <a:pt x="486715" y="521595"/>
                  </a:lnTo>
                  <a:lnTo>
                    <a:pt x="488167" y="522019"/>
                  </a:lnTo>
                  <a:lnTo>
                    <a:pt x="488651" y="519508"/>
                  </a:lnTo>
                  <a:lnTo>
                    <a:pt x="487320" y="517753"/>
                  </a:lnTo>
                  <a:lnTo>
                    <a:pt x="483418" y="515606"/>
                  </a:lnTo>
                  <a:lnTo>
                    <a:pt x="483811" y="515061"/>
                  </a:lnTo>
                  <a:lnTo>
                    <a:pt x="484477" y="513427"/>
                  </a:lnTo>
                  <a:lnTo>
                    <a:pt x="484719" y="512520"/>
                  </a:lnTo>
                  <a:lnTo>
                    <a:pt x="484719" y="510856"/>
                  </a:lnTo>
                  <a:lnTo>
                    <a:pt x="483962" y="510856"/>
                  </a:lnTo>
                  <a:lnTo>
                    <a:pt x="482268" y="512641"/>
                  </a:lnTo>
                  <a:lnTo>
                    <a:pt x="479878" y="514335"/>
                  </a:lnTo>
                  <a:lnTo>
                    <a:pt x="477791" y="516483"/>
                  </a:lnTo>
                  <a:lnTo>
                    <a:pt x="477095" y="519568"/>
                  </a:lnTo>
                  <a:lnTo>
                    <a:pt x="478759" y="518994"/>
                  </a:lnTo>
                  <a:lnTo>
                    <a:pt x="479788" y="519568"/>
                  </a:lnTo>
                  <a:lnTo>
                    <a:pt x="479969" y="520779"/>
                  </a:lnTo>
                  <a:lnTo>
                    <a:pt x="479122" y="522019"/>
                  </a:lnTo>
                  <a:lnTo>
                    <a:pt x="479122" y="522745"/>
                  </a:lnTo>
                  <a:lnTo>
                    <a:pt x="479606" y="522957"/>
                  </a:lnTo>
                  <a:lnTo>
                    <a:pt x="480030" y="523350"/>
                  </a:lnTo>
                  <a:lnTo>
                    <a:pt x="480483" y="523592"/>
                  </a:lnTo>
                  <a:lnTo>
                    <a:pt x="480483" y="524318"/>
                  </a:lnTo>
                  <a:lnTo>
                    <a:pt x="478820" y="525437"/>
                  </a:lnTo>
                  <a:close/>
                  <a:moveTo>
                    <a:pt x="579254" y="518661"/>
                  </a:moveTo>
                  <a:lnTo>
                    <a:pt x="580525" y="518842"/>
                  </a:lnTo>
                  <a:lnTo>
                    <a:pt x="581251" y="518842"/>
                  </a:lnTo>
                  <a:lnTo>
                    <a:pt x="581766" y="516664"/>
                  </a:lnTo>
                  <a:lnTo>
                    <a:pt x="583338" y="516150"/>
                  </a:lnTo>
                  <a:lnTo>
                    <a:pt x="585244" y="516150"/>
                  </a:lnTo>
                  <a:lnTo>
                    <a:pt x="586726" y="515575"/>
                  </a:lnTo>
                  <a:lnTo>
                    <a:pt x="587332" y="514577"/>
                  </a:lnTo>
                  <a:lnTo>
                    <a:pt x="587574" y="513579"/>
                  </a:lnTo>
                  <a:lnTo>
                    <a:pt x="587301" y="512822"/>
                  </a:lnTo>
                  <a:lnTo>
                    <a:pt x="585365" y="512247"/>
                  </a:lnTo>
                  <a:lnTo>
                    <a:pt x="584639" y="511673"/>
                  </a:lnTo>
                  <a:lnTo>
                    <a:pt x="584095" y="511098"/>
                  </a:lnTo>
                  <a:lnTo>
                    <a:pt x="583701" y="510856"/>
                  </a:lnTo>
                  <a:lnTo>
                    <a:pt x="580525" y="510039"/>
                  </a:lnTo>
                  <a:lnTo>
                    <a:pt x="579557" y="510523"/>
                  </a:lnTo>
                  <a:lnTo>
                    <a:pt x="579194" y="512883"/>
                  </a:lnTo>
                  <a:lnTo>
                    <a:pt x="578710" y="513125"/>
                  </a:lnTo>
                  <a:lnTo>
                    <a:pt x="575775" y="508406"/>
                  </a:lnTo>
                  <a:lnTo>
                    <a:pt x="574747" y="509404"/>
                  </a:lnTo>
                  <a:lnTo>
                    <a:pt x="573416" y="509918"/>
                  </a:lnTo>
                  <a:lnTo>
                    <a:pt x="572236" y="510705"/>
                  </a:lnTo>
                  <a:lnTo>
                    <a:pt x="571661" y="512520"/>
                  </a:lnTo>
                  <a:lnTo>
                    <a:pt x="573234" y="512701"/>
                  </a:lnTo>
                  <a:lnTo>
                    <a:pt x="573628" y="513639"/>
                  </a:lnTo>
                  <a:lnTo>
                    <a:pt x="573113" y="516392"/>
                  </a:lnTo>
                  <a:lnTo>
                    <a:pt x="572841" y="516483"/>
                  </a:lnTo>
                  <a:lnTo>
                    <a:pt x="572357" y="516483"/>
                  </a:lnTo>
                  <a:lnTo>
                    <a:pt x="571904" y="516755"/>
                  </a:lnTo>
                  <a:lnTo>
                    <a:pt x="571661" y="517632"/>
                  </a:lnTo>
                  <a:lnTo>
                    <a:pt x="571752" y="518116"/>
                  </a:lnTo>
                  <a:lnTo>
                    <a:pt x="571843" y="518298"/>
                  </a:lnTo>
                  <a:lnTo>
                    <a:pt x="571904" y="518661"/>
                  </a:lnTo>
                  <a:lnTo>
                    <a:pt x="571661" y="519568"/>
                  </a:lnTo>
                  <a:lnTo>
                    <a:pt x="579254" y="518661"/>
                  </a:lnTo>
                  <a:close/>
                  <a:moveTo>
                    <a:pt x="537356" y="520053"/>
                  </a:moveTo>
                  <a:lnTo>
                    <a:pt x="537114" y="518842"/>
                  </a:lnTo>
                  <a:lnTo>
                    <a:pt x="536661" y="518056"/>
                  </a:lnTo>
                  <a:lnTo>
                    <a:pt x="535965" y="517511"/>
                  </a:lnTo>
                  <a:lnTo>
                    <a:pt x="535329" y="517148"/>
                  </a:lnTo>
                  <a:lnTo>
                    <a:pt x="535057" y="516846"/>
                  </a:lnTo>
                  <a:lnTo>
                    <a:pt x="535269" y="515938"/>
                  </a:lnTo>
                  <a:lnTo>
                    <a:pt x="536237" y="514879"/>
                  </a:lnTo>
                  <a:lnTo>
                    <a:pt x="536479" y="514063"/>
                  </a:lnTo>
                  <a:lnTo>
                    <a:pt x="536237" y="512792"/>
                  </a:lnTo>
                  <a:lnTo>
                    <a:pt x="535541" y="511068"/>
                  </a:lnTo>
                  <a:lnTo>
                    <a:pt x="534603" y="509434"/>
                  </a:lnTo>
                  <a:lnTo>
                    <a:pt x="533696" y="508466"/>
                  </a:lnTo>
                  <a:lnTo>
                    <a:pt x="531215" y="508164"/>
                  </a:lnTo>
                  <a:lnTo>
                    <a:pt x="530247" y="508164"/>
                  </a:lnTo>
                  <a:lnTo>
                    <a:pt x="530338" y="509192"/>
                  </a:lnTo>
                  <a:lnTo>
                    <a:pt x="530943" y="511733"/>
                  </a:lnTo>
                  <a:lnTo>
                    <a:pt x="530943" y="513397"/>
                  </a:lnTo>
                  <a:lnTo>
                    <a:pt x="530519" y="515394"/>
                  </a:lnTo>
                  <a:lnTo>
                    <a:pt x="529370" y="516937"/>
                  </a:lnTo>
                  <a:lnTo>
                    <a:pt x="527494" y="517330"/>
                  </a:lnTo>
                  <a:lnTo>
                    <a:pt x="528462" y="517904"/>
                  </a:lnTo>
                  <a:lnTo>
                    <a:pt x="528855" y="518056"/>
                  </a:lnTo>
                  <a:lnTo>
                    <a:pt x="528069" y="518631"/>
                  </a:lnTo>
                  <a:lnTo>
                    <a:pt x="527464" y="519327"/>
                  </a:lnTo>
                  <a:lnTo>
                    <a:pt x="527071" y="520173"/>
                  </a:lnTo>
                  <a:lnTo>
                    <a:pt x="526799" y="521232"/>
                  </a:lnTo>
                  <a:lnTo>
                    <a:pt x="528855" y="521293"/>
                  </a:lnTo>
                  <a:lnTo>
                    <a:pt x="529521" y="521232"/>
                  </a:lnTo>
                  <a:lnTo>
                    <a:pt x="529521" y="522079"/>
                  </a:lnTo>
                  <a:lnTo>
                    <a:pt x="529128" y="522654"/>
                  </a:lnTo>
                  <a:lnTo>
                    <a:pt x="528886" y="523320"/>
                  </a:lnTo>
                  <a:lnTo>
                    <a:pt x="528795" y="524136"/>
                  </a:lnTo>
                  <a:lnTo>
                    <a:pt x="528855" y="525286"/>
                  </a:lnTo>
                  <a:lnTo>
                    <a:pt x="530308" y="524318"/>
                  </a:lnTo>
                  <a:lnTo>
                    <a:pt x="536358" y="521383"/>
                  </a:lnTo>
                  <a:lnTo>
                    <a:pt x="537114" y="520809"/>
                  </a:lnTo>
                  <a:lnTo>
                    <a:pt x="537326" y="520113"/>
                  </a:lnTo>
                  <a:close/>
                  <a:moveTo>
                    <a:pt x="388005" y="502779"/>
                  </a:moveTo>
                  <a:lnTo>
                    <a:pt x="387581" y="502870"/>
                  </a:lnTo>
                  <a:lnTo>
                    <a:pt x="387370" y="504624"/>
                  </a:lnTo>
                  <a:lnTo>
                    <a:pt x="386281" y="505441"/>
                  </a:lnTo>
                  <a:lnTo>
                    <a:pt x="383437" y="506107"/>
                  </a:lnTo>
                  <a:lnTo>
                    <a:pt x="383437" y="506833"/>
                  </a:lnTo>
                  <a:lnTo>
                    <a:pt x="385403" y="507922"/>
                  </a:lnTo>
                  <a:lnTo>
                    <a:pt x="387944" y="508254"/>
                  </a:lnTo>
                  <a:lnTo>
                    <a:pt x="390485" y="507861"/>
                  </a:lnTo>
                  <a:lnTo>
                    <a:pt x="392422" y="506833"/>
                  </a:lnTo>
                  <a:lnTo>
                    <a:pt x="392422" y="506107"/>
                  </a:lnTo>
                  <a:lnTo>
                    <a:pt x="391000" y="505986"/>
                  </a:lnTo>
                  <a:lnTo>
                    <a:pt x="389911" y="505562"/>
                  </a:lnTo>
                  <a:lnTo>
                    <a:pt x="389033" y="504806"/>
                  </a:lnTo>
                  <a:lnTo>
                    <a:pt x="388247" y="503656"/>
                  </a:lnTo>
                  <a:lnTo>
                    <a:pt x="388156" y="503293"/>
                  </a:lnTo>
                  <a:lnTo>
                    <a:pt x="388156" y="502960"/>
                  </a:lnTo>
                  <a:lnTo>
                    <a:pt x="388005" y="502779"/>
                  </a:lnTo>
                  <a:close/>
                  <a:moveTo>
                    <a:pt x="514728" y="494702"/>
                  </a:moveTo>
                  <a:lnTo>
                    <a:pt x="513911" y="493976"/>
                  </a:lnTo>
                  <a:lnTo>
                    <a:pt x="512217" y="494097"/>
                  </a:lnTo>
                  <a:lnTo>
                    <a:pt x="510977" y="494853"/>
                  </a:lnTo>
                  <a:lnTo>
                    <a:pt x="509979" y="495972"/>
                  </a:lnTo>
                  <a:lnTo>
                    <a:pt x="508375" y="496638"/>
                  </a:lnTo>
                  <a:lnTo>
                    <a:pt x="506560" y="496940"/>
                  </a:lnTo>
                  <a:lnTo>
                    <a:pt x="507831" y="497666"/>
                  </a:lnTo>
                  <a:lnTo>
                    <a:pt x="512429" y="498483"/>
                  </a:lnTo>
                  <a:lnTo>
                    <a:pt x="514758" y="498241"/>
                  </a:lnTo>
                  <a:lnTo>
                    <a:pt x="514426" y="496819"/>
                  </a:lnTo>
                  <a:lnTo>
                    <a:pt x="514607" y="496124"/>
                  </a:lnTo>
                  <a:lnTo>
                    <a:pt x="514758" y="494732"/>
                  </a:lnTo>
                  <a:close/>
                  <a:moveTo>
                    <a:pt x="539897" y="492372"/>
                  </a:moveTo>
                  <a:lnTo>
                    <a:pt x="540593" y="493310"/>
                  </a:lnTo>
                  <a:lnTo>
                    <a:pt x="541682" y="494006"/>
                  </a:lnTo>
                  <a:lnTo>
                    <a:pt x="545524" y="495700"/>
                  </a:lnTo>
                  <a:lnTo>
                    <a:pt x="548912" y="499240"/>
                  </a:lnTo>
                  <a:lnTo>
                    <a:pt x="550001" y="499724"/>
                  </a:lnTo>
                  <a:lnTo>
                    <a:pt x="551211" y="500207"/>
                  </a:lnTo>
                  <a:lnTo>
                    <a:pt x="552452" y="502325"/>
                  </a:lnTo>
                  <a:lnTo>
                    <a:pt x="553450" y="502839"/>
                  </a:lnTo>
                  <a:lnTo>
                    <a:pt x="555114" y="503202"/>
                  </a:lnTo>
                  <a:lnTo>
                    <a:pt x="557897" y="504836"/>
                  </a:lnTo>
                  <a:lnTo>
                    <a:pt x="562525" y="505501"/>
                  </a:lnTo>
                  <a:lnTo>
                    <a:pt x="563675" y="504987"/>
                  </a:lnTo>
                  <a:lnTo>
                    <a:pt x="564401" y="502022"/>
                  </a:lnTo>
                  <a:lnTo>
                    <a:pt x="566882" y="498846"/>
                  </a:lnTo>
                  <a:lnTo>
                    <a:pt x="566610" y="497666"/>
                  </a:lnTo>
                  <a:lnTo>
                    <a:pt x="566216" y="496668"/>
                  </a:lnTo>
                  <a:lnTo>
                    <a:pt x="565672" y="495942"/>
                  </a:lnTo>
                  <a:lnTo>
                    <a:pt x="564794" y="495670"/>
                  </a:lnTo>
                  <a:lnTo>
                    <a:pt x="565490" y="494853"/>
                  </a:lnTo>
                  <a:lnTo>
                    <a:pt x="563221" y="494218"/>
                  </a:lnTo>
                  <a:lnTo>
                    <a:pt x="560166" y="492887"/>
                  </a:lnTo>
                  <a:lnTo>
                    <a:pt x="557352" y="492372"/>
                  </a:lnTo>
                  <a:lnTo>
                    <a:pt x="555810" y="494097"/>
                  </a:lnTo>
                  <a:lnTo>
                    <a:pt x="554842" y="492735"/>
                  </a:lnTo>
                  <a:lnTo>
                    <a:pt x="553117" y="491707"/>
                  </a:lnTo>
                  <a:lnTo>
                    <a:pt x="551211" y="491465"/>
                  </a:lnTo>
                  <a:lnTo>
                    <a:pt x="549608" y="492524"/>
                  </a:lnTo>
                  <a:lnTo>
                    <a:pt x="549124" y="491858"/>
                  </a:lnTo>
                  <a:lnTo>
                    <a:pt x="548549" y="491344"/>
                  </a:lnTo>
                  <a:lnTo>
                    <a:pt x="547823" y="491011"/>
                  </a:lnTo>
                  <a:lnTo>
                    <a:pt x="546795" y="490951"/>
                  </a:lnTo>
                  <a:lnTo>
                    <a:pt x="546795" y="490134"/>
                  </a:lnTo>
                  <a:lnTo>
                    <a:pt x="547551" y="490134"/>
                  </a:lnTo>
                  <a:lnTo>
                    <a:pt x="547551" y="489287"/>
                  </a:lnTo>
                  <a:lnTo>
                    <a:pt x="546583" y="488742"/>
                  </a:lnTo>
                  <a:lnTo>
                    <a:pt x="546099" y="488561"/>
                  </a:lnTo>
                  <a:lnTo>
                    <a:pt x="540533" y="488198"/>
                  </a:lnTo>
                  <a:lnTo>
                    <a:pt x="539202" y="488561"/>
                  </a:lnTo>
                  <a:lnTo>
                    <a:pt x="538869" y="489559"/>
                  </a:lnTo>
                  <a:lnTo>
                    <a:pt x="539171" y="490981"/>
                  </a:lnTo>
                  <a:lnTo>
                    <a:pt x="539837" y="492403"/>
                  </a:lnTo>
                  <a:close/>
                  <a:moveTo>
                    <a:pt x="467899" y="505683"/>
                  </a:moveTo>
                  <a:lnTo>
                    <a:pt x="469714" y="506379"/>
                  </a:lnTo>
                  <a:lnTo>
                    <a:pt x="471680" y="504927"/>
                  </a:lnTo>
                  <a:lnTo>
                    <a:pt x="474463" y="501296"/>
                  </a:lnTo>
                  <a:lnTo>
                    <a:pt x="477428" y="498302"/>
                  </a:lnTo>
                  <a:lnTo>
                    <a:pt x="480000" y="494883"/>
                  </a:lnTo>
                  <a:lnTo>
                    <a:pt x="480695" y="491283"/>
                  </a:lnTo>
                  <a:lnTo>
                    <a:pt x="477912" y="487714"/>
                  </a:lnTo>
                  <a:lnTo>
                    <a:pt x="477337" y="487804"/>
                  </a:lnTo>
                  <a:lnTo>
                    <a:pt x="476884" y="487714"/>
                  </a:lnTo>
                  <a:lnTo>
                    <a:pt x="476581" y="487835"/>
                  </a:lnTo>
                  <a:lnTo>
                    <a:pt x="476521" y="488561"/>
                  </a:lnTo>
                  <a:lnTo>
                    <a:pt x="475825" y="488561"/>
                  </a:lnTo>
                  <a:lnTo>
                    <a:pt x="475189" y="487865"/>
                  </a:lnTo>
                  <a:lnTo>
                    <a:pt x="474343" y="487714"/>
                  </a:lnTo>
                  <a:lnTo>
                    <a:pt x="473405" y="487986"/>
                  </a:lnTo>
                  <a:lnTo>
                    <a:pt x="472437" y="488591"/>
                  </a:lnTo>
                  <a:lnTo>
                    <a:pt x="472437" y="489317"/>
                  </a:lnTo>
                  <a:lnTo>
                    <a:pt x="472739" y="489378"/>
                  </a:lnTo>
                  <a:lnTo>
                    <a:pt x="473768" y="489317"/>
                  </a:lnTo>
                  <a:lnTo>
                    <a:pt x="473163" y="490194"/>
                  </a:lnTo>
                  <a:lnTo>
                    <a:pt x="472437" y="490981"/>
                  </a:lnTo>
                  <a:lnTo>
                    <a:pt x="470924" y="490678"/>
                  </a:lnTo>
                  <a:lnTo>
                    <a:pt x="469290" y="492463"/>
                  </a:lnTo>
                  <a:lnTo>
                    <a:pt x="468141" y="495095"/>
                  </a:lnTo>
                  <a:lnTo>
                    <a:pt x="468201" y="497243"/>
                  </a:lnTo>
                  <a:lnTo>
                    <a:pt x="468353" y="498241"/>
                  </a:lnTo>
                  <a:lnTo>
                    <a:pt x="467869" y="504080"/>
                  </a:lnTo>
                  <a:lnTo>
                    <a:pt x="467869" y="505683"/>
                  </a:lnTo>
                  <a:close/>
                  <a:moveTo>
                    <a:pt x="651314" y="504382"/>
                  </a:moveTo>
                  <a:lnTo>
                    <a:pt x="652372" y="503656"/>
                  </a:lnTo>
                  <a:lnTo>
                    <a:pt x="654339" y="502900"/>
                  </a:lnTo>
                  <a:lnTo>
                    <a:pt x="662991" y="501811"/>
                  </a:lnTo>
                  <a:lnTo>
                    <a:pt x="664684" y="501085"/>
                  </a:lnTo>
                  <a:lnTo>
                    <a:pt x="673579" y="493764"/>
                  </a:lnTo>
                  <a:lnTo>
                    <a:pt x="676150" y="490830"/>
                  </a:lnTo>
                  <a:lnTo>
                    <a:pt x="677904" y="487714"/>
                  </a:lnTo>
                  <a:lnTo>
                    <a:pt x="673034" y="488077"/>
                  </a:lnTo>
                  <a:lnTo>
                    <a:pt x="669737" y="488984"/>
                  </a:lnTo>
                  <a:lnTo>
                    <a:pt x="667074" y="491707"/>
                  </a:lnTo>
                  <a:lnTo>
                    <a:pt x="664352" y="493159"/>
                  </a:lnTo>
                  <a:lnTo>
                    <a:pt x="661357" y="494006"/>
                  </a:lnTo>
                  <a:lnTo>
                    <a:pt x="659330" y="493340"/>
                  </a:lnTo>
                  <a:lnTo>
                    <a:pt x="657243" y="493915"/>
                  </a:lnTo>
                  <a:lnTo>
                    <a:pt x="651465" y="493189"/>
                  </a:lnTo>
                  <a:lnTo>
                    <a:pt x="648954" y="493340"/>
                  </a:lnTo>
                  <a:lnTo>
                    <a:pt x="647562" y="494157"/>
                  </a:lnTo>
                  <a:lnTo>
                    <a:pt x="645717" y="495761"/>
                  </a:lnTo>
                  <a:lnTo>
                    <a:pt x="644144" y="497636"/>
                  </a:lnTo>
                  <a:lnTo>
                    <a:pt x="643478" y="499330"/>
                  </a:lnTo>
                  <a:lnTo>
                    <a:pt x="642752" y="500631"/>
                  </a:lnTo>
                  <a:lnTo>
                    <a:pt x="639485" y="503686"/>
                  </a:lnTo>
                  <a:lnTo>
                    <a:pt x="638699" y="505199"/>
                  </a:lnTo>
                  <a:lnTo>
                    <a:pt x="639152" y="507468"/>
                  </a:lnTo>
                  <a:lnTo>
                    <a:pt x="640604" y="507801"/>
                  </a:lnTo>
                  <a:lnTo>
                    <a:pt x="644537" y="506802"/>
                  </a:lnTo>
                  <a:lnTo>
                    <a:pt x="645838" y="506893"/>
                  </a:lnTo>
                  <a:lnTo>
                    <a:pt x="646655" y="507075"/>
                  </a:lnTo>
                  <a:lnTo>
                    <a:pt x="647350" y="507075"/>
                  </a:lnTo>
                  <a:lnTo>
                    <a:pt x="648319" y="506802"/>
                  </a:lnTo>
                  <a:lnTo>
                    <a:pt x="649408" y="506137"/>
                  </a:lnTo>
                  <a:lnTo>
                    <a:pt x="651374" y="504352"/>
                  </a:lnTo>
                  <a:close/>
                  <a:moveTo>
                    <a:pt x="396233" y="478124"/>
                  </a:moveTo>
                  <a:lnTo>
                    <a:pt x="394509" y="477428"/>
                  </a:lnTo>
                  <a:lnTo>
                    <a:pt x="382378" y="478124"/>
                  </a:lnTo>
                  <a:lnTo>
                    <a:pt x="382257" y="478880"/>
                  </a:lnTo>
                  <a:lnTo>
                    <a:pt x="382499" y="480514"/>
                  </a:lnTo>
                  <a:lnTo>
                    <a:pt x="383256" y="482147"/>
                  </a:lnTo>
                  <a:lnTo>
                    <a:pt x="384496" y="482904"/>
                  </a:lnTo>
                  <a:lnTo>
                    <a:pt x="385797" y="483358"/>
                  </a:lnTo>
                  <a:lnTo>
                    <a:pt x="386674" y="484386"/>
                  </a:lnTo>
                  <a:lnTo>
                    <a:pt x="386765" y="485505"/>
                  </a:lnTo>
                  <a:lnTo>
                    <a:pt x="385585" y="486171"/>
                  </a:lnTo>
                  <a:lnTo>
                    <a:pt x="385585" y="486957"/>
                  </a:lnTo>
                  <a:lnTo>
                    <a:pt x="386976" y="487472"/>
                  </a:lnTo>
                  <a:lnTo>
                    <a:pt x="387491" y="487835"/>
                  </a:lnTo>
                  <a:lnTo>
                    <a:pt x="388247" y="488530"/>
                  </a:lnTo>
                  <a:lnTo>
                    <a:pt x="389306" y="487986"/>
                  </a:lnTo>
                  <a:lnTo>
                    <a:pt x="391575" y="487411"/>
                  </a:lnTo>
                  <a:lnTo>
                    <a:pt x="392422" y="486927"/>
                  </a:lnTo>
                  <a:lnTo>
                    <a:pt x="392845" y="485687"/>
                  </a:lnTo>
                  <a:lnTo>
                    <a:pt x="392785" y="484356"/>
                  </a:lnTo>
                  <a:lnTo>
                    <a:pt x="393027" y="483085"/>
                  </a:lnTo>
                  <a:lnTo>
                    <a:pt x="394448" y="482117"/>
                  </a:lnTo>
                  <a:lnTo>
                    <a:pt x="394327" y="480786"/>
                  </a:lnTo>
                  <a:lnTo>
                    <a:pt x="395507" y="479304"/>
                  </a:lnTo>
                  <a:lnTo>
                    <a:pt x="396142" y="478064"/>
                  </a:lnTo>
                  <a:close/>
                  <a:moveTo>
                    <a:pt x="720045" y="490588"/>
                  </a:moveTo>
                  <a:lnTo>
                    <a:pt x="720256" y="491525"/>
                  </a:lnTo>
                  <a:lnTo>
                    <a:pt x="720680" y="492251"/>
                  </a:lnTo>
                  <a:lnTo>
                    <a:pt x="721678" y="492554"/>
                  </a:lnTo>
                  <a:lnTo>
                    <a:pt x="728061" y="492705"/>
                  </a:lnTo>
                  <a:lnTo>
                    <a:pt x="728908" y="492554"/>
                  </a:lnTo>
                  <a:lnTo>
                    <a:pt x="729876" y="492070"/>
                  </a:lnTo>
                  <a:lnTo>
                    <a:pt x="730179" y="491586"/>
                  </a:lnTo>
                  <a:lnTo>
                    <a:pt x="730391" y="490981"/>
                  </a:lnTo>
                  <a:lnTo>
                    <a:pt x="730996" y="490164"/>
                  </a:lnTo>
                  <a:lnTo>
                    <a:pt x="732085" y="489226"/>
                  </a:lnTo>
                  <a:lnTo>
                    <a:pt x="733023" y="488682"/>
                  </a:lnTo>
                  <a:lnTo>
                    <a:pt x="742158" y="485354"/>
                  </a:lnTo>
                  <a:lnTo>
                    <a:pt x="745819" y="484628"/>
                  </a:lnTo>
                  <a:lnTo>
                    <a:pt x="748269" y="485354"/>
                  </a:lnTo>
                  <a:lnTo>
                    <a:pt x="748814" y="484023"/>
                  </a:lnTo>
                  <a:lnTo>
                    <a:pt x="748693" y="482752"/>
                  </a:lnTo>
                  <a:lnTo>
                    <a:pt x="748027" y="482208"/>
                  </a:lnTo>
                  <a:lnTo>
                    <a:pt x="746878" y="482964"/>
                  </a:lnTo>
                  <a:lnTo>
                    <a:pt x="746333" y="481724"/>
                  </a:lnTo>
                  <a:lnTo>
                    <a:pt x="745728" y="480786"/>
                  </a:lnTo>
                  <a:lnTo>
                    <a:pt x="745335" y="479939"/>
                  </a:lnTo>
                  <a:lnTo>
                    <a:pt x="745517" y="479001"/>
                  </a:lnTo>
                  <a:lnTo>
                    <a:pt x="746061" y="478699"/>
                  </a:lnTo>
                  <a:lnTo>
                    <a:pt x="748935" y="477489"/>
                  </a:lnTo>
                  <a:lnTo>
                    <a:pt x="744216" y="477156"/>
                  </a:lnTo>
                  <a:lnTo>
                    <a:pt x="741493" y="476369"/>
                  </a:lnTo>
                  <a:lnTo>
                    <a:pt x="741432" y="474948"/>
                  </a:lnTo>
                  <a:lnTo>
                    <a:pt x="740434" y="475825"/>
                  </a:lnTo>
                  <a:lnTo>
                    <a:pt x="739436" y="476279"/>
                  </a:lnTo>
                  <a:lnTo>
                    <a:pt x="738226" y="476279"/>
                  </a:lnTo>
                  <a:lnTo>
                    <a:pt x="736562" y="475795"/>
                  </a:lnTo>
                  <a:lnTo>
                    <a:pt x="737500" y="477216"/>
                  </a:lnTo>
                  <a:lnTo>
                    <a:pt x="738498" y="478275"/>
                  </a:lnTo>
                  <a:lnTo>
                    <a:pt x="739073" y="479304"/>
                  </a:lnTo>
                  <a:lnTo>
                    <a:pt x="738680" y="480605"/>
                  </a:lnTo>
                  <a:lnTo>
                    <a:pt x="737590" y="479546"/>
                  </a:lnTo>
                  <a:lnTo>
                    <a:pt x="733688" y="477095"/>
                  </a:lnTo>
                  <a:lnTo>
                    <a:pt x="730179" y="476218"/>
                  </a:lnTo>
                  <a:lnTo>
                    <a:pt x="727547" y="474222"/>
                  </a:lnTo>
                  <a:lnTo>
                    <a:pt x="726156" y="473465"/>
                  </a:lnTo>
                  <a:lnTo>
                    <a:pt x="722586" y="472830"/>
                  </a:lnTo>
                  <a:lnTo>
                    <a:pt x="719107" y="472830"/>
                  </a:lnTo>
                  <a:lnTo>
                    <a:pt x="707672" y="475371"/>
                  </a:lnTo>
                  <a:lnTo>
                    <a:pt x="706825" y="476248"/>
                  </a:lnTo>
                  <a:lnTo>
                    <a:pt x="706250" y="477731"/>
                  </a:lnTo>
                  <a:lnTo>
                    <a:pt x="704828" y="478305"/>
                  </a:lnTo>
                  <a:lnTo>
                    <a:pt x="703043" y="478548"/>
                  </a:lnTo>
                  <a:lnTo>
                    <a:pt x="701319" y="479031"/>
                  </a:lnTo>
                  <a:lnTo>
                    <a:pt x="700200" y="480090"/>
                  </a:lnTo>
                  <a:lnTo>
                    <a:pt x="699806" y="481421"/>
                  </a:lnTo>
                  <a:lnTo>
                    <a:pt x="699927" y="484235"/>
                  </a:lnTo>
                  <a:lnTo>
                    <a:pt x="700139" y="485687"/>
                  </a:lnTo>
                  <a:lnTo>
                    <a:pt x="700744" y="487683"/>
                  </a:lnTo>
                  <a:lnTo>
                    <a:pt x="701652" y="488833"/>
                  </a:lnTo>
                  <a:lnTo>
                    <a:pt x="702741" y="487774"/>
                  </a:lnTo>
                  <a:lnTo>
                    <a:pt x="703376" y="487774"/>
                  </a:lnTo>
                  <a:lnTo>
                    <a:pt x="703376" y="488621"/>
                  </a:lnTo>
                  <a:lnTo>
                    <a:pt x="704132" y="488621"/>
                  </a:lnTo>
                  <a:lnTo>
                    <a:pt x="704677" y="487260"/>
                  </a:lnTo>
                  <a:lnTo>
                    <a:pt x="705917" y="486231"/>
                  </a:lnTo>
                  <a:lnTo>
                    <a:pt x="707581" y="485596"/>
                  </a:lnTo>
                  <a:lnTo>
                    <a:pt x="710243" y="485233"/>
                  </a:lnTo>
                  <a:lnTo>
                    <a:pt x="711816" y="484688"/>
                  </a:lnTo>
                  <a:lnTo>
                    <a:pt x="712724" y="484568"/>
                  </a:lnTo>
                  <a:lnTo>
                    <a:pt x="713571" y="484840"/>
                  </a:lnTo>
                  <a:lnTo>
                    <a:pt x="714660" y="485959"/>
                  </a:lnTo>
                  <a:lnTo>
                    <a:pt x="717050" y="486534"/>
                  </a:lnTo>
                  <a:lnTo>
                    <a:pt x="718048" y="487351"/>
                  </a:lnTo>
                  <a:lnTo>
                    <a:pt x="719682" y="489771"/>
                  </a:lnTo>
                  <a:lnTo>
                    <a:pt x="720075" y="490648"/>
                  </a:lnTo>
                  <a:close/>
                  <a:moveTo>
                    <a:pt x="130051" y="478457"/>
                  </a:moveTo>
                  <a:lnTo>
                    <a:pt x="128387" y="475280"/>
                  </a:lnTo>
                  <a:lnTo>
                    <a:pt x="126844" y="472770"/>
                  </a:lnTo>
                  <a:lnTo>
                    <a:pt x="123214" y="470138"/>
                  </a:lnTo>
                  <a:lnTo>
                    <a:pt x="119070" y="468595"/>
                  </a:lnTo>
                  <a:lnTo>
                    <a:pt x="115893" y="469321"/>
                  </a:lnTo>
                  <a:lnTo>
                    <a:pt x="113413" y="467960"/>
                  </a:lnTo>
                  <a:lnTo>
                    <a:pt x="112354" y="467082"/>
                  </a:lnTo>
                  <a:lnTo>
                    <a:pt x="111567" y="464813"/>
                  </a:lnTo>
                  <a:lnTo>
                    <a:pt x="109510" y="461153"/>
                  </a:lnTo>
                  <a:lnTo>
                    <a:pt x="109571" y="460911"/>
                  </a:lnTo>
                  <a:lnTo>
                    <a:pt x="109117" y="460397"/>
                  </a:lnTo>
                  <a:lnTo>
                    <a:pt x="109117" y="460124"/>
                  </a:lnTo>
                  <a:lnTo>
                    <a:pt x="109026" y="459761"/>
                  </a:lnTo>
                  <a:lnTo>
                    <a:pt x="106697" y="459247"/>
                  </a:lnTo>
                  <a:lnTo>
                    <a:pt x="104095" y="461456"/>
                  </a:lnTo>
                  <a:lnTo>
                    <a:pt x="100011" y="466870"/>
                  </a:lnTo>
                  <a:lnTo>
                    <a:pt x="100858" y="467657"/>
                  </a:lnTo>
                  <a:lnTo>
                    <a:pt x="100284" y="468413"/>
                  </a:lnTo>
                  <a:lnTo>
                    <a:pt x="100707" y="470380"/>
                  </a:lnTo>
                  <a:lnTo>
                    <a:pt x="100011" y="471741"/>
                  </a:lnTo>
                  <a:lnTo>
                    <a:pt x="102310" y="473102"/>
                  </a:lnTo>
                  <a:lnTo>
                    <a:pt x="106152" y="477912"/>
                  </a:lnTo>
                  <a:lnTo>
                    <a:pt x="108331" y="479727"/>
                  </a:lnTo>
                  <a:lnTo>
                    <a:pt x="108572" y="481603"/>
                  </a:lnTo>
                  <a:lnTo>
                    <a:pt x="110932" y="483932"/>
                  </a:lnTo>
                  <a:lnTo>
                    <a:pt x="115893" y="487683"/>
                  </a:lnTo>
                  <a:lnTo>
                    <a:pt x="118979" y="491223"/>
                  </a:lnTo>
                  <a:lnTo>
                    <a:pt x="119705" y="491737"/>
                  </a:lnTo>
                  <a:lnTo>
                    <a:pt x="121823" y="491737"/>
                  </a:lnTo>
                  <a:lnTo>
                    <a:pt x="122912" y="491525"/>
                  </a:lnTo>
                  <a:lnTo>
                    <a:pt x="123365" y="490830"/>
                  </a:lnTo>
                  <a:lnTo>
                    <a:pt x="123516" y="489287"/>
                  </a:lnTo>
                  <a:lnTo>
                    <a:pt x="123153" y="488621"/>
                  </a:lnTo>
                  <a:lnTo>
                    <a:pt x="122579" y="487260"/>
                  </a:lnTo>
                  <a:lnTo>
                    <a:pt x="122579" y="485899"/>
                  </a:lnTo>
                  <a:lnTo>
                    <a:pt x="123850" y="485294"/>
                  </a:lnTo>
                  <a:lnTo>
                    <a:pt x="124545" y="484840"/>
                  </a:lnTo>
                  <a:lnTo>
                    <a:pt x="125211" y="483842"/>
                  </a:lnTo>
                  <a:lnTo>
                    <a:pt x="126148" y="482783"/>
                  </a:lnTo>
                  <a:lnTo>
                    <a:pt x="127631" y="482147"/>
                  </a:lnTo>
                  <a:lnTo>
                    <a:pt x="130353" y="482359"/>
                  </a:lnTo>
                  <a:lnTo>
                    <a:pt x="133711" y="483267"/>
                  </a:lnTo>
                  <a:lnTo>
                    <a:pt x="136616" y="484598"/>
                  </a:lnTo>
                  <a:lnTo>
                    <a:pt x="137946" y="486140"/>
                  </a:lnTo>
                  <a:lnTo>
                    <a:pt x="136979" y="482571"/>
                  </a:lnTo>
                  <a:lnTo>
                    <a:pt x="130051" y="478457"/>
                  </a:lnTo>
                  <a:close/>
                  <a:moveTo>
                    <a:pt x="539353" y="481875"/>
                  </a:moveTo>
                  <a:lnTo>
                    <a:pt x="540260" y="479757"/>
                  </a:lnTo>
                  <a:lnTo>
                    <a:pt x="539988" y="478094"/>
                  </a:lnTo>
                  <a:lnTo>
                    <a:pt x="538839" y="477428"/>
                  </a:lnTo>
                  <a:lnTo>
                    <a:pt x="537235" y="478033"/>
                  </a:lnTo>
                  <a:lnTo>
                    <a:pt x="536539" y="477398"/>
                  </a:lnTo>
                  <a:lnTo>
                    <a:pt x="536630" y="476611"/>
                  </a:lnTo>
                  <a:lnTo>
                    <a:pt x="537356" y="475855"/>
                  </a:lnTo>
                  <a:lnTo>
                    <a:pt x="537991" y="474857"/>
                  </a:lnTo>
                  <a:lnTo>
                    <a:pt x="537901" y="473374"/>
                  </a:lnTo>
                  <a:lnTo>
                    <a:pt x="538324" y="473254"/>
                  </a:lnTo>
                  <a:lnTo>
                    <a:pt x="538597" y="473102"/>
                  </a:lnTo>
                  <a:lnTo>
                    <a:pt x="539262" y="472588"/>
                  </a:lnTo>
                  <a:lnTo>
                    <a:pt x="535087" y="469412"/>
                  </a:lnTo>
                  <a:lnTo>
                    <a:pt x="536661" y="465539"/>
                  </a:lnTo>
                  <a:lnTo>
                    <a:pt x="537114" y="463149"/>
                  </a:lnTo>
                  <a:lnTo>
                    <a:pt x="536116" y="462060"/>
                  </a:lnTo>
                  <a:lnTo>
                    <a:pt x="528190" y="462060"/>
                  </a:lnTo>
                  <a:lnTo>
                    <a:pt x="525528" y="461032"/>
                  </a:lnTo>
                  <a:lnTo>
                    <a:pt x="524772" y="460548"/>
                  </a:lnTo>
                  <a:lnTo>
                    <a:pt x="524439" y="459792"/>
                  </a:lnTo>
                  <a:lnTo>
                    <a:pt x="523713" y="457190"/>
                  </a:lnTo>
                  <a:lnTo>
                    <a:pt x="523713" y="456615"/>
                  </a:lnTo>
                  <a:lnTo>
                    <a:pt x="524136" y="456252"/>
                  </a:lnTo>
                  <a:lnTo>
                    <a:pt x="523683" y="455405"/>
                  </a:lnTo>
                  <a:lnTo>
                    <a:pt x="522745" y="454558"/>
                  </a:lnTo>
                  <a:lnTo>
                    <a:pt x="521716" y="454165"/>
                  </a:lnTo>
                  <a:lnTo>
                    <a:pt x="520718" y="454074"/>
                  </a:lnTo>
                  <a:lnTo>
                    <a:pt x="520143" y="453741"/>
                  </a:lnTo>
                  <a:lnTo>
                    <a:pt x="519901" y="453015"/>
                  </a:lnTo>
                  <a:lnTo>
                    <a:pt x="520052" y="451775"/>
                  </a:lnTo>
                  <a:lnTo>
                    <a:pt x="518570" y="451049"/>
                  </a:lnTo>
                  <a:lnTo>
                    <a:pt x="516332" y="451472"/>
                  </a:lnTo>
                  <a:lnTo>
                    <a:pt x="510795" y="454286"/>
                  </a:lnTo>
                  <a:lnTo>
                    <a:pt x="509979" y="455103"/>
                  </a:lnTo>
                  <a:lnTo>
                    <a:pt x="509616" y="456222"/>
                  </a:lnTo>
                  <a:lnTo>
                    <a:pt x="509858" y="457281"/>
                  </a:lnTo>
                  <a:lnTo>
                    <a:pt x="510251" y="458067"/>
                  </a:lnTo>
                  <a:lnTo>
                    <a:pt x="510160" y="458642"/>
                  </a:lnTo>
                  <a:lnTo>
                    <a:pt x="508980" y="458975"/>
                  </a:lnTo>
                  <a:lnTo>
                    <a:pt x="510160" y="459913"/>
                  </a:lnTo>
                  <a:lnTo>
                    <a:pt x="511552" y="462030"/>
                  </a:lnTo>
                  <a:lnTo>
                    <a:pt x="512429" y="462968"/>
                  </a:lnTo>
                  <a:lnTo>
                    <a:pt x="511824" y="464632"/>
                  </a:lnTo>
                  <a:lnTo>
                    <a:pt x="512217" y="465237"/>
                  </a:lnTo>
                  <a:lnTo>
                    <a:pt x="513064" y="464904"/>
                  </a:lnTo>
                  <a:lnTo>
                    <a:pt x="513790" y="463755"/>
                  </a:lnTo>
                  <a:lnTo>
                    <a:pt x="514486" y="463755"/>
                  </a:lnTo>
                  <a:lnTo>
                    <a:pt x="516029" y="465539"/>
                  </a:lnTo>
                  <a:lnTo>
                    <a:pt x="518207" y="467203"/>
                  </a:lnTo>
                  <a:lnTo>
                    <a:pt x="520083" y="469351"/>
                  </a:lnTo>
                  <a:lnTo>
                    <a:pt x="520657" y="472618"/>
                  </a:lnTo>
                  <a:lnTo>
                    <a:pt x="522321" y="471681"/>
                  </a:lnTo>
                  <a:lnTo>
                    <a:pt x="523501" y="472467"/>
                  </a:lnTo>
                  <a:lnTo>
                    <a:pt x="525104" y="475371"/>
                  </a:lnTo>
                  <a:lnTo>
                    <a:pt x="526194" y="476672"/>
                  </a:lnTo>
                  <a:lnTo>
                    <a:pt x="527222" y="477549"/>
                  </a:lnTo>
                  <a:lnTo>
                    <a:pt x="528402" y="478064"/>
                  </a:lnTo>
                  <a:lnTo>
                    <a:pt x="529945" y="478215"/>
                  </a:lnTo>
                  <a:lnTo>
                    <a:pt x="530489" y="478971"/>
                  </a:lnTo>
                  <a:lnTo>
                    <a:pt x="532365" y="483872"/>
                  </a:lnTo>
                  <a:lnTo>
                    <a:pt x="533454" y="484991"/>
                  </a:lnTo>
                  <a:lnTo>
                    <a:pt x="535753" y="486625"/>
                  </a:lnTo>
                  <a:lnTo>
                    <a:pt x="536539" y="487774"/>
                  </a:lnTo>
                  <a:lnTo>
                    <a:pt x="537175" y="487774"/>
                  </a:lnTo>
                  <a:lnTo>
                    <a:pt x="536751" y="485868"/>
                  </a:lnTo>
                  <a:lnTo>
                    <a:pt x="536539" y="485384"/>
                  </a:lnTo>
                  <a:lnTo>
                    <a:pt x="537931" y="483993"/>
                  </a:lnTo>
                  <a:lnTo>
                    <a:pt x="539383" y="481966"/>
                  </a:lnTo>
                  <a:close/>
                  <a:moveTo>
                    <a:pt x="394509" y="456585"/>
                  </a:moveTo>
                  <a:lnTo>
                    <a:pt x="394448" y="456010"/>
                  </a:lnTo>
                  <a:lnTo>
                    <a:pt x="394600" y="455859"/>
                  </a:lnTo>
                  <a:lnTo>
                    <a:pt x="393995" y="455466"/>
                  </a:lnTo>
                  <a:lnTo>
                    <a:pt x="393390" y="454770"/>
                  </a:lnTo>
                  <a:lnTo>
                    <a:pt x="393178" y="453953"/>
                  </a:lnTo>
                  <a:lnTo>
                    <a:pt x="393087" y="453318"/>
                  </a:lnTo>
                  <a:lnTo>
                    <a:pt x="393601" y="452441"/>
                  </a:lnTo>
                  <a:lnTo>
                    <a:pt x="392966" y="451684"/>
                  </a:lnTo>
                  <a:lnTo>
                    <a:pt x="391726" y="451170"/>
                  </a:lnTo>
                  <a:lnTo>
                    <a:pt x="389427" y="450837"/>
                  </a:lnTo>
                  <a:lnTo>
                    <a:pt x="388519" y="450928"/>
                  </a:lnTo>
                  <a:lnTo>
                    <a:pt x="387702" y="451200"/>
                  </a:lnTo>
                  <a:lnTo>
                    <a:pt x="386916" y="451745"/>
                  </a:lnTo>
                  <a:lnTo>
                    <a:pt x="387339" y="452229"/>
                  </a:lnTo>
                  <a:lnTo>
                    <a:pt x="387339" y="452289"/>
                  </a:lnTo>
                  <a:lnTo>
                    <a:pt x="387128" y="452471"/>
                  </a:lnTo>
                  <a:lnTo>
                    <a:pt x="386916" y="453318"/>
                  </a:lnTo>
                  <a:lnTo>
                    <a:pt x="386008" y="452713"/>
                  </a:lnTo>
                  <a:lnTo>
                    <a:pt x="385010" y="452410"/>
                  </a:lnTo>
                  <a:lnTo>
                    <a:pt x="383921" y="452350"/>
                  </a:lnTo>
                  <a:lnTo>
                    <a:pt x="382771" y="452441"/>
                  </a:lnTo>
                  <a:lnTo>
                    <a:pt x="384254" y="453469"/>
                  </a:lnTo>
                  <a:lnTo>
                    <a:pt x="385585" y="454104"/>
                  </a:lnTo>
                  <a:lnTo>
                    <a:pt x="382045" y="455708"/>
                  </a:lnTo>
                  <a:lnTo>
                    <a:pt x="383134" y="455708"/>
                  </a:lnTo>
                  <a:lnTo>
                    <a:pt x="385040" y="456403"/>
                  </a:lnTo>
                  <a:lnTo>
                    <a:pt x="385887" y="456585"/>
                  </a:lnTo>
                  <a:lnTo>
                    <a:pt x="386765" y="456252"/>
                  </a:lnTo>
                  <a:lnTo>
                    <a:pt x="387521" y="455556"/>
                  </a:lnTo>
                  <a:lnTo>
                    <a:pt x="388398" y="454951"/>
                  </a:lnTo>
                  <a:lnTo>
                    <a:pt x="389639" y="454891"/>
                  </a:lnTo>
                  <a:lnTo>
                    <a:pt x="389064" y="456131"/>
                  </a:lnTo>
                  <a:lnTo>
                    <a:pt x="388035" y="457825"/>
                  </a:lnTo>
                  <a:lnTo>
                    <a:pt x="386704" y="458975"/>
                  </a:lnTo>
                  <a:lnTo>
                    <a:pt x="383770" y="458098"/>
                  </a:lnTo>
                  <a:lnTo>
                    <a:pt x="382106" y="458884"/>
                  </a:lnTo>
                  <a:lnTo>
                    <a:pt x="380714" y="460185"/>
                  </a:lnTo>
                  <a:lnTo>
                    <a:pt x="380018" y="461334"/>
                  </a:lnTo>
                  <a:lnTo>
                    <a:pt x="380018" y="462060"/>
                  </a:lnTo>
                  <a:lnTo>
                    <a:pt x="380623" y="462938"/>
                  </a:lnTo>
                  <a:lnTo>
                    <a:pt x="381955" y="463603"/>
                  </a:lnTo>
                  <a:lnTo>
                    <a:pt x="385071" y="464481"/>
                  </a:lnTo>
                  <a:lnTo>
                    <a:pt x="386553" y="464601"/>
                  </a:lnTo>
                  <a:lnTo>
                    <a:pt x="388005" y="463966"/>
                  </a:lnTo>
                  <a:lnTo>
                    <a:pt x="389064" y="462756"/>
                  </a:lnTo>
                  <a:lnTo>
                    <a:pt x="390002" y="462060"/>
                  </a:lnTo>
                  <a:lnTo>
                    <a:pt x="391091" y="462938"/>
                  </a:lnTo>
                  <a:lnTo>
                    <a:pt x="391696" y="462938"/>
                  </a:lnTo>
                  <a:lnTo>
                    <a:pt x="392059" y="461123"/>
                  </a:lnTo>
                  <a:lnTo>
                    <a:pt x="394237" y="459368"/>
                  </a:lnTo>
                  <a:lnTo>
                    <a:pt x="393844" y="458128"/>
                  </a:lnTo>
                  <a:lnTo>
                    <a:pt x="397262" y="456615"/>
                  </a:lnTo>
                  <a:lnTo>
                    <a:pt x="394509" y="456615"/>
                  </a:lnTo>
                  <a:close/>
                  <a:moveTo>
                    <a:pt x="106273" y="439584"/>
                  </a:moveTo>
                  <a:lnTo>
                    <a:pt x="108663" y="442185"/>
                  </a:lnTo>
                  <a:lnTo>
                    <a:pt x="109964" y="443274"/>
                  </a:lnTo>
                  <a:lnTo>
                    <a:pt x="111476" y="443728"/>
                  </a:lnTo>
                  <a:lnTo>
                    <a:pt x="112475" y="443577"/>
                  </a:lnTo>
                  <a:lnTo>
                    <a:pt x="113594" y="442972"/>
                  </a:lnTo>
                  <a:lnTo>
                    <a:pt x="114532" y="442851"/>
                  </a:lnTo>
                  <a:lnTo>
                    <a:pt x="117103" y="443425"/>
                  </a:lnTo>
                  <a:lnTo>
                    <a:pt x="117648" y="443305"/>
                  </a:lnTo>
                  <a:lnTo>
                    <a:pt x="118646" y="441308"/>
                  </a:lnTo>
                  <a:lnTo>
                    <a:pt x="118979" y="439372"/>
                  </a:lnTo>
                  <a:lnTo>
                    <a:pt x="118707" y="437496"/>
                  </a:lnTo>
                  <a:lnTo>
                    <a:pt x="117950" y="435681"/>
                  </a:lnTo>
                  <a:lnTo>
                    <a:pt x="114381" y="431113"/>
                  </a:lnTo>
                  <a:lnTo>
                    <a:pt x="113291" y="428028"/>
                  </a:lnTo>
                  <a:lnTo>
                    <a:pt x="109026" y="424488"/>
                  </a:lnTo>
                  <a:lnTo>
                    <a:pt x="108300" y="422885"/>
                  </a:lnTo>
                  <a:lnTo>
                    <a:pt x="108058" y="421282"/>
                  </a:lnTo>
                  <a:lnTo>
                    <a:pt x="107453" y="420071"/>
                  </a:lnTo>
                  <a:lnTo>
                    <a:pt x="105578" y="419708"/>
                  </a:lnTo>
                  <a:lnTo>
                    <a:pt x="105789" y="419255"/>
                  </a:lnTo>
                  <a:lnTo>
                    <a:pt x="106062" y="418438"/>
                  </a:lnTo>
                  <a:lnTo>
                    <a:pt x="106304" y="418045"/>
                  </a:lnTo>
                  <a:lnTo>
                    <a:pt x="105184" y="418831"/>
                  </a:lnTo>
                  <a:lnTo>
                    <a:pt x="103793" y="420344"/>
                  </a:lnTo>
                  <a:lnTo>
                    <a:pt x="102371" y="421403"/>
                  </a:lnTo>
                  <a:lnTo>
                    <a:pt x="101100" y="420888"/>
                  </a:lnTo>
                  <a:lnTo>
                    <a:pt x="98741" y="416714"/>
                  </a:lnTo>
                  <a:lnTo>
                    <a:pt x="97924" y="415655"/>
                  </a:lnTo>
                  <a:lnTo>
                    <a:pt x="99104" y="414384"/>
                  </a:lnTo>
                  <a:lnTo>
                    <a:pt x="100041" y="413598"/>
                  </a:lnTo>
                  <a:lnTo>
                    <a:pt x="100647" y="412630"/>
                  </a:lnTo>
                  <a:lnTo>
                    <a:pt x="100798" y="410845"/>
                  </a:lnTo>
                  <a:lnTo>
                    <a:pt x="100616" y="409907"/>
                  </a:lnTo>
                  <a:lnTo>
                    <a:pt x="95171" y="395507"/>
                  </a:lnTo>
                  <a:lnTo>
                    <a:pt x="91752" y="395507"/>
                  </a:lnTo>
                  <a:lnTo>
                    <a:pt x="91752" y="396233"/>
                  </a:lnTo>
                  <a:lnTo>
                    <a:pt x="92327" y="397232"/>
                  </a:lnTo>
                  <a:lnTo>
                    <a:pt x="92267" y="398321"/>
                  </a:lnTo>
                  <a:lnTo>
                    <a:pt x="91934" y="399591"/>
                  </a:lnTo>
                  <a:lnTo>
                    <a:pt x="91752" y="401134"/>
                  </a:lnTo>
                  <a:lnTo>
                    <a:pt x="91904" y="402011"/>
                  </a:lnTo>
                  <a:lnTo>
                    <a:pt x="93114" y="405974"/>
                  </a:lnTo>
                  <a:lnTo>
                    <a:pt x="91057" y="405158"/>
                  </a:lnTo>
                  <a:lnTo>
                    <a:pt x="91934" y="407245"/>
                  </a:lnTo>
                  <a:lnTo>
                    <a:pt x="91874" y="409635"/>
                  </a:lnTo>
                  <a:lnTo>
                    <a:pt x="90966" y="411601"/>
                  </a:lnTo>
                  <a:lnTo>
                    <a:pt x="88637" y="412811"/>
                  </a:lnTo>
                  <a:lnTo>
                    <a:pt x="86882" y="414505"/>
                  </a:lnTo>
                  <a:lnTo>
                    <a:pt x="85884" y="414899"/>
                  </a:lnTo>
                  <a:lnTo>
                    <a:pt x="85006" y="414233"/>
                  </a:lnTo>
                  <a:lnTo>
                    <a:pt x="84643" y="412993"/>
                  </a:lnTo>
                  <a:lnTo>
                    <a:pt x="84280" y="412297"/>
                  </a:lnTo>
                  <a:lnTo>
                    <a:pt x="83464" y="413295"/>
                  </a:lnTo>
                  <a:lnTo>
                    <a:pt x="82193" y="411571"/>
                  </a:lnTo>
                  <a:lnTo>
                    <a:pt x="81437" y="409393"/>
                  </a:lnTo>
                  <a:lnTo>
                    <a:pt x="80650" y="408546"/>
                  </a:lnTo>
                  <a:lnTo>
                    <a:pt x="79289" y="410875"/>
                  </a:lnTo>
                  <a:lnTo>
                    <a:pt x="78593" y="410875"/>
                  </a:lnTo>
                  <a:lnTo>
                    <a:pt x="78472" y="410149"/>
                  </a:lnTo>
                  <a:lnTo>
                    <a:pt x="77897" y="408485"/>
                  </a:lnTo>
                  <a:lnTo>
                    <a:pt x="77746" y="412176"/>
                  </a:lnTo>
                  <a:lnTo>
                    <a:pt x="77141" y="416018"/>
                  </a:lnTo>
                  <a:lnTo>
                    <a:pt x="75901" y="419073"/>
                  </a:lnTo>
                  <a:lnTo>
                    <a:pt x="74509" y="420525"/>
                  </a:lnTo>
                  <a:lnTo>
                    <a:pt x="73874" y="420858"/>
                  </a:lnTo>
                  <a:lnTo>
                    <a:pt x="73299" y="421493"/>
                  </a:lnTo>
                  <a:lnTo>
                    <a:pt x="73088" y="422371"/>
                  </a:lnTo>
                  <a:lnTo>
                    <a:pt x="73481" y="423369"/>
                  </a:lnTo>
                  <a:lnTo>
                    <a:pt x="73632" y="424397"/>
                  </a:lnTo>
                  <a:lnTo>
                    <a:pt x="72997" y="425608"/>
                  </a:lnTo>
                  <a:lnTo>
                    <a:pt x="72210" y="426787"/>
                  </a:lnTo>
                  <a:lnTo>
                    <a:pt x="71817" y="427755"/>
                  </a:lnTo>
                  <a:lnTo>
                    <a:pt x="72452" y="429873"/>
                  </a:lnTo>
                  <a:lnTo>
                    <a:pt x="75326" y="431385"/>
                  </a:lnTo>
                  <a:lnTo>
                    <a:pt x="75931" y="433412"/>
                  </a:lnTo>
                  <a:lnTo>
                    <a:pt x="76567" y="433412"/>
                  </a:lnTo>
                  <a:lnTo>
                    <a:pt x="77776" y="432081"/>
                  </a:lnTo>
                  <a:lnTo>
                    <a:pt x="79198" y="431476"/>
                  </a:lnTo>
                  <a:lnTo>
                    <a:pt x="80499" y="430629"/>
                  </a:lnTo>
                  <a:lnTo>
                    <a:pt x="81467" y="428572"/>
                  </a:lnTo>
                  <a:lnTo>
                    <a:pt x="81588" y="426273"/>
                  </a:lnTo>
                  <a:lnTo>
                    <a:pt x="80801" y="422371"/>
                  </a:lnTo>
                  <a:lnTo>
                    <a:pt x="80801" y="420495"/>
                  </a:lnTo>
                  <a:lnTo>
                    <a:pt x="81498" y="418468"/>
                  </a:lnTo>
                  <a:lnTo>
                    <a:pt x="82526" y="418771"/>
                  </a:lnTo>
                  <a:lnTo>
                    <a:pt x="83706" y="420525"/>
                  </a:lnTo>
                  <a:lnTo>
                    <a:pt x="86398" y="426908"/>
                  </a:lnTo>
                  <a:lnTo>
                    <a:pt x="87396" y="428693"/>
                  </a:lnTo>
                  <a:lnTo>
                    <a:pt x="89000" y="430115"/>
                  </a:lnTo>
                  <a:lnTo>
                    <a:pt x="89000" y="430962"/>
                  </a:lnTo>
                  <a:lnTo>
                    <a:pt x="87790" y="430418"/>
                  </a:lnTo>
                  <a:lnTo>
                    <a:pt x="86095" y="428875"/>
                  </a:lnTo>
                  <a:lnTo>
                    <a:pt x="84855" y="428542"/>
                  </a:lnTo>
                  <a:lnTo>
                    <a:pt x="85279" y="429812"/>
                  </a:lnTo>
                  <a:lnTo>
                    <a:pt x="86943" y="432474"/>
                  </a:lnTo>
                  <a:lnTo>
                    <a:pt x="87124" y="433352"/>
                  </a:lnTo>
                  <a:lnTo>
                    <a:pt x="87336" y="435530"/>
                  </a:lnTo>
                  <a:lnTo>
                    <a:pt x="87638" y="436589"/>
                  </a:lnTo>
                  <a:lnTo>
                    <a:pt x="89000" y="438192"/>
                  </a:lnTo>
                  <a:lnTo>
                    <a:pt x="92690" y="439190"/>
                  </a:lnTo>
                  <a:lnTo>
                    <a:pt x="94566" y="440552"/>
                  </a:lnTo>
                  <a:lnTo>
                    <a:pt x="96139" y="437617"/>
                  </a:lnTo>
                  <a:lnTo>
                    <a:pt x="99527" y="437103"/>
                  </a:lnTo>
                  <a:lnTo>
                    <a:pt x="103400" y="438131"/>
                  </a:lnTo>
                  <a:lnTo>
                    <a:pt x="106304" y="439705"/>
                  </a:lnTo>
                  <a:close/>
                  <a:moveTo>
                    <a:pt x="109692" y="405037"/>
                  </a:moveTo>
                  <a:lnTo>
                    <a:pt x="110357" y="405853"/>
                  </a:lnTo>
                  <a:lnTo>
                    <a:pt x="108300" y="405853"/>
                  </a:lnTo>
                  <a:lnTo>
                    <a:pt x="109692" y="406730"/>
                  </a:lnTo>
                  <a:lnTo>
                    <a:pt x="109692" y="407457"/>
                  </a:lnTo>
                  <a:lnTo>
                    <a:pt x="108482" y="407578"/>
                  </a:lnTo>
                  <a:lnTo>
                    <a:pt x="107332" y="407457"/>
                  </a:lnTo>
                  <a:lnTo>
                    <a:pt x="106334" y="407154"/>
                  </a:lnTo>
                  <a:lnTo>
                    <a:pt x="105578" y="406730"/>
                  </a:lnTo>
                  <a:lnTo>
                    <a:pt x="107634" y="403100"/>
                  </a:lnTo>
                  <a:lnTo>
                    <a:pt x="108391" y="401043"/>
                  </a:lnTo>
                  <a:lnTo>
                    <a:pt x="109026" y="398623"/>
                  </a:lnTo>
                  <a:lnTo>
                    <a:pt x="107907" y="397988"/>
                  </a:lnTo>
                  <a:lnTo>
                    <a:pt x="106999" y="397292"/>
                  </a:lnTo>
                  <a:lnTo>
                    <a:pt x="105880" y="396838"/>
                  </a:lnTo>
                  <a:lnTo>
                    <a:pt x="104156" y="396959"/>
                  </a:lnTo>
                  <a:lnTo>
                    <a:pt x="104852" y="395810"/>
                  </a:lnTo>
                  <a:lnTo>
                    <a:pt x="105456" y="394116"/>
                  </a:lnTo>
                  <a:lnTo>
                    <a:pt x="105245" y="392633"/>
                  </a:lnTo>
                  <a:lnTo>
                    <a:pt x="103490" y="392119"/>
                  </a:lnTo>
                  <a:lnTo>
                    <a:pt x="102462" y="394842"/>
                  </a:lnTo>
                  <a:lnTo>
                    <a:pt x="101584" y="395507"/>
                  </a:lnTo>
                  <a:lnTo>
                    <a:pt x="99981" y="394509"/>
                  </a:lnTo>
                  <a:lnTo>
                    <a:pt x="99467" y="396173"/>
                  </a:lnTo>
                  <a:lnTo>
                    <a:pt x="100162" y="397201"/>
                  </a:lnTo>
                  <a:lnTo>
                    <a:pt x="101282" y="397897"/>
                  </a:lnTo>
                  <a:lnTo>
                    <a:pt x="102038" y="398593"/>
                  </a:lnTo>
                  <a:lnTo>
                    <a:pt x="102340" y="399833"/>
                  </a:lnTo>
                  <a:lnTo>
                    <a:pt x="102613" y="402526"/>
                  </a:lnTo>
                  <a:lnTo>
                    <a:pt x="102794" y="403433"/>
                  </a:lnTo>
                  <a:lnTo>
                    <a:pt x="104791" y="407426"/>
                  </a:lnTo>
                  <a:lnTo>
                    <a:pt x="106122" y="409211"/>
                  </a:lnTo>
                  <a:lnTo>
                    <a:pt x="107634" y="410724"/>
                  </a:lnTo>
                  <a:lnTo>
                    <a:pt x="106878" y="411541"/>
                  </a:lnTo>
                  <a:lnTo>
                    <a:pt x="108663" y="413719"/>
                  </a:lnTo>
                  <a:lnTo>
                    <a:pt x="110024" y="414021"/>
                  </a:lnTo>
                  <a:lnTo>
                    <a:pt x="111688" y="413507"/>
                  </a:lnTo>
                  <a:lnTo>
                    <a:pt x="114471" y="413144"/>
                  </a:lnTo>
                  <a:lnTo>
                    <a:pt x="114471" y="412267"/>
                  </a:lnTo>
                  <a:lnTo>
                    <a:pt x="113080" y="411783"/>
                  </a:lnTo>
                  <a:lnTo>
                    <a:pt x="112445" y="410633"/>
                  </a:lnTo>
                  <a:lnTo>
                    <a:pt x="111809" y="407426"/>
                  </a:lnTo>
                  <a:lnTo>
                    <a:pt x="113352" y="407366"/>
                  </a:lnTo>
                  <a:lnTo>
                    <a:pt x="113836" y="407426"/>
                  </a:lnTo>
                  <a:lnTo>
                    <a:pt x="111961" y="405944"/>
                  </a:lnTo>
                  <a:lnTo>
                    <a:pt x="110872" y="405369"/>
                  </a:lnTo>
                  <a:lnTo>
                    <a:pt x="109631" y="405037"/>
                  </a:lnTo>
                  <a:close/>
                  <a:moveTo>
                    <a:pt x="127631" y="386553"/>
                  </a:moveTo>
                  <a:lnTo>
                    <a:pt x="129022" y="386553"/>
                  </a:lnTo>
                  <a:lnTo>
                    <a:pt x="129204" y="384889"/>
                  </a:lnTo>
                  <a:lnTo>
                    <a:pt x="130202" y="382983"/>
                  </a:lnTo>
                  <a:lnTo>
                    <a:pt x="132411" y="380019"/>
                  </a:lnTo>
                  <a:lnTo>
                    <a:pt x="131503" y="380170"/>
                  </a:lnTo>
                  <a:lnTo>
                    <a:pt x="127661" y="385645"/>
                  </a:lnTo>
                  <a:lnTo>
                    <a:pt x="127661" y="386523"/>
                  </a:lnTo>
                  <a:close/>
                  <a:moveTo>
                    <a:pt x="653068" y="385827"/>
                  </a:moveTo>
                  <a:lnTo>
                    <a:pt x="652766" y="386220"/>
                  </a:lnTo>
                  <a:lnTo>
                    <a:pt x="652614" y="386765"/>
                  </a:lnTo>
                  <a:lnTo>
                    <a:pt x="652372" y="387279"/>
                  </a:lnTo>
                  <a:lnTo>
                    <a:pt x="648137" y="382529"/>
                  </a:lnTo>
                  <a:lnTo>
                    <a:pt x="647925" y="381713"/>
                  </a:lnTo>
                  <a:lnTo>
                    <a:pt x="643085" y="380291"/>
                  </a:lnTo>
                  <a:lnTo>
                    <a:pt x="641028" y="380049"/>
                  </a:lnTo>
                  <a:lnTo>
                    <a:pt x="626265" y="382862"/>
                  </a:lnTo>
                  <a:lnTo>
                    <a:pt x="625902" y="384556"/>
                  </a:lnTo>
                  <a:lnTo>
                    <a:pt x="625207" y="385827"/>
                  </a:lnTo>
                  <a:lnTo>
                    <a:pt x="624662" y="387128"/>
                  </a:lnTo>
                  <a:lnTo>
                    <a:pt x="624844" y="388973"/>
                  </a:lnTo>
                  <a:lnTo>
                    <a:pt x="625721" y="390516"/>
                  </a:lnTo>
                  <a:lnTo>
                    <a:pt x="628927" y="394267"/>
                  </a:lnTo>
                  <a:lnTo>
                    <a:pt x="630410" y="395416"/>
                  </a:lnTo>
                  <a:lnTo>
                    <a:pt x="632164" y="396052"/>
                  </a:lnTo>
                  <a:lnTo>
                    <a:pt x="633495" y="396264"/>
                  </a:lnTo>
                  <a:lnTo>
                    <a:pt x="634615" y="396657"/>
                  </a:lnTo>
                  <a:lnTo>
                    <a:pt x="635825" y="397806"/>
                  </a:lnTo>
                  <a:lnTo>
                    <a:pt x="636490" y="399077"/>
                  </a:lnTo>
                  <a:lnTo>
                    <a:pt x="637004" y="400771"/>
                  </a:lnTo>
                  <a:lnTo>
                    <a:pt x="637095" y="402374"/>
                  </a:lnTo>
                  <a:lnTo>
                    <a:pt x="636521" y="403433"/>
                  </a:lnTo>
                  <a:lnTo>
                    <a:pt x="637428" y="403766"/>
                  </a:lnTo>
                  <a:lnTo>
                    <a:pt x="638214" y="404250"/>
                  </a:lnTo>
                  <a:lnTo>
                    <a:pt x="638820" y="404915"/>
                  </a:lnTo>
                  <a:lnTo>
                    <a:pt x="639273" y="405823"/>
                  </a:lnTo>
                  <a:lnTo>
                    <a:pt x="639697" y="405611"/>
                  </a:lnTo>
                  <a:lnTo>
                    <a:pt x="639818" y="405611"/>
                  </a:lnTo>
                  <a:lnTo>
                    <a:pt x="639818" y="405490"/>
                  </a:lnTo>
                  <a:lnTo>
                    <a:pt x="640029" y="405037"/>
                  </a:lnTo>
                  <a:lnTo>
                    <a:pt x="640393" y="406549"/>
                  </a:lnTo>
                  <a:lnTo>
                    <a:pt x="640181" y="409423"/>
                  </a:lnTo>
                  <a:lnTo>
                    <a:pt x="640695" y="410754"/>
                  </a:lnTo>
                  <a:lnTo>
                    <a:pt x="639031" y="411510"/>
                  </a:lnTo>
                  <a:lnTo>
                    <a:pt x="638608" y="412751"/>
                  </a:lnTo>
                  <a:lnTo>
                    <a:pt x="638547" y="414203"/>
                  </a:lnTo>
                  <a:lnTo>
                    <a:pt x="637882" y="415564"/>
                  </a:lnTo>
                  <a:lnTo>
                    <a:pt x="637307" y="415746"/>
                  </a:lnTo>
                  <a:lnTo>
                    <a:pt x="634857" y="415564"/>
                  </a:lnTo>
                  <a:lnTo>
                    <a:pt x="633677" y="416774"/>
                  </a:lnTo>
                  <a:lnTo>
                    <a:pt x="633132" y="417167"/>
                  </a:lnTo>
                  <a:lnTo>
                    <a:pt x="631317" y="417561"/>
                  </a:lnTo>
                  <a:lnTo>
                    <a:pt x="629986" y="418014"/>
                  </a:lnTo>
                  <a:lnTo>
                    <a:pt x="629018" y="418771"/>
                  </a:lnTo>
                  <a:lnTo>
                    <a:pt x="628141" y="420616"/>
                  </a:lnTo>
                  <a:lnTo>
                    <a:pt x="627989" y="422249"/>
                  </a:lnTo>
                  <a:lnTo>
                    <a:pt x="628715" y="422945"/>
                  </a:lnTo>
                  <a:lnTo>
                    <a:pt x="630379" y="421977"/>
                  </a:lnTo>
                  <a:lnTo>
                    <a:pt x="630319" y="422764"/>
                  </a:lnTo>
                  <a:lnTo>
                    <a:pt x="630410" y="424397"/>
                  </a:lnTo>
                  <a:lnTo>
                    <a:pt x="630410" y="425184"/>
                  </a:lnTo>
                  <a:lnTo>
                    <a:pt x="630833" y="424972"/>
                  </a:lnTo>
                  <a:lnTo>
                    <a:pt x="631983" y="424670"/>
                  </a:lnTo>
                  <a:lnTo>
                    <a:pt x="632467" y="424458"/>
                  </a:lnTo>
                  <a:lnTo>
                    <a:pt x="632920" y="425880"/>
                  </a:lnTo>
                  <a:lnTo>
                    <a:pt x="633889" y="427271"/>
                  </a:lnTo>
                  <a:lnTo>
                    <a:pt x="634857" y="428149"/>
                  </a:lnTo>
                  <a:lnTo>
                    <a:pt x="635280" y="428028"/>
                  </a:lnTo>
                  <a:lnTo>
                    <a:pt x="635704" y="428209"/>
                  </a:lnTo>
                  <a:lnTo>
                    <a:pt x="637942" y="430932"/>
                  </a:lnTo>
                  <a:lnTo>
                    <a:pt x="638971" y="431628"/>
                  </a:lnTo>
                  <a:lnTo>
                    <a:pt x="640393" y="431870"/>
                  </a:lnTo>
                  <a:lnTo>
                    <a:pt x="642480" y="432717"/>
                  </a:lnTo>
                  <a:lnTo>
                    <a:pt x="643478" y="432414"/>
                  </a:lnTo>
                  <a:lnTo>
                    <a:pt x="644083" y="431476"/>
                  </a:lnTo>
                  <a:lnTo>
                    <a:pt x="644719" y="428844"/>
                  </a:lnTo>
                  <a:lnTo>
                    <a:pt x="645535" y="427604"/>
                  </a:lnTo>
                  <a:lnTo>
                    <a:pt x="650376" y="426152"/>
                  </a:lnTo>
                  <a:lnTo>
                    <a:pt x="652796" y="424972"/>
                  </a:lnTo>
                  <a:lnTo>
                    <a:pt x="652796" y="423248"/>
                  </a:lnTo>
                  <a:lnTo>
                    <a:pt x="651797" y="420404"/>
                  </a:lnTo>
                  <a:lnTo>
                    <a:pt x="652917" y="417742"/>
                  </a:lnTo>
                  <a:lnTo>
                    <a:pt x="655276" y="415927"/>
                  </a:lnTo>
                  <a:lnTo>
                    <a:pt x="657938" y="415594"/>
                  </a:lnTo>
                  <a:lnTo>
                    <a:pt x="656547" y="410784"/>
                  </a:lnTo>
                  <a:lnTo>
                    <a:pt x="655488" y="401921"/>
                  </a:lnTo>
                  <a:lnTo>
                    <a:pt x="655488" y="400438"/>
                  </a:lnTo>
                  <a:lnTo>
                    <a:pt x="655791" y="398653"/>
                  </a:lnTo>
                  <a:lnTo>
                    <a:pt x="657001" y="396990"/>
                  </a:lnTo>
                  <a:lnTo>
                    <a:pt x="657001" y="396233"/>
                  </a:lnTo>
                  <a:lnTo>
                    <a:pt x="655155" y="396173"/>
                  </a:lnTo>
                  <a:lnTo>
                    <a:pt x="655760" y="395447"/>
                  </a:lnTo>
                  <a:lnTo>
                    <a:pt x="654913" y="395205"/>
                  </a:lnTo>
                  <a:lnTo>
                    <a:pt x="654490" y="394902"/>
                  </a:lnTo>
                  <a:lnTo>
                    <a:pt x="653703" y="393844"/>
                  </a:lnTo>
                  <a:lnTo>
                    <a:pt x="655972" y="393208"/>
                  </a:lnTo>
                  <a:lnTo>
                    <a:pt x="656456" y="391121"/>
                  </a:lnTo>
                  <a:lnTo>
                    <a:pt x="656638" y="388761"/>
                  </a:lnTo>
                  <a:lnTo>
                    <a:pt x="657908" y="387309"/>
                  </a:lnTo>
                  <a:lnTo>
                    <a:pt x="657001" y="385766"/>
                  </a:lnTo>
                  <a:lnTo>
                    <a:pt x="655882" y="384768"/>
                  </a:lnTo>
                  <a:lnTo>
                    <a:pt x="654581" y="384435"/>
                  </a:lnTo>
                  <a:lnTo>
                    <a:pt x="653068" y="384889"/>
                  </a:lnTo>
                  <a:lnTo>
                    <a:pt x="653370" y="384980"/>
                  </a:lnTo>
                  <a:lnTo>
                    <a:pt x="653613" y="384980"/>
                  </a:lnTo>
                  <a:lnTo>
                    <a:pt x="653733" y="385191"/>
                  </a:lnTo>
                  <a:lnTo>
                    <a:pt x="653673" y="385706"/>
                  </a:lnTo>
                  <a:lnTo>
                    <a:pt x="653038" y="385857"/>
                  </a:lnTo>
                  <a:close/>
                  <a:moveTo>
                    <a:pt x="601913" y="387430"/>
                  </a:moveTo>
                  <a:lnTo>
                    <a:pt x="602669" y="383256"/>
                  </a:lnTo>
                  <a:lnTo>
                    <a:pt x="603032" y="383165"/>
                  </a:lnTo>
                  <a:lnTo>
                    <a:pt x="603305" y="383165"/>
                  </a:lnTo>
                  <a:lnTo>
                    <a:pt x="603456" y="383013"/>
                  </a:lnTo>
                  <a:lnTo>
                    <a:pt x="603456" y="382439"/>
                  </a:lnTo>
                  <a:lnTo>
                    <a:pt x="600673" y="380049"/>
                  </a:lnTo>
                  <a:lnTo>
                    <a:pt x="600037" y="379141"/>
                  </a:lnTo>
                  <a:lnTo>
                    <a:pt x="599220" y="379141"/>
                  </a:lnTo>
                  <a:lnTo>
                    <a:pt x="599220" y="380019"/>
                  </a:lnTo>
                  <a:lnTo>
                    <a:pt x="598585" y="380019"/>
                  </a:lnTo>
                  <a:lnTo>
                    <a:pt x="597889" y="379323"/>
                  </a:lnTo>
                  <a:lnTo>
                    <a:pt x="597103" y="379414"/>
                  </a:lnTo>
                  <a:lnTo>
                    <a:pt x="596347" y="379988"/>
                  </a:lnTo>
                  <a:lnTo>
                    <a:pt x="595742" y="380805"/>
                  </a:lnTo>
                  <a:lnTo>
                    <a:pt x="595439" y="380442"/>
                  </a:lnTo>
                  <a:lnTo>
                    <a:pt x="594985" y="379958"/>
                  </a:lnTo>
                  <a:lnTo>
                    <a:pt x="594380" y="379716"/>
                  </a:lnTo>
                  <a:lnTo>
                    <a:pt x="593684" y="380019"/>
                  </a:lnTo>
                  <a:lnTo>
                    <a:pt x="593382" y="380805"/>
                  </a:lnTo>
                  <a:lnTo>
                    <a:pt x="593866" y="381471"/>
                  </a:lnTo>
                  <a:lnTo>
                    <a:pt x="595106" y="382408"/>
                  </a:lnTo>
                  <a:lnTo>
                    <a:pt x="595590" y="383225"/>
                  </a:lnTo>
                  <a:lnTo>
                    <a:pt x="596740" y="384314"/>
                  </a:lnTo>
                  <a:lnTo>
                    <a:pt x="597133" y="384859"/>
                  </a:lnTo>
                  <a:lnTo>
                    <a:pt x="597254" y="385615"/>
                  </a:lnTo>
                  <a:lnTo>
                    <a:pt x="596982" y="386250"/>
                  </a:lnTo>
                  <a:lnTo>
                    <a:pt x="596800" y="387037"/>
                  </a:lnTo>
                  <a:lnTo>
                    <a:pt x="597133" y="388126"/>
                  </a:lnTo>
                  <a:lnTo>
                    <a:pt x="598222" y="387430"/>
                  </a:lnTo>
                  <a:lnTo>
                    <a:pt x="599160" y="387521"/>
                  </a:lnTo>
                  <a:lnTo>
                    <a:pt x="600219" y="387884"/>
                  </a:lnTo>
                  <a:lnTo>
                    <a:pt x="601610" y="388126"/>
                  </a:lnTo>
                  <a:lnTo>
                    <a:pt x="601822" y="387400"/>
                  </a:lnTo>
                  <a:close/>
                  <a:moveTo>
                    <a:pt x="133530" y="375935"/>
                  </a:moveTo>
                  <a:lnTo>
                    <a:pt x="133409" y="374694"/>
                  </a:lnTo>
                  <a:lnTo>
                    <a:pt x="132743" y="374331"/>
                  </a:lnTo>
                  <a:lnTo>
                    <a:pt x="130353" y="374846"/>
                  </a:lnTo>
                  <a:lnTo>
                    <a:pt x="128569" y="375481"/>
                  </a:lnTo>
                  <a:lnTo>
                    <a:pt x="127026" y="377114"/>
                  </a:lnTo>
                  <a:lnTo>
                    <a:pt x="125211" y="380109"/>
                  </a:lnTo>
                  <a:lnTo>
                    <a:pt x="124939" y="381440"/>
                  </a:lnTo>
                  <a:lnTo>
                    <a:pt x="125271" y="382590"/>
                  </a:lnTo>
                  <a:lnTo>
                    <a:pt x="126088" y="382378"/>
                  </a:lnTo>
                  <a:lnTo>
                    <a:pt x="126905" y="380956"/>
                  </a:lnTo>
                  <a:lnTo>
                    <a:pt x="128024" y="379807"/>
                  </a:lnTo>
                  <a:lnTo>
                    <a:pt x="128810" y="379383"/>
                  </a:lnTo>
                  <a:lnTo>
                    <a:pt x="129658" y="379051"/>
                  </a:lnTo>
                  <a:lnTo>
                    <a:pt x="131110" y="378264"/>
                  </a:lnTo>
                  <a:lnTo>
                    <a:pt x="132380" y="377296"/>
                  </a:lnTo>
                  <a:lnTo>
                    <a:pt x="133500" y="375935"/>
                  </a:lnTo>
                  <a:close/>
                  <a:moveTo>
                    <a:pt x="117920" y="372274"/>
                  </a:moveTo>
                  <a:lnTo>
                    <a:pt x="117436" y="372425"/>
                  </a:lnTo>
                  <a:lnTo>
                    <a:pt x="116982" y="372153"/>
                  </a:lnTo>
                  <a:lnTo>
                    <a:pt x="116438" y="371669"/>
                  </a:lnTo>
                  <a:lnTo>
                    <a:pt x="114320" y="372728"/>
                  </a:lnTo>
                  <a:lnTo>
                    <a:pt x="112747" y="373061"/>
                  </a:lnTo>
                  <a:lnTo>
                    <a:pt x="111809" y="374392"/>
                  </a:lnTo>
                  <a:lnTo>
                    <a:pt x="113291" y="377477"/>
                  </a:lnTo>
                  <a:lnTo>
                    <a:pt x="116861" y="380593"/>
                  </a:lnTo>
                  <a:lnTo>
                    <a:pt x="118162" y="381108"/>
                  </a:lnTo>
                  <a:lnTo>
                    <a:pt x="117194" y="379958"/>
                  </a:lnTo>
                  <a:lnTo>
                    <a:pt x="116438" y="379474"/>
                  </a:lnTo>
                  <a:lnTo>
                    <a:pt x="116287" y="379171"/>
                  </a:lnTo>
                  <a:lnTo>
                    <a:pt x="115440" y="378415"/>
                  </a:lnTo>
                  <a:lnTo>
                    <a:pt x="114078" y="377356"/>
                  </a:lnTo>
                  <a:lnTo>
                    <a:pt x="114411" y="375965"/>
                  </a:lnTo>
                  <a:lnTo>
                    <a:pt x="116982" y="375299"/>
                  </a:lnTo>
                  <a:lnTo>
                    <a:pt x="117799" y="374543"/>
                  </a:lnTo>
                  <a:lnTo>
                    <a:pt x="118313" y="373877"/>
                  </a:lnTo>
                  <a:lnTo>
                    <a:pt x="118646" y="373272"/>
                  </a:lnTo>
                  <a:lnTo>
                    <a:pt x="118646" y="372819"/>
                  </a:lnTo>
                  <a:lnTo>
                    <a:pt x="118011" y="372819"/>
                  </a:lnTo>
                  <a:lnTo>
                    <a:pt x="118102" y="372456"/>
                  </a:lnTo>
                  <a:lnTo>
                    <a:pt x="117890" y="372305"/>
                  </a:lnTo>
                  <a:close/>
                  <a:moveTo>
                    <a:pt x="110387" y="357693"/>
                  </a:moveTo>
                  <a:lnTo>
                    <a:pt x="110297" y="355999"/>
                  </a:lnTo>
                  <a:lnTo>
                    <a:pt x="109873" y="354184"/>
                  </a:lnTo>
                  <a:lnTo>
                    <a:pt x="108300" y="352490"/>
                  </a:lnTo>
                  <a:lnTo>
                    <a:pt x="107090" y="351975"/>
                  </a:lnTo>
                  <a:lnTo>
                    <a:pt x="106939" y="351370"/>
                  </a:lnTo>
                  <a:lnTo>
                    <a:pt x="106697" y="350947"/>
                  </a:lnTo>
                  <a:lnTo>
                    <a:pt x="104458" y="352036"/>
                  </a:lnTo>
                  <a:lnTo>
                    <a:pt x="102583" y="353549"/>
                  </a:lnTo>
                  <a:lnTo>
                    <a:pt x="101373" y="354940"/>
                  </a:lnTo>
                  <a:lnTo>
                    <a:pt x="100041" y="357421"/>
                  </a:lnTo>
                  <a:lnTo>
                    <a:pt x="99225" y="358570"/>
                  </a:lnTo>
                  <a:lnTo>
                    <a:pt x="98257" y="359054"/>
                  </a:lnTo>
                  <a:lnTo>
                    <a:pt x="96532" y="363441"/>
                  </a:lnTo>
                  <a:lnTo>
                    <a:pt x="96109" y="365831"/>
                  </a:lnTo>
                  <a:lnTo>
                    <a:pt x="94203" y="369733"/>
                  </a:lnTo>
                  <a:lnTo>
                    <a:pt x="92449" y="381138"/>
                  </a:lnTo>
                  <a:lnTo>
                    <a:pt x="92449" y="384102"/>
                  </a:lnTo>
                  <a:lnTo>
                    <a:pt x="93084" y="384102"/>
                  </a:lnTo>
                  <a:lnTo>
                    <a:pt x="94505" y="381259"/>
                  </a:lnTo>
                  <a:lnTo>
                    <a:pt x="95594" y="379565"/>
                  </a:lnTo>
                  <a:lnTo>
                    <a:pt x="96532" y="378385"/>
                  </a:lnTo>
                  <a:lnTo>
                    <a:pt x="98226" y="377356"/>
                  </a:lnTo>
                  <a:lnTo>
                    <a:pt x="99376" y="379686"/>
                  </a:lnTo>
                  <a:lnTo>
                    <a:pt x="101373" y="380019"/>
                  </a:lnTo>
                  <a:lnTo>
                    <a:pt x="100949" y="381108"/>
                  </a:lnTo>
                  <a:lnTo>
                    <a:pt x="101100" y="381894"/>
                  </a:lnTo>
                  <a:lnTo>
                    <a:pt x="101736" y="382318"/>
                  </a:lnTo>
                  <a:lnTo>
                    <a:pt x="102794" y="382439"/>
                  </a:lnTo>
                  <a:lnTo>
                    <a:pt x="102794" y="381713"/>
                  </a:lnTo>
                  <a:lnTo>
                    <a:pt x="102129" y="380472"/>
                  </a:lnTo>
                  <a:lnTo>
                    <a:pt x="102946" y="379504"/>
                  </a:lnTo>
                  <a:lnTo>
                    <a:pt x="104519" y="379232"/>
                  </a:lnTo>
                  <a:lnTo>
                    <a:pt x="106213" y="380019"/>
                  </a:lnTo>
                  <a:lnTo>
                    <a:pt x="106364" y="379323"/>
                  </a:lnTo>
                  <a:lnTo>
                    <a:pt x="106576" y="378930"/>
                  </a:lnTo>
                  <a:lnTo>
                    <a:pt x="106757" y="378476"/>
                  </a:lnTo>
                  <a:lnTo>
                    <a:pt x="106818" y="377568"/>
                  </a:lnTo>
                  <a:lnTo>
                    <a:pt x="107877" y="378082"/>
                  </a:lnTo>
                  <a:lnTo>
                    <a:pt x="108240" y="378385"/>
                  </a:lnTo>
                  <a:lnTo>
                    <a:pt x="107786" y="376509"/>
                  </a:lnTo>
                  <a:lnTo>
                    <a:pt x="107574" y="375935"/>
                  </a:lnTo>
                  <a:lnTo>
                    <a:pt x="108240" y="375935"/>
                  </a:lnTo>
                  <a:lnTo>
                    <a:pt x="108996" y="377447"/>
                  </a:lnTo>
                  <a:lnTo>
                    <a:pt x="109631" y="377266"/>
                  </a:lnTo>
                  <a:lnTo>
                    <a:pt x="110115" y="375935"/>
                  </a:lnTo>
                  <a:lnTo>
                    <a:pt x="110418" y="369552"/>
                  </a:lnTo>
                  <a:lnTo>
                    <a:pt x="110297" y="367797"/>
                  </a:lnTo>
                  <a:lnTo>
                    <a:pt x="109601" y="368765"/>
                  </a:lnTo>
                  <a:lnTo>
                    <a:pt x="109117" y="370066"/>
                  </a:lnTo>
                  <a:lnTo>
                    <a:pt x="108633" y="370973"/>
                  </a:lnTo>
                  <a:lnTo>
                    <a:pt x="107907" y="370701"/>
                  </a:lnTo>
                  <a:lnTo>
                    <a:pt x="107725" y="369884"/>
                  </a:lnTo>
                  <a:lnTo>
                    <a:pt x="108179" y="368916"/>
                  </a:lnTo>
                  <a:lnTo>
                    <a:pt x="110539" y="365770"/>
                  </a:lnTo>
                  <a:lnTo>
                    <a:pt x="110932" y="365074"/>
                  </a:lnTo>
                  <a:lnTo>
                    <a:pt x="111023" y="364439"/>
                  </a:lnTo>
                  <a:lnTo>
                    <a:pt x="110962" y="363411"/>
                  </a:lnTo>
                  <a:lnTo>
                    <a:pt x="110781" y="362533"/>
                  </a:lnTo>
                  <a:lnTo>
                    <a:pt x="110478" y="361565"/>
                  </a:lnTo>
                  <a:lnTo>
                    <a:pt x="110418" y="360416"/>
                  </a:lnTo>
                  <a:lnTo>
                    <a:pt x="110962" y="359024"/>
                  </a:lnTo>
                  <a:lnTo>
                    <a:pt x="110297" y="357663"/>
                  </a:lnTo>
                  <a:close/>
                  <a:moveTo>
                    <a:pt x="485868" y="344322"/>
                  </a:moveTo>
                  <a:lnTo>
                    <a:pt x="485051" y="344624"/>
                  </a:lnTo>
                  <a:lnTo>
                    <a:pt x="484325" y="345381"/>
                  </a:lnTo>
                  <a:lnTo>
                    <a:pt x="483932" y="346439"/>
                  </a:lnTo>
                  <a:lnTo>
                    <a:pt x="484083" y="347650"/>
                  </a:lnTo>
                  <a:lnTo>
                    <a:pt x="485021" y="346893"/>
                  </a:lnTo>
                  <a:lnTo>
                    <a:pt x="485929" y="346833"/>
                  </a:lnTo>
                  <a:lnTo>
                    <a:pt x="486836" y="347377"/>
                  </a:lnTo>
                  <a:lnTo>
                    <a:pt x="487593" y="348466"/>
                  </a:lnTo>
                  <a:lnTo>
                    <a:pt x="487925" y="347892"/>
                  </a:lnTo>
                  <a:lnTo>
                    <a:pt x="488288" y="347680"/>
                  </a:lnTo>
                  <a:lnTo>
                    <a:pt x="488772" y="349495"/>
                  </a:lnTo>
                  <a:lnTo>
                    <a:pt x="491041" y="350402"/>
                  </a:lnTo>
                  <a:lnTo>
                    <a:pt x="491041" y="351643"/>
                  </a:lnTo>
                  <a:lnTo>
                    <a:pt x="492191" y="351038"/>
                  </a:lnTo>
                  <a:lnTo>
                    <a:pt x="493340" y="350796"/>
                  </a:lnTo>
                  <a:lnTo>
                    <a:pt x="494218" y="351189"/>
                  </a:lnTo>
                  <a:lnTo>
                    <a:pt x="494550" y="352520"/>
                  </a:lnTo>
                  <a:lnTo>
                    <a:pt x="495125" y="352520"/>
                  </a:lnTo>
                  <a:lnTo>
                    <a:pt x="496214" y="351492"/>
                  </a:lnTo>
                  <a:lnTo>
                    <a:pt x="496880" y="352338"/>
                  </a:lnTo>
                  <a:lnTo>
                    <a:pt x="497908" y="355727"/>
                  </a:lnTo>
                  <a:lnTo>
                    <a:pt x="493734" y="357360"/>
                  </a:lnTo>
                  <a:lnTo>
                    <a:pt x="497182" y="361353"/>
                  </a:lnTo>
                  <a:lnTo>
                    <a:pt x="497515" y="359508"/>
                  </a:lnTo>
                  <a:lnTo>
                    <a:pt x="498725" y="358419"/>
                  </a:lnTo>
                  <a:lnTo>
                    <a:pt x="499996" y="357905"/>
                  </a:lnTo>
                  <a:lnTo>
                    <a:pt x="500601" y="357784"/>
                  </a:lnTo>
                  <a:lnTo>
                    <a:pt x="500964" y="358994"/>
                  </a:lnTo>
                  <a:lnTo>
                    <a:pt x="501902" y="360113"/>
                  </a:lnTo>
                  <a:lnTo>
                    <a:pt x="503051" y="360567"/>
                  </a:lnTo>
                  <a:lnTo>
                    <a:pt x="504080" y="359811"/>
                  </a:lnTo>
                  <a:lnTo>
                    <a:pt x="504745" y="359811"/>
                  </a:lnTo>
                  <a:lnTo>
                    <a:pt x="505562" y="360688"/>
                  </a:lnTo>
                  <a:lnTo>
                    <a:pt x="506288" y="360567"/>
                  </a:lnTo>
                  <a:lnTo>
                    <a:pt x="506953" y="359871"/>
                  </a:lnTo>
                  <a:lnTo>
                    <a:pt x="507589" y="359084"/>
                  </a:lnTo>
                  <a:lnTo>
                    <a:pt x="508133" y="358782"/>
                  </a:lnTo>
                  <a:lnTo>
                    <a:pt x="508587" y="358903"/>
                  </a:lnTo>
                  <a:lnTo>
                    <a:pt x="508859" y="358782"/>
                  </a:lnTo>
                  <a:lnTo>
                    <a:pt x="508950" y="357784"/>
                  </a:lnTo>
                  <a:lnTo>
                    <a:pt x="508859" y="356846"/>
                  </a:lnTo>
                  <a:lnTo>
                    <a:pt x="508678" y="356392"/>
                  </a:lnTo>
                  <a:lnTo>
                    <a:pt x="508436" y="356120"/>
                  </a:lnTo>
                  <a:lnTo>
                    <a:pt x="508224" y="355757"/>
                  </a:lnTo>
                  <a:lnTo>
                    <a:pt x="506893" y="353760"/>
                  </a:lnTo>
                  <a:lnTo>
                    <a:pt x="504806" y="351975"/>
                  </a:lnTo>
                  <a:lnTo>
                    <a:pt x="500601" y="349283"/>
                  </a:lnTo>
                  <a:lnTo>
                    <a:pt x="498937" y="348496"/>
                  </a:lnTo>
                  <a:lnTo>
                    <a:pt x="498362" y="347952"/>
                  </a:lnTo>
                  <a:lnTo>
                    <a:pt x="497908" y="346802"/>
                  </a:lnTo>
                  <a:lnTo>
                    <a:pt x="497757" y="345260"/>
                  </a:lnTo>
                  <a:lnTo>
                    <a:pt x="498090" y="342356"/>
                  </a:lnTo>
                  <a:lnTo>
                    <a:pt x="497908" y="341206"/>
                  </a:lnTo>
                  <a:lnTo>
                    <a:pt x="496547" y="339845"/>
                  </a:lnTo>
                  <a:lnTo>
                    <a:pt x="489589" y="335488"/>
                  </a:lnTo>
                  <a:lnTo>
                    <a:pt x="487532" y="335973"/>
                  </a:lnTo>
                  <a:lnTo>
                    <a:pt x="486534" y="337062"/>
                  </a:lnTo>
                  <a:lnTo>
                    <a:pt x="486171" y="338604"/>
                  </a:lnTo>
                  <a:lnTo>
                    <a:pt x="486171" y="340359"/>
                  </a:lnTo>
                  <a:lnTo>
                    <a:pt x="486655" y="342476"/>
                  </a:lnTo>
                  <a:lnTo>
                    <a:pt x="486655" y="343808"/>
                  </a:lnTo>
                  <a:lnTo>
                    <a:pt x="485808" y="344382"/>
                  </a:lnTo>
                  <a:close/>
                  <a:moveTo>
                    <a:pt x="461002" y="439614"/>
                  </a:moveTo>
                  <a:lnTo>
                    <a:pt x="460820" y="439674"/>
                  </a:lnTo>
                  <a:lnTo>
                    <a:pt x="460760" y="439886"/>
                  </a:lnTo>
                  <a:lnTo>
                    <a:pt x="460760" y="440431"/>
                  </a:lnTo>
                  <a:lnTo>
                    <a:pt x="461607" y="439795"/>
                  </a:lnTo>
                  <a:lnTo>
                    <a:pt x="462121" y="439674"/>
                  </a:lnTo>
                  <a:lnTo>
                    <a:pt x="463482" y="440431"/>
                  </a:lnTo>
                  <a:lnTo>
                    <a:pt x="465237" y="439674"/>
                  </a:lnTo>
                  <a:lnTo>
                    <a:pt x="467294" y="439856"/>
                  </a:lnTo>
                  <a:lnTo>
                    <a:pt x="468988" y="440915"/>
                  </a:lnTo>
                  <a:lnTo>
                    <a:pt x="469593" y="442821"/>
                  </a:lnTo>
                  <a:lnTo>
                    <a:pt x="470954" y="442609"/>
                  </a:lnTo>
                  <a:lnTo>
                    <a:pt x="471862" y="443425"/>
                  </a:lnTo>
                  <a:lnTo>
                    <a:pt x="473102" y="446027"/>
                  </a:lnTo>
                  <a:lnTo>
                    <a:pt x="471771" y="446904"/>
                  </a:lnTo>
                  <a:lnTo>
                    <a:pt x="471771" y="447570"/>
                  </a:lnTo>
                  <a:lnTo>
                    <a:pt x="472437" y="448296"/>
                  </a:lnTo>
                  <a:lnTo>
                    <a:pt x="473072" y="449204"/>
                  </a:lnTo>
                  <a:lnTo>
                    <a:pt x="473768" y="450625"/>
                  </a:lnTo>
                  <a:lnTo>
                    <a:pt x="474252" y="451351"/>
                  </a:lnTo>
                  <a:lnTo>
                    <a:pt x="476097" y="453257"/>
                  </a:lnTo>
                  <a:lnTo>
                    <a:pt x="477549" y="454256"/>
                  </a:lnTo>
                  <a:lnTo>
                    <a:pt x="479062" y="454437"/>
                  </a:lnTo>
                  <a:lnTo>
                    <a:pt x="480605" y="453257"/>
                  </a:lnTo>
                  <a:lnTo>
                    <a:pt x="480605" y="452380"/>
                  </a:lnTo>
                  <a:lnTo>
                    <a:pt x="479001" y="451382"/>
                  </a:lnTo>
                  <a:lnTo>
                    <a:pt x="480695" y="449567"/>
                  </a:lnTo>
                  <a:lnTo>
                    <a:pt x="483388" y="448478"/>
                  </a:lnTo>
                  <a:lnTo>
                    <a:pt x="484779" y="449597"/>
                  </a:lnTo>
                  <a:lnTo>
                    <a:pt x="485203" y="449718"/>
                  </a:lnTo>
                  <a:lnTo>
                    <a:pt x="487532" y="453227"/>
                  </a:lnTo>
                  <a:lnTo>
                    <a:pt x="487744" y="454649"/>
                  </a:lnTo>
                  <a:lnTo>
                    <a:pt x="488167" y="455345"/>
                  </a:lnTo>
                  <a:lnTo>
                    <a:pt x="489287" y="455617"/>
                  </a:lnTo>
                  <a:lnTo>
                    <a:pt x="491434" y="455314"/>
                  </a:lnTo>
                  <a:lnTo>
                    <a:pt x="493673" y="454558"/>
                  </a:lnTo>
                  <a:lnTo>
                    <a:pt x="495730" y="453499"/>
                  </a:lnTo>
                  <a:lnTo>
                    <a:pt x="497213" y="452350"/>
                  </a:lnTo>
                  <a:lnTo>
                    <a:pt x="498090" y="450414"/>
                  </a:lnTo>
                  <a:lnTo>
                    <a:pt x="499149" y="445271"/>
                  </a:lnTo>
                  <a:lnTo>
                    <a:pt x="499965" y="443637"/>
                  </a:lnTo>
                  <a:lnTo>
                    <a:pt x="498513" y="441096"/>
                  </a:lnTo>
                  <a:lnTo>
                    <a:pt x="498423" y="438162"/>
                  </a:lnTo>
                  <a:lnTo>
                    <a:pt x="499300" y="432293"/>
                  </a:lnTo>
                  <a:lnTo>
                    <a:pt x="490164" y="433806"/>
                  </a:lnTo>
                  <a:lnTo>
                    <a:pt x="488228" y="434683"/>
                  </a:lnTo>
                  <a:lnTo>
                    <a:pt x="486503" y="434078"/>
                  </a:lnTo>
                  <a:lnTo>
                    <a:pt x="482480" y="433685"/>
                  </a:lnTo>
                  <a:lnTo>
                    <a:pt x="479637" y="431718"/>
                  </a:lnTo>
                  <a:lnTo>
                    <a:pt x="478245" y="431658"/>
                  </a:lnTo>
                  <a:lnTo>
                    <a:pt x="474796" y="432263"/>
                  </a:lnTo>
                  <a:lnTo>
                    <a:pt x="474100" y="431839"/>
                  </a:lnTo>
                  <a:lnTo>
                    <a:pt x="473677" y="430902"/>
                  </a:lnTo>
                  <a:lnTo>
                    <a:pt x="473374" y="429843"/>
                  </a:lnTo>
                  <a:lnTo>
                    <a:pt x="473042" y="429147"/>
                  </a:lnTo>
                  <a:lnTo>
                    <a:pt x="469532" y="427483"/>
                  </a:lnTo>
                  <a:lnTo>
                    <a:pt x="466810" y="425608"/>
                  </a:lnTo>
                  <a:lnTo>
                    <a:pt x="465509" y="424246"/>
                  </a:lnTo>
                  <a:lnTo>
                    <a:pt x="464783" y="422703"/>
                  </a:lnTo>
                  <a:lnTo>
                    <a:pt x="465055" y="422159"/>
                  </a:lnTo>
                  <a:lnTo>
                    <a:pt x="466084" y="420616"/>
                  </a:lnTo>
                  <a:lnTo>
                    <a:pt x="465570" y="419860"/>
                  </a:lnTo>
                  <a:lnTo>
                    <a:pt x="465479" y="418801"/>
                  </a:lnTo>
                  <a:lnTo>
                    <a:pt x="465539" y="416714"/>
                  </a:lnTo>
                  <a:lnTo>
                    <a:pt x="465297" y="416411"/>
                  </a:lnTo>
                  <a:lnTo>
                    <a:pt x="464813" y="416078"/>
                  </a:lnTo>
                  <a:lnTo>
                    <a:pt x="464329" y="415443"/>
                  </a:lnTo>
                  <a:lnTo>
                    <a:pt x="464118" y="414293"/>
                  </a:lnTo>
                  <a:lnTo>
                    <a:pt x="461758" y="411571"/>
                  </a:lnTo>
                  <a:lnTo>
                    <a:pt x="461576" y="409968"/>
                  </a:lnTo>
                  <a:lnTo>
                    <a:pt x="461576" y="408122"/>
                  </a:lnTo>
                  <a:lnTo>
                    <a:pt x="461334" y="406730"/>
                  </a:lnTo>
                  <a:lnTo>
                    <a:pt x="459065" y="404220"/>
                  </a:lnTo>
                  <a:lnTo>
                    <a:pt x="458763" y="403191"/>
                  </a:lnTo>
                  <a:lnTo>
                    <a:pt x="460669" y="402616"/>
                  </a:lnTo>
                  <a:lnTo>
                    <a:pt x="460669" y="401890"/>
                  </a:lnTo>
                  <a:lnTo>
                    <a:pt x="458702" y="399410"/>
                  </a:lnTo>
                  <a:lnTo>
                    <a:pt x="459096" y="395356"/>
                  </a:lnTo>
                  <a:lnTo>
                    <a:pt x="460941" y="391514"/>
                  </a:lnTo>
                  <a:lnTo>
                    <a:pt x="463452" y="389669"/>
                  </a:lnTo>
                  <a:lnTo>
                    <a:pt x="461909" y="387642"/>
                  </a:lnTo>
                  <a:lnTo>
                    <a:pt x="452894" y="380684"/>
                  </a:lnTo>
                  <a:lnTo>
                    <a:pt x="452350" y="379565"/>
                  </a:lnTo>
                  <a:lnTo>
                    <a:pt x="452410" y="377599"/>
                  </a:lnTo>
                  <a:lnTo>
                    <a:pt x="452864" y="376358"/>
                  </a:lnTo>
                  <a:lnTo>
                    <a:pt x="453741" y="375330"/>
                  </a:lnTo>
                  <a:lnTo>
                    <a:pt x="454800" y="374603"/>
                  </a:lnTo>
                  <a:lnTo>
                    <a:pt x="455829" y="374301"/>
                  </a:lnTo>
                  <a:lnTo>
                    <a:pt x="453893" y="373212"/>
                  </a:lnTo>
                  <a:lnTo>
                    <a:pt x="447510" y="371125"/>
                  </a:lnTo>
                  <a:lnTo>
                    <a:pt x="445362" y="371034"/>
                  </a:lnTo>
                  <a:lnTo>
                    <a:pt x="443062" y="371306"/>
                  </a:lnTo>
                  <a:lnTo>
                    <a:pt x="440733" y="371306"/>
                  </a:lnTo>
                  <a:lnTo>
                    <a:pt x="438585" y="370308"/>
                  </a:lnTo>
                  <a:lnTo>
                    <a:pt x="436800" y="372214"/>
                  </a:lnTo>
                  <a:lnTo>
                    <a:pt x="434925" y="372305"/>
                  </a:lnTo>
                  <a:lnTo>
                    <a:pt x="432898" y="371578"/>
                  </a:lnTo>
                  <a:lnTo>
                    <a:pt x="430720" y="371125"/>
                  </a:lnTo>
                  <a:lnTo>
                    <a:pt x="425849" y="370762"/>
                  </a:lnTo>
                  <a:lnTo>
                    <a:pt x="421372" y="369431"/>
                  </a:lnTo>
                  <a:lnTo>
                    <a:pt x="417409" y="367706"/>
                  </a:lnTo>
                  <a:lnTo>
                    <a:pt x="415383" y="366405"/>
                  </a:lnTo>
                  <a:lnTo>
                    <a:pt x="414505" y="364984"/>
                  </a:lnTo>
                  <a:lnTo>
                    <a:pt x="413870" y="362836"/>
                  </a:lnTo>
                  <a:lnTo>
                    <a:pt x="412267" y="361353"/>
                  </a:lnTo>
                  <a:lnTo>
                    <a:pt x="410240" y="360990"/>
                  </a:lnTo>
                  <a:lnTo>
                    <a:pt x="408304" y="362170"/>
                  </a:lnTo>
                  <a:lnTo>
                    <a:pt x="407215" y="361535"/>
                  </a:lnTo>
                  <a:lnTo>
                    <a:pt x="406156" y="362170"/>
                  </a:lnTo>
                  <a:lnTo>
                    <a:pt x="404764" y="361444"/>
                  </a:lnTo>
                  <a:lnTo>
                    <a:pt x="401890" y="360930"/>
                  </a:lnTo>
                  <a:lnTo>
                    <a:pt x="400650" y="359750"/>
                  </a:lnTo>
                  <a:lnTo>
                    <a:pt x="399894" y="360355"/>
                  </a:lnTo>
                  <a:lnTo>
                    <a:pt x="399289" y="360355"/>
                  </a:lnTo>
                  <a:lnTo>
                    <a:pt x="399016" y="359932"/>
                  </a:lnTo>
                  <a:lnTo>
                    <a:pt x="399289" y="359054"/>
                  </a:lnTo>
                  <a:lnTo>
                    <a:pt x="399289" y="358147"/>
                  </a:lnTo>
                  <a:lnTo>
                    <a:pt x="396657" y="357602"/>
                  </a:lnTo>
                  <a:lnTo>
                    <a:pt x="392301" y="354123"/>
                  </a:lnTo>
                  <a:lnTo>
                    <a:pt x="387854" y="352369"/>
                  </a:lnTo>
                  <a:lnTo>
                    <a:pt x="386008" y="350251"/>
                  </a:lnTo>
                  <a:lnTo>
                    <a:pt x="384859" y="348043"/>
                  </a:lnTo>
                  <a:lnTo>
                    <a:pt x="384798" y="346772"/>
                  </a:lnTo>
                  <a:lnTo>
                    <a:pt x="384012" y="345229"/>
                  </a:lnTo>
                  <a:lnTo>
                    <a:pt x="382348" y="339784"/>
                  </a:lnTo>
                  <a:lnTo>
                    <a:pt x="382348" y="338604"/>
                  </a:lnTo>
                  <a:lnTo>
                    <a:pt x="380230" y="338181"/>
                  </a:lnTo>
                  <a:lnTo>
                    <a:pt x="378234" y="337031"/>
                  </a:lnTo>
                  <a:lnTo>
                    <a:pt x="377205" y="335247"/>
                  </a:lnTo>
                  <a:lnTo>
                    <a:pt x="377931" y="332978"/>
                  </a:lnTo>
                  <a:lnTo>
                    <a:pt x="376933" y="331949"/>
                  </a:lnTo>
                  <a:lnTo>
                    <a:pt x="375541" y="331162"/>
                  </a:lnTo>
                  <a:lnTo>
                    <a:pt x="374059" y="330709"/>
                  </a:lnTo>
                  <a:lnTo>
                    <a:pt x="372728" y="330557"/>
                  </a:lnTo>
                  <a:lnTo>
                    <a:pt x="372153" y="330225"/>
                  </a:lnTo>
                  <a:lnTo>
                    <a:pt x="370671" y="328621"/>
                  </a:lnTo>
                  <a:lnTo>
                    <a:pt x="369642" y="328107"/>
                  </a:lnTo>
                  <a:lnTo>
                    <a:pt x="367010" y="328561"/>
                  </a:lnTo>
                  <a:lnTo>
                    <a:pt x="361747" y="331435"/>
                  </a:lnTo>
                  <a:lnTo>
                    <a:pt x="359629" y="332100"/>
                  </a:lnTo>
                  <a:lnTo>
                    <a:pt x="353427" y="332100"/>
                  </a:lnTo>
                  <a:lnTo>
                    <a:pt x="352369" y="332463"/>
                  </a:lnTo>
                  <a:lnTo>
                    <a:pt x="350523" y="334127"/>
                  </a:lnTo>
                  <a:lnTo>
                    <a:pt x="349071" y="334611"/>
                  </a:lnTo>
                  <a:lnTo>
                    <a:pt x="349374" y="335428"/>
                  </a:lnTo>
                  <a:lnTo>
                    <a:pt x="349374" y="336487"/>
                  </a:lnTo>
                  <a:lnTo>
                    <a:pt x="349011" y="337606"/>
                  </a:lnTo>
                  <a:lnTo>
                    <a:pt x="348315" y="338574"/>
                  </a:lnTo>
                  <a:lnTo>
                    <a:pt x="347438" y="339028"/>
                  </a:lnTo>
                  <a:lnTo>
                    <a:pt x="345381" y="339088"/>
                  </a:lnTo>
                  <a:lnTo>
                    <a:pt x="344231" y="339451"/>
                  </a:lnTo>
                  <a:lnTo>
                    <a:pt x="344019" y="339905"/>
                  </a:lnTo>
                  <a:lnTo>
                    <a:pt x="343596" y="341508"/>
                  </a:lnTo>
                  <a:lnTo>
                    <a:pt x="343233" y="341871"/>
                  </a:lnTo>
                  <a:lnTo>
                    <a:pt x="340843" y="342688"/>
                  </a:lnTo>
                  <a:lnTo>
                    <a:pt x="337939" y="344110"/>
                  </a:lnTo>
                  <a:lnTo>
                    <a:pt x="334914" y="344836"/>
                  </a:lnTo>
                  <a:lnTo>
                    <a:pt x="330346" y="347105"/>
                  </a:lnTo>
                  <a:lnTo>
                    <a:pt x="328047" y="347619"/>
                  </a:lnTo>
                  <a:lnTo>
                    <a:pt x="327078" y="347982"/>
                  </a:lnTo>
                  <a:lnTo>
                    <a:pt x="324719" y="349616"/>
                  </a:lnTo>
                  <a:lnTo>
                    <a:pt x="323932" y="349979"/>
                  </a:lnTo>
                  <a:lnTo>
                    <a:pt x="323327" y="350433"/>
                  </a:lnTo>
                  <a:lnTo>
                    <a:pt x="322964" y="351492"/>
                  </a:lnTo>
                  <a:lnTo>
                    <a:pt x="322813" y="352853"/>
                  </a:lnTo>
                  <a:lnTo>
                    <a:pt x="322873" y="354184"/>
                  </a:lnTo>
                  <a:lnTo>
                    <a:pt x="325173" y="352974"/>
                  </a:lnTo>
                  <a:lnTo>
                    <a:pt x="336214" y="352036"/>
                  </a:lnTo>
                  <a:lnTo>
                    <a:pt x="337848" y="351552"/>
                  </a:lnTo>
                  <a:lnTo>
                    <a:pt x="338755" y="350886"/>
                  </a:lnTo>
                  <a:lnTo>
                    <a:pt x="338877" y="349223"/>
                  </a:lnTo>
                  <a:lnTo>
                    <a:pt x="338060" y="348164"/>
                  </a:lnTo>
                  <a:lnTo>
                    <a:pt x="336729" y="347680"/>
                  </a:lnTo>
                  <a:lnTo>
                    <a:pt x="335307" y="347680"/>
                  </a:lnTo>
                  <a:lnTo>
                    <a:pt x="335307" y="346772"/>
                  </a:lnTo>
                  <a:lnTo>
                    <a:pt x="336638" y="346318"/>
                  </a:lnTo>
                  <a:lnTo>
                    <a:pt x="338060" y="346712"/>
                  </a:lnTo>
                  <a:lnTo>
                    <a:pt x="339603" y="347317"/>
                  </a:lnTo>
                  <a:lnTo>
                    <a:pt x="341267" y="347650"/>
                  </a:lnTo>
                  <a:lnTo>
                    <a:pt x="342628" y="347740"/>
                  </a:lnTo>
                  <a:lnTo>
                    <a:pt x="343414" y="348073"/>
                  </a:lnTo>
                  <a:lnTo>
                    <a:pt x="345350" y="350433"/>
                  </a:lnTo>
                  <a:lnTo>
                    <a:pt x="346681" y="351370"/>
                  </a:lnTo>
                  <a:lnTo>
                    <a:pt x="348133" y="351492"/>
                  </a:lnTo>
                  <a:lnTo>
                    <a:pt x="351219" y="350886"/>
                  </a:lnTo>
                  <a:lnTo>
                    <a:pt x="352883" y="350796"/>
                  </a:lnTo>
                  <a:lnTo>
                    <a:pt x="354184" y="350886"/>
                  </a:lnTo>
                  <a:lnTo>
                    <a:pt x="356664" y="351612"/>
                  </a:lnTo>
                  <a:lnTo>
                    <a:pt x="360113" y="353367"/>
                  </a:lnTo>
                  <a:lnTo>
                    <a:pt x="369945" y="360174"/>
                  </a:lnTo>
                  <a:lnTo>
                    <a:pt x="372244" y="361323"/>
                  </a:lnTo>
                  <a:lnTo>
                    <a:pt x="372728" y="361837"/>
                  </a:lnTo>
                  <a:lnTo>
                    <a:pt x="373726" y="364106"/>
                  </a:lnTo>
                  <a:lnTo>
                    <a:pt x="374331" y="364621"/>
                  </a:lnTo>
                  <a:lnTo>
                    <a:pt x="375299" y="364984"/>
                  </a:lnTo>
                  <a:lnTo>
                    <a:pt x="378143" y="367827"/>
                  </a:lnTo>
                  <a:lnTo>
                    <a:pt x="380654" y="368916"/>
                  </a:lnTo>
                  <a:lnTo>
                    <a:pt x="383679" y="370671"/>
                  </a:lnTo>
                  <a:lnTo>
                    <a:pt x="384617" y="371427"/>
                  </a:lnTo>
                  <a:lnTo>
                    <a:pt x="385040" y="372305"/>
                  </a:lnTo>
                  <a:lnTo>
                    <a:pt x="385343" y="373636"/>
                  </a:lnTo>
                  <a:lnTo>
                    <a:pt x="386069" y="374150"/>
                  </a:lnTo>
                  <a:lnTo>
                    <a:pt x="386795" y="374331"/>
                  </a:lnTo>
                  <a:lnTo>
                    <a:pt x="387128" y="374725"/>
                  </a:lnTo>
                  <a:lnTo>
                    <a:pt x="387521" y="375118"/>
                  </a:lnTo>
                  <a:lnTo>
                    <a:pt x="389880" y="376842"/>
                  </a:lnTo>
                  <a:lnTo>
                    <a:pt x="390183" y="377840"/>
                  </a:lnTo>
                  <a:lnTo>
                    <a:pt x="390274" y="379928"/>
                  </a:lnTo>
                  <a:lnTo>
                    <a:pt x="390606" y="380835"/>
                  </a:lnTo>
                  <a:lnTo>
                    <a:pt x="391998" y="381864"/>
                  </a:lnTo>
                  <a:lnTo>
                    <a:pt x="394146" y="382620"/>
                  </a:lnTo>
                  <a:lnTo>
                    <a:pt x="398532" y="383256"/>
                  </a:lnTo>
                  <a:lnTo>
                    <a:pt x="400166" y="383921"/>
                  </a:lnTo>
                  <a:lnTo>
                    <a:pt x="401588" y="385494"/>
                  </a:lnTo>
                  <a:lnTo>
                    <a:pt x="403736" y="388973"/>
                  </a:lnTo>
                  <a:lnTo>
                    <a:pt x="403736" y="389699"/>
                  </a:lnTo>
                  <a:lnTo>
                    <a:pt x="403010" y="389699"/>
                  </a:lnTo>
                  <a:lnTo>
                    <a:pt x="403010" y="390576"/>
                  </a:lnTo>
                  <a:lnTo>
                    <a:pt x="403766" y="392210"/>
                  </a:lnTo>
                  <a:lnTo>
                    <a:pt x="402465" y="394116"/>
                  </a:lnTo>
                  <a:lnTo>
                    <a:pt x="400590" y="396052"/>
                  </a:lnTo>
                  <a:lnTo>
                    <a:pt x="399591" y="397806"/>
                  </a:lnTo>
                  <a:lnTo>
                    <a:pt x="400438" y="397927"/>
                  </a:lnTo>
                  <a:lnTo>
                    <a:pt x="400953" y="397746"/>
                  </a:lnTo>
                  <a:lnTo>
                    <a:pt x="401316" y="397383"/>
                  </a:lnTo>
                  <a:lnTo>
                    <a:pt x="401679" y="396929"/>
                  </a:lnTo>
                  <a:lnTo>
                    <a:pt x="404099" y="402284"/>
                  </a:lnTo>
                  <a:lnTo>
                    <a:pt x="405158" y="403433"/>
                  </a:lnTo>
                  <a:lnTo>
                    <a:pt x="406579" y="403615"/>
                  </a:lnTo>
                  <a:lnTo>
                    <a:pt x="409786" y="402798"/>
                  </a:lnTo>
                  <a:lnTo>
                    <a:pt x="411268" y="402647"/>
                  </a:lnTo>
                  <a:lnTo>
                    <a:pt x="418196" y="404250"/>
                  </a:lnTo>
                  <a:lnTo>
                    <a:pt x="419708" y="404250"/>
                  </a:lnTo>
                  <a:lnTo>
                    <a:pt x="422764" y="403645"/>
                  </a:lnTo>
                  <a:lnTo>
                    <a:pt x="424700" y="403463"/>
                  </a:lnTo>
                  <a:lnTo>
                    <a:pt x="426152" y="403705"/>
                  </a:lnTo>
                  <a:lnTo>
                    <a:pt x="429601" y="404825"/>
                  </a:lnTo>
                  <a:lnTo>
                    <a:pt x="431628" y="405067"/>
                  </a:lnTo>
                  <a:lnTo>
                    <a:pt x="438525" y="404250"/>
                  </a:lnTo>
                  <a:lnTo>
                    <a:pt x="444363" y="404643"/>
                  </a:lnTo>
                  <a:lnTo>
                    <a:pt x="444696" y="403917"/>
                  </a:lnTo>
                  <a:lnTo>
                    <a:pt x="445392" y="404734"/>
                  </a:lnTo>
                  <a:lnTo>
                    <a:pt x="446420" y="406730"/>
                  </a:lnTo>
                  <a:lnTo>
                    <a:pt x="446299" y="406973"/>
                  </a:lnTo>
                  <a:lnTo>
                    <a:pt x="446209" y="407759"/>
                  </a:lnTo>
                  <a:lnTo>
                    <a:pt x="446420" y="408788"/>
                  </a:lnTo>
                  <a:lnTo>
                    <a:pt x="447207" y="409846"/>
                  </a:lnTo>
                  <a:lnTo>
                    <a:pt x="446481" y="410996"/>
                  </a:lnTo>
                  <a:lnTo>
                    <a:pt x="445452" y="411571"/>
                  </a:lnTo>
                  <a:lnTo>
                    <a:pt x="443002" y="412267"/>
                  </a:lnTo>
                  <a:lnTo>
                    <a:pt x="445967" y="412418"/>
                  </a:lnTo>
                  <a:lnTo>
                    <a:pt x="448417" y="412872"/>
                  </a:lnTo>
                  <a:lnTo>
                    <a:pt x="450595" y="413658"/>
                  </a:lnTo>
                  <a:lnTo>
                    <a:pt x="452652" y="414747"/>
                  </a:lnTo>
                  <a:lnTo>
                    <a:pt x="450565" y="418771"/>
                  </a:lnTo>
                  <a:lnTo>
                    <a:pt x="451956" y="418771"/>
                  </a:lnTo>
                  <a:lnTo>
                    <a:pt x="451956" y="419648"/>
                  </a:lnTo>
                  <a:lnTo>
                    <a:pt x="451714" y="419920"/>
                  </a:lnTo>
                  <a:lnTo>
                    <a:pt x="451351" y="420465"/>
                  </a:lnTo>
                  <a:lnTo>
                    <a:pt x="451412" y="420979"/>
                  </a:lnTo>
                  <a:lnTo>
                    <a:pt x="452289" y="421221"/>
                  </a:lnTo>
                  <a:lnTo>
                    <a:pt x="453045" y="421009"/>
                  </a:lnTo>
                  <a:lnTo>
                    <a:pt x="453197" y="420495"/>
                  </a:lnTo>
                  <a:lnTo>
                    <a:pt x="453197" y="419951"/>
                  </a:lnTo>
                  <a:lnTo>
                    <a:pt x="453318" y="419648"/>
                  </a:lnTo>
                  <a:lnTo>
                    <a:pt x="454256" y="418922"/>
                  </a:lnTo>
                  <a:lnTo>
                    <a:pt x="455012" y="418105"/>
                  </a:lnTo>
                  <a:lnTo>
                    <a:pt x="455829" y="418045"/>
                  </a:lnTo>
                  <a:lnTo>
                    <a:pt x="456797" y="419648"/>
                  </a:lnTo>
                  <a:lnTo>
                    <a:pt x="455345" y="420979"/>
                  </a:lnTo>
                  <a:lnTo>
                    <a:pt x="453590" y="423399"/>
                  </a:lnTo>
                  <a:lnTo>
                    <a:pt x="453106" y="425577"/>
                  </a:lnTo>
                  <a:lnTo>
                    <a:pt x="455375" y="426061"/>
                  </a:lnTo>
                  <a:lnTo>
                    <a:pt x="454739" y="424428"/>
                  </a:lnTo>
                  <a:lnTo>
                    <a:pt x="456192" y="424125"/>
                  </a:lnTo>
                  <a:lnTo>
                    <a:pt x="457765" y="424488"/>
                  </a:lnTo>
                  <a:lnTo>
                    <a:pt x="459035" y="425487"/>
                  </a:lnTo>
                  <a:lnTo>
                    <a:pt x="459913" y="428512"/>
                  </a:lnTo>
                  <a:lnTo>
                    <a:pt x="461395" y="430085"/>
                  </a:lnTo>
                  <a:lnTo>
                    <a:pt x="461607" y="431567"/>
                  </a:lnTo>
                  <a:lnTo>
                    <a:pt x="461123" y="432626"/>
                  </a:lnTo>
                  <a:lnTo>
                    <a:pt x="459247" y="434380"/>
                  </a:lnTo>
                  <a:lnTo>
                    <a:pt x="458824" y="435227"/>
                  </a:lnTo>
                  <a:lnTo>
                    <a:pt x="459126" y="436105"/>
                  </a:lnTo>
                  <a:lnTo>
                    <a:pt x="460820" y="435802"/>
                  </a:lnTo>
                  <a:lnTo>
                    <a:pt x="461607" y="436468"/>
                  </a:lnTo>
                  <a:lnTo>
                    <a:pt x="461607" y="439584"/>
                  </a:lnTo>
                  <a:lnTo>
                    <a:pt x="461213" y="439644"/>
                  </a:lnTo>
                  <a:close/>
                  <a:moveTo>
                    <a:pt x="382378" y="315492"/>
                  </a:moveTo>
                  <a:lnTo>
                    <a:pt x="383467" y="315795"/>
                  </a:lnTo>
                  <a:lnTo>
                    <a:pt x="384284" y="316309"/>
                  </a:lnTo>
                  <a:lnTo>
                    <a:pt x="385131" y="317338"/>
                  </a:lnTo>
                  <a:lnTo>
                    <a:pt x="385887" y="317549"/>
                  </a:lnTo>
                  <a:lnTo>
                    <a:pt x="387370" y="314434"/>
                  </a:lnTo>
                  <a:lnTo>
                    <a:pt x="388761" y="313133"/>
                  </a:lnTo>
                  <a:lnTo>
                    <a:pt x="390365" y="314282"/>
                  </a:lnTo>
                  <a:lnTo>
                    <a:pt x="391151" y="311983"/>
                  </a:lnTo>
                  <a:lnTo>
                    <a:pt x="390213" y="310107"/>
                  </a:lnTo>
                  <a:lnTo>
                    <a:pt x="388519" y="308686"/>
                  </a:lnTo>
                  <a:lnTo>
                    <a:pt x="386886" y="307778"/>
                  </a:lnTo>
                  <a:lnTo>
                    <a:pt x="385645" y="308444"/>
                  </a:lnTo>
                  <a:lnTo>
                    <a:pt x="384284" y="309623"/>
                  </a:lnTo>
                  <a:lnTo>
                    <a:pt x="383195" y="310985"/>
                  </a:lnTo>
                  <a:lnTo>
                    <a:pt x="382771" y="312255"/>
                  </a:lnTo>
                  <a:lnTo>
                    <a:pt x="382166" y="312709"/>
                  </a:lnTo>
                  <a:lnTo>
                    <a:pt x="380866" y="312951"/>
                  </a:lnTo>
                  <a:lnTo>
                    <a:pt x="379655" y="313738"/>
                  </a:lnTo>
                  <a:lnTo>
                    <a:pt x="379323" y="315825"/>
                  </a:lnTo>
                  <a:lnTo>
                    <a:pt x="380230" y="315462"/>
                  </a:lnTo>
                  <a:lnTo>
                    <a:pt x="381259" y="315401"/>
                  </a:lnTo>
                  <a:lnTo>
                    <a:pt x="382348" y="315523"/>
                  </a:lnTo>
                  <a:close/>
                  <a:moveTo>
                    <a:pt x="409665" y="314706"/>
                  </a:moveTo>
                  <a:lnTo>
                    <a:pt x="406519" y="313012"/>
                  </a:lnTo>
                  <a:lnTo>
                    <a:pt x="403736" y="310894"/>
                  </a:lnTo>
                  <a:lnTo>
                    <a:pt x="401376" y="308504"/>
                  </a:lnTo>
                  <a:lnTo>
                    <a:pt x="400831" y="308444"/>
                  </a:lnTo>
                  <a:lnTo>
                    <a:pt x="400408" y="308504"/>
                  </a:lnTo>
                  <a:lnTo>
                    <a:pt x="400136" y="308353"/>
                  </a:lnTo>
                  <a:lnTo>
                    <a:pt x="400045" y="307748"/>
                  </a:lnTo>
                  <a:lnTo>
                    <a:pt x="398623" y="308504"/>
                  </a:lnTo>
                  <a:lnTo>
                    <a:pt x="401648" y="313072"/>
                  </a:lnTo>
                  <a:lnTo>
                    <a:pt x="402042" y="314675"/>
                  </a:lnTo>
                  <a:lnTo>
                    <a:pt x="402707" y="315674"/>
                  </a:lnTo>
                  <a:lnTo>
                    <a:pt x="405884" y="318548"/>
                  </a:lnTo>
                  <a:lnTo>
                    <a:pt x="406942" y="319122"/>
                  </a:lnTo>
                  <a:lnTo>
                    <a:pt x="406942" y="319939"/>
                  </a:lnTo>
                  <a:lnTo>
                    <a:pt x="405793" y="320786"/>
                  </a:lnTo>
                  <a:lnTo>
                    <a:pt x="405793" y="321573"/>
                  </a:lnTo>
                  <a:lnTo>
                    <a:pt x="406549" y="322178"/>
                  </a:lnTo>
                  <a:lnTo>
                    <a:pt x="409211" y="322632"/>
                  </a:lnTo>
                  <a:lnTo>
                    <a:pt x="410693" y="323721"/>
                  </a:lnTo>
                  <a:lnTo>
                    <a:pt x="411661" y="324023"/>
                  </a:lnTo>
                  <a:lnTo>
                    <a:pt x="414112" y="323660"/>
                  </a:lnTo>
                  <a:lnTo>
                    <a:pt x="416048" y="322420"/>
                  </a:lnTo>
                  <a:lnTo>
                    <a:pt x="419285" y="319153"/>
                  </a:lnTo>
                  <a:lnTo>
                    <a:pt x="419285" y="318396"/>
                  </a:lnTo>
                  <a:lnTo>
                    <a:pt x="417288" y="317791"/>
                  </a:lnTo>
                  <a:lnTo>
                    <a:pt x="414596" y="317852"/>
                  </a:lnTo>
                  <a:lnTo>
                    <a:pt x="412690" y="317549"/>
                  </a:lnTo>
                  <a:lnTo>
                    <a:pt x="413053" y="315795"/>
                  </a:lnTo>
                  <a:lnTo>
                    <a:pt x="409635" y="314706"/>
                  </a:lnTo>
                  <a:close/>
                  <a:moveTo>
                    <a:pt x="55118" y="307355"/>
                  </a:moveTo>
                  <a:lnTo>
                    <a:pt x="53333" y="305993"/>
                  </a:lnTo>
                  <a:lnTo>
                    <a:pt x="51790" y="304420"/>
                  </a:lnTo>
                  <a:lnTo>
                    <a:pt x="50278" y="305086"/>
                  </a:lnTo>
                  <a:lnTo>
                    <a:pt x="50550" y="306598"/>
                  </a:lnTo>
                  <a:lnTo>
                    <a:pt x="51579" y="308262"/>
                  </a:lnTo>
                  <a:lnTo>
                    <a:pt x="53636" y="310652"/>
                  </a:lnTo>
                  <a:lnTo>
                    <a:pt x="54634" y="311408"/>
                  </a:lnTo>
                  <a:lnTo>
                    <a:pt x="55935" y="311711"/>
                  </a:lnTo>
                  <a:lnTo>
                    <a:pt x="57992" y="311771"/>
                  </a:lnTo>
                  <a:lnTo>
                    <a:pt x="56812" y="309018"/>
                  </a:lnTo>
                  <a:lnTo>
                    <a:pt x="55118" y="307294"/>
                  </a:lnTo>
                  <a:close/>
                  <a:moveTo>
                    <a:pt x="435651" y="299610"/>
                  </a:moveTo>
                  <a:lnTo>
                    <a:pt x="435742" y="299187"/>
                  </a:lnTo>
                  <a:lnTo>
                    <a:pt x="435863" y="298763"/>
                  </a:lnTo>
                  <a:lnTo>
                    <a:pt x="434108" y="299913"/>
                  </a:lnTo>
                  <a:lnTo>
                    <a:pt x="429026" y="307355"/>
                  </a:lnTo>
                  <a:lnTo>
                    <a:pt x="427392" y="311802"/>
                  </a:lnTo>
                  <a:lnTo>
                    <a:pt x="426182" y="313102"/>
                  </a:lnTo>
                  <a:lnTo>
                    <a:pt x="424791" y="314161"/>
                  </a:lnTo>
                  <a:lnTo>
                    <a:pt x="423429" y="315855"/>
                  </a:lnTo>
                  <a:lnTo>
                    <a:pt x="426545" y="316127"/>
                  </a:lnTo>
                  <a:lnTo>
                    <a:pt x="429722" y="314010"/>
                  </a:lnTo>
                  <a:lnTo>
                    <a:pt x="432323" y="310592"/>
                  </a:lnTo>
                  <a:lnTo>
                    <a:pt x="433836" y="306901"/>
                  </a:lnTo>
                  <a:lnTo>
                    <a:pt x="435197" y="305993"/>
                  </a:lnTo>
                  <a:lnTo>
                    <a:pt x="436891" y="303361"/>
                  </a:lnTo>
                  <a:lnTo>
                    <a:pt x="437405" y="300881"/>
                  </a:lnTo>
                  <a:lnTo>
                    <a:pt x="435197" y="300487"/>
                  </a:lnTo>
                  <a:lnTo>
                    <a:pt x="435560" y="300064"/>
                  </a:lnTo>
                  <a:lnTo>
                    <a:pt x="435681" y="299641"/>
                  </a:lnTo>
                  <a:close/>
                  <a:moveTo>
                    <a:pt x="445573" y="296888"/>
                  </a:moveTo>
                  <a:lnTo>
                    <a:pt x="446541" y="297856"/>
                  </a:lnTo>
                  <a:lnTo>
                    <a:pt x="448417" y="296918"/>
                  </a:lnTo>
                  <a:lnTo>
                    <a:pt x="449627" y="293893"/>
                  </a:lnTo>
                  <a:lnTo>
                    <a:pt x="449688" y="292047"/>
                  </a:lnTo>
                  <a:lnTo>
                    <a:pt x="449264" y="291624"/>
                  </a:lnTo>
                  <a:lnTo>
                    <a:pt x="448356" y="291231"/>
                  </a:lnTo>
                  <a:lnTo>
                    <a:pt x="447630" y="291654"/>
                  </a:lnTo>
                  <a:lnTo>
                    <a:pt x="447207" y="292017"/>
                  </a:lnTo>
                  <a:lnTo>
                    <a:pt x="447147" y="291110"/>
                  </a:lnTo>
                  <a:lnTo>
                    <a:pt x="446965" y="289960"/>
                  </a:lnTo>
                  <a:lnTo>
                    <a:pt x="446088" y="290172"/>
                  </a:lnTo>
                  <a:lnTo>
                    <a:pt x="445301" y="291291"/>
                  </a:lnTo>
                  <a:lnTo>
                    <a:pt x="444726" y="292531"/>
                  </a:lnTo>
                  <a:lnTo>
                    <a:pt x="444363" y="293832"/>
                  </a:lnTo>
                  <a:lnTo>
                    <a:pt x="444787" y="294679"/>
                  </a:lnTo>
                  <a:lnTo>
                    <a:pt x="445815" y="295193"/>
                  </a:lnTo>
                  <a:lnTo>
                    <a:pt x="446148" y="295738"/>
                  </a:lnTo>
                  <a:lnTo>
                    <a:pt x="445664" y="296010"/>
                  </a:lnTo>
                  <a:lnTo>
                    <a:pt x="445573" y="296857"/>
                  </a:lnTo>
                  <a:close/>
                  <a:moveTo>
                    <a:pt x="696237" y="333643"/>
                  </a:moveTo>
                  <a:lnTo>
                    <a:pt x="696146" y="333492"/>
                  </a:lnTo>
                  <a:lnTo>
                    <a:pt x="696237" y="333492"/>
                  </a:lnTo>
                  <a:lnTo>
                    <a:pt x="696479" y="333008"/>
                  </a:lnTo>
                  <a:lnTo>
                    <a:pt x="696479" y="332131"/>
                  </a:lnTo>
                  <a:lnTo>
                    <a:pt x="694633" y="330679"/>
                  </a:lnTo>
                  <a:lnTo>
                    <a:pt x="690943" y="325717"/>
                  </a:lnTo>
                  <a:lnTo>
                    <a:pt x="687010" y="322934"/>
                  </a:lnTo>
                  <a:lnTo>
                    <a:pt x="685407" y="320907"/>
                  </a:lnTo>
                  <a:lnTo>
                    <a:pt x="687192" y="319969"/>
                  </a:lnTo>
                  <a:lnTo>
                    <a:pt x="690640" y="319697"/>
                  </a:lnTo>
                  <a:lnTo>
                    <a:pt x="692304" y="320242"/>
                  </a:lnTo>
                  <a:lnTo>
                    <a:pt x="693030" y="321996"/>
                  </a:lnTo>
                  <a:lnTo>
                    <a:pt x="693242" y="322390"/>
                  </a:lnTo>
                  <a:lnTo>
                    <a:pt x="694392" y="323297"/>
                  </a:lnTo>
                  <a:lnTo>
                    <a:pt x="694331" y="324053"/>
                  </a:lnTo>
                  <a:lnTo>
                    <a:pt x="693756" y="325354"/>
                  </a:lnTo>
                  <a:lnTo>
                    <a:pt x="693666" y="325748"/>
                  </a:lnTo>
                  <a:lnTo>
                    <a:pt x="693544" y="326352"/>
                  </a:lnTo>
                  <a:lnTo>
                    <a:pt x="693363" y="326988"/>
                  </a:lnTo>
                  <a:lnTo>
                    <a:pt x="693514" y="327593"/>
                  </a:lnTo>
                  <a:lnTo>
                    <a:pt x="694422" y="328198"/>
                  </a:lnTo>
                  <a:lnTo>
                    <a:pt x="693696" y="328954"/>
                  </a:lnTo>
                  <a:lnTo>
                    <a:pt x="694724" y="329862"/>
                  </a:lnTo>
                  <a:lnTo>
                    <a:pt x="695722" y="330951"/>
                  </a:lnTo>
                  <a:lnTo>
                    <a:pt x="696933" y="331465"/>
                  </a:lnTo>
                  <a:lnTo>
                    <a:pt x="698536" y="330648"/>
                  </a:lnTo>
                  <a:lnTo>
                    <a:pt x="701531" y="331828"/>
                  </a:lnTo>
                  <a:lnTo>
                    <a:pt x="702801" y="330527"/>
                  </a:lnTo>
                  <a:lnTo>
                    <a:pt x="703043" y="328470"/>
                  </a:lnTo>
                  <a:lnTo>
                    <a:pt x="703043" y="327381"/>
                  </a:lnTo>
                  <a:lnTo>
                    <a:pt x="701561" y="326474"/>
                  </a:lnTo>
                  <a:lnTo>
                    <a:pt x="699716" y="324295"/>
                  </a:lnTo>
                  <a:lnTo>
                    <a:pt x="698385" y="321603"/>
                  </a:lnTo>
                  <a:lnTo>
                    <a:pt x="698506" y="319213"/>
                  </a:lnTo>
                  <a:lnTo>
                    <a:pt x="697417" y="319365"/>
                  </a:lnTo>
                  <a:lnTo>
                    <a:pt x="696781" y="319092"/>
                  </a:lnTo>
                  <a:lnTo>
                    <a:pt x="696479" y="318366"/>
                  </a:lnTo>
                  <a:lnTo>
                    <a:pt x="696418" y="317186"/>
                  </a:lnTo>
                  <a:lnTo>
                    <a:pt x="695481" y="316249"/>
                  </a:lnTo>
                  <a:lnTo>
                    <a:pt x="694785" y="315341"/>
                  </a:lnTo>
                  <a:lnTo>
                    <a:pt x="694361" y="314343"/>
                  </a:lnTo>
                  <a:lnTo>
                    <a:pt x="695662" y="313526"/>
                  </a:lnTo>
                  <a:lnTo>
                    <a:pt x="693484" y="312316"/>
                  </a:lnTo>
                  <a:lnTo>
                    <a:pt x="692153" y="311257"/>
                  </a:lnTo>
                  <a:lnTo>
                    <a:pt x="688735" y="306477"/>
                  </a:lnTo>
                  <a:lnTo>
                    <a:pt x="688281" y="305993"/>
                  </a:lnTo>
                  <a:lnTo>
                    <a:pt x="687464" y="305388"/>
                  </a:lnTo>
                  <a:lnTo>
                    <a:pt x="684015" y="304087"/>
                  </a:lnTo>
                  <a:lnTo>
                    <a:pt x="679780" y="300276"/>
                  </a:lnTo>
                  <a:lnTo>
                    <a:pt x="679538" y="299610"/>
                  </a:lnTo>
                  <a:lnTo>
                    <a:pt x="682715" y="295042"/>
                  </a:lnTo>
                  <a:lnTo>
                    <a:pt x="683319" y="293893"/>
                  </a:lnTo>
                  <a:lnTo>
                    <a:pt x="681595" y="292622"/>
                  </a:lnTo>
                  <a:lnTo>
                    <a:pt x="678873" y="291957"/>
                  </a:lnTo>
                  <a:lnTo>
                    <a:pt x="676997" y="290807"/>
                  </a:lnTo>
                  <a:lnTo>
                    <a:pt x="677723" y="288145"/>
                  </a:lnTo>
                  <a:lnTo>
                    <a:pt x="675817" y="287661"/>
                  </a:lnTo>
                  <a:lnTo>
                    <a:pt x="657757" y="288145"/>
                  </a:lnTo>
                  <a:lnTo>
                    <a:pt x="658483" y="291200"/>
                  </a:lnTo>
                  <a:lnTo>
                    <a:pt x="658664" y="293318"/>
                  </a:lnTo>
                  <a:lnTo>
                    <a:pt x="657697" y="294740"/>
                  </a:lnTo>
                  <a:lnTo>
                    <a:pt x="655034" y="295617"/>
                  </a:lnTo>
                  <a:lnTo>
                    <a:pt x="650769" y="296313"/>
                  </a:lnTo>
                  <a:lnTo>
                    <a:pt x="648651" y="297160"/>
                  </a:lnTo>
                  <a:lnTo>
                    <a:pt x="647381" y="298824"/>
                  </a:lnTo>
                  <a:lnTo>
                    <a:pt x="646715" y="298824"/>
                  </a:lnTo>
                  <a:lnTo>
                    <a:pt x="646594" y="298279"/>
                  </a:lnTo>
                  <a:lnTo>
                    <a:pt x="646020" y="297190"/>
                  </a:lnTo>
                  <a:lnTo>
                    <a:pt x="645808" y="297946"/>
                  </a:lnTo>
                  <a:lnTo>
                    <a:pt x="645475" y="298491"/>
                  </a:lnTo>
                  <a:lnTo>
                    <a:pt x="645082" y="298975"/>
                  </a:lnTo>
                  <a:lnTo>
                    <a:pt x="644658" y="299641"/>
                  </a:lnTo>
                  <a:lnTo>
                    <a:pt x="641935" y="299217"/>
                  </a:lnTo>
                  <a:lnTo>
                    <a:pt x="638184" y="300124"/>
                  </a:lnTo>
                  <a:lnTo>
                    <a:pt x="634917" y="300367"/>
                  </a:lnTo>
                  <a:lnTo>
                    <a:pt x="633677" y="297946"/>
                  </a:lnTo>
                  <a:lnTo>
                    <a:pt x="632981" y="297946"/>
                  </a:lnTo>
                  <a:lnTo>
                    <a:pt x="632316" y="298793"/>
                  </a:lnTo>
                  <a:lnTo>
                    <a:pt x="629532" y="301244"/>
                  </a:lnTo>
                  <a:lnTo>
                    <a:pt x="628837" y="301607"/>
                  </a:lnTo>
                  <a:lnTo>
                    <a:pt x="627899" y="301940"/>
                  </a:lnTo>
                  <a:lnTo>
                    <a:pt x="627082" y="302424"/>
                  </a:lnTo>
                  <a:lnTo>
                    <a:pt x="626719" y="303240"/>
                  </a:lnTo>
                  <a:lnTo>
                    <a:pt x="626719" y="304420"/>
                  </a:lnTo>
                  <a:lnTo>
                    <a:pt x="626568" y="305146"/>
                  </a:lnTo>
                  <a:lnTo>
                    <a:pt x="626205" y="305661"/>
                  </a:lnTo>
                  <a:lnTo>
                    <a:pt x="625418" y="306144"/>
                  </a:lnTo>
                  <a:lnTo>
                    <a:pt x="625811" y="306387"/>
                  </a:lnTo>
                  <a:lnTo>
                    <a:pt x="626053" y="306629"/>
                  </a:lnTo>
                  <a:lnTo>
                    <a:pt x="626326" y="306840"/>
                  </a:lnTo>
                  <a:lnTo>
                    <a:pt x="626749" y="306961"/>
                  </a:lnTo>
                  <a:lnTo>
                    <a:pt x="626386" y="308202"/>
                  </a:lnTo>
                  <a:lnTo>
                    <a:pt x="626235" y="309593"/>
                  </a:lnTo>
                  <a:lnTo>
                    <a:pt x="625842" y="310652"/>
                  </a:lnTo>
                  <a:lnTo>
                    <a:pt x="624692" y="311045"/>
                  </a:lnTo>
                  <a:lnTo>
                    <a:pt x="624692" y="311923"/>
                  </a:lnTo>
                  <a:lnTo>
                    <a:pt x="626659" y="312830"/>
                  </a:lnTo>
                  <a:lnTo>
                    <a:pt x="630138" y="316097"/>
                  </a:lnTo>
                  <a:lnTo>
                    <a:pt x="631953" y="316823"/>
                  </a:lnTo>
                  <a:lnTo>
                    <a:pt x="633253" y="317005"/>
                  </a:lnTo>
                  <a:lnTo>
                    <a:pt x="634191" y="317459"/>
                  </a:lnTo>
                  <a:lnTo>
                    <a:pt x="635643" y="318487"/>
                  </a:lnTo>
                  <a:lnTo>
                    <a:pt x="637095" y="319304"/>
                  </a:lnTo>
                  <a:lnTo>
                    <a:pt x="645626" y="322208"/>
                  </a:lnTo>
                  <a:lnTo>
                    <a:pt x="647744" y="322480"/>
                  </a:lnTo>
                  <a:lnTo>
                    <a:pt x="649619" y="321966"/>
                  </a:lnTo>
                  <a:lnTo>
                    <a:pt x="651102" y="320726"/>
                  </a:lnTo>
                  <a:lnTo>
                    <a:pt x="655639" y="314766"/>
                  </a:lnTo>
                  <a:lnTo>
                    <a:pt x="655942" y="314766"/>
                  </a:lnTo>
                  <a:lnTo>
                    <a:pt x="657454" y="311469"/>
                  </a:lnTo>
                  <a:lnTo>
                    <a:pt x="658786" y="310077"/>
                  </a:lnTo>
                  <a:lnTo>
                    <a:pt x="660177" y="309260"/>
                  </a:lnTo>
                  <a:lnTo>
                    <a:pt x="661902" y="308807"/>
                  </a:lnTo>
                  <a:lnTo>
                    <a:pt x="664049" y="308595"/>
                  </a:lnTo>
                  <a:lnTo>
                    <a:pt x="665259" y="308686"/>
                  </a:lnTo>
                  <a:lnTo>
                    <a:pt x="668496" y="309381"/>
                  </a:lnTo>
                  <a:lnTo>
                    <a:pt x="669525" y="309896"/>
                  </a:lnTo>
                  <a:lnTo>
                    <a:pt x="670553" y="311045"/>
                  </a:lnTo>
                  <a:lnTo>
                    <a:pt x="670886" y="312195"/>
                  </a:lnTo>
                  <a:lnTo>
                    <a:pt x="669858" y="312709"/>
                  </a:lnTo>
                  <a:lnTo>
                    <a:pt x="669737" y="313072"/>
                  </a:lnTo>
                  <a:lnTo>
                    <a:pt x="666711" y="315160"/>
                  </a:lnTo>
                  <a:lnTo>
                    <a:pt x="664019" y="317610"/>
                  </a:lnTo>
                  <a:lnTo>
                    <a:pt x="662809" y="317882"/>
                  </a:lnTo>
                  <a:lnTo>
                    <a:pt x="661690" y="317943"/>
                  </a:lnTo>
                  <a:lnTo>
                    <a:pt x="660570" y="318094"/>
                  </a:lnTo>
                  <a:lnTo>
                    <a:pt x="659481" y="318850"/>
                  </a:lnTo>
                  <a:lnTo>
                    <a:pt x="657848" y="321300"/>
                  </a:lnTo>
                  <a:lnTo>
                    <a:pt x="657424" y="321633"/>
                  </a:lnTo>
                  <a:lnTo>
                    <a:pt x="653582" y="322450"/>
                  </a:lnTo>
                  <a:lnTo>
                    <a:pt x="653098" y="322450"/>
                  </a:lnTo>
                  <a:lnTo>
                    <a:pt x="652735" y="322299"/>
                  </a:lnTo>
                  <a:lnTo>
                    <a:pt x="652312" y="322238"/>
                  </a:lnTo>
                  <a:lnTo>
                    <a:pt x="651586" y="322450"/>
                  </a:lnTo>
                  <a:lnTo>
                    <a:pt x="650739" y="323116"/>
                  </a:lnTo>
                  <a:lnTo>
                    <a:pt x="650134" y="323327"/>
                  </a:lnTo>
                  <a:lnTo>
                    <a:pt x="650134" y="324084"/>
                  </a:lnTo>
                  <a:lnTo>
                    <a:pt x="651767" y="324386"/>
                  </a:lnTo>
                  <a:lnTo>
                    <a:pt x="652917" y="325324"/>
                  </a:lnTo>
                  <a:lnTo>
                    <a:pt x="656002" y="329438"/>
                  </a:lnTo>
                  <a:lnTo>
                    <a:pt x="656880" y="330285"/>
                  </a:lnTo>
                  <a:lnTo>
                    <a:pt x="657938" y="330588"/>
                  </a:lnTo>
                  <a:lnTo>
                    <a:pt x="663111" y="330799"/>
                  </a:lnTo>
                  <a:lnTo>
                    <a:pt x="669071" y="332009"/>
                  </a:lnTo>
                  <a:lnTo>
                    <a:pt x="671521" y="333099"/>
                  </a:lnTo>
                  <a:lnTo>
                    <a:pt x="674032" y="334732"/>
                  </a:lnTo>
                  <a:lnTo>
                    <a:pt x="675424" y="335307"/>
                  </a:lnTo>
                  <a:lnTo>
                    <a:pt x="679024" y="335761"/>
                  </a:lnTo>
                  <a:lnTo>
                    <a:pt x="682230" y="336880"/>
                  </a:lnTo>
                  <a:lnTo>
                    <a:pt x="683955" y="337122"/>
                  </a:lnTo>
                  <a:lnTo>
                    <a:pt x="690519" y="336517"/>
                  </a:lnTo>
                  <a:lnTo>
                    <a:pt x="693726" y="335761"/>
                  </a:lnTo>
                  <a:lnTo>
                    <a:pt x="696328" y="334702"/>
                  </a:lnTo>
                  <a:lnTo>
                    <a:pt x="696085" y="333704"/>
                  </a:lnTo>
                  <a:close/>
                  <a:moveTo>
                    <a:pt x="538143" y="271870"/>
                  </a:moveTo>
                  <a:lnTo>
                    <a:pt x="539262" y="277587"/>
                  </a:lnTo>
                  <a:lnTo>
                    <a:pt x="539958" y="277587"/>
                  </a:lnTo>
                  <a:lnTo>
                    <a:pt x="544859" y="271174"/>
                  </a:lnTo>
                  <a:lnTo>
                    <a:pt x="545554" y="268209"/>
                  </a:lnTo>
                  <a:lnTo>
                    <a:pt x="542015" y="266001"/>
                  </a:lnTo>
                  <a:lnTo>
                    <a:pt x="541107" y="266092"/>
                  </a:lnTo>
                  <a:lnTo>
                    <a:pt x="540472" y="266243"/>
                  </a:lnTo>
                  <a:lnTo>
                    <a:pt x="540230" y="266697"/>
                  </a:lnTo>
                  <a:lnTo>
                    <a:pt x="540563" y="267634"/>
                  </a:lnTo>
                  <a:lnTo>
                    <a:pt x="538415" y="269147"/>
                  </a:lnTo>
                  <a:lnTo>
                    <a:pt x="538143" y="271900"/>
                  </a:lnTo>
                  <a:close/>
                  <a:moveTo>
                    <a:pt x="48281" y="286451"/>
                  </a:moveTo>
                  <a:lnTo>
                    <a:pt x="47374" y="282851"/>
                  </a:lnTo>
                  <a:lnTo>
                    <a:pt x="46890" y="281580"/>
                  </a:lnTo>
                  <a:lnTo>
                    <a:pt x="45861" y="279917"/>
                  </a:lnTo>
                  <a:lnTo>
                    <a:pt x="45075" y="279705"/>
                  </a:lnTo>
                  <a:lnTo>
                    <a:pt x="44167" y="280219"/>
                  </a:lnTo>
                  <a:lnTo>
                    <a:pt x="42685" y="280733"/>
                  </a:lnTo>
                  <a:lnTo>
                    <a:pt x="40900" y="280854"/>
                  </a:lnTo>
                  <a:lnTo>
                    <a:pt x="39992" y="280612"/>
                  </a:lnTo>
                  <a:lnTo>
                    <a:pt x="37875" y="279130"/>
                  </a:lnTo>
                  <a:lnTo>
                    <a:pt x="36544" y="278585"/>
                  </a:lnTo>
                  <a:lnTo>
                    <a:pt x="33730" y="278041"/>
                  </a:lnTo>
                  <a:lnTo>
                    <a:pt x="32369" y="277557"/>
                  </a:lnTo>
                  <a:lnTo>
                    <a:pt x="31219" y="276831"/>
                  </a:lnTo>
                  <a:lnTo>
                    <a:pt x="30826" y="276135"/>
                  </a:lnTo>
                  <a:lnTo>
                    <a:pt x="28739" y="263611"/>
                  </a:lnTo>
                  <a:lnTo>
                    <a:pt x="27559" y="261131"/>
                  </a:lnTo>
                  <a:lnTo>
                    <a:pt x="29284" y="261766"/>
                  </a:lnTo>
                  <a:lnTo>
                    <a:pt x="29919" y="261221"/>
                  </a:lnTo>
                  <a:lnTo>
                    <a:pt x="30312" y="258619"/>
                  </a:lnTo>
                  <a:lnTo>
                    <a:pt x="27922" y="258166"/>
                  </a:lnTo>
                  <a:lnTo>
                    <a:pt x="21993" y="255352"/>
                  </a:lnTo>
                  <a:lnTo>
                    <a:pt x="21993" y="254596"/>
                  </a:lnTo>
                  <a:lnTo>
                    <a:pt x="23384" y="254596"/>
                  </a:lnTo>
                  <a:lnTo>
                    <a:pt x="23384" y="253719"/>
                  </a:lnTo>
                  <a:lnTo>
                    <a:pt x="22265" y="253265"/>
                  </a:lnTo>
                  <a:lnTo>
                    <a:pt x="21388" y="252085"/>
                  </a:lnTo>
                  <a:lnTo>
                    <a:pt x="21085" y="250572"/>
                  </a:lnTo>
                  <a:lnTo>
                    <a:pt x="21630" y="249181"/>
                  </a:lnTo>
                  <a:lnTo>
                    <a:pt x="22628" y="248425"/>
                  </a:lnTo>
                  <a:lnTo>
                    <a:pt x="28799" y="246035"/>
                  </a:lnTo>
                  <a:lnTo>
                    <a:pt x="30887" y="244764"/>
                  </a:lnTo>
                  <a:lnTo>
                    <a:pt x="32157" y="242586"/>
                  </a:lnTo>
                  <a:lnTo>
                    <a:pt x="32339" y="238835"/>
                  </a:lnTo>
                  <a:lnTo>
                    <a:pt x="31643" y="238835"/>
                  </a:lnTo>
                  <a:lnTo>
                    <a:pt x="31643" y="239712"/>
                  </a:lnTo>
                  <a:lnTo>
                    <a:pt x="30947" y="239712"/>
                  </a:lnTo>
                  <a:lnTo>
                    <a:pt x="30403" y="238623"/>
                  </a:lnTo>
                  <a:lnTo>
                    <a:pt x="29374" y="238049"/>
                  </a:lnTo>
                  <a:lnTo>
                    <a:pt x="26772" y="237262"/>
                  </a:lnTo>
                  <a:lnTo>
                    <a:pt x="25774" y="236627"/>
                  </a:lnTo>
                  <a:lnTo>
                    <a:pt x="24957" y="235840"/>
                  </a:lnTo>
                  <a:lnTo>
                    <a:pt x="24020" y="235175"/>
                  </a:lnTo>
                  <a:lnTo>
                    <a:pt x="22628" y="234751"/>
                  </a:lnTo>
                  <a:lnTo>
                    <a:pt x="19936" y="236324"/>
                  </a:lnTo>
                  <a:lnTo>
                    <a:pt x="17334" y="237383"/>
                  </a:lnTo>
                  <a:lnTo>
                    <a:pt x="14400" y="237958"/>
                  </a:lnTo>
                  <a:lnTo>
                    <a:pt x="5052" y="238321"/>
                  </a:lnTo>
                  <a:lnTo>
                    <a:pt x="4114" y="238502"/>
                  </a:lnTo>
                  <a:lnTo>
                    <a:pt x="3600" y="239591"/>
                  </a:lnTo>
                  <a:lnTo>
                    <a:pt x="998" y="242949"/>
                  </a:lnTo>
                  <a:lnTo>
                    <a:pt x="0" y="243948"/>
                  </a:lnTo>
                  <a:lnTo>
                    <a:pt x="1543" y="243948"/>
                  </a:lnTo>
                  <a:lnTo>
                    <a:pt x="2390" y="244704"/>
                  </a:lnTo>
                  <a:lnTo>
                    <a:pt x="2753" y="246065"/>
                  </a:lnTo>
                  <a:lnTo>
                    <a:pt x="2692" y="247941"/>
                  </a:lnTo>
                  <a:lnTo>
                    <a:pt x="4568" y="246821"/>
                  </a:lnTo>
                  <a:lnTo>
                    <a:pt x="5113" y="247699"/>
                  </a:lnTo>
                  <a:lnTo>
                    <a:pt x="4840" y="250482"/>
                  </a:lnTo>
                  <a:lnTo>
                    <a:pt x="5536" y="252115"/>
                  </a:lnTo>
                  <a:lnTo>
                    <a:pt x="6383" y="252811"/>
                  </a:lnTo>
                  <a:lnTo>
                    <a:pt x="7563" y="252962"/>
                  </a:lnTo>
                  <a:lnTo>
                    <a:pt x="9317" y="252962"/>
                  </a:lnTo>
                  <a:lnTo>
                    <a:pt x="9590" y="253749"/>
                  </a:lnTo>
                  <a:lnTo>
                    <a:pt x="12282" y="259285"/>
                  </a:lnTo>
                  <a:lnTo>
                    <a:pt x="13553" y="260132"/>
                  </a:lnTo>
                  <a:lnTo>
                    <a:pt x="15882" y="261191"/>
                  </a:lnTo>
                  <a:lnTo>
                    <a:pt x="18453" y="263006"/>
                  </a:lnTo>
                  <a:lnTo>
                    <a:pt x="20359" y="265003"/>
                  </a:lnTo>
                  <a:lnTo>
                    <a:pt x="21569" y="267453"/>
                  </a:lnTo>
                  <a:lnTo>
                    <a:pt x="22265" y="272505"/>
                  </a:lnTo>
                  <a:lnTo>
                    <a:pt x="22991" y="274986"/>
                  </a:lnTo>
                  <a:lnTo>
                    <a:pt x="24080" y="277406"/>
                  </a:lnTo>
                  <a:lnTo>
                    <a:pt x="25442" y="279251"/>
                  </a:lnTo>
                  <a:lnTo>
                    <a:pt x="25442" y="278646"/>
                  </a:lnTo>
                  <a:lnTo>
                    <a:pt x="25532" y="278343"/>
                  </a:lnTo>
                  <a:lnTo>
                    <a:pt x="26833" y="278918"/>
                  </a:lnTo>
                  <a:lnTo>
                    <a:pt x="30312" y="279947"/>
                  </a:lnTo>
                  <a:lnTo>
                    <a:pt x="29737" y="281066"/>
                  </a:lnTo>
                  <a:lnTo>
                    <a:pt x="29041" y="281550"/>
                  </a:lnTo>
                  <a:lnTo>
                    <a:pt x="28285" y="281399"/>
                  </a:lnTo>
                  <a:lnTo>
                    <a:pt x="28709" y="281974"/>
                  </a:lnTo>
                  <a:lnTo>
                    <a:pt x="29919" y="282276"/>
                  </a:lnTo>
                  <a:lnTo>
                    <a:pt x="31310" y="282276"/>
                  </a:lnTo>
                  <a:lnTo>
                    <a:pt x="33035" y="282488"/>
                  </a:lnTo>
                  <a:lnTo>
                    <a:pt x="34033" y="283093"/>
                  </a:lnTo>
                  <a:lnTo>
                    <a:pt x="36604" y="285211"/>
                  </a:lnTo>
                  <a:lnTo>
                    <a:pt x="37512" y="285664"/>
                  </a:lnTo>
                  <a:lnTo>
                    <a:pt x="39085" y="285785"/>
                  </a:lnTo>
                  <a:lnTo>
                    <a:pt x="40839" y="286148"/>
                  </a:lnTo>
                  <a:lnTo>
                    <a:pt x="42473" y="286814"/>
                  </a:lnTo>
                  <a:lnTo>
                    <a:pt x="44803" y="288387"/>
                  </a:lnTo>
                  <a:lnTo>
                    <a:pt x="47313" y="289083"/>
                  </a:lnTo>
                  <a:lnTo>
                    <a:pt x="48221" y="289779"/>
                  </a:lnTo>
                  <a:lnTo>
                    <a:pt x="49461" y="289022"/>
                  </a:lnTo>
                  <a:lnTo>
                    <a:pt x="49461" y="288175"/>
                  </a:lnTo>
                  <a:lnTo>
                    <a:pt x="48221" y="286451"/>
                  </a:lnTo>
                  <a:close/>
                  <a:moveTo>
                    <a:pt x="568182" y="216479"/>
                  </a:moveTo>
                  <a:lnTo>
                    <a:pt x="567033" y="214725"/>
                  </a:lnTo>
                  <a:lnTo>
                    <a:pt x="565672" y="213333"/>
                  </a:lnTo>
                  <a:lnTo>
                    <a:pt x="563433" y="212547"/>
                  </a:lnTo>
                  <a:lnTo>
                    <a:pt x="558078" y="213999"/>
                  </a:lnTo>
                  <a:lnTo>
                    <a:pt x="556536" y="214211"/>
                  </a:lnTo>
                  <a:lnTo>
                    <a:pt x="556203" y="213938"/>
                  </a:lnTo>
                  <a:lnTo>
                    <a:pt x="555779" y="213363"/>
                  </a:lnTo>
                  <a:lnTo>
                    <a:pt x="555144" y="212788"/>
                  </a:lnTo>
                  <a:lnTo>
                    <a:pt x="554146" y="212547"/>
                  </a:lnTo>
                  <a:lnTo>
                    <a:pt x="547733" y="213999"/>
                  </a:lnTo>
                  <a:lnTo>
                    <a:pt x="544163" y="214180"/>
                  </a:lnTo>
                  <a:lnTo>
                    <a:pt x="544163" y="214997"/>
                  </a:lnTo>
                  <a:lnTo>
                    <a:pt x="545373" y="215451"/>
                  </a:lnTo>
                  <a:lnTo>
                    <a:pt x="545585" y="216630"/>
                  </a:lnTo>
                  <a:lnTo>
                    <a:pt x="545434" y="218234"/>
                  </a:lnTo>
                  <a:lnTo>
                    <a:pt x="545524" y="219958"/>
                  </a:lnTo>
                  <a:lnTo>
                    <a:pt x="546280" y="221198"/>
                  </a:lnTo>
                  <a:lnTo>
                    <a:pt x="547249" y="222106"/>
                  </a:lnTo>
                  <a:lnTo>
                    <a:pt x="547672" y="223135"/>
                  </a:lnTo>
                  <a:lnTo>
                    <a:pt x="546825" y="224859"/>
                  </a:lnTo>
                  <a:lnTo>
                    <a:pt x="547581" y="224859"/>
                  </a:lnTo>
                  <a:lnTo>
                    <a:pt x="546886" y="225434"/>
                  </a:lnTo>
                  <a:lnTo>
                    <a:pt x="546613" y="225615"/>
                  </a:lnTo>
                  <a:lnTo>
                    <a:pt x="546129" y="225766"/>
                  </a:lnTo>
                  <a:lnTo>
                    <a:pt x="546129" y="226523"/>
                  </a:lnTo>
                  <a:lnTo>
                    <a:pt x="546795" y="226523"/>
                  </a:lnTo>
                  <a:lnTo>
                    <a:pt x="546795" y="227400"/>
                  </a:lnTo>
                  <a:lnTo>
                    <a:pt x="546129" y="227733"/>
                  </a:lnTo>
                  <a:lnTo>
                    <a:pt x="545494" y="228217"/>
                  </a:lnTo>
                  <a:lnTo>
                    <a:pt x="545645" y="228731"/>
                  </a:lnTo>
                  <a:lnTo>
                    <a:pt x="545494" y="229790"/>
                  </a:lnTo>
                  <a:lnTo>
                    <a:pt x="546250" y="229971"/>
                  </a:lnTo>
                  <a:lnTo>
                    <a:pt x="546976" y="230456"/>
                  </a:lnTo>
                  <a:lnTo>
                    <a:pt x="547551" y="230667"/>
                  </a:lnTo>
                  <a:lnTo>
                    <a:pt x="546704" y="231212"/>
                  </a:lnTo>
                  <a:lnTo>
                    <a:pt x="546190" y="231756"/>
                  </a:lnTo>
                  <a:lnTo>
                    <a:pt x="545827" y="232361"/>
                  </a:lnTo>
                  <a:lnTo>
                    <a:pt x="545464" y="233118"/>
                  </a:lnTo>
                  <a:lnTo>
                    <a:pt x="546099" y="233118"/>
                  </a:lnTo>
                  <a:lnTo>
                    <a:pt x="547218" y="232331"/>
                  </a:lnTo>
                  <a:lnTo>
                    <a:pt x="553057" y="230667"/>
                  </a:lnTo>
                  <a:lnTo>
                    <a:pt x="553299" y="231272"/>
                  </a:lnTo>
                  <a:lnTo>
                    <a:pt x="553541" y="231665"/>
                  </a:lnTo>
                  <a:lnTo>
                    <a:pt x="553722" y="232180"/>
                  </a:lnTo>
                  <a:lnTo>
                    <a:pt x="553722" y="233118"/>
                  </a:lnTo>
                  <a:lnTo>
                    <a:pt x="554448" y="233118"/>
                  </a:lnTo>
                  <a:lnTo>
                    <a:pt x="555084" y="232089"/>
                  </a:lnTo>
                  <a:lnTo>
                    <a:pt x="556233" y="230939"/>
                  </a:lnTo>
                  <a:lnTo>
                    <a:pt x="557352" y="230546"/>
                  </a:lnTo>
                  <a:lnTo>
                    <a:pt x="557867" y="231817"/>
                  </a:lnTo>
                  <a:lnTo>
                    <a:pt x="557443" y="232240"/>
                  </a:lnTo>
                  <a:lnTo>
                    <a:pt x="555174" y="235598"/>
                  </a:lnTo>
                  <a:lnTo>
                    <a:pt x="558381" y="236808"/>
                  </a:lnTo>
                  <a:lnTo>
                    <a:pt x="560136" y="237111"/>
                  </a:lnTo>
                  <a:lnTo>
                    <a:pt x="562344" y="237232"/>
                  </a:lnTo>
                  <a:lnTo>
                    <a:pt x="563009" y="236445"/>
                  </a:lnTo>
                  <a:lnTo>
                    <a:pt x="562344" y="234661"/>
                  </a:lnTo>
                  <a:lnTo>
                    <a:pt x="561104" y="232694"/>
                  </a:lnTo>
                  <a:lnTo>
                    <a:pt x="559954" y="231393"/>
                  </a:lnTo>
                  <a:lnTo>
                    <a:pt x="559621" y="231726"/>
                  </a:lnTo>
                  <a:lnTo>
                    <a:pt x="559410" y="231847"/>
                  </a:lnTo>
                  <a:lnTo>
                    <a:pt x="558563" y="232210"/>
                  </a:lnTo>
                  <a:lnTo>
                    <a:pt x="559319" y="230425"/>
                  </a:lnTo>
                  <a:lnTo>
                    <a:pt x="560287" y="228761"/>
                  </a:lnTo>
                  <a:lnTo>
                    <a:pt x="561618" y="227612"/>
                  </a:lnTo>
                  <a:lnTo>
                    <a:pt x="563403" y="227340"/>
                  </a:lnTo>
                  <a:lnTo>
                    <a:pt x="562888" y="226855"/>
                  </a:lnTo>
                  <a:lnTo>
                    <a:pt x="562253" y="226553"/>
                  </a:lnTo>
                  <a:lnTo>
                    <a:pt x="561497" y="226402"/>
                  </a:lnTo>
                  <a:lnTo>
                    <a:pt x="560559" y="226402"/>
                  </a:lnTo>
                  <a:lnTo>
                    <a:pt x="564764" y="223195"/>
                  </a:lnTo>
                  <a:lnTo>
                    <a:pt x="565944" y="223316"/>
                  </a:lnTo>
                  <a:lnTo>
                    <a:pt x="567305" y="223951"/>
                  </a:lnTo>
                  <a:lnTo>
                    <a:pt x="568425" y="225101"/>
                  </a:lnTo>
                  <a:lnTo>
                    <a:pt x="568878" y="226855"/>
                  </a:lnTo>
                  <a:lnTo>
                    <a:pt x="568334" y="227944"/>
                  </a:lnTo>
                  <a:lnTo>
                    <a:pt x="567063" y="229094"/>
                  </a:lnTo>
                  <a:lnTo>
                    <a:pt x="564764" y="230576"/>
                  </a:lnTo>
                  <a:lnTo>
                    <a:pt x="566549" y="230849"/>
                  </a:lnTo>
                  <a:lnTo>
                    <a:pt x="568213" y="233269"/>
                  </a:lnTo>
                  <a:lnTo>
                    <a:pt x="569937" y="233874"/>
                  </a:lnTo>
                  <a:lnTo>
                    <a:pt x="570270" y="234388"/>
                  </a:lnTo>
                  <a:lnTo>
                    <a:pt x="570270" y="235507"/>
                  </a:lnTo>
                  <a:lnTo>
                    <a:pt x="570451" y="236627"/>
                  </a:lnTo>
                  <a:lnTo>
                    <a:pt x="571298" y="237141"/>
                  </a:lnTo>
                  <a:lnTo>
                    <a:pt x="574172" y="238018"/>
                  </a:lnTo>
                  <a:lnTo>
                    <a:pt x="574808" y="238321"/>
                  </a:lnTo>
                  <a:lnTo>
                    <a:pt x="575866" y="239047"/>
                  </a:lnTo>
                  <a:lnTo>
                    <a:pt x="576260" y="238381"/>
                  </a:lnTo>
                  <a:lnTo>
                    <a:pt x="576350" y="237202"/>
                  </a:lnTo>
                  <a:lnTo>
                    <a:pt x="576532" y="236354"/>
                  </a:lnTo>
                  <a:lnTo>
                    <a:pt x="577409" y="235659"/>
                  </a:lnTo>
                  <a:lnTo>
                    <a:pt x="577893" y="235659"/>
                  </a:lnTo>
                  <a:lnTo>
                    <a:pt x="578014" y="235538"/>
                  </a:lnTo>
                  <a:lnTo>
                    <a:pt x="577893" y="234661"/>
                  </a:lnTo>
                  <a:lnTo>
                    <a:pt x="577107" y="233571"/>
                  </a:lnTo>
                  <a:lnTo>
                    <a:pt x="575866" y="232331"/>
                  </a:lnTo>
                  <a:lnTo>
                    <a:pt x="575292" y="231030"/>
                  </a:lnTo>
                  <a:lnTo>
                    <a:pt x="576562" y="229730"/>
                  </a:lnTo>
                  <a:lnTo>
                    <a:pt x="575049" y="228670"/>
                  </a:lnTo>
                  <a:lnTo>
                    <a:pt x="575171" y="227521"/>
                  </a:lnTo>
                  <a:lnTo>
                    <a:pt x="576320" y="226462"/>
                  </a:lnTo>
                  <a:lnTo>
                    <a:pt x="577863" y="225676"/>
                  </a:lnTo>
                  <a:lnTo>
                    <a:pt x="577167" y="225585"/>
                  </a:lnTo>
                  <a:lnTo>
                    <a:pt x="575806" y="224799"/>
                  </a:lnTo>
                  <a:lnTo>
                    <a:pt x="576562" y="224042"/>
                  </a:lnTo>
                  <a:lnTo>
                    <a:pt x="577439" y="223498"/>
                  </a:lnTo>
                  <a:lnTo>
                    <a:pt x="578559" y="223195"/>
                  </a:lnTo>
                  <a:lnTo>
                    <a:pt x="579950" y="223195"/>
                  </a:lnTo>
                  <a:lnTo>
                    <a:pt x="579617" y="220231"/>
                  </a:lnTo>
                  <a:lnTo>
                    <a:pt x="581221" y="217901"/>
                  </a:lnTo>
                  <a:lnTo>
                    <a:pt x="583732" y="216177"/>
                  </a:lnTo>
                  <a:lnTo>
                    <a:pt x="586091" y="214967"/>
                  </a:lnTo>
                  <a:lnTo>
                    <a:pt x="585819" y="214392"/>
                  </a:lnTo>
                  <a:lnTo>
                    <a:pt x="585668" y="213182"/>
                  </a:lnTo>
                  <a:lnTo>
                    <a:pt x="585335" y="212093"/>
                  </a:lnTo>
                  <a:lnTo>
                    <a:pt x="585335" y="211730"/>
                  </a:lnTo>
                  <a:lnTo>
                    <a:pt x="585244" y="211518"/>
                  </a:lnTo>
                  <a:lnTo>
                    <a:pt x="584760" y="211579"/>
                  </a:lnTo>
                  <a:lnTo>
                    <a:pt x="584760" y="210822"/>
                  </a:lnTo>
                  <a:lnTo>
                    <a:pt x="585214" y="210399"/>
                  </a:lnTo>
                  <a:lnTo>
                    <a:pt x="586091" y="209189"/>
                  </a:lnTo>
                  <a:lnTo>
                    <a:pt x="583218" y="210610"/>
                  </a:lnTo>
                  <a:lnTo>
                    <a:pt x="582340" y="210822"/>
                  </a:lnTo>
                  <a:lnTo>
                    <a:pt x="579648" y="210913"/>
                  </a:lnTo>
                  <a:lnTo>
                    <a:pt x="579254" y="210822"/>
                  </a:lnTo>
                  <a:lnTo>
                    <a:pt x="577954" y="211821"/>
                  </a:lnTo>
                  <a:lnTo>
                    <a:pt x="575806" y="214694"/>
                  </a:lnTo>
                  <a:lnTo>
                    <a:pt x="575806" y="215753"/>
                  </a:lnTo>
                  <a:lnTo>
                    <a:pt x="574414" y="216873"/>
                  </a:lnTo>
                  <a:lnTo>
                    <a:pt x="571661" y="218355"/>
                  </a:lnTo>
                  <a:lnTo>
                    <a:pt x="569453" y="219142"/>
                  </a:lnTo>
                  <a:lnTo>
                    <a:pt x="569665" y="218204"/>
                  </a:lnTo>
                  <a:lnTo>
                    <a:pt x="568182" y="216358"/>
                  </a:lnTo>
                  <a:close/>
                  <a:moveTo>
                    <a:pt x="610081" y="156249"/>
                  </a:moveTo>
                  <a:lnTo>
                    <a:pt x="608387" y="154736"/>
                  </a:lnTo>
                  <a:lnTo>
                    <a:pt x="606844" y="153677"/>
                  </a:lnTo>
                  <a:lnTo>
                    <a:pt x="598737" y="151439"/>
                  </a:lnTo>
                  <a:lnTo>
                    <a:pt x="595802" y="151348"/>
                  </a:lnTo>
                  <a:lnTo>
                    <a:pt x="593140" y="152255"/>
                  </a:lnTo>
                  <a:lnTo>
                    <a:pt x="587241" y="155432"/>
                  </a:lnTo>
                  <a:lnTo>
                    <a:pt x="585396" y="155371"/>
                  </a:lnTo>
                  <a:lnTo>
                    <a:pt x="586243" y="156975"/>
                  </a:lnTo>
                  <a:lnTo>
                    <a:pt x="587695" y="158548"/>
                  </a:lnTo>
                  <a:lnTo>
                    <a:pt x="594380" y="163479"/>
                  </a:lnTo>
                  <a:lnTo>
                    <a:pt x="597859" y="165294"/>
                  </a:lnTo>
                  <a:lnTo>
                    <a:pt x="600067" y="165505"/>
                  </a:lnTo>
                  <a:lnTo>
                    <a:pt x="609476" y="162480"/>
                  </a:lnTo>
                  <a:lnTo>
                    <a:pt x="610746" y="161331"/>
                  </a:lnTo>
                  <a:lnTo>
                    <a:pt x="610292" y="159516"/>
                  </a:lnTo>
                  <a:lnTo>
                    <a:pt x="610958" y="157912"/>
                  </a:lnTo>
                  <a:lnTo>
                    <a:pt x="610081" y="156218"/>
                  </a:lnTo>
                  <a:close/>
                  <a:moveTo>
                    <a:pt x="519296" y="124636"/>
                  </a:moveTo>
                  <a:lnTo>
                    <a:pt x="518903" y="123759"/>
                  </a:lnTo>
                  <a:lnTo>
                    <a:pt x="518177" y="122942"/>
                  </a:lnTo>
                  <a:lnTo>
                    <a:pt x="517239" y="122337"/>
                  </a:lnTo>
                  <a:lnTo>
                    <a:pt x="516180" y="122095"/>
                  </a:lnTo>
                  <a:lnTo>
                    <a:pt x="515000" y="121641"/>
                  </a:lnTo>
                  <a:lnTo>
                    <a:pt x="514456" y="120612"/>
                  </a:lnTo>
                  <a:lnTo>
                    <a:pt x="514184" y="119463"/>
                  </a:lnTo>
                  <a:lnTo>
                    <a:pt x="513790" y="118707"/>
                  </a:lnTo>
                  <a:lnTo>
                    <a:pt x="512157" y="118162"/>
                  </a:lnTo>
                  <a:lnTo>
                    <a:pt x="508043" y="117708"/>
                  </a:lnTo>
                  <a:lnTo>
                    <a:pt x="504775" y="116226"/>
                  </a:lnTo>
                  <a:lnTo>
                    <a:pt x="497182" y="122125"/>
                  </a:lnTo>
                  <a:lnTo>
                    <a:pt x="493824" y="126693"/>
                  </a:lnTo>
                  <a:lnTo>
                    <a:pt x="492312" y="129809"/>
                  </a:lnTo>
                  <a:lnTo>
                    <a:pt x="491677" y="132955"/>
                  </a:lnTo>
                  <a:lnTo>
                    <a:pt x="492161" y="136313"/>
                  </a:lnTo>
                  <a:lnTo>
                    <a:pt x="493552" y="137311"/>
                  </a:lnTo>
                  <a:lnTo>
                    <a:pt x="495730" y="137372"/>
                  </a:lnTo>
                  <a:lnTo>
                    <a:pt x="498513" y="138007"/>
                  </a:lnTo>
                  <a:lnTo>
                    <a:pt x="499179" y="138370"/>
                  </a:lnTo>
                  <a:lnTo>
                    <a:pt x="500601" y="139580"/>
                  </a:lnTo>
                  <a:lnTo>
                    <a:pt x="500661" y="139852"/>
                  </a:lnTo>
                  <a:lnTo>
                    <a:pt x="500540" y="140911"/>
                  </a:lnTo>
                  <a:lnTo>
                    <a:pt x="500601" y="141214"/>
                  </a:lnTo>
                  <a:lnTo>
                    <a:pt x="500873" y="141304"/>
                  </a:lnTo>
                  <a:lnTo>
                    <a:pt x="501720" y="141123"/>
                  </a:lnTo>
                  <a:lnTo>
                    <a:pt x="502053" y="141184"/>
                  </a:lnTo>
                  <a:lnTo>
                    <a:pt x="503626" y="142575"/>
                  </a:lnTo>
                  <a:lnTo>
                    <a:pt x="504322" y="143452"/>
                  </a:lnTo>
                  <a:lnTo>
                    <a:pt x="504775" y="144572"/>
                  </a:lnTo>
                  <a:lnTo>
                    <a:pt x="506318" y="143755"/>
                  </a:lnTo>
                  <a:lnTo>
                    <a:pt x="508769" y="141607"/>
                  </a:lnTo>
                  <a:lnTo>
                    <a:pt x="509979" y="141184"/>
                  </a:lnTo>
                  <a:lnTo>
                    <a:pt x="513306" y="140639"/>
                  </a:lnTo>
                  <a:lnTo>
                    <a:pt x="515091" y="139973"/>
                  </a:lnTo>
                  <a:lnTo>
                    <a:pt x="515878" y="139126"/>
                  </a:lnTo>
                  <a:lnTo>
                    <a:pt x="516241" y="138612"/>
                  </a:lnTo>
                  <a:lnTo>
                    <a:pt x="517995" y="139641"/>
                  </a:lnTo>
                  <a:lnTo>
                    <a:pt x="518691" y="139550"/>
                  </a:lnTo>
                  <a:lnTo>
                    <a:pt x="518903" y="138582"/>
                  </a:lnTo>
                  <a:lnTo>
                    <a:pt x="518631" y="137644"/>
                  </a:lnTo>
                  <a:lnTo>
                    <a:pt x="517935" y="136253"/>
                  </a:lnTo>
                  <a:lnTo>
                    <a:pt x="517269" y="132562"/>
                  </a:lnTo>
                  <a:lnTo>
                    <a:pt x="517602" y="130898"/>
                  </a:lnTo>
                  <a:lnTo>
                    <a:pt x="519326" y="130353"/>
                  </a:lnTo>
                  <a:lnTo>
                    <a:pt x="519326" y="127933"/>
                  </a:lnTo>
                  <a:lnTo>
                    <a:pt x="517330" y="127480"/>
                  </a:lnTo>
                  <a:lnTo>
                    <a:pt x="516604" y="126058"/>
                  </a:lnTo>
                  <a:lnTo>
                    <a:pt x="517209" y="124727"/>
                  </a:lnTo>
                  <a:lnTo>
                    <a:pt x="519326" y="124636"/>
                  </a:lnTo>
                  <a:close/>
                  <a:moveTo>
                    <a:pt x="365588" y="526042"/>
                  </a:moveTo>
                  <a:lnTo>
                    <a:pt x="364832" y="525951"/>
                  </a:lnTo>
                  <a:lnTo>
                    <a:pt x="364832" y="525225"/>
                  </a:lnTo>
                  <a:lnTo>
                    <a:pt x="365437" y="524378"/>
                  </a:lnTo>
                  <a:lnTo>
                    <a:pt x="364409" y="524530"/>
                  </a:lnTo>
                  <a:lnTo>
                    <a:pt x="363380" y="524439"/>
                  </a:lnTo>
                  <a:lnTo>
                    <a:pt x="362684" y="523895"/>
                  </a:lnTo>
                  <a:lnTo>
                    <a:pt x="362684" y="522775"/>
                  </a:lnTo>
                  <a:lnTo>
                    <a:pt x="366133" y="522049"/>
                  </a:lnTo>
                  <a:lnTo>
                    <a:pt x="365952" y="520869"/>
                  </a:lnTo>
                  <a:lnTo>
                    <a:pt x="367313" y="520718"/>
                  </a:lnTo>
                  <a:lnTo>
                    <a:pt x="370943" y="521202"/>
                  </a:lnTo>
                  <a:lnTo>
                    <a:pt x="370671" y="520748"/>
                  </a:lnTo>
                  <a:lnTo>
                    <a:pt x="370550" y="520385"/>
                  </a:lnTo>
                  <a:lnTo>
                    <a:pt x="370489" y="520022"/>
                  </a:lnTo>
                  <a:lnTo>
                    <a:pt x="370338" y="519629"/>
                  </a:lnTo>
                  <a:lnTo>
                    <a:pt x="372093" y="519901"/>
                  </a:lnTo>
                  <a:lnTo>
                    <a:pt x="384042" y="519357"/>
                  </a:lnTo>
                  <a:lnTo>
                    <a:pt x="384526" y="519357"/>
                  </a:lnTo>
                  <a:lnTo>
                    <a:pt x="390455" y="517481"/>
                  </a:lnTo>
                  <a:lnTo>
                    <a:pt x="392512" y="516452"/>
                  </a:lnTo>
                  <a:lnTo>
                    <a:pt x="392512" y="515666"/>
                  </a:lnTo>
                  <a:lnTo>
                    <a:pt x="391998" y="515122"/>
                  </a:lnTo>
                  <a:lnTo>
                    <a:pt x="391817" y="514849"/>
                  </a:lnTo>
                  <a:lnTo>
                    <a:pt x="391968" y="514607"/>
                  </a:lnTo>
                  <a:lnTo>
                    <a:pt x="392512" y="514063"/>
                  </a:lnTo>
                  <a:lnTo>
                    <a:pt x="387823" y="510463"/>
                  </a:lnTo>
                  <a:lnTo>
                    <a:pt x="385766" y="509828"/>
                  </a:lnTo>
                  <a:lnTo>
                    <a:pt x="383497" y="508436"/>
                  </a:lnTo>
                  <a:lnTo>
                    <a:pt x="380926" y="508013"/>
                  </a:lnTo>
                  <a:lnTo>
                    <a:pt x="380049" y="507650"/>
                  </a:lnTo>
                  <a:lnTo>
                    <a:pt x="379353" y="507650"/>
                  </a:lnTo>
                  <a:lnTo>
                    <a:pt x="379353" y="506863"/>
                  </a:lnTo>
                  <a:lnTo>
                    <a:pt x="380079" y="506772"/>
                  </a:lnTo>
                  <a:lnTo>
                    <a:pt x="382045" y="506137"/>
                  </a:lnTo>
                  <a:lnTo>
                    <a:pt x="382045" y="505260"/>
                  </a:lnTo>
                  <a:lnTo>
                    <a:pt x="380563" y="505018"/>
                  </a:lnTo>
                  <a:lnTo>
                    <a:pt x="379323" y="504564"/>
                  </a:lnTo>
                  <a:lnTo>
                    <a:pt x="378234" y="503868"/>
                  </a:lnTo>
                  <a:lnTo>
                    <a:pt x="377235" y="502870"/>
                  </a:lnTo>
                  <a:lnTo>
                    <a:pt x="378899" y="501055"/>
                  </a:lnTo>
                  <a:lnTo>
                    <a:pt x="380260" y="497788"/>
                  </a:lnTo>
                  <a:lnTo>
                    <a:pt x="380714" y="494702"/>
                  </a:lnTo>
                  <a:lnTo>
                    <a:pt x="379686" y="493310"/>
                  </a:lnTo>
                  <a:lnTo>
                    <a:pt x="374573" y="493703"/>
                  </a:lnTo>
                  <a:lnTo>
                    <a:pt x="372698" y="494430"/>
                  </a:lnTo>
                  <a:lnTo>
                    <a:pt x="370973" y="495700"/>
                  </a:lnTo>
                  <a:lnTo>
                    <a:pt x="370973" y="496487"/>
                  </a:lnTo>
                  <a:lnTo>
                    <a:pt x="373817" y="497666"/>
                  </a:lnTo>
                  <a:lnTo>
                    <a:pt x="375693" y="500692"/>
                  </a:lnTo>
                  <a:lnTo>
                    <a:pt x="375813" y="503777"/>
                  </a:lnTo>
                  <a:lnTo>
                    <a:pt x="373424" y="505199"/>
                  </a:lnTo>
                  <a:lnTo>
                    <a:pt x="372032" y="504987"/>
                  </a:lnTo>
                  <a:lnTo>
                    <a:pt x="370943" y="504382"/>
                  </a:lnTo>
                  <a:lnTo>
                    <a:pt x="368916" y="502839"/>
                  </a:lnTo>
                  <a:lnTo>
                    <a:pt x="368100" y="502446"/>
                  </a:lnTo>
                  <a:lnTo>
                    <a:pt x="367585" y="502355"/>
                  </a:lnTo>
                  <a:lnTo>
                    <a:pt x="367162" y="502204"/>
                  </a:lnTo>
                  <a:lnTo>
                    <a:pt x="363441" y="498846"/>
                  </a:lnTo>
                  <a:lnTo>
                    <a:pt x="362684" y="499724"/>
                  </a:lnTo>
                  <a:lnTo>
                    <a:pt x="358661" y="496850"/>
                  </a:lnTo>
                  <a:lnTo>
                    <a:pt x="356483" y="496063"/>
                  </a:lnTo>
                  <a:lnTo>
                    <a:pt x="356090" y="495035"/>
                  </a:lnTo>
                  <a:lnTo>
                    <a:pt x="355817" y="492524"/>
                  </a:lnTo>
                  <a:lnTo>
                    <a:pt x="357209" y="492524"/>
                  </a:lnTo>
                  <a:lnTo>
                    <a:pt x="356362" y="489982"/>
                  </a:lnTo>
                  <a:lnTo>
                    <a:pt x="356029" y="488228"/>
                  </a:lnTo>
                  <a:lnTo>
                    <a:pt x="356271" y="486443"/>
                  </a:lnTo>
                  <a:lnTo>
                    <a:pt x="357209" y="483781"/>
                  </a:lnTo>
                  <a:lnTo>
                    <a:pt x="355575" y="483660"/>
                  </a:lnTo>
                  <a:lnTo>
                    <a:pt x="354244" y="483085"/>
                  </a:lnTo>
                  <a:lnTo>
                    <a:pt x="351733" y="481331"/>
                  </a:lnTo>
                  <a:lnTo>
                    <a:pt x="352036" y="480151"/>
                  </a:lnTo>
                  <a:lnTo>
                    <a:pt x="352127" y="479425"/>
                  </a:lnTo>
                  <a:lnTo>
                    <a:pt x="352429" y="479062"/>
                  </a:lnTo>
                  <a:lnTo>
                    <a:pt x="354668" y="478729"/>
                  </a:lnTo>
                  <a:lnTo>
                    <a:pt x="356513" y="477670"/>
                  </a:lnTo>
                  <a:lnTo>
                    <a:pt x="357875" y="477428"/>
                  </a:lnTo>
                  <a:lnTo>
                    <a:pt x="357451" y="476581"/>
                  </a:lnTo>
                  <a:lnTo>
                    <a:pt x="357300" y="475583"/>
                  </a:lnTo>
                  <a:lnTo>
                    <a:pt x="357451" y="474494"/>
                  </a:lnTo>
                  <a:lnTo>
                    <a:pt x="357875" y="473344"/>
                  </a:lnTo>
                  <a:lnTo>
                    <a:pt x="355999" y="472618"/>
                  </a:lnTo>
                  <a:lnTo>
                    <a:pt x="354214" y="471408"/>
                  </a:lnTo>
                  <a:lnTo>
                    <a:pt x="350977" y="468474"/>
                  </a:lnTo>
                  <a:lnTo>
                    <a:pt x="349283" y="469321"/>
                  </a:lnTo>
                  <a:lnTo>
                    <a:pt x="346893" y="469593"/>
                  </a:lnTo>
                  <a:lnTo>
                    <a:pt x="344503" y="469321"/>
                  </a:lnTo>
                  <a:lnTo>
                    <a:pt x="342749" y="468474"/>
                  </a:lnTo>
                  <a:lnTo>
                    <a:pt x="340782" y="468837"/>
                  </a:lnTo>
                  <a:lnTo>
                    <a:pt x="339451" y="467082"/>
                  </a:lnTo>
                  <a:lnTo>
                    <a:pt x="339028" y="464813"/>
                  </a:lnTo>
                  <a:lnTo>
                    <a:pt x="339663" y="463694"/>
                  </a:lnTo>
                  <a:lnTo>
                    <a:pt x="340571" y="463089"/>
                  </a:lnTo>
                  <a:lnTo>
                    <a:pt x="340722" y="461758"/>
                  </a:lnTo>
                  <a:lnTo>
                    <a:pt x="340722" y="460427"/>
                  </a:lnTo>
                  <a:lnTo>
                    <a:pt x="341055" y="459792"/>
                  </a:lnTo>
                  <a:lnTo>
                    <a:pt x="342144" y="459913"/>
                  </a:lnTo>
                  <a:lnTo>
                    <a:pt x="343021" y="460124"/>
                  </a:lnTo>
                  <a:lnTo>
                    <a:pt x="343808" y="460124"/>
                  </a:lnTo>
                  <a:lnTo>
                    <a:pt x="344745" y="459792"/>
                  </a:lnTo>
                  <a:lnTo>
                    <a:pt x="348980" y="461456"/>
                  </a:lnTo>
                  <a:lnTo>
                    <a:pt x="353851" y="459217"/>
                  </a:lnTo>
                  <a:lnTo>
                    <a:pt x="355575" y="458007"/>
                  </a:lnTo>
                  <a:lnTo>
                    <a:pt x="358570" y="455859"/>
                  </a:lnTo>
                  <a:lnTo>
                    <a:pt x="362352" y="454135"/>
                  </a:lnTo>
                  <a:lnTo>
                    <a:pt x="372728" y="453348"/>
                  </a:lnTo>
                  <a:lnTo>
                    <a:pt x="380684" y="454074"/>
                  </a:lnTo>
                  <a:lnTo>
                    <a:pt x="382741" y="453348"/>
                  </a:lnTo>
                  <a:lnTo>
                    <a:pt x="379323" y="452471"/>
                  </a:lnTo>
                  <a:lnTo>
                    <a:pt x="380987" y="451715"/>
                  </a:lnTo>
                  <a:lnTo>
                    <a:pt x="384828" y="448538"/>
                  </a:lnTo>
                  <a:lnTo>
                    <a:pt x="385887" y="448054"/>
                  </a:lnTo>
                  <a:lnTo>
                    <a:pt x="386946" y="447812"/>
                  </a:lnTo>
                  <a:lnTo>
                    <a:pt x="389336" y="447691"/>
                  </a:lnTo>
                  <a:lnTo>
                    <a:pt x="389850" y="447449"/>
                  </a:lnTo>
                  <a:lnTo>
                    <a:pt x="390334" y="446874"/>
                  </a:lnTo>
                  <a:lnTo>
                    <a:pt x="391000" y="446330"/>
                  </a:lnTo>
                  <a:lnTo>
                    <a:pt x="392059" y="446088"/>
                  </a:lnTo>
                  <a:lnTo>
                    <a:pt x="395870" y="446088"/>
                  </a:lnTo>
                  <a:lnTo>
                    <a:pt x="396717" y="445906"/>
                  </a:lnTo>
                  <a:lnTo>
                    <a:pt x="397353" y="445604"/>
                  </a:lnTo>
                  <a:lnTo>
                    <a:pt x="398018" y="445664"/>
                  </a:lnTo>
                  <a:lnTo>
                    <a:pt x="398956" y="446572"/>
                  </a:lnTo>
                  <a:lnTo>
                    <a:pt x="399682" y="448629"/>
                  </a:lnTo>
                  <a:lnTo>
                    <a:pt x="398774" y="450383"/>
                  </a:lnTo>
                  <a:lnTo>
                    <a:pt x="395174" y="453409"/>
                  </a:lnTo>
                  <a:lnTo>
                    <a:pt x="395961" y="454316"/>
                  </a:lnTo>
                  <a:lnTo>
                    <a:pt x="396990" y="454800"/>
                  </a:lnTo>
                  <a:lnTo>
                    <a:pt x="398230" y="454982"/>
                  </a:lnTo>
                  <a:lnTo>
                    <a:pt x="399682" y="454982"/>
                  </a:lnTo>
                  <a:lnTo>
                    <a:pt x="400953" y="455556"/>
                  </a:lnTo>
                  <a:lnTo>
                    <a:pt x="401709" y="456585"/>
                  </a:lnTo>
                  <a:lnTo>
                    <a:pt x="402586" y="457251"/>
                  </a:lnTo>
                  <a:lnTo>
                    <a:pt x="404129" y="456645"/>
                  </a:lnTo>
                  <a:lnTo>
                    <a:pt x="404038" y="457432"/>
                  </a:lnTo>
                  <a:lnTo>
                    <a:pt x="403736" y="457765"/>
                  </a:lnTo>
                  <a:lnTo>
                    <a:pt x="402768" y="458158"/>
                  </a:lnTo>
                  <a:lnTo>
                    <a:pt x="402768" y="458944"/>
                  </a:lnTo>
                  <a:lnTo>
                    <a:pt x="404552" y="458491"/>
                  </a:lnTo>
                  <a:lnTo>
                    <a:pt x="406307" y="457765"/>
                  </a:lnTo>
                  <a:lnTo>
                    <a:pt x="408001" y="457432"/>
                  </a:lnTo>
                  <a:lnTo>
                    <a:pt x="409695" y="458158"/>
                  </a:lnTo>
                  <a:lnTo>
                    <a:pt x="410058" y="459822"/>
                  </a:lnTo>
                  <a:lnTo>
                    <a:pt x="414233" y="465509"/>
                  </a:lnTo>
                  <a:lnTo>
                    <a:pt x="414505" y="467717"/>
                  </a:lnTo>
                  <a:lnTo>
                    <a:pt x="416683" y="469895"/>
                  </a:lnTo>
                  <a:lnTo>
                    <a:pt x="417137" y="471136"/>
                  </a:lnTo>
                  <a:lnTo>
                    <a:pt x="416502" y="472588"/>
                  </a:lnTo>
                  <a:lnTo>
                    <a:pt x="417409" y="472497"/>
                  </a:lnTo>
                  <a:lnTo>
                    <a:pt x="417712" y="472800"/>
                  </a:lnTo>
                  <a:lnTo>
                    <a:pt x="417772" y="473405"/>
                  </a:lnTo>
                  <a:lnTo>
                    <a:pt x="417924" y="474191"/>
                  </a:lnTo>
                  <a:lnTo>
                    <a:pt x="418680" y="473042"/>
                  </a:lnTo>
                  <a:lnTo>
                    <a:pt x="419739" y="473465"/>
                  </a:lnTo>
                  <a:lnTo>
                    <a:pt x="420737" y="473465"/>
                  </a:lnTo>
                  <a:lnTo>
                    <a:pt x="421312" y="470985"/>
                  </a:lnTo>
                  <a:lnTo>
                    <a:pt x="421947" y="470985"/>
                  </a:lnTo>
                  <a:lnTo>
                    <a:pt x="422219" y="471650"/>
                  </a:lnTo>
                  <a:lnTo>
                    <a:pt x="422552" y="471983"/>
                  </a:lnTo>
                  <a:lnTo>
                    <a:pt x="422945" y="472195"/>
                  </a:lnTo>
                  <a:lnTo>
                    <a:pt x="423399" y="472588"/>
                  </a:lnTo>
                  <a:lnTo>
                    <a:pt x="424821" y="472346"/>
                  </a:lnTo>
                  <a:lnTo>
                    <a:pt x="426636" y="473556"/>
                  </a:lnTo>
                  <a:lnTo>
                    <a:pt x="428239" y="475492"/>
                  </a:lnTo>
                  <a:lnTo>
                    <a:pt x="428965" y="477458"/>
                  </a:lnTo>
                  <a:lnTo>
                    <a:pt x="429964" y="476884"/>
                  </a:lnTo>
                  <a:lnTo>
                    <a:pt x="430357" y="476581"/>
                  </a:lnTo>
                  <a:lnTo>
                    <a:pt x="431446" y="481512"/>
                  </a:lnTo>
                  <a:lnTo>
                    <a:pt x="432384" y="483660"/>
                  </a:lnTo>
                  <a:lnTo>
                    <a:pt x="433775" y="482934"/>
                  </a:lnTo>
                  <a:lnTo>
                    <a:pt x="434471" y="482934"/>
                  </a:lnTo>
                  <a:lnTo>
                    <a:pt x="434411" y="487290"/>
                  </a:lnTo>
                  <a:lnTo>
                    <a:pt x="435106" y="488742"/>
                  </a:lnTo>
                  <a:lnTo>
                    <a:pt x="436891" y="489317"/>
                  </a:lnTo>
                  <a:lnTo>
                    <a:pt x="438464" y="489559"/>
                  </a:lnTo>
                  <a:lnTo>
                    <a:pt x="442306" y="491011"/>
                  </a:lnTo>
                  <a:lnTo>
                    <a:pt x="443456" y="491737"/>
                  </a:lnTo>
                  <a:lnTo>
                    <a:pt x="444847" y="490073"/>
                  </a:lnTo>
                  <a:lnTo>
                    <a:pt x="446602" y="488621"/>
                  </a:lnTo>
                  <a:lnTo>
                    <a:pt x="447449" y="487320"/>
                  </a:lnTo>
                  <a:lnTo>
                    <a:pt x="446178" y="486171"/>
                  </a:lnTo>
                  <a:lnTo>
                    <a:pt x="446632" y="485505"/>
                  </a:lnTo>
                  <a:lnTo>
                    <a:pt x="446753" y="485505"/>
                  </a:lnTo>
                  <a:lnTo>
                    <a:pt x="446814" y="485868"/>
                  </a:lnTo>
                  <a:lnTo>
                    <a:pt x="446935" y="486171"/>
                  </a:lnTo>
                  <a:lnTo>
                    <a:pt x="446814" y="485505"/>
                  </a:lnTo>
                  <a:lnTo>
                    <a:pt x="446904" y="484961"/>
                  </a:lnTo>
                  <a:lnTo>
                    <a:pt x="446814" y="484598"/>
                  </a:lnTo>
                  <a:lnTo>
                    <a:pt x="446178" y="484507"/>
                  </a:lnTo>
                  <a:lnTo>
                    <a:pt x="446178" y="483781"/>
                  </a:lnTo>
                  <a:lnTo>
                    <a:pt x="447570" y="483781"/>
                  </a:lnTo>
                  <a:lnTo>
                    <a:pt x="447570" y="482904"/>
                  </a:lnTo>
                  <a:lnTo>
                    <a:pt x="446178" y="482178"/>
                  </a:lnTo>
                  <a:lnTo>
                    <a:pt x="448447" y="479969"/>
                  </a:lnTo>
                  <a:lnTo>
                    <a:pt x="448871" y="478668"/>
                  </a:lnTo>
                  <a:lnTo>
                    <a:pt x="448992" y="476158"/>
                  </a:lnTo>
                  <a:lnTo>
                    <a:pt x="448719" y="474222"/>
                  </a:lnTo>
                  <a:lnTo>
                    <a:pt x="447963" y="473133"/>
                  </a:lnTo>
                  <a:lnTo>
                    <a:pt x="445573" y="471771"/>
                  </a:lnTo>
                  <a:lnTo>
                    <a:pt x="445755" y="471106"/>
                  </a:lnTo>
                  <a:lnTo>
                    <a:pt x="446027" y="470682"/>
                  </a:lnTo>
                  <a:lnTo>
                    <a:pt x="446451" y="470380"/>
                  </a:lnTo>
                  <a:lnTo>
                    <a:pt x="446965" y="470107"/>
                  </a:lnTo>
                  <a:lnTo>
                    <a:pt x="446451" y="469472"/>
                  </a:lnTo>
                  <a:lnTo>
                    <a:pt x="446209" y="468776"/>
                  </a:lnTo>
                  <a:lnTo>
                    <a:pt x="446360" y="467960"/>
                  </a:lnTo>
                  <a:lnTo>
                    <a:pt x="446965" y="466931"/>
                  </a:lnTo>
                  <a:lnTo>
                    <a:pt x="445452" y="466296"/>
                  </a:lnTo>
                  <a:lnTo>
                    <a:pt x="444908" y="466175"/>
                  </a:lnTo>
                  <a:lnTo>
                    <a:pt x="445604" y="465297"/>
                  </a:lnTo>
                  <a:lnTo>
                    <a:pt x="444182" y="465297"/>
                  </a:lnTo>
                  <a:lnTo>
                    <a:pt x="443062" y="465025"/>
                  </a:lnTo>
                  <a:lnTo>
                    <a:pt x="442185" y="464481"/>
                  </a:lnTo>
                  <a:lnTo>
                    <a:pt x="441459" y="463694"/>
                  </a:lnTo>
                  <a:lnTo>
                    <a:pt x="444515" y="462666"/>
                  </a:lnTo>
                  <a:lnTo>
                    <a:pt x="444938" y="462030"/>
                  </a:lnTo>
                  <a:lnTo>
                    <a:pt x="444636" y="460790"/>
                  </a:lnTo>
                  <a:lnTo>
                    <a:pt x="443728" y="460064"/>
                  </a:lnTo>
                  <a:lnTo>
                    <a:pt x="442548" y="459731"/>
                  </a:lnTo>
                  <a:lnTo>
                    <a:pt x="441429" y="459792"/>
                  </a:lnTo>
                  <a:lnTo>
                    <a:pt x="441853" y="458370"/>
                  </a:lnTo>
                  <a:lnTo>
                    <a:pt x="441731" y="457099"/>
                  </a:lnTo>
                  <a:lnTo>
                    <a:pt x="441459" y="455919"/>
                  </a:lnTo>
                  <a:lnTo>
                    <a:pt x="441459" y="454921"/>
                  </a:lnTo>
                  <a:lnTo>
                    <a:pt x="441943" y="453741"/>
                  </a:lnTo>
                  <a:lnTo>
                    <a:pt x="443274" y="451231"/>
                  </a:lnTo>
                  <a:lnTo>
                    <a:pt x="443546" y="450141"/>
                  </a:lnTo>
                  <a:lnTo>
                    <a:pt x="443093" y="449143"/>
                  </a:lnTo>
                  <a:lnTo>
                    <a:pt x="442125" y="447903"/>
                  </a:lnTo>
                  <a:lnTo>
                    <a:pt x="441187" y="446269"/>
                  </a:lnTo>
                  <a:lnTo>
                    <a:pt x="440763" y="444061"/>
                  </a:lnTo>
                  <a:lnTo>
                    <a:pt x="439281" y="439039"/>
                  </a:lnTo>
                  <a:lnTo>
                    <a:pt x="439190" y="436649"/>
                  </a:lnTo>
                  <a:lnTo>
                    <a:pt x="444091" y="434169"/>
                  </a:lnTo>
                  <a:lnTo>
                    <a:pt x="445634" y="433987"/>
                  </a:lnTo>
                  <a:lnTo>
                    <a:pt x="446269" y="435621"/>
                  </a:lnTo>
                  <a:lnTo>
                    <a:pt x="446451" y="434108"/>
                  </a:lnTo>
                  <a:lnTo>
                    <a:pt x="446753" y="432837"/>
                  </a:lnTo>
                  <a:lnTo>
                    <a:pt x="447328" y="431930"/>
                  </a:lnTo>
                  <a:lnTo>
                    <a:pt x="448387" y="431567"/>
                  </a:lnTo>
                  <a:lnTo>
                    <a:pt x="447267" y="430690"/>
                  </a:lnTo>
                  <a:lnTo>
                    <a:pt x="447116" y="429843"/>
                  </a:lnTo>
                  <a:lnTo>
                    <a:pt x="447419" y="428965"/>
                  </a:lnTo>
                  <a:lnTo>
                    <a:pt x="447630" y="428028"/>
                  </a:lnTo>
                  <a:lnTo>
                    <a:pt x="447207" y="427060"/>
                  </a:lnTo>
                  <a:lnTo>
                    <a:pt x="445362" y="426364"/>
                  </a:lnTo>
                  <a:lnTo>
                    <a:pt x="444938" y="425608"/>
                  </a:lnTo>
                  <a:lnTo>
                    <a:pt x="444151" y="424791"/>
                  </a:lnTo>
                  <a:lnTo>
                    <a:pt x="439402" y="421251"/>
                  </a:lnTo>
                  <a:lnTo>
                    <a:pt x="436952" y="418287"/>
                  </a:lnTo>
                  <a:lnTo>
                    <a:pt x="435348" y="416925"/>
                  </a:lnTo>
                  <a:lnTo>
                    <a:pt x="433533" y="416351"/>
                  </a:lnTo>
                  <a:lnTo>
                    <a:pt x="431476" y="416078"/>
                  </a:lnTo>
                  <a:lnTo>
                    <a:pt x="421796" y="412267"/>
                  </a:lnTo>
                  <a:lnTo>
                    <a:pt x="420677" y="412024"/>
                  </a:lnTo>
                  <a:lnTo>
                    <a:pt x="418377" y="410724"/>
                  </a:lnTo>
                  <a:lnTo>
                    <a:pt x="412599" y="411601"/>
                  </a:lnTo>
                  <a:lnTo>
                    <a:pt x="411117" y="411510"/>
                  </a:lnTo>
                  <a:lnTo>
                    <a:pt x="407366" y="409211"/>
                  </a:lnTo>
                  <a:lnTo>
                    <a:pt x="402556" y="402435"/>
                  </a:lnTo>
                  <a:lnTo>
                    <a:pt x="399440" y="401013"/>
                  </a:lnTo>
                  <a:lnTo>
                    <a:pt x="399440" y="400227"/>
                  </a:lnTo>
                  <a:lnTo>
                    <a:pt x="400045" y="399319"/>
                  </a:lnTo>
                  <a:lnTo>
                    <a:pt x="399652" y="398593"/>
                  </a:lnTo>
                  <a:lnTo>
                    <a:pt x="398623" y="398079"/>
                  </a:lnTo>
                  <a:lnTo>
                    <a:pt x="397353" y="397806"/>
                  </a:lnTo>
                  <a:lnTo>
                    <a:pt x="397353" y="396929"/>
                  </a:lnTo>
                  <a:lnTo>
                    <a:pt x="398079" y="396596"/>
                  </a:lnTo>
                  <a:lnTo>
                    <a:pt x="400136" y="395386"/>
                  </a:lnTo>
                  <a:lnTo>
                    <a:pt x="396717" y="392180"/>
                  </a:lnTo>
                  <a:lnTo>
                    <a:pt x="394267" y="390939"/>
                  </a:lnTo>
                  <a:lnTo>
                    <a:pt x="393148" y="392543"/>
                  </a:lnTo>
                  <a:lnTo>
                    <a:pt x="391877" y="393420"/>
                  </a:lnTo>
                  <a:lnTo>
                    <a:pt x="381713" y="391786"/>
                  </a:lnTo>
                  <a:lnTo>
                    <a:pt x="374876" y="392089"/>
                  </a:lnTo>
                  <a:lnTo>
                    <a:pt x="373333" y="391877"/>
                  </a:lnTo>
                  <a:lnTo>
                    <a:pt x="372758" y="391302"/>
                  </a:lnTo>
                  <a:lnTo>
                    <a:pt x="373000" y="390546"/>
                  </a:lnTo>
                  <a:lnTo>
                    <a:pt x="373847" y="389669"/>
                  </a:lnTo>
                  <a:lnTo>
                    <a:pt x="374815" y="389276"/>
                  </a:lnTo>
                  <a:lnTo>
                    <a:pt x="377114" y="389276"/>
                  </a:lnTo>
                  <a:lnTo>
                    <a:pt x="377992" y="388943"/>
                  </a:lnTo>
                  <a:lnTo>
                    <a:pt x="377992" y="388126"/>
                  </a:lnTo>
                  <a:lnTo>
                    <a:pt x="376570" y="387521"/>
                  </a:lnTo>
                  <a:lnTo>
                    <a:pt x="373847" y="386916"/>
                  </a:lnTo>
                  <a:lnTo>
                    <a:pt x="372758" y="386069"/>
                  </a:lnTo>
                  <a:lnTo>
                    <a:pt x="371730" y="384980"/>
                  </a:lnTo>
                  <a:lnTo>
                    <a:pt x="370519" y="384224"/>
                  </a:lnTo>
                  <a:lnTo>
                    <a:pt x="369309" y="384284"/>
                  </a:lnTo>
                  <a:lnTo>
                    <a:pt x="368311" y="385645"/>
                  </a:lnTo>
                  <a:lnTo>
                    <a:pt x="369098" y="382983"/>
                  </a:lnTo>
                  <a:lnTo>
                    <a:pt x="370429" y="381834"/>
                  </a:lnTo>
                  <a:lnTo>
                    <a:pt x="371881" y="381168"/>
                  </a:lnTo>
                  <a:lnTo>
                    <a:pt x="373121" y="380019"/>
                  </a:lnTo>
                  <a:lnTo>
                    <a:pt x="373363" y="378597"/>
                  </a:lnTo>
                  <a:lnTo>
                    <a:pt x="372909" y="376963"/>
                  </a:lnTo>
                  <a:lnTo>
                    <a:pt x="371881" y="375451"/>
                  </a:lnTo>
                  <a:lnTo>
                    <a:pt x="370368" y="374331"/>
                  </a:lnTo>
                  <a:lnTo>
                    <a:pt x="368493" y="373666"/>
                  </a:lnTo>
                  <a:lnTo>
                    <a:pt x="365135" y="373242"/>
                  </a:lnTo>
                  <a:lnTo>
                    <a:pt x="363501" y="372698"/>
                  </a:lnTo>
                  <a:lnTo>
                    <a:pt x="360204" y="370762"/>
                  </a:lnTo>
                  <a:lnTo>
                    <a:pt x="358389" y="370368"/>
                  </a:lnTo>
                  <a:lnTo>
                    <a:pt x="356513" y="371155"/>
                  </a:lnTo>
                  <a:lnTo>
                    <a:pt x="357390" y="371488"/>
                  </a:lnTo>
                  <a:lnTo>
                    <a:pt x="359327" y="372698"/>
                  </a:lnTo>
                  <a:lnTo>
                    <a:pt x="357935" y="374180"/>
                  </a:lnTo>
                  <a:lnTo>
                    <a:pt x="356574" y="374362"/>
                  </a:lnTo>
                  <a:lnTo>
                    <a:pt x="355303" y="374210"/>
                  </a:lnTo>
                  <a:lnTo>
                    <a:pt x="354153" y="374755"/>
                  </a:lnTo>
                  <a:lnTo>
                    <a:pt x="352974" y="375844"/>
                  </a:lnTo>
                  <a:lnTo>
                    <a:pt x="351975" y="376177"/>
                  </a:lnTo>
                  <a:lnTo>
                    <a:pt x="350070" y="375995"/>
                  </a:lnTo>
                  <a:lnTo>
                    <a:pt x="348648" y="374755"/>
                  </a:lnTo>
                  <a:lnTo>
                    <a:pt x="345502" y="365468"/>
                  </a:lnTo>
                  <a:lnTo>
                    <a:pt x="343747" y="363229"/>
                  </a:lnTo>
                  <a:lnTo>
                    <a:pt x="341145" y="362321"/>
                  </a:lnTo>
                  <a:lnTo>
                    <a:pt x="335488" y="362231"/>
                  </a:lnTo>
                  <a:lnTo>
                    <a:pt x="334006" y="361868"/>
                  </a:lnTo>
                  <a:lnTo>
                    <a:pt x="332009" y="360264"/>
                  </a:lnTo>
                  <a:lnTo>
                    <a:pt x="330920" y="359811"/>
                  </a:lnTo>
                  <a:lnTo>
                    <a:pt x="329226" y="359811"/>
                  </a:lnTo>
                  <a:lnTo>
                    <a:pt x="328167" y="360325"/>
                  </a:lnTo>
                  <a:lnTo>
                    <a:pt x="326111" y="362231"/>
                  </a:lnTo>
                  <a:lnTo>
                    <a:pt x="325385" y="360809"/>
                  </a:lnTo>
                  <a:lnTo>
                    <a:pt x="323962" y="359508"/>
                  </a:lnTo>
                  <a:lnTo>
                    <a:pt x="322329" y="358540"/>
                  </a:lnTo>
                  <a:lnTo>
                    <a:pt x="320968" y="358177"/>
                  </a:lnTo>
                  <a:lnTo>
                    <a:pt x="319969" y="358328"/>
                  </a:lnTo>
                  <a:lnTo>
                    <a:pt x="318003" y="358994"/>
                  </a:lnTo>
                  <a:lnTo>
                    <a:pt x="317186" y="359084"/>
                  </a:lnTo>
                  <a:lnTo>
                    <a:pt x="316309" y="358721"/>
                  </a:lnTo>
                  <a:lnTo>
                    <a:pt x="315250" y="357632"/>
                  </a:lnTo>
                  <a:lnTo>
                    <a:pt x="314161" y="357027"/>
                  </a:lnTo>
                  <a:lnTo>
                    <a:pt x="312013" y="354607"/>
                  </a:lnTo>
                  <a:lnTo>
                    <a:pt x="309593" y="350917"/>
                  </a:lnTo>
                  <a:lnTo>
                    <a:pt x="308353" y="351007"/>
                  </a:lnTo>
                  <a:lnTo>
                    <a:pt x="303422" y="353367"/>
                  </a:lnTo>
                  <a:lnTo>
                    <a:pt x="302575" y="352762"/>
                  </a:lnTo>
                  <a:lnTo>
                    <a:pt x="301456" y="352913"/>
                  </a:lnTo>
                  <a:lnTo>
                    <a:pt x="300124" y="353276"/>
                  </a:lnTo>
                  <a:lnTo>
                    <a:pt x="298642" y="353337"/>
                  </a:lnTo>
                  <a:lnTo>
                    <a:pt x="299308" y="351643"/>
                  </a:lnTo>
                  <a:lnTo>
                    <a:pt x="298642" y="351643"/>
                  </a:lnTo>
                  <a:lnTo>
                    <a:pt x="297553" y="353125"/>
                  </a:lnTo>
                  <a:lnTo>
                    <a:pt x="295587" y="352611"/>
                  </a:lnTo>
                  <a:lnTo>
                    <a:pt x="294649" y="351219"/>
                  </a:lnTo>
                  <a:lnTo>
                    <a:pt x="296555" y="350009"/>
                  </a:lnTo>
                  <a:lnTo>
                    <a:pt x="296555" y="349283"/>
                  </a:lnTo>
                  <a:lnTo>
                    <a:pt x="291745" y="350009"/>
                  </a:lnTo>
                  <a:lnTo>
                    <a:pt x="291745" y="346772"/>
                  </a:lnTo>
                  <a:lnTo>
                    <a:pt x="292713" y="347347"/>
                  </a:lnTo>
                  <a:lnTo>
                    <a:pt x="293106" y="347650"/>
                  </a:lnTo>
                  <a:lnTo>
                    <a:pt x="293741" y="346802"/>
                  </a:lnTo>
                  <a:lnTo>
                    <a:pt x="294437" y="346288"/>
                  </a:lnTo>
                  <a:lnTo>
                    <a:pt x="295224" y="346076"/>
                  </a:lnTo>
                  <a:lnTo>
                    <a:pt x="296222" y="346016"/>
                  </a:lnTo>
                  <a:lnTo>
                    <a:pt x="297311" y="345774"/>
                  </a:lnTo>
                  <a:lnTo>
                    <a:pt x="298128" y="345260"/>
                  </a:lnTo>
                  <a:lnTo>
                    <a:pt x="298763" y="344715"/>
                  </a:lnTo>
                  <a:lnTo>
                    <a:pt x="300608" y="343505"/>
                  </a:lnTo>
                  <a:lnTo>
                    <a:pt x="301425" y="343354"/>
                  </a:lnTo>
                  <a:lnTo>
                    <a:pt x="304935" y="345744"/>
                  </a:lnTo>
                  <a:lnTo>
                    <a:pt x="305116" y="346076"/>
                  </a:lnTo>
                  <a:lnTo>
                    <a:pt x="305630" y="346318"/>
                  </a:lnTo>
                  <a:lnTo>
                    <a:pt x="307324" y="347377"/>
                  </a:lnTo>
                  <a:lnTo>
                    <a:pt x="308202" y="347680"/>
                  </a:lnTo>
                  <a:lnTo>
                    <a:pt x="310077" y="346561"/>
                  </a:lnTo>
                  <a:lnTo>
                    <a:pt x="311136" y="346258"/>
                  </a:lnTo>
                  <a:lnTo>
                    <a:pt x="311620" y="347226"/>
                  </a:lnTo>
                  <a:lnTo>
                    <a:pt x="312588" y="348345"/>
                  </a:lnTo>
                  <a:lnTo>
                    <a:pt x="314797" y="348164"/>
                  </a:lnTo>
                  <a:lnTo>
                    <a:pt x="317126" y="347619"/>
                  </a:lnTo>
                  <a:lnTo>
                    <a:pt x="318578" y="347680"/>
                  </a:lnTo>
                  <a:lnTo>
                    <a:pt x="319032" y="346591"/>
                  </a:lnTo>
                  <a:lnTo>
                    <a:pt x="319848" y="346137"/>
                  </a:lnTo>
                  <a:lnTo>
                    <a:pt x="322329" y="346046"/>
                  </a:lnTo>
                  <a:lnTo>
                    <a:pt x="323055" y="345471"/>
                  </a:lnTo>
                  <a:lnTo>
                    <a:pt x="323569" y="342779"/>
                  </a:lnTo>
                  <a:lnTo>
                    <a:pt x="324053" y="341932"/>
                  </a:lnTo>
                  <a:lnTo>
                    <a:pt x="325385" y="341690"/>
                  </a:lnTo>
                  <a:lnTo>
                    <a:pt x="326746" y="341993"/>
                  </a:lnTo>
                  <a:lnTo>
                    <a:pt x="328077" y="342507"/>
                  </a:lnTo>
                  <a:lnTo>
                    <a:pt x="329287" y="342749"/>
                  </a:lnTo>
                  <a:lnTo>
                    <a:pt x="330285" y="342476"/>
                  </a:lnTo>
                  <a:lnTo>
                    <a:pt x="332312" y="341327"/>
                  </a:lnTo>
                  <a:lnTo>
                    <a:pt x="333734" y="341206"/>
                  </a:lnTo>
                  <a:lnTo>
                    <a:pt x="333492" y="340752"/>
                  </a:lnTo>
                  <a:lnTo>
                    <a:pt x="333038" y="339542"/>
                  </a:lnTo>
                  <a:lnTo>
                    <a:pt x="333885" y="339482"/>
                  </a:lnTo>
                  <a:lnTo>
                    <a:pt x="334430" y="339209"/>
                  </a:lnTo>
                  <a:lnTo>
                    <a:pt x="335095" y="338635"/>
                  </a:lnTo>
                  <a:lnTo>
                    <a:pt x="335882" y="338514"/>
                  </a:lnTo>
                  <a:lnTo>
                    <a:pt x="337364" y="338756"/>
                  </a:lnTo>
                  <a:lnTo>
                    <a:pt x="337969" y="338635"/>
                  </a:lnTo>
                  <a:lnTo>
                    <a:pt x="338725" y="337999"/>
                  </a:lnTo>
                  <a:lnTo>
                    <a:pt x="339179" y="337545"/>
                  </a:lnTo>
                  <a:lnTo>
                    <a:pt x="339542" y="337182"/>
                  </a:lnTo>
                  <a:lnTo>
                    <a:pt x="340238" y="336275"/>
                  </a:lnTo>
                  <a:lnTo>
                    <a:pt x="340692" y="335458"/>
                  </a:lnTo>
                  <a:lnTo>
                    <a:pt x="341418" y="333068"/>
                  </a:lnTo>
                  <a:lnTo>
                    <a:pt x="341841" y="332221"/>
                  </a:lnTo>
                  <a:lnTo>
                    <a:pt x="342719" y="331435"/>
                  </a:lnTo>
                  <a:lnTo>
                    <a:pt x="345986" y="329801"/>
                  </a:lnTo>
                  <a:lnTo>
                    <a:pt x="346833" y="328924"/>
                  </a:lnTo>
                  <a:lnTo>
                    <a:pt x="346833" y="328168"/>
                  </a:lnTo>
                  <a:lnTo>
                    <a:pt x="343747" y="328440"/>
                  </a:lnTo>
                  <a:lnTo>
                    <a:pt x="341024" y="329257"/>
                  </a:lnTo>
                  <a:lnTo>
                    <a:pt x="335851" y="332131"/>
                  </a:lnTo>
                  <a:lnTo>
                    <a:pt x="335367" y="330194"/>
                  </a:lnTo>
                  <a:lnTo>
                    <a:pt x="336124" y="329075"/>
                  </a:lnTo>
                  <a:lnTo>
                    <a:pt x="339300" y="327320"/>
                  </a:lnTo>
                  <a:lnTo>
                    <a:pt x="338816" y="326685"/>
                  </a:lnTo>
                  <a:lnTo>
                    <a:pt x="338695" y="326352"/>
                  </a:lnTo>
                  <a:lnTo>
                    <a:pt x="339300" y="324870"/>
                  </a:lnTo>
                  <a:lnTo>
                    <a:pt x="337727" y="323116"/>
                  </a:lnTo>
                  <a:lnTo>
                    <a:pt x="336819" y="321028"/>
                  </a:lnTo>
                  <a:lnTo>
                    <a:pt x="335579" y="319001"/>
                  </a:lnTo>
                  <a:lnTo>
                    <a:pt x="333068" y="317489"/>
                  </a:lnTo>
                  <a:lnTo>
                    <a:pt x="333341" y="318306"/>
                  </a:lnTo>
                  <a:lnTo>
                    <a:pt x="333764" y="319122"/>
                  </a:lnTo>
                  <a:lnTo>
                    <a:pt x="333431" y="319243"/>
                  </a:lnTo>
                  <a:lnTo>
                    <a:pt x="333189" y="319243"/>
                  </a:lnTo>
                  <a:lnTo>
                    <a:pt x="333068" y="319365"/>
                  </a:lnTo>
                  <a:lnTo>
                    <a:pt x="333068" y="319939"/>
                  </a:lnTo>
                  <a:lnTo>
                    <a:pt x="331525" y="318306"/>
                  </a:lnTo>
                  <a:lnTo>
                    <a:pt x="330920" y="316097"/>
                  </a:lnTo>
                  <a:lnTo>
                    <a:pt x="330557" y="313768"/>
                  </a:lnTo>
                  <a:lnTo>
                    <a:pt x="329650" y="311832"/>
                  </a:lnTo>
                  <a:lnTo>
                    <a:pt x="328954" y="312649"/>
                  </a:lnTo>
                  <a:lnTo>
                    <a:pt x="328470" y="311287"/>
                  </a:lnTo>
                  <a:lnTo>
                    <a:pt x="327653" y="310470"/>
                  </a:lnTo>
                  <a:lnTo>
                    <a:pt x="327139" y="310531"/>
                  </a:lnTo>
                  <a:lnTo>
                    <a:pt x="327532" y="311802"/>
                  </a:lnTo>
                  <a:lnTo>
                    <a:pt x="326231" y="312981"/>
                  </a:lnTo>
                  <a:lnTo>
                    <a:pt x="325445" y="314252"/>
                  </a:lnTo>
                  <a:lnTo>
                    <a:pt x="324810" y="314252"/>
                  </a:lnTo>
                  <a:lnTo>
                    <a:pt x="321996" y="306840"/>
                  </a:lnTo>
                  <a:lnTo>
                    <a:pt x="321815" y="305388"/>
                  </a:lnTo>
                  <a:lnTo>
                    <a:pt x="321996" y="300790"/>
                  </a:lnTo>
                  <a:lnTo>
                    <a:pt x="323660" y="298854"/>
                  </a:lnTo>
                  <a:lnTo>
                    <a:pt x="327411" y="298007"/>
                  </a:lnTo>
                  <a:lnTo>
                    <a:pt x="331374" y="297644"/>
                  </a:lnTo>
                  <a:lnTo>
                    <a:pt x="333734" y="297099"/>
                  </a:lnTo>
                  <a:lnTo>
                    <a:pt x="332645" y="296010"/>
                  </a:lnTo>
                  <a:lnTo>
                    <a:pt x="332342" y="294588"/>
                  </a:lnTo>
                  <a:lnTo>
                    <a:pt x="332735" y="293167"/>
                  </a:lnTo>
                  <a:lnTo>
                    <a:pt x="333734" y="292199"/>
                  </a:lnTo>
                  <a:lnTo>
                    <a:pt x="333734" y="291382"/>
                  </a:lnTo>
                  <a:lnTo>
                    <a:pt x="333038" y="290232"/>
                  </a:lnTo>
                  <a:lnTo>
                    <a:pt x="333552" y="290081"/>
                  </a:lnTo>
                  <a:lnTo>
                    <a:pt x="335821" y="290626"/>
                  </a:lnTo>
                  <a:lnTo>
                    <a:pt x="338544" y="290505"/>
                  </a:lnTo>
                  <a:lnTo>
                    <a:pt x="339270" y="290626"/>
                  </a:lnTo>
                  <a:lnTo>
                    <a:pt x="339814" y="291170"/>
                  </a:lnTo>
                  <a:lnTo>
                    <a:pt x="340843" y="293076"/>
                  </a:lnTo>
                  <a:lnTo>
                    <a:pt x="341327" y="293802"/>
                  </a:lnTo>
                  <a:lnTo>
                    <a:pt x="341599" y="294377"/>
                  </a:lnTo>
                  <a:lnTo>
                    <a:pt x="341478" y="294921"/>
                  </a:lnTo>
                  <a:lnTo>
                    <a:pt x="341539" y="295314"/>
                  </a:lnTo>
                  <a:lnTo>
                    <a:pt x="349343" y="295950"/>
                  </a:lnTo>
                  <a:lnTo>
                    <a:pt x="351098" y="296525"/>
                  </a:lnTo>
                  <a:lnTo>
                    <a:pt x="353034" y="297765"/>
                  </a:lnTo>
                  <a:lnTo>
                    <a:pt x="354728" y="299187"/>
                  </a:lnTo>
                  <a:lnTo>
                    <a:pt x="356513" y="301123"/>
                  </a:lnTo>
                  <a:lnTo>
                    <a:pt x="357602" y="303240"/>
                  </a:lnTo>
                  <a:lnTo>
                    <a:pt x="357149" y="305207"/>
                  </a:lnTo>
                  <a:lnTo>
                    <a:pt x="358238" y="306356"/>
                  </a:lnTo>
                  <a:lnTo>
                    <a:pt x="360839" y="310410"/>
                  </a:lnTo>
                  <a:lnTo>
                    <a:pt x="361323" y="311711"/>
                  </a:lnTo>
                  <a:lnTo>
                    <a:pt x="360960" y="313072"/>
                  </a:lnTo>
                  <a:lnTo>
                    <a:pt x="360234" y="314403"/>
                  </a:lnTo>
                  <a:lnTo>
                    <a:pt x="359508" y="315069"/>
                  </a:lnTo>
                  <a:lnTo>
                    <a:pt x="359205" y="314554"/>
                  </a:lnTo>
                  <a:lnTo>
                    <a:pt x="358691" y="314252"/>
                  </a:lnTo>
                  <a:lnTo>
                    <a:pt x="357723" y="314191"/>
                  </a:lnTo>
                  <a:lnTo>
                    <a:pt x="357149" y="314554"/>
                  </a:lnTo>
                  <a:lnTo>
                    <a:pt x="357844" y="315674"/>
                  </a:lnTo>
                  <a:lnTo>
                    <a:pt x="356755" y="317005"/>
                  </a:lnTo>
                  <a:lnTo>
                    <a:pt x="349586" y="320635"/>
                  </a:lnTo>
                  <a:lnTo>
                    <a:pt x="350947" y="315674"/>
                  </a:lnTo>
                  <a:lnTo>
                    <a:pt x="350947" y="314161"/>
                  </a:lnTo>
                  <a:lnTo>
                    <a:pt x="347650" y="315583"/>
                  </a:lnTo>
                  <a:lnTo>
                    <a:pt x="346318" y="316672"/>
                  </a:lnTo>
                  <a:lnTo>
                    <a:pt x="346863" y="318306"/>
                  </a:lnTo>
                  <a:lnTo>
                    <a:pt x="345683" y="319818"/>
                  </a:lnTo>
                  <a:lnTo>
                    <a:pt x="344745" y="321482"/>
                  </a:lnTo>
                  <a:lnTo>
                    <a:pt x="348769" y="322480"/>
                  </a:lnTo>
                  <a:lnTo>
                    <a:pt x="351128" y="322601"/>
                  </a:lnTo>
                  <a:lnTo>
                    <a:pt x="352732" y="321875"/>
                  </a:lnTo>
                  <a:lnTo>
                    <a:pt x="354214" y="320998"/>
                  </a:lnTo>
                  <a:lnTo>
                    <a:pt x="356513" y="320423"/>
                  </a:lnTo>
                  <a:lnTo>
                    <a:pt x="358752" y="320272"/>
                  </a:lnTo>
                  <a:lnTo>
                    <a:pt x="359992" y="320665"/>
                  </a:lnTo>
                  <a:lnTo>
                    <a:pt x="360446" y="320181"/>
                  </a:lnTo>
                  <a:lnTo>
                    <a:pt x="361051" y="319728"/>
                  </a:lnTo>
                  <a:lnTo>
                    <a:pt x="361777" y="319334"/>
                  </a:lnTo>
                  <a:lnTo>
                    <a:pt x="362654" y="319062"/>
                  </a:lnTo>
                  <a:lnTo>
                    <a:pt x="362654" y="318306"/>
                  </a:lnTo>
                  <a:lnTo>
                    <a:pt x="361989" y="318215"/>
                  </a:lnTo>
                  <a:lnTo>
                    <a:pt x="361565" y="318003"/>
                  </a:lnTo>
                  <a:lnTo>
                    <a:pt x="361142" y="317701"/>
                  </a:lnTo>
                  <a:lnTo>
                    <a:pt x="360597" y="317428"/>
                  </a:lnTo>
                  <a:lnTo>
                    <a:pt x="362110" y="316793"/>
                  </a:lnTo>
                  <a:lnTo>
                    <a:pt x="364015" y="316249"/>
                  </a:lnTo>
                  <a:lnTo>
                    <a:pt x="367827" y="315704"/>
                  </a:lnTo>
                  <a:lnTo>
                    <a:pt x="369793" y="315099"/>
                  </a:lnTo>
                  <a:lnTo>
                    <a:pt x="373000" y="312346"/>
                  </a:lnTo>
                  <a:lnTo>
                    <a:pt x="374059" y="311711"/>
                  </a:lnTo>
                  <a:lnTo>
                    <a:pt x="373908" y="310168"/>
                  </a:lnTo>
                  <a:lnTo>
                    <a:pt x="368856" y="301062"/>
                  </a:lnTo>
                  <a:lnTo>
                    <a:pt x="366768" y="294619"/>
                  </a:lnTo>
                  <a:lnTo>
                    <a:pt x="361989" y="290353"/>
                  </a:lnTo>
                  <a:lnTo>
                    <a:pt x="360688" y="287873"/>
                  </a:lnTo>
                  <a:lnTo>
                    <a:pt x="352096" y="278918"/>
                  </a:lnTo>
                  <a:lnTo>
                    <a:pt x="350947" y="277406"/>
                  </a:lnTo>
                  <a:lnTo>
                    <a:pt x="349706" y="273775"/>
                  </a:lnTo>
                  <a:lnTo>
                    <a:pt x="349253" y="273261"/>
                  </a:lnTo>
                  <a:lnTo>
                    <a:pt x="348950" y="272989"/>
                  </a:lnTo>
                  <a:lnTo>
                    <a:pt x="345048" y="270206"/>
                  </a:lnTo>
                  <a:lnTo>
                    <a:pt x="339935" y="268270"/>
                  </a:lnTo>
                  <a:lnTo>
                    <a:pt x="334702" y="265093"/>
                  </a:lnTo>
                  <a:lnTo>
                    <a:pt x="333371" y="263823"/>
                  </a:lnTo>
                  <a:lnTo>
                    <a:pt x="331919" y="261554"/>
                  </a:lnTo>
                  <a:lnTo>
                    <a:pt x="329589" y="254445"/>
                  </a:lnTo>
                  <a:lnTo>
                    <a:pt x="326564" y="247638"/>
                  </a:lnTo>
                  <a:lnTo>
                    <a:pt x="326080" y="245732"/>
                  </a:lnTo>
                  <a:lnTo>
                    <a:pt x="325838" y="243161"/>
                  </a:lnTo>
                  <a:lnTo>
                    <a:pt x="325233" y="240741"/>
                  </a:lnTo>
                  <a:lnTo>
                    <a:pt x="324386" y="238684"/>
                  </a:lnTo>
                  <a:lnTo>
                    <a:pt x="323388" y="237111"/>
                  </a:lnTo>
                  <a:lnTo>
                    <a:pt x="320877" y="234025"/>
                  </a:lnTo>
                  <a:lnTo>
                    <a:pt x="319455" y="232694"/>
                  </a:lnTo>
                  <a:lnTo>
                    <a:pt x="317186" y="231545"/>
                  </a:lnTo>
                  <a:lnTo>
                    <a:pt x="313374" y="228550"/>
                  </a:lnTo>
                  <a:lnTo>
                    <a:pt x="312316" y="227249"/>
                  </a:lnTo>
                  <a:lnTo>
                    <a:pt x="311559" y="225766"/>
                  </a:lnTo>
                  <a:lnTo>
                    <a:pt x="310259" y="221440"/>
                  </a:lnTo>
                  <a:lnTo>
                    <a:pt x="310259" y="221289"/>
                  </a:lnTo>
                  <a:lnTo>
                    <a:pt x="310138" y="220805"/>
                  </a:lnTo>
                  <a:lnTo>
                    <a:pt x="310259" y="218597"/>
                  </a:lnTo>
                  <a:lnTo>
                    <a:pt x="310017" y="218113"/>
                  </a:lnTo>
                  <a:lnTo>
                    <a:pt x="309079" y="218173"/>
                  </a:lnTo>
                  <a:lnTo>
                    <a:pt x="308867" y="217719"/>
                  </a:lnTo>
                  <a:lnTo>
                    <a:pt x="308323" y="217296"/>
                  </a:lnTo>
                  <a:lnTo>
                    <a:pt x="305933" y="216570"/>
                  </a:lnTo>
                  <a:lnTo>
                    <a:pt x="305388" y="216086"/>
                  </a:lnTo>
                  <a:lnTo>
                    <a:pt x="304450" y="215602"/>
                  </a:lnTo>
                  <a:lnTo>
                    <a:pt x="299187" y="211488"/>
                  </a:lnTo>
                  <a:lnTo>
                    <a:pt x="297916" y="208009"/>
                  </a:lnTo>
                  <a:lnTo>
                    <a:pt x="297462" y="207434"/>
                  </a:lnTo>
                  <a:lnTo>
                    <a:pt x="296283" y="206890"/>
                  </a:lnTo>
                  <a:lnTo>
                    <a:pt x="296040" y="205619"/>
                  </a:lnTo>
                  <a:lnTo>
                    <a:pt x="296434" y="202866"/>
                  </a:lnTo>
                  <a:lnTo>
                    <a:pt x="295919" y="200113"/>
                  </a:lnTo>
                  <a:lnTo>
                    <a:pt x="294861" y="198086"/>
                  </a:lnTo>
                  <a:lnTo>
                    <a:pt x="294104" y="196090"/>
                  </a:lnTo>
                  <a:lnTo>
                    <a:pt x="294377" y="193337"/>
                  </a:lnTo>
                  <a:lnTo>
                    <a:pt x="298219" y="185653"/>
                  </a:lnTo>
                  <a:lnTo>
                    <a:pt x="298219" y="184262"/>
                  </a:lnTo>
                  <a:lnTo>
                    <a:pt x="301244" y="175942"/>
                  </a:lnTo>
                  <a:lnTo>
                    <a:pt x="303966" y="171647"/>
                  </a:lnTo>
                  <a:lnTo>
                    <a:pt x="305328" y="168864"/>
                  </a:lnTo>
                  <a:lnTo>
                    <a:pt x="305055" y="167593"/>
                  </a:lnTo>
                  <a:lnTo>
                    <a:pt x="303210" y="167079"/>
                  </a:lnTo>
                  <a:lnTo>
                    <a:pt x="302030" y="165868"/>
                  </a:lnTo>
                  <a:lnTo>
                    <a:pt x="301032" y="164477"/>
                  </a:lnTo>
                  <a:lnTo>
                    <a:pt x="299822" y="163449"/>
                  </a:lnTo>
                  <a:lnTo>
                    <a:pt x="300034" y="161694"/>
                  </a:lnTo>
                  <a:lnTo>
                    <a:pt x="299550" y="159788"/>
                  </a:lnTo>
                  <a:lnTo>
                    <a:pt x="298521" y="158064"/>
                  </a:lnTo>
                  <a:lnTo>
                    <a:pt x="297069" y="156854"/>
                  </a:lnTo>
                  <a:lnTo>
                    <a:pt x="298219" y="155734"/>
                  </a:lnTo>
                  <a:lnTo>
                    <a:pt x="299459" y="155280"/>
                  </a:lnTo>
                  <a:lnTo>
                    <a:pt x="301849" y="155190"/>
                  </a:lnTo>
                  <a:lnTo>
                    <a:pt x="303361" y="156067"/>
                  </a:lnTo>
                  <a:lnTo>
                    <a:pt x="304269" y="156309"/>
                  </a:lnTo>
                  <a:lnTo>
                    <a:pt x="304692" y="155674"/>
                  </a:lnTo>
                  <a:lnTo>
                    <a:pt x="304813" y="154524"/>
                  </a:lnTo>
                  <a:lnTo>
                    <a:pt x="305176" y="153889"/>
                  </a:lnTo>
                  <a:lnTo>
                    <a:pt x="305812" y="153617"/>
                  </a:lnTo>
                  <a:lnTo>
                    <a:pt x="306750" y="153496"/>
                  </a:lnTo>
                  <a:lnTo>
                    <a:pt x="304844" y="152498"/>
                  </a:lnTo>
                  <a:lnTo>
                    <a:pt x="304965" y="151015"/>
                  </a:lnTo>
                  <a:lnTo>
                    <a:pt x="306568" y="149805"/>
                  </a:lnTo>
                  <a:lnTo>
                    <a:pt x="308050" y="149714"/>
                  </a:lnTo>
                  <a:lnTo>
                    <a:pt x="308111" y="150289"/>
                  </a:lnTo>
                  <a:lnTo>
                    <a:pt x="309260" y="150894"/>
                  </a:lnTo>
                  <a:lnTo>
                    <a:pt x="310349" y="151650"/>
                  </a:lnTo>
                  <a:lnTo>
                    <a:pt x="311166" y="151741"/>
                  </a:lnTo>
                  <a:lnTo>
                    <a:pt x="311559" y="150320"/>
                  </a:lnTo>
                  <a:lnTo>
                    <a:pt x="312316" y="150320"/>
                  </a:lnTo>
                  <a:lnTo>
                    <a:pt x="312316" y="151227"/>
                  </a:lnTo>
                  <a:lnTo>
                    <a:pt x="312951" y="151227"/>
                  </a:lnTo>
                  <a:lnTo>
                    <a:pt x="312951" y="149503"/>
                  </a:lnTo>
                  <a:lnTo>
                    <a:pt x="313707" y="150349"/>
                  </a:lnTo>
                  <a:lnTo>
                    <a:pt x="314312" y="150349"/>
                  </a:lnTo>
                  <a:lnTo>
                    <a:pt x="313526" y="148202"/>
                  </a:lnTo>
                  <a:lnTo>
                    <a:pt x="313859" y="146417"/>
                  </a:lnTo>
                  <a:lnTo>
                    <a:pt x="315129" y="144874"/>
                  </a:lnTo>
                  <a:lnTo>
                    <a:pt x="317126" y="143634"/>
                  </a:lnTo>
                  <a:lnTo>
                    <a:pt x="318003" y="144269"/>
                  </a:lnTo>
                  <a:lnTo>
                    <a:pt x="318880" y="144511"/>
                  </a:lnTo>
                  <a:lnTo>
                    <a:pt x="320907" y="144511"/>
                  </a:lnTo>
                  <a:lnTo>
                    <a:pt x="320847" y="144269"/>
                  </a:lnTo>
                  <a:lnTo>
                    <a:pt x="321784" y="143634"/>
                  </a:lnTo>
                  <a:lnTo>
                    <a:pt x="323388" y="142877"/>
                  </a:lnTo>
                  <a:lnTo>
                    <a:pt x="324416" y="141788"/>
                  </a:lnTo>
                  <a:lnTo>
                    <a:pt x="325233" y="140336"/>
                  </a:lnTo>
                  <a:lnTo>
                    <a:pt x="325475" y="138491"/>
                  </a:lnTo>
                  <a:lnTo>
                    <a:pt x="324749" y="136192"/>
                  </a:lnTo>
                  <a:lnTo>
                    <a:pt x="327683" y="135254"/>
                  </a:lnTo>
                  <a:lnTo>
                    <a:pt x="330436" y="135587"/>
                  </a:lnTo>
                  <a:lnTo>
                    <a:pt x="332766" y="137251"/>
                  </a:lnTo>
                  <a:lnTo>
                    <a:pt x="334339" y="140367"/>
                  </a:lnTo>
                  <a:lnTo>
                    <a:pt x="333734" y="141728"/>
                  </a:lnTo>
                  <a:lnTo>
                    <a:pt x="333552" y="142575"/>
                  </a:lnTo>
                  <a:lnTo>
                    <a:pt x="333976" y="142938"/>
                  </a:lnTo>
                  <a:lnTo>
                    <a:pt x="334641" y="143180"/>
                  </a:lnTo>
                  <a:lnTo>
                    <a:pt x="337092" y="144602"/>
                  </a:lnTo>
                  <a:lnTo>
                    <a:pt x="337727" y="146780"/>
                  </a:lnTo>
                  <a:lnTo>
                    <a:pt x="336910" y="148020"/>
                  </a:lnTo>
                  <a:lnTo>
                    <a:pt x="335670" y="148897"/>
                  </a:lnTo>
                  <a:lnTo>
                    <a:pt x="335035" y="149957"/>
                  </a:lnTo>
                  <a:lnTo>
                    <a:pt x="333552" y="151076"/>
                  </a:lnTo>
                  <a:lnTo>
                    <a:pt x="330104" y="151711"/>
                  </a:lnTo>
                  <a:lnTo>
                    <a:pt x="323660" y="152044"/>
                  </a:lnTo>
                  <a:lnTo>
                    <a:pt x="321482" y="152921"/>
                  </a:lnTo>
                  <a:lnTo>
                    <a:pt x="322420" y="154887"/>
                  </a:lnTo>
                  <a:lnTo>
                    <a:pt x="326050" y="158759"/>
                  </a:lnTo>
                  <a:lnTo>
                    <a:pt x="326050" y="159274"/>
                  </a:lnTo>
                  <a:lnTo>
                    <a:pt x="325929" y="159395"/>
                  </a:lnTo>
                  <a:lnTo>
                    <a:pt x="325657" y="159395"/>
                  </a:lnTo>
                  <a:lnTo>
                    <a:pt x="325354" y="159485"/>
                  </a:lnTo>
                  <a:lnTo>
                    <a:pt x="328319" y="163055"/>
                  </a:lnTo>
                  <a:lnTo>
                    <a:pt x="329136" y="165022"/>
                  </a:lnTo>
                  <a:lnTo>
                    <a:pt x="328167" y="166928"/>
                  </a:lnTo>
                  <a:lnTo>
                    <a:pt x="332131" y="166655"/>
                  </a:lnTo>
                  <a:lnTo>
                    <a:pt x="333885" y="166928"/>
                  </a:lnTo>
                  <a:lnTo>
                    <a:pt x="335791" y="167744"/>
                  </a:lnTo>
                  <a:lnTo>
                    <a:pt x="340540" y="171162"/>
                  </a:lnTo>
                  <a:lnTo>
                    <a:pt x="342356" y="174248"/>
                  </a:lnTo>
                  <a:lnTo>
                    <a:pt x="344745" y="175126"/>
                  </a:lnTo>
                  <a:lnTo>
                    <a:pt x="347105" y="175640"/>
                  </a:lnTo>
                  <a:lnTo>
                    <a:pt x="348164" y="176517"/>
                  </a:lnTo>
                  <a:lnTo>
                    <a:pt x="349192" y="176638"/>
                  </a:lnTo>
                  <a:lnTo>
                    <a:pt x="354426" y="180208"/>
                  </a:lnTo>
                  <a:lnTo>
                    <a:pt x="356180" y="179784"/>
                  </a:lnTo>
                  <a:lnTo>
                    <a:pt x="357814" y="180450"/>
                  </a:lnTo>
                  <a:lnTo>
                    <a:pt x="359538" y="181418"/>
                  </a:lnTo>
                  <a:lnTo>
                    <a:pt x="363259" y="182235"/>
                  </a:lnTo>
                  <a:lnTo>
                    <a:pt x="365468" y="183021"/>
                  </a:lnTo>
                  <a:lnTo>
                    <a:pt x="369552" y="185169"/>
                  </a:lnTo>
                  <a:lnTo>
                    <a:pt x="371518" y="188194"/>
                  </a:lnTo>
                  <a:lnTo>
                    <a:pt x="372123" y="192490"/>
                  </a:lnTo>
                  <a:lnTo>
                    <a:pt x="371609" y="197088"/>
                  </a:lnTo>
                  <a:lnTo>
                    <a:pt x="370217" y="200991"/>
                  </a:lnTo>
                  <a:lnTo>
                    <a:pt x="371306" y="202866"/>
                  </a:lnTo>
                  <a:lnTo>
                    <a:pt x="373182" y="204621"/>
                  </a:lnTo>
                  <a:lnTo>
                    <a:pt x="374936" y="206708"/>
                  </a:lnTo>
                  <a:lnTo>
                    <a:pt x="375753" y="209643"/>
                  </a:lnTo>
                  <a:lnTo>
                    <a:pt x="376086" y="210399"/>
                  </a:lnTo>
                  <a:lnTo>
                    <a:pt x="377538" y="212274"/>
                  </a:lnTo>
                  <a:lnTo>
                    <a:pt x="377871" y="213273"/>
                  </a:lnTo>
                  <a:lnTo>
                    <a:pt x="377598" y="214664"/>
                  </a:lnTo>
                  <a:lnTo>
                    <a:pt x="376328" y="216933"/>
                  </a:lnTo>
                  <a:lnTo>
                    <a:pt x="375783" y="218264"/>
                  </a:lnTo>
                  <a:lnTo>
                    <a:pt x="376933" y="217780"/>
                  </a:lnTo>
                  <a:lnTo>
                    <a:pt x="384435" y="216630"/>
                  </a:lnTo>
                  <a:lnTo>
                    <a:pt x="386886" y="216993"/>
                  </a:lnTo>
                  <a:lnTo>
                    <a:pt x="401527" y="222802"/>
                  </a:lnTo>
                  <a:lnTo>
                    <a:pt x="410240" y="224073"/>
                  </a:lnTo>
                  <a:lnTo>
                    <a:pt x="412115" y="223679"/>
                  </a:lnTo>
                  <a:lnTo>
                    <a:pt x="413961" y="222802"/>
                  </a:lnTo>
                  <a:lnTo>
                    <a:pt x="414747" y="221955"/>
                  </a:lnTo>
                  <a:lnTo>
                    <a:pt x="413325" y="221561"/>
                  </a:lnTo>
                  <a:lnTo>
                    <a:pt x="411238" y="221350"/>
                  </a:lnTo>
                  <a:lnTo>
                    <a:pt x="409635" y="220745"/>
                  </a:lnTo>
                  <a:lnTo>
                    <a:pt x="408455" y="219716"/>
                  </a:lnTo>
                  <a:lnTo>
                    <a:pt x="407517" y="218264"/>
                  </a:lnTo>
                  <a:lnTo>
                    <a:pt x="407215" y="217054"/>
                  </a:lnTo>
                  <a:lnTo>
                    <a:pt x="407215" y="215995"/>
                  </a:lnTo>
                  <a:lnTo>
                    <a:pt x="406973" y="215269"/>
                  </a:lnTo>
                  <a:lnTo>
                    <a:pt x="400166" y="213757"/>
                  </a:lnTo>
                  <a:lnTo>
                    <a:pt x="389729" y="208463"/>
                  </a:lnTo>
                  <a:lnTo>
                    <a:pt x="386734" y="205498"/>
                  </a:lnTo>
                  <a:lnTo>
                    <a:pt x="381380" y="198359"/>
                  </a:lnTo>
                  <a:lnTo>
                    <a:pt x="380442" y="196816"/>
                  </a:lnTo>
                  <a:lnTo>
                    <a:pt x="379867" y="196211"/>
                  </a:lnTo>
                  <a:lnTo>
                    <a:pt x="378960" y="195969"/>
                  </a:lnTo>
                  <a:lnTo>
                    <a:pt x="376933" y="195787"/>
                  </a:lnTo>
                  <a:lnTo>
                    <a:pt x="376146" y="195424"/>
                  </a:lnTo>
                  <a:lnTo>
                    <a:pt x="375844" y="194668"/>
                  </a:lnTo>
                  <a:lnTo>
                    <a:pt x="375329" y="192429"/>
                  </a:lnTo>
                  <a:lnTo>
                    <a:pt x="374301" y="190433"/>
                  </a:lnTo>
                  <a:lnTo>
                    <a:pt x="373545" y="188406"/>
                  </a:lnTo>
                  <a:lnTo>
                    <a:pt x="373787" y="186046"/>
                  </a:lnTo>
                  <a:lnTo>
                    <a:pt x="376298" y="181993"/>
                  </a:lnTo>
                  <a:lnTo>
                    <a:pt x="379655" y="180057"/>
                  </a:lnTo>
                  <a:lnTo>
                    <a:pt x="383709" y="179875"/>
                  </a:lnTo>
                  <a:lnTo>
                    <a:pt x="388307" y="181024"/>
                  </a:lnTo>
                  <a:lnTo>
                    <a:pt x="393964" y="184019"/>
                  </a:lnTo>
                  <a:lnTo>
                    <a:pt x="402253" y="184655"/>
                  </a:lnTo>
                  <a:lnTo>
                    <a:pt x="404159" y="185169"/>
                  </a:lnTo>
                  <a:lnTo>
                    <a:pt x="407547" y="187287"/>
                  </a:lnTo>
                  <a:lnTo>
                    <a:pt x="416502" y="198359"/>
                  </a:lnTo>
                  <a:lnTo>
                    <a:pt x="416925" y="199236"/>
                  </a:lnTo>
                  <a:lnTo>
                    <a:pt x="417288" y="200355"/>
                  </a:lnTo>
                  <a:lnTo>
                    <a:pt x="417893" y="201323"/>
                  </a:lnTo>
                  <a:lnTo>
                    <a:pt x="418952" y="201717"/>
                  </a:lnTo>
                  <a:lnTo>
                    <a:pt x="419406" y="202261"/>
                  </a:lnTo>
                  <a:lnTo>
                    <a:pt x="419224" y="203471"/>
                  </a:lnTo>
                  <a:lnTo>
                    <a:pt x="418589" y="205468"/>
                  </a:lnTo>
                  <a:lnTo>
                    <a:pt x="419073" y="206799"/>
                  </a:lnTo>
                  <a:lnTo>
                    <a:pt x="422764" y="212486"/>
                  </a:lnTo>
                  <a:lnTo>
                    <a:pt x="422401" y="211458"/>
                  </a:lnTo>
                  <a:lnTo>
                    <a:pt x="422492" y="210913"/>
                  </a:lnTo>
                  <a:lnTo>
                    <a:pt x="423218" y="210338"/>
                  </a:lnTo>
                  <a:lnTo>
                    <a:pt x="424609" y="210641"/>
                  </a:lnTo>
                  <a:lnTo>
                    <a:pt x="425759" y="211518"/>
                  </a:lnTo>
                  <a:lnTo>
                    <a:pt x="426212" y="212819"/>
                  </a:lnTo>
                  <a:lnTo>
                    <a:pt x="426817" y="213031"/>
                  </a:lnTo>
                  <a:lnTo>
                    <a:pt x="430387" y="214937"/>
                  </a:lnTo>
                  <a:lnTo>
                    <a:pt x="429903" y="216177"/>
                  </a:lnTo>
                  <a:lnTo>
                    <a:pt x="430206" y="216993"/>
                  </a:lnTo>
                  <a:lnTo>
                    <a:pt x="430902" y="217175"/>
                  </a:lnTo>
                  <a:lnTo>
                    <a:pt x="431688" y="216570"/>
                  </a:lnTo>
                  <a:lnTo>
                    <a:pt x="432444" y="216570"/>
                  </a:lnTo>
                  <a:lnTo>
                    <a:pt x="432444" y="217387"/>
                  </a:lnTo>
                  <a:lnTo>
                    <a:pt x="432142" y="218779"/>
                  </a:lnTo>
                  <a:lnTo>
                    <a:pt x="434169" y="219262"/>
                  </a:lnTo>
                  <a:lnTo>
                    <a:pt x="439342" y="219142"/>
                  </a:lnTo>
                  <a:lnTo>
                    <a:pt x="439342" y="218234"/>
                  </a:lnTo>
                  <a:lnTo>
                    <a:pt x="437496" y="218143"/>
                  </a:lnTo>
                  <a:lnTo>
                    <a:pt x="437194" y="217387"/>
                  </a:lnTo>
                  <a:lnTo>
                    <a:pt x="438131" y="216661"/>
                  </a:lnTo>
                  <a:lnTo>
                    <a:pt x="440098" y="216600"/>
                  </a:lnTo>
                  <a:lnTo>
                    <a:pt x="440098" y="215783"/>
                  </a:lnTo>
                  <a:lnTo>
                    <a:pt x="439009" y="214755"/>
                  </a:lnTo>
                  <a:lnTo>
                    <a:pt x="439463" y="213696"/>
                  </a:lnTo>
                  <a:lnTo>
                    <a:pt x="442125" y="211609"/>
                  </a:lnTo>
                  <a:lnTo>
                    <a:pt x="441641" y="211004"/>
                  </a:lnTo>
                  <a:lnTo>
                    <a:pt x="441399" y="210369"/>
                  </a:lnTo>
                  <a:lnTo>
                    <a:pt x="441338" y="209521"/>
                  </a:lnTo>
                  <a:lnTo>
                    <a:pt x="441338" y="208281"/>
                  </a:lnTo>
                  <a:lnTo>
                    <a:pt x="440400" y="208886"/>
                  </a:lnTo>
                  <a:lnTo>
                    <a:pt x="439523" y="209007"/>
                  </a:lnTo>
                  <a:lnTo>
                    <a:pt x="438857" y="208463"/>
                  </a:lnTo>
                  <a:lnTo>
                    <a:pt x="438616" y="207071"/>
                  </a:lnTo>
                  <a:lnTo>
                    <a:pt x="438948" y="206617"/>
                  </a:lnTo>
                  <a:lnTo>
                    <a:pt x="439674" y="206617"/>
                  </a:lnTo>
                  <a:lnTo>
                    <a:pt x="440370" y="206436"/>
                  </a:lnTo>
                  <a:lnTo>
                    <a:pt x="440673" y="205438"/>
                  </a:lnTo>
                  <a:lnTo>
                    <a:pt x="440310" y="204500"/>
                  </a:lnTo>
                  <a:lnTo>
                    <a:pt x="438525" y="203289"/>
                  </a:lnTo>
                  <a:lnTo>
                    <a:pt x="437950" y="202594"/>
                  </a:lnTo>
                  <a:lnTo>
                    <a:pt x="437950" y="201414"/>
                  </a:lnTo>
                  <a:lnTo>
                    <a:pt x="439221" y="200264"/>
                  </a:lnTo>
                  <a:lnTo>
                    <a:pt x="439342" y="199206"/>
                  </a:lnTo>
                  <a:lnTo>
                    <a:pt x="438222" y="197754"/>
                  </a:lnTo>
                  <a:lnTo>
                    <a:pt x="434259" y="196453"/>
                  </a:lnTo>
                  <a:lnTo>
                    <a:pt x="432777" y="195454"/>
                  </a:lnTo>
                  <a:lnTo>
                    <a:pt x="431506" y="194063"/>
                  </a:lnTo>
                  <a:lnTo>
                    <a:pt x="429843" y="192883"/>
                  </a:lnTo>
                  <a:lnTo>
                    <a:pt x="428179" y="192278"/>
                  </a:lnTo>
                  <a:lnTo>
                    <a:pt x="426908" y="192701"/>
                  </a:lnTo>
                  <a:lnTo>
                    <a:pt x="420041" y="189707"/>
                  </a:lnTo>
                  <a:lnTo>
                    <a:pt x="419345" y="189919"/>
                  </a:lnTo>
                  <a:lnTo>
                    <a:pt x="417924" y="189102"/>
                  </a:lnTo>
                  <a:lnTo>
                    <a:pt x="416472" y="187559"/>
                  </a:lnTo>
                  <a:lnTo>
                    <a:pt x="415806" y="185592"/>
                  </a:lnTo>
                  <a:lnTo>
                    <a:pt x="412387" y="183475"/>
                  </a:lnTo>
                  <a:lnTo>
                    <a:pt x="411631" y="182749"/>
                  </a:lnTo>
                  <a:lnTo>
                    <a:pt x="411147" y="182053"/>
                  </a:lnTo>
                  <a:lnTo>
                    <a:pt x="409574" y="178211"/>
                  </a:lnTo>
                  <a:lnTo>
                    <a:pt x="409362" y="176245"/>
                  </a:lnTo>
                  <a:lnTo>
                    <a:pt x="409967" y="174158"/>
                  </a:lnTo>
                  <a:lnTo>
                    <a:pt x="411692" y="171889"/>
                  </a:lnTo>
                  <a:lnTo>
                    <a:pt x="412085" y="171949"/>
                  </a:lnTo>
                  <a:lnTo>
                    <a:pt x="412781" y="170890"/>
                  </a:lnTo>
                  <a:lnTo>
                    <a:pt x="413083" y="170225"/>
                  </a:lnTo>
                  <a:lnTo>
                    <a:pt x="416018" y="171405"/>
                  </a:lnTo>
                  <a:lnTo>
                    <a:pt x="418287" y="170951"/>
                  </a:lnTo>
                  <a:lnTo>
                    <a:pt x="423460" y="168621"/>
                  </a:lnTo>
                  <a:lnTo>
                    <a:pt x="424942" y="168531"/>
                  </a:lnTo>
                  <a:lnTo>
                    <a:pt x="428633" y="169438"/>
                  </a:lnTo>
                  <a:lnTo>
                    <a:pt x="432414" y="168954"/>
                  </a:lnTo>
                  <a:lnTo>
                    <a:pt x="433806" y="169438"/>
                  </a:lnTo>
                  <a:lnTo>
                    <a:pt x="435893" y="170951"/>
                  </a:lnTo>
                  <a:lnTo>
                    <a:pt x="439553" y="174430"/>
                  </a:lnTo>
                  <a:lnTo>
                    <a:pt x="442094" y="176063"/>
                  </a:lnTo>
                  <a:lnTo>
                    <a:pt x="444968" y="177183"/>
                  </a:lnTo>
                  <a:lnTo>
                    <a:pt x="453076" y="178514"/>
                  </a:lnTo>
                  <a:lnTo>
                    <a:pt x="457160" y="180298"/>
                  </a:lnTo>
                  <a:lnTo>
                    <a:pt x="459550" y="183475"/>
                  </a:lnTo>
                  <a:lnTo>
                    <a:pt x="461486" y="187256"/>
                  </a:lnTo>
                  <a:lnTo>
                    <a:pt x="464148" y="190947"/>
                  </a:lnTo>
                  <a:lnTo>
                    <a:pt x="465721" y="192006"/>
                  </a:lnTo>
                  <a:lnTo>
                    <a:pt x="467536" y="192883"/>
                  </a:lnTo>
                  <a:lnTo>
                    <a:pt x="468958" y="194124"/>
                  </a:lnTo>
                  <a:lnTo>
                    <a:pt x="469593" y="196271"/>
                  </a:lnTo>
                  <a:lnTo>
                    <a:pt x="470380" y="198026"/>
                  </a:lnTo>
                  <a:lnTo>
                    <a:pt x="472255" y="198419"/>
                  </a:lnTo>
                  <a:lnTo>
                    <a:pt x="476521" y="197481"/>
                  </a:lnTo>
                  <a:lnTo>
                    <a:pt x="479818" y="195061"/>
                  </a:lnTo>
                  <a:lnTo>
                    <a:pt x="478789" y="191855"/>
                  </a:lnTo>
                  <a:lnTo>
                    <a:pt x="472467" y="185955"/>
                  </a:lnTo>
                  <a:lnTo>
                    <a:pt x="466991" y="178574"/>
                  </a:lnTo>
                  <a:lnTo>
                    <a:pt x="463694" y="175216"/>
                  </a:lnTo>
                  <a:lnTo>
                    <a:pt x="460729" y="175156"/>
                  </a:lnTo>
                  <a:lnTo>
                    <a:pt x="460124" y="174339"/>
                  </a:lnTo>
                  <a:lnTo>
                    <a:pt x="459005" y="171616"/>
                  </a:lnTo>
                  <a:lnTo>
                    <a:pt x="458309" y="171011"/>
                  </a:lnTo>
                  <a:lnTo>
                    <a:pt x="457220" y="170860"/>
                  </a:lnTo>
                  <a:lnTo>
                    <a:pt x="454165" y="169922"/>
                  </a:lnTo>
                  <a:lnTo>
                    <a:pt x="453106" y="169378"/>
                  </a:lnTo>
                  <a:lnTo>
                    <a:pt x="451140" y="170346"/>
                  </a:lnTo>
                  <a:lnTo>
                    <a:pt x="448810" y="169317"/>
                  </a:lnTo>
                  <a:lnTo>
                    <a:pt x="446753" y="167502"/>
                  </a:lnTo>
                  <a:lnTo>
                    <a:pt x="445543" y="166111"/>
                  </a:lnTo>
                  <a:lnTo>
                    <a:pt x="443093" y="161331"/>
                  </a:lnTo>
                  <a:lnTo>
                    <a:pt x="441338" y="159244"/>
                  </a:lnTo>
                  <a:lnTo>
                    <a:pt x="439311" y="159425"/>
                  </a:lnTo>
                  <a:lnTo>
                    <a:pt x="440068" y="160272"/>
                  </a:lnTo>
                  <a:lnTo>
                    <a:pt x="439311" y="161089"/>
                  </a:lnTo>
                  <a:lnTo>
                    <a:pt x="440763" y="163449"/>
                  </a:lnTo>
                  <a:lnTo>
                    <a:pt x="441368" y="164991"/>
                  </a:lnTo>
                  <a:lnTo>
                    <a:pt x="441368" y="166141"/>
                  </a:lnTo>
                  <a:lnTo>
                    <a:pt x="440431" y="166897"/>
                  </a:lnTo>
                  <a:lnTo>
                    <a:pt x="437708" y="167260"/>
                  </a:lnTo>
                  <a:lnTo>
                    <a:pt x="436528" y="167744"/>
                  </a:lnTo>
                  <a:lnTo>
                    <a:pt x="435500" y="167351"/>
                  </a:lnTo>
                  <a:lnTo>
                    <a:pt x="431658" y="166534"/>
                  </a:lnTo>
                  <a:lnTo>
                    <a:pt x="431083" y="165929"/>
                  </a:lnTo>
                  <a:lnTo>
                    <a:pt x="427906" y="164477"/>
                  </a:lnTo>
                  <a:lnTo>
                    <a:pt x="426908" y="163600"/>
                  </a:lnTo>
                  <a:lnTo>
                    <a:pt x="422733" y="157792"/>
                  </a:lnTo>
                  <a:lnTo>
                    <a:pt x="421947" y="154615"/>
                  </a:lnTo>
                  <a:lnTo>
                    <a:pt x="422370" y="152286"/>
                  </a:lnTo>
                  <a:lnTo>
                    <a:pt x="423883" y="150864"/>
                  </a:lnTo>
                  <a:lnTo>
                    <a:pt x="430811" y="150047"/>
                  </a:lnTo>
                  <a:lnTo>
                    <a:pt x="431628" y="149533"/>
                  </a:lnTo>
                  <a:lnTo>
                    <a:pt x="431567" y="148414"/>
                  </a:lnTo>
                  <a:lnTo>
                    <a:pt x="429601" y="146689"/>
                  </a:lnTo>
                  <a:lnTo>
                    <a:pt x="428965" y="145389"/>
                  </a:lnTo>
                  <a:lnTo>
                    <a:pt x="427846" y="145812"/>
                  </a:lnTo>
                  <a:lnTo>
                    <a:pt x="426334" y="145963"/>
                  </a:lnTo>
                  <a:lnTo>
                    <a:pt x="424730" y="145812"/>
                  </a:lnTo>
                  <a:lnTo>
                    <a:pt x="423399" y="145389"/>
                  </a:lnTo>
                  <a:lnTo>
                    <a:pt x="419920" y="142605"/>
                  </a:lnTo>
                  <a:lnTo>
                    <a:pt x="419285" y="142424"/>
                  </a:lnTo>
                  <a:lnTo>
                    <a:pt x="418680" y="140215"/>
                  </a:lnTo>
                  <a:lnTo>
                    <a:pt x="417258" y="137614"/>
                  </a:lnTo>
                  <a:lnTo>
                    <a:pt x="415564" y="135436"/>
                  </a:lnTo>
                  <a:lnTo>
                    <a:pt x="414051" y="134528"/>
                  </a:lnTo>
                  <a:lnTo>
                    <a:pt x="411752" y="133863"/>
                  </a:lnTo>
                  <a:lnTo>
                    <a:pt x="409967" y="132048"/>
                  </a:lnTo>
                  <a:lnTo>
                    <a:pt x="409120" y="129416"/>
                  </a:lnTo>
                  <a:lnTo>
                    <a:pt x="409665" y="126239"/>
                  </a:lnTo>
                  <a:lnTo>
                    <a:pt x="411056" y="124273"/>
                  </a:lnTo>
                  <a:lnTo>
                    <a:pt x="413174" y="122549"/>
                  </a:lnTo>
                  <a:lnTo>
                    <a:pt x="415443" y="121187"/>
                  </a:lnTo>
                  <a:lnTo>
                    <a:pt x="420979" y="119070"/>
                  </a:lnTo>
                  <a:lnTo>
                    <a:pt x="424276" y="118707"/>
                  </a:lnTo>
                  <a:lnTo>
                    <a:pt x="425517" y="118979"/>
                  </a:lnTo>
                  <a:lnTo>
                    <a:pt x="427513" y="119402"/>
                  </a:lnTo>
                  <a:lnTo>
                    <a:pt x="438827" y="124939"/>
                  </a:lnTo>
                  <a:lnTo>
                    <a:pt x="443214" y="126028"/>
                  </a:lnTo>
                  <a:lnTo>
                    <a:pt x="447540" y="126269"/>
                  </a:lnTo>
                  <a:lnTo>
                    <a:pt x="451261" y="125483"/>
                  </a:lnTo>
                  <a:lnTo>
                    <a:pt x="461425" y="119947"/>
                  </a:lnTo>
                  <a:lnTo>
                    <a:pt x="474463" y="112868"/>
                  </a:lnTo>
                  <a:lnTo>
                    <a:pt x="473586" y="112626"/>
                  </a:lnTo>
                  <a:lnTo>
                    <a:pt x="471922" y="112747"/>
                  </a:lnTo>
                  <a:lnTo>
                    <a:pt x="471348" y="112384"/>
                  </a:lnTo>
                  <a:lnTo>
                    <a:pt x="470954" y="111567"/>
                  </a:lnTo>
                  <a:lnTo>
                    <a:pt x="470954" y="110902"/>
                  </a:lnTo>
                  <a:lnTo>
                    <a:pt x="471378" y="110478"/>
                  </a:lnTo>
                  <a:lnTo>
                    <a:pt x="473556" y="109934"/>
                  </a:lnTo>
                  <a:lnTo>
                    <a:pt x="473647" y="108996"/>
                  </a:lnTo>
                  <a:lnTo>
                    <a:pt x="472890" y="107877"/>
                  </a:lnTo>
                  <a:lnTo>
                    <a:pt x="471680" y="106939"/>
                  </a:lnTo>
                  <a:lnTo>
                    <a:pt x="473193" y="106152"/>
                  </a:lnTo>
                  <a:lnTo>
                    <a:pt x="477670" y="102764"/>
                  </a:lnTo>
                  <a:lnTo>
                    <a:pt x="479637" y="100042"/>
                  </a:lnTo>
                  <a:lnTo>
                    <a:pt x="482026" y="98922"/>
                  </a:lnTo>
                  <a:lnTo>
                    <a:pt x="484809" y="98620"/>
                  </a:lnTo>
                  <a:lnTo>
                    <a:pt x="486927" y="99467"/>
                  </a:lnTo>
                  <a:lnTo>
                    <a:pt x="487804" y="98166"/>
                  </a:lnTo>
                  <a:lnTo>
                    <a:pt x="488924" y="97803"/>
                  </a:lnTo>
                  <a:lnTo>
                    <a:pt x="490103" y="97652"/>
                  </a:lnTo>
                  <a:lnTo>
                    <a:pt x="491041" y="96956"/>
                  </a:lnTo>
                  <a:lnTo>
                    <a:pt x="492312" y="97380"/>
                  </a:lnTo>
                  <a:lnTo>
                    <a:pt x="497243" y="98166"/>
                  </a:lnTo>
                  <a:lnTo>
                    <a:pt x="497455" y="99921"/>
                  </a:lnTo>
                  <a:lnTo>
                    <a:pt x="498120" y="101221"/>
                  </a:lnTo>
                  <a:lnTo>
                    <a:pt x="499209" y="102129"/>
                  </a:lnTo>
                  <a:lnTo>
                    <a:pt x="500661" y="102764"/>
                  </a:lnTo>
                  <a:lnTo>
                    <a:pt x="500207" y="104307"/>
                  </a:lnTo>
                  <a:lnTo>
                    <a:pt x="501508" y="105850"/>
                  </a:lnTo>
                  <a:lnTo>
                    <a:pt x="502567" y="107514"/>
                  </a:lnTo>
                  <a:lnTo>
                    <a:pt x="503475" y="109480"/>
                  </a:lnTo>
                  <a:lnTo>
                    <a:pt x="504170" y="109480"/>
                  </a:lnTo>
                  <a:lnTo>
                    <a:pt x="504775" y="108754"/>
                  </a:lnTo>
                  <a:lnTo>
                    <a:pt x="506923" y="106908"/>
                  </a:lnTo>
                  <a:lnTo>
                    <a:pt x="510402" y="108633"/>
                  </a:lnTo>
                  <a:lnTo>
                    <a:pt x="510190" y="109057"/>
                  </a:lnTo>
                  <a:lnTo>
                    <a:pt x="510130" y="109147"/>
                  </a:lnTo>
                  <a:lnTo>
                    <a:pt x="509676" y="109480"/>
                  </a:lnTo>
                  <a:lnTo>
                    <a:pt x="511552" y="110327"/>
                  </a:lnTo>
                  <a:lnTo>
                    <a:pt x="513518" y="110206"/>
                  </a:lnTo>
                  <a:lnTo>
                    <a:pt x="517300" y="108633"/>
                  </a:lnTo>
                  <a:lnTo>
                    <a:pt x="520930" y="110115"/>
                  </a:lnTo>
                  <a:lnTo>
                    <a:pt x="524167" y="107514"/>
                  </a:lnTo>
                  <a:lnTo>
                    <a:pt x="527131" y="103793"/>
                  </a:lnTo>
                  <a:lnTo>
                    <a:pt x="530005" y="101917"/>
                  </a:lnTo>
                  <a:lnTo>
                    <a:pt x="531608" y="101524"/>
                  </a:lnTo>
                  <a:lnTo>
                    <a:pt x="534906" y="99830"/>
                  </a:lnTo>
                  <a:lnTo>
                    <a:pt x="536237" y="99436"/>
                  </a:lnTo>
                  <a:lnTo>
                    <a:pt x="538082" y="99497"/>
                  </a:lnTo>
                  <a:lnTo>
                    <a:pt x="539867" y="99315"/>
                  </a:lnTo>
                  <a:lnTo>
                    <a:pt x="540805" y="98378"/>
                  </a:lnTo>
                  <a:lnTo>
                    <a:pt x="540079" y="96109"/>
                  </a:lnTo>
                  <a:lnTo>
                    <a:pt x="541561" y="95988"/>
                  </a:lnTo>
                  <a:lnTo>
                    <a:pt x="542802" y="95322"/>
                  </a:lnTo>
                  <a:lnTo>
                    <a:pt x="544889" y="93568"/>
                  </a:lnTo>
                  <a:lnTo>
                    <a:pt x="544889" y="91541"/>
                  </a:lnTo>
                  <a:lnTo>
                    <a:pt x="546674" y="91117"/>
                  </a:lnTo>
                  <a:lnTo>
                    <a:pt x="554842" y="91026"/>
                  </a:lnTo>
                  <a:lnTo>
                    <a:pt x="556142" y="91601"/>
                  </a:lnTo>
                  <a:lnTo>
                    <a:pt x="557988" y="92781"/>
                  </a:lnTo>
                  <a:lnTo>
                    <a:pt x="556838" y="92963"/>
                  </a:lnTo>
                  <a:lnTo>
                    <a:pt x="555810" y="93477"/>
                  </a:lnTo>
                  <a:lnTo>
                    <a:pt x="554993" y="94264"/>
                  </a:lnTo>
                  <a:lnTo>
                    <a:pt x="554569" y="95262"/>
                  </a:lnTo>
                  <a:lnTo>
                    <a:pt x="554388" y="96805"/>
                  </a:lnTo>
                  <a:lnTo>
                    <a:pt x="554781" y="97137"/>
                  </a:lnTo>
                  <a:lnTo>
                    <a:pt x="555689" y="97258"/>
                  </a:lnTo>
                  <a:lnTo>
                    <a:pt x="556959" y="98136"/>
                  </a:lnTo>
                  <a:lnTo>
                    <a:pt x="559077" y="99255"/>
                  </a:lnTo>
                  <a:lnTo>
                    <a:pt x="566942" y="100556"/>
                  </a:lnTo>
                  <a:lnTo>
                    <a:pt x="567003" y="101161"/>
                  </a:lnTo>
                  <a:lnTo>
                    <a:pt x="567668" y="101161"/>
                  </a:lnTo>
                  <a:lnTo>
                    <a:pt x="571056" y="98106"/>
                  </a:lnTo>
                  <a:lnTo>
                    <a:pt x="575201" y="99346"/>
                  </a:lnTo>
                  <a:lnTo>
                    <a:pt x="579436" y="102099"/>
                  </a:lnTo>
                  <a:lnTo>
                    <a:pt x="583127" y="103641"/>
                  </a:lnTo>
                  <a:lnTo>
                    <a:pt x="584851" y="103763"/>
                  </a:lnTo>
                  <a:lnTo>
                    <a:pt x="589873" y="104791"/>
                  </a:lnTo>
                  <a:lnTo>
                    <a:pt x="591416" y="105699"/>
                  </a:lnTo>
                  <a:lnTo>
                    <a:pt x="592898" y="106969"/>
                  </a:lnTo>
                  <a:lnTo>
                    <a:pt x="595016" y="108028"/>
                  </a:lnTo>
                  <a:lnTo>
                    <a:pt x="597133" y="108451"/>
                  </a:lnTo>
                  <a:lnTo>
                    <a:pt x="597980" y="108633"/>
                  </a:lnTo>
                  <a:lnTo>
                    <a:pt x="601731" y="107332"/>
                  </a:lnTo>
                  <a:lnTo>
                    <a:pt x="606027" y="108058"/>
                  </a:lnTo>
                  <a:lnTo>
                    <a:pt x="610444" y="109510"/>
                  </a:lnTo>
                  <a:lnTo>
                    <a:pt x="614558" y="110297"/>
                  </a:lnTo>
                  <a:lnTo>
                    <a:pt x="621697" y="109722"/>
                  </a:lnTo>
                  <a:lnTo>
                    <a:pt x="622817" y="109873"/>
                  </a:lnTo>
                  <a:lnTo>
                    <a:pt x="623966" y="110539"/>
                  </a:lnTo>
                  <a:lnTo>
                    <a:pt x="629412" y="110720"/>
                  </a:lnTo>
                  <a:lnTo>
                    <a:pt x="631105" y="111144"/>
                  </a:lnTo>
                  <a:lnTo>
                    <a:pt x="633314" y="110176"/>
                  </a:lnTo>
                  <a:lnTo>
                    <a:pt x="636641" y="111083"/>
                  </a:lnTo>
                  <a:lnTo>
                    <a:pt x="639757" y="112868"/>
                  </a:lnTo>
                  <a:lnTo>
                    <a:pt x="641330" y="114562"/>
                  </a:lnTo>
                  <a:lnTo>
                    <a:pt x="642087" y="114562"/>
                  </a:lnTo>
                  <a:lnTo>
                    <a:pt x="641784" y="113473"/>
                  </a:lnTo>
                  <a:lnTo>
                    <a:pt x="641361" y="112838"/>
                  </a:lnTo>
                  <a:lnTo>
                    <a:pt x="641361" y="111930"/>
                  </a:lnTo>
                  <a:lnTo>
                    <a:pt x="642117" y="111930"/>
                  </a:lnTo>
                  <a:lnTo>
                    <a:pt x="642359" y="112838"/>
                  </a:lnTo>
                  <a:lnTo>
                    <a:pt x="642752" y="113655"/>
                  </a:lnTo>
                  <a:lnTo>
                    <a:pt x="643781" y="113080"/>
                  </a:lnTo>
                  <a:lnTo>
                    <a:pt x="645445" y="112687"/>
                  </a:lnTo>
                  <a:lnTo>
                    <a:pt x="646957" y="112868"/>
                  </a:lnTo>
                  <a:lnTo>
                    <a:pt x="647623" y="114108"/>
                  </a:lnTo>
                  <a:lnTo>
                    <a:pt x="646957" y="114653"/>
                  </a:lnTo>
                  <a:lnTo>
                    <a:pt x="645354" y="115107"/>
                  </a:lnTo>
                  <a:lnTo>
                    <a:pt x="643508" y="115349"/>
                  </a:lnTo>
                  <a:lnTo>
                    <a:pt x="642117" y="115349"/>
                  </a:lnTo>
                  <a:lnTo>
                    <a:pt x="642117" y="116166"/>
                  </a:lnTo>
                  <a:lnTo>
                    <a:pt x="644295" y="117133"/>
                  </a:lnTo>
                  <a:lnTo>
                    <a:pt x="644931" y="119282"/>
                  </a:lnTo>
                  <a:lnTo>
                    <a:pt x="645172" y="121792"/>
                  </a:lnTo>
                  <a:lnTo>
                    <a:pt x="646261" y="123638"/>
                  </a:lnTo>
                  <a:lnTo>
                    <a:pt x="645989" y="124152"/>
                  </a:lnTo>
                  <a:lnTo>
                    <a:pt x="649771" y="124515"/>
                  </a:lnTo>
                  <a:lnTo>
                    <a:pt x="652856" y="123123"/>
                  </a:lnTo>
                  <a:lnTo>
                    <a:pt x="655095" y="120673"/>
                  </a:lnTo>
                  <a:lnTo>
                    <a:pt x="655942" y="117436"/>
                  </a:lnTo>
                  <a:lnTo>
                    <a:pt x="657485" y="115197"/>
                  </a:lnTo>
                  <a:lnTo>
                    <a:pt x="662869" y="110902"/>
                  </a:lnTo>
                  <a:lnTo>
                    <a:pt x="662174" y="109571"/>
                  </a:lnTo>
                  <a:lnTo>
                    <a:pt x="662234" y="108754"/>
                  </a:lnTo>
                  <a:lnTo>
                    <a:pt x="662537" y="108331"/>
                  </a:lnTo>
                  <a:lnTo>
                    <a:pt x="663535" y="107907"/>
                  </a:lnTo>
                  <a:lnTo>
                    <a:pt x="663172" y="107786"/>
                  </a:lnTo>
                  <a:lnTo>
                    <a:pt x="662930" y="107786"/>
                  </a:lnTo>
                  <a:lnTo>
                    <a:pt x="662779" y="107544"/>
                  </a:lnTo>
                  <a:lnTo>
                    <a:pt x="662839" y="106969"/>
                  </a:lnTo>
                  <a:lnTo>
                    <a:pt x="663747" y="106757"/>
                  </a:lnTo>
                  <a:lnTo>
                    <a:pt x="664201" y="106455"/>
                  </a:lnTo>
                  <a:lnTo>
                    <a:pt x="664291" y="105819"/>
                  </a:lnTo>
                  <a:lnTo>
                    <a:pt x="664291" y="104519"/>
                  </a:lnTo>
                  <a:lnTo>
                    <a:pt x="664806" y="105668"/>
                  </a:lnTo>
                  <a:lnTo>
                    <a:pt x="664927" y="106182"/>
                  </a:lnTo>
                  <a:lnTo>
                    <a:pt x="665622" y="106182"/>
                  </a:lnTo>
                  <a:lnTo>
                    <a:pt x="666348" y="105487"/>
                  </a:lnTo>
                  <a:lnTo>
                    <a:pt x="666923" y="104367"/>
                  </a:lnTo>
                  <a:lnTo>
                    <a:pt x="667740" y="101947"/>
                  </a:lnTo>
                  <a:lnTo>
                    <a:pt x="668375" y="101947"/>
                  </a:lnTo>
                  <a:lnTo>
                    <a:pt x="668708" y="102613"/>
                  </a:lnTo>
                  <a:lnTo>
                    <a:pt x="669222" y="103188"/>
                  </a:lnTo>
                  <a:lnTo>
                    <a:pt x="669948" y="103551"/>
                  </a:lnTo>
                  <a:lnTo>
                    <a:pt x="670795" y="103702"/>
                  </a:lnTo>
                  <a:lnTo>
                    <a:pt x="672127" y="103339"/>
                  </a:lnTo>
                  <a:lnTo>
                    <a:pt x="672066" y="102552"/>
                  </a:lnTo>
                  <a:lnTo>
                    <a:pt x="671461" y="101705"/>
                  </a:lnTo>
                  <a:lnTo>
                    <a:pt x="671158" y="101191"/>
                  </a:lnTo>
                  <a:lnTo>
                    <a:pt x="672368" y="100042"/>
                  </a:lnTo>
                  <a:lnTo>
                    <a:pt x="675242" y="98771"/>
                  </a:lnTo>
                  <a:lnTo>
                    <a:pt x="676664" y="97773"/>
                  </a:lnTo>
                  <a:lnTo>
                    <a:pt x="677662" y="96532"/>
                  </a:lnTo>
                  <a:lnTo>
                    <a:pt x="677360" y="96109"/>
                  </a:lnTo>
                  <a:lnTo>
                    <a:pt x="676392" y="95685"/>
                  </a:lnTo>
                  <a:lnTo>
                    <a:pt x="675333" y="94445"/>
                  </a:lnTo>
                  <a:lnTo>
                    <a:pt x="675061" y="93356"/>
                  </a:lnTo>
                  <a:lnTo>
                    <a:pt x="675333" y="92569"/>
                  </a:lnTo>
                  <a:lnTo>
                    <a:pt x="676210" y="92086"/>
                  </a:lnTo>
                  <a:lnTo>
                    <a:pt x="677723" y="91934"/>
                  </a:lnTo>
                  <a:lnTo>
                    <a:pt x="678600" y="91269"/>
                  </a:lnTo>
                  <a:lnTo>
                    <a:pt x="679296" y="89847"/>
                  </a:lnTo>
                  <a:lnTo>
                    <a:pt x="679205" y="88425"/>
                  </a:lnTo>
                  <a:lnTo>
                    <a:pt x="676513" y="87215"/>
                  </a:lnTo>
                  <a:lnTo>
                    <a:pt x="675635" y="85914"/>
                  </a:lnTo>
                  <a:lnTo>
                    <a:pt x="674244" y="83161"/>
                  </a:lnTo>
                  <a:lnTo>
                    <a:pt x="673972" y="81376"/>
                  </a:lnTo>
                  <a:lnTo>
                    <a:pt x="675696" y="78200"/>
                  </a:lnTo>
                  <a:lnTo>
                    <a:pt x="675000" y="77625"/>
                  </a:lnTo>
                  <a:lnTo>
                    <a:pt x="673488" y="77232"/>
                  </a:lnTo>
                  <a:lnTo>
                    <a:pt x="673488" y="76233"/>
                  </a:lnTo>
                  <a:lnTo>
                    <a:pt x="675363" y="73511"/>
                  </a:lnTo>
                  <a:lnTo>
                    <a:pt x="674183" y="71393"/>
                  </a:lnTo>
                  <a:lnTo>
                    <a:pt x="673851" y="69215"/>
                  </a:lnTo>
                  <a:lnTo>
                    <a:pt x="674305" y="66856"/>
                  </a:lnTo>
                  <a:lnTo>
                    <a:pt x="675363" y="64163"/>
                  </a:lnTo>
                  <a:lnTo>
                    <a:pt x="673820" y="62046"/>
                  </a:lnTo>
                  <a:lnTo>
                    <a:pt x="674940" y="61078"/>
                  </a:lnTo>
                  <a:lnTo>
                    <a:pt x="681323" y="60473"/>
                  </a:lnTo>
                  <a:lnTo>
                    <a:pt x="683047" y="59656"/>
                  </a:lnTo>
                  <a:lnTo>
                    <a:pt x="685709" y="57447"/>
                  </a:lnTo>
                  <a:lnTo>
                    <a:pt x="688523" y="55784"/>
                  </a:lnTo>
                  <a:lnTo>
                    <a:pt x="689098" y="55209"/>
                  </a:lnTo>
                  <a:lnTo>
                    <a:pt x="689339" y="54665"/>
                  </a:lnTo>
                  <a:lnTo>
                    <a:pt x="689763" y="54271"/>
                  </a:lnTo>
                  <a:lnTo>
                    <a:pt x="690822" y="54120"/>
                  </a:lnTo>
                  <a:lnTo>
                    <a:pt x="695934" y="49098"/>
                  </a:lnTo>
                  <a:lnTo>
                    <a:pt x="696993" y="50338"/>
                  </a:lnTo>
                  <a:lnTo>
                    <a:pt x="698899" y="51337"/>
                  </a:lnTo>
                  <a:lnTo>
                    <a:pt x="701047" y="51881"/>
                  </a:lnTo>
                  <a:lnTo>
                    <a:pt x="702922" y="51730"/>
                  </a:lnTo>
                  <a:lnTo>
                    <a:pt x="704223" y="50550"/>
                  </a:lnTo>
                  <a:lnTo>
                    <a:pt x="705131" y="48433"/>
                  </a:lnTo>
                  <a:lnTo>
                    <a:pt x="705615" y="45861"/>
                  </a:lnTo>
                  <a:lnTo>
                    <a:pt x="705615" y="43260"/>
                  </a:lnTo>
                  <a:lnTo>
                    <a:pt x="705161" y="40779"/>
                  </a:lnTo>
                  <a:lnTo>
                    <a:pt x="703528" y="34759"/>
                  </a:lnTo>
                  <a:lnTo>
                    <a:pt x="703043" y="30191"/>
                  </a:lnTo>
                  <a:lnTo>
                    <a:pt x="702559" y="28043"/>
                  </a:lnTo>
                  <a:lnTo>
                    <a:pt x="701470" y="26289"/>
                  </a:lnTo>
                  <a:lnTo>
                    <a:pt x="702105" y="25048"/>
                  </a:lnTo>
                  <a:lnTo>
                    <a:pt x="701742" y="21841"/>
                  </a:lnTo>
                  <a:lnTo>
                    <a:pt x="702166" y="20389"/>
                  </a:lnTo>
                  <a:lnTo>
                    <a:pt x="701803" y="19694"/>
                  </a:lnTo>
                  <a:lnTo>
                    <a:pt x="701591" y="18847"/>
                  </a:lnTo>
                  <a:lnTo>
                    <a:pt x="701470" y="17939"/>
                  </a:lnTo>
                  <a:lnTo>
                    <a:pt x="701470" y="17001"/>
                  </a:lnTo>
                  <a:lnTo>
                    <a:pt x="699595" y="19663"/>
                  </a:lnTo>
                  <a:lnTo>
                    <a:pt x="698597" y="18696"/>
                  </a:lnTo>
                  <a:lnTo>
                    <a:pt x="694029" y="16517"/>
                  </a:lnTo>
                  <a:lnTo>
                    <a:pt x="688311" y="12554"/>
                  </a:lnTo>
                  <a:lnTo>
                    <a:pt x="689188" y="11012"/>
                  </a:lnTo>
                  <a:lnTo>
                    <a:pt x="689491" y="9197"/>
                  </a:lnTo>
                  <a:lnTo>
                    <a:pt x="687887" y="8834"/>
                  </a:lnTo>
                  <a:lnTo>
                    <a:pt x="686133" y="8138"/>
                  </a:lnTo>
                  <a:lnTo>
                    <a:pt x="682261" y="7230"/>
                  </a:lnTo>
                  <a:lnTo>
                    <a:pt x="679568" y="4901"/>
                  </a:lnTo>
                  <a:lnTo>
                    <a:pt x="677753" y="4386"/>
                  </a:lnTo>
                  <a:lnTo>
                    <a:pt x="675121" y="4629"/>
                  </a:lnTo>
                  <a:lnTo>
                    <a:pt x="671249" y="4961"/>
                  </a:lnTo>
                  <a:lnTo>
                    <a:pt x="669132" y="4417"/>
                  </a:lnTo>
                  <a:lnTo>
                    <a:pt x="667861" y="3418"/>
                  </a:lnTo>
                  <a:lnTo>
                    <a:pt x="665169" y="605"/>
                  </a:lnTo>
                  <a:lnTo>
                    <a:pt x="664352" y="121"/>
                  </a:lnTo>
                  <a:lnTo>
                    <a:pt x="662900" y="0"/>
                  </a:lnTo>
                  <a:lnTo>
                    <a:pt x="660691" y="1966"/>
                  </a:lnTo>
                  <a:lnTo>
                    <a:pt x="655185" y="2117"/>
                  </a:lnTo>
                  <a:lnTo>
                    <a:pt x="652523" y="2814"/>
                  </a:lnTo>
                  <a:lnTo>
                    <a:pt x="649801" y="4840"/>
                  </a:lnTo>
                  <a:lnTo>
                    <a:pt x="649045" y="5143"/>
                  </a:lnTo>
                  <a:lnTo>
                    <a:pt x="648379" y="5143"/>
                  </a:lnTo>
                  <a:lnTo>
                    <a:pt x="647683" y="5355"/>
                  </a:lnTo>
                  <a:lnTo>
                    <a:pt x="647018" y="6081"/>
                  </a:lnTo>
                  <a:lnTo>
                    <a:pt x="646443" y="7623"/>
                  </a:lnTo>
                  <a:lnTo>
                    <a:pt x="646383" y="9408"/>
                  </a:lnTo>
                  <a:lnTo>
                    <a:pt x="646655" y="11163"/>
                  </a:lnTo>
                  <a:lnTo>
                    <a:pt x="647139" y="12615"/>
                  </a:lnTo>
                  <a:lnTo>
                    <a:pt x="647592" y="13220"/>
                  </a:lnTo>
                  <a:lnTo>
                    <a:pt x="648349" y="14248"/>
                  </a:lnTo>
                  <a:lnTo>
                    <a:pt x="649801" y="14854"/>
                  </a:lnTo>
                  <a:lnTo>
                    <a:pt x="651192" y="15126"/>
                  </a:lnTo>
                  <a:lnTo>
                    <a:pt x="652342" y="15640"/>
                  </a:lnTo>
                  <a:lnTo>
                    <a:pt x="653219" y="16578"/>
                  </a:lnTo>
                  <a:lnTo>
                    <a:pt x="653794" y="17636"/>
                  </a:lnTo>
                  <a:lnTo>
                    <a:pt x="654702" y="20783"/>
                  </a:lnTo>
                  <a:lnTo>
                    <a:pt x="654792" y="21721"/>
                  </a:lnTo>
                  <a:lnTo>
                    <a:pt x="654641" y="23657"/>
                  </a:lnTo>
                  <a:lnTo>
                    <a:pt x="654822" y="24473"/>
                  </a:lnTo>
                  <a:lnTo>
                    <a:pt x="655367" y="24897"/>
                  </a:lnTo>
                  <a:lnTo>
                    <a:pt x="656971" y="25169"/>
                  </a:lnTo>
                  <a:lnTo>
                    <a:pt x="657515" y="25744"/>
                  </a:lnTo>
                  <a:lnTo>
                    <a:pt x="658029" y="27378"/>
                  </a:lnTo>
                  <a:lnTo>
                    <a:pt x="658180" y="28799"/>
                  </a:lnTo>
                  <a:lnTo>
                    <a:pt x="658029" y="30191"/>
                  </a:lnTo>
                  <a:lnTo>
                    <a:pt x="657666" y="31764"/>
                  </a:lnTo>
                  <a:lnTo>
                    <a:pt x="656486" y="32883"/>
                  </a:lnTo>
                  <a:lnTo>
                    <a:pt x="656305" y="33700"/>
                  </a:lnTo>
                  <a:lnTo>
                    <a:pt x="657334" y="35878"/>
                  </a:lnTo>
                  <a:lnTo>
                    <a:pt x="657757" y="36453"/>
                  </a:lnTo>
                  <a:lnTo>
                    <a:pt x="659149" y="37663"/>
                  </a:lnTo>
                  <a:lnTo>
                    <a:pt x="659451" y="38419"/>
                  </a:lnTo>
                  <a:lnTo>
                    <a:pt x="659270" y="39418"/>
                  </a:lnTo>
                  <a:lnTo>
                    <a:pt x="658755" y="39690"/>
                  </a:lnTo>
                  <a:lnTo>
                    <a:pt x="658120" y="39902"/>
                  </a:lnTo>
                  <a:lnTo>
                    <a:pt x="657575" y="40658"/>
                  </a:lnTo>
                  <a:lnTo>
                    <a:pt x="656456" y="43743"/>
                  </a:lnTo>
                  <a:lnTo>
                    <a:pt x="654913" y="46859"/>
                  </a:lnTo>
                  <a:lnTo>
                    <a:pt x="653733" y="48554"/>
                  </a:lnTo>
                  <a:lnTo>
                    <a:pt x="653098" y="48856"/>
                  </a:lnTo>
                  <a:lnTo>
                    <a:pt x="652372" y="48674"/>
                  </a:lnTo>
                  <a:lnTo>
                    <a:pt x="643781" y="50520"/>
                  </a:lnTo>
                  <a:lnTo>
                    <a:pt x="642480" y="51095"/>
                  </a:lnTo>
                  <a:lnTo>
                    <a:pt x="639788" y="52759"/>
                  </a:lnTo>
                  <a:lnTo>
                    <a:pt x="637519" y="53787"/>
                  </a:lnTo>
                  <a:lnTo>
                    <a:pt x="636399" y="53908"/>
                  </a:lnTo>
                  <a:lnTo>
                    <a:pt x="635038" y="53666"/>
                  </a:lnTo>
                  <a:lnTo>
                    <a:pt x="633646" y="53666"/>
                  </a:lnTo>
                  <a:lnTo>
                    <a:pt x="631136" y="54846"/>
                  </a:lnTo>
                  <a:lnTo>
                    <a:pt x="629684" y="55118"/>
                  </a:lnTo>
                  <a:lnTo>
                    <a:pt x="627748" y="54392"/>
                  </a:lnTo>
                  <a:lnTo>
                    <a:pt x="624783" y="51367"/>
                  </a:lnTo>
                  <a:lnTo>
                    <a:pt x="622544" y="50580"/>
                  </a:lnTo>
                  <a:lnTo>
                    <a:pt x="621516" y="50943"/>
                  </a:lnTo>
                  <a:lnTo>
                    <a:pt x="617764" y="53273"/>
                  </a:lnTo>
                  <a:lnTo>
                    <a:pt x="614286" y="53515"/>
                  </a:lnTo>
                  <a:lnTo>
                    <a:pt x="613136" y="53878"/>
                  </a:lnTo>
                  <a:lnTo>
                    <a:pt x="611896" y="54725"/>
                  </a:lnTo>
                  <a:lnTo>
                    <a:pt x="611170" y="55391"/>
                  </a:lnTo>
                  <a:lnTo>
                    <a:pt x="610474" y="55814"/>
                  </a:lnTo>
                  <a:lnTo>
                    <a:pt x="609325" y="55965"/>
                  </a:lnTo>
                  <a:lnTo>
                    <a:pt x="608356" y="55723"/>
                  </a:lnTo>
                  <a:lnTo>
                    <a:pt x="606269" y="54574"/>
                  </a:lnTo>
                  <a:lnTo>
                    <a:pt x="605271" y="54241"/>
                  </a:lnTo>
                  <a:lnTo>
                    <a:pt x="596407" y="53666"/>
                  </a:lnTo>
                  <a:lnTo>
                    <a:pt x="595046" y="54090"/>
                  </a:lnTo>
                  <a:lnTo>
                    <a:pt x="594259" y="55239"/>
                  </a:lnTo>
                  <a:lnTo>
                    <a:pt x="593594" y="56600"/>
                  </a:lnTo>
                  <a:lnTo>
                    <a:pt x="592717" y="57599"/>
                  </a:lnTo>
                  <a:lnTo>
                    <a:pt x="591718" y="57962"/>
                  </a:lnTo>
                  <a:lnTo>
                    <a:pt x="590931" y="57871"/>
                  </a:lnTo>
                  <a:lnTo>
                    <a:pt x="590145" y="57659"/>
                  </a:lnTo>
                  <a:lnTo>
                    <a:pt x="589086" y="57569"/>
                  </a:lnTo>
                  <a:lnTo>
                    <a:pt x="586515" y="57992"/>
                  </a:lnTo>
                  <a:lnTo>
                    <a:pt x="569635" y="63014"/>
                  </a:lnTo>
                  <a:lnTo>
                    <a:pt x="567275" y="63165"/>
                  </a:lnTo>
                  <a:lnTo>
                    <a:pt x="564946" y="62832"/>
                  </a:lnTo>
                  <a:lnTo>
                    <a:pt x="562979" y="61743"/>
                  </a:lnTo>
                  <a:lnTo>
                    <a:pt x="558684" y="56298"/>
                  </a:lnTo>
                  <a:lnTo>
                    <a:pt x="556748" y="54785"/>
                  </a:lnTo>
                  <a:lnTo>
                    <a:pt x="556324" y="54634"/>
                  </a:lnTo>
                  <a:lnTo>
                    <a:pt x="552573" y="53001"/>
                  </a:lnTo>
                  <a:lnTo>
                    <a:pt x="552180" y="52577"/>
                  </a:lnTo>
                  <a:lnTo>
                    <a:pt x="551393" y="51367"/>
                  </a:lnTo>
                  <a:lnTo>
                    <a:pt x="551091" y="51064"/>
                  </a:lnTo>
                  <a:lnTo>
                    <a:pt x="550576" y="51064"/>
                  </a:lnTo>
                  <a:lnTo>
                    <a:pt x="548942" y="51367"/>
                  </a:lnTo>
                  <a:lnTo>
                    <a:pt x="532486" y="44923"/>
                  </a:lnTo>
                  <a:lnTo>
                    <a:pt x="529400" y="43169"/>
                  </a:lnTo>
                  <a:lnTo>
                    <a:pt x="528039" y="43017"/>
                  </a:lnTo>
                  <a:lnTo>
                    <a:pt x="527040" y="43199"/>
                  </a:lnTo>
                  <a:lnTo>
                    <a:pt x="524953" y="43895"/>
                  </a:lnTo>
                  <a:lnTo>
                    <a:pt x="521051" y="44137"/>
                  </a:lnTo>
                  <a:lnTo>
                    <a:pt x="520718" y="45801"/>
                  </a:lnTo>
                  <a:lnTo>
                    <a:pt x="520990" y="47948"/>
                  </a:lnTo>
                  <a:lnTo>
                    <a:pt x="520113" y="49734"/>
                  </a:lnTo>
                  <a:lnTo>
                    <a:pt x="518116" y="49643"/>
                  </a:lnTo>
                  <a:lnTo>
                    <a:pt x="515908" y="47828"/>
                  </a:lnTo>
                  <a:lnTo>
                    <a:pt x="512520" y="43774"/>
                  </a:lnTo>
                  <a:lnTo>
                    <a:pt x="510553" y="42140"/>
                  </a:lnTo>
                  <a:lnTo>
                    <a:pt x="508708" y="41324"/>
                  </a:lnTo>
                  <a:lnTo>
                    <a:pt x="506742" y="41051"/>
                  </a:lnTo>
                  <a:lnTo>
                    <a:pt x="504412" y="41051"/>
                  </a:lnTo>
                  <a:lnTo>
                    <a:pt x="505048" y="39811"/>
                  </a:lnTo>
                  <a:lnTo>
                    <a:pt x="501539" y="39872"/>
                  </a:lnTo>
                  <a:lnTo>
                    <a:pt x="500177" y="39569"/>
                  </a:lnTo>
                  <a:lnTo>
                    <a:pt x="498604" y="38268"/>
                  </a:lnTo>
                  <a:lnTo>
                    <a:pt x="498544" y="37814"/>
                  </a:lnTo>
                  <a:lnTo>
                    <a:pt x="498786" y="36453"/>
                  </a:lnTo>
                  <a:lnTo>
                    <a:pt x="498665" y="35818"/>
                  </a:lnTo>
                  <a:lnTo>
                    <a:pt x="498271" y="35424"/>
                  </a:lnTo>
                  <a:lnTo>
                    <a:pt x="497303" y="34880"/>
                  </a:lnTo>
                  <a:lnTo>
                    <a:pt x="496940" y="34517"/>
                  </a:lnTo>
                  <a:lnTo>
                    <a:pt x="496396" y="33791"/>
                  </a:lnTo>
                  <a:lnTo>
                    <a:pt x="495882" y="33307"/>
                  </a:lnTo>
                  <a:lnTo>
                    <a:pt x="495458" y="32732"/>
                  </a:lnTo>
                  <a:lnTo>
                    <a:pt x="495186" y="31734"/>
                  </a:lnTo>
                  <a:lnTo>
                    <a:pt x="494853" y="28315"/>
                  </a:lnTo>
                  <a:lnTo>
                    <a:pt x="493613" y="25079"/>
                  </a:lnTo>
                  <a:lnTo>
                    <a:pt x="491525" y="23354"/>
                  </a:lnTo>
                  <a:lnTo>
                    <a:pt x="488621" y="24383"/>
                  </a:lnTo>
                  <a:lnTo>
                    <a:pt x="486383" y="24836"/>
                  </a:lnTo>
                  <a:lnTo>
                    <a:pt x="484325" y="27529"/>
                  </a:lnTo>
                  <a:lnTo>
                    <a:pt x="482813" y="27831"/>
                  </a:lnTo>
                  <a:lnTo>
                    <a:pt x="480695" y="27498"/>
                  </a:lnTo>
                  <a:lnTo>
                    <a:pt x="479122" y="27650"/>
                  </a:lnTo>
                  <a:lnTo>
                    <a:pt x="475764" y="28587"/>
                  </a:lnTo>
                  <a:lnTo>
                    <a:pt x="474857" y="28678"/>
                  </a:lnTo>
                  <a:lnTo>
                    <a:pt x="472164" y="28376"/>
                  </a:lnTo>
                  <a:lnTo>
                    <a:pt x="471287" y="28497"/>
                  </a:lnTo>
                  <a:lnTo>
                    <a:pt x="470621" y="28860"/>
                  </a:lnTo>
                  <a:lnTo>
                    <a:pt x="469926" y="29072"/>
                  </a:lnTo>
                  <a:lnTo>
                    <a:pt x="468988" y="28769"/>
                  </a:lnTo>
                  <a:lnTo>
                    <a:pt x="468806" y="28104"/>
                  </a:lnTo>
                  <a:lnTo>
                    <a:pt x="469049" y="27075"/>
                  </a:lnTo>
                  <a:lnTo>
                    <a:pt x="468958" y="26016"/>
                  </a:lnTo>
                  <a:lnTo>
                    <a:pt x="466991" y="24867"/>
                  </a:lnTo>
                  <a:lnTo>
                    <a:pt x="465358" y="23173"/>
                  </a:lnTo>
                  <a:lnTo>
                    <a:pt x="463603" y="23384"/>
                  </a:lnTo>
                  <a:lnTo>
                    <a:pt x="461697" y="24110"/>
                  </a:lnTo>
                  <a:lnTo>
                    <a:pt x="460033" y="25109"/>
                  </a:lnTo>
                  <a:lnTo>
                    <a:pt x="459882" y="25199"/>
                  </a:lnTo>
                  <a:lnTo>
                    <a:pt x="458400" y="26379"/>
                  </a:lnTo>
                  <a:lnTo>
                    <a:pt x="457976" y="27166"/>
                  </a:lnTo>
                  <a:lnTo>
                    <a:pt x="457523" y="29102"/>
                  </a:lnTo>
                  <a:lnTo>
                    <a:pt x="457250" y="29586"/>
                  </a:lnTo>
                  <a:lnTo>
                    <a:pt x="456494" y="29525"/>
                  </a:lnTo>
                  <a:lnTo>
                    <a:pt x="456071" y="29011"/>
                  </a:lnTo>
                  <a:lnTo>
                    <a:pt x="455617" y="28285"/>
                  </a:lnTo>
                  <a:lnTo>
                    <a:pt x="454830" y="27710"/>
                  </a:lnTo>
                  <a:lnTo>
                    <a:pt x="451835" y="26894"/>
                  </a:lnTo>
                  <a:lnTo>
                    <a:pt x="447812" y="26561"/>
                  </a:lnTo>
                  <a:lnTo>
                    <a:pt x="444878" y="27831"/>
                  </a:lnTo>
                  <a:lnTo>
                    <a:pt x="445120" y="31794"/>
                  </a:lnTo>
                  <a:lnTo>
                    <a:pt x="445392" y="34517"/>
                  </a:lnTo>
                  <a:lnTo>
                    <a:pt x="445392" y="35545"/>
                  </a:lnTo>
                  <a:lnTo>
                    <a:pt x="444726" y="36483"/>
                  </a:lnTo>
                  <a:lnTo>
                    <a:pt x="443607" y="36997"/>
                  </a:lnTo>
                  <a:lnTo>
                    <a:pt x="442427" y="36786"/>
                  </a:lnTo>
                  <a:lnTo>
                    <a:pt x="440189" y="35394"/>
                  </a:lnTo>
                  <a:lnTo>
                    <a:pt x="439826" y="36271"/>
                  </a:lnTo>
                  <a:lnTo>
                    <a:pt x="439342" y="36574"/>
                  </a:lnTo>
                  <a:lnTo>
                    <a:pt x="438797" y="36695"/>
                  </a:lnTo>
                  <a:lnTo>
                    <a:pt x="438222" y="37058"/>
                  </a:lnTo>
                  <a:lnTo>
                    <a:pt x="436559" y="38601"/>
                  </a:lnTo>
                  <a:lnTo>
                    <a:pt x="435076" y="38692"/>
                  </a:lnTo>
                  <a:lnTo>
                    <a:pt x="430327" y="35485"/>
                  </a:lnTo>
                  <a:lnTo>
                    <a:pt x="429510" y="35394"/>
                  </a:lnTo>
                  <a:lnTo>
                    <a:pt x="426787" y="37723"/>
                  </a:lnTo>
                  <a:lnTo>
                    <a:pt x="425184" y="38449"/>
                  </a:lnTo>
                  <a:lnTo>
                    <a:pt x="423097" y="38934"/>
                  </a:lnTo>
                  <a:lnTo>
                    <a:pt x="420949" y="39146"/>
                  </a:lnTo>
                  <a:lnTo>
                    <a:pt x="419164" y="39055"/>
                  </a:lnTo>
                  <a:lnTo>
                    <a:pt x="417651" y="39720"/>
                  </a:lnTo>
                  <a:lnTo>
                    <a:pt x="415383" y="43229"/>
                  </a:lnTo>
                  <a:lnTo>
                    <a:pt x="413749" y="43623"/>
                  </a:lnTo>
                  <a:lnTo>
                    <a:pt x="410452" y="42927"/>
                  </a:lnTo>
                  <a:lnTo>
                    <a:pt x="407093" y="42927"/>
                  </a:lnTo>
                  <a:lnTo>
                    <a:pt x="405158" y="43592"/>
                  </a:lnTo>
                  <a:lnTo>
                    <a:pt x="402647" y="45952"/>
                  </a:lnTo>
                  <a:lnTo>
                    <a:pt x="402344" y="46103"/>
                  </a:lnTo>
                  <a:lnTo>
                    <a:pt x="401104" y="46859"/>
                  </a:lnTo>
                  <a:lnTo>
                    <a:pt x="397716" y="46738"/>
                  </a:lnTo>
                  <a:lnTo>
                    <a:pt x="391091" y="43562"/>
                  </a:lnTo>
                  <a:lnTo>
                    <a:pt x="381168" y="43320"/>
                  </a:lnTo>
                  <a:lnTo>
                    <a:pt x="379262" y="43895"/>
                  </a:lnTo>
                  <a:lnTo>
                    <a:pt x="376207" y="45952"/>
                  </a:lnTo>
                  <a:lnTo>
                    <a:pt x="374422" y="46859"/>
                  </a:lnTo>
                  <a:lnTo>
                    <a:pt x="372274" y="47102"/>
                  </a:lnTo>
                  <a:lnTo>
                    <a:pt x="371215" y="46164"/>
                  </a:lnTo>
                  <a:lnTo>
                    <a:pt x="370278" y="44742"/>
                  </a:lnTo>
                  <a:lnTo>
                    <a:pt x="368402" y="43532"/>
                  </a:lnTo>
                  <a:lnTo>
                    <a:pt x="366617" y="43653"/>
                  </a:lnTo>
                  <a:lnTo>
                    <a:pt x="364258" y="44591"/>
                  </a:lnTo>
                  <a:lnTo>
                    <a:pt x="362019" y="45892"/>
                  </a:lnTo>
                  <a:lnTo>
                    <a:pt x="360537" y="47162"/>
                  </a:lnTo>
                  <a:lnTo>
                    <a:pt x="360204" y="48100"/>
                  </a:lnTo>
                  <a:lnTo>
                    <a:pt x="360053" y="50338"/>
                  </a:lnTo>
                  <a:lnTo>
                    <a:pt x="359538" y="51518"/>
                  </a:lnTo>
                  <a:lnTo>
                    <a:pt x="358631" y="52365"/>
                  </a:lnTo>
                  <a:lnTo>
                    <a:pt x="357542" y="52940"/>
                  </a:lnTo>
                  <a:lnTo>
                    <a:pt x="355273" y="53545"/>
                  </a:lnTo>
                  <a:lnTo>
                    <a:pt x="351038" y="53968"/>
                  </a:lnTo>
                  <a:lnTo>
                    <a:pt x="331072" y="51155"/>
                  </a:lnTo>
                  <a:lnTo>
                    <a:pt x="321936" y="50520"/>
                  </a:lnTo>
                  <a:lnTo>
                    <a:pt x="319001" y="51004"/>
                  </a:lnTo>
                  <a:lnTo>
                    <a:pt x="317398" y="51276"/>
                  </a:lnTo>
                  <a:lnTo>
                    <a:pt x="315523" y="52789"/>
                  </a:lnTo>
                  <a:lnTo>
                    <a:pt x="314403" y="53696"/>
                  </a:lnTo>
                  <a:lnTo>
                    <a:pt x="313465" y="57145"/>
                  </a:lnTo>
                  <a:lnTo>
                    <a:pt x="313344" y="57569"/>
                  </a:lnTo>
                  <a:lnTo>
                    <a:pt x="312921" y="67309"/>
                  </a:lnTo>
                  <a:lnTo>
                    <a:pt x="311983" y="72029"/>
                  </a:lnTo>
                  <a:lnTo>
                    <a:pt x="310833" y="74509"/>
                  </a:lnTo>
                  <a:lnTo>
                    <a:pt x="309744" y="75235"/>
                  </a:lnTo>
                  <a:lnTo>
                    <a:pt x="308413" y="74630"/>
                  </a:lnTo>
                  <a:lnTo>
                    <a:pt x="306628" y="73148"/>
                  </a:lnTo>
                  <a:lnTo>
                    <a:pt x="305842" y="72180"/>
                  </a:lnTo>
                  <a:lnTo>
                    <a:pt x="305418" y="71212"/>
                  </a:lnTo>
                  <a:lnTo>
                    <a:pt x="304935" y="70637"/>
                  </a:lnTo>
                  <a:lnTo>
                    <a:pt x="304813" y="70516"/>
                  </a:lnTo>
                  <a:lnTo>
                    <a:pt x="303634" y="70244"/>
                  </a:lnTo>
                  <a:lnTo>
                    <a:pt x="302121" y="70607"/>
                  </a:lnTo>
                  <a:lnTo>
                    <a:pt x="301788" y="71514"/>
                  </a:lnTo>
                  <a:lnTo>
                    <a:pt x="301879" y="72603"/>
                  </a:lnTo>
                  <a:lnTo>
                    <a:pt x="301637" y="73602"/>
                  </a:lnTo>
                  <a:lnTo>
                    <a:pt x="299913" y="75629"/>
                  </a:lnTo>
                  <a:lnTo>
                    <a:pt x="298188" y="76960"/>
                  </a:lnTo>
                  <a:lnTo>
                    <a:pt x="297825" y="77081"/>
                  </a:lnTo>
                  <a:lnTo>
                    <a:pt x="296283" y="77625"/>
                  </a:lnTo>
                  <a:lnTo>
                    <a:pt x="294074" y="77746"/>
                  </a:lnTo>
                  <a:lnTo>
                    <a:pt x="290777" y="77293"/>
                  </a:lnTo>
                  <a:lnTo>
                    <a:pt x="289173" y="77293"/>
                  </a:lnTo>
                  <a:lnTo>
                    <a:pt x="287237" y="77837"/>
                  </a:lnTo>
                  <a:lnTo>
                    <a:pt x="285846" y="78170"/>
                  </a:lnTo>
                  <a:lnTo>
                    <a:pt x="284212" y="78321"/>
                  </a:lnTo>
                  <a:lnTo>
                    <a:pt x="281217" y="78200"/>
                  </a:lnTo>
                  <a:lnTo>
                    <a:pt x="280068" y="77807"/>
                  </a:lnTo>
                  <a:lnTo>
                    <a:pt x="277950" y="76536"/>
                  </a:lnTo>
                  <a:lnTo>
                    <a:pt x="277042" y="76113"/>
                  </a:lnTo>
                  <a:lnTo>
                    <a:pt x="275772" y="76022"/>
                  </a:lnTo>
                  <a:lnTo>
                    <a:pt x="273231" y="76445"/>
                  </a:lnTo>
                  <a:lnTo>
                    <a:pt x="271325" y="76506"/>
                  </a:lnTo>
                  <a:lnTo>
                    <a:pt x="270478" y="77020"/>
                  </a:lnTo>
                  <a:lnTo>
                    <a:pt x="269843" y="76960"/>
                  </a:lnTo>
                  <a:lnTo>
                    <a:pt x="269631" y="76536"/>
                  </a:lnTo>
                  <a:lnTo>
                    <a:pt x="269480" y="74933"/>
                  </a:lnTo>
                  <a:lnTo>
                    <a:pt x="269207" y="74449"/>
                  </a:lnTo>
                  <a:lnTo>
                    <a:pt x="268270" y="74207"/>
                  </a:lnTo>
                  <a:lnTo>
                    <a:pt x="265214" y="73844"/>
                  </a:lnTo>
                  <a:lnTo>
                    <a:pt x="261403" y="72725"/>
                  </a:lnTo>
                  <a:lnTo>
                    <a:pt x="260253" y="72603"/>
                  </a:lnTo>
                  <a:lnTo>
                    <a:pt x="259467" y="72513"/>
                  </a:lnTo>
                  <a:lnTo>
                    <a:pt x="257167" y="72694"/>
                  </a:lnTo>
                  <a:lnTo>
                    <a:pt x="254868" y="73692"/>
                  </a:lnTo>
                  <a:lnTo>
                    <a:pt x="251238" y="76718"/>
                  </a:lnTo>
                  <a:lnTo>
                    <a:pt x="249120" y="77413"/>
                  </a:lnTo>
                  <a:lnTo>
                    <a:pt x="248394" y="77171"/>
                  </a:lnTo>
                  <a:lnTo>
                    <a:pt x="245037" y="75507"/>
                  </a:lnTo>
                  <a:lnTo>
                    <a:pt x="244795" y="75144"/>
                  </a:lnTo>
                  <a:lnTo>
                    <a:pt x="244643" y="74540"/>
                  </a:lnTo>
                  <a:lnTo>
                    <a:pt x="244341" y="73935"/>
                  </a:lnTo>
                  <a:lnTo>
                    <a:pt x="243615" y="73692"/>
                  </a:lnTo>
                  <a:lnTo>
                    <a:pt x="243191" y="73935"/>
                  </a:lnTo>
                  <a:lnTo>
                    <a:pt x="242163" y="74993"/>
                  </a:lnTo>
                  <a:lnTo>
                    <a:pt x="241679" y="75326"/>
                  </a:lnTo>
                  <a:lnTo>
                    <a:pt x="235235" y="77050"/>
                  </a:lnTo>
                  <a:lnTo>
                    <a:pt x="232180" y="78593"/>
                  </a:lnTo>
                  <a:lnTo>
                    <a:pt x="231242" y="79229"/>
                  </a:lnTo>
                  <a:lnTo>
                    <a:pt x="229578" y="80378"/>
                  </a:lnTo>
                  <a:lnTo>
                    <a:pt x="228792" y="81195"/>
                  </a:lnTo>
                  <a:lnTo>
                    <a:pt x="228398" y="82344"/>
                  </a:lnTo>
                  <a:lnTo>
                    <a:pt x="228307" y="84371"/>
                  </a:lnTo>
                  <a:lnTo>
                    <a:pt x="228307" y="84765"/>
                  </a:lnTo>
                  <a:lnTo>
                    <a:pt x="228096" y="85702"/>
                  </a:lnTo>
                  <a:lnTo>
                    <a:pt x="226734" y="87578"/>
                  </a:lnTo>
                  <a:lnTo>
                    <a:pt x="223135" y="90754"/>
                  </a:lnTo>
                  <a:lnTo>
                    <a:pt x="221773" y="93053"/>
                  </a:lnTo>
                  <a:lnTo>
                    <a:pt x="221773" y="93053"/>
                  </a:lnTo>
                  <a:lnTo>
                    <a:pt x="217992" y="95534"/>
                  </a:lnTo>
                  <a:lnTo>
                    <a:pt x="216993" y="96683"/>
                  </a:lnTo>
                  <a:lnTo>
                    <a:pt x="216812" y="97682"/>
                  </a:lnTo>
                  <a:lnTo>
                    <a:pt x="216812" y="99013"/>
                  </a:lnTo>
                  <a:lnTo>
                    <a:pt x="216449" y="100405"/>
                  </a:lnTo>
                  <a:lnTo>
                    <a:pt x="215178" y="101614"/>
                  </a:lnTo>
                  <a:lnTo>
                    <a:pt x="214331" y="101796"/>
                  </a:lnTo>
                  <a:lnTo>
                    <a:pt x="212305" y="102220"/>
                  </a:lnTo>
                  <a:lnTo>
                    <a:pt x="207071" y="101131"/>
                  </a:lnTo>
                  <a:lnTo>
                    <a:pt x="204227" y="102311"/>
                  </a:lnTo>
                  <a:lnTo>
                    <a:pt x="204016" y="102794"/>
                  </a:lnTo>
                  <a:lnTo>
                    <a:pt x="203804" y="104367"/>
                  </a:lnTo>
                  <a:lnTo>
                    <a:pt x="203411" y="105033"/>
                  </a:lnTo>
                  <a:lnTo>
                    <a:pt x="202926" y="105215"/>
                  </a:lnTo>
                  <a:lnTo>
                    <a:pt x="201474" y="105124"/>
                  </a:lnTo>
                  <a:lnTo>
                    <a:pt x="200900" y="105215"/>
                  </a:lnTo>
                  <a:lnTo>
                    <a:pt x="199871" y="105971"/>
                  </a:lnTo>
                  <a:lnTo>
                    <a:pt x="197542" y="108119"/>
                  </a:lnTo>
                  <a:lnTo>
                    <a:pt x="196665" y="108663"/>
                  </a:lnTo>
                  <a:lnTo>
                    <a:pt x="193851" y="108149"/>
                  </a:lnTo>
                  <a:lnTo>
                    <a:pt x="189404" y="104489"/>
                  </a:lnTo>
                  <a:lnTo>
                    <a:pt x="189011" y="104489"/>
                  </a:lnTo>
                  <a:lnTo>
                    <a:pt x="181327" y="103460"/>
                  </a:lnTo>
                  <a:lnTo>
                    <a:pt x="178846" y="103520"/>
                  </a:lnTo>
                  <a:lnTo>
                    <a:pt x="176456" y="104519"/>
                  </a:lnTo>
                  <a:lnTo>
                    <a:pt x="172796" y="107877"/>
                  </a:lnTo>
                  <a:lnTo>
                    <a:pt x="171223" y="108694"/>
                  </a:lnTo>
                  <a:lnTo>
                    <a:pt x="167835" y="109359"/>
                  </a:lnTo>
                  <a:lnTo>
                    <a:pt x="164356" y="109359"/>
                  </a:lnTo>
                  <a:lnTo>
                    <a:pt x="162843" y="109057"/>
                  </a:lnTo>
                  <a:lnTo>
                    <a:pt x="159153" y="108361"/>
                  </a:lnTo>
                  <a:lnTo>
                    <a:pt x="156521" y="108240"/>
                  </a:lnTo>
                  <a:lnTo>
                    <a:pt x="149382" y="110206"/>
                  </a:lnTo>
                  <a:lnTo>
                    <a:pt x="134589" y="110750"/>
                  </a:lnTo>
                  <a:lnTo>
                    <a:pt x="134770" y="116529"/>
                  </a:lnTo>
                  <a:lnTo>
                    <a:pt x="134135" y="119100"/>
                  </a:lnTo>
                  <a:lnTo>
                    <a:pt x="132411" y="121006"/>
                  </a:lnTo>
                  <a:lnTo>
                    <a:pt x="133409" y="121762"/>
                  </a:lnTo>
                  <a:lnTo>
                    <a:pt x="133772" y="122670"/>
                  </a:lnTo>
                  <a:lnTo>
                    <a:pt x="133984" y="123638"/>
                  </a:lnTo>
                  <a:lnTo>
                    <a:pt x="134407" y="124545"/>
                  </a:lnTo>
                  <a:lnTo>
                    <a:pt x="137281" y="127056"/>
                  </a:lnTo>
                  <a:lnTo>
                    <a:pt x="139943" y="130051"/>
                  </a:lnTo>
                  <a:lnTo>
                    <a:pt x="140972" y="131775"/>
                  </a:lnTo>
                  <a:lnTo>
                    <a:pt x="141637" y="133893"/>
                  </a:lnTo>
                  <a:lnTo>
                    <a:pt x="141788" y="136283"/>
                  </a:lnTo>
                  <a:lnTo>
                    <a:pt x="141425" y="138521"/>
                  </a:lnTo>
                  <a:lnTo>
                    <a:pt x="140367" y="142757"/>
                  </a:lnTo>
                  <a:lnTo>
                    <a:pt x="140185" y="144148"/>
                  </a:lnTo>
                  <a:lnTo>
                    <a:pt x="140185" y="145146"/>
                  </a:lnTo>
                  <a:lnTo>
                    <a:pt x="139973" y="146115"/>
                  </a:lnTo>
                  <a:lnTo>
                    <a:pt x="139459" y="147324"/>
                  </a:lnTo>
                  <a:lnTo>
                    <a:pt x="138763" y="148020"/>
                  </a:lnTo>
                  <a:lnTo>
                    <a:pt x="137826" y="148504"/>
                  </a:lnTo>
                  <a:lnTo>
                    <a:pt x="136918" y="149200"/>
                  </a:lnTo>
                  <a:lnTo>
                    <a:pt x="136222" y="150440"/>
                  </a:lnTo>
                  <a:lnTo>
                    <a:pt x="134921" y="150773"/>
                  </a:lnTo>
                  <a:lnTo>
                    <a:pt x="133832" y="151469"/>
                  </a:lnTo>
                  <a:lnTo>
                    <a:pt x="133227" y="152528"/>
                  </a:lnTo>
                  <a:lnTo>
                    <a:pt x="133288" y="154040"/>
                  </a:lnTo>
                  <a:lnTo>
                    <a:pt x="132985" y="154736"/>
                  </a:lnTo>
                  <a:lnTo>
                    <a:pt x="132652" y="155341"/>
                  </a:lnTo>
                  <a:lnTo>
                    <a:pt x="131654" y="156612"/>
                  </a:lnTo>
                  <a:lnTo>
                    <a:pt x="129173" y="158185"/>
                  </a:lnTo>
                  <a:lnTo>
                    <a:pt x="126905" y="157670"/>
                  </a:lnTo>
                  <a:lnTo>
                    <a:pt x="124606" y="156672"/>
                  </a:lnTo>
                  <a:lnTo>
                    <a:pt x="121913" y="156733"/>
                  </a:lnTo>
                  <a:lnTo>
                    <a:pt x="120582" y="157549"/>
                  </a:lnTo>
                  <a:lnTo>
                    <a:pt x="120038" y="158578"/>
                  </a:lnTo>
                  <a:lnTo>
                    <a:pt x="119645" y="159728"/>
                  </a:lnTo>
                  <a:lnTo>
                    <a:pt x="118828" y="160998"/>
                  </a:lnTo>
                  <a:lnTo>
                    <a:pt x="117920" y="161452"/>
                  </a:lnTo>
                  <a:lnTo>
                    <a:pt x="115833" y="161906"/>
                  </a:lnTo>
                  <a:lnTo>
                    <a:pt x="114955" y="162753"/>
                  </a:lnTo>
                  <a:lnTo>
                    <a:pt x="114804" y="163902"/>
                  </a:lnTo>
                  <a:lnTo>
                    <a:pt x="115228" y="167200"/>
                  </a:lnTo>
                  <a:lnTo>
                    <a:pt x="115288" y="168470"/>
                  </a:lnTo>
                  <a:lnTo>
                    <a:pt x="114955" y="169953"/>
                  </a:lnTo>
                  <a:lnTo>
                    <a:pt x="114502" y="170951"/>
                  </a:lnTo>
                  <a:lnTo>
                    <a:pt x="113413" y="172826"/>
                  </a:lnTo>
                  <a:lnTo>
                    <a:pt x="111870" y="176396"/>
                  </a:lnTo>
                  <a:lnTo>
                    <a:pt x="111567" y="177062"/>
                  </a:lnTo>
                  <a:lnTo>
                    <a:pt x="110781" y="177697"/>
                  </a:lnTo>
                  <a:lnTo>
                    <a:pt x="109692" y="178211"/>
                  </a:lnTo>
                  <a:lnTo>
                    <a:pt x="108603" y="178907"/>
                  </a:lnTo>
                  <a:lnTo>
                    <a:pt x="107816" y="180087"/>
                  </a:lnTo>
                  <a:lnTo>
                    <a:pt x="107362" y="182840"/>
                  </a:lnTo>
                  <a:lnTo>
                    <a:pt x="107574" y="185260"/>
                  </a:lnTo>
                  <a:lnTo>
                    <a:pt x="107574" y="187741"/>
                  </a:lnTo>
                  <a:lnTo>
                    <a:pt x="106425" y="190614"/>
                  </a:lnTo>
                  <a:lnTo>
                    <a:pt x="105880" y="191038"/>
                  </a:lnTo>
                  <a:lnTo>
                    <a:pt x="104398" y="191461"/>
                  </a:lnTo>
                  <a:lnTo>
                    <a:pt x="103944" y="192097"/>
                  </a:lnTo>
                  <a:lnTo>
                    <a:pt x="103883" y="192853"/>
                  </a:lnTo>
                  <a:lnTo>
                    <a:pt x="104216" y="194184"/>
                  </a:lnTo>
                  <a:lnTo>
                    <a:pt x="104216" y="194789"/>
                  </a:lnTo>
                  <a:lnTo>
                    <a:pt x="104730" y="197028"/>
                  </a:lnTo>
                  <a:lnTo>
                    <a:pt x="104579" y="197572"/>
                  </a:lnTo>
                  <a:lnTo>
                    <a:pt x="103066" y="201474"/>
                  </a:lnTo>
                  <a:lnTo>
                    <a:pt x="102643" y="202322"/>
                  </a:lnTo>
                  <a:lnTo>
                    <a:pt x="101917" y="202806"/>
                  </a:lnTo>
                  <a:lnTo>
                    <a:pt x="99406" y="203895"/>
                  </a:lnTo>
                  <a:lnTo>
                    <a:pt x="95625" y="205558"/>
                  </a:lnTo>
                  <a:lnTo>
                    <a:pt x="93114" y="205801"/>
                  </a:lnTo>
                  <a:lnTo>
                    <a:pt x="87790" y="205075"/>
                  </a:lnTo>
                  <a:lnTo>
                    <a:pt x="85944" y="205498"/>
                  </a:lnTo>
                  <a:lnTo>
                    <a:pt x="84341" y="206345"/>
                  </a:lnTo>
                  <a:lnTo>
                    <a:pt x="81013" y="205982"/>
                  </a:lnTo>
                  <a:lnTo>
                    <a:pt x="79108" y="206768"/>
                  </a:lnTo>
                  <a:lnTo>
                    <a:pt x="77746" y="208191"/>
                  </a:lnTo>
                  <a:lnTo>
                    <a:pt x="76596" y="210096"/>
                  </a:lnTo>
                  <a:lnTo>
                    <a:pt x="75750" y="212244"/>
                  </a:lnTo>
                  <a:lnTo>
                    <a:pt x="75326" y="214392"/>
                  </a:lnTo>
                  <a:lnTo>
                    <a:pt x="73662" y="214725"/>
                  </a:lnTo>
                  <a:lnTo>
                    <a:pt x="68641" y="214846"/>
                  </a:lnTo>
                  <a:lnTo>
                    <a:pt x="67431" y="215209"/>
                  </a:lnTo>
                  <a:lnTo>
                    <a:pt x="67945" y="216146"/>
                  </a:lnTo>
                  <a:lnTo>
                    <a:pt x="69457" y="223437"/>
                  </a:lnTo>
                  <a:lnTo>
                    <a:pt x="69972" y="224163"/>
                  </a:lnTo>
                  <a:lnTo>
                    <a:pt x="72362" y="226341"/>
                  </a:lnTo>
                  <a:lnTo>
                    <a:pt x="76990" y="233390"/>
                  </a:lnTo>
                  <a:lnTo>
                    <a:pt x="77383" y="235477"/>
                  </a:lnTo>
                  <a:lnTo>
                    <a:pt x="76567" y="237867"/>
                  </a:lnTo>
                  <a:lnTo>
                    <a:pt x="74812" y="239531"/>
                  </a:lnTo>
                  <a:lnTo>
                    <a:pt x="73118" y="239349"/>
                  </a:lnTo>
                  <a:lnTo>
                    <a:pt x="71333" y="238351"/>
                  </a:lnTo>
                  <a:lnTo>
                    <a:pt x="67582" y="237020"/>
                  </a:lnTo>
                  <a:lnTo>
                    <a:pt x="67461" y="237020"/>
                  </a:lnTo>
                  <a:lnTo>
                    <a:pt x="66462" y="236839"/>
                  </a:lnTo>
                  <a:lnTo>
                    <a:pt x="65616" y="237141"/>
                  </a:lnTo>
                  <a:lnTo>
                    <a:pt x="64919" y="238049"/>
                  </a:lnTo>
                  <a:lnTo>
                    <a:pt x="65162" y="238532"/>
                  </a:lnTo>
                  <a:lnTo>
                    <a:pt x="65736" y="239047"/>
                  </a:lnTo>
                  <a:lnTo>
                    <a:pt x="66069" y="240015"/>
                  </a:lnTo>
                  <a:lnTo>
                    <a:pt x="65918" y="240620"/>
                  </a:lnTo>
                  <a:lnTo>
                    <a:pt x="65282" y="242072"/>
                  </a:lnTo>
                  <a:lnTo>
                    <a:pt x="65162" y="242435"/>
                  </a:lnTo>
                  <a:lnTo>
                    <a:pt x="65434" y="242828"/>
                  </a:lnTo>
                  <a:lnTo>
                    <a:pt x="66160" y="243675"/>
                  </a:lnTo>
                  <a:lnTo>
                    <a:pt x="66342" y="244038"/>
                  </a:lnTo>
                  <a:lnTo>
                    <a:pt x="66735" y="245067"/>
                  </a:lnTo>
                  <a:lnTo>
                    <a:pt x="67279" y="245612"/>
                  </a:lnTo>
                  <a:lnTo>
                    <a:pt x="67582" y="246247"/>
                  </a:lnTo>
                  <a:lnTo>
                    <a:pt x="67279" y="247517"/>
                  </a:lnTo>
                  <a:lnTo>
                    <a:pt x="65888" y="249060"/>
                  </a:lnTo>
                  <a:lnTo>
                    <a:pt x="64012" y="250058"/>
                  </a:lnTo>
                  <a:lnTo>
                    <a:pt x="62500" y="251420"/>
                  </a:lnTo>
                  <a:lnTo>
                    <a:pt x="62197" y="254051"/>
                  </a:lnTo>
                  <a:lnTo>
                    <a:pt x="61320" y="253568"/>
                  </a:lnTo>
                  <a:lnTo>
                    <a:pt x="60442" y="253295"/>
                  </a:lnTo>
                  <a:lnTo>
                    <a:pt x="59565" y="253295"/>
                  </a:lnTo>
                  <a:lnTo>
                    <a:pt x="58748" y="253568"/>
                  </a:lnTo>
                  <a:lnTo>
                    <a:pt x="57962" y="254354"/>
                  </a:lnTo>
                  <a:lnTo>
                    <a:pt x="57841" y="255292"/>
                  </a:lnTo>
                  <a:lnTo>
                    <a:pt x="57841" y="256169"/>
                  </a:lnTo>
                  <a:lnTo>
                    <a:pt x="57538" y="256804"/>
                  </a:lnTo>
                  <a:lnTo>
                    <a:pt x="55935" y="257167"/>
                  </a:lnTo>
                  <a:lnTo>
                    <a:pt x="53908" y="256290"/>
                  </a:lnTo>
                  <a:lnTo>
                    <a:pt x="51034" y="253900"/>
                  </a:lnTo>
                  <a:lnTo>
                    <a:pt x="46436" y="251662"/>
                  </a:lnTo>
                  <a:lnTo>
                    <a:pt x="42413" y="250482"/>
                  </a:lnTo>
                  <a:lnTo>
                    <a:pt x="39055" y="249423"/>
                  </a:lnTo>
                  <a:lnTo>
                    <a:pt x="37421" y="250391"/>
                  </a:lnTo>
                  <a:lnTo>
                    <a:pt x="37875" y="250482"/>
                  </a:lnTo>
                  <a:lnTo>
                    <a:pt x="38449" y="250391"/>
                  </a:lnTo>
                  <a:lnTo>
                    <a:pt x="39629" y="251087"/>
                  </a:lnTo>
                  <a:lnTo>
                    <a:pt x="41928" y="251904"/>
                  </a:lnTo>
                  <a:lnTo>
                    <a:pt x="46375" y="252841"/>
                  </a:lnTo>
                  <a:lnTo>
                    <a:pt x="47162" y="253688"/>
                  </a:lnTo>
                  <a:lnTo>
                    <a:pt x="48009" y="254263"/>
                  </a:lnTo>
                  <a:lnTo>
                    <a:pt x="49159" y="254536"/>
                  </a:lnTo>
                  <a:lnTo>
                    <a:pt x="49673" y="254777"/>
                  </a:lnTo>
                  <a:lnTo>
                    <a:pt x="51246" y="256018"/>
                  </a:lnTo>
                  <a:lnTo>
                    <a:pt x="51579" y="256502"/>
                  </a:lnTo>
                  <a:lnTo>
                    <a:pt x="52365" y="257107"/>
                  </a:lnTo>
                  <a:lnTo>
                    <a:pt x="54090" y="257561"/>
                  </a:lnTo>
                  <a:lnTo>
                    <a:pt x="55754" y="258650"/>
                  </a:lnTo>
                  <a:lnTo>
                    <a:pt x="56389" y="261070"/>
                  </a:lnTo>
                  <a:lnTo>
                    <a:pt x="56177" y="261131"/>
                  </a:lnTo>
                  <a:lnTo>
                    <a:pt x="55209" y="261735"/>
                  </a:lnTo>
                  <a:lnTo>
                    <a:pt x="55028" y="261826"/>
                  </a:lnTo>
                  <a:lnTo>
                    <a:pt x="55028" y="264367"/>
                  </a:lnTo>
                  <a:lnTo>
                    <a:pt x="54331" y="265245"/>
                  </a:lnTo>
                  <a:lnTo>
                    <a:pt x="53636" y="265850"/>
                  </a:lnTo>
                  <a:lnTo>
                    <a:pt x="52970" y="265910"/>
                  </a:lnTo>
                  <a:lnTo>
                    <a:pt x="52214" y="265093"/>
                  </a:lnTo>
                  <a:lnTo>
                    <a:pt x="52275" y="266636"/>
                  </a:lnTo>
                  <a:lnTo>
                    <a:pt x="52093" y="267907"/>
                  </a:lnTo>
                  <a:lnTo>
                    <a:pt x="51669" y="269026"/>
                  </a:lnTo>
                  <a:lnTo>
                    <a:pt x="50883" y="269994"/>
                  </a:lnTo>
                  <a:lnTo>
                    <a:pt x="52486" y="269510"/>
                  </a:lnTo>
                  <a:lnTo>
                    <a:pt x="54120" y="269389"/>
                  </a:lnTo>
                  <a:lnTo>
                    <a:pt x="55874" y="269570"/>
                  </a:lnTo>
                  <a:lnTo>
                    <a:pt x="57780" y="269994"/>
                  </a:lnTo>
                  <a:lnTo>
                    <a:pt x="56661" y="270962"/>
                  </a:lnTo>
                  <a:lnTo>
                    <a:pt x="57810" y="271113"/>
                  </a:lnTo>
                  <a:lnTo>
                    <a:pt x="58960" y="271749"/>
                  </a:lnTo>
                  <a:lnTo>
                    <a:pt x="59837" y="272505"/>
                  </a:lnTo>
                  <a:lnTo>
                    <a:pt x="59777" y="270992"/>
                  </a:lnTo>
                  <a:lnTo>
                    <a:pt x="61168" y="271053"/>
                  </a:lnTo>
                  <a:lnTo>
                    <a:pt x="62953" y="271839"/>
                  </a:lnTo>
                  <a:lnTo>
                    <a:pt x="63982" y="272505"/>
                  </a:lnTo>
                  <a:lnTo>
                    <a:pt x="63982" y="273322"/>
                  </a:lnTo>
                  <a:lnTo>
                    <a:pt x="63104" y="274441"/>
                  </a:lnTo>
                  <a:lnTo>
                    <a:pt x="62137" y="274532"/>
                  </a:lnTo>
                  <a:lnTo>
                    <a:pt x="60896" y="274229"/>
                  </a:lnTo>
                  <a:lnTo>
                    <a:pt x="59142" y="274138"/>
                  </a:lnTo>
                  <a:lnTo>
                    <a:pt x="59142" y="274895"/>
                  </a:lnTo>
                  <a:lnTo>
                    <a:pt x="63044" y="277285"/>
                  </a:lnTo>
                  <a:lnTo>
                    <a:pt x="64012" y="278253"/>
                  </a:lnTo>
                  <a:lnTo>
                    <a:pt x="64345" y="279886"/>
                  </a:lnTo>
                  <a:lnTo>
                    <a:pt x="62953" y="280219"/>
                  </a:lnTo>
                  <a:lnTo>
                    <a:pt x="60836" y="280158"/>
                  </a:lnTo>
                  <a:lnTo>
                    <a:pt x="59111" y="280673"/>
                  </a:lnTo>
                  <a:lnTo>
                    <a:pt x="59928" y="281217"/>
                  </a:lnTo>
                  <a:lnTo>
                    <a:pt x="61048" y="283063"/>
                  </a:lnTo>
                  <a:lnTo>
                    <a:pt x="61864" y="284031"/>
                  </a:lnTo>
                  <a:lnTo>
                    <a:pt x="61864" y="284757"/>
                  </a:lnTo>
                  <a:lnTo>
                    <a:pt x="61168" y="284757"/>
                  </a:lnTo>
                  <a:lnTo>
                    <a:pt x="61168" y="285574"/>
                  </a:lnTo>
                  <a:lnTo>
                    <a:pt x="63467" y="285816"/>
                  </a:lnTo>
                  <a:lnTo>
                    <a:pt x="64556" y="286995"/>
                  </a:lnTo>
                  <a:lnTo>
                    <a:pt x="65313" y="288508"/>
                  </a:lnTo>
                  <a:lnTo>
                    <a:pt x="66674" y="289718"/>
                  </a:lnTo>
                  <a:lnTo>
                    <a:pt x="66886" y="293439"/>
                  </a:lnTo>
                  <a:lnTo>
                    <a:pt x="70093" y="296978"/>
                  </a:lnTo>
                  <a:lnTo>
                    <a:pt x="74177" y="298884"/>
                  </a:lnTo>
                  <a:lnTo>
                    <a:pt x="76990" y="297795"/>
                  </a:lnTo>
                  <a:lnTo>
                    <a:pt x="78200" y="298763"/>
                  </a:lnTo>
                  <a:lnTo>
                    <a:pt x="79561" y="299398"/>
                  </a:lnTo>
                  <a:lnTo>
                    <a:pt x="80983" y="299459"/>
                  </a:lnTo>
                  <a:lnTo>
                    <a:pt x="82496" y="298672"/>
                  </a:lnTo>
                  <a:lnTo>
                    <a:pt x="82950" y="299731"/>
                  </a:lnTo>
                  <a:lnTo>
                    <a:pt x="83676" y="300094"/>
                  </a:lnTo>
                  <a:lnTo>
                    <a:pt x="84704" y="299943"/>
                  </a:lnTo>
                  <a:lnTo>
                    <a:pt x="85914" y="299459"/>
                  </a:lnTo>
                  <a:lnTo>
                    <a:pt x="85914" y="300336"/>
                  </a:lnTo>
                  <a:lnTo>
                    <a:pt x="85309" y="301365"/>
                  </a:lnTo>
                  <a:lnTo>
                    <a:pt x="85188" y="302726"/>
                  </a:lnTo>
                  <a:lnTo>
                    <a:pt x="85430" y="304118"/>
                  </a:lnTo>
                  <a:lnTo>
                    <a:pt x="85944" y="305207"/>
                  </a:lnTo>
                  <a:lnTo>
                    <a:pt x="85581" y="306296"/>
                  </a:lnTo>
                  <a:lnTo>
                    <a:pt x="86549" y="307324"/>
                  </a:lnTo>
                  <a:lnTo>
                    <a:pt x="89514" y="309200"/>
                  </a:lnTo>
                  <a:lnTo>
                    <a:pt x="97380" y="318366"/>
                  </a:lnTo>
                  <a:lnTo>
                    <a:pt x="100586" y="320665"/>
                  </a:lnTo>
                  <a:lnTo>
                    <a:pt x="103823" y="322390"/>
                  </a:lnTo>
                  <a:lnTo>
                    <a:pt x="106485" y="324477"/>
                  </a:lnTo>
                  <a:lnTo>
                    <a:pt x="108421" y="327320"/>
                  </a:lnTo>
                  <a:lnTo>
                    <a:pt x="109420" y="331283"/>
                  </a:lnTo>
                  <a:lnTo>
                    <a:pt x="109208" y="331646"/>
                  </a:lnTo>
                  <a:lnTo>
                    <a:pt x="108754" y="332009"/>
                  </a:lnTo>
                  <a:lnTo>
                    <a:pt x="108270" y="332494"/>
                  </a:lnTo>
                  <a:lnTo>
                    <a:pt x="108028" y="333280"/>
                  </a:lnTo>
                  <a:lnTo>
                    <a:pt x="108149" y="333583"/>
                  </a:lnTo>
                  <a:lnTo>
                    <a:pt x="108360" y="333825"/>
                  </a:lnTo>
                  <a:lnTo>
                    <a:pt x="108603" y="334218"/>
                  </a:lnTo>
                  <a:lnTo>
                    <a:pt x="108724" y="334914"/>
                  </a:lnTo>
                  <a:lnTo>
                    <a:pt x="109026" y="335549"/>
                  </a:lnTo>
                  <a:lnTo>
                    <a:pt x="109722" y="336214"/>
                  </a:lnTo>
                  <a:lnTo>
                    <a:pt x="110448" y="337031"/>
                  </a:lnTo>
                  <a:lnTo>
                    <a:pt x="110750" y="338120"/>
                  </a:lnTo>
                  <a:lnTo>
                    <a:pt x="111325" y="338998"/>
                  </a:lnTo>
                  <a:lnTo>
                    <a:pt x="112505" y="338060"/>
                  </a:lnTo>
                  <a:lnTo>
                    <a:pt x="113503" y="336668"/>
                  </a:lnTo>
                  <a:lnTo>
                    <a:pt x="113564" y="336154"/>
                  </a:lnTo>
                  <a:lnTo>
                    <a:pt x="114441" y="335761"/>
                  </a:lnTo>
                  <a:lnTo>
                    <a:pt x="115077" y="335670"/>
                  </a:lnTo>
                  <a:lnTo>
                    <a:pt x="118011" y="336577"/>
                  </a:lnTo>
                  <a:lnTo>
                    <a:pt x="119826" y="337576"/>
                  </a:lnTo>
                  <a:lnTo>
                    <a:pt x="120703" y="337788"/>
                  </a:lnTo>
                  <a:lnTo>
                    <a:pt x="121006" y="337425"/>
                  </a:lnTo>
                  <a:lnTo>
                    <a:pt x="120794" y="336577"/>
                  </a:lnTo>
                  <a:lnTo>
                    <a:pt x="120159" y="335730"/>
                  </a:lnTo>
                  <a:lnTo>
                    <a:pt x="118192" y="334853"/>
                  </a:lnTo>
                  <a:lnTo>
                    <a:pt x="113534" y="331314"/>
                  </a:lnTo>
                  <a:lnTo>
                    <a:pt x="112717" y="331435"/>
                  </a:lnTo>
                  <a:lnTo>
                    <a:pt x="112324" y="331344"/>
                  </a:lnTo>
                  <a:lnTo>
                    <a:pt x="112172" y="330799"/>
                  </a:lnTo>
                  <a:lnTo>
                    <a:pt x="112112" y="329589"/>
                  </a:lnTo>
                  <a:lnTo>
                    <a:pt x="113564" y="330497"/>
                  </a:lnTo>
                  <a:lnTo>
                    <a:pt x="113988" y="329257"/>
                  </a:lnTo>
                  <a:lnTo>
                    <a:pt x="114714" y="328621"/>
                  </a:lnTo>
                  <a:lnTo>
                    <a:pt x="115500" y="328137"/>
                  </a:lnTo>
                  <a:lnTo>
                    <a:pt x="116256" y="327260"/>
                  </a:lnTo>
                  <a:lnTo>
                    <a:pt x="116619" y="325868"/>
                  </a:lnTo>
                  <a:lnTo>
                    <a:pt x="116619" y="324507"/>
                  </a:lnTo>
                  <a:lnTo>
                    <a:pt x="117043" y="323509"/>
                  </a:lnTo>
                  <a:lnTo>
                    <a:pt x="115560" y="323206"/>
                  </a:lnTo>
                  <a:lnTo>
                    <a:pt x="115560" y="322329"/>
                  </a:lnTo>
                  <a:lnTo>
                    <a:pt x="116589" y="321906"/>
                  </a:lnTo>
                  <a:lnTo>
                    <a:pt x="117406" y="321391"/>
                  </a:lnTo>
                  <a:lnTo>
                    <a:pt x="117981" y="320726"/>
                  </a:lnTo>
                  <a:lnTo>
                    <a:pt x="118374" y="319879"/>
                  </a:lnTo>
                  <a:lnTo>
                    <a:pt x="119009" y="320695"/>
                  </a:lnTo>
                  <a:lnTo>
                    <a:pt x="120128" y="319516"/>
                  </a:lnTo>
                  <a:lnTo>
                    <a:pt x="121308" y="320211"/>
                  </a:lnTo>
                  <a:lnTo>
                    <a:pt x="121701" y="322208"/>
                  </a:lnTo>
                  <a:lnTo>
                    <a:pt x="120461" y="324810"/>
                  </a:lnTo>
                  <a:lnTo>
                    <a:pt x="120794" y="324326"/>
                  </a:lnTo>
                  <a:lnTo>
                    <a:pt x="121127" y="323963"/>
                  </a:lnTo>
                  <a:lnTo>
                    <a:pt x="121671" y="323781"/>
                  </a:lnTo>
                  <a:lnTo>
                    <a:pt x="122518" y="323902"/>
                  </a:lnTo>
                  <a:lnTo>
                    <a:pt x="122518" y="324507"/>
                  </a:lnTo>
                  <a:lnTo>
                    <a:pt x="122397" y="324659"/>
                  </a:lnTo>
                  <a:lnTo>
                    <a:pt x="122458" y="324870"/>
                  </a:lnTo>
                  <a:lnTo>
                    <a:pt x="122549" y="325173"/>
                  </a:lnTo>
                  <a:lnTo>
                    <a:pt x="122549" y="325626"/>
                  </a:lnTo>
                  <a:lnTo>
                    <a:pt x="123426" y="325324"/>
                  </a:lnTo>
                  <a:lnTo>
                    <a:pt x="123698" y="326111"/>
                  </a:lnTo>
                  <a:lnTo>
                    <a:pt x="123698" y="327260"/>
                  </a:lnTo>
                  <a:lnTo>
                    <a:pt x="123910" y="328077"/>
                  </a:lnTo>
                  <a:lnTo>
                    <a:pt x="122397" y="328742"/>
                  </a:lnTo>
                  <a:lnTo>
                    <a:pt x="126572" y="328803"/>
                  </a:lnTo>
                  <a:lnTo>
                    <a:pt x="126118" y="328228"/>
                  </a:lnTo>
                  <a:lnTo>
                    <a:pt x="124999" y="327986"/>
                  </a:lnTo>
                  <a:lnTo>
                    <a:pt x="124576" y="326806"/>
                  </a:lnTo>
                  <a:lnTo>
                    <a:pt x="124939" y="326050"/>
                  </a:lnTo>
                  <a:lnTo>
                    <a:pt x="126723" y="325112"/>
                  </a:lnTo>
                  <a:lnTo>
                    <a:pt x="127298" y="323932"/>
                  </a:lnTo>
                  <a:lnTo>
                    <a:pt x="128054" y="323932"/>
                  </a:lnTo>
                  <a:lnTo>
                    <a:pt x="128871" y="324931"/>
                  </a:lnTo>
                  <a:lnTo>
                    <a:pt x="129960" y="325445"/>
                  </a:lnTo>
                  <a:lnTo>
                    <a:pt x="131110" y="325445"/>
                  </a:lnTo>
                  <a:lnTo>
                    <a:pt x="132078" y="324810"/>
                  </a:lnTo>
                  <a:lnTo>
                    <a:pt x="132804" y="324810"/>
                  </a:lnTo>
                  <a:lnTo>
                    <a:pt x="132804" y="325626"/>
                  </a:lnTo>
                  <a:lnTo>
                    <a:pt x="131926" y="325868"/>
                  </a:lnTo>
                  <a:lnTo>
                    <a:pt x="131624" y="326383"/>
                  </a:lnTo>
                  <a:lnTo>
                    <a:pt x="131412" y="326383"/>
                  </a:lnTo>
                  <a:lnTo>
                    <a:pt x="131685" y="327442"/>
                  </a:lnTo>
                  <a:lnTo>
                    <a:pt x="132350" y="328531"/>
                  </a:lnTo>
                  <a:lnTo>
                    <a:pt x="133318" y="329045"/>
                  </a:lnTo>
                  <a:lnTo>
                    <a:pt x="134498" y="328410"/>
                  </a:lnTo>
                  <a:lnTo>
                    <a:pt x="134952" y="328682"/>
                  </a:lnTo>
                  <a:lnTo>
                    <a:pt x="135859" y="329438"/>
                  </a:lnTo>
                  <a:lnTo>
                    <a:pt x="137039" y="330194"/>
                  </a:lnTo>
                  <a:lnTo>
                    <a:pt x="138279" y="330467"/>
                  </a:lnTo>
                  <a:lnTo>
                    <a:pt x="138279" y="331283"/>
                  </a:lnTo>
                  <a:lnTo>
                    <a:pt x="143846" y="332009"/>
                  </a:lnTo>
                  <a:lnTo>
                    <a:pt x="141728" y="330467"/>
                  </a:lnTo>
                  <a:lnTo>
                    <a:pt x="143513" y="328621"/>
                  </a:lnTo>
                  <a:lnTo>
                    <a:pt x="144027" y="328410"/>
                  </a:lnTo>
                  <a:lnTo>
                    <a:pt x="144541" y="328228"/>
                  </a:lnTo>
                  <a:lnTo>
                    <a:pt x="145903" y="328742"/>
                  </a:lnTo>
                  <a:lnTo>
                    <a:pt x="145449" y="327895"/>
                  </a:lnTo>
                  <a:lnTo>
                    <a:pt x="145449" y="327109"/>
                  </a:lnTo>
                  <a:lnTo>
                    <a:pt x="145812" y="326352"/>
                  </a:lnTo>
                  <a:lnTo>
                    <a:pt x="146508" y="325596"/>
                  </a:lnTo>
                  <a:lnTo>
                    <a:pt x="151590" y="330285"/>
                  </a:lnTo>
                  <a:lnTo>
                    <a:pt x="154040" y="333310"/>
                  </a:lnTo>
                  <a:lnTo>
                    <a:pt x="154131" y="336093"/>
                  </a:lnTo>
                  <a:lnTo>
                    <a:pt x="153314" y="335791"/>
                  </a:lnTo>
                  <a:lnTo>
                    <a:pt x="152558" y="336426"/>
                  </a:lnTo>
                  <a:lnTo>
                    <a:pt x="152255" y="337485"/>
                  </a:lnTo>
                  <a:lnTo>
                    <a:pt x="152800" y="338423"/>
                  </a:lnTo>
                  <a:lnTo>
                    <a:pt x="152074" y="339966"/>
                  </a:lnTo>
                  <a:lnTo>
                    <a:pt x="152255" y="341206"/>
                  </a:lnTo>
                  <a:lnTo>
                    <a:pt x="153526" y="343263"/>
                  </a:lnTo>
                  <a:lnTo>
                    <a:pt x="153980" y="343566"/>
                  </a:lnTo>
                  <a:lnTo>
                    <a:pt x="154434" y="343445"/>
                  </a:lnTo>
                  <a:lnTo>
                    <a:pt x="154797" y="343566"/>
                  </a:lnTo>
                  <a:lnTo>
                    <a:pt x="155069" y="345350"/>
                  </a:lnTo>
                  <a:lnTo>
                    <a:pt x="155402" y="345895"/>
                  </a:lnTo>
                  <a:lnTo>
                    <a:pt x="156218" y="346591"/>
                  </a:lnTo>
                  <a:lnTo>
                    <a:pt x="155825" y="347710"/>
                  </a:lnTo>
                  <a:lnTo>
                    <a:pt x="155341" y="348013"/>
                  </a:lnTo>
                  <a:lnTo>
                    <a:pt x="154766" y="347801"/>
                  </a:lnTo>
                  <a:lnTo>
                    <a:pt x="154131" y="347468"/>
                  </a:lnTo>
                  <a:lnTo>
                    <a:pt x="154131" y="347165"/>
                  </a:lnTo>
                  <a:lnTo>
                    <a:pt x="151741" y="344564"/>
                  </a:lnTo>
                  <a:lnTo>
                    <a:pt x="150108" y="343656"/>
                  </a:lnTo>
                  <a:lnTo>
                    <a:pt x="148262" y="343566"/>
                  </a:lnTo>
                  <a:lnTo>
                    <a:pt x="147173" y="344322"/>
                  </a:lnTo>
                  <a:lnTo>
                    <a:pt x="147960" y="345865"/>
                  </a:lnTo>
                  <a:lnTo>
                    <a:pt x="147960" y="346591"/>
                  </a:lnTo>
                  <a:lnTo>
                    <a:pt x="147324" y="347014"/>
                  </a:lnTo>
                  <a:lnTo>
                    <a:pt x="146901" y="347407"/>
                  </a:lnTo>
                  <a:lnTo>
                    <a:pt x="146659" y="348013"/>
                  </a:lnTo>
                  <a:lnTo>
                    <a:pt x="146538" y="349071"/>
                  </a:lnTo>
                  <a:lnTo>
                    <a:pt x="144088" y="346954"/>
                  </a:lnTo>
                  <a:lnTo>
                    <a:pt x="142757" y="346137"/>
                  </a:lnTo>
                  <a:lnTo>
                    <a:pt x="141395" y="345835"/>
                  </a:lnTo>
                  <a:lnTo>
                    <a:pt x="140548" y="345078"/>
                  </a:lnTo>
                  <a:lnTo>
                    <a:pt x="140669" y="343414"/>
                  </a:lnTo>
                  <a:lnTo>
                    <a:pt x="141002" y="341750"/>
                  </a:lnTo>
                  <a:lnTo>
                    <a:pt x="140760" y="340994"/>
                  </a:lnTo>
                  <a:lnTo>
                    <a:pt x="138945" y="340813"/>
                  </a:lnTo>
                  <a:lnTo>
                    <a:pt x="137826" y="340359"/>
                  </a:lnTo>
                  <a:lnTo>
                    <a:pt x="136857" y="339784"/>
                  </a:lnTo>
                  <a:lnTo>
                    <a:pt x="135496" y="339300"/>
                  </a:lnTo>
                  <a:lnTo>
                    <a:pt x="133893" y="339300"/>
                  </a:lnTo>
                  <a:lnTo>
                    <a:pt x="132683" y="339663"/>
                  </a:lnTo>
                  <a:lnTo>
                    <a:pt x="131654" y="339603"/>
                  </a:lnTo>
                  <a:lnTo>
                    <a:pt x="130686" y="338393"/>
                  </a:lnTo>
                  <a:lnTo>
                    <a:pt x="130021" y="338393"/>
                  </a:lnTo>
                  <a:lnTo>
                    <a:pt x="129536" y="340541"/>
                  </a:lnTo>
                  <a:lnTo>
                    <a:pt x="128327" y="341508"/>
                  </a:lnTo>
                  <a:lnTo>
                    <a:pt x="126632" y="341720"/>
                  </a:lnTo>
                  <a:lnTo>
                    <a:pt x="124606" y="341720"/>
                  </a:lnTo>
                  <a:lnTo>
                    <a:pt x="125150" y="340934"/>
                  </a:lnTo>
                  <a:lnTo>
                    <a:pt x="125090" y="340510"/>
                  </a:lnTo>
                  <a:lnTo>
                    <a:pt x="124787" y="340268"/>
                  </a:lnTo>
                  <a:lnTo>
                    <a:pt x="124606" y="340056"/>
                  </a:lnTo>
                  <a:lnTo>
                    <a:pt x="124939" y="339663"/>
                  </a:lnTo>
                  <a:lnTo>
                    <a:pt x="125029" y="339209"/>
                  </a:lnTo>
                  <a:lnTo>
                    <a:pt x="124908" y="338574"/>
                  </a:lnTo>
                  <a:lnTo>
                    <a:pt x="124576" y="337636"/>
                  </a:lnTo>
                  <a:lnTo>
                    <a:pt x="123879" y="337636"/>
                  </a:lnTo>
                  <a:lnTo>
                    <a:pt x="122881" y="339633"/>
                  </a:lnTo>
                  <a:lnTo>
                    <a:pt x="121490" y="341387"/>
                  </a:lnTo>
                  <a:lnTo>
                    <a:pt x="119584" y="342265"/>
                  </a:lnTo>
                  <a:lnTo>
                    <a:pt x="117618" y="341660"/>
                  </a:lnTo>
                  <a:lnTo>
                    <a:pt x="116014" y="340631"/>
                  </a:lnTo>
                  <a:lnTo>
                    <a:pt x="115379" y="338665"/>
                  </a:lnTo>
                  <a:lnTo>
                    <a:pt x="114834" y="337788"/>
                  </a:lnTo>
                  <a:lnTo>
                    <a:pt x="113594" y="340026"/>
                  </a:lnTo>
                  <a:lnTo>
                    <a:pt x="113262" y="341811"/>
                  </a:lnTo>
                  <a:lnTo>
                    <a:pt x="113473" y="343959"/>
                  </a:lnTo>
                  <a:lnTo>
                    <a:pt x="114320" y="345744"/>
                  </a:lnTo>
                  <a:lnTo>
                    <a:pt x="116468" y="346681"/>
                  </a:lnTo>
                  <a:lnTo>
                    <a:pt x="117285" y="347165"/>
                  </a:lnTo>
                  <a:lnTo>
                    <a:pt x="118071" y="347861"/>
                  </a:lnTo>
                  <a:lnTo>
                    <a:pt x="118404" y="348618"/>
                  </a:lnTo>
                  <a:lnTo>
                    <a:pt x="117920" y="348981"/>
                  </a:lnTo>
                  <a:lnTo>
                    <a:pt x="116770" y="349071"/>
                  </a:lnTo>
                  <a:lnTo>
                    <a:pt x="114623" y="349011"/>
                  </a:lnTo>
                  <a:lnTo>
                    <a:pt x="112808" y="349858"/>
                  </a:lnTo>
                  <a:lnTo>
                    <a:pt x="112021" y="351794"/>
                  </a:lnTo>
                  <a:lnTo>
                    <a:pt x="111567" y="353972"/>
                  </a:lnTo>
                  <a:lnTo>
                    <a:pt x="110811" y="355485"/>
                  </a:lnTo>
                  <a:lnTo>
                    <a:pt x="110811" y="356241"/>
                  </a:lnTo>
                  <a:lnTo>
                    <a:pt x="114260" y="358812"/>
                  </a:lnTo>
                  <a:lnTo>
                    <a:pt x="114623" y="359690"/>
                  </a:lnTo>
                  <a:lnTo>
                    <a:pt x="114804" y="360779"/>
                  </a:lnTo>
                  <a:lnTo>
                    <a:pt x="115197" y="361263"/>
                  </a:lnTo>
                  <a:lnTo>
                    <a:pt x="116287" y="360416"/>
                  </a:lnTo>
                  <a:lnTo>
                    <a:pt x="117073" y="360597"/>
                  </a:lnTo>
                  <a:lnTo>
                    <a:pt x="117708" y="360022"/>
                  </a:lnTo>
                  <a:lnTo>
                    <a:pt x="118313" y="359811"/>
                  </a:lnTo>
                  <a:lnTo>
                    <a:pt x="119039" y="361081"/>
                  </a:lnTo>
                  <a:lnTo>
                    <a:pt x="119765" y="359780"/>
                  </a:lnTo>
                  <a:lnTo>
                    <a:pt x="120975" y="358086"/>
                  </a:lnTo>
                  <a:lnTo>
                    <a:pt x="122458" y="356695"/>
                  </a:lnTo>
                  <a:lnTo>
                    <a:pt x="123940" y="356241"/>
                  </a:lnTo>
                  <a:lnTo>
                    <a:pt x="125302" y="357209"/>
                  </a:lnTo>
                  <a:lnTo>
                    <a:pt x="126300" y="359084"/>
                  </a:lnTo>
                  <a:lnTo>
                    <a:pt x="128750" y="368644"/>
                  </a:lnTo>
                  <a:lnTo>
                    <a:pt x="129446" y="370096"/>
                  </a:lnTo>
                  <a:lnTo>
                    <a:pt x="130686" y="371215"/>
                  </a:lnTo>
                  <a:lnTo>
                    <a:pt x="132048" y="371669"/>
                  </a:lnTo>
                  <a:lnTo>
                    <a:pt x="135950" y="371669"/>
                  </a:lnTo>
                  <a:lnTo>
                    <a:pt x="136857" y="372728"/>
                  </a:lnTo>
                  <a:lnTo>
                    <a:pt x="138431" y="377175"/>
                  </a:lnTo>
                  <a:lnTo>
                    <a:pt x="140548" y="379293"/>
                  </a:lnTo>
                  <a:lnTo>
                    <a:pt x="140548" y="381864"/>
                  </a:lnTo>
                  <a:lnTo>
                    <a:pt x="139761" y="386674"/>
                  </a:lnTo>
                  <a:lnTo>
                    <a:pt x="139973" y="387944"/>
                  </a:lnTo>
                  <a:lnTo>
                    <a:pt x="140911" y="389639"/>
                  </a:lnTo>
                  <a:lnTo>
                    <a:pt x="141123" y="390728"/>
                  </a:lnTo>
                  <a:lnTo>
                    <a:pt x="141667" y="391272"/>
                  </a:lnTo>
                  <a:lnTo>
                    <a:pt x="142817" y="390758"/>
                  </a:lnTo>
                  <a:lnTo>
                    <a:pt x="143906" y="389911"/>
                  </a:lnTo>
                  <a:lnTo>
                    <a:pt x="144269" y="389457"/>
                  </a:lnTo>
                  <a:lnTo>
                    <a:pt x="145207" y="389033"/>
                  </a:lnTo>
                  <a:lnTo>
                    <a:pt x="145993" y="388277"/>
                  </a:lnTo>
                  <a:lnTo>
                    <a:pt x="146780" y="387793"/>
                  </a:lnTo>
                  <a:lnTo>
                    <a:pt x="147718" y="388338"/>
                  </a:lnTo>
                  <a:lnTo>
                    <a:pt x="147869" y="389033"/>
                  </a:lnTo>
                  <a:lnTo>
                    <a:pt x="147597" y="390002"/>
                  </a:lnTo>
                  <a:lnTo>
                    <a:pt x="146629" y="391877"/>
                  </a:lnTo>
                  <a:lnTo>
                    <a:pt x="147082" y="392059"/>
                  </a:lnTo>
                  <a:lnTo>
                    <a:pt x="147657" y="392512"/>
                  </a:lnTo>
                  <a:lnTo>
                    <a:pt x="148051" y="392754"/>
                  </a:lnTo>
                  <a:lnTo>
                    <a:pt x="147385" y="392845"/>
                  </a:lnTo>
                  <a:lnTo>
                    <a:pt x="146931" y="393027"/>
                  </a:lnTo>
                  <a:lnTo>
                    <a:pt x="146024" y="393541"/>
                  </a:lnTo>
                  <a:lnTo>
                    <a:pt x="147173" y="394055"/>
                  </a:lnTo>
                  <a:lnTo>
                    <a:pt x="147808" y="394267"/>
                  </a:lnTo>
                  <a:lnTo>
                    <a:pt x="148746" y="394267"/>
                  </a:lnTo>
                  <a:lnTo>
                    <a:pt x="148746" y="395144"/>
                  </a:lnTo>
                  <a:lnTo>
                    <a:pt x="148262" y="396233"/>
                  </a:lnTo>
                  <a:lnTo>
                    <a:pt x="149230" y="398442"/>
                  </a:lnTo>
                  <a:lnTo>
                    <a:pt x="148746" y="399984"/>
                  </a:lnTo>
                  <a:lnTo>
                    <a:pt x="150138" y="399107"/>
                  </a:lnTo>
                  <a:lnTo>
                    <a:pt x="149775" y="400559"/>
                  </a:lnTo>
                  <a:lnTo>
                    <a:pt x="148837" y="400862"/>
                  </a:lnTo>
                  <a:lnTo>
                    <a:pt x="147687" y="400287"/>
                  </a:lnTo>
                  <a:lnTo>
                    <a:pt x="146659" y="399107"/>
                  </a:lnTo>
                  <a:lnTo>
                    <a:pt x="146508" y="399621"/>
                  </a:lnTo>
                  <a:lnTo>
                    <a:pt x="146447" y="399743"/>
                  </a:lnTo>
                  <a:lnTo>
                    <a:pt x="146356" y="399743"/>
                  </a:lnTo>
                  <a:lnTo>
                    <a:pt x="146054" y="399984"/>
                  </a:lnTo>
                  <a:lnTo>
                    <a:pt x="146326" y="401406"/>
                  </a:lnTo>
                  <a:lnTo>
                    <a:pt x="146810" y="402616"/>
                  </a:lnTo>
                  <a:lnTo>
                    <a:pt x="147627" y="403494"/>
                  </a:lnTo>
                  <a:lnTo>
                    <a:pt x="148777" y="403978"/>
                  </a:lnTo>
                  <a:lnTo>
                    <a:pt x="149654" y="402707"/>
                  </a:lnTo>
                  <a:lnTo>
                    <a:pt x="150410" y="402616"/>
                  </a:lnTo>
                  <a:lnTo>
                    <a:pt x="152225" y="403978"/>
                  </a:lnTo>
                  <a:lnTo>
                    <a:pt x="151529" y="405188"/>
                  </a:lnTo>
                  <a:lnTo>
                    <a:pt x="150652" y="406216"/>
                  </a:lnTo>
                  <a:lnTo>
                    <a:pt x="149503" y="406912"/>
                  </a:lnTo>
                  <a:lnTo>
                    <a:pt x="148474" y="406428"/>
                  </a:lnTo>
                  <a:lnTo>
                    <a:pt x="148746" y="405611"/>
                  </a:lnTo>
                  <a:lnTo>
                    <a:pt x="148262" y="406247"/>
                  </a:lnTo>
                  <a:lnTo>
                    <a:pt x="147355" y="408092"/>
                  </a:lnTo>
                  <a:lnTo>
                    <a:pt x="147748" y="407759"/>
                  </a:lnTo>
                  <a:lnTo>
                    <a:pt x="148716" y="407215"/>
                  </a:lnTo>
                  <a:lnTo>
                    <a:pt x="149049" y="408546"/>
                  </a:lnTo>
                  <a:lnTo>
                    <a:pt x="148686" y="409423"/>
                  </a:lnTo>
                  <a:lnTo>
                    <a:pt x="147808" y="410028"/>
                  </a:lnTo>
                  <a:lnTo>
                    <a:pt x="146629" y="410512"/>
                  </a:lnTo>
                  <a:lnTo>
                    <a:pt x="147899" y="410845"/>
                  </a:lnTo>
                  <a:lnTo>
                    <a:pt x="150985" y="410905"/>
                  </a:lnTo>
                  <a:lnTo>
                    <a:pt x="152195" y="411298"/>
                  </a:lnTo>
                  <a:lnTo>
                    <a:pt x="152739" y="412448"/>
                  </a:lnTo>
                  <a:lnTo>
                    <a:pt x="153012" y="413991"/>
                  </a:lnTo>
                  <a:lnTo>
                    <a:pt x="153708" y="415171"/>
                  </a:lnTo>
                  <a:lnTo>
                    <a:pt x="155614" y="415322"/>
                  </a:lnTo>
                  <a:lnTo>
                    <a:pt x="155674" y="414082"/>
                  </a:lnTo>
                  <a:lnTo>
                    <a:pt x="156460" y="413386"/>
                  </a:lnTo>
                  <a:lnTo>
                    <a:pt x="157701" y="413053"/>
                  </a:lnTo>
                  <a:lnTo>
                    <a:pt x="158185" y="412932"/>
                  </a:lnTo>
                  <a:lnTo>
                    <a:pt x="157429" y="412811"/>
                  </a:lnTo>
                  <a:lnTo>
                    <a:pt x="156793" y="412509"/>
                  </a:lnTo>
                  <a:lnTo>
                    <a:pt x="156279" y="412055"/>
                  </a:lnTo>
                  <a:lnTo>
                    <a:pt x="157126" y="410784"/>
                  </a:lnTo>
                  <a:lnTo>
                    <a:pt x="157882" y="410935"/>
                  </a:lnTo>
                  <a:lnTo>
                    <a:pt x="158639" y="411631"/>
                  </a:lnTo>
                  <a:lnTo>
                    <a:pt x="159455" y="412055"/>
                  </a:lnTo>
                  <a:lnTo>
                    <a:pt x="161452" y="412176"/>
                  </a:lnTo>
                  <a:lnTo>
                    <a:pt x="162148" y="411964"/>
                  </a:lnTo>
                  <a:lnTo>
                    <a:pt x="163267" y="411298"/>
                  </a:lnTo>
                  <a:lnTo>
                    <a:pt x="164719" y="410089"/>
                  </a:lnTo>
                  <a:lnTo>
                    <a:pt x="165445" y="409211"/>
                  </a:lnTo>
                  <a:lnTo>
                    <a:pt x="164991" y="408818"/>
                  </a:lnTo>
                  <a:lnTo>
                    <a:pt x="164870" y="408394"/>
                  </a:lnTo>
                  <a:lnTo>
                    <a:pt x="165173" y="407638"/>
                  </a:lnTo>
                  <a:lnTo>
                    <a:pt x="165990" y="407275"/>
                  </a:lnTo>
                  <a:lnTo>
                    <a:pt x="167351" y="408092"/>
                  </a:lnTo>
                  <a:lnTo>
                    <a:pt x="168107" y="407215"/>
                  </a:lnTo>
                  <a:lnTo>
                    <a:pt x="167714" y="407003"/>
                  </a:lnTo>
                  <a:lnTo>
                    <a:pt x="167593" y="407003"/>
                  </a:lnTo>
                  <a:lnTo>
                    <a:pt x="167351" y="406519"/>
                  </a:lnTo>
                  <a:lnTo>
                    <a:pt x="168017" y="406065"/>
                  </a:lnTo>
                  <a:lnTo>
                    <a:pt x="170164" y="405037"/>
                  </a:lnTo>
                  <a:lnTo>
                    <a:pt x="171193" y="404825"/>
                  </a:lnTo>
                  <a:lnTo>
                    <a:pt x="171919" y="404401"/>
                  </a:lnTo>
                  <a:lnTo>
                    <a:pt x="172312" y="403342"/>
                  </a:lnTo>
                  <a:lnTo>
                    <a:pt x="172554" y="402042"/>
                  </a:lnTo>
                  <a:lnTo>
                    <a:pt x="172917" y="400801"/>
                  </a:lnTo>
                  <a:lnTo>
                    <a:pt x="172615" y="400529"/>
                  </a:lnTo>
                  <a:lnTo>
                    <a:pt x="172463" y="400529"/>
                  </a:lnTo>
                  <a:lnTo>
                    <a:pt x="172373" y="400438"/>
                  </a:lnTo>
                  <a:lnTo>
                    <a:pt x="172161" y="400015"/>
                  </a:lnTo>
                  <a:lnTo>
                    <a:pt x="173583" y="400015"/>
                  </a:lnTo>
                  <a:lnTo>
                    <a:pt x="169438" y="393692"/>
                  </a:lnTo>
                  <a:lnTo>
                    <a:pt x="169106" y="392754"/>
                  </a:lnTo>
                  <a:lnTo>
                    <a:pt x="170073" y="392664"/>
                  </a:lnTo>
                  <a:lnTo>
                    <a:pt x="170497" y="392543"/>
                  </a:lnTo>
                  <a:lnTo>
                    <a:pt x="171011" y="392724"/>
                  </a:lnTo>
                  <a:lnTo>
                    <a:pt x="172161" y="393571"/>
                  </a:lnTo>
                  <a:lnTo>
                    <a:pt x="174278" y="395901"/>
                  </a:lnTo>
                  <a:lnTo>
                    <a:pt x="175247" y="402919"/>
                  </a:lnTo>
                  <a:lnTo>
                    <a:pt x="176003" y="404008"/>
                  </a:lnTo>
                  <a:lnTo>
                    <a:pt x="177879" y="404099"/>
                  </a:lnTo>
                  <a:lnTo>
                    <a:pt x="179935" y="404583"/>
                  </a:lnTo>
                  <a:lnTo>
                    <a:pt x="181176" y="405793"/>
                  </a:lnTo>
                  <a:lnTo>
                    <a:pt x="180541" y="408122"/>
                  </a:lnTo>
                  <a:lnTo>
                    <a:pt x="181599" y="407880"/>
                  </a:lnTo>
                  <a:lnTo>
                    <a:pt x="182023" y="407699"/>
                  </a:lnTo>
                  <a:lnTo>
                    <a:pt x="182598" y="407245"/>
                  </a:lnTo>
                  <a:lnTo>
                    <a:pt x="183384" y="407729"/>
                  </a:lnTo>
                  <a:lnTo>
                    <a:pt x="184201" y="407850"/>
                  </a:lnTo>
                  <a:lnTo>
                    <a:pt x="185048" y="407699"/>
                  </a:lnTo>
                  <a:lnTo>
                    <a:pt x="185955" y="407245"/>
                  </a:lnTo>
                  <a:lnTo>
                    <a:pt x="185351" y="408848"/>
                  </a:lnTo>
                  <a:lnTo>
                    <a:pt x="187347" y="408848"/>
                  </a:lnTo>
                  <a:lnTo>
                    <a:pt x="186349" y="409483"/>
                  </a:lnTo>
                  <a:lnTo>
                    <a:pt x="185955" y="409635"/>
                  </a:lnTo>
                  <a:lnTo>
                    <a:pt x="185955" y="410512"/>
                  </a:lnTo>
                  <a:lnTo>
                    <a:pt x="186379" y="410694"/>
                  </a:lnTo>
                  <a:lnTo>
                    <a:pt x="187347" y="411329"/>
                  </a:lnTo>
                  <a:lnTo>
                    <a:pt x="186742" y="412236"/>
                  </a:lnTo>
                  <a:lnTo>
                    <a:pt x="186651" y="412751"/>
                  </a:lnTo>
                  <a:lnTo>
                    <a:pt x="186893" y="413144"/>
                  </a:lnTo>
                  <a:lnTo>
                    <a:pt x="187378" y="413658"/>
                  </a:lnTo>
                  <a:lnTo>
                    <a:pt x="187378" y="414535"/>
                  </a:lnTo>
                  <a:lnTo>
                    <a:pt x="185986" y="413719"/>
                  </a:lnTo>
                  <a:lnTo>
                    <a:pt x="184473" y="412478"/>
                  </a:lnTo>
                  <a:lnTo>
                    <a:pt x="182870" y="411631"/>
                  </a:lnTo>
                  <a:lnTo>
                    <a:pt x="181176" y="412055"/>
                  </a:lnTo>
                  <a:lnTo>
                    <a:pt x="185260" y="414112"/>
                  </a:lnTo>
                  <a:lnTo>
                    <a:pt x="185955" y="414929"/>
                  </a:lnTo>
                  <a:lnTo>
                    <a:pt x="186500" y="415050"/>
                  </a:lnTo>
                  <a:lnTo>
                    <a:pt x="187770" y="415110"/>
                  </a:lnTo>
                  <a:lnTo>
                    <a:pt x="189193" y="415383"/>
                  </a:lnTo>
                  <a:lnTo>
                    <a:pt x="190130" y="416139"/>
                  </a:lnTo>
                  <a:lnTo>
                    <a:pt x="190735" y="416139"/>
                  </a:lnTo>
                  <a:lnTo>
                    <a:pt x="191915" y="413991"/>
                  </a:lnTo>
                  <a:lnTo>
                    <a:pt x="198389" y="409635"/>
                  </a:lnTo>
                  <a:lnTo>
                    <a:pt x="199781" y="410361"/>
                  </a:lnTo>
                  <a:lnTo>
                    <a:pt x="201172" y="409998"/>
                  </a:lnTo>
                  <a:lnTo>
                    <a:pt x="202624" y="409272"/>
                  </a:lnTo>
                  <a:lnTo>
                    <a:pt x="204288" y="408878"/>
                  </a:lnTo>
                  <a:lnTo>
                    <a:pt x="210157" y="408878"/>
                  </a:lnTo>
                  <a:lnTo>
                    <a:pt x="212819" y="411238"/>
                  </a:lnTo>
                  <a:lnTo>
                    <a:pt x="214785" y="412357"/>
                  </a:lnTo>
                  <a:lnTo>
                    <a:pt x="215693" y="411722"/>
                  </a:lnTo>
                  <a:lnTo>
                    <a:pt x="215995" y="409483"/>
                  </a:lnTo>
                  <a:lnTo>
                    <a:pt x="216752" y="408183"/>
                  </a:lnTo>
                  <a:lnTo>
                    <a:pt x="221683" y="404310"/>
                  </a:lnTo>
                  <a:lnTo>
                    <a:pt x="222620" y="404038"/>
                  </a:lnTo>
                  <a:lnTo>
                    <a:pt x="223195" y="404462"/>
                  </a:lnTo>
                  <a:lnTo>
                    <a:pt x="223709" y="405309"/>
                  </a:lnTo>
                  <a:lnTo>
                    <a:pt x="224224" y="406156"/>
                  </a:lnTo>
                  <a:lnTo>
                    <a:pt x="225010" y="406549"/>
                  </a:lnTo>
                  <a:lnTo>
                    <a:pt x="226553" y="406489"/>
                  </a:lnTo>
                  <a:lnTo>
                    <a:pt x="227491" y="406277"/>
                  </a:lnTo>
                  <a:lnTo>
                    <a:pt x="231575" y="403554"/>
                  </a:lnTo>
                  <a:lnTo>
                    <a:pt x="234479" y="402495"/>
                  </a:lnTo>
                  <a:lnTo>
                    <a:pt x="237474" y="402616"/>
                  </a:lnTo>
                  <a:lnTo>
                    <a:pt x="239833" y="404795"/>
                  </a:lnTo>
                  <a:lnTo>
                    <a:pt x="241679" y="403947"/>
                  </a:lnTo>
                  <a:lnTo>
                    <a:pt x="243645" y="404038"/>
                  </a:lnTo>
                  <a:lnTo>
                    <a:pt x="248848" y="406186"/>
                  </a:lnTo>
                  <a:lnTo>
                    <a:pt x="252025" y="407094"/>
                  </a:lnTo>
                  <a:lnTo>
                    <a:pt x="253567" y="408092"/>
                  </a:lnTo>
                  <a:lnTo>
                    <a:pt x="253356" y="409272"/>
                  </a:lnTo>
                  <a:lnTo>
                    <a:pt x="253840" y="409423"/>
                  </a:lnTo>
                  <a:lnTo>
                    <a:pt x="254717" y="409272"/>
                  </a:lnTo>
                  <a:lnTo>
                    <a:pt x="255655" y="409605"/>
                  </a:lnTo>
                  <a:lnTo>
                    <a:pt x="256320" y="410512"/>
                  </a:lnTo>
                  <a:lnTo>
                    <a:pt x="256895" y="412085"/>
                  </a:lnTo>
                  <a:lnTo>
                    <a:pt x="257712" y="412902"/>
                  </a:lnTo>
                  <a:lnTo>
                    <a:pt x="258408" y="410966"/>
                  </a:lnTo>
                  <a:lnTo>
                    <a:pt x="259739" y="409393"/>
                  </a:lnTo>
                  <a:lnTo>
                    <a:pt x="261312" y="408546"/>
                  </a:lnTo>
                  <a:lnTo>
                    <a:pt x="262552" y="408818"/>
                  </a:lnTo>
                  <a:lnTo>
                    <a:pt x="263157" y="408818"/>
                  </a:lnTo>
                  <a:lnTo>
                    <a:pt x="264095" y="408455"/>
                  </a:lnTo>
                  <a:lnTo>
                    <a:pt x="265487" y="408757"/>
                  </a:lnTo>
                  <a:lnTo>
                    <a:pt x="266788" y="409393"/>
                  </a:lnTo>
                  <a:lnTo>
                    <a:pt x="267332" y="410058"/>
                  </a:lnTo>
                  <a:lnTo>
                    <a:pt x="271113" y="409605"/>
                  </a:lnTo>
                  <a:lnTo>
                    <a:pt x="273715" y="410028"/>
                  </a:lnTo>
                  <a:lnTo>
                    <a:pt x="275651" y="410694"/>
                  </a:lnTo>
                  <a:lnTo>
                    <a:pt x="277133" y="410572"/>
                  </a:lnTo>
                  <a:lnTo>
                    <a:pt x="277708" y="409605"/>
                  </a:lnTo>
                  <a:lnTo>
                    <a:pt x="277012" y="408818"/>
                  </a:lnTo>
                  <a:lnTo>
                    <a:pt x="277890" y="408304"/>
                  </a:lnTo>
                  <a:lnTo>
                    <a:pt x="278525" y="407578"/>
                  </a:lnTo>
                  <a:lnTo>
                    <a:pt x="278767" y="406700"/>
                  </a:lnTo>
                  <a:lnTo>
                    <a:pt x="278374" y="405611"/>
                  </a:lnTo>
                  <a:lnTo>
                    <a:pt x="277890" y="406126"/>
                  </a:lnTo>
                  <a:lnTo>
                    <a:pt x="277496" y="406186"/>
                  </a:lnTo>
                  <a:lnTo>
                    <a:pt x="276982" y="405732"/>
                  </a:lnTo>
                  <a:lnTo>
                    <a:pt x="276256" y="404795"/>
                  </a:lnTo>
                  <a:lnTo>
                    <a:pt x="277012" y="403978"/>
                  </a:lnTo>
                  <a:lnTo>
                    <a:pt x="279765" y="402011"/>
                  </a:lnTo>
                  <a:lnTo>
                    <a:pt x="279674" y="400892"/>
                  </a:lnTo>
                  <a:lnTo>
                    <a:pt x="279191" y="398775"/>
                  </a:lnTo>
                  <a:lnTo>
                    <a:pt x="279069" y="397564"/>
                  </a:lnTo>
                  <a:lnTo>
                    <a:pt x="283759" y="400257"/>
                  </a:lnTo>
                  <a:lnTo>
                    <a:pt x="284817" y="400559"/>
                  </a:lnTo>
                  <a:lnTo>
                    <a:pt x="285241" y="400771"/>
                  </a:lnTo>
                  <a:lnTo>
                    <a:pt x="285785" y="401346"/>
                  </a:lnTo>
                  <a:lnTo>
                    <a:pt x="286693" y="403191"/>
                  </a:lnTo>
                  <a:lnTo>
                    <a:pt x="291503" y="408697"/>
                  </a:lnTo>
                  <a:lnTo>
                    <a:pt x="292894" y="411298"/>
                  </a:lnTo>
                  <a:lnTo>
                    <a:pt x="291835" y="411631"/>
                  </a:lnTo>
                  <a:lnTo>
                    <a:pt x="291624" y="411904"/>
                  </a:lnTo>
                  <a:lnTo>
                    <a:pt x="291896" y="412236"/>
                  </a:lnTo>
                  <a:lnTo>
                    <a:pt x="292198" y="412902"/>
                  </a:lnTo>
                  <a:lnTo>
                    <a:pt x="292380" y="412962"/>
                  </a:lnTo>
                  <a:lnTo>
                    <a:pt x="293530" y="414959"/>
                  </a:lnTo>
                  <a:lnTo>
                    <a:pt x="293530" y="415292"/>
                  </a:lnTo>
                  <a:lnTo>
                    <a:pt x="295254" y="416351"/>
                  </a:lnTo>
                  <a:lnTo>
                    <a:pt x="296646" y="416744"/>
                  </a:lnTo>
                  <a:lnTo>
                    <a:pt x="297886" y="416411"/>
                  </a:lnTo>
                  <a:lnTo>
                    <a:pt x="299035" y="415262"/>
                  </a:lnTo>
                  <a:lnTo>
                    <a:pt x="299035" y="414626"/>
                  </a:lnTo>
                  <a:lnTo>
                    <a:pt x="298824" y="414324"/>
                  </a:lnTo>
                  <a:lnTo>
                    <a:pt x="298915" y="414082"/>
                  </a:lnTo>
                  <a:lnTo>
                    <a:pt x="299641" y="413598"/>
                  </a:lnTo>
                  <a:lnTo>
                    <a:pt x="299641" y="412872"/>
                  </a:lnTo>
                  <a:lnTo>
                    <a:pt x="298915" y="412690"/>
                  </a:lnTo>
                  <a:lnTo>
                    <a:pt x="298521" y="412509"/>
                  </a:lnTo>
                  <a:lnTo>
                    <a:pt x="298219" y="412267"/>
                  </a:lnTo>
                  <a:lnTo>
                    <a:pt x="297704" y="411994"/>
                  </a:lnTo>
                  <a:lnTo>
                    <a:pt x="297704" y="411268"/>
                  </a:lnTo>
                  <a:lnTo>
                    <a:pt x="298188" y="410391"/>
                  </a:lnTo>
                  <a:lnTo>
                    <a:pt x="299096" y="409030"/>
                  </a:lnTo>
                  <a:lnTo>
                    <a:pt x="300245" y="408062"/>
                  </a:lnTo>
                  <a:lnTo>
                    <a:pt x="301395" y="408394"/>
                  </a:lnTo>
                  <a:lnTo>
                    <a:pt x="302696" y="408969"/>
                  </a:lnTo>
                  <a:lnTo>
                    <a:pt x="303634" y="408304"/>
                  </a:lnTo>
                  <a:lnTo>
                    <a:pt x="303513" y="407396"/>
                  </a:lnTo>
                  <a:lnTo>
                    <a:pt x="301667" y="407154"/>
                  </a:lnTo>
                  <a:lnTo>
                    <a:pt x="303664" y="404976"/>
                  </a:lnTo>
                  <a:lnTo>
                    <a:pt x="306054" y="405974"/>
                  </a:lnTo>
                  <a:lnTo>
                    <a:pt x="307476" y="408394"/>
                  </a:lnTo>
                  <a:lnTo>
                    <a:pt x="306568" y="410452"/>
                  </a:lnTo>
                  <a:lnTo>
                    <a:pt x="308171" y="412962"/>
                  </a:lnTo>
                  <a:lnTo>
                    <a:pt x="308686" y="413598"/>
                  </a:lnTo>
                  <a:lnTo>
                    <a:pt x="309321" y="413930"/>
                  </a:lnTo>
                  <a:lnTo>
                    <a:pt x="310985" y="414354"/>
                  </a:lnTo>
                  <a:lnTo>
                    <a:pt x="313284" y="415897"/>
                  </a:lnTo>
                  <a:lnTo>
                    <a:pt x="317095" y="416895"/>
                  </a:lnTo>
                  <a:lnTo>
                    <a:pt x="318971" y="417651"/>
                  </a:lnTo>
                  <a:lnTo>
                    <a:pt x="318215" y="419013"/>
                  </a:lnTo>
                  <a:lnTo>
                    <a:pt x="316400" y="420434"/>
                  </a:lnTo>
                  <a:lnTo>
                    <a:pt x="315553" y="421645"/>
                  </a:lnTo>
                  <a:lnTo>
                    <a:pt x="319667" y="424125"/>
                  </a:lnTo>
                  <a:lnTo>
                    <a:pt x="321089" y="423399"/>
                  </a:lnTo>
                  <a:lnTo>
                    <a:pt x="324749" y="423006"/>
                  </a:lnTo>
                  <a:lnTo>
                    <a:pt x="326564" y="422461"/>
                  </a:lnTo>
                  <a:lnTo>
                    <a:pt x="326746" y="423036"/>
                  </a:lnTo>
                  <a:lnTo>
                    <a:pt x="327048" y="423581"/>
                  </a:lnTo>
                  <a:lnTo>
                    <a:pt x="327169" y="424125"/>
                  </a:lnTo>
                  <a:lnTo>
                    <a:pt x="327926" y="422461"/>
                  </a:lnTo>
                  <a:lnTo>
                    <a:pt x="328621" y="422461"/>
                  </a:lnTo>
                  <a:lnTo>
                    <a:pt x="330013" y="428149"/>
                  </a:lnTo>
                  <a:lnTo>
                    <a:pt x="331405" y="427604"/>
                  </a:lnTo>
                  <a:lnTo>
                    <a:pt x="334399" y="428118"/>
                  </a:lnTo>
                  <a:lnTo>
                    <a:pt x="336124" y="428118"/>
                  </a:lnTo>
                  <a:lnTo>
                    <a:pt x="335488" y="426848"/>
                  </a:lnTo>
                  <a:lnTo>
                    <a:pt x="334248" y="426182"/>
                  </a:lnTo>
                  <a:lnTo>
                    <a:pt x="332766" y="426091"/>
                  </a:lnTo>
                  <a:lnTo>
                    <a:pt x="331405" y="426515"/>
                  </a:lnTo>
                  <a:lnTo>
                    <a:pt x="332554" y="424760"/>
                  </a:lnTo>
                  <a:lnTo>
                    <a:pt x="334369" y="424397"/>
                  </a:lnTo>
                  <a:lnTo>
                    <a:pt x="340268" y="425033"/>
                  </a:lnTo>
                  <a:lnTo>
                    <a:pt x="341750" y="425426"/>
                  </a:lnTo>
                  <a:lnTo>
                    <a:pt x="343112" y="426394"/>
                  </a:lnTo>
                  <a:lnTo>
                    <a:pt x="344443" y="428209"/>
                  </a:lnTo>
                  <a:lnTo>
                    <a:pt x="342446" y="428209"/>
                  </a:lnTo>
                  <a:lnTo>
                    <a:pt x="342446" y="428996"/>
                  </a:lnTo>
                  <a:lnTo>
                    <a:pt x="345925" y="429328"/>
                  </a:lnTo>
                  <a:lnTo>
                    <a:pt x="347014" y="429026"/>
                  </a:lnTo>
                  <a:lnTo>
                    <a:pt x="350251" y="426182"/>
                  </a:lnTo>
                  <a:lnTo>
                    <a:pt x="351582" y="426424"/>
                  </a:lnTo>
                  <a:lnTo>
                    <a:pt x="354214" y="429026"/>
                  </a:lnTo>
                  <a:lnTo>
                    <a:pt x="352157" y="430629"/>
                  </a:lnTo>
                  <a:lnTo>
                    <a:pt x="353730" y="431204"/>
                  </a:lnTo>
                  <a:lnTo>
                    <a:pt x="360688" y="432051"/>
                  </a:lnTo>
                  <a:lnTo>
                    <a:pt x="361686" y="432172"/>
                  </a:lnTo>
                  <a:lnTo>
                    <a:pt x="361686" y="433049"/>
                  </a:lnTo>
                  <a:lnTo>
                    <a:pt x="360416" y="433200"/>
                  </a:lnTo>
                  <a:lnTo>
                    <a:pt x="358147" y="433745"/>
                  </a:lnTo>
                  <a:lnTo>
                    <a:pt x="356876" y="433866"/>
                  </a:lnTo>
                  <a:lnTo>
                    <a:pt x="356876" y="435469"/>
                  </a:lnTo>
                  <a:lnTo>
                    <a:pt x="358752" y="435984"/>
                  </a:lnTo>
                  <a:lnTo>
                    <a:pt x="360355" y="437345"/>
                  </a:lnTo>
                  <a:lnTo>
                    <a:pt x="360990" y="438737"/>
                  </a:lnTo>
                  <a:lnTo>
                    <a:pt x="359992" y="439372"/>
                  </a:lnTo>
                  <a:lnTo>
                    <a:pt x="358298" y="439795"/>
                  </a:lnTo>
                  <a:lnTo>
                    <a:pt x="356604" y="441520"/>
                  </a:lnTo>
                  <a:lnTo>
                    <a:pt x="349374" y="443516"/>
                  </a:lnTo>
                  <a:lnTo>
                    <a:pt x="346137" y="443910"/>
                  </a:lnTo>
                  <a:lnTo>
                    <a:pt x="343172" y="442639"/>
                  </a:lnTo>
                  <a:lnTo>
                    <a:pt x="341145" y="443184"/>
                  </a:lnTo>
                  <a:lnTo>
                    <a:pt x="336184" y="441217"/>
                  </a:lnTo>
                  <a:lnTo>
                    <a:pt x="333461" y="441036"/>
                  </a:lnTo>
                  <a:lnTo>
                    <a:pt x="332554" y="441641"/>
                  </a:lnTo>
                  <a:lnTo>
                    <a:pt x="330316" y="443758"/>
                  </a:lnTo>
                  <a:lnTo>
                    <a:pt x="328984" y="444212"/>
                  </a:lnTo>
                  <a:lnTo>
                    <a:pt x="327683" y="444424"/>
                  </a:lnTo>
                  <a:lnTo>
                    <a:pt x="326685" y="444999"/>
                  </a:lnTo>
                  <a:lnTo>
                    <a:pt x="324537" y="446663"/>
                  </a:lnTo>
                  <a:lnTo>
                    <a:pt x="327895" y="446844"/>
                  </a:lnTo>
                  <a:lnTo>
                    <a:pt x="327563" y="447026"/>
                  </a:lnTo>
                  <a:lnTo>
                    <a:pt x="327230" y="447419"/>
                  </a:lnTo>
                  <a:lnTo>
                    <a:pt x="329075" y="447540"/>
                  </a:lnTo>
                  <a:lnTo>
                    <a:pt x="331556" y="449415"/>
                  </a:lnTo>
                  <a:lnTo>
                    <a:pt x="333129" y="449899"/>
                  </a:lnTo>
                  <a:lnTo>
                    <a:pt x="334278" y="450535"/>
                  </a:lnTo>
                  <a:lnTo>
                    <a:pt x="335730" y="451896"/>
                  </a:lnTo>
                  <a:lnTo>
                    <a:pt x="336729" y="453257"/>
                  </a:lnTo>
                  <a:lnTo>
                    <a:pt x="336517" y="453893"/>
                  </a:lnTo>
                  <a:lnTo>
                    <a:pt x="334490" y="456706"/>
                  </a:lnTo>
                  <a:lnTo>
                    <a:pt x="333824" y="457099"/>
                  </a:lnTo>
                  <a:lnTo>
                    <a:pt x="333008" y="457099"/>
                  </a:lnTo>
                  <a:lnTo>
                    <a:pt x="332161" y="457039"/>
                  </a:lnTo>
                  <a:lnTo>
                    <a:pt x="331405" y="457039"/>
                  </a:lnTo>
                  <a:lnTo>
                    <a:pt x="328954" y="457825"/>
                  </a:lnTo>
                  <a:lnTo>
                    <a:pt x="327381" y="458067"/>
                  </a:lnTo>
                  <a:lnTo>
                    <a:pt x="325808" y="457855"/>
                  </a:lnTo>
                  <a:lnTo>
                    <a:pt x="324326" y="456918"/>
                  </a:lnTo>
                  <a:lnTo>
                    <a:pt x="321210" y="454376"/>
                  </a:lnTo>
                  <a:lnTo>
                    <a:pt x="319304" y="453862"/>
                  </a:lnTo>
                  <a:lnTo>
                    <a:pt x="318699" y="453499"/>
                  </a:lnTo>
                  <a:lnTo>
                    <a:pt x="316884" y="450656"/>
                  </a:lnTo>
                  <a:lnTo>
                    <a:pt x="308837" y="444121"/>
                  </a:lnTo>
                  <a:lnTo>
                    <a:pt x="307899" y="443819"/>
                  </a:lnTo>
                  <a:lnTo>
                    <a:pt x="307022" y="442972"/>
                  </a:lnTo>
                  <a:lnTo>
                    <a:pt x="301002" y="441006"/>
                  </a:lnTo>
                  <a:lnTo>
                    <a:pt x="290020" y="435621"/>
                  </a:lnTo>
                  <a:lnTo>
                    <a:pt x="282125" y="433987"/>
                  </a:lnTo>
                  <a:lnTo>
                    <a:pt x="281369" y="434169"/>
                  </a:lnTo>
                  <a:lnTo>
                    <a:pt x="280280" y="434622"/>
                  </a:lnTo>
                  <a:lnTo>
                    <a:pt x="279221" y="434169"/>
                  </a:lnTo>
                  <a:lnTo>
                    <a:pt x="278192" y="433412"/>
                  </a:lnTo>
                  <a:lnTo>
                    <a:pt x="275107" y="432263"/>
                  </a:lnTo>
                  <a:lnTo>
                    <a:pt x="273443" y="430781"/>
                  </a:lnTo>
                  <a:lnTo>
                    <a:pt x="271870" y="429812"/>
                  </a:lnTo>
                  <a:lnTo>
                    <a:pt x="270024" y="430599"/>
                  </a:lnTo>
                  <a:lnTo>
                    <a:pt x="268814" y="429994"/>
                  </a:lnTo>
                  <a:lnTo>
                    <a:pt x="264458" y="428996"/>
                  </a:lnTo>
                  <a:lnTo>
                    <a:pt x="261342" y="428996"/>
                  </a:lnTo>
                  <a:lnTo>
                    <a:pt x="260525" y="428723"/>
                  </a:lnTo>
                  <a:lnTo>
                    <a:pt x="259951" y="428149"/>
                  </a:lnTo>
                  <a:lnTo>
                    <a:pt x="259588" y="427574"/>
                  </a:lnTo>
                  <a:lnTo>
                    <a:pt x="259285" y="427302"/>
                  </a:lnTo>
                  <a:lnTo>
                    <a:pt x="255625" y="426182"/>
                  </a:lnTo>
                  <a:lnTo>
                    <a:pt x="254777" y="425759"/>
                  </a:lnTo>
                  <a:lnTo>
                    <a:pt x="254051" y="424549"/>
                  </a:lnTo>
                  <a:lnTo>
                    <a:pt x="252962" y="421523"/>
                  </a:lnTo>
                  <a:lnTo>
                    <a:pt x="252358" y="420919"/>
                  </a:lnTo>
                  <a:lnTo>
                    <a:pt x="251510" y="420677"/>
                  </a:lnTo>
                  <a:lnTo>
                    <a:pt x="250845" y="420162"/>
                  </a:lnTo>
                  <a:lnTo>
                    <a:pt x="249998" y="419345"/>
                  </a:lnTo>
                  <a:lnTo>
                    <a:pt x="249483" y="419345"/>
                  </a:lnTo>
                  <a:lnTo>
                    <a:pt x="248334" y="419920"/>
                  </a:lnTo>
                  <a:lnTo>
                    <a:pt x="247547" y="420041"/>
                  </a:lnTo>
                  <a:lnTo>
                    <a:pt x="246458" y="419829"/>
                  </a:lnTo>
                  <a:lnTo>
                    <a:pt x="243463" y="418498"/>
                  </a:lnTo>
                  <a:lnTo>
                    <a:pt x="242344" y="417621"/>
                  </a:lnTo>
                  <a:lnTo>
                    <a:pt x="241618" y="416351"/>
                  </a:lnTo>
                  <a:lnTo>
                    <a:pt x="241225" y="415020"/>
                  </a:lnTo>
                  <a:lnTo>
                    <a:pt x="240590" y="413991"/>
                  </a:lnTo>
                  <a:lnTo>
                    <a:pt x="239319" y="413567"/>
                  </a:lnTo>
                  <a:lnTo>
                    <a:pt x="237776" y="413356"/>
                  </a:lnTo>
                  <a:lnTo>
                    <a:pt x="236324" y="412811"/>
                  </a:lnTo>
                  <a:lnTo>
                    <a:pt x="235053" y="412055"/>
                  </a:lnTo>
                  <a:lnTo>
                    <a:pt x="234086" y="411238"/>
                  </a:lnTo>
                  <a:lnTo>
                    <a:pt x="233148" y="411752"/>
                  </a:lnTo>
                  <a:lnTo>
                    <a:pt x="232210" y="411934"/>
                  </a:lnTo>
                  <a:lnTo>
                    <a:pt x="230032" y="411934"/>
                  </a:lnTo>
                  <a:lnTo>
                    <a:pt x="223376" y="410694"/>
                  </a:lnTo>
                  <a:lnTo>
                    <a:pt x="222499" y="411601"/>
                  </a:lnTo>
                  <a:lnTo>
                    <a:pt x="214815" y="416048"/>
                  </a:lnTo>
                  <a:lnTo>
                    <a:pt x="212547" y="419103"/>
                  </a:lnTo>
                  <a:lnTo>
                    <a:pt x="208493" y="426666"/>
                  </a:lnTo>
                  <a:lnTo>
                    <a:pt x="205831" y="429691"/>
                  </a:lnTo>
                  <a:lnTo>
                    <a:pt x="202563" y="431748"/>
                  </a:lnTo>
                  <a:lnTo>
                    <a:pt x="200537" y="432596"/>
                  </a:lnTo>
                  <a:lnTo>
                    <a:pt x="198601" y="432959"/>
                  </a:lnTo>
                  <a:lnTo>
                    <a:pt x="190614" y="431295"/>
                  </a:lnTo>
                  <a:lnTo>
                    <a:pt x="185592" y="427755"/>
                  </a:lnTo>
                  <a:lnTo>
                    <a:pt x="184171" y="427271"/>
                  </a:lnTo>
                  <a:lnTo>
                    <a:pt x="181993" y="427271"/>
                  </a:lnTo>
                  <a:lnTo>
                    <a:pt x="180238" y="427029"/>
                  </a:lnTo>
                  <a:lnTo>
                    <a:pt x="178756" y="426303"/>
                  </a:lnTo>
                  <a:lnTo>
                    <a:pt x="178242" y="425547"/>
                  </a:lnTo>
                  <a:lnTo>
                    <a:pt x="178695" y="426394"/>
                  </a:lnTo>
                  <a:lnTo>
                    <a:pt x="178937" y="427513"/>
                  </a:lnTo>
                  <a:lnTo>
                    <a:pt x="179028" y="428935"/>
                  </a:lnTo>
                  <a:lnTo>
                    <a:pt x="177999" y="428118"/>
                  </a:lnTo>
                  <a:lnTo>
                    <a:pt x="176668" y="426001"/>
                  </a:lnTo>
                  <a:lnTo>
                    <a:pt x="175579" y="424881"/>
                  </a:lnTo>
                  <a:lnTo>
                    <a:pt x="175730" y="426787"/>
                  </a:lnTo>
                  <a:lnTo>
                    <a:pt x="175519" y="433806"/>
                  </a:lnTo>
                  <a:lnTo>
                    <a:pt x="175307" y="435318"/>
                  </a:lnTo>
                  <a:lnTo>
                    <a:pt x="174853" y="436528"/>
                  </a:lnTo>
                  <a:lnTo>
                    <a:pt x="171284" y="441762"/>
                  </a:lnTo>
                  <a:lnTo>
                    <a:pt x="171072" y="442518"/>
                  </a:lnTo>
                  <a:lnTo>
                    <a:pt x="166534" y="448931"/>
                  </a:lnTo>
                  <a:lnTo>
                    <a:pt x="167169" y="448296"/>
                  </a:lnTo>
                  <a:lnTo>
                    <a:pt x="168047" y="447630"/>
                  </a:lnTo>
                  <a:lnTo>
                    <a:pt x="169045" y="447026"/>
                  </a:lnTo>
                  <a:lnTo>
                    <a:pt x="170013" y="446632"/>
                  </a:lnTo>
                  <a:lnTo>
                    <a:pt x="170225" y="446935"/>
                  </a:lnTo>
                  <a:lnTo>
                    <a:pt x="170225" y="447026"/>
                  </a:lnTo>
                  <a:lnTo>
                    <a:pt x="170406" y="447116"/>
                  </a:lnTo>
                  <a:lnTo>
                    <a:pt x="170769" y="447358"/>
                  </a:lnTo>
                  <a:lnTo>
                    <a:pt x="170769" y="448236"/>
                  </a:lnTo>
                  <a:lnTo>
                    <a:pt x="169620" y="449173"/>
                  </a:lnTo>
                  <a:lnTo>
                    <a:pt x="168500" y="450353"/>
                  </a:lnTo>
                  <a:lnTo>
                    <a:pt x="167291" y="451079"/>
                  </a:lnTo>
                  <a:lnTo>
                    <a:pt x="165899" y="450625"/>
                  </a:lnTo>
                  <a:lnTo>
                    <a:pt x="163297" y="453530"/>
                  </a:lnTo>
                  <a:lnTo>
                    <a:pt x="158881" y="457069"/>
                  </a:lnTo>
                  <a:lnTo>
                    <a:pt x="154494" y="458975"/>
                  </a:lnTo>
                  <a:lnTo>
                    <a:pt x="152104" y="457039"/>
                  </a:lnTo>
                  <a:lnTo>
                    <a:pt x="151409" y="457039"/>
                  </a:lnTo>
                  <a:lnTo>
                    <a:pt x="148656" y="464995"/>
                  </a:lnTo>
                  <a:lnTo>
                    <a:pt x="149200" y="465902"/>
                  </a:lnTo>
                  <a:lnTo>
                    <a:pt x="148807" y="467657"/>
                  </a:lnTo>
                  <a:lnTo>
                    <a:pt x="149351" y="469079"/>
                  </a:lnTo>
                  <a:lnTo>
                    <a:pt x="150259" y="469775"/>
                  </a:lnTo>
                  <a:lnTo>
                    <a:pt x="160847" y="472770"/>
                  </a:lnTo>
                  <a:lnTo>
                    <a:pt x="165233" y="474948"/>
                  </a:lnTo>
                  <a:lnTo>
                    <a:pt x="166625" y="475916"/>
                  </a:lnTo>
                  <a:lnTo>
                    <a:pt x="167684" y="477489"/>
                  </a:lnTo>
                  <a:lnTo>
                    <a:pt x="169347" y="482783"/>
                  </a:lnTo>
                  <a:lnTo>
                    <a:pt x="169620" y="484719"/>
                  </a:lnTo>
                  <a:lnTo>
                    <a:pt x="169257" y="486625"/>
                  </a:lnTo>
                  <a:lnTo>
                    <a:pt x="168017" y="489015"/>
                  </a:lnTo>
                  <a:lnTo>
                    <a:pt x="168984" y="489771"/>
                  </a:lnTo>
                  <a:lnTo>
                    <a:pt x="169196" y="490799"/>
                  </a:lnTo>
                  <a:lnTo>
                    <a:pt x="169196" y="491949"/>
                  </a:lnTo>
                  <a:lnTo>
                    <a:pt x="169408" y="493068"/>
                  </a:lnTo>
                  <a:lnTo>
                    <a:pt x="170043" y="493068"/>
                  </a:lnTo>
                  <a:lnTo>
                    <a:pt x="170558" y="489922"/>
                  </a:lnTo>
                  <a:lnTo>
                    <a:pt x="172524" y="489408"/>
                  </a:lnTo>
                  <a:lnTo>
                    <a:pt x="178453" y="491041"/>
                  </a:lnTo>
                  <a:lnTo>
                    <a:pt x="179451" y="491919"/>
                  </a:lnTo>
                  <a:lnTo>
                    <a:pt x="181418" y="494278"/>
                  </a:lnTo>
                  <a:lnTo>
                    <a:pt x="182567" y="495337"/>
                  </a:lnTo>
                  <a:lnTo>
                    <a:pt x="184625" y="496305"/>
                  </a:lnTo>
                  <a:lnTo>
                    <a:pt x="193307" y="501992"/>
                  </a:lnTo>
                  <a:lnTo>
                    <a:pt x="195243" y="503868"/>
                  </a:lnTo>
                  <a:lnTo>
                    <a:pt x="199085" y="509192"/>
                  </a:lnTo>
                  <a:lnTo>
                    <a:pt x="205891" y="521202"/>
                  </a:lnTo>
                  <a:lnTo>
                    <a:pt x="206617" y="523169"/>
                  </a:lnTo>
                  <a:lnTo>
                    <a:pt x="207555" y="525770"/>
                  </a:lnTo>
                  <a:lnTo>
                    <a:pt x="208009" y="530459"/>
                  </a:lnTo>
                  <a:lnTo>
                    <a:pt x="206648" y="534210"/>
                  </a:lnTo>
                  <a:lnTo>
                    <a:pt x="203895" y="536902"/>
                  </a:lnTo>
                  <a:lnTo>
                    <a:pt x="197572" y="541592"/>
                  </a:lnTo>
                  <a:lnTo>
                    <a:pt x="195787" y="544798"/>
                  </a:lnTo>
                  <a:lnTo>
                    <a:pt x="195091" y="548973"/>
                  </a:lnTo>
                  <a:lnTo>
                    <a:pt x="195303" y="553632"/>
                  </a:lnTo>
                  <a:lnTo>
                    <a:pt x="196211" y="558169"/>
                  </a:lnTo>
                  <a:lnTo>
                    <a:pt x="198268" y="561769"/>
                  </a:lnTo>
                  <a:lnTo>
                    <a:pt x="201293" y="564613"/>
                  </a:lnTo>
                  <a:lnTo>
                    <a:pt x="203864" y="567638"/>
                  </a:lnTo>
                  <a:lnTo>
                    <a:pt x="204590" y="571722"/>
                  </a:lnTo>
                  <a:lnTo>
                    <a:pt x="205195" y="570391"/>
                  </a:lnTo>
                  <a:lnTo>
                    <a:pt x="205679" y="570088"/>
                  </a:lnTo>
                  <a:lnTo>
                    <a:pt x="206587" y="570149"/>
                  </a:lnTo>
                  <a:lnTo>
                    <a:pt x="206466" y="570935"/>
                  </a:lnTo>
                  <a:lnTo>
                    <a:pt x="206164" y="571298"/>
                  </a:lnTo>
                  <a:lnTo>
                    <a:pt x="205195" y="571752"/>
                  </a:lnTo>
                  <a:lnTo>
                    <a:pt x="207222" y="571178"/>
                  </a:lnTo>
                  <a:lnTo>
                    <a:pt x="208674" y="572024"/>
                  </a:lnTo>
                  <a:lnTo>
                    <a:pt x="209400" y="573688"/>
                  </a:lnTo>
                  <a:lnTo>
                    <a:pt x="209340" y="575624"/>
                  </a:lnTo>
                  <a:lnTo>
                    <a:pt x="208856" y="576623"/>
                  </a:lnTo>
                  <a:lnTo>
                    <a:pt x="207525" y="578559"/>
                  </a:lnTo>
                  <a:lnTo>
                    <a:pt x="207222" y="579617"/>
                  </a:lnTo>
                  <a:lnTo>
                    <a:pt x="207313" y="581251"/>
                  </a:lnTo>
                  <a:lnTo>
                    <a:pt x="207555" y="582370"/>
                  </a:lnTo>
                  <a:lnTo>
                    <a:pt x="207646" y="583308"/>
                  </a:lnTo>
                  <a:lnTo>
                    <a:pt x="207253" y="584397"/>
                  </a:lnTo>
                  <a:lnTo>
                    <a:pt x="208069" y="585668"/>
                  </a:lnTo>
                  <a:lnTo>
                    <a:pt x="208614" y="587150"/>
                  </a:lnTo>
                  <a:lnTo>
                    <a:pt x="209158" y="588027"/>
                  </a:lnTo>
                  <a:lnTo>
                    <a:pt x="210066" y="587543"/>
                  </a:lnTo>
                  <a:lnTo>
                    <a:pt x="210701" y="587543"/>
                  </a:lnTo>
                  <a:lnTo>
                    <a:pt x="211336" y="588663"/>
                  </a:lnTo>
                  <a:lnTo>
                    <a:pt x="213696" y="589540"/>
                  </a:lnTo>
                  <a:lnTo>
                    <a:pt x="214876" y="590690"/>
                  </a:lnTo>
                  <a:lnTo>
                    <a:pt x="217447" y="589570"/>
                  </a:lnTo>
                  <a:lnTo>
                    <a:pt x="218990" y="589238"/>
                  </a:lnTo>
                  <a:lnTo>
                    <a:pt x="220805" y="589147"/>
                  </a:lnTo>
                  <a:lnTo>
                    <a:pt x="223891" y="595046"/>
                  </a:lnTo>
                  <a:lnTo>
                    <a:pt x="224224" y="595318"/>
                  </a:lnTo>
                  <a:lnTo>
                    <a:pt x="225978" y="598585"/>
                  </a:lnTo>
                  <a:lnTo>
                    <a:pt x="226825" y="598585"/>
                  </a:lnTo>
                  <a:lnTo>
                    <a:pt x="227461" y="598222"/>
                  </a:lnTo>
                  <a:lnTo>
                    <a:pt x="228035" y="597617"/>
                  </a:lnTo>
                  <a:lnTo>
                    <a:pt x="232210" y="594047"/>
                  </a:lnTo>
                  <a:lnTo>
                    <a:pt x="232845" y="593019"/>
                  </a:lnTo>
                  <a:lnTo>
                    <a:pt x="232482" y="592081"/>
                  </a:lnTo>
                  <a:lnTo>
                    <a:pt x="233118" y="591325"/>
                  </a:lnTo>
                  <a:lnTo>
                    <a:pt x="234297" y="590841"/>
                  </a:lnTo>
                  <a:lnTo>
                    <a:pt x="235659" y="590750"/>
                  </a:lnTo>
                  <a:lnTo>
                    <a:pt x="235659" y="589964"/>
                  </a:lnTo>
                  <a:lnTo>
                    <a:pt x="234267" y="589782"/>
                  </a:lnTo>
                  <a:lnTo>
                    <a:pt x="233208" y="589147"/>
                  </a:lnTo>
                  <a:lnTo>
                    <a:pt x="231484" y="587604"/>
                  </a:lnTo>
                  <a:lnTo>
                    <a:pt x="232119" y="586243"/>
                  </a:lnTo>
                  <a:lnTo>
                    <a:pt x="231847" y="585214"/>
                  </a:lnTo>
                  <a:lnTo>
                    <a:pt x="231212" y="584216"/>
                  </a:lnTo>
                  <a:lnTo>
                    <a:pt x="230788" y="582885"/>
                  </a:lnTo>
                  <a:lnTo>
                    <a:pt x="230849" y="581826"/>
                  </a:lnTo>
                  <a:lnTo>
                    <a:pt x="231333" y="580434"/>
                  </a:lnTo>
                  <a:lnTo>
                    <a:pt x="232361" y="569423"/>
                  </a:lnTo>
                  <a:lnTo>
                    <a:pt x="232936" y="567880"/>
                  </a:lnTo>
                  <a:lnTo>
                    <a:pt x="234116" y="566670"/>
                  </a:lnTo>
                  <a:lnTo>
                    <a:pt x="237897" y="565672"/>
                  </a:lnTo>
                  <a:lnTo>
                    <a:pt x="241709" y="563494"/>
                  </a:lnTo>
                  <a:lnTo>
                    <a:pt x="243524" y="563009"/>
                  </a:lnTo>
                  <a:lnTo>
                    <a:pt x="247305" y="563191"/>
                  </a:lnTo>
                  <a:lnTo>
                    <a:pt x="254112" y="564583"/>
                  </a:lnTo>
                  <a:lnTo>
                    <a:pt x="254294" y="565399"/>
                  </a:lnTo>
                  <a:lnTo>
                    <a:pt x="254142" y="568546"/>
                  </a:lnTo>
                  <a:lnTo>
                    <a:pt x="253658" y="570784"/>
                  </a:lnTo>
                  <a:lnTo>
                    <a:pt x="253567" y="572085"/>
                  </a:lnTo>
                  <a:lnTo>
                    <a:pt x="253325" y="573234"/>
                  </a:lnTo>
                  <a:lnTo>
                    <a:pt x="252841" y="574263"/>
                  </a:lnTo>
                  <a:lnTo>
                    <a:pt x="252358" y="574898"/>
                  </a:lnTo>
                  <a:lnTo>
                    <a:pt x="252115" y="574838"/>
                  </a:lnTo>
                  <a:lnTo>
                    <a:pt x="252569" y="576562"/>
                  </a:lnTo>
                  <a:lnTo>
                    <a:pt x="253658" y="577712"/>
                  </a:lnTo>
                  <a:lnTo>
                    <a:pt x="256320" y="579557"/>
                  </a:lnTo>
                  <a:lnTo>
                    <a:pt x="258831" y="577802"/>
                  </a:lnTo>
                  <a:lnTo>
                    <a:pt x="260979" y="578831"/>
                  </a:lnTo>
                  <a:lnTo>
                    <a:pt x="268028" y="587755"/>
                  </a:lnTo>
                  <a:lnTo>
                    <a:pt x="269570" y="590690"/>
                  </a:lnTo>
                  <a:lnTo>
                    <a:pt x="269419" y="592928"/>
                  </a:lnTo>
                  <a:lnTo>
                    <a:pt x="271265" y="594895"/>
                  </a:lnTo>
                  <a:lnTo>
                    <a:pt x="272838" y="598525"/>
                  </a:lnTo>
                  <a:lnTo>
                    <a:pt x="274743" y="601338"/>
                  </a:lnTo>
                  <a:lnTo>
                    <a:pt x="277708" y="600854"/>
                  </a:lnTo>
                  <a:lnTo>
                    <a:pt x="275953" y="604605"/>
                  </a:lnTo>
                  <a:lnTo>
                    <a:pt x="275742" y="606572"/>
                  </a:lnTo>
                  <a:lnTo>
                    <a:pt x="277708" y="607207"/>
                  </a:lnTo>
                  <a:lnTo>
                    <a:pt x="277708" y="608024"/>
                  </a:lnTo>
                  <a:lnTo>
                    <a:pt x="276044" y="608175"/>
                  </a:lnTo>
                  <a:lnTo>
                    <a:pt x="275681" y="609536"/>
                  </a:lnTo>
                  <a:lnTo>
                    <a:pt x="275833" y="611321"/>
                  </a:lnTo>
                  <a:lnTo>
                    <a:pt x="275651" y="612804"/>
                  </a:lnTo>
                  <a:lnTo>
                    <a:pt x="277739" y="612804"/>
                  </a:lnTo>
                  <a:lnTo>
                    <a:pt x="276801" y="614497"/>
                  </a:lnTo>
                  <a:lnTo>
                    <a:pt x="276286" y="615072"/>
                  </a:lnTo>
                  <a:lnTo>
                    <a:pt x="277315" y="616252"/>
                  </a:lnTo>
                  <a:lnTo>
                    <a:pt x="277739" y="618127"/>
                  </a:lnTo>
                  <a:lnTo>
                    <a:pt x="277254" y="619489"/>
                  </a:lnTo>
                  <a:lnTo>
                    <a:pt x="275621" y="619065"/>
                  </a:lnTo>
                  <a:lnTo>
                    <a:pt x="275016" y="620699"/>
                  </a:lnTo>
                  <a:lnTo>
                    <a:pt x="274380" y="621939"/>
                  </a:lnTo>
                  <a:lnTo>
                    <a:pt x="274290" y="623210"/>
                  </a:lnTo>
                  <a:lnTo>
                    <a:pt x="275258" y="624934"/>
                  </a:lnTo>
                  <a:lnTo>
                    <a:pt x="276044" y="625933"/>
                  </a:lnTo>
                  <a:lnTo>
                    <a:pt x="277012" y="626810"/>
                  </a:lnTo>
                  <a:lnTo>
                    <a:pt x="278011" y="627022"/>
                  </a:lnTo>
                  <a:lnTo>
                    <a:pt x="279039" y="626053"/>
                  </a:lnTo>
                  <a:lnTo>
                    <a:pt x="279735" y="626053"/>
                  </a:lnTo>
                  <a:lnTo>
                    <a:pt x="280945" y="627596"/>
                  </a:lnTo>
                  <a:lnTo>
                    <a:pt x="284454" y="628897"/>
                  </a:lnTo>
                  <a:lnTo>
                    <a:pt x="285906" y="630016"/>
                  </a:lnTo>
                  <a:lnTo>
                    <a:pt x="286451" y="631711"/>
                  </a:lnTo>
                  <a:lnTo>
                    <a:pt x="286572" y="633828"/>
                  </a:lnTo>
                  <a:lnTo>
                    <a:pt x="286904" y="635795"/>
                  </a:lnTo>
                  <a:lnTo>
                    <a:pt x="288054" y="637065"/>
                  </a:lnTo>
                  <a:lnTo>
                    <a:pt x="288236" y="636339"/>
                  </a:lnTo>
                  <a:lnTo>
                    <a:pt x="288236" y="635734"/>
                  </a:lnTo>
                  <a:lnTo>
                    <a:pt x="288478" y="635401"/>
                  </a:lnTo>
                  <a:lnTo>
                    <a:pt x="289416" y="635492"/>
                  </a:lnTo>
                  <a:lnTo>
                    <a:pt x="289416" y="634706"/>
                  </a:lnTo>
                  <a:lnTo>
                    <a:pt x="288629" y="633405"/>
                  </a:lnTo>
                  <a:lnTo>
                    <a:pt x="288327" y="632043"/>
                  </a:lnTo>
                  <a:lnTo>
                    <a:pt x="288780" y="630833"/>
                  </a:lnTo>
                  <a:lnTo>
                    <a:pt x="290081" y="630016"/>
                  </a:lnTo>
                  <a:lnTo>
                    <a:pt x="289688" y="629018"/>
                  </a:lnTo>
                  <a:lnTo>
                    <a:pt x="290081" y="628383"/>
                  </a:lnTo>
                  <a:lnTo>
                    <a:pt x="288205" y="623815"/>
                  </a:lnTo>
                  <a:lnTo>
                    <a:pt x="287570" y="621667"/>
                  </a:lnTo>
                  <a:lnTo>
                    <a:pt x="287267" y="619035"/>
                  </a:lnTo>
                  <a:lnTo>
                    <a:pt x="287328" y="612289"/>
                  </a:lnTo>
                  <a:lnTo>
                    <a:pt x="287933" y="611079"/>
                  </a:lnTo>
                  <a:lnTo>
                    <a:pt x="289416" y="610262"/>
                  </a:lnTo>
                  <a:lnTo>
                    <a:pt x="290232" y="612743"/>
                  </a:lnTo>
                  <a:lnTo>
                    <a:pt x="291563" y="611624"/>
                  </a:lnTo>
                  <a:lnTo>
                    <a:pt x="292078" y="609264"/>
                  </a:lnTo>
                  <a:lnTo>
                    <a:pt x="290414" y="607963"/>
                  </a:lnTo>
                  <a:lnTo>
                    <a:pt x="289960" y="607510"/>
                  </a:lnTo>
                  <a:lnTo>
                    <a:pt x="290111" y="606481"/>
                  </a:lnTo>
                  <a:lnTo>
                    <a:pt x="290656" y="605422"/>
                  </a:lnTo>
                  <a:lnTo>
                    <a:pt x="291503" y="604817"/>
                  </a:lnTo>
                  <a:lnTo>
                    <a:pt x="292380" y="604938"/>
                  </a:lnTo>
                  <a:lnTo>
                    <a:pt x="293015" y="605543"/>
                  </a:lnTo>
                  <a:lnTo>
                    <a:pt x="293378" y="606390"/>
                  </a:lnTo>
                  <a:lnTo>
                    <a:pt x="293560" y="607207"/>
                  </a:lnTo>
                  <a:lnTo>
                    <a:pt x="294256" y="607207"/>
                  </a:lnTo>
                  <a:lnTo>
                    <a:pt x="294377" y="605452"/>
                  </a:lnTo>
                  <a:lnTo>
                    <a:pt x="293984" y="604061"/>
                  </a:lnTo>
                  <a:lnTo>
                    <a:pt x="293015" y="603244"/>
                  </a:lnTo>
                  <a:lnTo>
                    <a:pt x="291472" y="603244"/>
                  </a:lnTo>
                  <a:lnTo>
                    <a:pt x="292320" y="600703"/>
                  </a:lnTo>
                  <a:lnTo>
                    <a:pt x="293590" y="599069"/>
                  </a:lnTo>
                  <a:lnTo>
                    <a:pt x="296918" y="596891"/>
                  </a:lnTo>
                  <a:lnTo>
                    <a:pt x="296736" y="591991"/>
                  </a:lnTo>
                  <a:lnTo>
                    <a:pt x="301274" y="589631"/>
                  </a:lnTo>
                  <a:lnTo>
                    <a:pt x="307597" y="588935"/>
                  </a:lnTo>
                  <a:lnTo>
                    <a:pt x="312739" y="589026"/>
                  </a:lnTo>
                  <a:lnTo>
                    <a:pt x="315613" y="589540"/>
                  </a:lnTo>
                  <a:lnTo>
                    <a:pt x="317791" y="590780"/>
                  </a:lnTo>
                  <a:lnTo>
                    <a:pt x="319183" y="592807"/>
                  </a:lnTo>
                  <a:lnTo>
                    <a:pt x="319879" y="596982"/>
                  </a:lnTo>
                  <a:lnTo>
                    <a:pt x="320817" y="599463"/>
                  </a:lnTo>
                  <a:lnTo>
                    <a:pt x="321028" y="601217"/>
                  </a:lnTo>
                  <a:lnTo>
                    <a:pt x="320454" y="603909"/>
                  </a:lnTo>
                  <a:lnTo>
                    <a:pt x="320574" y="604938"/>
                  </a:lnTo>
                  <a:lnTo>
                    <a:pt x="320998" y="605543"/>
                  </a:lnTo>
                  <a:lnTo>
                    <a:pt x="322389" y="603970"/>
                  </a:lnTo>
                  <a:lnTo>
                    <a:pt x="322783" y="603093"/>
                  </a:lnTo>
                  <a:lnTo>
                    <a:pt x="323327" y="603274"/>
                  </a:lnTo>
                  <a:lnTo>
                    <a:pt x="327532" y="606813"/>
                  </a:lnTo>
                  <a:lnTo>
                    <a:pt x="327986" y="608175"/>
                  </a:lnTo>
                  <a:lnTo>
                    <a:pt x="326534" y="609536"/>
                  </a:lnTo>
                  <a:lnTo>
                    <a:pt x="330890" y="612440"/>
                  </a:lnTo>
                  <a:lnTo>
                    <a:pt x="332040" y="613439"/>
                  </a:lnTo>
                  <a:lnTo>
                    <a:pt x="332796" y="614619"/>
                  </a:lnTo>
                  <a:lnTo>
                    <a:pt x="335035" y="619065"/>
                  </a:lnTo>
                  <a:lnTo>
                    <a:pt x="335488" y="620941"/>
                  </a:lnTo>
                  <a:lnTo>
                    <a:pt x="336366" y="622212"/>
                  </a:lnTo>
                  <a:lnTo>
                    <a:pt x="338423" y="622212"/>
                  </a:lnTo>
                  <a:lnTo>
                    <a:pt x="342749" y="621304"/>
                  </a:lnTo>
                  <a:lnTo>
                    <a:pt x="344292" y="621939"/>
                  </a:lnTo>
                  <a:lnTo>
                    <a:pt x="345713" y="623452"/>
                  </a:lnTo>
                  <a:lnTo>
                    <a:pt x="346409" y="625297"/>
                  </a:lnTo>
                  <a:lnTo>
                    <a:pt x="345834" y="626840"/>
                  </a:lnTo>
                  <a:lnTo>
                    <a:pt x="345834" y="627566"/>
                  </a:lnTo>
                  <a:lnTo>
                    <a:pt x="347044" y="628504"/>
                  </a:lnTo>
                  <a:lnTo>
                    <a:pt x="347770" y="629835"/>
                  </a:lnTo>
                  <a:lnTo>
                    <a:pt x="348678" y="631045"/>
                  </a:lnTo>
                  <a:lnTo>
                    <a:pt x="353155" y="632074"/>
                  </a:lnTo>
                  <a:lnTo>
                    <a:pt x="354426" y="631892"/>
                  </a:lnTo>
                  <a:lnTo>
                    <a:pt x="355424" y="630682"/>
                  </a:lnTo>
                  <a:lnTo>
                    <a:pt x="358873" y="632255"/>
                  </a:lnTo>
                  <a:lnTo>
                    <a:pt x="359629" y="629563"/>
                  </a:lnTo>
                  <a:lnTo>
                    <a:pt x="357421" y="627717"/>
                  </a:lnTo>
                  <a:lnTo>
                    <a:pt x="354396" y="625993"/>
                  </a:lnTo>
                  <a:lnTo>
                    <a:pt x="352671" y="623664"/>
                  </a:lnTo>
                  <a:lnTo>
                    <a:pt x="353609" y="623119"/>
                  </a:lnTo>
                  <a:lnTo>
                    <a:pt x="354033" y="622544"/>
                  </a:lnTo>
                  <a:lnTo>
                    <a:pt x="353942" y="621939"/>
                  </a:lnTo>
                  <a:lnTo>
                    <a:pt x="353337" y="621304"/>
                  </a:lnTo>
                  <a:lnTo>
                    <a:pt x="353337" y="620578"/>
                  </a:lnTo>
                  <a:lnTo>
                    <a:pt x="353760" y="620427"/>
                  </a:lnTo>
                  <a:lnTo>
                    <a:pt x="354698" y="619791"/>
                  </a:lnTo>
                  <a:lnTo>
                    <a:pt x="353730" y="619701"/>
                  </a:lnTo>
                  <a:lnTo>
                    <a:pt x="353337" y="619277"/>
                  </a:lnTo>
                  <a:lnTo>
                    <a:pt x="353095" y="618702"/>
                  </a:lnTo>
                  <a:lnTo>
                    <a:pt x="352671" y="618158"/>
                  </a:lnTo>
                  <a:lnTo>
                    <a:pt x="350796" y="617371"/>
                  </a:lnTo>
                  <a:lnTo>
                    <a:pt x="349646" y="616555"/>
                  </a:lnTo>
                  <a:lnTo>
                    <a:pt x="347650" y="615768"/>
                  </a:lnTo>
                  <a:lnTo>
                    <a:pt x="347226" y="615405"/>
                  </a:lnTo>
                  <a:lnTo>
                    <a:pt x="346167" y="613378"/>
                  </a:lnTo>
                  <a:lnTo>
                    <a:pt x="344201" y="610444"/>
                  </a:lnTo>
                  <a:lnTo>
                    <a:pt x="342719" y="607388"/>
                  </a:lnTo>
                  <a:lnTo>
                    <a:pt x="342597" y="604424"/>
                  </a:lnTo>
                  <a:lnTo>
                    <a:pt x="345108" y="602397"/>
                  </a:lnTo>
                  <a:lnTo>
                    <a:pt x="342386" y="602397"/>
                  </a:lnTo>
                  <a:lnTo>
                    <a:pt x="342597" y="602004"/>
                  </a:lnTo>
                  <a:lnTo>
                    <a:pt x="342870" y="601187"/>
                  </a:lnTo>
                  <a:lnTo>
                    <a:pt x="343082" y="600793"/>
                  </a:lnTo>
                  <a:lnTo>
                    <a:pt x="341720" y="599704"/>
                  </a:lnTo>
                  <a:lnTo>
                    <a:pt x="342234" y="598555"/>
                  </a:lnTo>
                  <a:lnTo>
                    <a:pt x="343505" y="597345"/>
                  </a:lnTo>
                  <a:lnTo>
                    <a:pt x="344382" y="596074"/>
                  </a:lnTo>
                  <a:lnTo>
                    <a:pt x="345350" y="596831"/>
                  </a:lnTo>
                  <a:lnTo>
                    <a:pt x="346772" y="597587"/>
                  </a:lnTo>
                  <a:lnTo>
                    <a:pt x="348073" y="597678"/>
                  </a:lnTo>
                  <a:lnTo>
                    <a:pt x="348648" y="596437"/>
                  </a:lnTo>
                  <a:lnTo>
                    <a:pt x="348587" y="595832"/>
                  </a:lnTo>
                  <a:lnTo>
                    <a:pt x="348527" y="595469"/>
                  </a:lnTo>
                  <a:lnTo>
                    <a:pt x="348527" y="595106"/>
                  </a:lnTo>
                  <a:lnTo>
                    <a:pt x="348678" y="594441"/>
                  </a:lnTo>
                  <a:lnTo>
                    <a:pt x="349071" y="593775"/>
                  </a:lnTo>
                  <a:lnTo>
                    <a:pt x="350221" y="592958"/>
                  </a:lnTo>
                  <a:lnTo>
                    <a:pt x="350644" y="592081"/>
                  </a:lnTo>
                  <a:lnTo>
                    <a:pt x="349102" y="591446"/>
                  </a:lnTo>
                  <a:lnTo>
                    <a:pt x="348315" y="591294"/>
                  </a:lnTo>
                  <a:lnTo>
                    <a:pt x="347256" y="591234"/>
                  </a:lnTo>
                  <a:lnTo>
                    <a:pt x="347256" y="590508"/>
                  </a:lnTo>
                  <a:lnTo>
                    <a:pt x="348376" y="590115"/>
                  </a:lnTo>
                  <a:lnTo>
                    <a:pt x="348769" y="589116"/>
                  </a:lnTo>
                  <a:lnTo>
                    <a:pt x="348527" y="587816"/>
                  </a:lnTo>
                  <a:lnTo>
                    <a:pt x="347891" y="586575"/>
                  </a:lnTo>
                  <a:lnTo>
                    <a:pt x="345108" y="583974"/>
                  </a:lnTo>
                  <a:lnTo>
                    <a:pt x="343777" y="581947"/>
                  </a:lnTo>
                  <a:lnTo>
                    <a:pt x="344080" y="581040"/>
                  </a:lnTo>
                  <a:lnTo>
                    <a:pt x="343354" y="580041"/>
                  </a:lnTo>
                  <a:lnTo>
                    <a:pt x="341357" y="575382"/>
                  </a:lnTo>
                  <a:lnTo>
                    <a:pt x="340359" y="573870"/>
                  </a:lnTo>
                  <a:lnTo>
                    <a:pt x="340722" y="572932"/>
                  </a:lnTo>
                  <a:lnTo>
                    <a:pt x="340843" y="571994"/>
                  </a:lnTo>
                  <a:lnTo>
                    <a:pt x="340692" y="570996"/>
                  </a:lnTo>
                  <a:lnTo>
                    <a:pt x="340359" y="569907"/>
                  </a:lnTo>
                  <a:lnTo>
                    <a:pt x="340026" y="570149"/>
                  </a:lnTo>
                  <a:lnTo>
                    <a:pt x="339935" y="570149"/>
                  </a:lnTo>
                  <a:lnTo>
                    <a:pt x="339875" y="570240"/>
                  </a:lnTo>
                  <a:lnTo>
                    <a:pt x="339663" y="570633"/>
                  </a:lnTo>
                  <a:lnTo>
                    <a:pt x="339270" y="570118"/>
                  </a:lnTo>
                  <a:lnTo>
                    <a:pt x="338483" y="568878"/>
                  </a:lnTo>
                  <a:lnTo>
                    <a:pt x="338241" y="568303"/>
                  </a:lnTo>
                  <a:lnTo>
                    <a:pt x="338755" y="568303"/>
                  </a:lnTo>
                  <a:lnTo>
                    <a:pt x="339814" y="568243"/>
                  </a:lnTo>
                  <a:lnTo>
                    <a:pt x="340359" y="568303"/>
                  </a:lnTo>
                  <a:lnTo>
                    <a:pt x="339784" y="566247"/>
                  </a:lnTo>
                  <a:lnTo>
                    <a:pt x="338967" y="564310"/>
                  </a:lnTo>
                  <a:lnTo>
                    <a:pt x="339149" y="562949"/>
                  </a:lnTo>
                  <a:lnTo>
                    <a:pt x="336426" y="559289"/>
                  </a:lnTo>
                  <a:lnTo>
                    <a:pt x="335519" y="557231"/>
                  </a:lnTo>
                  <a:lnTo>
                    <a:pt x="337062" y="557837"/>
                  </a:lnTo>
                  <a:lnTo>
                    <a:pt x="337303" y="557262"/>
                  </a:lnTo>
                  <a:lnTo>
                    <a:pt x="336456" y="556324"/>
                  </a:lnTo>
                  <a:lnTo>
                    <a:pt x="334732" y="555749"/>
                  </a:lnTo>
                  <a:lnTo>
                    <a:pt x="335488" y="554902"/>
                  </a:lnTo>
                  <a:lnTo>
                    <a:pt x="334914" y="554630"/>
                  </a:lnTo>
                  <a:lnTo>
                    <a:pt x="334793" y="554509"/>
                  </a:lnTo>
                  <a:lnTo>
                    <a:pt x="335488" y="554116"/>
                  </a:lnTo>
                  <a:lnTo>
                    <a:pt x="335216" y="553692"/>
                  </a:lnTo>
                  <a:lnTo>
                    <a:pt x="335004" y="553390"/>
                  </a:lnTo>
                  <a:lnTo>
                    <a:pt x="334823" y="553057"/>
                  </a:lnTo>
                  <a:lnTo>
                    <a:pt x="334762" y="552512"/>
                  </a:lnTo>
                  <a:lnTo>
                    <a:pt x="333401" y="552966"/>
                  </a:lnTo>
                  <a:lnTo>
                    <a:pt x="331344" y="553208"/>
                  </a:lnTo>
                  <a:lnTo>
                    <a:pt x="329438" y="552845"/>
                  </a:lnTo>
                  <a:lnTo>
                    <a:pt x="328621" y="551393"/>
                  </a:lnTo>
                  <a:lnTo>
                    <a:pt x="328833" y="548398"/>
                  </a:lnTo>
                  <a:lnTo>
                    <a:pt x="329166" y="546886"/>
                  </a:lnTo>
                  <a:lnTo>
                    <a:pt x="329650" y="546220"/>
                  </a:lnTo>
                  <a:lnTo>
                    <a:pt x="330285" y="545645"/>
                  </a:lnTo>
                  <a:lnTo>
                    <a:pt x="329771" y="544435"/>
                  </a:lnTo>
                  <a:lnTo>
                    <a:pt x="328954" y="543316"/>
                  </a:lnTo>
                  <a:lnTo>
                    <a:pt x="328621" y="542983"/>
                  </a:lnTo>
                  <a:lnTo>
                    <a:pt x="325173" y="537296"/>
                  </a:lnTo>
                  <a:lnTo>
                    <a:pt x="324477" y="535178"/>
                  </a:lnTo>
                  <a:lnTo>
                    <a:pt x="322057" y="531185"/>
                  </a:lnTo>
                  <a:lnTo>
                    <a:pt x="320998" y="530247"/>
                  </a:lnTo>
                  <a:lnTo>
                    <a:pt x="320998" y="529461"/>
                  </a:lnTo>
                  <a:lnTo>
                    <a:pt x="321663" y="529461"/>
                  </a:lnTo>
                  <a:lnTo>
                    <a:pt x="321663" y="528735"/>
                  </a:lnTo>
                  <a:lnTo>
                    <a:pt x="320302" y="528735"/>
                  </a:lnTo>
                  <a:lnTo>
                    <a:pt x="320998" y="527071"/>
                  </a:lnTo>
                  <a:lnTo>
                    <a:pt x="320091" y="526526"/>
                  </a:lnTo>
                  <a:lnTo>
                    <a:pt x="314797" y="520748"/>
                  </a:lnTo>
                  <a:lnTo>
                    <a:pt x="314736" y="519599"/>
                  </a:lnTo>
                  <a:lnTo>
                    <a:pt x="315401" y="518056"/>
                  </a:lnTo>
                  <a:lnTo>
                    <a:pt x="315462" y="516876"/>
                  </a:lnTo>
                  <a:lnTo>
                    <a:pt x="314252" y="515969"/>
                  </a:lnTo>
                  <a:lnTo>
                    <a:pt x="314010" y="515636"/>
                  </a:lnTo>
                  <a:lnTo>
                    <a:pt x="314131" y="513427"/>
                  </a:lnTo>
                  <a:lnTo>
                    <a:pt x="314010" y="512853"/>
                  </a:lnTo>
                  <a:lnTo>
                    <a:pt x="313526" y="512096"/>
                  </a:lnTo>
                  <a:lnTo>
                    <a:pt x="312981" y="511612"/>
                  </a:lnTo>
                  <a:lnTo>
                    <a:pt x="312437" y="510917"/>
                  </a:lnTo>
                  <a:lnTo>
                    <a:pt x="312013" y="509646"/>
                  </a:lnTo>
                  <a:lnTo>
                    <a:pt x="312013" y="508980"/>
                  </a:lnTo>
                  <a:lnTo>
                    <a:pt x="312528" y="507619"/>
                  </a:lnTo>
                  <a:lnTo>
                    <a:pt x="312648" y="506863"/>
                  </a:lnTo>
                  <a:lnTo>
                    <a:pt x="312437" y="506137"/>
                  </a:lnTo>
                  <a:lnTo>
                    <a:pt x="311499" y="504745"/>
                  </a:lnTo>
                  <a:lnTo>
                    <a:pt x="311257" y="504140"/>
                  </a:lnTo>
                  <a:lnTo>
                    <a:pt x="311590" y="501266"/>
                  </a:lnTo>
                  <a:lnTo>
                    <a:pt x="312800" y="499572"/>
                  </a:lnTo>
                  <a:lnTo>
                    <a:pt x="314615" y="498544"/>
                  </a:lnTo>
                  <a:lnTo>
                    <a:pt x="316823" y="497727"/>
                  </a:lnTo>
                  <a:lnTo>
                    <a:pt x="317822" y="498665"/>
                  </a:lnTo>
                  <a:lnTo>
                    <a:pt x="318880" y="500117"/>
                  </a:lnTo>
                  <a:lnTo>
                    <a:pt x="318578" y="500964"/>
                  </a:lnTo>
                  <a:lnTo>
                    <a:pt x="319213" y="501932"/>
                  </a:lnTo>
                  <a:lnTo>
                    <a:pt x="320363" y="502809"/>
                  </a:lnTo>
                  <a:lnTo>
                    <a:pt x="321633" y="503323"/>
                  </a:lnTo>
                  <a:lnTo>
                    <a:pt x="321180" y="504473"/>
                  </a:lnTo>
                  <a:lnTo>
                    <a:pt x="320968" y="504897"/>
                  </a:lnTo>
                  <a:lnTo>
                    <a:pt x="323781" y="506590"/>
                  </a:lnTo>
                  <a:lnTo>
                    <a:pt x="324477" y="507316"/>
                  </a:lnTo>
                  <a:lnTo>
                    <a:pt x="326020" y="506076"/>
                  </a:lnTo>
                  <a:lnTo>
                    <a:pt x="327593" y="505199"/>
                  </a:lnTo>
                  <a:lnTo>
                    <a:pt x="329347" y="504987"/>
                  </a:lnTo>
                  <a:lnTo>
                    <a:pt x="331374" y="505774"/>
                  </a:lnTo>
                  <a:lnTo>
                    <a:pt x="330981" y="504897"/>
                  </a:lnTo>
                  <a:lnTo>
                    <a:pt x="330588" y="504534"/>
                  </a:lnTo>
                  <a:lnTo>
                    <a:pt x="329317" y="504201"/>
                  </a:lnTo>
                  <a:lnTo>
                    <a:pt x="330436" y="504201"/>
                  </a:lnTo>
                  <a:lnTo>
                    <a:pt x="331314" y="504352"/>
                  </a:lnTo>
                  <a:lnTo>
                    <a:pt x="332766" y="504897"/>
                  </a:lnTo>
                  <a:lnTo>
                    <a:pt x="332826" y="505138"/>
                  </a:lnTo>
                  <a:lnTo>
                    <a:pt x="332887" y="505592"/>
                  </a:lnTo>
                  <a:lnTo>
                    <a:pt x="333068" y="506107"/>
                  </a:lnTo>
                  <a:lnTo>
                    <a:pt x="333431" y="506470"/>
                  </a:lnTo>
                  <a:lnTo>
                    <a:pt x="333915" y="506530"/>
                  </a:lnTo>
                  <a:lnTo>
                    <a:pt x="335065" y="506349"/>
                  </a:lnTo>
                  <a:lnTo>
                    <a:pt x="335519" y="506470"/>
                  </a:lnTo>
                  <a:lnTo>
                    <a:pt x="337213" y="507982"/>
                  </a:lnTo>
                  <a:lnTo>
                    <a:pt x="338241" y="509495"/>
                  </a:lnTo>
                  <a:lnTo>
                    <a:pt x="339633" y="513670"/>
                  </a:lnTo>
                  <a:lnTo>
                    <a:pt x="340268" y="512580"/>
                  </a:lnTo>
                  <a:lnTo>
                    <a:pt x="341267" y="511854"/>
                  </a:lnTo>
                  <a:lnTo>
                    <a:pt x="343747" y="510493"/>
                  </a:lnTo>
                  <a:lnTo>
                    <a:pt x="345108" y="512883"/>
                  </a:lnTo>
                  <a:lnTo>
                    <a:pt x="343747" y="513670"/>
                  </a:lnTo>
                  <a:lnTo>
                    <a:pt x="345381" y="514214"/>
                  </a:lnTo>
                  <a:lnTo>
                    <a:pt x="348920" y="513367"/>
                  </a:lnTo>
                  <a:lnTo>
                    <a:pt x="350342" y="514002"/>
                  </a:lnTo>
                  <a:lnTo>
                    <a:pt x="351007" y="514456"/>
                  </a:lnTo>
                  <a:lnTo>
                    <a:pt x="351764" y="514637"/>
                  </a:lnTo>
                  <a:lnTo>
                    <a:pt x="352429" y="514940"/>
                  </a:lnTo>
                  <a:lnTo>
                    <a:pt x="352701" y="515636"/>
                  </a:lnTo>
                  <a:lnTo>
                    <a:pt x="352701" y="516695"/>
                  </a:lnTo>
                  <a:lnTo>
                    <a:pt x="352883" y="517421"/>
                  </a:lnTo>
                  <a:lnTo>
                    <a:pt x="353367" y="518479"/>
                  </a:lnTo>
                  <a:lnTo>
                    <a:pt x="353367" y="519205"/>
                  </a:lnTo>
                  <a:lnTo>
                    <a:pt x="352822" y="518812"/>
                  </a:lnTo>
                  <a:lnTo>
                    <a:pt x="350614" y="517632"/>
                  </a:lnTo>
                  <a:lnTo>
                    <a:pt x="350463" y="519357"/>
                  </a:lnTo>
                  <a:lnTo>
                    <a:pt x="349737" y="520990"/>
                  </a:lnTo>
                  <a:lnTo>
                    <a:pt x="348708" y="521837"/>
                  </a:lnTo>
                  <a:lnTo>
                    <a:pt x="347589" y="521263"/>
                  </a:lnTo>
                  <a:lnTo>
                    <a:pt x="346470" y="520506"/>
                  </a:lnTo>
                  <a:lnTo>
                    <a:pt x="346228" y="521928"/>
                  </a:lnTo>
                  <a:lnTo>
                    <a:pt x="346530" y="525588"/>
                  </a:lnTo>
                  <a:lnTo>
                    <a:pt x="346530" y="525831"/>
                  </a:lnTo>
                  <a:lnTo>
                    <a:pt x="347498" y="526375"/>
                  </a:lnTo>
                  <a:lnTo>
                    <a:pt x="348527" y="526375"/>
                  </a:lnTo>
                  <a:lnTo>
                    <a:pt x="349283" y="525588"/>
                  </a:lnTo>
                  <a:lnTo>
                    <a:pt x="351492" y="526920"/>
                  </a:lnTo>
                  <a:lnTo>
                    <a:pt x="352218" y="527706"/>
                  </a:lnTo>
                  <a:lnTo>
                    <a:pt x="352701" y="528795"/>
                  </a:lnTo>
                  <a:lnTo>
                    <a:pt x="350644" y="528009"/>
                  </a:lnTo>
                  <a:lnTo>
                    <a:pt x="351582" y="529340"/>
                  </a:lnTo>
                  <a:lnTo>
                    <a:pt x="352883" y="529461"/>
                  </a:lnTo>
                  <a:lnTo>
                    <a:pt x="354274" y="529219"/>
                  </a:lnTo>
                  <a:lnTo>
                    <a:pt x="355454" y="529521"/>
                  </a:lnTo>
                  <a:lnTo>
                    <a:pt x="355454" y="530308"/>
                  </a:lnTo>
                  <a:lnTo>
                    <a:pt x="353397" y="530308"/>
                  </a:lnTo>
                  <a:lnTo>
                    <a:pt x="353397" y="531094"/>
                  </a:lnTo>
                  <a:lnTo>
                    <a:pt x="354910" y="531851"/>
                  </a:lnTo>
                  <a:lnTo>
                    <a:pt x="356150" y="532274"/>
                  </a:lnTo>
                  <a:lnTo>
                    <a:pt x="357602" y="532274"/>
                  </a:lnTo>
                  <a:lnTo>
                    <a:pt x="359690" y="531911"/>
                  </a:lnTo>
                  <a:lnTo>
                    <a:pt x="358782" y="529975"/>
                  </a:lnTo>
                  <a:lnTo>
                    <a:pt x="357875" y="528463"/>
                  </a:lnTo>
                  <a:lnTo>
                    <a:pt x="357935" y="527464"/>
                  </a:lnTo>
                  <a:lnTo>
                    <a:pt x="359992" y="527101"/>
                  </a:lnTo>
                  <a:lnTo>
                    <a:pt x="363743" y="527252"/>
                  </a:lnTo>
                  <a:lnTo>
                    <a:pt x="365588" y="527071"/>
                  </a:lnTo>
                  <a:lnTo>
                    <a:pt x="367162" y="526405"/>
                  </a:lnTo>
                  <a:lnTo>
                    <a:pt x="365256" y="525649"/>
                  </a:lnTo>
                  <a:close/>
                </a:path>
              </a:pathLst>
            </a:custGeom>
            <a:solidFill>
              <a:srgbClr val="96A3AC"/>
            </a:solidFill>
            <a:ln w="3175" cap="rnd">
              <a:solidFill>
                <a:schemeClr val="bg1"/>
              </a:solidFill>
              <a:prstDash val="solid"/>
              <a:round/>
            </a:ln>
          </p:spPr>
          <p:txBody>
            <a:bodyPr rtlCol="0" anchor="ctr"/>
            <a:lstStyle/>
            <a:p>
              <a:endParaRPr lang="en-ID"/>
            </a:p>
          </p:txBody>
        </p:sp>
        <p:sp>
          <p:nvSpPr>
            <p:cNvPr id="48" name="Freeform: Shape 47">
              <a:extLst>
                <a:ext uri="{FF2B5EF4-FFF2-40B4-BE49-F238E27FC236}">
                  <a16:creationId xmlns:a16="http://schemas.microsoft.com/office/drawing/2014/main" id="{79DA4A18-E2D5-5C96-C03D-428B59F2530C}"/>
                </a:ext>
              </a:extLst>
            </p:cNvPr>
            <p:cNvSpPr/>
            <p:nvPr/>
          </p:nvSpPr>
          <p:spPr>
            <a:xfrm>
              <a:off x="7085921" y="2668078"/>
              <a:ext cx="1210175" cy="1475650"/>
            </a:xfrm>
            <a:custGeom>
              <a:avLst/>
              <a:gdLst>
                <a:gd name="connsiteX0" fmla="*/ 743943 w 1556920"/>
                <a:gd name="connsiteY0" fmla="*/ 1789826 h 1898459"/>
                <a:gd name="connsiteX1" fmla="*/ 743066 w 1556920"/>
                <a:gd name="connsiteY1" fmla="*/ 1791006 h 1898459"/>
                <a:gd name="connsiteX2" fmla="*/ 742884 w 1556920"/>
                <a:gd name="connsiteY2" fmla="*/ 1792972 h 1898459"/>
                <a:gd name="connsiteX3" fmla="*/ 744095 w 1556920"/>
                <a:gd name="connsiteY3" fmla="*/ 1793547 h 1898459"/>
                <a:gd name="connsiteX4" fmla="*/ 745063 w 1556920"/>
                <a:gd name="connsiteY4" fmla="*/ 1792912 h 1898459"/>
                <a:gd name="connsiteX5" fmla="*/ 745395 w 1556920"/>
                <a:gd name="connsiteY5" fmla="*/ 1791641 h 1898459"/>
                <a:gd name="connsiteX6" fmla="*/ 744579 w 1556920"/>
                <a:gd name="connsiteY6" fmla="*/ 1790310 h 1898459"/>
                <a:gd name="connsiteX7" fmla="*/ 743913 w 1556920"/>
                <a:gd name="connsiteY7" fmla="*/ 1789826 h 1898459"/>
                <a:gd name="connsiteX8" fmla="*/ 740434 w 1556920"/>
                <a:gd name="connsiteY8" fmla="*/ 1786347 h 1898459"/>
                <a:gd name="connsiteX9" fmla="*/ 740101 w 1556920"/>
                <a:gd name="connsiteY9" fmla="*/ 1786166 h 1898459"/>
                <a:gd name="connsiteX10" fmla="*/ 739617 w 1556920"/>
                <a:gd name="connsiteY10" fmla="*/ 1785803 h 1898459"/>
                <a:gd name="connsiteX11" fmla="*/ 738891 w 1556920"/>
                <a:gd name="connsiteY11" fmla="*/ 1785712 h 1898459"/>
                <a:gd name="connsiteX12" fmla="*/ 738982 w 1556920"/>
                <a:gd name="connsiteY12" fmla="*/ 1786862 h 1898459"/>
                <a:gd name="connsiteX13" fmla="*/ 739678 w 1556920"/>
                <a:gd name="connsiteY13" fmla="*/ 1788495 h 1898459"/>
                <a:gd name="connsiteX14" fmla="*/ 740555 w 1556920"/>
                <a:gd name="connsiteY14" fmla="*/ 1788949 h 1898459"/>
                <a:gd name="connsiteX15" fmla="*/ 741160 w 1556920"/>
                <a:gd name="connsiteY15" fmla="*/ 1787860 h 1898459"/>
                <a:gd name="connsiteX16" fmla="*/ 741009 w 1556920"/>
                <a:gd name="connsiteY16" fmla="*/ 1786801 h 1898459"/>
                <a:gd name="connsiteX17" fmla="*/ 740434 w 1556920"/>
                <a:gd name="connsiteY17" fmla="*/ 1786347 h 1898459"/>
                <a:gd name="connsiteX18" fmla="*/ 1268533 w 1556920"/>
                <a:gd name="connsiteY18" fmla="*/ 1677170 h 1898459"/>
                <a:gd name="connsiteX19" fmla="*/ 1267656 w 1556920"/>
                <a:gd name="connsiteY19" fmla="*/ 1677381 h 1898459"/>
                <a:gd name="connsiteX20" fmla="*/ 1267384 w 1556920"/>
                <a:gd name="connsiteY20" fmla="*/ 1677261 h 1898459"/>
                <a:gd name="connsiteX21" fmla="*/ 1267323 w 1556920"/>
                <a:gd name="connsiteY21" fmla="*/ 1676867 h 1898459"/>
                <a:gd name="connsiteX22" fmla="*/ 1267444 w 1556920"/>
                <a:gd name="connsiteY22" fmla="*/ 1675657 h 1898459"/>
                <a:gd name="connsiteX23" fmla="*/ 1267384 w 1556920"/>
                <a:gd name="connsiteY23" fmla="*/ 1675294 h 1898459"/>
                <a:gd name="connsiteX24" fmla="*/ 1266174 w 1556920"/>
                <a:gd name="connsiteY24" fmla="*/ 1674417 h 1898459"/>
                <a:gd name="connsiteX25" fmla="*/ 1265115 w 1556920"/>
                <a:gd name="connsiteY25" fmla="*/ 1674236 h 1898459"/>
                <a:gd name="connsiteX26" fmla="*/ 1262634 w 1556920"/>
                <a:gd name="connsiteY26" fmla="*/ 1674296 h 1898459"/>
                <a:gd name="connsiteX27" fmla="*/ 1247388 w 1556920"/>
                <a:gd name="connsiteY27" fmla="*/ 1668548 h 1898459"/>
                <a:gd name="connsiteX28" fmla="*/ 1245089 w 1556920"/>
                <a:gd name="connsiteY28" fmla="*/ 1668699 h 1898459"/>
                <a:gd name="connsiteX29" fmla="*/ 1242578 w 1556920"/>
                <a:gd name="connsiteY29" fmla="*/ 1670333 h 1898459"/>
                <a:gd name="connsiteX30" fmla="*/ 1239159 w 1556920"/>
                <a:gd name="connsiteY30" fmla="*/ 1674266 h 1898459"/>
                <a:gd name="connsiteX31" fmla="*/ 1236800 w 1556920"/>
                <a:gd name="connsiteY31" fmla="*/ 1676020 h 1898459"/>
                <a:gd name="connsiteX32" fmla="*/ 1234349 w 1556920"/>
                <a:gd name="connsiteY32" fmla="*/ 1676292 h 1898459"/>
                <a:gd name="connsiteX33" fmla="*/ 1234531 w 1556920"/>
                <a:gd name="connsiteY33" fmla="*/ 1675778 h 1898459"/>
                <a:gd name="connsiteX34" fmla="*/ 1234773 w 1556920"/>
                <a:gd name="connsiteY34" fmla="*/ 1674810 h 1898459"/>
                <a:gd name="connsiteX35" fmla="*/ 1234985 w 1556920"/>
                <a:gd name="connsiteY35" fmla="*/ 1674326 h 1898459"/>
                <a:gd name="connsiteX36" fmla="*/ 1226212 w 1556920"/>
                <a:gd name="connsiteY36" fmla="*/ 1678138 h 1898459"/>
                <a:gd name="connsiteX37" fmla="*/ 1222249 w 1556920"/>
                <a:gd name="connsiteY37" fmla="*/ 1681284 h 1898459"/>
                <a:gd name="connsiteX38" fmla="*/ 1219829 w 1556920"/>
                <a:gd name="connsiteY38" fmla="*/ 1685398 h 1898459"/>
                <a:gd name="connsiteX39" fmla="*/ 1221644 w 1556920"/>
                <a:gd name="connsiteY39" fmla="*/ 1684370 h 1898459"/>
                <a:gd name="connsiteX40" fmla="*/ 1223307 w 1556920"/>
                <a:gd name="connsiteY40" fmla="*/ 1683735 h 1898459"/>
                <a:gd name="connsiteX41" fmla="*/ 1227089 w 1556920"/>
                <a:gd name="connsiteY41" fmla="*/ 1683311 h 1898459"/>
                <a:gd name="connsiteX42" fmla="*/ 1228238 w 1556920"/>
                <a:gd name="connsiteY42" fmla="*/ 1683735 h 1898459"/>
                <a:gd name="connsiteX43" fmla="*/ 1231566 w 1556920"/>
                <a:gd name="connsiteY43" fmla="*/ 1685943 h 1898459"/>
                <a:gd name="connsiteX44" fmla="*/ 1232262 w 1556920"/>
                <a:gd name="connsiteY44" fmla="*/ 1686820 h 1898459"/>
                <a:gd name="connsiteX45" fmla="*/ 1245391 w 1556920"/>
                <a:gd name="connsiteY45" fmla="*/ 1695412 h 1898459"/>
                <a:gd name="connsiteX46" fmla="*/ 1249051 w 1556920"/>
                <a:gd name="connsiteY46" fmla="*/ 1696379 h 1898459"/>
                <a:gd name="connsiteX47" fmla="*/ 1260214 w 1556920"/>
                <a:gd name="connsiteY47" fmla="*/ 1693324 h 1898459"/>
                <a:gd name="connsiteX48" fmla="*/ 1260547 w 1556920"/>
                <a:gd name="connsiteY48" fmla="*/ 1692628 h 1898459"/>
                <a:gd name="connsiteX49" fmla="*/ 1260638 w 1556920"/>
                <a:gd name="connsiteY49" fmla="*/ 1690995 h 1898459"/>
                <a:gd name="connsiteX50" fmla="*/ 1260577 w 1556920"/>
                <a:gd name="connsiteY50" fmla="*/ 1687849 h 1898459"/>
                <a:gd name="connsiteX51" fmla="*/ 1260819 w 1556920"/>
                <a:gd name="connsiteY51" fmla="*/ 1687123 h 1898459"/>
                <a:gd name="connsiteX52" fmla="*/ 1261394 w 1556920"/>
                <a:gd name="connsiteY52" fmla="*/ 1686427 h 1898459"/>
                <a:gd name="connsiteX53" fmla="*/ 1264177 w 1556920"/>
                <a:gd name="connsiteY53" fmla="*/ 1684128 h 1898459"/>
                <a:gd name="connsiteX54" fmla="*/ 1265780 w 1556920"/>
                <a:gd name="connsiteY54" fmla="*/ 1683402 h 1898459"/>
                <a:gd name="connsiteX55" fmla="*/ 1269532 w 1556920"/>
                <a:gd name="connsiteY55" fmla="*/ 1682373 h 1898459"/>
                <a:gd name="connsiteX56" fmla="*/ 1269864 w 1556920"/>
                <a:gd name="connsiteY56" fmla="*/ 1682010 h 1898459"/>
                <a:gd name="connsiteX57" fmla="*/ 1270107 w 1556920"/>
                <a:gd name="connsiteY57" fmla="*/ 1681617 h 1898459"/>
                <a:gd name="connsiteX58" fmla="*/ 1270379 w 1556920"/>
                <a:gd name="connsiteY58" fmla="*/ 1681375 h 1898459"/>
                <a:gd name="connsiteX59" fmla="*/ 1270833 w 1556920"/>
                <a:gd name="connsiteY59" fmla="*/ 1681375 h 1898459"/>
                <a:gd name="connsiteX60" fmla="*/ 1270833 w 1556920"/>
                <a:gd name="connsiteY60" fmla="*/ 1680256 h 1898459"/>
                <a:gd name="connsiteX61" fmla="*/ 1268775 w 1556920"/>
                <a:gd name="connsiteY61" fmla="*/ 1677261 h 1898459"/>
                <a:gd name="connsiteX62" fmla="*/ 1268503 w 1556920"/>
                <a:gd name="connsiteY62" fmla="*/ 1677170 h 1898459"/>
                <a:gd name="connsiteX63" fmla="*/ 1281723 w 1556920"/>
                <a:gd name="connsiteY63" fmla="*/ 1664797 h 1898459"/>
                <a:gd name="connsiteX64" fmla="*/ 1281178 w 1556920"/>
                <a:gd name="connsiteY64" fmla="*/ 1664313 h 1898459"/>
                <a:gd name="connsiteX65" fmla="*/ 1281178 w 1556920"/>
                <a:gd name="connsiteY65" fmla="*/ 1663405 h 1898459"/>
                <a:gd name="connsiteX66" fmla="*/ 1282026 w 1556920"/>
                <a:gd name="connsiteY66" fmla="*/ 1662800 h 1898459"/>
                <a:gd name="connsiteX67" fmla="*/ 1282389 w 1556920"/>
                <a:gd name="connsiteY67" fmla="*/ 1662014 h 1898459"/>
                <a:gd name="connsiteX68" fmla="*/ 1282147 w 1556920"/>
                <a:gd name="connsiteY68" fmla="*/ 1661136 h 1898459"/>
                <a:gd name="connsiteX69" fmla="*/ 1281178 w 1556920"/>
                <a:gd name="connsiteY69" fmla="*/ 1660320 h 1898459"/>
                <a:gd name="connsiteX70" fmla="*/ 1279908 w 1556920"/>
                <a:gd name="connsiteY70" fmla="*/ 1660259 h 1898459"/>
                <a:gd name="connsiteX71" fmla="*/ 1277276 w 1556920"/>
                <a:gd name="connsiteY71" fmla="*/ 1664464 h 1898459"/>
                <a:gd name="connsiteX72" fmla="*/ 1275068 w 1556920"/>
                <a:gd name="connsiteY72" fmla="*/ 1665341 h 1898459"/>
                <a:gd name="connsiteX73" fmla="*/ 1275068 w 1556920"/>
                <a:gd name="connsiteY73" fmla="*/ 1666310 h 1898459"/>
                <a:gd name="connsiteX74" fmla="*/ 1283296 w 1556920"/>
                <a:gd name="connsiteY74" fmla="*/ 1667429 h 1898459"/>
                <a:gd name="connsiteX75" fmla="*/ 1283296 w 1556920"/>
                <a:gd name="connsiteY75" fmla="*/ 1666310 h 1898459"/>
                <a:gd name="connsiteX76" fmla="*/ 1282631 w 1556920"/>
                <a:gd name="connsiteY76" fmla="*/ 1665826 h 1898459"/>
                <a:gd name="connsiteX77" fmla="*/ 1281723 w 1556920"/>
                <a:gd name="connsiteY77" fmla="*/ 1664827 h 1898459"/>
                <a:gd name="connsiteX78" fmla="*/ 908481 w 1556920"/>
                <a:gd name="connsiteY78" fmla="*/ 1611101 h 1898459"/>
                <a:gd name="connsiteX79" fmla="*/ 908420 w 1556920"/>
                <a:gd name="connsiteY79" fmla="*/ 1609285 h 1898459"/>
                <a:gd name="connsiteX80" fmla="*/ 908269 w 1556920"/>
                <a:gd name="connsiteY80" fmla="*/ 1608318 h 1898459"/>
                <a:gd name="connsiteX81" fmla="*/ 908118 w 1556920"/>
                <a:gd name="connsiteY81" fmla="*/ 1607713 h 1898459"/>
                <a:gd name="connsiteX82" fmla="*/ 907694 w 1556920"/>
                <a:gd name="connsiteY82" fmla="*/ 1606623 h 1898459"/>
                <a:gd name="connsiteX83" fmla="*/ 907180 w 1556920"/>
                <a:gd name="connsiteY83" fmla="*/ 1606896 h 1898459"/>
                <a:gd name="connsiteX84" fmla="*/ 906847 w 1556920"/>
                <a:gd name="connsiteY84" fmla="*/ 1608741 h 1898459"/>
                <a:gd name="connsiteX85" fmla="*/ 906968 w 1556920"/>
                <a:gd name="connsiteY85" fmla="*/ 1610738 h 1898459"/>
                <a:gd name="connsiteX86" fmla="*/ 907785 w 1556920"/>
                <a:gd name="connsiteY86" fmla="*/ 1611766 h 1898459"/>
                <a:gd name="connsiteX87" fmla="*/ 908481 w 1556920"/>
                <a:gd name="connsiteY87" fmla="*/ 1611071 h 1898459"/>
                <a:gd name="connsiteX88" fmla="*/ 1468404 w 1556920"/>
                <a:gd name="connsiteY88" fmla="*/ 1573770 h 1898459"/>
                <a:gd name="connsiteX89" fmla="*/ 1467437 w 1556920"/>
                <a:gd name="connsiteY89" fmla="*/ 1573256 h 1898459"/>
                <a:gd name="connsiteX90" fmla="*/ 1454973 w 1556920"/>
                <a:gd name="connsiteY90" fmla="*/ 1569263 h 1898459"/>
                <a:gd name="connsiteX91" fmla="*/ 1453672 w 1556920"/>
                <a:gd name="connsiteY91" fmla="*/ 1569596 h 1898459"/>
                <a:gd name="connsiteX92" fmla="*/ 1452946 w 1556920"/>
                <a:gd name="connsiteY92" fmla="*/ 1570473 h 1898459"/>
                <a:gd name="connsiteX93" fmla="*/ 1451645 w 1556920"/>
                <a:gd name="connsiteY93" fmla="*/ 1574557 h 1898459"/>
                <a:gd name="connsiteX94" fmla="*/ 1452613 w 1556920"/>
                <a:gd name="connsiteY94" fmla="*/ 1576342 h 1898459"/>
                <a:gd name="connsiteX95" fmla="*/ 1454035 w 1556920"/>
                <a:gd name="connsiteY95" fmla="*/ 1578369 h 1898459"/>
                <a:gd name="connsiteX96" fmla="*/ 1455790 w 1556920"/>
                <a:gd name="connsiteY96" fmla="*/ 1580002 h 1898459"/>
                <a:gd name="connsiteX97" fmla="*/ 1457786 w 1556920"/>
                <a:gd name="connsiteY97" fmla="*/ 1580698 h 1898459"/>
                <a:gd name="connsiteX98" fmla="*/ 1469524 w 1556920"/>
                <a:gd name="connsiteY98" fmla="*/ 1581606 h 1898459"/>
                <a:gd name="connsiteX99" fmla="*/ 1472035 w 1556920"/>
                <a:gd name="connsiteY99" fmla="*/ 1580637 h 1898459"/>
                <a:gd name="connsiteX100" fmla="*/ 1472609 w 1556920"/>
                <a:gd name="connsiteY100" fmla="*/ 1578853 h 1898459"/>
                <a:gd name="connsiteX101" fmla="*/ 1471642 w 1556920"/>
                <a:gd name="connsiteY101" fmla="*/ 1576675 h 1898459"/>
                <a:gd name="connsiteX102" fmla="*/ 1469524 w 1556920"/>
                <a:gd name="connsiteY102" fmla="*/ 1574527 h 1898459"/>
                <a:gd name="connsiteX103" fmla="*/ 1468435 w 1556920"/>
                <a:gd name="connsiteY103" fmla="*/ 1573740 h 1898459"/>
                <a:gd name="connsiteX104" fmla="*/ 917163 w 1556920"/>
                <a:gd name="connsiteY104" fmla="*/ 1293279 h 1898459"/>
                <a:gd name="connsiteX105" fmla="*/ 916800 w 1556920"/>
                <a:gd name="connsiteY105" fmla="*/ 1291192 h 1898459"/>
                <a:gd name="connsiteX106" fmla="*/ 915832 w 1556920"/>
                <a:gd name="connsiteY106" fmla="*/ 1289316 h 1898459"/>
                <a:gd name="connsiteX107" fmla="*/ 914471 w 1556920"/>
                <a:gd name="connsiteY107" fmla="*/ 1287683 h 1898459"/>
                <a:gd name="connsiteX108" fmla="*/ 912958 w 1556920"/>
                <a:gd name="connsiteY108" fmla="*/ 1286291 h 1898459"/>
                <a:gd name="connsiteX109" fmla="*/ 912202 w 1556920"/>
                <a:gd name="connsiteY109" fmla="*/ 1285686 h 1898459"/>
                <a:gd name="connsiteX110" fmla="*/ 910417 w 1556920"/>
                <a:gd name="connsiteY110" fmla="*/ 1285898 h 1898459"/>
                <a:gd name="connsiteX111" fmla="*/ 909267 w 1556920"/>
                <a:gd name="connsiteY111" fmla="*/ 1285898 h 1898459"/>
                <a:gd name="connsiteX112" fmla="*/ 908088 w 1556920"/>
                <a:gd name="connsiteY112" fmla="*/ 1285202 h 1898459"/>
                <a:gd name="connsiteX113" fmla="*/ 905425 w 1556920"/>
                <a:gd name="connsiteY113" fmla="*/ 1287411 h 1898459"/>
                <a:gd name="connsiteX114" fmla="*/ 905425 w 1556920"/>
                <a:gd name="connsiteY114" fmla="*/ 1288469 h 1898459"/>
                <a:gd name="connsiteX115" fmla="*/ 907150 w 1556920"/>
                <a:gd name="connsiteY115" fmla="*/ 1291222 h 1898459"/>
                <a:gd name="connsiteX116" fmla="*/ 907785 w 1556920"/>
                <a:gd name="connsiteY116" fmla="*/ 1291555 h 1898459"/>
                <a:gd name="connsiteX117" fmla="*/ 910719 w 1556920"/>
                <a:gd name="connsiteY117" fmla="*/ 1291343 h 1898459"/>
                <a:gd name="connsiteX118" fmla="*/ 911597 w 1556920"/>
                <a:gd name="connsiteY118" fmla="*/ 1291555 h 1898459"/>
                <a:gd name="connsiteX119" fmla="*/ 912595 w 1556920"/>
                <a:gd name="connsiteY119" fmla="*/ 1292644 h 1898459"/>
                <a:gd name="connsiteX120" fmla="*/ 914652 w 1556920"/>
                <a:gd name="connsiteY120" fmla="*/ 1296183 h 1898459"/>
                <a:gd name="connsiteX121" fmla="*/ 916709 w 1556920"/>
                <a:gd name="connsiteY121" fmla="*/ 1297908 h 1898459"/>
                <a:gd name="connsiteX122" fmla="*/ 917707 w 1556920"/>
                <a:gd name="connsiteY122" fmla="*/ 1298301 h 1898459"/>
                <a:gd name="connsiteX123" fmla="*/ 918524 w 1556920"/>
                <a:gd name="connsiteY123" fmla="*/ 1297908 h 1898459"/>
                <a:gd name="connsiteX124" fmla="*/ 919039 w 1556920"/>
                <a:gd name="connsiteY124" fmla="*/ 1296244 h 1898459"/>
                <a:gd name="connsiteX125" fmla="*/ 918494 w 1556920"/>
                <a:gd name="connsiteY125" fmla="*/ 1295064 h 1898459"/>
                <a:gd name="connsiteX126" fmla="*/ 917617 w 1556920"/>
                <a:gd name="connsiteY126" fmla="*/ 1294126 h 1898459"/>
                <a:gd name="connsiteX127" fmla="*/ 917163 w 1556920"/>
                <a:gd name="connsiteY127" fmla="*/ 1293249 h 1898459"/>
                <a:gd name="connsiteX128" fmla="*/ 948140 w 1556920"/>
                <a:gd name="connsiteY128" fmla="*/ 1277034 h 1898459"/>
                <a:gd name="connsiteX129" fmla="*/ 947898 w 1556920"/>
                <a:gd name="connsiteY129" fmla="*/ 1275189 h 1898459"/>
                <a:gd name="connsiteX130" fmla="*/ 947414 w 1556920"/>
                <a:gd name="connsiteY130" fmla="*/ 1273344 h 1898459"/>
                <a:gd name="connsiteX131" fmla="*/ 946446 w 1556920"/>
                <a:gd name="connsiteY131" fmla="*/ 1272496 h 1898459"/>
                <a:gd name="connsiteX132" fmla="*/ 942604 w 1556920"/>
                <a:gd name="connsiteY132" fmla="*/ 1270469 h 1898459"/>
                <a:gd name="connsiteX133" fmla="*/ 940729 w 1556920"/>
                <a:gd name="connsiteY133" fmla="*/ 1270379 h 1898459"/>
                <a:gd name="connsiteX134" fmla="*/ 933741 w 1556920"/>
                <a:gd name="connsiteY134" fmla="*/ 1269320 h 1898459"/>
                <a:gd name="connsiteX135" fmla="*/ 932500 w 1556920"/>
                <a:gd name="connsiteY135" fmla="*/ 1269320 h 1898459"/>
                <a:gd name="connsiteX136" fmla="*/ 919613 w 1556920"/>
                <a:gd name="connsiteY136" fmla="*/ 1273404 h 1898459"/>
                <a:gd name="connsiteX137" fmla="*/ 917829 w 1556920"/>
                <a:gd name="connsiteY137" fmla="*/ 1274614 h 1898459"/>
                <a:gd name="connsiteX138" fmla="*/ 918857 w 1556920"/>
                <a:gd name="connsiteY138" fmla="*/ 1276943 h 1898459"/>
                <a:gd name="connsiteX139" fmla="*/ 919069 w 1556920"/>
                <a:gd name="connsiteY139" fmla="*/ 1279182 h 1898459"/>
                <a:gd name="connsiteX140" fmla="*/ 918555 w 1556920"/>
                <a:gd name="connsiteY140" fmla="*/ 1284325 h 1898459"/>
                <a:gd name="connsiteX141" fmla="*/ 918555 w 1556920"/>
                <a:gd name="connsiteY141" fmla="*/ 1287713 h 1898459"/>
                <a:gd name="connsiteX142" fmla="*/ 918403 w 1556920"/>
                <a:gd name="connsiteY142" fmla="*/ 1290073 h 1898459"/>
                <a:gd name="connsiteX143" fmla="*/ 917829 w 1556920"/>
                <a:gd name="connsiteY143" fmla="*/ 1291616 h 1898459"/>
                <a:gd name="connsiteX144" fmla="*/ 917829 w 1556920"/>
                <a:gd name="connsiteY144" fmla="*/ 1292765 h 1898459"/>
                <a:gd name="connsiteX145" fmla="*/ 919644 w 1556920"/>
                <a:gd name="connsiteY145" fmla="*/ 1294852 h 1898459"/>
                <a:gd name="connsiteX146" fmla="*/ 922971 w 1556920"/>
                <a:gd name="connsiteY146" fmla="*/ 1300872 h 1898459"/>
                <a:gd name="connsiteX147" fmla="*/ 924998 w 1556920"/>
                <a:gd name="connsiteY147" fmla="*/ 1302657 h 1898459"/>
                <a:gd name="connsiteX148" fmla="*/ 925331 w 1556920"/>
                <a:gd name="connsiteY148" fmla="*/ 1303807 h 1898459"/>
                <a:gd name="connsiteX149" fmla="*/ 925452 w 1556920"/>
                <a:gd name="connsiteY149" fmla="*/ 1304926 h 1898459"/>
                <a:gd name="connsiteX150" fmla="*/ 925452 w 1556920"/>
                <a:gd name="connsiteY150" fmla="*/ 1305380 h 1898459"/>
                <a:gd name="connsiteX151" fmla="*/ 925512 w 1556920"/>
                <a:gd name="connsiteY151" fmla="*/ 1305773 h 1898459"/>
                <a:gd name="connsiteX152" fmla="*/ 925361 w 1556920"/>
                <a:gd name="connsiteY152" fmla="*/ 1307044 h 1898459"/>
                <a:gd name="connsiteX153" fmla="*/ 925422 w 1556920"/>
                <a:gd name="connsiteY153" fmla="*/ 1307467 h 1898459"/>
                <a:gd name="connsiteX154" fmla="*/ 925724 w 1556920"/>
                <a:gd name="connsiteY154" fmla="*/ 1307558 h 1898459"/>
                <a:gd name="connsiteX155" fmla="*/ 926541 w 1556920"/>
                <a:gd name="connsiteY155" fmla="*/ 1307376 h 1898459"/>
                <a:gd name="connsiteX156" fmla="*/ 926813 w 1556920"/>
                <a:gd name="connsiteY156" fmla="*/ 1307467 h 1898459"/>
                <a:gd name="connsiteX157" fmla="*/ 930141 w 1556920"/>
                <a:gd name="connsiteY157" fmla="*/ 1310129 h 1898459"/>
                <a:gd name="connsiteX158" fmla="*/ 930232 w 1556920"/>
                <a:gd name="connsiteY158" fmla="*/ 1310613 h 1898459"/>
                <a:gd name="connsiteX159" fmla="*/ 931714 w 1556920"/>
                <a:gd name="connsiteY159" fmla="*/ 1310069 h 1898459"/>
                <a:gd name="connsiteX160" fmla="*/ 933922 w 1556920"/>
                <a:gd name="connsiteY160" fmla="*/ 1307104 h 1898459"/>
                <a:gd name="connsiteX161" fmla="*/ 935435 w 1556920"/>
                <a:gd name="connsiteY161" fmla="*/ 1306408 h 1898459"/>
                <a:gd name="connsiteX162" fmla="*/ 936494 w 1556920"/>
                <a:gd name="connsiteY162" fmla="*/ 1307074 h 1898459"/>
                <a:gd name="connsiteX163" fmla="*/ 935949 w 1556920"/>
                <a:gd name="connsiteY163" fmla="*/ 1308496 h 1898459"/>
                <a:gd name="connsiteX164" fmla="*/ 934769 w 1556920"/>
                <a:gd name="connsiteY164" fmla="*/ 1309948 h 1898459"/>
                <a:gd name="connsiteX165" fmla="*/ 933983 w 1556920"/>
                <a:gd name="connsiteY165" fmla="*/ 1310613 h 1898459"/>
                <a:gd name="connsiteX166" fmla="*/ 933771 w 1556920"/>
                <a:gd name="connsiteY166" fmla="*/ 1311188 h 1898459"/>
                <a:gd name="connsiteX167" fmla="*/ 933589 w 1556920"/>
                <a:gd name="connsiteY167" fmla="*/ 1312489 h 1898459"/>
                <a:gd name="connsiteX168" fmla="*/ 933529 w 1556920"/>
                <a:gd name="connsiteY168" fmla="*/ 1313911 h 1898459"/>
                <a:gd name="connsiteX169" fmla="*/ 933680 w 1556920"/>
                <a:gd name="connsiteY169" fmla="*/ 1314818 h 1898459"/>
                <a:gd name="connsiteX170" fmla="*/ 934316 w 1556920"/>
                <a:gd name="connsiteY170" fmla="*/ 1315060 h 1898459"/>
                <a:gd name="connsiteX171" fmla="*/ 935102 w 1556920"/>
                <a:gd name="connsiteY171" fmla="*/ 1314727 h 1898459"/>
                <a:gd name="connsiteX172" fmla="*/ 935707 w 1556920"/>
                <a:gd name="connsiteY172" fmla="*/ 1314213 h 1898459"/>
                <a:gd name="connsiteX173" fmla="*/ 935707 w 1556920"/>
                <a:gd name="connsiteY173" fmla="*/ 1313850 h 1898459"/>
                <a:gd name="connsiteX174" fmla="*/ 938309 w 1556920"/>
                <a:gd name="connsiteY174" fmla="*/ 1314909 h 1898459"/>
                <a:gd name="connsiteX175" fmla="*/ 939549 w 1556920"/>
                <a:gd name="connsiteY175" fmla="*/ 1315151 h 1898459"/>
                <a:gd name="connsiteX176" fmla="*/ 940608 w 1556920"/>
                <a:gd name="connsiteY176" fmla="*/ 1314818 h 1898459"/>
                <a:gd name="connsiteX177" fmla="*/ 947021 w 1556920"/>
                <a:gd name="connsiteY177" fmla="*/ 1311279 h 1898459"/>
                <a:gd name="connsiteX178" fmla="*/ 948594 w 1556920"/>
                <a:gd name="connsiteY178" fmla="*/ 1309433 h 1898459"/>
                <a:gd name="connsiteX179" fmla="*/ 952134 w 1556920"/>
                <a:gd name="connsiteY179" fmla="*/ 1307074 h 1898459"/>
                <a:gd name="connsiteX180" fmla="*/ 952557 w 1556920"/>
                <a:gd name="connsiteY180" fmla="*/ 1307225 h 1898459"/>
                <a:gd name="connsiteX181" fmla="*/ 952860 w 1556920"/>
                <a:gd name="connsiteY181" fmla="*/ 1307104 h 1898459"/>
                <a:gd name="connsiteX182" fmla="*/ 952950 w 1556920"/>
                <a:gd name="connsiteY182" fmla="*/ 1305864 h 1898459"/>
                <a:gd name="connsiteX183" fmla="*/ 952950 w 1556920"/>
                <a:gd name="connsiteY183" fmla="*/ 1304745 h 1898459"/>
                <a:gd name="connsiteX184" fmla="*/ 953011 w 1556920"/>
                <a:gd name="connsiteY184" fmla="*/ 1304109 h 1898459"/>
                <a:gd name="connsiteX185" fmla="*/ 953192 w 1556920"/>
                <a:gd name="connsiteY185" fmla="*/ 1303716 h 1898459"/>
                <a:gd name="connsiteX186" fmla="*/ 953555 w 1556920"/>
                <a:gd name="connsiteY186" fmla="*/ 1303202 h 1898459"/>
                <a:gd name="connsiteX187" fmla="*/ 955492 w 1556920"/>
                <a:gd name="connsiteY187" fmla="*/ 1301205 h 1898459"/>
                <a:gd name="connsiteX188" fmla="*/ 957881 w 1556920"/>
                <a:gd name="connsiteY188" fmla="*/ 1299481 h 1898459"/>
                <a:gd name="connsiteX189" fmla="*/ 960423 w 1556920"/>
                <a:gd name="connsiteY189" fmla="*/ 1298301 h 1898459"/>
                <a:gd name="connsiteX190" fmla="*/ 962903 w 1556920"/>
                <a:gd name="connsiteY190" fmla="*/ 1297877 h 1898459"/>
                <a:gd name="connsiteX191" fmla="*/ 965323 w 1556920"/>
                <a:gd name="connsiteY191" fmla="*/ 1296607 h 1898459"/>
                <a:gd name="connsiteX192" fmla="*/ 968802 w 1556920"/>
                <a:gd name="connsiteY192" fmla="*/ 1290556 h 1898459"/>
                <a:gd name="connsiteX193" fmla="*/ 970859 w 1556920"/>
                <a:gd name="connsiteY193" fmla="*/ 1288469 h 1898459"/>
                <a:gd name="connsiteX194" fmla="*/ 969649 w 1556920"/>
                <a:gd name="connsiteY194" fmla="*/ 1287592 h 1898459"/>
                <a:gd name="connsiteX195" fmla="*/ 968258 w 1556920"/>
                <a:gd name="connsiteY195" fmla="*/ 1287289 h 1898459"/>
                <a:gd name="connsiteX196" fmla="*/ 965323 w 1556920"/>
                <a:gd name="connsiteY196" fmla="*/ 1287411 h 1898459"/>
                <a:gd name="connsiteX197" fmla="*/ 964869 w 1556920"/>
                <a:gd name="connsiteY197" fmla="*/ 1287229 h 1898459"/>
                <a:gd name="connsiteX198" fmla="*/ 963599 w 1556920"/>
                <a:gd name="connsiteY198" fmla="*/ 1286442 h 1898459"/>
                <a:gd name="connsiteX199" fmla="*/ 962903 w 1556920"/>
                <a:gd name="connsiteY199" fmla="*/ 1286261 h 1898459"/>
                <a:gd name="connsiteX200" fmla="*/ 962328 w 1556920"/>
                <a:gd name="connsiteY200" fmla="*/ 1286624 h 1898459"/>
                <a:gd name="connsiteX201" fmla="*/ 961421 w 1556920"/>
                <a:gd name="connsiteY201" fmla="*/ 1288137 h 1898459"/>
                <a:gd name="connsiteX202" fmla="*/ 960816 w 1556920"/>
                <a:gd name="connsiteY202" fmla="*/ 1288500 h 1898459"/>
                <a:gd name="connsiteX203" fmla="*/ 959575 w 1556920"/>
                <a:gd name="connsiteY203" fmla="*/ 1288651 h 1898459"/>
                <a:gd name="connsiteX204" fmla="*/ 957276 w 1556920"/>
                <a:gd name="connsiteY204" fmla="*/ 1289316 h 1898459"/>
                <a:gd name="connsiteX205" fmla="*/ 956006 w 1556920"/>
                <a:gd name="connsiteY205" fmla="*/ 1289467 h 1898459"/>
                <a:gd name="connsiteX206" fmla="*/ 954735 w 1556920"/>
                <a:gd name="connsiteY206" fmla="*/ 1289165 h 1898459"/>
                <a:gd name="connsiteX207" fmla="*/ 954312 w 1556920"/>
                <a:gd name="connsiteY207" fmla="*/ 1288318 h 1898459"/>
                <a:gd name="connsiteX208" fmla="*/ 954130 w 1556920"/>
                <a:gd name="connsiteY208" fmla="*/ 1287017 h 1898459"/>
                <a:gd name="connsiteX209" fmla="*/ 953586 w 1556920"/>
                <a:gd name="connsiteY209" fmla="*/ 1285232 h 1898459"/>
                <a:gd name="connsiteX210" fmla="*/ 952013 w 1556920"/>
                <a:gd name="connsiteY210" fmla="*/ 1283478 h 1898459"/>
                <a:gd name="connsiteX211" fmla="*/ 951922 w 1556920"/>
                <a:gd name="connsiteY211" fmla="*/ 1283115 h 1898459"/>
                <a:gd name="connsiteX212" fmla="*/ 951559 w 1556920"/>
                <a:gd name="connsiteY212" fmla="*/ 1282721 h 1898459"/>
                <a:gd name="connsiteX213" fmla="*/ 951559 w 1556920"/>
                <a:gd name="connsiteY213" fmla="*/ 1281784 h 1898459"/>
                <a:gd name="connsiteX214" fmla="*/ 951710 w 1556920"/>
                <a:gd name="connsiteY214" fmla="*/ 1280725 h 1898459"/>
                <a:gd name="connsiteX215" fmla="*/ 951589 w 1556920"/>
                <a:gd name="connsiteY215" fmla="*/ 1279938 h 1898459"/>
                <a:gd name="connsiteX216" fmla="*/ 951045 w 1556920"/>
                <a:gd name="connsiteY216" fmla="*/ 1279938 h 1898459"/>
                <a:gd name="connsiteX217" fmla="*/ 949593 w 1556920"/>
                <a:gd name="connsiteY217" fmla="*/ 1279152 h 1898459"/>
                <a:gd name="connsiteX218" fmla="*/ 948352 w 1556920"/>
                <a:gd name="connsiteY218" fmla="*/ 1278275 h 1898459"/>
                <a:gd name="connsiteX219" fmla="*/ 948443 w 1556920"/>
                <a:gd name="connsiteY219" fmla="*/ 1277851 h 1898459"/>
                <a:gd name="connsiteX220" fmla="*/ 948110 w 1556920"/>
                <a:gd name="connsiteY220" fmla="*/ 1277004 h 1898459"/>
                <a:gd name="connsiteX221" fmla="*/ 807532 w 1556920"/>
                <a:gd name="connsiteY221" fmla="*/ 1142204 h 1898459"/>
                <a:gd name="connsiteX222" fmla="*/ 807864 w 1556920"/>
                <a:gd name="connsiteY222" fmla="*/ 1143474 h 1898459"/>
                <a:gd name="connsiteX223" fmla="*/ 808651 w 1556920"/>
                <a:gd name="connsiteY223" fmla="*/ 1143656 h 1898459"/>
                <a:gd name="connsiteX224" fmla="*/ 809559 w 1556920"/>
                <a:gd name="connsiteY224" fmla="*/ 1143262 h 1898459"/>
                <a:gd name="connsiteX225" fmla="*/ 810254 w 1556920"/>
                <a:gd name="connsiteY225" fmla="*/ 1142809 h 1898459"/>
                <a:gd name="connsiteX226" fmla="*/ 810950 w 1556920"/>
                <a:gd name="connsiteY226" fmla="*/ 1139572 h 1898459"/>
                <a:gd name="connsiteX227" fmla="*/ 811404 w 1556920"/>
                <a:gd name="connsiteY227" fmla="*/ 1139420 h 1898459"/>
                <a:gd name="connsiteX228" fmla="*/ 812554 w 1556920"/>
                <a:gd name="connsiteY228" fmla="*/ 1139693 h 1898459"/>
                <a:gd name="connsiteX229" fmla="*/ 813007 w 1556920"/>
                <a:gd name="connsiteY229" fmla="*/ 1139572 h 1898459"/>
                <a:gd name="connsiteX230" fmla="*/ 816335 w 1556920"/>
                <a:gd name="connsiteY230" fmla="*/ 1136395 h 1898459"/>
                <a:gd name="connsiteX231" fmla="*/ 818997 w 1556920"/>
                <a:gd name="connsiteY231" fmla="*/ 1132795 h 1898459"/>
                <a:gd name="connsiteX232" fmla="*/ 820237 w 1556920"/>
                <a:gd name="connsiteY232" fmla="*/ 1128228 h 1898459"/>
                <a:gd name="connsiteX233" fmla="*/ 819239 w 1556920"/>
                <a:gd name="connsiteY233" fmla="*/ 1122207 h 1898459"/>
                <a:gd name="connsiteX234" fmla="*/ 816305 w 1556920"/>
                <a:gd name="connsiteY234" fmla="*/ 1119303 h 1898459"/>
                <a:gd name="connsiteX235" fmla="*/ 812039 w 1556920"/>
                <a:gd name="connsiteY235" fmla="*/ 1120422 h 1898459"/>
                <a:gd name="connsiteX236" fmla="*/ 807411 w 1556920"/>
                <a:gd name="connsiteY236" fmla="*/ 1122964 h 1898459"/>
                <a:gd name="connsiteX237" fmla="*/ 803327 w 1556920"/>
                <a:gd name="connsiteY237" fmla="*/ 1124355 h 1898459"/>
                <a:gd name="connsiteX238" fmla="*/ 804416 w 1556920"/>
                <a:gd name="connsiteY238" fmla="*/ 1122691 h 1898459"/>
                <a:gd name="connsiteX239" fmla="*/ 808076 w 1556920"/>
                <a:gd name="connsiteY239" fmla="*/ 1119969 h 1898459"/>
                <a:gd name="connsiteX240" fmla="*/ 808863 w 1556920"/>
                <a:gd name="connsiteY240" fmla="*/ 1118456 h 1898459"/>
                <a:gd name="connsiteX241" fmla="*/ 811676 w 1556920"/>
                <a:gd name="connsiteY241" fmla="*/ 1110167 h 1898459"/>
                <a:gd name="connsiteX242" fmla="*/ 810920 w 1556920"/>
                <a:gd name="connsiteY242" fmla="*/ 1109169 h 1898459"/>
                <a:gd name="connsiteX243" fmla="*/ 811434 w 1556920"/>
                <a:gd name="connsiteY243" fmla="*/ 1108141 h 1898459"/>
                <a:gd name="connsiteX244" fmla="*/ 811555 w 1556920"/>
                <a:gd name="connsiteY244" fmla="*/ 1107687 h 1898459"/>
                <a:gd name="connsiteX245" fmla="*/ 811676 w 1556920"/>
                <a:gd name="connsiteY245" fmla="*/ 1107021 h 1898459"/>
                <a:gd name="connsiteX246" fmla="*/ 810375 w 1556920"/>
                <a:gd name="connsiteY246" fmla="*/ 1106628 h 1898459"/>
                <a:gd name="connsiteX247" fmla="*/ 809770 w 1556920"/>
                <a:gd name="connsiteY247" fmla="*/ 1105266 h 1898459"/>
                <a:gd name="connsiteX248" fmla="*/ 809770 w 1556920"/>
                <a:gd name="connsiteY248" fmla="*/ 1103421 h 1898459"/>
                <a:gd name="connsiteX249" fmla="*/ 810224 w 1556920"/>
                <a:gd name="connsiteY249" fmla="*/ 1101515 h 1898459"/>
                <a:gd name="connsiteX250" fmla="*/ 807169 w 1556920"/>
                <a:gd name="connsiteY250" fmla="*/ 1099942 h 1898459"/>
                <a:gd name="connsiteX251" fmla="*/ 807804 w 1556920"/>
                <a:gd name="connsiteY251" fmla="*/ 1099216 h 1898459"/>
                <a:gd name="connsiteX252" fmla="*/ 810012 w 1556920"/>
                <a:gd name="connsiteY252" fmla="*/ 1098823 h 1898459"/>
                <a:gd name="connsiteX253" fmla="*/ 811646 w 1556920"/>
                <a:gd name="connsiteY253" fmla="*/ 1098248 h 1898459"/>
                <a:gd name="connsiteX254" fmla="*/ 810496 w 1556920"/>
                <a:gd name="connsiteY254" fmla="*/ 1097341 h 1898459"/>
                <a:gd name="connsiteX255" fmla="*/ 806745 w 1556920"/>
                <a:gd name="connsiteY255" fmla="*/ 1097068 h 1898459"/>
                <a:gd name="connsiteX256" fmla="*/ 805989 w 1556920"/>
                <a:gd name="connsiteY256" fmla="*/ 1096554 h 1898459"/>
                <a:gd name="connsiteX257" fmla="*/ 805112 w 1556920"/>
                <a:gd name="connsiteY257" fmla="*/ 1095737 h 1898459"/>
                <a:gd name="connsiteX258" fmla="*/ 803992 w 1556920"/>
                <a:gd name="connsiteY258" fmla="*/ 1095072 h 1898459"/>
                <a:gd name="connsiteX259" fmla="*/ 802570 w 1556920"/>
                <a:gd name="connsiteY259" fmla="*/ 1095011 h 1898459"/>
                <a:gd name="connsiteX260" fmla="*/ 803539 w 1556920"/>
                <a:gd name="connsiteY260" fmla="*/ 1094043 h 1898459"/>
                <a:gd name="connsiteX261" fmla="*/ 804416 w 1556920"/>
                <a:gd name="connsiteY261" fmla="*/ 1092682 h 1898459"/>
                <a:gd name="connsiteX262" fmla="*/ 804688 w 1556920"/>
                <a:gd name="connsiteY262" fmla="*/ 1091109 h 1898459"/>
                <a:gd name="connsiteX263" fmla="*/ 803962 w 1556920"/>
                <a:gd name="connsiteY263" fmla="*/ 1089566 h 1898459"/>
                <a:gd name="connsiteX264" fmla="*/ 803962 w 1556920"/>
                <a:gd name="connsiteY264" fmla="*/ 1088447 h 1898459"/>
                <a:gd name="connsiteX265" fmla="*/ 806987 w 1556920"/>
                <a:gd name="connsiteY265" fmla="*/ 1088598 h 1898459"/>
                <a:gd name="connsiteX266" fmla="*/ 809710 w 1556920"/>
                <a:gd name="connsiteY266" fmla="*/ 1090050 h 1898459"/>
                <a:gd name="connsiteX267" fmla="*/ 816728 w 1556920"/>
                <a:gd name="connsiteY267" fmla="*/ 1096221 h 1898459"/>
                <a:gd name="connsiteX268" fmla="*/ 818452 w 1556920"/>
                <a:gd name="connsiteY268" fmla="*/ 1098944 h 1898459"/>
                <a:gd name="connsiteX269" fmla="*/ 819511 w 1556920"/>
                <a:gd name="connsiteY269" fmla="*/ 1102574 h 1898459"/>
                <a:gd name="connsiteX270" fmla="*/ 819874 w 1556920"/>
                <a:gd name="connsiteY270" fmla="*/ 1107535 h 1898459"/>
                <a:gd name="connsiteX271" fmla="*/ 819360 w 1556920"/>
                <a:gd name="connsiteY271" fmla="*/ 1109925 h 1898459"/>
                <a:gd name="connsiteX272" fmla="*/ 817061 w 1556920"/>
                <a:gd name="connsiteY272" fmla="*/ 1112678 h 1898459"/>
                <a:gd name="connsiteX273" fmla="*/ 816395 w 1556920"/>
                <a:gd name="connsiteY273" fmla="*/ 1114554 h 1898459"/>
                <a:gd name="connsiteX274" fmla="*/ 816577 w 1556920"/>
                <a:gd name="connsiteY274" fmla="*/ 1116308 h 1898459"/>
                <a:gd name="connsiteX275" fmla="*/ 817303 w 1556920"/>
                <a:gd name="connsiteY275" fmla="*/ 1118093 h 1898459"/>
                <a:gd name="connsiteX276" fmla="*/ 818362 w 1556920"/>
                <a:gd name="connsiteY276" fmla="*/ 1119515 h 1898459"/>
                <a:gd name="connsiteX277" fmla="*/ 819572 w 1556920"/>
                <a:gd name="connsiteY277" fmla="*/ 1120059 h 1898459"/>
                <a:gd name="connsiteX278" fmla="*/ 820600 w 1556920"/>
                <a:gd name="connsiteY278" fmla="*/ 1123206 h 1898459"/>
                <a:gd name="connsiteX279" fmla="*/ 821538 w 1556920"/>
                <a:gd name="connsiteY279" fmla="*/ 1125414 h 1898459"/>
                <a:gd name="connsiteX280" fmla="*/ 822748 w 1556920"/>
                <a:gd name="connsiteY280" fmla="*/ 1126564 h 1898459"/>
                <a:gd name="connsiteX281" fmla="*/ 824140 w 1556920"/>
                <a:gd name="connsiteY281" fmla="*/ 1126322 h 1898459"/>
                <a:gd name="connsiteX282" fmla="*/ 825380 w 1556920"/>
                <a:gd name="connsiteY282" fmla="*/ 1124083 h 1898459"/>
                <a:gd name="connsiteX283" fmla="*/ 826862 w 1556920"/>
                <a:gd name="connsiteY283" fmla="*/ 1123327 h 1898459"/>
                <a:gd name="connsiteX284" fmla="*/ 825410 w 1556920"/>
                <a:gd name="connsiteY284" fmla="*/ 1121572 h 1898459"/>
                <a:gd name="connsiteX285" fmla="*/ 825925 w 1556920"/>
                <a:gd name="connsiteY285" fmla="*/ 1120302 h 1898459"/>
                <a:gd name="connsiteX286" fmla="*/ 827256 w 1556920"/>
                <a:gd name="connsiteY286" fmla="*/ 1119212 h 1898459"/>
                <a:gd name="connsiteX287" fmla="*/ 828224 w 1556920"/>
                <a:gd name="connsiteY287" fmla="*/ 1117972 h 1898459"/>
                <a:gd name="connsiteX288" fmla="*/ 828617 w 1556920"/>
                <a:gd name="connsiteY288" fmla="*/ 1115340 h 1898459"/>
                <a:gd name="connsiteX289" fmla="*/ 827921 w 1556920"/>
                <a:gd name="connsiteY289" fmla="*/ 1112709 h 1898459"/>
                <a:gd name="connsiteX290" fmla="*/ 828526 w 1556920"/>
                <a:gd name="connsiteY290" fmla="*/ 1110772 h 1898459"/>
                <a:gd name="connsiteX291" fmla="*/ 830462 w 1556920"/>
                <a:gd name="connsiteY291" fmla="*/ 1107989 h 1898459"/>
                <a:gd name="connsiteX292" fmla="*/ 830977 w 1556920"/>
                <a:gd name="connsiteY292" fmla="*/ 1107021 h 1898459"/>
                <a:gd name="connsiteX293" fmla="*/ 830977 w 1556920"/>
                <a:gd name="connsiteY293" fmla="*/ 1106174 h 1898459"/>
                <a:gd name="connsiteX294" fmla="*/ 830704 w 1556920"/>
                <a:gd name="connsiteY294" fmla="*/ 1105539 h 1898459"/>
                <a:gd name="connsiteX295" fmla="*/ 830583 w 1556920"/>
                <a:gd name="connsiteY295" fmla="*/ 1104662 h 1898459"/>
                <a:gd name="connsiteX296" fmla="*/ 831249 w 1556920"/>
                <a:gd name="connsiteY296" fmla="*/ 1103149 h 1898459"/>
                <a:gd name="connsiteX297" fmla="*/ 830614 w 1556920"/>
                <a:gd name="connsiteY297" fmla="*/ 1102725 h 1898459"/>
                <a:gd name="connsiteX298" fmla="*/ 827437 w 1556920"/>
                <a:gd name="connsiteY298" fmla="*/ 1098188 h 1898459"/>
                <a:gd name="connsiteX299" fmla="*/ 827014 w 1556920"/>
                <a:gd name="connsiteY299" fmla="*/ 1096010 h 1898459"/>
                <a:gd name="connsiteX300" fmla="*/ 826409 w 1556920"/>
                <a:gd name="connsiteY300" fmla="*/ 1089717 h 1898459"/>
                <a:gd name="connsiteX301" fmla="*/ 825713 w 1556920"/>
                <a:gd name="connsiteY301" fmla="*/ 1088386 h 1898459"/>
                <a:gd name="connsiteX302" fmla="*/ 824019 w 1556920"/>
                <a:gd name="connsiteY302" fmla="*/ 1087479 h 1898459"/>
                <a:gd name="connsiteX303" fmla="*/ 822839 w 1556920"/>
                <a:gd name="connsiteY303" fmla="*/ 1085179 h 1898459"/>
                <a:gd name="connsiteX304" fmla="*/ 821266 w 1556920"/>
                <a:gd name="connsiteY304" fmla="*/ 1079583 h 1898459"/>
                <a:gd name="connsiteX305" fmla="*/ 820994 w 1556920"/>
                <a:gd name="connsiteY305" fmla="*/ 1077950 h 1898459"/>
                <a:gd name="connsiteX306" fmla="*/ 820933 w 1556920"/>
                <a:gd name="connsiteY306" fmla="*/ 1076588 h 1898459"/>
                <a:gd name="connsiteX307" fmla="*/ 820600 w 1556920"/>
                <a:gd name="connsiteY307" fmla="*/ 1075650 h 1898459"/>
                <a:gd name="connsiteX308" fmla="*/ 819542 w 1556920"/>
                <a:gd name="connsiteY308" fmla="*/ 1075318 h 1898459"/>
                <a:gd name="connsiteX309" fmla="*/ 818574 w 1556920"/>
                <a:gd name="connsiteY309" fmla="*/ 1074803 h 1898459"/>
                <a:gd name="connsiteX310" fmla="*/ 817333 w 1556920"/>
                <a:gd name="connsiteY310" fmla="*/ 1072535 h 1898459"/>
                <a:gd name="connsiteX311" fmla="*/ 816758 w 1556920"/>
                <a:gd name="connsiteY311" fmla="*/ 1072020 h 1898459"/>
                <a:gd name="connsiteX312" fmla="*/ 804688 w 1556920"/>
                <a:gd name="connsiteY312" fmla="*/ 1073865 h 1898459"/>
                <a:gd name="connsiteX313" fmla="*/ 802480 w 1556920"/>
                <a:gd name="connsiteY313" fmla="*/ 1073684 h 1898459"/>
                <a:gd name="connsiteX314" fmla="*/ 800876 w 1556920"/>
                <a:gd name="connsiteY314" fmla="*/ 1072535 h 1898459"/>
                <a:gd name="connsiteX315" fmla="*/ 799334 w 1556920"/>
                <a:gd name="connsiteY315" fmla="*/ 1071990 h 1898459"/>
                <a:gd name="connsiteX316" fmla="*/ 797156 w 1556920"/>
                <a:gd name="connsiteY316" fmla="*/ 1072898 h 1898459"/>
                <a:gd name="connsiteX317" fmla="*/ 793707 w 1556920"/>
                <a:gd name="connsiteY317" fmla="*/ 1075287 h 1898459"/>
                <a:gd name="connsiteX318" fmla="*/ 790167 w 1556920"/>
                <a:gd name="connsiteY318" fmla="*/ 1076860 h 1898459"/>
                <a:gd name="connsiteX319" fmla="*/ 789199 w 1556920"/>
                <a:gd name="connsiteY319" fmla="*/ 1077889 h 1898459"/>
                <a:gd name="connsiteX320" fmla="*/ 786961 w 1556920"/>
                <a:gd name="connsiteY320" fmla="*/ 1081217 h 1898459"/>
                <a:gd name="connsiteX321" fmla="*/ 785842 w 1556920"/>
                <a:gd name="connsiteY321" fmla="*/ 1082185 h 1898459"/>
                <a:gd name="connsiteX322" fmla="*/ 785297 w 1556920"/>
                <a:gd name="connsiteY322" fmla="*/ 1083213 h 1898459"/>
                <a:gd name="connsiteX323" fmla="*/ 784541 w 1556920"/>
                <a:gd name="connsiteY323" fmla="*/ 1084000 h 1898459"/>
                <a:gd name="connsiteX324" fmla="*/ 783270 w 1556920"/>
                <a:gd name="connsiteY324" fmla="*/ 1083879 h 1898459"/>
                <a:gd name="connsiteX325" fmla="*/ 783028 w 1556920"/>
                <a:gd name="connsiteY325" fmla="*/ 1083092 h 1898459"/>
                <a:gd name="connsiteX326" fmla="*/ 782937 w 1556920"/>
                <a:gd name="connsiteY326" fmla="*/ 1081671 h 1898459"/>
                <a:gd name="connsiteX327" fmla="*/ 782514 w 1556920"/>
                <a:gd name="connsiteY327" fmla="*/ 1080279 h 1898459"/>
                <a:gd name="connsiteX328" fmla="*/ 781304 w 1556920"/>
                <a:gd name="connsiteY328" fmla="*/ 1079522 h 1898459"/>
                <a:gd name="connsiteX329" fmla="*/ 782605 w 1556920"/>
                <a:gd name="connsiteY329" fmla="*/ 1077314 h 1898459"/>
                <a:gd name="connsiteX330" fmla="*/ 784994 w 1556920"/>
                <a:gd name="connsiteY330" fmla="*/ 1073230 h 1898459"/>
                <a:gd name="connsiteX331" fmla="*/ 786931 w 1556920"/>
                <a:gd name="connsiteY331" fmla="*/ 1070840 h 1898459"/>
                <a:gd name="connsiteX332" fmla="*/ 789562 w 1556920"/>
                <a:gd name="connsiteY332" fmla="*/ 1068632 h 1898459"/>
                <a:gd name="connsiteX333" fmla="*/ 792285 w 1556920"/>
                <a:gd name="connsiteY333" fmla="*/ 1067301 h 1898459"/>
                <a:gd name="connsiteX334" fmla="*/ 798275 w 1556920"/>
                <a:gd name="connsiteY334" fmla="*/ 1065667 h 1898459"/>
                <a:gd name="connsiteX335" fmla="*/ 801239 w 1556920"/>
                <a:gd name="connsiteY335" fmla="*/ 1064306 h 1898459"/>
                <a:gd name="connsiteX336" fmla="*/ 803508 w 1556920"/>
                <a:gd name="connsiteY336" fmla="*/ 1061977 h 1898459"/>
                <a:gd name="connsiteX337" fmla="*/ 804960 w 1556920"/>
                <a:gd name="connsiteY337" fmla="*/ 1058407 h 1898459"/>
                <a:gd name="connsiteX338" fmla="*/ 805233 w 1556920"/>
                <a:gd name="connsiteY338" fmla="*/ 1053930 h 1898459"/>
                <a:gd name="connsiteX339" fmla="*/ 804023 w 1556920"/>
                <a:gd name="connsiteY339" fmla="*/ 1048848 h 1898459"/>
                <a:gd name="connsiteX340" fmla="*/ 802147 w 1556920"/>
                <a:gd name="connsiteY340" fmla="*/ 1046246 h 1898459"/>
                <a:gd name="connsiteX341" fmla="*/ 799031 w 1556920"/>
                <a:gd name="connsiteY341" fmla="*/ 1043705 h 1898459"/>
                <a:gd name="connsiteX342" fmla="*/ 796006 w 1556920"/>
                <a:gd name="connsiteY342" fmla="*/ 1042918 h 1898459"/>
                <a:gd name="connsiteX343" fmla="*/ 794403 w 1556920"/>
                <a:gd name="connsiteY343" fmla="*/ 1045671 h 1898459"/>
                <a:gd name="connsiteX344" fmla="*/ 800816 w 1556920"/>
                <a:gd name="connsiteY344" fmla="*/ 1051963 h 1898459"/>
                <a:gd name="connsiteX345" fmla="*/ 802631 w 1556920"/>
                <a:gd name="connsiteY345" fmla="*/ 1055412 h 1898459"/>
                <a:gd name="connsiteX346" fmla="*/ 801996 w 1556920"/>
                <a:gd name="connsiteY346" fmla="*/ 1055412 h 1898459"/>
                <a:gd name="connsiteX347" fmla="*/ 799606 w 1556920"/>
                <a:gd name="connsiteY347" fmla="*/ 1052054 h 1898459"/>
                <a:gd name="connsiteX348" fmla="*/ 796611 w 1556920"/>
                <a:gd name="connsiteY348" fmla="*/ 1050935 h 1898459"/>
                <a:gd name="connsiteX349" fmla="*/ 794070 w 1556920"/>
                <a:gd name="connsiteY349" fmla="*/ 1049453 h 1898459"/>
                <a:gd name="connsiteX350" fmla="*/ 793011 w 1556920"/>
                <a:gd name="connsiteY350" fmla="*/ 1045036 h 1898459"/>
                <a:gd name="connsiteX351" fmla="*/ 792739 w 1556920"/>
                <a:gd name="connsiteY351" fmla="*/ 1042707 h 1898459"/>
                <a:gd name="connsiteX352" fmla="*/ 792043 w 1556920"/>
                <a:gd name="connsiteY352" fmla="*/ 1040740 h 1898459"/>
                <a:gd name="connsiteX353" fmla="*/ 791136 w 1556920"/>
                <a:gd name="connsiteY353" fmla="*/ 1039106 h 1898459"/>
                <a:gd name="connsiteX354" fmla="*/ 790198 w 1556920"/>
                <a:gd name="connsiteY354" fmla="*/ 1037836 h 1898459"/>
                <a:gd name="connsiteX355" fmla="*/ 789411 w 1556920"/>
                <a:gd name="connsiteY355" fmla="*/ 1037019 h 1898459"/>
                <a:gd name="connsiteX356" fmla="*/ 787838 w 1556920"/>
                <a:gd name="connsiteY356" fmla="*/ 1035779 h 1898459"/>
                <a:gd name="connsiteX357" fmla="*/ 787203 w 1556920"/>
                <a:gd name="connsiteY357" fmla="*/ 1035053 h 1898459"/>
                <a:gd name="connsiteX358" fmla="*/ 786598 w 1556920"/>
                <a:gd name="connsiteY358" fmla="*/ 1033843 h 1898459"/>
                <a:gd name="connsiteX359" fmla="*/ 785902 w 1556920"/>
                <a:gd name="connsiteY359" fmla="*/ 1031241 h 1898459"/>
                <a:gd name="connsiteX360" fmla="*/ 785479 w 1556920"/>
                <a:gd name="connsiteY360" fmla="*/ 1030152 h 1898459"/>
                <a:gd name="connsiteX361" fmla="*/ 783452 w 1556920"/>
                <a:gd name="connsiteY361" fmla="*/ 1027399 h 1898459"/>
                <a:gd name="connsiteX362" fmla="*/ 781062 w 1556920"/>
                <a:gd name="connsiteY362" fmla="*/ 1025312 h 1898459"/>
                <a:gd name="connsiteX363" fmla="*/ 778369 w 1556920"/>
                <a:gd name="connsiteY363" fmla="*/ 1024011 h 1898459"/>
                <a:gd name="connsiteX364" fmla="*/ 775435 w 1556920"/>
                <a:gd name="connsiteY364" fmla="*/ 1023557 h 1898459"/>
                <a:gd name="connsiteX365" fmla="*/ 775223 w 1556920"/>
                <a:gd name="connsiteY365" fmla="*/ 1022438 h 1898459"/>
                <a:gd name="connsiteX366" fmla="*/ 777038 w 1556920"/>
                <a:gd name="connsiteY366" fmla="*/ 1016448 h 1898459"/>
                <a:gd name="connsiteX367" fmla="*/ 777220 w 1556920"/>
                <a:gd name="connsiteY367" fmla="*/ 1013544 h 1898459"/>
                <a:gd name="connsiteX368" fmla="*/ 776463 w 1556920"/>
                <a:gd name="connsiteY368" fmla="*/ 1012062 h 1898459"/>
                <a:gd name="connsiteX369" fmla="*/ 775163 w 1556920"/>
                <a:gd name="connsiteY369" fmla="*/ 1011033 h 1898459"/>
                <a:gd name="connsiteX370" fmla="*/ 773650 w 1556920"/>
                <a:gd name="connsiteY370" fmla="*/ 1010428 h 1898459"/>
                <a:gd name="connsiteX371" fmla="*/ 772319 w 1556920"/>
                <a:gd name="connsiteY371" fmla="*/ 1010247 h 1898459"/>
                <a:gd name="connsiteX372" fmla="*/ 770443 w 1556920"/>
                <a:gd name="connsiteY372" fmla="*/ 1010337 h 1898459"/>
                <a:gd name="connsiteX373" fmla="*/ 768538 w 1556920"/>
                <a:gd name="connsiteY373" fmla="*/ 1010095 h 1898459"/>
                <a:gd name="connsiteX374" fmla="*/ 767751 w 1556920"/>
                <a:gd name="connsiteY374" fmla="*/ 1008643 h 1898459"/>
                <a:gd name="connsiteX375" fmla="*/ 769234 w 1556920"/>
                <a:gd name="connsiteY375" fmla="*/ 1005164 h 1898459"/>
                <a:gd name="connsiteX376" fmla="*/ 769929 w 1556920"/>
                <a:gd name="connsiteY376" fmla="*/ 1002533 h 1898459"/>
                <a:gd name="connsiteX377" fmla="*/ 770292 w 1556920"/>
                <a:gd name="connsiteY377" fmla="*/ 993487 h 1898459"/>
                <a:gd name="connsiteX378" fmla="*/ 769264 w 1556920"/>
                <a:gd name="connsiteY378" fmla="*/ 991763 h 1898459"/>
                <a:gd name="connsiteX379" fmla="*/ 765543 w 1556920"/>
                <a:gd name="connsiteY379" fmla="*/ 987921 h 1898459"/>
                <a:gd name="connsiteX380" fmla="*/ 764726 w 1556920"/>
                <a:gd name="connsiteY380" fmla="*/ 987498 h 1898459"/>
                <a:gd name="connsiteX381" fmla="*/ 763879 w 1556920"/>
                <a:gd name="connsiteY381" fmla="*/ 986288 h 1898459"/>
                <a:gd name="connsiteX382" fmla="*/ 761882 w 1556920"/>
                <a:gd name="connsiteY382" fmla="*/ 985410 h 1898459"/>
                <a:gd name="connsiteX383" fmla="*/ 757920 w 1556920"/>
                <a:gd name="connsiteY383" fmla="*/ 984745 h 1898459"/>
                <a:gd name="connsiteX384" fmla="*/ 755953 w 1556920"/>
                <a:gd name="connsiteY384" fmla="*/ 985108 h 1898459"/>
                <a:gd name="connsiteX385" fmla="*/ 752141 w 1556920"/>
                <a:gd name="connsiteY385" fmla="*/ 986620 h 1898459"/>
                <a:gd name="connsiteX386" fmla="*/ 749903 w 1556920"/>
                <a:gd name="connsiteY386" fmla="*/ 986953 h 1898459"/>
                <a:gd name="connsiteX387" fmla="*/ 748269 w 1556920"/>
                <a:gd name="connsiteY387" fmla="*/ 986529 h 1898459"/>
                <a:gd name="connsiteX388" fmla="*/ 738498 w 1556920"/>
                <a:gd name="connsiteY388" fmla="*/ 981387 h 1898459"/>
                <a:gd name="connsiteX389" fmla="*/ 735957 w 1556920"/>
                <a:gd name="connsiteY389" fmla="*/ 980782 h 1898459"/>
                <a:gd name="connsiteX390" fmla="*/ 732145 w 1556920"/>
                <a:gd name="connsiteY390" fmla="*/ 983111 h 1898459"/>
                <a:gd name="connsiteX391" fmla="*/ 729725 w 1556920"/>
                <a:gd name="connsiteY391" fmla="*/ 982446 h 1898459"/>
                <a:gd name="connsiteX392" fmla="*/ 726125 w 1556920"/>
                <a:gd name="connsiteY392" fmla="*/ 980389 h 1898459"/>
                <a:gd name="connsiteX393" fmla="*/ 723887 w 1556920"/>
                <a:gd name="connsiteY393" fmla="*/ 980631 h 1898459"/>
                <a:gd name="connsiteX394" fmla="*/ 721708 w 1556920"/>
                <a:gd name="connsiteY394" fmla="*/ 981689 h 1898459"/>
                <a:gd name="connsiteX395" fmla="*/ 719772 w 1556920"/>
                <a:gd name="connsiteY395" fmla="*/ 983323 h 1898459"/>
                <a:gd name="connsiteX396" fmla="*/ 718229 w 1556920"/>
                <a:gd name="connsiteY396" fmla="*/ 985289 h 1898459"/>
                <a:gd name="connsiteX397" fmla="*/ 716535 w 1556920"/>
                <a:gd name="connsiteY397" fmla="*/ 986469 h 1898459"/>
                <a:gd name="connsiteX398" fmla="*/ 709578 w 1556920"/>
                <a:gd name="connsiteY398" fmla="*/ 986953 h 1898459"/>
                <a:gd name="connsiteX399" fmla="*/ 698112 w 1556920"/>
                <a:gd name="connsiteY399" fmla="*/ 991884 h 1898459"/>
                <a:gd name="connsiteX400" fmla="*/ 685104 w 1556920"/>
                <a:gd name="connsiteY400" fmla="*/ 992489 h 1898459"/>
                <a:gd name="connsiteX401" fmla="*/ 683108 w 1556920"/>
                <a:gd name="connsiteY401" fmla="*/ 991763 h 1898459"/>
                <a:gd name="connsiteX402" fmla="*/ 678782 w 1556920"/>
                <a:gd name="connsiteY402" fmla="*/ 989041 h 1898459"/>
                <a:gd name="connsiteX403" fmla="*/ 677178 w 1556920"/>
                <a:gd name="connsiteY403" fmla="*/ 989161 h 1898459"/>
                <a:gd name="connsiteX404" fmla="*/ 676573 w 1556920"/>
                <a:gd name="connsiteY404" fmla="*/ 991430 h 1898459"/>
                <a:gd name="connsiteX405" fmla="*/ 675938 w 1556920"/>
                <a:gd name="connsiteY405" fmla="*/ 998751 h 1898459"/>
                <a:gd name="connsiteX406" fmla="*/ 674788 w 1556920"/>
                <a:gd name="connsiteY406" fmla="*/ 1000324 h 1898459"/>
                <a:gd name="connsiteX407" fmla="*/ 673639 w 1556920"/>
                <a:gd name="connsiteY407" fmla="*/ 1001474 h 1898459"/>
                <a:gd name="connsiteX408" fmla="*/ 672429 w 1556920"/>
                <a:gd name="connsiteY408" fmla="*/ 1004136 h 1898459"/>
                <a:gd name="connsiteX409" fmla="*/ 671642 w 1556920"/>
                <a:gd name="connsiteY409" fmla="*/ 1007070 h 1898459"/>
                <a:gd name="connsiteX410" fmla="*/ 671703 w 1556920"/>
                <a:gd name="connsiteY410" fmla="*/ 1009158 h 1898459"/>
                <a:gd name="connsiteX411" fmla="*/ 670220 w 1556920"/>
                <a:gd name="connsiteY411" fmla="*/ 1010156 h 1898459"/>
                <a:gd name="connsiteX412" fmla="*/ 668012 w 1556920"/>
                <a:gd name="connsiteY412" fmla="*/ 1012788 h 1898459"/>
                <a:gd name="connsiteX413" fmla="*/ 666863 w 1556920"/>
                <a:gd name="connsiteY413" fmla="*/ 1013574 h 1898459"/>
                <a:gd name="connsiteX414" fmla="*/ 663414 w 1556920"/>
                <a:gd name="connsiteY414" fmla="*/ 1014059 h 1898459"/>
                <a:gd name="connsiteX415" fmla="*/ 659935 w 1556920"/>
                <a:gd name="connsiteY415" fmla="*/ 1013574 h 1898459"/>
                <a:gd name="connsiteX416" fmla="*/ 655549 w 1556920"/>
                <a:gd name="connsiteY416" fmla="*/ 1011457 h 1898459"/>
                <a:gd name="connsiteX417" fmla="*/ 653734 w 1556920"/>
                <a:gd name="connsiteY417" fmla="*/ 1011275 h 1898459"/>
                <a:gd name="connsiteX418" fmla="*/ 649166 w 1556920"/>
                <a:gd name="connsiteY418" fmla="*/ 1012546 h 1898459"/>
                <a:gd name="connsiteX419" fmla="*/ 647562 w 1556920"/>
                <a:gd name="connsiteY419" fmla="*/ 1012485 h 1898459"/>
                <a:gd name="connsiteX420" fmla="*/ 648530 w 1556920"/>
                <a:gd name="connsiteY420" fmla="*/ 1009491 h 1898459"/>
                <a:gd name="connsiteX421" fmla="*/ 648530 w 1556920"/>
                <a:gd name="connsiteY421" fmla="*/ 1009491 h 1898459"/>
                <a:gd name="connsiteX422" fmla="*/ 646564 w 1556920"/>
                <a:gd name="connsiteY422" fmla="*/ 1010156 h 1898459"/>
                <a:gd name="connsiteX423" fmla="*/ 645687 w 1556920"/>
                <a:gd name="connsiteY423" fmla="*/ 1011184 h 1898459"/>
                <a:gd name="connsiteX424" fmla="*/ 644900 w 1556920"/>
                <a:gd name="connsiteY424" fmla="*/ 1012334 h 1898459"/>
                <a:gd name="connsiteX425" fmla="*/ 644083 w 1556920"/>
                <a:gd name="connsiteY425" fmla="*/ 1013181 h 1898459"/>
                <a:gd name="connsiteX426" fmla="*/ 637670 w 1556920"/>
                <a:gd name="connsiteY426" fmla="*/ 1014089 h 1898459"/>
                <a:gd name="connsiteX427" fmla="*/ 636460 w 1556920"/>
                <a:gd name="connsiteY427" fmla="*/ 1014966 h 1898459"/>
                <a:gd name="connsiteX428" fmla="*/ 635462 w 1556920"/>
                <a:gd name="connsiteY428" fmla="*/ 1016025 h 1898459"/>
                <a:gd name="connsiteX429" fmla="*/ 632618 w 1556920"/>
                <a:gd name="connsiteY429" fmla="*/ 1020109 h 1898459"/>
                <a:gd name="connsiteX430" fmla="*/ 633042 w 1556920"/>
                <a:gd name="connsiteY430" fmla="*/ 1021500 h 1898459"/>
                <a:gd name="connsiteX431" fmla="*/ 632769 w 1556920"/>
                <a:gd name="connsiteY431" fmla="*/ 1021772 h 1898459"/>
                <a:gd name="connsiteX432" fmla="*/ 632225 w 1556920"/>
                <a:gd name="connsiteY432" fmla="*/ 1021954 h 1898459"/>
                <a:gd name="connsiteX433" fmla="*/ 631831 w 1556920"/>
                <a:gd name="connsiteY433" fmla="*/ 1023104 h 1898459"/>
                <a:gd name="connsiteX434" fmla="*/ 632406 w 1556920"/>
                <a:gd name="connsiteY434" fmla="*/ 1027218 h 1898459"/>
                <a:gd name="connsiteX435" fmla="*/ 632285 w 1556920"/>
                <a:gd name="connsiteY435" fmla="*/ 1028549 h 1898459"/>
                <a:gd name="connsiteX436" fmla="*/ 631559 w 1556920"/>
                <a:gd name="connsiteY436" fmla="*/ 1029638 h 1898459"/>
                <a:gd name="connsiteX437" fmla="*/ 631408 w 1556920"/>
                <a:gd name="connsiteY437" fmla="*/ 1029850 h 1898459"/>
                <a:gd name="connsiteX438" fmla="*/ 629411 w 1556920"/>
                <a:gd name="connsiteY438" fmla="*/ 1030636 h 1898459"/>
                <a:gd name="connsiteX439" fmla="*/ 628595 w 1556920"/>
                <a:gd name="connsiteY439" fmla="*/ 1031634 h 1898459"/>
                <a:gd name="connsiteX440" fmla="*/ 628231 w 1556920"/>
                <a:gd name="connsiteY440" fmla="*/ 1033540 h 1898459"/>
                <a:gd name="connsiteX441" fmla="*/ 628655 w 1556920"/>
                <a:gd name="connsiteY441" fmla="*/ 1037624 h 1898459"/>
                <a:gd name="connsiteX442" fmla="*/ 628655 w 1556920"/>
                <a:gd name="connsiteY442" fmla="*/ 1039288 h 1898459"/>
                <a:gd name="connsiteX443" fmla="*/ 627627 w 1556920"/>
                <a:gd name="connsiteY443" fmla="*/ 1042737 h 1898459"/>
                <a:gd name="connsiteX444" fmla="*/ 626023 w 1556920"/>
                <a:gd name="connsiteY444" fmla="*/ 1045580 h 1898459"/>
                <a:gd name="connsiteX445" fmla="*/ 618733 w 1556920"/>
                <a:gd name="connsiteY445" fmla="*/ 1053960 h 1898459"/>
                <a:gd name="connsiteX446" fmla="*/ 618097 w 1556920"/>
                <a:gd name="connsiteY446" fmla="*/ 1056108 h 1898459"/>
                <a:gd name="connsiteX447" fmla="*/ 617916 w 1556920"/>
                <a:gd name="connsiteY447" fmla="*/ 1060101 h 1898459"/>
                <a:gd name="connsiteX448" fmla="*/ 618249 w 1556920"/>
                <a:gd name="connsiteY448" fmla="*/ 1061311 h 1898459"/>
                <a:gd name="connsiteX449" fmla="*/ 618793 w 1556920"/>
                <a:gd name="connsiteY449" fmla="*/ 1061856 h 1898459"/>
                <a:gd name="connsiteX450" fmla="*/ 618793 w 1556920"/>
                <a:gd name="connsiteY450" fmla="*/ 1062188 h 1898459"/>
                <a:gd name="connsiteX451" fmla="*/ 617492 w 1556920"/>
                <a:gd name="connsiteY451" fmla="*/ 1062733 h 1898459"/>
                <a:gd name="connsiteX452" fmla="*/ 616434 w 1556920"/>
                <a:gd name="connsiteY452" fmla="*/ 1062673 h 1898459"/>
                <a:gd name="connsiteX453" fmla="*/ 614558 w 1556920"/>
                <a:gd name="connsiteY453" fmla="*/ 1061705 h 1898459"/>
                <a:gd name="connsiteX454" fmla="*/ 611533 w 1556920"/>
                <a:gd name="connsiteY454" fmla="*/ 1062551 h 1898459"/>
                <a:gd name="connsiteX455" fmla="*/ 608084 w 1556920"/>
                <a:gd name="connsiteY455" fmla="*/ 1061674 h 1898459"/>
                <a:gd name="connsiteX456" fmla="*/ 606299 w 1556920"/>
                <a:gd name="connsiteY456" fmla="*/ 1062642 h 1898459"/>
                <a:gd name="connsiteX457" fmla="*/ 602790 w 1556920"/>
                <a:gd name="connsiteY457" fmla="*/ 1065819 h 1898459"/>
                <a:gd name="connsiteX458" fmla="*/ 599341 w 1556920"/>
                <a:gd name="connsiteY458" fmla="*/ 1067634 h 1898459"/>
                <a:gd name="connsiteX459" fmla="*/ 595923 w 1556920"/>
                <a:gd name="connsiteY459" fmla="*/ 1067876 h 1898459"/>
                <a:gd name="connsiteX460" fmla="*/ 592595 w 1556920"/>
                <a:gd name="connsiteY460" fmla="*/ 1066242 h 1898459"/>
                <a:gd name="connsiteX461" fmla="*/ 589721 w 1556920"/>
                <a:gd name="connsiteY461" fmla="*/ 1063943 h 1898459"/>
                <a:gd name="connsiteX462" fmla="*/ 588330 w 1556920"/>
                <a:gd name="connsiteY462" fmla="*/ 1063883 h 1898459"/>
                <a:gd name="connsiteX463" fmla="*/ 584881 w 1556920"/>
                <a:gd name="connsiteY463" fmla="*/ 1067089 h 1898459"/>
                <a:gd name="connsiteX464" fmla="*/ 579890 w 1556920"/>
                <a:gd name="connsiteY464" fmla="*/ 1069388 h 1898459"/>
                <a:gd name="connsiteX465" fmla="*/ 581554 w 1556920"/>
                <a:gd name="connsiteY465" fmla="*/ 1070659 h 1898459"/>
                <a:gd name="connsiteX466" fmla="*/ 582189 w 1556920"/>
                <a:gd name="connsiteY466" fmla="*/ 1070992 h 1898459"/>
                <a:gd name="connsiteX467" fmla="*/ 581402 w 1556920"/>
                <a:gd name="connsiteY467" fmla="*/ 1073382 h 1898459"/>
                <a:gd name="connsiteX468" fmla="*/ 582219 w 1556920"/>
                <a:gd name="connsiteY468" fmla="*/ 1075045 h 1898459"/>
                <a:gd name="connsiteX469" fmla="*/ 583883 w 1556920"/>
                <a:gd name="connsiteY469" fmla="*/ 1076044 h 1898459"/>
                <a:gd name="connsiteX470" fmla="*/ 585638 w 1556920"/>
                <a:gd name="connsiteY470" fmla="*/ 1076497 h 1898459"/>
                <a:gd name="connsiteX471" fmla="*/ 586485 w 1556920"/>
                <a:gd name="connsiteY471" fmla="*/ 1077012 h 1898459"/>
                <a:gd name="connsiteX472" fmla="*/ 587513 w 1556920"/>
                <a:gd name="connsiteY472" fmla="*/ 1079039 h 1898459"/>
                <a:gd name="connsiteX473" fmla="*/ 588300 w 1556920"/>
                <a:gd name="connsiteY473" fmla="*/ 1079825 h 1898459"/>
                <a:gd name="connsiteX474" fmla="*/ 589147 w 1556920"/>
                <a:gd name="connsiteY474" fmla="*/ 1079825 h 1898459"/>
                <a:gd name="connsiteX475" fmla="*/ 590690 w 1556920"/>
                <a:gd name="connsiteY475" fmla="*/ 1078766 h 1898459"/>
                <a:gd name="connsiteX476" fmla="*/ 591446 w 1556920"/>
                <a:gd name="connsiteY476" fmla="*/ 1078555 h 1898459"/>
                <a:gd name="connsiteX477" fmla="*/ 592837 w 1556920"/>
                <a:gd name="connsiteY477" fmla="*/ 1079311 h 1898459"/>
                <a:gd name="connsiteX478" fmla="*/ 596074 w 1556920"/>
                <a:gd name="connsiteY478" fmla="*/ 1082003 h 1898459"/>
                <a:gd name="connsiteX479" fmla="*/ 597647 w 1556920"/>
                <a:gd name="connsiteY479" fmla="*/ 1082578 h 1898459"/>
                <a:gd name="connsiteX480" fmla="*/ 599341 w 1556920"/>
                <a:gd name="connsiteY480" fmla="*/ 1081822 h 1898459"/>
                <a:gd name="connsiteX481" fmla="*/ 600915 w 1556920"/>
                <a:gd name="connsiteY481" fmla="*/ 1080763 h 1898459"/>
                <a:gd name="connsiteX482" fmla="*/ 601973 w 1556920"/>
                <a:gd name="connsiteY482" fmla="*/ 1081005 h 1898459"/>
                <a:gd name="connsiteX483" fmla="*/ 602246 w 1556920"/>
                <a:gd name="connsiteY483" fmla="*/ 1084121 h 1898459"/>
                <a:gd name="connsiteX484" fmla="*/ 602246 w 1556920"/>
                <a:gd name="connsiteY484" fmla="*/ 1084121 h 1898459"/>
                <a:gd name="connsiteX485" fmla="*/ 602246 w 1556920"/>
                <a:gd name="connsiteY485" fmla="*/ 1084212 h 1898459"/>
                <a:gd name="connsiteX486" fmla="*/ 598101 w 1556920"/>
                <a:gd name="connsiteY486" fmla="*/ 1085482 h 1898459"/>
                <a:gd name="connsiteX487" fmla="*/ 588088 w 1556920"/>
                <a:gd name="connsiteY487" fmla="*/ 1094285 h 1898459"/>
                <a:gd name="connsiteX488" fmla="*/ 584216 w 1556920"/>
                <a:gd name="connsiteY488" fmla="*/ 1095677 h 1898459"/>
                <a:gd name="connsiteX489" fmla="*/ 580253 w 1556920"/>
                <a:gd name="connsiteY489" fmla="*/ 1095526 h 1898459"/>
                <a:gd name="connsiteX490" fmla="*/ 572630 w 1556920"/>
                <a:gd name="connsiteY490" fmla="*/ 1093892 h 1898459"/>
                <a:gd name="connsiteX491" fmla="*/ 570512 w 1556920"/>
                <a:gd name="connsiteY491" fmla="*/ 1096070 h 1898459"/>
                <a:gd name="connsiteX492" fmla="*/ 568485 w 1556920"/>
                <a:gd name="connsiteY492" fmla="*/ 1098853 h 1898459"/>
                <a:gd name="connsiteX493" fmla="*/ 567245 w 1556920"/>
                <a:gd name="connsiteY493" fmla="*/ 1101183 h 1898459"/>
                <a:gd name="connsiteX494" fmla="*/ 566730 w 1556920"/>
                <a:gd name="connsiteY494" fmla="*/ 1101848 h 1898459"/>
                <a:gd name="connsiteX495" fmla="*/ 565581 w 1556920"/>
                <a:gd name="connsiteY495" fmla="*/ 1102847 h 1898459"/>
                <a:gd name="connsiteX496" fmla="*/ 563100 w 1556920"/>
                <a:gd name="connsiteY496" fmla="*/ 1104208 h 1898459"/>
                <a:gd name="connsiteX497" fmla="*/ 557746 w 1556920"/>
                <a:gd name="connsiteY497" fmla="*/ 1105660 h 1898459"/>
                <a:gd name="connsiteX498" fmla="*/ 555900 w 1556920"/>
                <a:gd name="connsiteY498" fmla="*/ 1106598 h 1898459"/>
                <a:gd name="connsiteX499" fmla="*/ 555356 w 1556920"/>
                <a:gd name="connsiteY499" fmla="*/ 1106870 h 1898459"/>
                <a:gd name="connsiteX500" fmla="*/ 556626 w 1556920"/>
                <a:gd name="connsiteY500" fmla="*/ 1107959 h 1898459"/>
                <a:gd name="connsiteX501" fmla="*/ 556929 w 1556920"/>
                <a:gd name="connsiteY501" fmla="*/ 1109199 h 1898459"/>
                <a:gd name="connsiteX502" fmla="*/ 557141 w 1556920"/>
                <a:gd name="connsiteY502" fmla="*/ 1110470 h 1898459"/>
                <a:gd name="connsiteX503" fmla="*/ 558109 w 1556920"/>
                <a:gd name="connsiteY503" fmla="*/ 1111801 h 1898459"/>
                <a:gd name="connsiteX504" fmla="*/ 560499 w 1556920"/>
                <a:gd name="connsiteY504" fmla="*/ 1114281 h 1898459"/>
                <a:gd name="connsiteX505" fmla="*/ 564764 w 1556920"/>
                <a:gd name="connsiteY505" fmla="*/ 1119848 h 1898459"/>
                <a:gd name="connsiteX506" fmla="*/ 567124 w 1556920"/>
                <a:gd name="connsiteY506" fmla="*/ 1122117 h 1898459"/>
                <a:gd name="connsiteX507" fmla="*/ 569665 w 1556920"/>
                <a:gd name="connsiteY507" fmla="*/ 1123387 h 1898459"/>
                <a:gd name="connsiteX508" fmla="*/ 572599 w 1556920"/>
                <a:gd name="connsiteY508" fmla="*/ 1123387 h 1898459"/>
                <a:gd name="connsiteX509" fmla="*/ 574717 w 1556920"/>
                <a:gd name="connsiteY509" fmla="*/ 1128379 h 1898459"/>
                <a:gd name="connsiteX510" fmla="*/ 576018 w 1556920"/>
                <a:gd name="connsiteY510" fmla="*/ 1130647 h 1898459"/>
                <a:gd name="connsiteX511" fmla="*/ 577742 w 1556920"/>
                <a:gd name="connsiteY511" fmla="*/ 1132432 h 1898459"/>
                <a:gd name="connsiteX512" fmla="*/ 578619 w 1556920"/>
                <a:gd name="connsiteY512" fmla="*/ 1132765 h 1898459"/>
                <a:gd name="connsiteX513" fmla="*/ 579406 w 1556920"/>
                <a:gd name="connsiteY513" fmla="*/ 1133037 h 1898459"/>
                <a:gd name="connsiteX514" fmla="*/ 583338 w 1556920"/>
                <a:gd name="connsiteY514" fmla="*/ 1133582 h 1898459"/>
                <a:gd name="connsiteX515" fmla="*/ 584821 w 1556920"/>
                <a:gd name="connsiteY515" fmla="*/ 1134641 h 1898459"/>
                <a:gd name="connsiteX516" fmla="*/ 585486 w 1556920"/>
                <a:gd name="connsiteY516" fmla="*/ 1137152 h 1898459"/>
                <a:gd name="connsiteX517" fmla="*/ 585879 w 1556920"/>
                <a:gd name="connsiteY517" fmla="*/ 1144140 h 1898459"/>
                <a:gd name="connsiteX518" fmla="*/ 587211 w 1556920"/>
                <a:gd name="connsiteY518" fmla="*/ 1146590 h 1898459"/>
                <a:gd name="connsiteX519" fmla="*/ 589177 w 1556920"/>
                <a:gd name="connsiteY519" fmla="*/ 1147709 h 1898459"/>
                <a:gd name="connsiteX520" fmla="*/ 594713 w 1556920"/>
                <a:gd name="connsiteY520" fmla="*/ 1148405 h 1898459"/>
                <a:gd name="connsiteX521" fmla="*/ 600703 w 1556920"/>
                <a:gd name="connsiteY521" fmla="*/ 1148042 h 1898459"/>
                <a:gd name="connsiteX522" fmla="*/ 602488 w 1556920"/>
                <a:gd name="connsiteY522" fmla="*/ 1148344 h 1898459"/>
                <a:gd name="connsiteX523" fmla="*/ 609748 w 1556920"/>
                <a:gd name="connsiteY523" fmla="*/ 1153366 h 1898459"/>
                <a:gd name="connsiteX524" fmla="*/ 610474 w 1556920"/>
                <a:gd name="connsiteY524" fmla="*/ 1154364 h 1898459"/>
                <a:gd name="connsiteX525" fmla="*/ 610625 w 1556920"/>
                <a:gd name="connsiteY525" fmla="*/ 1155756 h 1898459"/>
                <a:gd name="connsiteX526" fmla="*/ 610958 w 1556920"/>
                <a:gd name="connsiteY526" fmla="*/ 1157087 h 1898459"/>
                <a:gd name="connsiteX527" fmla="*/ 612138 w 1556920"/>
                <a:gd name="connsiteY527" fmla="*/ 1157904 h 1898459"/>
                <a:gd name="connsiteX528" fmla="*/ 622877 w 1556920"/>
                <a:gd name="connsiteY528" fmla="*/ 1160233 h 1898459"/>
                <a:gd name="connsiteX529" fmla="*/ 625055 w 1556920"/>
                <a:gd name="connsiteY529" fmla="*/ 1159840 h 1898459"/>
                <a:gd name="connsiteX530" fmla="*/ 629200 w 1556920"/>
                <a:gd name="connsiteY530" fmla="*/ 1156815 h 1898459"/>
                <a:gd name="connsiteX531" fmla="*/ 631710 w 1556920"/>
                <a:gd name="connsiteY531" fmla="*/ 1156997 h 1898459"/>
                <a:gd name="connsiteX532" fmla="*/ 630591 w 1556920"/>
                <a:gd name="connsiteY532" fmla="*/ 1158358 h 1898459"/>
                <a:gd name="connsiteX533" fmla="*/ 630954 w 1556920"/>
                <a:gd name="connsiteY533" fmla="*/ 1158600 h 1898459"/>
                <a:gd name="connsiteX534" fmla="*/ 631953 w 1556920"/>
                <a:gd name="connsiteY534" fmla="*/ 1158449 h 1898459"/>
                <a:gd name="connsiteX535" fmla="*/ 632799 w 1556920"/>
                <a:gd name="connsiteY535" fmla="*/ 1158660 h 1898459"/>
                <a:gd name="connsiteX536" fmla="*/ 633525 w 1556920"/>
                <a:gd name="connsiteY536" fmla="*/ 1160052 h 1898459"/>
                <a:gd name="connsiteX537" fmla="*/ 633707 w 1556920"/>
                <a:gd name="connsiteY537" fmla="*/ 1160748 h 1898459"/>
                <a:gd name="connsiteX538" fmla="*/ 634161 w 1556920"/>
                <a:gd name="connsiteY538" fmla="*/ 1160869 h 1898459"/>
                <a:gd name="connsiteX539" fmla="*/ 635643 w 1556920"/>
                <a:gd name="connsiteY539" fmla="*/ 1160536 h 1898459"/>
                <a:gd name="connsiteX540" fmla="*/ 640514 w 1556920"/>
                <a:gd name="connsiteY540" fmla="*/ 1162048 h 1898459"/>
                <a:gd name="connsiteX541" fmla="*/ 641572 w 1556920"/>
                <a:gd name="connsiteY541" fmla="*/ 1161958 h 1898459"/>
                <a:gd name="connsiteX542" fmla="*/ 642178 w 1556920"/>
                <a:gd name="connsiteY542" fmla="*/ 1161897 h 1898459"/>
                <a:gd name="connsiteX543" fmla="*/ 639878 w 1556920"/>
                <a:gd name="connsiteY543" fmla="*/ 1157480 h 1898459"/>
                <a:gd name="connsiteX544" fmla="*/ 639878 w 1556920"/>
                <a:gd name="connsiteY544" fmla="*/ 1156422 h 1898459"/>
                <a:gd name="connsiteX545" fmla="*/ 640604 w 1556920"/>
                <a:gd name="connsiteY545" fmla="*/ 1155605 h 1898459"/>
                <a:gd name="connsiteX546" fmla="*/ 643660 w 1556920"/>
                <a:gd name="connsiteY546" fmla="*/ 1153941 h 1898459"/>
                <a:gd name="connsiteX547" fmla="*/ 644023 w 1556920"/>
                <a:gd name="connsiteY547" fmla="*/ 1154335 h 1898459"/>
                <a:gd name="connsiteX548" fmla="*/ 643720 w 1556920"/>
                <a:gd name="connsiteY548" fmla="*/ 1155454 h 1898459"/>
                <a:gd name="connsiteX549" fmla="*/ 643569 w 1556920"/>
                <a:gd name="connsiteY549" fmla="*/ 1156876 h 1898459"/>
                <a:gd name="connsiteX550" fmla="*/ 643569 w 1556920"/>
                <a:gd name="connsiteY550" fmla="*/ 1158691 h 1898459"/>
                <a:gd name="connsiteX551" fmla="*/ 643478 w 1556920"/>
                <a:gd name="connsiteY551" fmla="*/ 1160143 h 1898459"/>
                <a:gd name="connsiteX552" fmla="*/ 643841 w 1556920"/>
                <a:gd name="connsiteY552" fmla="*/ 1160748 h 1898459"/>
                <a:gd name="connsiteX553" fmla="*/ 645233 w 1556920"/>
                <a:gd name="connsiteY553" fmla="*/ 1160082 h 1898459"/>
                <a:gd name="connsiteX554" fmla="*/ 646171 w 1556920"/>
                <a:gd name="connsiteY554" fmla="*/ 1159114 h 1898459"/>
                <a:gd name="connsiteX555" fmla="*/ 646897 w 1556920"/>
                <a:gd name="connsiteY555" fmla="*/ 1157753 h 1898459"/>
                <a:gd name="connsiteX556" fmla="*/ 647169 w 1556920"/>
                <a:gd name="connsiteY556" fmla="*/ 1156119 h 1898459"/>
                <a:gd name="connsiteX557" fmla="*/ 646715 w 1556920"/>
                <a:gd name="connsiteY557" fmla="*/ 1154546 h 1898459"/>
                <a:gd name="connsiteX558" fmla="*/ 648681 w 1556920"/>
                <a:gd name="connsiteY558" fmla="*/ 1153608 h 1898459"/>
                <a:gd name="connsiteX559" fmla="*/ 648561 w 1556920"/>
                <a:gd name="connsiteY559" fmla="*/ 1152792 h 1898459"/>
                <a:gd name="connsiteX560" fmla="*/ 647623 w 1556920"/>
                <a:gd name="connsiteY560" fmla="*/ 1152035 h 1898459"/>
                <a:gd name="connsiteX561" fmla="*/ 647139 w 1556920"/>
                <a:gd name="connsiteY561" fmla="*/ 1151400 h 1898459"/>
                <a:gd name="connsiteX562" fmla="*/ 647713 w 1556920"/>
                <a:gd name="connsiteY562" fmla="*/ 1149827 h 1898459"/>
                <a:gd name="connsiteX563" fmla="*/ 648349 w 1556920"/>
                <a:gd name="connsiteY563" fmla="*/ 1148798 h 1898459"/>
                <a:gd name="connsiteX564" fmla="*/ 649196 w 1556920"/>
                <a:gd name="connsiteY564" fmla="*/ 1148042 h 1898459"/>
                <a:gd name="connsiteX565" fmla="*/ 650345 w 1556920"/>
                <a:gd name="connsiteY565" fmla="*/ 1147225 h 1898459"/>
                <a:gd name="connsiteX566" fmla="*/ 655851 w 1556920"/>
                <a:gd name="connsiteY566" fmla="*/ 1145864 h 1898459"/>
                <a:gd name="connsiteX567" fmla="*/ 657999 w 1556920"/>
                <a:gd name="connsiteY567" fmla="*/ 1144563 h 1898459"/>
                <a:gd name="connsiteX568" fmla="*/ 657364 w 1556920"/>
                <a:gd name="connsiteY568" fmla="*/ 1141961 h 1898459"/>
                <a:gd name="connsiteX569" fmla="*/ 658755 w 1556920"/>
                <a:gd name="connsiteY569" fmla="*/ 1140177 h 1898459"/>
                <a:gd name="connsiteX570" fmla="*/ 655186 w 1556920"/>
                <a:gd name="connsiteY570" fmla="*/ 1137393 h 1898459"/>
                <a:gd name="connsiteX571" fmla="*/ 655791 w 1556920"/>
                <a:gd name="connsiteY571" fmla="*/ 1135185 h 1898459"/>
                <a:gd name="connsiteX572" fmla="*/ 652433 w 1556920"/>
                <a:gd name="connsiteY572" fmla="*/ 1133642 h 1898459"/>
                <a:gd name="connsiteX573" fmla="*/ 652191 w 1556920"/>
                <a:gd name="connsiteY573" fmla="*/ 1131918 h 1898459"/>
                <a:gd name="connsiteX574" fmla="*/ 652675 w 1556920"/>
                <a:gd name="connsiteY574" fmla="*/ 1131827 h 1898459"/>
                <a:gd name="connsiteX575" fmla="*/ 653431 w 1556920"/>
                <a:gd name="connsiteY575" fmla="*/ 1132039 h 1898459"/>
                <a:gd name="connsiteX576" fmla="*/ 653975 w 1556920"/>
                <a:gd name="connsiteY576" fmla="*/ 1131404 h 1898459"/>
                <a:gd name="connsiteX577" fmla="*/ 654097 w 1556920"/>
                <a:gd name="connsiteY577" fmla="*/ 1131404 h 1898459"/>
                <a:gd name="connsiteX578" fmla="*/ 654883 w 1556920"/>
                <a:gd name="connsiteY578" fmla="*/ 1129952 h 1898459"/>
                <a:gd name="connsiteX579" fmla="*/ 654883 w 1556920"/>
                <a:gd name="connsiteY579" fmla="*/ 1129861 h 1898459"/>
                <a:gd name="connsiteX580" fmla="*/ 654581 w 1556920"/>
                <a:gd name="connsiteY580" fmla="*/ 1129619 h 1898459"/>
                <a:gd name="connsiteX581" fmla="*/ 654187 w 1556920"/>
                <a:gd name="connsiteY581" fmla="*/ 1128802 h 1898459"/>
                <a:gd name="connsiteX582" fmla="*/ 653945 w 1556920"/>
                <a:gd name="connsiteY582" fmla="*/ 1127834 h 1898459"/>
                <a:gd name="connsiteX583" fmla="*/ 654097 w 1556920"/>
                <a:gd name="connsiteY583" fmla="*/ 1127108 h 1898459"/>
                <a:gd name="connsiteX584" fmla="*/ 654399 w 1556920"/>
                <a:gd name="connsiteY584" fmla="*/ 1126957 h 1898459"/>
                <a:gd name="connsiteX585" fmla="*/ 654792 w 1556920"/>
                <a:gd name="connsiteY585" fmla="*/ 1126775 h 1898459"/>
                <a:gd name="connsiteX586" fmla="*/ 656577 w 1556920"/>
                <a:gd name="connsiteY586" fmla="*/ 1127078 h 1898459"/>
                <a:gd name="connsiteX587" fmla="*/ 657394 w 1556920"/>
                <a:gd name="connsiteY587" fmla="*/ 1127078 h 1898459"/>
                <a:gd name="connsiteX588" fmla="*/ 660691 w 1556920"/>
                <a:gd name="connsiteY588" fmla="*/ 1124749 h 1898459"/>
                <a:gd name="connsiteX589" fmla="*/ 665562 w 1556920"/>
                <a:gd name="connsiteY589" fmla="*/ 1117639 h 1898459"/>
                <a:gd name="connsiteX590" fmla="*/ 668526 w 1556920"/>
                <a:gd name="connsiteY590" fmla="*/ 1114947 h 1898459"/>
                <a:gd name="connsiteX591" fmla="*/ 671673 w 1556920"/>
                <a:gd name="connsiteY591" fmla="*/ 1114675 h 1898459"/>
                <a:gd name="connsiteX592" fmla="*/ 675061 w 1556920"/>
                <a:gd name="connsiteY592" fmla="*/ 1116278 h 1898459"/>
                <a:gd name="connsiteX593" fmla="*/ 681293 w 1556920"/>
                <a:gd name="connsiteY593" fmla="*/ 1121088 h 1898459"/>
                <a:gd name="connsiteX594" fmla="*/ 681988 w 1556920"/>
                <a:gd name="connsiteY594" fmla="*/ 1122177 h 1898459"/>
                <a:gd name="connsiteX595" fmla="*/ 682896 w 1556920"/>
                <a:gd name="connsiteY595" fmla="*/ 1124839 h 1898459"/>
                <a:gd name="connsiteX596" fmla="*/ 683713 w 1556920"/>
                <a:gd name="connsiteY596" fmla="*/ 1125293 h 1898459"/>
                <a:gd name="connsiteX597" fmla="*/ 684923 w 1556920"/>
                <a:gd name="connsiteY597" fmla="*/ 1125384 h 1898459"/>
                <a:gd name="connsiteX598" fmla="*/ 685558 w 1556920"/>
                <a:gd name="connsiteY598" fmla="*/ 1126019 h 1898459"/>
                <a:gd name="connsiteX599" fmla="*/ 686526 w 1556920"/>
                <a:gd name="connsiteY599" fmla="*/ 1128500 h 1898459"/>
                <a:gd name="connsiteX600" fmla="*/ 687706 w 1556920"/>
                <a:gd name="connsiteY600" fmla="*/ 1131464 h 1898459"/>
                <a:gd name="connsiteX601" fmla="*/ 687887 w 1556920"/>
                <a:gd name="connsiteY601" fmla="*/ 1133763 h 1898459"/>
                <a:gd name="connsiteX602" fmla="*/ 687071 w 1556920"/>
                <a:gd name="connsiteY602" fmla="*/ 1135367 h 1898459"/>
                <a:gd name="connsiteX603" fmla="*/ 685316 w 1556920"/>
                <a:gd name="connsiteY603" fmla="*/ 1136244 h 1898459"/>
                <a:gd name="connsiteX604" fmla="*/ 688886 w 1556920"/>
                <a:gd name="connsiteY604" fmla="*/ 1137968 h 1898459"/>
                <a:gd name="connsiteX605" fmla="*/ 689793 w 1556920"/>
                <a:gd name="connsiteY605" fmla="*/ 1138906 h 1898459"/>
                <a:gd name="connsiteX606" fmla="*/ 690247 w 1556920"/>
                <a:gd name="connsiteY606" fmla="*/ 1140237 h 1898459"/>
                <a:gd name="connsiteX607" fmla="*/ 690610 w 1556920"/>
                <a:gd name="connsiteY607" fmla="*/ 1141780 h 1898459"/>
                <a:gd name="connsiteX608" fmla="*/ 691185 w 1556920"/>
                <a:gd name="connsiteY608" fmla="*/ 1143353 h 1898459"/>
                <a:gd name="connsiteX609" fmla="*/ 692849 w 1556920"/>
                <a:gd name="connsiteY609" fmla="*/ 1145894 h 1898459"/>
                <a:gd name="connsiteX610" fmla="*/ 694815 w 1556920"/>
                <a:gd name="connsiteY610" fmla="*/ 1148012 h 1898459"/>
                <a:gd name="connsiteX611" fmla="*/ 696963 w 1556920"/>
                <a:gd name="connsiteY611" fmla="*/ 1149676 h 1898459"/>
                <a:gd name="connsiteX612" fmla="*/ 699141 w 1556920"/>
                <a:gd name="connsiteY612" fmla="*/ 1150946 h 1898459"/>
                <a:gd name="connsiteX613" fmla="*/ 700351 w 1556920"/>
                <a:gd name="connsiteY613" fmla="*/ 1151067 h 1898459"/>
                <a:gd name="connsiteX614" fmla="*/ 701168 w 1556920"/>
                <a:gd name="connsiteY614" fmla="*/ 1150281 h 1898459"/>
                <a:gd name="connsiteX615" fmla="*/ 701924 w 1556920"/>
                <a:gd name="connsiteY615" fmla="*/ 1149252 h 1898459"/>
                <a:gd name="connsiteX616" fmla="*/ 702983 w 1556920"/>
                <a:gd name="connsiteY616" fmla="*/ 1148647 h 1898459"/>
                <a:gd name="connsiteX617" fmla="*/ 704193 w 1556920"/>
                <a:gd name="connsiteY617" fmla="*/ 1148798 h 1898459"/>
                <a:gd name="connsiteX618" fmla="*/ 705282 w 1556920"/>
                <a:gd name="connsiteY618" fmla="*/ 1149373 h 1898459"/>
                <a:gd name="connsiteX619" fmla="*/ 707400 w 1556920"/>
                <a:gd name="connsiteY619" fmla="*/ 1151037 h 1898459"/>
                <a:gd name="connsiteX620" fmla="*/ 708852 w 1556920"/>
                <a:gd name="connsiteY620" fmla="*/ 1152640 h 1898459"/>
                <a:gd name="connsiteX621" fmla="*/ 709668 w 1556920"/>
                <a:gd name="connsiteY621" fmla="*/ 1153548 h 1898459"/>
                <a:gd name="connsiteX622" fmla="*/ 710243 w 1556920"/>
                <a:gd name="connsiteY622" fmla="*/ 1156361 h 1898459"/>
                <a:gd name="connsiteX623" fmla="*/ 709305 w 1556920"/>
                <a:gd name="connsiteY623" fmla="*/ 1159235 h 1898459"/>
                <a:gd name="connsiteX624" fmla="*/ 707037 w 1556920"/>
                <a:gd name="connsiteY624" fmla="*/ 1161927 h 1898459"/>
                <a:gd name="connsiteX625" fmla="*/ 708126 w 1556920"/>
                <a:gd name="connsiteY625" fmla="*/ 1163743 h 1898459"/>
                <a:gd name="connsiteX626" fmla="*/ 708005 w 1556920"/>
                <a:gd name="connsiteY626" fmla="*/ 1165527 h 1898459"/>
                <a:gd name="connsiteX627" fmla="*/ 706462 w 1556920"/>
                <a:gd name="connsiteY627" fmla="*/ 1169248 h 1898459"/>
                <a:gd name="connsiteX628" fmla="*/ 708005 w 1556920"/>
                <a:gd name="connsiteY628" fmla="*/ 1170398 h 1898459"/>
                <a:gd name="connsiteX629" fmla="*/ 710697 w 1556920"/>
                <a:gd name="connsiteY629" fmla="*/ 1173453 h 1898459"/>
                <a:gd name="connsiteX630" fmla="*/ 712119 w 1556920"/>
                <a:gd name="connsiteY630" fmla="*/ 1174149 h 1898459"/>
                <a:gd name="connsiteX631" fmla="*/ 712663 w 1556920"/>
                <a:gd name="connsiteY631" fmla="*/ 1173847 h 1898459"/>
                <a:gd name="connsiteX632" fmla="*/ 713238 w 1556920"/>
                <a:gd name="connsiteY632" fmla="*/ 1173030 h 1898459"/>
                <a:gd name="connsiteX633" fmla="*/ 713722 w 1556920"/>
                <a:gd name="connsiteY633" fmla="*/ 1172334 h 1898459"/>
                <a:gd name="connsiteX634" fmla="*/ 714236 w 1556920"/>
                <a:gd name="connsiteY634" fmla="*/ 1171789 h 1898459"/>
                <a:gd name="connsiteX635" fmla="*/ 715023 w 1556920"/>
                <a:gd name="connsiteY635" fmla="*/ 1171638 h 1898459"/>
                <a:gd name="connsiteX636" fmla="*/ 716566 w 1556920"/>
                <a:gd name="connsiteY636" fmla="*/ 1172243 h 1898459"/>
                <a:gd name="connsiteX637" fmla="*/ 717352 w 1556920"/>
                <a:gd name="connsiteY637" fmla="*/ 1172334 h 1898459"/>
                <a:gd name="connsiteX638" fmla="*/ 725944 w 1556920"/>
                <a:gd name="connsiteY638" fmla="*/ 1169369 h 1898459"/>
                <a:gd name="connsiteX639" fmla="*/ 728727 w 1556920"/>
                <a:gd name="connsiteY639" fmla="*/ 1169279 h 1898459"/>
                <a:gd name="connsiteX640" fmla="*/ 728787 w 1556920"/>
                <a:gd name="connsiteY640" fmla="*/ 1169551 h 1898459"/>
                <a:gd name="connsiteX641" fmla="*/ 729181 w 1556920"/>
                <a:gd name="connsiteY641" fmla="*/ 1170217 h 1898459"/>
                <a:gd name="connsiteX642" fmla="*/ 729786 w 1556920"/>
                <a:gd name="connsiteY642" fmla="*/ 1170912 h 1898459"/>
                <a:gd name="connsiteX643" fmla="*/ 730421 w 1556920"/>
                <a:gd name="connsiteY643" fmla="*/ 1171336 h 1898459"/>
                <a:gd name="connsiteX644" fmla="*/ 731147 w 1556920"/>
                <a:gd name="connsiteY644" fmla="*/ 1171336 h 1898459"/>
                <a:gd name="connsiteX645" fmla="*/ 733718 w 1556920"/>
                <a:gd name="connsiteY645" fmla="*/ 1170458 h 1898459"/>
                <a:gd name="connsiteX646" fmla="*/ 736078 w 1556920"/>
                <a:gd name="connsiteY646" fmla="*/ 1170095 h 1898459"/>
                <a:gd name="connsiteX647" fmla="*/ 736713 w 1556920"/>
                <a:gd name="connsiteY647" fmla="*/ 1169551 h 1898459"/>
                <a:gd name="connsiteX648" fmla="*/ 737137 w 1556920"/>
                <a:gd name="connsiteY648" fmla="*/ 1168220 h 1898459"/>
                <a:gd name="connsiteX649" fmla="*/ 737076 w 1556920"/>
                <a:gd name="connsiteY649" fmla="*/ 1166919 h 1898459"/>
                <a:gd name="connsiteX650" fmla="*/ 736895 w 1556920"/>
                <a:gd name="connsiteY650" fmla="*/ 1165709 h 1898459"/>
                <a:gd name="connsiteX651" fmla="*/ 737016 w 1556920"/>
                <a:gd name="connsiteY651" fmla="*/ 1164741 h 1898459"/>
                <a:gd name="connsiteX652" fmla="*/ 738347 w 1556920"/>
                <a:gd name="connsiteY652" fmla="*/ 1162623 h 1898459"/>
                <a:gd name="connsiteX653" fmla="*/ 739164 w 1556920"/>
                <a:gd name="connsiteY653" fmla="*/ 1162744 h 1898459"/>
                <a:gd name="connsiteX654" fmla="*/ 739920 w 1556920"/>
                <a:gd name="connsiteY654" fmla="*/ 1163833 h 1898459"/>
                <a:gd name="connsiteX655" fmla="*/ 741100 w 1556920"/>
                <a:gd name="connsiteY655" fmla="*/ 1164620 h 1898459"/>
                <a:gd name="connsiteX656" fmla="*/ 742431 w 1556920"/>
                <a:gd name="connsiteY656" fmla="*/ 1164348 h 1898459"/>
                <a:gd name="connsiteX657" fmla="*/ 743853 w 1556920"/>
                <a:gd name="connsiteY657" fmla="*/ 1163682 h 1898459"/>
                <a:gd name="connsiteX658" fmla="*/ 745365 w 1556920"/>
                <a:gd name="connsiteY658" fmla="*/ 1163500 h 1898459"/>
                <a:gd name="connsiteX659" fmla="*/ 746847 w 1556920"/>
                <a:gd name="connsiteY659" fmla="*/ 1164650 h 1898459"/>
                <a:gd name="connsiteX660" fmla="*/ 747483 w 1556920"/>
                <a:gd name="connsiteY660" fmla="*/ 1163591 h 1898459"/>
                <a:gd name="connsiteX661" fmla="*/ 749600 w 1556920"/>
                <a:gd name="connsiteY661" fmla="*/ 1164378 h 1898459"/>
                <a:gd name="connsiteX662" fmla="*/ 752626 w 1556920"/>
                <a:gd name="connsiteY662" fmla="*/ 1164589 h 1898459"/>
                <a:gd name="connsiteX663" fmla="*/ 755318 w 1556920"/>
                <a:gd name="connsiteY663" fmla="*/ 1165497 h 1898459"/>
                <a:gd name="connsiteX664" fmla="*/ 756467 w 1556920"/>
                <a:gd name="connsiteY664" fmla="*/ 1168401 h 1898459"/>
                <a:gd name="connsiteX665" fmla="*/ 757768 w 1556920"/>
                <a:gd name="connsiteY665" fmla="*/ 1168492 h 1898459"/>
                <a:gd name="connsiteX666" fmla="*/ 765482 w 1556920"/>
                <a:gd name="connsiteY666" fmla="*/ 1171124 h 1898459"/>
                <a:gd name="connsiteX667" fmla="*/ 764666 w 1556920"/>
                <a:gd name="connsiteY667" fmla="*/ 1171306 h 1898459"/>
                <a:gd name="connsiteX668" fmla="*/ 762669 w 1556920"/>
                <a:gd name="connsiteY668" fmla="*/ 1172213 h 1898459"/>
                <a:gd name="connsiteX669" fmla="*/ 762669 w 1556920"/>
                <a:gd name="connsiteY669" fmla="*/ 1173211 h 1898459"/>
                <a:gd name="connsiteX670" fmla="*/ 764423 w 1556920"/>
                <a:gd name="connsiteY670" fmla="*/ 1174391 h 1898459"/>
                <a:gd name="connsiteX671" fmla="*/ 766027 w 1556920"/>
                <a:gd name="connsiteY671" fmla="*/ 1174663 h 1898459"/>
                <a:gd name="connsiteX672" fmla="*/ 769960 w 1556920"/>
                <a:gd name="connsiteY672" fmla="*/ 1174361 h 1898459"/>
                <a:gd name="connsiteX673" fmla="*/ 771291 w 1556920"/>
                <a:gd name="connsiteY673" fmla="*/ 1173786 h 1898459"/>
                <a:gd name="connsiteX674" fmla="*/ 775556 w 1556920"/>
                <a:gd name="connsiteY674" fmla="*/ 1170791 h 1898459"/>
                <a:gd name="connsiteX675" fmla="*/ 778672 w 1556920"/>
                <a:gd name="connsiteY675" fmla="*/ 1167736 h 1898459"/>
                <a:gd name="connsiteX676" fmla="*/ 782877 w 1556920"/>
                <a:gd name="connsiteY676" fmla="*/ 1165739 h 1898459"/>
                <a:gd name="connsiteX677" fmla="*/ 784722 w 1556920"/>
                <a:gd name="connsiteY677" fmla="*/ 1163622 h 1898459"/>
                <a:gd name="connsiteX678" fmla="*/ 785781 w 1556920"/>
                <a:gd name="connsiteY678" fmla="*/ 1161081 h 1898459"/>
                <a:gd name="connsiteX679" fmla="*/ 786658 w 1556920"/>
                <a:gd name="connsiteY679" fmla="*/ 1157965 h 1898459"/>
                <a:gd name="connsiteX680" fmla="*/ 787263 w 1556920"/>
                <a:gd name="connsiteY680" fmla="*/ 1154698 h 1898459"/>
                <a:gd name="connsiteX681" fmla="*/ 787536 w 1556920"/>
                <a:gd name="connsiteY681" fmla="*/ 1151672 h 1898459"/>
                <a:gd name="connsiteX682" fmla="*/ 787536 w 1556920"/>
                <a:gd name="connsiteY682" fmla="*/ 1151097 h 1898459"/>
                <a:gd name="connsiteX683" fmla="*/ 787324 w 1556920"/>
                <a:gd name="connsiteY683" fmla="*/ 1145682 h 1898459"/>
                <a:gd name="connsiteX684" fmla="*/ 787929 w 1556920"/>
                <a:gd name="connsiteY684" fmla="*/ 1143776 h 1898459"/>
                <a:gd name="connsiteX685" fmla="*/ 789925 w 1556920"/>
                <a:gd name="connsiteY685" fmla="*/ 1143050 h 1898459"/>
                <a:gd name="connsiteX686" fmla="*/ 791892 w 1556920"/>
                <a:gd name="connsiteY686" fmla="*/ 1142718 h 1898459"/>
                <a:gd name="connsiteX687" fmla="*/ 796248 w 1556920"/>
                <a:gd name="connsiteY687" fmla="*/ 1141235 h 1898459"/>
                <a:gd name="connsiteX688" fmla="*/ 800513 w 1556920"/>
                <a:gd name="connsiteY688" fmla="*/ 1140842 h 1898459"/>
                <a:gd name="connsiteX689" fmla="*/ 806352 w 1556920"/>
                <a:gd name="connsiteY689" fmla="*/ 1141326 h 1898459"/>
                <a:gd name="connsiteX690" fmla="*/ 807592 w 1556920"/>
                <a:gd name="connsiteY690" fmla="*/ 1142476 h 1898459"/>
                <a:gd name="connsiteX691" fmla="*/ 754592 w 1556920"/>
                <a:gd name="connsiteY691" fmla="*/ 976123 h 1898459"/>
                <a:gd name="connsiteX692" fmla="*/ 754592 w 1556920"/>
                <a:gd name="connsiteY692" fmla="*/ 976910 h 1898459"/>
                <a:gd name="connsiteX693" fmla="*/ 754410 w 1556920"/>
                <a:gd name="connsiteY693" fmla="*/ 978210 h 1898459"/>
                <a:gd name="connsiteX694" fmla="*/ 755136 w 1556920"/>
                <a:gd name="connsiteY694" fmla="*/ 977152 h 1898459"/>
                <a:gd name="connsiteX695" fmla="*/ 756074 w 1556920"/>
                <a:gd name="connsiteY695" fmla="*/ 975337 h 1898459"/>
                <a:gd name="connsiteX696" fmla="*/ 756709 w 1556920"/>
                <a:gd name="connsiteY696" fmla="*/ 973279 h 1898459"/>
                <a:gd name="connsiteX697" fmla="*/ 756467 w 1556920"/>
                <a:gd name="connsiteY697" fmla="*/ 971555 h 1898459"/>
                <a:gd name="connsiteX698" fmla="*/ 755409 w 1556920"/>
                <a:gd name="connsiteY698" fmla="*/ 971071 h 1898459"/>
                <a:gd name="connsiteX699" fmla="*/ 750205 w 1556920"/>
                <a:gd name="connsiteY699" fmla="*/ 970345 h 1898459"/>
                <a:gd name="connsiteX700" fmla="*/ 748874 w 1556920"/>
                <a:gd name="connsiteY700" fmla="*/ 970527 h 1898459"/>
                <a:gd name="connsiteX701" fmla="*/ 747695 w 1556920"/>
                <a:gd name="connsiteY701" fmla="*/ 970980 h 1898459"/>
                <a:gd name="connsiteX702" fmla="*/ 746575 w 1556920"/>
                <a:gd name="connsiteY702" fmla="*/ 971707 h 1898459"/>
                <a:gd name="connsiteX703" fmla="*/ 745456 w 1556920"/>
                <a:gd name="connsiteY703" fmla="*/ 972674 h 1898459"/>
                <a:gd name="connsiteX704" fmla="*/ 747755 w 1556920"/>
                <a:gd name="connsiteY704" fmla="*/ 973007 h 1898459"/>
                <a:gd name="connsiteX705" fmla="*/ 750266 w 1556920"/>
                <a:gd name="connsiteY705" fmla="*/ 972735 h 1898459"/>
                <a:gd name="connsiteX706" fmla="*/ 752746 w 1556920"/>
                <a:gd name="connsiteY706" fmla="*/ 972977 h 1898459"/>
                <a:gd name="connsiteX707" fmla="*/ 755076 w 1556920"/>
                <a:gd name="connsiteY707" fmla="*/ 974822 h 1898459"/>
                <a:gd name="connsiteX708" fmla="*/ 754683 w 1556920"/>
                <a:gd name="connsiteY708" fmla="*/ 975578 h 1898459"/>
                <a:gd name="connsiteX709" fmla="*/ 754561 w 1556920"/>
                <a:gd name="connsiteY709" fmla="*/ 976153 h 1898459"/>
                <a:gd name="connsiteX710" fmla="*/ 838872 w 1556920"/>
                <a:gd name="connsiteY710" fmla="*/ 908632 h 1898459"/>
                <a:gd name="connsiteX711" fmla="*/ 836452 w 1556920"/>
                <a:gd name="connsiteY711" fmla="*/ 912141 h 1898459"/>
                <a:gd name="connsiteX712" fmla="*/ 835091 w 1556920"/>
                <a:gd name="connsiteY712" fmla="*/ 915681 h 1898459"/>
                <a:gd name="connsiteX713" fmla="*/ 834607 w 1556920"/>
                <a:gd name="connsiteY713" fmla="*/ 920975 h 1898459"/>
                <a:gd name="connsiteX714" fmla="*/ 835484 w 1556920"/>
                <a:gd name="connsiteY714" fmla="*/ 924907 h 1898459"/>
                <a:gd name="connsiteX715" fmla="*/ 837360 w 1556920"/>
                <a:gd name="connsiteY715" fmla="*/ 928175 h 1898459"/>
                <a:gd name="connsiteX716" fmla="*/ 839840 w 1556920"/>
                <a:gd name="connsiteY716" fmla="*/ 931442 h 1898459"/>
                <a:gd name="connsiteX717" fmla="*/ 839356 w 1556920"/>
                <a:gd name="connsiteY717" fmla="*/ 932228 h 1898459"/>
                <a:gd name="connsiteX718" fmla="*/ 839175 w 1556920"/>
                <a:gd name="connsiteY718" fmla="*/ 932743 h 1898459"/>
                <a:gd name="connsiteX719" fmla="*/ 838963 w 1556920"/>
                <a:gd name="connsiteY719" fmla="*/ 933166 h 1898459"/>
                <a:gd name="connsiteX720" fmla="*/ 838449 w 1556920"/>
                <a:gd name="connsiteY720" fmla="*/ 933589 h 1898459"/>
                <a:gd name="connsiteX721" fmla="*/ 838449 w 1556920"/>
                <a:gd name="connsiteY721" fmla="*/ 934709 h 1898459"/>
                <a:gd name="connsiteX722" fmla="*/ 838842 w 1556920"/>
                <a:gd name="connsiteY722" fmla="*/ 935949 h 1898459"/>
                <a:gd name="connsiteX723" fmla="*/ 839780 w 1556920"/>
                <a:gd name="connsiteY723" fmla="*/ 940335 h 1898459"/>
                <a:gd name="connsiteX724" fmla="*/ 839780 w 1556920"/>
                <a:gd name="connsiteY724" fmla="*/ 942514 h 1898459"/>
                <a:gd name="connsiteX725" fmla="*/ 843955 w 1556920"/>
                <a:gd name="connsiteY725" fmla="*/ 945872 h 1898459"/>
                <a:gd name="connsiteX726" fmla="*/ 848129 w 1556920"/>
                <a:gd name="connsiteY726" fmla="*/ 948292 h 1898459"/>
                <a:gd name="connsiteX727" fmla="*/ 852727 w 1556920"/>
                <a:gd name="connsiteY727" fmla="*/ 949804 h 1898459"/>
                <a:gd name="connsiteX728" fmla="*/ 858142 w 1556920"/>
                <a:gd name="connsiteY728" fmla="*/ 950319 h 1898459"/>
                <a:gd name="connsiteX729" fmla="*/ 862741 w 1556920"/>
                <a:gd name="connsiteY729" fmla="*/ 949532 h 1898459"/>
                <a:gd name="connsiteX730" fmla="*/ 865342 w 1556920"/>
                <a:gd name="connsiteY730" fmla="*/ 948504 h 1898459"/>
                <a:gd name="connsiteX731" fmla="*/ 866734 w 1556920"/>
                <a:gd name="connsiteY731" fmla="*/ 946991 h 1898459"/>
                <a:gd name="connsiteX732" fmla="*/ 866492 w 1556920"/>
                <a:gd name="connsiteY732" fmla="*/ 944329 h 1898459"/>
                <a:gd name="connsiteX733" fmla="*/ 865463 w 1556920"/>
                <a:gd name="connsiteY733" fmla="*/ 941788 h 1898459"/>
                <a:gd name="connsiteX734" fmla="*/ 865282 w 1556920"/>
                <a:gd name="connsiteY734" fmla="*/ 939640 h 1898459"/>
                <a:gd name="connsiteX735" fmla="*/ 867520 w 1556920"/>
                <a:gd name="connsiteY735" fmla="*/ 938188 h 1898459"/>
                <a:gd name="connsiteX736" fmla="*/ 863406 w 1556920"/>
                <a:gd name="connsiteY736" fmla="*/ 936464 h 1898459"/>
                <a:gd name="connsiteX737" fmla="*/ 862589 w 1556920"/>
                <a:gd name="connsiteY737" fmla="*/ 935858 h 1898459"/>
                <a:gd name="connsiteX738" fmla="*/ 862045 w 1556920"/>
                <a:gd name="connsiteY738" fmla="*/ 933680 h 1898459"/>
                <a:gd name="connsiteX739" fmla="*/ 862983 w 1556920"/>
                <a:gd name="connsiteY739" fmla="*/ 933106 h 1898459"/>
                <a:gd name="connsiteX740" fmla="*/ 864435 w 1556920"/>
                <a:gd name="connsiteY740" fmla="*/ 933045 h 1898459"/>
                <a:gd name="connsiteX741" fmla="*/ 865433 w 1556920"/>
                <a:gd name="connsiteY741" fmla="*/ 932500 h 1898459"/>
                <a:gd name="connsiteX742" fmla="*/ 865191 w 1556920"/>
                <a:gd name="connsiteY742" fmla="*/ 928840 h 1898459"/>
                <a:gd name="connsiteX743" fmla="*/ 860865 w 1556920"/>
                <a:gd name="connsiteY743" fmla="*/ 924665 h 1898459"/>
                <a:gd name="connsiteX744" fmla="*/ 862015 w 1556920"/>
                <a:gd name="connsiteY744" fmla="*/ 922457 h 1898459"/>
                <a:gd name="connsiteX745" fmla="*/ 859988 w 1556920"/>
                <a:gd name="connsiteY745" fmla="*/ 914380 h 1898459"/>
                <a:gd name="connsiteX746" fmla="*/ 858566 w 1556920"/>
                <a:gd name="connsiteY746" fmla="*/ 910901 h 1898459"/>
                <a:gd name="connsiteX747" fmla="*/ 856479 w 1556920"/>
                <a:gd name="connsiteY747" fmla="*/ 907845 h 1898459"/>
                <a:gd name="connsiteX748" fmla="*/ 854694 w 1556920"/>
                <a:gd name="connsiteY748" fmla="*/ 906303 h 1898459"/>
                <a:gd name="connsiteX749" fmla="*/ 848159 w 1556920"/>
                <a:gd name="connsiteY749" fmla="*/ 903277 h 1898459"/>
                <a:gd name="connsiteX750" fmla="*/ 847343 w 1556920"/>
                <a:gd name="connsiteY750" fmla="*/ 903126 h 1898459"/>
                <a:gd name="connsiteX751" fmla="*/ 844711 w 1556920"/>
                <a:gd name="connsiteY751" fmla="*/ 903277 h 1898459"/>
                <a:gd name="connsiteX752" fmla="*/ 844922 w 1556920"/>
                <a:gd name="connsiteY752" fmla="*/ 903852 h 1898459"/>
                <a:gd name="connsiteX753" fmla="*/ 845195 w 1556920"/>
                <a:gd name="connsiteY753" fmla="*/ 905063 h 1898459"/>
                <a:gd name="connsiteX754" fmla="*/ 845407 w 1556920"/>
                <a:gd name="connsiteY754" fmla="*/ 905637 h 1898459"/>
                <a:gd name="connsiteX755" fmla="*/ 842018 w 1556920"/>
                <a:gd name="connsiteY755" fmla="*/ 906212 h 1898459"/>
                <a:gd name="connsiteX756" fmla="*/ 838902 w 1556920"/>
                <a:gd name="connsiteY756" fmla="*/ 908753 h 1898459"/>
                <a:gd name="connsiteX757" fmla="*/ 873329 w 1556920"/>
                <a:gd name="connsiteY757" fmla="*/ 895715 h 1898459"/>
                <a:gd name="connsiteX758" fmla="*/ 873450 w 1556920"/>
                <a:gd name="connsiteY758" fmla="*/ 894716 h 1898459"/>
                <a:gd name="connsiteX759" fmla="*/ 872391 w 1556920"/>
                <a:gd name="connsiteY759" fmla="*/ 889604 h 1898459"/>
                <a:gd name="connsiteX760" fmla="*/ 871695 w 1556920"/>
                <a:gd name="connsiteY760" fmla="*/ 887335 h 1898459"/>
                <a:gd name="connsiteX761" fmla="*/ 870757 w 1556920"/>
                <a:gd name="connsiteY761" fmla="*/ 885187 h 1898459"/>
                <a:gd name="connsiteX762" fmla="*/ 869517 w 1556920"/>
                <a:gd name="connsiteY762" fmla="*/ 882979 h 1898459"/>
                <a:gd name="connsiteX763" fmla="*/ 868670 w 1556920"/>
                <a:gd name="connsiteY763" fmla="*/ 882253 h 1898459"/>
                <a:gd name="connsiteX764" fmla="*/ 867732 w 1556920"/>
                <a:gd name="connsiteY764" fmla="*/ 881920 h 1898459"/>
                <a:gd name="connsiteX765" fmla="*/ 867006 w 1556920"/>
                <a:gd name="connsiteY765" fmla="*/ 881134 h 1898459"/>
                <a:gd name="connsiteX766" fmla="*/ 866431 w 1556920"/>
                <a:gd name="connsiteY766" fmla="*/ 877413 h 1898459"/>
                <a:gd name="connsiteX767" fmla="*/ 865766 w 1556920"/>
                <a:gd name="connsiteY767" fmla="*/ 876898 h 1898459"/>
                <a:gd name="connsiteX768" fmla="*/ 864858 w 1556920"/>
                <a:gd name="connsiteY768" fmla="*/ 876747 h 1898459"/>
                <a:gd name="connsiteX769" fmla="*/ 863951 w 1556920"/>
                <a:gd name="connsiteY769" fmla="*/ 876233 h 1898459"/>
                <a:gd name="connsiteX770" fmla="*/ 860895 w 1556920"/>
                <a:gd name="connsiteY770" fmla="*/ 873056 h 1898459"/>
                <a:gd name="connsiteX771" fmla="*/ 857779 w 1556920"/>
                <a:gd name="connsiteY771" fmla="*/ 870606 h 1898459"/>
                <a:gd name="connsiteX772" fmla="*/ 854482 w 1556920"/>
                <a:gd name="connsiteY772" fmla="*/ 872210 h 1898459"/>
                <a:gd name="connsiteX773" fmla="*/ 854361 w 1556920"/>
                <a:gd name="connsiteY773" fmla="*/ 874781 h 1898459"/>
                <a:gd name="connsiteX774" fmla="*/ 855571 w 1556920"/>
                <a:gd name="connsiteY774" fmla="*/ 877655 h 1898459"/>
                <a:gd name="connsiteX775" fmla="*/ 856358 w 1556920"/>
                <a:gd name="connsiteY775" fmla="*/ 880166 h 1898459"/>
                <a:gd name="connsiteX776" fmla="*/ 856993 w 1556920"/>
                <a:gd name="connsiteY776" fmla="*/ 881375 h 1898459"/>
                <a:gd name="connsiteX777" fmla="*/ 860472 w 1556920"/>
                <a:gd name="connsiteY777" fmla="*/ 883584 h 1898459"/>
                <a:gd name="connsiteX778" fmla="*/ 860684 w 1556920"/>
                <a:gd name="connsiteY778" fmla="*/ 885702 h 1898459"/>
                <a:gd name="connsiteX779" fmla="*/ 861863 w 1556920"/>
                <a:gd name="connsiteY779" fmla="*/ 890300 h 1898459"/>
                <a:gd name="connsiteX780" fmla="*/ 862892 w 1556920"/>
                <a:gd name="connsiteY780" fmla="*/ 893023 h 1898459"/>
                <a:gd name="connsiteX781" fmla="*/ 869457 w 1556920"/>
                <a:gd name="connsiteY781" fmla="*/ 898740 h 1898459"/>
                <a:gd name="connsiteX782" fmla="*/ 870636 w 1556920"/>
                <a:gd name="connsiteY782" fmla="*/ 901614 h 1898459"/>
                <a:gd name="connsiteX783" fmla="*/ 871604 w 1556920"/>
                <a:gd name="connsiteY783" fmla="*/ 903005 h 1898459"/>
                <a:gd name="connsiteX784" fmla="*/ 872875 w 1556920"/>
                <a:gd name="connsiteY784" fmla="*/ 903096 h 1898459"/>
                <a:gd name="connsiteX785" fmla="*/ 873540 w 1556920"/>
                <a:gd name="connsiteY785" fmla="*/ 902037 h 1898459"/>
                <a:gd name="connsiteX786" fmla="*/ 873359 w 1556920"/>
                <a:gd name="connsiteY786" fmla="*/ 900646 h 1898459"/>
                <a:gd name="connsiteX787" fmla="*/ 872572 w 1556920"/>
                <a:gd name="connsiteY787" fmla="*/ 899406 h 1898459"/>
                <a:gd name="connsiteX788" fmla="*/ 871483 w 1556920"/>
                <a:gd name="connsiteY788" fmla="*/ 898710 h 1898459"/>
                <a:gd name="connsiteX789" fmla="*/ 872542 w 1556920"/>
                <a:gd name="connsiteY789" fmla="*/ 896471 h 1898459"/>
                <a:gd name="connsiteX790" fmla="*/ 873177 w 1556920"/>
                <a:gd name="connsiteY790" fmla="*/ 895594 h 1898459"/>
                <a:gd name="connsiteX791" fmla="*/ 760703 w 1556920"/>
                <a:gd name="connsiteY791" fmla="*/ 918101 h 1898459"/>
                <a:gd name="connsiteX792" fmla="*/ 763365 w 1556920"/>
                <a:gd name="connsiteY792" fmla="*/ 916740 h 1898459"/>
                <a:gd name="connsiteX793" fmla="*/ 765694 w 1556920"/>
                <a:gd name="connsiteY793" fmla="*/ 914803 h 1898459"/>
                <a:gd name="connsiteX794" fmla="*/ 767509 w 1556920"/>
                <a:gd name="connsiteY794" fmla="*/ 912262 h 1898459"/>
                <a:gd name="connsiteX795" fmla="*/ 768144 w 1556920"/>
                <a:gd name="connsiteY795" fmla="*/ 913473 h 1898459"/>
                <a:gd name="connsiteX796" fmla="*/ 768598 w 1556920"/>
                <a:gd name="connsiteY796" fmla="*/ 912141 h 1898459"/>
                <a:gd name="connsiteX797" fmla="*/ 769415 w 1556920"/>
                <a:gd name="connsiteY797" fmla="*/ 911173 h 1898459"/>
                <a:gd name="connsiteX798" fmla="*/ 770443 w 1556920"/>
                <a:gd name="connsiteY798" fmla="*/ 910477 h 1898459"/>
                <a:gd name="connsiteX799" fmla="*/ 771654 w 1556920"/>
                <a:gd name="connsiteY799" fmla="*/ 909903 h 1898459"/>
                <a:gd name="connsiteX800" fmla="*/ 771654 w 1556920"/>
                <a:gd name="connsiteY800" fmla="*/ 908874 h 1898459"/>
                <a:gd name="connsiteX801" fmla="*/ 771079 w 1556920"/>
                <a:gd name="connsiteY801" fmla="*/ 907543 h 1898459"/>
                <a:gd name="connsiteX802" fmla="*/ 770776 w 1556920"/>
                <a:gd name="connsiteY802" fmla="*/ 905879 h 1898459"/>
                <a:gd name="connsiteX803" fmla="*/ 770716 w 1556920"/>
                <a:gd name="connsiteY803" fmla="*/ 904034 h 1898459"/>
                <a:gd name="connsiteX804" fmla="*/ 770958 w 1556920"/>
                <a:gd name="connsiteY804" fmla="*/ 902158 h 1898459"/>
                <a:gd name="connsiteX805" fmla="*/ 769324 w 1556920"/>
                <a:gd name="connsiteY805" fmla="*/ 901402 h 1898459"/>
                <a:gd name="connsiteX806" fmla="*/ 768659 w 1556920"/>
                <a:gd name="connsiteY806" fmla="*/ 900797 h 1898459"/>
                <a:gd name="connsiteX807" fmla="*/ 768144 w 1556920"/>
                <a:gd name="connsiteY807" fmla="*/ 899889 h 1898459"/>
                <a:gd name="connsiteX808" fmla="*/ 768296 w 1556920"/>
                <a:gd name="connsiteY808" fmla="*/ 898891 h 1898459"/>
                <a:gd name="connsiteX809" fmla="*/ 768749 w 1556920"/>
                <a:gd name="connsiteY809" fmla="*/ 897379 h 1898459"/>
                <a:gd name="connsiteX810" fmla="*/ 769022 w 1556920"/>
                <a:gd name="connsiteY810" fmla="*/ 896017 h 1898459"/>
                <a:gd name="connsiteX811" fmla="*/ 768538 w 1556920"/>
                <a:gd name="connsiteY811" fmla="*/ 895412 h 1898459"/>
                <a:gd name="connsiteX812" fmla="*/ 767600 w 1556920"/>
                <a:gd name="connsiteY812" fmla="*/ 894868 h 1898459"/>
                <a:gd name="connsiteX813" fmla="*/ 766087 w 1556920"/>
                <a:gd name="connsiteY813" fmla="*/ 893537 h 1898459"/>
                <a:gd name="connsiteX814" fmla="*/ 764666 w 1556920"/>
                <a:gd name="connsiteY814" fmla="*/ 891873 h 1898459"/>
                <a:gd name="connsiteX815" fmla="*/ 764060 w 1556920"/>
                <a:gd name="connsiteY815" fmla="*/ 890360 h 1898459"/>
                <a:gd name="connsiteX816" fmla="*/ 763758 w 1556920"/>
                <a:gd name="connsiteY816" fmla="*/ 885369 h 1898459"/>
                <a:gd name="connsiteX817" fmla="*/ 762397 w 1556920"/>
                <a:gd name="connsiteY817" fmla="*/ 876233 h 1898459"/>
                <a:gd name="connsiteX818" fmla="*/ 761973 w 1556920"/>
                <a:gd name="connsiteY818" fmla="*/ 869215 h 1898459"/>
                <a:gd name="connsiteX819" fmla="*/ 761640 w 1556920"/>
                <a:gd name="connsiteY819" fmla="*/ 868216 h 1898459"/>
                <a:gd name="connsiteX820" fmla="*/ 761005 w 1556920"/>
                <a:gd name="connsiteY820" fmla="*/ 867581 h 1898459"/>
                <a:gd name="connsiteX821" fmla="*/ 760007 w 1556920"/>
                <a:gd name="connsiteY821" fmla="*/ 867248 h 1898459"/>
                <a:gd name="connsiteX822" fmla="*/ 759099 w 1556920"/>
                <a:gd name="connsiteY822" fmla="*/ 868277 h 1898459"/>
                <a:gd name="connsiteX823" fmla="*/ 757768 w 1556920"/>
                <a:gd name="connsiteY823" fmla="*/ 869396 h 1898459"/>
                <a:gd name="connsiteX824" fmla="*/ 756256 w 1556920"/>
                <a:gd name="connsiteY824" fmla="*/ 870273 h 1898459"/>
                <a:gd name="connsiteX825" fmla="*/ 754834 w 1556920"/>
                <a:gd name="connsiteY825" fmla="*/ 870636 h 1898459"/>
                <a:gd name="connsiteX826" fmla="*/ 753533 w 1556920"/>
                <a:gd name="connsiteY826" fmla="*/ 871332 h 1898459"/>
                <a:gd name="connsiteX827" fmla="*/ 751022 w 1556920"/>
                <a:gd name="connsiteY827" fmla="*/ 874509 h 1898459"/>
                <a:gd name="connsiteX828" fmla="*/ 747422 w 1556920"/>
                <a:gd name="connsiteY828" fmla="*/ 876475 h 1898459"/>
                <a:gd name="connsiteX829" fmla="*/ 744185 w 1556920"/>
                <a:gd name="connsiteY829" fmla="*/ 879470 h 1898459"/>
                <a:gd name="connsiteX830" fmla="*/ 742038 w 1556920"/>
                <a:gd name="connsiteY830" fmla="*/ 883130 h 1898459"/>
                <a:gd name="connsiteX831" fmla="*/ 742794 w 1556920"/>
                <a:gd name="connsiteY831" fmla="*/ 886367 h 1898459"/>
                <a:gd name="connsiteX832" fmla="*/ 742794 w 1556920"/>
                <a:gd name="connsiteY832" fmla="*/ 887486 h 1898459"/>
                <a:gd name="connsiteX833" fmla="*/ 741553 w 1556920"/>
                <a:gd name="connsiteY833" fmla="*/ 887123 h 1898459"/>
                <a:gd name="connsiteX834" fmla="*/ 740797 w 1556920"/>
                <a:gd name="connsiteY834" fmla="*/ 885913 h 1898459"/>
                <a:gd name="connsiteX835" fmla="*/ 740041 w 1556920"/>
                <a:gd name="connsiteY835" fmla="*/ 882949 h 1898459"/>
                <a:gd name="connsiteX836" fmla="*/ 740041 w 1556920"/>
                <a:gd name="connsiteY836" fmla="*/ 881920 h 1898459"/>
                <a:gd name="connsiteX837" fmla="*/ 741281 w 1556920"/>
                <a:gd name="connsiteY837" fmla="*/ 877261 h 1898459"/>
                <a:gd name="connsiteX838" fmla="*/ 742038 w 1556920"/>
                <a:gd name="connsiteY838" fmla="*/ 876203 h 1898459"/>
                <a:gd name="connsiteX839" fmla="*/ 740737 w 1556920"/>
                <a:gd name="connsiteY839" fmla="*/ 875658 h 1898459"/>
                <a:gd name="connsiteX840" fmla="*/ 739617 w 1556920"/>
                <a:gd name="connsiteY840" fmla="*/ 876475 h 1898459"/>
                <a:gd name="connsiteX841" fmla="*/ 738438 w 1556920"/>
                <a:gd name="connsiteY841" fmla="*/ 877715 h 1898459"/>
                <a:gd name="connsiteX842" fmla="*/ 732932 w 1556920"/>
                <a:gd name="connsiteY842" fmla="*/ 879984 h 1898459"/>
                <a:gd name="connsiteX843" fmla="*/ 729302 w 1556920"/>
                <a:gd name="connsiteY843" fmla="*/ 882404 h 1898459"/>
                <a:gd name="connsiteX844" fmla="*/ 728545 w 1556920"/>
                <a:gd name="connsiteY844" fmla="*/ 883705 h 1898459"/>
                <a:gd name="connsiteX845" fmla="*/ 728273 w 1556920"/>
                <a:gd name="connsiteY845" fmla="*/ 885762 h 1898459"/>
                <a:gd name="connsiteX846" fmla="*/ 728152 w 1556920"/>
                <a:gd name="connsiteY846" fmla="*/ 888333 h 1898459"/>
                <a:gd name="connsiteX847" fmla="*/ 727728 w 1556920"/>
                <a:gd name="connsiteY847" fmla="*/ 889876 h 1898459"/>
                <a:gd name="connsiteX848" fmla="*/ 726882 w 1556920"/>
                <a:gd name="connsiteY848" fmla="*/ 890905 h 1898459"/>
                <a:gd name="connsiteX849" fmla="*/ 725581 w 1556920"/>
                <a:gd name="connsiteY849" fmla="*/ 891963 h 1898459"/>
                <a:gd name="connsiteX850" fmla="*/ 728939 w 1556920"/>
                <a:gd name="connsiteY850" fmla="*/ 894202 h 1898459"/>
                <a:gd name="connsiteX851" fmla="*/ 724461 w 1556920"/>
                <a:gd name="connsiteY851" fmla="*/ 900373 h 1898459"/>
                <a:gd name="connsiteX852" fmla="*/ 723403 w 1556920"/>
                <a:gd name="connsiteY852" fmla="*/ 903066 h 1898459"/>
                <a:gd name="connsiteX853" fmla="*/ 723947 w 1556920"/>
                <a:gd name="connsiteY853" fmla="*/ 903338 h 1898459"/>
                <a:gd name="connsiteX854" fmla="*/ 724340 w 1556920"/>
                <a:gd name="connsiteY854" fmla="*/ 903974 h 1898459"/>
                <a:gd name="connsiteX855" fmla="*/ 724855 w 1556920"/>
                <a:gd name="connsiteY855" fmla="*/ 904276 h 1898459"/>
                <a:gd name="connsiteX856" fmla="*/ 723584 w 1556920"/>
                <a:gd name="connsiteY856" fmla="*/ 907180 h 1898459"/>
                <a:gd name="connsiteX857" fmla="*/ 723463 w 1556920"/>
                <a:gd name="connsiteY857" fmla="*/ 909842 h 1898459"/>
                <a:gd name="connsiteX858" fmla="*/ 724734 w 1556920"/>
                <a:gd name="connsiteY858" fmla="*/ 911415 h 1898459"/>
                <a:gd name="connsiteX859" fmla="*/ 727547 w 1556920"/>
                <a:gd name="connsiteY859" fmla="*/ 910992 h 1898459"/>
                <a:gd name="connsiteX860" fmla="*/ 728817 w 1556920"/>
                <a:gd name="connsiteY860" fmla="*/ 909661 h 1898459"/>
                <a:gd name="connsiteX861" fmla="*/ 731994 w 1556920"/>
                <a:gd name="connsiteY861" fmla="*/ 905214 h 1898459"/>
                <a:gd name="connsiteX862" fmla="*/ 735201 w 1556920"/>
                <a:gd name="connsiteY862" fmla="*/ 903126 h 1898459"/>
                <a:gd name="connsiteX863" fmla="*/ 736622 w 1556920"/>
                <a:gd name="connsiteY863" fmla="*/ 900434 h 1898459"/>
                <a:gd name="connsiteX864" fmla="*/ 738982 w 1556920"/>
                <a:gd name="connsiteY864" fmla="*/ 894747 h 1898459"/>
                <a:gd name="connsiteX865" fmla="*/ 741009 w 1556920"/>
                <a:gd name="connsiteY865" fmla="*/ 893143 h 1898459"/>
                <a:gd name="connsiteX866" fmla="*/ 743853 w 1556920"/>
                <a:gd name="connsiteY866" fmla="*/ 892720 h 1898459"/>
                <a:gd name="connsiteX867" fmla="*/ 746726 w 1556920"/>
                <a:gd name="connsiteY867" fmla="*/ 893174 h 1898459"/>
                <a:gd name="connsiteX868" fmla="*/ 748904 w 1556920"/>
                <a:gd name="connsiteY868" fmla="*/ 894172 h 1898459"/>
                <a:gd name="connsiteX869" fmla="*/ 744336 w 1556920"/>
                <a:gd name="connsiteY869" fmla="*/ 898256 h 1898459"/>
                <a:gd name="connsiteX870" fmla="*/ 741795 w 1556920"/>
                <a:gd name="connsiteY870" fmla="*/ 901281 h 1898459"/>
                <a:gd name="connsiteX871" fmla="*/ 741372 w 1556920"/>
                <a:gd name="connsiteY871" fmla="*/ 904246 h 1898459"/>
                <a:gd name="connsiteX872" fmla="*/ 742219 w 1556920"/>
                <a:gd name="connsiteY872" fmla="*/ 904306 h 1898459"/>
                <a:gd name="connsiteX873" fmla="*/ 746212 w 1556920"/>
                <a:gd name="connsiteY873" fmla="*/ 906121 h 1898459"/>
                <a:gd name="connsiteX874" fmla="*/ 747452 w 1556920"/>
                <a:gd name="connsiteY874" fmla="*/ 907513 h 1898459"/>
                <a:gd name="connsiteX875" fmla="*/ 749630 w 1556920"/>
                <a:gd name="connsiteY875" fmla="*/ 913321 h 1898459"/>
                <a:gd name="connsiteX876" fmla="*/ 744155 w 1556920"/>
                <a:gd name="connsiteY876" fmla="*/ 916225 h 1898459"/>
                <a:gd name="connsiteX877" fmla="*/ 741977 w 1556920"/>
                <a:gd name="connsiteY877" fmla="*/ 918555 h 1898459"/>
                <a:gd name="connsiteX878" fmla="*/ 741372 w 1556920"/>
                <a:gd name="connsiteY878" fmla="*/ 922275 h 1898459"/>
                <a:gd name="connsiteX879" fmla="*/ 742764 w 1556920"/>
                <a:gd name="connsiteY879" fmla="*/ 925936 h 1898459"/>
                <a:gd name="connsiteX880" fmla="*/ 745153 w 1556920"/>
                <a:gd name="connsiteY880" fmla="*/ 926722 h 1898459"/>
                <a:gd name="connsiteX881" fmla="*/ 747725 w 1556920"/>
                <a:gd name="connsiteY881" fmla="*/ 925845 h 1898459"/>
                <a:gd name="connsiteX882" fmla="*/ 750266 w 1556920"/>
                <a:gd name="connsiteY882" fmla="*/ 923909 h 1898459"/>
                <a:gd name="connsiteX883" fmla="*/ 751234 w 1556920"/>
                <a:gd name="connsiteY883" fmla="*/ 922911 h 1898459"/>
                <a:gd name="connsiteX884" fmla="*/ 751657 w 1556920"/>
                <a:gd name="connsiteY884" fmla="*/ 922275 h 1898459"/>
                <a:gd name="connsiteX885" fmla="*/ 752414 w 1556920"/>
                <a:gd name="connsiteY885" fmla="*/ 918827 h 1898459"/>
                <a:gd name="connsiteX886" fmla="*/ 753684 w 1556920"/>
                <a:gd name="connsiteY886" fmla="*/ 918192 h 1898459"/>
                <a:gd name="connsiteX887" fmla="*/ 757950 w 1556920"/>
                <a:gd name="connsiteY887" fmla="*/ 918827 h 1898459"/>
                <a:gd name="connsiteX888" fmla="*/ 760793 w 1556920"/>
                <a:gd name="connsiteY888" fmla="*/ 917980 h 1898459"/>
                <a:gd name="connsiteX889" fmla="*/ 754017 w 1556920"/>
                <a:gd name="connsiteY889" fmla="*/ 839961 h 1898459"/>
                <a:gd name="connsiteX890" fmla="*/ 753261 w 1556920"/>
                <a:gd name="connsiteY890" fmla="*/ 840536 h 1898459"/>
                <a:gd name="connsiteX891" fmla="*/ 752656 w 1556920"/>
                <a:gd name="connsiteY891" fmla="*/ 841474 h 1898459"/>
                <a:gd name="connsiteX892" fmla="*/ 750568 w 1556920"/>
                <a:gd name="connsiteY892" fmla="*/ 844015 h 1898459"/>
                <a:gd name="connsiteX893" fmla="*/ 749661 w 1556920"/>
                <a:gd name="connsiteY893" fmla="*/ 846012 h 1898459"/>
                <a:gd name="connsiteX894" fmla="*/ 749147 w 1556920"/>
                <a:gd name="connsiteY894" fmla="*/ 848220 h 1898459"/>
                <a:gd name="connsiteX895" fmla="*/ 748390 w 1556920"/>
                <a:gd name="connsiteY895" fmla="*/ 850126 h 1898459"/>
                <a:gd name="connsiteX896" fmla="*/ 746817 w 1556920"/>
                <a:gd name="connsiteY896" fmla="*/ 851306 h 1898459"/>
                <a:gd name="connsiteX897" fmla="*/ 748904 w 1556920"/>
                <a:gd name="connsiteY897" fmla="*/ 852334 h 1898459"/>
                <a:gd name="connsiteX898" fmla="*/ 751688 w 1556920"/>
                <a:gd name="connsiteY898" fmla="*/ 852425 h 1898459"/>
                <a:gd name="connsiteX899" fmla="*/ 754441 w 1556920"/>
                <a:gd name="connsiteY899" fmla="*/ 851669 h 1898459"/>
                <a:gd name="connsiteX900" fmla="*/ 756437 w 1556920"/>
                <a:gd name="connsiteY900" fmla="*/ 850277 h 1898459"/>
                <a:gd name="connsiteX901" fmla="*/ 756165 w 1556920"/>
                <a:gd name="connsiteY901" fmla="*/ 847343 h 1898459"/>
                <a:gd name="connsiteX902" fmla="*/ 757314 w 1556920"/>
                <a:gd name="connsiteY902" fmla="*/ 844015 h 1898459"/>
                <a:gd name="connsiteX903" fmla="*/ 760551 w 1556920"/>
                <a:gd name="connsiteY903" fmla="*/ 838872 h 1898459"/>
                <a:gd name="connsiteX904" fmla="*/ 760067 w 1556920"/>
                <a:gd name="connsiteY904" fmla="*/ 836876 h 1898459"/>
                <a:gd name="connsiteX905" fmla="*/ 758918 w 1556920"/>
                <a:gd name="connsiteY905" fmla="*/ 836815 h 1898459"/>
                <a:gd name="connsiteX906" fmla="*/ 757345 w 1556920"/>
                <a:gd name="connsiteY906" fmla="*/ 837511 h 1898459"/>
                <a:gd name="connsiteX907" fmla="*/ 755651 w 1556920"/>
                <a:gd name="connsiteY907" fmla="*/ 837723 h 1898459"/>
                <a:gd name="connsiteX908" fmla="*/ 755923 w 1556920"/>
                <a:gd name="connsiteY908" fmla="*/ 838812 h 1898459"/>
                <a:gd name="connsiteX909" fmla="*/ 756074 w 1556920"/>
                <a:gd name="connsiteY909" fmla="*/ 839266 h 1898459"/>
                <a:gd name="connsiteX910" fmla="*/ 756377 w 1556920"/>
                <a:gd name="connsiteY910" fmla="*/ 839901 h 1898459"/>
                <a:gd name="connsiteX911" fmla="*/ 755530 w 1556920"/>
                <a:gd name="connsiteY911" fmla="*/ 840536 h 1898459"/>
                <a:gd name="connsiteX912" fmla="*/ 753957 w 1556920"/>
                <a:gd name="connsiteY912" fmla="*/ 839931 h 1898459"/>
                <a:gd name="connsiteX913" fmla="*/ 777795 w 1556920"/>
                <a:gd name="connsiteY913" fmla="*/ 889725 h 1898459"/>
                <a:gd name="connsiteX914" fmla="*/ 778460 w 1556920"/>
                <a:gd name="connsiteY914" fmla="*/ 887214 h 1898459"/>
                <a:gd name="connsiteX915" fmla="*/ 779459 w 1556920"/>
                <a:gd name="connsiteY915" fmla="*/ 880861 h 1898459"/>
                <a:gd name="connsiteX916" fmla="*/ 780185 w 1556920"/>
                <a:gd name="connsiteY916" fmla="*/ 879591 h 1898459"/>
                <a:gd name="connsiteX917" fmla="*/ 781848 w 1556920"/>
                <a:gd name="connsiteY917" fmla="*/ 878774 h 1898459"/>
                <a:gd name="connsiteX918" fmla="*/ 784329 w 1556920"/>
                <a:gd name="connsiteY918" fmla="*/ 875870 h 1898459"/>
                <a:gd name="connsiteX919" fmla="*/ 785388 w 1556920"/>
                <a:gd name="connsiteY919" fmla="*/ 876233 h 1898459"/>
                <a:gd name="connsiteX920" fmla="*/ 787596 w 1556920"/>
                <a:gd name="connsiteY920" fmla="*/ 869638 h 1898459"/>
                <a:gd name="connsiteX921" fmla="*/ 796067 w 1556920"/>
                <a:gd name="connsiteY921" fmla="*/ 854119 h 1898459"/>
                <a:gd name="connsiteX922" fmla="*/ 800090 w 1556920"/>
                <a:gd name="connsiteY922" fmla="*/ 844892 h 1898459"/>
                <a:gd name="connsiteX923" fmla="*/ 802117 w 1556920"/>
                <a:gd name="connsiteY923" fmla="*/ 842956 h 1898459"/>
                <a:gd name="connsiteX924" fmla="*/ 803629 w 1556920"/>
                <a:gd name="connsiteY924" fmla="*/ 840476 h 1898459"/>
                <a:gd name="connsiteX925" fmla="*/ 805233 w 1556920"/>
                <a:gd name="connsiteY925" fmla="*/ 839023 h 1898459"/>
                <a:gd name="connsiteX926" fmla="*/ 805354 w 1556920"/>
                <a:gd name="connsiteY926" fmla="*/ 836967 h 1898459"/>
                <a:gd name="connsiteX927" fmla="*/ 805051 w 1556920"/>
                <a:gd name="connsiteY927" fmla="*/ 834698 h 1898459"/>
                <a:gd name="connsiteX928" fmla="*/ 804688 w 1556920"/>
                <a:gd name="connsiteY928" fmla="*/ 833125 h 1898459"/>
                <a:gd name="connsiteX929" fmla="*/ 802540 w 1556920"/>
                <a:gd name="connsiteY929" fmla="*/ 832187 h 1898459"/>
                <a:gd name="connsiteX930" fmla="*/ 799455 w 1556920"/>
                <a:gd name="connsiteY930" fmla="*/ 834063 h 1898459"/>
                <a:gd name="connsiteX931" fmla="*/ 794312 w 1556920"/>
                <a:gd name="connsiteY931" fmla="*/ 838903 h 1898459"/>
                <a:gd name="connsiteX932" fmla="*/ 786658 w 1556920"/>
                <a:gd name="connsiteY932" fmla="*/ 845951 h 1898459"/>
                <a:gd name="connsiteX933" fmla="*/ 783603 w 1556920"/>
                <a:gd name="connsiteY933" fmla="*/ 846829 h 1898459"/>
                <a:gd name="connsiteX934" fmla="*/ 781546 w 1556920"/>
                <a:gd name="connsiteY934" fmla="*/ 848311 h 1898459"/>
                <a:gd name="connsiteX935" fmla="*/ 778460 w 1556920"/>
                <a:gd name="connsiteY935" fmla="*/ 851820 h 1898459"/>
                <a:gd name="connsiteX936" fmla="*/ 775647 w 1556920"/>
                <a:gd name="connsiteY936" fmla="*/ 856116 h 1898459"/>
                <a:gd name="connsiteX937" fmla="*/ 774406 w 1556920"/>
                <a:gd name="connsiteY937" fmla="*/ 859897 h 1898459"/>
                <a:gd name="connsiteX938" fmla="*/ 775889 w 1556920"/>
                <a:gd name="connsiteY938" fmla="*/ 862559 h 1898459"/>
                <a:gd name="connsiteX939" fmla="*/ 779307 w 1556920"/>
                <a:gd name="connsiteY939" fmla="*/ 862438 h 1898459"/>
                <a:gd name="connsiteX940" fmla="*/ 782998 w 1556920"/>
                <a:gd name="connsiteY940" fmla="*/ 861470 h 1898459"/>
                <a:gd name="connsiteX941" fmla="*/ 785388 w 1556920"/>
                <a:gd name="connsiteY941" fmla="*/ 861531 h 1898459"/>
                <a:gd name="connsiteX942" fmla="*/ 782090 w 1556920"/>
                <a:gd name="connsiteY942" fmla="*/ 864132 h 1898459"/>
                <a:gd name="connsiteX943" fmla="*/ 774195 w 1556920"/>
                <a:gd name="connsiteY943" fmla="*/ 865554 h 1898459"/>
                <a:gd name="connsiteX944" fmla="*/ 771230 w 1556920"/>
                <a:gd name="connsiteY944" fmla="*/ 867823 h 1898459"/>
                <a:gd name="connsiteX945" fmla="*/ 769597 w 1556920"/>
                <a:gd name="connsiteY945" fmla="*/ 869457 h 1898459"/>
                <a:gd name="connsiteX946" fmla="*/ 767872 w 1556920"/>
                <a:gd name="connsiteY946" fmla="*/ 870273 h 1898459"/>
                <a:gd name="connsiteX947" fmla="*/ 766360 w 1556920"/>
                <a:gd name="connsiteY947" fmla="*/ 871423 h 1898459"/>
                <a:gd name="connsiteX948" fmla="*/ 765392 w 1556920"/>
                <a:gd name="connsiteY948" fmla="*/ 873994 h 1898459"/>
                <a:gd name="connsiteX949" fmla="*/ 765180 w 1556920"/>
                <a:gd name="connsiteY949" fmla="*/ 876868 h 1898459"/>
                <a:gd name="connsiteX950" fmla="*/ 766057 w 1556920"/>
                <a:gd name="connsiteY950" fmla="*/ 884764 h 1898459"/>
                <a:gd name="connsiteX951" fmla="*/ 767630 w 1556920"/>
                <a:gd name="connsiteY951" fmla="*/ 888938 h 1898459"/>
                <a:gd name="connsiteX952" fmla="*/ 771230 w 1556920"/>
                <a:gd name="connsiteY952" fmla="*/ 891147 h 1898459"/>
                <a:gd name="connsiteX953" fmla="*/ 775163 w 1556920"/>
                <a:gd name="connsiteY953" fmla="*/ 891389 h 1898459"/>
                <a:gd name="connsiteX954" fmla="*/ 777734 w 1556920"/>
                <a:gd name="connsiteY954" fmla="*/ 889725 h 1898459"/>
                <a:gd name="connsiteX955" fmla="*/ 806080 w 1556920"/>
                <a:gd name="connsiteY955" fmla="*/ 825290 h 1898459"/>
                <a:gd name="connsiteX956" fmla="*/ 805323 w 1556920"/>
                <a:gd name="connsiteY956" fmla="*/ 824049 h 1898459"/>
                <a:gd name="connsiteX957" fmla="*/ 801905 w 1556920"/>
                <a:gd name="connsiteY957" fmla="*/ 826530 h 1898459"/>
                <a:gd name="connsiteX958" fmla="*/ 800272 w 1556920"/>
                <a:gd name="connsiteY958" fmla="*/ 828133 h 1898459"/>
                <a:gd name="connsiteX959" fmla="*/ 799182 w 1556920"/>
                <a:gd name="connsiteY959" fmla="*/ 830856 h 1898459"/>
                <a:gd name="connsiteX960" fmla="*/ 801572 w 1556920"/>
                <a:gd name="connsiteY960" fmla="*/ 830553 h 1898459"/>
                <a:gd name="connsiteX961" fmla="*/ 804688 w 1556920"/>
                <a:gd name="connsiteY961" fmla="*/ 829585 h 1898459"/>
                <a:gd name="connsiteX962" fmla="*/ 806745 w 1556920"/>
                <a:gd name="connsiteY962" fmla="*/ 827891 h 1898459"/>
                <a:gd name="connsiteX963" fmla="*/ 806019 w 1556920"/>
                <a:gd name="connsiteY963" fmla="*/ 825290 h 1898459"/>
                <a:gd name="connsiteX964" fmla="*/ 807501 w 1556920"/>
                <a:gd name="connsiteY964" fmla="*/ 820661 h 1898459"/>
                <a:gd name="connsiteX965" fmla="*/ 809438 w 1556920"/>
                <a:gd name="connsiteY965" fmla="*/ 825168 h 1898459"/>
                <a:gd name="connsiteX966" fmla="*/ 810466 w 1556920"/>
                <a:gd name="connsiteY966" fmla="*/ 826197 h 1898459"/>
                <a:gd name="connsiteX967" fmla="*/ 811404 w 1556920"/>
                <a:gd name="connsiteY967" fmla="*/ 820994 h 1898459"/>
                <a:gd name="connsiteX968" fmla="*/ 812402 w 1556920"/>
                <a:gd name="connsiteY968" fmla="*/ 818573 h 1898459"/>
                <a:gd name="connsiteX969" fmla="*/ 813158 w 1556920"/>
                <a:gd name="connsiteY969" fmla="*/ 816184 h 1898459"/>
                <a:gd name="connsiteX970" fmla="*/ 812947 w 1556920"/>
                <a:gd name="connsiteY970" fmla="*/ 813824 h 1898459"/>
                <a:gd name="connsiteX971" fmla="*/ 812402 w 1556920"/>
                <a:gd name="connsiteY971" fmla="*/ 814732 h 1898459"/>
                <a:gd name="connsiteX972" fmla="*/ 811918 w 1556920"/>
                <a:gd name="connsiteY972" fmla="*/ 814822 h 1898459"/>
                <a:gd name="connsiteX973" fmla="*/ 811434 w 1556920"/>
                <a:gd name="connsiteY973" fmla="*/ 814429 h 1898459"/>
                <a:gd name="connsiteX974" fmla="*/ 810890 w 1556920"/>
                <a:gd name="connsiteY974" fmla="*/ 813854 h 1898459"/>
                <a:gd name="connsiteX975" fmla="*/ 809680 w 1556920"/>
                <a:gd name="connsiteY975" fmla="*/ 815125 h 1898459"/>
                <a:gd name="connsiteX976" fmla="*/ 808560 w 1556920"/>
                <a:gd name="connsiteY976" fmla="*/ 819088 h 1898459"/>
                <a:gd name="connsiteX977" fmla="*/ 807532 w 1556920"/>
                <a:gd name="connsiteY977" fmla="*/ 820661 h 1898459"/>
                <a:gd name="connsiteX978" fmla="*/ 815185 w 1556920"/>
                <a:gd name="connsiteY978" fmla="*/ 805505 h 1898459"/>
                <a:gd name="connsiteX979" fmla="*/ 815760 w 1556920"/>
                <a:gd name="connsiteY979" fmla="*/ 803508 h 1898459"/>
                <a:gd name="connsiteX980" fmla="*/ 814429 w 1556920"/>
                <a:gd name="connsiteY980" fmla="*/ 804144 h 1898459"/>
                <a:gd name="connsiteX981" fmla="*/ 812130 w 1556920"/>
                <a:gd name="connsiteY981" fmla="*/ 803751 h 1898459"/>
                <a:gd name="connsiteX982" fmla="*/ 810890 w 1556920"/>
                <a:gd name="connsiteY982" fmla="*/ 804658 h 1898459"/>
                <a:gd name="connsiteX983" fmla="*/ 809528 w 1556920"/>
                <a:gd name="connsiteY983" fmla="*/ 807985 h 1898459"/>
                <a:gd name="connsiteX984" fmla="*/ 810194 w 1556920"/>
                <a:gd name="connsiteY984" fmla="*/ 810648 h 1898459"/>
                <a:gd name="connsiteX985" fmla="*/ 812069 w 1556920"/>
                <a:gd name="connsiteY985" fmla="*/ 811767 h 1898459"/>
                <a:gd name="connsiteX986" fmla="*/ 814369 w 1556920"/>
                <a:gd name="connsiteY986" fmla="*/ 810466 h 1898459"/>
                <a:gd name="connsiteX987" fmla="*/ 813733 w 1556920"/>
                <a:gd name="connsiteY987" fmla="*/ 808288 h 1898459"/>
                <a:gd name="connsiteX988" fmla="*/ 814278 w 1556920"/>
                <a:gd name="connsiteY988" fmla="*/ 806866 h 1898459"/>
                <a:gd name="connsiteX989" fmla="*/ 815246 w 1556920"/>
                <a:gd name="connsiteY989" fmla="*/ 805505 h 1898459"/>
                <a:gd name="connsiteX990" fmla="*/ 820631 w 1556920"/>
                <a:gd name="connsiteY990" fmla="*/ 792406 h 1898459"/>
                <a:gd name="connsiteX991" fmla="*/ 822446 w 1556920"/>
                <a:gd name="connsiteY991" fmla="*/ 790470 h 1898459"/>
                <a:gd name="connsiteX992" fmla="*/ 823989 w 1556920"/>
                <a:gd name="connsiteY992" fmla="*/ 787596 h 1898459"/>
                <a:gd name="connsiteX993" fmla="*/ 823020 w 1556920"/>
                <a:gd name="connsiteY993" fmla="*/ 788534 h 1898459"/>
                <a:gd name="connsiteX994" fmla="*/ 821599 w 1556920"/>
                <a:gd name="connsiteY994" fmla="*/ 788836 h 1898459"/>
                <a:gd name="connsiteX995" fmla="*/ 818452 w 1556920"/>
                <a:gd name="connsiteY995" fmla="*/ 788715 h 1898459"/>
                <a:gd name="connsiteX996" fmla="*/ 816849 w 1556920"/>
                <a:gd name="connsiteY996" fmla="*/ 790621 h 1898459"/>
                <a:gd name="connsiteX997" fmla="*/ 816274 w 1556920"/>
                <a:gd name="connsiteY997" fmla="*/ 791711 h 1898459"/>
                <a:gd name="connsiteX998" fmla="*/ 815790 w 1556920"/>
                <a:gd name="connsiteY998" fmla="*/ 793283 h 1898459"/>
                <a:gd name="connsiteX999" fmla="*/ 818483 w 1556920"/>
                <a:gd name="connsiteY999" fmla="*/ 793374 h 1898459"/>
                <a:gd name="connsiteX1000" fmla="*/ 820661 w 1556920"/>
                <a:gd name="connsiteY1000" fmla="*/ 792406 h 1898459"/>
                <a:gd name="connsiteX1001" fmla="*/ 752565 w 1556920"/>
                <a:gd name="connsiteY1001" fmla="*/ 779761 h 1898459"/>
                <a:gd name="connsiteX1002" fmla="*/ 757829 w 1556920"/>
                <a:gd name="connsiteY1002" fmla="*/ 779459 h 1898459"/>
                <a:gd name="connsiteX1003" fmla="*/ 756770 w 1556920"/>
                <a:gd name="connsiteY1003" fmla="*/ 777522 h 1898459"/>
                <a:gd name="connsiteX1004" fmla="*/ 753745 w 1556920"/>
                <a:gd name="connsiteY1004" fmla="*/ 775223 h 1898459"/>
                <a:gd name="connsiteX1005" fmla="*/ 752293 w 1556920"/>
                <a:gd name="connsiteY1005" fmla="*/ 773771 h 1898459"/>
                <a:gd name="connsiteX1006" fmla="*/ 750841 w 1556920"/>
                <a:gd name="connsiteY1006" fmla="*/ 773832 h 1898459"/>
                <a:gd name="connsiteX1007" fmla="*/ 749570 w 1556920"/>
                <a:gd name="connsiteY1007" fmla="*/ 774467 h 1898459"/>
                <a:gd name="connsiteX1008" fmla="*/ 748451 w 1556920"/>
                <a:gd name="connsiteY1008" fmla="*/ 775586 h 1898459"/>
                <a:gd name="connsiteX1009" fmla="*/ 747422 w 1556920"/>
                <a:gd name="connsiteY1009" fmla="*/ 777190 h 1898459"/>
                <a:gd name="connsiteX1010" fmla="*/ 750054 w 1556920"/>
                <a:gd name="connsiteY1010" fmla="*/ 779398 h 1898459"/>
                <a:gd name="connsiteX1011" fmla="*/ 752565 w 1556920"/>
                <a:gd name="connsiteY1011" fmla="*/ 779761 h 1898459"/>
                <a:gd name="connsiteX1012" fmla="*/ 688644 w 1556920"/>
                <a:gd name="connsiteY1012" fmla="*/ 776918 h 1898459"/>
                <a:gd name="connsiteX1013" fmla="*/ 690882 w 1556920"/>
                <a:gd name="connsiteY1013" fmla="*/ 776494 h 1898459"/>
                <a:gd name="connsiteX1014" fmla="*/ 692879 w 1556920"/>
                <a:gd name="connsiteY1014" fmla="*/ 774891 h 1898459"/>
                <a:gd name="connsiteX1015" fmla="*/ 693060 w 1556920"/>
                <a:gd name="connsiteY1015" fmla="*/ 772077 h 1898459"/>
                <a:gd name="connsiteX1016" fmla="*/ 699141 w 1556920"/>
                <a:gd name="connsiteY1016" fmla="*/ 771381 h 1898459"/>
                <a:gd name="connsiteX1017" fmla="*/ 700563 w 1556920"/>
                <a:gd name="connsiteY1017" fmla="*/ 769264 h 1898459"/>
                <a:gd name="connsiteX1018" fmla="*/ 699292 w 1556920"/>
                <a:gd name="connsiteY1018" fmla="*/ 766330 h 1898459"/>
                <a:gd name="connsiteX1019" fmla="*/ 696751 w 1556920"/>
                <a:gd name="connsiteY1019" fmla="*/ 766208 h 1898459"/>
                <a:gd name="connsiteX1020" fmla="*/ 691578 w 1556920"/>
                <a:gd name="connsiteY1020" fmla="*/ 767993 h 1898459"/>
                <a:gd name="connsiteX1021" fmla="*/ 689309 w 1556920"/>
                <a:gd name="connsiteY1021" fmla="*/ 768508 h 1898459"/>
                <a:gd name="connsiteX1022" fmla="*/ 685588 w 1556920"/>
                <a:gd name="connsiteY1022" fmla="*/ 770746 h 1898459"/>
                <a:gd name="connsiteX1023" fmla="*/ 683319 w 1556920"/>
                <a:gd name="connsiteY1023" fmla="*/ 771533 h 1898459"/>
                <a:gd name="connsiteX1024" fmla="*/ 676513 w 1556920"/>
                <a:gd name="connsiteY1024" fmla="*/ 772561 h 1898459"/>
                <a:gd name="connsiteX1025" fmla="*/ 674335 w 1556920"/>
                <a:gd name="connsiteY1025" fmla="*/ 773711 h 1898459"/>
                <a:gd name="connsiteX1026" fmla="*/ 675363 w 1556920"/>
                <a:gd name="connsiteY1026" fmla="*/ 776464 h 1898459"/>
                <a:gd name="connsiteX1027" fmla="*/ 675938 w 1556920"/>
                <a:gd name="connsiteY1027" fmla="*/ 779096 h 1898459"/>
                <a:gd name="connsiteX1028" fmla="*/ 676815 w 1556920"/>
                <a:gd name="connsiteY1028" fmla="*/ 781032 h 1898459"/>
                <a:gd name="connsiteX1029" fmla="*/ 683138 w 1556920"/>
                <a:gd name="connsiteY1029" fmla="*/ 783724 h 1898459"/>
                <a:gd name="connsiteX1030" fmla="*/ 685256 w 1556920"/>
                <a:gd name="connsiteY1030" fmla="*/ 783633 h 1898459"/>
                <a:gd name="connsiteX1031" fmla="*/ 684650 w 1556920"/>
                <a:gd name="connsiteY1031" fmla="*/ 780669 h 1898459"/>
                <a:gd name="connsiteX1032" fmla="*/ 686496 w 1556920"/>
                <a:gd name="connsiteY1032" fmla="*/ 777734 h 1898459"/>
                <a:gd name="connsiteX1033" fmla="*/ 688674 w 1556920"/>
                <a:gd name="connsiteY1033" fmla="*/ 776887 h 1898459"/>
                <a:gd name="connsiteX1034" fmla="*/ 767902 w 1556920"/>
                <a:gd name="connsiteY1034" fmla="*/ 751597 h 1898459"/>
                <a:gd name="connsiteX1035" fmla="*/ 768084 w 1556920"/>
                <a:gd name="connsiteY1035" fmla="*/ 750841 h 1898459"/>
                <a:gd name="connsiteX1036" fmla="*/ 763334 w 1556920"/>
                <a:gd name="connsiteY1036" fmla="*/ 749449 h 1898459"/>
                <a:gd name="connsiteX1037" fmla="*/ 761943 w 1556920"/>
                <a:gd name="connsiteY1037" fmla="*/ 748542 h 1898459"/>
                <a:gd name="connsiteX1038" fmla="*/ 758706 w 1556920"/>
                <a:gd name="connsiteY1038" fmla="*/ 748905 h 1898459"/>
                <a:gd name="connsiteX1039" fmla="*/ 754743 w 1556920"/>
                <a:gd name="connsiteY1039" fmla="*/ 750054 h 1898459"/>
                <a:gd name="connsiteX1040" fmla="*/ 751778 w 1556920"/>
                <a:gd name="connsiteY1040" fmla="*/ 752172 h 1898459"/>
                <a:gd name="connsiteX1041" fmla="*/ 751536 w 1556920"/>
                <a:gd name="connsiteY1041" fmla="*/ 755409 h 1898459"/>
                <a:gd name="connsiteX1042" fmla="*/ 750780 w 1556920"/>
                <a:gd name="connsiteY1042" fmla="*/ 756135 h 1898459"/>
                <a:gd name="connsiteX1043" fmla="*/ 749933 w 1556920"/>
                <a:gd name="connsiteY1043" fmla="*/ 756135 h 1898459"/>
                <a:gd name="connsiteX1044" fmla="*/ 749056 w 1556920"/>
                <a:gd name="connsiteY1044" fmla="*/ 755469 h 1898459"/>
                <a:gd name="connsiteX1045" fmla="*/ 748178 w 1556920"/>
                <a:gd name="connsiteY1045" fmla="*/ 754168 h 1898459"/>
                <a:gd name="connsiteX1046" fmla="*/ 746575 w 1556920"/>
                <a:gd name="connsiteY1046" fmla="*/ 755530 h 1898459"/>
                <a:gd name="connsiteX1047" fmla="*/ 744942 w 1556920"/>
                <a:gd name="connsiteY1047" fmla="*/ 756256 h 1898459"/>
                <a:gd name="connsiteX1048" fmla="*/ 741251 w 1556920"/>
                <a:gd name="connsiteY1048" fmla="*/ 756558 h 1898459"/>
                <a:gd name="connsiteX1049" fmla="*/ 741856 w 1556920"/>
                <a:gd name="connsiteY1049" fmla="*/ 758585 h 1898459"/>
                <a:gd name="connsiteX1050" fmla="*/ 743913 w 1556920"/>
                <a:gd name="connsiteY1050" fmla="*/ 760733 h 1898459"/>
                <a:gd name="connsiteX1051" fmla="*/ 744760 w 1556920"/>
                <a:gd name="connsiteY1051" fmla="*/ 762276 h 1898459"/>
                <a:gd name="connsiteX1052" fmla="*/ 739950 w 1556920"/>
                <a:gd name="connsiteY1052" fmla="*/ 765604 h 1898459"/>
                <a:gd name="connsiteX1053" fmla="*/ 741342 w 1556920"/>
                <a:gd name="connsiteY1053" fmla="*/ 766904 h 1898459"/>
                <a:gd name="connsiteX1054" fmla="*/ 743005 w 1556920"/>
                <a:gd name="connsiteY1054" fmla="*/ 768054 h 1898459"/>
                <a:gd name="connsiteX1055" fmla="*/ 744942 w 1556920"/>
                <a:gd name="connsiteY1055" fmla="*/ 768901 h 1898459"/>
                <a:gd name="connsiteX1056" fmla="*/ 754350 w 1556920"/>
                <a:gd name="connsiteY1056" fmla="*/ 770413 h 1898459"/>
                <a:gd name="connsiteX1057" fmla="*/ 756437 w 1556920"/>
                <a:gd name="connsiteY1057" fmla="*/ 771533 h 1898459"/>
                <a:gd name="connsiteX1058" fmla="*/ 757677 w 1556920"/>
                <a:gd name="connsiteY1058" fmla="*/ 772773 h 1898459"/>
                <a:gd name="connsiteX1059" fmla="*/ 758585 w 1556920"/>
                <a:gd name="connsiteY1059" fmla="*/ 774316 h 1898459"/>
                <a:gd name="connsiteX1060" fmla="*/ 760218 w 1556920"/>
                <a:gd name="connsiteY1060" fmla="*/ 777764 h 1898459"/>
                <a:gd name="connsiteX1061" fmla="*/ 761156 w 1556920"/>
                <a:gd name="connsiteY1061" fmla="*/ 778611 h 1898459"/>
                <a:gd name="connsiteX1062" fmla="*/ 762064 w 1556920"/>
                <a:gd name="connsiteY1062" fmla="*/ 778279 h 1898459"/>
                <a:gd name="connsiteX1063" fmla="*/ 762911 w 1556920"/>
                <a:gd name="connsiteY1063" fmla="*/ 777522 h 1898459"/>
                <a:gd name="connsiteX1064" fmla="*/ 763667 w 1556920"/>
                <a:gd name="connsiteY1064" fmla="*/ 777099 h 1898459"/>
                <a:gd name="connsiteX1065" fmla="*/ 765815 w 1556920"/>
                <a:gd name="connsiteY1065" fmla="*/ 776796 h 1898459"/>
                <a:gd name="connsiteX1066" fmla="*/ 772319 w 1556920"/>
                <a:gd name="connsiteY1066" fmla="*/ 773680 h 1898459"/>
                <a:gd name="connsiteX1067" fmla="*/ 773227 w 1556920"/>
                <a:gd name="connsiteY1067" fmla="*/ 774679 h 1898459"/>
                <a:gd name="connsiteX1068" fmla="*/ 773650 w 1556920"/>
                <a:gd name="connsiteY1068" fmla="*/ 776070 h 1898459"/>
                <a:gd name="connsiteX1069" fmla="*/ 773559 w 1556920"/>
                <a:gd name="connsiteY1069" fmla="*/ 777704 h 1898459"/>
                <a:gd name="connsiteX1070" fmla="*/ 772985 w 1556920"/>
                <a:gd name="connsiteY1070" fmla="*/ 779398 h 1898459"/>
                <a:gd name="connsiteX1071" fmla="*/ 771775 w 1556920"/>
                <a:gd name="connsiteY1071" fmla="*/ 780306 h 1898459"/>
                <a:gd name="connsiteX1072" fmla="*/ 765785 w 1556920"/>
                <a:gd name="connsiteY1072" fmla="*/ 782938 h 1898459"/>
                <a:gd name="connsiteX1073" fmla="*/ 762215 w 1556920"/>
                <a:gd name="connsiteY1073" fmla="*/ 782605 h 1898459"/>
                <a:gd name="connsiteX1074" fmla="*/ 761247 w 1556920"/>
                <a:gd name="connsiteY1074" fmla="*/ 782938 h 1898459"/>
                <a:gd name="connsiteX1075" fmla="*/ 760370 w 1556920"/>
                <a:gd name="connsiteY1075" fmla="*/ 783966 h 1898459"/>
                <a:gd name="connsiteX1076" fmla="*/ 759916 w 1556920"/>
                <a:gd name="connsiteY1076" fmla="*/ 785146 h 1898459"/>
                <a:gd name="connsiteX1077" fmla="*/ 759614 w 1556920"/>
                <a:gd name="connsiteY1077" fmla="*/ 786356 h 1898459"/>
                <a:gd name="connsiteX1078" fmla="*/ 758161 w 1556920"/>
                <a:gd name="connsiteY1078" fmla="*/ 789805 h 1898459"/>
                <a:gd name="connsiteX1079" fmla="*/ 757405 w 1556920"/>
                <a:gd name="connsiteY1079" fmla="*/ 790621 h 1898459"/>
                <a:gd name="connsiteX1080" fmla="*/ 756074 w 1556920"/>
                <a:gd name="connsiteY1080" fmla="*/ 790954 h 1898459"/>
                <a:gd name="connsiteX1081" fmla="*/ 754955 w 1556920"/>
                <a:gd name="connsiteY1081" fmla="*/ 791438 h 1898459"/>
                <a:gd name="connsiteX1082" fmla="*/ 753987 w 1556920"/>
                <a:gd name="connsiteY1082" fmla="*/ 792678 h 1898459"/>
                <a:gd name="connsiteX1083" fmla="*/ 753533 w 1556920"/>
                <a:gd name="connsiteY1083" fmla="*/ 794342 h 1898459"/>
                <a:gd name="connsiteX1084" fmla="*/ 754017 w 1556920"/>
                <a:gd name="connsiteY1084" fmla="*/ 796127 h 1898459"/>
                <a:gd name="connsiteX1085" fmla="*/ 755983 w 1556920"/>
                <a:gd name="connsiteY1085" fmla="*/ 797731 h 1898459"/>
                <a:gd name="connsiteX1086" fmla="*/ 758494 w 1556920"/>
                <a:gd name="connsiteY1086" fmla="*/ 797882 h 1898459"/>
                <a:gd name="connsiteX1087" fmla="*/ 763395 w 1556920"/>
                <a:gd name="connsiteY1087" fmla="*/ 796732 h 1898459"/>
                <a:gd name="connsiteX1088" fmla="*/ 769294 w 1556920"/>
                <a:gd name="connsiteY1088" fmla="*/ 793707 h 1898459"/>
                <a:gd name="connsiteX1089" fmla="*/ 771321 w 1556920"/>
                <a:gd name="connsiteY1089" fmla="*/ 793193 h 1898459"/>
                <a:gd name="connsiteX1090" fmla="*/ 771926 w 1556920"/>
                <a:gd name="connsiteY1090" fmla="*/ 794040 h 1898459"/>
                <a:gd name="connsiteX1091" fmla="*/ 770020 w 1556920"/>
                <a:gd name="connsiteY1091" fmla="*/ 795885 h 1898459"/>
                <a:gd name="connsiteX1092" fmla="*/ 765482 w 1556920"/>
                <a:gd name="connsiteY1092" fmla="*/ 798910 h 1898459"/>
                <a:gd name="connsiteX1093" fmla="*/ 758524 w 1556920"/>
                <a:gd name="connsiteY1093" fmla="*/ 800272 h 1898459"/>
                <a:gd name="connsiteX1094" fmla="*/ 756830 w 1556920"/>
                <a:gd name="connsiteY1094" fmla="*/ 801784 h 1898459"/>
                <a:gd name="connsiteX1095" fmla="*/ 755257 w 1556920"/>
                <a:gd name="connsiteY1095" fmla="*/ 802540 h 1898459"/>
                <a:gd name="connsiteX1096" fmla="*/ 750720 w 1556920"/>
                <a:gd name="connsiteY1096" fmla="*/ 801602 h 1898459"/>
                <a:gd name="connsiteX1097" fmla="*/ 748874 w 1556920"/>
                <a:gd name="connsiteY1097" fmla="*/ 802359 h 1898459"/>
                <a:gd name="connsiteX1098" fmla="*/ 749419 w 1556920"/>
                <a:gd name="connsiteY1098" fmla="*/ 802722 h 1898459"/>
                <a:gd name="connsiteX1099" fmla="*/ 749752 w 1556920"/>
                <a:gd name="connsiteY1099" fmla="*/ 803055 h 1898459"/>
                <a:gd name="connsiteX1100" fmla="*/ 750205 w 1556920"/>
                <a:gd name="connsiteY1100" fmla="*/ 803327 h 1898459"/>
                <a:gd name="connsiteX1101" fmla="*/ 750992 w 1556920"/>
                <a:gd name="connsiteY1101" fmla="*/ 803508 h 1898459"/>
                <a:gd name="connsiteX1102" fmla="*/ 750992 w 1556920"/>
                <a:gd name="connsiteY1102" fmla="*/ 804658 h 1898459"/>
                <a:gd name="connsiteX1103" fmla="*/ 749147 w 1556920"/>
                <a:gd name="connsiteY1103" fmla="*/ 805838 h 1898459"/>
                <a:gd name="connsiteX1104" fmla="*/ 747725 w 1556920"/>
                <a:gd name="connsiteY1104" fmla="*/ 804416 h 1898459"/>
                <a:gd name="connsiteX1105" fmla="*/ 746394 w 1556920"/>
                <a:gd name="connsiteY1105" fmla="*/ 801996 h 1898459"/>
                <a:gd name="connsiteX1106" fmla="*/ 744790 w 1556920"/>
                <a:gd name="connsiteY1106" fmla="*/ 800241 h 1898459"/>
                <a:gd name="connsiteX1107" fmla="*/ 742794 w 1556920"/>
                <a:gd name="connsiteY1107" fmla="*/ 799909 h 1898459"/>
                <a:gd name="connsiteX1108" fmla="*/ 740253 w 1556920"/>
                <a:gd name="connsiteY1108" fmla="*/ 800362 h 1898459"/>
                <a:gd name="connsiteX1109" fmla="*/ 738075 w 1556920"/>
                <a:gd name="connsiteY1109" fmla="*/ 801724 h 1898459"/>
                <a:gd name="connsiteX1110" fmla="*/ 737167 w 1556920"/>
                <a:gd name="connsiteY1110" fmla="*/ 804083 h 1898459"/>
                <a:gd name="connsiteX1111" fmla="*/ 737772 w 1556920"/>
                <a:gd name="connsiteY1111" fmla="*/ 807169 h 1898459"/>
                <a:gd name="connsiteX1112" fmla="*/ 739254 w 1556920"/>
                <a:gd name="connsiteY1112" fmla="*/ 809710 h 1898459"/>
                <a:gd name="connsiteX1113" fmla="*/ 741069 w 1556920"/>
                <a:gd name="connsiteY1113" fmla="*/ 811555 h 1898459"/>
                <a:gd name="connsiteX1114" fmla="*/ 743822 w 1556920"/>
                <a:gd name="connsiteY1114" fmla="*/ 813098 h 1898459"/>
                <a:gd name="connsiteX1115" fmla="*/ 745910 w 1556920"/>
                <a:gd name="connsiteY1115" fmla="*/ 813733 h 1898459"/>
                <a:gd name="connsiteX1116" fmla="*/ 747180 w 1556920"/>
                <a:gd name="connsiteY1116" fmla="*/ 813824 h 1898459"/>
                <a:gd name="connsiteX1117" fmla="*/ 748209 w 1556920"/>
                <a:gd name="connsiteY1117" fmla="*/ 813310 h 1898459"/>
                <a:gd name="connsiteX1118" fmla="*/ 748814 w 1556920"/>
                <a:gd name="connsiteY1118" fmla="*/ 812130 h 1898459"/>
                <a:gd name="connsiteX1119" fmla="*/ 749267 w 1556920"/>
                <a:gd name="connsiteY1119" fmla="*/ 810981 h 1898459"/>
                <a:gd name="connsiteX1120" fmla="*/ 749873 w 1556920"/>
                <a:gd name="connsiteY1120" fmla="*/ 810466 h 1898459"/>
                <a:gd name="connsiteX1121" fmla="*/ 759220 w 1556920"/>
                <a:gd name="connsiteY1121" fmla="*/ 810466 h 1898459"/>
                <a:gd name="connsiteX1122" fmla="*/ 760279 w 1556920"/>
                <a:gd name="connsiteY1122" fmla="*/ 809952 h 1898459"/>
                <a:gd name="connsiteX1123" fmla="*/ 762669 w 1556920"/>
                <a:gd name="connsiteY1123" fmla="*/ 808409 h 1898459"/>
                <a:gd name="connsiteX1124" fmla="*/ 763697 w 1556920"/>
                <a:gd name="connsiteY1124" fmla="*/ 808076 h 1898459"/>
                <a:gd name="connsiteX1125" fmla="*/ 764847 w 1556920"/>
                <a:gd name="connsiteY1125" fmla="*/ 808500 h 1898459"/>
                <a:gd name="connsiteX1126" fmla="*/ 766087 w 1556920"/>
                <a:gd name="connsiteY1126" fmla="*/ 809256 h 1898459"/>
                <a:gd name="connsiteX1127" fmla="*/ 767358 w 1556920"/>
                <a:gd name="connsiteY1127" fmla="*/ 809559 h 1898459"/>
                <a:gd name="connsiteX1128" fmla="*/ 768508 w 1556920"/>
                <a:gd name="connsiteY1128" fmla="*/ 808682 h 1898459"/>
                <a:gd name="connsiteX1129" fmla="*/ 770232 w 1556920"/>
                <a:gd name="connsiteY1129" fmla="*/ 806896 h 1898459"/>
                <a:gd name="connsiteX1130" fmla="*/ 778248 w 1556920"/>
                <a:gd name="connsiteY1130" fmla="*/ 803115 h 1898459"/>
                <a:gd name="connsiteX1131" fmla="*/ 781637 w 1556920"/>
                <a:gd name="connsiteY1131" fmla="*/ 802389 h 1898459"/>
                <a:gd name="connsiteX1132" fmla="*/ 782574 w 1556920"/>
                <a:gd name="connsiteY1132" fmla="*/ 801875 h 1898459"/>
                <a:gd name="connsiteX1133" fmla="*/ 783270 w 1556920"/>
                <a:gd name="connsiteY1133" fmla="*/ 800695 h 1898459"/>
                <a:gd name="connsiteX1134" fmla="*/ 783815 w 1556920"/>
                <a:gd name="connsiteY1134" fmla="*/ 799515 h 1898459"/>
                <a:gd name="connsiteX1135" fmla="*/ 784329 w 1556920"/>
                <a:gd name="connsiteY1135" fmla="*/ 798971 h 1898459"/>
                <a:gd name="connsiteX1136" fmla="*/ 786779 w 1556920"/>
                <a:gd name="connsiteY1136" fmla="*/ 798154 h 1898459"/>
                <a:gd name="connsiteX1137" fmla="*/ 788020 w 1556920"/>
                <a:gd name="connsiteY1137" fmla="*/ 798063 h 1898459"/>
                <a:gd name="connsiteX1138" fmla="*/ 788867 w 1556920"/>
                <a:gd name="connsiteY1138" fmla="*/ 798971 h 1898459"/>
                <a:gd name="connsiteX1139" fmla="*/ 788746 w 1556920"/>
                <a:gd name="connsiteY1139" fmla="*/ 800513 h 1898459"/>
                <a:gd name="connsiteX1140" fmla="*/ 787808 w 1556920"/>
                <a:gd name="connsiteY1140" fmla="*/ 801935 h 1898459"/>
                <a:gd name="connsiteX1141" fmla="*/ 786719 w 1556920"/>
                <a:gd name="connsiteY1141" fmla="*/ 803025 h 1898459"/>
                <a:gd name="connsiteX1142" fmla="*/ 786084 w 1556920"/>
                <a:gd name="connsiteY1142" fmla="*/ 803508 h 1898459"/>
                <a:gd name="connsiteX1143" fmla="*/ 789290 w 1556920"/>
                <a:gd name="connsiteY1143" fmla="*/ 805505 h 1898459"/>
                <a:gd name="connsiteX1144" fmla="*/ 793253 w 1556920"/>
                <a:gd name="connsiteY1144" fmla="*/ 804628 h 1898459"/>
                <a:gd name="connsiteX1145" fmla="*/ 802177 w 1556920"/>
                <a:gd name="connsiteY1145" fmla="*/ 798971 h 1898459"/>
                <a:gd name="connsiteX1146" fmla="*/ 803902 w 1556920"/>
                <a:gd name="connsiteY1146" fmla="*/ 797005 h 1898459"/>
                <a:gd name="connsiteX1147" fmla="*/ 804567 w 1556920"/>
                <a:gd name="connsiteY1147" fmla="*/ 795189 h 1898459"/>
                <a:gd name="connsiteX1148" fmla="*/ 802933 w 1556920"/>
                <a:gd name="connsiteY1148" fmla="*/ 794403 h 1898459"/>
                <a:gd name="connsiteX1149" fmla="*/ 799152 w 1556920"/>
                <a:gd name="connsiteY1149" fmla="*/ 794917 h 1898459"/>
                <a:gd name="connsiteX1150" fmla="*/ 797337 w 1556920"/>
                <a:gd name="connsiteY1150" fmla="*/ 795643 h 1898459"/>
                <a:gd name="connsiteX1151" fmla="*/ 795734 w 1556920"/>
                <a:gd name="connsiteY1151" fmla="*/ 796793 h 1898459"/>
                <a:gd name="connsiteX1152" fmla="*/ 795734 w 1556920"/>
                <a:gd name="connsiteY1152" fmla="*/ 795552 h 1898459"/>
                <a:gd name="connsiteX1153" fmla="*/ 799031 w 1556920"/>
                <a:gd name="connsiteY1153" fmla="*/ 792860 h 1898459"/>
                <a:gd name="connsiteX1154" fmla="*/ 800241 w 1556920"/>
                <a:gd name="connsiteY1154" fmla="*/ 790894 h 1898459"/>
                <a:gd name="connsiteX1155" fmla="*/ 799908 w 1556920"/>
                <a:gd name="connsiteY1155" fmla="*/ 788715 h 1898459"/>
                <a:gd name="connsiteX1156" fmla="*/ 800665 w 1556920"/>
                <a:gd name="connsiteY1156" fmla="*/ 788625 h 1898459"/>
                <a:gd name="connsiteX1157" fmla="*/ 801330 w 1556920"/>
                <a:gd name="connsiteY1157" fmla="*/ 788715 h 1898459"/>
                <a:gd name="connsiteX1158" fmla="*/ 801966 w 1556920"/>
                <a:gd name="connsiteY1158" fmla="*/ 789048 h 1898459"/>
                <a:gd name="connsiteX1159" fmla="*/ 802570 w 1556920"/>
                <a:gd name="connsiteY1159" fmla="*/ 789744 h 1898459"/>
                <a:gd name="connsiteX1160" fmla="*/ 802389 w 1556920"/>
                <a:gd name="connsiteY1160" fmla="*/ 791529 h 1898459"/>
                <a:gd name="connsiteX1161" fmla="*/ 803841 w 1556920"/>
                <a:gd name="connsiteY1161" fmla="*/ 792194 h 1898459"/>
                <a:gd name="connsiteX1162" fmla="*/ 807138 w 1556920"/>
                <a:gd name="connsiteY1162" fmla="*/ 792134 h 1898459"/>
                <a:gd name="connsiteX1163" fmla="*/ 808439 w 1556920"/>
                <a:gd name="connsiteY1163" fmla="*/ 791075 h 1898459"/>
                <a:gd name="connsiteX1164" fmla="*/ 807683 w 1556920"/>
                <a:gd name="connsiteY1164" fmla="*/ 788776 h 1898459"/>
                <a:gd name="connsiteX1165" fmla="*/ 806201 w 1556920"/>
                <a:gd name="connsiteY1165" fmla="*/ 786417 h 1898459"/>
                <a:gd name="connsiteX1166" fmla="*/ 805323 w 1556920"/>
                <a:gd name="connsiteY1166" fmla="*/ 785267 h 1898459"/>
                <a:gd name="connsiteX1167" fmla="*/ 807169 w 1556920"/>
                <a:gd name="connsiteY1167" fmla="*/ 785539 h 1898459"/>
                <a:gd name="connsiteX1168" fmla="*/ 807986 w 1556920"/>
                <a:gd name="connsiteY1168" fmla="*/ 785811 h 1898459"/>
                <a:gd name="connsiteX1169" fmla="*/ 808833 w 1556920"/>
                <a:gd name="connsiteY1169" fmla="*/ 786386 h 1898459"/>
                <a:gd name="connsiteX1170" fmla="*/ 809347 w 1556920"/>
                <a:gd name="connsiteY1170" fmla="*/ 783089 h 1898459"/>
                <a:gd name="connsiteX1171" fmla="*/ 808288 w 1556920"/>
                <a:gd name="connsiteY1171" fmla="*/ 782423 h 1898459"/>
                <a:gd name="connsiteX1172" fmla="*/ 806806 w 1556920"/>
                <a:gd name="connsiteY1172" fmla="*/ 782756 h 1898459"/>
                <a:gd name="connsiteX1173" fmla="*/ 806049 w 1556920"/>
                <a:gd name="connsiteY1173" fmla="*/ 782393 h 1898459"/>
                <a:gd name="connsiteX1174" fmla="*/ 805566 w 1556920"/>
                <a:gd name="connsiteY1174" fmla="*/ 780336 h 1898459"/>
                <a:gd name="connsiteX1175" fmla="*/ 804446 w 1556920"/>
                <a:gd name="connsiteY1175" fmla="*/ 778400 h 1898459"/>
                <a:gd name="connsiteX1176" fmla="*/ 803085 w 1556920"/>
                <a:gd name="connsiteY1176" fmla="*/ 776857 h 1898459"/>
                <a:gd name="connsiteX1177" fmla="*/ 801935 w 1556920"/>
                <a:gd name="connsiteY1177" fmla="*/ 775980 h 1898459"/>
                <a:gd name="connsiteX1178" fmla="*/ 801270 w 1556920"/>
                <a:gd name="connsiteY1178" fmla="*/ 775980 h 1898459"/>
                <a:gd name="connsiteX1179" fmla="*/ 799394 w 1556920"/>
                <a:gd name="connsiteY1179" fmla="*/ 776252 h 1898459"/>
                <a:gd name="connsiteX1180" fmla="*/ 798426 w 1556920"/>
                <a:gd name="connsiteY1180" fmla="*/ 775980 h 1898459"/>
                <a:gd name="connsiteX1181" fmla="*/ 797579 w 1556920"/>
                <a:gd name="connsiteY1181" fmla="*/ 775284 h 1898459"/>
                <a:gd name="connsiteX1182" fmla="*/ 795341 w 1556920"/>
                <a:gd name="connsiteY1182" fmla="*/ 772047 h 1898459"/>
                <a:gd name="connsiteX1183" fmla="*/ 794645 w 1556920"/>
                <a:gd name="connsiteY1183" fmla="*/ 771533 h 1898459"/>
                <a:gd name="connsiteX1184" fmla="*/ 793646 w 1556920"/>
                <a:gd name="connsiteY1184" fmla="*/ 771351 h 1898459"/>
                <a:gd name="connsiteX1185" fmla="*/ 792648 w 1556920"/>
                <a:gd name="connsiteY1185" fmla="*/ 771533 h 1898459"/>
                <a:gd name="connsiteX1186" fmla="*/ 791105 w 1556920"/>
                <a:gd name="connsiteY1186" fmla="*/ 772501 h 1898459"/>
                <a:gd name="connsiteX1187" fmla="*/ 790349 w 1556920"/>
                <a:gd name="connsiteY1187" fmla="*/ 771865 h 1898459"/>
                <a:gd name="connsiteX1188" fmla="*/ 789623 w 1556920"/>
                <a:gd name="connsiteY1188" fmla="*/ 770867 h 1898459"/>
                <a:gd name="connsiteX1189" fmla="*/ 788806 w 1556920"/>
                <a:gd name="connsiteY1189" fmla="*/ 770262 h 1898459"/>
                <a:gd name="connsiteX1190" fmla="*/ 778763 w 1556920"/>
                <a:gd name="connsiteY1190" fmla="*/ 770262 h 1898459"/>
                <a:gd name="connsiteX1191" fmla="*/ 777704 w 1556920"/>
                <a:gd name="connsiteY1191" fmla="*/ 769929 h 1898459"/>
                <a:gd name="connsiteX1192" fmla="*/ 777432 w 1556920"/>
                <a:gd name="connsiteY1192" fmla="*/ 769082 h 1898459"/>
                <a:gd name="connsiteX1193" fmla="*/ 777432 w 1556920"/>
                <a:gd name="connsiteY1193" fmla="*/ 767993 h 1898459"/>
                <a:gd name="connsiteX1194" fmla="*/ 777129 w 1556920"/>
                <a:gd name="connsiteY1194" fmla="*/ 766813 h 1898459"/>
                <a:gd name="connsiteX1195" fmla="*/ 773045 w 1556920"/>
                <a:gd name="connsiteY1195" fmla="*/ 757738 h 1898459"/>
                <a:gd name="connsiteX1196" fmla="*/ 770565 w 1556920"/>
                <a:gd name="connsiteY1196" fmla="*/ 754350 h 1898459"/>
                <a:gd name="connsiteX1197" fmla="*/ 767449 w 1556920"/>
                <a:gd name="connsiteY1197" fmla="*/ 754108 h 1898459"/>
                <a:gd name="connsiteX1198" fmla="*/ 767630 w 1556920"/>
                <a:gd name="connsiteY1198" fmla="*/ 753352 h 1898459"/>
                <a:gd name="connsiteX1199" fmla="*/ 767902 w 1556920"/>
                <a:gd name="connsiteY1199" fmla="*/ 751537 h 1898459"/>
                <a:gd name="connsiteX1200" fmla="*/ 706069 w 1556920"/>
                <a:gd name="connsiteY1200" fmla="*/ 759523 h 1898459"/>
                <a:gd name="connsiteX1201" fmla="*/ 703285 w 1556920"/>
                <a:gd name="connsiteY1201" fmla="*/ 760007 h 1898459"/>
                <a:gd name="connsiteX1202" fmla="*/ 703860 w 1556920"/>
                <a:gd name="connsiteY1202" fmla="*/ 761640 h 1898459"/>
                <a:gd name="connsiteX1203" fmla="*/ 704798 w 1556920"/>
                <a:gd name="connsiteY1203" fmla="*/ 763698 h 1898459"/>
                <a:gd name="connsiteX1204" fmla="*/ 705706 w 1556920"/>
                <a:gd name="connsiteY1204" fmla="*/ 764635 h 1898459"/>
                <a:gd name="connsiteX1205" fmla="*/ 706099 w 1556920"/>
                <a:gd name="connsiteY1205" fmla="*/ 762911 h 1898459"/>
                <a:gd name="connsiteX1206" fmla="*/ 706613 w 1556920"/>
                <a:gd name="connsiteY1206" fmla="*/ 761368 h 1898459"/>
                <a:gd name="connsiteX1207" fmla="*/ 707793 w 1556920"/>
                <a:gd name="connsiteY1207" fmla="*/ 761368 h 1898459"/>
                <a:gd name="connsiteX1208" fmla="*/ 710213 w 1556920"/>
                <a:gd name="connsiteY1208" fmla="*/ 762336 h 1898459"/>
                <a:gd name="connsiteX1209" fmla="*/ 711907 w 1556920"/>
                <a:gd name="connsiteY1209" fmla="*/ 761792 h 1898459"/>
                <a:gd name="connsiteX1210" fmla="*/ 717171 w 1556920"/>
                <a:gd name="connsiteY1210" fmla="*/ 757859 h 1898459"/>
                <a:gd name="connsiteX1211" fmla="*/ 720892 w 1556920"/>
                <a:gd name="connsiteY1211" fmla="*/ 753200 h 1898459"/>
                <a:gd name="connsiteX1212" fmla="*/ 722193 w 1556920"/>
                <a:gd name="connsiteY1212" fmla="*/ 753049 h 1898459"/>
                <a:gd name="connsiteX1213" fmla="*/ 723130 w 1556920"/>
                <a:gd name="connsiteY1213" fmla="*/ 752595 h 1898459"/>
                <a:gd name="connsiteX1214" fmla="*/ 723917 w 1556920"/>
                <a:gd name="connsiteY1214" fmla="*/ 751869 h 1898459"/>
                <a:gd name="connsiteX1215" fmla="*/ 724673 w 1556920"/>
                <a:gd name="connsiteY1215" fmla="*/ 750871 h 1898459"/>
                <a:gd name="connsiteX1216" fmla="*/ 725399 w 1556920"/>
                <a:gd name="connsiteY1216" fmla="*/ 749570 h 1898459"/>
                <a:gd name="connsiteX1217" fmla="*/ 726791 w 1556920"/>
                <a:gd name="connsiteY1217" fmla="*/ 746152 h 1898459"/>
                <a:gd name="connsiteX1218" fmla="*/ 727759 w 1556920"/>
                <a:gd name="connsiteY1218" fmla="*/ 744488 h 1898459"/>
                <a:gd name="connsiteX1219" fmla="*/ 728424 w 1556920"/>
                <a:gd name="connsiteY1219" fmla="*/ 742764 h 1898459"/>
                <a:gd name="connsiteX1220" fmla="*/ 727426 w 1556920"/>
                <a:gd name="connsiteY1220" fmla="*/ 742279 h 1898459"/>
                <a:gd name="connsiteX1221" fmla="*/ 724673 w 1556920"/>
                <a:gd name="connsiteY1221" fmla="*/ 742703 h 1898459"/>
                <a:gd name="connsiteX1222" fmla="*/ 723040 w 1556920"/>
                <a:gd name="connsiteY1222" fmla="*/ 743248 h 1898459"/>
                <a:gd name="connsiteX1223" fmla="*/ 720045 w 1556920"/>
                <a:gd name="connsiteY1223" fmla="*/ 745698 h 1898459"/>
                <a:gd name="connsiteX1224" fmla="*/ 717655 w 1556920"/>
                <a:gd name="connsiteY1224" fmla="*/ 746636 h 1898459"/>
                <a:gd name="connsiteX1225" fmla="*/ 714418 w 1556920"/>
                <a:gd name="connsiteY1225" fmla="*/ 748905 h 1898459"/>
                <a:gd name="connsiteX1226" fmla="*/ 713238 w 1556920"/>
                <a:gd name="connsiteY1226" fmla="*/ 750296 h 1898459"/>
                <a:gd name="connsiteX1227" fmla="*/ 708700 w 1556920"/>
                <a:gd name="connsiteY1227" fmla="*/ 757133 h 1898459"/>
                <a:gd name="connsiteX1228" fmla="*/ 706069 w 1556920"/>
                <a:gd name="connsiteY1228" fmla="*/ 759553 h 1898459"/>
                <a:gd name="connsiteX1229" fmla="*/ 625358 w 1556920"/>
                <a:gd name="connsiteY1229" fmla="*/ 699927 h 1898459"/>
                <a:gd name="connsiteX1230" fmla="*/ 626961 w 1556920"/>
                <a:gd name="connsiteY1230" fmla="*/ 699716 h 1898459"/>
                <a:gd name="connsiteX1231" fmla="*/ 628504 w 1556920"/>
                <a:gd name="connsiteY1231" fmla="*/ 699050 h 1898459"/>
                <a:gd name="connsiteX1232" fmla="*/ 629351 w 1556920"/>
                <a:gd name="connsiteY1232" fmla="*/ 697931 h 1898459"/>
                <a:gd name="connsiteX1233" fmla="*/ 628776 w 1556920"/>
                <a:gd name="connsiteY1233" fmla="*/ 696358 h 1898459"/>
                <a:gd name="connsiteX1234" fmla="*/ 629502 w 1556920"/>
                <a:gd name="connsiteY1234" fmla="*/ 695965 h 1898459"/>
                <a:gd name="connsiteX1235" fmla="*/ 630289 w 1556920"/>
                <a:gd name="connsiteY1235" fmla="*/ 695420 h 1898459"/>
                <a:gd name="connsiteX1236" fmla="*/ 631105 w 1556920"/>
                <a:gd name="connsiteY1236" fmla="*/ 694603 h 1898459"/>
                <a:gd name="connsiteX1237" fmla="*/ 631922 w 1556920"/>
                <a:gd name="connsiteY1237" fmla="*/ 693514 h 1898459"/>
                <a:gd name="connsiteX1238" fmla="*/ 632769 w 1556920"/>
                <a:gd name="connsiteY1238" fmla="*/ 692909 h 1898459"/>
                <a:gd name="connsiteX1239" fmla="*/ 635673 w 1556920"/>
                <a:gd name="connsiteY1239" fmla="*/ 693000 h 1898459"/>
                <a:gd name="connsiteX1240" fmla="*/ 634826 w 1556920"/>
                <a:gd name="connsiteY1240" fmla="*/ 692213 h 1898459"/>
                <a:gd name="connsiteX1241" fmla="*/ 634403 w 1556920"/>
                <a:gd name="connsiteY1241" fmla="*/ 690882 h 1898459"/>
                <a:gd name="connsiteX1242" fmla="*/ 634100 w 1556920"/>
                <a:gd name="connsiteY1242" fmla="*/ 689461 h 1898459"/>
                <a:gd name="connsiteX1243" fmla="*/ 633616 w 1556920"/>
                <a:gd name="connsiteY1243" fmla="*/ 688341 h 1898459"/>
                <a:gd name="connsiteX1244" fmla="*/ 632739 w 1556920"/>
                <a:gd name="connsiteY1244" fmla="*/ 687585 h 1898459"/>
                <a:gd name="connsiteX1245" fmla="*/ 629502 w 1556920"/>
                <a:gd name="connsiteY1245" fmla="*/ 686042 h 1898459"/>
                <a:gd name="connsiteX1246" fmla="*/ 630107 w 1556920"/>
                <a:gd name="connsiteY1246" fmla="*/ 685377 h 1898459"/>
                <a:gd name="connsiteX1247" fmla="*/ 631559 w 1556920"/>
                <a:gd name="connsiteY1247" fmla="*/ 682472 h 1898459"/>
                <a:gd name="connsiteX1248" fmla="*/ 631136 w 1556920"/>
                <a:gd name="connsiteY1248" fmla="*/ 681958 h 1898459"/>
                <a:gd name="connsiteX1249" fmla="*/ 630712 w 1556920"/>
                <a:gd name="connsiteY1249" fmla="*/ 681595 h 1898459"/>
                <a:gd name="connsiteX1250" fmla="*/ 630198 w 1556920"/>
                <a:gd name="connsiteY1250" fmla="*/ 681383 h 1898459"/>
                <a:gd name="connsiteX1251" fmla="*/ 629502 w 1556920"/>
                <a:gd name="connsiteY1251" fmla="*/ 681323 h 1898459"/>
                <a:gd name="connsiteX1252" fmla="*/ 628837 w 1556920"/>
                <a:gd name="connsiteY1252" fmla="*/ 680385 h 1898459"/>
                <a:gd name="connsiteX1253" fmla="*/ 628504 w 1556920"/>
                <a:gd name="connsiteY1253" fmla="*/ 680143 h 1898459"/>
                <a:gd name="connsiteX1254" fmla="*/ 628050 w 1556920"/>
                <a:gd name="connsiteY1254" fmla="*/ 680143 h 1898459"/>
                <a:gd name="connsiteX1255" fmla="*/ 627264 w 1556920"/>
                <a:gd name="connsiteY1255" fmla="*/ 684741 h 1898459"/>
                <a:gd name="connsiteX1256" fmla="*/ 625388 w 1556920"/>
                <a:gd name="connsiteY1256" fmla="*/ 686193 h 1898459"/>
                <a:gd name="connsiteX1257" fmla="*/ 622968 w 1556920"/>
                <a:gd name="connsiteY1257" fmla="*/ 686677 h 1898459"/>
                <a:gd name="connsiteX1258" fmla="*/ 620517 w 1556920"/>
                <a:gd name="connsiteY1258" fmla="*/ 688341 h 1898459"/>
                <a:gd name="connsiteX1259" fmla="*/ 621576 w 1556920"/>
                <a:gd name="connsiteY1259" fmla="*/ 689581 h 1898459"/>
                <a:gd name="connsiteX1260" fmla="*/ 621818 w 1556920"/>
                <a:gd name="connsiteY1260" fmla="*/ 691487 h 1898459"/>
                <a:gd name="connsiteX1261" fmla="*/ 621334 w 1556920"/>
                <a:gd name="connsiteY1261" fmla="*/ 693272 h 1898459"/>
                <a:gd name="connsiteX1262" fmla="*/ 620154 w 1556920"/>
                <a:gd name="connsiteY1262" fmla="*/ 694029 h 1898459"/>
                <a:gd name="connsiteX1263" fmla="*/ 618460 w 1556920"/>
                <a:gd name="connsiteY1263" fmla="*/ 694755 h 1898459"/>
                <a:gd name="connsiteX1264" fmla="*/ 617341 w 1556920"/>
                <a:gd name="connsiteY1264" fmla="*/ 696388 h 1898459"/>
                <a:gd name="connsiteX1265" fmla="*/ 617280 w 1556920"/>
                <a:gd name="connsiteY1265" fmla="*/ 698022 h 1898459"/>
                <a:gd name="connsiteX1266" fmla="*/ 618823 w 1556920"/>
                <a:gd name="connsiteY1266" fmla="*/ 698748 h 1898459"/>
                <a:gd name="connsiteX1267" fmla="*/ 625358 w 1556920"/>
                <a:gd name="connsiteY1267" fmla="*/ 699897 h 1898459"/>
                <a:gd name="connsiteX1268" fmla="*/ 748693 w 1556920"/>
                <a:gd name="connsiteY1268" fmla="*/ 685558 h 1898459"/>
                <a:gd name="connsiteX1269" fmla="*/ 746484 w 1556920"/>
                <a:gd name="connsiteY1269" fmla="*/ 683229 h 1898459"/>
                <a:gd name="connsiteX1270" fmla="*/ 741221 w 1556920"/>
                <a:gd name="connsiteY1270" fmla="*/ 680113 h 1898459"/>
                <a:gd name="connsiteX1271" fmla="*/ 737288 w 1556920"/>
                <a:gd name="connsiteY1271" fmla="*/ 680627 h 1898459"/>
                <a:gd name="connsiteX1272" fmla="*/ 734172 w 1556920"/>
                <a:gd name="connsiteY1272" fmla="*/ 682956 h 1898459"/>
                <a:gd name="connsiteX1273" fmla="*/ 728122 w 1556920"/>
                <a:gd name="connsiteY1273" fmla="*/ 689400 h 1898459"/>
                <a:gd name="connsiteX1274" fmla="*/ 729997 w 1556920"/>
                <a:gd name="connsiteY1274" fmla="*/ 690338 h 1898459"/>
                <a:gd name="connsiteX1275" fmla="*/ 733144 w 1556920"/>
                <a:gd name="connsiteY1275" fmla="*/ 693393 h 1898459"/>
                <a:gd name="connsiteX1276" fmla="*/ 734656 w 1556920"/>
                <a:gd name="connsiteY1276" fmla="*/ 694059 h 1898459"/>
                <a:gd name="connsiteX1277" fmla="*/ 736078 w 1556920"/>
                <a:gd name="connsiteY1277" fmla="*/ 694997 h 1898459"/>
                <a:gd name="connsiteX1278" fmla="*/ 737711 w 1556920"/>
                <a:gd name="connsiteY1278" fmla="*/ 699020 h 1898459"/>
                <a:gd name="connsiteX1279" fmla="*/ 739527 w 1556920"/>
                <a:gd name="connsiteY1279" fmla="*/ 699927 h 1898459"/>
                <a:gd name="connsiteX1280" fmla="*/ 743369 w 1556920"/>
                <a:gd name="connsiteY1280" fmla="*/ 699564 h 1898459"/>
                <a:gd name="connsiteX1281" fmla="*/ 746152 w 1556920"/>
                <a:gd name="connsiteY1281" fmla="*/ 698022 h 1898459"/>
                <a:gd name="connsiteX1282" fmla="*/ 748088 w 1556920"/>
                <a:gd name="connsiteY1282" fmla="*/ 694512 h 1898459"/>
                <a:gd name="connsiteX1283" fmla="*/ 749449 w 1556920"/>
                <a:gd name="connsiteY1283" fmla="*/ 688311 h 1898459"/>
                <a:gd name="connsiteX1284" fmla="*/ 746757 w 1556920"/>
                <a:gd name="connsiteY1284" fmla="*/ 688311 h 1898459"/>
                <a:gd name="connsiteX1285" fmla="*/ 746757 w 1556920"/>
                <a:gd name="connsiteY1285" fmla="*/ 687071 h 1898459"/>
                <a:gd name="connsiteX1286" fmla="*/ 748663 w 1556920"/>
                <a:gd name="connsiteY1286" fmla="*/ 685558 h 1898459"/>
                <a:gd name="connsiteX1287" fmla="*/ 718774 w 1556920"/>
                <a:gd name="connsiteY1287" fmla="*/ 681988 h 1898459"/>
                <a:gd name="connsiteX1288" fmla="*/ 722011 w 1556920"/>
                <a:gd name="connsiteY1288" fmla="*/ 681474 h 1898459"/>
                <a:gd name="connsiteX1289" fmla="*/ 724643 w 1556920"/>
                <a:gd name="connsiteY1289" fmla="*/ 680143 h 1898459"/>
                <a:gd name="connsiteX1290" fmla="*/ 723463 w 1556920"/>
                <a:gd name="connsiteY1290" fmla="*/ 679296 h 1898459"/>
                <a:gd name="connsiteX1291" fmla="*/ 721013 w 1556920"/>
                <a:gd name="connsiteY1291" fmla="*/ 678691 h 1898459"/>
                <a:gd name="connsiteX1292" fmla="*/ 719833 w 1556920"/>
                <a:gd name="connsiteY1292" fmla="*/ 677723 h 1898459"/>
                <a:gd name="connsiteX1293" fmla="*/ 717927 w 1556920"/>
                <a:gd name="connsiteY1293" fmla="*/ 678177 h 1898459"/>
                <a:gd name="connsiteX1294" fmla="*/ 714448 w 1556920"/>
                <a:gd name="connsiteY1294" fmla="*/ 680052 h 1898459"/>
                <a:gd name="connsiteX1295" fmla="*/ 712875 w 1556920"/>
                <a:gd name="connsiteY1295" fmla="*/ 681293 h 1898459"/>
                <a:gd name="connsiteX1296" fmla="*/ 715477 w 1556920"/>
                <a:gd name="connsiteY1296" fmla="*/ 681867 h 1898459"/>
                <a:gd name="connsiteX1297" fmla="*/ 718714 w 1556920"/>
                <a:gd name="connsiteY1297" fmla="*/ 682019 h 1898459"/>
                <a:gd name="connsiteX1298" fmla="*/ 774951 w 1556920"/>
                <a:gd name="connsiteY1298" fmla="*/ 634584 h 1898459"/>
                <a:gd name="connsiteX1299" fmla="*/ 772531 w 1556920"/>
                <a:gd name="connsiteY1299" fmla="*/ 635976 h 1898459"/>
                <a:gd name="connsiteX1300" fmla="*/ 773136 w 1556920"/>
                <a:gd name="connsiteY1300" fmla="*/ 638336 h 1898459"/>
                <a:gd name="connsiteX1301" fmla="*/ 775435 w 1556920"/>
                <a:gd name="connsiteY1301" fmla="*/ 640574 h 1898459"/>
                <a:gd name="connsiteX1302" fmla="*/ 778097 w 1556920"/>
                <a:gd name="connsiteY1302" fmla="*/ 641603 h 1898459"/>
                <a:gd name="connsiteX1303" fmla="*/ 781425 w 1556920"/>
                <a:gd name="connsiteY1303" fmla="*/ 640363 h 1898459"/>
                <a:gd name="connsiteX1304" fmla="*/ 781031 w 1556920"/>
                <a:gd name="connsiteY1304" fmla="*/ 637700 h 1898459"/>
                <a:gd name="connsiteX1305" fmla="*/ 778369 w 1556920"/>
                <a:gd name="connsiteY1305" fmla="*/ 635250 h 1898459"/>
                <a:gd name="connsiteX1306" fmla="*/ 774921 w 1556920"/>
                <a:gd name="connsiteY1306" fmla="*/ 634584 h 1898459"/>
                <a:gd name="connsiteX1307" fmla="*/ 645535 w 1556920"/>
                <a:gd name="connsiteY1307" fmla="*/ 650618 h 1898459"/>
                <a:gd name="connsiteX1308" fmla="*/ 647502 w 1556920"/>
                <a:gd name="connsiteY1308" fmla="*/ 649771 h 1898459"/>
                <a:gd name="connsiteX1309" fmla="*/ 648228 w 1556920"/>
                <a:gd name="connsiteY1309" fmla="*/ 648409 h 1898459"/>
                <a:gd name="connsiteX1310" fmla="*/ 649287 w 1556920"/>
                <a:gd name="connsiteY1310" fmla="*/ 644900 h 1898459"/>
                <a:gd name="connsiteX1311" fmla="*/ 649892 w 1556920"/>
                <a:gd name="connsiteY1311" fmla="*/ 643357 h 1898459"/>
                <a:gd name="connsiteX1312" fmla="*/ 651071 w 1556920"/>
                <a:gd name="connsiteY1312" fmla="*/ 642026 h 1898459"/>
                <a:gd name="connsiteX1313" fmla="*/ 652251 w 1556920"/>
                <a:gd name="connsiteY1313" fmla="*/ 641452 h 1898459"/>
                <a:gd name="connsiteX1314" fmla="*/ 653189 w 1556920"/>
                <a:gd name="connsiteY1314" fmla="*/ 640514 h 1898459"/>
                <a:gd name="connsiteX1315" fmla="*/ 653703 w 1556920"/>
                <a:gd name="connsiteY1315" fmla="*/ 638003 h 1898459"/>
                <a:gd name="connsiteX1316" fmla="*/ 652040 w 1556920"/>
                <a:gd name="connsiteY1316" fmla="*/ 638124 h 1898459"/>
                <a:gd name="connsiteX1317" fmla="*/ 650950 w 1556920"/>
                <a:gd name="connsiteY1317" fmla="*/ 637156 h 1898459"/>
                <a:gd name="connsiteX1318" fmla="*/ 650013 w 1556920"/>
                <a:gd name="connsiteY1318" fmla="*/ 635764 h 1898459"/>
                <a:gd name="connsiteX1319" fmla="*/ 648833 w 1556920"/>
                <a:gd name="connsiteY1319" fmla="*/ 634615 h 1898459"/>
                <a:gd name="connsiteX1320" fmla="*/ 647260 w 1556920"/>
                <a:gd name="connsiteY1320" fmla="*/ 634191 h 1898459"/>
                <a:gd name="connsiteX1321" fmla="*/ 644144 w 1556920"/>
                <a:gd name="connsiteY1321" fmla="*/ 634131 h 1898459"/>
                <a:gd name="connsiteX1322" fmla="*/ 642631 w 1556920"/>
                <a:gd name="connsiteY1322" fmla="*/ 633435 h 1898459"/>
                <a:gd name="connsiteX1323" fmla="*/ 641361 w 1556920"/>
                <a:gd name="connsiteY1323" fmla="*/ 631347 h 1898459"/>
                <a:gd name="connsiteX1324" fmla="*/ 640967 w 1556920"/>
                <a:gd name="connsiteY1324" fmla="*/ 630984 h 1898459"/>
                <a:gd name="connsiteX1325" fmla="*/ 638547 w 1556920"/>
                <a:gd name="connsiteY1325" fmla="*/ 629926 h 1898459"/>
                <a:gd name="connsiteX1326" fmla="*/ 637730 w 1556920"/>
                <a:gd name="connsiteY1326" fmla="*/ 629744 h 1898459"/>
                <a:gd name="connsiteX1327" fmla="*/ 636823 w 1556920"/>
                <a:gd name="connsiteY1327" fmla="*/ 629835 h 1898459"/>
                <a:gd name="connsiteX1328" fmla="*/ 636097 w 1556920"/>
                <a:gd name="connsiteY1328" fmla="*/ 629502 h 1898459"/>
                <a:gd name="connsiteX1329" fmla="*/ 635794 w 1556920"/>
                <a:gd name="connsiteY1329" fmla="*/ 628050 h 1898459"/>
                <a:gd name="connsiteX1330" fmla="*/ 635583 w 1556920"/>
                <a:gd name="connsiteY1330" fmla="*/ 627264 h 1898459"/>
                <a:gd name="connsiteX1331" fmla="*/ 635038 w 1556920"/>
                <a:gd name="connsiteY1331" fmla="*/ 626416 h 1898459"/>
                <a:gd name="connsiteX1332" fmla="*/ 634373 w 1556920"/>
                <a:gd name="connsiteY1332" fmla="*/ 625660 h 1898459"/>
                <a:gd name="connsiteX1333" fmla="*/ 633768 w 1556920"/>
                <a:gd name="connsiteY1333" fmla="*/ 625085 h 1898459"/>
                <a:gd name="connsiteX1334" fmla="*/ 636067 w 1556920"/>
                <a:gd name="connsiteY1334" fmla="*/ 623906 h 1898459"/>
                <a:gd name="connsiteX1335" fmla="*/ 638063 w 1556920"/>
                <a:gd name="connsiteY1335" fmla="*/ 625781 h 1898459"/>
                <a:gd name="connsiteX1336" fmla="*/ 640060 w 1556920"/>
                <a:gd name="connsiteY1336" fmla="*/ 628474 h 1898459"/>
                <a:gd name="connsiteX1337" fmla="*/ 644235 w 1556920"/>
                <a:gd name="connsiteY1337" fmla="*/ 630803 h 1898459"/>
                <a:gd name="connsiteX1338" fmla="*/ 646080 w 1556920"/>
                <a:gd name="connsiteY1338" fmla="*/ 632497 h 1898459"/>
                <a:gd name="connsiteX1339" fmla="*/ 648228 w 1556920"/>
                <a:gd name="connsiteY1339" fmla="*/ 633465 h 1898459"/>
                <a:gd name="connsiteX1340" fmla="*/ 651011 w 1556920"/>
                <a:gd name="connsiteY1340" fmla="*/ 632104 h 1898459"/>
                <a:gd name="connsiteX1341" fmla="*/ 651011 w 1556920"/>
                <a:gd name="connsiteY1341" fmla="*/ 630954 h 1898459"/>
                <a:gd name="connsiteX1342" fmla="*/ 648772 w 1556920"/>
                <a:gd name="connsiteY1342" fmla="*/ 630621 h 1898459"/>
                <a:gd name="connsiteX1343" fmla="*/ 645626 w 1556920"/>
                <a:gd name="connsiteY1343" fmla="*/ 627838 h 1898459"/>
                <a:gd name="connsiteX1344" fmla="*/ 643387 w 1556920"/>
                <a:gd name="connsiteY1344" fmla="*/ 627445 h 1898459"/>
                <a:gd name="connsiteX1345" fmla="*/ 643387 w 1556920"/>
                <a:gd name="connsiteY1345" fmla="*/ 626265 h 1898459"/>
                <a:gd name="connsiteX1346" fmla="*/ 645324 w 1556920"/>
                <a:gd name="connsiteY1346" fmla="*/ 626961 h 1898459"/>
                <a:gd name="connsiteX1347" fmla="*/ 646019 w 1556920"/>
                <a:gd name="connsiteY1347" fmla="*/ 626901 h 1898459"/>
                <a:gd name="connsiteX1348" fmla="*/ 646866 w 1556920"/>
                <a:gd name="connsiteY1348" fmla="*/ 626265 h 1898459"/>
                <a:gd name="connsiteX1349" fmla="*/ 637852 w 1556920"/>
                <a:gd name="connsiteY1349" fmla="*/ 620427 h 1898459"/>
                <a:gd name="connsiteX1350" fmla="*/ 636853 w 1556920"/>
                <a:gd name="connsiteY1350" fmla="*/ 620427 h 1898459"/>
                <a:gd name="connsiteX1351" fmla="*/ 632255 w 1556920"/>
                <a:gd name="connsiteY1351" fmla="*/ 622544 h 1898459"/>
                <a:gd name="connsiteX1352" fmla="*/ 630258 w 1556920"/>
                <a:gd name="connsiteY1352" fmla="*/ 623906 h 1898459"/>
                <a:gd name="connsiteX1353" fmla="*/ 632921 w 1556920"/>
                <a:gd name="connsiteY1353" fmla="*/ 631650 h 1898459"/>
                <a:gd name="connsiteX1354" fmla="*/ 634100 w 1556920"/>
                <a:gd name="connsiteY1354" fmla="*/ 636853 h 1898459"/>
                <a:gd name="connsiteX1355" fmla="*/ 633344 w 1556920"/>
                <a:gd name="connsiteY1355" fmla="*/ 639213 h 1898459"/>
                <a:gd name="connsiteX1356" fmla="*/ 632043 w 1556920"/>
                <a:gd name="connsiteY1356" fmla="*/ 639606 h 1898459"/>
                <a:gd name="connsiteX1357" fmla="*/ 631559 w 1556920"/>
                <a:gd name="connsiteY1357" fmla="*/ 640604 h 1898459"/>
                <a:gd name="connsiteX1358" fmla="*/ 631317 w 1556920"/>
                <a:gd name="connsiteY1358" fmla="*/ 642087 h 1898459"/>
                <a:gd name="connsiteX1359" fmla="*/ 630864 w 1556920"/>
                <a:gd name="connsiteY1359" fmla="*/ 643902 h 1898459"/>
                <a:gd name="connsiteX1360" fmla="*/ 629563 w 1556920"/>
                <a:gd name="connsiteY1360" fmla="*/ 647139 h 1898459"/>
                <a:gd name="connsiteX1361" fmla="*/ 628776 w 1556920"/>
                <a:gd name="connsiteY1361" fmla="*/ 648349 h 1898459"/>
                <a:gd name="connsiteX1362" fmla="*/ 627505 w 1556920"/>
                <a:gd name="connsiteY1362" fmla="*/ 649710 h 1898459"/>
                <a:gd name="connsiteX1363" fmla="*/ 628837 w 1556920"/>
                <a:gd name="connsiteY1363" fmla="*/ 650073 h 1898459"/>
                <a:gd name="connsiteX1364" fmla="*/ 629926 w 1556920"/>
                <a:gd name="connsiteY1364" fmla="*/ 650951 h 1898459"/>
                <a:gd name="connsiteX1365" fmla="*/ 631650 w 1556920"/>
                <a:gd name="connsiteY1365" fmla="*/ 653219 h 1898459"/>
                <a:gd name="connsiteX1366" fmla="*/ 631650 w 1556920"/>
                <a:gd name="connsiteY1366" fmla="*/ 654369 h 1898459"/>
                <a:gd name="connsiteX1367" fmla="*/ 631045 w 1556920"/>
                <a:gd name="connsiteY1367" fmla="*/ 656365 h 1898459"/>
                <a:gd name="connsiteX1368" fmla="*/ 631408 w 1556920"/>
                <a:gd name="connsiteY1368" fmla="*/ 659118 h 1898459"/>
                <a:gd name="connsiteX1369" fmla="*/ 634010 w 1556920"/>
                <a:gd name="connsiteY1369" fmla="*/ 668073 h 1898459"/>
                <a:gd name="connsiteX1370" fmla="*/ 634887 w 1556920"/>
                <a:gd name="connsiteY1370" fmla="*/ 669888 h 1898459"/>
                <a:gd name="connsiteX1371" fmla="*/ 637791 w 1556920"/>
                <a:gd name="connsiteY1371" fmla="*/ 673094 h 1898459"/>
                <a:gd name="connsiteX1372" fmla="*/ 640937 w 1556920"/>
                <a:gd name="connsiteY1372" fmla="*/ 671340 h 1898459"/>
                <a:gd name="connsiteX1373" fmla="*/ 649256 w 1556920"/>
                <a:gd name="connsiteY1373" fmla="*/ 672943 h 1898459"/>
                <a:gd name="connsiteX1374" fmla="*/ 651586 w 1556920"/>
                <a:gd name="connsiteY1374" fmla="*/ 670674 h 1898459"/>
                <a:gd name="connsiteX1375" fmla="*/ 651586 w 1556920"/>
                <a:gd name="connsiteY1375" fmla="*/ 669616 h 1898459"/>
                <a:gd name="connsiteX1376" fmla="*/ 649559 w 1556920"/>
                <a:gd name="connsiteY1376" fmla="*/ 669434 h 1898459"/>
                <a:gd name="connsiteX1377" fmla="*/ 648288 w 1556920"/>
                <a:gd name="connsiteY1377" fmla="*/ 668012 h 1898459"/>
                <a:gd name="connsiteX1378" fmla="*/ 647139 w 1556920"/>
                <a:gd name="connsiteY1378" fmla="*/ 666197 h 1898459"/>
                <a:gd name="connsiteX1379" fmla="*/ 645414 w 1556920"/>
                <a:gd name="connsiteY1379" fmla="*/ 664866 h 1898459"/>
                <a:gd name="connsiteX1380" fmla="*/ 643872 w 1556920"/>
                <a:gd name="connsiteY1380" fmla="*/ 664715 h 1898459"/>
                <a:gd name="connsiteX1381" fmla="*/ 640241 w 1556920"/>
                <a:gd name="connsiteY1381" fmla="*/ 665169 h 1898459"/>
                <a:gd name="connsiteX1382" fmla="*/ 638456 w 1556920"/>
                <a:gd name="connsiteY1382" fmla="*/ 664866 h 1898459"/>
                <a:gd name="connsiteX1383" fmla="*/ 638456 w 1556920"/>
                <a:gd name="connsiteY1383" fmla="*/ 663686 h 1898459"/>
                <a:gd name="connsiteX1384" fmla="*/ 642329 w 1556920"/>
                <a:gd name="connsiteY1384" fmla="*/ 663505 h 1898459"/>
                <a:gd name="connsiteX1385" fmla="*/ 644265 w 1556920"/>
                <a:gd name="connsiteY1385" fmla="*/ 663807 h 1898459"/>
                <a:gd name="connsiteX1386" fmla="*/ 646019 w 1556920"/>
                <a:gd name="connsiteY1386" fmla="*/ 664836 h 1898459"/>
                <a:gd name="connsiteX1387" fmla="*/ 647139 w 1556920"/>
                <a:gd name="connsiteY1387" fmla="*/ 662809 h 1898459"/>
                <a:gd name="connsiteX1388" fmla="*/ 647350 w 1556920"/>
                <a:gd name="connsiteY1388" fmla="*/ 659421 h 1898459"/>
                <a:gd name="connsiteX1389" fmla="*/ 646897 w 1556920"/>
                <a:gd name="connsiteY1389" fmla="*/ 655821 h 1898459"/>
                <a:gd name="connsiteX1390" fmla="*/ 646019 w 1556920"/>
                <a:gd name="connsiteY1390" fmla="*/ 653189 h 1898459"/>
                <a:gd name="connsiteX1391" fmla="*/ 644235 w 1556920"/>
                <a:gd name="connsiteY1391" fmla="*/ 651525 h 1898459"/>
                <a:gd name="connsiteX1392" fmla="*/ 637761 w 1556920"/>
                <a:gd name="connsiteY1392" fmla="*/ 649680 h 1898459"/>
                <a:gd name="connsiteX1393" fmla="*/ 637761 w 1556920"/>
                <a:gd name="connsiteY1393" fmla="*/ 648621 h 1898459"/>
                <a:gd name="connsiteX1394" fmla="*/ 645505 w 1556920"/>
                <a:gd name="connsiteY1394" fmla="*/ 650527 h 1898459"/>
                <a:gd name="connsiteX1395" fmla="*/ 646594 w 1556920"/>
                <a:gd name="connsiteY1395" fmla="*/ 608417 h 1898459"/>
                <a:gd name="connsiteX1396" fmla="*/ 646655 w 1556920"/>
                <a:gd name="connsiteY1396" fmla="*/ 608296 h 1898459"/>
                <a:gd name="connsiteX1397" fmla="*/ 646836 w 1556920"/>
                <a:gd name="connsiteY1397" fmla="*/ 607540 h 1898459"/>
                <a:gd name="connsiteX1398" fmla="*/ 645717 w 1556920"/>
                <a:gd name="connsiteY1398" fmla="*/ 607691 h 1898459"/>
                <a:gd name="connsiteX1399" fmla="*/ 644749 w 1556920"/>
                <a:gd name="connsiteY1399" fmla="*/ 607600 h 1898459"/>
                <a:gd name="connsiteX1400" fmla="*/ 643962 w 1556920"/>
                <a:gd name="connsiteY1400" fmla="*/ 607177 h 1898459"/>
                <a:gd name="connsiteX1401" fmla="*/ 643357 w 1556920"/>
                <a:gd name="connsiteY1401" fmla="*/ 606390 h 1898459"/>
                <a:gd name="connsiteX1402" fmla="*/ 642208 w 1556920"/>
                <a:gd name="connsiteY1402" fmla="*/ 607388 h 1898459"/>
                <a:gd name="connsiteX1403" fmla="*/ 640967 w 1556920"/>
                <a:gd name="connsiteY1403" fmla="*/ 607600 h 1898459"/>
                <a:gd name="connsiteX1404" fmla="*/ 639727 w 1556920"/>
                <a:gd name="connsiteY1404" fmla="*/ 607237 h 1898459"/>
                <a:gd name="connsiteX1405" fmla="*/ 638547 w 1556920"/>
                <a:gd name="connsiteY1405" fmla="*/ 606420 h 1898459"/>
                <a:gd name="connsiteX1406" fmla="*/ 636188 w 1556920"/>
                <a:gd name="connsiteY1406" fmla="*/ 606541 h 1898459"/>
                <a:gd name="connsiteX1407" fmla="*/ 634221 w 1556920"/>
                <a:gd name="connsiteY1407" fmla="*/ 608145 h 1898459"/>
                <a:gd name="connsiteX1408" fmla="*/ 632860 w 1556920"/>
                <a:gd name="connsiteY1408" fmla="*/ 610807 h 1898459"/>
                <a:gd name="connsiteX1409" fmla="*/ 632376 w 1556920"/>
                <a:gd name="connsiteY1409" fmla="*/ 614013 h 1898459"/>
                <a:gd name="connsiteX1410" fmla="*/ 633525 w 1556920"/>
                <a:gd name="connsiteY1410" fmla="*/ 616010 h 1898459"/>
                <a:gd name="connsiteX1411" fmla="*/ 641361 w 1556920"/>
                <a:gd name="connsiteY1411" fmla="*/ 620457 h 1898459"/>
                <a:gd name="connsiteX1412" fmla="*/ 643993 w 1556920"/>
                <a:gd name="connsiteY1412" fmla="*/ 621032 h 1898459"/>
                <a:gd name="connsiteX1413" fmla="*/ 652705 w 1556920"/>
                <a:gd name="connsiteY1413" fmla="*/ 618642 h 1898459"/>
                <a:gd name="connsiteX1414" fmla="*/ 652826 w 1556920"/>
                <a:gd name="connsiteY1414" fmla="*/ 617462 h 1898459"/>
                <a:gd name="connsiteX1415" fmla="*/ 652040 w 1556920"/>
                <a:gd name="connsiteY1415" fmla="*/ 616313 h 1898459"/>
                <a:gd name="connsiteX1416" fmla="*/ 650587 w 1556920"/>
                <a:gd name="connsiteY1416" fmla="*/ 615798 h 1898459"/>
                <a:gd name="connsiteX1417" fmla="*/ 648258 w 1556920"/>
                <a:gd name="connsiteY1417" fmla="*/ 615798 h 1898459"/>
                <a:gd name="connsiteX1418" fmla="*/ 647411 w 1556920"/>
                <a:gd name="connsiteY1418" fmla="*/ 615133 h 1898459"/>
                <a:gd name="connsiteX1419" fmla="*/ 646866 w 1556920"/>
                <a:gd name="connsiteY1419" fmla="*/ 613439 h 1898459"/>
                <a:gd name="connsiteX1420" fmla="*/ 648772 w 1556920"/>
                <a:gd name="connsiteY1420" fmla="*/ 613318 h 1898459"/>
                <a:gd name="connsiteX1421" fmla="*/ 651041 w 1556920"/>
                <a:gd name="connsiteY1421" fmla="*/ 611382 h 1898459"/>
                <a:gd name="connsiteX1422" fmla="*/ 652433 w 1556920"/>
                <a:gd name="connsiteY1422" fmla="*/ 612138 h 1898459"/>
                <a:gd name="connsiteX1423" fmla="*/ 653068 w 1556920"/>
                <a:gd name="connsiteY1423" fmla="*/ 611079 h 1898459"/>
                <a:gd name="connsiteX1424" fmla="*/ 650315 w 1556920"/>
                <a:gd name="connsiteY1424" fmla="*/ 609022 h 1898459"/>
                <a:gd name="connsiteX1425" fmla="*/ 649619 w 1556920"/>
                <a:gd name="connsiteY1425" fmla="*/ 608719 h 1898459"/>
                <a:gd name="connsiteX1426" fmla="*/ 648681 w 1556920"/>
                <a:gd name="connsiteY1426" fmla="*/ 608901 h 1898459"/>
                <a:gd name="connsiteX1427" fmla="*/ 647835 w 1556920"/>
                <a:gd name="connsiteY1427" fmla="*/ 609294 h 1898459"/>
                <a:gd name="connsiteX1428" fmla="*/ 647018 w 1556920"/>
                <a:gd name="connsiteY1428" fmla="*/ 609415 h 1898459"/>
                <a:gd name="connsiteX1429" fmla="*/ 646171 w 1556920"/>
                <a:gd name="connsiteY1429" fmla="*/ 608689 h 1898459"/>
                <a:gd name="connsiteX1430" fmla="*/ 646564 w 1556920"/>
                <a:gd name="connsiteY1430" fmla="*/ 608356 h 1898459"/>
                <a:gd name="connsiteX1431" fmla="*/ 646685 w 1556920"/>
                <a:gd name="connsiteY1431" fmla="*/ 608356 h 1898459"/>
                <a:gd name="connsiteX1432" fmla="*/ 767479 w 1556920"/>
                <a:gd name="connsiteY1432" fmla="*/ 630984 h 1898459"/>
                <a:gd name="connsiteX1433" fmla="*/ 767146 w 1556920"/>
                <a:gd name="connsiteY1433" fmla="*/ 631680 h 1898459"/>
                <a:gd name="connsiteX1434" fmla="*/ 766995 w 1556920"/>
                <a:gd name="connsiteY1434" fmla="*/ 632195 h 1898459"/>
                <a:gd name="connsiteX1435" fmla="*/ 766723 w 1556920"/>
                <a:gd name="connsiteY1435" fmla="*/ 633435 h 1898459"/>
                <a:gd name="connsiteX1436" fmla="*/ 768447 w 1556920"/>
                <a:gd name="connsiteY1436" fmla="*/ 634463 h 1898459"/>
                <a:gd name="connsiteX1437" fmla="*/ 770050 w 1556920"/>
                <a:gd name="connsiteY1437" fmla="*/ 633889 h 1898459"/>
                <a:gd name="connsiteX1438" fmla="*/ 771654 w 1556920"/>
                <a:gd name="connsiteY1438" fmla="*/ 632769 h 1898459"/>
                <a:gd name="connsiteX1439" fmla="*/ 773317 w 1556920"/>
                <a:gd name="connsiteY1439" fmla="*/ 632164 h 1898459"/>
                <a:gd name="connsiteX1440" fmla="*/ 775042 w 1556920"/>
                <a:gd name="connsiteY1440" fmla="*/ 630864 h 1898459"/>
                <a:gd name="connsiteX1441" fmla="*/ 774467 w 1556920"/>
                <a:gd name="connsiteY1441" fmla="*/ 628050 h 1898459"/>
                <a:gd name="connsiteX1442" fmla="*/ 773075 w 1556920"/>
                <a:gd name="connsiteY1442" fmla="*/ 625237 h 1898459"/>
                <a:gd name="connsiteX1443" fmla="*/ 772289 w 1556920"/>
                <a:gd name="connsiteY1443" fmla="*/ 623966 h 1898459"/>
                <a:gd name="connsiteX1444" fmla="*/ 772198 w 1556920"/>
                <a:gd name="connsiteY1444" fmla="*/ 618702 h 1898459"/>
                <a:gd name="connsiteX1445" fmla="*/ 773680 w 1556920"/>
                <a:gd name="connsiteY1445" fmla="*/ 612773 h 1898459"/>
                <a:gd name="connsiteX1446" fmla="*/ 775314 w 1556920"/>
                <a:gd name="connsiteY1446" fmla="*/ 607721 h 1898459"/>
                <a:gd name="connsiteX1447" fmla="*/ 775737 w 1556920"/>
                <a:gd name="connsiteY1447" fmla="*/ 605120 h 1898459"/>
                <a:gd name="connsiteX1448" fmla="*/ 775284 w 1556920"/>
                <a:gd name="connsiteY1448" fmla="*/ 604182 h 1898459"/>
                <a:gd name="connsiteX1449" fmla="*/ 774648 w 1556920"/>
                <a:gd name="connsiteY1449" fmla="*/ 603456 h 1898459"/>
                <a:gd name="connsiteX1450" fmla="*/ 773892 w 1556920"/>
                <a:gd name="connsiteY1450" fmla="*/ 603002 h 1898459"/>
                <a:gd name="connsiteX1451" fmla="*/ 772985 w 1556920"/>
                <a:gd name="connsiteY1451" fmla="*/ 602760 h 1898459"/>
                <a:gd name="connsiteX1452" fmla="*/ 774406 w 1556920"/>
                <a:gd name="connsiteY1452" fmla="*/ 605089 h 1898459"/>
                <a:gd name="connsiteX1453" fmla="*/ 774406 w 1556920"/>
                <a:gd name="connsiteY1453" fmla="*/ 606390 h 1898459"/>
                <a:gd name="connsiteX1454" fmla="*/ 772349 w 1556920"/>
                <a:gd name="connsiteY1454" fmla="*/ 605210 h 1898459"/>
                <a:gd name="connsiteX1455" fmla="*/ 771351 w 1556920"/>
                <a:gd name="connsiteY1455" fmla="*/ 605301 h 1898459"/>
                <a:gd name="connsiteX1456" fmla="*/ 770232 w 1556920"/>
                <a:gd name="connsiteY1456" fmla="*/ 606390 h 1898459"/>
                <a:gd name="connsiteX1457" fmla="*/ 771049 w 1556920"/>
                <a:gd name="connsiteY1457" fmla="*/ 608205 h 1898459"/>
                <a:gd name="connsiteX1458" fmla="*/ 771593 w 1556920"/>
                <a:gd name="connsiteY1458" fmla="*/ 609113 h 1898459"/>
                <a:gd name="connsiteX1459" fmla="*/ 772289 w 1556920"/>
                <a:gd name="connsiteY1459" fmla="*/ 609929 h 1898459"/>
                <a:gd name="connsiteX1460" fmla="*/ 772289 w 1556920"/>
                <a:gd name="connsiteY1460" fmla="*/ 611109 h 1898459"/>
                <a:gd name="connsiteX1461" fmla="*/ 769385 w 1556920"/>
                <a:gd name="connsiteY1461" fmla="*/ 611442 h 1898459"/>
                <a:gd name="connsiteX1462" fmla="*/ 767751 w 1556920"/>
                <a:gd name="connsiteY1462" fmla="*/ 612803 h 1898459"/>
                <a:gd name="connsiteX1463" fmla="*/ 766995 w 1556920"/>
                <a:gd name="connsiteY1463" fmla="*/ 615647 h 1898459"/>
                <a:gd name="connsiteX1464" fmla="*/ 766178 w 1556920"/>
                <a:gd name="connsiteY1464" fmla="*/ 626689 h 1898459"/>
                <a:gd name="connsiteX1465" fmla="*/ 766360 w 1556920"/>
                <a:gd name="connsiteY1465" fmla="*/ 629563 h 1898459"/>
                <a:gd name="connsiteX1466" fmla="*/ 767479 w 1556920"/>
                <a:gd name="connsiteY1466" fmla="*/ 631015 h 1898459"/>
                <a:gd name="connsiteX1467" fmla="*/ 777159 w 1556920"/>
                <a:gd name="connsiteY1467" fmla="*/ 601580 h 1898459"/>
                <a:gd name="connsiteX1468" fmla="*/ 777159 w 1556920"/>
                <a:gd name="connsiteY1468" fmla="*/ 598827 h 1898459"/>
                <a:gd name="connsiteX1469" fmla="*/ 778460 w 1556920"/>
                <a:gd name="connsiteY1469" fmla="*/ 592172 h 1898459"/>
                <a:gd name="connsiteX1470" fmla="*/ 777795 w 1556920"/>
                <a:gd name="connsiteY1470" fmla="*/ 591355 h 1898459"/>
                <a:gd name="connsiteX1471" fmla="*/ 777129 w 1556920"/>
                <a:gd name="connsiteY1471" fmla="*/ 591476 h 1898459"/>
                <a:gd name="connsiteX1472" fmla="*/ 776403 w 1556920"/>
                <a:gd name="connsiteY1472" fmla="*/ 592202 h 1898459"/>
                <a:gd name="connsiteX1473" fmla="*/ 775707 w 1556920"/>
                <a:gd name="connsiteY1473" fmla="*/ 593231 h 1898459"/>
                <a:gd name="connsiteX1474" fmla="*/ 775919 w 1556920"/>
                <a:gd name="connsiteY1474" fmla="*/ 593896 h 1898459"/>
                <a:gd name="connsiteX1475" fmla="*/ 775919 w 1556920"/>
                <a:gd name="connsiteY1475" fmla="*/ 594047 h 1898459"/>
                <a:gd name="connsiteX1476" fmla="*/ 776403 w 1556920"/>
                <a:gd name="connsiteY1476" fmla="*/ 594501 h 1898459"/>
                <a:gd name="connsiteX1477" fmla="*/ 775254 w 1556920"/>
                <a:gd name="connsiteY1477" fmla="*/ 596649 h 1898459"/>
                <a:gd name="connsiteX1478" fmla="*/ 774981 w 1556920"/>
                <a:gd name="connsiteY1478" fmla="*/ 598948 h 1898459"/>
                <a:gd name="connsiteX1479" fmla="*/ 775617 w 1556920"/>
                <a:gd name="connsiteY1479" fmla="*/ 600763 h 1898459"/>
                <a:gd name="connsiteX1480" fmla="*/ 777159 w 1556920"/>
                <a:gd name="connsiteY1480" fmla="*/ 601550 h 1898459"/>
                <a:gd name="connsiteX1481" fmla="*/ 91 w 1556920"/>
                <a:gd name="connsiteY1481" fmla="*/ 587816 h 1898459"/>
                <a:gd name="connsiteX1482" fmla="*/ 0 w 1556920"/>
                <a:gd name="connsiteY1482" fmla="*/ 587937 h 1898459"/>
                <a:gd name="connsiteX1483" fmla="*/ 0 w 1556920"/>
                <a:gd name="connsiteY1483" fmla="*/ 588058 h 1898459"/>
                <a:gd name="connsiteX1484" fmla="*/ 272 w 1556920"/>
                <a:gd name="connsiteY1484" fmla="*/ 588058 h 1898459"/>
                <a:gd name="connsiteX1485" fmla="*/ 363 w 1556920"/>
                <a:gd name="connsiteY1485" fmla="*/ 587997 h 1898459"/>
                <a:gd name="connsiteX1486" fmla="*/ 363 w 1556920"/>
                <a:gd name="connsiteY1486" fmla="*/ 587997 h 1898459"/>
                <a:gd name="connsiteX1487" fmla="*/ 272 w 1556920"/>
                <a:gd name="connsiteY1487" fmla="*/ 587846 h 1898459"/>
                <a:gd name="connsiteX1488" fmla="*/ 91 w 1556920"/>
                <a:gd name="connsiteY1488" fmla="*/ 587846 h 1898459"/>
                <a:gd name="connsiteX1489" fmla="*/ 624722 w 1556920"/>
                <a:gd name="connsiteY1489" fmla="*/ 592353 h 1898459"/>
                <a:gd name="connsiteX1490" fmla="*/ 625963 w 1556920"/>
                <a:gd name="connsiteY1490" fmla="*/ 593110 h 1898459"/>
                <a:gd name="connsiteX1491" fmla="*/ 626779 w 1556920"/>
                <a:gd name="connsiteY1491" fmla="*/ 593261 h 1898459"/>
                <a:gd name="connsiteX1492" fmla="*/ 627475 w 1556920"/>
                <a:gd name="connsiteY1492" fmla="*/ 592898 h 1898459"/>
                <a:gd name="connsiteX1493" fmla="*/ 628141 w 1556920"/>
                <a:gd name="connsiteY1493" fmla="*/ 592142 h 1898459"/>
                <a:gd name="connsiteX1494" fmla="*/ 628837 w 1556920"/>
                <a:gd name="connsiteY1494" fmla="*/ 591022 h 1898459"/>
                <a:gd name="connsiteX1495" fmla="*/ 631922 w 1556920"/>
                <a:gd name="connsiteY1495" fmla="*/ 591748 h 1898459"/>
                <a:gd name="connsiteX1496" fmla="*/ 638003 w 1556920"/>
                <a:gd name="connsiteY1496" fmla="*/ 595439 h 1898459"/>
                <a:gd name="connsiteX1497" fmla="*/ 641330 w 1556920"/>
                <a:gd name="connsiteY1497" fmla="*/ 595711 h 1898459"/>
                <a:gd name="connsiteX1498" fmla="*/ 639394 w 1556920"/>
                <a:gd name="connsiteY1498" fmla="*/ 596921 h 1898459"/>
                <a:gd name="connsiteX1499" fmla="*/ 638517 w 1556920"/>
                <a:gd name="connsiteY1499" fmla="*/ 597012 h 1898459"/>
                <a:gd name="connsiteX1500" fmla="*/ 639334 w 1556920"/>
                <a:gd name="connsiteY1500" fmla="*/ 597859 h 1898459"/>
                <a:gd name="connsiteX1501" fmla="*/ 639788 w 1556920"/>
                <a:gd name="connsiteY1501" fmla="*/ 598797 h 1898459"/>
                <a:gd name="connsiteX1502" fmla="*/ 640151 w 1556920"/>
                <a:gd name="connsiteY1502" fmla="*/ 599735 h 1898459"/>
                <a:gd name="connsiteX1503" fmla="*/ 641300 w 1556920"/>
                <a:gd name="connsiteY1503" fmla="*/ 601762 h 1898459"/>
                <a:gd name="connsiteX1504" fmla="*/ 641663 w 1556920"/>
                <a:gd name="connsiteY1504" fmla="*/ 602185 h 1898459"/>
                <a:gd name="connsiteX1505" fmla="*/ 642601 w 1556920"/>
                <a:gd name="connsiteY1505" fmla="*/ 602790 h 1898459"/>
                <a:gd name="connsiteX1506" fmla="*/ 644386 w 1556920"/>
                <a:gd name="connsiteY1506" fmla="*/ 603183 h 1898459"/>
                <a:gd name="connsiteX1507" fmla="*/ 647895 w 1556920"/>
                <a:gd name="connsiteY1507" fmla="*/ 602911 h 1898459"/>
                <a:gd name="connsiteX1508" fmla="*/ 649529 w 1556920"/>
                <a:gd name="connsiteY1508" fmla="*/ 604061 h 1898459"/>
                <a:gd name="connsiteX1509" fmla="*/ 651192 w 1556920"/>
                <a:gd name="connsiteY1509" fmla="*/ 602820 h 1898459"/>
                <a:gd name="connsiteX1510" fmla="*/ 653249 w 1556920"/>
                <a:gd name="connsiteY1510" fmla="*/ 602518 h 1898459"/>
                <a:gd name="connsiteX1511" fmla="*/ 657454 w 1556920"/>
                <a:gd name="connsiteY1511" fmla="*/ 602790 h 1898459"/>
                <a:gd name="connsiteX1512" fmla="*/ 659481 w 1556920"/>
                <a:gd name="connsiteY1512" fmla="*/ 599160 h 1898459"/>
                <a:gd name="connsiteX1513" fmla="*/ 659814 w 1556920"/>
                <a:gd name="connsiteY1513" fmla="*/ 598071 h 1898459"/>
                <a:gd name="connsiteX1514" fmla="*/ 659421 w 1556920"/>
                <a:gd name="connsiteY1514" fmla="*/ 596921 h 1898459"/>
                <a:gd name="connsiteX1515" fmla="*/ 658786 w 1556920"/>
                <a:gd name="connsiteY1515" fmla="*/ 596347 h 1898459"/>
                <a:gd name="connsiteX1516" fmla="*/ 657061 w 1556920"/>
                <a:gd name="connsiteY1516" fmla="*/ 595742 h 1898459"/>
                <a:gd name="connsiteX1517" fmla="*/ 655034 w 1556920"/>
                <a:gd name="connsiteY1517" fmla="*/ 595439 h 1898459"/>
                <a:gd name="connsiteX1518" fmla="*/ 649135 w 1556920"/>
                <a:gd name="connsiteY1518" fmla="*/ 597042 h 1898459"/>
                <a:gd name="connsiteX1519" fmla="*/ 641875 w 1556920"/>
                <a:gd name="connsiteY1519" fmla="*/ 597042 h 1898459"/>
                <a:gd name="connsiteX1520" fmla="*/ 641875 w 1556920"/>
                <a:gd name="connsiteY1520" fmla="*/ 595742 h 1898459"/>
                <a:gd name="connsiteX1521" fmla="*/ 646110 w 1556920"/>
                <a:gd name="connsiteY1521" fmla="*/ 592565 h 1898459"/>
                <a:gd name="connsiteX1522" fmla="*/ 647441 w 1556920"/>
                <a:gd name="connsiteY1522" fmla="*/ 592232 h 1898459"/>
                <a:gd name="connsiteX1523" fmla="*/ 647895 w 1556920"/>
                <a:gd name="connsiteY1523" fmla="*/ 592777 h 1898459"/>
                <a:gd name="connsiteX1524" fmla="*/ 648772 w 1556920"/>
                <a:gd name="connsiteY1524" fmla="*/ 595046 h 1898459"/>
                <a:gd name="connsiteX1525" fmla="*/ 649468 w 1556920"/>
                <a:gd name="connsiteY1525" fmla="*/ 595742 h 1898459"/>
                <a:gd name="connsiteX1526" fmla="*/ 650073 w 1556920"/>
                <a:gd name="connsiteY1526" fmla="*/ 595681 h 1898459"/>
                <a:gd name="connsiteX1527" fmla="*/ 651525 w 1556920"/>
                <a:gd name="connsiteY1527" fmla="*/ 594834 h 1898459"/>
                <a:gd name="connsiteX1528" fmla="*/ 652281 w 1556920"/>
                <a:gd name="connsiteY1528" fmla="*/ 594592 h 1898459"/>
                <a:gd name="connsiteX1529" fmla="*/ 658150 w 1556920"/>
                <a:gd name="connsiteY1529" fmla="*/ 594108 h 1898459"/>
                <a:gd name="connsiteX1530" fmla="*/ 660601 w 1556920"/>
                <a:gd name="connsiteY1530" fmla="*/ 592474 h 1898459"/>
                <a:gd name="connsiteX1531" fmla="*/ 662567 w 1556920"/>
                <a:gd name="connsiteY1531" fmla="*/ 588723 h 1898459"/>
                <a:gd name="connsiteX1532" fmla="*/ 659330 w 1556920"/>
                <a:gd name="connsiteY1532" fmla="*/ 589752 h 1898459"/>
                <a:gd name="connsiteX1533" fmla="*/ 657697 w 1556920"/>
                <a:gd name="connsiteY1533" fmla="*/ 589691 h 1898459"/>
                <a:gd name="connsiteX1534" fmla="*/ 657001 w 1556920"/>
                <a:gd name="connsiteY1534" fmla="*/ 588118 h 1898459"/>
                <a:gd name="connsiteX1535" fmla="*/ 656668 w 1556920"/>
                <a:gd name="connsiteY1535" fmla="*/ 585789 h 1898459"/>
                <a:gd name="connsiteX1536" fmla="*/ 655791 w 1556920"/>
                <a:gd name="connsiteY1536" fmla="*/ 584972 h 1898459"/>
                <a:gd name="connsiteX1537" fmla="*/ 652886 w 1556920"/>
                <a:gd name="connsiteY1537" fmla="*/ 585184 h 1898459"/>
                <a:gd name="connsiteX1538" fmla="*/ 652886 w 1556920"/>
                <a:gd name="connsiteY1538" fmla="*/ 583883 h 1898459"/>
                <a:gd name="connsiteX1539" fmla="*/ 653492 w 1556920"/>
                <a:gd name="connsiteY1539" fmla="*/ 582824 h 1898459"/>
                <a:gd name="connsiteX1540" fmla="*/ 653371 w 1556920"/>
                <a:gd name="connsiteY1540" fmla="*/ 582129 h 1898459"/>
                <a:gd name="connsiteX1541" fmla="*/ 652675 w 1556920"/>
                <a:gd name="connsiteY1541" fmla="*/ 581765 h 1898459"/>
                <a:gd name="connsiteX1542" fmla="*/ 651495 w 1556920"/>
                <a:gd name="connsiteY1542" fmla="*/ 581675 h 1898459"/>
                <a:gd name="connsiteX1543" fmla="*/ 651495 w 1556920"/>
                <a:gd name="connsiteY1543" fmla="*/ 580374 h 1898459"/>
                <a:gd name="connsiteX1544" fmla="*/ 656002 w 1556920"/>
                <a:gd name="connsiteY1544" fmla="*/ 580374 h 1898459"/>
                <a:gd name="connsiteX1545" fmla="*/ 658271 w 1556920"/>
                <a:gd name="connsiteY1545" fmla="*/ 582461 h 1898459"/>
                <a:gd name="connsiteX1546" fmla="*/ 659391 w 1556920"/>
                <a:gd name="connsiteY1546" fmla="*/ 582855 h 1898459"/>
                <a:gd name="connsiteX1547" fmla="*/ 660056 w 1556920"/>
                <a:gd name="connsiteY1547" fmla="*/ 583490 h 1898459"/>
                <a:gd name="connsiteX1548" fmla="*/ 660812 w 1556920"/>
                <a:gd name="connsiteY1548" fmla="*/ 584821 h 1898459"/>
                <a:gd name="connsiteX1549" fmla="*/ 661811 w 1556920"/>
                <a:gd name="connsiteY1549" fmla="*/ 586031 h 1898459"/>
                <a:gd name="connsiteX1550" fmla="*/ 663232 w 1556920"/>
                <a:gd name="connsiteY1550" fmla="*/ 586273 h 1898459"/>
                <a:gd name="connsiteX1551" fmla="*/ 663928 w 1556920"/>
                <a:gd name="connsiteY1551" fmla="*/ 585547 h 1898459"/>
                <a:gd name="connsiteX1552" fmla="*/ 665622 w 1556920"/>
                <a:gd name="connsiteY1552" fmla="*/ 582643 h 1898459"/>
                <a:gd name="connsiteX1553" fmla="*/ 666651 w 1556920"/>
                <a:gd name="connsiteY1553" fmla="*/ 581675 h 1898459"/>
                <a:gd name="connsiteX1554" fmla="*/ 665743 w 1556920"/>
                <a:gd name="connsiteY1554" fmla="*/ 579527 h 1898459"/>
                <a:gd name="connsiteX1555" fmla="*/ 663868 w 1556920"/>
                <a:gd name="connsiteY1555" fmla="*/ 578559 h 1898459"/>
                <a:gd name="connsiteX1556" fmla="*/ 661659 w 1556920"/>
                <a:gd name="connsiteY1556" fmla="*/ 578498 h 1898459"/>
                <a:gd name="connsiteX1557" fmla="*/ 660177 w 1556920"/>
                <a:gd name="connsiteY1557" fmla="*/ 578407 h 1898459"/>
                <a:gd name="connsiteX1558" fmla="*/ 658846 w 1556920"/>
                <a:gd name="connsiteY1558" fmla="*/ 577500 h 1898459"/>
                <a:gd name="connsiteX1559" fmla="*/ 655791 w 1556920"/>
                <a:gd name="connsiteY1559" fmla="*/ 578982 h 1898459"/>
                <a:gd name="connsiteX1560" fmla="*/ 654157 w 1556920"/>
                <a:gd name="connsiteY1560" fmla="*/ 578014 h 1898459"/>
                <a:gd name="connsiteX1561" fmla="*/ 655912 w 1556920"/>
                <a:gd name="connsiteY1561" fmla="*/ 576895 h 1898459"/>
                <a:gd name="connsiteX1562" fmla="*/ 656517 w 1556920"/>
                <a:gd name="connsiteY1562" fmla="*/ 575443 h 1898459"/>
                <a:gd name="connsiteX1563" fmla="*/ 656154 w 1556920"/>
                <a:gd name="connsiteY1563" fmla="*/ 573839 h 1898459"/>
                <a:gd name="connsiteX1564" fmla="*/ 654883 w 1556920"/>
                <a:gd name="connsiteY1564" fmla="*/ 572236 h 1898459"/>
                <a:gd name="connsiteX1565" fmla="*/ 652130 w 1556920"/>
                <a:gd name="connsiteY1565" fmla="*/ 572660 h 1898459"/>
                <a:gd name="connsiteX1566" fmla="*/ 647411 w 1556920"/>
                <a:gd name="connsiteY1566" fmla="*/ 575957 h 1898459"/>
                <a:gd name="connsiteX1567" fmla="*/ 645263 w 1556920"/>
                <a:gd name="connsiteY1567" fmla="*/ 576835 h 1898459"/>
                <a:gd name="connsiteX1568" fmla="*/ 646655 w 1556920"/>
                <a:gd name="connsiteY1568" fmla="*/ 577863 h 1898459"/>
                <a:gd name="connsiteX1569" fmla="*/ 647320 w 1556920"/>
                <a:gd name="connsiteY1569" fmla="*/ 578014 h 1898459"/>
                <a:gd name="connsiteX1570" fmla="*/ 647320 w 1556920"/>
                <a:gd name="connsiteY1570" fmla="*/ 579194 h 1898459"/>
                <a:gd name="connsiteX1571" fmla="*/ 645172 w 1556920"/>
                <a:gd name="connsiteY1571" fmla="*/ 578982 h 1898459"/>
                <a:gd name="connsiteX1572" fmla="*/ 639697 w 1556920"/>
                <a:gd name="connsiteY1572" fmla="*/ 576835 h 1898459"/>
                <a:gd name="connsiteX1573" fmla="*/ 640665 w 1556920"/>
                <a:gd name="connsiteY1573" fmla="*/ 574626 h 1898459"/>
                <a:gd name="connsiteX1574" fmla="*/ 641149 w 1556920"/>
                <a:gd name="connsiteY1574" fmla="*/ 573930 h 1898459"/>
                <a:gd name="connsiteX1575" fmla="*/ 641754 w 1556920"/>
                <a:gd name="connsiteY1575" fmla="*/ 573325 h 1898459"/>
                <a:gd name="connsiteX1576" fmla="*/ 641754 w 1556920"/>
                <a:gd name="connsiteY1576" fmla="*/ 572267 h 1898459"/>
                <a:gd name="connsiteX1577" fmla="*/ 639425 w 1556920"/>
                <a:gd name="connsiteY1577" fmla="*/ 574414 h 1898459"/>
                <a:gd name="connsiteX1578" fmla="*/ 636248 w 1556920"/>
                <a:gd name="connsiteY1578" fmla="*/ 578680 h 1898459"/>
                <a:gd name="connsiteX1579" fmla="*/ 633253 w 1556920"/>
                <a:gd name="connsiteY1579" fmla="*/ 581463 h 1898459"/>
                <a:gd name="connsiteX1580" fmla="*/ 631468 w 1556920"/>
                <a:gd name="connsiteY1580" fmla="*/ 579224 h 1898459"/>
                <a:gd name="connsiteX1581" fmla="*/ 633435 w 1556920"/>
                <a:gd name="connsiteY1581" fmla="*/ 578165 h 1898459"/>
                <a:gd name="connsiteX1582" fmla="*/ 634221 w 1556920"/>
                <a:gd name="connsiteY1582" fmla="*/ 578044 h 1898459"/>
                <a:gd name="connsiteX1583" fmla="*/ 634221 w 1556920"/>
                <a:gd name="connsiteY1583" fmla="*/ 576865 h 1898459"/>
                <a:gd name="connsiteX1584" fmla="*/ 627354 w 1556920"/>
                <a:gd name="connsiteY1584" fmla="*/ 577984 h 1898459"/>
                <a:gd name="connsiteX1585" fmla="*/ 625206 w 1556920"/>
                <a:gd name="connsiteY1585" fmla="*/ 576865 h 1898459"/>
                <a:gd name="connsiteX1586" fmla="*/ 623543 w 1556920"/>
                <a:gd name="connsiteY1586" fmla="*/ 579708 h 1898459"/>
                <a:gd name="connsiteX1587" fmla="*/ 622181 w 1556920"/>
                <a:gd name="connsiteY1587" fmla="*/ 583127 h 1898459"/>
                <a:gd name="connsiteX1588" fmla="*/ 620608 w 1556920"/>
                <a:gd name="connsiteY1588" fmla="*/ 586091 h 1898459"/>
                <a:gd name="connsiteX1589" fmla="*/ 618339 w 1556920"/>
                <a:gd name="connsiteY1589" fmla="*/ 587574 h 1898459"/>
                <a:gd name="connsiteX1590" fmla="*/ 618339 w 1556920"/>
                <a:gd name="connsiteY1590" fmla="*/ 588753 h 1898459"/>
                <a:gd name="connsiteX1591" fmla="*/ 622907 w 1556920"/>
                <a:gd name="connsiteY1591" fmla="*/ 591839 h 1898459"/>
                <a:gd name="connsiteX1592" fmla="*/ 624541 w 1556920"/>
                <a:gd name="connsiteY1592" fmla="*/ 592444 h 1898459"/>
                <a:gd name="connsiteX1593" fmla="*/ 758040 w 1556920"/>
                <a:gd name="connsiteY1593" fmla="*/ 587816 h 1898459"/>
                <a:gd name="connsiteX1594" fmla="*/ 756982 w 1556920"/>
                <a:gd name="connsiteY1594" fmla="*/ 586122 h 1898459"/>
                <a:gd name="connsiteX1595" fmla="*/ 755076 w 1556920"/>
                <a:gd name="connsiteY1595" fmla="*/ 583823 h 1898459"/>
                <a:gd name="connsiteX1596" fmla="*/ 750568 w 1556920"/>
                <a:gd name="connsiteY1596" fmla="*/ 580283 h 1898459"/>
                <a:gd name="connsiteX1597" fmla="*/ 750236 w 1556920"/>
                <a:gd name="connsiteY1597" fmla="*/ 579466 h 1898459"/>
                <a:gd name="connsiteX1598" fmla="*/ 747785 w 1556920"/>
                <a:gd name="connsiteY1598" fmla="*/ 575594 h 1898459"/>
                <a:gd name="connsiteX1599" fmla="*/ 746847 w 1556920"/>
                <a:gd name="connsiteY1599" fmla="*/ 574414 h 1898459"/>
                <a:gd name="connsiteX1600" fmla="*/ 744488 w 1556920"/>
                <a:gd name="connsiteY1600" fmla="*/ 572599 h 1898459"/>
                <a:gd name="connsiteX1601" fmla="*/ 743580 w 1556920"/>
                <a:gd name="connsiteY1601" fmla="*/ 571510 h 1898459"/>
                <a:gd name="connsiteX1602" fmla="*/ 742703 w 1556920"/>
                <a:gd name="connsiteY1602" fmla="*/ 569695 h 1898459"/>
                <a:gd name="connsiteX1603" fmla="*/ 742370 w 1556920"/>
                <a:gd name="connsiteY1603" fmla="*/ 570330 h 1898459"/>
                <a:gd name="connsiteX1604" fmla="*/ 742038 w 1556920"/>
                <a:gd name="connsiteY1604" fmla="*/ 570572 h 1898459"/>
                <a:gd name="connsiteX1605" fmla="*/ 741251 w 1556920"/>
                <a:gd name="connsiteY1605" fmla="*/ 570875 h 1898459"/>
                <a:gd name="connsiteX1606" fmla="*/ 739950 w 1556920"/>
                <a:gd name="connsiteY1606" fmla="*/ 570330 h 1898459"/>
                <a:gd name="connsiteX1607" fmla="*/ 739224 w 1556920"/>
                <a:gd name="connsiteY1607" fmla="*/ 571541 h 1898459"/>
                <a:gd name="connsiteX1608" fmla="*/ 738619 w 1556920"/>
                <a:gd name="connsiteY1608" fmla="*/ 573628 h 1898459"/>
                <a:gd name="connsiteX1609" fmla="*/ 737742 w 1556920"/>
                <a:gd name="connsiteY1609" fmla="*/ 575715 h 1898459"/>
                <a:gd name="connsiteX1610" fmla="*/ 737076 w 1556920"/>
                <a:gd name="connsiteY1610" fmla="*/ 576381 h 1898459"/>
                <a:gd name="connsiteX1611" fmla="*/ 733053 w 1556920"/>
                <a:gd name="connsiteY1611" fmla="*/ 578770 h 1898459"/>
                <a:gd name="connsiteX1612" fmla="*/ 732357 w 1556920"/>
                <a:gd name="connsiteY1612" fmla="*/ 578952 h 1898459"/>
                <a:gd name="connsiteX1613" fmla="*/ 732115 w 1556920"/>
                <a:gd name="connsiteY1613" fmla="*/ 579557 h 1898459"/>
                <a:gd name="connsiteX1614" fmla="*/ 732236 w 1556920"/>
                <a:gd name="connsiteY1614" fmla="*/ 581584 h 1898459"/>
                <a:gd name="connsiteX1615" fmla="*/ 732750 w 1556920"/>
                <a:gd name="connsiteY1615" fmla="*/ 582733 h 1898459"/>
                <a:gd name="connsiteX1616" fmla="*/ 733597 w 1556920"/>
                <a:gd name="connsiteY1616" fmla="*/ 583732 h 1898459"/>
                <a:gd name="connsiteX1617" fmla="*/ 734111 w 1556920"/>
                <a:gd name="connsiteY1617" fmla="*/ 585123 h 1898459"/>
                <a:gd name="connsiteX1618" fmla="*/ 733688 w 1556920"/>
                <a:gd name="connsiteY1618" fmla="*/ 587483 h 1898459"/>
                <a:gd name="connsiteX1619" fmla="*/ 734414 w 1556920"/>
                <a:gd name="connsiteY1619" fmla="*/ 588209 h 1898459"/>
                <a:gd name="connsiteX1620" fmla="*/ 735412 w 1556920"/>
                <a:gd name="connsiteY1620" fmla="*/ 588693 h 1898459"/>
                <a:gd name="connsiteX1621" fmla="*/ 736562 w 1556920"/>
                <a:gd name="connsiteY1621" fmla="*/ 588875 h 1898459"/>
                <a:gd name="connsiteX1622" fmla="*/ 737772 w 1556920"/>
                <a:gd name="connsiteY1622" fmla="*/ 588693 h 1898459"/>
                <a:gd name="connsiteX1623" fmla="*/ 736501 w 1556920"/>
                <a:gd name="connsiteY1623" fmla="*/ 592202 h 1898459"/>
                <a:gd name="connsiteX1624" fmla="*/ 735140 w 1556920"/>
                <a:gd name="connsiteY1624" fmla="*/ 593926 h 1898459"/>
                <a:gd name="connsiteX1625" fmla="*/ 734777 w 1556920"/>
                <a:gd name="connsiteY1625" fmla="*/ 595681 h 1898459"/>
                <a:gd name="connsiteX1626" fmla="*/ 736441 w 1556920"/>
                <a:gd name="connsiteY1626" fmla="*/ 599281 h 1898459"/>
                <a:gd name="connsiteX1627" fmla="*/ 739920 w 1556920"/>
                <a:gd name="connsiteY1627" fmla="*/ 603093 h 1898459"/>
                <a:gd name="connsiteX1628" fmla="*/ 741311 w 1556920"/>
                <a:gd name="connsiteY1628" fmla="*/ 605271 h 1898459"/>
                <a:gd name="connsiteX1629" fmla="*/ 741251 w 1556920"/>
                <a:gd name="connsiteY1629" fmla="*/ 607630 h 1898459"/>
                <a:gd name="connsiteX1630" fmla="*/ 741674 w 1556920"/>
                <a:gd name="connsiteY1630" fmla="*/ 608266 h 1898459"/>
                <a:gd name="connsiteX1631" fmla="*/ 742189 w 1556920"/>
                <a:gd name="connsiteY1631" fmla="*/ 609385 h 1898459"/>
                <a:gd name="connsiteX1632" fmla="*/ 742673 w 1556920"/>
                <a:gd name="connsiteY1632" fmla="*/ 609960 h 1898459"/>
                <a:gd name="connsiteX1633" fmla="*/ 742673 w 1556920"/>
                <a:gd name="connsiteY1633" fmla="*/ 611140 h 1898459"/>
                <a:gd name="connsiteX1634" fmla="*/ 735019 w 1556920"/>
                <a:gd name="connsiteY1634" fmla="*/ 601731 h 1898459"/>
                <a:gd name="connsiteX1635" fmla="*/ 733688 w 1556920"/>
                <a:gd name="connsiteY1635" fmla="*/ 601096 h 1898459"/>
                <a:gd name="connsiteX1636" fmla="*/ 732508 w 1556920"/>
                <a:gd name="connsiteY1636" fmla="*/ 604484 h 1898459"/>
                <a:gd name="connsiteX1637" fmla="*/ 730360 w 1556920"/>
                <a:gd name="connsiteY1637" fmla="*/ 607056 h 1898459"/>
                <a:gd name="connsiteX1638" fmla="*/ 729362 w 1556920"/>
                <a:gd name="connsiteY1638" fmla="*/ 606783 h 1898459"/>
                <a:gd name="connsiteX1639" fmla="*/ 731661 w 1556920"/>
                <a:gd name="connsiteY1639" fmla="*/ 601671 h 1898459"/>
                <a:gd name="connsiteX1640" fmla="*/ 729967 w 1556920"/>
                <a:gd name="connsiteY1640" fmla="*/ 601792 h 1898459"/>
                <a:gd name="connsiteX1641" fmla="*/ 728576 w 1556920"/>
                <a:gd name="connsiteY1641" fmla="*/ 602457 h 1898459"/>
                <a:gd name="connsiteX1642" fmla="*/ 727245 w 1556920"/>
                <a:gd name="connsiteY1642" fmla="*/ 602578 h 1898459"/>
                <a:gd name="connsiteX1643" fmla="*/ 725823 w 1556920"/>
                <a:gd name="connsiteY1643" fmla="*/ 601126 h 1898459"/>
                <a:gd name="connsiteX1644" fmla="*/ 724673 w 1556920"/>
                <a:gd name="connsiteY1644" fmla="*/ 599523 h 1898459"/>
                <a:gd name="connsiteX1645" fmla="*/ 723584 w 1556920"/>
                <a:gd name="connsiteY1645" fmla="*/ 598615 h 1898459"/>
                <a:gd name="connsiteX1646" fmla="*/ 718895 w 1556920"/>
                <a:gd name="connsiteY1646" fmla="*/ 596195 h 1898459"/>
                <a:gd name="connsiteX1647" fmla="*/ 718199 w 1556920"/>
                <a:gd name="connsiteY1647" fmla="*/ 595681 h 1898459"/>
                <a:gd name="connsiteX1648" fmla="*/ 717231 w 1556920"/>
                <a:gd name="connsiteY1648" fmla="*/ 594592 h 1898459"/>
                <a:gd name="connsiteX1649" fmla="*/ 716959 w 1556920"/>
                <a:gd name="connsiteY1649" fmla="*/ 593503 h 1898459"/>
                <a:gd name="connsiteX1650" fmla="*/ 716808 w 1556920"/>
                <a:gd name="connsiteY1650" fmla="*/ 591930 h 1898459"/>
                <a:gd name="connsiteX1651" fmla="*/ 716414 w 1556920"/>
                <a:gd name="connsiteY1651" fmla="*/ 590508 h 1898459"/>
                <a:gd name="connsiteX1652" fmla="*/ 714206 w 1556920"/>
                <a:gd name="connsiteY1652" fmla="*/ 589117 h 1898459"/>
                <a:gd name="connsiteX1653" fmla="*/ 713087 w 1556920"/>
                <a:gd name="connsiteY1653" fmla="*/ 587574 h 1898459"/>
                <a:gd name="connsiteX1654" fmla="*/ 711665 w 1556920"/>
                <a:gd name="connsiteY1654" fmla="*/ 586243 h 1898459"/>
                <a:gd name="connsiteX1655" fmla="*/ 709578 w 1556920"/>
                <a:gd name="connsiteY1655" fmla="*/ 586243 h 1898459"/>
                <a:gd name="connsiteX1656" fmla="*/ 709578 w 1556920"/>
                <a:gd name="connsiteY1656" fmla="*/ 587513 h 1898459"/>
                <a:gd name="connsiteX1657" fmla="*/ 710727 w 1556920"/>
                <a:gd name="connsiteY1657" fmla="*/ 589026 h 1898459"/>
                <a:gd name="connsiteX1658" fmla="*/ 710515 w 1556920"/>
                <a:gd name="connsiteY1658" fmla="*/ 591506 h 1898459"/>
                <a:gd name="connsiteX1659" fmla="*/ 709457 w 1556920"/>
                <a:gd name="connsiteY1659" fmla="*/ 594078 h 1898459"/>
                <a:gd name="connsiteX1660" fmla="*/ 708126 w 1556920"/>
                <a:gd name="connsiteY1660" fmla="*/ 595772 h 1898459"/>
                <a:gd name="connsiteX1661" fmla="*/ 710637 w 1556920"/>
                <a:gd name="connsiteY1661" fmla="*/ 596377 h 1898459"/>
                <a:gd name="connsiteX1662" fmla="*/ 713722 w 1556920"/>
                <a:gd name="connsiteY1662" fmla="*/ 598252 h 1898459"/>
                <a:gd name="connsiteX1663" fmla="*/ 716294 w 1556920"/>
                <a:gd name="connsiteY1663" fmla="*/ 600975 h 1898459"/>
                <a:gd name="connsiteX1664" fmla="*/ 717292 w 1556920"/>
                <a:gd name="connsiteY1664" fmla="*/ 604091 h 1898459"/>
                <a:gd name="connsiteX1665" fmla="*/ 714327 w 1556920"/>
                <a:gd name="connsiteY1665" fmla="*/ 602820 h 1898459"/>
                <a:gd name="connsiteX1666" fmla="*/ 712542 w 1556920"/>
                <a:gd name="connsiteY1666" fmla="*/ 602609 h 1898459"/>
                <a:gd name="connsiteX1667" fmla="*/ 711756 w 1556920"/>
                <a:gd name="connsiteY1667" fmla="*/ 603456 h 1898459"/>
                <a:gd name="connsiteX1668" fmla="*/ 711544 w 1556920"/>
                <a:gd name="connsiteY1668" fmla="*/ 604061 h 1898459"/>
                <a:gd name="connsiteX1669" fmla="*/ 710606 w 1556920"/>
                <a:gd name="connsiteY1669" fmla="*/ 604424 h 1898459"/>
                <a:gd name="connsiteX1670" fmla="*/ 710364 w 1556920"/>
                <a:gd name="connsiteY1670" fmla="*/ 605150 h 1898459"/>
                <a:gd name="connsiteX1671" fmla="*/ 710546 w 1556920"/>
                <a:gd name="connsiteY1671" fmla="*/ 605815 h 1898459"/>
                <a:gd name="connsiteX1672" fmla="*/ 711453 w 1556920"/>
                <a:gd name="connsiteY1672" fmla="*/ 607056 h 1898459"/>
                <a:gd name="connsiteX1673" fmla="*/ 711726 w 1556920"/>
                <a:gd name="connsiteY1673" fmla="*/ 607630 h 1898459"/>
                <a:gd name="connsiteX1674" fmla="*/ 711998 w 1556920"/>
                <a:gd name="connsiteY1674" fmla="*/ 608024 h 1898459"/>
                <a:gd name="connsiteX1675" fmla="*/ 713722 w 1556920"/>
                <a:gd name="connsiteY1675" fmla="*/ 609990 h 1898459"/>
                <a:gd name="connsiteX1676" fmla="*/ 713238 w 1556920"/>
                <a:gd name="connsiteY1676" fmla="*/ 610262 h 1898459"/>
                <a:gd name="connsiteX1677" fmla="*/ 712815 w 1556920"/>
                <a:gd name="connsiteY1677" fmla="*/ 610807 h 1898459"/>
                <a:gd name="connsiteX1678" fmla="*/ 712391 w 1556920"/>
                <a:gd name="connsiteY1678" fmla="*/ 611140 h 1898459"/>
                <a:gd name="connsiteX1679" fmla="*/ 712391 w 1556920"/>
                <a:gd name="connsiteY1679" fmla="*/ 612198 h 1898459"/>
                <a:gd name="connsiteX1680" fmla="*/ 712966 w 1556920"/>
                <a:gd name="connsiteY1680" fmla="*/ 614346 h 1898459"/>
                <a:gd name="connsiteX1681" fmla="*/ 711635 w 1556920"/>
                <a:gd name="connsiteY1681" fmla="*/ 614074 h 1898459"/>
                <a:gd name="connsiteX1682" fmla="*/ 709820 w 1556920"/>
                <a:gd name="connsiteY1682" fmla="*/ 612743 h 1898459"/>
                <a:gd name="connsiteX1683" fmla="*/ 708882 w 1556920"/>
                <a:gd name="connsiteY1683" fmla="*/ 611654 h 1898459"/>
                <a:gd name="connsiteX1684" fmla="*/ 708247 w 1556920"/>
                <a:gd name="connsiteY1684" fmla="*/ 610081 h 1898459"/>
                <a:gd name="connsiteX1685" fmla="*/ 702922 w 1556920"/>
                <a:gd name="connsiteY1685" fmla="*/ 602820 h 1898459"/>
                <a:gd name="connsiteX1686" fmla="*/ 701984 w 1556920"/>
                <a:gd name="connsiteY1686" fmla="*/ 602246 h 1898459"/>
                <a:gd name="connsiteX1687" fmla="*/ 700926 w 1556920"/>
                <a:gd name="connsiteY1687" fmla="*/ 602730 h 1898459"/>
                <a:gd name="connsiteX1688" fmla="*/ 699564 w 1556920"/>
                <a:gd name="connsiteY1688" fmla="*/ 604605 h 1898459"/>
                <a:gd name="connsiteX1689" fmla="*/ 698808 w 1556920"/>
                <a:gd name="connsiteY1689" fmla="*/ 606783 h 1898459"/>
                <a:gd name="connsiteX1690" fmla="*/ 698990 w 1556920"/>
                <a:gd name="connsiteY1690" fmla="*/ 608871 h 1898459"/>
                <a:gd name="connsiteX1691" fmla="*/ 699897 w 1556920"/>
                <a:gd name="connsiteY1691" fmla="*/ 610716 h 1898459"/>
                <a:gd name="connsiteX1692" fmla="*/ 701289 w 1556920"/>
                <a:gd name="connsiteY1692" fmla="*/ 612229 h 1898459"/>
                <a:gd name="connsiteX1693" fmla="*/ 695118 w 1556920"/>
                <a:gd name="connsiteY1693" fmla="*/ 612229 h 1898459"/>
                <a:gd name="connsiteX1694" fmla="*/ 696207 w 1556920"/>
                <a:gd name="connsiteY1694" fmla="*/ 616071 h 1898459"/>
                <a:gd name="connsiteX1695" fmla="*/ 700381 w 1556920"/>
                <a:gd name="connsiteY1695" fmla="*/ 619005 h 1898459"/>
                <a:gd name="connsiteX1696" fmla="*/ 701319 w 1556920"/>
                <a:gd name="connsiteY1696" fmla="*/ 623482 h 1898459"/>
                <a:gd name="connsiteX1697" fmla="*/ 702106 w 1556920"/>
                <a:gd name="connsiteY1697" fmla="*/ 625933 h 1898459"/>
                <a:gd name="connsiteX1698" fmla="*/ 704011 w 1556920"/>
                <a:gd name="connsiteY1698" fmla="*/ 628020 h 1898459"/>
                <a:gd name="connsiteX1699" fmla="*/ 706371 w 1556920"/>
                <a:gd name="connsiteY1699" fmla="*/ 629472 h 1898459"/>
                <a:gd name="connsiteX1700" fmla="*/ 715628 w 1556920"/>
                <a:gd name="connsiteY1700" fmla="*/ 632406 h 1898459"/>
                <a:gd name="connsiteX1701" fmla="*/ 717292 w 1556920"/>
                <a:gd name="connsiteY1701" fmla="*/ 631075 h 1898459"/>
                <a:gd name="connsiteX1702" fmla="*/ 717503 w 1556920"/>
                <a:gd name="connsiteY1702" fmla="*/ 629139 h 1898459"/>
                <a:gd name="connsiteX1703" fmla="*/ 716384 w 1556920"/>
                <a:gd name="connsiteY1703" fmla="*/ 626023 h 1898459"/>
                <a:gd name="connsiteX1704" fmla="*/ 716535 w 1556920"/>
                <a:gd name="connsiteY1704" fmla="*/ 624057 h 1898459"/>
                <a:gd name="connsiteX1705" fmla="*/ 717473 w 1556920"/>
                <a:gd name="connsiteY1705" fmla="*/ 622696 h 1898459"/>
                <a:gd name="connsiteX1706" fmla="*/ 718653 w 1556920"/>
                <a:gd name="connsiteY1706" fmla="*/ 622242 h 1898459"/>
                <a:gd name="connsiteX1707" fmla="*/ 719803 w 1556920"/>
                <a:gd name="connsiteY1707" fmla="*/ 621516 h 1898459"/>
                <a:gd name="connsiteX1708" fmla="*/ 720650 w 1556920"/>
                <a:gd name="connsiteY1708" fmla="*/ 619247 h 1898459"/>
                <a:gd name="connsiteX1709" fmla="*/ 721588 w 1556920"/>
                <a:gd name="connsiteY1709" fmla="*/ 620548 h 1898459"/>
                <a:gd name="connsiteX1710" fmla="*/ 721951 w 1556920"/>
                <a:gd name="connsiteY1710" fmla="*/ 622091 h 1898459"/>
                <a:gd name="connsiteX1711" fmla="*/ 721829 w 1556920"/>
                <a:gd name="connsiteY1711" fmla="*/ 623694 h 1898459"/>
                <a:gd name="connsiteX1712" fmla="*/ 721315 w 1556920"/>
                <a:gd name="connsiteY1712" fmla="*/ 625207 h 1898459"/>
                <a:gd name="connsiteX1713" fmla="*/ 722646 w 1556920"/>
                <a:gd name="connsiteY1713" fmla="*/ 624390 h 1898459"/>
                <a:gd name="connsiteX1714" fmla="*/ 724643 w 1556920"/>
                <a:gd name="connsiteY1714" fmla="*/ 622091 h 1898459"/>
                <a:gd name="connsiteX1715" fmla="*/ 726125 w 1556920"/>
                <a:gd name="connsiteY1715" fmla="*/ 621728 h 1898459"/>
                <a:gd name="connsiteX1716" fmla="*/ 725641 w 1556920"/>
                <a:gd name="connsiteY1716" fmla="*/ 623633 h 1898459"/>
                <a:gd name="connsiteX1717" fmla="*/ 725853 w 1556920"/>
                <a:gd name="connsiteY1717" fmla="*/ 625025 h 1898459"/>
                <a:gd name="connsiteX1718" fmla="*/ 726519 w 1556920"/>
                <a:gd name="connsiteY1718" fmla="*/ 625933 h 1898459"/>
                <a:gd name="connsiteX1719" fmla="*/ 727426 w 1556920"/>
                <a:gd name="connsiteY1719" fmla="*/ 626386 h 1898459"/>
                <a:gd name="connsiteX1720" fmla="*/ 727154 w 1556920"/>
                <a:gd name="connsiteY1720" fmla="*/ 627052 h 1898459"/>
                <a:gd name="connsiteX1721" fmla="*/ 726851 w 1556920"/>
                <a:gd name="connsiteY1721" fmla="*/ 627294 h 1898459"/>
                <a:gd name="connsiteX1722" fmla="*/ 726125 w 1556920"/>
                <a:gd name="connsiteY1722" fmla="*/ 627536 h 1898459"/>
                <a:gd name="connsiteX1723" fmla="*/ 728061 w 1556920"/>
                <a:gd name="connsiteY1723" fmla="*/ 628564 h 1898459"/>
                <a:gd name="connsiteX1724" fmla="*/ 728878 w 1556920"/>
                <a:gd name="connsiteY1724" fmla="*/ 628716 h 1898459"/>
                <a:gd name="connsiteX1725" fmla="*/ 728878 w 1556920"/>
                <a:gd name="connsiteY1725" fmla="*/ 630016 h 1898459"/>
                <a:gd name="connsiteX1726" fmla="*/ 727426 w 1556920"/>
                <a:gd name="connsiteY1726" fmla="*/ 631075 h 1898459"/>
                <a:gd name="connsiteX1727" fmla="*/ 728666 w 1556920"/>
                <a:gd name="connsiteY1727" fmla="*/ 631075 h 1898459"/>
                <a:gd name="connsiteX1728" fmla="*/ 730875 w 1556920"/>
                <a:gd name="connsiteY1728" fmla="*/ 630228 h 1898459"/>
                <a:gd name="connsiteX1729" fmla="*/ 731994 w 1556920"/>
                <a:gd name="connsiteY1729" fmla="*/ 630016 h 1898459"/>
                <a:gd name="connsiteX1730" fmla="*/ 733144 w 1556920"/>
                <a:gd name="connsiteY1730" fmla="*/ 630228 h 1898459"/>
                <a:gd name="connsiteX1731" fmla="*/ 733809 w 1556920"/>
                <a:gd name="connsiteY1731" fmla="*/ 630742 h 1898459"/>
                <a:gd name="connsiteX1732" fmla="*/ 735110 w 1556920"/>
                <a:gd name="connsiteY1732" fmla="*/ 632225 h 1898459"/>
                <a:gd name="connsiteX1733" fmla="*/ 741432 w 1556920"/>
                <a:gd name="connsiteY1733" fmla="*/ 637095 h 1898459"/>
                <a:gd name="connsiteX1734" fmla="*/ 742733 w 1556920"/>
                <a:gd name="connsiteY1734" fmla="*/ 639364 h 1898459"/>
                <a:gd name="connsiteX1735" fmla="*/ 740041 w 1556920"/>
                <a:gd name="connsiteY1735" fmla="*/ 638789 h 1898459"/>
                <a:gd name="connsiteX1736" fmla="*/ 737923 w 1556920"/>
                <a:gd name="connsiteY1736" fmla="*/ 637035 h 1898459"/>
                <a:gd name="connsiteX1737" fmla="*/ 736138 w 1556920"/>
                <a:gd name="connsiteY1737" fmla="*/ 634978 h 1898459"/>
                <a:gd name="connsiteX1738" fmla="*/ 734354 w 1556920"/>
                <a:gd name="connsiteY1738" fmla="*/ 633526 h 1898459"/>
                <a:gd name="connsiteX1739" fmla="*/ 732115 w 1556920"/>
                <a:gd name="connsiteY1739" fmla="*/ 633163 h 1898459"/>
                <a:gd name="connsiteX1740" fmla="*/ 730118 w 1556920"/>
                <a:gd name="connsiteY1740" fmla="*/ 633979 h 1898459"/>
                <a:gd name="connsiteX1741" fmla="*/ 725490 w 1556920"/>
                <a:gd name="connsiteY1741" fmla="*/ 637035 h 1898459"/>
                <a:gd name="connsiteX1742" fmla="*/ 725792 w 1556920"/>
                <a:gd name="connsiteY1742" fmla="*/ 638245 h 1898459"/>
                <a:gd name="connsiteX1743" fmla="*/ 726156 w 1556920"/>
                <a:gd name="connsiteY1743" fmla="*/ 638820 h 1898459"/>
                <a:gd name="connsiteX1744" fmla="*/ 726609 w 1556920"/>
                <a:gd name="connsiteY1744" fmla="*/ 639243 h 1898459"/>
                <a:gd name="connsiteX1745" fmla="*/ 727123 w 1556920"/>
                <a:gd name="connsiteY1745" fmla="*/ 639969 h 1898459"/>
                <a:gd name="connsiteX1746" fmla="*/ 727426 w 1556920"/>
                <a:gd name="connsiteY1746" fmla="*/ 640695 h 1898459"/>
                <a:gd name="connsiteX1747" fmla="*/ 727940 w 1556920"/>
                <a:gd name="connsiteY1747" fmla="*/ 642298 h 1898459"/>
                <a:gd name="connsiteX1748" fmla="*/ 728182 w 1556920"/>
                <a:gd name="connsiteY1748" fmla="*/ 642873 h 1898459"/>
                <a:gd name="connsiteX1749" fmla="*/ 732932 w 1556920"/>
                <a:gd name="connsiteY1749" fmla="*/ 648742 h 1898459"/>
                <a:gd name="connsiteX1750" fmla="*/ 734626 w 1556920"/>
                <a:gd name="connsiteY1750" fmla="*/ 649226 h 1898459"/>
                <a:gd name="connsiteX1751" fmla="*/ 739254 w 1556920"/>
                <a:gd name="connsiteY1751" fmla="*/ 648833 h 1898459"/>
                <a:gd name="connsiteX1752" fmla="*/ 738649 w 1556920"/>
                <a:gd name="connsiteY1752" fmla="*/ 650224 h 1898459"/>
                <a:gd name="connsiteX1753" fmla="*/ 737863 w 1556920"/>
                <a:gd name="connsiteY1753" fmla="*/ 651132 h 1898459"/>
                <a:gd name="connsiteX1754" fmla="*/ 736925 w 1556920"/>
                <a:gd name="connsiteY1754" fmla="*/ 651767 h 1898459"/>
                <a:gd name="connsiteX1755" fmla="*/ 735836 w 1556920"/>
                <a:gd name="connsiteY1755" fmla="*/ 652221 h 1898459"/>
                <a:gd name="connsiteX1756" fmla="*/ 737348 w 1556920"/>
                <a:gd name="connsiteY1756" fmla="*/ 655397 h 1898459"/>
                <a:gd name="connsiteX1757" fmla="*/ 739285 w 1556920"/>
                <a:gd name="connsiteY1757" fmla="*/ 658180 h 1898459"/>
                <a:gd name="connsiteX1758" fmla="*/ 740858 w 1556920"/>
                <a:gd name="connsiteY1758" fmla="*/ 657031 h 1898459"/>
                <a:gd name="connsiteX1759" fmla="*/ 742552 w 1556920"/>
                <a:gd name="connsiteY1759" fmla="*/ 656184 h 1898459"/>
                <a:gd name="connsiteX1760" fmla="*/ 744336 w 1556920"/>
                <a:gd name="connsiteY1760" fmla="*/ 655760 h 1898459"/>
                <a:gd name="connsiteX1761" fmla="*/ 746212 w 1556920"/>
                <a:gd name="connsiteY1761" fmla="*/ 655821 h 1898459"/>
                <a:gd name="connsiteX1762" fmla="*/ 746212 w 1556920"/>
                <a:gd name="connsiteY1762" fmla="*/ 656880 h 1898459"/>
                <a:gd name="connsiteX1763" fmla="*/ 743157 w 1556920"/>
                <a:gd name="connsiteY1763" fmla="*/ 660601 h 1898459"/>
                <a:gd name="connsiteX1764" fmla="*/ 742007 w 1556920"/>
                <a:gd name="connsiteY1764" fmla="*/ 661539 h 1898459"/>
                <a:gd name="connsiteX1765" fmla="*/ 742007 w 1556920"/>
                <a:gd name="connsiteY1765" fmla="*/ 662809 h 1898459"/>
                <a:gd name="connsiteX1766" fmla="*/ 756225 w 1556920"/>
                <a:gd name="connsiteY1766" fmla="*/ 659360 h 1898459"/>
                <a:gd name="connsiteX1767" fmla="*/ 757980 w 1556920"/>
                <a:gd name="connsiteY1767" fmla="*/ 658241 h 1898459"/>
                <a:gd name="connsiteX1768" fmla="*/ 756528 w 1556920"/>
                <a:gd name="connsiteY1768" fmla="*/ 656880 h 1898459"/>
                <a:gd name="connsiteX1769" fmla="*/ 756528 w 1556920"/>
                <a:gd name="connsiteY1769" fmla="*/ 655821 h 1898459"/>
                <a:gd name="connsiteX1770" fmla="*/ 757526 w 1556920"/>
                <a:gd name="connsiteY1770" fmla="*/ 655942 h 1898459"/>
                <a:gd name="connsiteX1771" fmla="*/ 758403 w 1556920"/>
                <a:gd name="connsiteY1771" fmla="*/ 656365 h 1898459"/>
                <a:gd name="connsiteX1772" fmla="*/ 759220 w 1556920"/>
                <a:gd name="connsiteY1772" fmla="*/ 657122 h 1898459"/>
                <a:gd name="connsiteX1773" fmla="*/ 759946 w 1556920"/>
                <a:gd name="connsiteY1773" fmla="*/ 658180 h 1898459"/>
                <a:gd name="connsiteX1774" fmla="*/ 760763 w 1556920"/>
                <a:gd name="connsiteY1774" fmla="*/ 657364 h 1898459"/>
                <a:gd name="connsiteX1775" fmla="*/ 761338 w 1556920"/>
                <a:gd name="connsiteY1775" fmla="*/ 657031 h 1898459"/>
                <a:gd name="connsiteX1776" fmla="*/ 761882 w 1556920"/>
                <a:gd name="connsiteY1776" fmla="*/ 657273 h 1898459"/>
                <a:gd name="connsiteX1777" fmla="*/ 762699 w 1556920"/>
                <a:gd name="connsiteY1777" fmla="*/ 658211 h 1898459"/>
                <a:gd name="connsiteX1778" fmla="*/ 762881 w 1556920"/>
                <a:gd name="connsiteY1778" fmla="*/ 660782 h 1898459"/>
                <a:gd name="connsiteX1779" fmla="*/ 763304 w 1556920"/>
                <a:gd name="connsiteY1779" fmla="*/ 664231 h 1898459"/>
                <a:gd name="connsiteX1780" fmla="*/ 763879 w 1556920"/>
                <a:gd name="connsiteY1780" fmla="*/ 667256 h 1898459"/>
                <a:gd name="connsiteX1781" fmla="*/ 765180 w 1556920"/>
                <a:gd name="connsiteY1781" fmla="*/ 668587 h 1898459"/>
                <a:gd name="connsiteX1782" fmla="*/ 766662 w 1556920"/>
                <a:gd name="connsiteY1782" fmla="*/ 667861 h 1898459"/>
                <a:gd name="connsiteX1783" fmla="*/ 767600 w 1556920"/>
                <a:gd name="connsiteY1783" fmla="*/ 666167 h 1898459"/>
                <a:gd name="connsiteX1784" fmla="*/ 768447 w 1556920"/>
                <a:gd name="connsiteY1784" fmla="*/ 664261 h 1898459"/>
                <a:gd name="connsiteX1785" fmla="*/ 769687 w 1556920"/>
                <a:gd name="connsiteY1785" fmla="*/ 662869 h 1898459"/>
                <a:gd name="connsiteX1786" fmla="*/ 768991 w 1556920"/>
                <a:gd name="connsiteY1786" fmla="*/ 661599 h 1898459"/>
                <a:gd name="connsiteX1787" fmla="*/ 769990 w 1556920"/>
                <a:gd name="connsiteY1787" fmla="*/ 660631 h 1898459"/>
                <a:gd name="connsiteX1788" fmla="*/ 770686 w 1556920"/>
                <a:gd name="connsiteY1788" fmla="*/ 659451 h 1898459"/>
                <a:gd name="connsiteX1789" fmla="*/ 771744 w 1556920"/>
                <a:gd name="connsiteY1789" fmla="*/ 656940 h 1898459"/>
                <a:gd name="connsiteX1790" fmla="*/ 770534 w 1556920"/>
                <a:gd name="connsiteY1790" fmla="*/ 654248 h 1898459"/>
                <a:gd name="connsiteX1791" fmla="*/ 770111 w 1556920"/>
                <a:gd name="connsiteY1791" fmla="*/ 652917 h 1898459"/>
                <a:gd name="connsiteX1792" fmla="*/ 769687 w 1556920"/>
                <a:gd name="connsiteY1792" fmla="*/ 651102 h 1898459"/>
                <a:gd name="connsiteX1793" fmla="*/ 770867 w 1556920"/>
                <a:gd name="connsiteY1793" fmla="*/ 651677 h 1898459"/>
                <a:gd name="connsiteX1794" fmla="*/ 772168 w 1556920"/>
                <a:gd name="connsiteY1794" fmla="*/ 653189 h 1898459"/>
                <a:gd name="connsiteX1795" fmla="*/ 774558 w 1556920"/>
                <a:gd name="connsiteY1795" fmla="*/ 656910 h 1898459"/>
                <a:gd name="connsiteX1796" fmla="*/ 774769 w 1556920"/>
                <a:gd name="connsiteY1796" fmla="*/ 657848 h 1898459"/>
                <a:gd name="connsiteX1797" fmla="*/ 774769 w 1556920"/>
                <a:gd name="connsiteY1797" fmla="*/ 659028 h 1898459"/>
                <a:gd name="connsiteX1798" fmla="*/ 774951 w 1556920"/>
                <a:gd name="connsiteY1798" fmla="*/ 660056 h 1898459"/>
                <a:gd name="connsiteX1799" fmla="*/ 775496 w 1556920"/>
                <a:gd name="connsiteY1799" fmla="*/ 660480 h 1898459"/>
                <a:gd name="connsiteX1800" fmla="*/ 784087 w 1556920"/>
                <a:gd name="connsiteY1800" fmla="*/ 660328 h 1898459"/>
                <a:gd name="connsiteX1801" fmla="*/ 786900 w 1556920"/>
                <a:gd name="connsiteY1801" fmla="*/ 659572 h 1898459"/>
                <a:gd name="connsiteX1802" fmla="*/ 789684 w 1556920"/>
                <a:gd name="connsiteY1802" fmla="*/ 658150 h 1898459"/>
                <a:gd name="connsiteX1803" fmla="*/ 789684 w 1556920"/>
                <a:gd name="connsiteY1803" fmla="*/ 659330 h 1898459"/>
                <a:gd name="connsiteX1804" fmla="*/ 780003 w 1556920"/>
                <a:gd name="connsiteY1804" fmla="*/ 663868 h 1898459"/>
                <a:gd name="connsiteX1805" fmla="*/ 778853 w 1556920"/>
                <a:gd name="connsiteY1805" fmla="*/ 664896 h 1898459"/>
                <a:gd name="connsiteX1806" fmla="*/ 777946 w 1556920"/>
                <a:gd name="connsiteY1806" fmla="*/ 666046 h 1898459"/>
                <a:gd name="connsiteX1807" fmla="*/ 776100 w 1556920"/>
                <a:gd name="connsiteY1807" fmla="*/ 669283 h 1898459"/>
                <a:gd name="connsiteX1808" fmla="*/ 775405 w 1556920"/>
                <a:gd name="connsiteY1808" fmla="*/ 670100 h 1898459"/>
                <a:gd name="connsiteX1809" fmla="*/ 775102 w 1556920"/>
                <a:gd name="connsiteY1809" fmla="*/ 670856 h 1898459"/>
                <a:gd name="connsiteX1810" fmla="*/ 774679 w 1556920"/>
                <a:gd name="connsiteY1810" fmla="*/ 672429 h 1898459"/>
                <a:gd name="connsiteX1811" fmla="*/ 774376 w 1556920"/>
                <a:gd name="connsiteY1811" fmla="*/ 672913 h 1898459"/>
                <a:gd name="connsiteX1812" fmla="*/ 773771 w 1556920"/>
                <a:gd name="connsiteY1812" fmla="*/ 673276 h 1898459"/>
                <a:gd name="connsiteX1813" fmla="*/ 773771 w 1556920"/>
                <a:gd name="connsiteY1813" fmla="*/ 674456 h 1898459"/>
                <a:gd name="connsiteX1814" fmla="*/ 774043 w 1556920"/>
                <a:gd name="connsiteY1814" fmla="*/ 675938 h 1898459"/>
                <a:gd name="connsiteX1815" fmla="*/ 771321 w 1556920"/>
                <a:gd name="connsiteY1815" fmla="*/ 679629 h 1898459"/>
                <a:gd name="connsiteX1816" fmla="*/ 771018 w 1556920"/>
                <a:gd name="connsiteY1816" fmla="*/ 682563 h 1898459"/>
                <a:gd name="connsiteX1817" fmla="*/ 771986 w 1556920"/>
                <a:gd name="connsiteY1817" fmla="*/ 684772 h 1898459"/>
                <a:gd name="connsiteX1818" fmla="*/ 773408 w 1556920"/>
                <a:gd name="connsiteY1818" fmla="*/ 685377 h 1898459"/>
                <a:gd name="connsiteX1819" fmla="*/ 778763 w 1556920"/>
                <a:gd name="connsiteY1819" fmla="*/ 684409 h 1898459"/>
                <a:gd name="connsiteX1820" fmla="*/ 780638 w 1556920"/>
                <a:gd name="connsiteY1820" fmla="*/ 683198 h 1898459"/>
                <a:gd name="connsiteX1821" fmla="*/ 782272 w 1556920"/>
                <a:gd name="connsiteY1821" fmla="*/ 681686 h 1898459"/>
                <a:gd name="connsiteX1822" fmla="*/ 788171 w 1556920"/>
                <a:gd name="connsiteY1822" fmla="*/ 674002 h 1898459"/>
                <a:gd name="connsiteX1823" fmla="*/ 788957 w 1556920"/>
                <a:gd name="connsiteY1823" fmla="*/ 672701 h 1898459"/>
                <a:gd name="connsiteX1824" fmla="*/ 789925 w 1556920"/>
                <a:gd name="connsiteY1824" fmla="*/ 671854 h 1898459"/>
                <a:gd name="connsiteX1825" fmla="*/ 792043 w 1556920"/>
                <a:gd name="connsiteY1825" fmla="*/ 670765 h 1898459"/>
                <a:gd name="connsiteX1826" fmla="*/ 794161 w 1556920"/>
                <a:gd name="connsiteY1826" fmla="*/ 669192 h 1898459"/>
                <a:gd name="connsiteX1827" fmla="*/ 795129 w 1556920"/>
                <a:gd name="connsiteY1827" fmla="*/ 666863 h 1898459"/>
                <a:gd name="connsiteX1828" fmla="*/ 795310 w 1556920"/>
                <a:gd name="connsiteY1828" fmla="*/ 663081 h 1898459"/>
                <a:gd name="connsiteX1829" fmla="*/ 796006 w 1556920"/>
                <a:gd name="connsiteY1829" fmla="*/ 661932 h 1898459"/>
                <a:gd name="connsiteX1830" fmla="*/ 799999 w 1556920"/>
                <a:gd name="connsiteY1830" fmla="*/ 661569 h 1898459"/>
                <a:gd name="connsiteX1831" fmla="*/ 801512 w 1556920"/>
                <a:gd name="connsiteY1831" fmla="*/ 660843 h 1898459"/>
                <a:gd name="connsiteX1832" fmla="*/ 805172 w 1556920"/>
                <a:gd name="connsiteY1832" fmla="*/ 657999 h 1898459"/>
                <a:gd name="connsiteX1833" fmla="*/ 807229 w 1556920"/>
                <a:gd name="connsiteY1833" fmla="*/ 655428 h 1898459"/>
                <a:gd name="connsiteX1834" fmla="*/ 807986 w 1556920"/>
                <a:gd name="connsiteY1834" fmla="*/ 654036 h 1898459"/>
                <a:gd name="connsiteX1835" fmla="*/ 808379 w 1556920"/>
                <a:gd name="connsiteY1835" fmla="*/ 652372 h 1898459"/>
                <a:gd name="connsiteX1836" fmla="*/ 807925 w 1556920"/>
                <a:gd name="connsiteY1836" fmla="*/ 650527 h 1898459"/>
                <a:gd name="connsiteX1837" fmla="*/ 807925 w 1556920"/>
                <a:gd name="connsiteY1837" fmla="*/ 649408 h 1898459"/>
                <a:gd name="connsiteX1838" fmla="*/ 809559 w 1556920"/>
                <a:gd name="connsiteY1838" fmla="*/ 645172 h 1898459"/>
                <a:gd name="connsiteX1839" fmla="*/ 802056 w 1556920"/>
                <a:gd name="connsiteY1839" fmla="*/ 645172 h 1898459"/>
                <a:gd name="connsiteX1840" fmla="*/ 800392 w 1556920"/>
                <a:gd name="connsiteY1840" fmla="*/ 642994 h 1898459"/>
                <a:gd name="connsiteX1841" fmla="*/ 797428 w 1556920"/>
                <a:gd name="connsiteY1841" fmla="*/ 642994 h 1898459"/>
                <a:gd name="connsiteX1842" fmla="*/ 794614 w 1556920"/>
                <a:gd name="connsiteY1842" fmla="*/ 643932 h 1898459"/>
                <a:gd name="connsiteX1843" fmla="*/ 791741 w 1556920"/>
                <a:gd name="connsiteY1843" fmla="*/ 646594 h 1898459"/>
                <a:gd name="connsiteX1844" fmla="*/ 787566 w 1556920"/>
                <a:gd name="connsiteY1844" fmla="*/ 646413 h 1898459"/>
                <a:gd name="connsiteX1845" fmla="*/ 787021 w 1556920"/>
                <a:gd name="connsiteY1845" fmla="*/ 647078 h 1898459"/>
                <a:gd name="connsiteX1846" fmla="*/ 786416 w 1556920"/>
                <a:gd name="connsiteY1846" fmla="*/ 648167 h 1898459"/>
                <a:gd name="connsiteX1847" fmla="*/ 785509 w 1556920"/>
                <a:gd name="connsiteY1847" fmla="*/ 648984 h 1898459"/>
                <a:gd name="connsiteX1848" fmla="*/ 784057 w 1556920"/>
                <a:gd name="connsiteY1848" fmla="*/ 648833 h 1898459"/>
                <a:gd name="connsiteX1849" fmla="*/ 783391 w 1556920"/>
                <a:gd name="connsiteY1849" fmla="*/ 647895 h 1898459"/>
                <a:gd name="connsiteX1850" fmla="*/ 782726 w 1556920"/>
                <a:gd name="connsiteY1850" fmla="*/ 646292 h 1898459"/>
                <a:gd name="connsiteX1851" fmla="*/ 781788 w 1556920"/>
                <a:gd name="connsiteY1851" fmla="*/ 644749 h 1898459"/>
                <a:gd name="connsiteX1852" fmla="*/ 780275 w 1556920"/>
                <a:gd name="connsiteY1852" fmla="*/ 644083 h 1898459"/>
                <a:gd name="connsiteX1853" fmla="*/ 777734 w 1556920"/>
                <a:gd name="connsiteY1853" fmla="*/ 644325 h 1898459"/>
                <a:gd name="connsiteX1854" fmla="*/ 776403 w 1556920"/>
                <a:gd name="connsiteY1854" fmla="*/ 644174 h 1898459"/>
                <a:gd name="connsiteX1855" fmla="*/ 775435 w 1556920"/>
                <a:gd name="connsiteY1855" fmla="*/ 643509 h 1898459"/>
                <a:gd name="connsiteX1856" fmla="*/ 773196 w 1556920"/>
                <a:gd name="connsiteY1856" fmla="*/ 641361 h 1898459"/>
                <a:gd name="connsiteX1857" fmla="*/ 771139 w 1556920"/>
                <a:gd name="connsiteY1857" fmla="*/ 641603 h 1898459"/>
                <a:gd name="connsiteX1858" fmla="*/ 768931 w 1556920"/>
                <a:gd name="connsiteY1858" fmla="*/ 642631 h 1898459"/>
                <a:gd name="connsiteX1859" fmla="*/ 766178 w 1556920"/>
                <a:gd name="connsiteY1859" fmla="*/ 642904 h 1898459"/>
                <a:gd name="connsiteX1860" fmla="*/ 766178 w 1556920"/>
                <a:gd name="connsiteY1860" fmla="*/ 641754 h 1898459"/>
                <a:gd name="connsiteX1861" fmla="*/ 768719 w 1556920"/>
                <a:gd name="connsiteY1861" fmla="*/ 640635 h 1898459"/>
                <a:gd name="connsiteX1862" fmla="*/ 769899 w 1556920"/>
                <a:gd name="connsiteY1862" fmla="*/ 639062 h 1898459"/>
                <a:gd name="connsiteX1863" fmla="*/ 769475 w 1556920"/>
                <a:gd name="connsiteY1863" fmla="*/ 637670 h 1898459"/>
                <a:gd name="connsiteX1864" fmla="*/ 767176 w 1556920"/>
                <a:gd name="connsiteY1864" fmla="*/ 637065 h 1898459"/>
                <a:gd name="connsiteX1865" fmla="*/ 758555 w 1556920"/>
                <a:gd name="connsiteY1865" fmla="*/ 638124 h 1898459"/>
                <a:gd name="connsiteX1866" fmla="*/ 759916 w 1556920"/>
                <a:gd name="connsiteY1866" fmla="*/ 636944 h 1898459"/>
                <a:gd name="connsiteX1867" fmla="*/ 763304 w 1556920"/>
                <a:gd name="connsiteY1867" fmla="*/ 635069 h 1898459"/>
                <a:gd name="connsiteX1868" fmla="*/ 764030 w 1556920"/>
                <a:gd name="connsiteY1868" fmla="*/ 633556 h 1898459"/>
                <a:gd name="connsiteX1869" fmla="*/ 763365 w 1556920"/>
                <a:gd name="connsiteY1869" fmla="*/ 632316 h 1898459"/>
                <a:gd name="connsiteX1870" fmla="*/ 761852 w 1556920"/>
                <a:gd name="connsiteY1870" fmla="*/ 631045 h 1898459"/>
                <a:gd name="connsiteX1871" fmla="*/ 760400 w 1556920"/>
                <a:gd name="connsiteY1871" fmla="*/ 629290 h 1898459"/>
                <a:gd name="connsiteX1872" fmla="*/ 759916 w 1556920"/>
                <a:gd name="connsiteY1872" fmla="*/ 626447 h 1898459"/>
                <a:gd name="connsiteX1873" fmla="*/ 760521 w 1556920"/>
                <a:gd name="connsiteY1873" fmla="*/ 625418 h 1898459"/>
                <a:gd name="connsiteX1874" fmla="*/ 761580 w 1556920"/>
                <a:gd name="connsiteY1874" fmla="*/ 623996 h 1898459"/>
                <a:gd name="connsiteX1875" fmla="*/ 762155 w 1556920"/>
                <a:gd name="connsiteY1875" fmla="*/ 622363 h 1898459"/>
                <a:gd name="connsiteX1876" fmla="*/ 761277 w 1556920"/>
                <a:gd name="connsiteY1876" fmla="*/ 620608 h 1898459"/>
                <a:gd name="connsiteX1877" fmla="*/ 759765 w 1556920"/>
                <a:gd name="connsiteY1877" fmla="*/ 620124 h 1898459"/>
                <a:gd name="connsiteX1878" fmla="*/ 757980 w 1556920"/>
                <a:gd name="connsiteY1878" fmla="*/ 620699 h 1898459"/>
                <a:gd name="connsiteX1879" fmla="*/ 756316 w 1556920"/>
                <a:gd name="connsiteY1879" fmla="*/ 621818 h 1898459"/>
                <a:gd name="connsiteX1880" fmla="*/ 755106 w 1556920"/>
                <a:gd name="connsiteY1880" fmla="*/ 622938 h 1898459"/>
                <a:gd name="connsiteX1881" fmla="*/ 756014 w 1556920"/>
                <a:gd name="connsiteY1881" fmla="*/ 621365 h 1898459"/>
                <a:gd name="connsiteX1882" fmla="*/ 758676 w 1556920"/>
                <a:gd name="connsiteY1882" fmla="*/ 618944 h 1898459"/>
                <a:gd name="connsiteX1883" fmla="*/ 759220 w 1556920"/>
                <a:gd name="connsiteY1883" fmla="*/ 617644 h 1898459"/>
                <a:gd name="connsiteX1884" fmla="*/ 759402 w 1556920"/>
                <a:gd name="connsiteY1884" fmla="*/ 615314 h 1898459"/>
                <a:gd name="connsiteX1885" fmla="*/ 760309 w 1556920"/>
                <a:gd name="connsiteY1885" fmla="*/ 611412 h 1898459"/>
                <a:gd name="connsiteX1886" fmla="*/ 760581 w 1556920"/>
                <a:gd name="connsiteY1886" fmla="*/ 608840 h 1898459"/>
                <a:gd name="connsiteX1887" fmla="*/ 760400 w 1556920"/>
                <a:gd name="connsiteY1887" fmla="*/ 606451 h 1898459"/>
                <a:gd name="connsiteX1888" fmla="*/ 759432 w 1556920"/>
                <a:gd name="connsiteY1888" fmla="*/ 601308 h 1898459"/>
                <a:gd name="connsiteX1889" fmla="*/ 758524 w 1556920"/>
                <a:gd name="connsiteY1889" fmla="*/ 589328 h 1898459"/>
                <a:gd name="connsiteX1890" fmla="*/ 758071 w 1556920"/>
                <a:gd name="connsiteY1890" fmla="*/ 587906 h 1898459"/>
                <a:gd name="connsiteX1891" fmla="*/ 656244 w 1556920"/>
                <a:gd name="connsiteY1891" fmla="*/ 567547 h 1898459"/>
                <a:gd name="connsiteX1892" fmla="*/ 658060 w 1556920"/>
                <a:gd name="connsiteY1892" fmla="*/ 565611 h 1898459"/>
                <a:gd name="connsiteX1893" fmla="*/ 657152 w 1556920"/>
                <a:gd name="connsiteY1893" fmla="*/ 563766 h 1898459"/>
                <a:gd name="connsiteX1894" fmla="*/ 655246 w 1556920"/>
                <a:gd name="connsiteY1894" fmla="*/ 564159 h 1898459"/>
                <a:gd name="connsiteX1895" fmla="*/ 650981 w 1556920"/>
                <a:gd name="connsiteY1895" fmla="*/ 568485 h 1898459"/>
                <a:gd name="connsiteX1896" fmla="*/ 653371 w 1556920"/>
                <a:gd name="connsiteY1896" fmla="*/ 568788 h 1898459"/>
                <a:gd name="connsiteX1897" fmla="*/ 656275 w 1556920"/>
                <a:gd name="connsiteY1897" fmla="*/ 567547 h 1898459"/>
                <a:gd name="connsiteX1898" fmla="*/ 511824 w 1556920"/>
                <a:gd name="connsiteY1898" fmla="*/ 548247 h 1898459"/>
                <a:gd name="connsiteX1899" fmla="*/ 510251 w 1556920"/>
                <a:gd name="connsiteY1899" fmla="*/ 547067 h 1898459"/>
                <a:gd name="connsiteX1900" fmla="*/ 511280 w 1556920"/>
                <a:gd name="connsiteY1900" fmla="*/ 550606 h 1898459"/>
                <a:gd name="connsiteX1901" fmla="*/ 513276 w 1556920"/>
                <a:gd name="connsiteY1901" fmla="*/ 551998 h 1898459"/>
                <a:gd name="connsiteX1902" fmla="*/ 515484 w 1556920"/>
                <a:gd name="connsiteY1902" fmla="*/ 551514 h 1898459"/>
                <a:gd name="connsiteX1903" fmla="*/ 517148 w 1556920"/>
                <a:gd name="connsiteY1903" fmla="*/ 549548 h 1898459"/>
                <a:gd name="connsiteX1904" fmla="*/ 515454 w 1556920"/>
                <a:gd name="connsiteY1904" fmla="*/ 548731 h 1898459"/>
                <a:gd name="connsiteX1905" fmla="*/ 511824 w 1556920"/>
                <a:gd name="connsiteY1905" fmla="*/ 548247 h 1898459"/>
                <a:gd name="connsiteX1906" fmla="*/ 665380 w 1556920"/>
                <a:gd name="connsiteY1906" fmla="*/ 538869 h 1898459"/>
                <a:gd name="connsiteX1907" fmla="*/ 666772 w 1556920"/>
                <a:gd name="connsiteY1907" fmla="*/ 538748 h 1898459"/>
                <a:gd name="connsiteX1908" fmla="*/ 667800 w 1556920"/>
                <a:gd name="connsiteY1908" fmla="*/ 538203 h 1898459"/>
                <a:gd name="connsiteX1909" fmla="*/ 668496 w 1556920"/>
                <a:gd name="connsiteY1909" fmla="*/ 537054 h 1898459"/>
                <a:gd name="connsiteX1910" fmla="*/ 668859 w 1556920"/>
                <a:gd name="connsiteY1910" fmla="*/ 535087 h 1898459"/>
                <a:gd name="connsiteX1911" fmla="*/ 672429 w 1556920"/>
                <a:gd name="connsiteY1911" fmla="*/ 537266 h 1898459"/>
                <a:gd name="connsiteX1912" fmla="*/ 673639 w 1556920"/>
                <a:gd name="connsiteY1912" fmla="*/ 536570 h 1898459"/>
                <a:gd name="connsiteX1913" fmla="*/ 673639 w 1556920"/>
                <a:gd name="connsiteY1913" fmla="*/ 532819 h 1898459"/>
                <a:gd name="connsiteX1914" fmla="*/ 671794 w 1556920"/>
                <a:gd name="connsiteY1914" fmla="*/ 531639 h 1898459"/>
                <a:gd name="connsiteX1915" fmla="*/ 669555 w 1556920"/>
                <a:gd name="connsiteY1915" fmla="*/ 532607 h 1898459"/>
                <a:gd name="connsiteX1916" fmla="*/ 665380 w 1556920"/>
                <a:gd name="connsiteY1916" fmla="*/ 536358 h 1898459"/>
                <a:gd name="connsiteX1917" fmla="*/ 665532 w 1556920"/>
                <a:gd name="connsiteY1917" fmla="*/ 536963 h 1898459"/>
                <a:gd name="connsiteX1918" fmla="*/ 665653 w 1556920"/>
                <a:gd name="connsiteY1918" fmla="*/ 537054 h 1898459"/>
                <a:gd name="connsiteX1919" fmla="*/ 665653 w 1556920"/>
                <a:gd name="connsiteY1919" fmla="*/ 537417 h 1898459"/>
                <a:gd name="connsiteX1920" fmla="*/ 665411 w 1556920"/>
                <a:gd name="connsiteY1920" fmla="*/ 538869 h 1898459"/>
                <a:gd name="connsiteX1921" fmla="*/ 686224 w 1556920"/>
                <a:gd name="connsiteY1921" fmla="*/ 478336 h 1898459"/>
                <a:gd name="connsiteX1922" fmla="*/ 687494 w 1556920"/>
                <a:gd name="connsiteY1922" fmla="*/ 479001 h 1898459"/>
                <a:gd name="connsiteX1923" fmla="*/ 687494 w 1556920"/>
                <a:gd name="connsiteY1923" fmla="*/ 480090 h 1898459"/>
                <a:gd name="connsiteX1924" fmla="*/ 687161 w 1556920"/>
                <a:gd name="connsiteY1924" fmla="*/ 480151 h 1898459"/>
                <a:gd name="connsiteX1925" fmla="*/ 686102 w 1556920"/>
                <a:gd name="connsiteY1925" fmla="*/ 480090 h 1898459"/>
                <a:gd name="connsiteX1926" fmla="*/ 686102 w 1556920"/>
                <a:gd name="connsiteY1926" fmla="*/ 481300 h 1898459"/>
                <a:gd name="connsiteX1927" fmla="*/ 694361 w 1556920"/>
                <a:gd name="connsiteY1927" fmla="*/ 481300 h 1898459"/>
                <a:gd name="connsiteX1928" fmla="*/ 693907 w 1556920"/>
                <a:gd name="connsiteY1928" fmla="*/ 479758 h 1898459"/>
                <a:gd name="connsiteX1929" fmla="*/ 693272 w 1556920"/>
                <a:gd name="connsiteY1929" fmla="*/ 478457 h 1898459"/>
                <a:gd name="connsiteX1930" fmla="*/ 692516 w 1556920"/>
                <a:gd name="connsiteY1930" fmla="*/ 477398 h 1898459"/>
                <a:gd name="connsiteX1931" fmla="*/ 691608 w 1556920"/>
                <a:gd name="connsiteY1931" fmla="*/ 476521 h 1898459"/>
                <a:gd name="connsiteX1932" fmla="*/ 690580 w 1556920"/>
                <a:gd name="connsiteY1932" fmla="*/ 477126 h 1898459"/>
                <a:gd name="connsiteX1933" fmla="*/ 687343 w 1556920"/>
                <a:gd name="connsiteY1933" fmla="*/ 473707 h 1898459"/>
                <a:gd name="connsiteX1934" fmla="*/ 685437 w 1556920"/>
                <a:gd name="connsiteY1934" fmla="*/ 472921 h 1898459"/>
                <a:gd name="connsiteX1935" fmla="*/ 684802 w 1556920"/>
                <a:gd name="connsiteY1935" fmla="*/ 474706 h 1898459"/>
                <a:gd name="connsiteX1936" fmla="*/ 685195 w 1556920"/>
                <a:gd name="connsiteY1936" fmla="*/ 476702 h 1898459"/>
                <a:gd name="connsiteX1937" fmla="*/ 686224 w 1556920"/>
                <a:gd name="connsiteY1937" fmla="*/ 478366 h 1898459"/>
                <a:gd name="connsiteX1938" fmla="*/ 661962 w 1556920"/>
                <a:gd name="connsiteY1938" fmla="*/ 497697 h 1898459"/>
                <a:gd name="connsiteX1939" fmla="*/ 662537 w 1556920"/>
                <a:gd name="connsiteY1939" fmla="*/ 498483 h 1898459"/>
                <a:gd name="connsiteX1940" fmla="*/ 662022 w 1556920"/>
                <a:gd name="connsiteY1940" fmla="*/ 500571 h 1898459"/>
                <a:gd name="connsiteX1941" fmla="*/ 662809 w 1556920"/>
                <a:gd name="connsiteY1941" fmla="*/ 501478 h 1898459"/>
                <a:gd name="connsiteX1942" fmla="*/ 665774 w 1556920"/>
                <a:gd name="connsiteY1942" fmla="*/ 507165 h 1898459"/>
                <a:gd name="connsiteX1943" fmla="*/ 666590 w 1556920"/>
                <a:gd name="connsiteY1943" fmla="*/ 507075 h 1898459"/>
                <a:gd name="connsiteX1944" fmla="*/ 670947 w 1556920"/>
                <a:gd name="connsiteY1944" fmla="*/ 504140 h 1898459"/>
                <a:gd name="connsiteX1945" fmla="*/ 670493 w 1556920"/>
                <a:gd name="connsiteY1945" fmla="*/ 505441 h 1898459"/>
                <a:gd name="connsiteX1946" fmla="*/ 669857 w 1556920"/>
                <a:gd name="connsiteY1946" fmla="*/ 506470 h 1898459"/>
                <a:gd name="connsiteX1947" fmla="*/ 669071 w 1556920"/>
                <a:gd name="connsiteY1947" fmla="*/ 507256 h 1898459"/>
                <a:gd name="connsiteX1948" fmla="*/ 668163 w 1556920"/>
                <a:gd name="connsiteY1948" fmla="*/ 507831 h 1898459"/>
                <a:gd name="connsiteX1949" fmla="*/ 670977 w 1556920"/>
                <a:gd name="connsiteY1949" fmla="*/ 507831 h 1898459"/>
                <a:gd name="connsiteX1950" fmla="*/ 670977 w 1556920"/>
                <a:gd name="connsiteY1950" fmla="*/ 508920 h 1898459"/>
                <a:gd name="connsiteX1951" fmla="*/ 669827 w 1556920"/>
                <a:gd name="connsiteY1951" fmla="*/ 508648 h 1898459"/>
                <a:gd name="connsiteX1952" fmla="*/ 668799 w 1556920"/>
                <a:gd name="connsiteY1952" fmla="*/ 508859 h 1898459"/>
                <a:gd name="connsiteX1953" fmla="*/ 668012 w 1556920"/>
                <a:gd name="connsiteY1953" fmla="*/ 509707 h 1898459"/>
                <a:gd name="connsiteX1954" fmla="*/ 667558 w 1556920"/>
                <a:gd name="connsiteY1954" fmla="*/ 511310 h 1898459"/>
                <a:gd name="connsiteX1955" fmla="*/ 670523 w 1556920"/>
                <a:gd name="connsiteY1955" fmla="*/ 511370 h 1898459"/>
                <a:gd name="connsiteX1956" fmla="*/ 679992 w 1556920"/>
                <a:gd name="connsiteY1956" fmla="*/ 508950 h 1898459"/>
                <a:gd name="connsiteX1957" fmla="*/ 673881 w 1556920"/>
                <a:gd name="connsiteY1957" fmla="*/ 512187 h 1898459"/>
                <a:gd name="connsiteX1958" fmla="*/ 670614 w 1556920"/>
                <a:gd name="connsiteY1958" fmla="*/ 513276 h 1898459"/>
                <a:gd name="connsiteX1959" fmla="*/ 667558 w 1556920"/>
                <a:gd name="connsiteY1959" fmla="*/ 513730 h 1898459"/>
                <a:gd name="connsiteX1960" fmla="*/ 667770 w 1556920"/>
                <a:gd name="connsiteY1960" fmla="*/ 514244 h 1898459"/>
                <a:gd name="connsiteX1961" fmla="*/ 667831 w 1556920"/>
                <a:gd name="connsiteY1961" fmla="*/ 514456 h 1898459"/>
                <a:gd name="connsiteX1962" fmla="*/ 667891 w 1556920"/>
                <a:gd name="connsiteY1962" fmla="*/ 514607 h 1898459"/>
                <a:gd name="connsiteX1963" fmla="*/ 668194 w 1556920"/>
                <a:gd name="connsiteY1963" fmla="*/ 515001 h 1898459"/>
                <a:gd name="connsiteX1964" fmla="*/ 668194 w 1556920"/>
                <a:gd name="connsiteY1964" fmla="*/ 516059 h 1898459"/>
                <a:gd name="connsiteX1965" fmla="*/ 666197 w 1556920"/>
                <a:gd name="connsiteY1965" fmla="*/ 515968 h 1898459"/>
                <a:gd name="connsiteX1966" fmla="*/ 664896 w 1556920"/>
                <a:gd name="connsiteY1966" fmla="*/ 516997 h 1898459"/>
                <a:gd name="connsiteX1967" fmla="*/ 663717 w 1556920"/>
                <a:gd name="connsiteY1967" fmla="*/ 518479 h 1898459"/>
                <a:gd name="connsiteX1968" fmla="*/ 662083 w 1556920"/>
                <a:gd name="connsiteY1968" fmla="*/ 519750 h 1898459"/>
                <a:gd name="connsiteX1969" fmla="*/ 666802 w 1556920"/>
                <a:gd name="connsiteY1969" fmla="*/ 523108 h 1898459"/>
                <a:gd name="connsiteX1970" fmla="*/ 667679 w 1556920"/>
                <a:gd name="connsiteY1970" fmla="*/ 523108 h 1898459"/>
                <a:gd name="connsiteX1971" fmla="*/ 668950 w 1556920"/>
                <a:gd name="connsiteY1971" fmla="*/ 522140 h 1898459"/>
                <a:gd name="connsiteX1972" fmla="*/ 669767 w 1556920"/>
                <a:gd name="connsiteY1972" fmla="*/ 524923 h 1898459"/>
                <a:gd name="connsiteX1973" fmla="*/ 672429 w 1556920"/>
                <a:gd name="connsiteY1973" fmla="*/ 525861 h 1898459"/>
                <a:gd name="connsiteX1974" fmla="*/ 678237 w 1556920"/>
                <a:gd name="connsiteY1974" fmla="*/ 525619 h 1898459"/>
                <a:gd name="connsiteX1975" fmla="*/ 679750 w 1556920"/>
                <a:gd name="connsiteY1975" fmla="*/ 526193 h 1898459"/>
                <a:gd name="connsiteX1976" fmla="*/ 682382 w 1556920"/>
                <a:gd name="connsiteY1976" fmla="*/ 528735 h 1898459"/>
                <a:gd name="connsiteX1977" fmla="*/ 683773 w 1556920"/>
                <a:gd name="connsiteY1977" fmla="*/ 529309 h 1898459"/>
                <a:gd name="connsiteX1978" fmla="*/ 689612 w 1556920"/>
                <a:gd name="connsiteY1978" fmla="*/ 529309 h 1898459"/>
                <a:gd name="connsiteX1979" fmla="*/ 689612 w 1556920"/>
                <a:gd name="connsiteY1979" fmla="*/ 530489 h 1898459"/>
                <a:gd name="connsiteX1980" fmla="*/ 688825 w 1556920"/>
                <a:gd name="connsiteY1980" fmla="*/ 530641 h 1898459"/>
                <a:gd name="connsiteX1981" fmla="*/ 686919 w 1556920"/>
                <a:gd name="connsiteY1981" fmla="*/ 531790 h 1898459"/>
                <a:gd name="connsiteX1982" fmla="*/ 687192 w 1556920"/>
                <a:gd name="connsiteY1982" fmla="*/ 532365 h 1898459"/>
                <a:gd name="connsiteX1983" fmla="*/ 687524 w 1556920"/>
                <a:gd name="connsiteY1983" fmla="*/ 532849 h 1898459"/>
                <a:gd name="connsiteX1984" fmla="*/ 688341 w 1556920"/>
                <a:gd name="connsiteY1984" fmla="*/ 533514 h 1898459"/>
                <a:gd name="connsiteX1985" fmla="*/ 689309 w 1556920"/>
                <a:gd name="connsiteY1985" fmla="*/ 534271 h 1898459"/>
                <a:gd name="connsiteX1986" fmla="*/ 690277 w 1556920"/>
                <a:gd name="connsiteY1986" fmla="*/ 535148 h 1898459"/>
                <a:gd name="connsiteX1987" fmla="*/ 688311 w 1556920"/>
                <a:gd name="connsiteY1987" fmla="*/ 533666 h 1898459"/>
                <a:gd name="connsiteX1988" fmla="*/ 685316 w 1556920"/>
                <a:gd name="connsiteY1988" fmla="*/ 533030 h 1898459"/>
                <a:gd name="connsiteX1989" fmla="*/ 682321 w 1556920"/>
                <a:gd name="connsiteY1989" fmla="*/ 533666 h 1898459"/>
                <a:gd name="connsiteX1990" fmla="*/ 677209 w 1556920"/>
                <a:gd name="connsiteY1990" fmla="*/ 536418 h 1898459"/>
                <a:gd name="connsiteX1991" fmla="*/ 677209 w 1556920"/>
                <a:gd name="connsiteY1991" fmla="*/ 537598 h 1898459"/>
                <a:gd name="connsiteX1992" fmla="*/ 682079 w 1556920"/>
                <a:gd name="connsiteY1992" fmla="*/ 541047 h 1898459"/>
                <a:gd name="connsiteX1993" fmla="*/ 677239 w 1556920"/>
                <a:gd name="connsiteY1993" fmla="*/ 540896 h 1898459"/>
                <a:gd name="connsiteX1994" fmla="*/ 674970 w 1556920"/>
                <a:gd name="connsiteY1994" fmla="*/ 541592 h 1898459"/>
                <a:gd name="connsiteX1995" fmla="*/ 673699 w 1556920"/>
                <a:gd name="connsiteY1995" fmla="*/ 543528 h 1898459"/>
                <a:gd name="connsiteX1996" fmla="*/ 665441 w 1556920"/>
                <a:gd name="connsiteY1996" fmla="*/ 550637 h 1898459"/>
                <a:gd name="connsiteX1997" fmla="*/ 665048 w 1556920"/>
                <a:gd name="connsiteY1997" fmla="*/ 548489 h 1898459"/>
                <a:gd name="connsiteX1998" fmla="*/ 664503 w 1556920"/>
                <a:gd name="connsiteY1998" fmla="*/ 547037 h 1898459"/>
                <a:gd name="connsiteX1999" fmla="*/ 663656 w 1556920"/>
                <a:gd name="connsiteY1999" fmla="*/ 546220 h 1898459"/>
                <a:gd name="connsiteX2000" fmla="*/ 662416 w 1556920"/>
                <a:gd name="connsiteY2000" fmla="*/ 545978 h 1898459"/>
                <a:gd name="connsiteX2001" fmla="*/ 660843 w 1556920"/>
                <a:gd name="connsiteY2001" fmla="*/ 546401 h 1898459"/>
                <a:gd name="connsiteX2002" fmla="*/ 660903 w 1556920"/>
                <a:gd name="connsiteY2002" fmla="*/ 547460 h 1898459"/>
                <a:gd name="connsiteX2003" fmla="*/ 661629 w 1556920"/>
                <a:gd name="connsiteY2003" fmla="*/ 548791 h 1898459"/>
                <a:gd name="connsiteX2004" fmla="*/ 662083 w 1556920"/>
                <a:gd name="connsiteY2004" fmla="*/ 550032 h 1898459"/>
                <a:gd name="connsiteX2005" fmla="*/ 663202 w 1556920"/>
                <a:gd name="connsiteY2005" fmla="*/ 550788 h 1898459"/>
                <a:gd name="connsiteX2006" fmla="*/ 669283 w 1556920"/>
                <a:gd name="connsiteY2006" fmla="*/ 557897 h 1898459"/>
                <a:gd name="connsiteX2007" fmla="*/ 670281 w 1556920"/>
                <a:gd name="connsiteY2007" fmla="*/ 558442 h 1898459"/>
                <a:gd name="connsiteX2008" fmla="*/ 675394 w 1556920"/>
                <a:gd name="connsiteY2008" fmla="*/ 564038 h 1898459"/>
                <a:gd name="connsiteX2009" fmla="*/ 676120 w 1556920"/>
                <a:gd name="connsiteY2009" fmla="*/ 564341 h 1898459"/>
                <a:gd name="connsiteX2010" fmla="*/ 677965 w 1556920"/>
                <a:gd name="connsiteY2010" fmla="*/ 562525 h 1898459"/>
                <a:gd name="connsiteX2011" fmla="*/ 684136 w 1556920"/>
                <a:gd name="connsiteY2011" fmla="*/ 558593 h 1898459"/>
                <a:gd name="connsiteX2012" fmla="*/ 686224 w 1556920"/>
                <a:gd name="connsiteY2012" fmla="*/ 556596 h 1898459"/>
                <a:gd name="connsiteX2013" fmla="*/ 685770 w 1556920"/>
                <a:gd name="connsiteY2013" fmla="*/ 556263 h 1898459"/>
                <a:gd name="connsiteX2014" fmla="*/ 685286 w 1556920"/>
                <a:gd name="connsiteY2014" fmla="*/ 555749 h 1898459"/>
                <a:gd name="connsiteX2015" fmla="*/ 684802 w 1556920"/>
                <a:gd name="connsiteY2015" fmla="*/ 555416 h 1898459"/>
                <a:gd name="connsiteX2016" fmla="*/ 687464 w 1556920"/>
                <a:gd name="connsiteY2016" fmla="*/ 553420 h 1898459"/>
                <a:gd name="connsiteX2017" fmla="*/ 688583 w 1556920"/>
                <a:gd name="connsiteY2017" fmla="*/ 552270 h 1898459"/>
                <a:gd name="connsiteX2018" fmla="*/ 689702 w 1556920"/>
                <a:gd name="connsiteY2018" fmla="*/ 550576 h 1898459"/>
                <a:gd name="connsiteX2019" fmla="*/ 689037 w 1556920"/>
                <a:gd name="connsiteY2019" fmla="*/ 549941 h 1898459"/>
                <a:gd name="connsiteX2020" fmla="*/ 688190 w 1556920"/>
                <a:gd name="connsiteY2020" fmla="*/ 548731 h 1898459"/>
                <a:gd name="connsiteX2021" fmla="*/ 687645 w 1556920"/>
                <a:gd name="connsiteY2021" fmla="*/ 548338 h 1898459"/>
                <a:gd name="connsiteX2022" fmla="*/ 688341 w 1556920"/>
                <a:gd name="connsiteY2022" fmla="*/ 547037 h 1898459"/>
                <a:gd name="connsiteX2023" fmla="*/ 693030 w 1556920"/>
                <a:gd name="connsiteY2023" fmla="*/ 550243 h 1898459"/>
                <a:gd name="connsiteX2024" fmla="*/ 695269 w 1556920"/>
                <a:gd name="connsiteY2024" fmla="*/ 550576 h 1898459"/>
                <a:gd name="connsiteX2025" fmla="*/ 695269 w 1556920"/>
                <a:gd name="connsiteY2025" fmla="*/ 549487 h 1898459"/>
                <a:gd name="connsiteX2026" fmla="*/ 694543 w 1556920"/>
                <a:gd name="connsiteY2026" fmla="*/ 549487 h 1898459"/>
                <a:gd name="connsiteX2027" fmla="*/ 694543 w 1556920"/>
                <a:gd name="connsiteY2027" fmla="*/ 548307 h 1898459"/>
                <a:gd name="connsiteX2028" fmla="*/ 696327 w 1556920"/>
                <a:gd name="connsiteY2028" fmla="*/ 548489 h 1898459"/>
                <a:gd name="connsiteX2029" fmla="*/ 698143 w 1556920"/>
                <a:gd name="connsiteY2029" fmla="*/ 548156 h 1898459"/>
                <a:gd name="connsiteX2030" fmla="*/ 699504 w 1556920"/>
                <a:gd name="connsiteY2030" fmla="*/ 547279 h 1898459"/>
                <a:gd name="connsiteX2031" fmla="*/ 700018 w 1556920"/>
                <a:gd name="connsiteY2031" fmla="*/ 545887 h 1898459"/>
                <a:gd name="connsiteX2032" fmla="*/ 699625 w 1556920"/>
                <a:gd name="connsiteY2032" fmla="*/ 544919 h 1898459"/>
                <a:gd name="connsiteX2033" fmla="*/ 697265 w 1556920"/>
                <a:gd name="connsiteY2033" fmla="*/ 540956 h 1898459"/>
                <a:gd name="connsiteX2034" fmla="*/ 696388 w 1556920"/>
                <a:gd name="connsiteY2034" fmla="*/ 540381 h 1898459"/>
                <a:gd name="connsiteX2035" fmla="*/ 694240 w 1556920"/>
                <a:gd name="connsiteY2035" fmla="*/ 539504 h 1898459"/>
                <a:gd name="connsiteX2036" fmla="*/ 693091 w 1556920"/>
                <a:gd name="connsiteY2036" fmla="*/ 538778 h 1898459"/>
                <a:gd name="connsiteX2037" fmla="*/ 693907 w 1556920"/>
                <a:gd name="connsiteY2037" fmla="*/ 537538 h 1898459"/>
                <a:gd name="connsiteX2038" fmla="*/ 694422 w 1556920"/>
                <a:gd name="connsiteY2038" fmla="*/ 536418 h 1898459"/>
                <a:gd name="connsiteX2039" fmla="*/ 694966 w 1556920"/>
                <a:gd name="connsiteY2039" fmla="*/ 535541 h 1898459"/>
                <a:gd name="connsiteX2040" fmla="*/ 695904 w 1556920"/>
                <a:gd name="connsiteY2040" fmla="*/ 534966 h 1898459"/>
                <a:gd name="connsiteX2041" fmla="*/ 699413 w 1556920"/>
                <a:gd name="connsiteY2041" fmla="*/ 536842 h 1898459"/>
                <a:gd name="connsiteX2042" fmla="*/ 707672 w 1556920"/>
                <a:gd name="connsiteY2042" fmla="*/ 538748 h 1898459"/>
                <a:gd name="connsiteX2043" fmla="*/ 707248 w 1556920"/>
                <a:gd name="connsiteY2043" fmla="*/ 535057 h 1898459"/>
                <a:gd name="connsiteX2044" fmla="*/ 706976 w 1556920"/>
                <a:gd name="connsiteY2044" fmla="*/ 533877 h 1898459"/>
                <a:gd name="connsiteX2045" fmla="*/ 706522 w 1556920"/>
                <a:gd name="connsiteY2045" fmla="*/ 533484 h 1898459"/>
                <a:gd name="connsiteX2046" fmla="*/ 705706 w 1556920"/>
                <a:gd name="connsiteY2046" fmla="*/ 533212 h 1898459"/>
                <a:gd name="connsiteX2047" fmla="*/ 704828 w 1556920"/>
                <a:gd name="connsiteY2047" fmla="*/ 532728 h 1898459"/>
                <a:gd name="connsiteX2048" fmla="*/ 704163 w 1556920"/>
                <a:gd name="connsiteY2048" fmla="*/ 531609 h 1898459"/>
                <a:gd name="connsiteX2049" fmla="*/ 704889 w 1556920"/>
                <a:gd name="connsiteY2049" fmla="*/ 531487 h 1898459"/>
                <a:gd name="connsiteX2050" fmla="*/ 705403 w 1556920"/>
                <a:gd name="connsiteY2050" fmla="*/ 531124 h 1898459"/>
                <a:gd name="connsiteX2051" fmla="*/ 705826 w 1556920"/>
                <a:gd name="connsiteY2051" fmla="*/ 530671 h 1898459"/>
                <a:gd name="connsiteX2052" fmla="*/ 706371 w 1556920"/>
                <a:gd name="connsiteY2052" fmla="*/ 530338 h 1898459"/>
                <a:gd name="connsiteX2053" fmla="*/ 705433 w 1556920"/>
                <a:gd name="connsiteY2053" fmla="*/ 529128 h 1898459"/>
                <a:gd name="connsiteX2054" fmla="*/ 704465 w 1556920"/>
                <a:gd name="connsiteY2054" fmla="*/ 527494 h 1898459"/>
                <a:gd name="connsiteX2055" fmla="*/ 703316 w 1556920"/>
                <a:gd name="connsiteY2055" fmla="*/ 526073 h 1898459"/>
                <a:gd name="connsiteX2056" fmla="*/ 701894 w 1556920"/>
                <a:gd name="connsiteY2056" fmla="*/ 525467 h 1898459"/>
                <a:gd name="connsiteX2057" fmla="*/ 700775 w 1556920"/>
                <a:gd name="connsiteY2057" fmla="*/ 524378 h 1898459"/>
                <a:gd name="connsiteX2058" fmla="*/ 698687 w 1556920"/>
                <a:gd name="connsiteY2058" fmla="*/ 519145 h 1898459"/>
                <a:gd name="connsiteX2059" fmla="*/ 697356 w 1556920"/>
                <a:gd name="connsiteY2059" fmla="*/ 517239 h 1898459"/>
                <a:gd name="connsiteX2060" fmla="*/ 699322 w 1556920"/>
                <a:gd name="connsiteY2060" fmla="*/ 516090 h 1898459"/>
                <a:gd name="connsiteX2061" fmla="*/ 702166 w 1556920"/>
                <a:gd name="connsiteY2061" fmla="*/ 513579 h 1898459"/>
                <a:gd name="connsiteX2062" fmla="*/ 704526 w 1556920"/>
                <a:gd name="connsiteY2062" fmla="*/ 510796 h 1898459"/>
                <a:gd name="connsiteX2063" fmla="*/ 704980 w 1556920"/>
                <a:gd name="connsiteY2063" fmla="*/ 508799 h 1898459"/>
                <a:gd name="connsiteX2064" fmla="*/ 704980 w 1556920"/>
                <a:gd name="connsiteY2064" fmla="*/ 507710 h 1898459"/>
                <a:gd name="connsiteX2065" fmla="*/ 714660 w 1556920"/>
                <a:gd name="connsiteY2065" fmla="*/ 507710 h 1898459"/>
                <a:gd name="connsiteX2066" fmla="*/ 714660 w 1556920"/>
                <a:gd name="connsiteY2066" fmla="*/ 508799 h 1898459"/>
                <a:gd name="connsiteX2067" fmla="*/ 710878 w 1556920"/>
                <a:gd name="connsiteY2067" fmla="*/ 509041 h 1898459"/>
                <a:gd name="connsiteX2068" fmla="*/ 707218 w 1556920"/>
                <a:gd name="connsiteY2068" fmla="*/ 510130 h 1898459"/>
                <a:gd name="connsiteX2069" fmla="*/ 704314 w 1556920"/>
                <a:gd name="connsiteY2069" fmla="*/ 512671 h 1898459"/>
                <a:gd name="connsiteX2070" fmla="*/ 702832 w 1556920"/>
                <a:gd name="connsiteY2070" fmla="*/ 517239 h 1898459"/>
                <a:gd name="connsiteX2071" fmla="*/ 702983 w 1556920"/>
                <a:gd name="connsiteY2071" fmla="*/ 519750 h 1898459"/>
                <a:gd name="connsiteX2072" fmla="*/ 703769 w 1556920"/>
                <a:gd name="connsiteY2072" fmla="*/ 522079 h 1898459"/>
                <a:gd name="connsiteX2073" fmla="*/ 706522 w 1556920"/>
                <a:gd name="connsiteY2073" fmla="*/ 527313 h 1898459"/>
                <a:gd name="connsiteX2074" fmla="*/ 707158 w 1556920"/>
                <a:gd name="connsiteY2074" fmla="*/ 529461 h 1898459"/>
                <a:gd name="connsiteX2075" fmla="*/ 707672 w 1556920"/>
                <a:gd name="connsiteY2075" fmla="*/ 530368 h 1898459"/>
                <a:gd name="connsiteX2076" fmla="*/ 708670 w 1556920"/>
                <a:gd name="connsiteY2076" fmla="*/ 531215 h 1898459"/>
                <a:gd name="connsiteX2077" fmla="*/ 711877 w 1556920"/>
                <a:gd name="connsiteY2077" fmla="*/ 532728 h 1898459"/>
                <a:gd name="connsiteX2078" fmla="*/ 712572 w 1556920"/>
                <a:gd name="connsiteY2078" fmla="*/ 531639 h 1898459"/>
                <a:gd name="connsiteX2079" fmla="*/ 711816 w 1556920"/>
                <a:gd name="connsiteY2079" fmla="*/ 530459 h 1898459"/>
                <a:gd name="connsiteX2080" fmla="*/ 710848 w 1556920"/>
                <a:gd name="connsiteY2080" fmla="*/ 528341 h 1898459"/>
                <a:gd name="connsiteX2081" fmla="*/ 710304 w 1556920"/>
                <a:gd name="connsiteY2081" fmla="*/ 526375 h 1898459"/>
                <a:gd name="connsiteX2082" fmla="*/ 710818 w 1556920"/>
                <a:gd name="connsiteY2082" fmla="*/ 525498 h 1898459"/>
                <a:gd name="connsiteX2083" fmla="*/ 711786 w 1556920"/>
                <a:gd name="connsiteY2083" fmla="*/ 525861 h 1898459"/>
                <a:gd name="connsiteX2084" fmla="*/ 712331 w 1556920"/>
                <a:gd name="connsiteY2084" fmla="*/ 526799 h 1898459"/>
                <a:gd name="connsiteX2085" fmla="*/ 713208 w 1556920"/>
                <a:gd name="connsiteY2085" fmla="*/ 529158 h 1898459"/>
                <a:gd name="connsiteX2086" fmla="*/ 714448 w 1556920"/>
                <a:gd name="connsiteY2086" fmla="*/ 531034 h 1898459"/>
                <a:gd name="connsiteX2087" fmla="*/ 715991 w 1556920"/>
                <a:gd name="connsiteY2087" fmla="*/ 532365 h 1898459"/>
                <a:gd name="connsiteX2088" fmla="*/ 717866 w 1556920"/>
                <a:gd name="connsiteY2088" fmla="*/ 532698 h 1898459"/>
                <a:gd name="connsiteX2089" fmla="*/ 720105 w 1556920"/>
                <a:gd name="connsiteY2089" fmla="*/ 531639 h 1898459"/>
                <a:gd name="connsiteX2090" fmla="*/ 720105 w 1556920"/>
                <a:gd name="connsiteY2090" fmla="*/ 530338 h 1898459"/>
                <a:gd name="connsiteX2091" fmla="*/ 719651 w 1556920"/>
                <a:gd name="connsiteY2091" fmla="*/ 529975 h 1898459"/>
                <a:gd name="connsiteX2092" fmla="*/ 719167 w 1556920"/>
                <a:gd name="connsiteY2092" fmla="*/ 529461 h 1898459"/>
                <a:gd name="connsiteX2093" fmla="*/ 718714 w 1556920"/>
                <a:gd name="connsiteY2093" fmla="*/ 529158 h 1898459"/>
                <a:gd name="connsiteX2094" fmla="*/ 718714 w 1556920"/>
                <a:gd name="connsiteY2094" fmla="*/ 527857 h 1898459"/>
                <a:gd name="connsiteX2095" fmla="*/ 720559 w 1556920"/>
                <a:gd name="connsiteY2095" fmla="*/ 528311 h 1898459"/>
                <a:gd name="connsiteX2096" fmla="*/ 721829 w 1556920"/>
                <a:gd name="connsiteY2096" fmla="*/ 528977 h 1898459"/>
                <a:gd name="connsiteX2097" fmla="*/ 723100 w 1556920"/>
                <a:gd name="connsiteY2097" fmla="*/ 529098 h 1898459"/>
                <a:gd name="connsiteX2098" fmla="*/ 724915 w 1556920"/>
                <a:gd name="connsiteY2098" fmla="*/ 527857 h 1898459"/>
                <a:gd name="connsiteX2099" fmla="*/ 725762 w 1556920"/>
                <a:gd name="connsiteY2099" fmla="*/ 526678 h 1898459"/>
                <a:gd name="connsiteX2100" fmla="*/ 727396 w 1556920"/>
                <a:gd name="connsiteY2100" fmla="*/ 523895 h 1898459"/>
                <a:gd name="connsiteX2101" fmla="*/ 728364 w 1556920"/>
                <a:gd name="connsiteY2101" fmla="*/ 523199 h 1898459"/>
                <a:gd name="connsiteX2102" fmla="*/ 728364 w 1556920"/>
                <a:gd name="connsiteY2102" fmla="*/ 522019 h 1898459"/>
                <a:gd name="connsiteX2103" fmla="*/ 726942 w 1556920"/>
                <a:gd name="connsiteY2103" fmla="*/ 520204 h 1898459"/>
                <a:gd name="connsiteX2104" fmla="*/ 723372 w 1556920"/>
                <a:gd name="connsiteY2104" fmla="*/ 519236 h 1898459"/>
                <a:gd name="connsiteX2105" fmla="*/ 721799 w 1556920"/>
                <a:gd name="connsiteY2105" fmla="*/ 517784 h 1898459"/>
                <a:gd name="connsiteX2106" fmla="*/ 719651 w 1556920"/>
                <a:gd name="connsiteY2106" fmla="*/ 516937 h 1898459"/>
                <a:gd name="connsiteX2107" fmla="*/ 718804 w 1556920"/>
                <a:gd name="connsiteY2107" fmla="*/ 516180 h 1898459"/>
                <a:gd name="connsiteX2108" fmla="*/ 719379 w 1556920"/>
                <a:gd name="connsiteY2108" fmla="*/ 514879 h 1898459"/>
                <a:gd name="connsiteX2109" fmla="*/ 719954 w 1556920"/>
                <a:gd name="connsiteY2109" fmla="*/ 514879 h 1898459"/>
                <a:gd name="connsiteX2110" fmla="*/ 722071 w 1556920"/>
                <a:gd name="connsiteY2110" fmla="*/ 515727 h 1898459"/>
                <a:gd name="connsiteX2111" fmla="*/ 731510 w 1556920"/>
                <a:gd name="connsiteY2111" fmla="*/ 517239 h 1898459"/>
                <a:gd name="connsiteX2112" fmla="*/ 733870 w 1556920"/>
                <a:gd name="connsiteY2112" fmla="*/ 516634 h 1898459"/>
                <a:gd name="connsiteX2113" fmla="*/ 735473 w 1556920"/>
                <a:gd name="connsiteY2113" fmla="*/ 515122 h 1898459"/>
                <a:gd name="connsiteX2114" fmla="*/ 736895 w 1556920"/>
                <a:gd name="connsiteY2114" fmla="*/ 513155 h 1898459"/>
                <a:gd name="connsiteX2115" fmla="*/ 738770 w 1556920"/>
                <a:gd name="connsiteY2115" fmla="*/ 511159 h 1898459"/>
                <a:gd name="connsiteX2116" fmla="*/ 737500 w 1556920"/>
                <a:gd name="connsiteY2116" fmla="*/ 511280 h 1898459"/>
                <a:gd name="connsiteX2117" fmla="*/ 736229 w 1556920"/>
                <a:gd name="connsiteY2117" fmla="*/ 511128 h 1898459"/>
                <a:gd name="connsiteX2118" fmla="*/ 735049 w 1556920"/>
                <a:gd name="connsiteY2118" fmla="*/ 510705 h 1898459"/>
                <a:gd name="connsiteX2119" fmla="*/ 733960 w 1556920"/>
                <a:gd name="connsiteY2119" fmla="*/ 509948 h 1898459"/>
                <a:gd name="connsiteX2120" fmla="*/ 734928 w 1556920"/>
                <a:gd name="connsiteY2120" fmla="*/ 509797 h 1898459"/>
                <a:gd name="connsiteX2121" fmla="*/ 735806 w 1556920"/>
                <a:gd name="connsiteY2121" fmla="*/ 509374 h 1898459"/>
                <a:gd name="connsiteX2122" fmla="*/ 736622 w 1556920"/>
                <a:gd name="connsiteY2122" fmla="*/ 508678 h 1898459"/>
                <a:gd name="connsiteX2123" fmla="*/ 737379 w 1556920"/>
                <a:gd name="connsiteY2123" fmla="*/ 507680 h 1898459"/>
                <a:gd name="connsiteX2124" fmla="*/ 736411 w 1556920"/>
                <a:gd name="connsiteY2124" fmla="*/ 506681 h 1898459"/>
                <a:gd name="connsiteX2125" fmla="*/ 736017 w 1556920"/>
                <a:gd name="connsiteY2125" fmla="*/ 506379 h 1898459"/>
                <a:gd name="connsiteX2126" fmla="*/ 736138 w 1556920"/>
                <a:gd name="connsiteY2126" fmla="*/ 504110 h 1898459"/>
                <a:gd name="connsiteX2127" fmla="*/ 735594 w 1556920"/>
                <a:gd name="connsiteY2127" fmla="*/ 501871 h 1898459"/>
                <a:gd name="connsiteX2128" fmla="*/ 734565 w 1556920"/>
                <a:gd name="connsiteY2128" fmla="*/ 500117 h 1898459"/>
                <a:gd name="connsiteX2129" fmla="*/ 733265 w 1556920"/>
                <a:gd name="connsiteY2129" fmla="*/ 499240 h 1898459"/>
                <a:gd name="connsiteX2130" fmla="*/ 731903 w 1556920"/>
                <a:gd name="connsiteY2130" fmla="*/ 499451 h 1898459"/>
                <a:gd name="connsiteX2131" fmla="*/ 728817 w 1556920"/>
                <a:gd name="connsiteY2131" fmla="*/ 501206 h 1898459"/>
                <a:gd name="connsiteX2132" fmla="*/ 715749 w 1556920"/>
                <a:gd name="connsiteY2132" fmla="*/ 504110 h 1898459"/>
                <a:gd name="connsiteX2133" fmla="*/ 711907 w 1556920"/>
                <a:gd name="connsiteY2133" fmla="*/ 504019 h 1898459"/>
                <a:gd name="connsiteX2134" fmla="*/ 711907 w 1556920"/>
                <a:gd name="connsiteY2134" fmla="*/ 502839 h 1898459"/>
                <a:gd name="connsiteX2135" fmla="*/ 713541 w 1556920"/>
                <a:gd name="connsiteY2135" fmla="*/ 502960 h 1898459"/>
                <a:gd name="connsiteX2136" fmla="*/ 718774 w 1556920"/>
                <a:gd name="connsiteY2136" fmla="*/ 501629 h 1898459"/>
                <a:gd name="connsiteX2137" fmla="*/ 721527 w 1556920"/>
                <a:gd name="connsiteY2137" fmla="*/ 499240 h 1898459"/>
                <a:gd name="connsiteX2138" fmla="*/ 722465 w 1556920"/>
                <a:gd name="connsiteY2138" fmla="*/ 499360 h 1898459"/>
                <a:gd name="connsiteX2139" fmla="*/ 724008 w 1556920"/>
                <a:gd name="connsiteY2139" fmla="*/ 500359 h 1898459"/>
                <a:gd name="connsiteX2140" fmla="*/ 724945 w 1556920"/>
                <a:gd name="connsiteY2140" fmla="*/ 500419 h 1898459"/>
                <a:gd name="connsiteX2141" fmla="*/ 726458 w 1556920"/>
                <a:gd name="connsiteY2141" fmla="*/ 499512 h 1898459"/>
                <a:gd name="connsiteX2142" fmla="*/ 729816 w 1556920"/>
                <a:gd name="connsiteY2142" fmla="*/ 495640 h 1898459"/>
                <a:gd name="connsiteX2143" fmla="*/ 734898 w 1556920"/>
                <a:gd name="connsiteY2143" fmla="*/ 494581 h 1898459"/>
                <a:gd name="connsiteX2144" fmla="*/ 736683 w 1556920"/>
                <a:gd name="connsiteY2144" fmla="*/ 493250 h 1898459"/>
                <a:gd name="connsiteX2145" fmla="*/ 736259 w 1556920"/>
                <a:gd name="connsiteY2145" fmla="*/ 491919 h 1898459"/>
                <a:gd name="connsiteX2146" fmla="*/ 736199 w 1556920"/>
                <a:gd name="connsiteY2146" fmla="*/ 491041 h 1898459"/>
                <a:gd name="connsiteX2147" fmla="*/ 736562 w 1556920"/>
                <a:gd name="connsiteY2147" fmla="*/ 490346 h 1898459"/>
                <a:gd name="connsiteX2148" fmla="*/ 737409 w 1556920"/>
                <a:gd name="connsiteY2148" fmla="*/ 489559 h 1898459"/>
                <a:gd name="connsiteX2149" fmla="*/ 736320 w 1556920"/>
                <a:gd name="connsiteY2149" fmla="*/ 487563 h 1898459"/>
                <a:gd name="connsiteX2150" fmla="*/ 733991 w 1556920"/>
                <a:gd name="connsiteY2150" fmla="*/ 481179 h 1898459"/>
                <a:gd name="connsiteX2151" fmla="*/ 735564 w 1556920"/>
                <a:gd name="connsiteY2151" fmla="*/ 481179 h 1898459"/>
                <a:gd name="connsiteX2152" fmla="*/ 738559 w 1556920"/>
                <a:gd name="connsiteY2152" fmla="*/ 483025 h 1898459"/>
                <a:gd name="connsiteX2153" fmla="*/ 740253 w 1556920"/>
                <a:gd name="connsiteY2153" fmla="*/ 483569 h 1898459"/>
                <a:gd name="connsiteX2154" fmla="*/ 744730 w 1556920"/>
                <a:gd name="connsiteY2154" fmla="*/ 483025 h 1898459"/>
                <a:gd name="connsiteX2155" fmla="*/ 746424 w 1556920"/>
                <a:gd name="connsiteY2155" fmla="*/ 483569 h 1898459"/>
                <a:gd name="connsiteX2156" fmla="*/ 749389 w 1556920"/>
                <a:gd name="connsiteY2156" fmla="*/ 485475 h 1898459"/>
                <a:gd name="connsiteX2157" fmla="*/ 750780 w 1556920"/>
                <a:gd name="connsiteY2157" fmla="*/ 485687 h 1898459"/>
                <a:gd name="connsiteX2158" fmla="*/ 752626 w 1556920"/>
                <a:gd name="connsiteY2158" fmla="*/ 484779 h 1898459"/>
                <a:gd name="connsiteX2159" fmla="*/ 752989 w 1556920"/>
                <a:gd name="connsiteY2159" fmla="*/ 484295 h 1898459"/>
                <a:gd name="connsiteX2160" fmla="*/ 753957 w 1556920"/>
                <a:gd name="connsiteY2160" fmla="*/ 482601 h 1898459"/>
                <a:gd name="connsiteX2161" fmla="*/ 754652 w 1556920"/>
                <a:gd name="connsiteY2161" fmla="*/ 481815 h 1898459"/>
                <a:gd name="connsiteX2162" fmla="*/ 755530 w 1556920"/>
                <a:gd name="connsiteY2162" fmla="*/ 481210 h 1898459"/>
                <a:gd name="connsiteX2163" fmla="*/ 758192 w 1556920"/>
                <a:gd name="connsiteY2163" fmla="*/ 480000 h 1898459"/>
                <a:gd name="connsiteX2164" fmla="*/ 757708 w 1556920"/>
                <a:gd name="connsiteY2164" fmla="*/ 478245 h 1898459"/>
                <a:gd name="connsiteX2165" fmla="*/ 757435 w 1556920"/>
                <a:gd name="connsiteY2165" fmla="*/ 477610 h 1898459"/>
                <a:gd name="connsiteX2166" fmla="*/ 757859 w 1556920"/>
                <a:gd name="connsiteY2166" fmla="*/ 477035 h 1898459"/>
                <a:gd name="connsiteX2167" fmla="*/ 758343 w 1556920"/>
                <a:gd name="connsiteY2167" fmla="*/ 475946 h 1898459"/>
                <a:gd name="connsiteX2168" fmla="*/ 758827 w 1556920"/>
                <a:gd name="connsiteY2168" fmla="*/ 475099 h 1898459"/>
                <a:gd name="connsiteX2169" fmla="*/ 758192 w 1556920"/>
                <a:gd name="connsiteY2169" fmla="*/ 475099 h 1898459"/>
                <a:gd name="connsiteX2170" fmla="*/ 758192 w 1556920"/>
                <a:gd name="connsiteY2170" fmla="*/ 474010 h 1898459"/>
                <a:gd name="connsiteX2171" fmla="*/ 759129 w 1556920"/>
                <a:gd name="connsiteY2171" fmla="*/ 472709 h 1898459"/>
                <a:gd name="connsiteX2172" fmla="*/ 758071 w 1556920"/>
                <a:gd name="connsiteY2172" fmla="*/ 472618 h 1898459"/>
                <a:gd name="connsiteX2173" fmla="*/ 756195 w 1556920"/>
                <a:gd name="connsiteY2173" fmla="*/ 473223 h 1898459"/>
                <a:gd name="connsiteX2174" fmla="*/ 754683 w 1556920"/>
                <a:gd name="connsiteY2174" fmla="*/ 474040 h 1898459"/>
                <a:gd name="connsiteX2175" fmla="*/ 749812 w 1556920"/>
                <a:gd name="connsiteY2175" fmla="*/ 478941 h 1898459"/>
                <a:gd name="connsiteX2176" fmla="*/ 747029 w 1556920"/>
                <a:gd name="connsiteY2176" fmla="*/ 480090 h 1898459"/>
                <a:gd name="connsiteX2177" fmla="*/ 743005 w 1556920"/>
                <a:gd name="connsiteY2177" fmla="*/ 480332 h 1898459"/>
                <a:gd name="connsiteX2178" fmla="*/ 739285 w 1556920"/>
                <a:gd name="connsiteY2178" fmla="*/ 479274 h 1898459"/>
                <a:gd name="connsiteX2179" fmla="*/ 737439 w 1556920"/>
                <a:gd name="connsiteY2179" fmla="*/ 476430 h 1898459"/>
                <a:gd name="connsiteX2180" fmla="*/ 740222 w 1556920"/>
                <a:gd name="connsiteY2180" fmla="*/ 476369 h 1898459"/>
                <a:gd name="connsiteX2181" fmla="*/ 741342 w 1556920"/>
                <a:gd name="connsiteY2181" fmla="*/ 476006 h 1898459"/>
                <a:gd name="connsiteX2182" fmla="*/ 742249 w 1556920"/>
                <a:gd name="connsiteY2182" fmla="*/ 475129 h 1898459"/>
                <a:gd name="connsiteX2183" fmla="*/ 742401 w 1556920"/>
                <a:gd name="connsiteY2183" fmla="*/ 473828 h 1898459"/>
                <a:gd name="connsiteX2184" fmla="*/ 742098 w 1556920"/>
                <a:gd name="connsiteY2184" fmla="*/ 472285 h 1898459"/>
                <a:gd name="connsiteX2185" fmla="*/ 742310 w 1556920"/>
                <a:gd name="connsiteY2185" fmla="*/ 470985 h 1898459"/>
                <a:gd name="connsiteX2186" fmla="*/ 745305 w 1556920"/>
                <a:gd name="connsiteY2186" fmla="*/ 469865 h 1898459"/>
                <a:gd name="connsiteX2187" fmla="*/ 746273 w 1556920"/>
                <a:gd name="connsiteY2187" fmla="*/ 467385 h 1898459"/>
                <a:gd name="connsiteX2188" fmla="*/ 747452 w 1556920"/>
                <a:gd name="connsiteY2188" fmla="*/ 466840 h 1898459"/>
                <a:gd name="connsiteX2189" fmla="*/ 748753 w 1556920"/>
                <a:gd name="connsiteY2189" fmla="*/ 466568 h 1898459"/>
                <a:gd name="connsiteX2190" fmla="*/ 749510 w 1556920"/>
                <a:gd name="connsiteY2190" fmla="*/ 465842 h 1898459"/>
                <a:gd name="connsiteX2191" fmla="*/ 749661 w 1556920"/>
                <a:gd name="connsiteY2191" fmla="*/ 464692 h 1898459"/>
                <a:gd name="connsiteX2192" fmla="*/ 749147 w 1556920"/>
                <a:gd name="connsiteY2192" fmla="*/ 463150 h 1898459"/>
                <a:gd name="connsiteX2193" fmla="*/ 750810 w 1556920"/>
                <a:gd name="connsiteY2193" fmla="*/ 461425 h 1898459"/>
                <a:gd name="connsiteX2194" fmla="*/ 755318 w 1556920"/>
                <a:gd name="connsiteY2194" fmla="*/ 458249 h 1898459"/>
                <a:gd name="connsiteX2195" fmla="*/ 757466 w 1556920"/>
                <a:gd name="connsiteY2195" fmla="*/ 457251 h 1898459"/>
                <a:gd name="connsiteX2196" fmla="*/ 757466 w 1556920"/>
                <a:gd name="connsiteY2196" fmla="*/ 455950 h 1898459"/>
                <a:gd name="connsiteX2197" fmla="*/ 755983 w 1556920"/>
                <a:gd name="connsiteY2197" fmla="*/ 456010 h 1898459"/>
                <a:gd name="connsiteX2198" fmla="*/ 754652 w 1556920"/>
                <a:gd name="connsiteY2198" fmla="*/ 455556 h 1898459"/>
                <a:gd name="connsiteX2199" fmla="*/ 753503 w 1556920"/>
                <a:gd name="connsiteY2199" fmla="*/ 454679 h 1898459"/>
                <a:gd name="connsiteX2200" fmla="*/ 752656 w 1556920"/>
                <a:gd name="connsiteY2200" fmla="*/ 453530 h 1898459"/>
                <a:gd name="connsiteX2201" fmla="*/ 754955 w 1556920"/>
                <a:gd name="connsiteY2201" fmla="*/ 446209 h 1898459"/>
                <a:gd name="connsiteX2202" fmla="*/ 755711 w 1556920"/>
                <a:gd name="connsiteY2202" fmla="*/ 445210 h 1898459"/>
                <a:gd name="connsiteX2203" fmla="*/ 757526 w 1556920"/>
                <a:gd name="connsiteY2203" fmla="*/ 444363 h 1898459"/>
                <a:gd name="connsiteX2204" fmla="*/ 757224 w 1556920"/>
                <a:gd name="connsiteY2204" fmla="*/ 442518 h 1898459"/>
                <a:gd name="connsiteX2205" fmla="*/ 755409 w 1556920"/>
                <a:gd name="connsiteY2205" fmla="*/ 439674 h 1898459"/>
                <a:gd name="connsiteX2206" fmla="*/ 754924 w 1556920"/>
                <a:gd name="connsiteY2206" fmla="*/ 436861 h 1898459"/>
                <a:gd name="connsiteX2207" fmla="*/ 753654 w 1556920"/>
                <a:gd name="connsiteY2207" fmla="*/ 433473 h 1898459"/>
                <a:gd name="connsiteX2208" fmla="*/ 751869 w 1556920"/>
                <a:gd name="connsiteY2208" fmla="*/ 430297 h 1898459"/>
                <a:gd name="connsiteX2209" fmla="*/ 749842 w 1556920"/>
                <a:gd name="connsiteY2209" fmla="*/ 428209 h 1898459"/>
                <a:gd name="connsiteX2210" fmla="*/ 747392 w 1556920"/>
                <a:gd name="connsiteY2210" fmla="*/ 428028 h 1898459"/>
                <a:gd name="connsiteX2211" fmla="*/ 744488 w 1556920"/>
                <a:gd name="connsiteY2211" fmla="*/ 430660 h 1898459"/>
                <a:gd name="connsiteX2212" fmla="*/ 739527 w 1556920"/>
                <a:gd name="connsiteY2212" fmla="*/ 436680 h 1898459"/>
                <a:gd name="connsiteX2213" fmla="*/ 721648 w 1556920"/>
                <a:gd name="connsiteY2213" fmla="*/ 449476 h 1898459"/>
                <a:gd name="connsiteX2214" fmla="*/ 719107 w 1556920"/>
                <a:gd name="connsiteY2214" fmla="*/ 452652 h 1898459"/>
                <a:gd name="connsiteX2215" fmla="*/ 718199 w 1556920"/>
                <a:gd name="connsiteY2215" fmla="*/ 453409 h 1898459"/>
                <a:gd name="connsiteX2216" fmla="*/ 711846 w 1556920"/>
                <a:gd name="connsiteY2216" fmla="*/ 456555 h 1898459"/>
                <a:gd name="connsiteX2217" fmla="*/ 709154 w 1556920"/>
                <a:gd name="connsiteY2217" fmla="*/ 457311 h 1898459"/>
                <a:gd name="connsiteX2218" fmla="*/ 705706 w 1556920"/>
                <a:gd name="connsiteY2218" fmla="*/ 457311 h 1898459"/>
                <a:gd name="connsiteX2219" fmla="*/ 704858 w 1556920"/>
                <a:gd name="connsiteY2219" fmla="*/ 457886 h 1898459"/>
                <a:gd name="connsiteX2220" fmla="*/ 704223 w 1556920"/>
                <a:gd name="connsiteY2220" fmla="*/ 458733 h 1898459"/>
                <a:gd name="connsiteX2221" fmla="*/ 703467 w 1556920"/>
                <a:gd name="connsiteY2221" fmla="*/ 459187 h 1898459"/>
                <a:gd name="connsiteX2222" fmla="*/ 702257 w 1556920"/>
                <a:gd name="connsiteY2222" fmla="*/ 458521 h 1898459"/>
                <a:gd name="connsiteX2223" fmla="*/ 700109 w 1556920"/>
                <a:gd name="connsiteY2223" fmla="*/ 461334 h 1898459"/>
                <a:gd name="connsiteX2224" fmla="*/ 691881 w 1556920"/>
                <a:gd name="connsiteY2224" fmla="*/ 468111 h 1898459"/>
                <a:gd name="connsiteX2225" fmla="*/ 692970 w 1556920"/>
                <a:gd name="connsiteY2225" fmla="*/ 468050 h 1898459"/>
                <a:gd name="connsiteX2226" fmla="*/ 693635 w 1556920"/>
                <a:gd name="connsiteY2226" fmla="*/ 468413 h 1898459"/>
                <a:gd name="connsiteX2227" fmla="*/ 694119 w 1556920"/>
                <a:gd name="connsiteY2227" fmla="*/ 469230 h 1898459"/>
                <a:gd name="connsiteX2228" fmla="*/ 694633 w 1556920"/>
                <a:gd name="connsiteY2228" fmla="*/ 470501 h 1898459"/>
                <a:gd name="connsiteX2229" fmla="*/ 693938 w 1556920"/>
                <a:gd name="connsiteY2229" fmla="*/ 470561 h 1898459"/>
                <a:gd name="connsiteX2230" fmla="*/ 693454 w 1556920"/>
                <a:gd name="connsiteY2230" fmla="*/ 470924 h 1898459"/>
                <a:gd name="connsiteX2231" fmla="*/ 693060 w 1556920"/>
                <a:gd name="connsiteY2231" fmla="*/ 471348 h 1898459"/>
                <a:gd name="connsiteX2232" fmla="*/ 692546 w 1556920"/>
                <a:gd name="connsiteY2232" fmla="*/ 471681 h 1898459"/>
                <a:gd name="connsiteX2233" fmla="*/ 692970 w 1556920"/>
                <a:gd name="connsiteY2233" fmla="*/ 472709 h 1898459"/>
                <a:gd name="connsiteX2234" fmla="*/ 693454 w 1556920"/>
                <a:gd name="connsiteY2234" fmla="*/ 473586 h 1898459"/>
                <a:gd name="connsiteX2235" fmla="*/ 694603 w 1556920"/>
                <a:gd name="connsiteY2235" fmla="*/ 475159 h 1898459"/>
                <a:gd name="connsiteX2236" fmla="*/ 694785 w 1556920"/>
                <a:gd name="connsiteY2236" fmla="*/ 475643 h 1898459"/>
                <a:gd name="connsiteX2237" fmla="*/ 695178 w 1556920"/>
                <a:gd name="connsiteY2237" fmla="*/ 477247 h 1898459"/>
                <a:gd name="connsiteX2238" fmla="*/ 695359 w 1556920"/>
                <a:gd name="connsiteY2238" fmla="*/ 477701 h 1898459"/>
                <a:gd name="connsiteX2239" fmla="*/ 695964 w 1556920"/>
                <a:gd name="connsiteY2239" fmla="*/ 477852 h 1898459"/>
                <a:gd name="connsiteX2240" fmla="*/ 697447 w 1556920"/>
                <a:gd name="connsiteY2240" fmla="*/ 477458 h 1898459"/>
                <a:gd name="connsiteX2241" fmla="*/ 698022 w 1556920"/>
                <a:gd name="connsiteY2241" fmla="*/ 477670 h 1898459"/>
                <a:gd name="connsiteX2242" fmla="*/ 698475 w 1556920"/>
                <a:gd name="connsiteY2242" fmla="*/ 478669 h 1898459"/>
                <a:gd name="connsiteX2243" fmla="*/ 699050 w 1556920"/>
                <a:gd name="connsiteY2243" fmla="*/ 481421 h 1898459"/>
                <a:gd name="connsiteX2244" fmla="*/ 699443 w 1556920"/>
                <a:gd name="connsiteY2244" fmla="*/ 482480 h 1898459"/>
                <a:gd name="connsiteX2245" fmla="*/ 700290 w 1556920"/>
                <a:gd name="connsiteY2245" fmla="*/ 483418 h 1898459"/>
                <a:gd name="connsiteX2246" fmla="*/ 702801 w 1556920"/>
                <a:gd name="connsiteY2246" fmla="*/ 484870 h 1898459"/>
                <a:gd name="connsiteX2247" fmla="*/ 700049 w 1556920"/>
                <a:gd name="connsiteY2247" fmla="*/ 488561 h 1898459"/>
                <a:gd name="connsiteX2248" fmla="*/ 698869 w 1556920"/>
                <a:gd name="connsiteY2248" fmla="*/ 486020 h 1898459"/>
                <a:gd name="connsiteX2249" fmla="*/ 696449 w 1556920"/>
                <a:gd name="connsiteY2249" fmla="*/ 483811 h 1898459"/>
                <a:gd name="connsiteX2250" fmla="*/ 693847 w 1556920"/>
                <a:gd name="connsiteY2250" fmla="*/ 482601 h 1898459"/>
                <a:gd name="connsiteX2251" fmla="*/ 692153 w 1556920"/>
                <a:gd name="connsiteY2251" fmla="*/ 483085 h 1898459"/>
                <a:gd name="connsiteX2252" fmla="*/ 691155 w 1556920"/>
                <a:gd name="connsiteY2252" fmla="*/ 483841 h 1898459"/>
                <a:gd name="connsiteX2253" fmla="*/ 686677 w 1556920"/>
                <a:gd name="connsiteY2253" fmla="*/ 484900 h 1898459"/>
                <a:gd name="connsiteX2254" fmla="*/ 686345 w 1556920"/>
                <a:gd name="connsiteY2254" fmla="*/ 485445 h 1898459"/>
                <a:gd name="connsiteX2255" fmla="*/ 686224 w 1556920"/>
                <a:gd name="connsiteY2255" fmla="*/ 486655 h 1898459"/>
                <a:gd name="connsiteX2256" fmla="*/ 685861 w 1556920"/>
                <a:gd name="connsiteY2256" fmla="*/ 487926 h 1898459"/>
                <a:gd name="connsiteX2257" fmla="*/ 684862 w 1556920"/>
                <a:gd name="connsiteY2257" fmla="*/ 488591 h 1898459"/>
                <a:gd name="connsiteX2258" fmla="*/ 685467 w 1556920"/>
                <a:gd name="connsiteY2258" fmla="*/ 490315 h 1898459"/>
                <a:gd name="connsiteX2259" fmla="*/ 686980 w 1556920"/>
                <a:gd name="connsiteY2259" fmla="*/ 493371 h 1898459"/>
                <a:gd name="connsiteX2260" fmla="*/ 687676 w 1556920"/>
                <a:gd name="connsiteY2260" fmla="*/ 494490 h 1898459"/>
                <a:gd name="connsiteX2261" fmla="*/ 687464 w 1556920"/>
                <a:gd name="connsiteY2261" fmla="*/ 496850 h 1898459"/>
                <a:gd name="connsiteX2262" fmla="*/ 687464 w 1556920"/>
                <a:gd name="connsiteY2262" fmla="*/ 497818 h 1898459"/>
                <a:gd name="connsiteX2263" fmla="*/ 687676 w 1556920"/>
                <a:gd name="connsiteY2263" fmla="*/ 499391 h 1898459"/>
                <a:gd name="connsiteX2264" fmla="*/ 686345 w 1556920"/>
                <a:gd name="connsiteY2264" fmla="*/ 497636 h 1898459"/>
                <a:gd name="connsiteX2265" fmla="*/ 684802 w 1556920"/>
                <a:gd name="connsiteY2265" fmla="*/ 494309 h 1898459"/>
                <a:gd name="connsiteX2266" fmla="*/ 683773 w 1556920"/>
                <a:gd name="connsiteY2266" fmla="*/ 490648 h 1898459"/>
                <a:gd name="connsiteX2267" fmla="*/ 683894 w 1556920"/>
                <a:gd name="connsiteY2267" fmla="*/ 487956 h 1898459"/>
                <a:gd name="connsiteX2268" fmla="*/ 682624 w 1556920"/>
                <a:gd name="connsiteY2268" fmla="*/ 486625 h 1898459"/>
                <a:gd name="connsiteX2269" fmla="*/ 680536 w 1556920"/>
                <a:gd name="connsiteY2269" fmla="*/ 483630 h 1898459"/>
                <a:gd name="connsiteX2270" fmla="*/ 679871 w 1556920"/>
                <a:gd name="connsiteY2270" fmla="*/ 481149 h 1898459"/>
                <a:gd name="connsiteX2271" fmla="*/ 682866 w 1556920"/>
                <a:gd name="connsiteY2271" fmla="*/ 481331 h 1898459"/>
                <a:gd name="connsiteX2272" fmla="*/ 682866 w 1556920"/>
                <a:gd name="connsiteY2272" fmla="*/ 480121 h 1898459"/>
                <a:gd name="connsiteX2273" fmla="*/ 677360 w 1556920"/>
                <a:gd name="connsiteY2273" fmla="*/ 477761 h 1898459"/>
                <a:gd name="connsiteX2274" fmla="*/ 676604 w 1556920"/>
                <a:gd name="connsiteY2274" fmla="*/ 478366 h 1898459"/>
                <a:gd name="connsiteX2275" fmla="*/ 675817 w 1556920"/>
                <a:gd name="connsiteY2275" fmla="*/ 478245 h 1898459"/>
                <a:gd name="connsiteX2276" fmla="*/ 671915 w 1556920"/>
                <a:gd name="connsiteY2276" fmla="*/ 476279 h 1898459"/>
                <a:gd name="connsiteX2277" fmla="*/ 670432 w 1556920"/>
                <a:gd name="connsiteY2277" fmla="*/ 475220 h 1898459"/>
                <a:gd name="connsiteX2278" fmla="*/ 668496 w 1556920"/>
                <a:gd name="connsiteY2278" fmla="*/ 477398 h 1898459"/>
                <a:gd name="connsiteX2279" fmla="*/ 667891 w 1556920"/>
                <a:gd name="connsiteY2279" fmla="*/ 478578 h 1898459"/>
                <a:gd name="connsiteX2280" fmla="*/ 667679 w 1556920"/>
                <a:gd name="connsiteY2280" fmla="*/ 480726 h 1898459"/>
                <a:gd name="connsiteX2281" fmla="*/ 668103 w 1556920"/>
                <a:gd name="connsiteY2281" fmla="*/ 482843 h 1898459"/>
                <a:gd name="connsiteX2282" fmla="*/ 669162 w 1556920"/>
                <a:gd name="connsiteY2282" fmla="*/ 483781 h 1898459"/>
                <a:gd name="connsiteX2283" fmla="*/ 671794 w 1556920"/>
                <a:gd name="connsiteY2283" fmla="*/ 484931 h 1898459"/>
                <a:gd name="connsiteX2284" fmla="*/ 669737 w 1556920"/>
                <a:gd name="connsiteY2284" fmla="*/ 485778 h 1898459"/>
                <a:gd name="connsiteX2285" fmla="*/ 662174 w 1556920"/>
                <a:gd name="connsiteY2285" fmla="*/ 486231 h 1898459"/>
                <a:gd name="connsiteX2286" fmla="*/ 662174 w 1556920"/>
                <a:gd name="connsiteY2286" fmla="*/ 487320 h 1898459"/>
                <a:gd name="connsiteX2287" fmla="*/ 662718 w 1556920"/>
                <a:gd name="connsiteY2287" fmla="*/ 487623 h 1898459"/>
                <a:gd name="connsiteX2288" fmla="*/ 663444 w 1556920"/>
                <a:gd name="connsiteY2288" fmla="*/ 488319 h 1898459"/>
                <a:gd name="connsiteX2289" fmla="*/ 664170 w 1556920"/>
                <a:gd name="connsiteY2289" fmla="*/ 488621 h 1898459"/>
                <a:gd name="connsiteX2290" fmla="*/ 663717 w 1556920"/>
                <a:gd name="connsiteY2290" fmla="*/ 489559 h 1898459"/>
                <a:gd name="connsiteX2291" fmla="*/ 663474 w 1556920"/>
                <a:gd name="connsiteY2291" fmla="*/ 490194 h 1898459"/>
                <a:gd name="connsiteX2292" fmla="*/ 663081 w 1556920"/>
                <a:gd name="connsiteY2292" fmla="*/ 490618 h 1898459"/>
                <a:gd name="connsiteX2293" fmla="*/ 662204 w 1556920"/>
                <a:gd name="connsiteY2293" fmla="*/ 490920 h 1898459"/>
                <a:gd name="connsiteX2294" fmla="*/ 662264 w 1556920"/>
                <a:gd name="connsiteY2294" fmla="*/ 492645 h 1898459"/>
                <a:gd name="connsiteX2295" fmla="*/ 661145 w 1556920"/>
                <a:gd name="connsiteY2295" fmla="*/ 494188 h 1898459"/>
                <a:gd name="connsiteX2296" fmla="*/ 660843 w 1556920"/>
                <a:gd name="connsiteY2296" fmla="*/ 496426 h 1898459"/>
                <a:gd name="connsiteX2297" fmla="*/ 661296 w 1556920"/>
                <a:gd name="connsiteY2297" fmla="*/ 497364 h 1898459"/>
                <a:gd name="connsiteX2298" fmla="*/ 662174 w 1556920"/>
                <a:gd name="connsiteY2298" fmla="*/ 497757 h 1898459"/>
                <a:gd name="connsiteX2299" fmla="*/ 1553623 w 1556920"/>
                <a:gd name="connsiteY2299" fmla="*/ 1406510 h 1898459"/>
                <a:gd name="connsiteX2300" fmla="*/ 1553744 w 1556920"/>
                <a:gd name="connsiteY2300" fmla="*/ 1401035 h 1898459"/>
                <a:gd name="connsiteX2301" fmla="*/ 1553562 w 1556920"/>
                <a:gd name="connsiteY2301" fmla="*/ 1398040 h 1898459"/>
                <a:gd name="connsiteX2302" fmla="*/ 1552957 w 1556920"/>
                <a:gd name="connsiteY2302" fmla="*/ 1395710 h 1898459"/>
                <a:gd name="connsiteX2303" fmla="*/ 1553623 w 1556920"/>
                <a:gd name="connsiteY2303" fmla="*/ 1392474 h 1898459"/>
                <a:gd name="connsiteX2304" fmla="*/ 1552292 w 1556920"/>
                <a:gd name="connsiteY2304" fmla="*/ 1387997 h 1898459"/>
                <a:gd name="connsiteX2305" fmla="*/ 1550446 w 1556920"/>
                <a:gd name="connsiteY2305" fmla="*/ 1383549 h 1898459"/>
                <a:gd name="connsiteX2306" fmla="*/ 1548540 w 1556920"/>
                <a:gd name="connsiteY2306" fmla="*/ 1376349 h 1898459"/>
                <a:gd name="connsiteX2307" fmla="*/ 1546151 w 1556920"/>
                <a:gd name="connsiteY2307" fmla="*/ 1372598 h 1898459"/>
                <a:gd name="connsiteX2308" fmla="*/ 1543217 w 1556920"/>
                <a:gd name="connsiteY2308" fmla="*/ 1369513 h 1898459"/>
                <a:gd name="connsiteX2309" fmla="*/ 1518229 w 1556920"/>
                <a:gd name="connsiteY2309" fmla="*/ 1351846 h 1898459"/>
                <a:gd name="connsiteX2310" fmla="*/ 1506007 w 1556920"/>
                <a:gd name="connsiteY2310" fmla="*/ 1346068 h 1898459"/>
                <a:gd name="connsiteX2311" fmla="*/ 1474969 w 1556920"/>
                <a:gd name="connsiteY2311" fmla="*/ 1339140 h 1898459"/>
                <a:gd name="connsiteX2312" fmla="*/ 1474969 w 1556920"/>
                <a:gd name="connsiteY2312" fmla="*/ 1340169 h 1898459"/>
                <a:gd name="connsiteX2313" fmla="*/ 1476270 w 1556920"/>
                <a:gd name="connsiteY2313" fmla="*/ 1340048 h 1898459"/>
                <a:gd name="connsiteX2314" fmla="*/ 1477540 w 1556920"/>
                <a:gd name="connsiteY2314" fmla="*/ 1340199 h 1898459"/>
                <a:gd name="connsiteX2315" fmla="*/ 1478751 w 1556920"/>
                <a:gd name="connsiteY2315" fmla="*/ 1340623 h 1898459"/>
                <a:gd name="connsiteX2316" fmla="*/ 1479809 w 1556920"/>
                <a:gd name="connsiteY2316" fmla="*/ 1341318 h 1898459"/>
                <a:gd name="connsiteX2317" fmla="*/ 1475241 w 1556920"/>
                <a:gd name="connsiteY2317" fmla="*/ 1343255 h 1898459"/>
                <a:gd name="connsiteX2318" fmla="*/ 1470492 w 1556920"/>
                <a:gd name="connsiteY2318" fmla="*/ 1342135 h 1898459"/>
                <a:gd name="connsiteX2319" fmla="*/ 1465894 w 1556920"/>
                <a:gd name="connsiteY2319" fmla="*/ 1340078 h 1898459"/>
                <a:gd name="connsiteX2320" fmla="*/ 1461901 w 1556920"/>
                <a:gd name="connsiteY2320" fmla="*/ 1339110 h 1898459"/>
                <a:gd name="connsiteX2321" fmla="*/ 1453339 w 1556920"/>
                <a:gd name="connsiteY2321" fmla="*/ 1339110 h 1898459"/>
                <a:gd name="connsiteX2322" fmla="*/ 1451192 w 1556920"/>
                <a:gd name="connsiteY2322" fmla="*/ 1338626 h 1898459"/>
                <a:gd name="connsiteX2323" fmla="*/ 1448923 w 1556920"/>
                <a:gd name="connsiteY2323" fmla="*/ 1337749 h 1898459"/>
                <a:gd name="connsiteX2324" fmla="*/ 1446714 w 1556920"/>
                <a:gd name="connsiteY2324" fmla="*/ 1337265 h 1898459"/>
                <a:gd name="connsiteX2325" fmla="*/ 1444657 w 1556920"/>
                <a:gd name="connsiteY2325" fmla="*/ 1337961 h 1898459"/>
                <a:gd name="connsiteX2326" fmla="*/ 1445413 w 1556920"/>
                <a:gd name="connsiteY2326" fmla="*/ 1339110 h 1898459"/>
                <a:gd name="connsiteX2327" fmla="*/ 1440543 w 1556920"/>
                <a:gd name="connsiteY2327" fmla="*/ 1338928 h 1898459"/>
                <a:gd name="connsiteX2328" fmla="*/ 1435128 w 1556920"/>
                <a:gd name="connsiteY2328" fmla="*/ 1339897 h 1898459"/>
                <a:gd name="connsiteX2329" fmla="*/ 1430167 w 1556920"/>
                <a:gd name="connsiteY2329" fmla="*/ 1342044 h 1898459"/>
                <a:gd name="connsiteX2330" fmla="*/ 1426688 w 1556920"/>
                <a:gd name="connsiteY2330" fmla="*/ 1345372 h 1898459"/>
                <a:gd name="connsiteX2331" fmla="*/ 1425357 w 1556920"/>
                <a:gd name="connsiteY2331" fmla="*/ 1347974 h 1898459"/>
                <a:gd name="connsiteX2332" fmla="*/ 1423784 w 1556920"/>
                <a:gd name="connsiteY2332" fmla="*/ 1351725 h 1898459"/>
                <a:gd name="connsiteX2333" fmla="*/ 1422513 w 1556920"/>
                <a:gd name="connsiteY2333" fmla="*/ 1355839 h 1898459"/>
                <a:gd name="connsiteX2334" fmla="*/ 1421969 w 1556920"/>
                <a:gd name="connsiteY2334" fmla="*/ 1359560 h 1898459"/>
                <a:gd name="connsiteX2335" fmla="*/ 1420638 w 1556920"/>
                <a:gd name="connsiteY2335" fmla="*/ 1361617 h 1898459"/>
                <a:gd name="connsiteX2336" fmla="*/ 1418006 w 1556920"/>
                <a:gd name="connsiteY2336" fmla="*/ 1364340 h 1898459"/>
                <a:gd name="connsiteX2337" fmla="*/ 1415979 w 1556920"/>
                <a:gd name="connsiteY2337" fmla="*/ 1367184 h 1898459"/>
                <a:gd name="connsiteX2338" fmla="*/ 1416524 w 1556920"/>
                <a:gd name="connsiteY2338" fmla="*/ 1369573 h 1898459"/>
                <a:gd name="connsiteX2339" fmla="*/ 1416524 w 1556920"/>
                <a:gd name="connsiteY2339" fmla="*/ 1370602 h 1898459"/>
                <a:gd name="connsiteX2340" fmla="*/ 1415041 w 1556920"/>
                <a:gd name="connsiteY2340" fmla="*/ 1369876 h 1898459"/>
                <a:gd name="connsiteX2341" fmla="*/ 1412197 w 1556920"/>
                <a:gd name="connsiteY2341" fmla="*/ 1366155 h 1898459"/>
                <a:gd name="connsiteX2342" fmla="*/ 1410564 w 1556920"/>
                <a:gd name="connsiteY2342" fmla="*/ 1365278 h 1898459"/>
                <a:gd name="connsiteX2343" fmla="*/ 1406540 w 1556920"/>
                <a:gd name="connsiteY2343" fmla="*/ 1364915 h 1898459"/>
                <a:gd name="connsiteX2344" fmla="*/ 1404423 w 1556920"/>
                <a:gd name="connsiteY2344" fmla="*/ 1365187 h 1898459"/>
                <a:gd name="connsiteX2345" fmla="*/ 1402638 w 1556920"/>
                <a:gd name="connsiteY2345" fmla="*/ 1366427 h 1898459"/>
                <a:gd name="connsiteX2346" fmla="*/ 1400188 w 1556920"/>
                <a:gd name="connsiteY2346" fmla="*/ 1363674 h 1898459"/>
                <a:gd name="connsiteX2347" fmla="*/ 1395014 w 1556920"/>
                <a:gd name="connsiteY2347" fmla="*/ 1356263 h 1898459"/>
                <a:gd name="connsiteX2348" fmla="*/ 1392625 w 1556920"/>
                <a:gd name="connsiteY2348" fmla="*/ 1354750 h 1898459"/>
                <a:gd name="connsiteX2349" fmla="*/ 1391233 w 1556920"/>
                <a:gd name="connsiteY2349" fmla="*/ 1354266 h 1898459"/>
                <a:gd name="connsiteX2350" fmla="*/ 1388450 w 1556920"/>
                <a:gd name="connsiteY2350" fmla="*/ 1352088 h 1898459"/>
                <a:gd name="connsiteX2351" fmla="*/ 1387119 w 1556920"/>
                <a:gd name="connsiteY2351" fmla="*/ 1351604 h 1898459"/>
                <a:gd name="connsiteX2352" fmla="*/ 1381885 w 1556920"/>
                <a:gd name="connsiteY2352" fmla="*/ 1352754 h 1898459"/>
                <a:gd name="connsiteX2353" fmla="*/ 1378830 w 1556920"/>
                <a:gd name="connsiteY2353" fmla="*/ 1352542 h 1898459"/>
                <a:gd name="connsiteX2354" fmla="*/ 1378649 w 1556920"/>
                <a:gd name="connsiteY2354" fmla="*/ 1350666 h 1898459"/>
                <a:gd name="connsiteX2355" fmla="*/ 1380010 w 1556920"/>
                <a:gd name="connsiteY2355" fmla="*/ 1348549 h 1898459"/>
                <a:gd name="connsiteX2356" fmla="*/ 1381583 w 1556920"/>
                <a:gd name="connsiteY2356" fmla="*/ 1347520 h 1898459"/>
                <a:gd name="connsiteX2357" fmla="*/ 1383943 w 1556920"/>
                <a:gd name="connsiteY2357" fmla="*/ 1346643 h 1898459"/>
                <a:gd name="connsiteX2358" fmla="*/ 1386060 w 1556920"/>
                <a:gd name="connsiteY2358" fmla="*/ 1344525 h 1898459"/>
                <a:gd name="connsiteX2359" fmla="*/ 1393986 w 1556920"/>
                <a:gd name="connsiteY2359" fmla="*/ 1333756 h 1898459"/>
                <a:gd name="connsiteX2360" fmla="*/ 1395378 w 1556920"/>
                <a:gd name="connsiteY2360" fmla="*/ 1332757 h 1898459"/>
                <a:gd name="connsiteX2361" fmla="*/ 1397253 w 1556920"/>
                <a:gd name="connsiteY2361" fmla="*/ 1332031 h 1898459"/>
                <a:gd name="connsiteX2362" fmla="*/ 1406268 w 1556920"/>
                <a:gd name="connsiteY2362" fmla="*/ 1323621 h 1898459"/>
                <a:gd name="connsiteX2363" fmla="*/ 1407902 w 1556920"/>
                <a:gd name="connsiteY2363" fmla="*/ 1322653 h 1898459"/>
                <a:gd name="connsiteX2364" fmla="*/ 1409898 w 1556920"/>
                <a:gd name="connsiteY2364" fmla="*/ 1322290 h 1898459"/>
                <a:gd name="connsiteX2365" fmla="*/ 1411018 w 1556920"/>
                <a:gd name="connsiteY2365" fmla="*/ 1321867 h 1898459"/>
                <a:gd name="connsiteX2366" fmla="*/ 1411623 w 1556920"/>
                <a:gd name="connsiteY2366" fmla="*/ 1320808 h 1898459"/>
                <a:gd name="connsiteX2367" fmla="*/ 1413710 w 1556920"/>
                <a:gd name="connsiteY2367" fmla="*/ 1312761 h 1898459"/>
                <a:gd name="connsiteX2368" fmla="*/ 1413710 w 1556920"/>
                <a:gd name="connsiteY2368" fmla="*/ 1306166 h 1898459"/>
                <a:gd name="connsiteX2369" fmla="*/ 1412258 w 1556920"/>
                <a:gd name="connsiteY2369" fmla="*/ 1300358 h 1898459"/>
                <a:gd name="connsiteX2370" fmla="*/ 1404030 w 1556920"/>
                <a:gd name="connsiteY2370" fmla="*/ 1279454 h 1898459"/>
                <a:gd name="connsiteX2371" fmla="*/ 1403606 w 1556920"/>
                <a:gd name="connsiteY2371" fmla="*/ 1277337 h 1898459"/>
                <a:gd name="connsiteX2372" fmla="*/ 1402487 w 1556920"/>
                <a:gd name="connsiteY2372" fmla="*/ 1274886 h 1898459"/>
                <a:gd name="connsiteX2373" fmla="*/ 1400914 w 1556920"/>
                <a:gd name="connsiteY2373" fmla="*/ 1272738 h 1898459"/>
                <a:gd name="connsiteX2374" fmla="*/ 1399159 w 1556920"/>
                <a:gd name="connsiteY2374" fmla="*/ 1271529 h 1898459"/>
                <a:gd name="connsiteX2375" fmla="*/ 1399916 w 1556920"/>
                <a:gd name="connsiteY2375" fmla="*/ 1270469 h 1898459"/>
                <a:gd name="connsiteX2376" fmla="*/ 1397011 w 1556920"/>
                <a:gd name="connsiteY2376" fmla="*/ 1268534 h 1898459"/>
                <a:gd name="connsiteX2377" fmla="*/ 1396104 w 1556920"/>
                <a:gd name="connsiteY2377" fmla="*/ 1268261 h 1898459"/>
                <a:gd name="connsiteX2378" fmla="*/ 1395529 w 1556920"/>
                <a:gd name="connsiteY2378" fmla="*/ 1267656 h 1898459"/>
                <a:gd name="connsiteX2379" fmla="*/ 1395257 w 1556920"/>
                <a:gd name="connsiteY2379" fmla="*/ 1266235 h 1898459"/>
                <a:gd name="connsiteX2380" fmla="*/ 1395045 w 1556920"/>
                <a:gd name="connsiteY2380" fmla="*/ 1264631 h 1898459"/>
                <a:gd name="connsiteX2381" fmla="*/ 1394742 w 1556920"/>
                <a:gd name="connsiteY2381" fmla="*/ 1263482 h 1898459"/>
                <a:gd name="connsiteX2382" fmla="*/ 1393139 w 1556920"/>
                <a:gd name="connsiteY2382" fmla="*/ 1261727 h 1898459"/>
                <a:gd name="connsiteX2383" fmla="*/ 1391354 w 1556920"/>
                <a:gd name="connsiteY2383" fmla="*/ 1260971 h 1898459"/>
                <a:gd name="connsiteX2384" fmla="*/ 1389448 w 1556920"/>
                <a:gd name="connsiteY2384" fmla="*/ 1260578 h 1898459"/>
                <a:gd name="connsiteX2385" fmla="*/ 1387512 w 1556920"/>
                <a:gd name="connsiteY2385" fmla="*/ 1259791 h 1898459"/>
                <a:gd name="connsiteX2386" fmla="*/ 1377862 w 1556920"/>
                <a:gd name="connsiteY2386" fmla="*/ 1252500 h 1898459"/>
                <a:gd name="connsiteX2387" fmla="*/ 1373173 w 1556920"/>
                <a:gd name="connsiteY2387" fmla="*/ 1247055 h 1898459"/>
                <a:gd name="connsiteX2388" fmla="*/ 1371721 w 1556920"/>
                <a:gd name="connsiteY2388" fmla="*/ 1246511 h 1898459"/>
                <a:gd name="connsiteX2389" fmla="*/ 1368212 w 1556920"/>
                <a:gd name="connsiteY2389" fmla="*/ 1246026 h 1898459"/>
                <a:gd name="connsiteX2390" fmla="*/ 1366488 w 1556920"/>
                <a:gd name="connsiteY2390" fmla="*/ 1244877 h 1898459"/>
                <a:gd name="connsiteX2391" fmla="*/ 1363372 w 1556920"/>
                <a:gd name="connsiteY2391" fmla="*/ 1241458 h 1898459"/>
                <a:gd name="connsiteX2392" fmla="*/ 1358894 w 1556920"/>
                <a:gd name="connsiteY2392" fmla="*/ 1239311 h 1898459"/>
                <a:gd name="connsiteX2393" fmla="*/ 1351664 w 1556920"/>
                <a:gd name="connsiteY2393" fmla="*/ 1228934 h 1898459"/>
                <a:gd name="connsiteX2394" fmla="*/ 1349758 w 1556920"/>
                <a:gd name="connsiteY2394" fmla="*/ 1225819 h 1898459"/>
                <a:gd name="connsiteX2395" fmla="*/ 1346945 w 1556920"/>
                <a:gd name="connsiteY2395" fmla="*/ 1224699 h 1898459"/>
                <a:gd name="connsiteX2396" fmla="*/ 1328915 w 1556920"/>
                <a:gd name="connsiteY2396" fmla="*/ 1227785 h 1898459"/>
                <a:gd name="connsiteX2397" fmla="*/ 1326132 w 1556920"/>
                <a:gd name="connsiteY2397" fmla="*/ 1229842 h 1898459"/>
                <a:gd name="connsiteX2398" fmla="*/ 1324529 w 1556920"/>
                <a:gd name="connsiteY2398" fmla="*/ 1230417 h 1898459"/>
                <a:gd name="connsiteX2399" fmla="*/ 1323047 w 1556920"/>
                <a:gd name="connsiteY2399" fmla="*/ 1229479 h 1898459"/>
                <a:gd name="connsiteX2400" fmla="*/ 1321957 w 1556920"/>
                <a:gd name="connsiteY2400" fmla="*/ 1228390 h 1898459"/>
                <a:gd name="connsiteX2401" fmla="*/ 1317873 w 1556920"/>
                <a:gd name="connsiteY2401" fmla="*/ 1225637 h 1898459"/>
                <a:gd name="connsiteX2402" fmla="*/ 1315514 w 1556920"/>
                <a:gd name="connsiteY2402" fmla="*/ 1225062 h 1898459"/>
                <a:gd name="connsiteX2403" fmla="*/ 1312459 w 1556920"/>
                <a:gd name="connsiteY2403" fmla="*/ 1225274 h 1898459"/>
                <a:gd name="connsiteX2404" fmla="*/ 1309675 w 1556920"/>
                <a:gd name="connsiteY2404" fmla="*/ 1226484 h 1898459"/>
                <a:gd name="connsiteX2405" fmla="*/ 1308163 w 1556920"/>
                <a:gd name="connsiteY2405" fmla="*/ 1228934 h 1898459"/>
                <a:gd name="connsiteX2406" fmla="*/ 1307376 w 1556920"/>
                <a:gd name="connsiteY2406" fmla="*/ 1228178 h 1898459"/>
                <a:gd name="connsiteX2407" fmla="*/ 1306529 w 1556920"/>
                <a:gd name="connsiteY2407" fmla="*/ 1227573 h 1898459"/>
                <a:gd name="connsiteX2408" fmla="*/ 1305652 w 1556920"/>
                <a:gd name="connsiteY2408" fmla="*/ 1227119 h 1898459"/>
                <a:gd name="connsiteX2409" fmla="*/ 1304744 w 1556920"/>
                <a:gd name="connsiteY2409" fmla="*/ 1226817 h 1898459"/>
                <a:gd name="connsiteX2410" fmla="*/ 1311611 w 1556920"/>
                <a:gd name="connsiteY2410" fmla="*/ 1222551 h 1898459"/>
                <a:gd name="connsiteX2411" fmla="*/ 1313759 w 1556920"/>
                <a:gd name="connsiteY2411" fmla="*/ 1221916 h 1898459"/>
                <a:gd name="connsiteX2412" fmla="*/ 1319598 w 1556920"/>
                <a:gd name="connsiteY2412" fmla="*/ 1222551 h 1898459"/>
                <a:gd name="connsiteX2413" fmla="*/ 1319900 w 1556920"/>
                <a:gd name="connsiteY2413" fmla="*/ 1222914 h 1898459"/>
                <a:gd name="connsiteX2414" fmla="*/ 1322381 w 1556920"/>
                <a:gd name="connsiteY2414" fmla="*/ 1225183 h 1898459"/>
                <a:gd name="connsiteX2415" fmla="*/ 1323107 w 1556920"/>
                <a:gd name="connsiteY2415" fmla="*/ 1225455 h 1898459"/>
                <a:gd name="connsiteX2416" fmla="*/ 1326526 w 1556920"/>
                <a:gd name="connsiteY2416" fmla="*/ 1224699 h 1898459"/>
                <a:gd name="connsiteX2417" fmla="*/ 1334512 w 1556920"/>
                <a:gd name="connsiteY2417" fmla="*/ 1224699 h 1898459"/>
                <a:gd name="connsiteX2418" fmla="*/ 1347187 w 1556920"/>
                <a:gd name="connsiteY2418" fmla="*/ 1220736 h 1898459"/>
                <a:gd name="connsiteX2419" fmla="*/ 1348155 w 1556920"/>
                <a:gd name="connsiteY2419" fmla="*/ 1220888 h 1898459"/>
                <a:gd name="connsiteX2420" fmla="*/ 1351695 w 1556920"/>
                <a:gd name="connsiteY2420" fmla="*/ 1221402 h 1898459"/>
                <a:gd name="connsiteX2421" fmla="*/ 1355234 w 1556920"/>
                <a:gd name="connsiteY2421" fmla="*/ 1223822 h 1898459"/>
                <a:gd name="connsiteX2422" fmla="*/ 1364824 w 1556920"/>
                <a:gd name="connsiteY2422" fmla="*/ 1235317 h 1898459"/>
                <a:gd name="connsiteX2423" fmla="*/ 1366578 w 1556920"/>
                <a:gd name="connsiteY2423" fmla="*/ 1236649 h 1898459"/>
                <a:gd name="connsiteX2424" fmla="*/ 1368635 w 1556920"/>
                <a:gd name="connsiteY2424" fmla="*/ 1237647 h 1898459"/>
                <a:gd name="connsiteX2425" fmla="*/ 1370934 w 1556920"/>
                <a:gd name="connsiteY2425" fmla="*/ 1238282 h 1898459"/>
                <a:gd name="connsiteX2426" fmla="*/ 1373385 w 1556920"/>
                <a:gd name="connsiteY2426" fmla="*/ 1238494 h 1898459"/>
                <a:gd name="connsiteX2427" fmla="*/ 1375502 w 1556920"/>
                <a:gd name="connsiteY2427" fmla="*/ 1237979 h 1898459"/>
                <a:gd name="connsiteX2428" fmla="*/ 1379405 w 1556920"/>
                <a:gd name="connsiteY2428" fmla="*/ 1235741 h 1898459"/>
                <a:gd name="connsiteX2429" fmla="*/ 1381371 w 1556920"/>
                <a:gd name="connsiteY2429" fmla="*/ 1235287 h 1898459"/>
                <a:gd name="connsiteX2430" fmla="*/ 1383549 w 1556920"/>
                <a:gd name="connsiteY2430" fmla="*/ 1236043 h 1898459"/>
                <a:gd name="connsiteX2431" fmla="*/ 1387905 w 1556920"/>
                <a:gd name="connsiteY2431" fmla="*/ 1238978 h 1898459"/>
                <a:gd name="connsiteX2432" fmla="*/ 1389993 w 1556920"/>
                <a:gd name="connsiteY2432" fmla="*/ 1239643 h 1898459"/>
                <a:gd name="connsiteX2433" fmla="*/ 1391566 w 1556920"/>
                <a:gd name="connsiteY2433" fmla="*/ 1240793 h 1898459"/>
                <a:gd name="connsiteX2434" fmla="*/ 1391112 w 1556920"/>
                <a:gd name="connsiteY2434" fmla="*/ 1243425 h 1898459"/>
                <a:gd name="connsiteX2435" fmla="*/ 1388934 w 1556920"/>
                <a:gd name="connsiteY2435" fmla="*/ 1248235 h 1898459"/>
                <a:gd name="connsiteX2436" fmla="*/ 1391112 w 1556920"/>
                <a:gd name="connsiteY2436" fmla="*/ 1246601 h 1898459"/>
                <a:gd name="connsiteX2437" fmla="*/ 1391687 w 1556920"/>
                <a:gd name="connsiteY2437" fmla="*/ 1246026 h 1898459"/>
                <a:gd name="connsiteX2438" fmla="*/ 1392927 w 1556920"/>
                <a:gd name="connsiteY2438" fmla="*/ 1240974 h 1898459"/>
                <a:gd name="connsiteX2439" fmla="*/ 1391354 w 1556920"/>
                <a:gd name="connsiteY2439" fmla="*/ 1235832 h 1898459"/>
                <a:gd name="connsiteX2440" fmla="*/ 1373385 w 1556920"/>
                <a:gd name="connsiteY2440" fmla="*/ 1211086 h 1898459"/>
                <a:gd name="connsiteX2441" fmla="*/ 1362736 w 1556920"/>
                <a:gd name="connsiteY2441" fmla="*/ 1195718 h 1898459"/>
                <a:gd name="connsiteX2442" fmla="*/ 1360952 w 1556920"/>
                <a:gd name="connsiteY2442" fmla="*/ 1190999 h 1898459"/>
                <a:gd name="connsiteX2443" fmla="*/ 1358078 w 1556920"/>
                <a:gd name="connsiteY2443" fmla="*/ 1180714 h 1898459"/>
                <a:gd name="connsiteX2444" fmla="*/ 1355839 w 1556920"/>
                <a:gd name="connsiteY2444" fmla="*/ 1176297 h 1898459"/>
                <a:gd name="connsiteX2445" fmla="*/ 1358350 w 1556920"/>
                <a:gd name="connsiteY2445" fmla="*/ 1170065 h 1898459"/>
                <a:gd name="connsiteX2446" fmla="*/ 1361435 w 1556920"/>
                <a:gd name="connsiteY2446" fmla="*/ 1166738 h 1898459"/>
                <a:gd name="connsiteX2447" fmla="*/ 1370330 w 1556920"/>
                <a:gd name="connsiteY2447" fmla="*/ 1162200 h 1898459"/>
                <a:gd name="connsiteX2448" fmla="*/ 1366729 w 1556920"/>
                <a:gd name="connsiteY2448" fmla="*/ 1159144 h 1898459"/>
                <a:gd name="connsiteX2449" fmla="*/ 1354417 w 1556920"/>
                <a:gd name="connsiteY2449" fmla="*/ 1154607 h 1898459"/>
                <a:gd name="connsiteX2450" fmla="*/ 1351755 w 1556920"/>
                <a:gd name="connsiteY2450" fmla="*/ 1152005 h 1898459"/>
                <a:gd name="connsiteX2451" fmla="*/ 1351543 w 1556920"/>
                <a:gd name="connsiteY2451" fmla="*/ 1151370 h 1898459"/>
                <a:gd name="connsiteX2452" fmla="*/ 1350847 w 1556920"/>
                <a:gd name="connsiteY2452" fmla="*/ 1147165 h 1898459"/>
                <a:gd name="connsiteX2453" fmla="*/ 1350091 w 1556920"/>
                <a:gd name="connsiteY2453" fmla="*/ 1145562 h 1898459"/>
                <a:gd name="connsiteX2454" fmla="*/ 1347792 w 1556920"/>
                <a:gd name="connsiteY2454" fmla="*/ 1144473 h 1898459"/>
                <a:gd name="connsiteX2455" fmla="*/ 1346612 w 1556920"/>
                <a:gd name="connsiteY2455" fmla="*/ 1143383 h 1898459"/>
                <a:gd name="connsiteX2456" fmla="*/ 1345584 w 1556920"/>
                <a:gd name="connsiteY2456" fmla="*/ 1142687 h 1898459"/>
                <a:gd name="connsiteX2457" fmla="*/ 1341500 w 1556920"/>
                <a:gd name="connsiteY2457" fmla="*/ 1141659 h 1898459"/>
                <a:gd name="connsiteX2458" fmla="*/ 1340713 w 1556920"/>
                <a:gd name="connsiteY2458" fmla="*/ 1140842 h 1898459"/>
                <a:gd name="connsiteX2459" fmla="*/ 1338838 w 1556920"/>
                <a:gd name="connsiteY2459" fmla="*/ 1138271 h 1898459"/>
                <a:gd name="connsiteX2460" fmla="*/ 1337991 w 1556920"/>
                <a:gd name="connsiteY2460" fmla="*/ 1137454 h 1898459"/>
                <a:gd name="connsiteX2461" fmla="*/ 1338263 w 1556920"/>
                <a:gd name="connsiteY2461" fmla="*/ 1136819 h 1898459"/>
                <a:gd name="connsiteX2462" fmla="*/ 1338686 w 1556920"/>
                <a:gd name="connsiteY2462" fmla="*/ 1135185 h 1898459"/>
                <a:gd name="connsiteX2463" fmla="*/ 1337628 w 1556920"/>
                <a:gd name="connsiteY2463" fmla="*/ 1134852 h 1898459"/>
                <a:gd name="connsiteX2464" fmla="*/ 1336841 w 1556920"/>
                <a:gd name="connsiteY2464" fmla="*/ 1134036 h 1898459"/>
                <a:gd name="connsiteX2465" fmla="*/ 1336266 w 1556920"/>
                <a:gd name="connsiteY2465" fmla="*/ 1133007 h 1898459"/>
                <a:gd name="connsiteX2466" fmla="*/ 1335934 w 1556920"/>
                <a:gd name="connsiteY2466" fmla="*/ 1131948 h 1898459"/>
                <a:gd name="connsiteX2467" fmla="*/ 1335934 w 1556920"/>
                <a:gd name="connsiteY2467" fmla="*/ 1128772 h 1898459"/>
                <a:gd name="connsiteX2468" fmla="*/ 1334663 w 1556920"/>
                <a:gd name="connsiteY2468" fmla="*/ 1124779 h 1898459"/>
                <a:gd name="connsiteX2469" fmla="*/ 1332939 w 1556920"/>
                <a:gd name="connsiteY2469" fmla="*/ 1120997 h 1898459"/>
                <a:gd name="connsiteX2470" fmla="*/ 1331426 w 1556920"/>
                <a:gd name="connsiteY2470" fmla="*/ 1118486 h 1898459"/>
                <a:gd name="connsiteX2471" fmla="*/ 1330004 w 1556920"/>
                <a:gd name="connsiteY2471" fmla="*/ 1117186 h 1898459"/>
                <a:gd name="connsiteX2472" fmla="*/ 1326646 w 1556920"/>
                <a:gd name="connsiteY2472" fmla="*/ 1114917 h 1898459"/>
                <a:gd name="connsiteX2473" fmla="*/ 1325588 w 1556920"/>
                <a:gd name="connsiteY2473" fmla="*/ 1113555 h 1898459"/>
                <a:gd name="connsiteX2474" fmla="*/ 1325285 w 1556920"/>
                <a:gd name="connsiteY2474" fmla="*/ 1111922 h 1898459"/>
                <a:gd name="connsiteX2475" fmla="*/ 1325467 w 1556920"/>
                <a:gd name="connsiteY2475" fmla="*/ 1110682 h 1898459"/>
                <a:gd name="connsiteX2476" fmla="*/ 1325346 w 1556920"/>
                <a:gd name="connsiteY2476" fmla="*/ 1109260 h 1898459"/>
                <a:gd name="connsiteX2477" fmla="*/ 1324166 w 1556920"/>
                <a:gd name="connsiteY2477" fmla="*/ 1107051 h 1898459"/>
                <a:gd name="connsiteX2478" fmla="*/ 1321322 w 1556920"/>
                <a:gd name="connsiteY2478" fmla="*/ 1104450 h 1898459"/>
                <a:gd name="connsiteX2479" fmla="*/ 1298694 w 1556920"/>
                <a:gd name="connsiteY2479" fmla="*/ 1091169 h 1898459"/>
                <a:gd name="connsiteX2480" fmla="*/ 1278002 w 1556920"/>
                <a:gd name="connsiteY2480" fmla="*/ 1085210 h 1898459"/>
                <a:gd name="connsiteX2481" fmla="*/ 1273101 w 1556920"/>
                <a:gd name="connsiteY2481" fmla="*/ 1082185 h 1898459"/>
                <a:gd name="connsiteX2482" fmla="*/ 1268866 w 1556920"/>
                <a:gd name="connsiteY2482" fmla="*/ 1081640 h 1898459"/>
                <a:gd name="connsiteX2483" fmla="*/ 1266930 w 1556920"/>
                <a:gd name="connsiteY2483" fmla="*/ 1080975 h 1898459"/>
                <a:gd name="connsiteX2484" fmla="*/ 1265206 w 1556920"/>
                <a:gd name="connsiteY2484" fmla="*/ 1079644 h 1898459"/>
                <a:gd name="connsiteX2485" fmla="*/ 1263451 w 1556920"/>
                <a:gd name="connsiteY2485" fmla="*/ 1077466 h 1898459"/>
                <a:gd name="connsiteX2486" fmla="*/ 1262574 w 1556920"/>
                <a:gd name="connsiteY2486" fmla="*/ 1081943 h 1898459"/>
                <a:gd name="connsiteX2487" fmla="*/ 1261969 w 1556920"/>
                <a:gd name="connsiteY2487" fmla="*/ 1082790 h 1898459"/>
                <a:gd name="connsiteX2488" fmla="*/ 1260759 w 1556920"/>
                <a:gd name="connsiteY2488" fmla="*/ 1083001 h 1898459"/>
                <a:gd name="connsiteX2489" fmla="*/ 1260940 w 1556920"/>
                <a:gd name="connsiteY2489" fmla="*/ 1082638 h 1898459"/>
                <a:gd name="connsiteX2490" fmla="*/ 1260698 w 1556920"/>
                <a:gd name="connsiteY2490" fmla="*/ 1081882 h 1898459"/>
                <a:gd name="connsiteX2491" fmla="*/ 1260275 w 1556920"/>
                <a:gd name="connsiteY2491" fmla="*/ 1081096 h 1898459"/>
                <a:gd name="connsiteX2492" fmla="*/ 1260002 w 1556920"/>
                <a:gd name="connsiteY2492" fmla="*/ 1080702 h 1898459"/>
                <a:gd name="connsiteX2493" fmla="*/ 1259519 w 1556920"/>
                <a:gd name="connsiteY2493" fmla="*/ 1080612 h 1898459"/>
                <a:gd name="connsiteX2494" fmla="*/ 1259367 w 1556920"/>
                <a:gd name="connsiteY2494" fmla="*/ 1081005 h 1898459"/>
                <a:gd name="connsiteX2495" fmla="*/ 1259276 w 1556920"/>
                <a:gd name="connsiteY2495" fmla="*/ 1081519 h 1898459"/>
                <a:gd name="connsiteX2496" fmla="*/ 1259004 w 1556920"/>
                <a:gd name="connsiteY2496" fmla="*/ 1081791 h 1898459"/>
                <a:gd name="connsiteX2497" fmla="*/ 1258036 w 1556920"/>
                <a:gd name="connsiteY2497" fmla="*/ 1081701 h 1898459"/>
                <a:gd name="connsiteX2498" fmla="*/ 1257340 w 1556920"/>
                <a:gd name="connsiteY2498" fmla="*/ 1081398 h 1898459"/>
                <a:gd name="connsiteX2499" fmla="*/ 1256856 w 1556920"/>
                <a:gd name="connsiteY2499" fmla="*/ 1080733 h 1898459"/>
                <a:gd name="connsiteX2500" fmla="*/ 1256614 w 1556920"/>
                <a:gd name="connsiteY2500" fmla="*/ 1079583 h 1898459"/>
                <a:gd name="connsiteX2501" fmla="*/ 1259004 w 1556920"/>
                <a:gd name="connsiteY2501" fmla="*/ 1078585 h 1898459"/>
                <a:gd name="connsiteX2502" fmla="*/ 1259972 w 1556920"/>
                <a:gd name="connsiteY2502" fmla="*/ 1077798 h 1898459"/>
                <a:gd name="connsiteX2503" fmla="*/ 1260789 w 1556920"/>
                <a:gd name="connsiteY2503" fmla="*/ 1076437 h 1898459"/>
                <a:gd name="connsiteX2504" fmla="*/ 1259972 w 1556920"/>
                <a:gd name="connsiteY2504" fmla="*/ 1075529 h 1898459"/>
                <a:gd name="connsiteX2505" fmla="*/ 1259367 w 1556920"/>
                <a:gd name="connsiteY2505" fmla="*/ 1074501 h 1898459"/>
                <a:gd name="connsiteX2506" fmla="*/ 1258974 w 1556920"/>
                <a:gd name="connsiteY2506" fmla="*/ 1073321 h 1898459"/>
                <a:gd name="connsiteX2507" fmla="*/ 1258732 w 1556920"/>
                <a:gd name="connsiteY2507" fmla="*/ 1072050 h 1898459"/>
                <a:gd name="connsiteX2508" fmla="*/ 1258157 w 1556920"/>
                <a:gd name="connsiteY2508" fmla="*/ 1071082 h 1898459"/>
                <a:gd name="connsiteX2509" fmla="*/ 1257976 w 1556920"/>
                <a:gd name="connsiteY2509" fmla="*/ 1070598 h 1898459"/>
                <a:gd name="connsiteX2510" fmla="*/ 1257976 w 1556920"/>
                <a:gd name="connsiteY2510" fmla="*/ 1069872 h 1898459"/>
                <a:gd name="connsiteX2511" fmla="*/ 1260002 w 1556920"/>
                <a:gd name="connsiteY2511" fmla="*/ 1069872 h 1898459"/>
                <a:gd name="connsiteX2512" fmla="*/ 1260002 w 1556920"/>
                <a:gd name="connsiteY2512" fmla="*/ 1068693 h 1898459"/>
                <a:gd name="connsiteX2513" fmla="*/ 1254678 w 1556920"/>
                <a:gd name="connsiteY2513" fmla="*/ 1066484 h 1898459"/>
                <a:gd name="connsiteX2514" fmla="*/ 1253135 w 1556920"/>
                <a:gd name="connsiteY2514" fmla="*/ 1065425 h 1898459"/>
                <a:gd name="connsiteX2515" fmla="*/ 1249626 w 1556920"/>
                <a:gd name="connsiteY2515" fmla="*/ 1061130 h 1898459"/>
                <a:gd name="connsiteX2516" fmla="*/ 1247478 w 1556920"/>
                <a:gd name="connsiteY2516" fmla="*/ 1056078 h 1898459"/>
                <a:gd name="connsiteX2517" fmla="*/ 1241549 w 1556920"/>
                <a:gd name="connsiteY2517" fmla="*/ 1036112 h 1898459"/>
                <a:gd name="connsiteX2518" fmla="*/ 1241821 w 1556920"/>
                <a:gd name="connsiteY2518" fmla="*/ 1034629 h 1898459"/>
                <a:gd name="connsiteX2519" fmla="*/ 1241095 w 1556920"/>
                <a:gd name="connsiteY2519" fmla="*/ 1034055 h 1898459"/>
                <a:gd name="connsiteX2520" fmla="*/ 1240853 w 1556920"/>
                <a:gd name="connsiteY2520" fmla="*/ 1032633 h 1898459"/>
                <a:gd name="connsiteX2521" fmla="*/ 1240732 w 1556920"/>
                <a:gd name="connsiteY2521" fmla="*/ 1029063 h 1898459"/>
                <a:gd name="connsiteX2522" fmla="*/ 1240793 w 1556920"/>
                <a:gd name="connsiteY2522" fmla="*/ 1028095 h 1898459"/>
                <a:gd name="connsiteX2523" fmla="*/ 1240974 w 1556920"/>
                <a:gd name="connsiteY2523" fmla="*/ 1027369 h 1898459"/>
                <a:gd name="connsiteX2524" fmla="*/ 1240884 w 1556920"/>
                <a:gd name="connsiteY2524" fmla="*/ 1026401 h 1898459"/>
                <a:gd name="connsiteX2525" fmla="*/ 1240127 w 1556920"/>
                <a:gd name="connsiteY2525" fmla="*/ 1024677 h 1898459"/>
                <a:gd name="connsiteX2526" fmla="*/ 1237314 w 1556920"/>
                <a:gd name="connsiteY2526" fmla="*/ 1021924 h 1898459"/>
                <a:gd name="connsiteX2527" fmla="*/ 1236981 w 1556920"/>
                <a:gd name="connsiteY2527" fmla="*/ 1021470 h 1898459"/>
                <a:gd name="connsiteX2528" fmla="*/ 1235832 w 1556920"/>
                <a:gd name="connsiteY2528" fmla="*/ 1020683 h 1898459"/>
                <a:gd name="connsiteX2529" fmla="*/ 1235166 w 1556920"/>
                <a:gd name="connsiteY2529" fmla="*/ 1018838 h 1898459"/>
                <a:gd name="connsiteX2530" fmla="*/ 1234712 w 1556920"/>
                <a:gd name="connsiteY2530" fmla="*/ 1016811 h 1898459"/>
                <a:gd name="connsiteX2531" fmla="*/ 1234198 w 1556920"/>
                <a:gd name="connsiteY2531" fmla="*/ 1015359 h 1898459"/>
                <a:gd name="connsiteX2532" fmla="*/ 1233290 w 1556920"/>
                <a:gd name="connsiteY2532" fmla="*/ 1013907 h 1898459"/>
                <a:gd name="connsiteX2533" fmla="*/ 1231627 w 1556920"/>
                <a:gd name="connsiteY2533" fmla="*/ 1009823 h 1898459"/>
                <a:gd name="connsiteX2534" fmla="*/ 1231294 w 1556920"/>
                <a:gd name="connsiteY2534" fmla="*/ 1008492 h 1898459"/>
                <a:gd name="connsiteX2535" fmla="*/ 1231143 w 1556920"/>
                <a:gd name="connsiteY2535" fmla="*/ 1008038 h 1898459"/>
                <a:gd name="connsiteX2536" fmla="*/ 1230780 w 1556920"/>
                <a:gd name="connsiteY2536" fmla="*/ 1007766 h 1898459"/>
                <a:gd name="connsiteX2537" fmla="*/ 1229479 w 1556920"/>
                <a:gd name="connsiteY2537" fmla="*/ 1007222 h 1898459"/>
                <a:gd name="connsiteX2538" fmla="*/ 1229086 w 1556920"/>
                <a:gd name="connsiteY2538" fmla="*/ 1006949 h 1898459"/>
                <a:gd name="connsiteX2539" fmla="*/ 1228722 w 1556920"/>
                <a:gd name="connsiteY2539" fmla="*/ 1005921 h 1898459"/>
                <a:gd name="connsiteX2540" fmla="*/ 1227845 w 1556920"/>
                <a:gd name="connsiteY2540" fmla="*/ 1002472 h 1898459"/>
                <a:gd name="connsiteX2541" fmla="*/ 1227512 w 1556920"/>
                <a:gd name="connsiteY2541" fmla="*/ 998993 h 1898459"/>
                <a:gd name="connsiteX2542" fmla="*/ 1227028 w 1556920"/>
                <a:gd name="connsiteY2542" fmla="*/ 997843 h 1898459"/>
                <a:gd name="connsiteX2543" fmla="*/ 1225304 w 1556920"/>
                <a:gd name="connsiteY2543" fmla="*/ 995363 h 1898459"/>
                <a:gd name="connsiteX2544" fmla="*/ 1224881 w 1556920"/>
                <a:gd name="connsiteY2544" fmla="*/ 993699 h 1898459"/>
                <a:gd name="connsiteX2545" fmla="*/ 1225334 w 1556920"/>
                <a:gd name="connsiteY2545" fmla="*/ 992277 h 1898459"/>
                <a:gd name="connsiteX2546" fmla="*/ 1226000 w 1556920"/>
                <a:gd name="connsiteY2546" fmla="*/ 990886 h 1898459"/>
                <a:gd name="connsiteX2547" fmla="*/ 1226272 w 1556920"/>
                <a:gd name="connsiteY2547" fmla="*/ 989282 h 1898459"/>
                <a:gd name="connsiteX2548" fmla="*/ 1225637 w 1556920"/>
                <a:gd name="connsiteY2548" fmla="*/ 987649 h 1898459"/>
                <a:gd name="connsiteX2549" fmla="*/ 1224639 w 1556920"/>
                <a:gd name="connsiteY2549" fmla="*/ 986772 h 1898459"/>
                <a:gd name="connsiteX2550" fmla="*/ 1224124 w 1556920"/>
                <a:gd name="connsiteY2550" fmla="*/ 985773 h 1898459"/>
                <a:gd name="connsiteX2551" fmla="*/ 1224941 w 1556920"/>
                <a:gd name="connsiteY2551" fmla="*/ 983656 h 1898459"/>
                <a:gd name="connsiteX2552" fmla="*/ 1222642 w 1556920"/>
                <a:gd name="connsiteY2552" fmla="*/ 981296 h 1898459"/>
                <a:gd name="connsiteX2553" fmla="*/ 1221371 w 1556920"/>
                <a:gd name="connsiteY2553" fmla="*/ 979481 h 1898459"/>
                <a:gd name="connsiteX2554" fmla="*/ 1220797 w 1556920"/>
                <a:gd name="connsiteY2554" fmla="*/ 977605 h 1898459"/>
                <a:gd name="connsiteX2555" fmla="*/ 1220585 w 1556920"/>
                <a:gd name="connsiteY2555" fmla="*/ 976547 h 1898459"/>
                <a:gd name="connsiteX2556" fmla="*/ 1220192 w 1556920"/>
                <a:gd name="connsiteY2556" fmla="*/ 975518 h 1898459"/>
                <a:gd name="connsiteX2557" fmla="*/ 1220010 w 1556920"/>
                <a:gd name="connsiteY2557" fmla="*/ 974459 h 1898459"/>
                <a:gd name="connsiteX2558" fmla="*/ 1220434 w 1556920"/>
                <a:gd name="connsiteY2558" fmla="*/ 973249 h 1898459"/>
                <a:gd name="connsiteX2559" fmla="*/ 1220827 w 1556920"/>
                <a:gd name="connsiteY2559" fmla="*/ 972584 h 1898459"/>
                <a:gd name="connsiteX2560" fmla="*/ 1221129 w 1556920"/>
                <a:gd name="connsiteY2560" fmla="*/ 971888 h 1898459"/>
                <a:gd name="connsiteX2561" fmla="*/ 1221341 w 1556920"/>
                <a:gd name="connsiteY2561" fmla="*/ 971132 h 1898459"/>
                <a:gd name="connsiteX2562" fmla="*/ 1221462 w 1556920"/>
                <a:gd name="connsiteY2562" fmla="*/ 970375 h 1898459"/>
                <a:gd name="connsiteX2563" fmla="*/ 1221190 w 1556920"/>
                <a:gd name="connsiteY2563" fmla="*/ 967532 h 1898459"/>
                <a:gd name="connsiteX2564" fmla="*/ 1218709 w 1556920"/>
                <a:gd name="connsiteY2564" fmla="*/ 963357 h 1898459"/>
                <a:gd name="connsiteX2565" fmla="*/ 1218104 w 1556920"/>
                <a:gd name="connsiteY2565" fmla="*/ 959818 h 1898459"/>
                <a:gd name="connsiteX2566" fmla="*/ 1218104 w 1556920"/>
                <a:gd name="connsiteY2566" fmla="*/ 958396 h 1898459"/>
                <a:gd name="connsiteX2567" fmla="*/ 1218225 w 1556920"/>
                <a:gd name="connsiteY2567" fmla="*/ 957518 h 1898459"/>
                <a:gd name="connsiteX2568" fmla="*/ 1218739 w 1556920"/>
                <a:gd name="connsiteY2568" fmla="*/ 954856 h 1898459"/>
                <a:gd name="connsiteX2569" fmla="*/ 1218921 w 1556920"/>
                <a:gd name="connsiteY2569" fmla="*/ 953283 h 1898459"/>
                <a:gd name="connsiteX2570" fmla="*/ 1218558 w 1556920"/>
                <a:gd name="connsiteY2570" fmla="*/ 942362 h 1898459"/>
                <a:gd name="connsiteX2571" fmla="*/ 1218104 w 1556920"/>
                <a:gd name="connsiteY2571" fmla="*/ 940426 h 1898459"/>
                <a:gd name="connsiteX2572" fmla="*/ 1217408 w 1556920"/>
                <a:gd name="connsiteY2572" fmla="*/ 939731 h 1898459"/>
                <a:gd name="connsiteX2573" fmla="*/ 1216410 w 1556920"/>
                <a:gd name="connsiteY2573" fmla="*/ 939186 h 1898459"/>
                <a:gd name="connsiteX2574" fmla="*/ 1215896 w 1556920"/>
                <a:gd name="connsiteY2574" fmla="*/ 938400 h 1898459"/>
                <a:gd name="connsiteX2575" fmla="*/ 1216743 w 1556920"/>
                <a:gd name="connsiteY2575" fmla="*/ 936978 h 1898459"/>
                <a:gd name="connsiteX2576" fmla="*/ 1216743 w 1556920"/>
                <a:gd name="connsiteY2576" fmla="*/ 935858 h 1898459"/>
                <a:gd name="connsiteX2577" fmla="*/ 1214807 w 1556920"/>
                <a:gd name="connsiteY2577" fmla="*/ 934164 h 1898459"/>
                <a:gd name="connsiteX2578" fmla="*/ 1213930 w 1556920"/>
                <a:gd name="connsiteY2578" fmla="*/ 933650 h 1898459"/>
                <a:gd name="connsiteX2579" fmla="*/ 1213930 w 1556920"/>
                <a:gd name="connsiteY2579" fmla="*/ 932531 h 1898459"/>
                <a:gd name="connsiteX2580" fmla="*/ 1215291 w 1556920"/>
                <a:gd name="connsiteY2580" fmla="*/ 931533 h 1898459"/>
                <a:gd name="connsiteX2581" fmla="*/ 1214232 w 1556920"/>
                <a:gd name="connsiteY2581" fmla="*/ 930413 h 1898459"/>
                <a:gd name="connsiteX2582" fmla="*/ 1213536 w 1556920"/>
                <a:gd name="connsiteY2582" fmla="*/ 929233 h 1898459"/>
                <a:gd name="connsiteX2583" fmla="*/ 1213355 w 1556920"/>
                <a:gd name="connsiteY2583" fmla="*/ 928054 h 1898459"/>
                <a:gd name="connsiteX2584" fmla="*/ 1213899 w 1556920"/>
                <a:gd name="connsiteY2584" fmla="*/ 926965 h 1898459"/>
                <a:gd name="connsiteX2585" fmla="*/ 1213899 w 1556920"/>
                <a:gd name="connsiteY2585" fmla="*/ 925845 h 1898459"/>
                <a:gd name="connsiteX2586" fmla="*/ 1207032 w 1556920"/>
                <a:gd name="connsiteY2586" fmla="*/ 921308 h 1898459"/>
                <a:gd name="connsiteX2587" fmla="*/ 1204854 w 1556920"/>
                <a:gd name="connsiteY2587" fmla="*/ 921035 h 1898459"/>
                <a:gd name="connsiteX2588" fmla="*/ 1201315 w 1556920"/>
                <a:gd name="connsiteY2588" fmla="*/ 921973 h 1898459"/>
                <a:gd name="connsiteX2589" fmla="*/ 1200105 w 1556920"/>
                <a:gd name="connsiteY2589" fmla="*/ 921308 h 1898459"/>
                <a:gd name="connsiteX2590" fmla="*/ 1200105 w 1556920"/>
                <a:gd name="connsiteY2590" fmla="*/ 920279 h 1898459"/>
                <a:gd name="connsiteX2591" fmla="*/ 1202131 w 1556920"/>
                <a:gd name="connsiteY2591" fmla="*/ 920279 h 1898459"/>
                <a:gd name="connsiteX2592" fmla="*/ 1201254 w 1556920"/>
                <a:gd name="connsiteY2592" fmla="*/ 917919 h 1898459"/>
                <a:gd name="connsiteX2593" fmla="*/ 1200044 w 1556920"/>
                <a:gd name="connsiteY2593" fmla="*/ 916558 h 1898459"/>
                <a:gd name="connsiteX2594" fmla="*/ 1198774 w 1556920"/>
                <a:gd name="connsiteY2594" fmla="*/ 915953 h 1898459"/>
                <a:gd name="connsiteX2595" fmla="*/ 1197654 w 1556920"/>
                <a:gd name="connsiteY2595" fmla="*/ 915802 h 1898459"/>
                <a:gd name="connsiteX2596" fmla="*/ 1197291 w 1556920"/>
                <a:gd name="connsiteY2596" fmla="*/ 916165 h 1898459"/>
                <a:gd name="connsiteX2597" fmla="*/ 1196837 w 1556920"/>
                <a:gd name="connsiteY2597" fmla="*/ 916981 h 1898459"/>
                <a:gd name="connsiteX2598" fmla="*/ 1196202 w 1556920"/>
                <a:gd name="connsiteY2598" fmla="*/ 917768 h 1898459"/>
                <a:gd name="connsiteX2599" fmla="*/ 1195264 w 1556920"/>
                <a:gd name="connsiteY2599" fmla="*/ 918040 h 1898459"/>
                <a:gd name="connsiteX2600" fmla="*/ 1194750 w 1556920"/>
                <a:gd name="connsiteY2600" fmla="*/ 917466 h 1898459"/>
                <a:gd name="connsiteX2601" fmla="*/ 1194296 w 1556920"/>
                <a:gd name="connsiteY2601" fmla="*/ 916286 h 1898459"/>
                <a:gd name="connsiteX2602" fmla="*/ 1193752 w 1556920"/>
                <a:gd name="connsiteY2602" fmla="*/ 915136 h 1898459"/>
                <a:gd name="connsiteX2603" fmla="*/ 1191574 w 1556920"/>
                <a:gd name="connsiteY2603" fmla="*/ 913714 h 1898459"/>
                <a:gd name="connsiteX2604" fmla="*/ 1190575 w 1556920"/>
                <a:gd name="connsiteY2604" fmla="*/ 911687 h 1898459"/>
                <a:gd name="connsiteX2605" fmla="*/ 1189093 w 1556920"/>
                <a:gd name="connsiteY2605" fmla="*/ 907876 h 1898459"/>
                <a:gd name="connsiteX2606" fmla="*/ 1175813 w 1556920"/>
                <a:gd name="connsiteY2606" fmla="*/ 892115 h 1898459"/>
                <a:gd name="connsiteX2607" fmla="*/ 1174482 w 1556920"/>
                <a:gd name="connsiteY2607" fmla="*/ 889695 h 1898459"/>
                <a:gd name="connsiteX2608" fmla="*/ 1168704 w 1556920"/>
                <a:gd name="connsiteY2608" fmla="*/ 879197 h 1898459"/>
                <a:gd name="connsiteX2609" fmla="*/ 1166768 w 1556920"/>
                <a:gd name="connsiteY2609" fmla="*/ 877141 h 1898459"/>
                <a:gd name="connsiteX2610" fmla="*/ 1164620 w 1556920"/>
                <a:gd name="connsiteY2610" fmla="*/ 876324 h 1898459"/>
                <a:gd name="connsiteX2611" fmla="*/ 1163833 w 1556920"/>
                <a:gd name="connsiteY2611" fmla="*/ 875809 h 1898459"/>
                <a:gd name="connsiteX2612" fmla="*/ 1163591 w 1556920"/>
                <a:gd name="connsiteY2612" fmla="*/ 874599 h 1898459"/>
                <a:gd name="connsiteX2613" fmla="*/ 1163440 w 1556920"/>
                <a:gd name="connsiteY2613" fmla="*/ 873087 h 1898459"/>
                <a:gd name="connsiteX2614" fmla="*/ 1162895 w 1556920"/>
                <a:gd name="connsiteY2614" fmla="*/ 871725 h 1898459"/>
                <a:gd name="connsiteX2615" fmla="*/ 1161988 w 1556920"/>
                <a:gd name="connsiteY2615" fmla="*/ 871272 h 1898459"/>
                <a:gd name="connsiteX2616" fmla="*/ 1145803 w 1556920"/>
                <a:gd name="connsiteY2616" fmla="*/ 868368 h 1898459"/>
                <a:gd name="connsiteX2617" fmla="*/ 1141477 w 1556920"/>
                <a:gd name="connsiteY2617" fmla="*/ 866190 h 1898459"/>
                <a:gd name="connsiteX2618" fmla="*/ 1135094 w 1556920"/>
                <a:gd name="connsiteY2618" fmla="*/ 861198 h 1898459"/>
                <a:gd name="connsiteX2619" fmla="*/ 1131252 w 1556920"/>
                <a:gd name="connsiteY2619" fmla="*/ 860048 h 1898459"/>
                <a:gd name="connsiteX2620" fmla="*/ 1127169 w 1556920"/>
                <a:gd name="connsiteY2620" fmla="*/ 857356 h 1898459"/>
                <a:gd name="connsiteX2621" fmla="*/ 1125686 w 1556920"/>
                <a:gd name="connsiteY2621" fmla="*/ 855934 h 1898459"/>
                <a:gd name="connsiteX2622" fmla="*/ 1125021 w 1556920"/>
                <a:gd name="connsiteY2622" fmla="*/ 856660 h 1898459"/>
                <a:gd name="connsiteX2623" fmla="*/ 1123992 w 1556920"/>
                <a:gd name="connsiteY2623" fmla="*/ 857537 h 1898459"/>
                <a:gd name="connsiteX2624" fmla="*/ 1123569 w 1556920"/>
                <a:gd name="connsiteY2624" fmla="*/ 858203 h 1898459"/>
                <a:gd name="connsiteX2625" fmla="*/ 1122056 w 1556920"/>
                <a:gd name="connsiteY2625" fmla="*/ 857205 h 1898459"/>
                <a:gd name="connsiteX2626" fmla="*/ 1119485 w 1556920"/>
                <a:gd name="connsiteY2626" fmla="*/ 857658 h 1898459"/>
                <a:gd name="connsiteX2627" fmla="*/ 1118063 w 1556920"/>
                <a:gd name="connsiteY2627" fmla="*/ 857205 h 1898459"/>
                <a:gd name="connsiteX2628" fmla="*/ 1118607 w 1556920"/>
                <a:gd name="connsiteY2628" fmla="*/ 856328 h 1898459"/>
                <a:gd name="connsiteX2629" fmla="*/ 1119515 w 1556920"/>
                <a:gd name="connsiteY2629" fmla="*/ 853605 h 1898459"/>
                <a:gd name="connsiteX2630" fmla="*/ 1117700 w 1556920"/>
                <a:gd name="connsiteY2630" fmla="*/ 852546 h 1898459"/>
                <a:gd name="connsiteX2631" fmla="*/ 1114826 w 1556920"/>
                <a:gd name="connsiteY2631" fmla="*/ 848885 h 1898459"/>
                <a:gd name="connsiteX2632" fmla="*/ 1112890 w 1556920"/>
                <a:gd name="connsiteY2632" fmla="*/ 848069 h 1898459"/>
                <a:gd name="connsiteX2633" fmla="*/ 1096009 w 1556920"/>
                <a:gd name="connsiteY2633" fmla="*/ 846949 h 1898459"/>
                <a:gd name="connsiteX2634" fmla="*/ 1093952 w 1556920"/>
                <a:gd name="connsiteY2634" fmla="*/ 847796 h 1898459"/>
                <a:gd name="connsiteX2635" fmla="*/ 1090957 w 1556920"/>
                <a:gd name="connsiteY2635" fmla="*/ 851094 h 1898459"/>
                <a:gd name="connsiteX2636" fmla="*/ 1089142 w 1556920"/>
                <a:gd name="connsiteY2636" fmla="*/ 852606 h 1898459"/>
                <a:gd name="connsiteX2637" fmla="*/ 1089596 w 1556920"/>
                <a:gd name="connsiteY2637" fmla="*/ 853272 h 1898459"/>
                <a:gd name="connsiteX2638" fmla="*/ 1089868 w 1556920"/>
                <a:gd name="connsiteY2638" fmla="*/ 853998 h 1898459"/>
                <a:gd name="connsiteX2639" fmla="*/ 1090443 w 1556920"/>
                <a:gd name="connsiteY2639" fmla="*/ 855995 h 1898459"/>
                <a:gd name="connsiteX2640" fmla="*/ 1087932 w 1556920"/>
                <a:gd name="connsiteY2640" fmla="*/ 856267 h 1898459"/>
                <a:gd name="connsiteX2641" fmla="*/ 1086208 w 1556920"/>
                <a:gd name="connsiteY2641" fmla="*/ 858294 h 1898459"/>
                <a:gd name="connsiteX2642" fmla="*/ 1084544 w 1556920"/>
                <a:gd name="connsiteY2642" fmla="*/ 860865 h 1898459"/>
                <a:gd name="connsiteX2643" fmla="*/ 1082215 w 1556920"/>
                <a:gd name="connsiteY2643" fmla="*/ 862741 h 1898459"/>
                <a:gd name="connsiteX2644" fmla="*/ 1074592 w 1556920"/>
                <a:gd name="connsiteY2644" fmla="*/ 865856 h 1898459"/>
                <a:gd name="connsiteX2645" fmla="*/ 1068299 w 1556920"/>
                <a:gd name="connsiteY2645" fmla="*/ 866462 h 1898459"/>
                <a:gd name="connsiteX2646" fmla="*/ 1067059 w 1556920"/>
                <a:gd name="connsiteY2646" fmla="*/ 866250 h 1898459"/>
                <a:gd name="connsiteX2647" fmla="*/ 1066454 w 1556920"/>
                <a:gd name="connsiteY2647" fmla="*/ 865615 h 1898459"/>
                <a:gd name="connsiteX2648" fmla="*/ 1064639 w 1556920"/>
                <a:gd name="connsiteY2648" fmla="*/ 863285 h 1898459"/>
                <a:gd name="connsiteX2649" fmla="*/ 1063943 w 1556920"/>
                <a:gd name="connsiteY2649" fmla="*/ 862771 h 1898459"/>
                <a:gd name="connsiteX2650" fmla="*/ 1045671 w 1556920"/>
                <a:gd name="connsiteY2650" fmla="*/ 861410 h 1898459"/>
                <a:gd name="connsiteX2651" fmla="*/ 1043947 w 1556920"/>
                <a:gd name="connsiteY2651" fmla="*/ 860018 h 1898459"/>
                <a:gd name="connsiteX2652" fmla="*/ 1042888 w 1556920"/>
                <a:gd name="connsiteY2652" fmla="*/ 858687 h 1898459"/>
                <a:gd name="connsiteX2653" fmla="*/ 1041890 w 1556920"/>
                <a:gd name="connsiteY2653" fmla="*/ 858627 h 1898459"/>
                <a:gd name="connsiteX2654" fmla="*/ 1040135 w 1556920"/>
                <a:gd name="connsiteY2654" fmla="*/ 859413 h 1898459"/>
                <a:gd name="connsiteX2655" fmla="*/ 1035386 w 1556920"/>
                <a:gd name="connsiteY2655" fmla="*/ 859413 h 1898459"/>
                <a:gd name="connsiteX2656" fmla="*/ 1018082 w 1556920"/>
                <a:gd name="connsiteY2656" fmla="*/ 854905 h 1898459"/>
                <a:gd name="connsiteX2657" fmla="*/ 1015843 w 1556920"/>
                <a:gd name="connsiteY2657" fmla="*/ 854905 h 1898459"/>
                <a:gd name="connsiteX2658" fmla="*/ 1010156 w 1556920"/>
                <a:gd name="connsiteY2658" fmla="*/ 856055 h 1898459"/>
                <a:gd name="connsiteX2659" fmla="*/ 1008946 w 1556920"/>
                <a:gd name="connsiteY2659" fmla="*/ 855631 h 1898459"/>
                <a:gd name="connsiteX2660" fmla="*/ 1008311 w 1556920"/>
                <a:gd name="connsiteY2660" fmla="*/ 854633 h 1898459"/>
                <a:gd name="connsiteX2661" fmla="*/ 1007827 w 1556920"/>
                <a:gd name="connsiteY2661" fmla="*/ 853514 h 1898459"/>
                <a:gd name="connsiteX2662" fmla="*/ 1007101 w 1556920"/>
                <a:gd name="connsiteY2662" fmla="*/ 852637 h 1898459"/>
                <a:gd name="connsiteX2663" fmla="*/ 1006405 w 1556920"/>
                <a:gd name="connsiteY2663" fmla="*/ 852546 h 1898459"/>
                <a:gd name="connsiteX2664" fmla="*/ 1004469 w 1556920"/>
                <a:gd name="connsiteY2664" fmla="*/ 852909 h 1898459"/>
                <a:gd name="connsiteX2665" fmla="*/ 1003591 w 1556920"/>
                <a:gd name="connsiteY2665" fmla="*/ 852637 h 1898459"/>
                <a:gd name="connsiteX2666" fmla="*/ 1003077 w 1556920"/>
                <a:gd name="connsiteY2666" fmla="*/ 851427 h 1898459"/>
                <a:gd name="connsiteX2667" fmla="*/ 999598 w 1556920"/>
                <a:gd name="connsiteY2667" fmla="*/ 845740 h 1898459"/>
                <a:gd name="connsiteX2668" fmla="*/ 998751 w 1556920"/>
                <a:gd name="connsiteY2668" fmla="*/ 845286 h 1898459"/>
                <a:gd name="connsiteX2669" fmla="*/ 997904 w 1556920"/>
                <a:gd name="connsiteY2669" fmla="*/ 844015 h 1898459"/>
                <a:gd name="connsiteX2670" fmla="*/ 991884 w 1556920"/>
                <a:gd name="connsiteY2670" fmla="*/ 840113 h 1898459"/>
                <a:gd name="connsiteX2671" fmla="*/ 991884 w 1556920"/>
                <a:gd name="connsiteY2671" fmla="*/ 839084 h 1898459"/>
                <a:gd name="connsiteX2672" fmla="*/ 993941 w 1556920"/>
                <a:gd name="connsiteY2672" fmla="*/ 839145 h 1898459"/>
                <a:gd name="connsiteX2673" fmla="*/ 995333 w 1556920"/>
                <a:gd name="connsiteY2673" fmla="*/ 839992 h 1898459"/>
                <a:gd name="connsiteX2674" fmla="*/ 997450 w 1556920"/>
                <a:gd name="connsiteY2674" fmla="*/ 842472 h 1898459"/>
                <a:gd name="connsiteX2675" fmla="*/ 1001050 w 1556920"/>
                <a:gd name="connsiteY2675" fmla="*/ 845679 h 1898459"/>
                <a:gd name="connsiteX2676" fmla="*/ 1001141 w 1556920"/>
                <a:gd name="connsiteY2676" fmla="*/ 845770 h 1898459"/>
                <a:gd name="connsiteX2677" fmla="*/ 1004711 w 1556920"/>
                <a:gd name="connsiteY2677" fmla="*/ 848099 h 1898459"/>
                <a:gd name="connsiteX2678" fmla="*/ 1008583 w 1556920"/>
                <a:gd name="connsiteY2678" fmla="*/ 849309 h 1898459"/>
                <a:gd name="connsiteX2679" fmla="*/ 1017537 w 1556920"/>
                <a:gd name="connsiteY2679" fmla="*/ 849158 h 1898459"/>
                <a:gd name="connsiteX2680" fmla="*/ 1033812 w 1556920"/>
                <a:gd name="connsiteY2680" fmla="*/ 853605 h 1898459"/>
                <a:gd name="connsiteX2681" fmla="*/ 1037745 w 1556920"/>
                <a:gd name="connsiteY2681" fmla="*/ 853847 h 1898459"/>
                <a:gd name="connsiteX2682" fmla="*/ 1041678 w 1556920"/>
                <a:gd name="connsiteY2682" fmla="*/ 853212 h 1898459"/>
                <a:gd name="connsiteX2683" fmla="*/ 1045671 w 1556920"/>
                <a:gd name="connsiteY2683" fmla="*/ 851487 h 1898459"/>
                <a:gd name="connsiteX2684" fmla="*/ 1049150 w 1556920"/>
                <a:gd name="connsiteY2684" fmla="*/ 849279 h 1898459"/>
                <a:gd name="connsiteX2685" fmla="*/ 1051147 w 1556920"/>
                <a:gd name="connsiteY2685" fmla="*/ 848432 h 1898459"/>
                <a:gd name="connsiteX2686" fmla="*/ 1058195 w 1556920"/>
                <a:gd name="connsiteY2686" fmla="*/ 848069 h 1898459"/>
                <a:gd name="connsiteX2687" fmla="*/ 1059678 w 1556920"/>
                <a:gd name="connsiteY2687" fmla="*/ 847131 h 1898459"/>
                <a:gd name="connsiteX2688" fmla="*/ 1060827 w 1556920"/>
                <a:gd name="connsiteY2688" fmla="*/ 844711 h 1898459"/>
                <a:gd name="connsiteX2689" fmla="*/ 1062219 w 1556920"/>
                <a:gd name="connsiteY2689" fmla="*/ 839145 h 1898459"/>
                <a:gd name="connsiteX2690" fmla="*/ 1063308 w 1556920"/>
                <a:gd name="connsiteY2690" fmla="*/ 837390 h 1898459"/>
                <a:gd name="connsiteX2691" fmla="*/ 1065335 w 1556920"/>
                <a:gd name="connsiteY2691" fmla="*/ 836724 h 1898459"/>
                <a:gd name="connsiteX2692" fmla="*/ 1066998 w 1556920"/>
                <a:gd name="connsiteY2692" fmla="*/ 835817 h 1898459"/>
                <a:gd name="connsiteX2693" fmla="*/ 1072595 w 1556920"/>
                <a:gd name="connsiteY2693" fmla="*/ 829918 h 1898459"/>
                <a:gd name="connsiteX2694" fmla="*/ 1077949 w 1556920"/>
                <a:gd name="connsiteY2694" fmla="*/ 826379 h 1898459"/>
                <a:gd name="connsiteX2695" fmla="*/ 1078736 w 1556920"/>
                <a:gd name="connsiteY2695" fmla="*/ 824866 h 1898459"/>
                <a:gd name="connsiteX2696" fmla="*/ 1079764 w 1556920"/>
                <a:gd name="connsiteY2696" fmla="*/ 823656 h 1898459"/>
                <a:gd name="connsiteX2697" fmla="*/ 1082215 w 1556920"/>
                <a:gd name="connsiteY2697" fmla="*/ 823021 h 1898459"/>
                <a:gd name="connsiteX2698" fmla="*/ 1087055 w 1556920"/>
                <a:gd name="connsiteY2698" fmla="*/ 823111 h 1898459"/>
                <a:gd name="connsiteX2699" fmla="*/ 1093226 w 1556920"/>
                <a:gd name="connsiteY2699" fmla="*/ 826136 h 1898459"/>
                <a:gd name="connsiteX2700" fmla="*/ 1095707 w 1556920"/>
                <a:gd name="connsiteY2700" fmla="*/ 826530 h 1898459"/>
                <a:gd name="connsiteX2701" fmla="*/ 1097976 w 1556920"/>
                <a:gd name="connsiteY2701" fmla="*/ 825925 h 1898459"/>
                <a:gd name="connsiteX2702" fmla="*/ 1104359 w 1556920"/>
                <a:gd name="connsiteY2702" fmla="*/ 821901 h 1898459"/>
                <a:gd name="connsiteX2703" fmla="*/ 1109199 w 1556920"/>
                <a:gd name="connsiteY2703" fmla="*/ 820873 h 1898459"/>
                <a:gd name="connsiteX2704" fmla="*/ 1111589 w 1556920"/>
                <a:gd name="connsiteY2704" fmla="*/ 819814 h 1898459"/>
                <a:gd name="connsiteX2705" fmla="*/ 1113434 w 1556920"/>
                <a:gd name="connsiteY2705" fmla="*/ 816517 h 1898459"/>
                <a:gd name="connsiteX2706" fmla="*/ 1118789 w 1556920"/>
                <a:gd name="connsiteY2706" fmla="*/ 811646 h 1898459"/>
                <a:gd name="connsiteX2707" fmla="*/ 1118789 w 1556920"/>
                <a:gd name="connsiteY2707" fmla="*/ 810618 h 1898459"/>
                <a:gd name="connsiteX2708" fmla="*/ 1115128 w 1556920"/>
                <a:gd name="connsiteY2708" fmla="*/ 807622 h 1898459"/>
                <a:gd name="connsiteX2709" fmla="*/ 1114312 w 1556920"/>
                <a:gd name="connsiteY2709" fmla="*/ 807199 h 1898459"/>
                <a:gd name="connsiteX2710" fmla="*/ 1110893 w 1556920"/>
                <a:gd name="connsiteY2710" fmla="*/ 804234 h 1898459"/>
                <a:gd name="connsiteX2711" fmla="*/ 1108685 w 1556920"/>
                <a:gd name="connsiteY2711" fmla="*/ 803176 h 1898459"/>
                <a:gd name="connsiteX2712" fmla="*/ 1099488 w 1556920"/>
                <a:gd name="connsiteY2712" fmla="*/ 802510 h 1898459"/>
                <a:gd name="connsiteX2713" fmla="*/ 1098823 w 1556920"/>
                <a:gd name="connsiteY2713" fmla="*/ 801330 h 1898459"/>
                <a:gd name="connsiteX2714" fmla="*/ 1098067 w 1556920"/>
                <a:gd name="connsiteY2714" fmla="*/ 800967 h 1898459"/>
                <a:gd name="connsiteX2715" fmla="*/ 1097189 w 1556920"/>
                <a:gd name="connsiteY2715" fmla="*/ 800816 h 1898459"/>
                <a:gd name="connsiteX2716" fmla="*/ 1096040 w 1556920"/>
                <a:gd name="connsiteY2716" fmla="*/ 800332 h 1898459"/>
                <a:gd name="connsiteX2717" fmla="*/ 1095858 w 1556920"/>
                <a:gd name="connsiteY2717" fmla="*/ 799697 h 1898459"/>
                <a:gd name="connsiteX2718" fmla="*/ 1095405 w 1556920"/>
                <a:gd name="connsiteY2718" fmla="*/ 797397 h 1898459"/>
                <a:gd name="connsiteX2719" fmla="*/ 1095042 w 1556920"/>
                <a:gd name="connsiteY2719" fmla="*/ 796883 h 1898459"/>
                <a:gd name="connsiteX2720" fmla="*/ 1092561 w 1556920"/>
                <a:gd name="connsiteY2720" fmla="*/ 796883 h 1898459"/>
                <a:gd name="connsiteX2721" fmla="*/ 1094164 w 1556920"/>
                <a:gd name="connsiteY2721" fmla="*/ 795159 h 1898459"/>
                <a:gd name="connsiteX2722" fmla="*/ 1095525 w 1556920"/>
                <a:gd name="connsiteY2722" fmla="*/ 792678 h 1898459"/>
                <a:gd name="connsiteX2723" fmla="*/ 1096251 w 1556920"/>
                <a:gd name="connsiteY2723" fmla="*/ 789714 h 1898459"/>
                <a:gd name="connsiteX2724" fmla="*/ 1096070 w 1556920"/>
                <a:gd name="connsiteY2724" fmla="*/ 786537 h 1898459"/>
                <a:gd name="connsiteX2725" fmla="*/ 1094860 w 1556920"/>
                <a:gd name="connsiteY2725" fmla="*/ 784450 h 1898459"/>
                <a:gd name="connsiteX2726" fmla="*/ 1091320 w 1556920"/>
                <a:gd name="connsiteY2726" fmla="*/ 784178 h 1898459"/>
                <a:gd name="connsiteX2727" fmla="*/ 1089536 w 1556920"/>
                <a:gd name="connsiteY2727" fmla="*/ 782544 h 1898459"/>
                <a:gd name="connsiteX2728" fmla="*/ 1087811 w 1556920"/>
                <a:gd name="connsiteY2728" fmla="*/ 781515 h 1898459"/>
                <a:gd name="connsiteX2729" fmla="*/ 1085391 w 1556920"/>
                <a:gd name="connsiteY2729" fmla="*/ 781879 h 1898459"/>
                <a:gd name="connsiteX2730" fmla="*/ 1083213 w 1556920"/>
                <a:gd name="connsiteY2730" fmla="*/ 783149 h 1898459"/>
                <a:gd name="connsiteX2731" fmla="*/ 1082275 w 1556920"/>
                <a:gd name="connsiteY2731" fmla="*/ 784753 h 1898459"/>
                <a:gd name="connsiteX2732" fmla="*/ 1081217 w 1556920"/>
                <a:gd name="connsiteY2732" fmla="*/ 785872 h 1898459"/>
                <a:gd name="connsiteX2733" fmla="*/ 1061160 w 1556920"/>
                <a:gd name="connsiteY2733" fmla="*/ 795280 h 1898459"/>
                <a:gd name="connsiteX2734" fmla="*/ 1057257 w 1556920"/>
                <a:gd name="connsiteY2734" fmla="*/ 796188 h 1898459"/>
                <a:gd name="connsiteX2735" fmla="*/ 1052992 w 1556920"/>
                <a:gd name="connsiteY2735" fmla="*/ 798547 h 1898459"/>
                <a:gd name="connsiteX2736" fmla="*/ 1050874 w 1556920"/>
                <a:gd name="connsiteY2736" fmla="*/ 799061 h 1898459"/>
                <a:gd name="connsiteX2737" fmla="*/ 1046609 w 1556920"/>
                <a:gd name="connsiteY2737" fmla="*/ 799061 h 1898459"/>
                <a:gd name="connsiteX2738" fmla="*/ 1044854 w 1556920"/>
                <a:gd name="connsiteY2738" fmla="*/ 798457 h 1898459"/>
                <a:gd name="connsiteX2739" fmla="*/ 1043644 w 1556920"/>
                <a:gd name="connsiteY2739" fmla="*/ 796883 h 1898459"/>
                <a:gd name="connsiteX2740" fmla="*/ 1048000 w 1556920"/>
                <a:gd name="connsiteY2740" fmla="*/ 798214 h 1898459"/>
                <a:gd name="connsiteX2741" fmla="*/ 1052236 w 1556920"/>
                <a:gd name="connsiteY2741" fmla="*/ 796581 h 1898459"/>
                <a:gd name="connsiteX2742" fmla="*/ 1062733 w 1556920"/>
                <a:gd name="connsiteY2742" fmla="*/ 786689 h 1898459"/>
                <a:gd name="connsiteX2743" fmla="*/ 1066212 w 1556920"/>
                <a:gd name="connsiteY2743" fmla="*/ 784178 h 1898459"/>
                <a:gd name="connsiteX2744" fmla="*/ 1070114 w 1556920"/>
                <a:gd name="connsiteY2744" fmla="*/ 782544 h 1898459"/>
                <a:gd name="connsiteX2745" fmla="*/ 1070598 w 1556920"/>
                <a:gd name="connsiteY2745" fmla="*/ 782484 h 1898459"/>
                <a:gd name="connsiteX2746" fmla="*/ 1094376 w 1556920"/>
                <a:gd name="connsiteY2746" fmla="*/ 779277 h 1898459"/>
                <a:gd name="connsiteX2747" fmla="*/ 1099851 w 1556920"/>
                <a:gd name="connsiteY2747" fmla="*/ 778521 h 1898459"/>
                <a:gd name="connsiteX2748" fmla="*/ 1101122 w 1556920"/>
                <a:gd name="connsiteY2748" fmla="*/ 778884 h 1898459"/>
                <a:gd name="connsiteX2749" fmla="*/ 1101908 w 1556920"/>
                <a:gd name="connsiteY2749" fmla="*/ 779580 h 1898459"/>
                <a:gd name="connsiteX2750" fmla="*/ 1102634 w 1556920"/>
                <a:gd name="connsiteY2750" fmla="*/ 780003 h 1898459"/>
                <a:gd name="connsiteX2751" fmla="*/ 1103603 w 1556920"/>
                <a:gd name="connsiteY2751" fmla="*/ 779580 h 1898459"/>
                <a:gd name="connsiteX2752" fmla="*/ 1105508 w 1556920"/>
                <a:gd name="connsiteY2752" fmla="*/ 775163 h 1898459"/>
                <a:gd name="connsiteX2753" fmla="*/ 1106416 w 1556920"/>
                <a:gd name="connsiteY2753" fmla="*/ 773892 h 1898459"/>
                <a:gd name="connsiteX2754" fmla="*/ 1110288 w 1556920"/>
                <a:gd name="connsiteY2754" fmla="*/ 772107 h 1898459"/>
                <a:gd name="connsiteX2755" fmla="*/ 1112345 w 1556920"/>
                <a:gd name="connsiteY2755" fmla="*/ 770746 h 1898459"/>
                <a:gd name="connsiteX2756" fmla="*/ 1114070 w 1556920"/>
                <a:gd name="connsiteY2756" fmla="*/ 767237 h 1898459"/>
                <a:gd name="connsiteX2757" fmla="*/ 1123508 w 1556920"/>
                <a:gd name="connsiteY2757" fmla="*/ 760975 h 1898459"/>
                <a:gd name="connsiteX2758" fmla="*/ 1125081 w 1556920"/>
                <a:gd name="connsiteY2758" fmla="*/ 759160 h 1898459"/>
                <a:gd name="connsiteX2759" fmla="*/ 1126140 w 1556920"/>
                <a:gd name="connsiteY2759" fmla="*/ 756256 h 1898459"/>
                <a:gd name="connsiteX2760" fmla="*/ 1127925 w 1556920"/>
                <a:gd name="connsiteY2760" fmla="*/ 754441 h 1898459"/>
                <a:gd name="connsiteX2761" fmla="*/ 1128469 w 1556920"/>
                <a:gd name="connsiteY2761" fmla="*/ 753291 h 1898459"/>
                <a:gd name="connsiteX2762" fmla="*/ 1128409 w 1556920"/>
                <a:gd name="connsiteY2762" fmla="*/ 752293 h 1898459"/>
                <a:gd name="connsiteX2763" fmla="*/ 1127773 w 1556920"/>
                <a:gd name="connsiteY2763" fmla="*/ 749994 h 1898459"/>
                <a:gd name="connsiteX2764" fmla="*/ 1127773 w 1556920"/>
                <a:gd name="connsiteY2764" fmla="*/ 748662 h 1898459"/>
                <a:gd name="connsiteX2765" fmla="*/ 1128802 w 1556920"/>
                <a:gd name="connsiteY2765" fmla="*/ 746182 h 1898459"/>
                <a:gd name="connsiteX2766" fmla="*/ 1130194 w 1556920"/>
                <a:gd name="connsiteY2766" fmla="*/ 744488 h 1898459"/>
                <a:gd name="connsiteX2767" fmla="*/ 1131404 w 1556920"/>
                <a:gd name="connsiteY2767" fmla="*/ 742431 h 1898459"/>
                <a:gd name="connsiteX2768" fmla="*/ 1132493 w 1556920"/>
                <a:gd name="connsiteY2768" fmla="*/ 735049 h 1898459"/>
                <a:gd name="connsiteX2769" fmla="*/ 1132977 w 1556920"/>
                <a:gd name="connsiteY2769" fmla="*/ 734112 h 1898459"/>
                <a:gd name="connsiteX2770" fmla="*/ 1133945 w 1556920"/>
                <a:gd name="connsiteY2770" fmla="*/ 732266 h 1898459"/>
                <a:gd name="connsiteX2771" fmla="*/ 1135730 w 1556920"/>
                <a:gd name="connsiteY2771" fmla="*/ 730300 h 1898459"/>
                <a:gd name="connsiteX2772" fmla="*/ 1137424 w 1556920"/>
                <a:gd name="connsiteY2772" fmla="*/ 728909 h 1898459"/>
                <a:gd name="connsiteX2773" fmla="*/ 1143051 w 1556920"/>
                <a:gd name="connsiteY2773" fmla="*/ 725581 h 1898459"/>
                <a:gd name="connsiteX2774" fmla="*/ 1144684 w 1556920"/>
                <a:gd name="connsiteY2774" fmla="*/ 723766 h 1898459"/>
                <a:gd name="connsiteX2775" fmla="*/ 1147104 w 1556920"/>
                <a:gd name="connsiteY2775" fmla="*/ 719773 h 1898459"/>
                <a:gd name="connsiteX2776" fmla="*/ 1149797 w 1556920"/>
                <a:gd name="connsiteY2776" fmla="*/ 716233 h 1898459"/>
                <a:gd name="connsiteX2777" fmla="*/ 1153245 w 1556920"/>
                <a:gd name="connsiteY2777" fmla="*/ 713692 h 1898459"/>
                <a:gd name="connsiteX2778" fmla="*/ 1154728 w 1556920"/>
                <a:gd name="connsiteY2778" fmla="*/ 711786 h 1898459"/>
                <a:gd name="connsiteX2779" fmla="*/ 1155363 w 1556920"/>
                <a:gd name="connsiteY2779" fmla="*/ 708731 h 1898459"/>
                <a:gd name="connsiteX2780" fmla="*/ 1155756 w 1556920"/>
                <a:gd name="connsiteY2780" fmla="*/ 707853 h 1898459"/>
                <a:gd name="connsiteX2781" fmla="*/ 1157601 w 1556920"/>
                <a:gd name="connsiteY2781" fmla="*/ 705645 h 1898459"/>
                <a:gd name="connsiteX2782" fmla="*/ 1158085 w 1556920"/>
                <a:gd name="connsiteY2782" fmla="*/ 704677 h 1898459"/>
                <a:gd name="connsiteX2783" fmla="*/ 1158085 w 1556920"/>
                <a:gd name="connsiteY2783" fmla="*/ 702620 h 1898459"/>
                <a:gd name="connsiteX2784" fmla="*/ 1157601 w 1556920"/>
                <a:gd name="connsiteY2784" fmla="*/ 701380 h 1898459"/>
                <a:gd name="connsiteX2785" fmla="*/ 1157027 w 1556920"/>
                <a:gd name="connsiteY2785" fmla="*/ 700351 h 1898459"/>
                <a:gd name="connsiteX2786" fmla="*/ 1156724 w 1556920"/>
                <a:gd name="connsiteY2786" fmla="*/ 698929 h 1898459"/>
                <a:gd name="connsiteX2787" fmla="*/ 1158055 w 1556920"/>
                <a:gd name="connsiteY2787" fmla="*/ 692818 h 1898459"/>
                <a:gd name="connsiteX2788" fmla="*/ 1161141 w 1556920"/>
                <a:gd name="connsiteY2788" fmla="*/ 686708 h 1898459"/>
                <a:gd name="connsiteX2789" fmla="*/ 1170216 w 1556920"/>
                <a:gd name="connsiteY2789" fmla="*/ 673246 h 1898459"/>
                <a:gd name="connsiteX2790" fmla="*/ 1170277 w 1556920"/>
                <a:gd name="connsiteY2790" fmla="*/ 673125 h 1898459"/>
                <a:gd name="connsiteX2791" fmla="*/ 1171880 w 1556920"/>
                <a:gd name="connsiteY2791" fmla="*/ 670009 h 1898459"/>
                <a:gd name="connsiteX2792" fmla="*/ 1171578 w 1556920"/>
                <a:gd name="connsiteY2792" fmla="*/ 668557 h 1898459"/>
                <a:gd name="connsiteX2793" fmla="*/ 1169672 w 1556920"/>
                <a:gd name="connsiteY2793" fmla="*/ 667165 h 1898459"/>
                <a:gd name="connsiteX2794" fmla="*/ 1169399 w 1556920"/>
                <a:gd name="connsiteY2794" fmla="*/ 663989 h 1898459"/>
                <a:gd name="connsiteX2795" fmla="*/ 1169974 w 1556920"/>
                <a:gd name="connsiteY2795" fmla="*/ 660510 h 1898459"/>
                <a:gd name="connsiteX2796" fmla="*/ 1172364 w 1556920"/>
                <a:gd name="connsiteY2796" fmla="*/ 651646 h 1898459"/>
                <a:gd name="connsiteX2797" fmla="*/ 1178838 w 1556920"/>
                <a:gd name="connsiteY2797" fmla="*/ 635795 h 1898459"/>
                <a:gd name="connsiteX2798" fmla="*/ 1181440 w 1556920"/>
                <a:gd name="connsiteY2798" fmla="*/ 632043 h 1898459"/>
                <a:gd name="connsiteX2799" fmla="*/ 1191967 w 1556920"/>
                <a:gd name="connsiteY2799" fmla="*/ 622907 h 1898459"/>
                <a:gd name="connsiteX2800" fmla="*/ 1192209 w 1556920"/>
                <a:gd name="connsiteY2800" fmla="*/ 620548 h 1898459"/>
                <a:gd name="connsiteX2801" fmla="*/ 1193964 w 1556920"/>
                <a:gd name="connsiteY2801" fmla="*/ 617462 h 1898459"/>
                <a:gd name="connsiteX2802" fmla="*/ 1198078 w 1556920"/>
                <a:gd name="connsiteY2802" fmla="*/ 612259 h 1898459"/>
                <a:gd name="connsiteX2803" fmla="*/ 1200407 w 1556920"/>
                <a:gd name="connsiteY2803" fmla="*/ 610353 h 1898459"/>
                <a:gd name="connsiteX2804" fmla="*/ 1201073 w 1556920"/>
                <a:gd name="connsiteY2804" fmla="*/ 609294 h 1898459"/>
                <a:gd name="connsiteX2805" fmla="*/ 1199832 w 1556920"/>
                <a:gd name="connsiteY2805" fmla="*/ 608840 h 1898459"/>
                <a:gd name="connsiteX2806" fmla="*/ 1198864 w 1556920"/>
                <a:gd name="connsiteY2806" fmla="*/ 608145 h 1898459"/>
                <a:gd name="connsiteX2807" fmla="*/ 1198774 w 1556920"/>
                <a:gd name="connsiteY2807" fmla="*/ 606662 h 1898459"/>
                <a:gd name="connsiteX2808" fmla="*/ 1199469 w 1556920"/>
                <a:gd name="connsiteY2808" fmla="*/ 605362 h 1898459"/>
                <a:gd name="connsiteX2809" fmla="*/ 1200891 w 1556920"/>
                <a:gd name="connsiteY2809" fmla="*/ 605210 h 1898459"/>
                <a:gd name="connsiteX2810" fmla="*/ 1198048 w 1556920"/>
                <a:gd name="connsiteY2810" fmla="*/ 602215 h 1898459"/>
                <a:gd name="connsiteX2811" fmla="*/ 1196989 w 1556920"/>
                <a:gd name="connsiteY2811" fmla="*/ 600309 h 1898459"/>
                <a:gd name="connsiteX2812" fmla="*/ 1197382 w 1556920"/>
                <a:gd name="connsiteY2812" fmla="*/ 598162 h 1898459"/>
                <a:gd name="connsiteX2813" fmla="*/ 1197382 w 1556920"/>
                <a:gd name="connsiteY2813" fmla="*/ 597103 h 1898459"/>
                <a:gd name="connsiteX2814" fmla="*/ 1195839 w 1556920"/>
                <a:gd name="connsiteY2814" fmla="*/ 594350 h 1898459"/>
                <a:gd name="connsiteX2815" fmla="*/ 1195264 w 1556920"/>
                <a:gd name="connsiteY2815" fmla="*/ 591295 h 1898459"/>
                <a:gd name="connsiteX2816" fmla="*/ 1194901 w 1556920"/>
                <a:gd name="connsiteY2816" fmla="*/ 588149 h 1898459"/>
                <a:gd name="connsiteX2817" fmla="*/ 1193994 w 1556920"/>
                <a:gd name="connsiteY2817" fmla="*/ 585184 h 1898459"/>
                <a:gd name="connsiteX2818" fmla="*/ 1185463 w 1556920"/>
                <a:gd name="connsiteY2818" fmla="*/ 576320 h 1898459"/>
                <a:gd name="connsiteX2819" fmla="*/ 1184313 w 1556920"/>
                <a:gd name="connsiteY2819" fmla="*/ 573991 h 1898459"/>
                <a:gd name="connsiteX2820" fmla="*/ 1183618 w 1556920"/>
                <a:gd name="connsiteY2820" fmla="*/ 573265 h 1898459"/>
                <a:gd name="connsiteX2821" fmla="*/ 1182407 w 1556920"/>
                <a:gd name="connsiteY2821" fmla="*/ 573265 h 1898459"/>
                <a:gd name="connsiteX2822" fmla="*/ 1180744 w 1556920"/>
                <a:gd name="connsiteY2822" fmla="*/ 574596 h 1898459"/>
                <a:gd name="connsiteX2823" fmla="*/ 1179503 w 1556920"/>
                <a:gd name="connsiteY2823" fmla="*/ 574475 h 1898459"/>
                <a:gd name="connsiteX2824" fmla="*/ 1178626 w 1556920"/>
                <a:gd name="connsiteY2824" fmla="*/ 573507 h 1898459"/>
                <a:gd name="connsiteX2825" fmla="*/ 1177749 w 1556920"/>
                <a:gd name="connsiteY2825" fmla="*/ 571904 h 1898459"/>
                <a:gd name="connsiteX2826" fmla="*/ 1177144 w 1556920"/>
                <a:gd name="connsiteY2826" fmla="*/ 570421 h 1898459"/>
                <a:gd name="connsiteX2827" fmla="*/ 1177053 w 1556920"/>
                <a:gd name="connsiteY2827" fmla="*/ 569756 h 1898459"/>
                <a:gd name="connsiteX2828" fmla="*/ 1165921 w 1556920"/>
                <a:gd name="connsiteY2828" fmla="*/ 569393 h 1898459"/>
                <a:gd name="connsiteX2829" fmla="*/ 1164287 w 1556920"/>
                <a:gd name="connsiteY2829" fmla="*/ 569756 h 1898459"/>
                <a:gd name="connsiteX2830" fmla="*/ 1158267 w 1556920"/>
                <a:gd name="connsiteY2830" fmla="*/ 573961 h 1898459"/>
                <a:gd name="connsiteX2831" fmla="*/ 1155665 w 1556920"/>
                <a:gd name="connsiteY2831" fmla="*/ 574475 h 1898459"/>
                <a:gd name="connsiteX2832" fmla="*/ 1153639 w 1556920"/>
                <a:gd name="connsiteY2832" fmla="*/ 573839 h 1898459"/>
                <a:gd name="connsiteX2833" fmla="*/ 1149191 w 1556920"/>
                <a:gd name="connsiteY2833" fmla="*/ 571298 h 1898459"/>
                <a:gd name="connsiteX2834" fmla="*/ 1147044 w 1556920"/>
                <a:gd name="connsiteY2834" fmla="*/ 570935 h 1898459"/>
                <a:gd name="connsiteX2835" fmla="*/ 1146197 w 1556920"/>
                <a:gd name="connsiteY2835" fmla="*/ 571268 h 1898459"/>
                <a:gd name="connsiteX2836" fmla="*/ 1145259 w 1556920"/>
                <a:gd name="connsiteY2836" fmla="*/ 571964 h 1898459"/>
                <a:gd name="connsiteX2837" fmla="*/ 1144533 w 1556920"/>
                <a:gd name="connsiteY2837" fmla="*/ 572902 h 1898459"/>
                <a:gd name="connsiteX2838" fmla="*/ 1144230 w 1556920"/>
                <a:gd name="connsiteY2838" fmla="*/ 573870 h 1898459"/>
                <a:gd name="connsiteX2839" fmla="*/ 1143686 w 1556920"/>
                <a:gd name="connsiteY2839" fmla="*/ 574717 h 1898459"/>
                <a:gd name="connsiteX2840" fmla="*/ 1142476 w 1556920"/>
                <a:gd name="connsiteY2840" fmla="*/ 574384 h 1898459"/>
                <a:gd name="connsiteX2841" fmla="*/ 1140509 w 1556920"/>
                <a:gd name="connsiteY2841" fmla="*/ 573265 h 1898459"/>
                <a:gd name="connsiteX2842" fmla="*/ 1139602 w 1556920"/>
                <a:gd name="connsiteY2842" fmla="*/ 573567 h 1898459"/>
                <a:gd name="connsiteX2843" fmla="*/ 1137877 w 1556920"/>
                <a:gd name="connsiteY2843" fmla="*/ 575110 h 1898459"/>
                <a:gd name="connsiteX2844" fmla="*/ 1136728 w 1556920"/>
                <a:gd name="connsiteY2844" fmla="*/ 575715 h 1898459"/>
                <a:gd name="connsiteX2845" fmla="*/ 1135639 w 1556920"/>
                <a:gd name="connsiteY2845" fmla="*/ 575443 h 1898459"/>
                <a:gd name="connsiteX2846" fmla="*/ 1134731 w 1556920"/>
                <a:gd name="connsiteY2846" fmla="*/ 574656 h 1898459"/>
                <a:gd name="connsiteX2847" fmla="*/ 1133945 w 1556920"/>
                <a:gd name="connsiteY2847" fmla="*/ 574414 h 1898459"/>
                <a:gd name="connsiteX2848" fmla="*/ 1133219 w 1556920"/>
                <a:gd name="connsiteY2848" fmla="*/ 575715 h 1898459"/>
                <a:gd name="connsiteX2849" fmla="*/ 1128469 w 1556920"/>
                <a:gd name="connsiteY2849" fmla="*/ 573446 h 1898459"/>
                <a:gd name="connsiteX2850" fmla="*/ 1126654 w 1556920"/>
                <a:gd name="connsiteY2850" fmla="*/ 573235 h 1898459"/>
                <a:gd name="connsiteX2851" fmla="*/ 1125323 w 1556920"/>
                <a:gd name="connsiteY2851" fmla="*/ 574021 h 1898459"/>
                <a:gd name="connsiteX2852" fmla="*/ 1124627 w 1556920"/>
                <a:gd name="connsiteY2852" fmla="*/ 575352 h 1898459"/>
                <a:gd name="connsiteX2853" fmla="*/ 1123810 w 1556920"/>
                <a:gd name="connsiteY2853" fmla="*/ 575624 h 1898459"/>
                <a:gd name="connsiteX2854" fmla="*/ 1122207 w 1556920"/>
                <a:gd name="connsiteY2854" fmla="*/ 573235 h 1898459"/>
                <a:gd name="connsiteX2855" fmla="*/ 1119031 w 1556920"/>
                <a:gd name="connsiteY2855" fmla="*/ 573386 h 1898459"/>
                <a:gd name="connsiteX2856" fmla="*/ 1110409 w 1556920"/>
                <a:gd name="connsiteY2856" fmla="*/ 570633 h 1898459"/>
                <a:gd name="connsiteX2857" fmla="*/ 1106991 w 1556920"/>
                <a:gd name="connsiteY2857" fmla="*/ 572176 h 1898459"/>
                <a:gd name="connsiteX2858" fmla="*/ 1105932 w 1556920"/>
                <a:gd name="connsiteY2858" fmla="*/ 571117 h 1898459"/>
                <a:gd name="connsiteX2859" fmla="*/ 1105115 w 1556920"/>
                <a:gd name="connsiteY2859" fmla="*/ 571238 h 1898459"/>
                <a:gd name="connsiteX2860" fmla="*/ 1104268 w 1556920"/>
                <a:gd name="connsiteY2860" fmla="*/ 571813 h 1898459"/>
                <a:gd name="connsiteX2861" fmla="*/ 1103149 w 1556920"/>
                <a:gd name="connsiteY2861" fmla="*/ 572176 h 1898459"/>
                <a:gd name="connsiteX2862" fmla="*/ 1102151 w 1556920"/>
                <a:gd name="connsiteY2862" fmla="*/ 571782 h 1898459"/>
                <a:gd name="connsiteX2863" fmla="*/ 1101122 w 1556920"/>
                <a:gd name="connsiteY2863" fmla="*/ 570088 h 1898459"/>
                <a:gd name="connsiteX2864" fmla="*/ 1100426 w 1556920"/>
                <a:gd name="connsiteY2864" fmla="*/ 569695 h 1898459"/>
                <a:gd name="connsiteX2865" fmla="*/ 1084514 w 1556920"/>
                <a:gd name="connsiteY2865" fmla="*/ 569695 h 1898459"/>
                <a:gd name="connsiteX2866" fmla="*/ 1082850 w 1556920"/>
                <a:gd name="connsiteY2866" fmla="*/ 570270 h 1898459"/>
                <a:gd name="connsiteX2867" fmla="*/ 1076618 w 1556920"/>
                <a:gd name="connsiteY2867" fmla="*/ 574445 h 1898459"/>
                <a:gd name="connsiteX2868" fmla="*/ 1072565 w 1556920"/>
                <a:gd name="connsiteY2868" fmla="*/ 575624 h 1898459"/>
                <a:gd name="connsiteX2869" fmla="*/ 1068148 w 1556920"/>
                <a:gd name="connsiteY2869" fmla="*/ 575473 h 1898459"/>
                <a:gd name="connsiteX2870" fmla="*/ 1054928 w 1556920"/>
                <a:gd name="connsiteY2870" fmla="*/ 571208 h 1898459"/>
                <a:gd name="connsiteX2871" fmla="*/ 1047426 w 1556920"/>
                <a:gd name="connsiteY2871" fmla="*/ 566640 h 1898459"/>
                <a:gd name="connsiteX2872" fmla="*/ 1034902 w 1556920"/>
                <a:gd name="connsiteY2872" fmla="*/ 566125 h 1898459"/>
                <a:gd name="connsiteX2873" fmla="*/ 1033692 w 1556920"/>
                <a:gd name="connsiteY2873" fmla="*/ 566458 h 1898459"/>
                <a:gd name="connsiteX2874" fmla="*/ 1030999 w 1556920"/>
                <a:gd name="connsiteY2874" fmla="*/ 568001 h 1898459"/>
                <a:gd name="connsiteX2875" fmla="*/ 1029698 w 1556920"/>
                <a:gd name="connsiteY2875" fmla="*/ 568485 h 1898459"/>
                <a:gd name="connsiteX2876" fmla="*/ 1028458 w 1556920"/>
                <a:gd name="connsiteY2876" fmla="*/ 568273 h 1898459"/>
                <a:gd name="connsiteX2877" fmla="*/ 1027460 w 1556920"/>
                <a:gd name="connsiteY2877" fmla="*/ 567759 h 1898459"/>
                <a:gd name="connsiteX2878" fmla="*/ 1026552 w 1556920"/>
                <a:gd name="connsiteY2878" fmla="*/ 567910 h 1898459"/>
                <a:gd name="connsiteX2879" fmla="*/ 1025554 w 1556920"/>
                <a:gd name="connsiteY2879" fmla="*/ 569695 h 1898459"/>
                <a:gd name="connsiteX2880" fmla="*/ 1026129 w 1556920"/>
                <a:gd name="connsiteY2880" fmla="*/ 571692 h 1898459"/>
                <a:gd name="connsiteX2881" fmla="*/ 1025161 w 1556920"/>
                <a:gd name="connsiteY2881" fmla="*/ 573900 h 1898459"/>
                <a:gd name="connsiteX2882" fmla="*/ 1023557 w 1556920"/>
                <a:gd name="connsiteY2882" fmla="*/ 575776 h 1898459"/>
                <a:gd name="connsiteX2883" fmla="*/ 1022105 w 1556920"/>
                <a:gd name="connsiteY2883" fmla="*/ 576774 h 1898459"/>
                <a:gd name="connsiteX2884" fmla="*/ 1020169 w 1556920"/>
                <a:gd name="connsiteY2884" fmla="*/ 577137 h 1898459"/>
                <a:gd name="connsiteX2885" fmla="*/ 1018173 w 1556920"/>
                <a:gd name="connsiteY2885" fmla="*/ 576925 h 1898459"/>
                <a:gd name="connsiteX2886" fmla="*/ 1014482 w 1556920"/>
                <a:gd name="connsiteY2886" fmla="*/ 575715 h 1898459"/>
                <a:gd name="connsiteX2887" fmla="*/ 1016569 w 1556920"/>
                <a:gd name="connsiteY2887" fmla="*/ 580313 h 1898459"/>
                <a:gd name="connsiteX2888" fmla="*/ 1015057 w 1556920"/>
                <a:gd name="connsiteY2888" fmla="*/ 580646 h 1898459"/>
                <a:gd name="connsiteX2889" fmla="*/ 1013695 w 1556920"/>
                <a:gd name="connsiteY2889" fmla="*/ 581221 h 1898459"/>
                <a:gd name="connsiteX2890" fmla="*/ 1012395 w 1556920"/>
                <a:gd name="connsiteY2890" fmla="*/ 581312 h 1898459"/>
                <a:gd name="connsiteX2891" fmla="*/ 1011063 w 1556920"/>
                <a:gd name="connsiteY2891" fmla="*/ 580313 h 1898459"/>
                <a:gd name="connsiteX2892" fmla="*/ 1011850 w 1556920"/>
                <a:gd name="connsiteY2892" fmla="*/ 579496 h 1898459"/>
                <a:gd name="connsiteX2893" fmla="*/ 1012364 w 1556920"/>
                <a:gd name="connsiteY2893" fmla="*/ 578680 h 1898459"/>
                <a:gd name="connsiteX2894" fmla="*/ 1013121 w 1556920"/>
                <a:gd name="connsiteY2894" fmla="*/ 576774 h 1898459"/>
                <a:gd name="connsiteX2895" fmla="*/ 1007131 w 1556920"/>
                <a:gd name="connsiteY2895" fmla="*/ 578075 h 1898459"/>
                <a:gd name="connsiteX2896" fmla="*/ 991763 w 1556920"/>
                <a:gd name="connsiteY2896" fmla="*/ 588693 h 1898459"/>
                <a:gd name="connsiteX2897" fmla="*/ 988677 w 1556920"/>
                <a:gd name="connsiteY2897" fmla="*/ 589570 h 1898459"/>
                <a:gd name="connsiteX2898" fmla="*/ 978997 w 1556920"/>
                <a:gd name="connsiteY2898" fmla="*/ 588693 h 1898459"/>
                <a:gd name="connsiteX2899" fmla="*/ 969770 w 1556920"/>
                <a:gd name="connsiteY2899" fmla="*/ 590024 h 1898459"/>
                <a:gd name="connsiteX2900" fmla="*/ 966957 w 1556920"/>
                <a:gd name="connsiteY2900" fmla="*/ 589843 h 1898459"/>
                <a:gd name="connsiteX2901" fmla="*/ 970738 w 1556920"/>
                <a:gd name="connsiteY2901" fmla="*/ 592989 h 1898459"/>
                <a:gd name="connsiteX2902" fmla="*/ 971888 w 1556920"/>
                <a:gd name="connsiteY2902" fmla="*/ 594864 h 1898459"/>
                <a:gd name="connsiteX2903" fmla="*/ 970073 w 1556920"/>
                <a:gd name="connsiteY2903" fmla="*/ 595681 h 1898459"/>
                <a:gd name="connsiteX2904" fmla="*/ 968651 w 1556920"/>
                <a:gd name="connsiteY2904" fmla="*/ 596044 h 1898459"/>
                <a:gd name="connsiteX2905" fmla="*/ 967078 w 1556920"/>
                <a:gd name="connsiteY2905" fmla="*/ 597012 h 1898459"/>
                <a:gd name="connsiteX2906" fmla="*/ 965626 w 1556920"/>
                <a:gd name="connsiteY2906" fmla="*/ 598343 h 1898459"/>
                <a:gd name="connsiteX2907" fmla="*/ 963750 w 1556920"/>
                <a:gd name="connsiteY2907" fmla="*/ 600915 h 1898459"/>
                <a:gd name="connsiteX2908" fmla="*/ 962691 w 1556920"/>
                <a:gd name="connsiteY2908" fmla="*/ 601429 h 1898459"/>
                <a:gd name="connsiteX2909" fmla="*/ 960423 w 1556920"/>
                <a:gd name="connsiteY2909" fmla="*/ 601610 h 1898459"/>
                <a:gd name="connsiteX2910" fmla="*/ 960362 w 1556920"/>
                <a:gd name="connsiteY2910" fmla="*/ 602094 h 1898459"/>
                <a:gd name="connsiteX2911" fmla="*/ 959606 w 1556920"/>
                <a:gd name="connsiteY2911" fmla="*/ 603214 h 1898459"/>
                <a:gd name="connsiteX2912" fmla="*/ 957972 w 1556920"/>
                <a:gd name="connsiteY2912" fmla="*/ 605120 h 1898459"/>
                <a:gd name="connsiteX2913" fmla="*/ 955885 w 1556920"/>
                <a:gd name="connsiteY2913" fmla="*/ 606148 h 1898459"/>
                <a:gd name="connsiteX2914" fmla="*/ 954070 w 1556920"/>
                <a:gd name="connsiteY2914" fmla="*/ 606057 h 1898459"/>
                <a:gd name="connsiteX2915" fmla="*/ 950440 w 1556920"/>
                <a:gd name="connsiteY2915" fmla="*/ 605150 h 1898459"/>
                <a:gd name="connsiteX2916" fmla="*/ 951589 w 1556920"/>
                <a:gd name="connsiteY2916" fmla="*/ 603788 h 1898459"/>
                <a:gd name="connsiteX2917" fmla="*/ 952708 w 1556920"/>
                <a:gd name="connsiteY2917" fmla="*/ 602034 h 1898459"/>
                <a:gd name="connsiteX2918" fmla="*/ 954554 w 1556920"/>
                <a:gd name="connsiteY2918" fmla="*/ 598101 h 1898459"/>
                <a:gd name="connsiteX2919" fmla="*/ 953313 w 1556920"/>
                <a:gd name="connsiteY2919" fmla="*/ 597224 h 1898459"/>
                <a:gd name="connsiteX2920" fmla="*/ 951922 w 1556920"/>
                <a:gd name="connsiteY2920" fmla="*/ 596921 h 1898459"/>
                <a:gd name="connsiteX2921" fmla="*/ 949048 w 1556920"/>
                <a:gd name="connsiteY2921" fmla="*/ 597012 h 1898459"/>
                <a:gd name="connsiteX2922" fmla="*/ 949048 w 1556920"/>
                <a:gd name="connsiteY2922" fmla="*/ 595711 h 1898459"/>
                <a:gd name="connsiteX2923" fmla="*/ 954554 w 1556920"/>
                <a:gd name="connsiteY2923" fmla="*/ 595711 h 1898459"/>
                <a:gd name="connsiteX2924" fmla="*/ 956883 w 1556920"/>
                <a:gd name="connsiteY2924" fmla="*/ 596377 h 1898459"/>
                <a:gd name="connsiteX2925" fmla="*/ 957579 w 1556920"/>
                <a:gd name="connsiteY2925" fmla="*/ 596135 h 1898459"/>
                <a:gd name="connsiteX2926" fmla="*/ 956641 w 1556920"/>
                <a:gd name="connsiteY2926" fmla="*/ 594532 h 1898459"/>
                <a:gd name="connsiteX2927" fmla="*/ 958335 w 1556920"/>
                <a:gd name="connsiteY2927" fmla="*/ 592474 h 1898459"/>
                <a:gd name="connsiteX2928" fmla="*/ 960271 w 1556920"/>
                <a:gd name="connsiteY2928" fmla="*/ 591416 h 1898459"/>
                <a:gd name="connsiteX2929" fmla="*/ 964960 w 1556920"/>
                <a:gd name="connsiteY2929" fmla="*/ 590992 h 1898459"/>
                <a:gd name="connsiteX2930" fmla="*/ 964567 w 1556920"/>
                <a:gd name="connsiteY2930" fmla="*/ 590629 h 1898459"/>
                <a:gd name="connsiteX2931" fmla="*/ 964234 w 1556920"/>
                <a:gd name="connsiteY2931" fmla="*/ 590175 h 1898459"/>
                <a:gd name="connsiteX2932" fmla="*/ 963901 w 1556920"/>
                <a:gd name="connsiteY2932" fmla="*/ 589540 h 1898459"/>
                <a:gd name="connsiteX2933" fmla="*/ 963599 w 1556920"/>
                <a:gd name="connsiteY2933" fmla="*/ 588663 h 1898459"/>
                <a:gd name="connsiteX2934" fmla="*/ 967138 w 1556920"/>
                <a:gd name="connsiteY2934" fmla="*/ 583429 h 1898459"/>
                <a:gd name="connsiteX2935" fmla="*/ 970073 w 1556920"/>
                <a:gd name="connsiteY2935" fmla="*/ 581281 h 1898459"/>
                <a:gd name="connsiteX2936" fmla="*/ 972977 w 1556920"/>
                <a:gd name="connsiteY2936" fmla="*/ 577924 h 1898459"/>
                <a:gd name="connsiteX2937" fmla="*/ 975064 w 1556920"/>
                <a:gd name="connsiteY2937" fmla="*/ 574324 h 1898459"/>
                <a:gd name="connsiteX2938" fmla="*/ 974580 w 1556920"/>
                <a:gd name="connsiteY2938" fmla="*/ 572145 h 1898459"/>
                <a:gd name="connsiteX2939" fmla="*/ 973037 w 1556920"/>
                <a:gd name="connsiteY2939" fmla="*/ 572387 h 1898459"/>
                <a:gd name="connsiteX2940" fmla="*/ 968651 w 1556920"/>
                <a:gd name="connsiteY2940" fmla="*/ 574959 h 1898459"/>
                <a:gd name="connsiteX2941" fmla="*/ 967380 w 1556920"/>
                <a:gd name="connsiteY2941" fmla="*/ 576229 h 1898459"/>
                <a:gd name="connsiteX2942" fmla="*/ 965747 w 1556920"/>
                <a:gd name="connsiteY2942" fmla="*/ 577409 h 1898459"/>
                <a:gd name="connsiteX2943" fmla="*/ 963538 w 1556920"/>
                <a:gd name="connsiteY2943" fmla="*/ 577470 h 1898459"/>
                <a:gd name="connsiteX2944" fmla="*/ 958486 w 1556920"/>
                <a:gd name="connsiteY2944" fmla="*/ 576411 h 1898459"/>
                <a:gd name="connsiteX2945" fmla="*/ 957155 w 1556920"/>
                <a:gd name="connsiteY2945" fmla="*/ 574868 h 1898459"/>
                <a:gd name="connsiteX2946" fmla="*/ 956006 w 1556920"/>
                <a:gd name="connsiteY2946" fmla="*/ 574414 h 1898459"/>
                <a:gd name="connsiteX2947" fmla="*/ 955189 w 1556920"/>
                <a:gd name="connsiteY2947" fmla="*/ 574505 h 1898459"/>
                <a:gd name="connsiteX2948" fmla="*/ 950893 w 1556920"/>
                <a:gd name="connsiteY2948" fmla="*/ 576562 h 1898459"/>
                <a:gd name="connsiteX2949" fmla="*/ 947021 w 1556920"/>
                <a:gd name="connsiteY2949" fmla="*/ 580283 h 1898459"/>
                <a:gd name="connsiteX2950" fmla="*/ 942423 w 1556920"/>
                <a:gd name="connsiteY2950" fmla="*/ 582885 h 1898459"/>
                <a:gd name="connsiteX2951" fmla="*/ 941213 w 1556920"/>
                <a:gd name="connsiteY2951" fmla="*/ 584458 h 1898459"/>
                <a:gd name="connsiteX2952" fmla="*/ 940184 w 1556920"/>
                <a:gd name="connsiteY2952" fmla="*/ 586152 h 1898459"/>
                <a:gd name="connsiteX2953" fmla="*/ 938762 w 1556920"/>
                <a:gd name="connsiteY2953" fmla="*/ 587906 h 1898459"/>
                <a:gd name="connsiteX2954" fmla="*/ 937280 w 1556920"/>
                <a:gd name="connsiteY2954" fmla="*/ 589268 h 1898459"/>
                <a:gd name="connsiteX2955" fmla="*/ 934255 w 1556920"/>
                <a:gd name="connsiteY2955" fmla="*/ 590448 h 1898459"/>
                <a:gd name="connsiteX2956" fmla="*/ 932894 w 1556920"/>
                <a:gd name="connsiteY2956" fmla="*/ 591416 h 1898459"/>
                <a:gd name="connsiteX2957" fmla="*/ 932410 w 1556920"/>
                <a:gd name="connsiteY2957" fmla="*/ 591295 h 1898459"/>
                <a:gd name="connsiteX2958" fmla="*/ 933226 w 1556920"/>
                <a:gd name="connsiteY2958" fmla="*/ 588632 h 1898459"/>
                <a:gd name="connsiteX2959" fmla="*/ 934043 w 1556920"/>
                <a:gd name="connsiteY2959" fmla="*/ 586908 h 1898459"/>
                <a:gd name="connsiteX2960" fmla="*/ 934951 w 1556920"/>
                <a:gd name="connsiteY2960" fmla="*/ 585789 h 1898459"/>
                <a:gd name="connsiteX2961" fmla="*/ 941485 w 1556920"/>
                <a:gd name="connsiteY2961" fmla="*/ 579648 h 1898459"/>
                <a:gd name="connsiteX2962" fmla="*/ 942907 w 1556920"/>
                <a:gd name="connsiteY2962" fmla="*/ 579103 h 1898459"/>
                <a:gd name="connsiteX2963" fmla="*/ 944450 w 1556920"/>
                <a:gd name="connsiteY2963" fmla="*/ 577954 h 1898459"/>
                <a:gd name="connsiteX2964" fmla="*/ 945115 w 1556920"/>
                <a:gd name="connsiteY2964" fmla="*/ 575564 h 1898459"/>
                <a:gd name="connsiteX2965" fmla="*/ 945872 w 1556920"/>
                <a:gd name="connsiteY2965" fmla="*/ 573567 h 1898459"/>
                <a:gd name="connsiteX2966" fmla="*/ 947596 w 1556920"/>
                <a:gd name="connsiteY2966" fmla="*/ 573476 h 1898459"/>
                <a:gd name="connsiteX2967" fmla="*/ 949471 w 1556920"/>
                <a:gd name="connsiteY2967" fmla="*/ 573809 h 1898459"/>
                <a:gd name="connsiteX2968" fmla="*/ 956036 w 1556920"/>
                <a:gd name="connsiteY2968" fmla="*/ 572115 h 1898459"/>
                <a:gd name="connsiteX2969" fmla="*/ 958607 w 1556920"/>
                <a:gd name="connsiteY2969" fmla="*/ 571964 h 1898459"/>
                <a:gd name="connsiteX2970" fmla="*/ 959938 w 1556920"/>
                <a:gd name="connsiteY2970" fmla="*/ 571419 h 1898459"/>
                <a:gd name="connsiteX2971" fmla="*/ 967713 w 1556920"/>
                <a:gd name="connsiteY2971" fmla="*/ 564885 h 1898459"/>
                <a:gd name="connsiteX2972" fmla="*/ 971253 w 1556920"/>
                <a:gd name="connsiteY2972" fmla="*/ 563675 h 1898459"/>
                <a:gd name="connsiteX2973" fmla="*/ 973945 w 1556920"/>
                <a:gd name="connsiteY2973" fmla="*/ 566095 h 1898459"/>
                <a:gd name="connsiteX2974" fmla="*/ 972674 w 1556920"/>
                <a:gd name="connsiteY2974" fmla="*/ 568788 h 1898459"/>
                <a:gd name="connsiteX2975" fmla="*/ 973158 w 1556920"/>
                <a:gd name="connsiteY2975" fmla="*/ 570482 h 1898459"/>
                <a:gd name="connsiteX2976" fmla="*/ 974731 w 1556920"/>
                <a:gd name="connsiteY2976" fmla="*/ 571177 h 1898459"/>
                <a:gd name="connsiteX2977" fmla="*/ 976728 w 1556920"/>
                <a:gd name="connsiteY2977" fmla="*/ 570784 h 1898459"/>
                <a:gd name="connsiteX2978" fmla="*/ 978029 w 1556920"/>
                <a:gd name="connsiteY2978" fmla="*/ 569514 h 1898459"/>
                <a:gd name="connsiteX2979" fmla="*/ 980691 w 1556920"/>
                <a:gd name="connsiteY2979" fmla="*/ 565762 h 1898459"/>
                <a:gd name="connsiteX2980" fmla="*/ 982990 w 1556920"/>
                <a:gd name="connsiteY2980" fmla="*/ 564068 h 1898459"/>
                <a:gd name="connsiteX2981" fmla="*/ 996664 w 1556920"/>
                <a:gd name="connsiteY2981" fmla="*/ 547430 h 1898459"/>
                <a:gd name="connsiteX2982" fmla="*/ 997450 w 1556920"/>
                <a:gd name="connsiteY2982" fmla="*/ 545917 h 1898459"/>
                <a:gd name="connsiteX2983" fmla="*/ 997723 w 1556920"/>
                <a:gd name="connsiteY2983" fmla="*/ 543104 h 1898459"/>
                <a:gd name="connsiteX2984" fmla="*/ 997057 w 1556920"/>
                <a:gd name="connsiteY2984" fmla="*/ 541410 h 1898459"/>
                <a:gd name="connsiteX2985" fmla="*/ 995817 w 1556920"/>
                <a:gd name="connsiteY2985" fmla="*/ 541229 h 1898459"/>
                <a:gd name="connsiteX2986" fmla="*/ 994304 w 1556920"/>
                <a:gd name="connsiteY2986" fmla="*/ 542862 h 1898459"/>
                <a:gd name="connsiteX2987" fmla="*/ 991460 w 1556920"/>
                <a:gd name="connsiteY2987" fmla="*/ 546734 h 1898459"/>
                <a:gd name="connsiteX2988" fmla="*/ 987861 w 1556920"/>
                <a:gd name="connsiteY2988" fmla="*/ 549880 h 1898459"/>
                <a:gd name="connsiteX2989" fmla="*/ 984140 w 1556920"/>
                <a:gd name="connsiteY2989" fmla="*/ 551454 h 1898459"/>
                <a:gd name="connsiteX2990" fmla="*/ 980872 w 1556920"/>
                <a:gd name="connsiteY2990" fmla="*/ 550576 h 1898459"/>
                <a:gd name="connsiteX2991" fmla="*/ 982234 w 1556920"/>
                <a:gd name="connsiteY2991" fmla="*/ 548338 h 1898459"/>
                <a:gd name="connsiteX2992" fmla="*/ 980449 w 1556920"/>
                <a:gd name="connsiteY2992" fmla="*/ 546129 h 1898459"/>
                <a:gd name="connsiteX2993" fmla="*/ 977212 w 1556920"/>
                <a:gd name="connsiteY2993" fmla="*/ 545434 h 1898459"/>
                <a:gd name="connsiteX2994" fmla="*/ 971525 w 1556920"/>
                <a:gd name="connsiteY2994" fmla="*/ 549638 h 1898459"/>
                <a:gd name="connsiteX2995" fmla="*/ 967985 w 1556920"/>
                <a:gd name="connsiteY2995" fmla="*/ 548761 h 1898459"/>
                <a:gd name="connsiteX2996" fmla="*/ 961542 w 1556920"/>
                <a:gd name="connsiteY2996" fmla="*/ 544647 h 1898459"/>
                <a:gd name="connsiteX2997" fmla="*/ 962117 w 1556920"/>
                <a:gd name="connsiteY2997" fmla="*/ 547551 h 1898459"/>
                <a:gd name="connsiteX2998" fmla="*/ 960483 w 1556920"/>
                <a:gd name="connsiteY2998" fmla="*/ 547612 h 1898459"/>
                <a:gd name="connsiteX2999" fmla="*/ 958093 w 1556920"/>
                <a:gd name="connsiteY2999" fmla="*/ 546008 h 1898459"/>
                <a:gd name="connsiteX3000" fmla="*/ 956369 w 1556920"/>
                <a:gd name="connsiteY3000" fmla="*/ 544042 h 1898459"/>
                <a:gd name="connsiteX3001" fmla="*/ 954584 w 1556920"/>
                <a:gd name="connsiteY3001" fmla="*/ 542499 h 1898459"/>
                <a:gd name="connsiteX3002" fmla="*/ 952466 w 1556920"/>
                <a:gd name="connsiteY3002" fmla="*/ 542832 h 1898459"/>
                <a:gd name="connsiteX3003" fmla="*/ 948413 w 1556920"/>
                <a:gd name="connsiteY3003" fmla="*/ 544617 h 1898459"/>
                <a:gd name="connsiteX3004" fmla="*/ 944571 w 1556920"/>
                <a:gd name="connsiteY3004" fmla="*/ 543830 h 1898459"/>
                <a:gd name="connsiteX3005" fmla="*/ 941364 w 1556920"/>
                <a:gd name="connsiteY3005" fmla="*/ 541349 h 1898459"/>
                <a:gd name="connsiteX3006" fmla="*/ 936040 w 1556920"/>
                <a:gd name="connsiteY3006" fmla="*/ 533938 h 1898459"/>
                <a:gd name="connsiteX3007" fmla="*/ 938067 w 1556920"/>
                <a:gd name="connsiteY3007" fmla="*/ 534603 h 1898459"/>
                <a:gd name="connsiteX3008" fmla="*/ 939973 w 1556920"/>
                <a:gd name="connsiteY3008" fmla="*/ 536207 h 1898459"/>
                <a:gd name="connsiteX3009" fmla="*/ 943210 w 1556920"/>
                <a:gd name="connsiteY3009" fmla="*/ 540412 h 1898459"/>
                <a:gd name="connsiteX3010" fmla="*/ 945418 w 1556920"/>
                <a:gd name="connsiteY3010" fmla="*/ 541864 h 1898459"/>
                <a:gd name="connsiteX3011" fmla="*/ 953555 w 1556920"/>
                <a:gd name="connsiteY3011" fmla="*/ 539867 h 1898459"/>
                <a:gd name="connsiteX3012" fmla="*/ 956339 w 1556920"/>
                <a:gd name="connsiteY3012" fmla="*/ 540593 h 1898459"/>
                <a:gd name="connsiteX3013" fmla="*/ 962117 w 1556920"/>
                <a:gd name="connsiteY3013" fmla="*/ 543346 h 1898459"/>
                <a:gd name="connsiteX3014" fmla="*/ 964930 w 1556920"/>
                <a:gd name="connsiteY3014" fmla="*/ 543437 h 1898459"/>
                <a:gd name="connsiteX3015" fmla="*/ 965747 w 1556920"/>
                <a:gd name="connsiteY3015" fmla="*/ 542802 h 1898459"/>
                <a:gd name="connsiteX3016" fmla="*/ 967532 w 1556920"/>
                <a:gd name="connsiteY3016" fmla="*/ 540563 h 1898459"/>
                <a:gd name="connsiteX3017" fmla="*/ 968439 w 1556920"/>
                <a:gd name="connsiteY3017" fmla="*/ 539897 h 1898459"/>
                <a:gd name="connsiteX3018" fmla="*/ 969982 w 1556920"/>
                <a:gd name="connsiteY3018" fmla="*/ 539897 h 1898459"/>
                <a:gd name="connsiteX3019" fmla="*/ 972977 w 1556920"/>
                <a:gd name="connsiteY3019" fmla="*/ 540956 h 1898459"/>
                <a:gd name="connsiteX3020" fmla="*/ 974550 w 1556920"/>
                <a:gd name="connsiteY3020" fmla="*/ 540956 h 1898459"/>
                <a:gd name="connsiteX3021" fmla="*/ 974096 w 1556920"/>
                <a:gd name="connsiteY3021" fmla="*/ 538990 h 1898459"/>
                <a:gd name="connsiteX3022" fmla="*/ 974610 w 1556920"/>
                <a:gd name="connsiteY3022" fmla="*/ 537205 h 1898459"/>
                <a:gd name="connsiteX3023" fmla="*/ 976698 w 1556920"/>
                <a:gd name="connsiteY3023" fmla="*/ 533968 h 1898459"/>
                <a:gd name="connsiteX3024" fmla="*/ 974580 w 1556920"/>
                <a:gd name="connsiteY3024" fmla="*/ 530580 h 1898459"/>
                <a:gd name="connsiteX3025" fmla="*/ 973915 w 1556920"/>
                <a:gd name="connsiteY3025" fmla="*/ 529793 h 1898459"/>
                <a:gd name="connsiteX3026" fmla="*/ 972372 w 1556920"/>
                <a:gd name="connsiteY3026" fmla="*/ 529098 h 1898459"/>
                <a:gd name="connsiteX3027" fmla="*/ 969226 w 1556920"/>
                <a:gd name="connsiteY3027" fmla="*/ 528946 h 1898459"/>
                <a:gd name="connsiteX3028" fmla="*/ 967713 w 1556920"/>
                <a:gd name="connsiteY3028" fmla="*/ 527888 h 1898459"/>
                <a:gd name="connsiteX3029" fmla="*/ 966836 w 1556920"/>
                <a:gd name="connsiteY3029" fmla="*/ 526345 h 1898459"/>
                <a:gd name="connsiteX3030" fmla="*/ 966564 w 1556920"/>
                <a:gd name="connsiteY3030" fmla="*/ 524893 h 1898459"/>
                <a:gd name="connsiteX3031" fmla="*/ 967048 w 1556920"/>
                <a:gd name="connsiteY3031" fmla="*/ 524197 h 1898459"/>
                <a:gd name="connsiteX3032" fmla="*/ 969921 w 1556920"/>
                <a:gd name="connsiteY3032" fmla="*/ 525800 h 1898459"/>
                <a:gd name="connsiteX3033" fmla="*/ 972493 w 1556920"/>
                <a:gd name="connsiteY3033" fmla="*/ 526103 h 1898459"/>
                <a:gd name="connsiteX3034" fmla="*/ 973884 w 1556920"/>
                <a:gd name="connsiteY3034" fmla="*/ 526799 h 1898459"/>
                <a:gd name="connsiteX3035" fmla="*/ 973189 w 1556920"/>
                <a:gd name="connsiteY3035" fmla="*/ 527888 h 1898459"/>
                <a:gd name="connsiteX3036" fmla="*/ 973673 w 1556920"/>
                <a:gd name="connsiteY3036" fmla="*/ 528311 h 1898459"/>
                <a:gd name="connsiteX3037" fmla="*/ 975306 w 1556920"/>
                <a:gd name="connsiteY3037" fmla="*/ 529189 h 1898459"/>
                <a:gd name="connsiteX3038" fmla="*/ 975367 w 1556920"/>
                <a:gd name="connsiteY3038" fmla="*/ 527373 h 1898459"/>
                <a:gd name="connsiteX3039" fmla="*/ 975730 w 1556920"/>
                <a:gd name="connsiteY3039" fmla="*/ 525921 h 1898459"/>
                <a:gd name="connsiteX3040" fmla="*/ 976395 w 1556920"/>
                <a:gd name="connsiteY3040" fmla="*/ 524893 h 1898459"/>
                <a:gd name="connsiteX3041" fmla="*/ 977363 w 1556920"/>
                <a:gd name="connsiteY3041" fmla="*/ 524348 h 1898459"/>
                <a:gd name="connsiteX3042" fmla="*/ 983807 w 1556920"/>
                <a:gd name="connsiteY3042" fmla="*/ 520173 h 1898459"/>
                <a:gd name="connsiteX3043" fmla="*/ 987014 w 1556920"/>
                <a:gd name="connsiteY3043" fmla="*/ 519478 h 1898459"/>
                <a:gd name="connsiteX3044" fmla="*/ 989524 w 1556920"/>
                <a:gd name="connsiteY3044" fmla="*/ 518177 h 1898459"/>
                <a:gd name="connsiteX3045" fmla="*/ 990432 w 1556920"/>
                <a:gd name="connsiteY3045" fmla="*/ 517300 h 1898459"/>
                <a:gd name="connsiteX3046" fmla="*/ 991007 w 1556920"/>
                <a:gd name="connsiteY3046" fmla="*/ 516029 h 1898459"/>
                <a:gd name="connsiteX3047" fmla="*/ 992005 w 1556920"/>
                <a:gd name="connsiteY3047" fmla="*/ 512490 h 1898459"/>
                <a:gd name="connsiteX3048" fmla="*/ 992882 w 1556920"/>
                <a:gd name="connsiteY3048" fmla="*/ 510644 h 1898459"/>
                <a:gd name="connsiteX3049" fmla="*/ 994728 w 1556920"/>
                <a:gd name="connsiteY3049" fmla="*/ 508920 h 1898459"/>
                <a:gd name="connsiteX3050" fmla="*/ 1002200 w 1556920"/>
                <a:gd name="connsiteY3050" fmla="*/ 505380 h 1898459"/>
                <a:gd name="connsiteX3051" fmla="*/ 1024314 w 1556920"/>
                <a:gd name="connsiteY3051" fmla="*/ 488531 h 1898459"/>
                <a:gd name="connsiteX3052" fmla="*/ 1028518 w 1556920"/>
                <a:gd name="connsiteY3052" fmla="*/ 484144 h 1898459"/>
                <a:gd name="connsiteX3053" fmla="*/ 1030394 w 1556920"/>
                <a:gd name="connsiteY3053" fmla="*/ 481210 h 1898459"/>
                <a:gd name="connsiteX3054" fmla="*/ 1031181 w 1556920"/>
                <a:gd name="connsiteY3054" fmla="*/ 478306 h 1898459"/>
                <a:gd name="connsiteX3055" fmla="*/ 1032088 w 1556920"/>
                <a:gd name="connsiteY3055" fmla="*/ 476672 h 1898459"/>
                <a:gd name="connsiteX3056" fmla="*/ 1037443 w 1556920"/>
                <a:gd name="connsiteY3056" fmla="*/ 471650 h 1898459"/>
                <a:gd name="connsiteX3057" fmla="*/ 1040982 w 1556920"/>
                <a:gd name="connsiteY3057" fmla="*/ 469623 h 1898459"/>
                <a:gd name="connsiteX3058" fmla="*/ 1049785 w 1556920"/>
                <a:gd name="connsiteY3058" fmla="*/ 466719 h 1898459"/>
                <a:gd name="connsiteX3059" fmla="*/ 1053990 w 1556920"/>
                <a:gd name="connsiteY3059" fmla="*/ 464450 h 1898459"/>
                <a:gd name="connsiteX3060" fmla="*/ 1057772 w 1556920"/>
                <a:gd name="connsiteY3060" fmla="*/ 460427 h 1898459"/>
                <a:gd name="connsiteX3061" fmla="*/ 1063096 w 1556920"/>
                <a:gd name="connsiteY3061" fmla="*/ 453227 h 1898459"/>
                <a:gd name="connsiteX3062" fmla="*/ 1067482 w 1556920"/>
                <a:gd name="connsiteY3062" fmla="*/ 445301 h 1898459"/>
                <a:gd name="connsiteX3063" fmla="*/ 1068420 w 1556920"/>
                <a:gd name="connsiteY3063" fmla="*/ 439069 h 1898459"/>
                <a:gd name="connsiteX3064" fmla="*/ 1069449 w 1556920"/>
                <a:gd name="connsiteY3064" fmla="*/ 438797 h 1898459"/>
                <a:gd name="connsiteX3065" fmla="*/ 1070356 w 1556920"/>
                <a:gd name="connsiteY3065" fmla="*/ 437799 h 1898459"/>
                <a:gd name="connsiteX3066" fmla="*/ 1070810 w 1556920"/>
                <a:gd name="connsiteY3066" fmla="*/ 436226 h 1898459"/>
                <a:gd name="connsiteX3067" fmla="*/ 1070477 w 1556920"/>
                <a:gd name="connsiteY3067" fmla="*/ 434169 h 1898459"/>
                <a:gd name="connsiteX3068" fmla="*/ 1069691 w 1556920"/>
                <a:gd name="connsiteY3068" fmla="*/ 433201 h 1898459"/>
                <a:gd name="connsiteX3069" fmla="*/ 1068723 w 1556920"/>
                <a:gd name="connsiteY3069" fmla="*/ 433443 h 1898459"/>
                <a:gd name="connsiteX3070" fmla="*/ 1067603 w 1556920"/>
                <a:gd name="connsiteY3070" fmla="*/ 434048 h 1898459"/>
                <a:gd name="connsiteX3071" fmla="*/ 1066363 w 1556920"/>
                <a:gd name="connsiteY3071" fmla="*/ 434169 h 1898459"/>
                <a:gd name="connsiteX3072" fmla="*/ 1064215 w 1556920"/>
                <a:gd name="connsiteY3072" fmla="*/ 432928 h 1898459"/>
                <a:gd name="connsiteX3073" fmla="*/ 1063156 w 1556920"/>
                <a:gd name="connsiteY3073" fmla="*/ 430811 h 1898459"/>
                <a:gd name="connsiteX3074" fmla="*/ 1063156 w 1556920"/>
                <a:gd name="connsiteY3074" fmla="*/ 427937 h 1898459"/>
                <a:gd name="connsiteX3075" fmla="*/ 1064306 w 1556920"/>
                <a:gd name="connsiteY3075" fmla="*/ 424488 h 1898459"/>
                <a:gd name="connsiteX3076" fmla="*/ 1065032 w 1556920"/>
                <a:gd name="connsiteY3076" fmla="*/ 423308 h 1898459"/>
                <a:gd name="connsiteX3077" fmla="*/ 1067664 w 1556920"/>
                <a:gd name="connsiteY3077" fmla="*/ 420949 h 1898459"/>
                <a:gd name="connsiteX3078" fmla="*/ 1068572 w 1556920"/>
                <a:gd name="connsiteY3078" fmla="*/ 419466 h 1898459"/>
                <a:gd name="connsiteX3079" fmla="*/ 1070084 w 1556920"/>
                <a:gd name="connsiteY3079" fmla="*/ 416260 h 1898459"/>
                <a:gd name="connsiteX3080" fmla="*/ 1071233 w 1556920"/>
                <a:gd name="connsiteY3080" fmla="*/ 414778 h 1898459"/>
                <a:gd name="connsiteX3081" fmla="*/ 1071718 w 1556920"/>
                <a:gd name="connsiteY3081" fmla="*/ 412146 h 1898459"/>
                <a:gd name="connsiteX3082" fmla="*/ 1073623 w 1556920"/>
                <a:gd name="connsiteY3082" fmla="*/ 408515 h 1898459"/>
                <a:gd name="connsiteX3083" fmla="*/ 1074259 w 1556920"/>
                <a:gd name="connsiteY3083" fmla="*/ 405279 h 1898459"/>
                <a:gd name="connsiteX3084" fmla="*/ 1070870 w 1556920"/>
                <a:gd name="connsiteY3084" fmla="*/ 403887 h 1898459"/>
                <a:gd name="connsiteX3085" fmla="*/ 1064245 w 1556920"/>
                <a:gd name="connsiteY3085" fmla="*/ 405127 h 1898459"/>
                <a:gd name="connsiteX3086" fmla="*/ 1060918 w 1556920"/>
                <a:gd name="connsiteY3086" fmla="*/ 405127 h 1898459"/>
                <a:gd name="connsiteX3087" fmla="*/ 1055684 w 1556920"/>
                <a:gd name="connsiteY3087" fmla="*/ 401588 h 1898459"/>
                <a:gd name="connsiteX3088" fmla="*/ 1051631 w 1556920"/>
                <a:gd name="connsiteY3088" fmla="*/ 401951 h 1898459"/>
                <a:gd name="connsiteX3089" fmla="*/ 1045036 w 1556920"/>
                <a:gd name="connsiteY3089" fmla="*/ 403887 h 1898459"/>
                <a:gd name="connsiteX3090" fmla="*/ 1041950 w 1556920"/>
                <a:gd name="connsiteY3090" fmla="*/ 403887 h 1898459"/>
                <a:gd name="connsiteX3091" fmla="*/ 1041224 w 1556920"/>
                <a:gd name="connsiteY3091" fmla="*/ 403191 h 1898459"/>
                <a:gd name="connsiteX3092" fmla="*/ 1040831 w 1556920"/>
                <a:gd name="connsiteY3092" fmla="*/ 401618 h 1898459"/>
                <a:gd name="connsiteX3093" fmla="*/ 1040559 w 1556920"/>
                <a:gd name="connsiteY3093" fmla="*/ 399954 h 1898459"/>
                <a:gd name="connsiteX3094" fmla="*/ 1040165 w 1556920"/>
                <a:gd name="connsiteY3094" fmla="*/ 399016 h 1898459"/>
                <a:gd name="connsiteX3095" fmla="*/ 1038502 w 1556920"/>
                <a:gd name="connsiteY3095" fmla="*/ 398744 h 1898459"/>
                <a:gd name="connsiteX3096" fmla="*/ 1036989 w 1556920"/>
                <a:gd name="connsiteY3096" fmla="*/ 399682 h 1898459"/>
                <a:gd name="connsiteX3097" fmla="*/ 1034690 w 1556920"/>
                <a:gd name="connsiteY3097" fmla="*/ 402556 h 1898459"/>
                <a:gd name="connsiteX3098" fmla="*/ 1035779 w 1556920"/>
                <a:gd name="connsiteY3098" fmla="*/ 404976 h 1898459"/>
                <a:gd name="connsiteX3099" fmla="*/ 1037412 w 1556920"/>
                <a:gd name="connsiteY3099" fmla="*/ 406791 h 1898459"/>
                <a:gd name="connsiteX3100" fmla="*/ 1039258 w 1556920"/>
                <a:gd name="connsiteY3100" fmla="*/ 408031 h 1898459"/>
                <a:gd name="connsiteX3101" fmla="*/ 1040952 w 1556920"/>
                <a:gd name="connsiteY3101" fmla="*/ 408727 h 1898459"/>
                <a:gd name="connsiteX3102" fmla="*/ 1039621 w 1556920"/>
                <a:gd name="connsiteY3102" fmla="*/ 412267 h 1898459"/>
                <a:gd name="connsiteX3103" fmla="*/ 1036868 w 1556920"/>
                <a:gd name="connsiteY3103" fmla="*/ 412267 h 1898459"/>
                <a:gd name="connsiteX3104" fmla="*/ 1031271 w 1556920"/>
                <a:gd name="connsiteY3104" fmla="*/ 409937 h 1898459"/>
                <a:gd name="connsiteX3105" fmla="*/ 1025524 w 1556920"/>
                <a:gd name="connsiteY3105" fmla="*/ 411813 h 1898459"/>
                <a:gd name="connsiteX3106" fmla="*/ 1022710 w 1556920"/>
                <a:gd name="connsiteY3106" fmla="*/ 412025 h 1898459"/>
                <a:gd name="connsiteX3107" fmla="*/ 1020290 w 1556920"/>
                <a:gd name="connsiteY3107" fmla="*/ 409907 h 1898459"/>
                <a:gd name="connsiteX3108" fmla="*/ 1020683 w 1556920"/>
                <a:gd name="connsiteY3108" fmla="*/ 409635 h 1898459"/>
                <a:gd name="connsiteX3109" fmla="*/ 1021682 w 1556920"/>
                <a:gd name="connsiteY3109" fmla="*/ 408667 h 1898459"/>
                <a:gd name="connsiteX3110" fmla="*/ 1019383 w 1556920"/>
                <a:gd name="connsiteY3110" fmla="*/ 407638 h 1898459"/>
                <a:gd name="connsiteX3111" fmla="*/ 1016146 w 1556920"/>
                <a:gd name="connsiteY3111" fmla="*/ 407547 h 1898459"/>
                <a:gd name="connsiteX3112" fmla="*/ 1009884 w 1556920"/>
                <a:gd name="connsiteY3112" fmla="*/ 408667 h 1898459"/>
                <a:gd name="connsiteX3113" fmla="*/ 1006011 w 1556920"/>
                <a:gd name="connsiteY3113" fmla="*/ 410391 h 1898459"/>
                <a:gd name="connsiteX3114" fmla="*/ 999114 w 1556920"/>
                <a:gd name="connsiteY3114" fmla="*/ 415262 h 1898459"/>
                <a:gd name="connsiteX3115" fmla="*/ 994758 w 1556920"/>
                <a:gd name="connsiteY3115" fmla="*/ 417137 h 1898459"/>
                <a:gd name="connsiteX3116" fmla="*/ 986136 w 1556920"/>
                <a:gd name="connsiteY3116" fmla="*/ 418468 h 1898459"/>
                <a:gd name="connsiteX3117" fmla="*/ 977515 w 1556920"/>
                <a:gd name="connsiteY3117" fmla="*/ 417137 h 1898459"/>
                <a:gd name="connsiteX3118" fmla="*/ 975276 w 1556920"/>
                <a:gd name="connsiteY3118" fmla="*/ 417561 h 1898459"/>
                <a:gd name="connsiteX3119" fmla="*/ 974731 w 1556920"/>
                <a:gd name="connsiteY3119" fmla="*/ 417077 h 1898459"/>
                <a:gd name="connsiteX3120" fmla="*/ 972856 w 1556920"/>
                <a:gd name="connsiteY3120" fmla="*/ 413628 h 1898459"/>
                <a:gd name="connsiteX3121" fmla="*/ 972735 w 1556920"/>
                <a:gd name="connsiteY3121" fmla="*/ 413204 h 1898459"/>
                <a:gd name="connsiteX3122" fmla="*/ 972584 w 1556920"/>
                <a:gd name="connsiteY3122" fmla="*/ 413386 h 1898459"/>
                <a:gd name="connsiteX3123" fmla="*/ 971676 w 1556920"/>
                <a:gd name="connsiteY3123" fmla="*/ 413598 h 1898459"/>
                <a:gd name="connsiteX3124" fmla="*/ 970769 w 1556920"/>
                <a:gd name="connsiteY3124" fmla="*/ 414203 h 1898459"/>
                <a:gd name="connsiteX3125" fmla="*/ 969498 w 1556920"/>
                <a:gd name="connsiteY3125" fmla="*/ 417167 h 1898459"/>
                <a:gd name="connsiteX3126" fmla="*/ 968621 w 1556920"/>
                <a:gd name="connsiteY3126" fmla="*/ 418438 h 1898459"/>
                <a:gd name="connsiteX3127" fmla="*/ 967501 w 1556920"/>
                <a:gd name="connsiteY3127" fmla="*/ 419103 h 1898459"/>
                <a:gd name="connsiteX3128" fmla="*/ 966624 w 1556920"/>
                <a:gd name="connsiteY3128" fmla="*/ 419043 h 1898459"/>
                <a:gd name="connsiteX3129" fmla="*/ 964506 w 1556920"/>
                <a:gd name="connsiteY3129" fmla="*/ 418408 h 1898459"/>
                <a:gd name="connsiteX3130" fmla="*/ 960665 w 1556920"/>
                <a:gd name="connsiteY3130" fmla="*/ 418408 h 1898459"/>
                <a:gd name="connsiteX3131" fmla="*/ 959545 w 1556920"/>
                <a:gd name="connsiteY3131" fmla="*/ 418952 h 1898459"/>
                <a:gd name="connsiteX3132" fmla="*/ 958789 w 1556920"/>
                <a:gd name="connsiteY3132" fmla="*/ 421282 h 1898459"/>
                <a:gd name="connsiteX3133" fmla="*/ 957912 w 1556920"/>
                <a:gd name="connsiteY3133" fmla="*/ 421796 h 1898459"/>
                <a:gd name="connsiteX3134" fmla="*/ 956520 w 1556920"/>
                <a:gd name="connsiteY3134" fmla="*/ 421554 h 1898459"/>
                <a:gd name="connsiteX3135" fmla="*/ 954614 w 1556920"/>
                <a:gd name="connsiteY3135" fmla="*/ 420646 h 1898459"/>
                <a:gd name="connsiteX3136" fmla="*/ 953465 w 1556920"/>
                <a:gd name="connsiteY3136" fmla="*/ 420828 h 1898459"/>
                <a:gd name="connsiteX3137" fmla="*/ 952799 w 1556920"/>
                <a:gd name="connsiteY3137" fmla="*/ 421493 h 1898459"/>
                <a:gd name="connsiteX3138" fmla="*/ 952345 w 1556920"/>
                <a:gd name="connsiteY3138" fmla="*/ 422492 h 1898459"/>
                <a:gd name="connsiteX3139" fmla="*/ 951740 w 1556920"/>
                <a:gd name="connsiteY3139" fmla="*/ 423550 h 1898459"/>
                <a:gd name="connsiteX3140" fmla="*/ 950651 w 1556920"/>
                <a:gd name="connsiteY3140" fmla="*/ 424337 h 1898459"/>
                <a:gd name="connsiteX3141" fmla="*/ 952073 w 1556920"/>
                <a:gd name="connsiteY3141" fmla="*/ 425638 h 1898459"/>
                <a:gd name="connsiteX3142" fmla="*/ 949804 w 1556920"/>
                <a:gd name="connsiteY3142" fmla="*/ 425063 h 1898459"/>
                <a:gd name="connsiteX3143" fmla="*/ 946809 w 1556920"/>
                <a:gd name="connsiteY3143" fmla="*/ 422401 h 1898459"/>
                <a:gd name="connsiteX3144" fmla="*/ 944813 w 1556920"/>
                <a:gd name="connsiteY3144" fmla="*/ 421796 h 1898459"/>
                <a:gd name="connsiteX3145" fmla="*/ 943814 w 1556920"/>
                <a:gd name="connsiteY3145" fmla="*/ 421917 h 1898459"/>
                <a:gd name="connsiteX3146" fmla="*/ 941122 w 1556920"/>
                <a:gd name="connsiteY3146" fmla="*/ 423127 h 1898459"/>
                <a:gd name="connsiteX3147" fmla="*/ 937250 w 1556920"/>
                <a:gd name="connsiteY3147" fmla="*/ 425638 h 1898459"/>
                <a:gd name="connsiteX3148" fmla="*/ 936947 w 1556920"/>
                <a:gd name="connsiteY3148" fmla="*/ 426031 h 1898459"/>
                <a:gd name="connsiteX3149" fmla="*/ 932863 w 1556920"/>
                <a:gd name="connsiteY3149" fmla="*/ 430145 h 1898459"/>
                <a:gd name="connsiteX3150" fmla="*/ 932440 w 1556920"/>
                <a:gd name="connsiteY3150" fmla="*/ 430357 h 1898459"/>
                <a:gd name="connsiteX3151" fmla="*/ 932047 w 1556920"/>
                <a:gd name="connsiteY3151" fmla="*/ 430660 h 1898459"/>
                <a:gd name="connsiteX3152" fmla="*/ 932047 w 1556920"/>
                <a:gd name="connsiteY3152" fmla="*/ 431355 h 1898459"/>
                <a:gd name="connsiteX3153" fmla="*/ 932198 w 1556920"/>
                <a:gd name="connsiteY3153" fmla="*/ 432202 h 1898459"/>
                <a:gd name="connsiteX3154" fmla="*/ 932077 w 1556920"/>
                <a:gd name="connsiteY3154" fmla="*/ 432898 h 1898459"/>
                <a:gd name="connsiteX3155" fmla="*/ 929354 w 1556920"/>
                <a:gd name="connsiteY3155" fmla="*/ 436649 h 1898459"/>
                <a:gd name="connsiteX3156" fmla="*/ 927660 w 1556920"/>
                <a:gd name="connsiteY3156" fmla="*/ 438222 h 1898459"/>
                <a:gd name="connsiteX3157" fmla="*/ 925936 w 1556920"/>
                <a:gd name="connsiteY3157" fmla="*/ 438948 h 1898459"/>
                <a:gd name="connsiteX3158" fmla="*/ 927721 w 1556920"/>
                <a:gd name="connsiteY3158" fmla="*/ 435076 h 1898459"/>
                <a:gd name="connsiteX3159" fmla="*/ 929022 w 1556920"/>
                <a:gd name="connsiteY3159" fmla="*/ 431416 h 1898459"/>
                <a:gd name="connsiteX3160" fmla="*/ 930504 w 1556920"/>
                <a:gd name="connsiteY3160" fmla="*/ 428209 h 1898459"/>
                <a:gd name="connsiteX3161" fmla="*/ 932863 w 1556920"/>
                <a:gd name="connsiteY3161" fmla="*/ 425638 h 1898459"/>
                <a:gd name="connsiteX3162" fmla="*/ 932652 w 1556920"/>
                <a:gd name="connsiteY3162" fmla="*/ 423853 h 1898459"/>
                <a:gd name="connsiteX3163" fmla="*/ 932742 w 1556920"/>
                <a:gd name="connsiteY3163" fmla="*/ 423762 h 1898459"/>
                <a:gd name="connsiteX3164" fmla="*/ 932894 w 1556920"/>
                <a:gd name="connsiteY3164" fmla="*/ 423127 h 1898459"/>
                <a:gd name="connsiteX3165" fmla="*/ 932894 w 1556920"/>
                <a:gd name="connsiteY3165" fmla="*/ 421796 h 1898459"/>
                <a:gd name="connsiteX3166" fmla="*/ 927963 w 1556920"/>
                <a:gd name="connsiteY3166" fmla="*/ 418408 h 1898459"/>
                <a:gd name="connsiteX3167" fmla="*/ 923728 w 1556920"/>
                <a:gd name="connsiteY3167" fmla="*/ 416653 h 1898459"/>
                <a:gd name="connsiteX3168" fmla="*/ 919402 w 1556920"/>
                <a:gd name="connsiteY3168" fmla="*/ 415867 h 1898459"/>
                <a:gd name="connsiteX3169" fmla="*/ 916951 w 1556920"/>
                <a:gd name="connsiteY3169" fmla="*/ 416895 h 1898459"/>
                <a:gd name="connsiteX3170" fmla="*/ 915923 w 1556920"/>
                <a:gd name="connsiteY3170" fmla="*/ 419406 h 1898459"/>
                <a:gd name="connsiteX3171" fmla="*/ 915318 w 1556920"/>
                <a:gd name="connsiteY3171" fmla="*/ 422613 h 1898459"/>
                <a:gd name="connsiteX3172" fmla="*/ 914198 w 1556920"/>
                <a:gd name="connsiteY3172" fmla="*/ 425668 h 1898459"/>
                <a:gd name="connsiteX3173" fmla="*/ 912353 w 1556920"/>
                <a:gd name="connsiteY3173" fmla="*/ 427392 h 1898459"/>
                <a:gd name="connsiteX3174" fmla="*/ 910326 w 1556920"/>
                <a:gd name="connsiteY3174" fmla="*/ 428270 h 1898459"/>
                <a:gd name="connsiteX3175" fmla="*/ 908662 w 1556920"/>
                <a:gd name="connsiteY3175" fmla="*/ 429510 h 1898459"/>
                <a:gd name="connsiteX3176" fmla="*/ 907997 w 1556920"/>
                <a:gd name="connsiteY3176" fmla="*/ 432263 h 1898459"/>
                <a:gd name="connsiteX3177" fmla="*/ 907029 w 1556920"/>
                <a:gd name="connsiteY3177" fmla="*/ 432747 h 1898459"/>
                <a:gd name="connsiteX3178" fmla="*/ 901039 w 1556920"/>
                <a:gd name="connsiteY3178" fmla="*/ 438948 h 1898459"/>
                <a:gd name="connsiteX3179" fmla="*/ 899163 w 1556920"/>
                <a:gd name="connsiteY3179" fmla="*/ 439221 h 1898459"/>
                <a:gd name="connsiteX3180" fmla="*/ 900131 w 1556920"/>
                <a:gd name="connsiteY3180" fmla="*/ 436801 h 1898459"/>
                <a:gd name="connsiteX3181" fmla="*/ 902037 w 1556920"/>
                <a:gd name="connsiteY3181" fmla="*/ 433473 h 1898459"/>
                <a:gd name="connsiteX3182" fmla="*/ 903852 w 1556920"/>
                <a:gd name="connsiteY3182" fmla="*/ 429026 h 1898459"/>
                <a:gd name="connsiteX3183" fmla="*/ 907422 w 1556920"/>
                <a:gd name="connsiteY3183" fmla="*/ 425789 h 1898459"/>
                <a:gd name="connsiteX3184" fmla="*/ 908602 w 1556920"/>
                <a:gd name="connsiteY3184" fmla="*/ 424337 h 1898459"/>
                <a:gd name="connsiteX3185" fmla="*/ 909025 w 1556920"/>
                <a:gd name="connsiteY3185" fmla="*/ 423218 h 1898459"/>
                <a:gd name="connsiteX3186" fmla="*/ 909419 w 1556920"/>
                <a:gd name="connsiteY3186" fmla="*/ 421584 h 1898459"/>
                <a:gd name="connsiteX3187" fmla="*/ 909328 w 1556920"/>
                <a:gd name="connsiteY3187" fmla="*/ 420102 h 1898459"/>
                <a:gd name="connsiteX3188" fmla="*/ 908269 w 1556920"/>
                <a:gd name="connsiteY3188" fmla="*/ 419466 h 1898459"/>
                <a:gd name="connsiteX3189" fmla="*/ 906968 w 1556920"/>
                <a:gd name="connsiteY3189" fmla="*/ 419103 h 1898459"/>
                <a:gd name="connsiteX3190" fmla="*/ 904125 w 1556920"/>
                <a:gd name="connsiteY3190" fmla="*/ 417046 h 1898459"/>
                <a:gd name="connsiteX3191" fmla="*/ 902430 w 1556920"/>
                <a:gd name="connsiteY3191" fmla="*/ 416260 h 1898459"/>
                <a:gd name="connsiteX3192" fmla="*/ 899345 w 1556920"/>
                <a:gd name="connsiteY3192" fmla="*/ 412418 h 1898459"/>
                <a:gd name="connsiteX3193" fmla="*/ 897560 w 1556920"/>
                <a:gd name="connsiteY3193" fmla="*/ 410996 h 1898459"/>
                <a:gd name="connsiteX3194" fmla="*/ 898044 w 1556920"/>
                <a:gd name="connsiteY3194" fmla="*/ 413961 h 1898459"/>
                <a:gd name="connsiteX3195" fmla="*/ 897499 w 1556920"/>
                <a:gd name="connsiteY3195" fmla="*/ 415231 h 1898459"/>
                <a:gd name="connsiteX3196" fmla="*/ 896622 w 1556920"/>
                <a:gd name="connsiteY3196" fmla="*/ 416351 h 1898459"/>
                <a:gd name="connsiteX3197" fmla="*/ 896168 w 1556920"/>
                <a:gd name="connsiteY3197" fmla="*/ 418922 h 1898459"/>
                <a:gd name="connsiteX3198" fmla="*/ 896168 w 1556920"/>
                <a:gd name="connsiteY3198" fmla="*/ 420828 h 1898459"/>
                <a:gd name="connsiteX3199" fmla="*/ 896017 w 1556920"/>
                <a:gd name="connsiteY3199" fmla="*/ 422613 h 1898459"/>
                <a:gd name="connsiteX3200" fmla="*/ 895231 w 1556920"/>
                <a:gd name="connsiteY3200" fmla="*/ 424246 h 1898459"/>
                <a:gd name="connsiteX3201" fmla="*/ 893385 w 1556920"/>
                <a:gd name="connsiteY3201" fmla="*/ 425638 h 1898459"/>
                <a:gd name="connsiteX3202" fmla="*/ 894051 w 1556920"/>
                <a:gd name="connsiteY3202" fmla="*/ 424337 h 1898459"/>
                <a:gd name="connsiteX3203" fmla="*/ 894474 w 1556920"/>
                <a:gd name="connsiteY3203" fmla="*/ 423006 h 1898459"/>
                <a:gd name="connsiteX3204" fmla="*/ 894747 w 1556920"/>
                <a:gd name="connsiteY3204" fmla="*/ 421463 h 1898459"/>
                <a:gd name="connsiteX3205" fmla="*/ 894837 w 1556920"/>
                <a:gd name="connsiteY3205" fmla="*/ 419497 h 1898459"/>
                <a:gd name="connsiteX3206" fmla="*/ 894535 w 1556920"/>
                <a:gd name="connsiteY3206" fmla="*/ 419678 h 1898459"/>
                <a:gd name="connsiteX3207" fmla="*/ 893930 w 1556920"/>
                <a:gd name="connsiteY3207" fmla="*/ 417288 h 1898459"/>
                <a:gd name="connsiteX3208" fmla="*/ 893416 w 1556920"/>
                <a:gd name="connsiteY3208" fmla="*/ 414505 h 1898459"/>
                <a:gd name="connsiteX3209" fmla="*/ 893416 w 1556920"/>
                <a:gd name="connsiteY3209" fmla="*/ 413567 h 1898459"/>
                <a:gd name="connsiteX3210" fmla="*/ 891601 w 1556920"/>
                <a:gd name="connsiteY3210" fmla="*/ 411420 h 1898459"/>
                <a:gd name="connsiteX3211" fmla="*/ 889241 w 1556920"/>
                <a:gd name="connsiteY3211" fmla="*/ 409968 h 1898459"/>
                <a:gd name="connsiteX3212" fmla="*/ 876293 w 1556920"/>
                <a:gd name="connsiteY3212" fmla="*/ 407275 h 1898459"/>
                <a:gd name="connsiteX3213" fmla="*/ 874599 w 1556920"/>
                <a:gd name="connsiteY3213" fmla="*/ 409151 h 1898459"/>
                <a:gd name="connsiteX3214" fmla="*/ 873934 w 1556920"/>
                <a:gd name="connsiteY3214" fmla="*/ 412206 h 1898459"/>
                <a:gd name="connsiteX3215" fmla="*/ 873571 w 1556920"/>
                <a:gd name="connsiteY3215" fmla="*/ 415836 h 1898459"/>
                <a:gd name="connsiteX3216" fmla="*/ 872784 w 1556920"/>
                <a:gd name="connsiteY3216" fmla="*/ 419497 h 1898459"/>
                <a:gd name="connsiteX3217" fmla="*/ 873480 w 1556920"/>
                <a:gd name="connsiteY3217" fmla="*/ 419497 h 1898459"/>
                <a:gd name="connsiteX3218" fmla="*/ 872300 w 1556920"/>
                <a:gd name="connsiteY3218" fmla="*/ 422189 h 1898459"/>
                <a:gd name="connsiteX3219" fmla="*/ 870818 w 1556920"/>
                <a:gd name="connsiteY3219" fmla="*/ 423702 h 1898459"/>
                <a:gd name="connsiteX3220" fmla="*/ 865494 w 1556920"/>
                <a:gd name="connsiteY3220" fmla="*/ 426636 h 1898459"/>
                <a:gd name="connsiteX3221" fmla="*/ 864707 w 1556920"/>
                <a:gd name="connsiteY3221" fmla="*/ 427453 h 1898459"/>
                <a:gd name="connsiteX3222" fmla="*/ 864526 w 1556920"/>
                <a:gd name="connsiteY3222" fmla="*/ 428996 h 1898459"/>
                <a:gd name="connsiteX3223" fmla="*/ 864526 w 1556920"/>
                <a:gd name="connsiteY3223" fmla="*/ 432202 h 1898459"/>
                <a:gd name="connsiteX3224" fmla="*/ 875597 w 1556920"/>
                <a:gd name="connsiteY3224" fmla="*/ 441187 h 1898459"/>
                <a:gd name="connsiteX3225" fmla="*/ 872572 w 1556920"/>
                <a:gd name="connsiteY3225" fmla="*/ 439221 h 1898459"/>
                <a:gd name="connsiteX3226" fmla="*/ 870092 w 1556920"/>
                <a:gd name="connsiteY3226" fmla="*/ 438132 h 1898459"/>
                <a:gd name="connsiteX3227" fmla="*/ 864526 w 1556920"/>
                <a:gd name="connsiteY3227" fmla="*/ 441187 h 1898459"/>
                <a:gd name="connsiteX3228" fmla="*/ 865494 w 1556920"/>
                <a:gd name="connsiteY3228" fmla="*/ 442095 h 1898459"/>
                <a:gd name="connsiteX3229" fmla="*/ 865917 w 1556920"/>
                <a:gd name="connsiteY3229" fmla="*/ 442397 h 1898459"/>
                <a:gd name="connsiteX3230" fmla="*/ 866613 w 1556920"/>
                <a:gd name="connsiteY3230" fmla="*/ 442518 h 1898459"/>
                <a:gd name="connsiteX3231" fmla="*/ 866613 w 1556920"/>
                <a:gd name="connsiteY3231" fmla="*/ 443728 h 1898459"/>
                <a:gd name="connsiteX3232" fmla="*/ 865312 w 1556920"/>
                <a:gd name="connsiteY3232" fmla="*/ 443728 h 1898459"/>
                <a:gd name="connsiteX3233" fmla="*/ 865312 w 1556920"/>
                <a:gd name="connsiteY3233" fmla="*/ 445029 h 1898459"/>
                <a:gd name="connsiteX3234" fmla="*/ 866431 w 1556920"/>
                <a:gd name="connsiteY3234" fmla="*/ 445180 h 1898459"/>
                <a:gd name="connsiteX3235" fmla="*/ 867520 w 1556920"/>
                <a:gd name="connsiteY3235" fmla="*/ 445089 h 1898459"/>
                <a:gd name="connsiteX3236" fmla="*/ 868519 w 1556920"/>
                <a:gd name="connsiteY3236" fmla="*/ 444605 h 1898459"/>
                <a:gd name="connsiteX3237" fmla="*/ 869426 w 1556920"/>
                <a:gd name="connsiteY3237" fmla="*/ 443728 h 1898459"/>
                <a:gd name="connsiteX3238" fmla="*/ 870122 w 1556920"/>
                <a:gd name="connsiteY3238" fmla="*/ 445029 h 1898459"/>
                <a:gd name="connsiteX3239" fmla="*/ 869820 w 1556920"/>
                <a:gd name="connsiteY3239" fmla="*/ 446451 h 1898459"/>
                <a:gd name="connsiteX3240" fmla="*/ 870757 w 1556920"/>
                <a:gd name="connsiteY3240" fmla="*/ 447600 h 1898459"/>
                <a:gd name="connsiteX3241" fmla="*/ 873540 w 1556920"/>
                <a:gd name="connsiteY3241" fmla="*/ 449718 h 1898459"/>
                <a:gd name="connsiteX3242" fmla="*/ 869335 w 1556920"/>
                <a:gd name="connsiteY3242" fmla="*/ 449869 h 1898459"/>
                <a:gd name="connsiteX3243" fmla="*/ 863497 w 1556920"/>
                <a:gd name="connsiteY3243" fmla="*/ 446088 h 1898459"/>
                <a:gd name="connsiteX3244" fmla="*/ 862862 w 1556920"/>
                <a:gd name="connsiteY3244" fmla="*/ 445906 h 1898459"/>
                <a:gd name="connsiteX3245" fmla="*/ 861531 w 1556920"/>
                <a:gd name="connsiteY3245" fmla="*/ 445150 h 1898459"/>
                <a:gd name="connsiteX3246" fmla="*/ 860774 w 1556920"/>
                <a:gd name="connsiteY3246" fmla="*/ 444968 h 1898459"/>
                <a:gd name="connsiteX3247" fmla="*/ 860381 w 1556920"/>
                <a:gd name="connsiteY3247" fmla="*/ 445392 h 1898459"/>
                <a:gd name="connsiteX3248" fmla="*/ 860381 w 1556920"/>
                <a:gd name="connsiteY3248" fmla="*/ 446420 h 1898459"/>
                <a:gd name="connsiteX3249" fmla="*/ 860532 w 1556920"/>
                <a:gd name="connsiteY3249" fmla="*/ 447570 h 1898459"/>
                <a:gd name="connsiteX3250" fmla="*/ 860441 w 1556920"/>
                <a:gd name="connsiteY3250" fmla="*/ 448478 h 1898459"/>
                <a:gd name="connsiteX3251" fmla="*/ 859504 w 1556920"/>
                <a:gd name="connsiteY3251" fmla="*/ 450323 h 1898459"/>
                <a:gd name="connsiteX3252" fmla="*/ 858778 w 1556920"/>
                <a:gd name="connsiteY3252" fmla="*/ 452077 h 1898459"/>
                <a:gd name="connsiteX3253" fmla="*/ 858778 w 1556920"/>
                <a:gd name="connsiteY3253" fmla="*/ 453832 h 1898459"/>
                <a:gd name="connsiteX3254" fmla="*/ 859746 w 1556920"/>
                <a:gd name="connsiteY3254" fmla="*/ 455708 h 1898459"/>
                <a:gd name="connsiteX3255" fmla="*/ 857749 w 1556920"/>
                <a:gd name="connsiteY3255" fmla="*/ 455708 h 1898459"/>
                <a:gd name="connsiteX3256" fmla="*/ 857961 w 1556920"/>
                <a:gd name="connsiteY3256" fmla="*/ 456978 h 1898459"/>
                <a:gd name="connsiteX3257" fmla="*/ 858294 w 1556920"/>
                <a:gd name="connsiteY3257" fmla="*/ 458279 h 1898459"/>
                <a:gd name="connsiteX3258" fmla="*/ 859080 w 1556920"/>
                <a:gd name="connsiteY3258" fmla="*/ 460518 h 1898459"/>
                <a:gd name="connsiteX3259" fmla="*/ 859443 w 1556920"/>
                <a:gd name="connsiteY3259" fmla="*/ 460881 h 1898459"/>
                <a:gd name="connsiteX3260" fmla="*/ 861349 w 1556920"/>
                <a:gd name="connsiteY3260" fmla="*/ 463573 h 1898459"/>
                <a:gd name="connsiteX3261" fmla="*/ 861470 w 1556920"/>
                <a:gd name="connsiteY3261" fmla="*/ 464239 h 1898459"/>
                <a:gd name="connsiteX3262" fmla="*/ 862499 w 1556920"/>
                <a:gd name="connsiteY3262" fmla="*/ 465176 h 1898459"/>
                <a:gd name="connsiteX3263" fmla="*/ 865463 w 1556920"/>
                <a:gd name="connsiteY3263" fmla="*/ 469291 h 1898459"/>
                <a:gd name="connsiteX3264" fmla="*/ 866946 w 1556920"/>
                <a:gd name="connsiteY3264" fmla="*/ 470228 h 1898459"/>
                <a:gd name="connsiteX3265" fmla="*/ 868035 w 1556920"/>
                <a:gd name="connsiteY3265" fmla="*/ 470622 h 1898459"/>
                <a:gd name="connsiteX3266" fmla="*/ 870092 w 1556920"/>
                <a:gd name="connsiteY3266" fmla="*/ 472255 h 1898459"/>
                <a:gd name="connsiteX3267" fmla="*/ 871120 w 1556920"/>
                <a:gd name="connsiteY3267" fmla="*/ 472649 h 1898459"/>
                <a:gd name="connsiteX3268" fmla="*/ 872209 w 1556920"/>
                <a:gd name="connsiteY3268" fmla="*/ 472316 h 1898459"/>
                <a:gd name="connsiteX3269" fmla="*/ 873359 w 1556920"/>
                <a:gd name="connsiteY3269" fmla="*/ 470743 h 1898459"/>
                <a:gd name="connsiteX3270" fmla="*/ 874176 w 1556920"/>
                <a:gd name="connsiteY3270" fmla="*/ 470259 h 1898459"/>
                <a:gd name="connsiteX3271" fmla="*/ 876142 w 1556920"/>
                <a:gd name="connsiteY3271" fmla="*/ 470259 h 1898459"/>
                <a:gd name="connsiteX3272" fmla="*/ 882525 w 1556920"/>
                <a:gd name="connsiteY3272" fmla="*/ 471438 h 1898459"/>
                <a:gd name="connsiteX3273" fmla="*/ 881164 w 1556920"/>
                <a:gd name="connsiteY3273" fmla="*/ 472346 h 1898459"/>
                <a:gd name="connsiteX3274" fmla="*/ 878290 w 1556920"/>
                <a:gd name="connsiteY3274" fmla="*/ 472830 h 1898459"/>
                <a:gd name="connsiteX3275" fmla="*/ 876959 w 1556920"/>
                <a:gd name="connsiteY3275" fmla="*/ 473859 h 1898459"/>
                <a:gd name="connsiteX3276" fmla="*/ 879682 w 1556920"/>
                <a:gd name="connsiteY3276" fmla="*/ 475795 h 1898459"/>
                <a:gd name="connsiteX3277" fmla="*/ 880831 w 1556920"/>
                <a:gd name="connsiteY3277" fmla="*/ 476884 h 1898459"/>
                <a:gd name="connsiteX3278" fmla="*/ 881829 w 1556920"/>
                <a:gd name="connsiteY3278" fmla="*/ 478729 h 1898459"/>
                <a:gd name="connsiteX3279" fmla="*/ 874902 w 1556920"/>
                <a:gd name="connsiteY3279" fmla="*/ 473828 h 1898459"/>
                <a:gd name="connsiteX3280" fmla="*/ 873359 w 1556920"/>
                <a:gd name="connsiteY3280" fmla="*/ 473435 h 1898459"/>
                <a:gd name="connsiteX3281" fmla="*/ 868337 w 1556920"/>
                <a:gd name="connsiteY3281" fmla="*/ 473828 h 1898459"/>
                <a:gd name="connsiteX3282" fmla="*/ 866976 w 1556920"/>
                <a:gd name="connsiteY3282" fmla="*/ 473284 h 1898459"/>
                <a:gd name="connsiteX3283" fmla="*/ 863920 w 1556920"/>
                <a:gd name="connsiteY3283" fmla="*/ 470803 h 1898459"/>
                <a:gd name="connsiteX3284" fmla="*/ 862136 w 1556920"/>
                <a:gd name="connsiteY3284" fmla="*/ 470259 h 1898459"/>
                <a:gd name="connsiteX3285" fmla="*/ 861228 w 1556920"/>
                <a:gd name="connsiteY3285" fmla="*/ 470591 h 1898459"/>
                <a:gd name="connsiteX3286" fmla="*/ 859837 w 1556920"/>
                <a:gd name="connsiteY3286" fmla="*/ 471438 h 1898459"/>
                <a:gd name="connsiteX3287" fmla="*/ 858475 w 1556920"/>
                <a:gd name="connsiteY3287" fmla="*/ 472588 h 1898459"/>
                <a:gd name="connsiteX3288" fmla="*/ 857719 w 1556920"/>
                <a:gd name="connsiteY3288" fmla="*/ 473859 h 1898459"/>
                <a:gd name="connsiteX3289" fmla="*/ 855601 w 1556920"/>
                <a:gd name="connsiteY3289" fmla="*/ 472255 h 1898459"/>
                <a:gd name="connsiteX3290" fmla="*/ 853423 w 1556920"/>
                <a:gd name="connsiteY3290" fmla="*/ 472013 h 1898459"/>
                <a:gd name="connsiteX3291" fmla="*/ 851275 w 1556920"/>
                <a:gd name="connsiteY3291" fmla="*/ 472679 h 1898459"/>
                <a:gd name="connsiteX3292" fmla="*/ 847282 w 1556920"/>
                <a:gd name="connsiteY3292" fmla="*/ 475190 h 1898459"/>
                <a:gd name="connsiteX3293" fmla="*/ 845588 w 1556920"/>
                <a:gd name="connsiteY3293" fmla="*/ 475613 h 1898459"/>
                <a:gd name="connsiteX3294" fmla="*/ 843894 w 1556920"/>
                <a:gd name="connsiteY3294" fmla="*/ 475190 h 1898459"/>
                <a:gd name="connsiteX3295" fmla="*/ 839659 w 1556920"/>
                <a:gd name="connsiteY3295" fmla="*/ 472467 h 1898459"/>
                <a:gd name="connsiteX3296" fmla="*/ 837360 w 1556920"/>
                <a:gd name="connsiteY3296" fmla="*/ 471529 h 1898459"/>
                <a:gd name="connsiteX3297" fmla="*/ 835726 w 1556920"/>
                <a:gd name="connsiteY3297" fmla="*/ 472044 h 1898459"/>
                <a:gd name="connsiteX3298" fmla="*/ 835635 w 1556920"/>
                <a:gd name="connsiteY3298" fmla="*/ 474978 h 1898459"/>
                <a:gd name="connsiteX3299" fmla="*/ 840294 w 1556920"/>
                <a:gd name="connsiteY3299" fmla="*/ 481633 h 1898459"/>
                <a:gd name="connsiteX3300" fmla="*/ 841292 w 1556920"/>
                <a:gd name="connsiteY3300" fmla="*/ 482269 h 1898459"/>
                <a:gd name="connsiteX3301" fmla="*/ 842593 w 1556920"/>
                <a:gd name="connsiteY3301" fmla="*/ 482269 h 1898459"/>
                <a:gd name="connsiteX3302" fmla="*/ 842381 w 1556920"/>
                <a:gd name="connsiteY3302" fmla="*/ 483085 h 1898459"/>
                <a:gd name="connsiteX3303" fmla="*/ 842049 w 1556920"/>
                <a:gd name="connsiteY3303" fmla="*/ 485142 h 1898459"/>
                <a:gd name="connsiteX3304" fmla="*/ 841837 w 1556920"/>
                <a:gd name="connsiteY3304" fmla="*/ 485959 h 1898459"/>
                <a:gd name="connsiteX3305" fmla="*/ 842805 w 1556920"/>
                <a:gd name="connsiteY3305" fmla="*/ 486262 h 1898459"/>
                <a:gd name="connsiteX3306" fmla="*/ 843682 w 1556920"/>
                <a:gd name="connsiteY3306" fmla="*/ 486776 h 1898459"/>
                <a:gd name="connsiteX3307" fmla="*/ 844529 w 1556920"/>
                <a:gd name="connsiteY3307" fmla="*/ 487472 h 1898459"/>
                <a:gd name="connsiteX3308" fmla="*/ 845285 w 1556920"/>
                <a:gd name="connsiteY3308" fmla="*/ 488319 h 1898459"/>
                <a:gd name="connsiteX3309" fmla="*/ 844529 w 1556920"/>
                <a:gd name="connsiteY3309" fmla="*/ 489438 h 1898459"/>
                <a:gd name="connsiteX3310" fmla="*/ 845921 w 1556920"/>
                <a:gd name="connsiteY3310" fmla="*/ 490436 h 1898459"/>
                <a:gd name="connsiteX3311" fmla="*/ 847494 w 1556920"/>
                <a:gd name="connsiteY3311" fmla="*/ 490739 h 1898459"/>
                <a:gd name="connsiteX3312" fmla="*/ 850822 w 1556920"/>
                <a:gd name="connsiteY3312" fmla="*/ 490588 h 1898459"/>
                <a:gd name="connsiteX3313" fmla="*/ 850822 w 1556920"/>
                <a:gd name="connsiteY3313" fmla="*/ 491888 h 1898459"/>
                <a:gd name="connsiteX3314" fmla="*/ 849460 w 1556920"/>
                <a:gd name="connsiteY3314" fmla="*/ 492614 h 1898459"/>
                <a:gd name="connsiteX3315" fmla="*/ 846586 w 1556920"/>
                <a:gd name="connsiteY3315" fmla="*/ 493250 h 1898459"/>
                <a:gd name="connsiteX3316" fmla="*/ 845255 w 1556920"/>
                <a:gd name="connsiteY3316" fmla="*/ 494157 h 1898459"/>
                <a:gd name="connsiteX3317" fmla="*/ 847343 w 1556920"/>
                <a:gd name="connsiteY3317" fmla="*/ 495458 h 1898459"/>
                <a:gd name="connsiteX3318" fmla="*/ 847343 w 1556920"/>
                <a:gd name="connsiteY3318" fmla="*/ 496668 h 1898459"/>
                <a:gd name="connsiteX3319" fmla="*/ 845951 w 1556920"/>
                <a:gd name="connsiteY3319" fmla="*/ 496668 h 1898459"/>
                <a:gd name="connsiteX3320" fmla="*/ 846647 w 1556920"/>
                <a:gd name="connsiteY3320" fmla="*/ 497908 h 1898459"/>
                <a:gd name="connsiteX3321" fmla="*/ 847131 w 1556920"/>
                <a:gd name="connsiteY3321" fmla="*/ 499330 h 1898459"/>
                <a:gd name="connsiteX3322" fmla="*/ 847191 w 1556920"/>
                <a:gd name="connsiteY3322" fmla="*/ 500934 h 1898459"/>
                <a:gd name="connsiteX3323" fmla="*/ 846677 w 1556920"/>
                <a:gd name="connsiteY3323" fmla="*/ 502658 h 1898459"/>
                <a:gd name="connsiteX3324" fmla="*/ 847312 w 1556920"/>
                <a:gd name="connsiteY3324" fmla="*/ 502658 h 1898459"/>
                <a:gd name="connsiteX3325" fmla="*/ 844892 w 1556920"/>
                <a:gd name="connsiteY3325" fmla="*/ 505502 h 1898459"/>
                <a:gd name="connsiteX3326" fmla="*/ 842654 w 1556920"/>
                <a:gd name="connsiteY3326" fmla="*/ 505229 h 1898459"/>
                <a:gd name="connsiteX3327" fmla="*/ 840506 w 1556920"/>
                <a:gd name="connsiteY3327" fmla="*/ 504564 h 1898459"/>
                <a:gd name="connsiteX3328" fmla="*/ 838297 w 1556920"/>
                <a:gd name="connsiteY3328" fmla="*/ 506228 h 1898459"/>
                <a:gd name="connsiteX3329" fmla="*/ 835908 w 1556920"/>
                <a:gd name="connsiteY3329" fmla="*/ 501660 h 1898459"/>
                <a:gd name="connsiteX3330" fmla="*/ 832066 w 1556920"/>
                <a:gd name="connsiteY3330" fmla="*/ 500661 h 1898459"/>
                <a:gd name="connsiteX3331" fmla="*/ 830160 w 1556920"/>
                <a:gd name="connsiteY3331" fmla="*/ 503051 h 1898459"/>
                <a:gd name="connsiteX3332" fmla="*/ 833488 w 1556920"/>
                <a:gd name="connsiteY3332" fmla="*/ 508648 h 1898459"/>
                <a:gd name="connsiteX3333" fmla="*/ 833488 w 1556920"/>
                <a:gd name="connsiteY3333" fmla="*/ 509828 h 1898459"/>
                <a:gd name="connsiteX3334" fmla="*/ 832913 w 1556920"/>
                <a:gd name="connsiteY3334" fmla="*/ 510433 h 1898459"/>
                <a:gd name="connsiteX3335" fmla="*/ 832640 w 1556920"/>
                <a:gd name="connsiteY3335" fmla="*/ 510977 h 1898459"/>
                <a:gd name="connsiteX3336" fmla="*/ 832459 w 1556920"/>
                <a:gd name="connsiteY3336" fmla="*/ 511582 h 1898459"/>
                <a:gd name="connsiteX3337" fmla="*/ 832126 w 1556920"/>
                <a:gd name="connsiteY3337" fmla="*/ 512338 h 1898459"/>
                <a:gd name="connsiteX3338" fmla="*/ 836271 w 1556920"/>
                <a:gd name="connsiteY3338" fmla="*/ 512096 h 1898459"/>
                <a:gd name="connsiteX3339" fmla="*/ 838237 w 1556920"/>
                <a:gd name="connsiteY3339" fmla="*/ 512732 h 1898459"/>
                <a:gd name="connsiteX3340" fmla="*/ 839750 w 1556920"/>
                <a:gd name="connsiteY3340" fmla="*/ 514728 h 1898459"/>
                <a:gd name="connsiteX3341" fmla="*/ 839265 w 1556920"/>
                <a:gd name="connsiteY3341" fmla="*/ 515182 h 1898459"/>
                <a:gd name="connsiteX3342" fmla="*/ 839265 w 1556920"/>
                <a:gd name="connsiteY3342" fmla="*/ 515333 h 1898459"/>
                <a:gd name="connsiteX3343" fmla="*/ 838993 w 1556920"/>
                <a:gd name="connsiteY3343" fmla="*/ 515787 h 1898459"/>
                <a:gd name="connsiteX3344" fmla="*/ 841565 w 1556920"/>
                <a:gd name="connsiteY3344" fmla="*/ 516271 h 1898459"/>
                <a:gd name="connsiteX3345" fmla="*/ 845709 w 1556920"/>
                <a:gd name="connsiteY3345" fmla="*/ 521142 h 1898459"/>
                <a:gd name="connsiteX3346" fmla="*/ 848674 w 1556920"/>
                <a:gd name="connsiteY3346" fmla="*/ 521837 h 1898459"/>
                <a:gd name="connsiteX3347" fmla="*/ 850096 w 1556920"/>
                <a:gd name="connsiteY3347" fmla="*/ 523078 h 1898459"/>
                <a:gd name="connsiteX3348" fmla="*/ 853332 w 1556920"/>
                <a:gd name="connsiteY3348" fmla="*/ 523683 h 1898459"/>
                <a:gd name="connsiteX3349" fmla="*/ 854543 w 1556920"/>
                <a:gd name="connsiteY3349" fmla="*/ 524681 h 1898459"/>
                <a:gd name="connsiteX3350" fmla="*/ 855450 w 1556920"/>
                <a:gd name="connsiteY3350" fmla="*/ 526859 h 1898459"/>
                <a:gd name="connsiteX3351" fmla="*/ 855601 w 1556920"/>
                <a:gd name="connsiteY3351" fmla="*/ 528886 h 1898459"/>
                <a:gd name="connsiteX3352" fmla="*/ 854815 w 1556920"/>
                <a:gd name="connsiteY3352" fmla="*/ 530156 h 1898459"/>
                <a:gd name="connsiteX3353" fmla="*/ 852848 w 1556920"/>
                <a:gd name="connsiteY3353" fmla="*/ 530156 h 1898459"/>
                <a:gd name="connsiteX3354" fmla="*/ 852848 w 1556920"/>
                <a:gd name="connsiteY3354" fmla="*/ 531427 h 1898459"/>
                <a:gd name="connsiteX3355" fmla="*/ 855299 w 1556920"/>
                <a:gd name="connsiteY3355" fmla="*/ 532032 h 1898459"/>
                <a:gd name="connsiteX3356" fmla="*/ 865372 w 1556920"/>
                <a:gd name="connsiteY3356" fmla="*/ 540200 h 1898459"/>
                <a:gd name="connsiteX3357" fmla="*/ 865917 w 1556920"/>
                <a:gd name="connsiteY3357" fmla="*/ 541380 h 1898459"/>
                <a:gd name="connsiteX3358" fmla="*/ 866159 w 1556920"/>
                <a:gd name="connsiteY3358" fmla="*/ 542590 h 1898459"/>
                <a:gd name="connsiteX3359" fmla="*/ 866764 w 1556920"/>
                <a:gd name="connsiteY3359" fmla="*/ 544284 h 1898459"/>
                <a:gd name="connsiteX3360" fmla="*/ 867460 w 1556920"/>
                <a:gd name="connsiteY3360" fmla="*/ 545857 h 1898459"/>
                <a:gd name="connsiteX3361" fmla="*/ 868035 w 1556920"/>
                <a:gd name="connsiteY3361" fmla="*/ 546795 h 1898459"/>
                <a:gd name="connsiteX3362" fmla="*/ 865978 w 1556920"/>
                <a:gd name="connsiteY3362" fmla="*/ 545554 h 1898459"/>
                <a:gd name="connsiteX3363" fmla="*/ 863073 w 1556920"/>
                <a:gd name="connsiteY3363" fmla="*/ 540744 h 1898459"/>
                <a:gd name="connsiteX3364" fmla="*/ 858808 w 1556920"/>
                <a:gd name="connsiteY3364" fmla="*/ 538929 h 1898459"/>
                <a:gd name="connsiteX3365" fmla="*/ 855117 w 1556920"/>
                <a:gd name="connsiteY3365" fmla="*/ 535572 h 1898459"/>
                <a:gd name="connsiteX3366" fmla="*/ 853877 w 1556920"/>
                <a:gd name="connsiteY3366" fmla="*/ 534815 h 1898459"/>
                <a:gd name="connsiteX3367" fmla="*/ 852909 w 1556920"/>
                <a:gd name="connsiteY3367" fmla="*/ 534483 h 1898459"/>
                <a:gd name="connsiteX3368" fmla="*/ 850640 w 1556920"/>
                <a:gd name="connsiteY3368" fmla="*/ 532940 h 1898459"/>
                <a:gd name="connsiteX3369" fmla="*/ 849370 w 1556920"/>
                <a:gd name="connsiteY3369" fmla="*/ 532546 h 1898459"/>
                <a:gd name="connsiteX3370" fmla="*/ 848281 w 1556920"/>
                <a:gd name="connsiteY3370" fmla="*/ 532728 h 1898459"/>
                <a:gd name="connsiteX3371" fmla="*/ 846375 w 1556920"/>
                <a:gd name="connsiteY3371" fmla="*/ 533666 h 1898459"/>
                <a:gd name="connsiteX3372" fmla="*/ 845225 w 1556920"/>
                <a:gd name="connsiteY3372" fmla="*/ 533756 h 1898459"/>
                <a:gd name="connsiteX3373" fmla="*/ 843047 w 1556920"/>
                <a:gd name="connsiteY3373" fmla="*/ 532637 h 1898459"/>
                <a:gd name="connsiteX3374" fmla="*/ 840234 w 1556920"/>
                <a:gd name="connsiteY3374" fmla="*/ 528825 h 1898459"/>
                <a:gd name="connsiteX3375" fmla="*/ 838297 w 1556920"/>
                <a:gd name="connsiteY3375" fmla="*/ 527706 h 1898459"/>
                <a:gd name="connsiteX3376" fmla="*/ 837753 w 1556920"/>
                <a:gd name="connsiteY3376" fmla="*/ 529793 h 1898459"/>
                <a:gd name="connsiteX3377" fmla="*/ 837027 w 1556920"/>
                <a:gd name="connsiteY3377" fmla="*/ 529642 h 1898459"/>
                <a:gd name="connsiteX3378" fmla="*/ 836271 w 1556920"/>
                <a:gd name="connsiteY3378" fmla="*/ 528825 h 1898459"/>
                <a:gd name="connsiteX3379" fmla="*/ 835635 w 1556920"/>
                <a:gd name="connsiteY3379" fmla="*/ 528977 h 1898459"/>
                <a:gd name="connsiteX3380" fmla="*/ 835212 w 1556920"/>
                <a:gd name="connsiteY3380" fmla="*/ 530156 h 1898459"/>
                <a:gd name="connsiteX3381" fmla="*/ 835212 w 1556920"/>
                <a:gd name="connsiteY3381" fmla="*/ 530641 h 1898459"/>
                <a:gd name="connsiteX3382" fmla="*/ 835514 w 1556920"/>
                <a:gd name="connsiteY3382" fmla="*/ 531034 h 1898459"/>
                <a:gd name="connsiteX3383" fmla="*/ 835666 w 1556920"/>
                <a:gd name="connsiteY3383" fmla="*/ 532032 h 1898459"/>
                <a:gd name="connsiteX3384" fmla="*/ 836482 w 1556920"/>
                <a:gd name="connsiteY3384" fmla="*/ 532728 h 1898459"/>
                <a:gd name="connsiteX3385" fmla="*/ 842926 w 1556920"/>
                <a:gd name="connsiteY3385" fmla="*/ 535450 h 1898459"/>
                <a:gd name="connsiteX3386" fmla="*/ 847343 w 1556920"/>
                <a:gd name="connsiteY3386" fmla="*/ 539686 h 1898459"/>
                <a:gd name="connsiteX3387" fmla="*/ 850277 w 1556920"/>
                <a:gd name="connsiteY3387" fmla="*/ 540926 h 1898459"/>
                <a:gd name="connsiteX3388" fmla="*/ 851427 w 1556920"/>
                <a:gd name="connsiteY3388" fmla="*/ 542015 h 1898459"/>
                <a:gd name="connsiteX3389" fmla="*/ 852909 w 1556920"/>
                <a:gd name="connsiteY3389" fmla="*/ 544435 h 1898459"/>
                <a:gd name="connsiteX3390" fmla="*/ 845618 w 1556920"/>
                <a:gd name="connsiteY3390" fmla="*/ 541803 h 1898459"/>
                <a:gd name="connsiteX3391" fmla="*/ 842230 w 1556920"/>
                <a:gd name="connsiteY3391" fmla="*/ 539867 h 1898459"/>
                <a:gd name="connsiteX3392" fmla="*/ 839387 w 1556920"/>
                <a:gd name="connsiteY3392" fmla="*/ 536721 h 1898459"/>
                <a:gd name="connsiteX3393" fmla="*/ 837995 w 1556920"/>
                <a:gd name="connsiteY3393" fmla="*/ 535632 h 1898459"/>
                <a:gd name="connsiteX3394" fmla="*/ 833427 w 1556920"/>
                <a:gd name="connsiteY3394" fmla="*/ 533787 h 1898459"/>
                <a:gd name="connsiteX3395" fmla="*/ 832156 w 1556920"/>
                <a:gd name="connsiteY3395" fmla="*/ 533787 h 1898459"/>
                <a:gd name="connsiteX3396" fmla="*/ 831219 w 1556920"/>
                <a:gd name="connsiteY3396" fmla="*/ 535602 h 1898459"/>
                <a:gd name="connsiteX3397" fmla="*/ 830009 w 1556920"/>
                <a:gd name="connsiteY3397" fmla="*/ 540563 h 1898459"/>
                <a:gd name="connsiteX3398" fmla="*/ 828799 w 1556920"/>
                <a:gd name="connsiteY3398" fmla="*/ 542075 h 1898459"/>
                <a:gd name="connsiteX3399" fmla="*/ 829403 w 1556920"/>
                <a:gd name="connsiteY3399" fmla="*/ 543255 h 1898459"/>
                <a:gd name="connsiteX3400" fmla="*/ 826167 w 1556920"/>
                <a:gd name="connsiteY3400" fmla="*/ 542892 h 1898459"/>
                <a:gd name="connsiteX3401" fmla="*/ 822052 w 1556920"/>
                <a:gd name="connsiteY3401" fmla="*/ 540866 h 1898459"/>
                <a:gd name="connsiteX3402" fmla="*/ 819209 w 1556920"/>
                <a:gd name="connsiteY3402" fmla="*/ 537356 h 1898459"/>
                <a:gd name="connsiteX3403" fmla="*/ 819784 w 1556920"/>
                <a:gd name="connsiteY3403" fmla="*/ 532607 h 1898459"/>
                <a:gd name="connsiteX3404" fmla="*/ 816093 w 1556920"/>
                <a:gd name="connsiteY3404" fmla="*/ 532607 h 1898459"/>
                <a:gd name="connsiteX3405" fmla="*/ 815004 w 1556920"/>
                <a:gd name="connsiteY3405" fmla="*/ 531941 h 1898459"/>
                <a:gd name="connsiteX3406" fmla="*/ 813552 w 1556920"/>
                <a:gd name="connsiteY3406" fmla="*/ 530247 h 1898459"/>
                <a:gd name="connsiteX3407" fmla="*/ 812735 w 1556920"/>
                <a:gd name="connsiteY3407" fmla="*/ 531609 h 1898459"/>
                <a:gd name="connsiteX3408" fmla="*/ 810406 w 1556920"/>
                <a:gd name="connsiteY3408" fmla="*/ 534513 h 1898459"/>
                <a:gd name="connsiteX3409" fmla="*/ 809438 w 1556920"/>
                <a:gd name="connsiteY3409" fmla="*/ 536177 h 1898459"/>
                <a:gd name="connsiteX3410" fmla="*/ 809710 w 1556920"/>
                <a:gd name="connsiteY3410" fmla="*/ 536842 h 1898459"/>
                <a:gd name="connsiteX3411" fmla="*/ 810012 w 1556920"/>
                <a:gd name="connsiteY3411" fmla="*/ 537144 h 1898459"/>
                <a:gd name="connsiteX3412" fmla="*/ 810799 w 1556920"/>
                <a:gd name="connsiteY3412" fmla="*/ 537356 h 1898459"/>
                <a:gd name="connsiteX3413" fmla="*/ 809740 w 1556920"/>
                <a:gd name="connsiteY3413" fmla="*/ 539111 h 1898459"/>
                <a:gd name="connsiteX3414" fmla="*/ 811041 w 1556920"/>
                <a:gd name="connsiteY3414" fmla="*/ 541077 h 1898459"/>
                <a:gd name="connsiteX3415" fmla="*/ 814913 w 1556920"/>
                <a:gd name="connsiteY3415" fmla="*/ 544465 h 1898459"/>
                <a:gd name="connsiteX3416" fmla="*/ 816274 w 1556920"/>
                <a:gd name="connsiteY3416" fmla="*/ 547158 h 1898459"/>
                <a:gd name="connsiteX3417" fmla="*/ 816093 w 1556920"/>
                <a:gd name="connsiteY3417" fmla="*/ 549396 h 1898459"/>
                <a:gd name="connsiteX3418" fmla="*/ 815669 w 1556920"/>
                <a:gd name="connsiteY3418" fmla="*/ 551847 h 1898459"/>
                <a:gd name="connsiteX3419" fmla="*/ 816335 w 1556920"/>
                <a:gd name="connsiteY3419" fmla="*/ 555235 h 1898459"/>
                <a:gd name="connsiteX3420" fmla="*/ 814459 w 1556920"/>
                <a:gd name="connsiteY3420" fmla="*/ 554146 h 1898459"/>
                <a:gd name="connsiteX3421" fmla="*/ 813461 w 1556920"/>
                <a:gd name="connsiteY3421" fmla="*/ 553874 h 1898459"/>
                <a:gd name="connsiteX3422" fmla="*/ 812191 w 1556920"/>
                <a:gd name="connsiteY3422" fmla="*/ 553934 h 1898459"/>
                <a:gd name="connsiteX3423" fmla="*/ 812947 w 1556920"/>
                <a:gd name="connsiteY3423" fmla="*/ 556022 h 1898459"/>
                <a:gd name="connsiteX3424" fmla="*/ 813401 w 1556920"/>
                <a:gd name="connsiteY3424" fmla="*/ 556899 h 1898459"/>
                <a:gd name="connsiteX3425" fmla="*/ 814157 w 1556920"/>
                <a:gd name="connsiteY3425" fmla="*/ 557716 h 1898459"/>
                <a:gd name="connsiteX3426" fmla="*/ 812523 w 1556920"/>
                <a:gd name="connsiteY3426" fmla="*/ 557776 h 1898459"/>
                <a:gd name="connsiteX3427" fmla="*/ 810980 w 1556920"/>
                <a:gd name="connsiteY3427" fmla="*/ 557080 h 1898459"/>
                <a:gd name="connsiteX3428" fmla="*/ 809649 w 1556920"/>
                <a:gd name="connsiteY3428" fmla="*/ 555779 h 1898459"/>
                <a:gd name="connsiteX3429" fmla="*/ 808651 w 1556920"/>
                <a:gd name="connsiteY3429" fmla="*/ 553964 h 1898459"/>
                <a:gd name="connsiteX3430" fmla="*/ 807895 w 1556920"/>
                <a:gd name="connsiteY3430" fmla="*/ 551423 h 1898459"/>
                <a:gd name="connsiteX3431" fmla="*/ 807199 w 1556920"/>
                <a:gd name="connsiteY3431" fmla="*/ 547914 h 1898459"/>
                <a:gd name="connsiteX3432" fmla="*/ 806897 w 1556920"/>
                <a:gd name="connsiteY3432" fmla="*/ 544465 h 1898459"/>
                <a:gd name="connsiteX3433" fmla="*/ 807290 w 1556920"/>
                <a:gd name="connsiteY3433" fmla="*/ 542106 h 1898459"/>
                <a:gd name="connsiteX3434" fmla="*/ 804809 w 1556920"/>
                <a:gd name="connsiteY3434" fmla="*/ 540623 h 1898459"/>
                <a:gd name="connsiteX3435" fmla="*/ 802177 w 1556920"/>
                <a:gd name="connsiteY3435" fmla="*/ 539837 h 1898459"/>
                <a:gd name="connsiteX3436" fmla="*/ 799515 w 1556920"/>
                <a:gd name="connsiteY3436" fmla="*/ 539837 h 1898459"/>
                <a:gd name="connsiteX3437" fmla="*/ 796974 w 1556920"/>
                <a:gd name="connsiteY3437" fmla="*/ 540805 h 1898459"/>
                <a:gd name="connsiteX3438" fmla="*/ 795673 w 1556920"/>
                <a:gd name="connsiteY3438" fmla="*/ 541834 h 1898459"/>
                <a:gd name="connsiteX3439" fmla="*/ 794614 w 1556920"/>
                <a:gd name="connsiteY3439" fmla="*/ 543286 h 1898459"/>
                <a:gd name="connsiteX3440" fmla="*/ 793858 w 1556920"/>
                <a:gd name="connsiteY3440" fmla="*/ 544980 h 1898459"/>
                <a:gd name="connsiteX3441" fmla="*/ 793465 w 1556920"/>
                <a:gd name="connsiteY3441" fmla="*/ 546855 h 1898459"/>
                <a:gd name="connsiteX3442" fmla="*/ 793586 w 1556920"/>
                <a:gd name="connsiteY3442" fmla="*/ 549033 h 1898459"/>
                <a:gd name="connsiteX3443" fmla="*/ 794463 w 1556920"/>
                <a:gd name="connsiteY3443" fmla="*/ 552543 h 1898459"/>
                <a:gd name="connsiteX3444" fmla="*/ 794221 w 1556920"/>
                <a:gd name="connsiteY3444" fmla="*/ 553964 h 1898459"/>
                <a:gd name="connsiteX3445" fmla="*/ 794403 w 1556920"/>
                <a:gd name="connsiteY3445" fmla="*/ 555991 h 1898459"/>
                <a:gd name="connsiteX3446" fmla="*/ 793919 w 1556920"/>
                <a:gd name="connsiteY3446" fmla="*/ 560499 h 1898459"/>
                <a:gd name="connsiteX3447" fmla="*/ 794251 w 1556920"/>
                <a:gd name="connsiteY3447" fmla="*/ 562374 h 1898459"/>
                <a:gd name="connsiteX3448" fmla="*/ 802631 w 1556920"/>
                <a:gd name="connsiteY3448" fmla="*/ 564189 h 1898459"/>
                <a:gd name="connsiteX3449" fmla="*/ 803811 w 1556920"/>
                <a:gd name="connsiteY3449" fmla="*/ 564855 h 1898459"/>
                <a:gd name="connsiteX3450" fmla="*/ 804809 w 1556920"/>
                <a:gd name="connsiteY3450" fmla="*/ 565974 h 1898459"/>
                <a:gd name="connsiteX3451" fmla="*/ 805475 w 1556920"/>
                <a:gd name="connsiteY3451" fmla="*/ 567124 h 1898459"/>
                <a:gd name="connsiteX3452" fmla="*/ 806201 w 1556920"/>
                <a:gd name="connsiteY3452" fmla="*/ 568001 h 1898459"/>
                <a:gd name="connsiteX3453" fmla="*/ 807320 w 1556920"/>
                <a:gd name="connsiteY3453" fmla="*/ 568304 h 1898459"/>
                <a:gd name="connsiteX3454" fmla="*/ 806533 w 1556920"/>
                <a:gd name="connsiteY3454" fmla="*/ 570209 h 1898459"/>
                <a:gd name="connsiteX3455" fmla="*/ 805475 w 1556920"/>
                <a:gd name="connsiteY3455" fmla="*/ 571541 h 1898459"/>
                <a:gd name="connsiteX3456" fmla="*/ 804204 w 1556920"/>
                <a:gd name="connsiteY3456" fmla="*/ 571692 h 1898459"/>
                <a:gd name="connsiteX3457" fmla="*/ 801239 w 1556920"/>
                <a:gd name="connsiteY3457" fmla="*/ 568606 h 1898459"/>
                <a:gd name="connsiteX3458" fmla="*/ 799334 w 1556920"/>
                <a:gd name="connsiteY3458" fmla="*/ 568697 h 1898459"/>
                <a:gd name="connsiteX3459" fmla="*/ 795582 w 1556920"/>
                <a:gd name="connsiteY3459" fmla="*/ 570693 h 1898459"/>
                <a:gd name="connsiteX3460" fmla="*/ 795582 w 1556920"/>
                <a:gd name="connsiteY3460" fmla="*/ 571994 h 1898459"/>
                <a:gd name="connsiteX3461" fmla="*/ 796157 w 1556920"/>
                <a:gd name="connsiteY3461" fmla="*/ 573537 h 1898459"/>
                <a:gd name="connsiteX3462" fmla="*/ 794100 w 1556920"/>
                <a:gd name="connsiteY3462" fmla="*/ 575655 h 1898459"/>
                <a:gd name="connsiteX3463" fmla="*/ 793525 w 1556920"/>
                <a:gd name="connsiteY3463" fmla="*/ 577742 h 1898459"/>
                <a:gd name="connsiteX3464" fmla="*/ 794070 w 1556920"/>
                <a:gd name="connsiteY3464" fmla="*/ 579890 h 1898459"/>
                <a:gd name="connsiteX3465" fmla="*/ 795310 w 1556920"/>
                <a:gd name="connsiteY3465" fmla="*/ 580586 h 1898459"/>
                <a:gd name="connsiteX3466" fmla="*/ 796853 w 1556920"/>
                <a:gd name="connsiteY3466" fmla="*/ 580767 h 1898459"/>
                <a:gd name="connsiteX3467" fmla="*/ 798396 w 1556920"/>
                <a:gd name="connsiteY3467" fmla="*/ 581372 h 1898459"/>
                <a:gd name="connsiteX3468" fmla="*/ 800272 w 1556920"/>
                <a:gd name="connsiteY3468" fmla="*/ 584125 h 1898459"/>
                <a:gd name="connsiteX3469" fmla="*/ 801542 w 1556920"/>
                <a:gd name="connsiteY3469" fmla="*/ 587513 h 1898459"/>
                <a:gd name="connsiteX3470" fmla="*/ 803297 w 1556920"/>
                <a:gd name="connsiteY3470" fmla="*/ 590206 h 1898459"/>
                <a:gd name="connsiteX3471" fmla="*/ 806655 w 1556920"/>
                <a:gd name="connsiteY3471" fmla="*/ 590780 h 1898459"/>
                <a:gd name="connsiteX3472" fmla="*/ 805807 w 1556920"/>
                <a:gd name="connsiteY3472" fmla="*/ 592474 h 1898459"/>
                <a:gd name="connsiteX3473" fmla="*/ 805263 w 1556920"/>
                <a:gd name="connsiteY3473" fmla="*/ 593019 h 1898459"/>
                <a:gd name="connsiteX3474" fmla="*/ 808712 w 1556920"/>
                <a:gd name="connsiteY3474" fmla="*/ 596770 h 1898459"/>
                <a:gd name="connsiteX3475" fmla="*/ 811495 w 1556920"/>
                <a:gd name="connsiteY3475" fmla="*/ 594501 h 1898459"/>
                <a:gd name="connsiteX3476" fmla="*/ 815942 w 1556920"/>
                <a:gd name="connsiteY3476" fmla="*/ 593926 h 1898459"/>
                <a:gd name="connsiteX3477" fmla="*/ 820479 w 1556920"/>
                <a:gd name="connsiteY3477" fmla="*/ 594895 h 1898459"/>
                <a:gd name="connsiteX3478" fmla="*/ 823565 w 1556920"/>
                <a:gd name="connsiteY3478" fmla="*/ 597284 h 1898459"/>
                <a:gd name="connsiteX3479" fmla="*/ 823142 w 1556920"/>
                <a:gd name="connsiteY3479" fmla="*/ 598434 h 1898459"/>
                <a:gd name="connsiteX3480" fmla="*/ 820782 w 1556920"/>
                <a:gd name="connsiteY3480" fmla="*/ 598494 h 1898459"/>
                <a:gd name="connsiteX3481" fmla="*/ 816637 w 1556920"/>
                <a:gd name="connsiteY3481" fmla="*/ 597829 h 1898459"/>
                <a:gd name="connsiteX3482" fmla="*/ 809407 w 1556920"/>
                <a:gd name="connsiteY3482" fmla="*/ 599009 h 1898459"/>
                <a:gd name="connsiteX3483" fmla="*/ 809710 w 1556920"/>
                <a:gd name="connsiteY3483" fmla="*/ 599826 h 1898459"/>
                <a:gd name="connsiteX3484" fmla="*/ 809922 w 1556920"/>
                <a:gd name="connsiteY3484" fmla="*/ 600672 h 1898459"/>
                <a:gd name="connsiteX3485" fmla="*/ 810224 w 1556920"/>
                <a:gd name="connsiteY3485" fmla="*/ 601580 h 1898459"/>
                <a:gd name="connsiteX3486" fmla="*/ 810769 w 1556920"/>
                <a:gd name="connsiteY3486" fmla="*/ 602548 h 1898459"/>
                <a:gd name="connsiteX3487" fmla="*/ 809680 w 1556920"/>
                <a:gd name="connsiteY3487" fmla="*/ 602276 h 1898459"/>
                <a:gd name="connsiteX3488" fmla="*/ 806655 w 1556920"/>
                <a:gd name="connsiteY3488" fmla="*/ 600309 h 1898459"/>
                <a:gd name="connsiteX3489" fmla="*/ 805747 w 1556920"/>
                <a:gd name="connsiteY3489" fmla="*/ 599674 h 1898459"/>
                <a:gd name="connsiteX3490" fmla="*/ 804023 w 1556920"/>
                <a:gd name="connsiteY3490" fmla="*/ 597194 h 1898459"/>
                <a:gd name="connsiteX3491" fmla="*/ 803145 w 1556920"/>
                <a:gd name="connsiteY3491" fmla="*/ 597889 h 1898459"/>
                <a:gd name="connsiteX3492" fmla="*/ 801451 w 1556920"/>
                <a:gd name="connsiteY3492" fmla="*/ 596710 h 1898459"/>
                <a:gd name="connsiteX3493" fmla="*/ 796036 w 1556920"/>
                <a:gd name="connsiteY3493" fmla="*/ 591567 h 1898459"/>
                <a:gd name="connsiteX3494" fmla="*/ 794312 w 1556920"/>
                <a:gd name="connsiteY3494" fmla="*/ 590508 h 1898459"/>
                <a:gd name="connsiteX3495" fmla="*/ 792527 w 1556920"/>
                <a:gd name="connsiteY3495" fmla="*/ 590206 h 1898459"/>
                <a:gd name="connsiteX3496" fmla="*/ 790742 w 1556920"/>
                <a:gd name="connsiteY3496" fmla="*/ 590871 h 1898459"/>
                <a:gd name="connsiteX3497" fmla="*/ 790954 w 1556920"/>
                <a:gd name="connsiteY3497" fmla="*/ 591658 h 1898459"/>
                <a:gd name="connsiteX3498" fmla="*/ 791287 w 1556920"/>
                <a:gd name="connsiteY3498" fmla="*/ 593624 h 1898459"/>
                <a:gd name="connsiteX3499" fmla="*/ 791499 w 1556920"/>
                <a:gd name="connsiteY3499" fmla="*/ 594411 h 1898459"/>
                <a:gd name="connsiteX3500" fmla="*/ 789956 w 1556920"/>
                <a:gd name="connsiteY3500" fmla="*/ 594411 h 1898459"/>
                <a:gd name="connsiteX3501" fmla="*/ 789502 w 1556920"/>
                <a:gd name="connsiteY3501" fmla="*/ 595742 h 1898459"/>
                <a:gd name="connsiteX3502" fmla="*/ 789502 w 1556920"/>
                <a:gd name="connsiteY3502" fmla="*/ 597950 h 1898459"/>
                <a:gd name="connsiteX3503" fmla="*/ 789441 w 1556920"/>
                <a:gd name="connsiteY3503" fmla="*/ 600400 h 1898459"/>
                <a:gd name="connsiteX3504" fmla="*/ 789048 w 1556920"/>
                <a:gd name="connsiteY3504" fmla="*/ 601489 h 1898459"/>
                <a:gd name="connsiteX3505" fmla="*/ 787687 w 1556920"/>
                <a:gd name="connsiteY3505" fmla="*/ 604394 h 1898459"/>
                <a:gd name="connsiteX3506" fmla="*/ 787384 w 1556920"/>
                <a:gd name="connsiteY3506" fmla="*/ 605634 h 1898459"/>
                <a:gd name="connsiteX3507" fmla="*/ 787596 w 1556920"/>
                <a:gd name="connsiteY3507" fmla="*/ 607872 h 1898459"/>
                <a:gd name="connsiteX3508" fmla="*/ 788534 w 1556920"/>
                <a:gd name="connsiteY3508" fmla="*/ 610837 h 1898459"/>
                <a:gd name="connsiteX3509" fmla="*/ 788746 w 1556920"/>
                <a:gd name="connsiteY3509" fmla="*/ 612682 h 1898459"/>
                <a:gd name="connsiteX3510" fmla="*/ 789411 w 1556920"/>
                <a:gd name="connsiteY3510" fmla="*/ 613076 h 1898459"/>
                <a:gd name="connsiteX3511" fmla="*/ 792527 w 1556920"/>
                <a:gd name="connsiteY3511" fmla="*/ 613923 h 1898459"/>
                <a:gd name="connsiteX3512" fmla="*/ 793586 w 1556920"/>
                <a:gd name="connsiteY3512" fmla="*/ 614497 h 1898459"/>
                <a:gd name="connsiteX3513" fmla="*/ 792497 w 1556920"/>
                <a:gd name="connsiteY3513" fmla="*/ 615647 h 1898459"/>
                <a:gd name="connsiteX3514" fmla="*/ 792164 w 1556920"/>
                <a:gd name="connsiteY3514" fmla="*/ 616797 h 1898459"/>
                <a:gd name="connsiteX3515" fmla="*/ 792164 w 1556920"/>
                <a:gd name="connsiteY3515" fmla="*/ 619096 h 1898459"/>
                <a:gd name="connsiteX3516" fmla="*/ 792376 w 1556920"/>
                <a:gd name="connsiteY3516" fmla="*/ 619640 h 1898459"/>
                <a:gd name="connsiteX3517" fmla="*/ 793314 w 1556920"/>
                <a:gd name="connsiteY3517" fmla="*/ 620971 h 1898459"/>
                <a:gd name="connsiteX3518" fmla="*/ 793586 w 1556920"/>
                <a:gd name="connsiteY3518" fmla="*/ 621546 h 1898459"/>
                <a:gd name="connsiteX3519" fmla="*/ 793435 w 1556920"/>
                <a:gd name="connsiteY3519" fmla="*/ 622091 h 1898459"/>
                <a:gd name="connsiteX3520" fmla="*/ 792981 w 1556920"/>
                <a:gd name="connsiteY3520" fmla="*/ 622575 h 1898459"/>
                <a:gd name="connsiteX3521" fmla="*/ 792497 w 1556920"/>
                <a:gd name="connsiteY3521" fmla="*/ 622877 h 1898459"/>
                <a:gd name="connsiteX3522" fmla="*/ 792225 w 1556920"/>
                <a:gd name="connsiteY3522" fmla="*/ 622726 h 1898459"/>
                <a:gd name="connsiteX3523" fmla="*/ 793949 w 1556920"/>
                <a:gd name="connsiteY3523" fmla="*/ 629502 h 1898459"/>
                <a:gd name="connsiteX3524" fmla="*/ 796278 w 1556920"/>
                <a:gd name="connsiteY3524" fmla="*/ 630591 h 1898459"/>
                <a:gd name="connsiteX3525" fmla="*/ 801512 w 1556920"/>
                <a:gd name="connsiteY3525" fmla="*/ 629865 h 1898459"/>
                <a:gd name="connsiteX3526" fmla="*/ 804053 w 1556920"/>
                <a:gd name="connsiteY3526" fmla="*/ 628655 h 1898459"/>
                <a:gd name="connsiteX3527" fmla="*/ 810829 w 1556920"/>
                <a:gd name="connsiteY3527" fmla="*/ 620396 h 1898459"/>
                <a:gd name="connsiteX3528" fmla="*/ 812432 w 1556920"/>
                <a:gd name="connsiteY3528" fmla="*/ 618944 h 1898459"/>
                <a:gd name="connsiteX3529" fmla="*/ 812856 w 1556920"/>
                <a:gd name="connsiteY3529" fmla="*/ 618944 h 1898459"/>
                <a:gd name="connsiteX3530" fmla="*/ 813038 w 1556920"/>
                <a:gd name="connsiteY3530" fmla="*/ 620033 h 1898459"/>
                <a:gd name="connsiteX3531" fmla="*/ 813915 w 1556920"/>
                <a:gd name="connsiteY3531" fmla="*/ 622151 h 1898459"/>
                <a:gd name="connsiteX3532" fmla="*/ 814127 w 1556920"/>
                <a:gd name="connsiteY3532" fmla="*/ 623633 h 1898459"/>
                <a:gd name="connsiteX3533" fmla="*/ 813280 w 1556920"/>
                <a:gd name="connsiteY3533" fmla="*/ 624783 h 1898459"/>
                <a:gd name="connsiteX3534" fmla="*/ 810829 w 1556920"/>
                <a:gd name="connsiteY3534" fmla="*/ 626235 h 1898459"/>
                <a:gd name="connsiteX3535" fmla="*/ 813764 w 1556920"/>
                <a:gd name="connsiteY3535" fmla="*/ 626659 h 1898459"/>
                <a:gd name="connsiteX3536" fmla="*/ 816214 w 1556920"/>
                <a:gd name="connsiteY3536" fmla="*/ 627748 h 1898459"/>
                <a:gd name="connsiteX3537" fmla="*/ 818543 w 1556920"/>
                <a:gd name="connsiteY3537" fmla="*/ 628080 h 1898459"/>
                <a:gd name="connsiteX3538" fmla="*/ 821145 w 1556920"/>
                <a:gd name="connsiteY3538" fmla="*/ 626235 h 1898459"/>
                <a:gd name="connsiteX3539" fmla="*/ 825713 w 1556920"/>
                <a:gd name="connsiteY3539" fmla="*/ 620276 h 1898459"/>
                <a:gd name="connsiteX3540" fmla="*/ 828436 w 1556920"/>
                <a:gd name="connsiteY3540" fmla="*/ 617674 h 1898459"/>
                <a:gd name="connsiteX3541" fmla="*/ 830160 w 1556920"/>
                <a:gd name="connsiteY3541" fmla="*/ 618037 h 1898459"/>
                <a:gd name="connsiteX3542" fmla="*/ 829313 w 1556920"/>
                <a:gd name="connsiteY3542" fmla="*/ 622877 h 1898459"/>
                <a:gd name="connsiteX3543" fmla="*/ 824805 w 1556920"/>
                <a:gd name="connsiteY3543" fmla="*/ 626749 h 1898459"/>
                <a:gd name="connsiteX3544" fmla="*/ 813552 w 1556920"/>
                <a:gd name="connsiteY3544" fmla="*/ 631710 h 1898459"/>
                <a:gd name="connsiteX3545" fmla="*/ 811192 w 1556920"/>
                <a:gd name="connsiteY3545" fmla="*/ 632073 h 1898459"/>
                <a:gd name="connsiteX3546" fmla="*/ 810708 w 1556920"/>
                <a:gd name="connsiteY3546" fmla="*/ 631499 h 1898459"/>
                <a:gd name="connsiteX3547" fmla="*/ 810133 w 1556920"/>
                <a:gd name="connsiteY3547" fmla="*/ 630349 h 1898459"/>
                <a:gd name="connsiteX3548" fmla="*/ 809407 w 1556920"/>
                <a:gd name="connsiteY3548" fmla="*/ 629653 h 1898459"/>
                <a:gd name="connsiteX3549" fmla="*/ 808470 w 1556920"/>
                <a:gd name="connsiteY3549" fmla="*/ 630379 h 1898459"/>
                <a:gd name="connsiteX3550" fmla="*/ 807623 w 1556920"/>
                <a:gd name="connsiteY3550" fmla="*/ 631287 h 1898459"/>
                <a:gd name="connsiteX3551" fmla="*/ 805444 w 1556920"/>
                <a:gd name="connsiteY3551" fmla="*/ 632527 h 1898459"/>
                <a:gd name="connsiteX3552" fmla="*/ 804628 w 1556920"/>
                <a:gd name="connsiteY3552" fmla="*/ 633344 h 1898459"/>
                <a:gd name="connsiteX3553" fmla="*/ 802298 w 1556920"/>
                <a:gd name="connsiteY3553" fmla="*/ 638608 h 1898459"/>
                <a:gd name="connsiteX3554" fmla="*/ 801875 w 1556920"/>
                <a:gd name="connsiteY3554" fmla="*/ 639183 h 1898459"/>
                <a:gd name="connsiteX3555" fmla="*/ 802752 w 1556920"/>
                <a:gd name="connsiteY3555" fmla="*/ 641542 h 1898459"/>
                <a:gd name="connsiteX3556" fmla="*/ 804809 w 1556920"/>
                <a:gd name="connsiteY3556" fmla="*/ 641693 h 1898459"/>
                <a:gd name="connsiteX3557" fmla="*/ 809165 w 1556920"/>
                <a:gd name="connsiteY3557" fmla="*/ 640363 h 1898459"/>
                <a:gd name="connsiteX3558" fmla="*/ 811132 w 1556920"/>
                <a:gd name="connsiteY3558" fmla="*/ 640756 h 1898459"/>
                <a:gd name="connsiteX3559" fmla="*/ 814943 w 1556920"/>
                <a:gd name="connsiteY3559" fmla="*/ 642420 h 1898459"/>
                <a:gd name="connsiteX3560" fmla="*/ 817061 w 1556920"/>
                <a:gd name="connsiteY3560" fmla="*/ 642692 h 1898459"/>
                <a:gd name="connsiteX3561" fmla="*/ 819088 w 1556920"/>
                <a:gd name="connsiteY3561" fmla="*/ 642057 h 1898459"/>
                <a:gd name="connsiteX3562" fmla="*/ 822597 w 1556920"/>
                <a:gd name="connsiteY3562" fmla="*/ 639697 h 1898459"/>
                <a:gd name="connsiteX3563" fmla="*/ 824321 w 1556920"/>
                <a:gd name="connsiteY3563" fmla="*/ 639183 h 1898459"/>
                <a:gd name="connsiteX3564" fmla="*/ 825531 w 1556920"/>
                <a:gd name="connsiteY3564" fmla="*/ 638124 h 1898459"/>
                <a:gd name="connsiteX3565" fmla="*/ 826802 w 1556920"/>
                <a:gd name="connsiteY3565" fmla="*/ 636036 h 1898459"/>
                <a:gd name="connsiteX3566" fmla="*/ 828496 w 1556920"/>
                <a:gd name="connsiteY3566" fmla="*/ 634615 h 1898459"/>
                <a:gd name="connsiteX3567" fmla="*/ 830946 w 1556920"/>
                <a:gd name="connsiteY3567" fmla="*/ 635583 h 1898459"/>
                <a:gd name="connsiteX3568" fmla="*/ 830946 w 1556920"/>
                <a:gd name="connsiteY3568" fmla="*/ 636853 h 1898459"/>
                <a:gd name="connsiteX3569" fmla="*/ 828526 w 1556920"/>
                <a:gd name="connsiteY3569" fmla="*/ 637730 h 1898459"/>
                <a:gd name="connsiteX3570" fmla="*/ 826106 w 1556920"/>
                <a:gd name="connsiteY3570" fmla="*/ 640151 h 1898459"/>
                <a:gd name="connsiteX3571" fmla="*/ 824805 w 1556920"/>
                <a:gd name="connsiteY3571" fmla="*/ 642692 h 1898459"/>
                <a:gd name="connsiteX3572" fmla="*/ 825743 w 1556920"/>
                <a:gd name="connsiteY3572" fmla="*/ 643841 h 1898459"/>
                <a:gd name="connsiteX3573" fmla="*/ 826711 w 1556920"/>
                <a:gd name="connsiteY3573" fmla="*/ 644325 h 1898459"/>
                <a:gd name="connsiteX3574" fmla="*/ 827709 w 1556920"/>
                <a:gd name="connsiteY3574" fmla="*/ 645475 h 1898459"/>
                <a:gd name="connsiteX3575" fmla="*/ 829192 w 1556920"/>
                <a:gd name="connsiteY3575" fmla="*/ 647955 h 1898459"/>
                <a:gd name="connsiteX3576" fmla="*/ 830130 w 1556920"/>
                <a:gd name="connsiteY3576" fmla="*/ 648742 h 1898459"/>
                <a:gd name="connsiteX3577" fmla="*/ 834334 w 1556920"/>
                <a:gd name="connsiteY3577" fmla="*/ 649650 h 1898459"/>
                <a:gd name="connsiteX3578" fmla="*/ 834334 w 1556920"/>
                <a:gd name="connsiteY3578" fmla="*/ 650829 h 1898459"/>
                <a:gd name="connsiteX3579" fmla="*/ 830402 w 1556920"/>
                <a:gd name="connsiteY3579" fmla="*/ 652009 h 1898459"/>
                <a:gd name="connsiteX3580" fmla="*/ 827014 w 1556920"/>
                <a:gd name="connsiteY3580" fmla="*/ 649619 h 1898459"/>
                <a:gd name="connsiteX3581" fmla="*/ 823837 w 1556920"/>
                <a:gd name="connsiteY3581" fmla="*/ 646110 h 1898459"/>
                <a:gd name="connsiteX3582" fmla="*/ 820600 w 1556920"/>
                <a:gd name="connsiteY3582" fmla="*/ 643841 h 1898459"/>
                <a:gd name="connsiteX3583" fmla="*/ 817121 w 1556920"/>
                <a:gd name="connsiteY3583" fmla="*/ 644537 h 1898459"/>
                <a:gd name="connsiteX3584" fmla="*/ 812917 w 1556920"/>
                <a:gd name="connsiteY3584" fmla="*/ 647018 h 1898459"/>
                <a:gd name="connsiteX3585" fmla="*/ 810496 w 1556920"/>
                <a:gd name="connsiteY3585" fmla="*/ 650255 h 1898459"/>
                <a:gd name="connsiteX3586" fmla="*/ 812372 w 1556920"/>
                <a:gd name="connsiteY3586" fmla="*/ 653159 h 1898459"/>
                <a:gd name="connsiteX3587" fmla="*/ 811041 w 1556920"/>
                <a:gd name="connsiteY3587" fmla="*/ 655518 h 1898459"/>
                <a:gd name="connsiteX3588" fmla="*/ 807532 w 1556920"/>
                <a:gd name="connsiteY3588" fmla="*/ 660207 h 1898459"/>
                <a:gd name="connsiteX3589" fmla="*/ 806806 w 1556920"/>
                <a:gd name="connsiteY3589" fmla="*/ 663111 h 1898459"/>
                <a:gd name="connsiteX3590" fmla="*/ 808046 w 1556920"/>
                <a:gd name="connsiteY3590" fmla="*/ 664866 h 1898459"/>
                <a:gd name="connsiteX3591" fmla="*/ 816486 w 1556920"/>
                <a:gd name="connsiteY3591" fmla="*/ 667256 h 1898459"/>
                <a:gd name="connsiteX3592" fmla="*/ 817636 w 1556920"/>
                <a:gd name="connsiteY3592" fmla="*/ 668254 h 1898459"/>
                <a:gd name="connsiteX3593" fmla="*/ 820207 w 1556920"/>
                <a:gd name="connsiteY3593" fmla="*/ 671279 h 1898459"/>
                <a:gd name="connsiteX3594" fmla="*/ 820933 w 1556920"/>
                <a:gd name="connsiteY3594" fmla="*/ 671915 h 1898459"/>
                <a:gd name="connsiteX3595" fmla="*/ 822264 w 1556920"/>
                <a:gd name="connsiteY3595" fmla="*/ 671733 h 1898459"/>
                <a:gd name="connsiteX3596" fmla="*/ 824624 w 1556920"/>
                <a:gd name="connsiteY3596" fmla="*/ 670856 h 1898459"/>
                <a:gd name="connsiteX3597" fmla="*/ 833064 w 1556920"/>
                <a:gd name="connsiteY3597" fmla="*/ 669495 h 1898459"/>
                <a:gd name="connsiteX3598" fmla="*/ 835030 w 1556920"/>
                <a:gd name="connsiteY3598" fmla="*/ 670644 h 1898459"/>
                <a:gd name="connsiteX3599" fmla="*/ 835030 w 1556920"/>
                <a:gd name="connsiteY3599" fmla="*/ 671915 h 1898459"/>
                <a:gd name="connsiteX3600" fmla="*/ 834334 w 1556920"/>
                <a:gd name="connsiteY3600" fmla="*/ 671915 h 1898459"/>
                <a:gd name="connsiteX3601" fmla="*/ 833639 w 1556920"/>
                <a:gd name="connsiteY3601" fmla="*/ 671612 h 1898459"/>
                <a:gd name="connsiteX3602" fmla="*/ 831975 w 1556920"/>
                <a:gd name="connsiteY3602" fmla="*/ 671189 h 1898459"/>
                <a:gd name="connsiteX3603" fmla="*/ 830311 w 1556920"/>
                <a:gd name="connsiteY3603" fmla="*/ 671279 h 1898459"/>
                <a:gd name="connsiteX3604" fmla="*/ 829555 w 1556920"/>
                <a:gd name="connsiteY3604" fmla="*/ 672520 h 1898459"/>
                <a:gd name="connsiteX3605" fmla="*/ 829071 w 1556920"/>
                <a:gd name="connsiteY3605" fmla="*/ 673064 h 1898459"/>
                <a:gd name="connsiteX3606" fmla="*/ 819179 w 1556920"/>
                <a:gd name="connsiteY3606" fmla="*/ 672973 h 1898459"/>
                <a:gd name="connsiteX3607" fmla="*/ 817152 w 1556920"/>
                <a:gd name="connsiteY3607" fmla="*/ 671945 h 1898459"/>
                <a:gd name="connsiteX3608" fmla="*/ 812886 w 1556920"/>
                <a:gd name="connsiteY3608" fmla="*/ 668920 h 1898459"/>
                <a:gd name="connsiteX3609" fmla="*/ 810375 w 1556920"/>
                <a:gd name="connsiteY3609" fmla="*/ 668012 h 1898459"/>
                <a:gd name="connsiteX3610" fmla="*/ 808591 w 1556920"/>
                <a:gd name="connsiteY3610" fmla="*/ 668980 h 1898459"/>
                <a:gd name="connsiteX3611" fmla="*/ 807562 w 1556920"/>
                <a:gd name="connsiteY3611" fmla="*/ 669767 h 1898459"/>
                <a:gd name="connsiteX3612" fmla="*/ 804597 w 1556920"/>
                <a:gd name="connsiteY3612" fmla="*/ 669464 h 1898459"/>
                <a:gd name="connsiteX3613" fmla="*/ 803357 w 1556920"/>
                <a:gd name="connsiteY3613" fmla="*/ 669585 h 1898459"/>
                <a:gd name="connsiteX3614" fmla="*/ 802661 w 1556920"/>
                <a:gd name="connsiteY3614" fmla="*/ 670221 h 1898459"/>
                <a:gd name="connsiteX3615" fmla="*/ 801481 w 1556920"/>
                <a:gd name="connsiteY3615" fmla="*/ 672096 h 1898459"/>
                <a:gd name="connsiteX3616" fmla="*/ 797276 w 1556920"/>
                <a:gd name="connsiteY3616" fmla="*/ 677118 h 1898459"/>
                <a:gd name="connsiteX3617" fmla="*/ 795764 w 1556920"/>
                <a:gd name="connsiteY3617" fmla="*/ 679931 h 1898459"/>
                <a:gd name="connsiteX3618" fmla="*/ 796853 w 1556920"/>
                <a:gd name="connsiteY3618" fmla="*/ 681202 h 1898459"/>
                <a:gd name="connsiteX3619" fmla="*/ 797912 w 1556920"/>
                <a:gd name="connsiteY3619" fmla="*/ 681535 h 1898459"/>
                <a:gd name="connsiteX3620" fmla="*/ 799636 w 1556920"/>
                <a:gd name="connsiteY3620" fmla="*/ 683108 h 1898459"/>
                <a:gd name="connsiteX3621" fmla="*/ 800665 w 1556920"/>
                <a:gd name="connsiteY3621" fmla="*/ 683531 h 1898459"/>
                <a:gd name="connsiteX3622" fmla="*/ 801784 w 1556920"/>
                <a:gd name="connsiteY3622" fmla="*/ 683380 h 1898459"/>
                <a:gd name="connsiteX3623" fmla="*/ 803841 w 1556920"/>
                <a:gd name="connsiteY3623" fmla="*/ 682503 h 1898459"/>
                <a:gd name="connsiteX3624" fmla="*/ 804749 w 1556920"/>
                <a:gd name="connsiteY3624" fmla="*/ 682382 h 1898459"/>
                <a:gd name="connsiteX3625" fmla="*/ 806957 w 1556920"/>
                <a:gd name="connsiteY3625" fmla="*/ 683864 h 1898459"/>
                <a:gd name="connsiteX3626" fmla="*/ 806806 w 1556920"/>
                <a:gd name="connsiteY3626" fmla="*/ 686193 h 1898459"/>
                <a:gd name="connsiteX3627" fmla="*/ 806412 w 1556920"/>
                <a:gd name="connsiteY3627" fmla="*/ 688372 h 1898459"/>
                <a:gd name="connsiteX3628" fmla="*/ 807955 w 1556920"/>
                <a:gd name="connsiteY3628" fmla="*/ 689309 h 1898459"/>
                <a:gd name="connsiteX3629" fmla="*/ 810012 w 1556920"/>
                <a:gd name="connsiteY3629" fmla="*/ 690035 h 1898459"/>
                <a:gd name="connsiteX3630" fmla="*/ 812130 w 1556920"/>
                <a:gd name="connsiteY3630" fmla="*/ 691366 h 1898459"/>
                <a:gd name="connsiteX3631" fmla="*/ 814308 w 1556920"/>
                <a:gd name="connsiteY3631" fmla="*/ 691941 h 1898459"/>
                <a:gd name="connsiteX3632" fmla="*/ 816547 w 1556920"/>
                <a:gd name="connsiteY3632" fmla="*/ 690489 h 1898459"/>
                <a:gd name="connsiteX3633" fmla="*/ 817878 w 1556920"/>
                <a:gd name="connsiteY3633" fmla="*/ 691155 h 1898459"/>
                <a:gd name="connsiteX3634" fmla="*/ 819360 w 1556920"/>
                <a:gd name="connsiteY3634" fmla="*/ 690671 h 1898459"/>
                <a:gd name="connsiteX3635" fmla="*/ 820994 w 1556920"/>
                <a:gd name="connsiteY3635" fmla="*/ 689793 h 1898459"/>
                <a:gd name="connsiteX3636" fmla="*/ 822718 w 1556920"/>
                <a:gd name="connsiteY3636" fmla="*/ 689309 h 1898459"/>
                <a:gd name="connsiteX3637" fmla="*/ 822718 w 1556920"/>
                <a:gd name="connsiteY3637" fmla="*/ 690459 h 1898459"/>
                <a:gd name="connsiteX3638" fmla="*/ 817878 w 1556920"/>
                <a:gd name="connsiteY3638" fmla="*/ 692728 h 1898459"/>
                <a:gd name="connsiteX3639" fmla="*/ 812402 w 1556920"/>
                <a:gd name="connsiteY3639" fmla="*/ 693938 h 1898459"/>
                <a:gd name="connsiteX3640" fmla="*/ 809075 w 1556920"/>
                <a:gd name="connsiteY3640" fmla="*/ 693454 h 1898459"/>
                <a:gd name="connsiteX3641" fmla="*/ 807501 w 1556920"/>
                <a:gd name="connsiteY3641" fmla="*/ 692758 h 1898459"/>
                <a:gd name="connsiteX3642" fmla="*/ 806080 w 1556920"/>
                <a:gd name="connsiteY3642" fmla="*/ 691729 h 1898459"/>
                <a:gd name="connsiteX3643" fmla="*/ 804900 w 1556920"/>
                <a:gd name="connsiteY3643" fmla="*/ 690308 h 1898459"/>
                <a:gd name="connsiteX3644" fmla="*/ 802903 w 1556920"/>
                <a:gd name="connsiteY3644" fmla="*/ 687010 h 1898459"/>
                <a:gd name="connsiteX3645" fmla="*/ 801966 w 1556920"/>
                <a:gd name="connsiteY3645" fmla="*/ 685951 h 1898459"/>
                <a:gd name="connsiteX3646" fmla="*/ 799364 w 1556920"/>
                <a:gd name="connsiteY3646" fmla="*/ 685498 h 1898459"/>
                <a:gd name="connsiteX3647" fmla="*/ 796278 w 1556920"/>
                <a:gd name="connsiteY3647" fmla="*/ 686526 h 1898459"/>
                <a:gd name="connsiteX3648" fmla="*/ 793435 w 1556920"/>
                <a:gd name="connsiteY3648" fmla="*/ 688402 h 1898459"/>
                <a:gd name="connsiteX3649" fmla="*/ 791680 w 1556920"/>
                <a:gd name="connsiteY3649" fmla="*/ 690519 h 1898459"/>
                <a:gd name="connsiteX3650" fmla="*/ 790591 w 1556920"/>
                <a:gd name="connsiteY3650" fmla="*/ 693847 h 1898459"/>
                <a:gd name="connsiteX3651" fmla="*/ 789684 w 1556920"/>
                <a:gd name="connsiteY3651" fmla="*/ 697780 h 1898459"/>
                <a:gd name="connsiteX3652" fmla="*/ 788564 w 1556920"/>
                <a:gd name="connsiteY3652" fmla="*/ 701259 h 1898459"/>
                <a:gd name="connsiteX3653" fmla="*/ 786810 w 1556920"/>
                <a:gd name="connsiteY3653" fmla="*/ 703255 h 1898459"/>
                <a:gd name="connsiteX3654" fmla="*/ 788836 w 1556920"/>
                <a:gd name="connsiteY3654" fmla="*/ 705191 h 1898459"/>
                <a:gd name="connsiteX3655" fmla="*/ 789593 w 1556920"/>
                <a:gd name="connsiteY3655" fmla="*/ 705675 h 1898459"/>
                <a:gd name="connsiteX3656" fmla="*/ 789593 w 1556920"/>
                <a:gd name="connsiteY3656" fmla="*/ 706916 h 1898459"/>
                <a:gd name="connsiteX3657" fmla="*/ 786023 w 1556920"/>
                <a:gd name="connsiteY3657" fmla="*/ 707127 h 1898459"/>
                <a:gd name="connsiteX3658" fmla="*/ 782635 w 1556920"/>
                <a:gd name="connsiteY3658" fmla="*/ 707974 h 1898459"/>
                <a:gd name="connsiteX3659" fmla="*/ 787294 w 1556920"/>
                <a:gd name="connsiteY3659" fmla="*/ 709154 h 1898459"/>
                <a:gd name="connsiteX3660" fmla="*/ 796793 w 1556920"/>
                <a:gd name="connsiteY3660" fmla="*/ 707188 h 1898459"/>
                <a:gd name="connsiteX3661" fmla="*/ 801330 w 1556920"/>
                <a:gd name="connsiteY3661" fmla="*/ 707974 h 1898459"/>
                <a:gd name="connsiteX3662" fmla="*/ 797307 w 1556920"/>
                <a:gd name="connsiteY3662" fmla="*/ 712058 h 1898459"/>
                <a:gd name="connsiteX3663" fmla="*/ 796460 w 1556920"/>
                <a:gd name="connsiteY3663" fmla="*/ 713753 h 1898459"/>
                <a:gd name="connsiteX3664" fmla="*/ 800423 w 1556920"/>
                <a:gd name="connsiteY3664" fmla="*/ 714720 h 1898459"/>
                <a:gd name="connsiteX3665" fmla="*/ 802450 w 1556920"/>
                <a:gd name="connsiteY3665" fmla="*/ 714781 h 1898459"/>
                <a:gd name="connsiteX3666" fmla="*/ 804053 w 1556920"/>
                <a:gd name="connsiteY3666" fmla="*/ 711937 h 1898459"/>
                <a:gd name="connsiteX3667" fmla="*/ 805717 w 1556920"/>
                <a:gd name="connsiteY3667" fmla="*/ 711121 h 1898459"/>
                <a:gd name="connsiteX3668" fmla="*/ 807562 w 1556920"/>
                <a:gd name="connsiteY3668" fmla="*/ 710909 h 1898459"/>
                <a:gd name="connsiteX3669" fmla="*/ 808893 w 1556920"/>
                <a:gd name="connsiteY3669" fmla="*/ 711514 h 1898459"/>
                <a:gd name="connsiteX3670" fmla="*/ 805626 w 1556920"/>
                <a:gd name="connsiteY3670" fmla="*/ 714569 h 1898459"/>
                <a:gd name="connsiteX3671" fmla="*/ 801481 w 1556920"/>
                <a:gd name="connsiteY3671" fmla="*/ 716294 h 1898459"/>
                <a:gd name="connsiteX3672" fmla="*/ 791075 w 1556920"/>
                <a:gd name="connsiteY3672" fmla="*/ 717685 h 1898459"/>
                <a:gd name="connsiteX3673" fmla="*/ 789684 w 1556920"/>
                <a:gd name="connsiteY3673" fmla="*/ 718986 h 1898459"/>
                <a:gd name="connsiteX3674" fmla="*/ 789684 w 1556920"/>
                <a:gd name="connsiteY3674" fmla="*/ 720831 h 1898459"/>
                <a:gd name="connsiteX3675" fmla="*/ 791650 w 1556920"/>
                <a:gd name="connsiteY3675" fmla="*/ 722979 h 1898459"/>
                <a:gd name="connsiteX3676" fmla="*/ 799213 w 1556920"/>
                <a:gd name="connsiteY3676" fmla="*/ 726428 h 1898459"/>
                <a:gd name="connsiteX3677" fmla="*/ 797216 w 1556920"/>
                <a:gd name="connsiteY3677" fmla="*/ 725914 h 1898459"/>
                <a:gd name="connsiteX3678" fmla="*/ 794645 w 1556920"/>
                <a:gd name="connsiteY3678" fmla="*/ 725278 h 1898459"/>
                <a:gd name="connsiteX3679" fmla="*/ 792376 w 1556920"/>
                <a:gd name="connsiteY3679" fmla="*/ 726004 h 1898459"/>
                <a:gd name="connsiteX3680" fmla="*/ 790924 w 1556920"/>
                <a:gd name="connsiteY3680" fmla="*/ 727729 h 1898459"/>
                <a:gd name="connsiteX3681" fmla="*/ 789835 w 1556920"/>
                <a:gd name="connsiteY3681" fmla="*/ 726882 h 1898459"/>
                <a:gd name="connsiteX3682" fmla="*/ 788655 w 1556920"/>
                <a:gd name="connsiteY3682" fmla="*/ 726428 h 1898459"/>
                <a:gd name="connsiteX3683" fmla="*/ 787415 w 1556920"/>
                <a:gd name="connsiteY3683" fmla="*/ 726337 h 1898459"/>
                <a:gd name="connsiteX3684" fmla="*/ 786174 w 1556920"/>
                <a:gd name="connsiteY3684" fmla="*/ 726488 h 1898459"/>
                <a:gd name="connsiteX3685" fmla="*/ 786174 w 1556920"/>
                <a:gd name="connsiteY3685" fmla="*/ 727759 h 1898459"/>
                <a:gd name="connsiteX3686" fmla="*/ 787989 w 1556920"/>
                <a:gd name="connsiteY3686" fmla="*/ 728031 h 1898459"/>
                <a:gd name="connsiteX3687" fmla="*/ 789018 w 1556920"/>
                <a:gd name="connsiteY3687" fmla="*/ 729272 h 1898459"/>
                <a:gd name="connsiteX3688" fmla="*/ 789502 w 1556920"/>
                <a:gd name="connsiteY3688" fmla="*/ 731056 h 1898459"/>
                <a:gd name="connsiteX3689" fmla="*/ 789623 w 1556920"/>
                <a:gd name="connsiteY3689" fmla="*/ 732902 h 1898459"/>
                <a:gd name="connsiteX3690" fmla="*/ 788746 w 1556920"/>
                <a:gd name="connsiteY3690" fmla="*/ 732266 h 1898459"/>
                <a:gd name="connsiteX3691" fmla="*/ 783452 w 1556920"/>
                <a:gd name="connsiteY3691" fmla="*/ 730088 h 1898459"/>
                <a:gd name="connsiteX3692" fmla="*/ 781969 w 1556920"/>
                <a:gd name="connsiteY3692" fmla="*/ 729029 h 1898459"/>
                <a:gd name="connsiteX3693" fmla="*/ 781031 w 1556920"/>
                <a:gd name="connsiteY3693" fmla="*/ 727849 h 1898459"/>
                <a:gd name="connsiteX3694" fmla="*/ 780003 w 1556920"/>
                <a:gd name="connsiteY3694" fmla="*/ 726912 h 1898459"/>
                <a:gd name="connsiteX3695" fmla="*/ 778309 w 1556920"/>
                <a:gd name="connsiteY3695" fmla="*/ 726519 h 1898459"/>
                <a:gd name="connsiteX3696" fmla="*/ 776827 w 1556920"/>
                <a:gd name="connsiteY3696" fmla="*/ 727093 h 1898459"/>
                <a:gd name="connsiteX3697" fmla="*/ 773317 w 1556920"/>
                <a:gd name="connsiteY3697" fmla="*/ 729544 h 1898459"/>
                <a:gd name="connsiteX3698" fmla="*/ 772107 w 1556920"/>
                <a:gd name="connsiteY3698" fmla="*/ 730088 h 1898459"/>
                <a:gd name="connsiteX3699" fmla="*/ 756649 w 1556920"/>
                <a:gd name="connsiteY3699" fmla="*/ 731631 h 1898459"/>
                <a:gd name="connsiteX3700" fmla="*/ 755348 w 1556920"/>
                <a:gd name="connsiteY3700" fmla="*/ 732660 h 1898459"/>
                <a:gd name="connsiteX3701" fmla="*/ 753140 w 1556920"/>
                <a:gd name="connsiteY3701" fmla="*/ 735836 h 1898459"/>
                <a:gd name="connsiteX3702" fmla="*/ 752383 w 1556920"/>
                <a:gd name="connsiteY3702" fmla="*/ 736229 h 1898459"/>
                <a:gd name="connsiteX3703" fmla="*/ 751718 w 1556920"/>
                <a:gd name="connsiteY3703" fmla="*/ 735927 h 1898459"/>
                <a:gd name="connsiteX3704" fmla="*/ 751234 w 1556920"/>
                <a:gd name="connsiteY3704" fmla="*/ 736018 h 1898459"/>
                <a:gd name="connsiteX3705" fmla="*/ 751052 w 1556920"/>
                <a:gd name="connsiteY3705" fmla="*/ 737621 h 1898459"/>
                <a:gd name="connsiteX3706" fmla="*/ 751143 w 1556920"/>
                <a:gd name="connsiteY3706" fmla="*/ 738740 h 1898459"/>
                <a:gd name="connsiteX3707" fmla="*/ 751415 w 1556920"/>
                <a:gd name="connsiteY3707" fmla="*/ 739738 h 1898459"/>
                <a:gd name="connsiteX3708" fmla="*/ 751869 w 1556920"/>
                <a:gd name="connsiteY3708" fmla="*/ 740646 h 1898459"/>
                <a:gd name="connsiteX3709" fmla="*/ 752414 w 1556920"/>
                <a:gd name="connsiteY3709" fmla="*/ 741584 h 1898459"/>
                <a:gd name="connsiteX3710" fmla="*/ 753745 w 1556920"/>
                <a:gd name="connsiteY3710" fmla="*/ 742764 h 1898459"/>
                <a:gd name="connsiteX3711" fmla="*/ 756044 w 1556920"/>
                <a:gd name="connsiteY3711" fmla="*/ 744004 h 1898459"/>
                <a:gd name="connsiteX3712" fmla="*/ 758555 w 1556920"/>
                <a:gd name="connsiteY3712" fmla="*/ 744488 h 1898459"/>
                <a:gd name="connsiteX3713" fmla="*/ 760370 w 1556920"/>
                <a:gd name="connsiteY3713" fmla="*/ 743368 h 1898459"/>
                <a:gd name="connsiteX3714" fmla="*/ 762366 w 1556920"/>
                <a:gd name="connsiteY3714" fmla="*/ 741553 h 1898459"/>
                <a:gd name="connsiteX3715" fmla="*/ 764908 w 1556920"/>
                <a:gd name="connsiteY3715" fmla="*/ 741312 h 1898459"/>
                <a:gd name="connsiteX3716" fmla="*/ 772319 w 1556920"/>
                <a:gd name="connsiteY3716" fmla="*/ 743217 h 1898459"/>
                <a:gd name="connsiteX3717" fmla="*/ 779307 w 1556920"/>
                <a:gd name="connsiteY3717" fmla="*/ 742703 h 1898459"/>
                <a:gd name="connsiteX3718" fmla="*/ 780608 w 1556920"/>
                <a:gd name="connsiteY3718" fmla="*/ 743036 h 1898459"/>
                <a:gd name="connsiteX3719" fmla="*/ 782877 w 1556920"/>
                <a:gd name="connsiteY3719" fmla="*/ 744518 h 1898459"/>
                <a:gd name="connsiteX3720" fmla="*/ 784178 w 1556920"/>
                <a:gd name="connsiteY3720" fmla="*/ 745032 h 1898459"/>
                <a:gd name="connsiteX3721" fmla="*/ 785236 w 1556920"/>
                <a:gd name="connsiteY3721" fmla="*/ 745032 h 1898459"/>
                <a:gd name="connsiteX3722" fmla="*/ 789048 w 1556920"/>
                <a:gd name="connsiteY3722" fmla="*/ 743974 h 1898459"/>
                <a:gd name="connsiteX3723" fmla="*/ 800029 w 1556920"/>
                <a:gd name="connsiteY3723" fmla="*/ 738377 h 1898459"/>
                <a:gd name="connsiteX3724" fmla="*/ 804174 w 1556920"/>
                <a:gd name="connsiteY3724" fmla="*/ 739375 h 1898459"/>
                <a:gd name="connsiteX3725" fmla="*/ 809226 w 1556920"/>
                <a:gd name="connsiteY3725" fmla="*/ 742370 h 1898459"/>
                <a:gd name="connsiteX3726" fmla="*/ 811434 w 1556920"/>
                <a:gd name="connsiteY3726" fmla="*/ 742703 h 1898459"/>
                <a:gd name="connsiteX3727" fmla="*/ 820782 w 1556920"/>
                <a:gd name="connsiteY3727" fmla="*/ 741553 h 1898459"/>
                <a:gd name="connsiteX3728" fmla="*/ 818664 w 1556920"/>
                <a:gd name="connsiteY3728" fmla="*/ 742885 h 1898459"/>
                <a:gd name="connsiteX3729" fmla="*/ 815700 w 1556920"/>
                <a:gd name="connsiteY3729" fmla="*/ 743611 h 1898459"/>
                <a:gd name="connsiteX3730" fmla="*/ 810345 w 1556920"/>
                <a:gd name="connsiteY3730" fmla="*/ 743974 h 1898459"/>
                <a:gd name="connsiteX3731" fmla="*/ 807804 w 1556920"/>
                <a:gd name="connsiteY3731" fmla="*/ 743490 h 1898459"/>
                <a:gd name="connsiteX3732" fmla="*/ 801481 w 1556920"/>
                <a:gd name="connsiteY3732" fmla="*/ 740434 h 1898459"/>
                <a:gd name="connsiteX3733" fmla="*/ 799001 w 1556920"/>
                <a:gd name="connsiteY3733" fmla="*/ 740706 h 1898459"/>
                <a:gd name="connsiteX3734" fmla="*/ 788352 w 1556920"/>
                <a:gd name="connsiteY3734" fmla="*/ 747332 h 1898459"/>
                <a:gd name="connsiteX3735" fmla="*/ 788352 w 1556920"/>
                <a:gd name="connsiteY3735" fmla="*/ 748995 h 1898459"/>
                <a:gd name="connsiteX3736" fmla="*/ 789381 w 1556920"/>
                <a:gd name="connsiteY3736" fmla="*/ 750115 h 1898459"/>
                <a:gd name="connsiteX3737" fmla="*/ 791771 w 1556920"/>
                <a:gd name="connsiteY3737" fmla="*/ 751930 h 1898459"/>
                <a:gd name="connsiteX3738" fmla="*/ 791015 w 1556920"/>
                <a:gd name="connsiteY3738" fmla="*/ 753170 h 1898459"/>
                <a:gd name="connsiteX3739" fmla="*/ 788231 w 1556920"/>
                <a:gd name="connsiteY3739" fmla="*/ 750629 h 1898459"/>
                <a:gd name="connsiteX3740" fmla="*/ 784994 w 1556920"/>
                <a:gd name="connsiteY3740" fmla="*/ 749086 h 1898459"/>
                <a:gd name="connsiteX3741" fmla="*/ 781516 w 1556920"/>
                <a:gd name="connsiteY3741" fmla="*/ 748421 h 1898459"/>
                <a:gd name="connsiteX3742" fmla="*/ 776494 w 1556920"/>
                <a:gd name="connsiteY3742" fmla="*/ 748753 h 1898459"/>
                <a:gd name="connsiteX3743" fmla="*/ 775011 w 1556920"/>
                <a:gd name="connsiteY3743" fmla="*/ 749237 h 1898459"/>
                <a:gd name="connsiteX3744" fmla="*/ 774013 w 1556920"/>
                <a:gd name="connsiteY3744" fmla="*/ 750508 h 1898459"/>
                <a:gd name="connsiteX3745" fmla="*/ 773832 w 1556920"/>
                <a:gd name="connsiteY3745" fmla="*/ 753170 h 1898459"/>
                <a:gd name="connsiteX3746" fmla="*/ 774467 w 1556920"/>
                <a:gd name="connsiteY3746" fmla="*/ 754471 h 1898459"/>
                <a:gd name="connsiteX3747" fmla="*/ 789472 w 1556920"/>
                <a:gd name="connsiteY3747" fmla="*/ 765906 h 1898459"/>
                <a:gd name="connsiteX3748" fmla="*/ 795582 w 1556920"/>
                <a:gd name="connsiteY3748" fmla="*/ 767116 h 1898459"/>
                <a:gd name="connsiteX3749" fmla="*/ 799334 w 1556920"/>
                <a:gd name="connsiteY3749" fmla="*/ 762306 h 1898459"/>
                <a:gd name="connsiteX3750" fmla="*/ 800090 w 1556920"/>
                <a:gd name="connsiteY3750" fmla="*/ 762306 h 1898459"/>
                <a:gd name="connsiteX3751" fmla="*/ 799908 w 1556920"/>
                <a:gd name="connsiteY3751" fmla="*/ 763970 h 1898459"/>
                <a:gd name="connsiteX3752" fmla="*/ 799485 w 1556920"/>
                <a:gd name="connsiteY3752" fmla="*/ 765301 h 1898459"/>
                <a:gd name="connsiteX3753" fmla="*/ 797972 w 1556920"/>
                <a:gd name="connsiteY3753" fmla="*/ 768023 h 1898459"/>
                <a:gd name="connsiteX3754" fmla="*/ 799182 w 1556920"/>
                <a:gd name="connsiteY3754" fmla="*/ 769324 h 1898459"/>
                <a:gd name="connsiteX3755" fmla="*/ 800937 w 1556920"/>
                <a:gd name="connsiteY3755" fmla="*/ 770444 h 1898459"/>
                <a:gd name="connsiteX3756" fmla="*/ 802843 w 1556920"/>
                <a:gd name="connsiteY3756" fmla="*/ 771230 h 1898459"/>
                <a:gd name="connsiteX3757" fmla="*/ 804507 w 1556920"/>
                <a:gd name="connsiteY3757" fmla="*/ 771533 h 1898459"/>
                <a:gd name="connsiteX3758" fmla="*/ 805566 w 1556920"/>
                <a:gd name="connsiteY3758" fmla="*/ 772017 h 1898459"/>
                <a:gd name="connsiteX3759" fmla="*/ 806745 w 1556920"/>
                <a:gd name="connsiteY3759" fmla="*/ 774225 h 1898459"/>
                <a:gd name="connsiteX3760" fmla="*/ 807653 w 1556920"/>
                <a:gd name="connsiteY3760" fmla="*/ 774860 h 1898459"/>
                <a:gd name="connsiteX3761" fmla="*/ 808318 w 1556920"/>
                <a:gd name="connsiteY3761" fmla="*/ 774588 h 1898459"/>
                <a:gd name="connsiteX3762" fmla="*/ 815125 w 1556920"/>
                <a:gd name="connsiteY3762" fmla="*/ 769475 h 1898459"/>
                <a:gd name="connsiteX3763" fmla="*/ 821780 w 1556920"/>
                <a:gd name="connsiteY3763" fmla="*/ 762125 h 1898459"/>
                <a:gd name="connsiteX3764" fmla="*/ 825834 w 1556920"/>
                <a:gd name="connsiteY3764" fmla="*/ 756498 h 1898459"/>
                <a:gd name="connsiteX3765" fmla="*/ 826923 w 1556920"/>
                <a:gd name="connsiteY3765" fmla="*/ 755348 h 1898459"/>
                <a:gd name="connsiteX3766" fmla="*/ 828103 w 1556920"/>
                <a:gd name="connsiteY3766" fmla="*/ 754471 h 1898459"/>
                <a:gd name="connsiteX3767" fmla="*/ 829373 w 1556920"/>
                <a:gd name="connsiteY3767" fmla="*/ 754138 h 1898459"/>
                <a:gd name="connsiteX3768" fmla="*/ 830311 w 1556920"/>
                <a:gd name="connsiteY3768" fmla="*/ 753412 h 1898459"/>
                <a:gd name="connsiteX3769" fmla="*/ 831763 w 1556920"/>
                <a:gd name="connsiteY3769" fmla="*/ 750326 h 1898459"/>
                <a:gd name="connsiteX3770" fmla="*/ 832792 w 1556920"/>
                <a:gd name="connsiteY3770" fmla="*/ 749631 h 1898459"/>
                <a:gd name="connsiteX3771" fmla="*/ 834849 w 1556920"/>
                <a:gd name="connsiteY3771" fmla="*/ 749268 h 1898459"/>
                <a:gd name="connsiteX3772" fmla="*/ 836452 w 1556920"/>
                <a:gd name="connsiteY3772" fmla="*/ 748269 h 1898459"/>
                <a:gd name="connsiteX3773" fmla="*/ 839326 w 1556920"/>
                <a:gd name="connsiteY3773" fmla="*/ 744942 h 1898459"/>
                <a:gd name="connsiteX3774" fmla="*/ 840415 w 1556920"/>
                <a:gd name="connsiteY3774" fmla="*/ 742885 h 1898459"/>
                <a:gd name="connsiteX3775" fmla="*/ 841232 w 1556920"/>
                <a:gd name="connsiteY3775" fmla="*/ 741886 h 1898459"/>
                <a:gd name="connsiteX3776" fmla="*/ 843350 w 1556920"/>
                <a:gd name="connsiteY3776" fmla="*/ 741130 h 1898459"/>
                <a:gd name="connsiteX3777" fmla="*/ 844287 w 1556920"/>
                <a:gd name="connsiteY3777" fmla="*/ 739617 h 1898459"/>
                <a:gd name="connsiteX3778" fmla="*/ 845165 w 1556920"/>
                <a:gd name="connsiteY3778" fmla="*/ 739254 h 1898459"/>
                <a:gd name="connsiteX3779" fmla="*/ 846949 w 1556920"/>
                <a:gd name="connsiteY3779" fmla="*/ 739103 h 1898459"/>
                <a:gd name="connsiteX3780" fmla="*/ 848432 w 1556920"/>
                <a:gd name="connsiteY3780" fmla="*/ 738468 h 1898459"/>
                <a:gd name="connsiteX3781" fmla="*/ 849763 w 1556920"/>
                <a:gd name="connsiteY3781" fmla="*/ 737046 h 1898459"/>
                <a:gd name="connsiteX3782" fmla="*/ 851094 w 1556920"/>
                <a:gd name="connsiteY3782" fmla="*/ 734535 h 1898459"/>
                <a:gd name="connsiteX3783" fmla="*/ 851396 w 1556920"/>
                <a:gd name="connsiteY3783" fmla="*/ 733204 h 1898459"/>
                <a:gd name="connsiteX3784" fmla="*/ 851578 w 1556920"/>
                <a:gd name="connsiteY3784" fmla="*/ 731691 h 1898459"/>
                <a:gd name="connsiteX3785" fmla="*/ 851941 w 1556920"/>
                <a:gd name="connsiteY3785" fmla="*/ 730451 h 1898459"/>
                <a:gd name="connsiteX3786" fmla="*/ 852788 w 1556920"/>
                <a:gd name="connsiteY3786" fmla="*/ 729937 h 1898459"/>
                <a:gd name="connsiteX3787" fmla="*/ 853816 w 1556920"/>
                <a:gd name="connsiteY3787" fmla="*/ 729695 h 1898459"/>
                <a:gd name="connsiteX3788" fmla="*/ 855057 w 1556920"/>
                <a:gd name="connsiteY3788" fmla="*/ 729029 h 1898459"/>
                <a:gd name="connsiteX3789" fmla="*/ 856116 w 1556920"/>
                <a:gd name="connsiteY3789" fmla="*/ 728092 h 1898459"/>
                <a:gd name="connsiteX3790" fmla="*/ 856539 w 1556920"/>
                <a:gd name="connsiteY3790" fmla="*/ 727003 h 1898459"/>
                <a:gd name="connsiteX3791" fmla="*/ 857386 w 1556920"/>
                <a:gd name="connsiteY3791" fmla="*/ 725641 h 1898459"/>
                <a:gd name="connsiteX3792" fmla="*/ 863346 w 1556920"/>
                <a:gd name="connsiteY3792" fmla="*/ 720710 h 1898459"/>
                <a:gd name="connsiteX3793" fmla="*/ 861682 w 1556920"/>
                <a:gd name="connsiteY3793" fmla="*/ 724038 h 1898459"/>
                <a:gd name="connsiteX3794" fmla="*/ 859837 w 1556920"/>
                <a:gd name="connsiteY3794" fmla="*/ 726821 h 1898459"/>
                <a:gd name="connsiteX3795" fmla="*/ 853060 w 1556920"/>
                <a:gd name="connsiteY3795" fmla="*/ 733688 h 1898459"/>
                <a:gd name="connsiteX3796" fmla="*/ 852425 w 1556920"/>
                <a:gd name="connsiteY3796" fmla="*/ 734535 h 1898459"/>
                <a:gd name="connsiteX3797" fmla="*/ 851427 w 1556920"/>
                <a:gd name="connsiteY3797" fmla="*/ 736865 h 1898459"/>
                <a:gd name="connsiteX3798" fmla="*/ 851427 w 1556920"/>
                <a:gd name="connsiteY3798" fmla="*/ 737863 h 1898459"/>
                <a:gd name="connsiteX3799" fmla="*/ 859262 w 1556920"/>
                <a:gd name="connsiteY3799" fmla="*/ 741372 h 1898459"/>
                <a:gd name="connsiteX3800" fmla="*/ 875870 w 1556920"/>
                <a:gd name="connsiteY3800" fmla="*/ 737984 h 1898459"/>
                <a:gd name="connsiteX3801" fmla="*/ 874145 w 1556920"/>
                <a:gd name="connsiteY3801" fmla="*/ 739103 h 1898459"/>
                <a:gd name="connsiteX3802" fmla="*/ 866038 w 1556920"/>
                <a:gd name="connsiteY3802" fmla="*/ 740827 h 1898459"/>
                <a:gd name="connsiteX3803" fmla="*/ 862075 w 1556920"/>
                <a:gd name="connsiteY3803" fmla="*/ 743278 h 1898459"/>
                <a:gd name="connsiteX3804" fmla="*/ 859988 w 1556920"/>
                <a:gd name="connsiteY3804" fmla="*/ 743822 h 1898459"/>
                <a:gd name="connsiteX3805" fmla="*/ 855662 w 1556920"/>
                <a:gd name="connsiteY3805" fmla="*/ 742582 h 1898459"/>
                <a:gd name="connsiteX3806" fmla="*/ 853393 w 1556920"/>
                <a:gd name="connsiteY3806" fmla="*/ 742582 h 1898459"/>
                <a:gd name="connsiteX3807" fmla="*/ 850428 w 1556920"/>
                <a:gd name="connsiteY3807" fmla="*/ 745032 h 1898459"/>
                <a:gd name="connsiteX3808" fmla="*/ 849097 w 1556920"/>
                <a:gd name="connsiteY3808" fmla="*/ 745154 h 1898459"/>
                <a:gd name="connsiteX3809" fmla="*/ 846556 w 1556920"/>
                <a:gd name="connsiteY3809" fmla="*/ 744881 h 1898459"/>
                <a:gd name="connsiteX3810" fmla="*/ 844318 w 1556920"/>
                <a:gd name="connsiteY3810" fmla="*/ 746696 h 1898459"/>
                <a:gd name="connsiteX3811" fmla="*/ 843440 w 1556920"/>
                <a:gd name="connsiteY3811" fmla="*/ 747180 h 1898459"/>
                <a:gd name="connsiteX3812" fmla="*/ 843440 w 1556920"/>
                <a:gd name="connsiteY3812" fmla="*/ 748421 h 1898459"/>
                <a:gd name="connsiteX3813" fmla="*/ 845376 w 1556920"/>
                <a:gd name="connsiteY3813" fmla="*/ 749691 h 1898459"/>
                <a:gd name="connsiteX3814" fmla="*/ 844771 w 1556920"/>
                <a:gd name="connsiteY3814" fmla="*/ 750750 h 1898459"/>
                <a:gd name="connsiteX3815" fmla="*/ 844136 w 1556920"/>
                <a:gd name="connsiteY3815" fmla="*/ 751839 h 1898459"/>
                <a:gd name="connsiteX3816" fmla="*/ 839991 w 1556920"/>
                <a:gd name="connsiteY3816" fmla="*/ 755318 h 1898459"/>
                <a:gd name="connsiteX3817" fmla="*/ 839114 w 1556920"/>
                <a:gd name="connsiteY3817" fmla="*/ 756437 h 1898459"/>
                <a:gd name="connsiteX3818" fmla="*/ 836513 w 1556920"/>
                <a:gd name="connsiteY3818" fmla="*/ 761066 h 1898459"/>
                <a:gd name="connsiteX3819" fmla="*/ 836240 w 1556920"/>
                <a:gd name="connsiteY3819" fmla="*/ 761701 h 1898459"/>
                <a:gd name="connsiteX3820" fmla="*/ 835908 w 1556920"/>
                <a:gd name="connsiteY3820" fmla="*/ 763123 h 1898459"/>
                <a:gd name="connsiteX3821" fmla="*/ 835514 w 1556920"/>
                <a:gd name="connsiteY3821" fmla="*/ 763909 h 1898459"/>
                <a:gd name="connsiteX3822" fmla="*/ 834909 w 1556920"/>
                <a:gd name="connsiteY3822" fmla="*/ 764635 h 1898459"/>
                <a:gd name="connsiteX3823" fmla="*/ 834456 w 1556920"/>
                <a:gd name="connsiteY3823" fmla="*/ 764998 h 1898459"/>
                <a:gd name="connsiteX3824" fmla="*/ 834093 w 1556920"/>
                <a:gd name="connsiteY3824" fmla="*/ 765543 h 1898459"/>
                <a:gd name="connsiteX3825" fmla="*/ 833790 w 1556920"/>
                <a:gd name="connsiteY3825" fmla="*/ 766783 h 1898459"/>
                <a:gd name="connsiteX3826" fmla="*/ 835151 w 1556920"/>
                <a:gd name="connsiteY3826" fmla="*/ 766965 h 1898459"/>
                <a:gd name="connsiteX3827" fmla="*/ 836785 w 1556920"/>
                <a:gd name="connsiteY3827" fmla="*/ 768689 h 1898459"/>
                <a:gd name="connsiteX3828" fmla="*/ 837995 w 1556920"/>
                <a:gd name="connsiteY3828" fmla="*/ 769203 h 1898459"/>
                <a:gd name="connsiteX3829" fmla="*/ 839205 w 1556920"/>
                <a:gd name="connsiteY3829" fmla="*/ 768901 h 1898459"/>
                <a:gd name="connsiteX3830" fmla="*/ 841383 w 1556920"/>
                <a:gd name="connsiteY3830" fmla="*/ 767207 h 1898459"/>
                <a:gd name="connsiteX3831" fmla="*/ 842502 w 1556920"/>
                <a:gd name="connsiteY3831" fmla="*/ 766813 h 1898459"/>
                <a:gd name="connsiteX3832" fmla="*/ 844196 w 1556920"/>
                <a:gd name="connsiteY3832" fmla="*/ 765573 h 1898459"/>
                <a:gd name="connsiteX3833" fmla="*/ 844590 w 1556920"/>
                <a:gd name="connsiteY3833" fmla="*/ 765452 h 1898459"/>
                <a:gd name="connsiteX3834" fmla="*/ 846617 w 1556920"/>
                <a:gd name="connsiteY3834" fmla="*/ 765573 h 1898459"/>
                <a:gd name="connsiteX3835" fmla="*/ 847736 w 1556920"/>
                <a:gd name="connsiteY3835" fmla="*/ 765301 h 1898459"/>
                <a:gd name="connsiteX3836" fmla="*/ 851124 w 1556920"/>
                <a:gd name="connsiteY3836" fmla="*/ 763365 h 1898459"/>
                <a:gd name="connsiteX3837" fmla="*/ 850065 w 1556920"/>
                <a:gd name="connsiteY3837" fmla="*/ 764847 h 1898459"/>
                <a:gd name="connsiteX3838" fmla="*/ 848825 w 1556920"/>
                <a:gd name="connsiteY3838" fmla="*/ 765724 h 1898459"/>
                <a:gd name="connsiteX3839" fmla="*/ 846254 w 1556920"/>
                <a:gd name="connsiteY3839" fmla="*/ 766813 h 1898459"/>
                <a:gd name="connsiteX3840" fmla="*/ 841444 w 1556920"/>
                <a:gd name="connsiteY3840" fmla="*/ 770262 h 1898459"/>
                <a:gd name="connsiteX3841" fmla="*/ 839598 w 1556920"/>
                <a:gd name="connsiteY3841" fmla="*/ 771018 h 1898459"/>
                <a:gd name="connsiteX3842" fmla="*/ 837330 w 1556920"/>
                <a:gd name="connsiteY3842" fmla="*/ 771109 h 1898459"/>
                <a:gd name="connsiteX3843" fmla="*/ 834849 w 1556920"/>
                <a:gd name="connsiteY3843" fmla="*/ 770201 h 1898459"/>
                <a:gd name="connsiteX3844" fmla="*/ 832459 w 1556920"/>
                <a:gd name="connsiteY3844" fmla="*/ 767993 h 1898459"/>
                <a:gd name="connsiteX3845" fmla="*/ 831884 w 1556920"/>
                <a:gd name="connsiteY3845" fmla="*/ 770383 h 1898459"/>
                <a:gd name="connsiteX3846" fmla="*/ 828314 w 1556920"/>
                <a:gd name="connsiteY3846" fmla="*/ 778400 h 1898459"/>
                <a:gd name="connsiteX3847" fmla="*/ 829676 w 1556920"/>
                <a:gd name="connsiteY3847" fmla="*/ 779428 h 1898459"/>
                <a:gd name="connsiteX3848" fmla="*/ 831612 w 1556920"/>
                <a:gd name="connsiteY3848" fmla="*/ 775829 h 1898459"/>
                <a:gd name="connsiteX3849" fmla="*/ 832792 w 1556920"/>
                <a:gd name="connsiteY3849" fmla="*/ 774346 h 1898459"/>
                <a:gd name="connsiteX3850" fmla="*/ 834153 w 1556920"/>
                <a:gd name="connsiteY3850" fmla="*/ 773741 h 1898459"/>
                <a:gd name="connsiteX3851" fmla="*/ 835787 w 1556920"/>
                <a:gd name="connsiteY3851" fmla="*/ 780124 h 1898459"/>
                <a:gd name="connsiteX3852" fmla="*/ 837420 w 1556920"/>
                <a:gd name="connsiteY3852" fmla="*/ 781213 h 1898459"/>
                <a:gd name="connsiteX3853" fmla="*/ 840234 w 1556920"/>
                <a:gd name="connsiteY3853" fmla="*/ 778884 h 1898459"/>
                <a:gd name="connsiteX3854" fmla="*/ 850943 w 1556920"/>
                <a:gd name="connsiteY3854" fmla="*/ 781183 h 1898459"/>
                <a:gd name="connsiteX3855" fmla="*/ 855238 w 1556920"/>
                <a:gd name="connsiteY3855" fmla="*/ 780699 h 1898459"/>
                <a:gd name="connsiteX3856" fmla="*/ 856327 w 1556920"/>
                <a:gd name="connsiteY3856" fmla="*/ 779610 h 1898459"/>
                <a:gd name="connsiteX3857" fmla="*/ 858687 w 1556920"/>
                <a:gd name="connsiteY3857" fmla="*/ 776040 h 1898459"/>
                <a:gd name="connsiteX3858" fmla="*/ 862801 w 1556920"/>
                <a:gd name="connsiteY3858" fmla="*/ 772622 h 1898459"/>
                <a:gd name="connsiteX3859" fmla="*/ 864344 w 1556920"/>
                <a:gd name="connsiteY3859" fmla="*/ 770050 h 1898459"/>
                <a:gd name="connsiteX3860" fmla="*/ 865433 w 1556920"/>
                <a:gd name="connsiteY3860" fmla="*/ 767056 h 1898459"/>
                <a:gd name="connsiteX3861" fmla="*/ 866734 w 1556920"/>
                <a:gd name="connsiteY3861" fmla="*/ 764575 h 1898459"/>
                <a:gd name="connsiteX3862" fmla="*/ 868942 w 1556920"/>
                <a:gd name="connsiteY3862" fmla="*/ 763455 h 1898459"/>
                <a:gd name="connsiteX3863" fmla="*/ 866825 w 1556920"/>
                <a:gd name="connsiteY3863" fmla="*/ 766208 h 1898459"/>
                <a:gd name="connsiteX3864" fmla="*/ 863527 w 1556920"/>
                <a:gd name="connsiteY3864" fmla="*/ 773076 h 1898459"/>
                <a:gd name="connsiteX3865" fmla="*/ 857144 w 1556920"/>
                <a:gd name="connsiteY3865" fmla="*/ 781123 h 1898459"/>
                <a:gd name="connsiteX3866" fmla="*/ 854452 w 1556920"/>
                <a:gd name="connsiteY3866" fmla="*/ 783270 h 1898459"/>
                <a:gd name="connsiteX3867" fmla="*/ 851094 w 1556920"/>
                <a:gd name="connsiteY3867" fmla="*/ 784057 h 1898459"/>
                <a:gd name="connsiteX3868" fmla="*/ 842956 w 1556920"/>
                <a:gd name="connsiteY3868" fmla="*/ 781909 h 1898459"/>
                <a:gd name="connsiteX3869" fmla="*/ 832822 w 1556920"/>
                <a:gd name="connsiteY3869" fmla="*/ 782726 h 1898459"/>
                <a:gd name="connsiteX3870" fmla="*/ 829464 w 1556920"/>
                <a:gd name="connsiteY3870" fmla="*/ 784268 h 1898459"/>
                <a:gd name="connsiteX3871" fmla="*/ 826923 w 1556920"/>
                <a:gd name="connsiteY3871" fmla="*/ 787566 h 1898459"/>
                <a:gd name="connsiteX3872" fmla="*/ 827346 w 1556920"/>
                <a:gd name="connsiteY3872" fmla="*/ 788927 h 1898459"/>
                <a:gd name="connsiteX3873" fmla="*/ 826530 w 1556920"/>
                <a:gd name="connsiteY3873" fmla="*/ 789744 h 1898459"/>
                <a:gd name="connsiteX3874" fmla="*/ 825229 w 1556920"/>
                <a:gd name="connsiteY3874" fmla="*/ 790288 h 1898459"/>
                <a:gd name="connsiteX3875" fmla="*/ 824140 w 1556920"/>
                <a:gd name="connsiteY3875" fmla="*/ 790984 h 1898459"/>
                <a:gd name="connsiteX3876" fmla="*/ 823383 w 1556920"/>
                <a:gd name="connsiteY3876" fmla="*/ 792285 h 1898459"/>
                <a:gd name="connsiteX3877" fmla="*/ 821357 w 1556920"/>
                <a:gd name="connsiteY3877" fmla="*/ 797821 h 1898459"/>
                <a:gd name="connsiteX3878" fmla="*/ 823595 w 1556920"/>
                <a:gd name="connsiteY3878" fmla="*/ 798305 h 1898459"/>
                <a:gd name="connsiteX3879" fmla="*/ 827951 w 1556920"/>
                <a:gd name="connsiteY3879" fmla="*/ 796944 h 1898459"/>
                <a:gd name="connsiteX3880" fmla="*/ 830372 w 1556920"/>
                <a:gd name="connsiteY3880" fmla="*/ 796793 h 1898459"/>
                <a:gd name="connsiteX3881" fmla="*/ 830372 w 1556920"/>
                <a:gd name="connsiteY3881" fmla="*/ 797851 h 1898459"/>
                <a:gd name="connsiteX3882" fmla="*/ 825320 w 1556920"/>
                <a:gd name="connsiteY3882" fmla="*/ 799727 h 1898459"/>
                <a:gd name="connsiteX3883" fmla="*/ 822597 w 1556920"/>
                <a:gd name="connsiteY3883" fmla="*/ 800030 h 1898459"/>
                <a:gd name="connsiteX3884" fmla="*/ 820721 w 1556920"/>
                <a:gd name="connsiteY3884" fmla="*/ 798971 h 1898459"/>
                <a:gd name="connsiteX3885" fmla="*/ 818815 w 1556920"/>
                <a:gd name="connsiteY3885" fmla="*/ 800937 h 1898459"/>
                <a:gd name="connsiteX3886" fmla="*/ 817817 w 1556920"/>
                <a:gd name="connsiteY3886" fmla="*/ 803115 h 1898459"/>
                <a:gd name="connsiteX3887" fmla="*/ 816607 w 1556920"/>
                <a:gd name="connsiteY3887" fmla="*/ 809317 h 1898459"/>
                <a:gd name="connsiteX3888" fmla="*/ 815518 w 1556920"/>
                <a:gd name="connsiteY3888" fmla="*/ 812796 h 1898459"/>
                <a:gd name="connsiteX3889" fmla="*/ 815276 w 1556920"/>
                <a:gd name="connsiteY3889" fmla="*/ 814671 h 1898459"/>
                <a:gd name="connsiteX3890" fmla="*/ 815881 w 1556920"/>
                <a:gd name="connsiteY3890" fmla="*/ 816123 h 1898459"/>
                <a:gd name="connsiteX3891" fmla="*/ 816880 w 1556920"/>
                <a:gd name="connsiteY3891" fmla="*/ 816305 h 1898459"/>
                <a:gd name="connsiteX3892" fmla="*/ 817848 w 1556920"/>
                <a:gd name="connsiteY3892" fmla="*/ 815458 h 1898459"/>
                <a:gd name="connsiteX3893" fmla="*/ 818785 w 1556920"/>
                <a:gd name="connsiteY3893" fmla="*/ 814369 h 1898459"/>
                <a:gd name="connsiteX3894" fmla="*/ 819663 w 1556920"/>
                <a:gd name="connsiteY3894" fmla="*/ 813824 h 1898459"/>
                <a:gd name="connsiteX3895" fmla="*/ 823868 w 1556920"/>
                <a:gd name="connsiteY3895" fmla="*/ 812584 h 1898459"/>
                <a:gd name="connsiteX3896" fmla="*/ 825199 w 1556920"/>
                <a:gd name="connsiteY3896" fmla="*/ 813128 h 1898459"/>
                <a:gd name="connsiteX3897" fmla="*/ 825834 w 1556920"/>
                <a:gd name="connsiteY3897" fmla="*/ 814339 h 1898459"/>
                <a:gd name="connsiteX3898" fmla="*/ 825652 w 1556920"/>
                <a:gd name="connsiteY3898" fmla="*/ 815548 h 1898459"/>
                <a:gd name="connsiteX3899" fmla="*/ 824503 w 1556920"/>
                <a:gd name="connsiteY3899" fmla="*/ 816093 h 1898459"/>
                <a:gd name="connsiteX3900" fmla="*/ 822537 w 1556920"/>
                <a:gd name="connsiteY3900" fmla="*/ 816517 h 1898459"/>
                <a:gd name="connsiteX3901" fmla="*/ 820358 w 1556920"/>
                <a:gd name="connsiteY3901" fmla="*/ 817696 h 1898459"/>
                <a:gd name="connsiteX3902" fmla="*/ 819148 w 1556920"/>
                <a:gd name="connsiteY3902" fmla="*/ 819481 h 1898459"/>
                <a:gd name="connsiteX3903" fmla="*/ 820026 w 1556920"/>
                <a:gd name="connsiteY3903" fmla="*/ 821689 h 1898459"/>
                <a:gd name="connsiteX3904" fmla="*/ 818120 w 1556920"/>
                <a:gd name="connsiteY3904" fmla="*/ 824352 h 1898459"/>
                <a:gd name="connsiteX3905" fmla="*/ 816395 w 1556920"/>
                <a:gd name="connsiteY3905" fmla="*/ 827528 h 1898459"/>
                <a:gd name="connsiteX3906" fmla="*/ 815095 w 1556920"/>
                <a:gd name="connsiteY3906" fmla="*/ 830947 h 1898459"/>
                <a:gd name="connsiteX3907" fmla="*/ 814429 w 1556920"/>
                <a:gd name="connsiteY3907" fmla="*/ 834365 h 1898459"/>
                <a:gd name="connsiteX3908" fmla="*/ 816758 w 1556920"/>
                <a:gd name="connsiteY3908" fmla="*/ 832610 h 1898459"/>
                <a:gd name="connsiteX3909" fmla="*/ 818785 w 1556920"/>
                <a:gd name="connsiteY3909" fmla="*/ 829736 h 1898459"/>
                <a:gd name="connsiteX3910" fmla="*/ 821054 w 1556920"/>
                <a:gd name="connsiteY3910" fmla="*/ 827165 h 1898459"/>
                <a:gd name="connsiteX3911" fmla="*/ 824109 w 1556920"/>
                <a:gd name="connsiteY3911" fmla="*/ 826348 h 1898459"/>
                <a:gd name="connsiteX3912" fmla="*/ 823505 w 1556920"/>
                <a:gd name="connsiteY3912" fmla="*/ 828617 h 1898459"/>
                <a:gd name="connsiteX3913" fmla="*/ 822809 w 1556920"/>
                <a:gd name="connsiteY3913" fmla="*/ 830099 h 1898459"/>
                <a:gd name="connsiteX3914" fmla="*/ 819572 w 1556920"/>
                <a:gd name="connsiteY3914" fmla="*/ 834789 h 1898459"/>
                <a:gd name="connsiteX3915" fmla="*/ 819179 w 1556920"/>
                <a:gd name="connsiteY3915" fmla="*/ 835878 h 1898459"/>
                <a:gd name="connsiteX3916" fmla="*/ 819360 w 1556920"/>
                <a:gd name="connsiteY3916" fmla="*/ 837299 h 1898459"/>
                <a:gd name="connsiteX3917" fmla="*/ 819995 w 1556920"/>
                <a:gd name="connsiteY3917" fmla="*/ 839931 h 1898459"/>
                <a:gd name="connsiteX3918" fmla="*/ 820298 w 1556920"/>
                <a:gd name="connsiteY3918" fmla="*/ 840173 h 1898459"/>
                <a:gd name="connsiteX3919" fmla="*/ 820903 w 1556920"/>
                <a:gd name="connsiteY3919" fmla="*/ 840566 h 1898459"/>
                <a:gd name="connsiteX3920" fmla="*/ 821568 w 1556920"/>
                <a:gd name="connsiteY3920" fmla="*/ 841232 h 1898459"/>
                <a:gd name="connsiteX3921" fmla="*/ 822052 w 1556920"/>
                <a:gd name="connsiteY3921" fmla="*/ 842291 h 1898459"/>
                <a:gd name="connsiteX3922" fmla="*/ 821901 w 1556920"/>
                <a:gd name="connsiteY3922" fmla="*/ 843259 h 1898459"/>
                <a:gd name="connsiteX3923" fmla="*/ 821115 w 1556920"/>
                <a:gd name="connsiteY3923" fmla="*/ 843168 h 1898459"/>
                <a:gd name="connsiteX3924" fmla="*/ 820268 w 1556920"/>
                <a:gd name="connsiteY3924" fmla="*/ 842654 h 1898459"/>
                <a:gd name="connsiteX3925" fmla="*/ 819995 w 1556920"/>
                <a:gd name="connsiteY3925" fmla="*/ 842291 h 1898459"/>
                <a:gd name="connsiteX3926" fmla="*/ 819995 w 1556920"/>
                <a:gd name="connsiteY3926" fmla="*/ 842079 h 1898459"/>
                <a:gd name="connsiteX3927" fmla="*/ 819390 w 1556920"/>
                <a:gd name="connsiteY3927" fmla="*/ 841686 h 1898459"/>
                <a:gd name="connsiteX3928" fmla="*/ 818574 w 1556920"/>
                <a:gd name="connsiteY3928" fmla="*/ 841323 h 1898459"/>
                <a:gd name="connsiteX3929" fmla="*/ 817908 w 1556920"/>
                <a:gd name="connsiteY3929" fmla="*/ 841172 h 1898459"/>
                <a:gd name="connsiteX3930" fmla="*/ 817273 w 1556920"/>
                <a:gd name="connsiteY3930" fmla="*/ 841504 h 1898459"/>
                <a:gd name="connsiteX3931" fmla="*/ 817000 w 1556920"/>
                <a:gd name="connsiteY3931" fmla="*/ 842170 h 1898459"/>
                <a:gd name="connsiteX3932" fmla="*/ 816849 w 1556920"/>
                <a:gd name="connsiteY3932" fmla="*/ 842926 h 1898459"/>
                <a:gd name="connsiteX3933" fmla="*/ 816547 w 1556920"/>
                <a:gd name="connsiteY3933" fmla="*/ 843531 h 1898459"/>
                <a:gd name="connsiteX3934" fmla="*/ 808984 w 1556920"/>
                <a:gd name="connsiteY3934" fmla="*/ 853696 h 1898459"/>
                <a:gd name="connsiteX3935" fmla="*/ 805293 w 1556920"/>
                <a:gd name="connsiteY3935" fmla="*/ 860502 h 1898459"/>
                <a:gd name="connsiteX3936" fmla="*/ 804749 w 1556920"/>
                <a:gd name="connsiteY3936" fmla="*/ 864889 h 1898459"/>
                <a:gd name="connsiteX3937" fmla="*/ 804355 w 1556920"/>
                <a:gd name="connsiteY3937" fmla="*/ 865887 h 1898459"/>
                <a:gd name="connsiteX3938" fmla="*/ 804204 w 1556920"/>
                <a:gd name="connsiteY3938" fmla="*/ 867067 h 1898459"/>
                <a:gd name="connsiteX3939" fmla="*/ 804507 w 1556920"/>
                <a:gd name="connsiteY3939" fmla="*/ 868035 h 1898459"/>
                <a:gd name="connsiteX3940" fmla="*/ 805505 w 1556920"/>
                <a:gd name="connsiteY3940" fmla="*/ 868398 h 1898459"/>
                <a:gd name="connsiteX3941" fmla="*/ 805898 w 1556920"/>
                <a:gd name="connsiteY3941" fmla="*/ 867883 h 1898459"/>
                <a:gd name="connsiteX3942" fmla="*/ 807592 w 1556920"/>
                <a:gd name="connsiteY3942" fmla="*/ 864919 h 1898459"/>
                <a:gd name="connsiteX3943" fmla="*/ 807501 w 1556920"/>
                <a:gd name="connsiteY3943" fmla="*/ 861259 h 1898459"/>
                <a:gd name="connsiteX3944" fmla="*/ 811827 w 1556920"/>
                <a:gd name="connsiteY3944" fmla="*/ 856600 h 1898459"/>
                <a:gd name="connsiteX3945" fmla="*/ 812432 w 1556920"/>
                <a:gd name="connsiteY3945" fmla="*/ 853544 h 1898459"/>
                <a:gd name="connsiteX3946" fmla="*/ 814006 w 1556920"/>
                <a:gd name="connsiteY3946" fmla="*/ 852637 h 1898459"/>
                <a:gd name="connsiteX3947" fmla="*/ 815367 w 1556920"/>
                <a:gd name="connsiteY3947" fmla="*/ 851517 h 1898459"/>
                <a:gd name="connsiteX3948" fmla="*/ 816637 w 1556920"/>
                <a:gd name="connsiteY3948" fmla="*/ 850852 h 1898459"/>
                <a:gd name="connsiteX3949" fmla="*/ 817938 w 1556920"/>
                <a:gd name="connsiteY3949" fmla="*/ 851397 h 1898459"/>
                <a:gd name="connsiteX3950" fmla="*/ 817394 w 1556920"/>
                <a:gd name="connsiteY3950" fmla="*/ 852213 h 1898459"/>
                <a:gd name="connsiteX3951" fmla="*/ 816789 w 1556920"/>
                <a:gd name="connsiteY3951" fmla="*/ 852818 h 1898459"/>
                <a:gd name="connsiteX3952" fmla="*/ 817212 w 1556920"/>
                <a:gd name="connsiteY3952" fmla="*/ 853575 h 1898459"/>
                <a:gd name="connsiteX3953" fmla="*/ 816365 w 1556920"/>
                <a:gd name="connsiteY3953" fmla="*/ 855631 h 1898459"/>
                <a:gd name="connsiteX3954" fmla="*/ 805323 w 1556920"/>
                <a:gd name="connsiteY3954" fmla="*/ 871484 h 1898459"/>
                <a:gd name="connsiteX3955" fmla="*/ 805566 w 1556920"/>
                <a:gd name="connsiteY3955" fmla="*/ 873299 h 1898459"/>
                <a:gd name="connsiteX3956" fmla="*/ 806201 w 1556920"/>
                <a:gd name="connsiteY3956" fmla="*/ 875204 h 1898459"/>
                <a:gd name="connsiteX3957" fmla="*/ 806897 w 1556920"/>
                <a:gd name="connsiteY3957" fmla="*/ 876324 h 1898459"/>
                <a:gd name="connsiteX3958" fmla="*/ 807834 w 1556920"/>
                <a:gd name="connsiteY3958" fmla="*/ 876324 h 1898459"/>
                <a:gd name="connsiteX3959" fmla="*/ 809649 w 1556920"/>
                <a:gd name="connsiteY3959" fmla="*/ 874539 h 1898459"/>
                <a:gd name="connsiteX3960" fmla="*/ 812281 w 1556920"/>
                <a:gd name="connsiteY3960" fmla="*/ 873268 h 1898459"/>
                <a:gd name="connsiteX3961" fmla="*/ 815700 w 1556920"/>
                <a:gd name="connsiteY3961" fmla="*/ 869547 h 1898459"/>
                <a:gd name="connsiteX3962" fmla="*/ 817938 w 1556920"/>
                <a:gd name="connsiteY3962" fmla="*/ 868458 h 1898459"/>
                <a:gd name="connsiteX3963" fmla="*/ 816395 w 1556920"/>
                <a:gd name="connsiteY3963" fmla="*/ 870304 h 1898459"/>
                <a:gd name="connsiteX3964" fmla="*/ 814580 w 1556920"/>
                <a:gd name="connsiteY3964" fmla="*/ 871907 h 1898459"/>
                <a:gd name="connsiteX3965" fmla="*/ 813068 w 1556920"/>
                <a:gd name="connsiteY3965" fmla="*/ 873631 h 1898459"/>
                <a:gd name="connsiteX3966" fmla="*/ 812432 w 1556920"/>
                <a:gd name="connsiteY3966" fmla="*/ 875809 h 1898459"/>
                <a:gd name="connsiteX3967" fmla="*/ 811797 w 1556920"/>
                <a:gd name="connsiteY3967" fmla="*/ 877141 h 1898459"/>
                <a:gd name="connsiteX3968" fmla="*/ 807562 w 1556920"/>
                <a:gd name="connsiteY3968" fmla="*/ 883070 h 1898459"/>
                <a:gd name="connsiteX3969" fmla="*/ 808076 w 1556920"/>
                <a:gd name="connsiteY3969" fmla="*/ 884370 h 1898459"/>
                <a:gd name="connsiteX3970" fmla="*/ 808197 w 1556920"/>
                <a:gd name="connsiteY3970" fmla="*/ 888787 h 1898459"/>
                <a:gd name="connsiteX3971" fmla="*/ 808954 w 1556920"/>
                <a:gd name="connsiteY3971" fmla="*/ 891026 h 1898459"/>
                <a:gd name="connsiteX3972" fmla="*/ 810315 w 1556920"/>
                <a:gd name="connsiteY3972" fmla="*/ 892660 h 1898459"/>
                <a:gd name="connsiteX3973" fmla="*/ 811676 w 1556920"/>
                <a:gd name="connsiteY3973" fmla="*/ 893446 h 1898459"/>
                <a:gd name="connsiteX3974" fmla="*/ 814429 w 1556920"/>
                <a:gd name="connsiteY3974" fmla="*/ 894414 h 1898459"/>
                <a:gd name="connsiteX3975" fmla="*/ 813733 w 1556920"/>
                <a:gd name="connsiteY3975" fmla="*/ 896562 h 1898459"/>
                <a:gd name="connsiteX3976" fmla="*/ 815064 w 1556920"/>
                <a:gd name="connsiteY3976" fmla="*/ 896501 h 1898459"/>
                <a:gd name="connsiteX3977" fmla="*/ 816274 w 1556920"/>
                <a:gd name="connsiteY3977" fmla="*/ 896017 h 1898459"/>
                <a:gd name="connsiteX3978" fmla="*/ 819874 w 1556920"/>
                <a:gd name="connsiteY3978" fmla="*/ 893295 h 1898459"/>
                <a:gd name="connsiteX3979" fmla="*/ 829615 w 1556920"/>
                <a:gd name="connsiteY3979" fmla="*/ 883070 h 1898459"/>
                <a:gd name="connsiteX3980" fmla="*/ 827770 w 1556920"/>
                <a:gd name="connsiteY3980" fmla="*/ 888031 h 1898459"/>
                <a:gd name="connsiteX3981" fmla="*/ 824624 w 1556920"/>
                <a:gd name="connsiteY3981" fmla="*/ 892357 h 1898459"/>
                <a:gd name="connsiteX3982" fmla="*/ 821145 w 1556920"/>
                <a:gd name="connsiteY3982" fmla="*/ 895382 h 1898459"/>
                <a:gd name="connsiteX3983" fmla="*/ 818241 w 1556920"/>
                <a:gd name="connsiteY3983" fmla="*/ 896562 h 1898459"/>
                <a:gd name="connsiteX3984" fmla="*/ 816910 w 1556920"/>
                <a:gd name="connsiteY3984" fmla="*/ 897591 h 1898459"/>
                <a:gd name="connsiteX3985" fmla="*/ 815185 w 1556920"/>
                <a:gd name="connsiteY3985" fmla="*/ 899980 h 1898459"/>
                <a:gd name="connsiteX3986" fmla="*/ 813673 w 1556920"/>
                <a:gd name="connsiteY3986" fmla="*/ 902794 h 1898459"/>
                <a:gd name="connsiteX3987" fmla="*/ 813038 w 1556920"/>
                <a:gd name="connsiteY3987" fmla="*/ 905063 h 1898459"/>
                <a:gd name="connsiteX3988" fmla="*/ 812342 w 1556920"/>
                <a:gd name="connsiteY3988" fmla="*/ 906938 h 1898459"/>
                <a:gd name="connsiteX3989" fmla="*/ 806866 w 1556920"/>
                <a:gd name="connsiteY3989" fmla="*/ 911234 h 1898459"/>
                <a:gd name="connsiteX3990" fmla="*/ 808016 w 1556920"/>
                <a:gd name="connsiteY3990" fmla="*/ 913473 h 1898459"/>
                <a:gd name="connsiteX3991" fmla="*/ 807623 w 1556920"/>
                <a:gd name="connsiteY3991" fmla="*/ 916770 h 1898459"/>
                <a:gd name="connsiteX3992" fmla="*/ 805475 w 1556920"/>
                <a:gd name="connsiteY3992" fmla="*/ 922518 h 1898459"/>
                <a:gd name="connsiteX3993" fmla="*/ 803115 w 1556920"/>
                <a:gd name="connsiteY3993" fmla="*/ 927388 h 1898459"/>
                <a:gd name="connsiteX3994" fmla="*/ 802752 w 1556920"/>
                <a:gd name="connsiteY3994" fmla="*/ 929203 h 1898459"/>
                <a:gd name="connsiteX3995" fmla="*/ 803055 w 1556920"/>
                <a:gd name="connsiteY3995" fmla="*/ 930383 h 1898459"/>
                <a:gd name="connsiteX3996" fmla="*/ 803750 w 1556920"/>
                <a:gd name="connsiteY3996" fmla="*/ 931472 h 1898459"/>
                <a:gd name="connsiteX3997" fmla="*/ 804174 w 1556920"/>
                <a:gd name="connsiteY3997" fmla="*/ 932682 h 1898459"/>
                <a:gd name="connsiteX3998" fmla="*/ 802752 w 1556920"/>
                <a:gd name="connsiteY3998" fmla="*/ 937492 h 1898459"/>
                <a:gd name="connsiteX3999" fmla="*/ 802933 w 1556920"/>
                <a:gd name="connsiteY3999" fmla="*/ 941122 h 1898459"/>
                <a:gd name="connsiteX4000" fmla="*/ 803418 w 1556920"/>
                <a:gd name="connsiteY4000" fmla="*/ 944813 h 1898459"/>
                <a:gd name="connsiteX4001" fmla="*/ 803418 w 1556920"/>
                <a:gd name="connsiteY4001" fmla="*/ 948231 h 1898459"/>
                <a:gd name="connsiteX4002" fmla="*/ 802389 w 1556920"/>
                <a:gd name="connsiteY4002" fmla="*/ 949925 h 1898459"/>
                <a:gd name="connsiteX4003" fmla="*/ 798577 w 1556920"/>
                <a:gd name="connsiteY4003" fmla="*/ 954070 h 1898459"/>
                <a:gd name="connsiteX4004" fmla="*/ 795764 w 1556920"/>
                <a:gd name="connsiteY4004" fmla="*/ 956248 h 1898459"/>
                <a:gd name="connsiteX4005" fmla="*/ 795219 w 1556920"/>
                <a:gd name="connsiteY4005" fmla="*/ 959424 h 1898459"/>
                <a:gd name="connsiteX4006" fmla="*/ 795431 w 1556920"/>
                <a:gd name="connsiteY4006" fmla="*/ 963115 h 1898459"/>
                <a:gd name="connsiteX4007" fmla="*/ 796611 w 1556920"/>
                <a:gd name="connsiteY4007" fmla="*/ 970073 h 1898459"/>
                <a:gd name="connsiteX4008" fmla="*/ 797670 w 1556920"/>
                <a:gd name="connsiteY4008" fmla="*/ 972070 h 1898459"/>
                <a:gd name="connsiteX4009" fmla="*/ 799455 w 1556920"/>
                <a:gd name="connsiteY4009" fmla="*/ 972705 h 1898459"/>
                <a:gd name="connsiteX4010" fmla="*/ 802359 w 1556920"/>
                <a:gd name="connsiteY4010" fmla="*/ 972705 h 1898459"/>
                <a:gd name="connsiteX4011" fmla="*/ 803508 w 1556920"/>
                <a:gd name="connsiteY4011" fmla="*/ 972433 h 1898459"/>
                <a:gd name="connsiteX4012" fmla="*/ 805777 w 1556920"/>
                <a:gd name="connsiteY4012" fmla="*/ 970890 h 1898459"/>
                <a:gd name="connsiteX4013" fmla="*/ 806836 w 1556920"/>
                <a:gd name="connsiteY4013" fmla="*/ 970436 h 1898459"/>
                <a:gd name="connsiteX4014" fmla="*/ 808016 w 1556920"/>
                <a:gd name="connsiteY4014" fmla="*/ 970527 h 1898459"/>
                <a:gd name="connsiteX4015" fmla="*/ 809982 w 1556920"/>
                <a:gd name="connsiteY4015" fmla="*/ 971464 h 1898459"/>
                <a:gd name="connsiteX4016" fmla="*/ 810950 w 1556920"/>
                <a:gd name="connsiteY4016" fmla="*/ 971676 h 1898459"/>
                <a:gd name="connsiteX4017" fmla="*/ 813340 w 1556920"/>
                <a:gd name="connsiteY4017" fmla="*/ 971253 h 1898459"/>
                <a:gd name="connsiteX4018" fmla="*/ 815579 w 1556920"/>
                <a:gd name="connsiteY4018" fmla="*/ 970194 h 1898459"/>
                <a:gd name="connsiteX4019" fmla="*/ 817575 w 1556920"/>
                <a:gd name="connsiteY4019" fmla="*/ 968772 h 1898459"/>
                <a:gd name="connsiteX4020" fmla="*/ 819239 w 1556920"/>
                <a:gd name="connsiteY4020" fmla="*/ 967169 h 1898459"/>
                <a:gd name="connsiteX4021" fmla="*/ 822537 w 1556920"/>
                <a:gd name="connsiteY4021" fmla="*/ 962843 h 1898459"/>
                <a:gd name="connsiteX4022" fmla="*/ 823535 w 1556920"/>
                <a:gd name="connsiteY4022" fmla="*/ 960392 h 1898459"/>
                <a:gd name="connsiteX4023" fmla="*/ 822355 w 1556920"/>
                <a:gd name="connsiteY4023" fmla="*/ 959303 h 1898459"/>
                <a:gd name="connsiteX4024" fmla="*/ 822264 w 1556920"/>
                <a:gd name="connsiteY4024" fmla="*/ 958638 h 1898459"/>
                <a:gd name="connsiteX4025" fmla="*/ 820631 w 1556920"/>
                <a:gd name="connsiteY4025" fmla="*/ 954947 h 1898459"/>
                <a:gd name="connsiteX4026" fmla="*/ 819693 w 1556920"/>
                <a:gd name="connsiteY4026" fmla="*/ 953707 h 1898459"/>
                <a:gd name="connsiteX4027" fmla="*/ 818785 w 1556920"/>
                <a:gd name="connsiteY4027" fmla="*/ 952829 h 1898459"/>
                <a:gd name="connsiteX4028" fmla="*/ 817787 w 1556920"/>
                <a:gd name="connsiteY4028" fmla="*/ 952436 h 1898459"/>
                <a:gd name="connsiteX4029" fmla="*/ 816517 w 1556920"/>
                <a:gd name="connsiteY4029" fmla="*/ 952618 h 1898459"/>
                <a:gd name="connsiteX4030" fmla="*/ 816517 w 1556920"/>
                <a:gd name="connsiteY4030" fmla="*/ 951589 h 1898459"/>
                <a:gd name="connsiteX4031" fmla="*/ 818846 w 1556920"/>
                <a:gd name="connsiteY4031" fmla="*/ 950258 h 1898459"/>
                <a:gd name="connsiteX4032" fmla="*/ 820449 w 1556920"/>
                <a:gd name="connsiteY4032" fmla="*/ 948050 h 1898459"/>
                <a:gd name="connsiteX4033" fmla="*/ 822688 w 1556920"/>
                <a:gd name="connsiteY4033" fmla="*/ 942604 h 1898459"/>
                <a:gd name="connsiteX4034" fmla="*/ 823142 w 1556920"/>
                <a:gd name="connsiteY4034" fmla="*/ 942181 h 1898459"/>
                <a:gd name="connsiteX4035" fmla="*/ 823595 w 1556920"/>
                <a:gd name="connsiteY4035" fmla="*/ 942393 h 1898459"/>
                <a:gd name="connsiteX4036" fmla="*/ 823928 w 1556920"/>
                <a:gd name="connsiteY4036" fmla="*/ 942302 h 1898459"/>
                <a:gd name="connsiteX4037" fmla="*/ 824049 w 1556920"/>
                <a:gd name="connsiteY4037" fmla="*/ 940971 h 1898459"/>
                <a:gd name="connsiteX4038" fmla="*/ 823958 w 1556920"/>
                <a:gd name="connsiteY4038" fmla="*/ 937885 h 1898459"/>
                <a:gd name="connsiteX4039" fmla="*/ 824049 w 1556920"/>
                <a:gd name="connsiteY4039" fmla="*/ 937008 h 1898459"/>
                <a:gd name="connsiteX4040" fmla="*/ 824654 w 1556920"/>
                <a:gd name="connsiteY4040" fmla="*/ 935405 h 1898459"/>
                <a:gd name="connsiteX4041" fmla="*/ 826802 w 1556920"/>
                <a:gd name="connsiteY4041" fmla="*/ 931533 h 1898459"/>
                <a:gd name="connsiteX4042" fmla="*/ 826167 w 1556920"/>
                <a:gd name="connsiteY4042" fmla="*/ 928447 h 1898459"/>
                <a:gd name="connsiteX4043" fmla="*/ 827346 w 1556920"/>
                <a:gd name="connsiteY4043" fmla="*/ 927479 h 1898459"/>
                <a:gd name="connsiteX4044" fmla="*/ 828950 w 1556920"/>
                <a:gd name="connsiteY4044" fmla="*/ 926843 h 1898459"/>
                <a:gd name="connsiteX4045" fmla="*/ 829555 w 1556920"/>
                <a:gd name="connsiteY4045" fmla="*/ 924696 h 1898459"/>
                <a:gd name="connsiteX4046" fmla="*/ 828799 w 1556920"/>
                <a:gd name="connsiteY4046" fmla="*/ 923062 h 1898459"/>
                <a:gd name="connsiteX4047" fmla="*/ 827588 w 1556920"/>
                <a:gd name="connsiteY4047" fmla="*/ 922729 h 1898459"/>
                <a:gd name="connsiteX4048" fmla="*/ 826681 w 1556920"/>
                <a:gd name="connsiteY4048" fmla="*/ 921731 h 1898459"/>
                <a:gd name="connsiteX4049" fmla="*/ 826832 w 1556920"/>
                <a:gd name="connsiteY4049" fmla="*/ 918010 h 1898459"/>
                <a:gd name="connsiteX4050" fmla="*/ 826620 w 1556920"/>
                <a:gd name="connsiteY4050" fmla="*/ 917526 h 1898459"/>
                <a:gd name="connsiteX4051" fmla="*/ 826227 w 1556920"/>
                <a:gd name="connsiteY4051" fmla="*/ 916770 h 1898459"/>
                <a:gd name="connsiteX4052" fmla="*/ 826046 w 1556920"/>
                <a:gd name="connsiteY4052" fmla="*/ 916074 h 1898459"/>
                <a:gd name="connsiteX4053" fmla="*/ 828194 w 1556920"/>
                <a:gd name="connsiteY4053" fmla="*/ 914531 h 1898459"/>
                <a:gd name="connsiteX4054" fmla="*/ 828436 w 1556920"/>
                <a:gd name="connsiteY4054" fmla="*/ 913170 h 1898459"/>
                <a:gd name="connsiteX4055" fmla="*/ 828708 w 1556920"/>
                <a:gd name="connsiteY4055" fmla="*/ 910266 h 1898459"/>
                <a:gd name="connsiteX4056" fmla="*/ 828950 w 1556920"/>
                <a:gd name="connsiteY4056" fmla="*/ 908905 h 1898459"/>
                <a:gd name="connsiteX4057" fmla="*/ 829676 w 1556920"/>
                <a:gd name="connsiteY4057" fmla="*/ 906878 h 1898459"/>
                <a:gd name="connsiteX4058" fmla="*/ 830614 w 1556920"/>
                <a:gd name="connsiteY4058" fmla="*/ 905063 h 1898459"/>
                <a:gd name="connsiteX4059" fmla="*/ 831733 w 1556920"/>
                <a:gd name="connsiteY4059" fmla="*/ 903520 h 1898459"/>
                <a:gd name="connsiteX4060" fmla="*/ 836331 w 1556920"/>
                <a:gd name="connsiteY4060" fmla="*/ 898710 h 1898459"/>
                <a:gd name="connsiteX4061" fmla="*/ 837844 w 1556920"/>
                <a:gd name="connsiteY4061" fmla="*/ 897711 h 1898459"/>
                <a:gd name="connsiteX4062" fmla="*/ 841262 w 1556920"/>
                <a:gd name="connsiteY4062" fmla="*/ 896683 h 1898459"/>
                <a:gd name="connsiteX4063" fmla="*/ 842654 w 1556920"/>
                <a:gd name="connsiteY4063" fmla="*/ 895594 h 1898459"/>
                <a:gd name="connsiteX4064" fmla="*/ 843319 w 1556920"/>
                <a:gd name="connsiteY4064" fmla="*/ 893325 h 1898459"/>
                <a:gd name="connsiteX4065" fmla="*/ 842412 w 1556920"/>
                <a:gd name="connsiteY4065" fmla="*/ 889120 h 1898459"/>
                <a:gd name="connsiteX4066" fmla="*/ 839901 w 1556920"/>
                <a:gd name="connsiteY4066" fmla="*/ 885187 h 1898459"/>
                <a:gd name="connsiteX4067" fmla="*/ 834304 w 1556920"/>
                <a:gd name="connsiteY4067" fmla="*/ 879621 h 1898459"/>
                <a:gd name="connsiteX4068" fmla="*/ 834788 w 1556920"/>
                <a:gd name="connsiteY4068" fmla="*/ 879288 h 1898459"/>
                <a:gd name="connsiteX4069" fmla="*/ 835272 w 1556920"/>
                <a:gd name="connsiteY4069" fmla="*/ 878774 h 1898459"/>
                <a:gd name="connsiteX4070" fmla="*/ 835756 w 1556920"/>
                <a:gd name="connsiteY4070" fmla="*/ 878411 h 1898459"/>
                <a:gd name="connsiteX4071" fmla="*/ 834758 w 1556920"/>
                <a:gd name="connsiteY4071" fmla="*/ 877594 h 1898459"/>
                <a:gd name="connsiteX4072" fmla="*/ 834334 w 1556920"/>
                <a:gd name="connsiteY4072" fmla="*/ 877413 h 1898459"/>
                <a:gd name="connsiteX4073" fmla="*/ 834334 w 1556920"/>
                <a:gd name="connsiteY4073" fmla="*/ 876293 h 1898459"/>
                <a:gd name="connsiteX4074" fmla="*/ 835030 w 1556920"/>
                <a:gd name="connsiteY4074" fmla="*/ 876293 h 1898459"/>
                <a:gd name="connsiteX4075" fmla="*/ 835030 w 1556920"/>
                <a:gd name="connsiteY4075" fmla="*/ 875265 h 1898459"/>
                <a:gd name="connsiteX4076" fmla="*/ 833820 w 1556920"/>
                <a:gd name="connsiteY4076" fmla="*/ 874146 h 1898459"/>
                <a:gd name="connsiteX4077" fmla="*/ 833488 w 1556920"/>
                <a:gd name="connsiteY4077" fmla="*/ 872875 h 1898459"/>
                <a:gd name="connsiteX4078" fmla="*/ 833397 w 1556920"/>
                <a:gd name="connsiteY4078" fmla="*/ 871332 h 1898459"/>
                <a:gd name="connsiteX4079" fmla="*/ 832973 w 1556920"/>
                <a:gd name="connsiteY4079" fmla="*/ 869457 h 1898459"/>
                <a:gd name="connsiteX4080" fmla="*/ 831975 w 1556920"/>
                <a:gd name="connsiteY4080" fmla="*/ 866159 h 1898459"/>
                <a:gd name="connsiteX4081" fmla="*/ 831400 w 1556920"/>
                <a:gd name="connsiteY4081" fmla="*/ 866038 h 1898459"/>
                <a:gd name="connsiteX4082" fmla="*/ 829888 w 1556920"/>
                <a:gd name="connsiteY4082" fmla="*/ 865282 h 1898459"/>
                <a:gd name="connsiteX4083" fmla="*/ 829525 w 1556920"/>
                <a:gd name="connsiteY4083" fmla="*/ 864919 h 1898459"/>
                <a:gd name="connsiteX4084" fmla="*/ 830281 w 1556920"/>
                <a:gd name="connsiteY4084" fmla="*/ 856025 h 1898459"/>
                <a:gd name="connsiteX4085" fmla="*/ 830220 w 1556920"/>
                <a:gd name="connsiteY4085" fmla="*/ 854936 h 1898459"/>
                <a:gd name="connsiteX4086" fmla="*/ 830220 w 1556920"/>
                <a:gd name="connsiteY4086" fmla="*/ 853907 h 1898459"/>
                <a:gd name="connsiteX4087" fmla="*/ 830614 w 1556920"/>
                <a:gd name="connsiteY4087" fmla="*/ 853030 h 1898459"/>
                <a:gd name="connsiteX4088" fmla="*/ 831340 w 1556920"/>
                <a:gd name="connsiteY4088" fmla="*/ 852637 h 1898459"/>
                <a:gd name="connsiteX4089" fmla="*/ 831582 w 1556920"/>
                <a:gd name="connsiteY4089" fmla="*/ 853696 h 1898459"/>
                <a:gd name="connsiteX4090" fmla="*/ 831582 w 1556920"/>
                <a:gd name="connsiteY4090" fmla="*/ 855148 h 1898459"/>
                <a:gd name="connsiteX4091" fmla="*/ 831672 w 1556920"/>
                <a:gd name="connsiteY4091" fmla="*/ 855934 h 1898459"/>
                <a:gd name="connsiteX4092" fmla="*/ 833548 w 1556920"/>
                <a:gd name="connsiteY4092" fmla="*/ 856479 h 1898459"/>
                <a:gd name="connsiteX4093" fmla="*/ 836029 w 1556920"/>
                <a:gd name="connsiteY4093" fmla="*/ 856691 h 1898459"/>
                <a:gd name="connsiteX4094" fmla="*/ 838207 w 1556920"/>
                <a:gd name="connsiteY4094" fmla="*/ 856085 h 1898459"/>
                <a:gd name="connsiteX4095" fmla="*/ 839145 w 1556920"/>
                <a:gd name="connsiteY4095" fmla="*/ 854210 h 1898459"/>
                <a:gd name="connsiteX4096" fmla="*/ 839447 w 1556920"/>
                <a:gd name="connsiteY4096" fmla="*/ 854361 h 1898459"/>
                <a:gd name="connsiteX4097" fmla="*/ 840052 w 1556920"/>
                <a:gd name="connsiteY4097" fmla="*/ 852364 h 1898459"/>
                <a:gd name="connsiteX4098" fmla="*/ 840536 w 1556920"/>
                <a:gd name="connsiteY4098" fmla="*/ 850005 h 1898459"/>
                <a:gd name="connsiteX4099" fmla="*/ 840536 w 1556920"/>
                <a:gd name="connsiteY4099" fmla="*/ 849158 h 1898459"/>
                <a:gd name="connsiteX4100" fmla="*/ 841262 w 1556920"/>
                <a:gd name="connsiteY4100" fmla="*/ 848674 h 1898459"/>
                <a:gd name="connsiteX4101" fmla="*/ 843077 w 1556920"/>
                <a:gd name="connsiteY4101" fmla="*/ 848522 h 1898459"/>
                <a:gd name="connsiteX4102" fmla="*/ 843985 w 1556920"/>
                <a:gd name="connsiteY4102" fmla="*/ 848008 h 1898459"/>
                <a:gd name="connsiteX4103" fmla="*/ 852304 w 1556920"/>
                <a:gd name="connsiteY4103" fmla="*/ 836210 h 1898459"/>
                <a:gd name="connsiteX4104" fmla="*/ 864314 w 1556920"/>
                <a:gd name="connsiteY4104" fmla="*/ 828647 h 1898459"/>
                <a:gd name="connsiteX4105" fmla="*/ 865252 w 1556920"/>
                <a:gd name="connsiteY4105" fmla="*/ 827437 h 1898459"/>
                <a:gd name="connsiteX4106" fmla="*/ 867672 w 1556920"/>
                <a:gd name="connsiteY4106" fmla="*/ 821629 h 1898459"/>
                <a:gd name="connsiteX4107" fmla="*/ 868761 w 1556920"/>
                <a:gd name="connsiteY4107" fmla="*/ 819572 h 1898459"/>
                <a:gd name="connsiteX4108" fmla="*/ 870273 w 1556920"/>
                <a:gd name="connsiteY4108" fmla="*/ 818301 h 1898459"/>
                <a:gd name="connsiteX4109" fmla="*/ 871967 w 1556920"/>
                <a:gd name="connsiteY4109" fmla="*/ 817606 h 1898459"/>
                <a:gd name="connsiteX4110" fmla="*/ 876082 w 1556920"/>
                <a:gd name="connsiteY4110" fmla="*/ 817303 h 1898459"/>
                <a:gd name="connsiteX4111" fmla="*/ 877776 w 1556920"/>
                <a:gd name="connsiteY4111" fmla="*/ 816486 h 1898459"/>
                <a:gd name="connsiteX4112" fmla="*/ 881497 w 1556920"/>
                <a:gd name="connsiteY4112" fmla="*/ 812675 h 1898459"/>
                <a:gd name="connsiteX4113" fmla="*/ 883251 w 1556920"/>
                <a:gd name="connsiteY4113" fmla="*/ 811555 h 1898459"/>
                <a:gd name="connsiteX4114" fmla="*/ 881285 w 1556920"/>
                <a:gd name="connsiteY4114" fmla="*/ 815942 h 1898459"/>
                <a:gd name="connsiteX4115" fmla="*/ 877776 w 1556920"/>
                <a:gd name="connsiteY4115" fmla="*/ 818332 h 1898459"/>
                <a:gd name="connsiteX4116" fmla="*/ 873934 w 1556920"/>
                <a:gd name="connsiteY4116" fmla="*/ 819874 h 1898459"/>
                <a:gd name="connsiteX4117" fmla="*/ 870909 w 1556920"/>
                <a:gd name="connsiteY4117" fmla="*/ 821750 h 1898459"/>
                <a:gd name="connsiteX4118" fmla="*/ 869305 w 1556920"/>
                <a:gd name="connsiteY4118" fmla="*/ 823928 h 1898459"/>
                <a:gd name="connsiteX4119" fmla="*/ 865735 w 1556920"/>
                <a:gd name="connsiteY4119" fmla="*/ 831521 h 1898459"/>
                <a:gd name="connsiteX4120" fmla="*/ 864767 w 1556920"/>
                <a:gd name="connsiteY4120" fmla="*/ 832489 h 1898459"/>
                <a:gd name="connsiteX4121" fmla="*/ 860563 w 1556920"/>
                <a:gd name="connsiteY4121" fmla="*/ 835545 h 1898459"/>
                <a:gd name="connsiteX4122" fmla="*/ 854724 w 1556920"/>
                <a:gd name="connsiteY4122" fmla="*/ 837814 h 1898459"/>
                <a:gd name="connsiteX4123" fmla="*/ 843743 w 1556920"/>
                <a:gd name="connsiteY4123" fmla="*/ 855541 h 1898459"/>
                <a:gd name="connsiteX4124" fmla="*/ 841262 w 1556920"/>
                <a:gd name="connsiteY4124" fmla="*/ 858143 h 1898459"/>
                <a:gd name="connsiteX4125" fmla="*/ 842533 w 1556920"/>
                <a:gd name="connsiteY4125" fmla="*/ 862983 h 1898459"/>
                <a:gd name="connsiteX4126" fmla="*/ 842714 w 1556920"/>
                <a:gd name="connsiteY4126" fmla="*/ 864404 h 1898459"/>
                <a:gd name="connsiteX4127" fmla="*/ 842502 w 1556920"/>
                <a:gd name="connsiteY4127" fmla="*/ 865796 h 1898459"/>
                <a:gd name="connsiteX4128" fmla="*/ 841504 w 1556920"/>
                <a:gd name="connsiteY4128" fmla="*/ 867611 h 1898459"/>
                <a:gd name="connsiteX4129" fmla="*/ 841262 w 1556920"/>
                <a:gd name="connsiteY4129" fmla="*/ 868882 h 1898459"/>
                <a:gd name="connsiteX4130" fmla="*/ 841202 w 1556920"/>
                <a:gd name="connsiteY4130" fmla="*/ 871907 h 1898459"/>
                <a:gd name="connsiteX4131" fmla="*/ 841262 w 1556920"/>
                <a:gd name="connsiteY4131" fmla="*/ 873419 h 1898459"/>
                <a:gd name="connsiteX4132" fmla="*/ 841625 w 1556920"/>
                <a:gd name="connsiteY4132" fmla="*/ 874599 h 1898459"/>
                <a:gd name="connsiteX4133" fmla="*/ 842381 w 1556920"/>
                <a:gd name="connsiteY4133" fmla="*/ 875446 h 1898459"/>
                <a:gd name="connsiteX4134" fmla="*/ 843168 w 1556920"/>
                <a:gd name="connsiteY4134" fmla="*/ 875840 h 1898459"/>
                <a:gd name="connsiteX4135" fmla="*/ 843773 w 1556920"/>
                <a:gd name="connsiteY4135" fmla="*/ 876444 h 1898459"/>
                <a:gd name="connsiteX4136" fmla="*/ 844408 w 1556920"/>
                <a:gd name="connsiteY4136" fmla="*/ 880559 h 1898459"/>
                <a:gd name="connsiteX4137" fmla="*/ 845467 w 1556920"/>
                <a:gd name="connsiteY4137" fmla="*/ 881829 h 1898459"/>
                <a:gd name="connsiteX4138" fmla="*/ 848855 w 1556920"/>
                <a:gd name="connsiteY4138" fmla="*/ 882979 h 1898459"/>
                <a:gd name="connsiteX4139" fmla="*/ 853272 w 1556920"/>
                <a:gd name="connsiteY4139" fmla="*/ 885339 h 1898459"/>
                <a:gd name="connsiteX4140" fmla="*/ 855117 w 1556920"/>
                <a:gd name="connsiteY4140" fmla="*/ 885339 h 1898459"/>
                <a:gd name="connsiteX4141" fmla="*/ 854391 w 1556920"/>
                <a:gd name="connsiteY4141" fmla="*/ 882404 h 1898459"/>
                <a:gd name="connsiteX4142" fmla="*/ 853393 w 1556920"/>
                <a:gd name="connsiteY4142" fmla="*/ 879863 h 1898459"/>
                <a:gd name="connsiteX4143" fmla="*/ 850973 w 1556920"/>
                <a:gd name="connsiteY4143" fmla="*/ 875204 h 1898459"/>
                <a:gd name="connsiteX4144" fmla="*/ 853938 w 1556920"/>
                <a:gd name="connsiteY4144" fmla="*/ 871211 h 1898459"/>
                <a:gd name="connsiteX4145" fmla="*/ 854421 w 1556920"/>
                <a:gd name="connsiteY4145" fmla="*/ 869971 h 1898459"/>
                <a:gd name="connsiteX4146" fmla="*/ 854633 w 1556920"/>
                <a:gd name="connsiteY4146" fmla="*/ 868337 h 1898459"/>
                <a:gd name="connsiteX4147" fmla="*/ 855238 w 1556920"/>
                <a:gd name="connsiteY4147" fmla="*/ 866008 h 1898459"/>
                <a:gd name="connsiteX4148" fmla="*/ 856116 w 1556920"/>
                <a:gd name="connsiteY4148" fmla="*/ 863830 h 1898459"/>
                <a:gd name="connsiteX4149" fmla="*/ 857144 w 1556920"/>
                <a:gd name="connsiteY4149" fmla="*/ 862589 h 1898459"/>
                <a:gd name="connsiteX4150" fmla="*/ 857144 w 1556920"/>
                <a:gd name="connsiteY4150" fmla="*/ 866038 h 1898459"/>
                <a:gd name="connsiteX4151" fmla="*/ 858052 w 1556920"/>
                <a:gd name="connsiteY4151" fmla="*/ 868156 h 1898459"/>
                <a:gd name="connsiteX4152" fmla="*/ 864677 w 1556920"/>
                <a:gd name="connsiteY4152" fmla="*/ 873208 h 1898459"/>
                <a:gd name="connsiteX4153" fmla="*/ 866583 w 1556920"/>
                <a:gd name="connsiteY4153" fmla="*/ 873813 h 1898459"/>
                <a:gd name="connsiteX4154" fmla="*/ 867430 w 1556920"/>
                <a:gd name="connsiteY4154" fmla="*/ 872210 h 1898459"/>
                <a:gd name="connsiteX4155" fmla="*/ 866673 w 1556920"/>
                <a:gd name="connsiteY4155" fmla="*/ 868761 h 1898459"/>
                <a:gd name="connsiteX4156" fmla="*/ 862831 w 1556920"/>
                <a:gd name="connsiteY4156" fmla="*/ 859776 h 1898459"/>
                <a:gd name="connsiteX4157" fmla="*/ 861228 w 1556920"/>
                <a:gd name="connsiteY4157" fmla="*/ 857054 h 1898459"/>
                <a:gd name="connsiteX4158" fmla="*/ 862831 w 1556920"/>
                <a:gd name="connsiteY4158" fmla="*/ 855874 h 1898459"/>
                <a:gd name="connsiteX4159" fmla="*/ 863588 w 1556920"/>
                <a:gd name="connsiteY4159" fmla="*/ 857235 h 1898459"/>
                <a:gd name="connsiteX4160" fmla="*/ 864102 w 1556920"/>
                <a:gd name="connsiteY4160" fmla="*/ 859353 h 1898459"/>
                <a:gd name="connsiteX4161" fmla="*/ 868125 w 1556920"/>
                <a:gd name="connsiteY4161" fmla="*/ 864344 h 1898459"/>
                <a:gd name="connsiteX4162" fmla="*/ 868519 w 1556920"/>
                <a:gd name="connsiteY4162" fmla="*/ 867642 h 1898459"/>
                <a:gd name="connsiteX4163" fmla="*/ 869547 w 1556920"/>
                <a:gd name="connsiteY4163" fmla="*/ 872330 h 1898459"/>
                <a:gd name="connsiteX4164" fmla="*/ 870999 w 1556920"/>
                <a:gd name="connsiteY4164" fmla="*/ 876535 h 1898459"/>
                <a:gd name="connsiteX4165" fmla="*/ 872603 w 1556920"/>
                <a:gd name="connsiteY4165" fmla="*/ 878350 h 1898459"/>
                <a:gd name="connsiteX4166" fmla="*/ 875779 w 1556920"/>
                <a:gd name="connsiteY4166" fmla="*/ 878986 h 1898459"/>
                <a:gd name="connsiteX4167" fmla="*/ 876959 w 1556920"/>
                <a:gd name="connsiteY4167" fmla="*/ 878774 h 1898459"/>
                <a:gd name="connsiteX4168" fmla="*/ 878381 w 1556920"/>
                <a:gd name="connsiteY4168" fmla="*/ 877322 h 1898459"/>
                <a:gd name="connsiteX4169" fmla="*/ 879379 w 1556920"/>
                <a:gd name="connsiteY4169" fmla="*/ 875628 h 1898459"/>
                <a:gd name="connsiteX4170" fmla="*/ 879802 w 1556920"/>
                <a:gd name="connsiteY4170" fmla="*/ 874115 h 1898459"/>
                <a:gd name="connsiteX4171" fmla="*/ 880075 w 1556920"/>
                <a:gd name="connsiteY4171" fmla="*/ 872512 h 1898459"/>
                <a:gd name="connsiteX4172" fmla="*/ 880559 w 1556920"/>
                <a:gd name="connsiteY4172" fmla="*/ 870576 h 1898459"/>
                <a:gd name="connsiteX4173" fmla="*/ 881406 w 1556920"/>
                <a:gd name="connsiteY4173" fmla="*/ 869124 h 1898459"/>
                <a:gd name="connsiteX4174" fmla="*/ 882555 w 1556920"/>
                <a:gd name="connsiteY4174" fmla="*/ 867793 h 1898459"/>
                <a:gd name="connsiteX4175" fmla="*/ 883554 w 1556920"/>
                <a:gd name="connsiteY4175" fmla="*/ 866190 h 1898459"/>
                <a:gd name="connsiteX4176" fmla="*/ 883917 w 1556920"/>
                <a:gd name="connsiteY4176" fmla="*/ 863800 h 1898459"/>
                <a:gd name="connsiteX4177" fmla="*/ 883433 w 1556920"/>
                <a:gd name="connsiteY4177" fmla="*/ 861924 h 1898459"/>
                <a:gd name="connsiteX4178" fmla="*/ 882374 w 1556920"/>
                <a:gd name="connsiteY4178" fmla="*/ 860623 h 1898459"/>
                <a:gd name="connsiteX4179" fmla="*/ 881043 w 1556920"/>
                <a:gd name="connsiteY4179" fmla="*/ 859776 h 1898459"/>
                <a:gd name="connsiteX4180" fmla="*/ 879772 w 1556920"/>
                <a:gd name="connsiteY4180" fmla="*/ 859201 h 1898459"/>
                <a:gd name="connsiteX4181" fmla="*/ 879772 w 1556920"/>
                <a:gd name="connsiteY4181" fmla="*/ 858082 h 1898459"/>
                <a:gd name="connsiteX4182" fmla="*/ 881497 w 1556920"/>
                <a:gd name="connsiteY4182" fmla="*/ 858536 h 1898459"/>
                <a:gd name="connsiteX4183" fmla="*/ 883100 w 1556920"/>
                <a:gd name="connsiteY4183" fmla="*/ 859383 h 1898459"/>
                <a:gd name="connsiteX4184" fmla="*/ 884612 w 1556920"/>
                <a:gd name="connsiteY4184" fmla="*/ 859867 h 1898459"/>
                <a:gd name="connsiteX4185" fmla="*/ 886004 w 1556920"/>
                <a:gd name="connsiteY4185" fmla="*/ 859201 h 1898459"/>
                <a:gd name="connsiteX4186" fmla="*/ 885459 w 1556920"/>
                <a:gd name="connsiteY4186" fmla="*/ 857326 h 1898459"/>
                <a:gd name="connsiteX4187" fmla="*/ 885248 w 1556920"/>
                <a:gd name="connsiteY4187" fmla="*/ 855117 h 1898459"/>
                <a:gd name="connsiteX4188" fmla="*/ 885248 w 1556920"/>
                <a:gd name="connsiteY4188" fmla="*/ 851880 h 1898459"/>
                <a:gd name="connsiteX4189" fmla="*/ 884824 w 1556920"/>
                <a:gd name="connsiteY4189" fmla="*/ 848522 h 1898459"/>
                <a:gd name="connsiteX4190" fmla="*/ 885066 w 1556920"/>
                <a:gd name="connsiteY4190" fmla="*/ 847282 h 1898459"/>
                <a:gd name="connsiteX4191" fmla="*/ 886367 w 1556920"/>
                <a:gd name="connsiteY4191" fmla="*/ 846798 h 1898459"/>
                <a:gd name="connsiteX4192" fmla="*/ 886670 w 1556920"/>
                <a:gd name="connsiteY4192" fmla="*/ 844227 h 1898459"/>
                <a:gd name="connsiteX4193" fmla="*/ 885762 w 1556920"/>
                <a:gd name="connsiteY4193" fmla="*/ 838540 h 1898459"/>
                <a:gd name="connsiteX4194" fmla="*/ 884370 w 1556920"/>
                <a:gd name="connsiteY4194" fmla="*/ 832701 h 1898459"/>
                <a:gd name="connsiteX4195" fmla="*/ 883221 w 1556920"/>
                <a:gd name="connsiteY4195" fmla="*/ 829736 h 1898459"/>
                <a:gd name="connsiteX4196" fmla="*/ 884582 w 1556920"/>
                <a:gd name="connsiteY4196" fmla="*/ 828224 h 1898459"/>
                <a:gd name="connsiteX4197" fmla="*/ 885943 w 1556920"/>
                <a:gd name="connsiteY4197" fmla="*/ 828678 h 1898459"/>
                <a:gd name="connsiteX4198" fmla="*/ 887002 w 1556920"/>
                <a:gd name="connsiteY4198" fmla="*/ 830372 h 1898459"/>
                <a:gd name="connsiteX4199" fmla="*/ 887426 w 1556920"/>
                <a:gd name="connsiteY4199" fmla="*/ 832610 h 1898459"/>
                <a:gd name="connsiteX4200" fmla="*/ 887275 w 1556920"/>
                <a:gd name="connsiteY4200" fmla="*/ 837693 h 1898459"/>
                <a:gd name="connsiteX4201" fmla="*/ 888031 w 1556920"/>
                <a:gd name="connsiteY4201" fmla="*/ 838993 h 1898459"/>
                <a:gd name="connsiteX4202" fmla="*/ 890179 w 1556920"/>
                <a:gd name="connsiteY4202" fmla="*/ 838903 h 1898459"/>
                <a:gd name="connsiteX4203" fmla="*/ 891631 w 1556920"/>
                <a:gd name="connsiteY4203" fmla="*/ 836936 h 1898459"/>
                <a:gd name="connsiteX4204" fmla="*/ 897409 w 1556920"/>
                <a:gd name="connsiteY4204" fmla="*/ 825804 h 1898459"/>
                <a:gd name="connsiteX4205" fmla="*/ 898770 w 1556920"/>
                <a:gd name="connsiteY4205" fmla="*/ 824049 h 1898459"/>
                <a:gd name="connsiteX4206" fmla="*/ 899859 w 1556920"/>
                <a:gd name="connsiteY4206" fmla="*/ 823323 h 1898459"/>
                <a:gd name="connsiteX4207" fmla="*/ 900343 w 1556920"/>
                <a:gd name="connsiteY4207" fmla="*/ 823958 h 1898459"/>
                <a:gd name="connsiteX4208" fmla="*/ 899889 w 1556920"/>
                <a:gd name="connsiteY4208" fmla="*/ 826348 h 1898459"/>
                <a:gd name="connsiteX4209" fmla="*/ 892750 w 1556920"/>
                <a:gd name="connsiteY4209" fmla="*/ 836997 h 1898459"/>
                <a:gd name="connsiteX4210" fmla="*/ 888817 w 1556920"/>
                <a:gd name="connsiteY4210" fmla="*/ 846526 h 1898459"/>
                <a:gd name="connsiteX4211" fmla="*/ 888666 w 1556920"/>
                <a:gd name="connsiteY4211" fmla="*/ 847918 h 1898459"/>
                <a:gd name="connsiteX4212" fmla="*/ 888817 w 1556920"/>
                <a:gd name="connsiteY4212" fmla="*/ 854210 h 1898459"/>
                <a:gd name="connsiteX4213" fmla="*/ 889120 w 1556920"/>
                <a:gd name="connsiteY4213" fmla="*/ 857205 h 1898459"/>
                <a:gd name="connsiteX4214" fmla="*/ 890209 w 1556920"/>
                <a:gd name="connsiteY4214" fmla="*/ 859534 h 1898459"/>
                <a:gd name="connsiteX4215" fmla="*/ 892569 w 1556920"/>
                <a:gd name="connsiteY4215" fmla="*/ 860472 h 1898459"/>
                <a:gd name="connsiteX4216" fmla="*/ 895019 w 1556920"/>
                <a:gd name="connsiteY4216" fmla="*/ 860472 h 1898459"/>
                <a:gd name="connsiteX4217" fmla="*/ 896864 w 1556920"/>
                <a:gd name="connsiteY4217" fmla="*/ 860199 h 1898459"/>
                <a:gd name="connsiteX4218" fmla="*/ 897499 w 1556920"/>
                <a:gd name="connsiteY4218" fmla="*/ 858869 h 1898459"/>
                <a:gd name="connsiteX4219" fmla="*/ 896380 w 1556920"/>
                <a:gd name="connsiteY4219" fmla="*/ 855874 h 1898459"/>
                <a:gd name="connsiteX4220" fmla="*/ 891601 w 1556920"/>
                <a:gd name="connsiteY4220" fmla="*/ 849188 h 1898459"/>
                <a:gd name="connsiteX4221" fmla="*/ 890965 w 1556920"/>
                <a:gd name="connsiteY4221" fmla="*/ 847131 h 1898459"/>
                <a:gd name="connsiteX4222" fmla="*/ 890905 w 1556920"/>
                <a:gd name="connsiteY4222" fmla="*/ 845467 h 1898459"/>
                <a:gd name="connsiteX4223" fmla="*/ 891419 w 1556920"/>
                <a:gd name="connsiteY4223" fmla="*/ 844197 h 1898459"/>
                <a:gd name="connsiteX4224" fmla="*/ 892932 w 1556920"/>
                <a:gd name="connsiteY4224" fmla="*/ 844529 h 1898459"/>
                <a:gd name="connsiteX4225" fmla="*/ 892992 w 1556920"/>
                <a:gd name="connsiteY4225" fmla="*/ 845346 h 1898459"/>
                <a:gd name="connsiteX4226" fmla="*/ 894323 w 1556920"/>
                <a:gd name="connsiteY4226" fmla="*/ 850308 h 1898459"/>
                <a:gd name="connsiteX4227" fmla="*/ 895473 w 1556920"/>
                <a:gd name="connsiteY4227" fmla="*/ 852425 h 1898459"/>
                <a:gd name="connsiteX4228" fmla="*/ 897046 w 1556920"/>
                <a:gd name="connsiteY4228" fmla="*/ 854633 h 1898459"/>
                <a:gd name="connsiteX4229" fmla="*/ 898891 w 1556920"/>
                <a:gd name="connsiteY4229" fmla="*/ 856388 h 1898459"/>
                <a:gd name="connsiteX4230" fmla="*/ 902975 w 1556920"/>
                <a:gd name="connsiteY4230" fmla="*/ 857840 h 1898459"/>
                <a:gd name="connsiteX4231" fmla="*/ 908118 w 1556920"/>
                <a:gd name="connsiteY4231" fmla="*/ 863860 h 1898459"/>
                <a:gd name="connsiteX4232" fmla="*/ 912474 w 1556920"/>
                <a:gd name="connsiteY4232" fmla="*/ 866431 h 1898459"/>
                <a:gd name="connsiteX4233" fmla="*/ 916437 w 1556920"/>
                <a:gd name="connsiteY4233" fmla="*/ 867218 h 1898459"/>
                <a:gd name="connsiteX4234" fmla="*/ 927388 w 1556920"/>
                <a:gd name="connsiteY4234" fmla="*/ 869396 h 1898459"/>
                <a:gd name="connsiteX4235" fmla="*/ 924938 w 1556920"/>
                <a:gd name="connsiteY4235" fmla="*/ 870909 h 1898459"/>
                <a:gd name="connsiteX4236" fmla="*/ 908178 w 1556920"/>
                <a:gd name="connsiteY4236" fmla="*/ 868488 h 1898459"/>
                <a:gd name="connsiteX4237" fmla="*/ 906030 w 1556920"/>
                <a:gd name="connsiteY4237" fmla="*/ 867248 h 1898459"/>
                <a:gd name="connsiteX4238" fmla="*/ 904881 w 1556920"/>
                <a:gd name="connsiteY4238" fmla="*/ 867732 h 1898459"/>
                <a:gd name="connsiteX4239" fmla="*/ 903187 w 1556920"/>
                <a:gd name="connsiteY4239" fmla="*/ 867460 h 1898459"/>
                <a:gd name="connsiteX4240" fmla="*/ 896804 w 1556920"/>
                <a:gd name="connsiteY4240" fmla="*/ 864677 h 1898459"/>
                <a:gd name="connsiteX4241" fmla="*/ 895442 w 1556920"/>
                <a:gd name="connsiteY4241" fmla="*/ 864526 h 1898459"/>
                <a:gd name="connsiteX4242" fmla="*/ 893567 w 1556920"/>
                <a:gd name="connsiteY4242" fmla="*/ 864919 h 1898459"/>
                <a:gd name="connsiteX4243" fmla="*/ 890421 w 1556920"/>
                <a:gd name="connsiteY4243" fmla="*/ 866129 h 1898459"/>
                <a:gd name="connsiteX4244" fmla="*/ 888122 w 1556920"/>
                <a:gd name="connsiteY4244" fmla="*/ 867944 h 1898459"/>
                <a:gd name="connsiteX4245" fmla="*/ 886670 w 1556920"/>
                <a:gd name="connsiteY4245" fmla="*/ 870848 h 1898459"/>
                <a:gd name="connsiteX4246" fmla="*/ 886034 w 1556920"/>
                <a:gd name="connsiteY4246" fmla="*/ 875265 h 1898459"/>
                <a:gd name="connsiteX4247" fmla="*/ 886428 w 1556920"/>
                <a:gd name="connsiteY4247" fmla="*/ 879803 h 1898459"/>
                <a:gd name="connsiteX4248" fmla="*/ 886428 w 1556920"/>
                <a:gd name="connsiteY4248" fmla="*/ 879923 h 1898459"/>
                <a:gd name="connsiteX4249" fmla="*/ 887033 w 1556920"/>
                <a:gd name="connsiteY4249" fmla="*/ 887032 h 1898459"/>
                <a:gd name="connsiteX4250" fmla="*/ 887547 w 1556920"/>
                <a:gd name="connsiteY4250" fmla="*/ 888727 h 1898459"/>
                <a:gd name="connsiteX4251" fmla="*/ 888152 w 1556920"/>
                <a:gd name="connsiteY4251" fmla="*/ 890148 h 1898459"/>
                <a:gd name="connsiteX4252" fmla="*/ 888787 w 1556920"/>
                <a:gd name="connsiteY4252" fmla="*/ 892115 h 1898459"/>
                <a:gd name="connsiteX4253" fmla="*/ 889211 w 1556920"/>
                <a:gd name="connsiteY4253" fmla="*/ 897651 h 1898459"/>
                <a:gd name="connsiteX4254" fmla="*/ 887668 w 1556920"/>
                <a:gd name="connsiteY4254" fmla="*/ 901190 h 1898459"/>
                <a:gd name="connsiteX4255" fmla="*/ 883221 w 1556920"/>
                <a:gd name="connsiteY4255" fmla="*/ 905577 h 1898459"/>
                <a:gd name="connsiteX4256" fmla="*/ 885187 w 1556920"/>
                <a:gd name="connsiteY4256" fmla="*/ 908239 h 1898459"/>
                <a:gd name="connsiteX4257" fmla="*/ 888454 w 1556920"/>
                <a:gd name="connsiteY4257" fmla="*/ 910992 h 1898459"/>
                <a:gd name="connsiteX4258" fmla="*/ 894293 w 1556920"/>
                <a:gd name="connsiteY4258" fmla="*/ 914531 h 1898459"/>
                <a:gd name="connsiteX4259" fmla="*/ 894293 w 1556920"/>
                <a:gd name="connsiteY4259" fmla="*/ 915741 h 1898459"/>
                <a:gd name="connsiteX4260" fmla="*/ 893537 w 1556920"/>
                <a:gd name="connsiteY4260" fmla="*/ 917254 h 1898459"/>
                <a:gd name="connsiteX4261" fmla="*/ 894474 w 1556920"/>
                <a:gd name="connsiteY4261" fmla="*/ 917859 h 1898459"/>
                <a:gd name="connsiteX4262" fmla="*/ 897711 w 1556920"/>
                <a:gd name="connsiteY4262" fmla="*/ 917980 h 1898459"/>
                <a:gd name="connsiteX4263" fmla="*/ 903187 w 1556920"/>
                <a:gd name="connsiteY4263" fmla="*/ 920219 h 1898459"/>
                <a:gd name="connsiteX4264" fmla="*/ 906121 w 1556920"/>
                <a:gd name="connsiteY4264" fmla="*/ 922518 h 1898459"/>
                <a:gd name="connsiteX4265" fmla="*/ 908299 w 1556920"/>
                <a:gd name="connsiteY4265" fmla="*/ 925906 h 1898459"/>
                <a:gd name="connsiteX4266" fmla="*/ 908753 w 1556920"/>
                <a:gd name="connsiteY4266" fmla="*/ 929355 h 1898459"/>
                <a:gd name="connsiteX4267" fmla="*/ 908753 w 1556920"/>
                <a:gd name="connsiteY4267" fmla="*/ 929536 h 1898459"/>
                <a:gd name="connsiteX4268" fmla="*/ 906666 w 1556920"/>
                <a:gd name="connsiteY4268" fmla="*/ 932500 h 1898459"/>
                <a:gd name="connsiteX4269" fmla="*/ 910326 w 1556920"/>
                <a:gd name="connsiteY4269" fmla="*/ 933650 h 1898459"/>
                <a:gd name="connsiteX4270" fmla="*/ 912746 w 1556920"/>
                <a:gd name="connsiteY4270" fmla="*/ 936464 h 1898459"/>
                <a:gd name="connsiteX4271" fmla="*/ 913654 w 1556920"/>
                <a:gd name="connsiteY4271" fmla="*/ 940396 h 1898459"/>
                <a:gd name="connsiteX4272" fmla="*/ 912777 w 1556920"/>
                <a:gd name="connsiteY4272" fmla="*/ 944813 h 1898459"/>
                <a:gd name="connsiteX4273" fmla="*/ 910356 w 1556920"/>
                <a:gd name="connsiteY4273" fmla="*/ 948050 h 1898459"/>
                <a:gd name="connsiteX4274" fmla="*/ 903671 w 1556920"/>
                <a:gd name="connsiteY4274" fmla="*/ 950984 h 1898459"/>
                <a:gd name="connsiteX4275" fmla="*/ 900434 w 1556920"/>
                <a:gd name="connsiteY4275" fmla="*/ 953707 h 1898459"/>
                <a:gd name="connsiteX4276" fmla="*/ 899466 w 1556920"/>
                <a:gd name="connsiteY4276" fmla="*/ 955582 h 1898459"/>
                <a:gd name="connsiteX4277" fmla="*/ 898619 w 1556920"/>
                <a:gd name="connsiteY4277" fmla="*/ 959364 h 1898459"/>
                <a:gd name="connsiteX4278" fmla="*/ 898014 w 1556920"/>
                <a:gd name="connsiteY4278" fmla="*/ 960937 h 1898459"/>
                <a:gd name="connsiteX4279" fmla="*/ 897197 w 1556920"/>
                <a:gd name="connsiteY4279" fmla="*/ 961905 h 1898459"/>
                <a:gd name="connsiteX4280" fmla="*/ 895382 w 1556920"/>
                <a:gd name="connsiteY4280" fmla="*/ 963327 h 1898459"/>
                <a:gd name="connsiteX4281" fmla="*/ 892024 w 1556920"/>
                <a:gd name="connsiteY4281" fmla="*/ 967169 h 1898459"/>
                <a:gd name="connsiteX4282" fmla="*/ 891479 w 1556920"/>
                <a:gd name="connsiteY4282" fmla="*/ 968167 h 1898459"/>
                <a:gd name="connsiteX4283" fmla="*/ 891298 w 1556920"/>
                <a:gd name="connsiteY4283" fmla="*/ 969710 h 1898459"/>
                <a:gd name="connsiteX4284" fmla="*/ 891540 w 1556920"/>
                <a:gd name="connsiteY4284" fmla="*/ 973249 h 1898459"/>
                <a:gd name="connsiteX4285" fmla="*/ 891449 w 1556920"/>
                <a:gd name="connsiteY4285" fmla="*/ 974852 h 1898459"/>
                <a:gd name="connsiteX4286" fmla="*/ 891056 w 1556920"/>
                <a:gd name="connsiteY4286" fmla="*/ 976304 h 1898459"/>
                <a:gd name="connsiteX4287" fmla="*/ 888757 w 1556920"/>
                <a:gd name="connsiteY4287" fmla="*/ 981780 h 1898459"/>
                <a:gd name="connsiteX4288" fmla="*/ 888666 w 1556920"/>
                <a:gd name="connsiteY4288" fmla="*/ 982597 h 1898459"/>
                <a:gd name="connsiteX4289" fmla="*/ 888666 w 1556920"/>
                <a:gd name="connsiteY4289" fmla="*/ 984321 h 1898459"/>
                <a:gd name="connsiteX4290" fmla="*/ 888485 w 1556920"/>
                <a:gd name="connsiteY4290" fmla="*/ 984836 h 1898459"/>
                <a:gd name="connsiteX4291" fmla="*/ 887456 w 1556920"/>
                <a:gd name="connsiteY4291" fmla="*/ 985077 h 1898459"/>
                <a:gd name="connsiteX4292" fmla="*/ 886972 w 1556920"/>
                <a:gd name="connsiteY4292" fmla="*/ 985440 h 1898459"/>
                <a:gd name="connsiteX4293" fmla="*/ 880438 w 1556920"/>
                <a:gd name="connsiteY4293" fmla="*/ 993639 h 1898459"/>
                <a:gd name="connsiteX4294" fmla="*/ 876293 w 1556920"/>
                <a:gd name="connsiteY4294" fmla="*/ 996119 h 1898459"/>
                <a:gd name="connsiteX4295" fmla="*/ 874327 w 1556920"/>
                <a:gd name="connsiteY4295" fmla="*/ 997965 h 1898459"/>
                <a:gd name="connsiteX4296" fmla="*/ 873480 w 1556920"/>
                <a:gd name="connsiteY4296" fmla="*/ 1000959 h 1898459"/>
                <a:gd name="connsiteX4297" fmla="*/ 873208 w 1556920"/>
                <a:gd name="connsiteY4297" fmla="*/ 1004257 h 1898459"/>
                <a:gd name="connsiteX4298" fmla="*/ 872512 w 1556920"/>
                <a:gd name="connsiteY4298" fmla="*/ 1006435 h 1898459"/>
                <a:gd name="connsiteX4299" fmla="*/ 870727 w 1556920"/>
                <a:gd name="connsiteY4299" fmla="*/ 1010368 h 1898459"/>
                <a:gd name="connsiteX4300" fmla="*/ 870303 w 1556920"/>
                <a:gd name="connsiteY4300" fmla="*/ 1011759 h 1898459"/>
                <a:gd name="connsiteX4301" fmla="*/ 870092 w 1556920"/>
                <a:gd name="connsiteY4301" fmla="*/ 1012848 h 1898459"/>
                <a:gd name="connsiteX4302" fmla="*/ 870031 w 1556920"/>
                <a:gd name="connsiteY4302" fmla="*/ 1016418 h 1898459"/>
                <a:gd name="connsiteX4303" fmla="*/ 870364 w 1556920"/>
                <a:gd name="connsiteY4303" fmla="*/ 1018293 h 1898459"/>
                <a:gd name="connsiteX4304" fmla="*/ 871786 w 1556920"/>
                <a:gd name="connsiteY4304" fmla="*/ 1021500 h 1898459"/>
                <a:gd name="connsiteX4305" fmla="*/ 871846 w 1556920"/>
                <a:gd name="connsiteY4305" fmla="*/ 1021742 h 1898459"/>
                <a:gd name="connsiteX4306" fmla="*/ 872119 w 1556920"/>
                <a:gd name="connsiteY4306" fmla="*/ 1023073 h 1898459"/>
                <a:gd name="connsiteX4307" fmla="*/ 872693 w 1556920"/>
                <a:gd name="connsiteY4307" fmla="*/ 1024525 h 1898459"/>
                <a:gd name="connsiteX4308" fmla="*/ 876293 w 1556920"/>
                <a:gd name="connsiteY4308" fmla="*/ 1031271 h 1898459"/>
                <a:gd name="connsiteX4309" fmla="*/ 876293 w 1556920"/>
                <a:gd name="connsiteY4309" fmla="*/ 1032360 h 1898459"/>
                <a:gd name="connsiteX4310" fmla="*/ 875870 w 1556920"/>
                <a:gd name="connsiteY4310" fmla="*/ 1032905 h 1898459"/>
                <a:gd name="connsiteX4311" fmla="*/ 875537 w 1556920"/>
                <a:gd name="connsiteY4311" fmla="*/ 1033540 h 1898459"/>
                <a:gd name="connsiteX4312" fmla="*/ 873782 w 1556920"/>
                <a:gd name="connsiteY4312" fmla="*/ 1035265 h 1898459"/>
                <a:gd name="connsiteX4313" fmla="*/ 871967 w 1556920"/>
                <a:gd name="connsiteY4313" fmla="*/ 1034992 h 1898459"/>
                <a:gd name="connsiteX4314" fmla="*/ 870303 w 1556920"/>
                <a:gd name="connsiteY4314" fmla="*/ 1033540 h 1898459"/>
                <a:gd name="connsiteX4315" fmla="*/ 868972 w 1556920"/>
                <a:gd name="connsiteY4315" fmla="*/ 1031786 h 1898459"/>
                <a:gd name="connsiteX4316" fmla="*/ 868519 w 1556920"/>
                <a:gd name="connsiteY4316" fmla="*/ 1030304 h 1898459"/>
                <a:gd name="connsiteX4317" fmla="*/ 868670 w 1556920"/>
                <a:gd name="connsiteY4317" fmla="*/ 1026401 h 1898459"/>
                <a:gd name="connsiteX4318" fmla="*/ 868579 w 1556920"/>
                <a:gd name="connsiteY4318" fmla="*/ 1024647 h 1898459"/>
                <a:gd name="connsiteX4319" fmla="*/ 868095 w 1556920"/>
                <a:gd name="connsiteY4319" fmla="*/ 1022952 h 1898459"/>
                <a:gd name="connsiteX4320" fmla="*/ 867339 w 1556920"/>
                <a:gd name="connsiteY4320" fmla="*/ 1021440 h 1898459"/>
                <a:gd name="connsiteX4321" fmla="*/ 865826 w 1556920"/>
                <a:gd name="connsiteY4321" fmla="*/ 1019171 h 1898459"/>
                <a:gd name="connsiteX4322" fmla="*/ 865463 w 1556920"/>
                <a:gd name="connsiteY4322" fmla="*/ 1018293 h 1898459"/>
                <a:gd name="connsiteX4323" fmla="*/ 864495 w 1556920"/>
                <a:gd name="connsiteY4323" fmla="*/ 1016509 h 1898459"/>
                <a:gd name="connsiteX4324" fmla="*/ 863497 w 1556920"/>
                <a:gd name="connsiteY4324" fmla="*/ 1015631 h 1898459"/>
                <a:gd name="connsiteX4325" fmla="*/ 863043 w 1556920"/>
                <a:gd name="connsiteY4325" fmla="*/ 1017507 h 1898459"/>
                <a:gd name="connsiteX4326" fmla="*/ 862559 w 1556920"/>
                <a:gd name="connsiteY4326" fmla="*/ 1018021 h 1898459"/>
                <a:gd name="connsiteX4327" fmla="*/ 861440 w 1556920"/>
                <a:gd name="connsiteY4327" fmla="*/ 1018173 h 1898459"/>
                <a:gd name="connsiteX4328" fmla="*/ 859322 w 1556920"/>
                <a:gd name="connsiteY4328" fmla="*/ 1018052 h 1898459"/>
                <a:gd name="connsiteX4329" fmla="*/ 857900 w 1556920"/>
                <a:gd name="connsiteY4329" fmla="*/ 1019322 h 1898459"/>
                <a:gd name="connsiteX4330" fmla="*/ 857205 w 1556920"/>
                <a:gd name="connsiteY4330" fmla="*/ 1022257 h 1898459"/>
                <a:gd name="connsiteX4331" fmla="*/ 856902 w 1556920"/>
                <a:gd name="connsiteY4331" fmla="*/ 1028065 h 1898459"/>
                <a:gd name="connsiteX4332" fmla="*/ 857416 w 1556920"/>
                <a:gd name="connsiteY4332" fmla="*/ 1034448 h 1898459"/>
                <a:gd name="connsiteX4333" fmla="*/ 859262 w 1556920"/>
                <a:gd name="connsiteY4333" fmla="*/ 1040165 h 1898459"/>
                <a:gd name="connsiteX4334" fmla="*/ 862166 w 1556920"/>
                <a:gd name="connsiteY4334" fmla="*/ 1045006 h 1898459"/>
                <a:gd name="connsiteX4335" fmla="*/ 871725 w 1556920"/>
                <a:gd name="connsiteY4335" fmla="*/ 1055684 h 1898459"/>
                <a:gd name="connsiteX4336" fmla="*/ 873752 w 1556920"/>
                <a:gd name="connsiteY4336" fmla="*/ 1056562 h 1898459"/>
                <a:gd name="connsiteX4337" fmla="*/ 874720 w 1556920"/>
                <a:gd name="connsiteY4337" fmla="*/ 1057469 h 1898459"/>
                <a:gd name="connsiteX4338" fmla="*/ 875355 w 1556920"/>
                <a:gd name="connsiteY4338" fmla="*/ 1059526 h 1898459"/>
                <a:gd name="connsiteX4339" fmla="*/ 875809 w 1556920"/>
                <a:gd name="connsiteY4339" fmla="*/ 1061795 h 1898459"/>
                <a:gd name="connsiteX4340" fmla="*/ 876263 w 1556920"/>
                <a:gd name="connsiteY4340" fmla="*/ 1063247 h 1898459"/>
                <a:gd name="connsiteX4341" fmla="*/ 876929 w 1556920"/>
                <a:gd name="connsiteY4341" fmla="*/ 1063822 h 1898459"/>
                <a:gd name="connsiteX4342" fmla="*/ 877745 w 1556920"/>
                <a:gd name="connsiteY4342" fmla="*/ 1064155 h 1898459"/>
                <a:gd name="connsiteX4343" fmla="*/ 879621 w 1556920"/>
                <a:gd name="connsiteY4343" fmla="*/ 1064336 h 1898459"/>
                <a:gd name="connsiteX4344" fmla="*/ 879197 w 1556920"/>
                <a:gd name="connsiteY4344" fmla="*/ 1065546 h 1898459"/>
                <a:gd name="connsiteX4345" fmla="*/ 879197 w 1556920"/>
                <a:gd name="connsiteY4345" fmla="*/ 1066635 h 1898459"/>
                <a:gd name="connsiteX4346" fmla="*/ 879621 w 1556920"/>
                <a:gd name="connsiteY4346" fmla="*/ 1067694 h 1898459"/>
                <a:gd name="connsiteX4347" fmla="*/ 880377 w 1556920"/>
                <a:gd name="connsiteY4347" fmla="*/ 1068693 h 1898459"/>
                <a:gd name="connsiteX4348" fmla="*/ 879197 w 1556920"/>
                <a:gd name="connsiteY4348" fmla="*/ 1070175 h 1898459"/>
                <a:gd name="connsiteX4349" fmla="*/ 879107 w 1556920"/>
                <a:gd name="connsiteY4349" fmla="*/ 1072807 h 1898459"/>
                <a:gd name="connsiteX4350" fmla="*/ 879742 w 1556920"/>
                <a:gd name="connsiteY4350" fmla="*/ 1075318 h 1898459"/>
                <a:gd name="connsiteX4351" fmla="*/ 880710 w 1556920"/>
                <a:gd name="connsiteY4351" fmla="*/ 1076437 h 1898459"/>
                <a:gd name="connsiteX4352" fmla="*/ 882797 w 1556920"/>
                <a:gd name="connsiteY4352" fmla="*/ 1076921 h 1898459"/>
                <a:gd name="connsiteX4353" fmla="*/ 887123 w 1556920"/>
                <a:gd name="connsiteY4353" fmla="*/ 1079069 h 1898459"/>
                <a:gd name="connsiteX4354" fmla="*/ 889271 w 1556920"/>
                <a:gd name="connsiteY4354" fmla="*/ 1079583 h 1898459"/>
                <a:gd name="connsiteX4355" fmla="*/ 887970 w 1556920"/>
                <a:gd name="connsiteY4355" fmla="*/ 1076981 h 1898459"/>
                <a:gd name="connsiteX4356" fmla="*/ 887970 w 1556920"/>
                <a:gd name="connsiteY4356" fmla="*/ 1074713 h 1898459"/>
                <a:gd name="connsiteX4357" fmla="*/ 888485 w 1556920"/>
                <a:gd name="connsiteY4357" fmla="*/ 1071809 h 1898459"/>
                <a:gd name="connsiteX4358" fmla="*/ 888485 w 1556920"/>
                <a:gd name="connsiteY4358" fmla="*/ 1070417 h 1898459"/>
                <a:gd name="connsiteX4359" fmla="*/ 885580 w 1556920"/>
                <a:gd name="connsiteY4359" fmla="*/ 1068118 h 1898459"/>
                <a:gd name="connsiteX4360" fmla="*/ 883977 w 1556920"/>
                <a:gd name="connsiteY4360" fmla="*/ 1064306 h 1898459"/>
                <a:gd name="connsiteX4361" fmla="*/ 882858 w 1556920"/>
                <a:gd name="connsiteY4361" fmla="*/ 1060525 h 1898459"/>
                <a:gd name="connsiteX4362" fmla="*/ 882162 w 1556920"/>
                <a:gd name="connsiteY4362" fmla="*/ 1058800 h 1898459"/>
                <a:gd name="connsiteX4363" fmla="*/ 881134 w 1556920"/>
                <a:gd name="connsiteY4363" fmla="*/ 1058105 h 1898459"/>
                <a:gd name="connsiteX4364" fmla="*/ 880377 w 1556920"/>
                <a:gd name="connsiteY4364" fmla="*/ 1056471 h 1898459"/>
                <a:gd name="connsiteX4365" fmla="*/ 879863 w 1556920"/>
                <a:gd name="connsiteY4365" fmla="*/ 1054595 h 1898459"/>
                <a:gd name="connsiteX4366" fmla="*/ 879682 w 1556920"/>
                <a:gd name="connsiteY4366" fmla="*/ 1053234 h 1898459"/>
                <a:gd name="connsiteX4367" fmla="*/ 879682 w 1556920"/>
                <a:gd name="connsiteY4367" fmla="*/ 1052054 h 1898459"/>
                <a:gd name="connsiteX4368" fmla="*/ 879802 w 1556920"/>
                <a:gd name="connsiteY4368" fmla="*/ 1051207 h 1898459"/>
                <a:gd name="connsiteX4369" fmla="*/ 880196 w 1556920"/>
                <a:gd name="connsiteY4369" fmla="*/ 1050269 h 1898459"/>
                <a:gd name="connsiteX4370" fmla="*/ 881073 w 1556920"/>
                <a:gd name="connsiteY4370" fmla="*/ 1048848 h 1898459"/>
                <a:gd name="connsiteX4371" fmla="*/ 882616 w 1556920"/>
                <a:gd name="connsiteY4371" fmla="*/ 1046821 h 1898459"/>
                <a:gd name="connsiteX4372" fmla="*/ 884612 w 1556920"/>
                <a:gd name="connsiteY4372" fmla="*/ 1044824 h 1898459"/>
                <a:gd name="connsiteX4373" fmla="*/ 886911 w 1556920"/>
                <a:gd name="connsiteY4373" fmla="*/ 1043160 h 1898459"/>
                <a:gd name="connsiteX4374" fmla="*/ 889332 w 1556920"/>
                <a:gd name="connsiteY4374" fmla="*/ 1042162 h 1898459"/>
                <a:gd name="connsiteX4375" fmla="*/ 893143 w 1556920"/>
                <a:gd name="connsiteY4375" fmla="*/ 1042101 h 1898459"/>
                <a:gd name="connsiteX4376" fmla="*/ 895291 w 1556920"/>
                <a:gd name="connsiteY4376" fmla="*/ 1042979 h 1898459"/>
                <a:gd name="connsiteX4377" fmla="*/ 897167 w 1556920"/>
                <a:gd name="connsiteY4377" fmla="*/ 1047516 h 1898459"/>
                <a:gd name="connsiteX4378" fmla="*/ 899315 w 1556920"/>
                <a:gd name="connsiteY4378" fmla="*/ 1048757 h 1898459"/>
                <a:gd name="connsiteX4379" fmla="*/ 903852 w 1556920"/>
                <a:gd name="connsiteY4379" fmla="*/ 1049967 h 1898459"/>
                <a:gd name="connsiteX4380" fmla="*/ 915711 w 1556920"/>
                <a:gd name="connsiteY4380" fmla="*/ 1056804 h 1898459"/>
                <a:gd name="connsiteX4381" fmla="*/ 919039 w 1556920"/>
                <a:gd name="connsiteY4381" fmla="*/ 1059829 h 1898459"/>
                <a:gd name="connsiteX4382" fmla="*/ 924877 w 1556920"/>
                <a:gd name="connsiteY4382" fmla="*/ 1068118 h 1898459"/>
                <a:gd name="connsiteX4383" fmla="*/ 925785 w 1556920"/>
                <a:gd name="connsiteY4383" fmla="*/ 1068753 h 1898459"/>
                <a:gd name="connsiteX4384" fmla="*/ 929354 w 1556920"/>
                <a:gd name="connsiteY4384" fmla="*/ 1068662 h 1898459"/>
                <a:gd name="connsiteX4385" fmla="*/ 930292 w 1556920"/>
                <a:gd name="connsiteY4385" fmla="*/ 1069056 h 1898459"/>
                <a:gd name="connsiteX4386" fmla="*/ 932833 w 1556920"/>
                <a:gd name="connsiteY4386" fmla="*/ 1070840 h 1898459"/>
                <a:gd name="connsiteX4387" fmla="*/ 934981 w 1556920"/>
                <a:gd name="connsiteY4387" fmla="*/ 1071718 h 1898459"/>
                <a:gd name="connsiteX4388" fmla="*/ 937280 w 1556920"/>
                <a:gd name="connsiteY4388" fmla="*/ 1072020 h 1898459"/>
                <a:gd name="connsiteX4389" fmla="*/ 938339 w 1556920"/>
                <a:gd name="connsiteY4389" fmla="*/ 1071657 h 1898459"/>
                <a:gd name="connsiteX4390" fmla="*/ 939005 w 1556920"/>
                <a:gd name="connsiteY4390" fmla="*/ 1070901 h 1898459"/>
                <a:gd name="connsiteX4391" fmla="*/ 939519 w 1556920"/>
                <a:gd name="connsiteY4391" fmla="*/ 1070175 h 1898459"/>
                <a:gd name="connsiteX4392" fmla="*/ 940094 w 1556920"/>
                <a:gd name="connsiteY4392" fmla="*/ 1069812 h 1898459"/>
                <a:gd name="connsiteX4393" fmla="*/ 940759 w 1556920"/>
                <a:gd name="connsiteY4393" fmla="*/ 1068511 h 1898459"/>
                <a:gd name="connsiteX4394" fmla="*/ 940245 w 1556920"/>
                <a:gd name="connsiteY4394" fmla="*/ 1065486 h 1898459"/>
                <a:gd name="connsiteX4395" fmla="*/ 939912 w 1556920"/>
                <a:gd name="connsiteY4395" fmla="*/ 1062128 h 1898459"/>
                <a:gd name="connsiteX4396" fmla="*/ 941183 w 1556920"/>
                <a:gd name="connsiteY4396" fmla="*/ 1059799 h 1898459"/>
                <a:gd name="connsiteX4397" fmla="*/ 939761 w 1556920"/>
                <a:gd name="connsiteY4397" fmla="*/ 1057469 h 1898459"/>
                <a:gd name="connsiteX4398" fmla="*/ 940245 w 1556920"/>
                <a:gd name="connsiteY4398" fmla="*/ 1055533 h 1898459"/>
                <a:gd name="connsiteX4399" fmla="*/ 941122 w 1556920"/>
                <a:gd name="connsiteY4399" fmla="*/ 1053718 h 1898459"/>
                <a:gd name="connsiteX4400" fmla="*/ 940789 w 1556920"/>
                <a:gd name="connsiteY4400" fmla="*/ 1051661 h 1898459"/>
                <a:gd name="connsiteX4401" fmla="*/ 939579 w 1556920"/>
                <a:gd name="connsiteY4401" fmla="*/ 1050179 h 1898459"/>
                <a:gd name="connsiteX4402" fmla="*/ 938279 w 1556920"/>
                <a:gd name="connsiteY4402" fmla="*/ 1049332 h 1898459"/>
                <a:gd name="connsiteX4403" fmla="*/ 936826 w 1556920"/>
                <a:gd name="connsiteY4403" fmla="*/ 1048969 h 1898459"/>
                <a:gd name="connsiteX4404" fmla="*/ 935193 w 1556920"/>
                <a:gd name="connsiteY4404" fmla="*/ 1048878 h 1898459"/>
                <a:gd name="connsiteX4405" fmla="*/ 934558 w 1556920"/>
                <a:gd name="connsiteY4405" fmla="*/ 1047819 h 1898459"/>
                <a:gd name="connsiteX4406" fmla="*/ 933771 w 1556920"/>
                <a:gd name="connsiteY4406" fmla="*/ 1045459 h 1898459"/>
                <a:gd name="connsiteX4407" fmla="*/ 932833 w 1556920"/>
                <a:gd name="connsiteY4407" fmla="*/ 1041678 h 1898459"/>
                <a:gd name="connsiteX4408" fmla="*/ 933136 w 1556920"/>
                <a:gd name="connsiteY4408" fmla="*/ 1039923 h 1898459"/>
                <a:gd name="connsiteX4409" fmla="*/ 933831 w 1556920"/>
                <a:gd name="connsiteY4409" fmla="*/ 1037927 h 1898459"/>
                <a:gd name="connsiteX4410" fmla="*/ 934618 w 1556920"/>
                <a:gd name="connsiteY4410" fmla="*/ 1036293 h 1898459"/>
                <a:gd name="connsiteX4411" fmla="*/ 935223 w 1556920"/>
                <a:gd name="connsiteY4411" fmla="*/ 1035598 h 1898459"/>
                <a:gd name="connsiteX4412" fmla="*/ 936857 w 1556920"/>
                <a:gd name="connsiteY4412" fmla="*/ 1035991 h 1898459"/>
                <a:gd name="connsiteX4413" fmla="*/ 937552 w 1556920"/>
                <a:gd name="connsiteY4413" fmla="*/ 1037110 h 1898459"/>
                <a:gd name="connsiteX4414" fmla="*/ 938036 w 1556920"/>
                <a:gd name="connsiteY4414" fmla="*/ 1038865 h 1898459"/>
                <a:gd name="connsiteX4415" fmla="*/ 939005 w 1556920"/>
                <a:gd name="connsiteY4415" fmla="*/ 1041164 h 1898459"/>
                <a:gd name="connsiteX4416" fmla="*/ 939882 w 1556920"/>
                <a:gd name="connsiteY4416" fmla="*/ 1042283 h 1898459"/>
                <a:gd name="connsiteX4417" fmla="*/ 941062 w 1556920"/>
                <a:gd name="connsiteY4417" fmla="*/ 1043160 h 1898459"/>
                <a:gd name="connsiteX4418" fmla="*/ 948564 w 1556920"/>
                <a:gd name="connsiteY4418" fmla="*/ 1046488 h 1898459"/>
                <a:gd name="connsiteX4419" fmla="*/ 950077 w 1556920"/>
                <a:gd name="connsiteY4419" fmla="*/ 1046669 h 1898459"/>
                <a:gd name="connsiteX4420" fmla="*/ 951680 w 1556920"/>
                <a:gd name="connsiteY4420" fmla="*/ 1045913 h 1898459"/>
                <a:gd name="connsiteX4421" fmla="*/ 954130 w 1556920"/>
                <a:gd name="connsiteY4421" fmla="*/ 1043009 h 1898459"/>
                <a:gd name="connsiteX4422" fmla="*/ 955613 w 1556920"/>
                <a:gd name="connsiteY4422" fmla="*/ 1042162 h 1898459"/>
                <a:gd name="connsiteX4423" fmla="*/ 954735 w 1556920"/>
                <a:gd name="connsiteY4423" fmla="*/ 1048575 h 1898459"/>
                <a:gd name="connsiteX4424" fmla="*/ 958275 w 1556920"/>
                <a:gd name="connsiteY4424" fmla="*/ 1054021 h 1898459"/>
                <a:gd name="connsiteX4425" fmla="*/ 963417 w 1556920"/>
                <a:gd name="connsiteY4425" fmla="*/ 1057106 h 1898459"/>
                <a:gd name="connsiteX4426" fmla="*/ 967350 w 1556920"/>
                <a:gd name="connsiteY4426" fmla="*/ 1056471 h 1898459"/>
                <a:gd name="connsiteX4427" fmla="*/ 966382 w 1556920"/>
                <a:gd name="connsiteY4427" fmla="*/ 1053930 h 1898459"/>
                <a:gd name="connsiteX4428" fmla="*/ 966715 w 1556920"/>
                <a:gd name="connsiteY4428" fmla="*/ 1051177 h 1898459"/>
                <a:gd name="connsiteX4429" fmla="*/ 967864 w 1556920"/>
                <a:gd name="connsiteY4429" fmla="*/ 1048878 h 1898459"/>
                <a:gd name="connsiteX4430" fmla="*/ 969347 w 1556920"/>
                <a:gd name="connsiteY4430" fmla="*/ 1047698 h 1898459"/>
                <a:gd name="connsiteX4431" fmla="*/ 969347 w 1556920"/>
                <a:gd name="connsiteY4431" fmla="*/ 1048454 h 1898459"/>
                <a:gd name="connsiteX4432" fmla="*/ 970769 w 1556920"/>
                <a:gd name="connsiteY4432" fmla="*/ 1049029 h 1898459"/>
                <a:gd name="connsiteX4433" fmla="*/ 970980 w 1556920"/>
                <a:gd name="connsiteY4433" fmla="*/ 1050663 h 1898459"/>
                <a:gd name="connsiteX4434" fmla="*/ 970587 w 1556920"/>
                <a:gd name="connsiteY4434" fmla="*/ 1052750 h 1898459"/>
                <a:gd name="connsiteX4435" fmla="*/ 970799 w 1556920"/>
                <a:gd name="connsiteY4435" fmla="*/ 1054353 h 1898459"/>
                <a:gd name="connsiteX4436" fmla="*/ 970738 w 1556920"/>
                <a:gd name="connsiteY4436" fmla="*/ 1054505 h 1898459"/>
                <a:gd name="connsiteX4437" fmla="*/ 970466 w 1556920"/>
                <a:gd name="connsiteY4437" fmla="*/ 1055079 h 1898459"/>
                <a:gd name="connsiteX4438" fmla="*/ 970194 w 1556920"/>
                <a:gd name="connsiteY4438" fmla="*/ 1055563 h 1898459"/>
                <a:gd name="connsiteX4439" fmla="*/ 970436 w 1556920"/>
                <a:gd name="connsiteY4439" fmla="*/ 1055987 h 1898459"/>
                <a:gd name="connsiteX4440" fmla="*/ 970769 w 1556920"/>
                <a:gd name="connsiteY4440" fmla="*/ 1056229 h 1898459"/>
                <a:gd name="connsiteX4441" fmla="*/ 971101 w 1556920"/>
                <a:gd name="connsiteY4441" fmla="*/ 1056320 h 1898459"/>
                <a:gd name="connsiteX4442" fmla="*/ 971495 w 1556920"/>
                <a:gd name="connsiteY4442" fmla="*/ 1056501 h 1898459"/>
                <a:gd name="connsiteX4443" fmla="*/ 971495 w 1556920"/>
                <a:gd name="connsiteY4443" fmla="*/ 1057711 h 1898459"/>
                <a:gd name="connsiteX4444" fmla="*/ 974641 w 1556920"/>
                <a:gd name="connsiteY4444" fmla="*/ 1057893 h 1898459"/>
                <a:gd name="connsiteX4445" fmla="*/ 979420 w 1556920"/>
                <a:gd name="connsiteY4445" fmla="*/ 1057288 h 1898459"/>
                <a:gd name="connsiteX4446" fmla="*/ 987316 w 1556920"/>
                <a:gd name="connsiteY4446" fmla="*/ 1051752 h 1898459"/>
                <a:gd name="connsiteX4447" fmla="*/ 992580 w 1556920"/>
                <a:gd name="connsiteY4447" fmla="*/ 1049574 h 1898459"/>
                <a:gd name="connsiteX4448" fmla="*/ 993548 w 1556920"/>
                <a:gd name="connsiteY4448" fmla="*/ 1048817 h 1898459"/>
                <a:gd name="connsiteX4449" fmla="*/ 990129 w 1556920"/>
                <a:gd name="connsiteY4449" fmla="*/ 1045641 h 1898459"/>
                <a:gd name="connsiteX4450" fmla="*/ 991521 w 1556920"/>
                <a:gd name="connsiteY4450" fmla="*/ 1044612 h 1898459"/>
                <a:gd name="connsiteX4451" fmla="*/ 992187 w 1556920"/>
                <a:gd name="connsiteY4451" fmla="*/ 1044461 h 1898459"/>
                <a:gd name="connsiteX4452" fmla="*/ 991975 w 1556920"/>
                <a:gd name="connsiteY4452" fmla="*/ 1043826 h 1898459"/>
                <a:gd name="connsiteX4453" fmla="*/ 991521 w 1556920"/>
                <a:gd name="connsiteY4453" fmla="*/ 1042162 h 1898459"/>
                <a:gd name="connsiteX4454" fmla="*/ 993064 w 1556920"/>
                <a:gd name="connsiteY4454" fmla="*/ 1040770 h 1898459"/>
                <a:gd name="connsiteX4455" fmla="*/ 994274 w 1556920"/>
                <a:gd name="connsiteY4455" fmla="*/ 1038986 h 1898459"/>
                <a:gd name="connsiteX4456" fmla="*/ 994637 w 1556920"/>
                <a:gd name="connsiteY4456" fmla="*/ 1039469 h 1898459"/>
                <a:gd name="connsiteX4457" fmla="*/ 994788 w 1556920"/>
                <a:gd name="connsiteY4457" fmla="*/ 1039954 h 1898459"/>
                <a:gd name="connsiteX4458" fmla="*/ 994939 w 1556920"/>
                <a:gd name="connsiteY4458" fmla="*/ 1041164 h 1898459"/>
                <a:gd name="connsiteX4459" fmla="*/ 994455 w 1556920"/>
                <a:gd name="connsiteY4459" fmla="*/ 1040407 h 1898459"/>
                <a:gd name="connsiteX4460" fmla="*/ 993971 w 1556920"/>
                <a:gd name="connsiteY4460" fmla="*/ 1040165 h 1898459"/>
                <a:gd name="connsiteX4461" fmla="*/ 992822 w 1556920"/>
                <a:gd name="connsiteY4461" fmla="*/ 1042132 h 1898459"/>
                <a:gd name="connsiteX4462" fmla="*/ 993336 w 1556920"/>
                <a:gd name="connsiteY4462" fmla="*/ 1043160 h 1898459"/>
                <a:gd name="connsiteX4463" fmla="*/ 993971 w 1556920"/>
                <a:gd name="connsiteY4463" fmla="*/ 1043796 h 1898459"/>
                <a:gd name="connsiteX4464" fmla="*/ 994728 w 1556920"/>
                <a:gd name="connsiteY4464" fmla="*/ 1043917 h 1898459"/>
                <a:gd name="connsiteX4465" fmla="*/ 995635 w 1556920"/>
                <a:gd name="connsiteY4465" fmla="*/ 1043311 h 1898459"/>
                <a:gd name="connsiteX4466" fmla="*/ 995272 w 1556920"/>
                <a:gd name="connsiteY4466" fmla="*/ 1042979 h 1898459"/>
                <a:gd name="connsiteX4467" fmla="*/ 995151 w 1556920"/>
                <a:gd name="connsiteY4467" fmla="*/ 1042979 h 1898459"/>
                <a:gd name="connsiteX4468" fmla="*/ 994909 w 1556920"/>
                <a:gd name="connsiteY4468" fmla="*/ 1042101 h 1898459"/>
                <a:gd name="connsiteX4469" fmla="*/ 1002048 w 1556920"/>
                <a:gd name="connsiteY4469" fmla="*/ 1043130 h 1898459"/>
                <a:gd name="connsiteX4470" fmla="*/ 1004227 w 1556920"/>
                <a:gd name="connsiteY4470" fmla="*/ 1039742 h 1898459"/>
                <a:gd name="connsiteX4471" fmla="*/ 1006828 w 1556920"/>
                <a:gd name="connsiteY4471" fmla="*/ 1039349 h 1898459"/>
                <a:gd name="connsiteX4472" fmla="*/ 1016236 w 1556920"/>
                <a:gd name="connsiteY4472" fmla="*/ 1040196 h 1898459"/>
                <a:gd name="connsiteX4473" fmla="*/ 1017930 w 1556920"/>
                <a:gd name="connsiteY4473" fmla="*/ 1039288 h 1898459"/>
                <a:gd name="connsiteX4474" fmla="*/ 1019050 w 1556920"/>
                <a:gd name="connsiteY4474" fmla="*/ 1036687 h 1898459"/>
                <a:gd name="connsiteX4475" fmla="*/ 1019231 w 1556920"/>
                <a:gd name="connsiteY4475" fmla="*/ 1034085 h 1898459"/>
                <a:gd name="connsiteX4476" fmla="*/ 1019050 w 1556920"/>
                <a:gd name="connsiteY4476" fmla="*/ 1030636 h 1898459"/>
                <a:gd name="connsiteX4477" fmla="*/ 1018536 w 1556920"/>
                <a:gd name="connsiteY4477" fmla="*/ 1027460 h 1898459"/>
                <a:gd name="connsiteX4478" fmla="*/ 1017749 w 1556920"/>
                <a:gd name="connsiteY4478" fmla="*/ 1025736 h 1898459"/>
                <a:gd name="connsiteX4479" fmla="*/ 1019050 w 1556920"/>
                <a:gd name="connsiteY4479" fmla="*/ 1021319 h 1898459"/>
                <a:gd name="connsiteX4480" fmla="*/ 1021924 w 1556920"/>
                <a:gd name="connsiteY4480" fmla="*/ 1023709 h 1898459"/>
                <a:gd name="connsiteX4481" fmla="*/ 1023527 w 1556920"/>
                <a:gd name="connsiteY4481" fmla="*/ 1024283 h 1898459"/>
                <a:gd name="connsiteX4482" fmla="*/ 1025221 w 1556920"/>
                <a:gd name="connsiteY4482" fmla="*/ 1023527 h 1898459"/>
                <a:gd name="connsiteX4483" fmla="*/ 1025040 w 1556920"/>
                <a:gd name="connsiteY4483" fmla="*/ 1022831 h 1898459"/>
                <a:gd name="connsiteX4484" fmla="*/ 1024979 w 1556920"/>
                <a:gd name="connsiteY4484" fmla="*/ 1022680 h 1898459"/>
                <a:gd name="connsiteX4485" fmla="*/ 1024888 w 1556920"/>
                <a:gd name="connsiteY4485" fmla="*/ 1022680 h 1898459"/>
                <a:gd name="connsiteX4486" fmla="*/ 1024586 w 1556920"/>
                <a:gd name="connsiteY4486" fmla="*/ 1022287 h 1898459"/>
                <a:gd name="connsiteX4487" fmla="*/ 1026038 w 1556920"/>
                <a:gd name="connsiteY4487" fmla="*/ 1021772 h 1898459"/>
                <a:gd name="connsiteX4488" fmla="*/ 1027520 w 1556920"/>
                <a:gd name="connsiteY4488" fmla="*/ 1022257 h 1898459"/>
                <a:gd name="connsiteX4489" fmla="*/ 1029093 w 1556920"/>
                <a:gd name="connsiteY4489" fmla="*/ 1023073 h 1898459"/>
                <a:gd name="connsiteX4490" fmla="*/ 1030787 w 1556920"/>
                <a:gd name="connsiteY4490" fmla="*/ 1023497 h 1898459"/>
                <a:gd name="connsiteX4491" fmla="*/ 1062824 w 1556920"/>
                <a:gd name="connsiteY4491" fmla="*/ 1025705 h 1898459"/>
                <a:gd name="connsiteX4492" fmla="*/ 1071415 w 1556920"/>
                <a:gd name="connsiteY4492" fmla="*/ 1023557 h 1898459"/>
                <a:gd name="connsiteX4493" fmla="*/ 1071415 w 1556920"/>
                <a:gd name="connsiteY4493" fmla="*/ 1023557 h 1898459"/>
                <a:gd name="connsiteX4494" fmla="*/ 1071808 w 1556920"/>
                <a:gd name="connsiteY4494" fmla="*/ 1023467 h 1898459"/>
                <a:gd name="connsiteX4495" fmla="*/ 1074259 w 1556920"/>
                <a:gd name="connsiteY4495" fmla="*/ 1024525 h 1898459"/>
                <a:gd name="connsiteX4496" fmla="*/ 1074259 w 1556920"/>
                <a:gd name="connsiteY4496" fmla="*/ 1025705 h 1898459"/>
                <a:gd name="connsiteX4497" fmla="*/ 1072353 w 1556920"/>
                <a:gd name="connsiteY4497" fmla="*/ 1025010 h 1898459"/>
                <a:gd name="connsiteX4498" fmla="*/ 1070810 w 1556920"/>
                <a:gd name="connsiteY4498" fmla="*/ 1025584 h 1898459"/>
                <a:gd name="connsiteX4499" fmla="*/ 1069267 w 1556920"/>
                <a:gd name="connsiteY4499" fmla="*/ 1026492 h 1898459"/>
                <a:gd name="connsiteX4500" fmla="*/ 1067331 w 1556920"/>
                <a:gd name="connsiteY4500" fmla="*/ 1026794 h 1898459"/>
                <a:gd name="connsiteX4501" fmla="*/ 1067331 w 1556920"/>
                <a:gd name="connsiteY4501" fmla="*/ 1027883 h 1898459"/>
                <a:gd name="connsiteX4502" fmla="*/ 1074259 w 1556920"/>
                <a:gd name="connsiteY4502" fmla="*/ 1027883 h 1898459"/>
                <a:gd name="connsiteX4503" fmla="*/ 1072474 w 1556920"/>
                <a:gd name="connsiteY4503" fmla="*/ 1029033 h 1898459"/>
                <a:gd name="connsiteX4504" fmla="*/ 1064094 w 1556920"/>
                <a:gd name="connsiteY4504" fmla="*/ 1031362 h 1898459"/>
                <a:gd name="connsiteX4505" fmla="*/ 1062067 w 1556920"/>
                <a:gd name="connsiteY4505" fmla="*/ 1031241 h 1898459"/>
                <a:gd name="connsiteX4506" fmla="*/ 1058286 w 1556920"/>
                <a:gd name="connsiteY4506" fmla="*/ 1030061 h 1898459"/>
                <a:gd name="connsiteX4507" fmla="*/ 1057499 w 1556920"/>
                <a:gd name="connsiteY4507" fmla="*/ 1029456 h 1898459"/>
                <a:gd name="connsiteX4508" fmla="*/ 1056925 w 1556920"/>
                <a:gd name="connsiteY4508" fmla="*/ 1028791 h 1898459"/>
                <a:gd name="connsiteX4509" fmla="*/ 1056168 w 1556920"/>
                <a:gd name="connsiteY4509" fmla="*/ 1028216 h 1898459"/>
                <a:gd name="connsiteX4510" fmla="*/ 1054898 w 1556920"/>
                <a:gd name="connsiteY4510" fmla="*/ 1027853 h 1898459"/>
                <a:gd name="connsiteX4511" fmla="*/ 1048575 w 1556920"/>
                <a:gd name="connsiteY4511" fmla="*/ 1029608 h 1898459"/>
                <a:gd name="connsiteX4512" fmla="*/ 1047063 w 1556920"/>
                <a:gd name="connsiteY4512" fmla="*/ 1030697 h 1898459"/>
                <a:gd name="connsiteX4513" fmla="*/ 1044461 w 1556920"/>
                <a:gd name="connsiteY4513" fmla="*/ 1033329 h 1898459"/>
                <a:gd name="connsiteX4514" fmla="*/ 1049483 w 1556920"/>
                <a:gd name="connsiteY4514" fmla="*/ 1035718 h 1898459"/>
                <a:gd name="connsiteX4515" fmla="*/ 1050784 w 1556920"/>
                <a:gd name="connsiteY4515" fmla="*/ 1036626 h 1898459"/>
                <a:gd name="connsiteX4516" fmla="*/ 1046639 w 1556920"/>
                <a:gd name="connsiteY4516" fmla="*/ 1038713 h 1898459"/>
                <a:gd name="connsiteX4517" fmla="*/ 1045580 w 1556920"/>
                <a:gd name="connsiteY4517" fmla="*/ 1038834 h 1898459"/>
                <a:gd name="connsiteX4518" fmla="*/ 1043947 w 1556920"/>
                <a:gd name="connsiteY4518" fmla="*/ 1038229 h 1898459"/>
                <a:gd name="connsiteX4519" fmla="*/ 1042888 w 1556920"/>
                <a:gd name="connsiteY4519" fmla="*/ 1037050 h 1898459"/>
                <a:gd name="connsiteX4520" fmla="*/ 1041738 w 1556920"/>
                <a:gd name="connsiteY4520" fmla="*/ 1036202 h 1898459"/>
                <a:gd name="connsiteX4521" fmla="*/ 1039772 w 1556920"/>
                <a:gd name="connsiteY4521" fmla="*/ 1036626 h 1898459"/>
                <a:gd name="connsiteX4522" fmla="*/ 1037412 w 1556920"/>
                <a:gd name="connsiteY4522" fmla="*/ 1039258 h 1898459"/>
                <a:gd name="connsiteX4523" fmla="*/ 1035446 w 1556920"/>
                <a:gd name="connsiteY4523" fmla="*/ 1043644 h 1898459"/>
                <a:gd name="connsiteX4524" fmla="*/ 1032149 w 1556920"/>
                <a:gd name="connsiteY4524" fmla="*/ 1053022 h 1898459"/>
                <a:gd name="connsiteX4525" fmla="*/ 1033086 w 1556920"/>
                <a:gd name="connsiteY4525" fmla="*/ 1055745 h 1898459"/>
                <a:gd name="connsiteX4526" fmla="*/ 1032209 w 1556920"/>
                <a:gd name="connsiteY4526" fmla="*/ 1058800 h 1898459"/>
                <a:gd name="connsiteX4527" fmla="*/ 1030606 w 1556920"/>
                <a:gd name="connsiteY4527" fmla="*/ 1061432 h 1898459"/>
                <a:gd name="connsiteX4528" fmla="*/ 1029335 w 1556920"/>
                <a:gd name="connsiteY4528" fmla="*/ 1063005 h 1898459"/>
                <a:gd name="connsiteX4529" fmla="*/ 1028246 w 1556920"/>
                <a:gd name="connsiteY4529" fmla="*/ 1063701 h 1898459"/>
                <a:gd name="connsiteX4530" fmla="*/ 1026038 w 1556920"/>
                <a:gd name="connsiteY4530" fmla="*/ 1064488 h 1898459"/>
                <a:gd name="connsiteX4531" fmla="*/ 1025191 w 1556920"/>
                <a:gd name="connsiteY4531" fmla="*/ 1065183 h 1898459"/>
                <a:gd name="connsiteX4532" fmla="*/ 1024495 w 1556920"/>
                <a:gd name="connsiteY4532" fmla="*/ 1066575 h 1898459"/>
                <a:gd name="connsiteX4533" fmla="*/ 1023073 w 1556920"/>
                <a:gd name="connsiteY4533" fmla="*/ 1070568 h 1898459"/>
                <a:gd name="connsiteX4534" fmla="*/ 1019685 w 1556920"/>
                <a:gd name="connsiteY4534" fmla="*/ 1077798 h 1898459"/>
                <a:gd name="connsiteX4535" fmla="*/ 1017023 w 1556920"/>
                <a:gd name="connsiteY4535" fmla="*/ 1090262 h 1898459"/>
                <a:gd name="connsiteX4536" fmla="*/ 1014875 w 1556920"/>
                <a:gd name="connsiteY4536" fmla="*/ 1095798 h 1898459"/>
                <a:gd name="connsiteX4537" fmla="*/ 1014421 w 1556920"/>
                <a:gd name="connsiteY4537" fmla="*/ 1096161 h 1898459"/>
                <a:gd name="connsiteX4538" fmla="*/ 1013363 w 1556920"/>
                <a:gd name="connsiteY4538" fmla="*/ 1097310 h 1898459"/>
                <a:gd name="connsiteX4539" fmla="*/ 1012606 w 1556920"/>
                <a:gd name="connsiteY4539" fmla="*/ 1098490 h 1898459"/>
                <a:gd name="connsiteX4540" fmla="*/ 1013665 w 1556920"/>
                <a:gd name="connsiteY4540" fmla="*/ 1099579 h 1898459"/>
                <a:gd name="connsiteX4541" fmla="*/ 1014724 w 1556920"/>
                <a:gd name="connsiteY4541" fmla="*/ 1101878 h 1898459"/>
                <a:gd name="connsiteX4542" fmla="*/ 1015238 w 1556920"/>
                <a:gd name="connsiteY4542" fmla="*/ 1102423 h 1898459"/>
                <a:gd name="connsiteX4543" fmla="*/ 1016872 w 1556920"/>
                <a:gd name="connsiteY4543" fmla="*/ 1103240 h 1898459"/>
                <a:gd name="connsiteX4544" fmla="*/ 1026340 w 1556920"/>
                <a:gd name="connsiteY4544" fmla="*/ 1115522 h 1898459"/>
                <a:gd name="connsiteX4545" fmla="*/ 1028700 w 1556920"/>
                <a:gd name="connsiteY4545" fmla="*/ 1117488 h 1898459"/>
                <a:gd name="connsiteX4546" fmla="*/ 1032118 w 1556920"/>
                <a:gd name="connsiteY4546" fmla="*/ 1124113 h 1898459"/>
                <a:gd name="connsiteX4547" fmla="*/ 1034508 w 1556920"/>
                <a:gd name="connsiteY4547" fmla="*/ 1125202 h 1898459"/>
                <a:gd name="connsiteX4548" fmla="*/ 1034811 w 1556920"/>
                <a:gd name="connsiteY4548" fmla="*/ 1125505 h 1898459"/>
                <a:gd name="connsiteX4549" fmla="*/ 1035023 w 1556920"/>
                <a:gd name="connsiteY4549" fmla="*/ 1127138 h 1898459"/>
                <a:gd name="connsiteX4550" fmla="*/ 1035749 w 1556920"/>
                <a:gd name="connsiteY4550" fmla="*/ 1129377 h 1898459"/>
                <a:gd name="connsiteX4551" fmla="*/ 1035567 w 1556920"/>
                <a:gd name="connsiteY4551" fmla="*/ 1130799 h 1898459"/>
                <a:gd name="connsiteX4552" fmla="*/ 1035113 w 1556920"/>
                <a:gd name="connsiteY4552" fmla="*/ 1132069 h 1898459"/>
                <a:gd name="connsiteX4553" fmla="*/ 1034871 w 1556920"/>
                <a:gd name="connsiteY4553" fmla="*/ 1133310 h 1898459"/>
                <a:gd name="connsiteX4554" fmla="*/ 1035416 w 1556920"/>
                <a:gd name="connsiteY4554" fmla="*/ 1135851 h 1898459"/>
                <a:gd name="connsiteX4555" fmla="*/ 1036747 w 1556920"/>
                <a:gd name="connsiteY4555" fmla="*/ 1137968 h 1898459"/>
                <a:gd name="connsiteX4556" fmla="*/ 1039742 w 1556920"/>
                <a:gd name="connsiteY4556" fmla="*/ 1141417 h 1898459"/>
                <a:gd name="connsiteX4557" fmla="*/ 1043372 w 1556920"/>
                <a:gd name="connsiteY4557" fmla="*/ 1147377 h 1898459"/>
                <a:gd name="connsiteX4558" fmla="*/ 1045550 w 1556920"/>
                <a:gd name="connsiteY4558" fmla="*/ 1149404 h 1898459"/>
                <a:gd name="connsiteX4559" fmla="*/ 1047637 w 1556920"/>
                <a:gd name="connsiteY4559" fmla="*/ 1148556 h 1898459"/>
                <a:gd name="connsiteX4560" fmla="*/ 1049241 w 1556920"/>
                <a:gd name="connsiteY4560" fmla="*/ 1148254 h 1898459"/>
                <a:gd name="connsiteX4561" fmla="*/ 1051540 w 1556920"/>
                <a:gd name="connsiteY4561" fmla="*/ 1148466 h 1898459"/>
                <a:gd name="connsiteX4562" fmla="*/ 1053053 w 1556920"/>
                <a:gd name="connsiteY4562" fmla="*/ 1147740 h 1898459"/>
                <a:gd name="connsiteX4563" fmla="*/ 1052175 w 1556920"/>
                <a:gd name="connsiteY4563" fmla="*/ 1144654 h 1898459"/>
                <a:gd name="connsiteX4564" fmla="*/ 1053143 w 1556920"/>
                <a:gd name="connsiteY4564" fmla="*/ 1140661 h 1898459"/>
                <a:gd name="connsiteX4565" fmla="*/ 1053960 w 1556920"/>
                <a:gd name="connsiteY4565" fmla="*/ 1139027 h 1898459"/>
                <a:gd name="connsiteX4566" fmla="*/ 1055533 w 1556920"/>
                <a:gd name="connsiteY4566" fmla="*/ 1138180 h 1898459"/>
                <a:gd name="connsiteX4567" fmla="*/ 1055351 w 1556920"/>
                <a:gd name="connsiteY4567" fmla="*/ 1141387 h 1898459"/>
                <a:gd name="connsiteX4568" fmla="*/ 1055594 w 1556920"/>
                <a:gd name="connsiteY4568" fmla="*/ 1146741 h 1898459"/>
                <a:gd name="connsiteX4569" fmla="*/ 1054747 w 1556920"/>
                <a:gd name="connsiteY4569" fmla="*/ 1151339 h 1898459"/>
                <a:gd name="connsiteX4570" fmla="*/ 1051419 w 1556920"/>
                <a:gd name="connsiteY4570" fmla="*/ 1152308 h 1898459"/>
                <a:gd name="connsiteX4571" fmla="*/ 1051419 w 1556920"/>
                <a:gd name="connsiteY4571" fmla="*/ 1153366 h 1898459"/>
                <a:gd name="connsiteX4572" fmla="*/ 1052962 w 1556920"/>
                <a:gd name="connsiteY4572" fmla="*/ 1154576 h 1898459"/>
                <a:gd name="connsiteX4573" fmla="*/ 1053022 w 1556920"/>
                <a:gd name="connsiteY4573" fmla="*/ 1156845 h 1898459"/>
                <a:gd name="connsiteX4574" fmla="*/ 1052447 w 1556920"/>
                <a:gd name="connsiteY4574" fmla="*/ 1159538 h 1898459"/>
                <a:gd name="connsiteX4575" fmla="*/ 1052175 w 1556920"/>
                <a:gd name="connsiteY4575" fmla="*/ 1161958 h 1898459"/>
                <a:gd name="connsiteX4576" fmla="*/ 1053173 w 1556920"/>
                <a:gd name="connsiteY4576" fmla="*/ 1163077 h 1898459"/>
                <a:gd name="connsiteX4577" fmla="*/ 1054323 w 1556920"/>
                <a:gd name="connsiteY4577" fmla="*/ 1163743 h 1898459"/>
                <a:gd name="connsiteX4578" fmla="*/ 1055715 w 1556920"/>
                <a:gd name="connsiteY4578" fmla="*/ 1164106 h 1898459"/>
                <a:gd name="connsiteX4579" fmla="*/ 1057318 w 1556920"/>
                <a:gd name="connsiteY4579" fmla="*/ 1164196 h 1898459"/>
                <a:gd name="connsiteX4580" fmla="*/ 1058256 w 1556920"/>
                <a:gd name="connsiteY4580" fmla="*/ 1164983 h 1898459"/>
                <a:gd name="connsiteX4581" fmla="*/ 1061795 w 1556920"/>
                <a:gd name="connsiteY4581" fmla="*/ 1169581 h 1898459"/>
                <a:gd name="connsiteX4582" fmla="*/ 1061886 w 1556920"/>
                <a:gd name="connsiteY4582" fmla="*/ 1167796 h 1898459"/>
                <a:gd name="connsiteX4583" fmla="*/ 1061583 w 1556920"/>
                <a:gd name="connsiteY4583" fmla="*/ 1165649 h 1898459"/>
                <a:gd name="connsiteX4584" fmla="*/ 1061795 w 1556920"/>
                <a:gd name="connsiteY4584" fmla="*/ 1163863 h 1898459"/>
                <a:gd name="connsiteX4585" fmla="*/ 1064548 w 1556920"/>
                <a:gd name="connsiteY4585" fmla="*/ 1162472 h 1898459"/>
                <a:gd name="connsiteX4586" fmla="*/ 1065576 w 1556920"/>
                <a:gd name="connsiteY4586" fmla="*/ 1160959 h 1898459"/>
                <a:gd name="connsiteX4587" fmla="*/ 1067271 w 1556920"/>
                <a:gd name="connsiteY4587" fmla="*/ 1157662 h 1898459"/>
                <a:gd name="connsiteX4588" fmla="*/ 1070266 w 1556920"/>
                <a:gd name="connsiteY4588" fmla="*/ 1154123 h 1898459"/>
                <a:gd name="connsiteX4589" fmla="*/ 1070719 w 1556920"/>
                <a:gd name="connsiteY4589" fmla="*/ 1152822 h 1898459"/>
                <a:gd name="connsiteX4590" fmla="*/ 1071052 w 1556920"/>
                <a:gd name="connsiteY4590" fmla="*/ 1151067 h 1898459"/>
                <a:gd name="connsiteX4591" fmla="*/ 1071627 w 1556920"/>
                <a:gd name="connsiteY4591" fmla="*/ 1149010 h 1898459"/>
                <a:gd name="connsiteX4592" fmla="*/ 1071960 w 1556920"/>
                <a:gd name="connsiteY4592" fmla="*/ 1146802 h 1898459"/>
                <a:gd name="connsiteX4593" fmla="*/ 1071506 w 1556920"/>
                <a:gd name="connsiteY4593" fmla="*/ 1144624 h 1898459"/>
                <a:gd name="connsiteX4594" fmla="*/ 1072867 w 1556920"/>
                <a:gd name="connsiteY4594" fmla="*/ 1143988 h 1898459"/>
                <a:gd name="connsiteX4595" fmla="*/ 1074017 w 1556920"/>
                <a:gd name="connsiteY4595" fmla="*/ 1144684 h 1898459"/>
                <a:gd name="connsiteX4596" fmla="*/ 1074924 w 1556920"/>
                <a:gd name="connsiteY4596" fmla="*/ 1146197 h 1898459"/>
                <a:gd name="connsiteX4597" fmla="*/ 1075650 w 1556920"/>
                <a:gd name="connsiteY4597" fmla="*/ 1148012 h 1898459"/>
                <a:gd name="connsiteX4598" fmla="*/ 1074743 w 1556920"/>
                <a:gd name="connsiteY4598" fmla="*/ 1149615 h 1898459"/>
                <a:gd name="connsiteX4599" fmla="*/ 1075348 w 1556920"/>
                <a:gd name="connsiteY4599" fmla="*/ 1152126 h 1898459"/>
                <a:gd name="connsiteX4600" fmla="*/ 1076709 w 1556920"/>
                <a:gd name="connsiteY4600" fmla="*/ 1154425 h 1898459"/>
                <a:gd name="connsiteX4601" fmla="*/ 1078070 w 1556920"/>
                <a:gd name="connsiteY4601" fmla="*/ 1155454 h 1898459"/>
                <a:gd name="connsiteX4602" fmla="*/ 1082578 w 1556920"/>
                <a:gd name="connsiteY4602" fmla="*/ 1155151 h 1898459"/>
                <a:gd name="connsiteX4603" fmla="*/ 1084484 w 1556920"/>
                <a:gd name="connsiteY4603" fmla="*/ 1154062 h 1898459"/>
                <a:gd name="connsiteX4604" fmla="*/ 1085270 w 1556920"/>
                <a:gd name="connsiteY4604" fmla="*/ 1151703 h 1898459"/>
                <a:gd name="connsiteX4605" fmla="*/ 1086087 w 1556920"/>
                <a:gd name="connsiteY4605" fmla="*/ 1150008 h 1898459"/>
                <a:gd name="connsiteX4606" fmla="*/ 1087932 w 1556920"/>
                <a:gd name="connsiteY4606" fmla="*/ 1148647 h 1898459"/>
                <a:gd name="connsiteX4607" fmla="*/ 1091532 w 1556920"/>
                <a:gd name="connsiteY4607" fmla="*/ 1146832 h 1898459"/>
                <a:gd name="connsiteX4608" fmla="*/ 1094527 w 1556920"/>
                <a:gd name="connsiteY4608" fmla="*/ 1144624 h 1898459"/>
                <a:gd name="connsiteX4609" fmla="*/ 1095949 w 1556920"/>
                <a:gd name="connsiteY4609" fmla="*/ 1142718 h 1898459"/>
                <a:gd name="connsiteX4610" fmla="*/ 1096342 w 1556920"/>
                <a:gd name="connsiteY4610" fmla="*/ 1140328 h 1898459"/>
                <a:gd name="connsiteX4611" fmla="*/ 1097038 w 1556920"/>
                <a:gd name="connsiteY4611" fmla="*/ 1140328 h 1898459"/>
                <a:gd name="connsiteX4612" fmla="*/ 1097099 w 1556920"/>
                <a:gd name="connsiteY4612" fmla="*/ 1143353 h 1898459"/>
                <a:gd name="connsiteX4613" fmla="*/ 1095586 w 1556920"/>
                <a:gd name="connsiteY4613" fmla="*/ 1146136 h 1898459"/>
                <a:gd name="connsiteX4614" fmla="*/ 1093317 w 1556920"/>
                <a:gd name="connsiteY4614" fmla="*/ 1148163 h 1898459"/>
                <a:gd name="connsiteX4615" fmla="*/ 1091169 w 1556920"/>
                <a:gd name="connsiteY4615" fmla="*/ 1148950 h 1898459"/>
                <a:gd name="connsiteX4616" fmla="*/ 1091502 w 1556920"/>
                <a:gd name="connsiteY4616" fmla="*/ 1150432 h 1898459"/>
                <a:gd name="connsiteX4617" fmla="*/ 1092954 w 1556920"/>
                <a:gd name="connsiteY4617" fmla="*/ 1153124 h 1898459"/>
                <a:gd name="connsiteX4618" fmla="*/ 1095314 w 1556920"/>
                <a:gd name="connsiteY4618" fmla="*/ 1157511 h 1898459"/>
                <a:gd name="connsiteX4619" fmla="*/ 1097008 w 1556920"/>
                <a:gd name="connsiteY4619" fmla="*/ 1159810 h 1898459"/>
                <a:gd name="connsiteX4620" fmla="*/ 1095072 w 1556920"/>
                <a:gd name="connsiteY4620" fmla="*/ 1163985 h 1898459"/>
                <a:gd name="connsiteX4621" fmla="*/ 1093922 w 1556920"/>
                <a:gd name="connsiteY4621" fmla="*/ 1165558 h 1898459"/>
                <a:gd name="connsiteX4622" fmla="*/ 1090685 w 1556920"/>
                <a:gd name="connsiteY4622" fmla="*/ 1166768 h 1898459"/>
                <a:gd name="connsiteX4623" fmla="*/ 1089294 w 1556920"/>
                <a:gd name="connsiteY4623" fmla="*/ 1168250 h 1898459"/>
                <a:gd name="connsiteX4624" fmla="*/ 1087358 w 1556920"/>
                <a:gd name="connsiteY4624" fmla="*/ 1171638 h 1898459"/>
                <a:gd name="connsiteX4625" fmla="*/ 1086480 w 1556920"/>
                <a:gd name="connsiteY4625" fmla="*/ 1172455 h 1898459"/>
                <a:gd name="connsiteX4626" fmla="*/ 1085421 w 1556920"/>
                <a:gd name="connsiteY4626" fmla="*/ 1173242 h 1898459"/>
                <a:gd name="connsiteX4627" fmla="*/ 1084726 w 1556920"/>
                <a:gd name="connsiteY4627" fmla="*/ 1174149 h 1898459"/>
                <a:gd name="connsiteX4628" fmla="*/ 1084937 w 1556920"/>
                <a:gd name="connsiteY4628" fmla="*/ 1175359 h 1898459"/>
                <a:gd name="connsiteX4629" fmla="*/ 1086511 w 1556920"/>
                <a:gd name="connsiteY4629" fmla="*/ 1178747 h 1898459"/>
                <a:gd name="connsiteX4630" fmla="*/ 1086995 w 1556920"/>
                <a:gd name="connsiteY4630" fmla="*/ 1179141 h 1898459"/>
                <a:gd name="connsiteX4631" fmla="*/ 1090080 w 1556920"/>
                <a:gd name="connsiteY4631" fmla="*/ 1178838 h 1898459"/>
                <a:gd name="connsiteX4632" fmla="*/ 1091835 w 1556920"/>
                <a:gd name="connsiteY4632" fmla="*/ 1178203 h 1898459"/>
                <a:gd name="connsiteX4633" fmla="*/ 1093589 w 1556920"/>
                <a:gd name="connsiteY4633" fmla="*/ 1176993 h 1898459"/>
                <a:gd name="connsiteX4634" fmla="*/ 1093136 w 1556920"/>
                <a:gd name="connsiteY4634" fmla="*/ 1179534 h 1898459"/>
                <a:gd name="connsiteX4635" fmla="*/ 1089626 w 1556920"/>
                <a:gd name="connsiteY4635" fmla="*/ 1182831 h 1898459"/>
                <a:gd name="connsiteX4636" fmla="*/ 1090746 w 1556920"/>
                <a:gd name="connsiteY4636" fmla="*/ 1184586 h 1898459"/>
                <a:gd name="connsiteX4637" fmla="*/ 1090020 w 1556920"/>
                <a:gd name="connsiteY4637" fmla="*/ 1184919 h 1898459"/>
                <a:gd name="connsiteX4638" fmla="*/ 1089112 w 1556920"/>
                <a:gd name="connsiteY4638" fmla="*/ 1185524 h 1898459"/>
                <a:gd name="connsiteX4639" fmla="*/ 1088326 w 1556920"/>
                <a:gd name="connsiteY4639" fmla="*/ 1186340 h 1898459"/>
                <a:gd name="connsiteX4640" fmla="*/ 1087993 w 1556920"/>
                <a:gd name="connsiteY4640" fmla="*/ 1187278 h 1898459"/>
                <a:gd name="connsiteX4641" fmla="*/ 1087690 w 1556920"/>
                <a:gd name="connsiteY4641" fmla="*/ 1187974 h 1898459"/>
                <a:gd name="connsiteX4642" fmla="*/ 1086934 w 1556920"/>
                <a:gd name="connsiteY4642" fmla="*/ 1187702 h 1898459"/>
                <a:gd name="connsiteX4643" fmla="*/ 1085603 w 1556920"/>
                <a:gd name="connsiteY4643" fmla="*/ 1186734 h 1898459"/>
                <a:gd name="connsiteX4644" fmla="*/ 1083969 w 1556920"/>
                <a:gd name="connsiteY4644" fmla="*/ 1186915 h 1898459"/>
                <a:gd name="connsiteX4645" fmla="*/ 1074712 w 1556920"/>
                <a:gd name="connsiteY4645" fmla="*/ 1190152 h 1898459"/>
                <a:gd name="connsiteX4646" fmla="*/ 1072383 w 1556920"/>
                <a:gd name="connsiteY4646" fmla="*/ 1191483 h 1898459"/>
                <a:gd name="connsiteX4647" fmla="*/ 1070780 w 1556920"/>
                <a:gd name="connsiteY4647" fmla="*/ 1194206 h 1898459"/>
                <a:gd name="connsiteX4648" fmla="*/ 1071960 w 1556920"/>
                <a:gd name="connsiteY4648" fmla="*/ 1198532 h 1898459"/>
                <a:gd name="connsiteX4649" fmla="*/ 1070810 w 1556920"/>
                <a:gd name="connsiteY4649" fmla="*/ 1210360 h 1898459"/>
                <a:gd name="connsiteX4650" fmla="*/ 1071536 w 1556920"/>
                <a:gd name="connsiteY4650" fmla="*/ 1215594 h 1898459"/>
                <a:gd name="connsiteX4651" fmla="*/ 1074319 w 1556920"/>
                <a:gd name="connsiteY4651" fmla="*/ 1219315 h 1898459"/>
                <a:gd name="connsiteX4652" fmla="*/ 1078010 w 1556920"/>
                <a:gd name="connsiteY4652" fmla="*/ 1220827 h 1898459"/>
                <a:gd name="connsiteX4653" fmla="*/ 1086662 w 1556920"/>
                <a:gd name="connsiteY4653" fmla="*/ 1220918 h 1898459"/>
                <a:gd name="connsiteX4654" fmla="*/ 1085421 w 1556920"/>
                <a:gd name="connsiteY4654" fmla="*/ 1222521 h 1898459"/>
                <a:gd name="connsiteX4655" fmla="*/ 1081368 w 1556920"/>
                <a:gd name="connsiteY4655" fmla="*/ 1225183 h 1898459"/>
                <a:gd name="connsiteX4656" fmla="*/ 1080490 w 1556920"/>
                <a:gd name="connsiteY4656" fmla="*/ 1226817 h 1898459"/>
                <a:gd name="connsiteX4657" fmla="*/ 1079643 w 1556920"/>
                <a:gd name="connsiteY4657" fmla="*/ 1227361 h 1898459"/>
                <a:gd name="connsiteX4658" fmla="*/ 1074289 w 1556920"/>
                <a:gd name="connsiteY4658" fmla="*/ 1233805 h 1898459"/>
                <a:gd name="connsiteX4659" fmla="*/ 1067664 w 1556920"/>
                <a:gd name="connsiteY4659" fmla="*/ 1243939 h 1898459"/>
                <a:gd name="connsiteX4660" fmla="*/ 1066484 w 1556920"/>
                <a:gd name="connsiteY4660" fmla="*/ 1246389 h 1898459"/>
                <a:gd name="connsiteX4661" fmla="*/ 1066242 w 1556920"/>
                <a:gd name="connsiteY4661" fmla="*/ 1248567 h 1898459"/>
                <a:gd name="connsiteX4662" fmla="*/ 1066787 w 1556920"/>
                <a:gd name="connsiteY4662" fmla="*/ 1250716 h 1898459"/>
                <a:gd name="connsiteX4663" fmla="*/ 1078433 w 1556920"/>
                <a:gd name="connsiteY4663" fmla="*/ 1274221 h 1898459"/>
                <a:gd name="connsiteX4664" fmla="*/ 1080823 w 1556920"/>
                <a:gd name="connsiteY4664" fmla="*/ 1277669 h 1898459"/>
                <a:gd name="connsiteX4665" fmla="*/ 1084030 w 1556920"/>
                <a:gd name="connsiteY4665" fmla="*/ 1280846 h 1898459"/>
                <a:gd name="connsiteX4666" fmla="*/ 1087902 w 1556920"/>
                <a:gd name="connsiteY4666" fmla="*/ 1283387 h 1898459"/>
                <a:gd name="connsiteX4667" fmla="*/ 1092198 w 1556920"/>
                <a:gd name="connsiteY4667" fmla="*/ 1284869 h 1898459"/>
                <a:gd name="connsiteX4668" fmla="*/ 1095556 w 1556920"/>
                <a:gd name="connsiteY4668" fmla="*/ 1285202 h 1898459"/>
                <a:gd name="connsiteX4669" fmla="*/ 1096614 w 1556920"/>
                <a:gd name="connsiteY4669" fmla="*/ 1285323 h 1898459"/>
                <a:gd name="connsiteX4670" fmla="*/ 1098369 w 1556920"/>
                <a:gd name="connsiteY4670" fmla="*/ 1284506 h 1898459"/>
                <a:gd name="connsiteX4671" fmla="*/ 1099065 w 1556920"/>
                <a:gd name="connsiteY4671" fmla="*/ 1282237 h 1898459"/>
                <a:gd name="connsiteX4672" fmla="*/ 1100184 w 1556920"/>
                <a:gd name="connsiteY4672" fmla="*/ 1281602 h 1898459"/>
                <a:gd name="connsiteX4673" fmla="*/ 1105236 w 1556920"/>
                <a:gd name="connsiteY4673" fmla="*/ 1280483 h 1898459"/>
                <a:gd name="connsiteX4674" fmla="*/ 1106688 w 1556920"/>
                <a:gd name="connsiteY4674" fmla="*/ 1280574 h 1898459"/>
                <a:gd name="connsiteX4675" fmla="*/ 1105811 w 1556920"/>
                <a:gd name="connsiteY4675" fmla="*/ 1281451 h 1898459"/>
                <a:gd name="connsiteX4676" fmla="*/ 1104934 w 1556920"/>
                <a:gd name="connsiteY4676" fmla="*/ 1281965 h 1898459"/>
                <a:gd name="connsiteX4677" fmla="*/ 1104056 w 1556920"/>
                <a:gd name="connsiteY4677" fmla="*/ 1282086 h 1898459"/>
                <a:gd name="connsiteX4678" fmla="*/ 1103209 w 1556920"/>
                <a:gd name="connsiteY4678" fmla="*/ 1281693 h 1898459"/>
                <a:gd name="connsiteX4679" fmla="*/ 1102332 w 1556920"/>
                <a:gd name="connsiteY4679" fmla="*/ 1282600 h 1898459"/>
                <a:gd name="connsiteX4680" fmla="*/ 1101545 w 1556920"/>
                <a:gd name="connsiteY4680" fmla="*/ 1283659 h 1898459"/>
                <a:gd name="connsiteX4681" fmla="*/ 1101273 w 1556920"/>
                <a:gd name="connsiteY4681" fmla="*/ 1285051 h 1898459"/>
                <a:gd name="connsiteX4682" fmla="*/ 1101818 w 1556920"/>
                <a:gd name="connsiteY4682" fmla="*/ 1287048 h 1898459"/>
                <a:gd name="connsiteX4683" fmla="*/ 1099065 w 1556920"/>
                <a:gd name="connsiteY4683" fmla="*/ 1288560 h 1898459"/>
                <a:gd name="connsiteX4684" fmla="*/ 1097643 w 1556920"/>
                <a:gd name="connsiteY4684" fmla="*/ 1288923 h 1898459"/>
                <a:gd name="connsiteX4685" fmla="*/ 1095979 w 1556920"/>
                <a:gd name="connsiteY4685" fmla="*/ 1289044 h 1898459"/>
                <a:gd name="connsiteX4686" fmla="*/ 1095253 w 1556920"/>
                <a:gd name="connsiteY4686" fmla="*/ 1288863 h 1898459"/>
                <a:gd name="connsiteX4687" fmla="*/ 1093710 w 1556920"/>
                <a:gd name="connsiteY4687" fmla="*/ 1288137 h 1898459"/>
                <a:gd name="connsiteX4688" fmla="*/ 1092803 w 1556920"/>
                <a:gd name="connsiteY4688" fmla="*/ 1288076 h 1898459"/>
                <a:gd name="connsiteX4689" fmla="*/ 1092046 w 1556920"/>
                <a:gd name="connsiteY4689" fmla="*/ 1288500 h 1898459"/>
                <a:gd name="connsiteX4690" fmla="*/ 1091714 w 1556920"/>
                <a:gd name="connsiteY4690" fmla="*/ 1289195 h 1898459"/>
                <a:gd name="connsiteX4691" fmla="*/ 1091593 w 1556920"/>
                <a:gd name="connsiteY4691" fmla="*/ 1289861 h 1898459"/>
                <a:gd name="connsiteX4692" fmla="*/ 1091502 w 1556920"/>
                <a:gd name="connsiteY4692" fmla="*/ 1290193 h 1898459"/>
                <a:gd name="connsiteX4693" fmla="*/ 1088386 w 1556920"/>
                <a:gd name="connsiteY4693" fmla="*/ 1290315 h 1898459"/>
                <a:gd name="connsiteX4694" fmla="*/ 1085452 w 1556920"/>
                <a:gd name="connsiteY4694" fmla="*/ 1289104 h 1898459"/>
                <a:gd name="connsiteX4695" fmla="*/ 1082971 w 1556920"/>
                <a:gd name="connsiteY4695" fmla="*/ 1287078 h 1898459"/>
                <a:gd name="connsiteX4696" fmla="*/ 1081186 w 1556920"/>
                <a:gd name="connsiteY4696" fmla="*/ 1284839 h 1898459"/>
                <a:gd name="connsiteX4697" fmla="*/ 1075227 w 1556920"/>
                <a:gd name="connsiteY4697" fmla="*/ 1270469 h 1898459"/>
                <a:gd name="connsiteX4698" fmla="*/ 1072897 w 1556920"/>
                <a:gd name="connsiteY4698" fmla="*/ 1267838 h 1898459"/>
                <a:gd name="connsiteX4699" fmla="*/ 1070629 w 1556920"/>
                <a:gd name="connsiteY4699" fmla="*/ 1267687 h 1898459"/>
                <a:gd name="connsiteX4700" fmla="*/ 1066998 w 1556920"/>
                <a:gd name="connsiteY4700" fmla="*/ 1270379 h 1898459"/>
                <a:gd name="connsiteX4701" fmla="*/ 1064941 w 1556920"/>
                <a:gd name="connsiteY4701" fmla="*/ 1271105 h 1898459"/>
                <a:gd name="connsiteX4702" fmla="*/ 1060645 w 1556920"/>
                <a:gd name="connsiteY4702" fmla="*/ 1271710 h 1898459"/>
                <a:gd name="connsiteX4703" fmla="*/ 1058800 w 1556920"/>
                <a:gd name="connsiteY4703" fmla="*/ 1272648 h 1898459"/>
                <a:gd name="connsiteX4704" fmla="*/ 1057711 w 1556920"/>
                <a:gd name="connsiteY4704" fmla="*/ 1274191 h 1898459"/>
                <a:gd name="connsiteX4705" fmla="*/ 1057832 w 1556920"/>
                <a:gd name="connsiteY4705" fmla="*/ 1276580 h 1898459"/>
                <a:gd name="connsiteX4706" fmla="*/ 1059193 w 1556920"/>
                <a:gd name="connsiteY4706" fmla="*/ 1278910 h 1898459"/>
                <a:gd name="connsiteX4707" fmla="*/ 1062824 w 1556920"/>
                <a:gd name="connsiteY4707" fmla="*/ 1283326 h 1898459"/>
                <a:gd name="connsiteX4708" fmla="*/ 1065274 w 1556920"/>
                <a:gd name="connsiteY4708" fmla="*/ 1288106 h 1898459"/>
                <a:gd name="connsiteX4709" fmla="*/ 1066817 w 1556920"/>
                <a:gd name="connsiteY4709" fmla="*/ 1290526 h 1898459"/>
                <a:gd name="connsiteX4710" fmla="*/ 1067966 w 1556920"/>
                <a:gd name="connsiteY4710" fmla="*/ 1292342 h 1898459"/>
                <a:gd name="connsiteX4711" fmla="*/ 1067966 w 1556920"/>
                <a:gd name="connsiteY4711" fmla="*/ 1298029 h 1898459"/>
                <a:gd name="connsiteX4712" fmla="*/ 1067634 w 1556920"/>
                <a:gd name="connsiteY4712" fmla="*/ 1298634 h 1898459"/>
                <a:gd name="connsiteX4713" fmla="*/ 1066877 w 1556920"/>
                <a:gd name="connsiteY4713" fmla="*/ 1297938 h 1898459"/>
                <a:gd name="connsiteX4714" fmla="*/ 1065637 w 1556920"/>
                <a:gd name="connsiteY4714" fmla="*/ 1296002 h 1898459"/>
                <a:gd name="connsiteX4715" fmla="*/ 1064155 w 1556920"/>
                <a:gd name="connsiteY4715" fmla="*/ 1294398 h 1898459"/>
                <a:gd name="connsiteX4716" fmla="*/ 1051207 w 1556920"/>
                <a:gd name="connsiteY4716" fmla="*/ 1286624 h 1898459"/>
                <a:gd name="connsiteX4717" fmla="*/ 1050057 w 1556920"/>
                <a:gd name="connsiteY4717" fmla="*/ 1285384 h 1898459"/>
                <a:gd name="connsiteX4718" fmla="*/ 1049120 w 1556920"/>
                <a:gd name="connsiteY4718" fmla="*/ 1283841 h 1898459"/>
                <a:gd name="connsiteX4719" fmla="*/ 1047002 w 1556920"/>
                <a:gd name="connsiteY4719" fmla="*/ 1282298 h 1898459"/>
                <a:gd name="connsiteX4720" fmla="*/ 1043191 w 1556920"/>
                <a:gd name="connsiteY4720" fmla="*/ 1280574 h 1898459"/>
                <a:gd name="connsiteX4721" fmla="*/ 1038986 w 1556920"/>
                <a:gd name="connsiteY4721" fmla="*/ 1280694 h 1898459"/>
                <a:gd name="connsiteX4722" fmla="*/ 1019836 w 1556920"/>
                <a:gd name="connsiteY4722" fmla="*/ 1289437 h 1898459"/>
                <a:gd name="connsiteX4723" fmla="*/ 1015813 w 1556920"/>
                <a:gd name="connsiteY4723" fmla="*/ 1290284 h 1898459"/>
                <a:gd name="connsiteX4724" fmla="*/ 1004348 w 1556920"/>
                <a:gd name="connsiteY4724" fmla="*/ 1290587 h 1898459"/>
                <a:gd name="connsiteX4725" fmla="*/ 1002775 w 1556920"/>
                <a:gd name="connsiteY4725" fmla="*/ 1289679 h 1898459"/>
                <a:gd name="connsiteX4726" fmla="*/ 1001141 w 1556920"/>
                <a:gd name="connsiteY4726" fmla="*/ 1287380 h 1898459"/>
                <a:gd name="connsiteX4727" fmla="*/ 999054 w 1556920"/>
                <a:gd name="connsiteY4727" fmla="*/ 1285625 h 1898459"/>
                <a:gd name="connsiteX4728" fmla="*/ 996876 w 1556920"/>
                <a:gd name="connsiteY4728" fmla="*/ 1284990 h 1898459"/>
                <a:gd name="connsiteX4729" fmla="*/ 994909 w 1556920"/>
                <a:gd name="connsiteY4729" fmla="*/ 1285958 h 1898459"/>
                <a:gd name="connsiteX4730" fmla="*/ 993608 w 1556920"/>
                <a:gd name="connsiteY4730" fmla="*/ 1284506 h 1898459"/>
                <a:gd name="connsiteX4731" fmla="*/ 991854 w 1556920"/>
                <a:gd name="connsiteY4731" fmla="*/ 1283538 h 1898459"/>
                <a:gd name="connsiteX4732" fmla="*/ 989918 w 1556920"/>
                <a:gd name="connsiteY4732" fmla="*/ 1282994 h 1898459"/>
                <a:gd name="connsiteX4733" fmla="*/ 988072 w 1556920"/>
                <a:gd name="connsiteY4733" fmla="*/ 1282782 h 1898459"/>
                <a:gd name="connsiteX4734" fmla="*/ 988829 w 1556920"/>
                <a:gd name="connsiteY4734" fmla="*/ 1284627 h 1898459"/>
                <a:gd name="connsiteX4735" fmla="*/ 991793 w 1556920"/>
                <a:gd name="connsiteY4735" fmla="*/ 1287441 h 1898459"/>
                <a:gd name="connsiteX4736" fmla="*/ 992822 w 1556920"/>
                <a:gd name="connsiteY4736" fmla="*/ 1290284 h 1898459"/>
                <a:gd name="connsiteX4737" fmla="*/ 989403 w 1556920"/>
                <a:gd name="connsiteY4737" fmla="*/ 1290284 h 1898459"/>
                <a:gd name="connsiteX4738" fmla="*/ 978392 w 1556920"/>
                <a:gd name="connsiteY4738" fmla="*/ 1294520 h 1898459"/>
                <a:gd name="connsiteX4739" fmla="*/ 974943 w 1556920"/>
                <a:gd name="connsiteY4739" fmla="*/ 1297182 h 1898459"/>
                <a:gd name="connsiteX4740" fmla="*/ 972584 w 1556920"/>
                <a:gd name="connsiteY4740" fmla="*/ 1297756 h 1898459"/>
                <a:gd name="connsiteX4741" fmla="*/ 970406 w 1556920"/>
                <a:gd name="connsiteY4741" fmla="*/ 1298725 h 1898459"/>
                <a:gd name="connsiteX4742" fmla="*/ 969105 w 1556920"/>
                <a:gd name="connsiteY4742" fmla="*/ 1299541 h 1898459"/>
                <a:gd name="connsiteX4743" fmla="*/ 968348 w 1556920"/>
                <a:gd name="connsiteY4743" fmla="*/ 1299299 h 1898459"/>
                <a:gd name="connsiteX4744" fmla="*/ 967562 w 1556920"/>
                <a:gd name="connsiteY4744" fmla="*/ 1298876 h 1898459"/>
                <a:gd name="connsiteX4745" fmla="*/ 966715 w 1556920"/>
                <a:gd name="connsiteY4745" fmla="*/ 1298634 h 1898459"/>
                <a:gd name="connsiteX4746" fmla="*/ 963538 w 1556920"/>
                <a:gd name="connsiteY4746" fmla="*/ 1298906 h 1898459"/>
                <a:gd name="connsiteX4747" fmla="*/ 960604 w 1556920"/>
                <a:gd name="connsiteY4747" fmla="*/ 1299723 h 1898459"/>
                <a:gd name="connsiteX4748" fmla="*/ 957942 w 1556920"/>
                <a:gd name="connsiteY4748" fmla="*/ 1301326 h 1898459"/>
                <a:gd name="connsiteX4749" fmla="*/ 955673 w 1556920"/>
                <a:gd name="connsiteY4749" fmla="*/ 1303897 h 1898459"/>
                <a:gd name="connsiteX4750" fmla="*/ 953586 w 1556920"/>
                <a:gd name="connsiteY4750" fmla="*/ 1307890 h 1898459"/>
                <a:gd name="connsiteX4751" fmla="*/ 952255 w 1556920"/>
                <a:gd name="connsiteY4751" fmla="*/ 1309615 h 1898459"/>
                <a:gd name="connsiteX4752" fmla="*/ 950470 w 1556920"/>
                <a:gd name="connsiteY4752" fmla="*/ 1310311 h 1898459"/>
                <a:gd name="connsiteX4753" fmla="*/ 949350 w 1556920"/>
                <a:gd name="connsiteY4753" fmla="*/ 1311067 h 1898459"/>
                <a:gd name="connsiteX4754" fmla="*/ 945327 w 1556920"/>
                <a:gd name="connsiteY4754" fmla="*/ 1315544 h 1898459"/>
                <a:gd name="connsiteX4755" fmla="*/ 945206 w 1556920"/>
                <a:gd name="connsiteY4755" fmla="*/ 1316210 h 1898459"/>
                <a:gd name="connsiteX4756" fmla="*/ 944450 w 1556920"/>
                <a:gd name="connsiteY4756" fmla="*/ 1317995 h 1898459"/>
                <a:gd name="connsiteX4757" fmla="*/ 943603 w 1556920"/>
                <a:gd name="connsiteY4757" fmla="*/ 1319205 h 1898459"/>
                <a:gd name="connsiteX4758" fmla="*/ 943179 w 1556920"/>
                <a:gd name="connsiteY4758" fmla="*/ 1318237 h 1898459"/>
                <a:gd name="connsiteX4759" fmla="*/ 942877 w 1556920"/>
                <a:gd name="connsiteY4759" fmla="*/ 1317178 h 1898459"/>
                <a:gd name="connsiteX4760" fmla="*/ 942211 w 1556920"/>
                <a:gd name="connsiteY4760" fmla="*/ 1316845 h 1898459"/>
                <a:gd name="connsiteX4761" fmla="*/ 941546 w 1556920"/>
                <a:gd name="connsiteY4761" fmla="*/ 1317480 h 1898459"/>
                <a:gd name="connsiteX4762" fmla="*/ 941243 w 1556920"/>
                <a:gd name="connsiteY4762" fmla="*/ 1319265 h 1898459"/>
                <a:gd name="connsiteX4763" fmla="*/ 941062 w 1556920"/>
                <a:gd name="connsiteY4763" fmla="*/ 1325648 h 1898459"/>
                <a:gd name="connsiteX4764" fmla="*/ 940638 w 1556920"/>
                <a:gd name="connsiteY4764" fmla="*/ 1328431 h 1898459"/>
                <a:gd name="connsiteX4765" fmla="*/ 939821 w 1556920"/>
                <a:gd name="connsiteY4765" fmla="*/ 1330428 h 1898459"/>
                <a:gd name="connsiteX4766" fmla="*/ 933226 w 1556920"/>
                <a:gd name="connsiteY4766" fmla="*/ 1334391 h 1898459"/>
                <a:gd name="connsiteX4767" fmla="*/ 931230 w 1556920"/>
                <a:gd name="connsiteY4767" fmla="*/ 1337537 h 1898459"/>
                <a:gd name="connsiteX4768" fmla="*/ 923123 w 1556920"/>
                <a:gd name="connsiteY4768" fmla="*/ 1343345 h 1898459"/>
                <a:gd name="connsiteX4769" fmla="*/ 921156 w 1556920"/>
                <a:gd name="connsiteY4769" fmla="*/ 1344313 h 1898459"/>
                <a:gd name="connsiteX4770" fmla="*/ 919281 w 1556920"/>
                <a:gd name="connsiteY4770" fmla="*/ 1344828 h 1898459"/>
                <a:gd name="connsiteX4771" fmla="*/ 917375 w 1556920"/>
                <a:gd name="connsiteY4771" fmla="*/ 1344979 h 1898459"/>
                <a:gd name="connsiteX4772" fmla="*/ 915862 w 1556920"/>
                <a:gd name="connsiteY4772" fmla="*/ 1345765 h 1898459"/>
                <a:gd name="connsiteX4773" fmla="*/ 901886 w 1556920"/>
                <a:gd name="connsiteY4773" fmla="*/ 1360770 h 1898459"/>
                <a:gd name="connsiteX4774" fmla="*/ 900434 w 1556920"/>
                <a:gd name="connsiteY4774" fmla="*/ 1363251 h 1898459"/>
                <a:gd name="connsiteX4775" fmla="*/ 899799 w 1556920"/>
                <a:gd name="connsiteY4775" fmla="*/ 1364007 h 1898459"/>
                <a:gd name="connsiteX4776" fmla="*/ 900192 w 1556920"/>
                <a:gd name="connsiteY4776" fmla="*/ 1364945 h 1898459"/>
                <a:gd name="connsiteX4777" fmla="*/ 900101 w 1556920"/>
                <a:gd name="connsiteY4777" fmla="*/ 1365610 h 1898459"/>
                <a:gd name="connsiteX4778" fmla="*/ 899073 w 1556920"/>
                <a:gd name="connsiteY4778" fmla="*/ 1367032 h 1898459"/>
                <a:gd name="connsiteX4779" fmla="*/ 900615 w 1556920"/>
                <a:gd name="connsiteY4779" fmla="*/ 1367970 h 1898459"/>
                <a:gd name="connsiteX4780" fmla="*/ 902037 w 1556920"/>
                <a:gd name="connsiteY4780" fmla="*/ 1367365 h 1898459"/>
                <a:gd name="connsiteX4781" fmla="*/ 903429 w 1556920"/>
                <a:gd name="connsiteY4781" fmla="*/ 1365852 h 1898459"/>
                <a:gd name="connsiteX4782" fmla="*/ 904911 w 1556920"/>
                <a:gd name="connsiteY4782" fmla="*/ 1364975 h 1898459"/>
                <a:gd name="connsiteX4783" fmla="*/ 910538 w 1556920"/>
                <a:gd name="connsiteY4783" fmla="*/ 1365520 h 1898459"/>
                <a:gd name="connsiteX4784" fmla="*/ 912777 w 1556920"/>
                <a:gd name="connsiteY4784" fmla="*/ 1364975 h 1898459"/>
                <a:gd name="connsiteX4785" fmla="*/ 913503 w 1556920"/>
                <a:gd name="connsiteY4785" fmla="*/ 1364461 h 1898459"/>
                <a:gd name="connsiteX4786" fmla="*/ 914077 w 1556920"/>
                <a:gd name="connsiteY4786" fmla="*/ 1363765 h 1898459"/>
                <a:gd name="connsiteX4787" fmla="*/ 914803 w 1556920"/>
                <a:gd name="connsiteY4787" fmla="*/ 1363160 h 1898459"/>
                <a:gd name="connsiteX4788" fmla="*/ 915983 w 1556920"/>
                <a:gd name="connsiteY4788" fmla="*/ 1362888 h 1898459"/>
                <a:gd name="connsiteX4789" fmla="*/ 917163 w 1556920"/>
                <a:gd name="connsiteY4789" fmla="*/ 1363220 h 1898459"/>
                <a:gd name="connsiteX4790" fmla="*/ 919099 w 1556920"/>
                <a:gd name="connsiteY4790" fmla="*/ 1364642 h 1898459"/>
                <a:gd name="connsiteX4791" fmla="*/ 921247 w 1556920"/>
                <a:gd name="connsiteY4791" fmla="*/ 1365338 h 1898459"/>
                <a:gd name="connsiteX4792" fmla="*/ 922638 w 1556920"/>
                <a:gd name="connsiteY4792" fmla="*/ 1366911 h 1898459"/>
                <a:gd name="connsiteX4793" fmla="*/ 923849 w 1556920"/>
                <a:gd name="connsiteY4793" fmla="*/ 1367062 h 1898459"/>
                <a:gd name="connsiteX4794" fmla="*/ 924575 w 1556920"/>
                <a:gd name="connsiteY4794" fmla="*/ 1366790 h 1898459"/>
                <a:gd name="connsiteX4795" fmla="*/ 925301 w 1556920"/>
                <a:gd name="connsiteY4795" fmla="*/ 1366246 h 1898459"/>
                <a:gd name="connsiteX4796" fmla="*/ 926601 w 1556920"/>
                <a:gd name="connsiteY4796" fmla="*/ 1364975 h 1898459"/>
                <a:gd name="connsiteX4797" fmla="*/ 925361 w 1556920"/>
                <a:gd name="connsiteY4797" fmla="*/ 1363311 h 1898459"/>
                <a:gd name="connsiteX4798" fmla="*/ 925361 w 1556920"/>
                <a:gd name="connsiteY4798" fmla="*/ 1361345 h 1898459"/>
                <a:gd name="connsiteX4799" fmla="*/ 926359 w 1556920"/>
                <a:gd name="connsiteY4799" fmla="*/ 1359621 h 1898459"/>
                <a:gd name="connsiteX4800" fmla="*/ 927963 w 1556920"/>
                <a:gd name="connsiteY4800" fmla="*/ 1358713 h 1898459"/>
                <a:gd name="connsiteX4801" fmla="*/ 927721 w 1556920"/>
                <a:gd name="connsiteY4801" fmla="*/ 1358078 h 1898459"/>
                <a:gd name="connsiteX4802" fmla="*/ 927328 w 1556920"/>
                <a:gd name="connsiteY4802" fmla="*/ 1357685 h 1898459"/>
                <a:gd name="connsiteX4803" fmla="*/ 930897 w 1556920"/>
                <a:gd name="connsiteY4803" fmla="*/ 1353873 h 1898459"/>
                <a:gd name="connsiteX4804" fmla="*/ 932803 w 1556920"/>
                <a:gd name="connsiteY4804" fmla="*/ 1352330 h 1898459"/>
                <a:gd name="connsiteX4805" fmla="*/ 934890 w 1556920"/>
                <a:gd name="connsiteY4805" fmla="*/ 1351332 h 1898459"/>
                <a:gd name="connsiteX4806" fmla="*/ 941848 w 1556920"/>
                <a:gd name="connsiteY4806" fmla="*/ 1351422 h 1898459"/>
                <a:gd name="connsiteX4807" fmla="*/ 943845 w 1556920"/>
                <a:gd name="connsiteY4807" fmla="*/ 1350303 h 1898459"/>
                <a:gd name="connsiteX4808" fmla="*/ 945509 w 1556920"/>
                <a:gd name="connsiteY4808" fmla="*/ 1349335 h 1898459"/>
                <a:gd name="connsiteX4809" fmla="*/ 952769 w 1556920"/>
                <a:gd name="connsiteY4809" fmla="*/ 1347248 h 1898459"/>
                <a:gd name="connsiteX4810" fmla="*/ 958486 w 1556920"/>
                <a:gd name="connsiteY4810" fmla="*/ 1348125 h 1898459"/>
                <a:gd name="connsiteX4811" fmla="*/ 961239 w 1556920"/>
                <a:gd name="connsiteY4811" fmla="*/ 1347944 h 1898459"/>
                <a:gd name="connsiteX4812" fmla="*/ 963841 w 1556920"/>
                <a:gd name="connsiteY4812" fmla="*/ 1346128 h 1898459"/>
                <a:gd name="connsiteX4813" fmla="*/ 964627 w 1556920"/>
                <a:gd name="connsiteY4813" fmla="*/ 1347823 h 1898459"/>
                <a:gd name="connsiteX4814" fmla="*/ 965656 w 1556920"/>
                <a:gd name="connsiteY4814" fmla="*/ 1348064 h 1898459"/>
                <a:gd name="connsiteX4815" fmla="*/ 966806 w 1556920"/>
                <a:gd name="connsiteY4815" fmla="*/ 1347338 h 1898459"/>
                <a:gd name="connsiteX4816" fmla="*/ 967955 w 1556920"/>
                <a:gd name="connsiteY4816" fmla="*/ 1346128 h 1898459"/>
                <a:gd name="connsiteX4817" fmla="*/ 968258 w 1556920"/>
                <a:gd name="connsiteY4817" fmla="*/ 1346734 h 1898459"/>
                <a:gd name="connsiteX4818" fmla="*/ 968590 w 1556920"/>
                <a:gd name="connsiteY4818" fmla="*/ 1347006 h 1898459"/>
                <a:gd name="connsiteX4819" fmla="*/ 969347 w 1556920"/>
                <a:gd name="connsiteY4819" fmla="*/ 1347278 h 1898459"/>
                <a:gd name="connsiteX4820" fmla="*/ 963357 w 1556920"/>
                <a:gd name="connsiteY4820" fmla="*/ 1351241 h 1898459"/>
                <a:gd name="connsiteX4821" fmla="*/ 962722 w 1556920"/>
                <a:gd name="connsiteY4821" fmla="*/ 1351876 h 1898459"/>
                <a:gd name="connsiteX4822" fmla="*/ 962510 w 1556920"/>
                <a:gd name="connsiteY4822" fmla="*/ 1352905 h 1898459"/>
                <a:gd name="connsiteX4823" fmla="*/ 962510 w 1556920"/>
                <a:gd name="connsiteY4823" fmla="*/ 1355083 h 1898459"/>
                <a:gd name="connsiteX4824" fmla="*/ 962933 w 1556920"/>
                <a:gd name="connsiteY4824" fmla="*/ 1356081 h 1898459"/>
                <a:gd name="connsiteX4825" fmla="*/ 963720 w 1556920"/>
                <a:gd name="connsiteY4825" fmla="*/ 1358471 h 1898459"/>
                <a:gd name="connsiteX4826" fmla="*/ 963962 w 1556920"/>
                <a:gd name="connsiteY4826" fmla="*/ 1360830 h 1898459"/>
                <a:gd name="connsiteX4827" fmla="*/ 962812 w 1556920"/>
                <a:gd name="connsiteY4827" fmla="*/ 1361920 h 1898459"/>
                <a:gd name="connsiteX4828" fmla="*/ 961058 w 1556920"/>
                <a:gd name="connsiteY4828" fmla="*/ 1362434 h 1898459"/>
                <a:gd name="connsiteX4829" fmla="*/ 960786 w 1556920"/>
                <a:gd name="connsiteY4829" fmla="*/ 1363674 h 1898459"/>
                <a:gd name="connsiteX4830" fmla="*/ 961270 w 1556920"/>
                <a:gd name="connsiteY4830" fmla="*/ 1365096 h 1898459"/>
                <a:gd name="connsiteX4831" fmla="*/ 963206 w 1556920"/>
                <a:gd name="connsiteY4831" fmla="*/ 1368817 h 1898459"/>
                <a:gd name="connsiteX4832" fmla="*/ 970890 w 1556920"/>
                <a:gd name="connsiteY4832" fmla="*/ 1377469 h 1898459"/>
                <a:gd name="connsiteX4833" fmla="*/ 972584 w 1556920"/>
                <a:gd name="connsiteY4833" fmla="*/ 1377106 h 1898459"/>
                <a:gd name="connsiteX4834" fmla="*/ 974308 w 1556920"/>
                <a:gd name="connsiteY4834" fmla="*/ 1375835 h 1898459"/>
                <a:gd name="connsiteX4835" fmla="*/ 976970 w 1556920"/>
                <a:gd name="connsiteY4835" fmla="*/ 1375533 h 1898459"/>
                <a:gd name="connsiteX4836" fmla="*/ 975669 w 1556920"/>
                <a:gd name="connsiteY4836" fmla="*/ 1377076 h 1898459"/>
                <a:gd name="connsiteX4837" fmla="*/ 971555 w 1556920"/>
                <a:gd name="connsiteY4837" fmla="*/ 1380040 h 1898459"/>
                <a:gd name="connsiteX4838" fmla="*/ 970466 w 1556920"/>
                <a:gd name="connsiteY4838" fmla="*/ 1380403 h 1898459"/>
                <a:gd name="connsiteX4839" fmla="*/ 970073 w 1556920"/>
                <a:gd name="connsiteY4839" fmla="*/ 1380645 h 1898459"/>
                <a:gd name="connsiteX4840" fmla="*/ 969831 w 1556920"/>
                <a:gd name="connsiteY4840" fmla="*/ 1381280 h 1898459"/>
                <a:gd name="connsiteX4841" fmla="*/ 969347 w 1556920"/>
                <a:gd name="connsiteY4841" fmla="*/ 1383338 h 1898459"/>
                <a:gd name="connsiteX4842" fmla="*/ 968984 w 1556920"/>
                <a:gd name="connsiteY4842" fmla="*/ 1383761 h 1898459"/>
                <a:gd name="connsiteX4843" fmla="*/ 967199 w 1556920"/>
                <a:gd name="connsiteY4843" fmla="*/ 1384911 h 1898459"/>
                <a:gd name="connsiteX4844" fmla="*/ 965081 w 1556920"/>
                <a:gd name="connsiteY4844" fmla="*/ 1387845 h 1898459"/>
                <a:gd name="connsiteX4845" fmla="*/ 963448 w 1556920"/>
                <a:gd name="connsiteY4845" fmla="*/ 1391627 h 1898459"/>
                <a:gd name="connsiteX4846" fmla="*/ 963115 w 1556920"/>
                <a:gd name="connsiteY4846" fmla="*/ 1395408 h 1898459"/>
                <a:gd name="connsiteX4847" fmla="*/ 964264 w 1556920"/>
                <a:gd name="connsiteY4847" fmla="*/ 1397737 h 1898459"/>
                <a:gd name="connsiteX4848" fmla="*/ 968863 w 1556920"/>
                <a:gd name="connsiteY4848" fmla="*/ 1403606 h 1898459"/>
                <a:gd name="connsiteX4849" fmla="*/ 970406 w 1556920"/>
                <a:gd name="connsiteY4849" fmla="*/ 1404756 h 1898459"/>
                <a:gd name="connsiteX4850" fmla="*/ 973158 w 1556920"/>
                <a:gd name="connsiteY4850" fmla="*/ 1404302 h 1898459"/>
                <a:gd name="connsiteX4851" fmla="*/ 978331 w 1556920"/>
                <a:gd name="connsiteY4851" fmla="*/ 1402608 h 1898459"/>
                <a:gd name="connsiteX4852" fmla="*/ 981054 w 1556920"/>
                <a:gd name="connsiteY4852" fmla="*/ 1402608 h 1898459"/>
                <a:gd name="connsiteX4853" fmla="*/ 981054 w 1556920"/>
                <a:gd name="connsiteY4853" fmla="*/ 1403727 h 1898459"/>
                <a:gd name="connsiteX4854" fmla="*/ 975881 w 1556920"/>
                <a:gd name="connsiteY4854" fmla="*/ 1407267 h 1898459"/>
                <a:gd name="connsiteX4855" fmla="*/ 974126 w 1556920"/>
                <a:gd name="connsiteY4855" fmla="*/ 1407872 h 1898459"/>
                <a:gd name="connsiteX4856" fmla="*/ 973068 w 1556920"/>
                <a:gd name="connsiteY4856" fmla="*/ 1407660 h 1898459"/>
                <a:gd name="connsiteX4857" fmla="*/ 970859 w 1556920"/>
                <a:gd name="connsiteY4857" fmla="*/ 1406571 h 1898459"/>
                <a:gd name="connsiteX4858" fmla="*/ 970043 w 1556920"/>
                <a:gd name="connsiteY4858" fmla="*/ 1406722 h 1898459"/>
                <a:gd name="connsiteX4859" fmla="*/ 969437 w 1556920"/>
                <a:gd name="connsiteY4859" fmla="*/ 1408023 h 1898459"/>
                <a:gd name="connsiteX4860" fmla="*/ 969286 w 1556920"/>
                <a:gd name="connsiteY4860" fmla="*/ 1409808 h 1898459"/>
                <a:gd name="connsiteX4861" fmla="*/ 969498 w 1556920"/>
                <a:gd name="connsiteY4861" fmla="*/ 1411653 h 1898459"/>
                <a:gd name="connsiteX4862" fmla="*/ 970043 w 1556920"/>
                <a:gd name="connsiteY4862" fmla="*/ 1413044 h 1898459"/>
                <a:gd name="connsiteX4863" fmla="*/ 968893 w 1556920"/>
                <a:gd name="connsiteY4863" fmla="*/ 1415193 h 1898459"/>
                <a:gd name="connsiteX4864" fmla="*/ 967804 w 1556920"/>
                <a:gd name="connsiteY4864" fmla="*/ 1418338 h 1898459"/>
                <a:gd name="connsiteX4865" fmla="*/ 966957 w 1556920"/>
                <a:gd name="connsiteY4865" fmla="*/ 1421787 h 1898459"/>
                <a:gd name="connsiteX4866" fmla="*/ 966049 w 1556920"/>
                <a:gd name="connsiteY4866" fmla="*/ 1428200 h 1898459"/>
                <a:gd name="connsiteX4867" fmla="*/ 964718 w 1556920"/>
                <a:gd name="connsiteY4867" fmla="*/ 1431619 h 1898459"/>
                <a:gd name="connsiteX4868" fmla="*/ 961754 w 1556920"/>
                <a:gd name="connsiteY4868" fmla="*/ 1436913 h 1898459"/>
                <a:gd name="connsiteX4869" fmla="*/ 955915 w 1556920"/>
                <a:gd name="connsiteY4869" fmla="*/ 1444597 h 1898459"/>
                <a:gd name="connsiteX4870" fmla="*/ 943966 w 1556920"/>
                <a:gd name="connsiteY4870" fmla="*/ 1454096 h 1898459"/>
                <a:gd name="connsiteX4871" fmla="*/ 942120 w 1556920"/>
                <a:gd name="connsiteY4871" fmla="*/ 1454610 h 1898459"/>
                <a:gd name="connsiteX4872" fmla="*/ 940063 w 1556920"/>
                <a:gd name="connsiteY4872" fmla="*/ 1454701 h 1898459"/>
                <a:gd name="connsiteX4873" fmla="*/ 938399 w 1556920"/>
                <a:gd name="connsiteY4873" fmla="*/ 1455124 h 1898459"/>
                <a:gd name="connsiteX4874" fmla="*/ 936947 w 1556920"/>
                <a:gd name="connsiteY4874" fmla="*/ 1456002 h 1898459"/>
                <a:gd name="connsiteX4875" fmla="*/ 933953 w 1556920"/>
                <a:gd name="connsiteY4875" fmla="*/ 1459299 h 1898459"/>
                <a:gd name="connsiteX4876" fmla="*/ 931986 w 1556920"/>
                <a:gd name="connsiteY4876" fmla="*/ 1460993 h 1898459"/>
                <a:gd name="connsiteX4877" fmla="*/ 929990 w 1556920"/>
                <a:gd name="connsiteY4877" fmla="*/ 1462264 h 1898459"/>
                <a:gd name="connsiteX4878" fmla="*/ 927025 w 1556920"/>
                <a:gd name="connsiteY4878" fmla="*/ 1463111 h 1898459"/>
                <a:gd name="connsiteX4879" fmla="*/ 926359 w 1556920"/>
                <a:gd name="connsiteY4879" fmla="*/ 1464018 h 1898459"/>
                <a:gd name="connsiteX4880" fmla="*/ 925875 w 1556920"/>
                <a:gd name="connsiteY4880" fmla="*/ 1465047 h 1898459"/>
                <a:gd name="connsiteX4881" fmla="*/ 925210 w 1556920"/>
                <a:gd name="connsiteY4881" fmla="*/ 1465803 h 1898459"/>
                <a:gd name="connsiteX4882" fmla="*/ 924060 w 1556920"/>
                <a:gd name="connsiteY4882" fmla="*/ 1466196 h 1898459"/>
                <a:gd name="connsiteX4883" fmla="*/ 911627 w 1556920"/>
                <a:gd name="connsiteY4883" fmla="*/ 1465773 h 1898459"/>
                <a:gd name="connsiteX4884" fmla="*/ 907785 w 1556920"/>
                <a:gd name="connsiteY4884" fmla="*/ 1467497 h 1898459"/>
                <a:gd name="connsiteX4885" fmla="*/ 907997 w 1556920"/>
                <a:gd name="connsiteY4885" fmla="*/ 1471944 h 1898459"/>
                <a:gd name="connsiteX4886" fmla="*/ 904669 w 1556920"/>
                <a:gd name="connsiteY4886" fmla="*/ 1469524 h 1898459"/>
                <a:gd name="connsiteX4887" fmla="*/ 903278 w 1556920"/>
                <a:gd name="connsiteY4887" fmla="*/ 1469524 h 1898459"/>
                <a:gd name="connsiteX4888" fmla="*/ 901432 w 1556920"/>
                <a:gd name="connsiteY4888" fmla="*/ 1471430 h 1898459"/>
                <a:gd name="connsiteX4889" fmla="*/ 898982 w 1556920"/>
                <a:gd name="connsiteY4889" fmla="*/ 1475181 h 1898459"/>
                <a:gd name="connsiteX4890" fmla="*/ 897530 w 1556920"/>
                <a:gd name="connsiteY4890" fmla="*/ 1476845 h 1898459"/>
                <a:gd name="connsiteX4891" fmla="*/ 895594 w 1556920"/>
                <a:gd name="connsiteY4891" fmla="*/ 1478115 h 1898459"/>
                <a:gd name="connsiteX4892" fmla="*/ 892236 w 1556920"/>
                <a:gd name="connsiteY4892" fmla="*/ 1478630 h 1898459"/>
                <a:gd name="connsiteX4893" fmla="*/ 891449 w 1556920"/>
                <a:gd name="connsiteY4893" fmla="*/ 1479235 h 1898459"/>
                <a:gd name="connsiteX4894" fmla="*/ 891449 w 1556920"/>
                <a:gd name="connsiteY4894" fmla="*/ 1480566 h 1898459"/>
                <a:gd name="connsiteX4895" fmla="*/ 891873 w 1556920"/>
                <a:gd name="connsiteY4895" fmla="*/ 1482260 h 1898459"/>
                <a:gd name="connsiteX4896" fmla="*/ 892024 w 1556920"/>
                <a:gd name="connsiteY4896" fmla="*/ 1483712 h 1898459"/>
                <a:gd name="connsiteX4897" fmla="*/ 891116 w 1556920"/>
                <a:gd name="connsiteY4897" fmla="*/ 1484347 h 1898459"/>
                <a:gd name="connsiteX4898" fmla="*/ 888908 w 1556920"/>
                <a:gd name="connsiteY4898" fmla="*/ 1484015 h 1898459"/>
                <a:gd name="connsiteX4899" fmla="*/ 885036 w 1556920"/>
                <a:gd name="connsiteY4899" fmla="*/ 1482592 h 1898459"/>
                <a:gd name="connsiteX4900" fmla="*/ 883130 w 1556920"/>
                <a:gd name="connsiteY4900" fmla="*/ 1482290 h 1898459"/>
                <a:gd name="connsiteX4901" fmla="*/ 883826 w 1556920"/>
                <a:gd name="connsiteY4901" fmla="*/ 1484347 h 1898459"/>
                <a:gd name="connsiteX4902" fmla="*/ 880922 w 1556920"/>
                <a:gd name="connsiteY4902" fmla="*/ 1485467 h 1898459"/>
                <a:gd name="connsiteX4903" fmla="*/ 878986 w 1556920"/>
                <a:gd name="connsiteY4903" fmla="*/ 1485467 h 1898459"/>
                <a:gd name="connsiteX4904" fmla="*/ 873631 w 1556920"/>
                <a:gd name="connsiteY4904" fmla="*/ 1482774 h 1898459"/>
                <a:gd name="connsiteX4905" fmla="*/ 872451 w 1556920"/>
                <a:gd name="connsiteY4905" fmla="*/ 1482472 h 1898459"/>
                <a:gd name="connsiteX4906" fmla="*/ 869729 w 1556920"/>
                <a:gd name="connsiteY4906" fmla="*/ 1482320 h 1898459"/>
                <a:gd name="connsiteX4907" fmla="*/ 868065 w 1556920"/>
                <a:gd name="connsiteY4907" fmla="*/ 1482623 h 1898459"/>
                <a:gd name="connsiteX4908" fmla="*/ 866976 w 1556920"/>
                <a:gd name="connsiteY4908" fmla="*/ 1483409 h 1898459"/>
                <a:gd name="connsiteX4909" fmla="*/ 866825 w 1556920"/>
                <a:gd name="connsiteY4909" fmla="*/ 1484408 h 1898459"/>
                <a:gd name="connsiteX4910" fmla="*/ 868035 w 1556920"/>
                <a:gd name="connsiteY4910" fmla="*/ 1485376 h 1898459"/>
                <a:gd name="connsiteX4911" fmla="*/ 868035 w 1556920"/>
                <a:gd name="connsiteY4911" fmla="*/ 1486314 h 1898459"/>
                <a:gd name="connsiteX4912" fmla="*/ 866613 w 1556920"/>
                <a:gd name="connsiteY4912" fmla="*/ 1486314 h 1898459"/>
                <a:gd name="connsiteX4913" fmla="*/ 866310 w 1556920"/>
                <a:gd name="connsiteY4913" fmla="*/ 1490186 h 1898459"/>
                <a:gd name="connsiteX4914" fmla="*/ 863134 w 1556920"/>
                <a:gd name="connsiteY4914" fmla="*/ 1492727 h 1898459"/>
                <a:gd name="connsiteX4915" fmla="*/ 859020 w 1556920"/>
                <a:gd name="connsiteY4915" fmla="*/ 1494149 h 1898459"/>
                <a:gd name="connsiteX4916" fmla="*/ 855934 w 1556920"/>
                <a:gd name="connsiteY4916" fmla="*/ 1494572 h 1898459"/>
                <a:gd name="connsiteX4917" fmla="*/ 854633 w 1556920"/>
                <a:gd name="connsiteY4917" fmla="*/ 1495207 h 1898459"/>
                <a:gd name="connsiteX4918" fmla="*/ 851608 w 1556920"/>
                <a:gd name="connsiteY4918" fmla="*/ 1498082 h 1898459"/>
                <a:gd name="connsiteX4919" fmla="*/ 849733 w 1556920"/>
                <a:gd name="connsiteY4919" fmla="*/ 1498747 h 1898459"/>
                <a:gd name="connsiteX4920" fmla="*/ 846102 w 1556920"/>
                <a:gd name="connsiteY4920" fmla="*/ 1498989 h 1898459"/>
                <a:gd name="connsiteX4921" fmla="*/ 845134 w 1556920"/>
                <a:gd name="connsiteY4921" fmla="*/ 1499897 h 1898459"/>
                <a:gd name="connsiteX4922" fmla="*/ 845921 w 1556920"/>
                <a:gd name="connsiteY4922" fmla="*/ 1501802 h 1898459"/>
                <a:gd name="connsiteX4923" fmla="*/ 845921 w 1556920"/>
                <a:gd name="connsiteY4923" fmla="*/ 1502740 h 1898459"/>
                <a:gd name="connsiteX4924" fmla="*/ 844953 w 1556920"/>
                <a:gd name="connsiteY4924" fmla="*/ 1503285 h 1898459"/>
                <a:gd name="connsiteX4925" fmla="*/ 844711 w 1556920"/>
                <a:gd name="connsiteY4925" fmla="*/ 1503739 h 1898459"/>
                <a:gd name="connsiteX4926" fmla="*/ 844892 w 1556920"/>
                <a:gd name="connsiteY4926" fmla="*/ 1504222 h 1898459"/>
                <a:gd name="connsiteX4927" fmla="*/ 845225 w 1556920"/>
                <a:gd name="connsiteY4927" fmla="*/ 1504888 h 1898459"/>
                <a:gd name="connsiteX4928" fmla="*/ 845225 w 1556920"/>
                <a:gd name="connsiteY4928" fmla="*/ 1506007 h 1898459"/>
                <a:gd name="connsiteX4929" fmla="*/ 844529 w 1556920"/>
                <a:gd name="connsiteY4929" fmla="*/ 1506370 h 1898459"/>
                <a:gd name="connsiteX4930" fmla="*/ 843864 w 1556920"/>
                <a:gd name="connsiteY4930" fmla="*/ 1506915 h 1898459"/>
                <a:gd name="connsiteX4931" fmla="*/ 845830 w 1556920"/>
                <a:gd name="connsiteY4931" fmla="*/ 1506915 h 1898459"/>
                <a:gd name="connsiteX4932" fmla="*/ 851427 w 1556920"/>
                <a:gd name="connsiteY4932" fmla="*/ 1505856 h 1898459"/>
                <a:gd name="connsiteX4933" fmla="*/ 852848 w 1556920"/>
                <a:gd name="connsiteY4933" fmla="*/ 1504858 h 1898459"/>
                <a:gd name="connsiteX4934" fmla="*/ 854633 w 1556920"/>
                <a:gd name="connsiteY4934" fmla="*/ 1505977 h 1898459"/>
                <a:gd name="connsiteX4935" fmla="*/ 858596 w 1556920"/>
                <a:gd name="connsiteY4935" fmla="*/ 1506491 h 1898459"/>
                <a:gd name="connsiteX4936" fmla="*/ 860411 w 1556920"/>
                <a:gd name="connsiteY4936" fmla="*/ 1507913 h 1898459"/>
                <a:gd name="connsiteX4937" fmla="*/ 861107 w 1556920"/>
                <a:gd name="connsiteY4937" fmla="*/ 1506884 h 1898459"/>
                <a:gd name="connsiteX4938" fmla="*/ 862499 w 1556920"/>
                <a:gd name="connsiteY4938" fmla="*/ 1508064 h 1898459"/>
                <a:gd name="connsiteX4939" fmla="*/ 863346 w 1556920"/>
                <a:gd name="connsiteY4939" fmla="*/ 1509910 h 1898459"/>
                <a:gd name="connsiteX4940" fmla="*/ 863769 w 1556920"/>
                <a:gd name="connsiteY4940" fmla="*/ 1512148 h 1898459"/>
                <a:gd name="connsiteX4941" fmla="*/ 863890 w 1556920"/>
                <a:gd name="connsiteY4941" fmla="*/ 1514478 h 1898459"/>
                <a:gd name="connsiteX4942" fmla="*/ 864404 w 1556920"/>
                <a:gd name="connsiteY4942" fmla="*/ 1518229 h 1898459"/>
                <a:gd name="connsiteX4943" fmla="*/ 864072 w 1556920"/>
                <a:gd name="connsiteY4943" fmla="*/ 1519650 h 1898459"/>
                <a:gd name="connsiteX4944" fmla="*/ 862499 w 1556920"/>
                <a:gd name="connsiteY4944" fmla="*/ 1521163 h 1898459"/>
                <a:gd name="connsiteX4945" fmla="*/ 860774 w 1556920"/>
                <a:gd name="connsiteY4945" fmla="*/ 1521859 h 1898459"/>
                <a:gd name="connsiteX4946" fmla="*/ 857386 w 1556920"/>
                <a:gd name="connsiteY4946" fmla="*/ 1522494 h 1898459"/>
                <a:gd name="connsiteX4947" fmla="*/ 855934 w 1556920"/>
                <a:gd name="connsiteY4947" fmla="*/ 1523795 h 1898459"/>
                <a:gd name="connsiteX4948" fmla="*/ 854754 w 1556920"/>
                <a:gd name="connsiteY4948" fmla="*/ 1525308 h 1898459"/>
                <a:gd name="connsiteX4949" fmla="*/ 853635 w 1556920"/>
                <a:gd name="connsiteY4949" fmla="*/ 1526064 h 1898459"/>
                <a:gd name="connsiteX4950" fmla="*/ 852213 w 1556920"/>
                <a:gd name="connsiteY4950" fmla="*/ 1526336 h 1898459"/>
                <a:gd name="connsiteX4951" fmla="*/ 850065 w 1556920"/>
                <a:gd name="connsiteY4951" fmla="*/ 1526336 h 1898459"/>
                <a:gd name="connsiteX4952" fmla="*/ 852001 w 1556920"/>
                <a:gd name="connsiteY4952" fmla="*/ 1526911 h 1898459"/>
                <a:gd name="connsiteX4953" fmla="*/ 856993 w 1556920"/>
                <a:gd name="connsiteY4953" fmla="*/ 1530450 h 1898459"/>
                <a:gd name="connsiteX4954" fmla="*/ 856993 w 1556920"/>
                <a:gd name="connsiteY4954" fmla="*/ 1531388 h 1898459"/>
                <a:gd name="connsiteX4955" fmla="*/ 856781 w 1556920"/>
                <a:gd name="connsiteY4955" fmla="*/ 1533022 h 1898459"/>
                <a:gd name="connsiteX4956" fmla="*/ 858233 w 1556920"/>
                <a:gd name="connsiteY4956" fmla="*/ 1533082 h 1898459"/>
                <a:gd name="connsiteX4957" fmla="*/ 859413 w 1556920"/>
                <a:gd name="connsiteY4957" fmla="*/ 1531812 h 1898459"/>
                <a:gd name="connsiteX4958" fmla="*/ 858415 w 1556920"/>
                <a:gd name="connsiteY4958" fmla="*/ 1529392 h 1898459"/>
                <a:gd name="connsiteX4959" fmla="*/ 860200 w 1556920"/>
                <a:gd name="connsiteY4959" fmla="*/ 1528756 h 1898459"/>
                <a:gd name="connsiteX4960" fmla="*/ 874236 w 1556920"/>
                <a:gd name="connsiteY4960" fmla="*/ 1530511 h 1898459"/>
                <a:gd name="connsiteX4961" fmla="*/ 876414 w 1556920"/>
                <a:gd name="connsiteY4961" fmla="*/ 1530450 h 1898459"/>
                <a:gd name="connsiteX4962" fmla="*/ 884219 w 1556920"/>
                <a:gd name="connsiteY4962" fmla="*/ 1528756 h 1898459"/>
                <a:gd name="connsiteX4963" fmla="*/ 885702 w 1556920"/>
                <a:gd name="connsiteY4963" fmla="*/ 1527274 h 1898459"/>
                <a:gd name="connsiteX4964" fmla="*/ 886065 w 1556920"/>
                <a:gd name="connsiteY4964" fmla="*/ 1525610 h 1898459"/>
                <a:gd name="connsiteX4965" fmla="*/ 884643 w 1556920"/>
                <a:gd name="connsiteY4965" fmla="*/ 1524430 h 1898459"/>
                <a:gd name="connsiteX4966" fmla="*/ 885217 w 1556920"/>
                <a:gd name="connsiteY4966" fmla="*/ 1522222 h 1898459"/>
                <a:gd name="connsiteX4967" fmla="*/ 884764 w 1556920"/>
                <a:gd name="connsiteY4967" fmla="*/ 1520861 h 1898459"/>
                <a:gd name="connsiteX4968" fmla="*/ 883554 w 1556920"/>
                <a:gd name="connsiteY4968" fmla="*/ 1520256 h 1898459"/>
                <a:gd name="connsiteX4969" fmla="*/ 881920 w 1556920"/>
                <a:gd name="connsiteY4969" fmla="*/ 1520256 h 1898459"/>
                <a:gd name="connsiteX4970" fmla="*/ 883160 w 1556920"/>
                <a:gd name="connsiteY4970" fmla="*/ 1519560 h 1898459"/>
                <a:gd name="connsiteX4971" fmla="*/ 888848 w 1556920"/>
                <a:gd name="connsiteY4971" fmla="*/ 1519076 h 1898459"/>
                <a:gd name="connsiteX4972" fmla="*/ 891752 w 1556920"/>
                <a:gd name="connsiteY4972" fmla="*/ 1517957 h 1898459"/>
                <a:gd name="connsiteX4973" fmla="*/ 892932 w 1556920"/>
                <a:gd name="connsiteY4973" fmla="*/ 1517200 h 1898459"/>
                <a:gd name="connsiteX4974" fmla="*/ 892932 w 1556920"/>
                <a:gd name="connsiteY4974" fmla="*/ 1518320 h 1898459"/>
                <a:gd name="connsiteX4975" fmla="*/ 889090 w 1556920"/>
                <a:gd name="connsiteY4975" fmla="*/ 1519197 h 1898459"/>
                <a:gd name="connsiteX4976" fmla="*/ 887456 w 1556920"/>
                <a:gd name="connsiteY4976" fmla="*/ 1522252 h 1898459"/>
                <a:gd name="connsiteX4977" fmla="*/ 888001 w 1556920"/>
                <a:gd name="connsiteY4977" fmla="*/ 1525882 h 1898459"/>
                <a:gd name="connsiteX4978" fmla="*/ 890874 w 1556920"/>
                <a:gd name="connsiteY4978" fmla="*/ 1528514 h 1898459"/>
                <a:gd name="connsiteX4979" fmla="*/ 890874 w 1556920"/>
                <a:gd name="connsiteY4979" fmla="*/ 1529452 h 1898459"/>
                <a:gd name="connsiteX4980" fmla="*/ 889543 w 1556920"/>
                <a:gd name="connsiteY4980" fmla="*/ 1528786 h 1898459"/>
                <a:gd name="connsiteX4981" fmla="*/ 888515 w 1556920"/>
                <a:gd name="connsiteY4981" fmla="*/ 1529029 h 1898459"/>
                <a:gd name="connsiteX4982" fmla="*/ 886065 w 1556920"/>
                <a:gd name="connsiteY4982" fmla="*/ 1530572 h 1898459"/>
                <a:gd name="connsiteX4983" fmla="*/ 881194 w 1556920"/>
                <a:gd name="connsiteY4983" fmla="*/ 1531509 h 1898459"/>
                <a:gd name="connsiteX4984" fmla="*/ 877836 w 1556920"/>
                <a:gd name="connsiteY4984" fmla="*/ 1533324 h 1898459"/>
                <a:gd name="connsiteX4985" fmla="*/ 876475 w 1556920"/>
                <a:gd name="connsiteY4985" fmla="*/ 1533627 h 1898459"/>
                <a:gd name="connsiteX4986" fmla="*/ 875023 w 1556920"/>
                <a:gd name="connsiteY4986" fmla="*/ 1533415 h 1898459"/>
                <a:gd name="connsiteX4987" fmla="*/ 872391 w 1556920"/>
                <a:gd name="connsiteY4987" fmla="*/ 1532568 h 1898459"/>
                <a:gd name="connsiteX4988" fmla="*/ 870909 w 1556920"/>
                <a:gd name="connsiteY4988" fmla="*/ 1532568 h 1898459"/>
                <a:gd name="connsiteX4989" fmla="*/ 871120 w 1556920"/>
                <a:gd name="connsiteY4989" fmla="*/ 1533113 h 1898459"/>
                <a:gd name="connsiteX4990" fmla="*/ 871392 w 1556920"/>
                <a:gd name="connsiteY4990" fmla="*/ 1534232 h 1898459"/>
                <a:gd name="connsiteX4991" fmla="*/ 871604 w 1556920"/>
                <a:gd name="connsiteY4991" fmla="*/ 1534746 h 1898459"/>
                <a:gd name="connsiteX4992" fmla="*/ 863890 w 1556920"/>
                <a:gd name="connsiteY4992" fmla="*/ 1533717 h 1898459"/>
                <a:gd name="connsiteX4993" fmla="*/ 863255 w 1556920"/>
                <a:gd name="connsiteY4993" fmla="*/ 1534746 h 1898459"/>
                <a:gd name="connsiteX4994" fmla="*/ 865191 w 1556920"/>
                <a:gd name="connsiteY4994" fmla="*/ 1536803 h 1898459"/>
                <a:gd name="connsiteX4995" fmla="*/ 870152 w 1556920"/>
                <a:gd name="connsiteY4995" fmla="*/ 1537953 h 1898459"/>
                <a:gd name="connsiteX4996" fmla="*/ 871604 w 1556920"/>
                <a:gd name="connsiteY4996" fmla="*/ 1540857 h 1898459"/>
                <a:gd name="connsiteX4997" fmla="*/ 870666 w 1556920"/>
                <a:gd name="connsiteY4997" fmla="*/ 1542430 h 1898459"/>
                <a:gd name="connsiteX4998" fmla="*/ 873087 w 1556920"/>
                <a:gd name="connsiteY4998" fmla="*/ 1544033 h 1898459"/>
                <a:gd name="connsiteX4999" fmla="*/ 879651 w 1556920"/>
                <a:gd name="connsiteY4999" fmla="*/ 1546000 h 1898459"/>
                <a:gd name="connsiteX5000" fmla="*/ 880710 w 1556920"/>
                <a:gd name="connsiteY5000" fmla="*/ 1546786 h 1898459"/>
                <a:gd name="connsiteX5001" fmla="*/ 881224 w 1556920"/>
                <a:gd name="connsiteY5001" fmla="*/ 1546937 h 1898459"/>
                <a:gd name="connsiteX5002" fmla="*/ 882132 w 1556920"/>
                <a:gd name="connsiteY5002" fmla="*/ 1546574 h 1898459"/>
                <a:gd name="connsiteX5003" fmla="*/ 882949 w 1556920"/>
                <a:gd name="connsiteY5003" fmla="*/ 1545122 h 1898459"/>
                <a:gd name="connsiteX5004" fmla="*/ 884854 w 1556920"/>
                <a:gd name="connsiteY5004" fmla="*/ 1544366 h 1898459"/>
                <a:gd name="connsiteX5005" fmla="*/ 885762 w 1556920"/>
                <a:gd name="connsiteY5005" fmla="*/ 1543277 h 1898459"/>
                <a:gd name="connsiteX5006" fmla="*/ 886548 w 1556920"/>
                <a:gd name="connsiteY5006" fmla="*/ 1541946 h 1898459"/>
                <a:gd name="connsiteX5007" fmla="*/ 887426 w 1556920"/>
                <a:gd name="connsiteY5007" fmla="*/ 1540826 h 1898459"/>
                <a:gd name="connsiteX5008" fmla="*/ 888969 w 1556920"/>
                <a:gd name="connsiteY5008" fmla="*/ 1539828 h 1898459"/>
                <a:gd name="connsiteX5009" fmla="*/ 890481 w 1556920"/>
                <a:gd name="connsiteY5009" fmla="*/ 1539496 h 1898459"/>
                <a:gd name="connsiteX5010" fmla="*/ 899466 w 1556920"/>
                <a:gd name="connsiteY5010" fmla="*/ 1539677 h 1898459"/>
                <a:gd name="connsiteX5011" fmla="*/ 901221 w 1556920"/>
                <a:gd name="connsiteY5011" fmla="*/ 1538013 h 1898459"/>
                <a:gd name="connsiteX5012" fmla="*/ 901916 w 1556920"/>
                <a:gd name="connsiteY5012" fmla="*/ 1537529 h 1898459"/>
                <a:gd name="connsiteX5013" fmla="*/ 903278 w 1556920"/>
                <a:gd name="connsiteY5013" fmla="*/ 1538588 h 1898459"/>
                <a:gd name="connsiteX5014" fmla="*/ 904185 w 1556920"/>
                <a:gd name="connsiteY5014" fmla="*/ 1538891 h 1898459"/>
                <a:gd name="connsiteX5015" fmla="*/ 906030 w 1556920"/>
                <a:gd name="connsiteY5015" fmla="*/ 1534686 h 1898459"/>
                <a:gd name="connsiteX5016" fmla="*/ 906272 w 1556920"/>
                <a:gd name="connsiteY5016" fmla="*/ 1533566 h 1898459"/>
                <a:gd name="connsiteX5017" fmla="*/ 906272 w 1556920"/>
                <a:gd name="connsiteY5017" fmla="*/ 1532991 h 1898459"/>
                <a:gd name="connsiteX5018" fmla="*/ 906484 w 1556920"/>
                <a:gd name="connsiteY5018" fmla="*/ 1532750 h 1898459"/>
                <a:gd name="connsiteX5019" fmla="*/ 907422 w 1556920"/>
                <a:gd name="connsiteY5019" fmla="*/ 1532568 h 1898459"/>
                <a:gd name="connsiteX5020" fmla="*/ 907634 w 1556920"/>
                <a:gd name="connsiteY5020" fmla="*/ 1528877 h 1898459"/>
                <a:gd name="connsiteX5021" fmla="*/ 910931 w 1556920"/>
                <a:gd name="connsiteY5021" fmla="*/ 1526699 h 1898459"/>
                <a:gd name="connsiteX5022" fmla="*/ 911536 w 1556920"/>
                <a:gd name="connsiteY5022" fmla="*/ 1526548 h 1898459"/>
                <a:gd name="connsiteX5023" fmla="*/ 915136 w 1556920"/>
                <a:gd name="connsiteY5023" fmla="*/ 1525641 h 1898459"/>
                <a:gd name="connsiteX5024" fmla="*/ 918071 w 1556920"/>
                <a:gd name="connsiteY5024" fmla="*/ 1525338 h 1898459"/>
                <a:gd name="connsiteX5025" fmla="*/ 925664 w 1556920"/>
                <a:gd name="connsiteY5025" fmla="*/ 1526276 h 1898459"/>
                <a:gd name="connsiteX5026" fmla="*/ 929506 w 1556920"/>
                <a:gd name="connsiteY5026" fmla="*/ 1526124 h 1898459"/>
                <a:gd name="connsiteX5027" fmla="*/ 932954 w 1556920"/>
                <a:gd name="connsiteY5027" fmla="*/ 1524400 h 1898459"/>
                <a:gd name="connsiteX5028" fmla="*/ 931442 w 1556920"/>
                <a:gd name="connsiteY5028" fmla="*/ 1522978 h 1898459"/>
                <a:gd name="connsiteX5029" fmla="*/ 930655 w 1556920"/>
                <a:gd name="connsiteY5029" fmla="*/ 1521556 h 1898459"/>
                <a:gd name="connsiteX5030" fmla="*/ 931018 w 1556920"/>
                <a:gd name="connsiteY5030" fmla="*/ 1520528 h 1898459"/>
                <a:gd name="connsiteX5031" fmla="*/ 932954 w 1556920"/>
                <a:gd name="connsiteY5031" fmla="*/ 1520225 h 1898459"/>
                <a:gd name="connsiteX5032" fmla="*/ 933831 w 1556920"/>
                <a:gd name="connsiteY5032" fmla="*/ 1521345 h 1898459"/>
                <a:gd name="connsiteX5033" fmla="*/ 934679 w 1556920"/>
                <a:gd name="connsiteY5033" fmla="*/ 1522040 h 1898459"/>
                <a:gd name="connsiteX5034" fmla="*/ 935707 w 1556920"/>
                <a:gd name="connsiteY5034" fmla="*/ 1522283 h 1898459"/>
                <a:gd name="connsiteX5035" fmla="*/ 936312 w 1556920"/>
                <a:gd name="connsiteY5035" fmla="*/ 1521950 h 1898459"/>
                <a:gd name="connsiteX5036" fmla="*/ 937129 w 1556920"/>
                <a:gd name="connsiteY5036" fmla="*/ 1520740 h 1898459"/>
                <a:gd name="connsiteX5037" fmla="*/ 937704 w 1556920"/>
                <a:gd name="connsiteY5037" fmla="*/ 1520225 h 1898459"/>
                <a:gd name="connsiteX5038" fmla="*/ 938490 w 1556920"/>
                <a:gd name="connsiteY5038" fmla="*/ 1518622 h 1898459"/>
                <a:gd name="connsiteX5039" fmla="*/ 939125 w 1556920"/>
                <a:gd name="connsiteY5039" fmla="*/ 1518168 h 1898459"/>
                <a:gd name="connsiteX5040" fmla="*/ 939821 w 1556920"/>
                <a:gd name="connsiteY5040" fmla="*/ 1519197 h 1898459"/>
                <a:gd name="connsiteX5041" fmla="*/ 939821 w 1556920"/>
                <a:gd name="connsiteY5041" fmla="*/ 1520528 h 1898459"/>
                <a:gd name="connsiteX5042" fmla="*/ 939337 w 1556920"/>
                <a:gd name="connsiteY5042" fmla="*/ 1521919 h 1898459"/>
                <a:gd name="connsiteX5043" fmla="*/ 938762 w 1556920"/>
                <a:gd name="connsiteY5043" fmla="*/ 1522948 h 1898459"/>
                <a:gd name="connsiteX5044" fmla="*/ 938460 w 1556920"/>
                <a:gd name="connsiteY5044" fmla="*/ 1523281 h 1898459"/>
                <a:gd name="connsiteX5045" fmla="*/ 939398 w 1556920"/>
                <a:gd name="connsiteY5045" fmla="*/ 1525066 h 1898459"/>
                <a:gd name="connsiteX5046" fmla="*/ 940941 w 1556920"/>
                <a:gd name="connsiteY5046" fmla="*/ 1526124 h 1898459"/>
                <a:gd name="connsiteX5047" fmla="*/ 942816 w 1556920"/>
                <a:gd name="connsiteY5047" fmla="*/ 1526548 h 1898459"/>
                <a:gd name="connsiteX5048" fmla="*/ 944662 w 1556920"/>
                <a:gd name="connsiteY5048" fmla="*/ 1526457 h 1898459"/>
                <a:gd name="connsiteX5049" fmla="*/ 943693 w 1556920"/>
                <a:gd name="connsiteY5049" fmla="*/ 1527788 h 1898459"/>
                <a:gd name="connsiteX5050" fmla="*/ 941878 w 1556920"/>
                <a:gd name="connsiteY5050" fmla="*/ 1528000 h 1898459"/>
                <a:gd name="connsiteX5051" fmla="*/ 937734 w 1556920"/>
                <a:gd name="connsiteY5051" fmla="*/ 1527486 h 1898459"/>
                <a:gd name="connsiteX5052" fmla="*/ 939035 w 1556920"/>
                <a:gd name="connsiteY5052" fmla="*/ 1530238 h 1898459"/>
                <a:gd name="connsiteX5053" fmla="*/ 941455 w 1556920"/>
                <a:gd name="connsiteY5053" fmla="*/ 1532871 h 1898459"/>
                <a:gd name="connsiteX5054" fmla="*/ 944177 w 1556920"/>
                <a:gd name="connsiteY5054" fmla="*/ 1534867 h 1898459"/>
                <a:gd name="connsiteX5055" fmla="*/ 946356 w 1556920"/>
                <a:gd name="connsiteY5055" fmla="*/ 1535623 h 1898459"/>
                <a:gd name="connsiteX5056" fmla="*/ 954281 w 1556920"/>
                <a:gd name="connsiteY5056" fmla="*/ 1534534 h 1898459"/>
                <a:gd name="connsiteX5057" fmla="*/ 955734 w 1556920"/>
                <a:gd name="connsiteY5057" fmla="*/ 1533597 h 1898459"/>
                <a:gd name="connsiteX5058" fmla="*/ 961179 w 1556920"/>
                <a:gd name="connsiteY5058" fmla="*/ 1536410 h 1898459"/>
                <a:gd name="connsiteX5059" fmla="*/ 965142 w 1556920"/>
                <a:gd name="connsiteY5059" fmla="*/ 1536833 h 1898459"/>
                <a:gd name="connsiteX5060" fmla="*/ 966291 w 1556920"/>
                <a:gd name="connsiteY5060" fmla="*/ 1536712 h 1898459"/>
                <a:gd name="connsiteX5061" fmla="*/ 967108 w 1556920"/>
                <a:gd name="connsiteY5061" fmla="*/ 1536138 h 1898459"/>
                <a:gd name="connsiteX5062" fmla="*/ 968288 w 1556920"/>
                <a:gd name="connsiteY5062" fmla="*/ 1534806 h 1898459"/>
                <a:gd name="connsiteX5063" fmla="*/ 968772 w 1556920"/>
                <a:gd name="connsiteY5063" fmla="*/ 1535079 h 1898459"/>
                <a:gd name="connsiteX5064" fmla="*/ 968772 w 1556920"/>
                <a:gd name="connsiteY5064" fmla="*/ 1535321 h 1898459"/>
                <a:gd name="connsiteX5065" fmla="*/ 968863 w 1556920"/>
                <a:gd name="connsiteY5065" fmla="*/ 1536107 h 1898459"/>
                <a:gd name="connsiteX5066" fmla="*/ 968863 w 1556920"/>
                <a:gd name="connsiteY5066" fmla="*/ 1537106 h 1898459"/>
                <a:gd name="connsiteX5067" fmla="*/ 966715 w 1556920"/>
                <a:gd name="connsiteY5067" fmla="*/ 1540434 h 1898459"/>
                <a:gd name="connsiteX5068" fmla="*/ 961905 w 1556920"/>
                <a:gd name="connsiteY5068" fmla="*/ 1541553 h 1898459"/>
                <a:gd name="connsiteX5069" fmla="*/ 956762 w 1556920"/>
                <a:gd name="connsiteY5069" fmla="*/ 1541855 h 1898459"/>
                <a:gd name="connsiteX5070" fmla="*/ 953646 w 1556920"/>
                <a:gd name="connsiteY5070" fmla="*/ 1542823 h 1898459"/>
                <a:gd name="connsiteX5071" fmla="*/ 952950 w 1556920"/>
                <a:gd name="connsiteY5071" fmla="*/ 1542188 h 1898459"/>
                <a:gd name="connsiteX5072" fmla="*/ 952255 w 1556920"/>
                <a:gd name="connsiteY5072" fmla="*/ 1541734 h 1898459"/>
                <a:gd name="connsiteX5073" fmla="*/ 952255 w 1556920"/>
                <a:gd name="connsiteY5073" fmla="*/ 1540826 h 1898459"/>
                <a:gd name="connsiteX5074" fmla="*/ 952890 w 1556920"/>
                <a:gd name="connsiteY5074" fmla="*/ 1540826 h 1898459"/>
                <a:gd name="connsiteX5075" fmla="*/ 952255 w 1556920"/>
                <a:gd name="connsiteY5075" fmla="*/ 1539707 h 1898459"/>
                <a:gd name="connsiteX5076" fmla="*/ 951589 w 1556920"/>
                <a:gd name="connsiteY5076" fmla="*/ 1540554 h 1898459"/>
                <a:gd name="connsiteX5077" fmla="*/ 950500 w 1556920"/>
                <a:gd name="connsiteY5077" fmla="*/ 1542369 h 1898459"/>
                <a:gd name="connsiteX5078" fmla="*/ 950107 w 1556920"/>
                <a:gd name="connsiteY5078" fmla="*/ 1542853 h 1898459"/>
                <a:gd name="connsiteX5079" fmla="*/ 946688 w 1556920"/>
                <a:gd name="connsiteY5079" fmla="*/ 1543882 h 1898459"/>
                <a:gd name="connsiteX5080" fmla="*/ 946688 w 1556920"/>
                <a:gd name="connsiteY5080" fmla="*/ 1546181 h 1898459"/>
                <a:gd name="connsiteX5081" fmla="*/ 947596 w 1556920"/>
                <a:gd name="connsiteY5081" fmla="*/ 1548057 h 1898459"/>
                <a:gd name="connsiteX5082" fmla="*/ 947838 w 1556920"/>
                <a:gd name="connsiteY5082" fmla="*/ 1549630 h 1898459"/>
                <a:gd name="connsiteX5083" fmla="*/ 945932 w 1556920"/>
                <a:gd name="connsiteY5083" fmla="*/ 1550961 h 1898459"/>
                <a:gd name="connsiteX5084" fmla="*/ 946144 w 1556920"/>
                <a:gd name="connsiteY5084" fmla="*/ 1552050 h 1898459"/>
                <a:gd name="connsiteX5085" fmla="*/ 946325 w 1556920"/>
                <a:gd name="connsiteY5085" fmla="*/ 1552474 h 1898459"/>
                <a:gd name="connsiteX5086" fmla="*/ 946658 w 1556920"/>
                <a:gd name="connsiteY5086" fmla="*/ 1553018 h 1898459"/>
                <a:gd name="connsiteX5087" fmla="*/ 948413 w 1556920"/>
                <a:gd name="connsiteY5087" fmla="*/ 1553139 h 1898459"/>
                <a:gd name="connsiteX5088" fmla="*/ 954342 w 1556920"/>
                <a:gd name="connsiteY5088" fmla="*/ 1555468 h 1898459"/>
                <a:gd name="connsiteX5089" fmla="*/ 955643 w 1556920"/>
                <a:gd name="connsiteY5089" fmla="*/ 1555529 h 1898459"/>
                <a:gd name="connsiteX5090" fmla="*/ 956036 w 1556920"/>
                <a:gd name="connsiteY5090" fmla="*/ 1553956 h 1898459"/>
                <a:gd name="connsiteX5091" fmla="*/ 956944 w 1556920"/>
                <a:gd name="connsiteY5091" fmla="*/ 1554047 h 1898459"/>
                <a:gd name="connsiteX5092" fmla="*/ 958063 w 1556920"/>
                <a:gd name="connsiteY5092" fmla="*/ 1554712 h 1898459"/>
                <a:gd name="connsiteX5093" fmla="*/ 959092 w 1556920"/>
                <a:gd name="connsiteY5093" fmla="*/ 1554984 h 1898459"/>
                <a:gd name="connsiteX5094" fmla="*/ 960059 w 1556920"/>
                <a:gd name="connsiteY5094" fmla="*/ 1554440 h 1898459"/>
                <a:gd name="connsiteX5095" fmla="*/ 961481 w 1556920"/>
                <a:gd name="connsiteY5095" fmla="*/ 1552867 h 1898459"/>
                <a:gd name="connsiteX5096" fmla="*/ 962540 w 1556920"/>
                <a:gd name="connsiteY5096" fmla="*/ 1551959 h 1898459"/>
                <a:gd name="connsiteX5097" fmla="*/ 963599 w 1556920"/>
                <a:gd name="connsiteY5097" fmla="*/ 1551505 h 1898459"/>
                <a:gd name="connsiteX5098" fmla="*/ 964567 w 1556920"/>
                <a:gd name="connsiteY5098" fmla="*/ 1551566 h 1898459"/>
                <a:gd name="connsiteX5099" fmla="*/ 967078 w 1556920"/>
                <a:gd name="connsiteY5099" fmla="*/ 1552111 h 1898459"/>
                <a:gd name="connsiteX5100" fmla="*/ 968137 w 1556920"/>
                <a:gd name="connsiteY5100" fmla="*/ 1552867 h 1898459"/>
                <a:gd name="connsiteX5101" fmla="*/ 968802 w 1556920"/>
                <a:gd name="connsiteY5101" fmla="*/ 1553078 h 1898459"/>
                <a:gd name="connsiteX5102" fmla="*/ 969256 w 1556920"/>
                <a:gd name="connsiteY5102" fmla="*/ 1552776 h 1898459"/>
                <a:gd name="connsiteX5103" fmla="*/ 970194 w 1556920"/>
                <a:gd name="connsiteY5103" fmla="*/ 1551354 h 1898459"/>
                <a:gd name="connsiteX5104" fmla="*/ 970527 w 1556920"/>
                <a:gd name="connsiteY5104" fmla="*/ 1551022 h 1898459"/>
                <a:gd name="connsiteX5105" fmla="*/ 971192 w 1556920"/>
                <a:gd name="connsiteY5105" fmla="*/ 1551142 h 1898459"/>
                <a:gd name="connsiteX5106" fmla="*/ 971979 w 1556920"/>
                <a:gd name="connsiteY5106" fmla="*/ 1551475 h 1898459"/>
                <a:gd name="connsiteX5107" fmla="*/ 972644 w 1556920"/>
                <a:gd name="connsiteY5107" fmla="*/ 1551929 h 1898459"/>
                <a:gd name="connsiteX5108" fmla="*/ 972916 w 1556920"/>
                <a:gd name="connsiteY5108" fmla="*/ 1552504 h 1898459"/>
                <a:gd name="connsiteX5109" fmla="*/ 973189 w 1556920"/>
                <a:gd name="connsiteY5109" fmla="*/ 1553290 h 1898459"/>
                <a:gd name="connsiteX5110" fmla="*/ 973763 w 1556920"/>
                <a:gd name="connsiteY5110" fmla="*/ 1553018 h 1898459"/>
                <a:gd name="connsiteX5111" fmla="*/ 974247 w 1556920"/>
                <a:gd name="connsiteY5111" fmla="*/ 1552352 h 1898459"/>
                <a:gd name="connsiteX5112" fmla="*/ 974247 w 1556920"/>
                <a:gd name="connsiteY5112" fmla="*/ 1551959 h 1898459"/>
                <a:gd name="connsiteX5113" fmla="*/ 978422 w 1556920"/>
                <a:gd name="connsiteY5113" fmla="*/ 1551959 h 1898459"/>
                <a:gd name="connsiteX5114" fmla="*/ 977696 w 1556920"/>
                <a:gd name="connsiteY5114" fmla="*/ 1550688 h 1898459"/>
                <a:gd name="connsiteX5115" fmla="*/ 976637 w 1556920"/>
                <a:gd name="connsiteY5115" fmla="*/ 1549297 h 1898459"/>
                <a:gd name="connsiteX5116" fmla="*/ 975881 w 1556920"/>
                <a:gd name="connsiteY5116" fmla="*/ 1547845 h 1898459"/>
                <a:gd name="connsiteX5117" fmla="*/ 976002 w 1556920"/>
                <a:gd name="connsiteY5117" fmla="*/ 1546454 h 1898459"/>
                <a:gd name="connsiteX5118" fmla="*/ 976879 w 1556920"/>
                <a:gd name="connsiteY5118" fmla="*/ 1545546 h 1898459"/>
                <a:gd name="connsiteX5119" fmla="*/ 978210 w 1556920"/>
                <a:gd name="connsiteY5119" fmla="*/ 1544759 h 1898459"/>
                <a:gd name="connsiteX5120" fmla="*/ 979632 w 1556920"/>
                <a:gd name="connsiteY5120" fmla="*/ 1544185 h 1898459"/>
                <a:gd name="connsiteX5121" fmla="*/ 987225 w 1556920"/>
                <a:gd name="connsiteY5121" fmla="*/ 1543338 h 1898459"/>
                <a:gd name="connsiteX5122" fmla="*/ 990432 w 1556920"/>
                <a:gd name="connsiteY5122" fmla="*/ 1542975 h 1898459"/>
                <a:gd name="connsiteX5123" fmla="*/ 991763 w 1556920"/>
                <a:gd name="connsiteY5123" fmla="*/ 1543307 h 1898459"/>
                <a:gd name="connsiteX5124" fmla="*/ 992671 w 1556920"/>
                <a:gd name="connsiteY5124" fmla="*/ 1544185 h 1898459"/>
                <a:gd name="connsiteX5125" fmla="*/ 994244 w 1556920"/>
                <a:gd name="connsiteY5125" fmla="*/ 1547028 h 1898459"/>
                <a:gd name="connsiteX5126" fmla="*/ 995181 w 1556920"/>
                <a:gd name="connsiteY5126" fmla="*/ 1548117 h 1898459"/>
                <a:gd name="connsiteX5127" fmla="*/ 996936 w 1556920"/>
                <a:gd name="connsiteY5127" fmla="*/ 1549176 h 1898459"/>
                <a:gd name="connsiteX5128" fmla="*/ 997753 w 1556920"/>
                <a:gd name="connsiteY5128" fmla="*/ 1549962 h 1898459"/>
                <a:gd name="connsiteX5129" fmla="*/ 998963 w 1556920"/>
                <a:gd name="connsiteY5129" fmla="*/ 1551959 h 1898459"/>
                <a:gd name="connsiteX5130" fmla="*/ 1000082 w 1556920"/>
                <a:gd name="connsiteY5130" fmla="*/ 1554410 h 1898459"/>
                <a:gd name="connsiteX5131" fmla="*/ 1000778 w 1556920"/>
                <a:gd name="connsiteY5131" fmla="*/ 1556436 h 1898459"/>
                <a:gd name="connsiteX5132" fmla="*/ 1001050 w 1556920"/>
                <a:gd name="connsiteY5132" fmla="*/ 1557193 h 1898459"/>
                <a:gd name="connsiteX5133" fmla="*/ 1001807 w 1556920"/>
                <a:gd name="connsiteY5133" fmla="*/ 1560127 h 1898459"/>
                <a:gd name="connsiteX5134" fmla="*/ 1001534 w 1556920"/>
                <a:gd name="connsiteY5134" fmla="*/ 1560218 h 1898459"/>
                <a:gd name="connsiteX5135" fmla="*/ 1001201 w 1556920"/>
                <a:gd name="connsiteY5135" fmla="*/ 1560309 h 1898459"/>
                <a:gd name="connsiteX5136" fmla="*/ 1001020 w 1556920"/>
                <a:gd name="connsiteY5136" fmla="*/ 1560550 h 1898459"/>
                <a:gd name="connsiteX5137" fmla="*/ 1001141 w 1556920"/>
                <a:gd name="connsiteY5137" fmla="*/ 1561186 h 1898459"/>
                <a:gd name="connsiteX5138" fmla="*/ 1002200 w 1556920"/>
                <a:gd name="connsiteY5138" fmla="*/ 1562699 h 1898459"/>
                <a:gd name="connsiteX5139" fmla="*/ 1004196 w 1556920"/>
                <a:gd name="connsiteY5139" fmla="*/ 1564514 h 1898459"/>
                <a:gd name="connsiteX5140" fmla="*/ 1006465 w 1556920"/>
                <a:gd name="connsiteY5140" fmla="*/ 1565572 h 1898459"/>
                <a:gd name="connsiteX5141" fmla="*/ 1008341 w 1556920"/>
                <a:gd name="connsiteY5141" fmla="*/ 1564755 h 1898459"/>
                <a:gd name="connsiteX5142" fmla="*/ 1009732 w 1556920"/>
                <a:gd name="connsiteY5142" fmla="*/ 1564877 h 1898459"/>
                <a:gd name="connsiteX5143" fmla="*/ 1015631 w 1556920"/>
                <a:gd name="connsiteY5143" fmla="*/ 1569414 h 1898459"/>
                <a:gd name="connsiteX5144" fmla="*/ 1018596 w 1556920"/>
                <a:gd name="connsiteY5144" fmla="*/ 1573135 h 1898459"/>
                <a:gd name="connsiteX5145" fmla="*/ 1020381 w 1556920"/>
                <a:gd name="connsiteY5145" fmla="*/ 1575404 h 1898459"/>
                <a:gd name="connsiteX5146" fmla="*/ 1022226 w 1556920"/>
                <a:gd name="connsiteY5146" fmla="*/ 1576372 h 1898459"/>
                <a:gd name="connsiteX5147" fmla="*/ 1047365 w 1556920"/>
                <a:gd name="connsiteY5147" fmla="*/ 1578490 h 1898459"/>
                <a:gd name="connsiteX5148" fmla="*/ 1054474 w 1556920"/>
                <a:gd name="connsiteY5148" fmla="*/ 1575737 h 1898459"/>
                <a:gd name="connsiteX5149" fmla="*/ 1055957 w 1556920"/>
                <a:gd name="connsiteY5149" fmla="*/ 1575918 h 1898459"/>
                <a:gd name="connsiteX5150" fmla="*/ 1057893 w 1556920"/>
                <a:gd name="connsiteY5150" fmla="*/ 1576493 h 1898459"/>
                <a:gd name="connsiteX5151" fmla="*/ 1059678 w 1556920"/>
                <a:gd name="connsiteY5151" fmla="*/ 1574587 h 1898459"/>
                <a:gd name="connsiteX5152" fmla="*/ 1060404 w 1556920"/>
                <a:gd name="connsiteY5152" fmla="*/ 1571411 h 1898459"/>
                <a:gd name="connsiteX5153" fmla="*/ 1059133 w 1556920"/>
                <a:gd name="connsiteY5153" fmla="*/ 1568265 h 1898459"/>
                <a:gd name="connsiteX5154" fmla="*/ 1059163 w 1556920"/>
                <a:gd name="connsiteY5154" fmla="*/ 1568265 h 1898459"/>
                <a:gd name="connsiteX5155" fmla="*/ 1059738 w 1556920"/>
                <a:gd name="connsiteY5155" fmla="*/ 1567841 h 1898459"/>
                <a:gd name="connsiteX5156" fmla="*/ 1061160 w 1556920"/>
                <a:gd name="connsiteY5156" fmla="*/ 1567660 h 1898459"/>
                <a:gd name="connsiteX5157" fmla="*/ 1061886 w 1556920"/>
                <a:gd name="connsiteY5157" fmla="*/ 1567267 h 1898459"/>
                <a:gd name="connsiteX5158" fmla="*/ 1062340 w 1556920"/>
                <a:gd name="connsiteY5158" fmla="*/ 1566540 h 1898459"/>
                <a:gd name="connsiteX5159" fmla="*/ 1062914 w 1556920"/>
                <a:gd name="connsiteY5159" fmla="*/ 1564846 h 1898459"/>
                <a:gd name="connsiteX5160" fmla="*/ 1063247 w 1556920"/>
                <a:gd name="connsiteY5160" fmla="*/ 1564241 h 1898459"/>
                <a:gd name="connsiteX5161" fmla="*/ 1065879 w 1556920"/>
                <a:gd name="connsiteY5161" fmla="*/ 1561730 h 1898459"/>
                <a:gd name="connsiteX5162" fmla="*/ 1067543 w 1556920"/>
                <a:gd name="connsiteY5162" fmla="*/ 1560581 h 1898459"/>
                <a:gd name="connsiteX5163" fmla="*/ 1068813 w 1556920"/>
                <a:gd name="connsiteY5163" fmla="*/ 1560187 h 1898459"/>
                <a:gd name="connsiteX5164" fmla="*/ 1069086 w 1556920"/>
                <a:gd name="connsiteY5164" fmla="*/ 1560097 h 1898459"/>
                <a:gd name="connsiteX5165" fmla="*/ 1074924 w 1556920"/>
                <a:gd name="connsiteY5165" fmla="*/ 1556648 h 1898459"/>
                <a:gd name="connsiteX5166" fmla="*/ 1075469 w 1556920"/>
                <a:gd name="connsiteY5166" fmla="*/ 1555680 h 1898459"/>
                <a:gd name="connsiteX5167" fmla="*/ 1078101 w 1556920"/>
                <a:gd name="connsiteY5167" fmla="*/ 1552625 h 1898459"/>
                <a:gd name="connsiteX5168" fmla="*/ 1079038 w 1556920"/>
                <a:gd name="connsiteY5168" fmla="*/ 1551959 h 1898459"/>
                <a:gd name="connsiteX5169" fmla="*/ 1079553 w 1556920"/>
                <a:gd name="connsiteY5169" fmla="*/ 1552413 h 1898459"/>
                <a:gd name="connsiteX5170" fmla="*/ 1080097 w 1556920"/>
                <a:gd name="connsiteY5170" fmla="*/ 1553472 h 1898459"/>
                <a:gd name="connsiteX5171" fmla="*/ 1080884 w 1556920"/>
                <a:gd name="connsiteY5171" fmla="*/ 1554530 h 1898459"/>
                <a:gd name="connsiteX5172" fmla="*/ 1082185 w 1556920"/>
                <a:gd name="connsiteY5172" fmla="*/ 1554984 h 1898459"/>
                <a:gd name="connsiteX5173" fmla="*/ 1090715 w 1556920"/>
                <a:gd name="connsiteY5173" fmla="*/ 1554440 h 1898459"/>
                <a:gd name="connsiteX5174" fmla="*/ 1094981 w 1556920"/>
                <a:gd name="connsiteY5174" fmla="*/ 1553048 h 1898459"/>
                <a:gd name="connsiteX5175" fmla="*/ 1096826 w 1556920"/>
                <a:gd name="connsiteY5175" fmla="*/ 1551868 h 1898459"/>
                <a:gd name="connsiteX5176" fmla="*/ 1100608 w 1556920"/>
                <a:gd name="connsiteY5176" fmla="*/ 1549448 h 1898459"/>
                <a:gd name="connsiteX5177" fmla="*/ 1105357 w 1556920"/>
                <a:gd name="connsiteY5177" fmla="*/ 1548420 h 1898459"/>
                <a:gd name="connsiteX5178" fmla="*/ 1107293 w 1556920"/>
                <a:gd name="connsiteY5178" fmla="*/ 1546998 h 1898459"/>
                <a:gd name="connsiteX5179" fmla="*/ 1110167 w 1556920"/>
                <a:gd name="connsiteY5179" fmla="*/ 1543852 h 1898459"/>
                <a:gd name="connsiteX5180" fmla="*/ 1110167 w 1556920"/>
                <a:gd name="connsiteY5180" fmla="*/ 1543852 h 1898459"/>
                <a:gd name="connsiteX5181" fmla="*/ 1116732 w 1556920"/>
                <a:gd name="connsiteY5181" fmla="*/ 1536652 h 1898459"/>
                <a:gd name="connsiteX5182" fmla="*/ 1117639 w 1556920"/>
                <a:gd name="connsiteY5182" fmla="*/ 1535200 h 1898459"/>
                <a:gd name="connsiteX5183" fmla="*/ 1118577 w 1556920"/>
                <a:gd name="connsiteY5183" fmla="*/ 1534262 h 1898459"/>
                <a:gd name="connsiteX5184" fmla="*/ 1124567 w 1556920"/>
                <a:gd name="connsiteY5184" fmla="*/ 1530572 h 1898459"/>
                <a:gd name="connsiteX5185" fmla="*/ 1125989 w 1556920"/>
                <a:gd name="connsiteY5185" fmla="*/ 1528756 h 1898459"/>
                <a:gd name="connsiteX5186" fmla="*/ 1127199 w 1556920"/>
                <a:gd name="connsiteY5186" fmla="*/ 1526760 h 1898459"/>
                <a:gd name="connsiteX5187" fmla="*/ 1128590 w 1556920"/>
                <a:gd name="connsiteY5187" fmla="*/ 1525156 h 1898459"/>
                <a:gd name="connsiteX5188" fmla="*/ 1130466 w 1556920"/>
                <a:gd name="connsiteY5188" fmla="*/ 1524491 h 1898459"/>
                <a:gd name="connsiteX5189" fmla="*/ 1132463 w 1556920"/>
                <a:gd name="connsiteY5189" fmla="*/ 1524309 h 1898459"/>
                <a:gd name="connsiteX5190" fmla="*/ 1134792 w 1556920"/>
                <a:gd name="connsiteY5190" fmla="*/ 1523614 h 1898459"/>
                <a:gd name="connsiteX5191" fmla="*/ 1136607 w 1556920"/>
                <a:gd name="connsiteY5191" fmla="*/ 1522040 h 1898459"/>
                <a:gd name="connsiteX5192" fmla="*/ 1137061 w 1556920"/>
                <a:gd name="connsiteY5192" fmla="*/ 1519287 h 1898459"/>
                <a:gd name="connsiteX5193" fmla="*/ 1138543 w 1556920"/>
                <a:gd name="connsiteY5193" fmla="*/ 1520619 h 1898459"/>
                <a:gd name="connsiteX5194" fmla="*/ 1138815 w 1556920"/>
                <a:gd name="connsiteY5194" fmla="*/ 1522313 h 1898459"/>
                <a:gd name="connsiteX5195" fmla="*/ 1138029 w 1556920"/>
                <a:gd name="connsiteY5195" fmla="*/ 1524037 h 1898459"/>
                <a:gd name="connsiteX5196" fmla="*/ 1136395 w 1556920"/>
                <a:gd name="connsiteY5196" fmla="*/ 1525429 h 1898459"/>
                <a:gd name="connsiteX5197" fmla="*/ 1132069 w 1556920"/>
                <a:gd name="connsiteY5197" fmla="*/ 1526820 h 1898459"/>
                <a:gd name="connsiteX5198" fmla="*/ 1130345 w 1556920"/>
                <a:gd name="connsiteY5198" fmla="*/ 1527697 h 1898459"/>
                <a:gd name="connsiteX5199" fmla="*/ 1126896 w 1556920"/>
                <a:gd name="connsiteY5199" fmla="*/ 1532054 h 1898459"/>
                <a:gd name="connsiteX5200" fmla="*/ 1121148 w 1556920"/>
                <a:gd name="connsiteY5200" fmla="*/ 1537650 h 1898459"/>
                <a:gd name="connsiteX5201" fmla="*/ 1120543 w 1556920"/>
                <a:gd name="connsiteY5201" fmla="*/ 1538528 h 1898459"/>
                <a:gd name="connsiteX5202" fmla="*/ 1119878 w 1556920"/>
                <a:gd name="connsiteY5202" fmla="*/ 1539768 h 1898459"/>
                <a:gd name="connsiteX5203" fmla="*/ 1119333 w 1556920"/>
                <a:gd name="connsiteY5203" fmla="*/ 1541129 h 1898459"/>
                <a:gd name="connsiteX5204" fmla="*/ 1119091 w 1556920"/>
                <a:gd name="connsiteY5204" fmla="*/ 1542369 h 1898459"/>
                <a:gd name="connsiteX5205" fmla="*/ 1118728 w 1556920"/>
                <a:gd name="connsiteY5205" fmla="*/ 1543670 h 1898459"/>
                <a:gd name="connsiteX5206" fmla="*/ 1117851 w 1556920"/>
                <a:gd name="connsiteY5206" fmla="*/ 1544336 h 1898459"/>
                <a:gd name="connsiteX5207" fmla="*/ 1116822 w 1556920"/>
                <a:gd name="connsiteY5207" fmla="*/ 1544759 h 1898459"/>
                <a:gd name="connsiteX5208" fmla="*/ 1115975 w 1556920"/>
                <a:gd name="connsiteY5208" fmla="*/ 1545364 h 1898459"/>
                <a:gd name="connsiteX5209" fmla="*/ 1107082 w 1556920"/>
                <a:gd name="connsiteY5209" fmla="*/ 1559431 h 1898459"/>
                <a:gd name="connsiteX5210" fmla="*/ 1105055 w 1556920"/>
                <a:gd name="connsiteY5210" fmla="*/ 1561367 h 1898459"/>
                <a:gd name="connsiteX5211" fmla="*/ 1102937 w 1556920"/>
                <a:gd name="connsiteY5211" fmla="*/ 1562184 h 1898459"/>
                <a:gd name="connsiteX5212" fmla="*/ 1100547 w 1556920"/>
                <a:gd name="connsiteY5212" fmla="*/ 1562366 h 1898459"/>
                <a:gd name="connsiteX5213" fmla="*/ 1098581 w 1556920"/>
                <a:gd name="connsiteY5213" fmla="*/ 1562940 h 1898459"/>
                <a:gd name="connsiteX5214" fmla="*/ 1096796 w 1556920"/>
                <a:gd name="connsiteY5214" fmla="*/ 1563908 h 1898459"/>
                <a:gd name="connsiteX5215" fmla="*/ 1095011 w 1556920"/>
                <a:gd name="connsiteY5215" fmla="*/ 1565240 h 1898459"/>
                <a:gd name="connsiteX5216" fmla="*/ 1088205 w 1556920"/>
                <a:gd name="connsiteY5216" fmla="*/ 1573619 h 1898459"/>
                <a:gd name="connsiteX5217" fmla="*/ 1084484 w 1556920"/>
                <a:gd name="connsiteY5217" fmla="*/ 1576947 h 1898459"/>
                <a:gd name="connsiteX5218" fmla="*/ 1081277 w 1556920"/>
                <a:gd name="connsiteY5218" fmla="*/ 1576342 h 1898459"/>
                <a:gd name="connsiteX5219" fmla="*/ 1079099 w 1556920"/>
                <a:gd name="connsiteY5219" fmla="*/ 1578459 h 1898459"/>
                <a:gd name="connsiteX5220" fmla="*/ 1080612 w 1556920"/>
                <a:gd name="connsiteY5220" fmla="*/ 1579942 h 1898459"/>
                <a:gd name="connsiteX5221" fmla="*/ 1079976 w 1556920"/>
                <a:gd name="connsiteY5221" fmla="*/ 1581333 h 1898459"/>
                <a:gd name="connsiteX5222" fmla="*/ 1078585 w 1556920"/>
                <a:gd name="connsiteY5222" fmla="*/ 1582664 h 1898459"/>
                <a:gd name="connsiteX5223" fmla="*/ 1077798 w 1556920"/>
                <a:gd name="connsiteY5223" fmla="*/ 1584026 h 1898459"/>
                <a:gd name="connsiteX5224" fmla="*/ 1077738 w 1556920"/>
                <a:gd name="connsiteY5224" fmla="*/ 1586325 h 1898459"/>
                <a:gd name="connsiteX5225" fmla="*/ 1077375 w 1556920"/>
                <a:gd name="connsiteY5225" fmla="*/ 1587686 h 1898459"/>
                <a:gd name="connsiteX5226" fmla="*/ 1077375 w 1556920"/>
                <a:gd name="connsiteY5226" fmla="*/ 1587686 h 1898459"/>
                <a:gd name="connsiteX5227" fmla="*/ 1076346 w 1556920"/>
                <a:gd name="connsiteY5227" fmla="*/ 1588140 h 1898459"/>
                <a:gd name="connsiteX5228" fmla="*/ 1074380 w 1556920"/>
                <a:gd name="connsiteY5228" fmla="*/ 1587565 h 1898459"/>
                <a:gd name="connsiteX5229" fmla="*/ 1075529 w 1556920"/>
                <a:gd name="connsiteY5229" fmla="*/ 1589320 h 1898459"/>
                <a:gd name="connsiteX5230" fmla="*/ 1075832 w 1556920"/>
                <a:gd name="connsiteY5230" fmla="*/ 1592133 h 1898459"/>
                <a:gd name="connsiteX5231" fmla="*/ 1075771 w 1556920"/>
                <a:gd name="connsiteY5231" fmla="*/ 1597669 h 1898459"/>
                <a:gd name="connsiteX5232" fmla="*/ 1076104 w 1556920"/>
                <a:gd name="connsiteY5232" fmla="*/ 1599060 h 1898459"/>
                <a:gd name="connsiteX5233" fmla="*/ 1076467 w 1556920"/>
                <a:gd name="connsiteY5233" fmla="*/ 1599847 h 1898459"/>
                <a:gd name="connsiteX5234" fmla="*/ 1076649 w 1556920"/>
                <a:gd name="connsiteY5234" fmla="*/ 1600815 h 1898459"/>
                <a:gd name="connsiteX5235" fmla="*/ 1076467 w 1556920"/>
                <a:gd name="connsiteY5235" fmla="*/ 1602691 h 1898459"/>
                <a:gd name="connsiteX5236" fmla="*/ 1076104 w 1556920"/>
                <a:gd name="connsiteY5236" fmla="*/ 1603780 h 1898459"/>
                <a:gd name="connsiteX5237" fmla="*/ 1074380 w 1556920"/>
                <a:gd name="connsiteY5237" fmla="*/ 1606805 h 1898459"/>
                <a:gd name="connsiteX5238" fmla="*/ 1073018 w 1556920"/>
                <a:gd name="connsiteY5238" fmla="*/ 1605807 h 1898459"/>
                <a:gd name="connsiteX5239" fmla="*/ 1074380 w 1556920"/>
                <a:gd name="connsiteY5239" fmla="*/ 1603689 h 1898459"/>
                <a:gd name="connsiteX5240" fmla="*/ 1073623 w 1556920"/>
                <a:gd name="connsiteY5240" fmla="*/ 1602691 h 1898459"/>
                <a:gd name="connsiteX5241" fmla="*/ 1070780 w 1556920"/>
                <a:gd name="connsiteY5241" fmla="*/ 1604506 h 1898459"/>
                <a:gd name="connsiteX5242" fmla="*/ 1066817 w 1556920"/>
                <a:gd name="connsiteY5242" fmla="*/ 1605051 h 1898459"/>
                <a:gd name="connsiteX5243" fmla="*/ 1060192 w 1556920"/>
                <a:gd name="connsiteY5243" fmla="*/ 1604718 h 1898459"/>
                <a:gd name="connsiteX5244" fmla="*/ 1056562 w 1556920"/>
                <a:gd name="connsiteY5244" fmla="*/ 1605202 h 1898459"/>
                <a:gd name="connsiteX5245" fmla="*/ 1049331 w 1556920"/>
                <a:gd name="connsiteY5245" fmla="*/ 1607289 h 1898459"/>
                <a:gd name="connsiteX5246" fmla="*/ 1037836 w 1556920"/>
                <a:gd name="connsiteY5246" fmla="*/ 1607743 h 1898459"/>
                <a:gd name="connsiteX5247" fmla="*/ 1035900 w 1556920"/>
                <a:gd name="connsiteY5247" fmla="*/ 1606866 h 1898459"/>
                <a:gd name="connsiteX5248" fmla="*/ 1032905 w 1556920"/>
                <a:gd name="connsiteY5248" fmla="*/ 1604264 h 1898459"/>
                <a:gd name="connsiteX5249" fmla="*/ 1020320 w 1556920"/>
                <a:gd name="connsiteY5249" fmla="*/ 1601572 h 1898459"/>
                <a:gd name="connsiteX5250" fmla="*/ 1012213 w 1556920"/>
                <a:gd name="connsiteY5250" fmla="*/ 1601813 h 1898459"/>
                <a:gd name="connsiteX5251" fmla="*/ 999175 w 1556920"/>
                <a:gd name="connsiteY5251" fmla="*/ 1598668 h 1898459"/>
                <a:gd name="connsiteX5252" fmla="*/ 997390 w 1556920"/>
                <a:gd name="connsiteY5252" fmla="*/ 1598819 h 1898459"/>
                <a:gd name="connsiteX5253" fmla="*/ 994183 w 1556920"/>
                <a:gd name="connsiteY5253" fmla="*/ 1600392 h 1898459"/>
                <a:gd name="connsiteX5254" fmla="*/ 991975 w 1556920"/>
                <a:gd name="connsiteY5254" fmla="*/ 1600785 h 1898459"/>
                <a:gd name="connsiteX5255" fmla="*/ 984684 w 1556920"/>
                <a:gd name="connsiteY5255" fmla="*/ 1600785 h 1898459"/>
                <a:gd name="connsiteX5256" fmla="*/ 982809 w 1556920"/>
                <a:gd name="connsiteY5256" fmla="*/ 1601087 h 1898459"/>
                <a:gd name="connsiteX5257" fmla="*/ 979027 w 1556920"/>
                <a:gd name="connsiteY5257" fmla="*/ 1602388 h 1898459"/>
                <a:gd name="connsiteX5258" fmla="*/ 960604 w 1556920"/>
                <a:gd name="connsiteY5258" fmla="*/ 1603991 h 1898459"/>
                <a:gd name="connsiteX5259" fmla="*/ 952950 w 1556920"/>
                <a:gd name="connsiteY5259" fmla="*/ 1606805 h 1898459"/>
                <a:gd name="connsiteX5260" fmla="*/ 952950 w 1556920"/>
                <a:gd name="connsiteY5260" fmla="*/ 1607743 h 1898459"/>
                <a:gd name="connsiteX5261" fmla="*/ 954070 w 1556920"/>
                <a:gd name="connsiteY5261" fmla="*/ 1608439 h 1898459"/>
                <a:gd name="connsiteX5262" fmla="*/ 954826 w 1556920"/>
                <a:gd name="connsiteY5262" fmla="*/ 1609709 h 1898459"/>
                <a:gd name="connsiteX5263" fmla="*/ 954977 w 1556920"/>
                <a:gd name="connsiteY5263" fmla="*/ 1611252 h 1898459"/>
                <a:gd name="connsiteX5264" fmla="*/ 954342 w 1556920"/>
                <a:gd name="connsiteY5264" fmla="*/ 1612855 h 1898459"/>
                <a:gd name="connsiteX5265" fmla="*/ 953586 w 1556920"/>
                <a:gd name="connsiteY5265" fmla="*/ 1613127 h 1898459"/>
                <a:gd name="connsiteX5266" fmla="*/ 950228 w 1556920"/>
                <a:gd name="connsiteY5266" fmla="*/ 1612855 h 1898459"/>
                <a:gd name="connsiteX5267" fmla="*/ 950893 w 1556920"/>
                <a:gd name="connsiteY5267" fmla="*/ 1614126 h 1898459"/>
                <a:gd name="connsiteX5268" fmla="*/ 952618 w 1556920"/>
                <a:gd name="connsiteY5268" fmla="*/ 1616516 h 1898459"/>
                <a:gd name="connsiteX5269" fmla="*/ 952950 w 1556920"/>
                <a:gd name="connsiteY5269" fmla="*/ 1617454 h 1898459"/>
                <a:gd name="connsiteX5270" fmla="*/ 953162 w 1556920"/>
                <a:gd name="connsiteY5270" fmla="*/ 1618512 h 1898459"/>
                <a:gd name="connsiteX5271" fmla="*/ 954372 w 1556920"/>
                <a:gd name="connsiteY5271" fmla="*/ 1622536 h 1898459"/>
                <a:gd name="connsiteX5272" fmla="*/ 955008 w 1556920"/>
                <a:gd name="connsiteY5272" fmla="*/ 1623958 h 1898459"/>
                <a:gd name="connsiteX5273" fmla="*/ 953949 w 1556920"/>
                <a:gd name="connsiteY5273" fmla="*/ 1624532 h 1898459"/>
                <a:gd name="connsiteX5274" fmla="*/ 953313 w 1556920"/>
                <a:gd name="connsiteY5274" fmla="*/ 1625319 h 1898459"/>
                <a:gd name="connsiteX5275" fmla="*/ 952860 w 1556920"/>
                <a:gd name="connsiteY5275" fmla="*/ 1626196 h 1898459"/>
                <a:gd name="connsiteX5276" fmla="*/ 952285 w 1556920"/>
                <a:gd name="connsiteY5276" fmla="*/ 1627043 h 1898459"/>
                <a:gd name="connsiteX5277" fmla="*/ 945478 w 1556920"/>
                <a:gd name="connsiteY5277" fmla="*/ 1634062 h 1898459"/>
                <a:gd name="connsiteX5278" fmla="*/ 943966 w 1556920"/>
                <a:gd name="connsiteY5278" fmla="*/ 1635060 h 1898459"/>
                <a:gd name="connsiteX5279" fmla="*/ 941909 w 1556920"/>
                <a:gd name="connsiteY5279" fmla="*/ 1635665 h 1898459"/>
                <a:gd name="connsiteX5280" fmla="*/ 936070 w 1556920"/>
                <a:gd name="connsiteY5280" fmla="*/ 1635060 h 1898459"/>
                <a:gd name="connsiteX5281" fmla="*/ 935072 w 1556920"/>
                <a:gd name="connsiteY5281" fmla="*/ 1634727 h 1898459"/>
                <a:gd name="connsiteX5282" fmla="*/ 932985 w 1556920"/>
                <a:gd name="connsiteY5282" fmla="*/ 1633305 h 1898459"/>
                <a:gd name="connsiteX5283" fmla="*/ 931895 w 1556920"/>
                <a:gd name="connsiteY5283" fmla="*/ 1632973 h 1898459"/>
                <a:gd name="connsiteX5284" fmla="*/ 922941 w 1556920"/>
                <a:gd name="connsiteY5284" fmla="*/ 1632973 h 1898459"/>
                <a:gd name="connsiteX5285" fmla="*/ 922457 w 1556920"/>
                <a:gd name="connsiteY5285" fmla="*/ 1633880 h 1898459"/>
                <a:gd name="connsiteX5286" fmla="*/ 922548 w 1556920"/>
                <a:gd name="connsiteY5286" fmla="*/ 1635937 h 1898459"/>
                <a:gd name="connsiteX5287" fmla="*/ 922911 w 1556920"/>
                <a:gd name="connsiteY5287" fmla="*/ 1638055 h 1898459"/>
                <a:gd name="connsiteX5288" fmla="*/ 923304 w 1556920"/>
                <a:gd name="connsiteY5288" fmla="*/ 1639174 h 1898459"/>
                <a:gd name="connsiteX5289" fmla="*/ 921882 w 1556920"/>
                <a:gd name="connsiteY5289" fmla="*/ 1642865 h 1898459"/>
                <a:gd name="connsiteX5290" fmla="*/ 921186 w 1556920"/>
                <a:gd name="connsiteY5290" fmla="*/ 1644105 h 1898459"/>
                <a:gd name="connsiteX5291" fmla="*/ 920067 w 1556920"/>
                <a:gd name="connsiteY5291" fmla="*/ 1650185 h 1898459"/>
                <a:gd name="connsiteX5292" fmla="*/ 920551 w 1556920"/>
                <a:gd name="connsiteY5292" fmla="*/ 1663073 h 1898459"/>
                <a:gd name="connsiteX5293" fmla="*/ 917829 w 1556920"/>
                <a:gd name="connsiteY5293" fmla="*/ 1668155 h 1898459"/>
                <a:gd name="connsiteX5294" fmla="*/ 913624 w 1556920"/>
                <a:gd name="connsiteY5294" fmla="*/ 1671089 h 1898459"/>
                <a:gd name="connsiteX5295" fmla="*/ 911748 w 1556920"/>
                <a:gd name="connsiteY5295" fmla="*/ 1673056 h 1898459"/>
                <a:gd name="connsiteX5296" fmla="*/ 910961 w 1556920"/>
                <a:gd name="connsiteY5296" fmla="*/ 1675627 h 1898459"/>
                <a:gd name="connsiteX5297" fmla="*/ 909782 w 1556920"/>
                <a:gd name="connsiteY5297" fmla="*/ 1677442 h 1898459"/>
                <a:gd name="connsiteX5298" fmla="*/ 902673 w 1556920"/>
                <a:gd name="connsiteY5298" fmla="*/ 1683099 h 1898459"/>
                <a:gd name="connsiteX5299" fmla="*/ 901281 w 1556920"/>
                <a:gd name="connsiteY5299" fmla="*/ 1682736 h 1898459"/>
                <a:gd name="connsiteX5300" fmla="*/ 900283 w 1556920"/>
                <a:gd name="connsiteY5300" fmla="*/ 1683432 h 1898459"/>
                <a:gd name="connsiteX5301" fmla="*/ 899920 w 1556920"/>
                <a:gd name="connsiteY5301" fmla="*/ 1685005 h 1898459"/>
                <a:gd name="connsiteX5302" fmla="*/ 900555 w 1556920"/>
                <a:gd name="connsiteY5302" fmla="*/ 1687153 h 1898459"/>
                <a:gd name="connsiteX5303" fmla="*/ 898952 w 1556920"/>
                <a:gd name="connsiteY5303" fmla="*/ 1689543 h 1898459"/>
                <a:gd name="connsiteX5304" fmla="*/ 897802 w 1556920"/>
                <a:gd name="connsiteY5304" fmla="*/ 1692174 h 1898459"/>
                <a:gd name="connsiteX5305" fmla="*/ 896199 w 1556920"/>
                <a:gd name="connsiteY5305" fmla="*/ 1694323 h 1898459"/>
                <a:gd name="connsiteX5306" fmla="*/ 893295 w 1556920"/>
                <a:gd name="connsiteY5306" fmla="*/ 1695200 h 1898459"/>
                <a:gd name="connsiteX5307" fmla="*/ 885792 w 1556920"/>
                <a:gd name="connsiteY5307" fmla="*/ 1695684 h 1898459"/>
                <a:gd name="connsiteX5308" fmla="*/ 883281 w 1556920"/>
                <a:gd name="connsiteY5308" fmla="*/ 1695200 h 1898459"/>
                <a:gd name="connsiteX5309" fmla="*/ 883281 w 1556920"/>
                <a:gd name="connsiteY5309" fmla="*/ 1696107 h 1898459"/>
                <a:gd name="connsiteX5310" fmla="*/ 883826 w 1556920"/>
                <a:gd name="connsiteY5310" fmla="*/ 1697620 h 1898459"/>
                <a:gd name="connsiteX5311" fmla="*/ 883312 w 1556920"/>
                <a:gd name="connsiteY5311" fmla="*/ 1698830 h 1898459"/>
                <a:gd name="connsiteX5312" fmla="*/ 883130 w 1556920"/>
                <a:gd name="connsiteY5312" fmla="*/ 1700161 h 1898459"/>
                <a:gd name="connsiteX5313" fmla="*/ 884703 w 1556920"/>
                <a:gd name="connsiteY5313" fmla="*/ 1702036 h 1898459"/>
                <a:gd name="connsiteX5314" fmla="*/ 888031 w 1556920"/>
                <a:gd name="connsiteY5314" fmla="*/ 1703186 h 1898459"/>
                <a:gd name="connsiteX5315" fmla="*/ 889785 w 1556920"/>
                <a:gd name="connsiteY5315" fmla="*/ 1704154 h 1898459"/>
                <a:gd name="connsiteX5316" fmla="*/ 890874 w 1556920"/>
                <a:gd name="connsiteY5316" fmla="*/ 1706090 h 1898459"/>
                <a:gd name="connsiteX5317" fmla="*/ 889241 w 1556920"/>
                <a:gd name="connsiteY5317" fmla="*/ 1705334 h 1898459"/>
                <a:gd name="connsiteX5318" fmla="*/ 885066 w 1556920"/>
                <a:gd name="connsiteY5318" fmla="*/ 1705122 h 1898459"/>
                <a:gd name="connsiteX5319" fmla="*/ 883251 w 1556920"/>
                <a:gd name="connsiteY5319" fmla="*/ 1704094 h 1898459"/>
                <a:gd name="connsiteX5320" fmla="*/ 882888 w 1556920"/>
                <a:gd name="connsiteY5320" fmla="*/ 1704548 h 1898459"/>
                <a:gd name="connsiteX5321" fmla="*/ 882616 w 1556920"/>
                <a:gd name="connsiteY5321" fmla="*/ 1704789 h 1898459"/>
                <a:gd name="connsiteX5322" fmla="*/ 881950 w 1556920"/>
                <a:gd name="connsiteY5322" fmla="*/ 1705183 h 1898459"/>
                <a:gd name="connsiteX5323" fmla="*/ 881860 w 1556920"/>
                <a:gd name="connsiteY5323" fmla="*/ 1703519 h 1898459"/>
                <a:gd name="connsiteX5324" fmla="*/ 881587 w 1556920"/>
                <a:gd name="connsiteY5324" fmla="*/ 1701522 h 1898459"/>
                <a:gd name="connsiteX5325" fmla="*/ 881164 w 1556920"/>
                <a:gd name="connsiteY5325" fmla="*/ 1699828 h 1898459"/>
                <a:gd name="connsiteX5326" fmla="*/ 880589 w 1556920"/>
                <a:gd name="connsiteY5326" fmla="*/ 1699042 h 1898459"/>
                <a:gd name="connsiteX5327" fmla="*/ 879833 w 1556920"/>
                <a:gd name="connsiteY5327" fmla="*/ 1699193 h 1898459"/>
                <a:gd name="connsiteX5328" fmla="*/ 878532 w 1556920"/>
                <a:gd name="connsiteY5328" fmla="*/ 1700615 h 1898459"/>
                <a:gd name="connsiteX5329" fmla="*/ 877806 w 1556920"/>
                <a:gd name="connsiteY5329" fmla="*/ 1701099 h 1898459"/>
                <a:gd name="connsiteX5330" fmla="*/ 875749 w 1556920"/>
                <a:gd name="connsiteY5330" fmla="*/ 1701099 h 1898459"/>
                <a:gd name="connsiteX5331" fmla="*/ 873722 w 1556920"/>
                <a:gd name="connsiteY5331" fmla="*/ 1702581 h 1898459"/>
                <a:gd name="connsiteX5332" fmla="*/ 872754 w 1556920"/>
                <a:gd name="connsiteY5332" fmla="*/ 1704578 h 1898459"/>
                <a:gd name="connsiteX5333" fmla="*/ 872421 w 1556920"/>
                <a:gd name="connsiteY5333" fmla="*/ 1707089 h 1898459"/>
                <a:gd name="connsiteX5334" fmla="*/ 872300 w 1556920"/>
                <a:gd name="connsiteY5334" fmla="*/ 1710023 h 1898459"/>
                <a:gd name="connsiteX5335" fmla="*/ 871392 w 1556920"/>
                <a:gd name="connsiteY5335" fmla="*/ 1715650 h 1898459"/>
                <a:gd name="connsiteX5336" fmla="*/ 870455 w 1556920"/>
                <a:gd name="connsiteY5336" fmla="*/ 1717616 h 1898459"/>
                <a:gd name="connsiteX5337" fmla="*/ 870243 w 1556920"/>
                <a:gd name="connsiteY5337" fmla="*/ 1718463 h 1898459"/>
                <a:gd name="connsiteX5338" fmla="*/ 863255 w 1556920"/>
                <a:gd name="connsiteY5338" fmla="*/ 1721912 h 1898459"/>
                <a:gd name="connsiteX5339" fmla="*/ 862499 w 1556920"/>
                <a:gd name="connsiteY5339" fmla="*/ 1721851 h 1898459"/>
                <a:gd name="connsiteX5340" fmla="*/ 860986 w 1556920"/>
                <a:gd name="connsiteY5340" fmla="*/ 1721972 h 1898459"/>
                <a:gd name="connsiteX5341" fmla="*/ 859837 w 1556920"/>
                <a:gd name="connsiteY5341" fmla="*/ 1722698 h 1898459"/>
                <a:gd name="connsiteX5342" fmla="*/ 860502 w 1556920"/>
                <a:gd name="connsiteY5342" fmla="*/ 1725602 h 1898459"/>
                <a:gd name="connsiteX5343" fmla="*/ 860653 w 1556920"/>
                <a:gd name="connsiteY5343" fmla="*/ 1727417 h 1898459"/>
                <a:gd name="connsiteX5344" fmla="*/ 860593 w 1556920"/>
                <a:gd name="connsiteY5344" fmla="*/ 1729081 h 1898459"/>
                <a:gd name="connsiteX5345" fmla="*/ 860230 w 1556920"/>
                <a:gd name="connsiteY5345" fmla="*/ 1729838 h 1898459"/>
                <a:gd name="connsiteX5346" fmla="*/ 858869 w 1556920"/>
                <a:gd name="connsiteY5346" fmla="*/ 1730261 h 1898459"/>
                <a:gd name="connsiteX5347" fmla="*/ 855178 w 1556920"/>
                <a:gd name="connsiteY5347" fmla="*/ 1732621 h 1898459"/>
                <a:gd name="connsiteX5348" fmla="*/ 843652 w 1556920"/>
                <a:gd name="connsiteY5348" fmla="*/ 1743784 h 1898459"/>
                <a:gd name="connsiteX5349" fmla="*/ 839931 w 1556920"/>
                <a:gd name="connsiteY5349" fmla="*/ 1745689 h 1898459"/>
                <a:gd name="connsiteX5350" fmla="*/ 836331 w 1556920"/>
                <a:gd name="connsiteY5350" fmla="*/ 1745689 h 1898459"/>
                <a:gd name="connsiteX5351" fmla="*/ 835787 w 1556920"/>
                <a:gd name="connsiteY5351" fmla="*/ 1746234 h 1898459"/>
                <a:gd name="connsiteX5352" fmla="*/ 835484 w 1556920"/>
                <a:gd name="connsiteY5352" fmla="*/ 1747565 h 1898459"/>
                <a:gd name="connsiteX5353" fmla="*/ 834788 w 1556920"/>
                <a:gd name="connsiteY5353" fmla="*/ 1748987 h 1898459"/>
                <a:gd name="connsiteX5354" fmla="*/ 833336 w 1556920"/>
                <a:gd name="connsiteY5354" fmla="*/ 1751135 h 1898459"/>
                <a:gd name="connsiteX5355" fmla="*/ 831279 w 1556920"/>
                <a:gd name="connsiteY5355" fmla="*/ 1752314 h 1898459"/>
                <a:gd name="connsiteX5356" fmla="*/ 829252 w 1556920"/>
                <a:gd name="connsiteY5356" fmla="*/ 1751377 h 1898459"/>
                <a:gd name="connsiteX5357" fmla="*/ 826136 w 1556920"/>
                <a:gd name="connsiteY5357" fmla="*/ 1748624 h 1898459"/>
                <a:gd name="connsiteX5358" fmla="*/ 823928 w 1556920"/>
                <a:gd name="connsiteY5358" fmla="*/ 1748684 h 1898459"/>
                <a:gd name="connsiteX5359" fmla="*/ 820056 w 1556920"/>
                <a:gd name="connsiteY5359" fmla="*/ 1750983 h 1898459"/>
                <a:gd name="connsiteX5360" fmla="*/ 816607 w 1556920"/>
                <a:gd name="connsiteY5360" fmla="*/ 1752103 h 1898459"/>
                <a:gd name="connsiteX5361" fmla="*/ 810194 w 1556920"/>
                <a:gd name="connsiteY5361" fmla="*/ 1755551 h 1898459"/>
                <a:gd name="connsiteX5362" fmla="*/ 807229 w 1556920"/>
                <a:gd name="connsiteY5362" fmla="*/ 1756580 h 1898459"/>
                <a:gd name="connsiteX5363" fmla="*/ 806443 w 1556920"/>
                <a:gd name="connsiteY5363" fmla="*/ 1757064 h 1898459"/>
                <a:gd name="connsiteX5364" fmla="*/ 804537 w 1556920"/>
                <a:gd name="connsiteY5364" fmla="*/ 1760089 h 1898459"/>
                <a:gd name="connsiteX5365" fmla="*/ 804355 w 1556920"/>
                <a:gd name="connsiteY5365" fmla="*/ 1760573 h 1898459"/>
                <a:gd name="connsiteX5366" fmla="*/ 803962 w 1556920"/>
                <a:gd name="connsiteY5366" fmla="*/ 1761239 h 1898459"/>
                <a:gd name="connsiteX5367" fmla="*/ 804144 w 1556920"/>
                <a:gd name="connsiteY5367" fmla="*/ 1762751 h 1898459"/>
                <a:gd name="connsiteX5368" fmla="*/ 804688 w 1556920"/>
                <a:gd name="connsiteY5368" fmla="*/ 1765474 h 1898459"/>
                <a:gd name="connsiteX5369" fmla="*/ 804870 w 1556920"/>
                <a:gd name="connsiteY5369" fmla="*/ 1765474 h 1898459"/>
                <a:gd name="connsiteX5370" fmla="*/ 805202 w 1556920"/>
                <a:gd name="connsiteY5370" fmla="*/ 1765837 h 1898459"/>
                <a:gd name="connsiteX5371" fmla="*/ 805475 w 1556920"/>
                <a:gd name="connsiteY5371" fmla="*/ 1766533 h 1898459"/>
                <a:gd name="connsiteX5372" fmla="*/ 805475 w 1556920"/>
                <a:gd name="connsiteY5372" fmla="*/ 1767440 h 1898459"/>
                <a:gd name="connsiteX5373" fmla="*/ 805021 w 1556920"/>
                <a:gd name="connsiteY5373" fmla="*/ 1768015 h 1898459"/>
                <a:gd name="connsiteX5374" fmla="*/ 804295 w 1556920"/>
                <a:gd name="connsiteY5374" fmla="*/ 1768287 h 1898459"/>
                <a:gd name="connsiteX5375" fmla="*/ 803327 w 1556920"/>
                <a:gd name="connsiteY5375" fmla="*/ 1768408 h 1898459"/>
                <a:gd name="connsiteX5376" fmla="*/ 804386 w 1556920"/>
                <a:gd name="connsiteY5376" fmla="*/ 1772764 h 1898459"/>
                <a:gd name="connsiteX5377" fmla="*/ 808197 w 1556920"/>
                <a:gd name="connsiteY5377" fmla="*/ 1774126 h 1898459"/>
                <a:gd name="connsiteX5378" fmla="*/ 813007 w 1556920"/>
                <a:gd name="connsiteY5378" fmla="*/ 1773642 h 1898459"/>
                <a:gd name="connsiteX5379" fmla="*/ 817152 w 1556920"/>
                <a:gd name="connsiteY5379" fmla="*/ 1772401 h 1898459"/>
                <a:gd name="connsiteX5380" fmla="*/ 818664 w 1556920"/>
                <a:gd name="connsiteY5380" fmla="*/ 1771706 h 1898459"/>
                <a:gd name="connsiteX5381" fmla="*/ 820479 w 1556920"/>
                <a:gd name="connsiteY5381" fmla="*/ 1770374 h 1898459"/>
                <a:gd name="connsiteX5382" fmla="*/ 821568 w 1556920"/>
                <a:gd name="connsiteY5382" fmla="*/ 1768439 h 1898459"/>
                <a:gd name="connsiteX5383" fmla="*/ 820963 w 1556920"/>
                <a:gd name="connsiteY5383" fmla="*/ 1765927 h 1898459"/>
                <a:gd name="connsiteX5384" fmla="*/ 820963 w 1556920"/>
                <a:gd name="connsiteY5384" fmla="*/ 1763961 h 1898459"/>
                <a:gd name="connsiteX5385" fmla="*/ 822869 w 1556920"/>
                <a:gd name="connsiteY5385" fmla="*/ 1762479 h 1898459"/>
                <a:gd name="connsiteX5386" fmla="*/ 825501 w 1556920"/>
                <a:gd name="connsiteY5386" fmla="*/ 1761632 h 1898459"/>
                <a:gd name="connsiteX5387" fmla="*/ 827588 w 1556920"/>
                <a:gd name="connsiteY5387" fmla="*/ 1761511 h 1898459"/>
                <a:gd name="connsiteX5388" fmla="*/ 829283 w 1556920"/>
                <a:gd name="connsiteY5388" fmla="*/ 1762176 h 1898459"/>
                <a:gd name="connsiteX5389" fmla="*/ 832640 w 1556920"/>
                <a:gd name="connsiteY5389" fmla="*/ 1764082 h 1898459"/>
                <a:gd name="connsiteX5390" fmla="*/ 836724 w 1556920"/>
                <a:gd name="connsiteY5390" fmla="*/ 1764748 h 1898459"/>
                <a:gd name="connsiteX5391" fmla="*/ 842775 w 1556920"/>
                <a:gd name="connsiteY5391" fmla="*/ 1767410 h 1898459"/>
                <a:gd name="connsiteX5392" fmla="*/ 844741 w 1556920"/>
                <a:gd name="connsiteY5392" fmla="*/ 1768741 h 1898459"/>
                <a:gd name="connsiteX5393" fmla="*/ 846344 w 1556920"/>
                <a:gd name="connsiteY5393" fmla="*/ 1770556 h 1898459"/>
                <a:gd name="connsiteX5394" fmla="*/ 849218 w 1556920"/>
                <a:gd name="connsiteY5394" fmla="*/ 1774852 h 1898459"/>
                <a:gd name="connsiteX5395" fmla="*/ 849914 w 1556920"/>
                <a:gd name="connsiteY5395" fmla="*/ 1776274 h 1898459"/>
                <a:gd name="connsiteX5396" fmla="*/ 849914 w 1556920"/>
                <a:gd name="connsiteY5396" fmla="*/ 1778452 h 1898459"/>
                <a:gd name="connsiteX5397" fmla="*/ 850247 w 1556920"/>
                <a:gd name="connsiteY5397" fmla="*/ 1780267 h 1898459"/>
                <a:gd name="connsiteX5398" fmla="*/ 850670 w 1556920"/>
                <a:gd name="connsiteY5398" fmla="*/ 1781265 h 1898459"/>
                <a:gd name="connsiteX5399" fmla="*/ 851154 w 1556920"/>
                <a:gd name="connsiteY5399" fmla="*/ 1781961 h 1898459"/>
                <a:gd name="connsiteX5400" fmla="*/ 854179 w 1556920"/>
                <a:gd name="connsiteY5400" fmla="*/ 1785047 h 1898459"/>
                <a:gd name="connsiteX5401" fmla="*/ 855208 w 1556920"/>
                <a:gd name="connsiteY5401" fmla="*/ 1785803 h 1898459"/>
                <a:gd name="connsiteX5402" fmla="*/ 856116 w 1556920"/>
                <a:gd name="connsiteY5402" fmla="*/ 1786136 h 1898459"/>
                <a:gd name="connsiteX5403" fmla="*/ 856448 w 1556920"/>
                <a:gd name="connsiteY5403" fmla="*/ 1785379 h 1898459"/>
                <a:gd name="connsiteX5404" fmla="*/ 857628 w 1556920"/>
                <a:gd name="connsiteY5404" fmla="*/ 1782021 h 1898459"/>
                <a:gd name="connsiteX5405" fmla="*/ 860623 w 1556920"/>
                <a:gd name="connsiteY5405" fmla="*/ 1778784 h 1898459"/>
                <a:gd name="connsiteX5406" fmla="*/ 861319 w 1556920"/>
                <a:gd name="connsiteY5406" fmla="*/ 1778240 h 1898459"/>
                <a:gd name="connsiteX5407" fmla="*/ 862559 w 1556920"/>
                <a:gd name="connsiteY5407" fmla="*/ 1778089 h 1898459"/>
                <a:gd name="connsiteX5408" fmla="*/ 864586 w 1556920"/>
                <a:gd name="connsiteY5408" fmla="*/ 1778452 h 1898459"/>
                <a:gd name="connsiteX5409" fmla="*/ 865524 w 1556920"/>
                <a:gd name="connsiteY5409" fmla="*/ 1778270 h 1898459"/>
                <a:gd name="connsiteX5410" fmla="*/ 868398 w 1556920"/>
                <a:gd name="connsiteY5410" fmla="*/ 1774277 h 1898459"/>
                <a:gd name="connsiteX5411" fmla="*/ 869698 w 1556920"/>
                <a:gd name="connsiteY5411" fmla="*/ 1771615 h 1898459"/>
                <a:gd name="connsiteX5412" fmla="*/ 869275 w 1556920"/>
                <a:gd name="connsiteY5412" fmla="*/ 1770405 h 1898459"/>
                <a:gd name="connsiteX5413" fmla="*/ 868851 w 1556920"/>
                <a:gd name="connsiteY5413" fmla="*/ 1770011 h 1898459"/>
                <a:gd name="connsiteX5414" fmla="*/ 868488 w 1556920"/>
                <a:gd name="connsiteY5414" fmla="*/ 1768106 h 1898459"/>
                <a:gd name="connsiteX5415" fmla="*/ 868246 w 1556920"/>
                <a:gd name="connsiteY5415" fmla="*/ 1767470 h 1898459"/>
                <a:gd name="connsiteX5416" fmla="*/ 867793 w 1556920"/>
                <a:gd name="connsiteY5416" fmla="*/ 1767319 h 1898459"/>
                <a:gd name="connsiteX5417" fmla="*/ 866643 w 1556920"/>
                <a:gd name="connsiteY5417" fmla="*/ 1767531 h 1898459"/>
                <a:gd name="connsiteX5418" fmla="*/ 866159 w 1556920"/>
                <a:gd name="connsiteY5418" fmla="*/ 1767470 h 1898459"/>
                <a:gd name="connsiteX5419" fmla="*/ 864737 w 1556920"/>
                <a:gd name="connsiteY5419" fmla="*/ 1766654 h 1898459"/>
                <a:gd name="connsiteX5420" fmla="*/ 863860 w 1556920"/>
                <a:gd name="connsiteY5420" fmla="*/ 1766442 h 1898459"/>
                <a:gd name="connsiteX5421" fmla="*/ 862710 w 1556920"/>
                <a:gd name="connsiteY5421" fmla="*/ 1766442 h 1898459"/>
                <a:gd name="connsiteX5422" fmla="*/ 865947 w 1556920"/>
                <a:gd name="connsiteY5422" fmla="*/ 1765141 h 1898459"/>
                <a:gd name="connsiteX5423" fmla="*/ 866855 w 1556920"/>
                <a:gd name="connsiteY5423" fmla="*/ 1764506 h 1898459"/>
                <a:gd name="connsiteX5424" fmla="*/ 867248 w 1556920"/>
                <a:gd name="connsiteY5424" fmla="*/ 1763447 h 1898459"/>
                <a:gd name="connsiteX5425" fmla="*/ 867188 w 1556920"/>
                <a:gd name="connsiteY5425" fmla="*/ 1762267 h 1898459"/>
                <a:gd name="connsiteX5426" fmla="*/ 867309 w 1556920"/>
                <a:gd name="connsiteY5426" fmla="*/ 1761208 h 1898459"/>
                <a:gd name="connsiteX5427" fmla="*/ 868277 w 1556920"/>
                <a:gd name="connsiteY5427" fmla="*/ 1760573 h 1898459"/>
                <a:gd name="connsiteX5428" fmla="*/ 869517 w 1556920"/>
                <a:gd name="connsiteY5428" fmla="*/ 1759786 h 1898459"/>
                <a:gd name="connsiteX5429" fmla="*/ 870183 w 1556920"/>
                <a:gd name="connsiteY5429" fmla="*/ 1759514 h 1898459"/>
                <a:gd name="connsiteX5430" fmla="*/ 871029 w 1556920"/>
                <a:gd name="connsiteY5430" fmla="*/ 1759575 h 1898459"/>
                <a:gd name="connsiteX5431" fmla="*/ 869517 w 1556920"/>
                <a:gd name="connsiteY5431" fmla="*/ 1757941 h 1898459"/>
                <a:gd name="connsiteX5432" fmla="*/ 868912 w 1556920"/>
                <a:gd name="connsiteY5432" fmla="*/ 1757518 h 1898459"/>
                <a:gd name="connsiteX5433" fmla="*/ 868912 w 1556920"/>
                <a:gd name="connsiteY5433" fmla="*/ 1756610 h 1898459"/>
                <a:gd name="connsiteX5434" fmla="*/ 870183 w 1556920"/>
                <a:gd name="connsiteY5434" fmla="*/ 1755037 h 1898459"/>
                <a:gd name="connsiteX5435" fmla="*/ 870001 w 1556920"/>
                <a:gd name="connsiteY5435" fmla="*/ 1753403 h 1898459"/>
                <a:gd name="connsiteX5436" fmla="*/ 870061 w 1556920"/>
                <a:gd name="connsiteY5436" fmla="*/ 1752103 h 1898459"/>
                <a:gd name="connsiteX5437" fmla="*/ 872058 w 1556920"/>
                <a:gd name="connsiteY5437" fmla="*/ 1751588 h 1898459"/>
                <a:gd name="connsiteX5438" fmla="*/ 873359 w 1556920"/>
                <a:gd name="connsiteY5438" fmla="*/ 1752647 h 1898459"/>
                <a:gd name="connsiteX5439" fmla="*/ 873934 w 1556920"/>
                <a:gd name="connsiteY5439" fmla="*/ 1757760 h 1898459"/>
                <a:gd name="connsiteX5440" fmla="*/ 875144 w 1556920"/>
                <a:gd name="connsiteY5440" fmla="*/ 1759544 h 1898459"/>
                <a:gd name="connsiteX5441" fmla="*/ 879349 w 1556920"/>
                <a:gd name="connsiteY5441" fmla="*/ 1752859 h 1898459"/>
                <a:gd name="connsiteX5442" fmla="*/ 880710 w 1556920"/>
                <a:gd name="connsiteY5442" fmla="*/ 1751588 h 1898459"/>
                <a:gd name="connsiteX5443" fmla="*/ 884976 w 1556920"/>
                <a:gd name="connsiteY5443" fmla="*/ 1750288 h 1898459"/>
                <a:gd name="connsiteX5444" fmla="*/ 886730 w 1556920"/>
                <a:gd name="connsiteY5444" fmla="*/ 1749319 h 1898459"/>
                <a:gd name="connsiteX5445" fmla="*/ 888606 w 1556920"/>
                <a:gd name="connsiteY5445" fmla="*/ 1747232 h 1898459"/>
                <a:gd name="connsiteX5446" fmla="*/ 890511 w 1556920"/>
                <a:gd name="connsiteY5446" fmla="*/ 1746506 h 1898459"/>
                <a:gd name="connsiteX5447" fmla="*/ 895503 w 1556920"/>
                <a:gd name="connsiteY5447" fmla="*/ 1747232 h 1898459"/>
                <a:gd name="connsiteX5448" fmla="*/ 896501 w 1556920"/>
                <a:gd name="connsiteY5448" fmla="*/ 1746234 h 1898459"/>
                <a:gd name="connsiteX5449" fmla="*/ 896683 w 1556920"/>
                <a:gd name="connsiteY5449" fmla="*/ 1745417 h 1898459"/>
                <a:gd name="connsiteX5450" fmla="*/ 897893 w 1556920"/>
                <a:gd name="connsiteY5450" fmla="*/ 1742725 h 1898459"/>
                <a:gd name="connsiteX5451" fmla="*/ 897893 w 1556920"/>
                <a:gd name="connsiteY5451" fmla="*/ 1742120 h 1898459"/>
                <a:gd name="connsiteX5452" fmla="*/ 897348 w 1556920"/>
                <a:gd name="connsiteY5452" fmla="*/ 1741152 h 1898459"/>
                <a:gd name="connsiteX5453" fmla="*/ 897197 w 1556920"/>
                <a:gd name="connsiteY5453" fmla="*/ 1740274 h 1898459"/>
                <a:gd name="connsiteX5454" fmla="*/ 897560 w 1556920"/>
                <a:gd name="connsiteY5454" fmla="*/ 1739337 h 1898459"/>
                <a:gd name="connsiteX5455" fmla="*/ 898377 w 1556920"/>
                <a:gd name="connsiteY5455" fmla="*/ 1738278 h 1898459"/>
                <a:gd name="connsiteX5456" fmla="*/ 899315 w 1556920"/>
                <a:gd name="connsiteY5456" fmla="*/ 1737340 h 1898459"/>
                <a:gd name="connsiteX5457" fmla="*/ 900010 w 1556920"/>
                <a:gd name="connsiteY5457" fmla="*/ 1736795 h 1898459"/>
                <a:gd name="connsiteX5458" fmla="*/ 900010 w 1556920"/>
                <a:gd name="connsiteY5458" fmla="*/ 1735706 h 1898459"/>
                <a:gd name="connsiteX5459" fmla="*/ 899224 w 1556920"/>
                <a:gd name="connsiteY5459" fmla="*/ 1733831 h 1898459"/>
                <a:gd name="connsiteX5460" fmla="*/ 900343 w 1556920"/>
                <a:gd name="connsiteY5460" fmla="*/ 1732651 h 1898459"/>
                <a:gd name="connsiteX5461" fmla="*/ 902400 w 1556920"/>
                <a:gd name="connsiteY5461" fmla="*/ 1732016 h 1898459"/>
                <a:gd name="connsiteX5462" fmla="*/ 904427 w 1556920"/>
                <a:gd name="connsiteY5462" fmla="*/ 1731834 h 1898459"/>
                <a:gd name="connsiteX5463" fmla="*/ 905002 w 1556920"/>
                <a:gd name="connsiteY5463" fmla="*/ 1731592 h 1898459"/>
                <a:gd name="connsiteX5464" fmla="*/ 905546 w 1556920"/>
                <a:gd name="connsiteY5464" fmla="*/ 1731108 h 1898459"/>
                <a:gd name="connsiteX5465" fmla="*/ 906152 w 1556920"/>
                <a:gd name="connsiteY5465" fmla="*/ 1730745 h 1898459"/>
                <a:gd name="connsiteX5466" fmla="*/ 906878 w 1556920"/>
                <a:gd name="connsiteY5466" fmla="*/ 1730866 h 1898459"/>
                <a:gd name="connsiteX5467" fmla="*/ 908269 w 1556920"/>
                <a:gd name="connsiteY5467" fmla="*/ 1734799 h 1898459"/>
                <a:gd name="connsiteX5468" fmla="*/ 908844 w 1556920"/>
                <a:gd name="connsiteY5468" fmla="*/ 1734799 h 1898459"/>
                <a:gd name="connsiteX5469" fmla="*/ 909358 w 1556920"/>
                <a:gd name="connsiteY5469" fmla="*/ 1734466 h 1898459"/>
                <a:gd name="connsiteX5470" fmla="*/ 909661 w 1556920"/>
                <a:gd name="connsiteY5470" fmla="*/ 1734073 h 1898459"/>
                <a:gd name="connsiteX5471" fmla="*/ 909661 w 1556920"/>
                <a:gd name="connsiteY5471" fmla="*/ 1733831 h 1898459"/>
                <a:gd name="connsiteX5472" fmla="*/ 926178 w 1556920"/>
                <a:gd name="connsiteY5472" fmla="*/ 1732923 h 1898459"/>
                <a:gd name="connsiteX5473" fmla="*/ 930111 w 1556920"/>
                <a:gd name="connsiteY5473" fmla="*/ 1731501 h 1898459"/>
                <a:gd name="connsiteX5474" fmla="*/ 937401 w 1556920"/>
                <a:gd name="connsiteY5474" fmla="*/ 1727266 h 1898459"/>
                <a:gd name="connsiteX5475" fmla="*/ 942030 w 1556920"/>
                <a:gd name="connsiteY5475" fmla="*/ 1726813 h 1898459"/>
                <a:gd name="connsiteX5476" fmla="*/ 950621 w 1556920"/>
                <a:gd name="connsiteY5476" fmla="*/ 1728869 h 1898459"/>
                <a:gd name="connsiteX5477" fmla="*/ 952376 w 1556920"/>
                <a:gd name="connsiteY5477" fmla="*/ 1729868 h 1898459"/>
                <a:gd name="connsiteX5478" fmla="*/ 953313 w 1556920"/>
                <a:gd name="connsiteY5478" fmla="*/ 1731925 h 1898459"/>
                <a:gd name="connsiteX5479" fmla="*/ 954402 w 1556920"/>
                <a:gd name="connsiteY5479" fmla="*/ 1733710 h 1898459"/>
                <a:gd name="connsiteX5480" fmla="*/ 956550 w 1556920"/>
                <a:gd name="connsiteY5480" fmla="*/ 1733831 h 1898459"/>
                <a:gd name="connsiteX5481" fmla="*/ 956550 w 1556920"/>
                <a:gd name="connsiteY5481" fmla="*/ 1732923 h 1898459"/>
                <a:gd name="connsiteX5482" fmla="*/ 956006 w 1556920"/>
                <a:gd name="connsiteY5482" fmla="*/ 1731925 h 1898459"/>
                <a:gd name="connsiteX5483" fmla="*/ 956127 w 1556920"/>
                <a:gd name="connsiteY5483" fmla="*/ 1730927 h 1898459"/>
                <a:gd name="connsiteX5484" fmla="*/ 956792 w 1556920"/>
                <a:gd name="connsiteY5484" fmla="*/ 1730170 h 1898459"/>
                <a:gd name="connsiteX5485" fmla="*/ 957912 w 1556920"/>
                <a:gd name="connsiteY5485" fmla="*/ 1729807 h 1898459"/>
                <a:gd name="connsiteX5486" fmla="*/ 957912 w 1556920"/>
                <a:gd name="connsiteY5486" fmla="*/ 1728900 h 1898459"/>
                <a:gd name="connsiteX5487" fmla="*/ 955098 w 1556920"/>
                <a:gd name="connsiteY5487" fmla="*/ 1728900 h 1898459"/>
                <a:gd name="connsiteX5488" fmla="*/ 955855 w 1556920"/>
                <a:gd name="connsiteY5488" fmla="*/ 1727841 h 1898459"/>
                <a:gd name="connsiteX5489" fmla="*/ 953888 w 1556920"/>
                <a:gd name="connsiteY5489" fmla="*/ 1727629 h 1898459"/>
                <a:gd name="connsiteX5490" fmla="*/ 953041 w 1556920"/>
                <a:gd name="connsiteY5490" fmla="*/ 1727841 h 1898459"/>
                <a:gd name="connsiteX5491" fmla="*/ 953041 w 1556920"/>
                <a:gd name="connsiteY5491" fmla="*/ 1726843 h 1898459"/>
                <a:gd name="connsiteX5492" fmla="*/ 956550 w 1556920"/>
                <a:gd name="connsiteY5492" fmla="*/ 1725935 h 1898459"/>
                <a:gd name="connsiteX5493" fmla="*/ 954281 w 1556920"/>
                <a:gd name="connsiteY5493" fmla="*/ 1724362 h 1898459"/>
                <a:gd name="connsiteX5494" fmla="*/ 948564 w 1556920"/>
                <a:gd name="connsiteY5494" fmla="*/ 1725209 h 1898459"/>
                <a:gd name="connsiteX5495" fmla="*/ 946870 w 1556920"/>
                <a:gd name="connsiteY5495" fmla="*/ 1722971 h 1898459"/>
                <a:gd name="connsiteX5496" fmla="*/ 951740 w 1556920"/>
                <a:gd name="connsiteY5496" fmla="*/ 1723364 h 1898459"/>
                <a:gd name="connsiteX5497" fmla="*/ 953041 w 1556920"/>
                <a:gd name="connsiteY5497" fmla="*/ 1722971 h 1898459"/>
                <a:gd name="connsiteX5498" fmla="*/ 953918 w 1556920"/>
                <a:gd name="connsiteY5498" fmla="*/ 1721851 h 1898459"/>
                <a:gd name="connsiteX5499" fmla="*/ 954281 w 1556920"/>
                <a:gd name="connsiteY5499" fmla="*/ 1720308 h 1898459"/>
                <a:gd name="connsiteX5500" fmla="*/ 953858 w 1556920"/>
                <a:gd name="connsiteY5500" fmla="*/ 1718826 h 1898459"/>
                <a:gd name="connsiteX5501" fmla="*/ 952406 w 1556920"/>
                <a:gd name="connsiteY5501" fmla="*/ 1717918 h 1898459"/>
                <a:gd name="connsiteX5502" fmla="*/ 952406 w 1556920"/>
                <a:gd name="connsiteY5502" fmla="*/ 1717011 h 1898459"/>
                <a:gd name="connsiteX5503" fmla="*/ 953646 w 1556920"/>
                <a:gd name="connsiteY5503" fmla="*/ 1717011 h 1898459"/>
                <a:gd name="connsiteX5504" fmla="*/ 954675 w 1556920"/>
                <a:gd name="connsiteY5504" fmla="*/ 1716557 h 1898459"/>
                <a:gd name="connsiteX5505" fmla="*/ 955461 w 1556920"/>
                <a:gd name="connsiteY5505" fmla="*/ 1715499 h 1898459"/>
                <a:gd name="connsiteX5506" fmla="*/ 955552 w 1556920"/>
                <a:gd name="connsiteY5506" fmla="*/ 1715105 h 1898459"/>
                <a:gd name="connsiteX5507" fmla="*/ 955855 w 1556920"/>
                <a:gd name="connsiteY5507" fmla="*/ 1713956 h 1898459"/>
                <a:gd name="connsiteX5508" fmla="*/ 956974 w 1556920"/>
                <a:gd name="connsiteY5508" fmla="*/ 1714803 h 1898459"/>
                <a:gd name="connsiteX5509" fmla="*/ 958002 w 1556920"/>
                <a:gd name="connsiteY5509" fmla="*/ 1714893 h 1898459"/>
                <a:gd name="connsiteX5510" fmla="*/ 959999 w 1556920"/>
                <a:gd name="connsiteY5510" fmla="*/ 1713956 h 1898459"/>
                <a:gd name="connsiteX5511" fmla="*/ 958910 w 1556920"/>
                <a:gd name="connsiteY5511" fmla="*/ 1716043 h 1898459"/>
                <a:gd name="connsiteX5512" fmla="*/ 957549 w 1556920"/>
                <a:gd name="connsiteY5512" fmla="*/ 1717979 h 1898459"/>
                <a:gd name="connsiteX5513" fmla="*/ 956792 w 1556920"/>
                <a:gd name="connsiteY5513" fmla="*/ 1720036 h 1898459"/>
                <a:gd name="connsiteX5514" fmla="*/ 957549 w 1556920"/>
                <a:gd name="connsiteY5514" fmla="*/ 1722426 h 1898459"/>
                <a:gd name="connsiteX5515" fmla="*/ 958365 w 1556920"/>
                <a:gd name="connsiteY5515" fmla="*/ 1723908 h 1898459"/>
                <a:gd name="connsiteX5516" fmla="*/ 958789 w 1556920"/>
                <a:gd name="connsiteY5516" fmla="*/ 1725058 h 1898459"/>
                <a:gd name="connsiteX5517" fmla="*/ 959394 w 1556920"/>
                <a:gd name="connsiteY5517" fmla="*/ 1725996 h 1898459"/>
                <a:gd name="connsiteX5518" fmla="*/ 960665 w 1556920"/>
                <a:gd name="connsiteY5518" fmla="*/ 1726813 h 1898459"/>
                <a:gd name="connsiteX5519" fmla="*/ 961784 w 1556920"/>
                <a:gd name="connsiteY5519" fmla="*/ 1727054 h 1898459"/>
                <a:gd name="connsiteX5520" fmla="*/ 965475 w 1556920"/>
                <a:gd name="connsiteY5520" fmla="*/ 1726813 h 1898459"/>
                <a:gd name="connsiteX5521" fmla="*/ 964083 w 1556920"/>
                <a:gd name="connsiteY5521" fmla="*/ 1729535 h 1898459"/>
                <a:gd name="connsiteX5522" fmla="*/ 965142 w 1556920"/>
                <a:gd name="connsiteY5522" fmla="*/ 1731744 h 1898459"/>
                <a:gd name="connsiteX5523" fmla="*/ 967380 w 1556920"/>
                <a:gd name="connsiteY5523" fmla="*/ 1733256 h 1898459"/>
                <a:gd name="connsiteX5524" fmla="*/ 969589 w 1556920"/>
                <a:gd name="connsiteY5524" fmla="*/ 1733831 h 1898459"/>
                <a:gd name="connsiteX5525" fmla="*/ 969195 w 1556920"/>
                <a:gd name="connsiteY5525" fmla="*/ 1735192 h 1898459"/>
                <a:gd name="connsiteX5526" fmla="*/ 968953 w 1556920"/>
                <a:gd name="connsiteY5526" fmla="*/ 1735706 h 1898459"/>
                <a:gd name="connsiteX5527" fmla="*/ 970557 w 1556920"/>
                <a:gd name="connsiteY5527" fmla="*/ 1736977 h 1898459"/>
                <a:gd name="connsiteX5528" fmla="*/ 971585 w 1556920"/>
                <a:gd name="connsiteY5528" fmla="*/ 1737552 h 1898459"/>
                <a:gd name="connsiteX5529" fmla="*/ 972705 w 1556920"/>
                <a:gd name="connsiteY5529" fmla="*/ 1737764 h 1898459"/>
                <a:gd name="connsiteX5530" fmla="*/ 973521 w 1556920"/>
                <a:gd name="connsiteY5530" fmla="*/ 1737431 h 1898459"/>
                <a:gd name="connsiteX5531" fmla="*/ 974883 w 1556920"/>
                <a:gd name="connsiteY5531" fmla="*/ 1736009 h 1898459"/>
                <a:gd name="connsiteX5532" fmla="*/ 975457 w 1556920"/>
                <a:gd name="connsiteY5532" fmla="*/ 1735676 h 1898459"/>
                <a:gd name="connsiteX5533" fmla="*/ 976456 w 1556920"/>
                <a:gd name="connsiteY5533" fmla="*/ 1735374 h 1898459"/>
                <a:gd name="connsiteX5534" fmla="*/ 979027 w 1556920"/>
                <a:gd name="connsiteY5534" fmla="*/ 1734012 h 1898459"/>
                <a:gd name="connsiteX5535" fmla="*/ 979965 w 1556920"/>
                <a:gd name="connsiteY5535" fmla="*/ 1733800 h 1898459"/>
                <a:gd name="connsiteX5536" fmla="*/ 981084 w 1556920"/>
                <a:gd name="connsiteY5536" fmla="*/ 1734285 h 1898459"/>
                <a:gd name="connsiteX5537" fmla="*/ 987709 w 1556920"/>
                <a:gd name="connsiteY5537" fmla="*/ 1739851 h 1898459"/>
                <a:gd name="connsiteX5538" fmla="*/ 993548 w 1556920"/>
                <a:gd name="connsiteY5538" fmla="*/ 1746536 h 1898459"/>
                <a:gd name="connsiteX5539" fmla="*/ 997299 w 1556920"/>
                <a:gd name="connsiteY5539" fmla="*/ 1749682 h 1898459"/>
                <a:gd name="connsiteX5540" fmla="*/ 998781 w 1556920"/>
                <a:gd name="connsiteY5540" fmla="*/ 1748140 h 1898459"/>
                <a:gd name="connsiteX5541" fmla="*/ 1000354 w 1556920"/>
                <a:gd name="connsiteY5541" fmla="*/ 1748321 h 1898459"/>
                <a:gd name="connsiteX5542" fmla="*/ 1002200 w 1556920"/>
                <a:gd name="connsiteY5542" fmla="*/ 1749138 h 1898459"/>
                <a:gd name="connsiteX5543" fmla="*/ 1004438 w 1556920"/>
                <a:gd name="connsiteY5543" fmla="*/ 1749652 h 1898459"/>
                <a:gd name="connsiteX5544" fmla="*/ 1006163 w 1556920"/>
                <a:gd name="connsiteY5544" fmla="*/ 1749471 h 1898459"/>
                <a:gd name="connsiteX5545" fmla="*/ 1010216 w 1556920"/>
                <a:gd name="connsiteY5545" fmla="*/ 1748382 h 1898459"/>
                <a:gd name="connsiteX5546" fmla="*/ 1011729 w 1556920"/>
                <a:gd name="connsiteY5546" fmla="*/ 1747656 h 1898459"/>
                <a:gd name="connsiteX5547" fmla="*/ 1010942 w 1556920"/>
                <a:gd name="connsiteY5547" fmla="*/ 1744025 h 1898459"/>
                <a:gd name="connsiteX5548" fmla="*/ 1011517 w 1556920"/>
                <a:gd name="connsiteY5548" fmla="*/ 1740637 h 1898459"/>
                <a:gd name="connsiteX5549" fmla="*/ 1012546 w 1556920"/>
                <a:gd name="connsiteY5549" fmla="*/ 1737612 h 1898459"/>
                <a:gd name="connsiteX5550" fmla="*/ 1013090 w 1556920"/>
                <a:gd name="connsiteY5550" fmla="*/ 1735162 h 1898459"/>
                <a:gd name="connsiteX5551" fmla="*/ 1014149 w 1556920"/>
                <a:gd name="connsiteY5551" fmla="*/ 1733770 h 1898459"/>
                <a:gd name="connsiteX5552" fmla="*/ 1016418 w 1556920"/>
                <a:gd name="connsiteY5552" fmla="*/ 1733196 h 1898459"/>
                <a:gd name="connsiteX5553" fmla="*/ 1018566 w 1556920"/>
                <a:gd name="connsiteY5553" fmla="*/ 1732016 h 1898459"/>
                <a:gd name="connsiteX5554" fmla="*/ 1019292 w 1556920"/>
                <a:gd name="connsiteY5554" fmla="*/ 1728779 h 1898459"/>
                <a:gd name="connsiteX5555" fmla="*/ 1020925 w 1556920"/>
                <a:gd name="connsiteY5555" fmla="*/ 1730049 h 1898459"/>
                <a:gd name="connsiteX5556" fmla="*/ 1022498 w 1556920"/>
                <a:gd name="connsiteY5556" fmla="*/ 1730533 h 1898459"/>
                <a:gd name="connsiteX5557" fmla="*/ 1023709 w 1556920"/>
                <a:gd name="connsiteY5557" fmla="*/ 1729747 h 1898459"/>
                <a:gd name="connsiteX5558" fmla="*/ 1024404 w 1556920"/>
                <a:gd name="connsiteY5558" fmla="*/ 1726117 h 1898459"/>
                <a:gd name="connsiteX5559" fmla="*/ 1024919 w 1556920"/>
                <a:gd name="connsiteY5559" fmla="*/ 1725360 h 1898459"/>
                <a:gd name="connsiteX5560" fmla="*/ 1025705 w 1556920"/>
                <a:gd name="connsiteY5560" fmla="*/ 1724937 h 1898459"/>
                <a:gd name="connsiteX5561" fmla="*/ 1026613 w 1556920"/>
                <a:gd name="connsiteY5561" fmla="*/ 1724816 h 1898459"/>
                <a:gd name="connsiteX5562" fmla="*/ 1026703 w 1556920"/>
                <a:gd name="connsiteY5562" fmla="*/ 1724301 h 1898459"/>
                <a:gd name="connsiteX5563" fmla="*/ 1027702 w 1556920"/>
                <a:gd name="connsiteY5563" fmla="*/ 1721760 h 1898459"/>
                <a:gd name="connsiteX5564" fmla="*/ 1027702 w 1556920"/>
                <a:gd name="connsiteY5564" fmla="*/ 1720793 h 1898459"/>
                <a:gd name="connsiteX5565" fmla="*/ 1023224 w 1556920"/>
                <a:gd name="connsiteY5565" fmla="*/ 1720974 h 1898459"/>
                <a:gd name="connsiteX5566" fmla="*/ 1021470 w 1556920"/>
                <a:gd name="connsiteY5566" fmla="*/ 1720187 h 1898459"/>
                <a:gd name="connsiteX5567" fmla="*/ 1020774 w 1556920"/>
                <a:gd name="connsiteY5567" fmla="*/ 1717797 h 1898459"/>
                <a:gd name="connsiteX5568" fmla="*/ 1021470 w 1556920"/>
                <a:gd name="connsiteY5568" fmla="*/ 1715710 h 1898459"/>
                <a:gd name="connsiteX5569" fmla="*/ 1023224 w 1556920"/>
                <a:gd name="connsiteY5569" fmla="*/ 1714500 h 1898459"/>
                <a:gd name="connsiteX5570" fmla="*/ 1025463 w 1556920"/>
                <a:gd name="connsiteY5570" fmla="*/ 1713986 h 1898459"/>
                <a:gd name="connsiteX5571" fmla="*/ 1027702 w 1556920"/>
                <a:gd name="connsiteY5571" fmla="*/ 1713835 h 1898459"/>
                <a:gd name="connsiteX5572" fmla="*/ 1025947 w 1556920"/>
                <a:gd name="connsiteY5572" fmla="*/ 1707754 h 1898459"/>
                <a:gd name="connsiteX5573" fmla="*/ 1025856 w 1556920"/>
                <a:gd name="connsiteY5573" fmla="*/ 1704911 h 1898459"/>
                <a:gd name="connsiteX5574" fmla="*/ 1026976 w 1556920"/>
                <a:gd name="connsiteY5574" fmla="*/ 1700947 h 1898459"/>
                <a:gd name="connsiteX5575" fmla="*/ 1028307 w 1556920"/>
                <a:gd name="connsiteY5575" fmla="*/ 1697983 h 1898459"/>
                <a:gd name="connsiteX5576" fmla="*/ 1029759 w 1556920"/>
                <a:gd name="connsiteY5576" fmla="*/ 1695502 h 1898459"/>
                <a:gd name="connsiteX5577" fmla="*/ 1031392 w 1556920"/>
                <a:gd name="connsiteY5577" fmla="*/ 1693506 h 1898459"/>
                <a:gd name="connsiteX5578" fmla="*/ 1033177 w 1556920"/>
                <a:gd name="connsiteY5578" fmla="*/ 1691933 h 1898459"/>
                <a:gd name="connsiteX5579" fmla="*/ 1032300 w 1556920"/>
                <a:gd name="connsiteY5579" fmla="*/ 1689996 h 1898459"/>
                <a:gd name="connsiteX5580" fmla="*/ 1030969 w 1556920"/>
                <a:gd name="connsiteY5580" fmla="*/ 1684975 h 1898459"/>
                <a:gd name="connsiteX5581" fmla="*/ 1029698 w 1556920"/>
                <a:gd name="connsiteY5581" fmla="*/ 1683644 h 1898459"/>
                <a:gd name="connsiteX5582" fmla="*/ 1029608 w 1556920"/>
                <a:gd name="connsiteY5582" fmla="*/ 1682948 h 1898459"/>
                <a:gd name="connsiteX5583" fmla="*/ 1029729 w 1556920"/>
                <a:gd name="connsiteY5583" fmla="*/ 1682282 h 1898459"/>
                <a:gd name="connsiteX5584" fmla="*/ 1030061 w 1556920"/>
                <a:gd name="connsiteY5584" fmla="*/ 1681980 h 1898459"/>
                <a:gd name="connsiteX5585" fmla="*/ 1030636 w 1556920"/>
                <a:gd name="connsiteY5585" fmla="*/ 1682131 h 1898459"/>
                <a:gd name="connsiteX5586" fmla="*/ 1030939 w 1556920"/>
                <a:gd name="connsiteY5586" fmla="*/ 1682434 h 1898459"/>
                <a:gd name="connsiteX5587" fmla="*/ 1031150 w 1556920"/>
                <a:gd name="connsiteY5587" fmla="*/ 1682736 h 1898459"/>
                <a:gd name="connsiteX5588" fmla="*/ 1031453 w 1556920"/>
                <a:gd name="connsiteY5588" fmla="*/ 1682887 h 1898459"/>
                <a:gd name="connsiteX5589" fmla="*/ 1031846 w 1556920"/>
                <a:gd name="connsiteY5589" fmla="*/ 1683462 h 1898459"/>
                <a:gd name="connsiteX5590" fmla="*/ 1033147 w 1556920"/>
                <a:gd name="connsiteY5590" fmla="*/ 1686941 h 1898459"/>
                <a:gd name="connsiteX5591" fmla="*/ 1034387 w 1556920"/>
                <a:gd name="connsiteY5591" fmla="*/ 1689149 h 1898459"/>
                <a:gd name="connsiteX5592" fmla="*/ 1035749 w 1556920"/>
                <a:gd name="connsiteY5592" fmla="*/ 1690329 h 1898459"/>
                <a:gd name="connsiteX5593" fmla="*/ 1037443 w 1556920"/>
                <a:gd name="connsiteY5593" fmla="*/ 1690813 h 1898459"/>
                <a:gd name="connsiteX5594" fmla="*/ 1039712 w 1556920"/>
                <a:gd name="connsiteY5594" fmla="*/ 1690934 h 1898459"/>
                <a:gd name="connsiteX5595" fmla="*/ 1047002 w 1556920"/>
                <a:gd name="connsiteY5595" fmla="*/ 1687969 h 1898459"/>
                <a:gd name="connsiteX5596" fmla="*/ 1048515 w 1556920"/>
                <a:gd name="connsiteY5596" fmla="*/ 1685973 h 1898459"/>
                <a:gd name="connsiteX5597" fmla="*/ 1049422 w 1556920"/>
                <a:gd name="connsiteY5597" fmla="*/ 1684037 h 1898459"/>
                <a:gd name="connsiteX5598" fmla="*/ 1050572 w 1556920"/>
                <a:gd name="connsiteY5598" fmla="*/ 1682555 h 1898459"/>
                <a:gd name="connsiteX5599" fmla="*/ 1054656 w 1556920"/>
                <a:gd name="connsiteY5599" fmla="*/ 1681647 h 1898459"/>
                <a:gd name="connsiteX5600" fmla="*/ 1058014 w 1556920"/>
                <a:gd name="connsiteY5600" fmla="*/ 1680195 h 1898459"/>
                <a:gd name="connsiteX5601" fmla="*/ 1059950 w 1556920"/>
                <a:gd name="connsiteY5601" fmla="*/ 1679893 h 1898459"/>
                <a:gd name="connsiteX5602" fmla="*/ 1061099 w 1556920"/>
                <a:gd name="connsiteY5602" fmla="*/ 1680104 h 1898459"/>
                <a:gd name="connsiteX5603" fmla="*/ 1063035 w 1556920"/>
                <a:gd name="connsiteY5603" fmla="*/ 1680891 h 1898459"/>
                <a:gd name="connsiteX5604" fmla="*/ 1064094 w 1556920"/>
                <a:gd name="connsiteY5604" fmla="*/ 1680982 h 1898459"/>
                <a:gd name="connsiteX5605" fmla="*/ 1065062 w 1556920"/>
                <a:gd name="connsiteY5605" fmla="*/ 1680588 h 1898459"/>
                <a:gd name="connsiteX5606" fmla="*/ 1066726 w 1556920"/>
                <a:gd name="connsiteY5606" fmla="*/ 1679287 h 1898459"/>
                <a:gd name="connsiteX5607" fmla="*/ 1067240 w 1556920"/>
                <a:gd name="connsiteY5607" fmla="*/ 1679015 h 1898459"/>
                <a:gd name="connsiteX5608" fmla="*/ 1069539 w 1556920"/>
                <a:gd name="connsiteY5608" fmla="*/ 1677261 h 1898459"/>
                <a:gd name="connsiteX5609" fmla="*/ 1070719 w 1556920"/>
                <a:gd name="connsiteY5609" fmla="*/ 1676928 h 1898459"/>
                <a:gd name="connsiteX5610" fmla="*/ 1074531 w 1556920"/>
                <a:gd name="connsiteY5610" fmla="*/ 1677926 h 1898459"/>
                <a:gd name="connsiteX5611" fmla="*/ 1076921 w 1556920"/>
                <a:gd name="connsiteY5611" fmla="*/ 1677654 h 1898459"/>
                <a:gd name="connsiteX5612" fmla="*/ 1080490 w 1556920"/>
                <a:gd name="connsiteY5612" fmla="*/ 1675476 h 1898459"/>
                <a:gd name="connsiteX5613" fmla="*/ 1082215 w 1556920"/>
                <a:gd name="connsiteY5613" fmla="*/ 1675113 h 1898459"/>
                <a:gd name="connsiteX5614" fmla="*/ 1088084 w 1556920"/>
                <a:gd name="connsiteY5614" fmla="*/ 1673873 h 1898459"/>
                <a:gd name="connsiteX5615" fmla="*/ 1090352 w 1556920"/>
                <a:gd name="connsiteY5615" fmla="*/ 1673963 h 1898459"/>
                <a:gd name="connsiteX5616" fmla="*/ 1107656 w 1556920"/>
                <a:gd name="connsiteY5616" fmla="*/ 1679953 h 1898459"/>
                <a:gd name="connsiteX5617" fmla="*/ 1128711 w 1556920"/>
                <a:gd name="connsiteY5617" fmla="*/ 1694867 h 1898459"/>
                <a:gd name="connsiteX5618" fmla="*/ 1131041 w 1556920"/>
                <a:gd name="connsiteY5618" fmla="*/ 1698497 h 1898459"/>
                <a:gd name="connsiteX5619" fmla="*/ 1131131 w 1556920"/>
                <a:gd name="connsiteY5619" fmla="*/ 1704003 h 1898459"/>
                <a:gd name="connsiteX5620" fmla="*/ 1131736 w 1556920"/>
                <a:gd name="connsiteY5620" fmla="*/ 1704003 h 1898459"/>
                <a:gd name="connsiteX5621" fmla="*/ 1133158 w 1556920"/>
                <a:gd name="connsiteY5621" fmla="*/ 1701946 h 1898459"/>
                <a:gd name="connsiteX5622" fmla="*/ 1134217 w 1556920"/>
                <a:gd name="connsiteY5622" fmla="*/ 1699677 h 1898459"/>
                <a:gd name="connsiteX5623" fmla="*/ 1133975 w 1556920"/>
                <a:gd name="connsiteY5623" fmla="*/ 1697831 h 1898459"/>
                <a:gd name="connsiteX5624" fmla="*/ 1131434 w 1556920"/>
                <a:gd name="connsiteY5624" fmla="*/ 1697075 h 1898459"/>
                <a:gd name="connsiteX5625" fmla="*/ 1130526 w 1556920"/>
                <a:gd name="connsiteY5625" fmla="*/ 1695684 h 1898459"/>
                <a:gd name="connsiteX5626" fmla="*/ 1131071 w 1556920"/>
                <a:gd name="connsiteY5626" fmla="*/ 1692568 h 1898459"/>
                <a:gd name="connsiteX5627" fmla="*/ 1132311 w 1556920"/>
                <a:gd name="connsiteY5627" fmla="*/ 1689452 h 1898459"/>
                <a:gd name="connsiteX5628" fmla="*/ 1133491 w 1556920"/>
                <a:gd name="connsiteY5628" fmla="*/ 1688060 h 1898459"/>
                <a:gd name="connsiteX5629" fmla="*/ 1137272 w 1556920"/>
                <a:gd name="connsiteY5629" fmla="*/ 1686880 h 1898459"/>
                <a:gd name="connsiteX5630" fmla="*/ 1139420 w 1556920"/>
                <a:gd name="connsiteY5630" fmla="*/ 1686578 h 1898459"/>
                <a:gd name="connsiteX5631" fmla="*/ 1142869 w 1556920"/>
                <a:gd name="connsiteY5631" fmla="*/ 1688575 h 1898459"/>
                <a:gd name="connsiteX5632" fmla="*/ 1161504 w 1556920"/>
                <a:gd name="connsiteY5632" fmla="*/ 1690511 h 1898459"/>
                <a:gd name="connsiteX5633" fmla="*/ 1169067 w 1556920"/>
                <a:gd name="connsiteY5633" fmla="*/ 1693808 h 1898459"/>
                <a:gd name="connsiteX5634" fmla="*/ 1170761 w 1556920"/>
                <a:gd name="connsiteY5634" fmla="*/ 1694141 h 1898459"/>
                <a:gd name="connsiteX5635" fmla="*/ 1178959 w 1556920"/>
                <a:gd name="connsiteY5635" fmla="*/ 1693990 h 1898459"/>
                <a:gd name="connsiteX5636" fmla="*/ 1180835 w 1556920"/>
                <a:gd name="connsiteY5636" fmla="*/ 1693173 h 1898459"/>
                <a:gd name="connsiteX5637" fmla="*/ 1180623 w 1556920"/>
                <a:gd name="connsiteY5637" fmla="*/ 1691025 h 1898459"/>
                <a:gd name="connsiteX5638" fmla="*/ 1184102 w 1556920"/>
                <a:gd name="connsiteY5638" fmla="*/ 1687032 h 1898459"/>
                <a:gd name="connsiteX5639" fmla="*/ 1183527 w 1556920"/>
                <a:gd name="connsiteY5639" fmla="*/ 1686850 h 1898459"/>
                <a:gd name="connsiteX5640" fmla="*/ 1182044 w 1556920"/>
                <a:gd name="connsiteY5640" fmla="*/ 1685973 h 1898459"/>
                <a:gd name="connsiteX5641" fmla="*/ 1182740 w 1556920"/>
                <a:gd name="connsiteY5641" fmla="*/ 1683492 h 1898459"/>
                <a:gd name="connsiteX5642" fmla="*/ 1182044 w 1556920"/>
                <a:gd name="connsiteY5642" fmla="*/ 1682373 h 1898459"/>
                <a:gd name="connsiteX5643" fmla="*/ 1180562 w 1556920"/>
                <a:gd name="connsiteY5643" fmla="*/ 1682071 h 1898459"/>
                <a:gd name="connsiteX5644" fmla="*/ 1178898 w 1556920"/>
                <a:gd name="connsiteY5644" fmla="*/ 1682071 h 1898459"/>
                <a:gd name="connsiteX5645" fmla="*/ 1177053 w 1556920"/>
                <a:gd name="connsiteY5645" fmla="*/ 1681677 h 1898459"/>
                <a:gd name="connsiteX5646" fmla="*/ 1175873 w 1556920"/>
                <a:gd name="connsiteY5646" fmla="*/ 1680588 h 1898459"/>
                <a:gd name="connsiteX5647" fmla="*/ 1173695 w 1556920"/>
                <a:gd name="connsiteY5647" fmla="*/ 1677018 h 1898459"/>
                <a:gd name="connsiteX5648" fmla="*/ 1172606 w 1556920"/>
                <a:gd name="connsiteY5648" fmla="*/ 1677896 h 1898459"/>
                <a:gd name="connsiteX5649" fmla="*/ 1171487 w 1556920"/>
                <a:gd name="connsiteY5649" fmla="*/ 1678531 h 1898459"/>
                <a:gd name="connsiteX5650" fmla="*/ 1170307 w 1556920"/>
                <a:gd name="connsiteY5650" fmla="*/ 1678924 h 1898459"/>
                <a:gd name="connsiteX5651" fmla="*/ 1168976 w 1556920"/>
                <a:gd name="connsiteY5651" fmla="*/ 1679106 h 1898459"/>
                <a:gd name="connsiteX5652" fmla="*/ 1172455 w 1556920"/>
                <a:gd name="connsiteY5652" fmla="*/ 1673873 h 1898459"/>
                <a:gd name="connsiteX5653" fmla="*/ 1173362 w 1556920"/>
                <a:gd name="connsiteY5653" fmla="*/ 1673147 h 1898459"/>
                <a:gd name="connsiteX5654" fmla="*/ 1173877 w 1556920"/>
                <a:gd name="connsiteY5654" fmla="*/ 1673540 h 1898459"/>
                <a:gd name="connsiteX5655" fmla="*/ 1174633 w 1556920"/>
                <a:gd name="connsiteY5655" fmla="*/ 1675294 h 1898459"/>
                <a:gd name="connsiteX5656" fmla="*/ 1174724 w 1556920"/>
                <a:gd name="connsiteY5656" fmla="*/ 1675445 h 1898459"/>
                <a:gd name="connsiteX5657" fmla="*/ 1175087 w 1556920"/>
                <a:gd name="connsiteY5657" fmla="*/ 1675990 h 1898459"/>
                <a:gd name="connsiteX5658" fmla="*/ 1175904 w 1556920"/>
                <a:gd name="connsiteY5658" fmla="*/ 1676172 h 1898459"/>
                <a:gd name="connsiteX5659" fmla="*/ 1178535 w 1556920"/>
                <a:gd name="connsiteY5659" fmla="*/ 1675990 h 1898459"/>
                <a:gd name="connsiteX5660" fmla="*/ 1182407 w 1556920"/>
                <a:gd name="connsiteY5660" fmla="*/ 1676988 h 1898459"/>
                <a:gd name="connsiteX5661" fmla="*/ 1182710 w 1556920"/>
                <a:gd name="connsiteY5661" fmla="*/ 1677775 h 1898459"/>
                <a:gd name="connsiteX5662" fmla="*/ 1182892 w 1556920"/>
                <a:gd name="connsiteY5662" fmla="*/ 1679257 h 1898459"/>
                <a:gd name="connsiteX5663" fmla="*/ 1183315 w 1556920"/>
                <a:gd name="connsiteY5663" fmla="*/ 1680256 h 1898459"/>
                <a:gd name="connsiteX5664" fmla="*/ 1184404 w 1556920"/>
                <a:gd name="connsiteY5664" fmla="*/ 1679499 h 1898459"/>
                <a:gd name="connsiteX5665" fmla="*/ 1185947 w 1556920"/>
                <a:gd name="connsiteY5665" fmla="*/ 1677805 h 1898459"/>
                <a:gd name="connsiteX5666" fmla="*/ 1187671 w 1556920"/>
                <a:gd name="connsiteY5666" fmla="*/ 1676535 h 1898459"/>
                <a:gd name="connsiteX5667" fmla="*/ 1187732 w 1556920"/>
                <a:gd name="connsiteY5667" fmla="*/ 1676535 h 1898459"/>
                <a:gd name="connsiteX5668" fmla="*/ 1189638 w 1556920"/>
                <a:gd name="connsiteY5668" fmla="*/ 1675536 h 1898459"/>
                <a:gd name="connsiteX5669" fmla="*/ 1191664 w 1556920"/>
                <a:gd name="connsiteY5669" fmla="*/ 1674931 h 1898459"/>
                <a:gd name="connsiteX5670" fmla="*/ 1193903 w 1556920"/>
                <a:gd name="connsiteY5670" fmla="*/ 1674810 h 1898459"/>
                <a:gd name="connsiteX5671" fmla="*/ 1197685 w 1556920"/>
                <a:gd name="connsiteY5671" fmla="*/ 1675476 h 1898459"/>
                <a:gd name="connsiteX5672" fmla="*/ 1200286 w 1556920"/>
                <a:gd name="connsiteY5672" fmla="*/ 1675899 h 1898459"/>
                <a:gd name="connsiteX5673" fmla="*/ 1202101 w 1556920"/>
                <a:gd name="connsiteY5673" fmla="*/ 1675506 h 1898459"/>
                <a:gd name="connsiteX5674" fmla="*/ 1205973 w 1556920"/>
                <a:gd name="connsiteY5674" fmla="*/ 1673630 h 1898459"/>
                <a:gd name="connsiteX5675" fmla="*/ 1208182 w 1556920"/>
                <a:gd name="connsiteY5675" fmla="*/ 1673025 h 1898459"/>
                <a:gd name="connsiteX5676" fmla="*/ 1210451 w 1556920"/>
                <a:gd name="connsiteY5676" fmla="*/ 1673025 h 1898459"/>
                <a:gd name="connsiteX5677" fmla="*/ 1217348 w 1556920"/>
                <a:gd name="connsiteY5677" fmla="*/ 1674205 h 1898459"/>
                <a:gd name="connsiteX5678" fmla="*/ 1219496 w 1556920"/>
                <a:gd name="connsiteY5678" fmla="*/ 1675536 h 1898459"/>
                <a:gd name="connsiteX5679" fmla="*/ 1221462 w 1556920"/>
                <a:gd name="connsiteY5679" fmla="*/ 1676081 h 1898459"/>
                <a:gd name="connsiteX5680" fmla="*/ 1221644 w 1556920"/>
                <a:gd name="connsiteY5680" fmla="*/ 1676081 h 1898459"/>
                <a:gd name="connsiteX5681" fmla="*/ 1221855 w 1556920"/>
                <a:gd name="connsiteY5681" fmla="*/ 1675445 h 1898459"/>
                <a:gd name="connsiteX5682" fmla="*/ 1225123 w 1556920"/>
                <a:gd name="connsiteY5682" fmla="*/ 1669909 h 1898459"/>
                <a:gd name="connsiteX5683" fmla="*/ 1228420 w 1556920"/>
                <a:gd name="connsiteY5683" fmla="*/ 1670454 h 1898459"/>
                <a:gd name="connsiteX5684" fmla="*/ 1228874 w 1556920"/>
                <a:gd name="connsiteY5684" fmla="*/ 1670394 h 1898459"/>
                <a:gd name="connsiteX5685" fmla="*/ 1230023 w 1556920"/>
                <a:gd name="connsiteY5685" fmla="*/ 1669546 h 1898459"/>
                <a:gd name="connsiteX5686" fmla="*/ 1232625 w 1556920"/>
                <a:gd name="connsiteY5686" fmla="*/ 1668699 h 1898459"/>
                <a:gd name="connsiteX5687" fmla="*/ 1237193 w 1556920"/>
                <a:gd name="connsiteY5687" fmla="*/ 1667913 h 1898459"/>
                <a:gd name="connsiteX5688" fmla="*/ 1237193 w 1556920"/>
                <a:gd name="connsiteY5688" fmla="*/ 1667005 h 1898459"/>
                <a:gd name="connsiteX5689" fmla="*/ 1236558 w 1556920"/>
                <a:gd name="connsiteY5689" fmla="*/ 1666430 h 1898459"/>
                <a:gd name="connsiteX5690" fmla="*/ 1235832 w 1556920"/>
                <a:gd name="connsiteY5690" fmla="*/ 1665916 h 1898459"/>
                <a:gd name="connsiteX5691" fmla="*/ 1237314 w 1556920"/>
                <a:gd name="connsiteY5691" fmla="*/ 1665463 h 1898459"/>
                <a:gd name="connsiteX5692" fmla="*/ 1243757 w 1556920"/>
                <a:gd name="connsiteY5692" fmla="*/ 1664948 h 1898459"/>
                <a:gd name="connsiteX5693" fmla="*/ 1246026 w 1556920"/>
                <a:gd name="connsiteY5693" fmla="*/ 1664192 h 1898459"/>
                <a:gd name="connsiteX5694" fmla="*/ 1246329 w 1556920"/>
                <a:gd name="connsiteY5694" fmla="*/ 1662437 h 1898459"/>
                <a:gd name="connsiteX5695" fmla="*/ 1245452 w 1556920"/>
                <a:gd name="connsiteY5695" fmla="*/ 1660471 h 1898459"/>
                <a:gd name="connsiteX5696" fmla="*/ 1237616 w 1556920"/>
                <a:gd name="connsiteY5696" fmla="*/ 1652364 h 1898459"/>
                <a:gd name="connsiteX5697" fmla="*/ 1235136 w 1556920"/>
                <a:gd name="connsiteY5697" fmla="*/ 1649581 h 1898459"/>
                <a:gd name="connsiteX5698" fmla="*/ 1233895 w 1556920"/>
                <a:gd name="connsiteY5698" fmla="*/ 1649399 h 1898459"/>
                <a:gd name="connsiteX5699" fmla="*/ 1232050 w 1556920"/>
                <a:gd name="connsiteY5699" fmla="*/ 1648280 h 1898459"/>
                <a:gd name="connsiteX5700" fmla="*/ 1231052 w 1556920"/>
                <a:gd name="connsiteY5700" fmla="*/ 1647826 h 1898459"/>
                <a:gd name="connsiteX5701" fmla="*/ 1231052 w 1556920"/>
                <a:gd name="connsiteY5701" fmla="*/ 1646918 h 1898459"/>
                <a:gd name="connsiteX5702" fmla="*/ 1232776 w 1556920"/>
                <a:gd name="connsiteY5702" fmla="*/ 1647796 h 1898459"/>
                <a:gd name="connsiteX5703" fmla="*/ 1243878 w 1556920"/>
                <a:gd name="connsiteY5703" fmla="*/ 1653574 h 1898459"/>
                <a:gd name="connsiteX5704" fmla="*/ 1245936 w 1556920"/>
                <a:gd name="connsiteY5704" fmla="*/ 1655873 h 1898459"/>
                <a:gd name="connsiteX5705" fmla="*/ 1247660 w 1556920"/>
                <a:gd name="connsiteY5705" fmla="*/ 1657809 h 1898459"/>
                <a:gd name="connsiteX5706" fmla="*/ 1248991 w 1556920"/>
                <a:gd name="connsiteY5706" fmla="*/ 1658474 h 1898459"/>
                <a:gd name="connsiteX5707" fmla="*/ 1252288 w 1556920"/>
                <a:gd name="connsiteY5707" fmla="*/ 1659533 h 1898459"/>
                <a:gd name="connsiteX5708" fmla="*/ 1254678 w 1556920"/>
                <a:gd name="connsiteY5708" fmla="*/ 1661439 h 1898459"/>
                <a:gd name="connsiteX5709" fmla="*/ 1257915 w 1556920"/>
                <a:gd name="connsiteY5709" fmla="*/ 1663042 h 1898459"/>
                <a:gd name="connsiteX5710" fmla="*/ 1258581 w 1556920"/>
                <a:gd name="connsiteY5710" fmla="*/ 1664404 h 1898459"/>
                <a:gd name="connsiteX5711" fmla="*/ 1259276 w 1556920"/>
                <a:gd name="connsiteY5711" fmla="*/ 1665311 h 1898459"/>
                <a:gd name="connsiteX5712" fmla="*/ 1260910 w 1556920"/>
                <a:gd name="connsiteY5712" fmla="*/ 1666279 h 1898459"/>
                <a:gd name="connsiteX5713" fmla="*/ 1262755 w 1556920"/>
                <a:gd name="connsiteY5713" fmla="*/ 1666945 h 1898459"/>
                <a:gd name="connsiteX5714" fmla="*/ 1264056 w 1556920"/>
                <a:gd name="connsiteY5714" fmla="*/ 1667005 h 1898459"/>
                <a:gd name="connsiteX5715" fmla="*/ 1265387 w 1556920"/>
                <a:gd name="connsiteY5715" fmla="*/ 1665856 h 1898459"/>
                <a:gd name="connsiteX5716" fmla="*/ 1265750 w 1556920"/>
                <a:gd name="connsiteY5716" fmla="*/ 1664283 h 1898459"/>
                <a:gd name="connsiteX5717" fmla="*/ 1265478 w 1556920"/>
                <a:gd name="connsiteY5717" fmla="*/ 1661439 h 1898459"/>
                <a:gd name="connsiteX5718" fmla="*/ 1264873 w 1556920"/>
                <a:gd name="connsiteY5718" fmla="*/ 1660501 h 1898459"/>
                <a:gd name="connsiteX5719" fmla="*/ 1261364 w 1556920"/>
                <a:gd name="connsiteY5719" fmla="*/ 1657779 h 1898459"/>
                <a:gd name="connsiteX5720" fmla="*/ 1262846 w 1556920"/>
                <a:gd name="connsiteY5720" fmla="*/ 1657355 h 1898459"/>
                <a:gd name="connsiteX5721" fmla="*/ 1269048 w 1556920"/>
                <a:gd name="connsiteY5721" fmla="*/ 1656902 h 1898459"/>
                <a:gd name="connsiteX5722" fmla="*/ 1269138 w 1556920"/>
                <a:gd name="connsiteY5722" fmla="*/ 1656902 h 1898459"/>
                <a:gd name="connsiteX5723" fmla="*/ 1270953 w 1556920"/>
                <a:gd name="connsiteY5723" fmla="*/ 1657779 h 1898459"/>
                <a:gd name="connsiteX5724" fmla="*/ 1270348 w 1556920"/>
                <a:gd name="connsiteY5724" fmla="*/ 1659775 h 1898459"/>
                <a:gd name="connsiteX5725" fmla="*/ 1268503 w 1556920"/>
                <a:gd name="connsiteY5725" fmla="*/ 1662286 h 1898459"/>
                <a:gd name="connsiteX5726" fmla="*/ 1267565 w 1556920"/>
                <a:gd name="connsiteY5726" fmla="*/ 1664827 h 1898459"/>
                <a:gd name="connsiteX5727" fmla="*/ 1269592 w 1556920"/>
                <a:gd name="connsiteY5727" fmla="*/ 1666945 h 1898459"/>
                <a:gd name="connsiteX5728" fmla="*/ 1272254 w 1556920"/>
                <a:gd name="connsiteY5728" fmla="*/ 1666642 h 1898459"/>
                <a:gd name="connsiteX5729" fmla="*/ 1273616 w 1556920"/>
                <a:gd name="connsiteY5729" fmla="*/ 1663859 h 1898459"/>
                <a:gd name="connsiteX5730" fmla="*/ 1274523 w 1556920"/>
                <a:gd name="connsiteY5730" fmla="*/ 1660350 h 1898459"/>
                <a:gd name="connsiteX5731" fmla="*/ 1275824 w 1556920"/>
                <a:gd name="connsiteY5731" fmla="*/ 1657748 h 1898459"/>
                <a:gd name="connsiteX5732" fmla="*/ 1277730 w 1556920"/>
                <a:gd name="connsiteY5732" fmla="*/ 1657265 h 1898459"/>
                <a:gd name="connsiteX5733" fmla="*/ 1280846 w 1556920"/>
                <a:gd name="connsiteY5733" fmla="*/ 1657265 h 1898459"/>
                <a:gd name="connsiteX5734" fmla="*/ 1284022 w 1556920"/>
                <a:gd name="connsiteY5734" fmla="*/ 1657839 h 1898459"/>
                <a:gd name="connsiteX5735" fmla="*/ 1284960 w 1556920"/>
                <a:gd name="connsiteY5735" fmla="*/ 1658323 h 1898459"/>
                <a:gd name="connsiteX5736" fmla="*/ 1286049 w 1556920"/>
                <a:gd name="connsiteY5736" fmla="*/ 1658898 h 1898459"/>
                <a:gd name="connsiteX5737" fmla="*/ 1285051 w 1556920"/>
                <a:gd name="connsiteY5737" fmla="*/ 1660864 h 1898459"/>
                <a:gd name="connsiteX5738" fmla="*/ 1285777 w 1556920"/>
                <a:gd name="connsiteY5738" fmla="*/ 1661046 h 1898459"/>
                <a:gd name="connsiteX5739" fmla="*/ 1287017 w 1556920"/>
                <a:gd name="connsiteY5739" fmla="*/ 1660410 h 1898459"/>
                <a:gd name="connsiteX5740" fmla="*/ 1287501 w 1556920"/>
                <a:gd name="connsiteY5740" fmla="*/ 1659927 h 1898459"/>
                <a:gd name="connsiteX5741" fmla="*/ 1288651 w 1556920"/>
                <a:gd name="connsiteY5741" fmla="*/ 1660532 h 1898459"/>
                <a:gd name="connsiteX5742" fmla="*/ 1290617 w 1556920"/>
                <a:gd name="connsiteY5742" fmla="*/ 1662347 h 1898459"/>
                <a:gd name="connsiteX5743" fmla="*/ 1291615 w 1556920"/>
                <a:gd name="connsiteY5743" fmla="*/ 1663012 h 1898459"/>
                <a:gd name="connsiteX5744" fmla="*/ 1291615 w 1556920"/>
                <a:gd name="connsiteY5744" fmla="*/ 1663920 h 1898459"/>
                <a:gd name="connsiteX5745" fmla="*/ 1288711 w 1556920"/>
                <a:gd name="connsiteY5745" fmla="*/ 1665009 h 1898459"/>
                <a:gd name="connsiteX5746" fmla="*/ 1287380 w 1556920"/>
                <a:gd name="connsiteY5746" fmla="*/ 1665947 h 1898459"/>
                <a:gd name="connsiteX5747" fmla="*/ 1286805 w 1556920"/>
                <a:gd name="connsiteY5747" fmla="*/ 1667459 h 1898459"/>
                <a:gd name="connsiteX5748" fmla="*/ 1287562 w 1556920"/>
                <a:gd name="connsiteY5748" fmla="*/ 1668336 h 1898459"/>
                <a:gd name="connsiteX5749" fmla="*/ 1296758 w 1556920"/>
                <a:gd name="connsiteY5749" fmla="*/ 1673751 h 1898459"/>
                <a:gd name="connsiteX5750" fmla="*/ 1299057 w 1556920"/>
                <a:gd name="connsiteY5750" fmla="*/ 1674447 h 1898459"/>
                <a:gd name="connsiteX5751" fmla="*/ 1300963 w 1556920"/>
                <a:gd name="connsiteY5751" fmla="*/ 1673449 h 1898459"/>
                <a:gd name="connsiteX5752" fmla="*/ 1301447 w 1556920"/>
                <a:gd name="connsiteY5752" fmla="*/ 1671936 h 1898459"/>
                <a:gd name="connsiteX5753" fmla="*/ 1300751 w 1556920"/>
                <a:gd name="connsiteY5753" fmla="*/ 1669183 h 1898459"/>
                <a:gd name="connsiteX5754" fmla="*/ 1301326 w 1556920"/>
                <a:gd name="connsiteY5754" fmla="*/ 1667913 h 1898459"/>
                <a:gd name="connsiteX5755" fmla="*/ 1302264 w 1556920"/>
                <a:gd name="connsiteY5755" fmla="*/ 1667580 h 1898459"/>
                <a:gd name="connsiteX5756" fmla="*/ 1303111 w 1556920"/>
                <a:gd name="connsiteY5756" fmla="*/ 1668034 h 1898459"/>
                <a:gd name="connsiteX5757" fmla="*/ 1303958 w 1556920"/>
                <a:gd name="connsiteY5757" fmla="*/ 1668699 h 1898459"/>
                <a:gd name="connsiteX5758" fmla="*/ 1304835 w 1556920"/>
                <a:gd name="connsiteY5758" fmla="*/ 1669002 h 1898459"/>
                <a:gd name="connsiteX5759" fmla="*/ 1321322 w 1556920"/>
                <a:gd name="connsiteY5759" fmla="*/ 1663920 h 1898459"/>
                <a:gd name="connsiteX5760" fmla="*/ 1338566 w 1556920"/>
                <a:gd name="connsiteY5760" fmla="*/ 1663920 h 1898459"/>
                <a:gd name="connsiteX5761" fmla="*/ 1351422 w 1556920"/>
                <a:gd name="connsiteY5761" fmla="*/ 1659654 h 1898459"/>
                <a:gd name="connsiteX5762" fmla="*/ 1355113 w 1556920"/>
                <a:gd name="connsiteY5762" fmla="*/ 1661016 h 1898459"/>
                <a:gd name="connsiteX5763" fmla="*/ 1357564 w 1556920"/>
                <a:gd name="connsiteY5763" fmla="*/ 1659806 h 1898459"/>
                <a:gd name="connsiteX5764" fmla="*/ 1357836 w 1556920"/>
                <a:gd name="connsiteY5764" fmla="*/ 1659684 h 1898459"/>
                <a:gd name="connsiteX5765" fmla="*/ 1361163 w 1556920"/>
                <a:gd name="connsiteY5765" fmla="*/ 1659987 h 1898459"/>
                <a:gd name="connsiteX5766" fmla="*/ 1380343 w 1556920"/>
                <a:gd name="connsiteY5766" fmla="*/ 1666430 h 1898459"/>
                <a:gd name="connsiteX5767" fmla="*/ 1382067 w 1556920"/>
                <a:gd name="connsiteY5767" fmla="*/ 1667005 h 1898459"/>
                <a:gd name="connsiteX5768" fmla="*/ 1386332 w 1556920"/>
                <a:gd name="connsiteY5768" fmla="*/ 1667278 h 1898459"/>
                <a:gd name="connsiteX5769" fmla="*/ 1388208 w 1556920"/>
                <a:gd name="connsiteY5769" fmla="*/ 1667853 h 1898459"/>
                <a:gd name="connsiteX5770" fmla="*/ 1389963 w 1556920"/>
                <a:gd name="connsiteY5770" fmla="*/ 1669456 h 1898459"/>
                <a:gd name="connsiteX5771" fmla="*/ 1390870 w 1556920"/>
                <a:gd name="connsiteY5771" fmla="*/ 1669940 h 1898459"/>
                <a:gd name="connsiteX5772" fmla="*/ 1394410 w 1556920"/>
                <a:gd name="connsiteY5772" fmla="*/ 1669940 h 1898459"/>
                <a:gd name="connsiteX5773" fmla="*/ 1395499 w 1556920"/>
                <a:gd name="connsiteY5773" fmla="*/ 1670091 h 1898459"/>
                <a:gd name="connsiteX5774" fmla="*/ 1400097 w 1556920"/>
                <a:gd name="connsiteY5774" fmla="*/ 1671694 h 1898459"/>
                <a:gd name="connsiteX5775" fmla="*/ 1402094 w 1556920"/>
                <a:gd name="connsiteY5775" fmla="*/ 1671967 h 1898459"/>
                <a:gd name="connsiteX5776" fmla="*/ 1405814 w 1556920"/>
                <a:gd name="connsiteY5776" fmla="*/ 1671906 h 1898459"/>
                <a:gd name="connsiteX5777" fmla="*/ 1409535 w 1556920"/>
                <a:gd name="connsiteY5777" fmla="*/ 1667005 h 1898459"/>
                <a:gd name="connsiteX5778" fmla="*/ 1412984 w 1556920"/>
                <a:gd name="connsiteY5778" fmla="*/ 1664918 h 1898459"/>
                <a:gd name="connsiteX5779" fmla="*/ 1413196 w 1556920"/>
                <a:gd name="connsiteY5779" fmla="*/ 1664343 h 1898459"/>
                <a:gd name="connsiteX5780" fmla="*/ 1414194 w 1556920"/>
                <a:gd name="connsiteY5780" fmla="*/ 1662800 h 1898459"/>
                <a:gd name="connsiteX5781" fmla="*/ 1415313 w 1556920"/>
                <a:gd name="connsiteY5781" fmla="*/ 1661439 h 1898459"/>
                <a:gd name="connsiteX5782" fmla="*/ 1415827 w 1556920"/>
                <a:gd name="connsiteY5782" fmla="*/ 1661439 h 1898459"/>
                <a:gd name="connsiteX5783" fmla="*/ 1419579 w 1556920"/>
                <a:gd name="connsiteY5783" fmla="*/ 1659927 h 1898459"/>
                <a:gd name="connsiteX5784" fmla="*/ 1441390 w 1556920"/>
                <a:gd name="connsiteY5784" fmla="*/ 1655631 h 1898459"/>
                <a:gd name="connsiteX5785" fmla="*/ 1445444 w 1556920"/>
                <a:gd name="connsiteY5785" fmla="*/ 1653937 h 1898459"/>
                <a:gd name="connsiteX5786" fmla="*/ 1455306 w 1556920"/>
                <a:gd name="connsiteY5786" fmla="*/ 1645073 h 1898459"/>
                <a:gd name="connsiteX5787" fmla="*/ 1459299 w 1556920"/>
                <a:gd name="connsiteY5787" fmla="*/ 1643863 h 1898459"/>
                <a:gd name="connsiteX5788" fmla="*/ 1466105 w 1556920"/>
                <a:gd name="connsiteY5788" fmla="*/ 1645920 h 1898459"/>
                <a:gd name="connsiteX5789" fmla="*/ 1473698 w 1556920"/>
                <a:gd name="connsiteY5789" fmla="*/ 1648219 h 1898459"/>
                <a:gd name="connsiteX5790" fmla="*/ 1477177 w 1556920"/>
                <a:gd name="connsiteY5790" fmla="*/ 1646949 h 1898459"/>
                <a:gd name="connsiteX5791" fmla="*/ 1476088 w 1556920"/>
                <a:gd name="connsiteY5791" fmla="*/ 1641261 h 1898459"/>
                <a:gd name="connsiteX5792" fmla="*/ 1475816 w 1556920"/>
                <a:gd name="connsiteY5792" fmla="*/ 1637480 h 1898459"/>
                <a:gd name="connsiteX5793" fmla="*/ 1476814 w 1556920"/>
                <a:gd name="connsiteY5793" fmla="*/ 1635786 h 1898459"/>
                <a:gd name="connsiteX5794" fmla="*/ 1481957 w 1556920"/>
                <a:gd name="connsiteY5794" fmla="*/ 1628858 h 1898459"/>
                <a:gd name="connsiteX5795" fmla="*/ 1485920 w 1556920"/>
                <a:gd name="connsiteY5795" fmla="*/ 1625501 h 1898459"/>
                <a:gd name="connsiteX5796" fmla="*/ 1487947 w 1556920"/>
                <a:gd name="connsiteY5796" fmla="*/ 1624230 h 1898459"/>
                <a:gd name="connsiteX5797" fmla="*/ 1489914 w 1556920"/>
                <a:gd name="connsiteY5797" fmla="*/ 1623746 h 1898459"/>
                <a:gd name="connsiteX5798" fmla="*/ 1496508 w 1556920"/>
                <a:gd name="connsiteY5798" fmla="*/ 1623595 h 1898459"/>
                <a:gd name="connsiteX5799" fmla="*/ 1498505 w 1556920"/>
                <a:gd name="connsiteY5799" fmla="*/ 1622838 h 1898459"/>
                <a:gd name="connsiteX5800" fmla="*/ 1499291 w 1556920"/>
                <a:gd name="connsiteY5800" fmla="*/ 1622082 h 1898459"/>
                <a:gd name="connsiteX5801" fmla="*/ 1500138 w 1556920"/>
                <a:gd name="connsiteY5801" fmla="*/ 1621053 h 1898459"/>
                <a:gd name="connsiteX5802" fmla="*/ 1501137 w 1556920"/>
                <a:gd name="connsiteY5802" fmla="*/ 1620116 h 1898459"/>
                <a:gd name="connsiteX5803" fmla="*/ 1502317 w 1556920"/>
                <a:gd name="connsiteY5803" fmla="*/ 1619722 h 1898459"/>
                <a:gd name="connsiteX5804" fmla="*/ 1504495 w 1556920"/>
                <a:gd name="connsiteY5804" fmla="*/ 1619904 h 1898459"/>
                <a:gd name="connsiteX5805" fmla="*/ 1505644 w 1556920"/>
                <a:gd name="connsiteY5805" fmla="*/ 1619813 h 1898459"/>
                <a:gd name="connsiteX5806" fmla="*/ 1508397 w 1556920"/>
                <a:gd name="connsiteY5806" fmla="*/ 1617847 h 1898459"/>
                <a:gd name="connsiteX5807" fmla="*/ 1515113 w 1556920"/>
                <a:gd name="connsiteY5807" fmla="*/ 1615699 h 1898459"/>
                <a:gd name="connsiteX5808" fmla="*/ 1517866 w 1556920"/>
                <a:gd name="connsiteY5808" fmla="*/ 1612674 h 1898459"/>
                <a:gd name="connsiteX5809" fmla="*/ 1519923 w 1556920"/>
                <a:gd name="connsiteY5809" fmla="*/ 1607985 h 1898459"/>
                <a:gd name="connsiteX5810" fmla="*/ 1520770 w 1556920"/>
                <a:gd name="connsiteY5810" fmla="*/ 1602358 h 1898459"/>
                <a:gd name="connsiteX5811" fmla="*/ 1519892 w 1556920"/>
                <a:gd name="connsiteY5811" fmla="*/ 1596519 h 1898459"/>
                <a:gd name="connsiteX5812" fmla="*/ 1518229 w 1556920"/>
                <a:gd name="connsiteY5812" fmla="*/ 1592587 h 1898459"/>
                <a:gd name="connsiteX5813" fmla="*/ 1517503 w 1556920"/>
                <a:gd name="connsiteY5813" fmla="*/ 1590106 h 1898459"/>
                <a:gd name="connsiteX5814" fmla="*/ 1517200 w 1556920"/>
                <a:gd name="connsiteY5814" fmla="*/ 1586930 h 1898459"/>
                <a:gd name="connsiteX5815" fmla="*/ 1517745 w 1556920"/>
                <a:gd name="connsiteY5815" fmla="*/ 1586416 h 1898459"/>
                <a:gd name="connsiteX5816" fmla="*/ 1521344 w 1556920"/>
                <a:gd name="connsiteY5816" fmla="*/ 1586416 h 1898459"/>
                <a:gd name="connsiteX5817" fmla="*/ 1522010 w 1556920"/>
                <a:gd name="connsiteY5817" fmla="*/ 1585931 h 1898459"/>
                <a:gd name="connsiteX5818" fmla="*/ 1522585 w 1556920"/>
                <a:gd name="connsiteY5818" fmla="*/ 1585236 h 1898459"/>
                <a:gd name="connsiteX5819" fmla="*/ 1523069 w 1556920"/>
                <a:gd name="connsiteY5819" fmla="*/ 1584358 h 1898459"/>
                <a:gd name="connsiteX5820" fmla="*/ 1523432 w 1556920"/>
                <a:gd name="connsiteY5820" fmla="*/ 1583421 h 1898459"/>
                <a:gd name="connsiteX5821" fmla="*/ 1524339 w 1556920"/>
                <a:gd name="connsiteY5821" fmla="*/ 1578581 h 1898459"/>
                <a:gd name="connsiteX5822" fmla="*/ 1521889 w 1556920"/>
                <a:gd name="connsiteY5822" fmla="*/ 1577219 h 1898459"/>
                <a:gd name="connsiteX5823" fmla="*/ 1489399 w 1556920"/>
                <a:gd name="connsiteY5823" fmla="*/ 1580002 h 1898459"/>
                <a:gd name="connsiteX5824" fmla="*/ 1476966 w 1556920"/>
                <a:gd name="connsiteY5824" fmla="*/ 1583572 h 1898459"/>
                <a:gd name="connsiteX5825" fmla="*/ 1455548 w 1556920"/>
                <a:gd name="connsiteY5825" fmla="*/ 1581303 h 1898459"/>
                <a:gd name="connsiteX5826" fmla="*/ 1454459 w 1556920"/>
                <a:gd name="connsiteY5826" fmla="*/ 1580244 h 1898459"/>
                <a:gd name="connsiteX5827" fmla="*/ 1453037 w 1556920"/>
                <a:gd name="connsiteY5827" fmla="*/ 1577824 h 1898459"/>
                <a:gd name="connsiteX5828" fmla="*/ 1451948 w 1556920"/>
                <a:gd name="connsiteY5828" fmla="*/ 1575132 h 1898459"/>
                <a:gd name="connsiteX5829" fmla="*/ 1451736 w 1556920"/>
                <a:gd name="connsiteY5829" fmla="*/ 1573226 h 1898459"/>
                <a:gd name="connsiteX5830" fmla="*/ 1449618 w 1556920"/>
                <a:gd name="connsiteY5830" fmla="*/ 1573135 h 1898459"/>
                <a:gd name="connsiteX5831" fmla="*/ 1449134 w 1556920"/>
                <a:gd name="connsiteY5831" fmla="*/ 1574557 h 1898459"/>
                <a:gd name="connsiteX5832" fmla="*/ 1449588 w 1556920"/>
                <a:gd name="connsiteY5832" fmla="*/ 1576614 h 1898459"/>
                <a:gd name="connsiteX5833" fmla="*/ 1450405 w 1556920"/>
                <a:gd name="connsiteY5833" fmla="*/ 1578338 h 1898459"/>
                <a:gd name="connsiteX5834" fmla="*/ 1446291 w 1556920"/>
                <a:gd name="connsiteY5834" fmla="*/ 1577340 h 1898459"/>
                <a:gd name="connsiteX5835" fmla="*/ 1437639 w 1556920"/>
                <a:gd name="connsiteY5835" fmla="*/ 1577340 h 1898459"/>
                <a:gd name="connsiteX5836" fmla="*/ 1436701 w 1556920"/>
                <a:gd name="connsiteY5836" fmla="*/ 1576977 h 1898459"/>
                <a:gd name="connsiteX5837" fmla="*/ 1435945 w 1556920"/>
                <a:gd name="connsiteY5837" fmla="*/ 1576100 h 1898459"/>
                <a:gd name="connsiteX5838" fmla="*/ 1435249 w 1556920"/>
                <a:gd name="connsiteY5838" fmla="*/ 1575071 h 1898459"/>
                <a:gd name="connsiteX5839" fmla="*/ 1434462 w 1556920"/>
                <a:gd name="connsiteY5839" fmla="*/ 1574224 h 1898459"/>
                <a:gd name="connsiteX5840" fmla="*/ 1436308 w 1556920"/>
                <a:gd name="connsiteY5840" fmla="*/ 1573135 h 1898459"/>
                <a:gd name="connsiteX5841" fmla="*/ 1439999 w 1556920"/>
                <a:gd name="connsiteY5841" fmla="*/ 1572318 h 1898459"/>
                <a:gd name="connsiteX5842" fmla="*/ 1443175 w 1556920"/>
                <a:gd name="connsiteY5842" fmla="*/ 1569505 h 1898459"/>
                <a:gd name="connsiteX5843" fmla="*/ 1444748 w 1556920"/>
                <a:gd name="connsiteY5843" fmla="*/ 1569445 h 1898459"/>
                <a:gd name="connsiteX5844" fmla="*/ 1448348 w 1556920"/>
                <a:gd name="connsiteY5844" fmla="*/ 1570201 h 1898459"/>
                <a:gd name="connsiteX5845" fmla="*/ 1450435 w 1556920"/>
                <a:gd name="connsiteY5845" fmla="*/ 1569959 h 1898459"/>
                <a:gd name="connsiteX5846" fmla="*/ 1451433 w 1556920"/>
                <a:gd name="connsiteY5846" fmla="*/ 1569142 h 1898459"/>
                <a:gd name="connsiteX5847" fmla="*/ 1451313 w 1556920"/>
                <a:gd name="connsiteY5847" fmla="*/ 1567720 h 1898459"/>
                <a:gd name="connsiteX5848" fmla="*/ 1450072 w 1556920"/>
                <a:gd name="connsiteY5848" fmla="*/ 1565603 h 1898459"/>
                <a:gd name="connsiteX5849" fmla="*/ 1448590 w 1556920"/>
                <a:gd name="connsiteY5849" fmla="*/ 1564635 h 1898459"/>
                <a:gd name="connsiteX5850" fmla="*/ 1432496 w 1556920"/>
                <a:gd name="connsiteY5850" fmla="*/ 1562456 h 1898459"/>
                <a:gd name="connsiteX5851" fmla="*/ 1425932 w 1556920"/>
                <a:gd name="connsiteY5851" fmla="*/ 1564120 h 1898459"/>
                <a:gd name="connsiteX5852" fmla="*/ 1425448 w 1556920"/>
                <a:gd name="connsiteY5852" fmla="*/ 1564574 h 1898459"/>
                <a:gd name="connsiteX5853" fmla="*/ 1425115 w 1556920"/>
                <a:gd name="connsiteY5853" fmla="*/ 1565633 h 1898459"/>
                <a:gd name="connsiteX5854" fmla="*/ 1424631 w 1556920"/>
                <a:gd name="connsiteY5854" fmla="*/ 1566661 h 1898459"/>
                <a:gd name="connsiteX5855" fmla="*/ 1423784 w 1556920"/>
                <a:gd name="connsiteY5855" fmla="*/ 1567145 h 1898459"/>
                <a:gd name="connsiteX5856" fmla="*/ 1417340 w 1556920"/>
                <a:gd name="connsiteY5856" fmla="*/ 1568174 h 1898459"/>
                <a:gd name="connsiteX5857" fmla="*/ 1418823 w 1556920"/>
                <a:gd name="connsiteY5857" fmla="*/ 1567387 h 1898459"/>
                <a:gd name="connsiteX5858" fmla="*/ 1420335 w 1556920"/>
                <a:gd name="connsiteY5858" fmla="*/ 1566873 h 1898459"/>
                <a:gd name="connsiteX5859" fmla="*/ 1421787 w 1556920"/>
                <a:gd name="connsiteY5859" fmla="*/ 1566087 h 1898459"/>
                <a:gd name="connsiteX5860" fmla="*/ 1423118 w 1556920"/>
                <a:gd name="connsiteY5860" fmla="*/ 1564635 h 1898459"/>
                <a:gd name="connsiteX5861" fmla="*/ 1423753 w 1556920"/>
                <a:gd name="connsiteY5861" fmla="*/ 1562971 h 1898459"/>
                <a:gd name="connsiteX5862" fmla="*/ 1424026 w 1556920"/>
                <a:gd name="connsiteY5862" fmla="*/ 1561458 h 1898459"/>
                <a:gd name="connsiteX5863" fmla="*/ 1424570 w 1556920"/>
                <a:gd name="connsiteY5863" fmla="*/ 1560369 h 1898459"/>
                <a:gd name="connsiteX5864" fmla="*/ 1431558 w 1556920"/>
                <a:gd name="connsiteY5864" fmla="*/ 1558675 h 1898459"/>
                <a:gd name="connsiteX5865" fmla="*/ 1433736 w 1556920"/>
                <a:gd name="connsiteY5865" fmla="*/ 1558554 h 1898459"/>
                <a:gd name="connsiteX5866" fmla="*/ 1434311 w 1556920"/>
                <a:gd name="connsiteY5866" fmla="*/ 1558554 h 1898459"/>
                <a:gd name="connsiteX5867" fmla="*/ 1435914 w 1556920"/>
                <a:gd name="connsiteY5867" fmla="*/ 1559946 h 1898459"/>
                <a:gd name="connsiteX5868" fmla="*/ 1437276 w 1556920"/>
                <a:gd name="connsiteY5868" fmla="*/ 1558735 h 1898459"/>
                <a:gd name="connsiteX5869" fmla="*/ 1438577 w 1556920"/>
                <a:gd name="connsiteY5869" fmla="*/ 1558403 h 1898459"/>
                <a:gd name="connsiteX5870" fmla="*/ 1439938 w 1556920"/>
                <a:gd name="connsiteY5870" fmla="*/ 1558342 h 1898459"/>
                <a:gd name="connsiteX5871" fmla="*/ 1441420 w 1556920"/>
                <a:gd name="connsiteY5871" fmla="*/ 1557888 h 1898459"/>
                <a:gd name="connsiteX5872" fmla="*/ 1443357 w 1556920"/>
                <a:gd name="connsiteY5872" fmla="*/ 1556194 h 1898459"/>
                <a:gd name="connsiteX5873" fmla="*/ 1443477 w 1556920"/>
                <a:gd name="connsiteY5873" fmla="*/ 1555952 h 1898459"/>
                <a:gd name="connsiteX5874" fmla="*/ 1443750 w 1556920"/>
                <a:gd name="connsiteY5874" fmla="*/ 1555952 h 1898459"/>
                <a:gd name="connsiteX5875" fmla="*/ 1444143 w 1556920"/>
                <a:gd name="connsiteY5875" fmla="*/ 1555831 h 1898459"/>
                <a:gd name="connsiteX5876" fmla="*/ 1445474 w 1556920"/>
                <a:gd name="connsiteY5876" fmla="*/ 1555831 h 1898459"/>
                <a:gd name="connsiteX5877" fmla="*/ 1445535 w 1556920"/>
                <a:gd name="connsiteY5877" fmla="*/ 1555952 h 1898459"/>
                <a:gd name="connsiteX5878" fmla="*/ 1448318 w 1556920"/>
                <a:gd name="connsiteY5878" fmla="*/ 1555771 h 1898459"/>
                <a:gd name="connsiteX5879" fmla="*/ 1456304 w 1556920"/>
                <a:gd name="connsiteY5879" fmla="*/ 1556951 h 1898459"/>
                <a:gd name="connsiteX5880" fmla="*/ 1460842 w 1556920"/>
                <a:gd name="connsiteY5880" fmla="*/ 1555650 h 1898459"/>
                <a:gd name="connsiteX5881" fmla="*/ 1462052 w 1556920"/>
                <a:gd name="connsiteY5881" fmla="*/ 1554954 h 1898459"/>
                <a:gd name="connsiteX5882" fmla="*/ 1466589 w 1556920"/>
                <a:gd name="connsiteY5882" fmla="*/ 1552322 h 1898459"/>
                <a:gd name="connsiteX5883" fmla="*/ 1471732 w 1556920"/>
                <a:gd name="connsiteY5883" fmla="*/ 1548026 h 1898459"/>
                <a:gd name="connsiteX5884" fmla="*/ 1474485 w 1556920"/>
                <a:gd name="connsiteY5884" fmla="*/ 1543761 h 1898459"/>
                <a:gd name="connsiteX5885" fmla="*/ 1474122 w 1556920"/>
                <a:gd name="connsiteY5885" fmla="*/ 1543095 h 1898459"/>
                <a:gd name="connsiteX5886" fmla="*/ 1473154 w 1556920"/>
                <a:gd name="connsiteY5886" fmla="*/ 1542581 h 1898459"/>
                <a:gd name="connsiteX5887" fmla="*/ 1470431 w 1556920"/>
                <a:gd name="connsiteY5887" fmla="*/ 1542763 h 1898459"/>
                <a:gd name="connsiteX5888" fmla="*/ 1471974 w 1556920"/>
                <a:gd name="connsiteY5888" fmla="*/ 1541704 h 1898459"/>
                <a:gd name="connsiteX5889" fmla="*/ 1472791 w 1556920"/>
                <a:gd name="connsiteY5889" fmla="*/ 1540978 h 1898459"/>
                <a:gd name="connsiteX5890" fmla="*/ 1473124 w 1556920"/>
                <a:gd name="connsiteY5890" fmla="*/ 1540191 h 1898459"/>
                <a:gd name="connsiteX5891" fmla="*/ 1473124 w 1556920"/>
                <a:gd name="connsiteY5891" fmla="*/ 1536743 h 1898459"/>
                <a:gd name="connsiteX5892" fmla="*/ 1473487 w 1556920"/>
                <a:gd name="connsiteY5892" fmla="*/ 1535472 h 1898459"/>
                <a:gd name="connsiteX5893" fmla="*/ 1474515 w 1556920"/>
                <a:gd name="connsiteY5893" fmla="*/ 1534655 h 1898459"/>
                <a:gd name="connsiteX5894" fmla="*/ 1473729 w 1556920"/>
                <a:gd name="connsiteY5894" fmla="*/ 1532840 h 1898459"/>
                <a:gd name="connsiteX5895" fmla="*/ 1473335 w 1556920"/>
                <a:gd name="connsiteY5895" fmla="*/ 1531691 h 1898459"/>
                <a:gd name="connsiteX5896" fmla="*/ 1473124 w 1556920"/>
                <a:gd name="connsiteY5896" fmla="*/ 1530511 h 1898459"/>
                <a:gd name="connsiteX5897" fmla="*/ 1473366 w 1556920"/>
                <a:gd name="connsiteY5897" fmla="*/ 1530269 h 1898459"/>
                <a:gd name="connsiteX5898" fmla="*/ 1473789 w 1556920"/>
                <a:gd name="connsiteY5898" fmla="*/ 1529149 h 1898459"/>
                <a:gd name="connsiteX5899" fmla="*/ 1474061 w 1556920"/>
                <a:gd name="connsiteY5899" fmla="*/ 1527697 h 1898459"/>
                <a:gd name="connsiteX5900" fmla="*/ 1473880 w 1556920"/>
                <a:gd name="connsiteY5900" fmla="*/ 1526457 h 1898459"/>
                <a:gd name="connsiteX5901" fmla="*/ 1472307 w 1556920"/>
                <a:gd name="connsiteY5901" fmla="*/ 1524975 h 1898459"/>
                <a:gd name="connsiteX5902" fmla="*/ 1470522 w 1556920"/>
                <a:gd name="connsiteY5902" fmla="*/ 1525278 h 1898459"/>
                <a:gd name="connsiteX5903" fmla="*/ 1467618 w 1556920"/>
                <a:gd name="connsiteY5903" fmla="*/ 1527456 h 1898459"/>
                <a:gd name="connsiteX5904" fmla="*/ 1464563 w 1556920"/>
                <a:gd name="connsiteY5904" fmla="*/ 1528635 h 1898459"/>
                <a:gd name="connsiteX5905" fmla="*/ 1458119 w 1556920"/>
                <a:gd name="connsiteY5905" fmla="*/ 1529936 h 1898459"/>
                <a:gd name="connsiteX5906" fmla="*/ 1455275 w 1556920"/>
                <a:gd name="connsiteY5906" fmla="*/ 1532538 h 1898459"/>
                <a:gd name="connsiteX5907" fmla="*/ 1454126 w 1556920"/>
                <a:gd name="connsiteY5907" fmla="*/ 1530178 h 1898459"/>
                <a:gd name="connsiteX5908" fmla="*/ 1452432 w 1556920"/>
                <a:gd name="connsiteY5908" fmla="*/ 1529392 h 1898459"/>
                <a:gd name="connsiteX5909" fmla="*/ 1450587 w 1556920"/>
                <a:gd name="connsiteY5909" fmla="*/ 1529149 h 1898459"/>
                <a:gd name="connsiteX5910" fmla="*/ 1449014 w 1556920"/>
                <a:gd name="connsiteY5910" fmla="*/ 1528454 h 1898459"/>
                <a:gd name="connsiteX5911" fmla="*/ 1451252 w 1556920"/>
                <a:gd name="connsiteY5911" fmla="*/ 1527244 h 1898459"/>
                <a:gd name="connsiteX5912" fmla="*/ 1455911 w 1556920"/>
                <a:gd name="connsiteY5912" fmla="*/ 1525550 h 1898459"/>
                <a:gd name="connsiteX5913" fmla="*/ 1458391 w 1556920"/>
                <a:gd name="connsiteY5913" fmla="*/ 1525308 h 1898459"/>
                <a:gd name="connsiteX5914" fmla="*/ 1459359 w 1556920"/>
                <a:gd name="connsiteY5914" fmla="*/ 1525519 h 1898459"/>
                <a:gd name="connsiteX5915" fmla="*/ 1461568 w 1556920"/>
                <a:gd name="connsiteY5915" fmla="*/ 1526397 h 1898459"/>
                <a:gd name="connsiteX5916" fmla="*/ 1462808 w 1556920"/>
                <a:gd name="connsiteY5916" fmla="*/ 1526397 h 1898459"/>
                <a:gd name="connsiteX5917" fmla="*/ 1463836 w 1556920"/>
                <a:gd name="connsiteY5917" fmla="*/ 1525973 h 1898459"/>
                <a:gd name="connsiteX5918" fmla="*/ 1465440 w 1556920"/>
                <a:gd name="connsiteY5918" fmla="*/ 1524642 h 1898459"/>
                <a:gd name="connsiteX5919" fmla="*/ 1466620 w 1556920"/>
                <a:gd name="connsiteY5919" fmla="*/ 1524370 h 1898459"/>
                <a:gd name="connsiteX5920" fmla="*/ 1467134 w 1556920"/>
                <a:gd name="connsiteY5920" fmla="*/ 1523553 h 1898459"/>
                <a:gd name="connsiteX5921" fmla="*/ 1467588 w 1556920"/>
                <a:gd name="connsiteY5921" fmla="*/ 1521768 h 1898459"/>
                <a:gd name="connsiteX5922" fmla="*/ 1467890 w 1556920"/>
                <a:gd name="connsiteY5922" fmla="*/ 1519984 h 1898459"/>
                <a:gd name="connsiteX5923" fmla="*/ 1467951 w 1556920"/>
                <a:gd name="connsiteY5923" fmla="*/ 1519167 h 1898459"/>
                <a:gd name="connsiteX5924" fmla="*/ 1468677 w 1556920"/>
                <a:gd name="connsiteY5924" fmla="*/ 1518804 h 1898459"/>
                <a:gd name="connsiteX5925" fmla="*/ 1471793 w 1556920"/>
                <a:gd name="connsiteY5925" fmla="*/ 1516111 h 1898459"/>
                <a:gd name="connsiteX5926" fmla="*/ 1475514 w 1556920"/>
                <a:gd name="connsiteY5926" fmla="*/ 1514447 h 1898459"/>
                <a:gd name="connsiteX5927" fmla="*/ 1477026 w 1556920"/>
                <a:gd name="connsiteY5927" fmla="*/ 1512844 h 1898459"/>
                <a:gd name="connsiteX5928" fmla="*/ 1477299 w 1556920"/>
                <a:gd name="connsiteY5928" fmla="*/ 1510000 h 1898459"/>
                <a:gd name="connsiteX5929" fmla="*/ 1478206 w 1556920"/>
                <a:gd name="connsiteY5929" fmla="*/ 1511997 h 1898459"/>
                <a:gd name="connsiteX5930" fmla="*/ 1481473 w 1556920"/>
                <a:gd name="connsiteY5930" fmla="*/ 1516142 h 1898459"/>
                <a:gd name="connsiteX5931" fmla="*/ 1483077 w 1556920"/>
                <a:gd name="connsiteY5931" fmla="*/ 1519197 h 1898459"/>
                <a:gd name="connsiteX5932" fmla="*/ 1484014 w 1556920"/>
                <a:gd name="connsiteY5932" fmla="*/ 1519953 h 1898459"/>
                <a:gd name="connsiteX5933" fmla="*/ 1485890 w 1556920"/>
                <a:gd name="connsiteY5933" fmla="*/ 1520225 h 1898459"/>
                <a:gd name="connsiteX5934" fmla="*/ 1492939 w 1556920"/>
                <a:gd name="connsiteY5934" fmla="*/ 1519287 h 1898459"/>
                <a:gd name="connsiteX5935" fmla="*/ 1496206 w 1556920"/>
                <a:gd name="connsiteY5935" fmla="*/ 1518017 h 1898459"/>
                <a:gd name="connsiteX5936" fmla="*/ 1501379 w 1556920"/>
                <a:gd name="connsiteY5936" fmla="*/ 1514810 h 1898459"/>
                <a:gd name="connsiteX5937" fmla="*/ 1507126 w 1556920"/>
                <a:gd name="connsiteY5937" fmla="*/ 1509879 h 1898459"/>
                <a:gd name="connsiteX5938" fmla="*/ 1508306 w 1556920"/>
                <a:gd name="connsiteY5938" fmla="*/ 1507520 h 1898459"/>
                <a:gd name="connsiteX5939" fmla="*/ 1508155 w 1556920"/>
                <a:gd name="connsiteY5939" fmla="*/ 1504343 h 1898459"/>
                <a:gd name="connsiteX5940" fmla="*/ 1507731 w 1556920"/>
                <a:gd name="connsiteY5940" fmla="*/ 1504525 h 1898459"/>
                <a:gd name="connsiteX5941" fmla="*/ 1506975 w 1556920"/>
                <a:gd name="connsiteY5941" fmla="*/ 1506037 h 1898459"/>
                <a:gd name="connsiteX5942" fmla="*/ 1505947 w 1556920"/>
                <a:gd name="connsiteY5942" fmla="*/ 1507006 h 1898459"/>
                <a:gd name="connsiteX5943" fmla="*/ 1502256 w 1556920"/>
                <a:gd name="connsiteY5943" fmla="*/ 1506491 h 1898459"/>
                <a:gd name="connsiteX5944" fmla="*/ 1500683 w 1556920"/>
                <a:gd name="connsiteY5944" fmla="*/ 1505856 h 1898459"/>
                <a:gd name="connsiteX5945" fmla="*/ 1499412 w 1556920"/>
                <a:gd name="connsiteY5945" fmla="*/ 1504948 h 1898459"/>
                <a:gd name="connsiteX5946" fmla="*/ 1507368 w 1556920"/>
                <a:gd name="connsiteY5946" fmla="*/ 1497416 h 1898459"/>
                <a:gd name="connsiteX5947" fmla="*/ 1507701 w 1556920"/>
                <a:gd name="connsiteY5947" fmla="*/ 1494633 h 1898459"/>
                <a:gd name="connsiteX5948" fmla="*/ 1505705 w 1556920"/>
                <a:gd name="connsiteY5948" fmla="*/ 1495752 h 1898459"/>
                <a:gd name="connsiteX5949" fmla="*/ 1488945 w 1556920"/>
                <a:gd name="connsiteY5949" fmla="*/ 1494754 h 1898459"/>
                <a:gd name="connsiteX5950" fmla="*/ 1486283 w 1556920"/>
                <a:gd name="connsiteY5950" fmla="*/ 1493604 h 1898459"/>
                <a:gd name="connsiteX5951" fmla="*/ 1488824 w 1556920"/>
                <a:gd name="connsiteY5951" fmla="*/ 1493241 h 1898459"/>
                <a:gd name="connsiteX5952" fmla="*/ 1493725 w 1556920"/>
                <a:gd name="connsiteY5952" fmla="*/ 1491759 h 1898459"/>
                <a:gd name="connsiteX5953" fmla="*/ 1495964 w 1556920"/>
                <a:gd name="connsiteY5953" fmla="*/ 1491608 h 1898459"/>
                <a:gd name="connsiteX5954" fmla="*/ 1498777 w 1556920"/>
                <a:gd name="connsiteY5954" fmla="*/ 1493332 h 1898459"/>
                <a:gd name="connsiteX5955" fmla="*/ 1500048 w 1556920"/>
                <a:gd name="connsiteY5955" fmla="*/ 1493634 h 1898459"/>
                <a:gd name="connsiteX5956" fmla="*/ 1501258 w 1556920"/>
                <a:gd name="connsiteY5956" fmla="*/ 1493514 h 1898459"/>
                <a:gd name="connsiteX5957" fmla="*/ 1503406 w 1556920"/>
                <a:gd name="connsiteY5957" fmla="*/ 1492878 h 1898459"/>
                <a:gd name="connsiteX5958" fmla="*/ 1504585 w 1556920"/>
                <a:gd name="connsiteY5958" fmla="*/ 1492727 h 1898459"/>
                <a:gd name="connsiteX5959" fmla="*/ 1506612 w 1556920"/>
                <a:gd name="connsiteY5959" fmla="*/ 1493211 h 1898459"/>
                <a:gd name="connsiteX5960" fmla="*/ 1506975 w 1556920"/>
                <a:gd name="connsiteY5960" fmla="*/ 1492545 h 1898459"/>
                <a:gd name="connsiteX5961" fmla="*/ 1507036 w 1556920"/>
                <a:gd name="connsiteY5961" fmla="*/ 1490125 h 1898459"/>
                <a:gd name="connsiteX5962" fmla="*/ 1506582 w 1556920"/>
                <a:gd name="connsiteY5962" fmla="*/ 1489460 h 1898459"/>
                <a:gd name="connsiteX5963" fmla="*/ 1505523 w 1556920"/>
                <a:gd name="connsiteY5963" fmla="*/ 1488976 h 1898459"/>
                <a:gd name="connsiteX5964" fmla="*/ 1500894 w 1556920"/>
                <a:gd name="connsiteY5964" fmla="*/ 1487977 h 1898459"/>
                <a:gd name="connsiteX5965" fmla="*/ 1498807 w 1556920"/>
                <a:gd name="connsiteY5965" fmla="*/ 1486586 h 1898459"/>
                <a:gd name="connsiteX5966" fmla="*/ 1495208 w 1556920"/>
                <a:gd name="connsiteY5966" fmla="*/ 1483470 h 1898459"/>
                <a:gd name="connsiteX5967" fmla="*/ 1495208 w 1556920"/>
                <a:gd name="connsiteY5967" fmla="*/ 1482441 h 1898459"/>
                <a:gd name="connsiteX5968" fmla="*/ 1497960 w 1556920"/>
                <a:gd name="connsiteY5968" fmla="*/ 1482956 h 1898459"/>
                <a:gd name="connsiteX5969" fmla="*/ 1502952 w 1556920"/>
                <a:gd name="connsiteY5969" fmla="*/ 1486677 h 1898459"/>
                <a:gd name="connsiteX5970" fmla="*/ 1505916 w 1556920"/>
                <a:gd name="connsiteY5970" fmla="*/ 1487554 h 1898459"/>
                <a:gd name="connsiteX5971" fmla="*/ 1512753 w 1556920"/>
                <a:gd name="connsiteY5971" fmla="*/ 1495692 h 1898459"/>
                <a:gd name="connsiteX5972" fmla="*/ 1513872 w 1556920"/>
                <a:gd name="connsiteY5972" fmla="*/ 1495268 h 1898459"/>
                <a:gd name="connsiteX5973" fmla="*/ 1515022 w 1556920"/>
                <a:gd name="connsiteY5973" fmla="*/ 1493604 h 1898459"/>
                <a:gd name="connsiteX5974" fmla="*/ 1522070 w 1556920"/>
                <a:gd name="connsiteY5974" fmla="*/ 1486434 h 1898459"/>
                <a:gd name="connsiteX5975" fmla="*/ 1524491 w 1556920"/>
                <a:gd name="connsiteY5975" fmla="*/ 1482956 h 1898459"/>
                <a:gd name="connsiteX5976" fmla="*/ 1525186 w 1556920"/>
                <a:gd name="connsiteY5976" fmla="*/ 1482441 h 1898459"/>
                <a:gd name="connsiteX5977" fmla="*/ 1526003 w 1556920"/>
                <a:gd name="connsiteY5977" fmla="*/ 1481443 h 1898459"/>
                <a:gd name="connsiteX5978" fmla="*/ 1526275 w 1556920"/>
                <a:gd name="connsiteY5978" fmla="*/ 1479507 h 1898459"/>
                <a:gd name="connsiteX5979" fmla="*/ 1526790 w 1556920"/>
                <a:gd name="connsiteY5979" fmla="*/ 1478267 h 1898459"/>
                <a:gd name="connsiteX5980" fmla="*/ 1528272 w 1556920"/>
                <a:gd name="connsiteY5980" fmla="*/ 1479356 h 1898459"/>
                <a:gd name="connsiteX5981" fmla="*/ 1529966 w 1556920"/>
                <a:gd name="connsiteY5981" fmla="*/ 1477571 h 1898459"/>
                <a:gd name="connsiteX5982" fmla="*/ 1537892 w 1556920"/>
                <a:gd name="connsiteY5982" fmla="*/ 1474485 h 1898459"/>
                <a:gd name="connsiteX5983" fmla="*/ 1538437 w 1556920"/>
                <a:gd name="connsiteY5983" fmla="*/ 1473638 h 1898459"/>
                <a:gd name="connsiteX5984" fmla="*/ 1538588 w 1556920"/>
                <a:gd name="connsiteY5984" fmla="*/ 1471551 h 1898459"/>
                <a:gd name="connsiteX5985" fmla="*/ 1540040 w 1556920"/>
                <a:gd name="connsiteY5985" fmla="*/ 1467497 h 1898459"/>
                <a:gd name="connsiteX5986" fmla="*/ 1540433 w 1556920"/>
                <a:gd name="connsiteY5986" fmla="*/ 1464775 h 1898459"/>
                <a:gd name="connsiteX5987" fmla="*/ 1542248 w 1556920"/>
                <a:gd name="connsiteY5987" fmla="*/ 1459601 h 1898459"/>
                <a:gd name="connsiteX5988" fmla="*/ 1542793 w 1556920"/>
                <a:gd name="connsiteY5988" fmla="*/ 1456667 h 1898459"/>
                <a:gd name="connsiteX5989" fmla="*/ 1542520 w 1556920"/>
                <a:gd name="connsiteY5989" fmla="*/ 1449861 h 1898459"/>
                <a:gd name="connsiteX5990" fmla="*/ 1542763 w 1556920"/>
                <a:gd name="connsiteY5990" fmla="*/ 1445988 h 1898459"/>
                <a:gd name="connsiteX5991" fmla="*/ 1543821 w 1556920"/>
                <a:gd name="connsiteY5991" fmla="*/ 1444264 h 1898459"/>
                <a:gd name="connsiteX5992" fmla="*/ 1544910 w 1556920"/>
                <a:gd name="connsiteY5992" fmla="*/ 1443175 h 1898459"/>
                <a:gd name="connsiteX5993" fmla="*/ 1548117 w 1556920"/>
                <a:gd name="connsiteY5993" fmla="*/ 1437821 h 1898459"/>
                <a:gd name="connsiteX5994" fmla="*/ 1552564 w 1556920"/>
                <a:gd name="connsiteY5994" fmla="*/ 1426960 h 1898459"/>
                <a:gd name="connsiteX5995" fmla="*/ 1552776 w 1556920"/>
                <a:gd name="connsiteY5995" fmla="*/ 1425508 h 1898459"/>
                <a:gd name="connsiteX5996" fmla="*/ 1552685 w 1556920"/>
                <a:gd name="connsiteY5996" fmla="*/ 1424056 h 1898459"/>
                <a:gd name="connsiteX5997" fmla="*/ 1555226 w 1556920"/>
                <a:gd name="connsiteY5997" fmla="*/ 1416221 h 1898459"/>
                <a:gd name="connsiteX5998" fmla="*/ 1556497 w 1556920"/>
                <a:gd name="connsiteY5998" fmla="*/ 1414769 h 1898459"/>
                <a:gd name="connsiteX5999" fmla="*/ 1556920 w 1556920"/>
                <a:gd name="connsiteY5999" fmla="*/ 1413407 h 1898459"/>
                <a:gd name="connsiteX6000" fmla="*/ 1554561 w 1556920"/>
                <a:gd name="connsiteY6000" fmla="*/ 1406268 h 1898459"/>
                <a:gd name="connsiteX6001" fmla="*/ 1084574 w 1556920"/>
                <a:gd name="connsiteY6001" fmla="*/ 375027 h 1898459"/>
                <a:gd name="connsiteX6002" fmla="*/ 1087418 w 1556920"/>
                <a:gd name="connsiteY6002" fmla="*/ 373303 h 1898459"/>
                <a:gd name="connsiteX6003" fmla="*/ 1087600 w 1556920"/>
                <a:gd name="connsiteY6003" fmla="*/ 371125 h 1898459"/>
                <a:gd name="connsiteX6004" fmla="*/ 1085270 w 1556920"/>
                <a:gd name="connsiteY6004" fmla="*/ 370066 h 1898459"/>
                <a:gd name="connsiteX6005" fmla="*/ 1080642 w 1556920"/>
                <a:gd name="connsiteY6005" fmla="*/ 369703 h 1898459"/>
                <a:gd name="connsiteX6006" fmla="*/ 1076195 w 1556920"/>
                <a:gd name="connsiteY6006" fmla="*/ 370550 h 1898459"/>
                <a:gd name="connsiteX6007" fmla="*/ 1072323 w 1556920"/>
                <a:gd name="connsiteY6007" fmla="*/ 372153 h 1898459"/>
                <a:gd name="connsiteX6008" fmla="*/ 1072323 w 1556920"/>
                <a:gd name="connsiteY6008" fmla="*/ 373272 h 1898459"/>
                <a:gd name="connsiteX6009" fmla="*/ 1079190 w 1556920"/>
                <a:gd name="connsiteY6009" fmla="*/ 373272 h 1898459"/>
                <a:gd name="connsiteX6010" fmla="*/ 1079190 w 1556920"/>
                <a:gd name="connsiteY6010" fmla="*/ 374604 h 1898459"/>
                <a:gd name="connsiteX6011" fmla="*/ 1078010 w 1556920"/>
                <a:gd name="connsiteY6011" fmla="*/ 375390 h 1898459"/>
                <a:gd name="connsiteX6012" fmla="*/ 1076770 w 1556920"/>
                <a:gd name="connsiteY6012" fmla="*/ 375662 h 1898459"/>
                <a:gd name="connsiteX6013" fmla="*/ 1075499 w 1556920"/>
                <a:gd name="connsiteY6013" fmla="*/ 375390 h 1898459"/>
                <a:gd name="connsiteX6014" fmla="*/ 1074319 w 1556920"/>
                <a:gd name="connsiteY6014" fmla="*/ 374604 h 1898459"/>
                <a:gd name="connsiteX6015" fmla="*/ 1077405 w 1556920"/>
                <a:gd name="connsiteY6015" fmla="*/ 379172 h 1898459"/>
                <a:gd name="connsiteX6016" fmla="*/ 1078464 w 1556920"/>
                <a:gd name="connsiteY6016" fmla="*/ 381864 h 1898459"/>
                <a:gd name="connsiteX6017" fmla="*/ 1077102 w 1556920"/>
                <a:gd name="connsiteY6017" fmla="*/ 383134 h 1898459"/>
                <a:gd name="connsiteX6018" fmla="*/ 1077102 w 1556920"/>
                <a:gd name="connsiteY6018" fmla="*/ 384466 h 1898459"/>
                <a:gd name="connsiteX6019" fmla="*/ 1081912 w 1556920"/>
                <a:gd name="connsiteY6019" fmla="*/ 389215 h 1898459"/>
                <a:gd name="connsiteX6020" fmla="*/ 1084121 w 1556920"/>
                <a:gd name="connsiteY6020" fmla="*/ 387854 h 1898459"/>
                <a:gd name="connsiteX6021" fmla="*/ 1084817 w 1556920"/>
                <a:gd name="connsiteY6021" fmla="*/ 386008 h 1898459"/>
                <a:gd name="connsiteX6022" fmla="*/ 1084393 w 1556920"/>
                <a:gd name="connsiteY6022" fmla="*/ 383618 h 1898459"/>
                <a:gd name="connsiteX6023" fmla="*/ 1083304 w 1556920"/>
                <a:gd name="connsiteY6023" fmla="*/ 380593 h 1898459"/>
                <a:gd name="connsiteX6024" fmla="*/ 1084544 w 1556920"/>
                <a:gd name="connsiteY6024" fmla="*/ 379565 h 1898459"/>
                <a:gd name="connsiteX6025" fmla="*/ 1084363 w 1556920"/>
                <a:gd name="connsiteY6025" fmla="*/ 378536 h 1898459"/>
                <a:gd name="connsiteX6026" fmla="*/ 1083818 w 1556920"/>
                <a:gd name="connsiteY6026" fmla="*/ 377326 h 1898459"/>
                <a:gd name="connsiteX6027" fmla="*/ 1084000 w 1556920"/>
                <a:gd name="connsiteY6027" fmla="*/ 375723 h 1898459"/>
                <a:gd name="connsiteX6028" fmla="*/ 1084574 w 1556920"/>
                <a:gd name="connsiteY6028" fmla="*/ 374997 h 1898459"/>
                <a:gd name="connsiteX6029" fmla="*/ 1033389 w 1556920"/>
                <a:gd name="connsiteY6029" fmla="*/ 363683 h 1898459"/>
                <a:gd name="connsiteX6030" fmla="*/ 1034418 w 1556920"/>
                <a:gd name="connsiteY6030" fmla="*/ 363501 h 1898459"/>
                <a:gd name="connsiteX6031" fmla="*/ 1035386 w 1556920"/>
                <a:gd name="connsiteY6031" fmla="*/ 364258 h 1898459"/>
                <a:gd name="connsiteX6032" fmla="*/ 1035870 w 1556920"/>
                <a:gd name="connsiteY6032" fmla="*/ 364469 h 1898459"/>
                <a:gd name="connsiteX6033" fmla="*/ 1037049 w 1556920"/>
                <a:gd name="connsiteY6033" fmla="*/ 363411 h 1898459"/>
                <a:gd name="connsiteX6034" fmla="*/ 1037745 w 1556920"/>
                <a:gd name="connsiteY6034" fmla="*/ 363653 h 1898459"/>
                <a:gd name="connsiteX6035" fmla="*/ 1038260 w 1556920"/>
                <a:gd name="connsiteY6035" fmla="*/ 364742 h 1898459"/>
                <a:gd name="connsiteX6036" fmla="*/ 1038017 w 1556920"/>
                <a:gd name="connsiteY6036" fmla="*/ 365528 h 1898459"/>
                <a:gd name="connsiteX6037" fmla="*/ 1037624 w 1556920"/>
                <a:gd name="connsiteY6037" fmla="*/ 366315 h 1898459"/>
                <a:gd name="connsiteX6038" fmla="*/ 1037745 w 1556920"/>
                <a:gd name="connsiteY6038" fmla="*/ 367343 h 1898459"/>
                <a:gd name="connsiteX6039" fmla="*/ 1039802 w 1556920"/>
                <a:gd name="connsiteY6039" fmla="*/ 371004 h 1898459"/>
                <a:gd name="connsiteX6040" fmla="*/ 1040710 w 1556920"/>
                <a:gd name="connsiteY6040" fmla="*/ 371851 h 1898459"/>
                <a:gd name="connsiteX6041" fmla="*/ 1041859 w 1556920"/>
                <a:gd name="connsiteY6041" fmla="*/ 372667 h 1898459"/>
                <a:gd name="connsiteX6042" fmla="*/ 1042858 w 1556920"/>
                <a:gd name="connsiteY6042" fmla="*/ 373666 h 1898459"/>
                <a:gd name="connsiteX6043" fmla="*/ 1043311 w 1556920"/>
                <a:gd name="connsiteY6043" fmla="*/ 375239 h 1898459"/>
                <a:gd name="connsiteX6044" fmla="*/ 1045248 w 1556920"/>
                <a:gd name="connsiteY6044" fmla="*/ 379807 h 1898459"/>
                <a:gd name="connsiteX6045" fmla="*/ 1045762 w 1556920"/>
                <a:gd name="connsiteY6045" fmla="*/ 380654 h 1898459"/>
                <a:gd name="connsiteX6046" fmla="*/ 1055140 w 1556920"/>
                <a:gd name="connsiteY6046" fmla="*/ 380654 h 1898459"/>
                <a:gd name="connsiteX6047" fmla="*/ 1060131 w 1556920"/>
                <a:gd name="connsiteY6047" fmla="*/ 379293 h 1898459"/>
                <a:gd name="connsiteX6048" fmla="*/ 1062612 w 1556920"/>
                <a:gd name="connsiteY6048" fmla="*/ 375783 h 1898459"/>
                <a:gd name="connsiteX6049" fmla="*/ 1059738 w 1556920"/>
                <a:gd name="connsiteY6049" fmla="*/ 375511 h 1898459"/>
                <a:gd name="connsiteX6050" fmla="*/ 1053869 w 1556920"/>
                <a:gd name="connsiteY6050" fmla="*/ 378143 h 1898459"/>
                <a:gd name="connsiteX6051" fmla="*/ 1050844 w 1556920"/>
                <a:gd name="connsiteY6051" fmla="*/ 378355 h 1898459"/>
                <a:gd name="connsiteX6052" fmla="*/ 1052024 w 1556920"/>
                <a:gd name="connsiteY6052" fmla="*/ 375935 h 1898459"/>
                <a:gd name="connsiteX6053" fmla="*/ 1054172 w 1556920"/>
                <a:gd name="connsiteY6053" fmla="*/ 374422 h 1898459"/>
                <a:gd name="connsiteX6054" fmla="*/ 1056562 w 1556920"/>
                <a:gd name="connsiteY6054" fmla="*/ 373636 h 1898459"/>
                <a:gd name="connsiteX6055" fmla="*/ 1058467 w 1556920"/>
                <a:gd name="connsiteY6055" fmla="*/ 373394 h 1898459"/>
                <a:gd name="connsiteX6056" fmla="*/ 1058467 w 1556920"/>
                <a:gd name="connsiteY6056" fmla="*/ 372274 h 1898459"/>
                <a:gd name="connsiteX6057" fmla="*/ 1057015 w 1556920"/>
                <a:gd name="connsiteY6057" fmla="*/ 370459 h 1898459"/>
                <a:gd name="connsiteX6058" fmla="*/ 1056199 w 1556920"/>
                <a:gd name="connsiteY6058" fmla="*/ 369945 h 1898459"/>
                <a:gd name="connsiteX6059" fmla="*/ 1055019 w 1556920"/>
                <a:gd name="connsiteY6059" fmla="*/ 369824 h 1898459"/>
                <a:gd name="connsiteX6060" fmla="*/ 1055019 w 1556920"/>
                <a:gd name="connsiteY6060" fmla="*/ 368523 h 1898459"/>
                <a:gd name="connsiteX6061" fmla="*/ 1056441 w 1556920"/>
                <a:gd name="connsiteY6061" fmla="*/ 367404 h 1898459"/>
                <a:gd name="connsiteX6062" fmla="*/ 1051116 w 1556920"/>
                <a:gd name="connsiteY6062" fmla="*/ 359780 h 1898459"/>
                <a:gd name="connsiteX6063" fmla="*/ 1049150 w 1556920"/>
                <a:gd name="connsiteY6063" fmla="*/ 358722 h 1898459"/>
                <a:gd name="connsiteX6064" fmla="*/ 1046911 w 1556920"/>
                <a:gd name="connsiteY6064" fmla="*/ 358026 h 1898459"/>
                <a:gd name="connsiteX6065" fmla="*/ 1043463 w 1556920"/>
                <a:gd name="connsiteY6065" fmla="*/ 354849 h 1898459"/>
                <a:gd name="connsiteX6066" fmla="*/ 1041920 w 1556920"/>
                <a:gd name="connsiteY6066" fmla="*/ 353942 h 1898459"/>
                <a:gd name="connsiteX6067" fmla="*/ 1040680 w 1556920"/>
                <a:gd name="connsiteY6067" fmla="*/ 353942 h 1898459"/>
                <a:gd name="connsiteX6068" fmla="*/ 1036263 w 1556920"/>
                <a:gd name="connsiteY6068" fmla="*/ 355454 h 1898459"/>
                <a:gd name="connsiteX6069" fmla="*/ 1033934 w 1556920"/>
                <a:gd name="connsiteY6069" fmla="*/ 357602 h 1898459"/>
                <a:gd name="connsiteX6070" fmla="*/ 1033722 w 1556920"/>
                <a:gd name="connsiteY6070" fmla="*/ 358268 h 1898459"/>
                <a:gd name="connsiteX6071" fmla="*/ 1032209 w 1556920"/>
                <a:gd name="connsiteY6071" fmla="*/ 361777 h 1898459"/>
                <a:gd name="connsiteX6072" fmla="*/ 1032542 w 1556920"/>
                <a:gd name="connsiteY6072" fmla="*/ 363592 h 1898459"/>
                <a:gd name="connsiteX6073" fmla="*/ 1033329 w 1556920"/>
                <a:gd name="connsiteY6073" fmla="*/ 363743 h 1898459"/>
                <a:gd name="connsiteX6074" fmla="*/ 1043342 w 1556920"/>
                <a:gd name="connsiteY6074" fmla="*/ 348799 h 1898459"/>
                <a:gd name="connsiteX6075" fmla="*/ 1046730 w 1556920"/>
                <a:gd name="connsiteY6075" fmla="*/ 350009 h 1898459"/>
                <a:gd name="connsiteX6076" fmla="*/ 1046730 w 1556920"/>
                <a:gd name="connsiteY6076" fmla="*/ 348890 h 1898459"/>
                <a:gd name="connsiteX6077" fmla="*/ 1049150 w 1556920"/>
                <a:gd name="connsiteY6077" fmla="*/ 346651 h 1898459"/>
                <a:gd name="connsiteX6078" fmla="*/ 1049997 w 1556920"/>
                <a:gd name="connsiteY6078" fmla="*/ 345018 h 1898459"/>
                <a:gd name="connsiteX6079" fmla="*/ 1049483 w 1556920"/>
                <a:gd name="connsiteY6079" fmla="*/ 342688 h 1898459"/>
                <a:gd name="connsiteX6080" fmla="*/ 1049301 w 1556920"/>
                <a:gd name="connsiteY6080" fmla="*/ 342386 h 1898459"/>
                <a:gd name="connsiteX6081" fmla="*/ 1049392 w 1556920"/>
                <a:gd name="connsiteY6081" fmla="*/ 340964 h 1898459"/>
                <a:gd name="connsiteX6082" fmla="*/ 1049029 w 1556920"/>
                <a:gd name="connsiteY6082" fmla="*/ 339845 h 1898459"/>
                <a:gd name="connsiteX6083" fmla="*/ 1048091 w 1556920"/>
                <a:gd name="connsiteY6083" fmla="*/ 339088 h 1898459"/>
                <a:gd name="connsiteX6084" fmla="*/ 1048938 w 1556920"/>
                <a:gd name="connsiteY6084" fmla="*/ 338483 h 1898459"/>
                <a:gd name="connsiteX6085" fmla="*/ 1049785 w 1556920"/>
                <a:gd name="connsiteY6085" fmla="*/ 338272 h 1898459"/>
                <a:gd name="connsiteX6086" fmla="*/ 1050663 w 1556920"/>
                <a:gd name="connsiteY6086" fmla="*/ 338514 h 1898459"/>
                <a:gd name="connsiteX6087" fmla="*/ 1051600 w 1556920"/>
                <a:gd name="connsiteY6087" fmla="*/ 339088 h 1898459"/>
                <a:gd name="connsiteX6088" fmla="*/ 1051600 w 1556920"/>
                <a:gd name="connsiteY6088" fmla="*/ 337848 h 1898459"/>
                <a:gd name="connsiteX6089" fmla="*/ 1050965 w 1556920"/>
                <a:gd name="connsiteY6089" fmla="*/ 336638 h 1898459"/>
                <a:gd name="connsiteX6090" fmla="*/ 1051086 w 1556920"/>
                <a:gd name="connsiteY6090" fmla="*/ 335609 h 1898459"/>
                <a:gd name="connsiteX6091" fmla="*/ 1051812 w 1556920"/>
                <a:gd name="connsiteY6091" fmla="*/ 334762 h 1898459"/>
                <a:gd name="connsiteX6092" fmla="*/ 1052901 w 1556920"/>
                <a:gd name="connsiteY6092" fmla="*/ 334157 h 1898459"/>
                <a:gd name="connsiteX6093" fmla="*/ 1053234 w 1556920"/>
                <a:gd name="connsiteY6093" fmla="*/ 335488 h 1898459"/>
                <a:gd name="connsiteX6094" fmla="*/ 1053657 w 1556920"/>
                <a:gd name="connsiteY6094" fmla="*/ 336759 h 1898459"/>
                <a:gd name="connsiteX6095" fmla="*/ 1054232 w 1556920"/>
                <a:gd name="connsiteY6095" fmla="*/ 337969 h 1898459"/>
                <a:gd name="connsiteX6096" fmla="*/ 1054988 w 1556920"/>
                <a:gd name="connsiteY6096" fmla="*/ 339088 h 1898459"/>
                <a:gd name="connsiteX6097" fmla="*/ 1054988 w 1556920"/>
                <a:gd name="connsiteY6097" fmla="*/ 340208 h 1898459"/>
                <a:gd name="connsiteX6098" fmla="*/ 1053385 w 1556920"/>
                <a:gd name="connsiteY6098" fmla="*/ 342658 h 1898459"/>
                <a:gd name="connsiteX6099" fmla="*/ 1052175 w 1556920"/>
                <a:gd name="connsiteY6099" fmla="*/ 346016 h 1898459"/>
                <a:gd name="connsiteX6100" fmla="*/ 1051842 w 1556920"/>
                <a:gd name="connsiteY6100" fmla="*/ 349888 h 1898459"/>
                <a:gd name="connsiteX6101" fmla="*/ 1052901 w 1556920"/>
                <a:gd name="connsiteY6101" fmla="*/ 353881 h 1898459"/>
                <a:gd name="connsiteX6102" fmla="*/ 1055442 w 1556920"/>
                <a:gd name="connsiteY6102" fmla="*/ 356150 h 1898459"/>
                <a:gd name="connsiteX6103" fmla="*/ 1061493 w 1556920"/>
                <a:gd name="connsiteY6103" fmla="*/ 355212 h 1898459"/>
                <a:gd name="connsiteX6104" fmla="*/ 1063973 w 1556920"/>
                <a:gd name="connsiteY6104" fmla="*/ 356211 h 1898459"/>
                <a:gd name="connsiteX6105" fmla="*/ 1064457 w 1556920"/>
                <a:gd name="connsiteY6105" fmla="*/ 354244 h 1898459"/>
                <a:gd name="connsiteX6106" fmla="*/ 1065667 w 1556920"/>
                <a:gd name="connsiteY6106" fmla="*/ 353609 h 1898459"/>
                <a:gd name="connsiteX6107" fmla="*/ 1068783 w 1556920"/>
                <a:gd name="connsiteY6107" fmla="*/ 353881 h 1898459"/>
                <a:gd name="connsiteX6108" fmla="*/ 1067331 w 1556920"/>
                <a:gd name="connsiteY6108" fmla="*/ 351310 h 1898459"/>
                <a:gd name="connsiteX6109" fmla="*/ 1068632 w 1556920"/>
                <a:gd name="connsiteY6109" fmla="*/ 351522 h 1898459"/>
                <a:gd name="connsiteX6110" fmla="*/ 1069630 w 1556920"/>
                <a:gd name="connsiteY6110" fmla="*/ 351976 h 1898459"/>
                <a:gd name="connsiteX6111" fmla="*/ 1070538 w 1556920"/>
                <a:gd name="connsiteY6111" fmla="*/ 352096 h 1898459"/>
                <a:gd name="connsiteX6112" fmla="*/ 1071566 w 1556920"/>
                <a:gd name="connsiteY6112" fmla="*/ 351340 h 1898459"/>
                <a:gd name="connsiteX6113" fmla="*/ 1073442 w 1556920"/>
                <a:gd name="connsiteY6113" fmla="*/ 351794 h 1898459"/>
                <a:gd name="connsiteX6114" fmla="*/ 1075045 w 1556920"/>
                <a:gd name="connsiteY6114" fmla="*/ 350251 h 1898459"/>
                <a:gd name="connsiteX6115" fmla="*/ 1076467 w 1556920"/>
                <a:gd name="connsiteY6115" fmla="*/ 348497 h 1898459"/>
                <a:gd name="connsiteX6116" fmla="*/ 1077738 w 1556920"/>
                <a:gd name="connsiteY6116" fmla="*/ 348255 h 1898459"/>
                <a:gd name="connsiteX6117" fmla="*/ 1078494 w 1556920"/>
                <a:gd name="connsiteY6117" fmla="*/ 349404 h 1898459"/>
                <a:gd name="connsiteX6118" fmla="*/ 1082154 w 1556920"/>
                <a:gd name="connsiteY6118" fmla="*/ 356664 h 1898459"/>
                <a:gd name="connsiteX6119" fmla="*/ 1083213 w 1556920"/>
                <a:gd name="connsiteY6119" fmla="*/ 358177 h 1898459"/>
                <a:gd name="connsiteX6120" fmla="*/ 1084393 w 1556920"/>
                <a:gd name="connsiteY6120" fmla="*/ 359206 h 1898459"/>
                <a:gd name="connsiteX6121" fmla="*/ 1092016 w 1556920"/>
                <a:gd name="connsiteY6121" fmla="*/ 362170 h 1898459"/>
                <a:gd name="connsiteX6122" fmla="*/ 1093589 w 1556920"/>
                <a:gd name="connsiteY6122" fmla="*/ 362352 h 1898459"/>
                <a:gd name="connsiteX6123" fmla="*/ 1095193 w 1556920"/>
                <a:gd name="connsiteY6123" fmla="*/ 361202 h 1898459"/>
                <a:gd name="connsiteX6124" fmla="*/ 1097492 w 1556920"/>
                <a:gd name="connsiteY6124" fmla="*/ 357148 h 1898459"/>
                <a:gd name="connsiteX6125" fmla="*/ 1098823 w 1556920"/>
                <a:gd name="connsiteY6125" fmla="*/ 356241 h 1898459"/>
                <a:gd name="connsiteX6126" fmla="*/ 1102665 w 1556920"/>
                <a:gd name="connsiteY6126" fmla="*/ 355454 h 1898459"/>
                <a:gd name="connsiteX6127" fmla="*/ 1104571 w 1556920"/>
                <a:gd name="connsiteY6127" fmla="*/ 354486 h 1898459"/>
                <a:gd name="connsiteX6128" fmla="*/ 1105387 w 1556920"/>
                <a:gd name="connsiteY6128" fmla="*/ 353246 h 1898459"/>
                <a:gd name="connsiteX6129" fmla="*/ 1105387 w 1556920"/>
                <a:gd name="connsiteY6129" fmla="*/ 350554 h 1898459"/>
                <a:gd name="connsiteX6130" fmla="*/ 1105266 w 1556920"/>
                <a:gd name="connsiteY6130" fmla="*/ 348497 h 1898459"/>
                <a:gd name="connsiteX6131" fmla="*/ 1104661 w 1556920"/>
                <a:gd name="connsiteY6131" fmla="*/ 347075 h 1898459"/>
                <a:gd name="connsiteX6132" fmla="*/ 1103240 w 1556920"/>
                <a:gd name="connsiteY6132" fmla="*/ 346349 h 1898459"/>
                <a:gd name="connsiteX6133" fmla="*/ 1101606 w 1556920"/>
                <a:gd name="connsiteY6133" fmla="*/ 346651 h 1898459"/>
                <a:gd name="connsiteX6134" fmla="*/ 1098218 w 1556920"/>
                <a:gd name="connsiteY6134" fmla="*/ 348739 h 1898459"/>
                <a:gd name="connsiteX6135" fmla="*/ 1096372 w 1556920"/>
                <a:gd name="connsiteY6135" fmla="*/ 348890 h 1898459"/>
                <a:gd name="connsiteX6136" fmla="*/ 1097038 w 1556920"/>
                <a:gd name="connsiteY6136" fmla="*/ 350100 h 1898459"/>
                <a:gd name="connsiteX6137" fmla="*/ 1098460 w 1556920"/>
                <a:gd name="connsiteY6137" fmla="*/ 353881 h 1898459"/>
                <a:gd name="connsiteX6138" fmla="*/ 1096524 w 1556920"/>
                <a:gd name="connsiteY6138" fmla="*/ 354335 h 1898459"/>
                <a:gd name="connsiteX6139" fmla="*/ 1094799 w 1556920"/>
                <a:gd name="connsiteY6139" fmla="*/ 353791 h 1898459"/>
                <a:gd name="connsiteX6140" fmla="*/ 1093347 w 1556920"/>
                <a:gd name="connsiteY6140" fmla="*/ 352308 h 1898459"/>
                <a:gd name="connsiteX6141" fmla="*/ 1092228 w 1556920"/>
                <a:gd name="connsiteY6141" fmla="*/ 349979 h 1898459"/>
                <a:gd name="connsiteX6142" fmla="*/ 1093741 w 1556920"/>
                <a:gd name="connsiteY6142" fmla="*/ 348527 h 1898459"/>
                <a:gd name="connsiteX6143" fmla="*/ 1097825 w 1556920"/>
                <a:gd name="connsiteY6143" fmla="*/ 345774 h 1898459"/>
                <a:gd name="connsiteX6144" fmla="*/ 1098490 w 1556920"/>
                <a:gd name="connsiteY6144" fmla="*/ 343989 h 1898459"/>
                <a:gd name="connsiteX6145" fmla="*/ 1097976 w 1556920"/>
                <a:gd name="connsiteY6145" fmla="*/ 342840 h 1898459"/>
                <a:gd name="connsiteX6146" fmla="*/ 1097008 w 1556920"/>
                <a:gd name="connsiteY6146" fmla="*/ 342477 h 1898459"/>
                <a:gd name="connsiteX6147" fmla="*/ 1094709 w 1556920"/>
                <a:gd name="connsiteY6147" fmla="*/ 342628 h 1898459"/>
                <a:gd name="connsiteX6148" fmla="*/ 1092863 w 1556920"/>
                <a:gd name="connsiteY6148" fmla="*/ 343293 h 1898459"/>
                <a:gd name="connsiteX6149" fmla="*/ 1091200 w 1556920"/>
                <a:gd name="connsiteY6149" fmla="*/ 344624 h 1898459"/>
                <a:gd name="connsiteX6150" fmla="*/ 1089475 w 1556920"/>
                <a:gd name="connsiteY6150" fmla="*/ 345593 h 1898459"/>
                <a:gd name="connsiteX6151" fmla="*/ 1087388 w 1556920"/>
                <a:gd name="connsiteY6151" fmla="*/ 345199 h 1898459"/>
                <a:gd name="connsiteX6152" fmla="*/ 1087600 w 1556920"/>
                <a:gd name="connsiteY6152" fmla="*/ 344322 h 1898459"/>
                <a:gd name="connsiteX6153" fmla="*/ 1087902 w 1556920"/>
                <a:gd name="connsiteY6153" fmla="*/ 342234 h 1898459"/>
                <a:gd name="connsiteX6154" fmla="*/ 1088114 w 1556920"/>
                <a:gd name="connsiteY6154" fmla="*/ 341388 h 1898459"/>
                <a:gd name="connsiteX6155" fmla="*/ 1086389 w 1556920"/>
                <a:gd name="connsiteY6155" fmla="*/ 342688 h 1898459"/>
                <a:gd name="connsiteX6156" fmla="*/ 1085270 w 1556920"/>
                <a:gd name="connsiteY6156" fmla="*/ 341690 h 1898459"/>
                <a:gd name="connsiteX6157" fmla="*/ 1084181 w 1556920"/>
                <a:gd name="connsiteY6157" fmla="*/ 339966 h 1898459"/>
                <a:gd name="connsiteX6158" fmla="*/ 1082608 w 1556920"/>
                <a:gd name="connsiteY6158" fmla="*/ 339058 h 1898459"/>
                <a:gd name="connsiteX6159" fmla="*/ 1081186 w 1556920"/>
                <a:gd name="connsiteY6159" fmla="*/ 339724 h 1898459"/>
                <a:gd name="connsiteX6160" fmla="*/ 1079855 w 1556920"/>
                <a:gd name="connsiteY6160" fmla="*/ 340873 h 1898459"/>
                <a:gd name="connsiteX6161" fmla="*/ 1078433 w 1556920"/>
                <a:gd name="connsiteY6161" fmla="*/ 341236 h 1898459"/>
                <a:gd name="connsiteX6162" fmla="*/ 1074652 w 1556920"/>
                <a:gd name="connsiteY6162" fmla="*/ 337939 h 1898459"/>
                <a:gd name="connsiteX6163" fmla="*/ 1072928 w 1556920"/>
                <a:gd name="connsiteY6163" fmla="*/ 339209 h 1898459"/>
                <a:gd name="connsiteX6164" fmla="*/ 1071385 w 1556920"/>
                <a:gd name="connsiteY6164" fmla="*/ 341418 h 1898459"/>
                <a:gd name="connsiteX6165" fmla="*/ 1069872 w 1556920"/>
                <a:gd name="connsiteY6165" fmla="*/ 342598 h 1898459"/>
                <a:gd name="connsiteX6166" fmla="*/ 1066091 w 1556920"/>
                <a:gd name="connsiteY6166" fmla="*/ 342114 h 1898459"/>
                <a:gd name="connsiteX6167" fmla="*/ 1064124 w 1556920"/>
                <a:gd name="connsiteY6167" fmla="*/ 341357 h 1898459"/>
                <a:gd name="connsiteX6168" fmla="*/ 1062612 w 1556920"/>
                <a:gd name="connsiteY6168" fmla="*/ 340117 h 1898459"/>
                <a:gd name="connsiteX6169" fmla="*/ 1064397 w 1556920"/>
                <a:gd name="connsiteY6169" fmla="*/ 339542 h 1898459"/>
                <a:gd name="connsiteX6170" fmla="*/ 1066726 w 1556920"/>
                <a:gd name="connsiteY6170" fmla="*/ 337636 h 1898459"/>
                <a:gd name="connsiteX6171" fmla="*/ 1068723 w 1556920"/>
                <a:gd name="connsiteY6171" fmla="*/ 335005 h 1898459"/>
                <a:gd name="connsiteX6172" fmla="*/ 1069570 w 1556920"/>
                <a:gd name="connsiteY6172" fmla="*/ 332131 h 1898459"/>
                <a:gd name="connsiteX6173" fmla="*/ 1070477 w 1556920"/>
                <a:gd name="connsiteY6173" fmla="*/ 332524 h 1898459"/>
                <a:gd name="connsiteX6174" fmla="*/ 1076437 w 1556920"/>
                <a:gd name="connsiteY6174" fmla="*/ 330285 h 1898459"/>
                <a:gd name="connsiteX6175" fmla="*/ 1075983 w 1556920"/>
                <a:gd name="connsiteY6175" fmla="*/ 329952 h 1898459"/>
                <a:gd name="connsiteX6176" fmla="*/ 1075499 w 1556920"/>
                <a:gd name="connsiteY6176" fmla="*/ 329438 h 1898459"/>
                <a:gd name="connsiteX6177" fmla="*/ 1075045 w 1556920"/>
                <a:gd name="connsiteY6177" fmla="*/ 329075 h 1898459"/>
                <a:gd name="connsiteX6178" fmla="*/ 1075378 w 1556920"/>
                <a:gd name="connsiteY6178" fmla="*/ 328410 h 1898459"/>
                <a:gd name="connsiteX6179" fmla="*/ 1075681 w 1556920"/>
                <a:gd name="connsiteY6179" fmla="*/ 328137 h 1898459"/>
                <a:gd name="connsiteX6180" fmla="*/ 1076407 w 1556920"/>
                <a:gd name="connsiteY6180" fmla="*/ 327865 h 1898459"/>
                <a:gd name="connsiteX6181" fmla="*/ 1070689 w 1556920"/>
                <a:gd name="connsiteY6181" fmla="*/ 324840 h 1898459"/>
                <a:gd name="connsiteX6182" fmla="*/ 1068783 w 1556920"/>
                <a:gd name="connsiteY6182" fmla="*/ 322843 h 1898459"/>
                <a:gd name="connsiteX6183" fmla="*/ 1069449 w 1556920"/>
                <a:gd name="connsiteY6183" fmla="*/ 322722 h 1898459"/>
                <a:gd name="connsiteX6184" fmla="*/ 1070901 w 1556920"/>
                <a:gd name="connsiteY6184" fmla="*/ 321633 h 1898459"/>
                <a:gd name="connsiteX6185" fmla="*/ 1069963 w 1556920"/>
                <a:gd name="connsiteY6185" fmla="*/ 320968 h 1898459"/>
                <a:gd name="connsiteX6186" fmla="*/ 1068360 w 1556920"/>
                <a:gd name="connsiteY6186" fmla="*/ 318790 h 1898459"/>
                <a:gd name="connsiteX6187" fmla="*/ 1067331 w 1556920"/>
                <a:gd name="connsiteY6187" fmla="*/ 318033 h 1898459"/>
                <a:gd name="connsiteX6188" fmla="*/ 1066182 w 1556920"/>
                <a:gd name="connsiteY6188" fmla="*/ 318154 h 1898459"/>
                <a:gd name="connsiteX6189" fmla="*/ 1064941 w 1556920"/>
                <a:gd name="connsiteY6189" fmla="*/ 318729 h 1898459"/>
                <a:gd name="connsiteX6190" fmla="*/ 1063610 w 1556920"/>
                <a:gd name="connsiteY6190" fmla="*/ 318729 h 1898459"/>
                <a:gd name="connsiteX6191" fmla="*/ 1060131 w 1556920"/>
                <a:gd name="connsiteY6191" fmla="*/ 315462 h 1898459"/>
                <a:gd name="connsiteX6192" fmla="*/ 1057439 w 1556920"/>
                <a:gd name="connsiteY6192" fmla="*/ 314585 h 1898459"/>
                <a:gd name="connsiteX6193" fmla="*/ 1052568 w 1556920"/>
                <a:gd name="connsiteY6193" fmla="*/ 314343 h 1898459"/>
                <a:gd name="connsiteX6194" fmla="*/ 1047728 w 1556920"/>
                <a:gd name="connsiteY6194" fmla="*/ 315220 h 1898459"/>
                <a:gd name="connsiteX6195" fmla="*/ 1043251 w 1556920"/>
                <a:gd name="connsiteY6195" fmla="*/ 318124 h 1898459"/>
                <a:gd name="connsiteX6196" fmla="*/ 1040589 w 1556920"/>
                <a:gd name="connsiteY6196" fmla="*/ 323418 h 1898459"/>
                <a:gd name="connsiteX6197" fmla="*/ 1041224 w 1556920"/>
                <a:gd name="connsiteY6197" fmla="*/ 331556 h 1898459"/>
                <a:gd name="connsiteX6198" fmla="*/ 1040528 w 1556920"/>
                <a:gd name="connsiteY6198" fmla="*/ 332766 h 1898459"/>
                <a:gd name="connsiteX6199" fmla="*/ 1038925 w 1556920"/>
                <a:gd name="connsiteY6199" fmla="*/ 338151 h 1898459"/>
                <a:gd name="connsiteX6200" fmla="*/ 1040286 w 1556920"/>
                <a:gd name="connsiteY6200" fmla="*/ 344110 h 1898459"/>
                <a:gd name="connsiteX6201" fmla="*/ 1043311 w 1556920"/>
                <a:gd name="connsiteY6201" fmla="*/ 348708 h 1898459"/>
                <a:gd name="connsiteX6202" fmla="*/ 1114675 w 1556920"/>
                <a:gd name="connsiteY6202" fmla="*/ 321845 h 1898459"/>
                <a:gd name="connsiteX6203" fmla="*/ 1116187 w 1556920"/>
                <a:gd name="connsiteY6203" fmla="*/ 323872 h 1898459"/>
                <a:gd name="connsiteX6204" fmla="*/ 1116399 w 1556920"/>
                <a:gd name="connsiteY6204" fmla="*/ 327926 h 1898459"/>
                <a:gd name="connsiteX6205" fmla="*/ 1118547 w 1556920"/>
                <a:gd name="connsiteY6205" fmla="*/ 326715 h 1898459"/>
                <a:gd name="connsiteX6206" fmla="*/ 1122903 w 1556920"/>
                <a:gd name="connsiteY6206" fmla="*/ 326080 h 1898459"/>
                <a:gd name="connsiteX6207" fmla="*/ 1124718 w 1556920"/>
                <a:gd name="connsiteY6207" fmla="*/ 324235 h 1898459"/>
                <a:gd name="connsiteX6208" fmla="*/ 1121935 w 1556920"/>
                <a:gd name="connsiteY6208" fmla="*/ 322571 h 1898459"/>
                <a:gd name="connsiteX6209" fmla="*/ 1121330 w 1556920"/>
                <a:gd name="connsiteY6209" fmla="*/ 321482 h 1898459"/>
                <a:gd name="connsiteX6210" fmla="*/ 1121995 w 1556920"/>
                <a:gd name="connsiteY6210" fmla="*/ 319395 h 1898459"/>
                <a:gd name="connsiteX6211" fmla="*/ 1122268 w 1556920"/>
                <a:gd name="connsiteY6211" fmla="*/ 319183 h 1898459"/>
                <a:gd name="connsiteX6212" fmla="*/ 1122540 w 1556920"/>
                <a:gd name="connsiteY6212" fmla="*/ 319183 h 1898459"/>
                <a:gd name="connsiteX6213" fmla="*/ 1122721 w 1556920"/>
                <a:gd name="connsiteY6213" fmla="*/ 318971 h 1898459"/>
                <a:gd name="connsiteX6214" fmla="*/ 1122661 w 1556920"/>
                <a:gd name="connsiteY6214" fmla="*/ 318033 h 1898459"/>
                <a:gd name="connsiteX6215" fmla="*/ 1120301 w 1556920"/>
                <a:gd name="connsiteY6215" fmla="*/ 319334 h 1898459"/>
                <a:gd name="connsiteX6216" fmla="*/ 1119001 w 1556920"/>
                <a:gd name="connsiteY6216" fmla="*/ 319697 h 1898459"/>
                <a:gd name="connsiteX6217" fmla="*/ 1117790 w 1556920"/>
                <a:gd name="connsiteY6217" fmla="*/ 319395 h 1898459"/>
                <a:gd name="connsiteX6218" fmla="*/ 1116611 w 1556920"/>
                <a:gd name="connsiteY6218" fmla="*/ 317761 h 1898459"/>
                <a:gd name="connsiteX6219" fmla="*/ 1116853 w 1556920"/>
                <a:gd name="connsiteY6219" fmla="*/ 316127 h 1898459"/>
                <a:gd name="connsiteX6220" fmla="*/ 1117912 w 1556920"/>
                <a:gd name="connsiteY6220" fmla="*/ 315160 h 1898459"/>
                <a:gd name="connsiteX6221" fmla="*/ 1119212 w 1556920"/>
                <a:gd name="connsiteY6221" fmla="*/ 315462 h 1898459"/>
                <a:gd name="connsiteX6222" fmla="*/ 1118365 w 1556920"/>
                <a:gd name="connsiteY6222" fmla="*/ 314585 h 1898459"/>
                <a:gd name="connsiteX6223" fmla="*/ 1117155 w 1556920"/>
                <a:gd name="connsiteY6223" fmla="*/ 314282 h 1898459"/>
                <a:gd name="connsiteX6224" fmla="*/ 1114372 w 1556920"/>
                <a:gd name="connsiteY6224" fmla="*/ 314373 h 1898459"/>
                <a:gd name="connsiteX6225" fmla="*/ 1114644 w 1556920"/>
                <a:gd name="connsiteY6225" fmla="*/ 313707 h 1898459"/>
                <a:gd name="connsiteX6226" fmla="*/ 1114977 w 1556920"/>
                <a:gd name="connsiteY6226" fmla="*/ 313163 h 1898459"/>
                <a:gd name="connsiteX6227" fmla="*/ 1114977 w 1556920"/>
                <a:gd name="connsiteY6227" fmla="*/ 312044 h 1898459"/>
                <a:gd name="connsiteX6228" fmla="*/ 1113555 w 1556920"/>
                <a:gd name="connsiteY6228" fmla="*/ 311862 h 1898459"/>
                <a:gd name="connsiteX6229" fmla="*/ 1109532 w 1556920"/>
                <a:gd name="connsiteY6229" fmla="*/ 313163 h 1898459"/>
                <a:gd name="connsiteX6230" fmla="*/ 1110591 w 1556920"/>
                <a:gd name="connsiteY6230" fmla="*/ 313889 h 1898459"/>
                <a:gd name="connsiteX6231" fmla="*/ 1113707 w 1556920"/>
                <a:gd name="connsiteY6231" fmla="*/ 317035 h 1898459"/>
                <a:gd name="connsiteX6232" fmla="*/ 1114372 w 1556920"/>
                <a:gd name="connsiteY6232" fmla="*/ 318094 h 1898459"/>
                <a:gd name="connsiteX6233" fmla="*/ 1113888 w 1556920"/>
                <a:gd name="connsiteY6233" fmla="*/ 320181 h 1898459"/>
                <a:gd name="connsiteX6234" fmla="*/ 1112648 w 1556920"/>
                <a:gd name="connsiteY6234" fmla="*/ 320847 h 1898459"/>
                <a:gd name="connsiteX6235" fmla="*/ 1111075 w 1556920"/>
                <a:gd name="connsiteY6235" fmla="*/ 321028 h 1898459"/>
                <a:gd name="connsiteX6236" fmla="*/ 1109562 w 1556920"/>
                <a:gd name="connsiteY6236" fmla="*/ 321694 h 1898459"/>
                <a:gd name="connsiteX6237" fmla="*/ 1107505 w 1556920"/>
                <a:gd name="connsiteY6237" fmla="*/ 325082 h 1898459"/>
                <a:gd name="connsiteX6238" fmla="*/ 1109048 w 1556920"/>
                <a:gd name="connsiteY6238" fmla="*/ 326474 h 1898459"/>
                <a:gd name="connsiteX6239" fmla="*/ 1111226 w 1556920"/>
                <a:gd name="connsiteY6239" fmla="*/ 325748 h 1898459"/>
                <a:gd name="connsiteX6240" fmla="*/ 1110954 w 1556920"/>
                <a:gd name="connsiteY6240" fmla="*/ 322904 h 1898459"/>
                <a:gd name="connsiteX6241" fmla="*/ 1112708 w 1556920"/>
                <a:gd name="connsiteY6241" fmla="*/ 321573 h 1898459"/>
                <a:gd name="connsiteX6242" fmla="*/ 1114735 w 1556920"/>
                <a:gd name="connsiteY6242" fmla="*/ 321815 h 1898459"/>
                <a:gd name="connsiteX6243" fmla="*/ 1066635 w 1556920"/>
                <a:gd name="connsiteY6243" fmla="*/ 315432 h 1898459"/>
                <a:gd name="connsiteX6244" fmla="*/ 1069267 w 1556920"/>
                <a:gd name="connsiteY6244" fmla="*/ 317096 h 1898459"/>
                <a:gd name="connsiteX6245" fmla="*/ 1072202 w 1556920"/>
                <a:gd name="connsiteY6245" fmla="*/ 317912 h 1898459"/>
                <a:gd name="connsiteX6246" fmla="*/ 1075378 w 1556920"/>
                <a:gd name="connsiteY6246" fmla="*/ 318124 h 1898459"/>
                <a:gd name="connsiteX6247" fmla="*/ 1078373 w 1556920"/>
                <a:gd name="connsiteY6247" fmla="*/ 317096 h 1898459"/>
                <a:gd name="connsiteX6248" fmla="*/ 1078494 w 1556920"/>
                <a:gd name="connsiteY6248" fmla="*/ 314615 h 1898459"/>
                <a:gd name="connsiteX6249" fmla="*/ 1078191 w 1556920"/>
                <a:gd name="connsiteY6249" fmla="*/ 311741 h 1898459"/>
                <a:gd name="connsiteX6250" fmla="*/ 1079886 w 1556920"/>
                <a:gd name="connsiteY6250" fmla="*/ 309502 h 1898459"/>
                <a:gd name="connsiteX6251" fmla="*/ 1080249 w 1556920"/>
                <a:gd name="connsiteY6251" fmla="*/ 309351 h 1898459"/>
                <a:gd name="connsiteX6252" fmla="*/ 1080551 w 1556920"/>
                <a:gd name="connsiteY6252" fmla="*/ 309351 h 1898459"/>
                <a:gd name="connsiteX6253" fmla="*/ 1080702 w 1556920"/>
                <a:gd name="connsiteY6253" fmla="*/ 309079 h 1898459"/>
                <a:gd name="connsiteX6254" fmla="*/ 1080642 w 1556920"/>
                <a:gd name="connsiteY6254" fmla="*/ 308171 h 1898459"/>
                <a:gd name="connsiteX6255" fmla="*/ 1079129 w 1556920"/>
                <a:gd name="connsiteY6255" fmla="*/ 307415 h 1898459"/>
                <a:gd name="connsiteX6256" fmla="*/ 1077828 w 1556920"/>
                <a:gd name="connsiteY6256" fmla="*/ 307415 h 1898459"/>
                <a:gd name="connsiteX6257" fmla="*/ 1073684 w 1556920"/>
                <a:gd name="connsiteY6257" fmla="*/ 308323 h 1898459"/>
                <a:gd name="connsiteX6258" fmla="*/ 1072958 w 1556920"/>
                <a:gd name="connsiteY6258" fmla="*/ 308323 h 1898459"/>
                <a:gd name="connsiteX6259" fmla="*/ 1072323 w 1556920"/>
                <a:gd name="connsiteY6259" fmla="*/ 308171 h 1898459"/>
                <a:gd name="connsiteX6260" fmla="*/ 1071627 w 1556920"/>
                <a:gd name="connsiteY6260" fmla="*/ 307597 h 1898459"/>
                <a:gd name="connsiteX6261" fmla="*/ 1071264 w 1556920"/>
                <a:gd name="connsiteY6261" fmla="*/ 306780 h 1898459"/>
                <a:gd name="connsiteX6262" fmla="*/ 1071082 w 1556920"/>
                <a:gd name="connsiteY6262" fmla="*/ 306054 h 1898459"/>
                <a:gd name="connsiteX6263" fmla="*/ 1070961 w 1556920"/>
                <a:gd name="connsiteY6263" fmla="*/ 305691 h 1898459"/>
                <a:gd name="connsiteX6264" fmla="*/ 1068450 w 1556920"/>
                <a:gd name="connsiteY6264" fmla="*/ 305570 h 1898459"/>
                <a:gd name="connsiteX6265" fmla="*/ 1065607 w 1556920"/>
                <a:gd name="connsiteY6265" fmla="*/ 306871 h 1898459"/>
                <a:gd name="connsiteX6266" fmla="*/ 1063792 w 1556920"/>
                <a:gd name="connsiteY6266" fmla="*/ 309351 h 1898459"/>
                <a:gd name="connsiteX6267" fmla="*/ 1064367 w 1556920"/>
                <a:gd name="connsiteY6267" fmla="*/ 312649 h 1898459"/>
                <a:gd name="connsiteX6268" fmla="*/ 1066666 w 1556920"/>
                <a:gd name="connsiteY6268" fmla="*/ 315462 h 1898459"/>
                <a:gd name="connsiteX6269" fmla="*/ 1092984 w 1556920"/>
                <a:gd name="connsiteY6269" fmla="*/ 309472 h 1898459"/>
                <a:gd name="connsiteX6270" fmla="*/ 1094527 w 1556920"/>
                <a:gd name="connsiteY6270" fmla="*/ 309805 h 1898459"/>
                <a:gd name="connsiteX6271" fmla="*/ 1095858 w 1556920"/>
                <a:gd name="connsiteY6271" fmla="*/ 310833 h 1898459"/>
                <a:gd name="connsiteX6272" fmla="*/ 1096766 w 1556920"/>
                <a:gd name="connsiteY6272" fmla="*/ 312558 h 1898459"/>
                <a:gd name="connsiteX6273" fmla="*/ 1097099 w 1556920"/>
                <a:gd name="connsiteY6273" fmla="*/ 314948 h 1898459"/>
                <a:gd name="connsiteX6274" fmla="*/ 1097885 w 1556920"/>
                <a:gd name="connsiteY6274" fmla="*/ 315644 h 1898459"/>
                <a:gd name="connsiteX6275" fmla="*/ 1099640 w 1556920"/>
                <a:gd name="connsiteY6275" fmla="*/ 315432 h 1898459"/>
                <a:gd name="connsiteX6276" fmla="*/ 1102604 w 1556920"/>
                <a:gd name="connsiteY6276" fmla="*/ 314373 h 1898459"/>
                <a:gd name="connsiteX6277" fmla="*/ 1102604 w 1556920"/>
                <a:gd name="connsiteY6277" fmla="*/ 313133 h 1898459"/>
                <a:gd name="connsiteX6278" fmla="*/ 1100940 w 1556920"/>
                <a:gd name="connsiteY6278" fmla="*/ 312981 h 1898459"/>
                <a:gd name="connsiteX6279" fmla="*/ 1100154 w 1556920"/>
                <a:gd name="connsiteY6279" fmla="*/ 311499 h 1898459"/>
                <a:gd name="connsiteX6280" fmla="*/ 1099942 w 1556920"/>
                <a:gd name="connsiteY6280" fmla="*/ 309139 h 1898459"/>
                <a:gd name="connsiteX6281" fmla="*/ 1099942 w 1556920"/>
                <a:gd name="connsiteY6281" fmla="*/ 306296 h 1898459"/>
                <a:gd name="connsiteX6282" fmla="*/ 1100426 w 1556920"/>
                <a:gd name="connsiteY6282" fmla="*/ 305388 h 1898459"/>
                <a:gd name="connsiteX6283" fmla="*/ 1102665 w 1556920"/>
                <a:gd name="connsiteY6283" fmla="*/ 302242 h 1898459"/>
                <a:gd name="connsiteX6284" fmla="*/ 1103330 w 1556920"/>
                <a:gd name="connsiteY6284" fmla="*/ 300669 h 1898459"/>
                <a:gd name="connsiteX6285" fmla="*/ 1102665 w 1556920"/>
                <a:gd name="connsiteY6285" fmla="*/ 299005 h 1898459"/>
                <a:gd name="connsiteX6286" fmla="*/ 1101727 w 1556920"/>
                <a:gd name="connsiteY6286" fmla="*/ 298158 h 1898459"/>
                <a:gd name="connsiteX6287" fmla="*/ 1100547 w 1556920"/>
                <a:gd name="connsiteY6287" fmla="*/ 297916 h 1898459"/>
                <a:gd name="connsiteX6288" fmla="*/ 1099216 w 1556920"/>
                <a:gd name="connsiteY6288" fmla="*/ 298188 h 1898459"/>
                <a:gd name="connsiteX6289" fmla="*/ 1099216 w 1556920"/>
                <a:gd name="connsiteY6289" fmla="*/ 296978 h 1898459"/>
                <a:gd name="connsiteX6290" fmla="*/ 1099972 w 1556920"/>
                <a:gd name="connsiteY6290" fmla="*/ 296978 h 1898459"/>
                <a:gd name="connsiteX6291" fmla="*/ 1099972 w 1556920"/>
                <a:gd name="connsiteY6291" fmla="*/ 295617 h 1898459"/>
                <a:gd name="connsiteX6292" fmla="*/ 1098339 w 1556920"/>
                <a:gd name="connsiteY6292" fmla="*/ 295466 h 1898459"/>
                <a:gd name="connsiteX6293" fmla="*/ 1097280 w 1556920"/>
                <a:gd name="connsiteY6293" fmla="*/ 296494 h 1898459"/>
                <a:gd name="connsiteX6294" fmla="*/ 1096887 w 1556920"/>
                <a:gd name="connsiteY6294" fmla="*/ 298340 h 1898459"/>
                <a:gd name="connsiteX6295" fmla="*/ 1097159 w 1556920"/>
                <a:gd name="connsiteY6295" fmla="*/ 300639 h 1898459"/>
                <a:gd name="connsiteX6296" fmla="*/ 1097038 w 1556920"/>
                <a:gd name="connsiteY6296" fmla="*/ 301819 h 1898459"/>
                <a:gd name="connsiteX6297" fmla="*/ 1097583 w 1556920"/>
                <a:gd name="connsiteY6297" fmla="*/ 304935 h 1898459"/>
                <a:gd name="connsiteX6298" fmla="*/ 1097462 w 1556920"/>
                <a:gd name="connsiteY6298" fmla="*/ 305570 h 1898459"/>
                <a:gd name="connsiteX6299" fmla="*/ 1096312 w 1556920"/>
                <a:gd name="connsiteY6299" fmla="*/ 305902 h 1898459"/>
                <a:gd name="connsiteX6300" fmla="*/ 1095314 w 1556920"/>
                <a:gd name="connsiteY6300" fmla="*/ 306477 h 1898459"/>
                <a:gd name="connsiteX6301" fmla="*/ 1094285 w 1556920"/>
                <a:gd name="connsiteY6301" fmla="*/ 306568 h 1898459"/>
                <a:gd name="connsiteX6302" fmla="*/ 1093015 w 1556920"/>
                <a:gd name="connsiteY6302" fmla="*/ 305539 h 1898459"/>
                <a:gd name="connsiteX6303" fmla="*/ 1093015 w 1556920"/>
                <a:gd name="connsiteY6303" fmla="*/ 309351 h 1898459"/>
                <a:gd name="connsiteX6304" fmla="*/ 1107324 w 1556920"/>
                <a:gd name="connsiteY6304" fmla="*/ 306871 h 1898459"/>
                <a:gd name="connsiteX6305" fmla="*/ 1107898 w 1556920"/>
                <a:gd name="connsiteY6305" fmla="*/ 305751 h 1898459"/>
                <a:gd name="connsiteX6306" fmla="*/ 1108171 w 1556920"/>
                <a:gd name="connsiteY6306" fmla="*/ 303301 h 1898459"/>
                <a:gd name="connsiteX6307" fmla="*/ 1109925 w 1556920"/>
                <a:gd name="connsiteY6307" fmla="*/ 303815 h 1898459"/>
                <a:gd name="connsiteX6308" fmla="*/ 1112013 w 1556920"/>
                <a:gd name="connsiteY6308" fmla="*/ 301849 h 1898459"/>
                <a:gd name="connsiteX6309" fmla="*/ 1115733 w 1556920"/>
                <a:gd name="connsiteY6309" fmla="*/ 297039 h 1898459"/>
                <a:gd name="connsiteX6310" fmla="*/ 1116490 w 1556920"/>
                <a:gd name="connsiteY6310" fmla="*/ 298037 h 1898459"/>
                <a:gd name="connsiteX6311" fmla="*/ 1117307 w 1556920"/>
                <a:gd name="connsiteY6311" fmla="*/ 298128 h 1898459"/>
                <a:gd name="connsiteX6312" fmla="*/ 1119243 w 1556920"/>
                <a:gd name="connsiteY6312" fmla="*/ 297039 h 1898459"/>
                <a:gd name="connsiteX6313" fmla="*/ 1119243 w 1556920"/>
                <a:gd name="connsiteY6313" fmla="*/ 298249 h 1898459"/>
                <a:gd name="connsiteX6314" fmla="*/ 1119001 w 1556920"/>
                <a:gd name="connsiteY6314" fmla="*/ 298854 h 1898459"/>
                <a:gd name="connsiteX6315" fmla="*/ 1118486 w 1556920"/>
                <a:gd name="connsiteY6315" fmla="*/ 300730 h 1898459"/>
                <a:gd name="connsiteX6316" fmla="*/ 1122873 w 1556920"/>
                <a:gd name="connsiteY6316" fmla="*/ 295859 h 1898459"/>
                <a:gd name="connsiteX6317" fmla="*/ 1124567 w 1556920"/>
                <a:gd name="connsiteY6317" fmla="*/ 295678 h 1898459"/>
                <a:gd name="connsiteX6318" fmla="*/ 1124718 w 1556920"/>
                <a:gd name="connsiteY6318" fmla="*/ 299610 h 1898459"/>
                <a:gd name="connsiteX6319" fmla="*/ 1125747 w 1556920"/>
                <a:gd name="connsiteY6319" fmla="*/ 299066 h 1898459"/>
                <a:gd name="connsiteX6320" fmla="*/ 1126473 w 1556920"/>
                <a:gd name="connsiteY6320" fmla="*/ 298007 h 1898459"/>
                <a:gd name="connsiteX6321" fmla="*/ 1128439 w 1556920"/>
                <a:gd name="connsiteY6321" fmla="*/ 293742 h 1898459"/>
                <a:gd name="connsiteX6322" fmla="*/ 1129528 w 1556920"/>
                <a:gd name="connsiteY6322" fmla="*/ 292743 h 1898459"/>
                <a:gd name="connsiteX6323" fmla="*/ 1130345 w 1556920"/>
                <a:gd name="connsiteY6323" fmla="*/ 290777 h 1898459"/>
                <a:gd name="connsiteX6324" fmla="*/ 1132281 w 1556920"/>
                <a:gd name="connsiteY6324" fmla="*/ 289869 h 1898459"/>
                <a:gd name="connsiteX6325" fmla="*/ 1137030 w 1556920"/>
                <a:gd name="connsiteY6325" fmla="*/ 289627 h 1898459"/>
                <a:gd name="connsiteX6326" fmla="*/ 1136728 w 1556920"/>
                <a:gd name="connsiteY6326" fmla="*/ 287873 h 1898459"/>
                <a:gd name="connsiteX6327" fmla="*/ 1135790 w 1556920"/>
                <a:gd name="connsiteY6327" fmla="*/ 284031 h 1898459"/>
                <a:gd name="connsiteX6328" fmla="*/ 1135185 w 1556920"/>
                <a:gd name="connsiteY6328" fmla="*/ 283547 h 1898459"/>
                <a:gd name="connsiteX6329" fmla="*/ 1133763 w 1556920"/>
                <a:gd name="connsiteY6329" fmla="*/ 285090 h 1898459"/>
                <a:gd name="connsiteX6330" fmla="*/ 1131615 w 1556920"/>
                <a:gd name="connsiteY6330" fmla="*/ 288236 h 1898459"/>
                <a:gd name="connsiteX6331" fmla="*/ 1130133 w 1556920"/>
                <a:gd name="connsiteY6331" fmla="*/ 288659 h 1898459"/>
                <a:gd name="connsiteX6332" fmla="*/ 1128530 w 1556920"/>
                <a:gd name="connsiteY6332" fmla="*/ 288659 h 1898459"/>
                <a:gd name="connsiteX6333" fmla="*/ 1126987 w 1556920"/>
                <a:gd name="connsiteY6333" fmla="*/ 288901 h 1898459"/>
                <a:gd name="connsiteX6334" fmla="*/ 1124325 w 1556920"/>
                <a:gd name="connsiteY6334" fmla="*/ 291624 h 1898459"/>
                <a:gd name="connsiteX6335" fmla="*/ 1121027 w 1556920"/>
                <a:gd name="connsiteY6335" fmla="*/ 292259 h 1898459"/>
                <a:gd name="connsiteX6336" fmla="*/ 1119848 w 1556920"/>
                <a:gd name="connsiteY6336" fmla="*/ 293288 h 1898459"/>
                <a:gd name="connsiteX6337" fmla="*/ 1119545 w 1556920"/>
                <a:gd name="connsiteY6337" fmla="*/ 292622 h 1898459"/>
                <a:gd name="connsiteX6338" fmla="*/ 1119243 w 1556920"/>
                <a:gd name="connsiteY6338" fmla="*/ 292380 h 1898459"/>
                <a:gd name="connsiteX6339" fmla="*/ 1118486 w 1556920"/>
                <a:gd name="connsiteY6339" fmla="*/ 292168 h 1898459"/>
                <a:gd name="connsiteX6340" fmla="*/ 1120997 w 1556920"/>
                <a:gd name="connsiteY6340" fmla="*/ 289264 h 1898459"/>
                <a:gd name="connsiteX6341" fmla="*/ 1122510 w 1556920"/>
                <a:gd name="connsiteY6341" fmla="*/ 287994 h 1898459"/>
                <a:gd name="connsiteX6342" fmla="*/ 1123992 w 1556920"/>
                <a:gd name="connsiteY6342" fmla="*/ 287116 h 1898459"/>
                <a:gd name="connsiteX6343" fmla="*/ 1123992 w 1556920"/>
                <a:gd name="connsiteY6343" fmla="*/ 285755 h 1898459"/>
                <a:gd name="connsiteX6344" fmla="*/ 1121451 w 1556920"/>
                <a:gd name="connsiteY6344" fmla="*/ 285937 h 1898459"/>
                <a:gd name="connsiteX6345" fmla="*/ 1117397 w 1556920"/>
                <a:gd name="connsiteY6345" fmla="*/ 288205 h 1898459"/>
                <a:gd name="connsiteX6346" fmla="*/ 1115007 w 1556920"/>
                <a:gd name="connsiteY6346" fmla="*/ 288205 h 1898459"/>
                <a:gd name="connsiteX6347" fmla="*/ 1116490 w 1556920"/>
                <a:gd name="connsiteY6347" fmla="*/ 290263 h 1898459"/>
                <a:gd name="connsiteX6348" fmla="*/ 1117034 w 1556920"/>
                <a:gd name="connsiteY6348" fmla="*/ 290807 h 1898459"/>
                <a:gd name="connsiteX6349" fmla="*/ 1116581 w 1556920"/>
                <a:gd name="connsiteY6349" fmla="*/ 293318 h 1898459"/>
                <a:gd name="connsiteX6350" fmla="*/ 1115854 w 1556920"/>
                <a:gd name="connsiteY6350" fmla="*/ 293923 h 1898459"/>
                <a:gd name="connsiteX6351" fmla="*/ 1114856 w 1556920"/>
                <a:gd name="connsiteY6351" fmla="*/ 293923 h 1898459"/>
                <a:gd name="connsiteX6352" fmla="*/ 1113646 w 1556920"/>
                <a:gd name="connsiteY6352" fmla="*/ 294498 h 1898459"/>
                <a:gd name="connsiteX6353" fmla="*/ 1112769 w 1556920"/>
                <a:gd name="connsiteY6353" fmla="*/ 295587 h 1898459"/>
                <a:gd name="connsiteX6354" fmla="*/ 1111105 w 1556920"/>
                <a:gd name="connsiteY6354" fmla="*/ 298340 h 1898459"/>
                <a:gd name="connsiteX6355" fmla="*/ 1110197 w 1556920"/>
                <a:gd name="connsiteY6355" fmla="*/ 299519 h 1898459"/>
                <a:gd name="connsiteX6356" fmla="*/ 1108927 w 1556920"/>
                <a:gd name="connsiteY6356" fmla="*/ 300427 h 1898459"/>
                <a:gd name="connsiteX6357" fmla="*/ 1107959 w 1556920"/>
                <a:gd name="connsiteY6357" fmla="*/ 300820 h 1898459"/>
                <a:gd name="connsiteX6358" fmla="*/ 1107263 w 1556920"/>
                <a:gd name="connsiteY6358" fmla="*/ 301758 h 1898459"/>
                <a:gd name="connsiteX6359" fmla="*/ 1106749 w 1556920"/>
                <a:gd name="connsiteY6359" fmla="*/ 304330 h 1898459"/>
                <a:gd name="connsiteX6360" fmla="*/ 1106749 w 1556920"/>
                <a:gd name="connsiteY6360" fmla="*/ 306387 h 1898459"/>
                <a:gd name="connsiteX6361" fmla="*/ 1107263 w 1556920"/>
                <a:gd name="connsiteY6361" fmla="*/ 306750 h 1898459"/>
                <a:gd name="connsiteX6362" fmla="*/ 1069146 w 1556920"/>
                <a:gd name="connsiteY6362" fmla="*/ 282911 h 1898459"/>
                <a:gd name="connsiteX6363" fmla="*/ 1069993 w 1556920"/>
                <a:gd name="connsiteY6363" fmla="*/ 282851 h 1898459"/>
                <a:gd name="connsiteX6364" fmla="*/ 1070961 w 1556920"/>
                <a:gd name="connsiteY6364" fmla="*/ 283426 h 1898459"/>
                <a:gd name="connsiteX6365" fmla="*/ 1071899 w 1556920"/>
                <a:gd name="connsiteY6365" fmla="*/ 284817 h 1898459"/>
                <a:gd name="connsiteX6366" fmla="*/ 1072232 w 1556920"/>
                <a:gd name="connsiteY6366" fmla="*/ 285785 h 1898459"/>
                <a:gd name="connsiteX6367" fmla="*/ 1072413 w 1556920"/>
                <a:gd name="connsiteY6367" fmla="*/ 286784 h 1898459"/>
                <a:gd name="connsiteX6368" fmla="*/ 1073866 w 1556920"/>
                <a:gd name="connsiteY6368" fmla="*/ 290565 h 1898459"/>
                <a:gd name="connsiteX6369" fmla="*/ 1074380 w 1556920"/>
                <a:gd name="connsiteY6369" fmla="*/ 291563 h 1898459"/>
                <a:gd name="connsiteX6370" fmla="*/ 1075075 w 1556920"/>
                <a:gd name="connsiteY6370" fmla="*/ 292199 h 1898459"/>
                <a:gd name="connsiteX6371" fmla="*/ 1076134 w 1556920"/>
                <a:gd name="connsiteY6371" fmla="*/ 292773 h 1898459"/>
                <a:gd name="connsiteX6372" fmla="*/ 1076951 w 1556920"/>
                <a:gd name="connsiteY6372" fmla="*/ 292955 h 1898459"/>
                <a:gd name="connsiteX6373" fmla="*/ 1077677 w 1556920"/>
                <a:gd name="connsiteY6373" fmla="*/ 292441 h 1898459"/>
                <a:gd name="connsiteX6374" fmla="*/ 1078464 w 1556920"/>
                <a:gd name="connsiteY6374" fmla="*/ 290837 h 1898459"/>
                <a:gd name="connsiteX6375" fmla="*/ 1079916 w 1556920"/>
                <a:gd name="connsiteY6375" fmla="*/ 292168 h 1898459"/>
                <a:gd name="connsiteX6376" fmla="*/ 1078978 w 1556920"/>
                <a:gd name="connsiteY6376" fmla="*/ 290263 h 1898459"/>
                <a:gd name="connsiteX6377" fmla="*/ 1078494 w 1556920"/>
                <a:gd name="connsiteY6377" fmla="*/ 289597 h 1898459"/>
                <a:gd name="connsiteX6378" fmla="*/ 1078494 w 1556920"/>
                <a:gd name="connsiteY6378" fmla="*/ 288266 h 1898459"/>
                <a:gd name="connsiteX6379" fmla="*/ 1081247 w 1556920"/>
                <a:gd name="connsiteY6379" fmla="*/ 288599 h 1898459"/>
                <a:gd name="connsiteX6380" fmla="*/ 1083969 w 1556920"/>
                <a:gd name="connsiteY6380" fmla="*/ 290051 h 1898459"/>
                <a:gd name="connsiteX6381" fmla="*/ 1088931 w 1556920"/>
                <a:gd name="connsiteY6381" fmla="*/ 294558 h 1898459"/>
                <a:gd name="connsiteX6382" fmla="*/ 1088174 w 1556920"/>
                <a:gd name="connsiteY6382" fmla="*/ 295708 h 1898459"/>
                <a:gd name="connsiteX6383" fmla="*/ 1087781 w 1556920"/>
                <a:gd name="connsiteY6383" fmla="*/ 296767 h 1898459"/>
                <a:gd name="connsiteX6384" fmla="*/ 1087600 w 1556920"/>
                <a:gd name="connsiteY6384" fmla="*/ 298007 h 1898459"/>
                <a:gd name="connsiteX6385" fmla="*/ 1087448 w 1556920"/>
                <a:gd name="connsiteY6385" fmla="*/ 299610 h 1898459"/>
                <a:gd name="connsiteX6386" fmla="*/ 1089778 w 1556920"/>
                <a:gd name="connsiteY6386" fmla="*/ 296585 h 1898459"/>
                <a:gd name="connsiteX6387" fmla="*/ 1090988 w 1556920"/>
                <a:gd name="connsiteY6387" fmla="*/ 295708 h 1898459"/>
                <a:gd name="connsiteX6388" fmla="*/ 1093015 w 1556920"/>
                <a:gd name="connsiteY6388" fmla="*/ 295708 h 1898459"/>
                <a:gd name="connsiteX6389" fmla="*/ 1093015 w 1556920"/>
                <a:gd name="connsiteY6389" fmla="*/ 294588 h 1898459"/>
                <a:gd name="connsiteX6390" fmla="*/ 1092107 w 1556920"/>
                <a:gd name="connsiteY6390" fmla="*/ 293379 h 1898459"/>
                <a:gd name="connsiteX6391" fmla="*/ 1091109 w 1556920"/>
                <a:gd name="connsiteY6391" fmla="*/ 293076 h 1898459"/>
                <a:gd name="connsiteX6392" fmla="*/ 1090020 w 1556920"/>
                <a:gd name="connsiteY6392" fmla="*/ 292955 h 1898459"/>
                <a:gd name="connsiteX6393" fmla="*/ 1088870 w 1556920"/>
                <a:gd name="connsiteY6393" fmla="*/ 292289 h 1898459"/>
                <a:gd name="connsiteX6394" fmla="*/ 1088326 w 1556920"/>
                <a:gd name="connsiteY6394" fmla="*/ 291291 h 1898459"/>
                <a:gd name="connsiteX6395" fmla="*/ 1086420 w 1556920"/>
                <a:gd name="connsiteY6395" fmla="*/ 286572 h 1898459"/>
                <a:gd name="connsiteX6396" fmla="*/ 1084998 w 1556920"/>
                <a:gd name="connsiteY6396" fmla="*/ 285816 h 1898459"/>
                <a:gd name="connsiteX6397" fmla="*/ 1077133 w 1556920"/>
                <a:gd name="connsiteY6397" fmla="*/ 283517 h 1898459"/>
                <a:gd name="connsiteX6398" fmla="*/ 1077133 w 1556920"/>
                <a:gd name="connsiteY6398" fmla="*/ 282276 h 1898459"/>
                <a:gd name="connsiteX6399" fmla="*/ 1077828 w 1556920"/>
                <a:gd name="connsiteY6399" fmla="*/ 282397 h 1898459"/>
                <a:gd name="connsiteX6400" fmla="*/ 1079886 w 1556920"/>
                <a:gd name="connsiteY6400" fmla="*/ 282276 h 1898459"/>
                <a:gd name="connsiteX6401" fmla="*/ 1079462 w 1556920"/>
                <a:gd name="connsiteY6401" fmla="*/ 280673 h 1898459"/>
                <a:gd name="connsiteX6402" fmla="*/ 1079523 w 1556920"/>
                <a:gd name="connsiteY6402" fmla="*/ 279796 h 1898459"/>
                <a:gd name="connsiteX6403" fmla="*/ 1080642 w 1556920"/>
                <a:gd name="connsiteY6403" fmla="*/ 278434 h 1898459"/>
                <a:gd name="connsiteX6404" fmla="*/ 1080914 w 1556920"/>
                <a:gd name="connsiteY6404" fmla="*/ 278283 h 1898459"/>
                <a:gd name="connsiteX6405" fmla="*/ 1081156 w 1556920"/>
                <a:gd name="connsiteY6405" fmla="*/ 278283 h 1898459"/>
                <a:gd name="connsiteX6406" fmla="*/ 1081277 w 1556920"/>
                <a:gd name="connsiteY6406" fmla="*/ 278102 h 1898459"/>
                <a:gd name="connsiteX6407" fmla="*/ 1081277 w 1556920"/>
                <a:gd name="connsiteY6407" fmla="*/ 277315 h 1898459"/>
                <a:gd name="connsiteX6408" fmla="*/ 1079371 w 1556920"/>
                <a:gd name="connsiteY6408" fmla="*/ 276044 h 1898459"/>
                <a:gd name="connsiteX6409" fmla="*/ 1077859 w 1556920"/>
                <a:gd name="connsiteY6409" fmla="*/ 277103 h 1898459"/>
                <a:gd name="connsiteX6410" fmla="*/ 1075045 w 1556920"/>
                <a:gd name="connsiteY6410" fmla="*/ 280915 h 1898459"/>
                <a:gd name="connsiteX6411" fmla="*/ 1073412 w 1556920"/>
                <a:gd name="connsiteY6411" fmla="*/ 281580 h 1898459"/>
                <a:gd name="connsiteX6412" fmla="*/ 1070205 w 1556920"/>
                <a:gd name="connsiteY6412" fmla="*/ 280885 h 1898459"/>
                <a:gd name="connsiteX6413" fmla="*/ 1068118 w 1556920"/>
                <a:gd name="connsiteY6413" fmla="*/ 280885 h 1898459"/>
                <a:gd name="connsiteX6414" fmla="*/ 1068481 w 1556920"/>
                <a:gd name="connsiteY6414" fmla="*/ 282639 h 1898459"/>
                <a:gd name="connsiteX6415" fmla="*/ 1069116 w 1556920"/>
                <a:gd name="connsiteY6415" fmla="*/ 282972 h 1898459"/>
                <a:gd name="connsiteX6416" fmla="*/ 1216410 w 1556920"/>
                <a:gd name="connsiteY6416" fmla="*/ 241407 h 1898459"/>
                <a:gd name="connsiteX6417" fmla="*/ 1217862 w 1556920"/>
                <a:gd name="connsiteY6417" fmla="*/ 241134 h 1898459"/>
                <a:gd name="connsiteX6418" fmla="*/ 1218165 w 1556920"/>
                <a:gd name="connsiteY6418" fmla="*/ 240922 h 1898459"/>
                <a:gd name="connsiteX6419" fmla="*/ 1218437 w 1556920"/>
                <a:gd name="connsiteY6419" fmla="*/ 240922 h 1898459"/>
                <a:gd name="connsiteX6420" fmla="*/ 1218588 w 1556920"/>
                <a:gd name="connsiteY6420" fmla="*/ 240650 h 1898459"/>
                <a:gd name="connsiteX6421" fmla="*/ 1218528 w 1556920"/>
                <a:gd name="connsiteY6421" fmla="*/ 239773 h 1898459"/>
                <a:gd name="connsiteX6422" fmla="*/ 1216531 w 1556920"/>
                <a:gd name="connsiteY6422" fmla="*/ 239713 h 1898459"/>
                <a:gd name="connsiteX6423" fmla="*/ 1214262 w 1556920"/>
                <a:gd name="connsiteY6423" fmla="*/ 240529 h 1898459"/>
                <a:gd name="connsiteX6424" fmla="*/ 1212417 w 1556920"/>
                <a:gd name="connsiteY6424" fmla="*/ 242374 h 1898459"/>
                <a:gd name="connsiteX6425" fmla="*/ 1211661 w 1556920"/>
                <a:gd name="connsiteY6425" fmla="*/ 245400 h 1898459"/>
                <a:gd name="connsiteX6426" fmla="*/ 1212236 w 1556920"/>
                <a:gd name="connsiteY6426" fmla="*/ 248092 h 1898459"/>
                <a:gd name="connsiteX6427" fmla="*/ 1213657 w 1556920"/>
                <a:gd name="connsiteY6427" fmla="*/ 247578 h 1898459"/>
                <a:gd name="connsiteX6428" fmla="*/ 1215442 w 1556920"/>
                <a:gd name="connsiteY6428" fmla="*/ 245823 h 1898459"/>
                <a:gd name="connsiteX6429" fmla="*/ 1217106 w 1556920"/>
                <a:gd name="connsiteY6429" fmla="*/ 244825 h 1898459"/>
                <a:gd name="connsiteX6430" fmla="*/ 1217106 w 1556920"/>
                <a:gd name="connsiteY6430" fmla="*/ 243464 h 1898459"/>
                <a:gd name="connsiteX6431" fmla="*/ 1215714 w 1556920"/>
                <a:gd name="connsiteY6431" fmla="*/ 243464 h 1898459"/>
                <a:gd name="connsiteX6432" fmla="*/ 1215956 w 1556920"/>
                <a:gd name="connsiteY6432" fmla="*/ 242042 h 1898459"/>
                <a:gd name="connsiteX6433" fmla="*/ 1216410 w 1556920"/>
                <a:gd name="connsiteY6433" fmla="*/ 241376 h 1898459"/>
                <a:gd name="connsiteX6434" fmla="*/ 1241731 w 1556920"/>
                <a:gd name="connsiteY6434" fmla="*/ 146054 h 1898459"/>
                <a:gd name="connsiteX6435" fmla="*/ 1241247 w 1556920"/>
                <a:gd name="connsiteY6435" fmla="*/ 148141 h 1898459"/>
                <a:gd name="connsiteX6436" fmla="*/ 1239946 w 1556920"/>
                <a:gd name="connsiteY6436" fmla="*/ 149805 h 1898459"/>
                <a:gd name="connsiteX6437" fmla="*/ 1240158 w 1556920"/>
                <a:gd name="connsiteY6437" fmla="*/ 150592 h 1898459"/>
                <a:gd name="connsiteX6438" fmla="*/ 1241579 w 1556920"/>
                <a:gd name="connsiteY6438" fmla="*/ 149412 h 1898459"/>
                <a:gd name="connsiteX6439" fmla="*/ 1243152 w 1556920"/>
                <a:gd name="connsiteY6439" fmla="*/ 147022 h 1898459"/>
                <a:gd name="connsiteX6440" fmla="*/ 1243394 w 1556920"/>
                <a:gd name="connsiteY6440" fmla="*/ 145903 h 1898459"/>
                <a:gd name="connsiteX6441" fmla="*/ 1243515 w 1556920"/>
                <a:gd name="connsiteY6441" fmla="*/ 144753 h 1898459"/>
                <a:gd name="connsiteX6442" fmla="*/ 1243667 w 1556920"/>
                <a:gd name="connsiteY6442" fmla="*/ 145237 h 1898459"/>
                <a:gd name="connsiteX6443" fmla="*/ 1243576 w 1556920"/>
                <a:gd name="connsiteY6443" fmla="*/ 147506 h 1898459"/>
                <a:gd name="connsiteX6444" fmla="*/ 1243152 w 1556920"/>
                <a:gd name="connsiteY6444" fmla="*/ 149442 h 1898459"/>
                <a:gd name="connsiteX6445" fmla="*/ 1243062 w 1556920"/>
                <a:gd name="connsiteY6445" fmla="*/ 150773 h 1898459"/>
                <a:gd name="connsiteX6446" fmla="*/ 1243606 w 1556920"/>
                <a:gd name="connsiteY6446" fmla="*/ 150834 h 1898459"/>
                <a:gd name="connsiteX6447" fmla="*/ 1244302 w 1556920"/>
                <a:gd name="connsiteY6447" fmla="*/ 149533 h 1898459"/>
                <a:gd name="connsiteX6448" fmla="*/ 1245209 w 1556920"/>
                <a:gd name="connsiteY6448" fmla="*/ 146629 h 1898459"/>
                <a:gd name="connsiteX6449" fmla="*/ 1245996 w 1556920"/>
                <a:gd name="connsiteY6449" fmla="*/ 144753 h 1898459"/>
                <a:gd name="connsiteX6450" fmla="*/ 1246510 w 1556920"/>
                <a:gd name="connsiteY6450" fmla="*/ 142847 h 1898459"/>
                <a:gd name="connsiteX6451" fmla="*/ 1246178 w 1556920"/>
                <a:gd name="connsiteY6451" fmla="*/ 141456 h 1898459"/>
                <a:gd name="connsiteX6452" fmla="*/ 1245482 w 1556920"/>
                <a:gd name="connsiteY6452" fmla="*/ 141547 h 1898459"/>
                <a:gd name="connsiteX6453" fmla="*/ 1244665 w 1556920"/>
                <a:gd name="connsiteY6453" fmla="*/ 142575 h 1898459"/>
                <a:gd name="connsiteX6454" fmla="*/ 1244816 w 1556920"/>
                <a:gd name="connsiteY6454" fmla="*/ 141668 h 1898459"/>
                <a:gd name="connsiteX6455" fmla="*/ 1245482 w 1556920"/>
                <a:gd name="connsiteY6455" fmla="*/ 139217 h 1898459"/>
                <a:gd name="connsiteX6456" fmla="*/ 1245391 w 1556920"/>
                <a:gd name="connsiteY6456" fmla="*/ 137523 h 1898459"/>
                <a:gd name="connsiteX6457" fmla="*/ 1244846 w 1556920"/>
                <a:gd name="connsiteY6457" fmla="*/ 137523 h 1898459"/>
                <a:gd name="connsiteX6458" fmla="*/ 1244181 w 1556920"/>
                <a:gd name="connsiteY6458" fmla="*/ 138279 h 1898459"/>
                <a:gd name="connsiteX6459" fmla="*/ 1242366 w 1556920"/>
                <a:gd name="connsiteY6459" fmla="*/ 138733 h 1898459"/>
                <a:gd name="connsiteX6460" fmla="*/ 1242245 w 1556920"/>
                <a:gd name="connsiteY6460" fmla="*/ 139550 h 1898459"/>
                <a:gd name="connsiteX6461" fmla="*/ 1242910 w 1556920"/>
                <a:gd name="connsiteY6461" fmla="*/ 140458 h 1898459"/>
                <a:gd name="connsiteX6462" fmla="*/ 1243152 w 1556920"/>
                <a:gd name="connsiteY6462" fmla="*/ 141607 h 1898459"/>
                <a:gd name="connsiteX6463" fmla="*/ 1242184 w 1556920"/>
                <a:gd name="connsiteY6463" fmla="*/ 143452 h 1898459"/>
                <a:gd name="connsiteX6464" fmla="*/ 1241731 w 1556920"/>
                <a:gd name="connsiteY6464" fmla="*/ 146024 h 1898459"/>
                <a:gd name="connsiteX6465" fmla="*/ 1167796 w 1556920"/>
                <a:gd name="connsiteY6465" fmla="*/ 136101 h 1898459"/>
                <a:gd name="connsiteX6466" fmla="*/ 1170186 w 1556920"/>
                <a:gd name="connsiteY6466" fmla="*/ 137100 h 1898459"/>
                <a:gd name="connsiteX6467" fmla="*/ 1171699 w 1556920"/>
                <a:gd name="connsiteY6467" fmla="*/ 135012 h 1898459"/>
                <a:gd name="connsiteX6468" fmla="*/ 1171608 w 1556920"/>
                <a:gd name="connsiteY6468" fmla="*/ 131685 h 1898459"/>
                <a:gd name="connsiteX6469" fmla="*/ 1171184 w 1556920"/>
                <a:gd name="connsiteY6469" fmla="*/ 130111 h 1898459"/>
                <a:gd name="connsiteX6470" fmla="*/ 1170035 w 1556920"/>
                <a:gd name="connsiteY6470" fmla="*/ 129779 h 1898459"/>
                <a:gd name="connsiteX6471" fmla="*/ 1167705 w 1556920"/>
                <a:gd name="connsiteY6471" fmla="*/ 130142 h 1898459"/>
                <a:gd name="connsiteX6472" fmla="*/ 1166132 w 1556920"/>
                <a:gd name="connsiteY6472" fmla="*/ 131140 h 1898459"/>
                <a:gd name="connsiteX6473" fmla="*/ 1165436 w 1556920"/>
                <a:gd name="connsiteY6473" fmla="*/ 132017 h 1898459"/>
                <a:gd name="connsiteX6474" fmla="*/ 1165255 w 1556920"/>
                <a:gd name="connsiteY6474" fmla="*/ 133379 h 1898459"/>
                <a:gd name="connsiteX6475" fmla="*/ 1165951 w 1556920"/>
                <a:gd name="connsiteY6475" fmla="*/ 134468 h 1898459"/>
                <a:gd name="connsiteX6476" fmla="*/ 1167796 w 1556920"/>
                <a:gd name="connsiteY6476" fmla="*/ 136101 h 1898459"/>
                <a:gd name="connsiteX6477" fmla="*/ 1265811 w 1556920"/>
                <a:gd name="connsiteY6477" fmla="*/ 137402 h 1898459"/>
                <a:gd name="connsiteX6478" fmla="*/ 1268745 w 1556920"/>
                <a:gd name="connsiteY6478" fmla="*/ 139459 h 1898459"/>
                <a:gd name="connsiteX6479" fmla="*/ 1269744 w 1556920"/>
                <a:gd name="connsiteY6479" fmla="*/ 138975 h 1898459"/>
                <a:gd name="connsiteX6480" fmla="*/ 1270470 w 1556920"/>
                <a:gd name="connsiteY6480" fmla="*/ 134982 h 1898459"/>
                <a:gd name="connsiteX6481" fmla="*/ 1271196 w 1556920"/>
                <a:gd name="connsiteY6481" fmla="*/ 133439 h 1898459"/>
                <a:gd name="connsiteX6482" fmla="*/ 1271861 w 1556920"/>
                <a:gd name="connsiteY6482" fmla="*/ 131443 h 1898459"/>
                <a:gd name="connsiteX6483" fmla="*/ 1272073 w 1556920"/>
                <a:gd name="connsiteY6483" fmla="*/ 128780 h 1898459"/>
                <a:gd name="connsiteX6484" fmla="*/ 1272073 w 1556920"/>
                <a:gd name="connsiteY6484" fmla="*/ 127510 h 1898459"/>
                <a:gd name="connsiteX6485" fmla="*/ 1270833 w 1556920"/>
                <a:gd name="connsiteY6485" fmla="*/ 128539 h 1898459"/>
                <a:gd name="connsiteX6486" fmla="*/ 1270137 w 1556920"/>
                <a:gd name="connsiteY6486" fmla="*/ 128539 h 1898459"/>
                <a:gd name="connsiteX6487" fmla="*/ 1269804 w 1556920"/>
                <a:gd name="connsiteY6487" fmla="*/ 126875 h 1898459"/>
                <a:gd name="connsiteX6488" fmla="*/ 1269622 w 1556920"/>
                <a:gd name="connsiteY6488" fmla="*/ 125060 h 1898459"/>
                <a:gd name="connsiteX6489" fmla="*/ 1269169 w 1556920"/>
                <a:gd name="connsiteY6489" fmla="*/ 124031 h 1898459"/>
                <a:gd name="connsiteX6490" fmla="*/ 1268473 w 1556920"/>
                <a:gd name="connsiteY6490" fmla="*/ 124364 h 1898459"/>
                <a:gd name="connsiteX6491" fmla="*/ 1268140 w 1556920"/>
                <a:gd name="connsiteY6491" fmla="*/ 125906 h 1898459"/>
                <a:gd name="connsiteX6492" fmla="*/ 1267354 w 1556920"/>
                <a:gd name="connsiteY6492" fmla="*/ 126360 h 1898459"/>
                <a:gd name="connsiteX6493" fmla="*/ 1265508 w 1556920"/>
                <a:gd name="connsiteY6493" fmla="*/ 125543 h 1898459"/>
                <a:gd name="connsiteX6494" fmla="*/ 1263602 w 1556920"/>
                <a:gd name="connsiteY6494" fmla="*/ 125816 h 1898459"/>
                <a:gd name="connsiteX6495" fmla="*/ 1263512 w 1556920"/>
                <a:gd name="connsiteY6495" fmla="*/ 127812 h 1898459"/>
                <a:gd name="connsiteX6496" fmla="*/ 1265176 w 1556920"/>
                <a:gd name="connsiteY6496" fmla="*/ 130111 h 1898459"/>
                <a:gd name="connsiteX6497" fmla="*/ 1264873 w 1556920"/>
                <a:gd name="connsiteY6497" fmla="*/ 136131 h 1898459"/>
                <a:gd name="connsiteX6498" fmla="*/ 1265811 w 1556920"/>
                <a:gd name="connsiteY6498" fmla="*/ 137402 h 1898459"/>
                <a:gd name="connsiteX6499" fmla="*/ 1277669 w 1556920"/>
                <a:gd name="connsiteY6499" fmla="*/ 89817 h 1898459"/>
                <a:gd name="connsiteX6500" fmla="*/ 1276550 w 1556920"/>
                <a:gd name="connsiteY6500" fmla="*/ 90331 h 1898459"/>
                <a:gd name="connsiteX6501" fmla="*/ 1275552 w 1556920"/>
                <a:gd name="connsiteY6501" fmla="*/ 91632 h 1898459"/>
                <a:gd name="connsiteX6502" fmla="*/ 1275038 w 1556920"/>
                <a:gd name="connsiteY6502" fmla="*/ 93023 h 1898459"/>
                <a:gd name="connsiteX6503" fmla="*/ 1274826 w 1556920"/>
                <a:gd name="connsiteY6503" fmla="*/ 93961 h 1898459"/>
                <a:gd name="connsiteX6504" fmla="*/ 1274281 w 1556920"/>
                <a:gd name="connsiteY6504" fmla="*/ 94657 h 1898459"/>
                <a:gd name="connsiteX6505" fmla="*/ 1273767 w 1556920"/>
                <a:gd name="connsiteY6505" fmla="*/ 95685 h 1898459"/>
                <a:gd name="connsiteX6506" fmla="*/ 1275673 w 1556920"/>
                <a:gd name="connsiteY6506" fmla="*/ 96805 h 1898459"/>
                <a:gd name="connsiteX6507" fmla="*/ 1279605 w 1556920"/>
                <a:gd name="connsiteY6507" fmla="*/ 95655 h 1898459"/>
                <a:gd name="connsiteX6508" fmla="*/ 1282358 w 1556920"/>
                <a:gd name="connsiteY6508" fmla="*/ 92751 h 1898459"/>
                <a:gd name="connsiteX6509" fmla="*/ 1284083 w 1556920"/>
                <a:gd name="connsiteY6509" fmla="*/ 90391 h 1898459"/>
                <a:gd name="connsiteX6510" fmla="*/ 1285444 w 1556920"/>
                <a:gd name="connsiteY6510" fmla="*/ 88879 h 1898459"/>
                <a:gd name="connsiteX6511" fmla="*/ 1286109 w 1556920"/>
                <a:gd name="connsiteY6511" fmla="*/ 87820 h 1898459"/>
                <a:gd name="connsiteX6512" fmla="*/ 1285958 w 1556920"/>
                <a:gd name="connsiteY6512" fmla="*/ 86973 h 1898459"/>
                <a:gd name="connsiteX6513" fmla="*/ 1285323 w 1556920"/>
                <a:gd name="connsiteY6513" fmla="*/ 87094 h 1898459"/>
                <a:gd name="connsiteX6514" fmla="*/ 1285020 w 1556920"/>
                <a:gd name="connsiteY6514" fmla="*/ 87396 h 1898459"/>
                <a:gd name="connsiteX6515" fmla="*/ 1283962 w 1556920"/>
                <a:gd name="connsiteY6515" fmla="*/ 87729 h 1898459"/>
                <a:gd name="connsiteX6516" fmla="*/ 1280422 w 1556920"/>
                <a:gd name="connsiteY6516" fmla="*/ 88062 h 1898459"/>
                <a:gd name="connsiteX6517" fmla="*/ 1279726 w 1556920"/>
                <a:gd name="connsiteY6517" fmla="*/ 89030 h 1898459"/>
                <a:gd name="connsiteX6518" fmla="*/ 1278789 w 1556920"/>
                <a:gd name="connsiteY6518" fmla="*/ 89696 h 1898459"/>
                <a:gd name="connsiteX6519" fmla="*/ 1277639 w 1556920"/>
                <a:gd name="connsiteY6519" fmla="*/ 89817 h 1898459"/>
                <a:gd name="connsiteX6520" fmla="*/ 1298876 w 1556920"/>
                <a:gd name="connsiteY6520" fmla="*/ 44107 h 1898459"/>
                <a:gd name="connsiteX6521" fmla="*/ 1298482 w 1556920"/>
                <a:gd name="connsiteY6521" fmla="*/ 44409 h 1898459"/>
                <a:gd name="connsiteX6522" fmla="*/ 1297968 w 1556920"/>
                <a:gd name="connsiteY6522" fmla="*/ 44984 h 1898459"/>
                <a:gd name="connsiteX6523" fmla="*/ 1297303 w 1556920"/>
                <a:gd name="connsiteY6523" fmla="*/ 45468 h 1898459"/>
                <a:gd name="connsiteX6524" fmla="*/ 1296425 w 1556920"/>
                <a:gd name="connsiteY6524" fmla="*/ 45407 h 1898459"/>
                <a:gd name="connsiteX6525" fmla="*/ 1296214 w 1556920"/>
                <a:gd name="connsiteY6525" fmla="*/ 44651 h 1898459"/>
                <a:gd name="connsiteX6526" fmla="*/ 1296334 w 1556920"/>
                <a:gd name="connsiteY6526" fmla="*/ 43320 h 1898459"/>
                <a:gd name="connsiteX6527" fmla="*/ 1296183 w 1556920"/>
                <a:gd name="connsiteY6527" fmla="*/ 42080 h 1898459"/>
                <a:gd name="connsiteX6528" fmla="*/ 1295124 w 1556920"/>
                <a:gd name="connsiteY6528" fmla="*/ 41535 h 1898459"/>
                <a:gd name="connsiteX6529" fmla="*/ 1283387 w 1556920"/>
                <a:gd name="connsiteY6529" fmla="*/ 41535 h 1898459"/>
                <a:gd name="connsiteX6530" fmla="*/ 1283387 w 1556920"/>
                <a:gd name="connsiteY6530" fmla="*/ 42927 h 1898459"/>
                <a:gd name="connsiteX6531" fmla="*/ 1286775 w 1556920"/>
                <a:gd name="connsiteY6531" fmla="*/ 49431 h 1898459"/>
                <a:gd name="connsiteX6532" fmla="*/ 1288983 w 1556920"/>
                <a:gd name="connsiteY6532" fmla="*/ 52517 h 1898459"/>
                <a:gd name="connsiteX6533" fmla="*/ 1291736 w 1556920"/>
                <a:gd name="connsiteY6533" fmla="*/ 53122 h 1898459"/>
                <a:gd name="connsiteX6534" fmla="*/ 1291403 w 1556920"/>
                <a:gd name="connsiteY6534" fmla="*/ 52426 h 1898459"/>
                <a:gd name="connsiteX6535" fmla="*/ 1291161 w 1556920"/>
                <a:gd name="connsiteY6535" fmla="*/ 51821 h 1898459"/>
                <a:gd name="connsiteX6536" fmla="*/ 1290859 w 1556920"/>
                <a:gd name="connsiteY6536" fmla="*/ 51246 h 1898459"/>
                <a:gd name="connsiteX6537" fmla="*/ 1290284 w 1556920"/>
                <a:gd name="connsiteY6537" fmla="*/ 50641 h 1898459"/>
                <a:gd name="connsiteX6538" fmla="*/ 1290284 w 1556920"/>
                <a:gd name="connsiteY6538" fmla="*/ 49249 h 1898459"/>
                <a:gd name="connsiteX6539" fmla="*/ 1293128 w 1556920"/>
                <a:gd name="connsiteY6539" fmla="*/ 49159 h 1898459"/>
                <a:gd name="connsiteX6540" fmla="*/ 1296062 w 1556920"/>
                <a:gd name="connsiteY6540" fmla="*/ 50641 h 1898459"/>
                <a:gd name="connsiteX6541" fmla="*/ 1298876 w 1556920"/>
                <a:gd name="connsiteY6541" fmla="*/ 51427 h 1898459"/>
                <a:gd name="connsiteX6542" fmla="*/ 1301326 w 1556920"/>
                <a:gd name="connsiteY6542" fmla="*/ 49249 h 1898459"/>
                <a:gd name="connsiteX6543" fmla="*/ 1301931 w 1556920"/>
                <a:gd name="connsiteY6543" fmla="*/ 47162 h 1898459"/>
                <a:gd name="connsiteX6544" fmla="*/ 1301568 w 1556920"/>
                <a:gd name="connsiteY6544" fmla="*/ 45529 h 1898459"/>
                <a:gd name="connsiteX6545" fmla="*/ 1300479 w 1556920"/>
                <a:gd name="connsiteY6545" fmla="*/ 44470 h 1898459"/>
                <a:gd name="connsiteX6546" fmla="*/ 1298936 w 1556920"/>
                <a:gd name="connsiteY6546" fmla="*/ 44107 h 1898459"/>
                <a:gd name="connsiteX6547" fmla="*/ 1209815 w 1556920"/>
                <a:gd name="connsiteY6547" fmla="*/ 114472 h 1898459"/>
                <a:gd name="connsiteX6548" fmla="*/ 1210662 w 1556920"/>
                <a:gd name="connsiteY6548" fmla="*/ 115530 h 1898459"/>
                <a:gd name="connsiteX6549" fmla="*/ 1212719 w 1556920"/>
                <a:gd name="connsiteY6549" fmla="*/ 115833 h 1898459"/>
                <a:gd name="connsiteX6550" fmla="*/ 1213536 w 1556920"/>
                <a:gd name="connsiteY6550" fmla="*/ 116196 h 1898459"/>
                <a:gd name="connsiteX6551" fmla="*/ 1213718 w 1556920"/>
                <a:gd name="connsiteY6551" fmla="*/ 117013 h 1898459"/>
                <a:gd name="connsiteX6552" fmla="*/ 1213808 w 1556920"/>
                <a:gd name="connsiteY6552" fmla="*/ 117950 h 1898459"/>
                <a:gd name="connsiteX6553" fmla="*/ 1214383 w 1556920"/>
                <a:gd name="connsiteY6553" fmla="*/ 118616 h 1898459"/>
                <a:gd name="connsiteX6554" fmla="*/ 1215351 w 1556920"/>
                <a:gd name="connsiteY6554" fmla="*/ 118888 h 1898459"/>
                <a:gd name="connsiteX6555" fmla="*/ 1217590 w 1556920"/>
                <a:gd name="connsiteY6555" fmla="*/ 118616 h 1898459"/>
                <a:gd name="connsiteX6556" fmla="*/ 1220645 w 1556920"/>
                <a:gd name="connsiteY6556" fmla="*/ 116710 h 1898459"/>
                <a:gd name="connsiteX6557" fmla="*/ 1222098 w 1556920"/>
                <a:gd name="connsiteY6557" fmla="*/ 116287 h 1898459"/>
                <a:gd name="connsiteX6558" fmla="*/ 1222702 w 1556920"/>
                <a:gd name="connsiteY6558" fmla="*/ 117920 h 1898459"/>
                <a:gd name="connsiteX6559" fmla="*/ 1223247 w 1556920"/>
                <a:gd name="connsiteY6559" fmla="*/ 119796 h 1898459"/>
                <a:gd name="connsiteX6560" fmla="*/ 1224427 w 1556920"/>
                <a:gd name="connsiteY6560" fmla="*/ 119523 h 1898459"/>
                <a:gd name="connsiteX6561" fmla="*/ 1225607 w 1556920"/>
                <a:gd name="connsiteY6561" fmla="*/ 117799 h 1898459"/>
                <a:gd name="connsiteX6562" fmla="*/ 1226151 w 1556920"/>
                <a:gd name="connsiteY6562" fmla="*/ 115258 h 1898459"/>
                <a:gd name="connsiteX6563" fmla="*/ 1226575 w 1556920"/>
                <a:gd name="connsiteY6563" fmla="*/ 113746 h 1898459"/>
                <a:gd name="connsiteX6564" fmla="*/ 1229025 w 1556920"/>
                <a:gd name="connsiteY6564" fmla="*/ 117678 h 1898459"/>
                <a:gd name="connsiteX6565" fmla="*/ 1230326 w 1556920"/>
                <a:gd name="connsiteY6565" fmla="*/ 118616 h 1898459"/>
                <a:gd name="connsiteX6566" fmla="*/ 1229025 w 1556920"/>
                <a:gd name="connsiteY6566" fmla="*/ 119221 h 1898459"/>
                <a:gd name="connsiteX6567" fmla="*/ 1226000 w 1556920"/>
                <a:gd name="connsiteY6567" fmla="*/ 119977 h 1898459"/>
                <a:gd name="connsiteX6568" fmla="*/ 1224850 w 1556920"/>
                <a:gd name="connsiteY6568" fmla="*/ 121036 h 1898459"/>
                <a:gd name="connsiteX6569" fmla="*/ 1224276 w 1556920"/>
                <a:gd name="connsiteY6569" fmla="*/ 122276 h 1898459"/>
                <a:gd name="connsiteX6570" fmla="*/ 1224215 w 1556920"/>
                <a:gd name="connsiteY6570" fmla="*/ 123123 h 1898459"/>
                <a:gd name="connsiteX6571" fmla="*/ 1224850 w 1556920"/>
                <a:gd name="connsiteY6571" fmla="*/ 124848 h 1898459"/>
                <a:gd name="connsiteX6572" fmla="*/ 1225153 w 1556920"/>
                <a:gd name="connsiteY6572" fmla="*/ 124697 h 1898459"/>
                <a:gd name="connsiteX6573" fmla="*/ 1227331 w 1556920"/>
                <a:gd name="connsiteY6573" fmla="*/ 126996 h 1898459"/>
                <a:gd name="connsiteX6574" fmla="*/ 1227543 w 1556920"/>
                <a:gd name="connsiteY6574" fmla="*/ 127389 h 1898459"/>
                <a:gd name="connsiteX6575" fmla="*/ 1231445 w 1556920"/>
                <a:gd name="connsiteY6575" fmla="*/ 129960 h 1898459"/>
                <a:gd name="connsiteX6576" fmla="*/ 1232383 w 1556920"/>
                <a:gd name="connsiteY6576" fmla="*/ 130021 h 1898459"/>
                <a:gd name="connsiteX6577" fmla="*/ 1233200 w 1556920"/>
                <a:gd name="connsiteY6577" fmla="*/ 128629 h 1898459"/>
                <a:gd name="connsiteX6578" fmla="*/ 1233472 w 1556920"/>
                <a:gd name="connsiteY6578" fmla="*/ 126572 h 1898459"/>
                <a:gd name="connsiteX6579" fmla="*/ 1233895 w 1556920"/>
                <a:gd name="connsiteY6579" fmla="*/ 124636 h 1898459"/>
                <a:gd name="connsiteX6580" fmla="*/ 1235106 w 1556920"/>
                <a:gd name="connsiteY6580" fmla="*/ 123577 h 1898459"/>
                <a:gd name="connsiteX6581" fmla="*/ 1235620 w 1556920"/>
                <a:gd name="connsiteY6581" fmla="*/ 126118 h 1898459"/>
                <a:gd name="connsiteX6582" fmla="*/ 1236527 w 1556920"/>
                <a:gd name="connsiteY6582" fmla="*/ 125665 h 1898459"/>
                <a:gd name="connsiteX6583" fmla="*/ 1237223 w 1556920"/>
                <a:gd name="connsiteY6583" fmla="*/ 123214 h 1898459"/>
                <a:gd name="connsiteX6584" fmla="*/ 1237163 w 1556920"/>
                <a:gd name="connsiteY6584" fmla="*/ 119796 h 1898459"/>
                <a:gd name="connsiteX6585" fmla="*/ 1238463 w 1556920"/>
                <a:gd name="connsiteY6585" fmla="*/ 119886 h 1898459"/>
                <a:gd name="connsiteX6586" fmla="*/ 1239401 w 1556920"/>
                <a:gd name="connsiteY6586" fmla="*/ 120552 h 1898459"/>
                <a:gd name="connsiteX6587" fmla="*/ 1241368 w 1556920"/>
                <a:gd name="connsiteY6587" fmla="*/ 122488 h 1898459"/>
                <a:gd name="connsiteX6588" fmla="*/ 1242063 w 1556920"/>
                <a:gd name="connsiteY6588" fmla="*/ 119826 h 1898459"/>
                <a:gd name="connsiteX6589" fmla="*/ 1240793 w 1556920"/>
                <a:gd name="connsiteY6589" fmla="*/ 117043 h 1898459"/>
                <a:gd name="connsiteX6590" fmla="*/ 1239432 w 1556920"/>
                <a:gd name="connsiteY6590" fmla="*/ 114804 h 1898459"/>
                <a:gd name="connsiteX6591" fmla="*/ 1237828 w 1556920"/>
                <a:gd name="connsiteY6591" fmla="*/ 113201 h 1898459"/>
                <a:gd name="connsiteX6592" fmla="*/ 1235892 w 1556920"/>
                <a:gd name="connsiteY6592" fmla="*/ 112293 h 1898459"/>
                <a:gd name="connsiteX6593" fmla="*/ 1235892 w 1556920"/>
                <a:gd name="connsiteY6593" fmla="*/ 110902 h 1898459"/>
                <a:gd name="connsiteX6594" fmla="*/ 1239159 w 1556920"/>
                <a:gd name="connsiteY6594" fmla="*/ 111658 h 1898459"/>
                <a:gd name="connsiteX6595" fmla="*/ 1241247 w 1556920"/>
                <a:gd name="connsiteY6595" fmla="*/ 113594 h 1898459"/>
                <a:gd name="connsiteX6596" fmla="*/ 1242729 w 1556920"/>
                <a:gd name="connsiteY6596" fmla="*/ 116740 h 1898459"/>
                <a:gd name="connsiteX6597" fmla="*/ 1244120 w 1556920"/>
                <a:gd name="connsiteY6597" fmla="*/ 121066 h 1898459"/>
                <a:gd name="connsiteX6598" fmla="*/ 1246904 w 1556920"/>
                <a:gd name="connsiteY6598" fmla="*/ 115198 h 1898459"/>
                <a:gd name="connsiteX6599" fmla="*/ 1248386 w 1556920"/>
                <a:gd name="connsiteY6599" fmla="*/ 113231 h 1898459"/>
                <a:gd name="connsiteX6600" fmla="*/ 1250322 w 1556920"/>
                <a:gd name="connsiteY6600" fmla="*/ 113443 h 1898459"/>
                <a:gd name="connsiteX6601" fmla="*/ 1250322 w 1556920"/>
                <a:gd name="connsiteY6601" fmla="*/ 114714 h 1898459"/>
                <a:gd name="connsiteX6602" fmla="*/ 1249324 w 1556920"/>
                <a:gd name="connsiteY6602" fmla="*/ 115651 h 1898459"/>
                <a:gd name="connsiteX6603" fmla="*/ 1248416 w 1556920"/>
                <a:gd name="connsiteY6603" fmla="*/ 117134 h 1898459"/>
                <a:gd name="connsiteX6604" fmla="*/ 1247630 w 1556920"/>
                <a:gd name="connsiteY6604" fmla="*/ 118979 h 1898459"/>
                <a:gd name="connsiteX6605" fmla="*/ 1246147 w 1556920"/>
                <a:gd name="connsiteY6605" fmla="*/ 123880 h 1898459"/>
                <a:gd name="connsiteX6606" fmla="*/ 1245845 w 1556920"/>
                <a:gd name="connsiteY6606" fmla="*/ 125453 h 1898459"/>
                <a:gd name="connsiteX6607" fmla="*/ 1246178 w 1556920"/>
                <a:gd name="connsiteY6607" fmla="*/ 126118 h 1898459"/>
                <a:gd name="connsiteX6608" fmla="*/ 1247297 w 1556920"/>
                <a:gd name="connsiteY6608" fmla="*/ 126270 h 1898459"/>
                <a:gd name="connsiteX6609" fmla="*/ 1247720 w 1556920"/>
                <a:gd name="connsiteY6609" fmla="*/ 125665 h 1898459"/>
                <a:gd name="connsiteX6610" fmla="*/ 1249172 w 1556920"/>
                <a:gd name="connsiteY6610" fmla="*/ 124636 h 1898459"/>
                <a:gd name="connsiteX6611" fmla="*/ 1250201 w 1556920"/>
                <a:gd name="connsiteY6611" fmla="*/ 124576 h 1898459"/>
                <a:gd name="connsiteX6612" fmla="*/ 1248598 w 1556920"/>
                <a:gd name="connsiteY6612" fmla="*/ 128448 h 1898459"/>
                <a:gd name="connsiteX6613" fmla="*/ 1248295 w 1556920"/>
                <a:gd name="connsiteY6613" fmla="*/ 129385 h 1898459"/>
                <a:gd name="connsiteX6614" fmla="*/ 1248204 w 1556920"/>
                <a:gd name="connsiteY6614" fmla="*/ 130081 h 1898459"/>
                <a:gd name="connsiteX6615" fmla="*/ 1248658 w 1556920"/>
                <a:gd name="connsiteY6615" fmla="*/ 131927 h 1898459"/>
                <a:gd name="connsiteX6616" fmla="*/ 1249203 w 1556920"/>
                <a:gd name="connsiteY6616" fmla="*/ 132078 h 1898459"/>
                <a:gd name="connsiteX6617" fmla="*/ 1249808 w 1556920"/>
                <a:gd name="connsiteY6617" fmla="*/ 131866 h 1898459"/>
                <a:gd name="connsiteX6618" fmla="*/ 1250352 w 1556920"/>
                <a:gd name="connsiteY6618" fmla="*/ 132622 h 1898459"/>
                <a:gd name="connsiteX6619" fmla="*/ 1250867 w 1556920"/>
                <a:gd name="connsiteY6619" fmla="*/ 137644 h 1898459"/>
                <a:gd name="connsiteX6620" fmla="*/ 1249808 w 1556920"/>
                <a:gd name="connsiteY6620" fmla="*/ 141335 h 1898459"/>
                <a:gd name="connsiteX6621" fmla="*/ 1248325 w 1556920"/>
                <a:gd name="connsiteY6621" fmla="*/ 144965 h 1898459"/>
                <a:gd name="connsiteX6622" fmla="*/ 1246813 w 1556920"/>
                <a:gd name="connsiteY6622" fmla="*/ 153768 h 1898459"/>
                <a:gd name="connsiteX6623" fmla="*/ 1245300 w 1556920"/>
                <a:gd name="connsiteY6623" fmla="*/ 156884 h 1898459"/>
                <a:gd name="connsiteX6624" fmla="*/ 1244211 w 1556920"/>
                <a:gd name="connsiteY6624" fmla="*/ 159788 h 1898459"/>
                <a:gd name="connsiteX6625" fmla="*/ 1244786 w 1556920"/>
                <a:gd name="connsiteY6625" fmla="*/ 163086 h 1898459"/>
                <a:gd name="connsiteX6626" fmla="*/ 1242094 w 1556920"/>
                <a:gd name="connsiteY6626" fmla="*/ 163086 h 1898459"/>
                <a:gd name="connsiteX6627" fmla="*/ 1242094 w 1556920"/>
                <a:gd name="connsiteY6627" fmla="*/ 164326 h 1898459"/>
                <a:gd name="connsiteX6628" fmla="*/ 1242971 w 1556920"/>
                <a:gd name="connsiteY6628" fmla="*/ 164901 h 1898459"/>
                <a:gd name="connsiteX6629" fmla="*/ 1244786 w 1556920"/>
                <a:gd name="connsiteY6629" fmla="*/ 166958 h 1898459"/>
                <a:gd name="connsiteX6630" fmla="*/ 1244786 w 1556920"/>
                <a:gd name="connsiteY6630" fmla="*/ 167986 h 1898459"/>
                <a:gd name="connsiteX6631" fmla="*/ 1243606 w 1556920"/>
                <a:gd name="connsiteY6631" fmla="*/ 167775 h 1898459"/>
                <a:gd name="connsiteX6632" fmla="*/ 1242487 w 1556920"/>
                <a:gd name="connsiteY6632" fmla="*/ 168107 h 1898459"/>
                <a:gd name="connsiteX6633" fmla="*/ 1241489 w 1556920"/>
                <a:gd name="connsiteY6633" fmla="*/ 169015 h 1898459"/>
                <a:gd name="connsiteX6634" fmla="*/ 1240642 w 1556920"/>
                <a:gd name="connsiteY6634" fmla="*/ 170527 h 1898459"/>
                <a:gd name="connsiteX6635" fmla="*/ 1241247 w 1556920"/>
                <a:gd name="connsiteY6635" fmla="*/ 173432 h 1898459"/>
                <a:gd name="connsiteX6636" fmla="*/ 1239432 w 1556920"/>
                <a:gd name="connsiteY6636" fmla="*/ 175821 h 1898459"/>
                <a:gd name="connsiteX6637" fmla="*/ 1240642 w 1556920"/>
                <a:gd name="connsiteY6637" fmla="*/ 178090 h 1898459"/>
                <a:gd name="connsiteX6638" fmla="*/ 1242275 w 1556920"/>
                <a:gd name="connsiteY6638" fmla="*/ 178877 h 1898459"/>
                <a:gd name="connsiteX6639" fmla="*/ 1245452 w 1556920"/>
                <a:gd name="connsiteY6639" fmla="*/ 178151 h 1898459"/>
                <a:gd name="connsiteX6640" fmla="*/ 1246964 w 1556920"/>
                <a:gd name="connsiteY6640" fmla="*/ 179452 h 1898459"/>
                <a:gd name="connsiteX6641" fmla="*/ 1246964 w 1556920"/>
                <a:gd name="connsiteY6641" fmla="*/ 180722 h 1898459"/>
                <a:gd name="connsiteX6642" fmla="*/ 1245815 w 1556920"/>
                <a:gd name="connsiteY6642" fmla="*/ 182386 h 1898459"/>
                <a:gd name="connsiteX6643" fmla="*/ 1245996 w 1556920"/>
                <a:gd name="connsiteY6643" fmla="*/ 183777 h 1898459"/>
                <a:gd name="connsiteX6644" fmla="*/ 1246813 w 1556920"/>
                <a:gd name="connsiteY6644" fmla="*/ 184020 h 1898459"/>
                <a:gd name="connsiteX6645" fmla="*/ 1247599 w 1556920"/>
                <a:gd name="connsiteY6645" fmla="*/ 182114 h 1898459"/>
                <a:gd name="connsiteX6646" fmla="*/ 1249263 w 1556920"/>
                <a:gd name="connsiteY6646" fmla="*/ 184988 h 1898459"/>
                <a:gd name="connsiteX6647" fmla="*/ 1249657 w 1556920"/>
                <a:gd name="connsiteY6647" fmla="*/ 185895 h 1898459"/>
                <a:gd name="connsiteX6648" fmla="*/ 1250625 w 1556920"/>
                <a:gd name="connsiteY6648" fmla="*/ 185048 h 1898459"/>
                <a:gd name="connsiteX6649" fmla="*/ 1251018 w 1556920"/>
                <a:gd name="connsiteY6649" fmla="*/ 183657 h 1898459"/>
                <a:gd name="connsiteX6650" fmla="*/ 1250746 w 1556920"/>
                <a:gd name="connsiteY6650" fmla="*/ 182083 h 1898459"/>
                <a:gd name="connsiteX6651" fmla="*/ 1249657 w 1556920"/>
                <a:gd name="connsiteY6651" fmla="*/ 180752 h 1898459"/>
                <a:gd name="connsiteX6652" fmla="*/ 1250534 w 1556920"/>
                <a:gd name="connsiteY6652" fmla="*/ 178272 h 1898459"/>
                <a:gd name="connsiteX6653" fmla="*/ 1250776 w 1556920"/>
                <a:gd name="connsiteY6653" fmla="*/ 176124 h 1898459"/>
                <a:gd name="connsiteX6654" fmla="*/ 1250473 w 1556920"/>
                <a:gd name="connsiteY6654" fmla="*/ 174097 h 1898459"/>
                <a:gd name="connsiteX6655" fmla="*/ 1249687 w 1556920"/>
                <a:gd name="connsiteY6655" fmla="*/ 171949 h 1898459"/>
                <a:gd name="connsiteX6656" fmla="*/ 1249959 w 1556920"/>
                <a:gd name="connsiteY6656" fmla="*/ 172343 h 1898459"/>
                <a:gd name="connsiteX6657" fmla="*/ 1250383 w 1556920"/>
                <a:gd name="connsiteY6657" fmla="*/ 173220 h 1898459"/>
                <a:gd name="connsiteX6658" fmla="*/ 1251804 w 1556920"/>
                <a:gd name="connsiteY6658" fmla="*/ 170648 h 1898459"/>
                <a:gd name="connsiteX6659" fmla="*/ 1252651 w 1556920"/>
                <a:gd name="connsiteY6659" fmla="*/ 167169 h 1898459"/>
                <a:gd name="connsiteX6660" fmla="*/ 1252893 w 1556920"/>
                <a:gd name="connsiteY6660" fmla="*/ 163267 h 1898459"/>
                <a:gd name="connsiteX6661" fmla="*/ 1252470 w 1556920"/>
                <a:gd name="connsiteY6661" fmla="*/ 159455 h 1898459"/>
                <a:gd name="connsiteX6662" fmla="*/ 1255646 w 1556920"/>
                <a:gd name="connsiteY6662" fmla="*/ 161422 h 1898459"/>
                <a:gd name="connsiteX6663" fmla="*/ 1257098 w 1556920"/>
                <a:gd name="connsiteY6663" fmla="*/ 161512 h 1898459"/>
                <a:gd name="connsiteX6664" fmla="*/ 1257976 w 1556920"/>
                <a:gd name="connsiteY6664" fmla="*/ 159455 h 1898459"/>
                <a:gd name="connsiteX6665" fmla="*/ 1255707 w 1556920"/>
                <a:gd name="connsiteY6665" fmla="*/ 154161 h 1898459"/>
                <a:gd name="connsiteX6666" fmla="*/ 1255283 w 1556920"/>
                <a:gd name="connsiteY6666" fmla="*/ 151650 h 1898459"/>
                <a:gd name="connsiteX6667" fmla="*/ 1256856 w 1556920"/>
                <a:gd name="connsiteY6667" fmla="*/ 152256 h 1898459"/>
                <a:gd name="connsiteX6668" fmla="*/ 1258732 w 1556920"/>
                <a:gd name="connsiteY6668" fmla="*/ 151923 h 1898459"/>
                <a:gd name="connsiteX6669" fmla="*/ 1260245 w 1556920"/>
                <a:gd name="connsiteY6669" fmla="*/ 150501 h 1898459"/>
                <a:gd name="connsiteX6670" fmla="*/ 1260789 w 1556920"/>
                <a:gd name="connsiteY6670" fmla="*/ 147869 h 1898459"/>
                <a:gd name="connsiteX6671" fmla="*/ 1259821 w 1556920"/>
                <a:gd name="connsiteY6671" fmla="*/ 147869 h 1898459"/>
                <a:gd name="connsiteX6672" fmla="*/ 1257976 w 1556920"/>
                <a:gd name="connsiteY6672" fmla="*/ 146084 h 1898459"/>
                <a:gd name="connsiteX6673" fmla="*/ 1257038 w 1556920"/>
                <a:gd name="connsiteY6673" fmla="*/ 143634 h 1898459"/>
                <a:gd name="connsiteX6674" fmla="*/ 1258762 w 1556920"/>
                <a:gd name="connsiteY6674" fmla="*/ 141547 h 1898459"/>
                <a:gd name="connsiteX6675" fmla="*/ 1256735 w 1556920"/>
                <a:gd name="connsiteY6675" fmla="*/ 140488 h 1898459"/>
                <a:gd name="connsiteX6676" fmla="*/ 1255949 w 1556920"/>
                <a:gd name="connsiteY6676" fmla="*/ 140276 h 1898459"/>
                <a:gd name="connsiteX6677" fmla="*/ 1255949 w 1556920"/>
                <a:gd name="connsiteY6677" fmla="*/ 139127 h 1898459"/>
                <a:gd name="connsiteX6678" fmla="*/ 1257038 w 1556920"/>
                <a:gd name="connsiteY6678" fmla="*/ 139217 h 1898459"/>
                <a:gd name="connsiteX6679" fmla="*/ 1257794 w 1556920"/>
                <a:gd name="connsiteY6679" fmla="*/ 138884 h 1898459"/>
                <a:gd name="connsiteX6680" fmla="*/ 1258339 w 1556920"/>
                <a:gd name="connsiteY6680" fmla="*/ 138007 h 1898459"/>
                <a:gd name="connsiteX6681" fmla="*/ 1258792 w 1556920"/>
                <a:gd name="connsiteY6681" fmla="*/ 136464 h 1898459"/>
                <a:gd name="connsiteX6682" fmla="*/ 1257371 w 1556920"/>
                <a:gd name="connsiteY6682" fmla="*/ 135073 h 1898459"/>
                <a:gd name="connsiteX6683" fmla="*/ 1259186 w 1556920"/>
                <a:gd name="connsiteY6683" fmla="*/ 135073 h 1898459"/>
                <a:gd name="connsiteX6684" fmla="*/ 1260245 w 1556920"/>
                <a:gd name="connsiteY6684" fmla="*/ 133742 h 1898459"/>
                <a:gd name="connsiteX6685" fmla="*/ 1261273 w 1556920"/>
                <a:gd name="connsiteY6685" fmla="*/ 132834 h 1898459"/>
                <a:gd name="connsiteX6686" fmla="*/ 1262937 w 1556920"/>
                <a:gd name="connsiteY6686" fmla="*/ 133923 h 1898459"/>
                <a:gd name="connsiteX6687" fmla="*/ 1262937 w 1556920"/>
                <a:gd name="connsiteY6687" fmla="*/ 132653 h 1898459"/>
                <a:gd name="connsiteX6688" fmla="*/ 1262181 w 1556920"/>
                <a:gd name="connsiteY6688" fmla="*/ 132653 h 1898459"/>
                <a:gd name="connsiteX6689" fmla="*/ 1262181 w 1556920"/>
                <a:gd name="connsiteY6689" fmla="*/ 131261 h 1898459"/>
                <a:gd name="connsiteX6690" fmla="*/ 1264994 w 1556920"/>
                <a:gd name="connsiteY6690" fmla="*/ 131261 h 1898459"/>
                <a:gd name="connsiteX6691" fmla="*/ 1264994 w 1556920"/>
                <a:gd name="connsiteY6691" fmla="*/ 130111 h 1898459"/>
                <a:gd name="connsiteX6692" fmla="*/ 1261576 w 1556920"/>
                <a:gd name="connsiteY6692" fmla="*/ 127449 h 1898459"/>
                <a:gd name="connsiteX6693" fmla="*/ 1262967 w 1556920"/>
                <a:gd name="connsiteY6693" fmla="*/ 124182 h 1898459"/>
                <a:gd name="connsiteX6694" fmla="*/ 1261848 w 1556920"/>
                <a:gd name="connsiteY6694" fmla="*/ 123244 h 1898459"/>
                <a:gd name="connsiteX6695" fmla="*/ 1259700 w 1556920"/>
                <a:gd name="connsiteY6695" fmla="*/ 124122 h 1898459"/>
                <a:gd name="connsiteX6696" fmla="*/ 1258097 w 1556920"/>
                <a:gd name="connsiteY6696" fmla="*/ 126270 h 1898459"/>
                <a:gd name="connsiteX6697" fmla="*/ 1258641 w 1556920"/>
                <a:gd name="connsiteY6697" fmla="*/ 123486 h 1898459"/>
                <a:gd name="connsiteX6698" fmla="*/ 1261606 w 1556920"/>
                <a:gd name="connsiteY6698" fmla="*/ 117255 h 1898459"/>
                <a:gd name="connsiteX6699" fmla="*/ 1260275 w 1556920"/>
                <a:gd name="connsiteY6699" fmla="*/ 117648 h 1898459"/>
                <a:gd name="connsiteX6700" fmla="*/ 1259276 w 1556920"/>
                <a:gd name="connsiteY6700" fmla="*/ 118525 h 1898459"/>
                <a:gd name="connsiteX6701" fmla="*/ 1257431 w 1556920"/>
                <a:gd name="connsiteY6701" fmla="*/ 121066 h 1898459"/>
                <a:gd name="connsiteX6702" fmla="*/ 1258278 w 1556920"/>
                <a:gd name="connsiteY6702" fmla="*/ 118434 h 1898459"/>
                <a:gd name="connsiteX6703" fmla="*/ 1258823 w 1556920"/>
                <a:gd name="connsiteY6703" fmla="*/ 117134 h 1898459"/>
                <a:gd name="connsiteX6704" fmla="*/ 1259488 w 1556920"/>
                <a:gd name="connsiteY6704" fmla="*/ 115863 h 1898459"/>
                <a:gd name="connsiteX6705" fmla="*/ 1255434 w 1556920"/>
                <a:gd name="connsiteY6705" fmla="*/ 115863 h 1898459"/>
                <a:gd name="connsiteX6706" fmla="*/ 1255434 w 1556920"/>
                <a:gd name="connsiteY6706" fmla="*/ 114714 h 1898459"/>
                <a:gd name="connsiteX6707" fmla="*/ 1257038 w 1556920"/>
                <a:gd name="connsiteY6707" fmla="*/ 113685 h 1898459"/>
                <a:gd name="connsiteX6708" fmla="*/ 1257885 w 1556920"/>
                <a:gd name="connsiteY6708" fmla="*/ 113413 h 1898459"/>
                <a:gd name="connsiteX6709" fmla="*/ 1258853 w 1556920"/>
                <a:gd name="connsiteY6709" fmla="*/ 113413 h 1898459"/>
                <a:gd name="connsiteX6710" fmla="*/ 1258853 w 1556920"/>
                <a:gd name="connsiteY6710" fmla="*/ 112293 h 1898459"/>
                <a:gd name="connsiteX6711" fmla="*/ 1258127 w 1556920"/>
                <a:gd name="connsiteY6711" fmla="*/ 111628 h 1898459"/>
                <a:gd name="connsiteX6712" fmla="*/ 1257552 w 1556920"/>
                <a:gd name="connsiteY6712" fmla="*/ 110569 h 1898459"/>
                <a:gd name="connsiteX6713" fmla="*/ 1257461 w 1556920"/>
                <a:gd name="connsiteY6713" fmla="*/ 109389 h 1898459"/>
                <a:gd name="connsiteX6714" fmla="*/ 1258127 w 1556920"/>
                <a:gd name="connsiteY6714" fmla="*/ 108330 h 1898459"/>
                <a:gd name="connsiteX6715" fmla="*/ 1259095 w 1556920"/>
                <a:gd name="connsiteY6715" fmla="*/ 108452 h 1898459"/>
                <a:gd name="connsiteX6716" fmla="*/ 1259942 w 1556920"/>
                <a:gd name="connsiteY6716" fmla="*/ 109813 h 1898459"/>
                <a:gd name="connsiteX6717" fmla="*/ 1260940 w 1556920"/>
                <a:gd name="connsiteY6717" fmla="*/ 112293 h 1898459"/>
                <a:gd name="connsiteX6718" fmla="*/ 1262634 w 1556920"/>
                <a:gd name="connsiteY6718" fmla="*/ 112777 h 1898459"/>
                <a:gd name="connsiteX6719" fmla="*/ 1264450 w 1556920"/>
                <a:gd name="connsiteY6719" fmla="*/ 112021 h 1898459"/>
                <a:gd name="connsiteX6720" fmla="*/ 1268473 w 1556920"/>
                <a:gd name="connsiteY6720" fmla="*/ 108361 h 1898459"/>
                <a:gd name="connsiteX6721" fmla="*/ 1267868 w 1556920"/>
                <a:gd name="connsiteY6721" fmla="*/ 107877 h 1898459"/>
                <a:gd name="connsiteX6722" fmla="*/ 1266507 w 1556920"/>
                <a:gd name="connsiteY6722" fmla="*/ 107665 h 1898459"/>
                <a:gd name="connsiteX6723" fmla="*/ 1265750 w 1556920"/>
                <a:gd name="connsiteY6723" fmla="*/ 107181 h 1898459"/>
                <a:gd name="connsiteX6724" fmla="*/ 1265236 w 1556920"/>
                <a:gd name="connsiteY6724" fmla="*/ 107090 h 1898459"/>
                <a:gd name="connsiteX6725" fmla="*/ 1264480 w 1556920"/>
                <a:gd name="connsiteY6725" fmla="*/ 108058 h 1898459"/>
                <a:gd name="connsiteX6726" fmla="*/ 1263996 w 1556920"/>
                <a:gd name="connsiteY6726" fmla="*/ 107756 h 1898459"/>
                <a:gd name="connsiteX6727" fmla="*/ 1263723 w 1556920"/>
                <a:gd name="connsiteY6727" fmla="*/ 106969 h 1898459"/>
                <a:gd name="connsiteX6728" fmla="*/ 1263572 w 1556920"/>
                <a:gd name="connsiteY6728" fmla="*/ 105880 h 1898459"/>
                <a:gd name="connsiteX6729" fmla="*/ 1263633 w 1556920"/>
                <a:gd name="connsiteY6729" fmla="*/ 104912 h 1898459"/>
                <a:gd name="connsiteX6730" fmla="*/ 1263996 w 1556920"/>
                <a:gd name="connsiteY6730" fmla="*/ 104489 h 1898459"/>
                <a:gd name="connsiteX6731" fmla="*/ 1265115 w 1556920"/>
                <a:gd name="connsiteY6731" fmla="*/ 103853 h 1898459"/>
                <a:gd name="connsiteX6732" fmla="*/ 1269925 w 1556920"/>
                <a:gd name="connsiteY6732" fmla="*/ 99255 h 1898459"/>
                <a:gd name="connsiteX6733" fmla="*/ 1267323 w 1556920"/>
                <a:gd name="connsiteY6733" fmla="*/ 97349 h 1898459"/>
                <a:gd name="connsiteX6734" fmla="*/ 1262241 w 1556920"/>
                <a:gd name="connsiteY6734" fmla="*/ 96200 h 1898459"/>
                <a:gd name="connsiteX6735" fmla="*/ 1260154 w 1556920"/>
                <a:gd name="connsiteY6735" fmla="*/ 94264 h 1898459"/>
                <a:gd name="connsiteX6736" fmla="*/ 1261666 w 1556920"/>
                <a:gd name="connsiteY6736" fmla="*/ 93659 h 1898459"/>
                <a:gd name="connsiteX6737" fmla="*/ 1269532 w 1556920"/>
                <a:gd name="connsiteY6737" fmla="*/ 92872 h 1898459"/>
                <a:gd name="connsiteX6738" fmla="*/ 1270409 w 1556920"/>
                <a:gd name="connsiteY6738" fmla="*/ 92025 h 1898459"/>
                <a:gd name="connsiteX6739" fmla="*/ 1270923 w 1556920"/>
                <a:gd name="connsiteY6739" fmla="*/ 90149 h 1898459"/>
                <a:gd name="connsiteX6740" fmla="*/ 1271165 w 1556920"/>
                <a:gd name="connsiteY6740" fmla="*/ 88213 h 1898459"/>
                <a:gd name="connsiteX6741" fmla="*/ 1271226 w 1556920"/>
                <a:gd name="connsiteY6741" fmla="*/ 87185 h 1898459"/>
                <a:gd name="connsiteX6742" fmla="*/ 1270621 w 1556920"/>
                <a:gd name="connsiteY6742" fmla="*/ 85158 h 1898459"/>
                <a:gd name="connsiteX6743" fmla="*/ 1269290 w 1556920"/>
                <a:gd name="connsiteY6743" fmla="*/ 85158 h 1898459"/>
                <a:gd name="connsiteX6744" fmla="*/ 1267989 w 1556920"/>
                <a:gd name="connsiteY6744" fmla="*/ 86065 h 1898459"/>
                <a:gd name="connsiteX6745" fmla="*/ 1267414 w 1556920"/>
                <a:gd name="connsiteY6745" fmla="*/ 86610 h 1898459"/>
                <a:gd name="connsiteX6746" fmla="*/ 1266416 w 1556920"/>
                <a:gd name="connsiteY6746" fmla="*/ 88455 h 1898459"/>
                <a:gd name="connsiteX6747" fmla="*/ 1265659 w 1556920"/>
                <a:gd name="connsiteY6747" fmla="*/ 89363 h 1898459"/>
                <a:gd name="connsiteX6748" fmla="*/ 1265024 w 1556920"/>
                <a:gd name="connsiteY6748" fmla="*/ 89060 h 1898459"/>
                <a:gd name="connsiteX6749" fmla="*/ 1264903 w 1556920"/>
                <a:gd name="connsiteY6749" fmla="*/ 87518 h 1898459"/>
                <a:gd name="connsiteX6750" fmla="*/ 1265478 w 1556920"/>
                <a:gd name="connsiteY6750" fmla="*/ 86096 h 1898459"/>
                <a:gd name="connsiteX6751" fmla="*/ 1272587 w 1556920"/>
                <a:gd name="connsiteY6751" fmla="*/ 78230 h 1898459"/>
                <a:gd name="connsiteX6752" fmla="*/ 1274039 w 1556920"/>
                <a:gd name="connsiteY6752" fmla="*/ 74993 h 1898459"/>
                <a:gd name="connsiteX6753" fmla="*/ 1272073 w 1556920"/>
                <a:gd name="connsiteY6753" fmla="*/ 74993 h 1898459"/>
                <a:gd name="connsiteX6754" fmla="*/ 1270167 w 1556920"/>
                <a:gd name="connsiteY6754" fmla="*/ 76143 h 1898459"/>
                <a:gd name="connsiteX6755" fmla="*/ 1268624 w 1556920"/>
                <a:gd name="connsiteY6755" fmla="*/ 78291 h 1898459"/>
                <a:gd name="connsiteX6756" fmla="*/ 1267717 w 1556920"/>
                <a:gd name="connsiteY6756" fmla="*/ 81376 h 1898459"/>
                <a:gd name="connsiteX6757" fmla="*/ 1267565 w 1556920"/>
                <a:gd name="connsiteY6757" fmla="*/ 79924 h 1898459"/>
                <a:gd name="connsiteX6758" fmla="*/ 1267414 w 1556920"/>
                <a:gd name="connsiteY6758" fmla="*/ 79319 h 1898459"/>
                <a:gd name="connsiteX6759" fmla="*/ 1267051 w 1556920"/>
                <a:gd name="connsiteY6759" fmla="*/ 78684 h 1898459"/>
                <a:gd name="connsiteX6760" fmla="*/ 1266204 w 1556920"/>
                <a:gd name="connsiteY6760" fmla="*/ 80045 h 1898459"/>
                <a:gd name="connsiteX6761" fmla="*/ 1265720 w 1556920"/>
                <a:gd name="connsiteY6761" fmla="*/ 81528 h 1898459"/>
                <a:gd name="connsiteX6762" fmla="*/ 1265417 w 1556920"/>
                <a:gd name="connsiteY6762" fmla="*/ 82950 h 1898459"/>
                <a:gd name="connsiteX6763" fmla="*/ 1265024 w 1556920"/>
                <a:gd name="connsiteY6763" fmla="*/ 84069 h 1898459"/>
                <a:gd name="connsiteX6764" fmla="*/ 1264177 w 1556920"/>
                <a:gd name="connsiteY6764" fmla="*/ 84855 h 1898459"/>
                <a:gd name="connsiteX6765" fmla="*/ 1263693 w 1556920"/>
                <a:gd name="connsiteY6765" fmla="*/ 84583 h 1898459"/>
                <a:gd name="connsiteX6766" fmla="*/ 1263360 w 1556920"/>
                <a:gd name="connsiteY6766" fmla="*/ 84704 h 1898459"/>
                <a:gd name="connsiteX6767" fmla="*/ 1262967 w 1556920"/>
                <a:gd name="connsiteY6767" fmla="*/ 86640 h 1898459"/>
                <a:gd name="connsiteX6768" fmla="*/ 1262211 w 1556920"/>
                <a:gd name="connsiteY6768" fmla="*/ 86640 h 1898459"/>
                <a:gd name="connsiteX6769" fmla="*/ 1262029 w 1556920"/>
                <a:gd name="connsiteY6769" fmla="*/ 83010 h 1898459"/>
                <a:gd name="connsiteX6770" fmla="*/ 1260850 w 1556920"/>
                <a:gd name="connsiteY6770" fmla="*/ 82224 h 1898459"/>
                <a:gd name="connsiteX6771" fmla="*/ 1257431 w 1556920"/>
                <a:gd name="connsiteY6771" fmla="*/ 84069 h 1898459"/>
                <a:gd name="connsiteX6772" fmla="*/ 1257431 w 1556920"/>
                <a:gd name="connsiteY6772" fmla="*/ 82677 h 1898459"/>
                <a:gd name="connsiteX6773" fmla="*/ 1258460 w 1556920"/>
                <a:gd name="connsiteY6773" fmla="*/ 81860 h 1898459"/>
                <a:gd name="connsiteX6774" fmla="*/ 1258853 w 1556920"/>
                <a:gd name="connsiteY6774" fmla="*/ 81407 h 1898459"/>
                <a:gd name="connsiteX6775" fmla="*/ 1256493 w 1556920"/>
                <a:gd name="connsiteY6775" fmla="*/ 82496 h 1898459"/>
                <a:gd name="connsiteX6776" fmla="*/ 1255283 w 1556920"/>
                <a:gd name="connsiteY6776" fmla="*/ 82798 h 1898459"/>
                <a:gd name="connsiteX6777" fmla="*/ 1254951 w 1556920"/>
                <a:gd name="connsiteY6777" fmla="*/ 82375 h 1898459"/>
                <a:gd name="connsiteX6778" fmla="*/ 1255979 w 1556920"/>
                <a:gd name="connsiteY6778" fmla="*/ 81709 h 1898459"/>
                <a:gd name="connsiteX6779" fmla="*/ 1256947 w 1556920"/>
                <a:gd name="connsiteY6779" fmla="*/ 80741 h 1898459"/>
                <a:gd name="connsiteX6780" fmla="*/ 1257794 w 1556920"/>
                <a:gd name="connsiteY6780" fmla="*/ 79440 h 1898459"/>
                <a:gd name="connsiteX6781" fmla="*/ 1258823 w 1556920"/>
                <a:gd name="connsiteY6781" fmla="*/ 78593 h 1898459"/>
                <a:gd name="connsiteX6782" fmla="*/ 1261031 w 1556920"/>
                <a:gd name="connsiteY6782" fmla="*/ 79743 h 1898459"/>
                <a:gd name="connsiteX6783" fmla="*/ 1262271 w 1556920"/>
                <a:gd name="connsiteY6783" fmla="*/ 78745 h 1898459"/>
                <a:gd name="connsiteX6784" fmla="*/ 1260971 w 1556920"/>
                <a:gd name="connsiteY6784" fmla="*/ 77595 h 1898459"/>
                <a:gd name="connsiteX6785" fmla="*/ 1261122 w 1556920"/>
                <a:gd name="connsiteY6785" fmla="*/ 77171 h 1898459"/>
                <a:gd name="connsiteX6786" fmla="*/ 1261636 w 1556920"/>
                <a:gd name="connsiteY6786" fmla="*/ 76324 h 1898459"/>
                <a:gd name="connsiteX6787" fmla="*/ 1261182 w 1556920"/>
                <a:gd name="connsiteY6787" fmla="*/ 74177 h 1898459"/>
                <a:gd name="connsiteX6788" fmla="*/ 1260426 w 1556920"/>
                <a:gd name="connsiteY6788" fmla="*/ 72694 h 1898459"/>
                <a:gd name="connsiteX6789" fmla="*/ 1259397 w 1556920"/>
                <a:gd name="connsiteY6789" fmla="*/ 71726 h 1898459"/>
                <a:gd name="connsiteX6790" fmla="*/ 1258157 w 1556920"/>
                <a:gd name="connsiteY6790" fmla="*/ 71182 h 1898459"/>
                <a:gd name="connsiteX6791" fmla="*/ 1258792 w 1556920"/>
                <a:gd name="connsiteY6791" fmla="*/ 69094 h 1898459"/>
                <a:gd name="connsiteX6792" fmla="*/ 1257492 w 1556920"/>
                <a:gd name="connsiteY6792" fmla="*/ 67189 h 1898459"/>
                <a:gd name="connsiteX6793" fmla="*/ 1255646 w 1556920"/>
                <a:gd name="connsiteY6793" fmla="*/ 66130 h 1898459"/>
                <a:gd name="connsiteX6794" fmla="*/ 1254708 w 1556920"/>
                <a:gd name="connsiteY6794" fmla="*/ 66644 h 1898459"/>
                <a:gd name="connsiteX6795" fmla="*/ 1254315 w 1556920"/>
                <a:gd name="connsiteY6795" fmla="*/ 67884 h 1898459"/>
                <a:gd name="connsiteX6796" fmla="*/ 1252258 w 1556920"/>
                <a:gd name="connsiteY6796" fmla="*/ 71242 h 1898459"/>
                <a:gd name="connsiteX6797" fmla="*/ 1251320 w 1556920"/>
                <a:gd name="connsiteY6797" fmla="*/ 72362 h 1898459"/>
                <a:gd name="connsiteX6798" fmla="*/ 1251169 w 1556920"/>
                <a:gd name="connsiteY6798" fmla="*/ 69246 h 1898459"/>
                <a:gd name="connsiteX6799" fmla="*/ 1250171 w 1556920"/>
                <a:gd name="connsiteY6799" fmla="*/ 68731 h 1898459"/>
                <a:gd name="connsiteX6800" fmla="*/ 1248870 w 1556920"/>
                <a:gd name="connsiteY6800" fmla="*/ 69790 h 1898459"/>
                <a:gd name="connsiteX6801" fmla="*/ 1247841 w 1556920"/>
                <a:gd name="connsiteY6801" fmla="*/ 71212 h 1898459"/>
                <a:gd name="connsiteX6802" fmla="*/ 1249263 w 1556920"/>
                <a:gd name="connsiteY6802" fmla="*/ 72936 h 1898459"/>
                <a:gd name="connsiteX6803" fmla="*/ 1254013 w 1556920"/>
                <a:gd name="connsiteY6803" fmla="*/ 76324 h 1898459"/>
                <a:gd name="connsiteX6804" fmla="*/ 1247630 w 1556920"/>
                <a:gd name="connsiteY6804" fmla="*/ 77414 h 1898459"/>
                <a:gd name="connsiteX6805" fmla="*/ 1244877 w 1556920"/>
                <a:gd name="connsiteY6805" fmla="*/ 79319 h 1898459"/>
                <a:gd name="connsiteX6806" fmla="*/ 1245028 w 1556920"/>
                <a:gd name="connsiteY6806" fmla="*/ 82708 h 1898459"/>
                <a:gd name="connsiteX6807" fmla="*/ 1243969 w 1556920"/>
                <a:gd name="connsiteY6807" fmla="*/ 83585 h 1898459"/>
                <a:gd name="connsiteX6808" fmla="*/ 1242789 w 1556920"/>
                <a:gd name="connsiteY6808" fmla="*/ 84099 h 1898459"/>
                <a:gd name="connsiteX6809" fmla="*/ 1241549 w 1556920"/>
                <a:gd name="connsiteY6809" fmla="*/ 84250 h 1898459"/>
                <a:gd name="connsiteX6810" fmla="*/ 1240248 w 1556920"/>
                <a:gd name="connsiteY6810" fmla="*/ 84099 h 1898459"/>
                <a:gd name="connsiteX6811" fmla="*/ 1240248 w 1556920"/>
                <a:gd name="connsiteY6811" fmla="*/ 82708 h 1898459"/>
                <a:gd name="connsiteX6812" fmla="*/ 1242094 w 1556920"/>
                <a:gd name="connsiteY6812" fmla="*/ 81074 h 1898459"/>
                <a:gd name="connsiteX6813" fmla="*/ 1244483 w 1556920"/>
                <a:gd name="connsiteY6813" fmla="*/ 74540 h 1898459"/>
                <a:gd name="connsiteX6814" fmla="*/ 1246420 w 1556920"/>
                <a:gd name="connsiteY6814" fmla="*/ 73753 h 1898459"/>
                <a:gd name="connsiteX6815" fmla="*/ 1246420 w 1556920"/>
                <a:gd name="connsiteY6815" fmla="*/ 72362 h 1898459"/>
                <a:gd name="connsiteX6816" fmla="*/ 1246087 w 1556920"/>
                <a:gd name="connsiteY6816" fmla="*/ 71242 h 1898459"/>
                <a:gd name="connsiteX6817" fmla="*/ 1246359 w 1556920"/>
                <a:gd name="connsiteY6817" fmla="*/ 70093 h 1898459"/>
                <a:gd name="connsiteX6818" fmla="*/ 1247781 w 1556920"/>
                <a:gd name="connsiteY6818" fmla="*/ 67249 h 1898459"/>
                <a:gd name="connsiteX6819" fmla="*/ 1247146 w 1556920"/>
                <a:gd name="connsiteY6819" fmla="*/ 66099 h 1898459"/>
                <a:gd name="connsiteX6820" fmla="*/ 1246359 w 1556920"/>
                <a:gd name="connsiteY6820" fmla="*/ 67158 h 1898459"/>
                <a:gd name="connsiteX6821" fmla="*/ 1245512 w 1556920"/>
                <a:gd name="connsiteY6821" fmla="*/ 67915 h 1898459"/>
                <a:gd name="connsiteX6822" fmla="*/ 1244604 w 1556920"/>
                <a:gd name="connsiteY6822" fmla="*/ 68399 h 1898459"/>
                <a:gd name="connsiteX6823" fmla="*/ 1243637 w 1556920"/>
                <a:gd name="connsiteY6823" fmla="*/ 68580 h 1898459"/>
                <a:gd name="connsiteX6824" fmla="*/ 1245694 w 1556920"/>
                <a:gd name="connsiteY6824" fmla="*/ 62288 h 1898459"/>
                <a:gd name="connsiteX6825" fmla="*/ 1244907 w 1556920"/>
                <a:gd name="connsiteY6825" fmla="*/ 62106 h 1898459"/>
                <a:gd name="connsiteX6826" fmla="*/ 1244514 w 1556920"/>
                <a:gd name="connsiteY6826" fmla="*/ 61774 h 1898459"/>
                <a:gd name="connsiteX6827" fmla="*/ 1244181 w 1556920"/>
                <a:gd name="connsiteY6827" fmla="*/ 61350 h 1898459"/>
                <a:gd name="connsiteX6828" fmla="*/ 1243637 w 1556920"/>
                <a:gd name="connsiteY6828" fmla="*/ 60987 h 1898459"/>
                <a:gd name="connsiteX6829" fmla="*/ 1244786 w 1556920"/>
                <a:gd name="connsiteY6829" fmla="*/ 60836 h 1898459"/>
                <a:gd name="connsiteX6830" fmla="*/ 1245240 w 1556920"/>
                <a:gd name="connsiteY6830" fmla="*/ 60503 h 1898459"/>
                <a:gd name="connsiteX6831" fmla="*/ 1245724 w 1556920"/>
                <a:gd name="connsiteY6831" fmla="*/ 59565 h 1898459"/>
                <a:gd name="connsiteX6832" fmla="*/ 1243667 w 1556920"/>
                <a:gd name="connsiteY6832" fmla="*/ 59565 h 1898459"/>
                <a:gd name="connsiteX6833" fmla="*/ 1244877 w 1556920"/>
                <a:gd name="connsiteY6833" fmla="*/ 57084 h 1898459"/>
                <a:gd name="connsiteX6834" fmla="*/ 1246329 w 1556920"/>
                <a:gd name="connsiteY6834" fmla="*/ 55632 h 1898459"/>
                <a:gd name="connsiteX6835" fmla="*/ 1247146 w 1556920"/>
                <a:gd name="connsiteY6835" fmla="*/ 53606 h 1898459"/>
                <a:gd name="connsiteX6836" fmla="*/ 1246420 w 1556920"/>
                <a:gd name="connsiteY6836" fmla="*/ 49280 h 1898459"/>
                <a:gd name="connsiteX6837" fmla="*/ 1247388 w 1556920"/>
                <a:gd name="connsiteY6837" fmla="*/ 49007 h 1898459"/>
                <a:gd name="connsiteX6838" fmla="*/ 1247962 w 1556920"/>
                <a:gd name="connsiteY6838" fmla="*/ 48251 h 1898459"/>
                <a:gd name="connsiteX6839" fmla="*/ 1248114 w 1556920"/>
                <a:gd name="connsiteY6839" fmla="*/ 47071 h 1898459"/>
                <a:gd name="connsiteX6840" fmla="*/ 1247811 w 1556920"/>
                <a:gd name="connsiteY6840" fmla="*/ 45438 h 1898459"/>
                <a:gd name="connsiteX6841" fmla="*/ 1248265 w 1556920"/>
                <a:gd name="connsiteY6841" fmla="*/ 44137 h 1898459"/>
                <a:gd name="connsiteX6842" fmla="*/ 1248174 w 1556920"/>
                <a:gd name="connsiteY6842" fmla="*/ 42624 h 1898459"/>
                <a:gd name="connsiteX6843" fmla="*/ 1247176 w 1556920"/>
                <a:gd name="connsiteY6843" fmla="*/ 38873 h 1898459"/>
                <a:gd name="connsiteX6844" fmla="*/ 1244907 w 1556920"/>
                <a:gd name="connsiteY6844" fmla="*/ 42957 h 1898459"/>
                <a:gd name="connsiteX6845" fmla="*/ 1244695 w 1556920"/>
                <a:gd name="connsiteY6845" fmla="*/ 44863 h 1898459"/>
                <a:gd name="connsiteX6846" fmla="*/ 1246450 w 1556920"/>
                <a:gd name="connsiteY6846" fmla="*/ 46678 h 1898459"/>
                <a:gd name="connsiteX6847" fmla="*/ 1246057 w 1556920"/>
                <a:gd name="connsiteY6847" fmla="*/ 47283 h 1898459"/>
                <a:gd name="connsiteX6848" fmla="*/ 1245754 w 1556920"/>
                <a:gd name="connsiteY6848" fmla="*/ 48070 h 1898459"/>
                <a:gd name="connsiteX6849" fmla="*/ 1243304 w 1556920"/>
                <a:gd name="connsiteY6849" fmla="*/ 46073 h 1898459"/>
                <a:gd name="connsiteX6850" fmla="*/ 1240581 w 1556920"/>
                <a:gd name="connsiteY6850" fmla="*/ 44651 h 1898459"/>
                <a:gd name="connsiteX6851" fmla="*/ 1237828 w 1556920"/>
                <a:gd name="connsiteY6851" fmla="*/ 44258 h 1898459"/>
                <a:gd name="connsiteX6852" fmla="*/ 1235348 w 1556920"/>
                <a:gd name="connsiteY6852" fmla="*/ 45407 h 1898459"/>
                <a:gd name="connsiteX6853" fmla="*/ 1235650 w 1556920"/>
                <a:gd name="connsiteY6853" fmla="*/ 46255 h 1898459"/>
                <a:gd name="connsiteX6854" fmla="*/ 1235801 w 1556920"/>
                <a:gd name="connsiteY6854" fmla="*/ 46981 h 1898459"/>
                <a:gd name="connsiteX6855" fmla="*/ 1235559 w 1556920"/>
                <a:gd name="connsiteY6855" fmla="*/ 47888 h 1898459"/>
                <a:gd name="connsiteX6856" fmla="*/ 1234682 w 1556920"/>
                <a:gd name="connsiteY6856" fmla="*/ 49249 h 1898459"/>
                <a:gd name="connsiteX6857" fmla="*/ 1235075 w 1556920"/>
                <a:gd name="connsiteY6857" fmla="*/ 49552 h 1898459"/>
                <a:gd name="connsiteX6858" fmla="*/ 1236104 w 1556920"/>
                <a:gd name="connsiteY6858" fmla="*/ 50641 h 1898459"/>
                <a:gd name="connsiteX6859" fmla="*/ 1233049 w 1556920"/>
                <a:gd name="connsiteY6859" fmla="*/ 52819 h 1898459"/>
                <a:gd name="connsiteX6860" fmla="*/ 1231929 w 1556920"/>
                <a:gd name="connsiteY6860" fmla="*/ 53091 h 1898459"/>
                <a:gd name="connsiteX6861" fmla="*/ 1231415 w 1556920"/>
                <a:gd name="connsiteY6861" fmla="*/ 53727 h 1898459"/>
                <a:gd name="connsiteX6862" fmla="*/ 1230054 w 1556920"/>
                <a:gd name="connsiteY6862" fmla="*/ 56994 h 1898459"/>
                <a:gd name="connsiteX6863" fmla="*/ 1229207 w 1556920"/>
                <a:gd name="connsiteY6863" fmla="*/ 58325 h 1898459"/>
                <a:gd name="connsiteX6864" fmla="*/ 1230840 w 1556920"/>
                <a:gd name="connsiteY6864" fmla="*/ 58688 h 1898459"/>
                <a:gd name="connsiteX6865" fmla="*/ 1232050 w 1556920"/>
                <a:gd name="connsiteY6865" fmla="*/ 60049 h 1898459"/>
                <a:gd name="connsiteX6866" fmla="*/ 1232927 w 1556920"/>
                <a:gd name="connsiteY6866" fmla="*/ 61471 h 1898459"/>
                <a:gd name="connsiteX6867" fmla="*/ 1233653 w 1556920"/>
                <a:gd name="connsiteY6867" fmla="*/ 62137 h 1898459"/>
                <a:gd name="connsiteX6868" fmla="*/ 1236195 w 1556920"/>
                <a:gd name="connsiteY6868" fmla="*/ 62197 h 1898459"/>
                <a:gd name="connsiteX6869" fmla="*/ 1237707 w 1556920"/>
                <a:gd name="connsiteY6869" fmla="*/ 62560 h 1898459"/>
                <a:gd name="connsiteX6870" fmla="*/ 1238857 w 1556920"/>
                <a:gd name="connsiteY6870" fmla="*/ 63407 h 1898459"/>
                <a:gd name="connsiteX6871" fmla="*/ 1235529 w 1556920"/>
                <a:gd name="connsiteY6871" fmla="*/ 65283 h 1898459"/>
                <a:gd name="connsiteX6872" fmla="*/ 1231748 w 1556920"/>
                <a:gd name="connsiteY6872" fmla="*/ 64042 h 1898459"/>
                <a:gd name="connsiteX6873" fmla="*/ 1228420 w 1556920"/>
                <a:gd name="connsiteY6873" fmla="*/ 60866 h 1898459"/>
                <a:gd name="connsiteX6874" fmla="*/ 1227180 w 1556920"/>
                <a:gd name="connsiteY6874" fmla="*/ 56903 h 1898459"/>
                <a:gd name="connsiteX6875" fmla="*/ 1225818 w 1556920"/>
                <a:gd name="connsiteY6875" fmla="*/ 54846 h 1898459"/>
                <a:gd name="connsiteX6876" fmla="*/ 1224518 w 1556920"/>
                <a:gd name="connsiteY6876" fmla="*/ 55027 h 1898459"/>
                <a:gd name="connsiteX6877" fmla="*/ 1223338 w 1556920"/>
                <a:gd name="connsiteY6877" fmla="*/ 56510 h 1898459"/>
                <a:gd name="connsiteX6878" fmla="*/ 1222370 w 1556920"/>
                <a:gd name="connsiteY6878" fmla="*/ 58325 h 1898459"/>
                <a:gd name="connsiteX6879" fmla="*/ 1222128 w 1556920"/>
                <a:gd name="connsiteY6879" fmla="*/ 59444 h 1898459"/>
                <a:gd name="connsiteX6880" fmla="*/ 1222188 w 1556920"/>
                <a:gd name="connsiteY6880" fmla="*/ 60775 h 1898459"/>
                <a:gd name="connsiteX6881" fmla="*/ 1222128 w 1556920"/>
                <a:gd name="connsiteY6881" fmla="*/ 62167 h 1898459"/>
                <a:gd name="connsiteX6882" fmla="*/ 1221613 w 1556920"/>
                <a:gd name="connsiteY6882" fmla="*/ 63468 h 1898459"/>
                <a:gd name="connsiteX6883" fmla="*/ 1221039 w 1556920"/>
                <a:gd name="connsiteY6883" fmla="*/ 63740 h 1898459"/>
                <a:gd name="connsiteX6884" fmla="*/ 1218558 w 1556920"/>
                <a:gd name="connsiteY6884" fmla="*/ 63468 h 1898459"/>
                <a:gd name="connsiteX6885" fmla="*/ 1217650 w 1556920"/>
                <a:gd name="connsiteY6885" fmla="*/ 64466 h 1898459"/>
                <a:gd name="connsiteX6886" fmla="*/ 1216743 w 1556920"/>
                <a:gd name="connsiteY6886" fmla="*/ 66674 h 1898459"/>
                <a:gd name="connsiteX6887" fmla="*/ 1216229 w 1556920"/>
                <a:gd name="connsiteY6887" fmla="*/ 68883 h 1898459"/>
                <a:gd name="connsiteX6888" fmla="*/ 1216501 w 1556920"/>
                <a:gd name="connsiteY6888" fmla="*/ 69881 h 1898459"/>
                <a:gd name="connsiteX6889" fmla="*/ 1219980 w 1556920"/>
                <a:gd name="connsiteY6889" fmla="*/ 70093 h 1898459"/>
                <a:gd name="connsiteX6890" fmla="*/ 1221432 w 1556920"/>
                <a:gd name="connsiteY6890" fmla="*/ 69367 h 1898459"/>
                <a:gd name="connsiteX6891" fmla="*/ 1222339 w 1556920"/>
                <a:gd name="connsiteY6891" fmla="*/ 67189 h 1898459"/>
                <a:gd name="connsiteX6892" fmla="*/ 1223973 w 1556920"/>
                <a:gd name="connsiteY6892" fmla="*/ 68913 h 1898459"/>
                <a:gd name="connsiteX6893" fmla="*/ 1225516 w 1556920"/>
                <a:gd name="connsiteY6893" fmla="*/ 69004 h 1898459"/>
                <a:gd name="connsiteX6894" fmla="*/ 1227180 w 1556920"/>
                <a:gd name="connsiteY6894" fmla="*/ 68520 h 1898459"/>
                <a:gd name="connsiteX6895" fmla="*/ 1229207 w 1556920"/>
                <a:gd name="connsiteY6895" fmla="*/ 68459 h 1898459"/>
                <a:gd name="connsiteX6896" fmla="*/ 1227906 w 1556920"/>
                <a:gd name="connsiteY6896" fmla="*/ 69760 h 1898459"/>
                <a:gd name="connsiteX6897" fmla="*/ 1227301 w 1556920"/>
                <a:gd name="connsiteY6897" fmla="*/ 71514 h 1898459"/>
                <a:gd name="connsiteX6898" fmla="*/ 1227664 w 1556920"/>
                <a:gd name="connsiteY6898" fmla="*/ 73057 h 1898459"/>
                <a:gd name="connsiteX6899" fmla="*/ 1229237 w 1556920"/>
                <a:gd name="connsiteY6899" fmla="*/ 73693 h 1898459"/>
                <a:gd name="connsiteX6900" fmla="*/ 1230265 w 1556920"/>
                <a:gd name="connsiteY6900" fmla="*/ 72815 h 1898459"/>
                <a:gd name="connsiteX6901" fmla="*/ 1231324 w 1556920"/>
                <a:gd name="connsiteY6901" fmla="*/ 70819 h 1898459"/>
                <a:gd name="connsiteX6902" fmla="*/ 1232686 w 1556920"/>
                <a:gd name="connsiteY6902" fmla="*/ 67158 h 1898459"/>
                <a:gd name="connsiteX6903" fmla="*/ 1233472 w 1556920"/>
                <a:gd name="connsiteY6903" fmla="*/ 73118 h 1898459"/>
                <a:gd name="connsiteX6904" fmla="*/ 1233653 w 1556920"/>
                <a:gd name="connsiteY6904" fmla="*/ 76385 h 1898459"/>
                <a:gd name="connsiteX6905" fmla="*/ 1233381 w 1556920"/>
                <a:gd name="connsiteY6905" fmla="*/ 78714 h 1898459"/>
                <a:gd name="connsiteX6906" fmla="*/ 1234380 w 1556920"/>
                <a:gd name="connsiteY6906" fmla="*/ 79773 h 1898459"/>
                <a:gd name="connsiteX6907" fmla="*/ 1235741 w 1556920"/>
                <a:gd name="connsiteY6907" fmla="*/ 80166 h 1898459"/>
                <a:gd name="connsiteX6908" fmla="*/ 1238887 w 1556920"/>
                <a:gd name="connsiteY6908" fmla="*/ 80166 h 1898459"/>
                <a:gd name="connsiteX6909" fmla="*/ 1238887 w 1556920"/>
                <a:gd name="connsiteY6909" fmla="*/ 81407 h 1898459"/>
                <a:gd name="connsiteX6910" fmla="*/ 1237798 w 1556920"/>
                <a:gd name="connsiteY6910" fmla="*/ 82768 h 1898459"/>
                <a:gd name="connsiteX6911" fmla="*/ 1237465 w 1556920"/>
                <a:gd name="connsiteY6911" fmla="*/ 84553 h 1898459"/>
                <a:gd name="connsiteX6912" fmla="*/ 1237828 w 1556920"/>
                <a:gd name="connsiteY6912" fmla="*/ 86368 h 1898459"/>
                <a:gd name="connsiteX6913" fmla="*/ 1238887 w 1556920"/>
                <a:gd name="connsiteY6913" fmla="*/ 87759 h 1898459"/>
                <a:gd name="connsiteX6914" fmla="*/ 1240006 w 1556920"/>
                <a:gd name="connsiteY6914" fmla="*/ 88002 h 1898459"/>
                <a:gd name="connsiteX6915" fmla="*/ 1241095 w 1556920"/>
                <a:gd name="connsiteY6915" fmla="*/ 87336 h 1898459"/>
                <a:gd name="connsiteX6916" fmla="*/ 1243001 w 1556920"/>
                <a:gd name="connsiteY6916" fmla="*/ 85218 h 1898459"/>
                <a:gd name="connsiteX6917" fmla="*/ 1243606 w 1556920"/>
                <a:gd name="connsiteY6917" fmla="*/ 89242 h 1898459"/>
                <a:gd name="connsiteX6918" fmla="*/ 1245996 w 1556920"/>
                <a:gd name="connsiteY6918" fmla="*/ 90664 h 1898459"/>
                <a:gd name="connsiteX6919" fmla="*/ 1248961 w 1556920"/>
                <a:gd name="connsiteY6919" fmla="*/ 91269 h 1898459"/>
                <a:gd name="connsiteX6920" fmla="*/ 1251351 w 1556920"/>
                <a:gd name="connsiteY6920" fmla="*/ 92842 h 1898459"/>
                <a:gd name="connsiteX6921" fmla="*/ 1246329 w 1556920"/>
                <a:gd name="connsiteY6921" fmla="*/ 92690 h 1898459"/>
                <a:gd name="connsiteX6922" fmla="*/ 1244514 w 1556920"/>
                <a:gd name="connsiteY6922" fmla="*/ 93296 h 1898459"/>
                <a:gd name="connsiteX6923" fmla="*/ 1245784 w 1556920"/>
                <a:gd name="connsiteY6923" fmla="*/ 95413 h 1898459"/>
                <a:gd name="connsiteX6924" fmla="*/ 1244302 w 1556920"/>
                <a:gd name="connsiteY6924" fmla="*/ 95292 h 1898459"/>
                <a:gd name="connsiteX6925" fmla="*/ 1243667 w 1556920"/>
                <a:gd name="connsiteY6925" fmla="*/ 95020 h 1898459"/>
                <a:gd name="connsiteX6926" fmla="*/ 1242971 w 1556920"/>
                <a:gd name="connsiteY6926" fmla="*/ 94233 h 1898459"/>
                <a:gd name="connsiteX6927" fmla="*/ 1240914 w 1556920"/>
                <a:gd name="connsiteY6927" fmla="*/ 99225 h 1898459"/>
                <a:gd name="connsiteX6928" fmla="*/ 1243727 w 1556920"/>
                <a:gd name="connsiteY6928" fmla="*/ 101887 h 1898459"/>
                <a:gd name="connsiteX6929" fmla="*/ 1242336 w 1556920"/>
                <a:gd name="connsiteY6929" fmla="*/ 103551 h 1898459"/>
                <a:gd name="connsiteX6930" fmla="*/ 1240914 w 1556920"/>
                <a:gd name="connsiteY6930" fmla="*/ 105699 h 1898459"/>
                <a:gd name="connsiteX6931" fmla="*/ 1239885 w 1556920"/>
                <a:gd name="connsiteY6931" fmla="*/ 101554 h 1898459"/>
                <a:gd name="connsiteX6932" fmla="*/ 1237647 w 1556920"/>
                <a:gd name="connsiteY6932" fmla="*/ 99043 h 1898459"/>
                <a:gd name="connsiteX6933" fmla="*/ 1234985 w 1556920"/>
                <a:gd name="connsiteY6933" fmla="*/ 98227 h 1898459"/>
                <a:gd name="connsiteX6934" fmla="*/ 1232655 w 1556920"/>
                <a:gd name="connsiteY6934" fmla="*/ 99195 h 1898459"/>
                <a:gd name="connsiteX6935" fmla="*/ 1233079 w 1556920"/>
                <a:gd name="connsiteY6935" fmla="*/ 101100 h 1898459"/>
                <a:gd name="connsiteX6936" fmla="*/ 1233351 w 1556920"/>
                <a:gd name="connsiteY6936" fmla="*/ 101857 h 1898459"/>
                <a:gd name="connsiteX6937" fmla="*/ 1231264 w 1556920"/>
                <a:gd name="connsiteY6937" fmla="*/ 101857 h 1898459"/>
                <a:gd name="connsiteX6938" fmla="*/ 1231566 w 1556920"/>
                <a:gd name="connsiteY6938" fmla="*/ 102643 h 1898459"/>
                <a:gd name="connsiteX6939" fmla="*/ 1232141 w 1556920"/>
                <a:gd name="connsiteY6939" fmla="*/ 104610 h 1898459"/>
                <a:gd name="connsiteX6940" fmla="*/ 1232625 w 1556920"/>
                <a:gd name="connsiteY6940" fmla="*/ 105638 h 1898459"/>
                <a:gd name="connsiteX6941" fmla="*/ 1232201 w 1556920"/>
                <a:gd name="connsiteY6941" fmla="*/ 106092 h 1898459"/>
                <a:gd name="connsiteX6942" fmla="*/ 1231082 w 1556920"/>
                <a:gd name="connsiteY6942" fmla="*/ 106848 h 1898459"/>
                <a:gd name="connsiteX6943" fmla="*/ 1230568 w 1556920"/>
                <a:gd name="connsiteY6943" fmla="*/ 107030 h 1898459"/>
                <a:gd name="connsiteX6944" fmla="*/ 1230447 w 1556920"/>
                <a:gd name="connsiteY6944" fmla="*/ 101463 h 1898459"/>
                <a:gd name="connsiteX6945" fmla="*/ 1229055 w 1556920"/>
                <a:gd name="connsiteY6945" fmla="*/ 99981 h 1898459"/>
                <a:gd name="connsiteX6946" fmla="*/ 1224336 w 1556920"/>
                <a:gd name="connsiteY6946" fmla="*/ 100556 h 1898459"/>
                <a:gd name="connsiteX6947" fmla="*/ 1224336 w 1556920"/>
                <a:gd name="connsiteY6947" fmla="*/ 101826 h 1898459"/>
                <a:gd name="connsiteX6948" fmla="*/ 1225062 w 1556920"/>
                <a:gd name="connsiteY6948" fmla="*/ 101826 h 1898459"/>
                <a:gd name="connsiteX6949" fmla="*/ 1225062 w 1556920"/>
                <a:gd name="connsiteY6949" fmla="*/ 103097 h 1898459"/>
                <a:gd name="connsiteX6950" fmla="*/ 1221553 w 1556920"/>
                <a:gd name="connsiteY6950" fmla="*/ 101826 h 1898459"/>
                <a:gd name="connsiteX6951" fmla="*/ 1222309 w 1556920"/>
                <a:gd name="connsiteY6951" fmla="*/ 104367 h 1898459"/>
                <a:gd name="connsiteX6952" fmla="*/ 1220615 w 1556920"/>
                <a:gd name="connsiteY6952" fmla="*/ 104428 h 1898459"/>
                <a:gd name="connsiteX6953" fmla="*/ 1219405 w 1556920"/>
                <a:gd name="connsiteY6953" fmla="*/ 103309 h 1898459"/>
                <a:gd name="connsiteX6954" fmla="*/ 1218286 w 1556920"/>
                <a:gd name="connsiteY6954" fmla="*/ 101766 h 1898459"/>
                <a:gd name="connsiteX6955" fmla="*/ 1216804 w 1556920"/>
                <a:gd name="connsiteY6955" fmla="*/ 100556 h 1898459"/>
                <a:gd name="connsiteX6956" fmla="*/ 1215140 w 1556920"/>
                <a:gd name="connsiteY6956" fmla="*/ 100405 h 1898459"/>
                <a:gd name="connsiteX6957" fmla="*/ 1213204 w 1556920"/>
                <a:gd name="connsiteY6957" fmla="*/ 100949 h 1898459"/>
                <a:gd name="connsiteX6958" fmla="*/ 1211328 w 1556920"/>
                <a:gd name="connsiteY6958" fmla="*/ 101947 h 1898459"/>
                <a:gd name="connsiteX6959" fmla="*/ 1209876 w 1556920"/>
                <a:gd name="connsiteY6959" fmla="*/ 103158 h 1898459"/>
                <a:gd name="connsiteX6960" fmla="*/ 1208424 w 1556920"/>
                <a:gd name="connsiteY6960" fmla="*/ 104821 h 1898459"/>
                <a:gd name="connsiteX6961" fmla="*/ 1208031 w 1556920"/>
                <a:gd name="connsiteY6961" fmla="*/ 105910 h 1898459"/>
                <a:gd name="connsiteX6962" fmla="*/ 1209120 w 1556920"/>
                <a:gd name="connsiteY6962" fmla="*/ 109541 h 1898459"/>
                <a:gd name="connsiteX6963" fmla="*/ 1210088 w 1556920"/>
                <a:gd name="connsiteY6963" fmla="*/ 114411 h 1898459"/>
                <a:gd name="connsiteX6964" fmla="*/ 1261727 w 1556920"/>
                <a:gd name="connsiteY6964" fmla="*/ 64194 h 1898459"/>
                <a:gd name="connsiteX6965" fmla="*/ 1264086 w 1556920"/>
                <a:gd name="connsiteY6965" fmla="*/ 66493 h 1898459"/>
                <a:gd name="connsiteX6966" fmla="*/ 1267475 w 1556920"/>
                <a:gd name="connsiteY6966" fmla="*/ 67219 h 1898459"/>
                <a:gd name="connsiteX6967" fmla="*/ 1267475 w 1556920"/>
                <a:gd name="connsiteY6967" fmla="*/ 66069 h 1898459"/>
                <a:gd name="connsiteX6968" fmla="*/ 1266386 w 1556920"/>
                <a:gd name="connsiteY6968" fmla="*/ 64829 h 1898459"/>
                <a:gd name="connsiteX6969" fmla="*/ 1266507 w 1556920"/>
                <a:gd name="connsiteY6969" fmla="*/ 63710 h 1898459"/>
                <a:gd name="connsiteX6970" fmla="*/ 1267081 w 1556920"/>
                <a:gd name="connsiteY6970" fmla="*/ 62953 h 1898459"/>
                <a:gd name="connsiteX6971" fmla="*/ 1267444 w 1556920"/>
                <a:gd name="connsiteY6971" fmla="*/ 62863 h 1898459"/>
                <a:gd name="connsiteX6972" fmla="*/ 1267959 w 1556920"/>
                <a:gd name="connsiteY6972" fmla="*/ 64315 h 1898459"/>
                <a:gd name="connsiteX6973" fmla="*/ 1269169 w 1556920"/>
                <a:gd name="connsiteY6973" fmla="*/ 64799 h 1898459"/>
                <a:gd name="connsiteX6974" fmla="*/ 1271649 w 1556920"/>
                <a:gd name="connsiteY6974" fmla="*/ 64678 h 1898459"/>
                <a:gd name="connsiteX6975" fmla="*/ 1274039 w 1556920"/>
                <a:gd name="connsiteY6975" fmla="*/ 65646 h 1898459"/>
                <a:gd name="connsiteX6976" fmla="*/ 1274856 w 1556920"/>
                <a:gd name="connsiteY6976" fmla="*/ 65192 h 1898459"/>
                <a:gd name="connsiteX6977" fmla="*/ 1275158 w 1556920"/>
                <a:gd name="connsiteY6977" fmla="*/ 62832 h 1898459"/>
                <a:gd name="connsiteX6978" fmla="*/ 1275007 w 1556920"/>
                <a:gd name="connsiteY6978" fmla="*/ 60624 h 1898459"/>
                <a:gd name="connsiteX6979" fmla="*/ 1274553 w 1556920"/>
                <a:gd name="connsiteY6979" fmla="*/ 59021 h 1898459"/>
                <a:gd name="connsiteX6980" fmla="*/ 1273041 w 1556920"/>
                <a:gd name="connsiteY6980" fmla="*/ 55784 h 1898459"/>
                <a:gd name="connsiteX6981" fmla="*/ 1274977 w 1556920"/>
                <a:gd name="connsiteY6981" fmla="*/ 55300 h 1898459"/>
                <a:gd name="connsiteX6982" fmla="*/ 1276157 w 1556920"/>
                <a:gd name="connsiteY6982" fmla="*/ 53454 h 1898459"/>
                <a:gd name="connsiteX6983" fmla="*/ 1276157 w 1556920"/>
                <a:gd name="connsiteY6983" fmla="*/ 51155 h 1898459"/>
                <a:gd name="connsiteX6984" fmla="*/ 1274402 w 1556920"/>
                <a:gd name="connsiteY6984" fmla="*/ 49249 h 1898459"/>
                <a:gd name="connsiteX6985" fmla="*/ 1274916 w 1556920"/>
                <a:gd name="connsiteY6985" fmla="*/ 48856 h 1898459"/>
                <a:gd name="connsiteX6986" fmla="*/ 1274916 w 1556920"/>
                <a:gd name="connsiteY6986" fmla="*/ 48705 h 1898459"/>
                <a:gd name="connsiteX6987" fmla="*/ 1275128 w 1556920"/>
                <a:gd name="connsiteY6987" fmla="*/ 48070 h 1898459"/>
                <a:gd name="connsiteX6988" fmla="*/ 1273555 w 1556920"/>
                <a:gd name="connsiteY6988" fmla="*/ 47949 h 1898459"/>
                <a:gd name="connsiteX6989" fmla="*/ 1271982 w 1556920"/>
                <a:gd name="connsiteY6989" fmla="*/ 47404 h 1898459"/>
                <a:gd name="connsiteX6990" fmla="*/ 1270772 w 1556920"/>
                <a:gd name="connsiteY6990" fmla="*/ 46194 h 1898459"/>
                <a:gd name="connsiteX6991" fmla="*/ 1270288 w 1556920"/>
                <a:gd name="connsiteY6991" fmla="*/ 44107 h 1898459"/>
                <a:gd name="connsiteX6992" fmla="*/ 1271680 w 1556920"/>
                <a:gd name="connsiteY6992" fmla="*/ 45166 h 1898459"/>
                <a:gd name="connsiteX6993" fmla="*/ 1273101 w 1556920"/>
                <a:gd name="connsiteY6993" fmla="*/ 45438 h 1898459"/>
                <a:gd name="connsiteX6994" fmla="*/ 1274493 w 1556920"/>
                <a:gd name="connsiteY6994" fmla="*/ 45044 h 1898459"/>
                <a:gd name="connsiteX6995" fmla="*/ 1275824 w 1556920"/>
                <a:gd name="connsiteY6995" fmla="*/ 44107 h 1898459"/>
                <a:gd name="connsiteX6996" fmla="*/ 1273525 w 1556920"/>
                <a:gd name="connsiteY6996" fmla="*/ 38873 h 1898459"/>
                <a:gd name="connsiteX6997" fmla="*/ 1272133 w 1556920"/>
                <a:gd name="connsiteY6997" fmla="*/ 36483 h 1898459"/>
                <a:gd name="connsiteX6998" fmla="*/ 1270953 w 1556920"/>
                <a:gd name="connsiteY6998" fmla="*/ 35092 h 1898459"/>
                <a:gd name="connsiteX6999" fmla="*/ 1272950 w 1556920"/>
                <a:gd name="connsiteY6999" fmla="*/ 35334 h 1898459"/>
                <a:gd name="connsiteX7000" fmla="*/ 1274614 w 1556920"/>
                <a:gd name="connsiteY7000" fmla="*/ 36665 h 1898459"/>
                <a:gd name="connsiteX7001" fmla="*/ 1277881 w 1556920"/>
                <a:gd name="connsiteY7001" fmla="*/ 40204 h 1898459"/>
                <a:gd name="connsiteX7002" fmla="*/ 1278668 w 1556920"/>
                <a:gd name="connsiteY7002" fmla="*/ 38268 h 1898459"/>
                <a:gd name="connsiteX7003" fmla="*/ 1279273 w 1556920"/>
                <a:gd name="connsiteY7003" fmla="*/ 36241 h 1898459"/>
                <a:gd name="connsiteX7004" fmla="*/ 1277518 w 1556920"/>
                <a:gd name="connsiteY7004" fmla="*/ 32581 h 1898459"/>
                <a:gd name="connsiteX7005" fmla="*/ 1277427 w 1556920"/>
                <a:gd name="connsiteY7005" fmla="*/ 30766 h 1898459"/>
                <a:gd name="connsiteX7006" fmla="*/ 1278516 w 1556920"/>
                <a:gd name="connsiteY7006" fmla="*/ 28497 h 1898459"/>
                <a:gd name="connsiteX7007" fmla="*/ 1278063 w 1556920"/>
                <a:gd name="connsiteY7007" fmla="*/ 28164 h 1898459"/>
                <a:gd name="connsiteX7008" fmla="*/ 1277639 w 1556920"/>
                <a:gd name="connsiteY7008" fmla="*/ 27620 h 1898459"/>
                <a:gd name="connsiteX7009" fmla="*/ 1277155 w 1556920"/>
                <a:gd name="connsiteY7009" fmla="*/ 27347 h 1898459"/>
                <a:gd name="connsiteX7010" fmla="*/ 1277155 w 1556920"/>
                <a:gd name="connsiteY7010" fmla="*/ 25956 h 1898459"/>
                <a:gd name="connsiteX7011" fmla="*/ 1277760 w 1556920"/>
                <a:gd name="connsiteY7011" fmla="*/ 25532 h 1898459"/>
                <a:gd name="connsiteX7012" fmla="*/ 1277911 w 1556920"/>
                <a:gd name="connsiteY7012" fmla="*/ 24746 h 1898459"/>
                <a:gd name="connsiteX7013" fmla="*/ 1277911 w 1556920"/>
                <a:gd name="connsiteY7013" fmla="*/ 22205 h 1898459"/>
                <a:gd name="connsiteX7014" fmla="*/ 1273495 w 1556920"/>
                <a:gd name="connsiteY7014" fmla="*/ 21842 h 1898459"/>
                <a:gd name="connsiteX7015" fmla="*/ 1271407 w 1556920"/>
                <a:gd name="connsiteY7015" fmla="*/ 22477 h 1898459"/>
                <a:gd name="connsiteX7016" fmla="*/ 1270258 w 1556920"/>
                <a:gd name="connsiteY7016" fmla="*/ 24655 h 1898459"/>
                <a:gd name="connsiteX7017" fmla="*/ 1269169 w 1556920"/>
                <a:gd name="connsiteY7017" fmla="*/ 21358 h 1898459"/>
                <a:gd name="connsiteX7018" fmla="*/ 1267928 w 1556920"/>
                <a:gd name="connsiteY7018" fmla="*/ 21358 h 1898459"/>
                <a:gd name="connsiteX7019" fmla="*/ 1266718 w 1556920"/>
                <a:gd name="connsiteY7019" fmla="*/ 23203 h 1898459"/>
                <a:gd name="connsiteX7020" fmla="*/ 1265720 w 1556920"/>
                <a:gd name="connsiteY7020" fmla="*/ 25290 h 1898459"/>
                <a:gd name="connsiteX7021" fmla="*/ 1265296 w 1556920"/>
                <a:gd name="connsiteY7021" fmla="*/ 26712 h 1898459"/>
                <a:gd name="connsiteX7022" fmla="*/ 1265054 w 1556920"/>
                <a:gd name="connsiteY7022" fmla="*/ 28648 h 1898459"/>
                <a:gd name="connsiteX7023" fmla="*/ 1265145 w 1556920"/>
                <a:gd name="connsiteY7023" fmla="*/ 30342 h 1898459"/>
                <a:gd name="connsiteX7024" fmla="*/ 1265720 w 1556920"/>
                <a:gd name="connsiteY7024" fmla="*/ 31068 h 1898459"/>
                <a:gd name="connsiteX7025" fmla="*/ 1265962 w 1556920"/>
                <a:gd name="connsiteY7025" fmla="*/ 31613 h 1898459"/>
                <a:gd name="connsiteX7026" fmla="*/ 1265024 w 1556920"/>
                <a:gd name="connsiteY7026" fmla="*/ 34396 h 1898459"/>
                <a:gd name="connsiteX7027" fmla="*/ 1264752 w 1556920"/>
                <a:gd name="connsiteY7027" fmla="*/ 35636 h 1898459"/>
                <a:gd name="connsiteX7028" fmla="*/ 1265085 w 1556920"/>
                <a:gd name="connsiteY7028" fmla="*/ 38208 h 1898459"/>
                <a:gd name="connsiteX7029" fmla="*/ 1266507 w 1556920"/>
                <a:gd name="connsiteY7029" fmla="*/ 43199 h 1898459"/>
                <a:gd name="connsiteX7030" fmla="*/ 1266809 w 1556920"/>
                <a:gd name="connsiteY7030" fmla="*/ 44076 h 1898459"/>
                <a:gd name="connsiteX7031" fmla="*/ 1265690 w 1556920"/>
                <a:gd name="connsiteY7031" fmla="*/ 44591 h 1898459"/>
                <a:gd name="connsiteX7032" fmla="*/ 1264117 w 1556920"/>
                <a:gd name="connsiteY7032" fmla="*/ 43290 h 1898459"/>
                <a:gd name="connsiteX7033" fmla="*/ 1263028 w 1556920"/>
                <a:gd name="connsiteY7033" fmla="*/ 41051 h 1898459"/>
                <a:gd name="connsiteX7034" fmla="*/ 1263330 w 1556920"/>
                <a:gd name="connsiteY7034" fmla="*/ 38813 h 1898459"/>
                <a:gd name="connsiteX7035" fmla="*/ 1263330 w 1556920"/>
                <a:gd name="connsiteY7035" fmla="*/ 37633 h 1898459"/>
                <a:gd name="connsiteX7036" fmla="*/ 1259972 w 1556920"/>
                <a:gd name="connsiteY7036" fmla="*/ 38268 h 1898459"/>
                <a:gd name="connsiteX7037" fmla="*/ 1259095 w 1556920"/>
                <a:gd name="connsiteY7037" fmla="*/ 42292 h 1898459"/>
                <a:gd name="connsiteX7038" fmla="*/ 1260335 w 1556920"/>
                <a:gd name="connsiteY7038" fmla="*/ 60019 h 1898459"/>
                <a:gd name="connsiteX7039" fmla="*/ 1261727 w 1556920"/>
                <a:gd name="connsiteY7039" fmla="*/ 64194 h 1898459"/>
                <a:gd name="connsiteX7040" fmla="*/ 1280604 w 1556920"/>
                <a:gd name="connsiteY7040" fmla="*/ 29949 h 1898459"/>
                <a:gd name="connsiteX7041" fmla="*/ 1282207 w 1556920"/>
                <a:gd name="connsiteY7041" fmla="*/ 31068 h 1898459"/>
                <a:gd name="connsiteX7042" fmla="*/ 1283780 w 1556920"/>
                <a:gd name="connsiteY7042" fmla="*/ 31492 h 1898459"/>
                <a:gd name="connsiteX7043" fmla="*/ 1286805 w 1556920"/>
                <a:gd name="connsiteY7043" fmla="*/ 31129 h 1898459"/>
                <a:gd name="connsiteX7044" fmla="*/ 1288257 w 1556920"/>
                <a:gd name="connsiteY7044" fmla="*/ 30947 h 1898459"/>
                <a:gd name="connsiteX7045" fmla="*/ 1290224 w 1556920"/>
                <a:gd name="connsiteY7045" fmla="*/ 31129 h 1898459"/>
                <a:gd name="connsiteX7046" fmla="*/ 1291071 w 1556920"/>
                <a:gd name="connsiteY7046" fmla="*/ 31583 h 1898459"/>
                <a:gd name="connsiteX7047" fmla="*/ 1291857 w 1556920"/>
                <a:gd name="connsiteY7047" fmla="*/ 32218 h 1898459"/>
                <a:gd name="connsiteX7048" fmla="*/ 1292704 w 1556920"/>
                <a:gd name="connsiteY7048" fmla="*/ 32641 h 1898459"/>
                <a:gd name="connsiteX7049" fmla="*/ 1293672 w 1556920"/>
                <a:gd name="connsiteY7049" fmla="*/ 32520 h 1898459"/>
                <a:gd name="connsiteX7050" fmla="*/ 1295124 w 1556920"/>
                <a:gd name="connsiteY7050" fmla="*/ 30917 h 1898459"/>
                <a:gd name="connsiteX7051" fmla="*/ 1294429 w 1556920"/>
                <a:gd name="connsiteY7051" fmla="*/ 29041 h 1898459"/>
                <a:gd name="connsiteX7052" fmla="*/ 1293007 w 1556920"/>
                <a:gd name="connsiteY7052" fmla="*/ 26954 h 1898459"/>
                <a:gd name="connsiteX7053" fmla="*/ 1292311 w 1556920"/>
                <a:gd name="connsiteY7053" fmla="*/ 24655 h 1898459"/>
                <a:gd name="connsiteX7054" fmla="*/ 1293037 w 1556920"/>
                <a:gd name="connsiteY7054" fmla="*/ 23536 h 1898459"/>
                <a:gd name="connsiteX7055" fmla="*/ 1297181 w 1556920"/>
                <a:gd name="connsiteY7055" fmla="*/ 19603 h 1898459"/>
                <a:gd name="connsiteX7056" fmla="*/ 1297181 w 1556920"/>
                <a:gd name="connsiteY7056" fmla="*/ 18181 h 1898459"/>
                <a:gd name="connsiteX7057" fmla="*/ 1296546 w 1556920"/>
                <a:gd name="connsiteY7057" fmla="*/ 17667 h 1898459"/>
                <a:gd name="connsiteX7058" fmla="*/ 1295881 w 1556920"/>
                <a:gd name="connsiteY7058" fmla="*/ 17274 h 1898459"/>
                <a:gd name="connsiteX7059" fmla="*/ 1295185 w 1556920"/>
                <a:gd name="connsiteY7059" fmla="*/ 17001 h 1898459"/>
                <a:gd name="connsiteX7060" fmla="*/ 1297181 w 1556920"/>
                <a:gd name="connsiteY7060" fmla="*/ 16880 h 1898459"/>
                <a:gd name="connsiteX7061" fmla="*/ 1297181 w 1556920"/>
                <a:gd name="connsiteY7061" fmla="*/ 15459 h 1898459"/>
                <a:gd name="connsiteX7062" fmla="*/ 1296486 w 1556920"/>
                <a:gd name="connsiteY7062" fmla="*/ 13159 h 1898459"/>
                <a:gd name="connsiteX7063" fmla="*/ 1297756 w 1556920"/>
                <a:gd name="connsiteY7063" fmla="*/ 11828 h 1898459"/>
                <a:gd name="connsiteX7064" fmla="*/ 1299753 w 1556920"/>
                <a:gd name="connsiteY7064" fmla="*/ 10709 h 1898459"/>
                <a:gd name="connsiteX7065" fmla="*/ 1301265 w 1556920"/>
                <a:gd name="connsiteY7065" fmla="*/ 9075 h 1898459"/>
                <a:gd name="connsiteX7066" fmla="*/ 1300479 w 1556920"/>
                <a:gd name="connsiteY7066" fmla="*/ 8924 h 1898459"/>
                <a:gd name="connsiteX7067" fmla="*/ 1298513 w 1556920"/>
                <a:gd name="connsiteY7067" fmla="*/ 7775 h 1898459"/>
                <a:gd name="connsiteX7068" fmla="*/ 1300449 w 1556920"/>
                <a:gd name="connsiteY7068" fmla="*/ 6686 h 1898459"/>
                <a:gd name="connsiteX7069" fmla="*/ 1301265 w 1556920"/>
                <a:gd name="connsiteY7069" fmla="*/ 6595 h 1898459"/>
                <a:gd name="connsiteX7070" fmla="*/ 1300933 w 1556920"/>
                <a:gd name="connsiteY7070" fmla="*/ 4266 h 1898459"/>
                <a:gd name="connsiteX7071" fmla="*/ 1300146 w 1556920"/>
                <a:gd name="connsiteY7071" fmla="*/ 2753 h 1898459"/>
                <a:gd name="connsiteX7072" fmla="*/ 1299057 w 1556920"/>
                <a:gd name="connsiteY7072" fmla="*/ 1845 h 1898459"/>
                <a:gd name="connsiteX7073" fmla="*/ 1297787 w 1556920"/>
                <a:gd name="connsiteY7073" fmla="*/ 1301 h 1898459"/>
                <a:gd name="connsiteX7074" fmla="*/ 1296365 w 1556920"/>
                <a:gd name="connsiteY7074" fmla="*/ 1180 h 1898459"/>
                <a:gd name="connsiteX7075" fmla="*/ 1295790 w 1556920"/>
                <a:gd name="connsiteY7075" fmla="*/ 908 h 1898459"/>
                <a:gd name="connsiteX7076" fmla="*/ 1295124 w 1556920"/>
                <a:gd name="connsiteY7076" fmla="*/ 0 h 1898459"/>
                <a:gd name="connsiteX7077" fmla="*/ 1294156 w 1556920"/>
                <a:gd name="connsiteY7077" fmla="*/ 1452 h 1898459"/>
                <a:gd name="connsiteX7078" fmla="*/ 1292009 w 1556920"/>
                <a:gd name="connsiteY7078" fmla="*/ 8410 h 1898459"/>
                <a:gd name="connsiteX7079" fmla="*/ 1291131 w 1556920"/>
                <a:gd name="connsiteY7079" fmla="*/ 9408 h 1898459"/>
                <a:gd name="connsiteX7080" fmla="*/ 1289709 w 1556920"/>
                <a:gd name="connsiteY7080" fmla="*/ 10467 h 1898459"/>
                <a:gd name="connsiteX7081" fmla="*/ 1288469 w 1556920"/>
                <a:gd name="connsiteY7081" fmla="*/ 11012 h 1898459"/>
                <a:gd name="connsiteX7082" fmla="*/ 1288197 w 1556920"/>
                <a:gd name="connsiteY7082" fmla="*/ 10467 h 1898459"/>
                <a:gd name="connsiteX7083" fmla="*/ 1289135 w 1556920"/>
                <a:gd name="connsiteY7083" fmla="*/ 8924 h 1898459"/>
                <a:gd name="connsiteX7084" fmla="*/ 1290284 w 1556920"/>
                <a:gd name="connsiteY7084" fmla="*/ 7865 h 1898459"/>
                <a:gd name="connsiteX7085" fmla="*/ 1291283 w 1556920"/>
                <a:gd name="connsiteY7085" fmla="*/ 6625 h 1898459"/>
                <a:gd name="connsiteX7086" fmla="*/ 1291706 w 1556920"/>
                <a:gd name="connsiteY7086" fmla="*/ 4538 h 1898459"/>
                <a:gd name="connsiteX7087" fmla="*/ 1291283 w 1556920"/>
                <a:gd name="connsiteY7087" fmla="*/ 1966 h 1898459"/>
                <a:gd name="connsiteX7088" fmla="*/ 1290314 w 1556920"/>
                <a:gd name="connsiteY7088" fmla="*/ 514 h 1898459"/>
                <a:gd name="connsiteX7089" fmla="*/ 1289165 w 1556920"/>
                <a:gd name="connsiteY7089" fmla="*/ 514 h 1898459"/>
                <a:gd name="connsiteX7090" fmla="*/ 1288197 w 1556920"/>
                <a:gd name="connsiteY7090" fmla="*/ 2481 h 1898459"/>
                <a:gd name="connsiteX7091" fmla="*/ 1288257 w 1556920"/>
                <a:gd name="connsiteY7091" fmla="*/ 4235 h 1898459"/>
                <a:gd name="connsiteX7092" fmla="*/ 1286896 w 1556920"/>
                <a:gd name="connsiteY7092" fmla="*/ 6444 h 1898459"/>
                <a:gd name="connsiteX7093" fmla="*/ 1284990 w 1556920"/>
                <a:gd name="connsiteY7093" fmla="*/ 8319 h 1898459"/>
                <a:gd name="connsiteX7094" fmla="*/ 1283387 w 1556920"/>
                <a:gd name="connsiteY7094" fmla="*/ 9075 h 1898459"/>
                <a:gd name="connsiteX7095" fmla="*/ 1283387 w 1556920"/>
                <a:gd name="connsiteY7095" fmla="*/ 10467 h 1898459"/>
                <a:gd name="connsiteX7096" fmla="*/ 1284657 w 1556920"/>
                <a:gd name="connsiteY7096" fmla="*/ 11980 h 1898459"/>
                <a:gd name="connsiteX7097" fmla="*/ 1284657 w 1556920"/>
                <a:gd name="connsiteY7097" fmla="*/ 14823 h 1898459"/>
                <a:gd name="connsiteX7098" fmla="*/ 1283689 w 1556920"/>
                <a:gd name="connsiteY7098" fmla="*/ 17395 h 1898459"/>
                <a:gd name="connsiteX7099" fmla="*/ 1281995 w 1556920"/>
                <a:gd name="connsiteY7099" fmla="*/ 18090 h 1898459"/>
                <a:gd name="connsiteX7100" fmla="*/ 1282661 w 1556920"/>
                <a:gd name="connsiteY7100" fmla="*/ 20359 h 1898459"/>
                <a:gd name="connsiteX7101" fmla="*/ 1282903 w 1556920"/>
                <a:gd name="connsiteY7101" fmla="*/ 23052 h 1898459"/>
                <a:gd name="connsiteX7102" fmla="*/ 1282358 w 1556920"/>
                <a:gd name="connsiteY7102" fmla="*/ 24564 h 1898459"/>
                <a:gd name="connsiteX7103" fmla="*/ 1280573 w 1556920"/>
                <a:gd name="connsiteY7103" fmla="*/ 23233 h 1898459"/>
                <a:gd name="connsiteX7104" fmla="*/ 1281027 w 1556920"/>
                <a:gd name="connsiteY7104" fmla="*/ 24564 h 1898459"/>
                <a:gd name="connsiteX7105" fmla="*/ 1281209 w 1556920"/>
                <a:gd name="connsiteY7105" fmla="*/ 26168 h 1898459"/>
                <a:gd name="connsiteX7106" fmla="*/ 1281088 w 1556920"/>
                <a:gd name="connsiteY7106" fmla="*/ 27952 h 1898459"/>
                <a:gd name="connsiteX7107" fmla="*/ 1280604 w 1556920"/>
                <a:gd name="connsiteY7107" fmla="*/ 29798 h 1898459"/>
                <a:gd name="connsiteX7108" fmla="*/ 1139965 w 1556920"/>
                <a:gd name="connsiteY7108" fmla="*/ 1859556 h 1898459"/>
                <a:gd name="connsiteX7109" fmla="*/ 1139723 w 1556920"/>
                <a:gd name="connsiteY7109" fmla="*/ 1859707 h 1898459"/>
                <a:gd name="connsiteX7110" fmla="*/ 1139360 w 1556920"/>
                <a:gd name="connsiteY7110" fmla="*/ 1860221 h 1898459"/>
                <a:gd name="connsiteX7111" fmla="*/ 1139088 w 1556920"/>
                <a:gd name="connsiteY7111" fmla="*/ 1860796 h 1898459"/>
                <a:gd name="connsiteX7112" fmla="*/ 1138815 w 1556920"/>
                <a:gd name="connsiteY7112" fmla="*/ 1861159 h 1898459"/>
                <a:gd name="connsiteX7113" fmla="*/ 1138815 w 1556920"/>
                <a:gd name="connsiteY7113" fmla="*/ 1861885 h 1898459"/>
                <a:gd name="connsiteX7114" fmla="*/ 1139057 w 1556920"/>
                <a:gd name="connsiteY7114" fmla="*/ 1862762 h 1898459"/>
                <a:gd name="connsiteX7115" fmla="*/ 1138876 w 1556920"/>
                <a:gd name="connsiteY7115" fmla="*/ 1863488 h 1898459"/>
                <a:gd name="connsiteX7116" fmla="*/ 1138543 w 1556920"/>
                <a:gd name="connsiteY7116" fmla="*/ 1864396 h 1898459"/>
                <a:gd name="connsiteX7117" fmla="*/ 1138997 w 1556920"/>
                <a:gd name="connsiteY7117" fmla="*/ 1864577 h 1898459"/>
                <a:gd name="connsiteX7118" fmla="*/ 1139904 w 1556920"/>
                <a:gd name="connsiteY7118" fmla="*/ 1863670 h 1898459"/>
                <a:gd name="connsiteX7119" fmla="*/ 1140933 w 1556920"/>
                <a:gd name="connsiteY7119" fmla="*/ 1862278 h 1898459"/>
                <a:gd name="connsiteX7120" fmla="*/ 1140721 w 1556920"/>
                <a:gd name="connsiteY7120" fmla="*/ 1860494 h 1898459"/>
                <a:gd name="connsiteX7121" fmla="*/ 1139965 w 1556920"/>
                <a:gd name="connsiteY7121" fmla="*/ 1859586 h 1898459"/>
                <a:gd name="connsiteX7122" fmla="*/ 1122419 w 1556920"/>
                <a:gd name="connsiteY7122" fmla="*/ 1850601 h 1898459"/>
                <a:gd name="connsiteX7123" fmla="*/ 1120271 w 1556920"/>
                <a:gd name="connsiteY7123" fmla="*/ 1852084 h 1898459"/>
                <a:gd name="connsiteX7124" fmla="*/ 1118184 w 1556920"/>
                <a:gd name="connsiteY7124" fmla="*/ 1852900 h 1898459"/>
                <a:gd name="connsiteX7125" fmla="*/ 1113707 w 1556920"/>
                <a:gd name="connsiteY7125" fmla="*/ 1856863 h 1898459"/>
                <a:gd name="connsiteX7126" fmla="*/ 1112376 w 1556920"/>
                <a:gd name="connsiteY7126" fmla="*/ 1857136 h 1898459"/>
                <a:gd name="connsiteX7127" fmla="*/ 1111135 w 1556920"/>
                <a:gd name="connsiteY7127" fmla="*/ 1857136 h 1898459"/>
                <a:gd name="connsiteX7128" fmla="*/ 1110500 w 1556920"/>
                <a:gd name="connsiteY7128" fmla="*/ 1857771 h 1898459"/>
                <a:gd name="connsiteX7129" fmla="*/ 1110984 w 1556920"/>
                <a:gd name="connsiteY7129" fmla="*/ 1859798 h 1898459"/>
                <a:gd name="connsiteX7130" fmla="*/ 1109865 w 1556920"/>
                <a:gd name="connsiteY7130" fmla="*/ 1859979 h 1898459"/>
                <a:gd name="connsiteX7131" fmla="*/ 1109078 w 1556920"/>
                <a:gd name="connsiteY7131" fmla="*/ 1860705 h 1898459"/>
                <a:gd name="connsiteX7132" fmla="*/ 1108806 w 1556920"/>
                <a:gd name="connsiteY7132" fmla="*/ 1861462 h 1898459"/>
                <a:gd name="connsiteX7133" fmla="*/ 1109229 w 1556920"/>
                <a:gd name="connsiteY7133" fmla="*/ 1861825 h 1898459"/>
                <a:gd name="connsiteX7134" fmla="*/ 1118910 w 1556920"/>
                <a:gd name="connsiteY7134" fmla="*/ 1861825 h 1898459"/>
                <a:gd name="connsiteX7135" fmla="*/ 1119727 w 1556920"/>
                <a:gd name="connsiteY7135" fmla="*/ 1862036 h 1898459"/>
                <a:gd name="connsiteX7136" fmla="*/ 1120332 w 1556920"/>
                <a:gd name="connsiteY7136" fmla="*/ 1862369 h 1898459"/>
                <a:gd name="connsiteX7137" fmla="*/ 1120997 w 1556920"/>
                <a:gd name="connsiteY7137" fmla="*/ 1862430 h 1898459"/>
                <a:gd name="connsiteX7138" fmla="*/ 1122026 w 1556920"/>
                <a:gd name="connsiteY7138" fmla="*/ 1861825 h 1898459"/>
                <a:gd name="connsiteX7139" fmla="*/ 1122812 w 1556920"/>
                <a:gd name="connsiteY7139" fmla="*/ 1861068 h 1898459"/>
                <a:gd name="connsiteX7140" fmla="*/ 1122933 w 1556920"/>
                <a:gd name="connsiteY7140" fmla="*/ 1860675 h 1898459"/>
                <a:gd name="connsiteX7141" fmla="*/ 1122933 w 1556920"/>
                <a:gd name="connsiteY7141" fmla="*/ 1860131 h 1898459"/>
                <a:gd name="connsiteX7142" fmla="*/ 1123538 w 1556920"/>
                <a:gd name="connsiteY7142" fmla="*/ 1857892 h 1898459"/>
                <a:gd name="connsiteX7143" fmla="*/ 1123992 w 1556920"/>
                <a:gd name="connsiteY7143" fmla="*/ 1854837 h 1898459"/>
                <a:gd name="connsiteX7144" fmla="*/ 1125656 w 1556920"/>
                <a:gd name="connsiteY7144" fmla="*/ 1852295 h 1898459"/>
                <a:gd name="connsiteX7145" fmla="*/ 1126049 w 1556920"/>
                <a:gd name="connsiteY7145" fmla="*/ 1851055 h 1898459"/>
                <a:gd name="connsiteX7146" fmla="*/ 1124385 w 1556920"/>
                <a:gd name="connsiteY7146" fmla="*/ 1849784 h 1898459"/>
                <a:gd name="connsiteX7147" fmla="*/ 1122358 w 1556920"/>
                <a:gd name="connsiteY7147" fmla="*/ 1850601 h 1898459"/>
                <a:gd name="connsiteX7148" fmla="*/ 1157662 w 1556920"/>
                <a:gd name="connsiteY7148" fmla="*/ 1821983 h 1898459"/>
                <a:gd name="connsiteX7149" fmla="*/ 1159416 w 1556920"/>
                <a:gd name="connsiteY7149" fmla="*/ 1820199 h 1898459"/>
                <a:gd name="connsiteX7150" fmla="*/ 1159416 w 1556920"/>
                <a:gd name="connsiteY7150" fmla="*/ 1819412 h 1898459"/>
                <a:gd name="connsiteX7151" fmla="*/ 1158993 w 1556920"/>
                <a:gd name="connsiteY7151" fmla="*/ 1819049 h 1898459"/>
                <a:gd name="connsiteX7152" fmla="*/ 1158570 w 1556920"/>
                <a:gd name="connsiteY7152" fmla="*/ 1819110 h 1898459"/>
                <a:gd name="connsiteX7153" fmla="*/ 1156936 w 1556920"/>
                <a:gd name="connsiteY7153" fmla="*/ 1819987 h 1898459"/>
                <a:gd name="connsiteX7154" fmla="*/ 1155937 w 1556920"/>
                <a:gd name="connsiteY7154" fmla="*/ 1820078 h 1898459"/>
                <a:gd name="connsiteX7155" fmla="*/ 1154546 w 1556920"/>
                <a:gd name="connsiteY7155" fmla="*/ 1820864 h 1898459"/>
                <a:gd name="connsiteX7156" fmla="*/ 1153759 w 1556920"/>
                <a:gd name="connsiteY7156" fmla="*/ 1822407 h 1898459"/>
                <a:gd name="connsiteX7157" fmla="*/ 1154697 w 1556920"/>
                <a:gd name="connsiteY7157" fmla="*/ 1823073 h 1898459"/>
                <a:gd name="connsiteX7158" fmla="*/ 1156301 w 1556920"/>
                <a:gd name="connsiteY7158" fmla="*/ 1822709 h 1898459"/>
                <a:gd name="connsiteX7159" fmla="*/ 1157601 w 1556920"/>
                <a:gd name="connsiteY7159" fmla="*/ 1822014 h 1898459"/>
                <a:gd name="connsiteX7160" fmla="*/ 896683 w 1556920"/>
                <a:gd name="connsiteY7160" fmla="*/ 1168068 h 1898459"/>
                <a:gd name="connsiteX7161" fmla="*/ 896320 w 1556920"/>
                <a:gd name="connsiteY7161" fmla="*/ 1168341 h 1898459"/>
                <a:gd name="connsiteX7162" fmla="*/ 895775 w 1556920"/>
                <a:gd name="connsiteY7162" fmla="*/ 1168643 h 1898459"/>
                <a:gd name="connsiteX7163" fmla="*/ 895775 w 1556920"/>
                <a:gd name="connsiteY7163" fmla="*/ 1169823 h 1898459"/>
                <a:gd name="connsiteX7164" fmla="*/ 898195 w 1556920"/>
                <a:gd name="connsiteY7164" fmla="*/ 1170549 h 1898459"/>
                <a:gd name="connsiteX7165" fmla="*/ 900283 w 1556920"/>
                <a:gd name="connsiteY7165" fmla="*/ 1169248 h 1898459"/>
                <a:gd name="connsiteX7166" fmla="*/ 902249 w 1556920"/>
                <a:gd name="connsiteY7166" fmla="*/ 1167433 h 1898459"/>
                <a:gd name="connsiteX7167" fmla="*/ 904427 w 1556920"/>
                <a:gd name="connsiteY7167" fmla="*/ 1166495 h 1898459"/>
                <a:gd name="connsiteX7168" fmla="*/ 905909 w 1556920"/>
                <a:gd name="connsiteY7168" fmla="*/ 1167040 h 1898459"/>
                <a:gd name="connsiteX7169" fmla="*/ 907785 w 1556920"/>
                <a:gd name="connsiteY7169" fmla="*/ 1169309 h 1898459"/>
                <a:gd name="connsiteX7170" fmla="*/ 909267 w 1556920"/>
                <a:gd name="connsiteY7170" fmla="*/ 1169823 h 1898459"/>
                <a:gd name="connsiteX7171" fmla="*/ 910598 w 1556920"/>
                <a:gd name="connsiteY7171" fmla="*/ 1169369 h 1898459"/>
                <a:gd name="connsiteX7172" fmla="*/ 911809 w 1556920"/>
                <a:gd name="connsiteY7172" fmla="*/ 1168734 h 1898459"/>
                <a:gd name="connsiteX7173" fmla="*/ 912867 w 1556920"/>
                <a:gd name="connsiteY7173" fmla="*/ 1168885 h 1898459"/>
                <a:gd name="connsiteX7174" fmla="*/ 913745 w 1556920"/>
                <a:gd name="connsiteY7174" fmla="*/ 1170882 h 1898459"/>
                <a:gd name="connsiteX7175" fmla="*/ 915076 w 1556920"/>
                <a:gd name="connsiteY7175" fmla="*/ 1166647 h 1898459"/>
                <a:gd name="connsiteX7176" fmla="*/ 915892 w 1556920"/>
                <a:gd name="connsiteY7176" fmla="*/ 1165527 h 1898459"/>
                <a:gd name="connsiteX7177" fmla="*/ 917042 w 1556920"/>
                <a:gd name="connsiteY7177" fmla="*/ 1164983 h 1898459"/>
                <a:gd name="connsiteX7178" fmla="*/ 918615 w 1556920"/>
                <a:gd name="connsiteY7178" fmla="*/ 1164620 h 1898459"/>
                <a:gd name="connsiteX7179" fmla="*/ 920037 w 1556920"/>
                <a:gd name="connsiteY7179" fmla="*/ 1164015 h 1898459"/>
                <a:gd name="connsiteX7180" fmla="*/ 920642 w 1556920"/>
                <a:gd name="connsiteY7180" fmla="*/ 1162774 h 1898459"/>
                <a:gd name="connsiteX7181" fmla="*/ 922094 w 1556920"/>
                <a:gd name="connsiteY7181" fmla="*/ 1161111 h 1898459"/>
                <a:gd name="connsiteX7182" fmla="*/ 927600 w 1556920"/>
                <a:gd name="connsiteY7182" fmla="*/ 1157692 h 1898459"/>
                <a:gd name="connsiteX7183" fmla="*/ 927509 w 1556920"/>
                <a:gd name="connsiteY7183" fmla="*/ 1155756 h 1898459"/>
                <a:gd name="connsiteX7184" fmla="*/ 930383 w 1556920"/>
                <a:gd name="connsiteY7184" fmla="*/ 1153215 h 1898459"/>
                <a:gd name="connsiteX7185" fmla="*/ 933831 w 1556920"/>
                <a:gd name="connsiteY7185" fmla="*/ 1151491 h 1898459"/>
                <a:gd name="connsiteX7186" fmla="*/ 936040 w 1556920"/>
                <a:gd name="connsiteY7186" fmla="*/ 1149192 h 1898459"/>
                <a:gd name="connsiteX7187" fmla="*/ 935193 w 1556920"/>
                <a:gd name="connsiteY7187" fmla="*/ 1144866 h 1898459"/>
                <a:gd name="connsiteX7188" fmla="*/ 937946 w 1556920"/>
                <a:gd name="connsiteY7188" fmla="*/ 1143413 h 1898459"/>
                <a:gd name="connsiteX7189" fmla="*/ 938581 w 1556920"/>
                <a:gd name="connsiteY7189" fmla="*/ 1142809 h 1898459"/>
                <a:gd name="connsiteX7190" fmla="*/ 939186 w 1556920"/>
                <a:gd name="connsiteY7190" fmla="*/ 1141659 h 1898459"/>
                <a:gd name="connsiteX7191" fmla="*/ 939731 w 1556920"/>
                <a:gd name="connsiteY7191" fmla="*/ 1140207 h 1898459"/>
                <a:gd name="connsiteX7192" fmla="*/ 940336 w 1556920"/>
                <a:gd name="connsiteY7192" fmla="*/ 1138936 h 1898459"/>
                <a:gd name="connsiteX7193" fmla="*/ 941092 w 1556920"/>
                <a:gd name="connsiteY7193" fmla="*/ 1138392 h 1898459"/>
                <a:gd name="connsiteX7194" fmla="*/ 942514 w 1556920"/>
                <a:gd name="connsiteY7194" fmla="*/ 1135639 h 1898459"/>
                <a:gd name="connsiteX7195" fmla="*/ 943088 w 1556920"/>
                <a:gd name="connsiteY7195" fmla="*/ 1135125 h 1898459"/>
                <a:gd name="connsiteX7196" fmla="*/ 943996 w 1556920"/>
                <a:gd name="connsiteY7196" fmla="*/ 1134550 h 1898459"/>
                <a:gd name="connsiteX7197" fmla="*/ 943845 w 1556920"/>
                <a:gd name="connsiteY7197" fmla="*/ 1133188 h 1898459"/>
                <a:gd name="connsiteX7198" fmla="*/ 943210 w 1556920"/>
                <a:gd name="connsiteY7198" fmla="*/ 1131767 h 1898459"/>
                <a:gd name="connsiteX7199" fmla="*/ 942665 w 1556920"/>
                <a:gd name="connsiteY7199" fmla="*/ 1130890 h 1898459"/>
                <a:gd name="connsiteX7200" fmla="*/ 941909 w 1556920"/>
                <a:gd name="connsiteY7200" fmla="*/ 1130375 h 1898459"/>
                <a:gd name="connsiteX7201" fmla="*/ 940063 w 1556920"/>
                <a:gd name="connsiteY7201" fmla="*/ 1130163 h 1898459"/>
                <a:gd name="connsiteX7202" fmla="*/ 939277 w 1556920"/>
                <a:gd name="connsiteY7202" fmla="*/ 1129710 h 1898459"/>
                <a:gd name="connsiteX7203" fmla="*/ 938702 w 1556920"/>
                <a:gd name="connsiteY7203" fmla="*/ 1128651 h 1898459"/>
                <a:gd name="connsiteX7204" fmla="*/ 938067 w 1556920"/>
                <a:gd name="connsiteY7204" fmla="*/ 1126019 h 1898459"/>
                <a:gd name="connsiteX7205" fmla="*/ 937522 w 1556920"/>
                <a:gd name="connsiteY7205" fmla="*/ 1124839 h 1898459"/>
                <a:gd name="connsiteX7206" fmla="*/ 937310 w 1556920"/>
                <a:gd name="connsiteY7206" fmla="*/ 1122691 h 1898459"/>
                <a:gd name="connsiteX7207" fmla="*/ 939368 w 1556920"/>
                <a:gd name="connsiteY7207" fmla="*/ 1116732 h 1898459"/>
                <a:gd name="connsiteX7208" fmla="*/ 939942 w 1556920"/>
                <a:gd name="connsiteY7208" fmla="*/ 1114433 h 1898459"/>
                <a:gd name="connsiteX7209" fmla="*/ 938279 w 1556920"/>
                <a:gd name="connsiteY7209" fmla="*/ 1113616 h 1898459"/>
                <a:gd name="connsiteX7210" fmla="*/ 936463 w 1556920"/>
                <a:gd name="connsiteY7210" fmla="*/ 1114130 h 1898459"/>
                <a:gd name="connsiteX7211" fmla="*/ 934588 w 1556920"/>
                <a:gd name="connsiteY7211" fmla="*/ 1115098 h 1898459"/>
                <a:gd name="connsiteX7212" fmla="*/ 930806 w 1556920"/>
                <a:gd name="connsiteY7212" fmla="*/ 1115945 h 1898459"/>
                <a:gd name="connsiteX7213" fmla="*/ 925422 w 1556920"/>
                <a:gd name="connsiteY7213" fmla="*/ 1118880 h 1898459"/>
                <a:gd name="connsiteX7214" fmla="*/ 921852 w 1556920"/>
                <a:gd name="connsiteY7214" fmla="*/ 1122026 h 1898459"/>
                <a:gd name="connsiteX7215" fmla="*/ 919492 w 1556920"/>
                <a:gd name="connsiteY7215" fmla="*/ 1126291 h 1898459"/>
                <a:gd name="connsiteX7216" fmla="*/ 915076 w 1556920"/>
                <a:gd name="connsiteY7216" fmla="*/ 1136214 h 1898459"/>
                <a:gd name="connsiteX7217" fmla="*/ 913654 w 1556920"/>
                <a:gd name="connsiteY7217" fmla="*/ 1137968 h 1898459"/>
                <a:gd name="connsiteX7218" fmla="*/ 910568 w 1556920"/>
                <a:gd name="connsiteY7218" fmla="*/ 1140509 h 1898459"/>
                <a:gd name="connsiteX7219" fmla="*/ 908481 w 1556920"/>
                <a:gd name="connsiteY7219" fmla="*/ 1143020 h 1898459"/>
                <a:gd name="connsiteX7220" fmla="*/ 906030 w 1556920"/>
                <a:gd name="connsiteY7220" fmla="*/ 1144563 h 1898459"/>
                <a:gd name="connsiteX7221" fmla="*/ 903792 w 1556920"/>
                <a:gd name="connsiteY7221" fmla="*/ 1145047 h 1898459"/>
                <a:gd name="connsiteX7222" fmla="*/ 903610 w 1556920"/>
                <a:gd name="connsiteY7222" fmla="*/ 1145682 h 1898459"/>
                <a:gd name="connsiteX7223" fmla="*/ 903731 w 1556920"/>
                <a:gd name="connsiteY7223" fmla="*/ 1146741 h 1898459"/>
                <a:gd name="connsiteX7224" fmla="*/ 903399 w 1556920"/>
                <a:gd name="connsiteY7224" fmla="*/ 1148254 h 1898459"/>
                <a:gd name="connsiteX7225" fmla="*/ 902461 w 1556920"/>
                <a:gd name="connsiteY7225" fmla="*/ 1150613 h 1898459"/>
                <a:gd name="connsiteX7226" fmla="*/ 902067 w 1556920"/>
                <a:gd name="connsiteY7226" fmla="*/ 1152640 h 1898459"/>
                <a:gd name="connsiteX7227" fmla="*/ 902007 w 1556920"/>
                <a:gd name="connsiteY7227" fmla="*/ 1157390 h 1898459"/>
                <a:gd name="connsiteX7228" fmla="*/ 901099 w 1556920"/>
                <a:gd name="connsiteY7228" fmla="*/ 1160173 h 1898459"/>
                <a:gd name="connsiteX7229" fmla="*/ 897711 w 1556920"/>
                <a:gd name="connsiteY7229" fmla="*/ 1164589 h 1898459"/>
                <a:gd name="connsiteX7230" fmla="*/ 897832 w 1556920"/>
                <a:gd name="connsiteY7230" fmla="*/ 1167645 h 1898459"/>
                <a:gd name="connsiteX7231" fmla="*/ 897076 w 1556920"/>
                <a:gd name="connsiteY7231" fmla="*/ 1167827 h 1898459"/>
                <a:gd name="connsiteX7232" fmla="*/ 896653 w 1556920"/>
                <a:gd name="connsiteY7232" fmla="*/ 1168068 h 1898459"/>
                <a:gd name="connsiteX7233" fmla="*/ 1174815 w 1556920"/>
                <a:gd name="connsiteY7233" fmla="*/ 1891501 h 1898459"/>
                <a:gd name="connsiteX7234" fmla="*/ 1174361 w 1556920"/>
                <a:gd name="connsiteY7234" fmla="*/ 1890927 h 1898459"/>
                <a:gd name="connsiteX7235" fmla="*/ 1174482 w 1556920"/>
                <a:gd name="connsiteY7235" fmla="*/ 1889535 h 1898459"/>
                <a:gd name="connsiteX7236" fmla="*/ 1169732 w 1556920"/>
                <a:gd name="connsiteY7236" fmla="*/ 1887357 h 1898459"/>
                <a:gd name="connsiteX7237" fmla="*/ 1168250 w 1556920"/>
                <a:gd name="connsiteY7237" fmla="*/ 1885996 h 1898459"/>
                <a:gd name="connsiteX7238" fmla="*/ 1166768 w 1556920"/>
                <a:gd name="connsiteY7238" fmla="*/ 1886086 h 1898459"/>
                <a:gd name="connsiteX7239" fmla="*/ 1166132 w 1556920"/>
                <a:gd name="connsiteY7239" fmla="*/ 1886298 h 1898459"/>
                <a:gd name="connsiteX7240" fmla="*/ 1165467 w 1556920"/>
                <a:gd name="connsiteY7240" fmla="*/ 1886964 h 1898459"/>
                <a:gd name="connsiteX7241" fmla="*/ 1164317 w 1556920"/>
                <a:gd name="connsiteY7241" fmla="*/ 1886268 h 1898459"/>
                <a:gd name="connsiteX7242" fmla="*/ 1162109 w 1556920"/>
                <a:gd name="connsiteY7242" fmla="*/ 1885753 h 1898459"/>
                <a:gd name="connsiteX7243" fmla="*/ 1161322 w 1556920"/>
                <a:gd name="connsiteY7243" fmla="*/ 1885027 h 1898459"/>
                <a:gd name="connsiteX7244" fmla="*/ 1160203 w 1556920"/>
                <a:gd name="connsiteY7244" fmla="*/ 1885965 h 1898459"/>
                <a:gd name="connsiteX7245" fmla="*/ 1159235 w 1556920"/>
                <a:gd name="connsiteY7245" fmla="*/ 1886540 h 1898459"/>
                <a:gd name="connsiteX7246" fmla="*/ 1158206 w 1556920"/>
                <a:gd name="connsiteY7246" fmla="*/ 1886842 h 1898459"/>
                <a:gd name="connsiteX7247" fmla="*/ 1156845 w 1556920"/>
                <a:gd name="connsiteY7247" fmla="*/ 1886933 h 1898459"/>
                <a:gd name="connsiteX7248" fmla="*/ 1154939 w 1556920"/>
                <a:gd name="connsiteY7248" fmla="*/ 1885965 h 1898459"/>
                <a:gd name="connsiteX7249" fmla="*/ 1153517 w 1556920"/>
                <a:gd name="connsiteY7249" fmla="*/ 1885572 h 1898459"/>
                <a:gd name="connsiteX7250" fmla="*/ 1152338 w 1556920"/>
                <a:gd name="connsiteY7250" fmla="*/ 1885965 h 1898459"/>
                <a:gd name="connsiteX7251" fmla="*/ 1152247 w 1556920"/>
                <a:gd name="connsiteY7251" fmla="*/ 1887690 h 1898459"/>
                <a:gd name="connsiteX7252" fmla="*/ 1153124 w 1556920"/>
                <a:gd name="connsiteY7252" fmla="*/ 1890443 h 1898459"/>
                <a:gd name="connsiteX7253" fmla="*/ 1153820 w 1556920"/>
                <a:gd name="connsiteY7253" fmla="*/ 1893619 h 1898459"/>
                <a:gd name="connsiteX7254" fmla="*/ 1153094 w 1556920"/>
                <a:gd name="connsiteY7254" fmla="*/ 1896644 h 1898459"/>
                <a:gd name="connsiteX7255" fmla="*/ 1154122 w 1556920"/>
                <a:gd name="connsiteY7255" fmla="*/ 1896644 h 1898459"/>
                <a:gd name="connsiteX7256" fmla="*/ 1156180 w 1556920"/>
                <a:gd name="connsiteY7256" fmla="*/ 1895797 h 1898459"/>
                <a:gd name="connsiteX7257" fmla="*/ 1156452 w 1556920"/>
                <a:gd name="connsiteY7257" fmla="*/ 1895585 h 1898459"/>
                <a:gd name="connsiteX7258" fmla="*/ 1157511 w 1556920"/>
                <a:gd name="connsiteY7258" fmla="*/ 1895978 h 1898459"/>
                <a:gd name="connsiteX7259" fmla="*/ 1158781 w 1556920"/>
                <a:gd name="connsiteY7259" fmla="*/ 1897249 h 1898459"/>
                <a:gd name="connsiteX7260" fmla="*/ 1159628 w 1556920"/>
                <a:gd name="connsiteY7260" fmla="*/ 1897491 h 1898459"/>
                <a:gd name="connsiteX7261" fmla="*/ 1160445 w 1556920"/>
                <a:gd name="connsiteY7261" fmla="*/ 1895737 h 1898459"/>
                <a:gd name="connsiteX7262" fmla="*/ 1161231 w 1556920"/>
                <a:gd name="connsiteY7262" fmla="*/ 1894436 h 1898459"/>
                <a:gd name="connsiteX7263" fmla="*/ 1162048 w 1556920"/>
                <a:gd name="connsiteY7263" fmla="*/ 1893649 h 1898459"/>
                <a:gd name="connsiteX7264" fmla="*/ 1162744 w 1556920"/>
                <a:gd name="connsiteY7264" fmla="*/ 1893649 h 1898459"/>
                <a:gd name="connsiteX7265" fmla="*/ 1163652 w 1556920"/>
                <a:gd name="connsiteY7265" fmla="*/ 1894012 h 1898459"/>
                <a:gd name="connsiteX7266" fmla="*/ 1164529 w 1556920"/>
                <a:gd name="connsiteY7266" fmla="*/ 1894557 h 1898459"/>
                <a:gd name="connsiteX7267" fmla="*/ 1166858 w 1556920"/>
                <a:gd name="connsiteY7267" fmla="*/ 1896735 h 1898459"/>
                <a:gd name="connsiteX7268" fmla="*/ 1168583 w 1556920"/>
                <a:gd name="connsiteY7268" fmla="*/ 1897430 h 1898459"/>
                <a:gd name="connsiteX7269" fmla="*/ 1171668 w 1556920"/>
                <a:gd name="connsiteY7269" fmla="*/ 1897491 h 1898459"/>
                <a:gd name="connsiteX7270" fmla="*/ 1172576 w 1556920"/>
                <a:gd name="connsiteY7270" fmla="*/ 1897854 h 1898459"/>
                <a:gd name="connsiteX7271" fmla="*/ 1173483 w 1556920"/>
                <a:gd name="connsiteY7271" fmla="*/ 1898459 h 1898459"/>
                <a:gd name="connsiteX7272" fmla="*/ 1174149 w 1556920"/>
                <a:gd name="connsiteY7272" fmla="*/ 1898459 h 1898459"/>
                <a:gd name="connsiteX7273" fmla="*/ 1174421 w 1556920"/>
                <a:gd name="connsiteY7273" fmla="*/ 1897037 h 1898459"/>
                <a:gd name="connsiteX7274" fmla="*/ 1174421 w 1556920"/>
                <a:gd name="connsiteY7274" fmla="*/ 1895464 h 1898459"/>
                <a:gd name="connsiteX7275" fmla="*/ 1174512 w 1556920"/>
                <a:gd name="connsiteY7275" fmla="*/ 1894315 h 1898459"/>
                <a:gd name="connsiteX7276" fmla="*/ 1174905 w 1556920"/>
                <a:gd name="connsiteY7276" fmla="*/ 1893377 h 1898459"/>
                <a:gd name="connsiteX7277" fmla="*/ 1175782 w 1556920"/>
                <a:gd name="connsiteY7277" fmla="*/ 1892651 h 1898459"/>
                <a:gd name="connsiteX7278" fmla="*/ 1175419 w 1556920"/>
                <a:gd name="connsiteY7278" fmla="*/ 1892227 h 1898459"/>
                <a:gd name="connsiteX7279" fmla="*/ 1174875 w 1556920"/>
                <a:gd name="connsiteY7279" fmla="*/ 1891380 h 189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Lst>
              <a:rect l="l" t="t" r="r" b="b"/>
              <a:pathLst>
                <a:path w="1556920" h="1898459">
                  <a:moveTo>
                    <a:pt x="743943" y="1789826"/>
                  </a:moveTo>
                  <a:lnTo>
                    <a:pt x="743066" y="1791006"/>
                  </a:lnTo>
                  <a:lnTo>
                    <a:pt x="742884" y="1792972"/>
                  </a:lnTo>
                  <a:lnTo>
                    <a:pt x="744095" y="1793547"/>
                  </a:lnTo>
                  <a:lnTo>
                    <a:pt x="745063" y="1792912"/>
                  </a:lnTo>
                  <a:lnTo>
                    <a:pt x="745395" y="1791641"/>
                  </a:lnTo>
                  <a:lnTo>
                    <a:pt x="744579" y="1790310"/>
                  </a:lnTo>
                  <a:lnTo>
                    <a:pt x="743913" y="1789826"/>
                  </a:lnTo>
                  <a:close/>
                  <a:moveTo>
                    <a:pt x="740434" y="1786347"/>
                  </a:moveTo>
                  <a:lnTo>
                    <a:pt x="740101" y="1786166"/>
                  </a:lnTo>
                  <a:lnTo>
                    <a:pt x="739617" y="1785803"/>
                  </a:lnTo>
                  <a:lnTo>
                    <a:pt x="738891" y="1785712"/>
                  </a:lnTo>
                  <a:lnTo>
                    <a:pt x="738982" y="1786862"/>
                  </a:lnTo>
                  <a:lnTo>
                    <a:pt x="739678" y="1788495"/>
                  </a:lnTo>
                  <a:lnTo>
                    <a:pt x="740555" y="1788949"/>
                  </a:lnTo>
                  <a:lnTo>
                    <a:pt x="741160" y="1787860"/>
                  </a:lnTo>
                  <a:lnTo>
                    <a:pt x="741009" y="1786801"/>
                  </a:lnTo>
                  <a:lnTo>
                    <a:pt x="740434" y="1786347"/>
                  </a:lnTo>
                  <a:close/>
                  <a:moveTo>
                    <a:pt x="1268533" y="1677170"/>
                  </a:moveTo>
                  <a:lnTo>
                    <a:pt x="1267656" y="1677381"/>
                  </a:lnTo>
                  <a:lnTo>
                    <a:pt x="1267384" y="1677261"/>
                  </a:lnTo>
                  <a:lnTo>
                    <a:pt x="1267323" y="1676867"/>
                  </a:lnTo>
                  <a:lnTo>
                    <a:pt x="1267444" y="1675657"/>
                  </a:lnTo>
                  <a:lnTo>
                    <a:pt x="1267384" y="1675294"/>
                  </a:lnTo>
                  <a:lnTo>
                    <a:pt x="1266174" y="1674417"/>
                  </a:lnTo>
                  <a:lnTo>
                    <a:pt x="1265115" y="1674236"/>
                  </a:lnTo>
                  <a:lnTo>
                    <a:pt x="1262634" y="1674296"/>
                  </a:lnTo>
                  <a:lnTo>
                    <a:pt x="1247388" y="1668548"/>
                  </a:lnTo>
                  <a:lnTo>
                    <a:pt x="1245089" y="1668699"/>
                  </a:lnTo>
                  <a:lnTo>
                    <a:pt x="1242578" y="1670333"/>
                  </a:lnTo>
                  <a:lnTo>
                    <a:pt x="1239159" y="1674266"/>
                  </a:lnTo>
                  <a:lnTo>
                    <a:pt x="1236800" y="1676020"/>
                  </a:lnTo>
                  <a:lnTo>
                    <a:pt x="1234349" y="1676292"/>
                  </a:lnTo>
                  <a:lnTo>
                    <a:pt x="1234531" y="1675778"/>
                  </a:lnTo>
                  <a:lnTo>
                    <a:pt x="1234773" y="1674810"/>
                  </a:lnTo>
                  <a:lnTo>
                    <a:pt x="1234985" y="1674326"/>
                  </a:lnTo>
                  <a:lnTo>
                    <a:pt x="1226212" y="1678138"/>
                  </a:lnTo>
                  <a:lnTo>
                    <a:pt x="1222249" y="1681284"/>
                  </a:lnTo>
                  <a:lnTo>
                    <a:pt x="1219829" y="1685398"/>
                  </a:lnTo>
                  <a:lnTo>
                    <a:pt x="1221644" y="1684370"/>
                  </a:lnTo>
                  <a:lnTo>
                    <a:pt x="1223307" y="1683735"/>
                  </a:lnTo>
                  <a:lnTo>
                    <a:pt x="1227089" y="1683311"/>
                  </a:lnTo>
                  <a:lnTo>
                    <a:pt x="1228238" y="1683735"/>
                  </a:lnTo>
                  <a:lnTo>
                    <a:pt x="1231566" y="1685943"/>
                  </a:lnTo>
                  <a:lnTo>
                    <a:pt x="1232262" y="1686820"/>
                  </a:lnTo>
                  <a:lnTo>
                    <a:pt x="1245391" y="1695412"/>
                  </a:lnTo>
                  <a:lnTo>
                    <a:pt x="1249051" y="1696379"/>
                  </a:lnTo>
                  <a:lnTo>
                    <a:pt x="1260214" y="1693324"/>
                  </a:lnTo>
                  <a:lnTo>
                    <a:pt x="1260547" y="1692628"/>
                  </a:lnTo>
                  <a:lnTo>
                    <a:pt x="1260638" y="1690995"/>
                  </a:lnTo>
                  <a:lnTo>
                    <a:pt x="1260577" y="1687849"/>
                  </a:lnTo>
                  <a:lnTo>
                    <a:pt x="1260819" y="1687123"/>
                  </a:lnTo>
                  <a:lnTo>
                    <a:pt x="1261394" y="1686427"/>
                  </a:lnTo>
                  <a:lnTo>
                    <a:pt x="1264177" y="1684128"/>
                  </a:lnTo>
                  <a:lnTo>
                    <a:pt x="1265780" y="1683402"/>
                  </a:lnTo>
                  <a:lnTo>
                    <a:pt x="1269532" y="1682373"/>
                  </a:lnTo>
                  <a:lnTo>
                    <a:pt x="1269864" y="1682010"/>
                  </a:lnTo>
                  <a:lnTo>
                    <a:pt x="1270107" y="1681617"/>
                  </a:lnTo>
                  <a:lnTo>
                    <a:pt x="1270379" y="1681375"/>
                  </a:lnTo>
                  <a:lnTo>
                    <a:pt x="1270833" y="1681375"/>
                  </a:lnTo>
                  <a:lnTo>
                    <a:pt x="1270833" y="1680256"/>
                  </a:lnTo>
                  <a:lnTo>
                    <a:pt x="1268775" y="1677261"/>
                  </a:lnTo>
                  <a:lnTo>
                    <a:pt x="1268503" y="1677170"/>
                  </a:lnTo>
                  <a:close/>
                  <a:moveTo>
                    <a:pt x="1281723" y="1664797"/>
                  </a:moveTo>
                  <a:lnTo>
                    <a:pt x="1281178" y="1664313"/>
                  </a:lnTo>
                  <a:lnTo>
                    <a:pt x="1281178" y="1663405"/>
                  </a:lnTo>
                  <a:lnTo>
                    <a:pt x="1282026" y="1662800"/>
                  </a:lnTo>
                  <a:lnTo>
                    <a:pt x="1282389" y="1662014"/>
                  </a:lnTo>
                  <a:lnTo>
                    <a:pt x="1282147" y="1661136"/>
                  </a:lnTo>
                  <a:lnTo>
                    <a:pt x="1281178" y="1660320"/>
                  </a:lnTo>
                  <a:lnTo>
                    <a:pt x="1279908" y="1660259"/>
                  </a:lnTo>
                  <a:lnTo>
                    <a:pt x="1277276" y="1664464"/>
                  </a:lnTo>
                  <a:lnTo>
                    <a:pt x="1275068" y="1665341"/>
                  </a:lnTo>
                  <a:lnTo>
                    <a:pt x="1275068" y="1666310"/>
                  </a:lnTo>
                  <a:lnTo>
                    <a:pt x="1283296" y="1667429"/>
                  </a:lnTo>
                  <a:lnTo>
                    <a:pt x="1283296" y="1666310"/>
                  </a:lnTo>
                  <a:lnTo>
                    <a:pt x="1282631" y="1665826"/>
                  </a:lnTo>
                  <a:lnTo>
                    <a:pt x="1281723" y="1664827"/>
                  </a:lnTo>
                  <a:close/>
                  <a:moveTo>
                    <a:pt x="908481" y="1611101"/>
                  </a:moveTo>
                  <a:lnTo>
                    <a:pt x="908420" y="1609285"/>
                  </a:lnTo>
                  <a:lnTo>
                    <a:pt x="908269" y="1608318"/>
                  </a:lnTo>
                  <a:lnTo>
                    <a:pt x="908118" y="1607713"/>
                  </a:lnTo>
                  <a:lnTo>
                    <a:pt x="907694" y="1606623"/>
                  </a:lnTo>
                  <a:lnTo>
                    <a:pt x="907180" y="1606896"/>
                  </a:lnTo>
                  <a:lnTo>
                    <a:pt x="906847" y="1608741"/>
                  </a:lnTo>
                  <a:lnTo>
                    <a:pt x="906968" y="1610738"/>
                  </a:lnTo>
                  <a:lnTo>
                    <a:pt x="907785" y="1611766"/>
                  </a:lnTo>
                  <a:lnTo>
                    <a:pt x="908481" y="1611071"/>
                  </a:lnTo>
                  <a:close/>
                  <a:moveTo>
                    <a:pt x="1468404" y="1573770"/>
                  </a:moveTo>
                  <a:lnTo>
                    <a:pt x="1467437" y="1573256"/>
                  </a:lnTo>
                  <a:lnTo>
                    <a:pt x="1454973" y="1569263"/>
                  </a:lnTo>
                  <a:lnTo>
                    <a:pt x="1453672" y="1569596"/>
                  </a:lnTo>
                  <a:lnTo>
                    <a:pt x="1452946" y="1570473"/>
                  </a:lnTo>
                  <a:lnTo>
                    <a:pt x="1451645" y="1574557"/>
                  </a:lnTo>
                  <a:lnTo>
                    <a:pt x="1452613" y="1576342"/>
                  </a:lnTo>
                  <a:lnTo>
                    <a:pt x="1454035" y="1578369"/>
                  </a:lnTo>
                  <a:lnTo>
                    <a:pt x="1455790" y="1580002"/>
                  </a:lnTo>
                  <a:lnTo>
                    <a:pt x="1457786" y="1580698"/>
                  </a:lnTo>
                  <a:lnTo>
                    <a:pt x="1469524" y="1581606"/>
                  </a:lnTo>
                  <a:lnTo>
                    <a:pt x="1472035" y="1580637"/>
                  </a:lnTo>
                  <a:lnTo>
                    <a:pt x="1472609" y="1578853"/>
                  </a:lnTo>
                  <a:lnTo>
                    <a:pt x="1471642" y="1576675"/>
                  </a:lnTo>
                  <a:lnTo>
                    <a:pt x="1469524" y="1574527"/>
                  </a:lnTo>
                  <a:lnTo>
                    <a:pt x="1468435" y="1573740"/>
                  </a:lnTo>
                  <a:close/>
                  <a:moveTo>
                    <a:pt x="917163" y="1293279"/>
                  </a:moveTo>
                  <a:lnTo>
                    <a:pt x="916800" y="1291192"/>
                  </a:lnTo>
                  <a:lnTo>
                    <a:pt x="915832" y="1289316"/>
                  </a:lnTo>
                  <a:lnTo>
                    <a:pt x="914471" y="1287683"/>
                  </a:lnTo>
                  <a:lnTo>
                    <a:pt x="912958" y="1286291"/>
                  </a:lnTo>
                  <a:lnTo>
                    <a:pt x="912202" y="1285686"/>
                  </a:lnTo>
                  <a:lnTo>
                    <a:pt x="910417" y="1285898"/>
                  </a:lnTo>
                  <a:lnTo>
                    <a:pt x="909267" y="1285898"/>
                  </a:lnTo>
                  <a:lnTo>
                    <a:pt x="908088" y="1285202"/>
                  </a:lnTo>
                  <a:lnTo>
                    <a:pt x="905425" y="1287411"/>
                  </a:lnTo>
                  <a:lnTo>
                    <a:pt x="905425" y="1288469"/>
                  </a:lnTo>
                  <a:lnTo>
                    <a:pt x="907150" y="1291222"/>
                  </a:lnTo>
                  <a:lnTo>
                    <a:pt x="907785" y="1291555"/>
                  </a:lnTo>
                  <a:lnTo>
                    <a:pt x="910719" y="1291343"/>
                  </a:lnTo>
                  <a:lnTo>
                    <a:pt x="911597" y="1291555"/>
                  </a:lnTo>
                  <a:lnTo>
                    <a:pt x="912595" y="1292644"/>
                  </a:lnTo>
                  <a:lnTo>
                    <a:pt x="914652" y="1296183"/>
                  </a:lnTo>
                  <a:lnTo>
                    <a:pt x="916709" y="1297908"/>
                  </a:lnTo>
                  <a:lnTo>
                    <a:pt x="917707" y="1298301"/>
                  </a:lnTo>
                  <a:lnTo>
                    <a:pt x="918524" y="1297908"/>
                  </a:lnTo>
                  <a:lnTo>
                    <a:pt x="919039" y="1296244"/>
                  </a:lnTo>
                  <a:lnTo>
                    <a:pt x="918494" y="1295064"/>
                  </a:lnTo>
                  <a:lnTo>
                    <a:pt x="917617" y="1294126"/>
                  </a:lnTo>
                  <a:lnTo>
                    <a:pt x="917163" y="1293249"/>
                  </a:lnTo>
                  <a:close/>
                  <a:moveTo>
                    <a:pt x="948140" y="1277034"/>
                  </a:moveTo>
                  <a:lnTo>
                    <a:pt x="947898" y="1275189"/>
                  </a:lnTo>
                  <a:lnTo>
                    <a:pt x="947414" y="1273344"/>
                  </a:lnTo>
                  <a:lnTo>
                    <a:pt x="946446" y="1272496"/>
                  </a:lnTo>
                  <a:lnTo>
                    <a:pt x="942604" y="1270469"/>
                  </a:lnTo>
                  <a:lnTo>
                    <a:pt x="940729" y="1270379"/>
                  </a:lnTo>
                  <a:lnTo>
                    <a:pt x="933741" y="1269320"/>
                  </a:lnTo>
                  <a:lnTo>
                    <a:pt x="932500" y="1269320"/>
                  </a:lnTo>
                  <a:lnTo>
                    <a:pt x="919613" y="1273404"/>
                  </a:lnTo>
                  <a:lnTo>
                    <a:pt x="917829" y="1274614"/>
                  </a:lnTo>
                  <a:lnTo>
                    <a:pt x="918857" y="1276943"/>
                  </a:lnTo>
                  <a:lnTo>
                    <a:pt x="919069" y="1279182"/>
                  </a:lnTo>
                  <a:lnTo>
                    <a:pt x="918555" y="1284325"/>
                  </a:lnTo>
                  <a:lnTo>
                    <a:pt x="918555" y="1287713"/>
                  </a:lnTo>
                  <a:lnTo>
                    <a:pt x="918403" y="1290073"/>
                  </a:lnTo>
                  <a:lnTo>
                    <a:pt x="917829" y="1291616"/>
                  </a:lnTo>
                  <a:lnTo>
                    <a:pt x="917829" y="1292765"/>
                  </a:lnTo>
                  <a:lnTo>
                    <a:pt x="919644" y="1294852"/>
                  </a:lnTo>
                  <a:lnTo>
                    <a:pt x="922971" y="1300872"/>
                  </a:lnTo>
                  <a:lnTo>
                    <a:pt x="924998" y="1302657"/>
                  </a:lnTo>
                  <a:lnTo>
                    <a:pt x="925331" y="1303807"/>
                  </a:lnTo>
                  <a:lnTo>
                    <a:pt x="925452" y="1304926"/>
                  </a:lnTo>
                  <a:lnTo>
                    <a:pt x="925452" y="1305380"/>
                  </a:lnTo>
                  <a:lnTo>
                    <a:pt x="925512" y="1305773"/>
                  </a:lnTo>
                  <a:lnTo>
                    <a:pt x="925361" y="1307044"/>
                  </a:lnTo>
                  <a:lnTo>
                    <a:pt x="925422" y="1307467"/>
                  </a:lnTo>
                  <a:lnTo>
                    <a:pt x="925724" y="1307558"/>
                  </a:lnTo>
                  <a:lnTo>
                    <a:pt x="926541" y="1307376"/>
                  </a:lnTo>
                  <a:lnTo>
                    <a:pt x="926813" y="1307467"/>
                  </a:lnTo>
                  <a:lnTo>
                    <a:pt x="930141" y="1310129"/>
                  </a:lnTo>
                  <a:lnTo>
                    <a:pt x="930232" y="1310613"/>
                  </a:lnTo>
                  <a:lnTo>
                    <a:pt x="931714" y="1310069"/>
                  </a:lnTo>
                  <a:lnTo>
                    <a:pt x="933922" y="1307104"/>
                  </a:lnTo>
                  <a:lnTo>
                    <a:pt x="935435" y="1306408"/>
                  </a:lnTo>
                  <a:lnTo>
                    <a:pt x="936494" y="1307074"/>
                  </a:lnTo>
                  <a:lnTo>
                    <a:pt x="935949" y="1308496"/>
                  </a:lnTo>
                  <a:lnTo>
                    <a:pt x="934769" y="1309948"/>
                  </a:lnTo>
                  <a:lnTo>
                    <a:pt x="933983" y="1310613"/>
                  </a:lnTo>
                  <a:lnTo>
                    <a:pt x="933771" y="1311188"/>
                  </a:lnTo>
                  <a:lnTo>
                    <a:pt x="933589" y="1312489"/>
                  </a:lnTo>
                  <a:lnTo>
                    <a:pt x="933529" y="1313911"/>
                  </a:lnTo>
                  <a:lnTo>
                    <a:pt x="933680" y="1314818"/>
                  </a:lnTo>
                  <a:lnTo>
                    <a:pt x="934316" y="1315060"/>
                  </a:lnTo>
                  <a:lnTo>
                    <a:pt x="935102" y="1314727"/>
                  </a:lnTo>
                  <a:lnTo>
                    <a:pt x="935707" y="1314213"/>
                  </a:lnTo>
                  <a:lnTo>
                    <a:pt x="935707" y="1313850"/>
                  </a:lnTo>
                  <a:lnTo>
                    <a:pt x="938309" y="1314909"/>
                  </a:lnTo>
                  <a:lnTo>
                    <a:pt x="939549" y="1315151"/>
                  </a:lnTo>
                  <a:lnTo>
                    <a:pt x="940608" y="1314818"/>
                  </a:lnTo>
                  <a:lnTo>
                    <a:pt x="947021" y="1311279"/>
                  </a:lnTo>
                  <a:lnTo>
                    <a:pt x="948594" y="1309433"/>
                  </a:lnTo>
                  <a:lnTo>
                    <a:pt x="952134" y="1307074"/>
                  </a:lnTo>
                  <a:lnTo>
                    <a:pt x="952557" y="1307225"/>
                  </a:lnTo>
                  <a:lnTo>
                    <a:pt x="952860" y="1307104"/>
                  </a:lnTo>
                  <a:lnTo>
                    <a:pt x="952950" y="1305864"/>
                  </a:lnTo>
                  <a:lnTo>
                    <a:pt x="952950" y="1304745"/>
                  </a:lnTo>
                  <a:lnTo>
                    <a:pt x="953011" y="1304109"/>
                  </a:lnTo>
                  <a:lnTo>
                    <a:pt x="953192" y="1303716"/>
                  </a:lnTo>
                  <a:lnTo>
                    <a:pt x="953555" y="1303202"/>
                  </a:lnTo>
                  <a:lnTo>
                    <a:pt x="955492" y="1301205"/>
                  </a:lnTo>
                  <a:lnTo>
                    <a:pt x="957881" y="1299481"/>
                  </a:lnTo>
                  <a:lnTo>
                    <a:pt x="960423" y="1298301"/>
                  </a:lnTo>
                  <a:lnTo>
                    <a:pt x="962903" y="1297877"/>
                  </a:lnTo>
                  <a:lnTo>
                    <a:pt x="965323" y="1296607"/>
                  </a:lnTo>
                  <a:lnTo>
                    <a:pt x="968802" y="1290556"/>
                  </a:lnTo>
                  <a:lnTo>
                    <a:pt x="970859" y="1288469"/>
                  </a:lnTo>
                  <a:lnTo>
                    <a:pt x="969649" y="1287592"/>
                  </a:lnTo>
                  <a:lnTo>
                    <a:pt x="968258" y="1287289"/>
                  </a:lnTo>
                  <a:lnTo>
                    <a:pt x="965323" y="1287411"/>
                  </a:lnTo>
                  <a:lnTo>
                    <a:pt x="964869" y="1287229"/>
                  </a:lnTo>
                  <a:lnTo>
                    <a:pt x="963599" y="1286442"/>
                  </a:lnTo>
                  <a:lnTo>
                    <a:pt x="962903" y="1286261"/>
                  </a:lnTo>
                  <a:lnTo>
                    <a:pt x="962328" y="1286624"/>
                  </a:lnTo>
                  <a:lnTo>
                    <a:pt x="961421" y="1288137"/>
                  </a:lnTo>
                  <a:lnTo>
                    <a:pt x="960816" y="1288500"/>
                  </a:lnTo>
                  <a:lnTo>
                    <a:pt x="959575" y="1288651"/>
                  </a:lnTo>
                  <a:lnTo>
                    <a:pt x="957276" y="1289316"/>
                  </a:lnTo>
                  <a:lnTo>
                    <a:pt x="956006" y="1289467"/>
                  </a:lnTo>
                  <a:lnTo>
                    <a:pt x="954735" y="1289165"/>
                  </a:lnTo>
                  <a:lnTo>
                    <a:pt x="954312" y="1288318"/>
                  </a:lnTo>
                  <a:lnTo>
                    <a:pt x="954130" y="1287017"/>
                  </a:lnTo>
                  <a:lnTo>
                    <a:pt x="953586" y="1285232"/>
                  </a:lnTo>
                  <a:lnTo>
                    <a:pt x="952013" y="1283478"/>
                  </a:lnTo>
                  <a:lnTo>
                    <a:pt x="951922" y="1283115"/>
                  </a:lnTo>
                  <a:lnTo>
                    <a:pt x="951559" y="1282721"/>
                  </a:lnTo>
                  <a:lnTo>
                    <a:pt x="951559" y="1281784"/>
                  </a:lnTo>
                  <a:lnTo>
                    <a:pt x="951710" y="1280725"/>
                  </a:lnTo>
                  <a:lnTo>
                    <a:pt x="951589" y="1279938"/>
                  </a:lnTo>
                  <a:lnTo>
                    <a:pt x="951045" y="1279938"/>
                  </a:lnTo>
                  <a:lnTo>
                    <a:pt x="949593" y="1279152"/>
                  </a:lnTo>
                  <a:lnTo>
                    <a:pt x="948352" y="1278275"/>
                  </a:lnTo>
                  <a:lnTo>
                    <a:pt x="948443" y="1277851"/>
                  </a:lnTo>
                  <a:lnTo>
                    <a:pt x="948110" y="1277004"/>
                  </a:lnTo>
                  <a:close/>
                  <a:moveTo>
                    <a:pt x="807532" y="1142204"/>
                  </a:moveTo>
                  <a:lnTo>
                    <a:pt x="807864" y="1143474"/>
                  </a:lnTo>
                  <a:lnTo>
                    <a:pt x="808651" y="1143656"/>
                  </a:lnTo>
                  <a:lnTo>
                    <a:pt x="809559" y="1143262"/>
                  </a:lnTo>
                  <a:lnTo>
                    <a:pt x="810254" y="1142809"/>
                  </a:lnTo>
                  <a:lnTo>
                    <a:pt x="810950" y="1139572"/>
                  </a:lnTo>
                  <a:lnTo>
                    <a:pt x="811404" y="1139420"/>
                  </a:lnTo>
                  <a:lnTo>
                    <a:pt x="812554" y="1139693"/>
                  </a:lnTo>
                  <a:lnTo>
                    <a:pt x="813007" y="1139572"/>
                  </a:lnTo>
                  <a:lnTo>
                    <a:pt x="816335" y="1136395"/>
                  </a:lnTo>
                  <a:lnTo>
                    <a:pt x="818997" y="1132795"/>
                  </a:lnTo>
                  <a:lnTo>
                    <a:pt x="820237" y="1128228"/>
                  </a:lnTo>
                  <a:lnTo>
                    <a:pt x="819239" y="1122207"/>
                  </a:lnTo>
                  <a:lnTo>
                    <a:pt x="816305" y="1119303"/>
                  </a:lnTo>
                  <a:lnTo>
                    <a:pt x="812039" y="1120422"/>
                  </a:lnTo>
                  <a:lnTo>
                    <a:pt x="807411" y="1122964"/>
                  </a:lnTo>
                  <a:lnTo>
                    <a:pt x="803327" y="1124355"/>
                  </a:lnTo>
                  <a:lnTo>
                    <a:pt x="804416" y="1122691"/>
                  </a:lnTo>
                  <a:lnTo>
                    <a:pt x="808076" y="1119969"/>
                  </a:lnTo>
                  <a:lnTo>
                    <a:pt x="808863" y="1118456"/>
                  </a:lnTo>
                  <a:lnTo>
                    <a:pt x="811676" y="1110167"/>
                  </a:lnTo>
                  <a:lnTo>
                    <a:pt x="810920" y="1109169"/>
                  </a:lnTo>
                  <a:lnTo>
                    <a:pt x="811434" y="1108141"/>
                  </a:lnTo>
                  <a:lnTo>
                    <a:pt x="811555" y="1107687"/>
                  </a:lnTo>
                  <a:lnTo>
                    <a:pt x="811676" y="1107021"/>
                  </a:lnTo>
                  <a:lnTo>
                    <a:pt x="810375" y="1106628"/>
                  </a:lnTo>
                  <a:lnTo>
                    <a:pt x="809770" y="1105266"/>
                  </a:lnTo>
                  <a:lnTo>
                    <a:pt x="809770" y="1103421"/>
                  </a:lnTo>
                  <a:lnTo>
                    <a:pt x="810224" y="1101515"/>
                  </a:lnTo>
                  <a:lnTo>
                    <a:pt x="807169" y="1099942"/>
                  </a:lnTo>
                  <a:lnTo>
                    <a:pt x="807804" y="1099216"/>
                  </a:lnTo>
                  <a:lnTo>
                    <a:pt x="810012" y="1098823"/>
                  </a:lnTo>
                  <a:lnTo>
                    <a:pt x="811646" y="1098248"/>
                  </a:lnTo>
                  <a:lnTo>
                    <a:pt x="810496" y="1097341"/>
                  </a:lnTo>
                  <a:lnTo>
                    <a:pt x="806745" y="1097068"/>
                  </a:lnTo>
                  <a:lnTo>
                    <a:pt x="805989" y="1096554"/>
                  </a:lnTo>
                  <a:lnTo>
                    <a:pt x="805112" y="1095737"/>
                  </a:lnTo>
                  <a:lnTo>
                    <a:pt x="803992" y="1095072"/>
                  </a:lnTo>
                  <a:lnTo>
                    <a:pt x="802570" y="1095011"/>
                  </a:lnTo>
                  <a:lnTo>
                    <a:pt x="803539" y="1094043"/>
                  </a:lnTo>
                  <a:lnTo>
                    <a:pt x="804416" y="1092682"/>
                  </a:lnTo>
                  <a:lnTo>
                    <a:pt x="804688" y="1091109"/>
                  </a:lnTo>
                  <a:lnTo>
                    <a:pt x="803962" y="1089566"/>
                  </a:lnTo>
                  <a:lnTo>
                    <a:pt x="803962" y="1088447"/>
                  </a:lnTo>
                  <a:lnTo>
                    <a:pt x="806987" y="1088598"/>
                  </a:lnTo>
                  <a:lnTo>
                    <a:pt x="809710" y="1090050"/>
                  </a:lnTo>
                  <a:lnTo>
                    <a:pt x="816728" y="1096221"/>
                  </a:lnTo>
                  <a:lnTo>
                    <a:pt x="818452" y="1098944"/>
                  </a:lnTo>
                  <a:lnTo>
                    <a:pt x="819511" y="1102574"/>
                  </a:lnTo>
                  <a:lnTo>
                    <a:pt x="819874" y="1107535"/>
                  </a:lnTo>
                  <a:lnTo>
                    <a:pt x="819360" y="1109925"/>
                  </a:lnTo>
                  <a:lnTo>
                    <a:pt x="817061" y="1112678"/>
                  </a:lnTo>
                  <a:lnTo>
                    <a:pt x="816395" y="1114554"/>
                  </a:lnTo>
                  <a:lnTo>
                    <a:pt x="816577" y="1116308"/>
                  </a:lnTo>
                  <a:lnTo>
                    <a:pt x="817303" y="1118093"/>
                  </a:lnTo>
                  <a:lnTo>
                    <a:pt x="818362" y="1119515"/>
                  </a:lnTo>
                  <a:lnTo>
                    <a:pt x="819572" y="1120059"/>
                  </a:lnTo>
                  <a:lnTo>
                    <a:pt x="820600" y="1123206"/>
                  </a:lnTo>
                  <a:lnTo>
                    <a:pt x="821538" y="1125414"/>
                  </a:lnTo>
                  <a:lnTo>
                    <a:pt x="822748" y="1126564"/>
                  </a:lnTo>
                  <a:lnTo>
                    <a:pt x="824140" y="1126322"/>
                  </a:lnTo>
                  <a:lnTo>
                    <a:pt x="825380" y="1124083"/>
                  </a:lnTo>
                  <a:lnTo>
                    <a:pt x="826862" y="1123327"/>
                  </a:lnTo>
                  <a:lnTo>
                    <a:pt x="825410" y="1121572"/>
                  </a:lnTo>
                  <a:lnTo>
                    <a:pt x="825925" y="1120302"/>
                  </a:lnTo>
                  <a:lnTo>
                    <a:pt x="827256" y="1119212"/>
                  </a:lnTo>
                  <a:lnTo>
                    <a:pt x="828224" y="1117972"/>
                  </a:lnTo>
                  <a:lnTo>
                    <a:pt x="828617" y="1115340"/>
                  </a:lnTo>
                  <a:lnTo>
                    <a:pt x="827921" y="1112709"/>
                  </a:lnTo>
                  <a:lnTo>
                    <a:pt x="828526" y="1110772"/>
                  </a:lnTo>
                  <a:lnTo>
                    <a:pt x="830462" y="1107989"/>
                  </a:lnTo>
                  <a:lnTo>
                    <a:pt x="830977" y="1107021"/>
                  </a:lnTo>
                  <a:lnTo>
                    <a:pt x="830977" y="1106174"/>
                  </a:lnTo>
                  <a:lnTo>
                    <a:pt x="830704" y="1105539"/>
                  </a:lnTo>
                  <a:lnTo>
                    <a:pt x="830583" y="1104662"/>
                  </a:lnTo>
                  <a:lnTo>
                    <a:pt x="831249" y="1103149"/>
                  </a:lnTo>
                  <a:lnTo>
                    <a:pt x="830614" y="1102725"/>
                  </a:lnTo>
                  <a:lnTo>
                    <a:pt x="827437" y="1098188"/>
                  </a:lnTo>
                  <a:lnTo>
                    <a:pt x="827014" y="1096010"/>
                  </a:lnTo>
                  <a:lnTo>
                    <a:pt x="826409" y="1089717"/>
                  </a:lnTo>
                  <a:lnTo>
                    <a:pt x="825713" y="1088386"/>
                  </a:lnTo>
                  <a:lnTo>
                    <a:pt x="824019" y="1087479"/>
                  </a:lnTo>
                  <a:lnTo>
                    <a:pt x="822839" y="1085179"/>
                  </a:lnTo>
                  <a:lnTo>
                    <a:pt x="821266" y="1079583"/>
                  </a:lnTo>
                  <a:lnTo>
                    <a:pt x="820994" y="1077950"/>
                  </a:lnTo>
                  <a:lnTo>
                    <a:pt x="820933" y="1076588"/>
                  </a:lnTo>
                  <a:lnTo>
                    <a:pt x="820600" y="1075650"/>
                  </a:lnTo>
                  <a:lnTo>
                    <a:pt x="819542" y="1075318"/>
                  </a:lnTo>
                  <a:lnTo>
                    <a:pt x="818574" y="1074803"/>
                  </a:lnTo>
                  <a:lnTo>
                    <a:pt x="817333" y="1072535"/>
                  </a:lnTo>
                  <a:lnTo>
                    <a:pt x="816758" y="1072020"/>
                  </a:lnTo>
                  <a:lnTo>
                    <a:pt x="804688" y="1073865"/>
                  </a:lnTo>
                  <a:lnTo>
                    <a:pt x="802480" y="1073684"/>
                  </a:lnTo>
                  <a:lnTo>
                    <a:pt x="800876" y="1072535"/>
                  </a:lnTo>
                  <a:lnTo>
                    <a:pt x="799334" y="1071990"/>
                  </a:lnTo>
                  <a:lnTo>
                    <a:pt x="797156" y="1072898"/>
                  </a:lnTo>
                  <a:lnTo>
                    <a:pt x="793707" y="1075287"/>
                  </a:lnTo>
                  <a:lnTo>
                    <a:pt x="790167" y="1076860"/>
                  </a:lnTo>
                  <a:lnTo>
                    <a:pt x="789199" y="1077889"/>
                  </a:lnTo>
                  <a:lnTo>
                    <a:pt x="786961" y="1081217"/>
                  </a:lnTo>
                  <a:lnTo>
                    <a:pt x="785842" y="1082185"/>
                  </a:lnTo>
                  <a:lnTo>
                    <a:pt x="785297" y="1083213"/>
                  </a:lnTo>
                  <a:lnTo>
                    <a:pt x="784541" y="1084000"/>
                  </a:lnTo>
                  <a:lnTo>
                    <a:pt x="783270" y="1083879"/>
                  </a:lnTo>
                  <a:lnTo>
                    <a:pt x="783028" y="1083092"/>
                  </a:lnTo>
                  <a:lnTo>
                    <a:pt x="782937" y="1081671"/>
                  </a:lnTo>
                  <a:lnTo>
                    <a:pt x="782514" y="1080279"/>
                  </a:lnTo>
                  <a:lnTo>
                    <a:pt x="781304" y="1079522"/>
                  </a:lnTo>
                  <a:lnTo>
                    <a:pt x="782605" y="1077314"/>
                  </a:lnTo>
                  <a:lnTo>
                    <a:pt x="784994" y="1073230"/>
                  </a:lnTo>
                  <a:lnTo>
                    <a:pt x="786931" y="1070840"/>
                  </a:lnTo>
                  <a:lnTo>
                    <a:pt x="789562" y="1068632"/>
                  </a:lnTo>
                  <a:lnTo>
                    <a:pt x="792285" y="1067301"/>
                  </a:lnTo>
                  <a:lnTo>
                    <a:pt x="798275" y="1065667"/>
                  </a:lnTo>
                  <a:lnTo>
                    <a:pt x="801239" y="1064306"/>
                  </a:lnTo>
                  <a:lnTo>
                    <a:pt x="803508" y="1061977"/>
                  </a:lnTo>
                  <a:lnTo>
                    <a:pt x="804960" y="1058407"/>
                  </a:lnTo>
                  <a:lnTo>
                    <a:pt x="805233" y="1053930"/>
                  </a:lnTo>
                  <a:lnTo>
                    <a:pt x="804023" y="1048848"/>
                  </a:lnTo>
                  <a:lnTo>
                    <a:pt x="802147" y="1046246"/>
                  </a:lnTo>
                  <a:lnTo>
                    <a:pt x="799031" y="1043705"/>
                  </a:lnTo>
                  <a:lnTo>
                    <a:pt x="796006" y="1042918"/>
                  </a:lnTo>
                  <a:lnTo>
                    <a:pt x="794403" y="1045671"/>
                  </a:lnTo>
                  <a:lnTo>
                    <a:pt x="800816" y="1051963"/>
                  </a:lnTo>
                  <a:lnTo>
                    <a:pt x="802631" y="1055412"/>
                  </a:lnTo>
                  <a:lnTo>
                    <a:pt x="801996" y="1055412"/>
                  </a:lnTo>
                  <a:lnTo>
                    <a:pt x="799606" y="1052054"/>
                  </a:lnTo>
                  <a:lnTo>
                    <a:pt x="796611" y="1050935"/>
                  </a:lnTo>
                  <a:lnTo>
                    <a:pt x="794070" y="1049453"/>
                  </a:lnTo>
                  <a:lnTo>
                    <a:pt x="793011" y="1045036"/>
                  </a:lnTo>
                  <a:lnTo>
                    <a:pt x="792739" y="1042707"/>
                  </a:lnTo>
                  <a:lnTo>
                    <a:pt x="792043" y="1040740"/>
                  </a:lnTo>
                  <a:lnTo>
                    <a:pt x="791136" y="1039106"/>
                  </a:lnTo>
                  <a:lnTo>
                    <a:pt x="790198" y="1037836"/>
                  </a:lnTo>
                  <a:lnTo>
                    <a:pt x="789411" y="1037019"/>
                  </a:lnTo>
                  <a:lnTo>
                    <a:pt x="787838" y="1035779"/>
                  </a:lnTo>
                  <a:lnTo>
                    <a:pt x="787203" y="1035053"/>
                  </a:lnTo>
                  <a:lnTo>
                    <a:pt x="786598" y="1033843"/>
                  </a:lnTo>
                  <a:lnTo>
                    <a:pt x="785902" y="1031241"/>
                  </a:lnTo>
                  <a:lnTo>
                    <a:pt x="785479" y="1030152"/>
                  </a:lnTo>
                  <a:lnTo>
                    <a:pt x="783452" y="1027399"/>
                  </a:lnTo>
                  <a:lnTo>
                    <a:pt x="781062" y="1025312"/>
                  </a:lnTo>
                  <a:lnTo>
                    <a:pt x="778369" y="1024011"/>
                  </a:lnTo>
                  <a:lnTo>
                    <a:pt x="775435" y="1023557"/>
                  </a:lnTo>
                  <a:lnTo>
                    <a:pt x="775223" y="1022438"/>
                  </a:lnTo>
                  <a:lnTo>
                    <a:pt x="777038" y="1016448"/>
                  </a:lnTo>
                  <a:lnTo>
                    <a:pt x="777220" y="1013544"/>
                  </a:lnTo>
                  <a:lnTo>
                    <a:pt x="776463" y="1012062"/>
                  </a:lnTo>
                  <a:lnTo>
                    <a:pt x="775163" y="1011033"/>
                  </a:lnTo>
                  <a:lnTo>
                    <a:pt x="773650" y="1010428"/>
                  </a:lnTo>
                  <a:lnTo>
                    <a:pt x="772319" y="1010247"/>
                  </a:lnTo>
                  <a:lnTo>
                    <a:pt x="770443" y="1010337"/>
                  </a:lnTo>
                  <a:lnTo>
                    <a:pt x="768538" y="1010095"/>
                  </a:lnTo>
                  <a:lnTo>
                    <a:pt x="767751" y="1008643"/>
                  </a:lnTo>
                  <a:lnTo>
                    <a:pt x="769234" y="1005164"/>
                  </a:lnTo>
                  <a:lnTo>
                    <a:pt x="769929" y="1002533"/>
                  </a:lnTo>
                  <a:lnTo>
                    <a:pt x="770292" y="993487"/>
                  </a:lnTo>
                  <a:lnTo>
                    <a:pt x="769264" y="991763"/>
                  </a:lnTo>
                  <a:lnTo>
                    <a:pt x="765543" y="987921"/>
                  </a:lnTo>
                  <a:lnTo>
                    <a:pt x="764726" y="987498"/>
                  </a:lnTo>
                  <a:lnTo>
                    <a:pt x="763879" y="986288"/>
                  </a:lnTo>
                  <a:lnTo>
                    <a:pt x="761882" y="985410"/>
                  </a:lnTo>
                  <a:lnTo>
                    <a:pt x="757920" y="984745"/>
                  </a:lnTo>
                  <a:lnTo>
                    <a:pt x="755953" y="985108"/>
                  </a:lnTo>
                  <a:lnTo>
                    <a:pt x="752141" y="986620"/>
                  </a:lnTo>
                  <a:lnTo>
                    <a:pt x="749903" y="986953"/>
                  </a:lnTo>
                  <a:lnTo>
                    <a:pt x="748269" y="986529"/>
                  </a:lnTo>
                  <a:lnTo>
                    <a:pt x="738498" y="981387"/>
                  </a:lnTo>
                  <a:lnTo>
                    <a:pt x="735957" y="980782"/>
                  </a:lnTo>
                  <a:lnTo>
                    <a:pt x="732145" y="983111"/>
                  </a:lnTo>
                  <a:lnTo>
                    <a:pt x="729725" y="982446"/>
                  </a:lnTo>
                  <a:lnTo>
                    <a:pt x="726125" y="980389"/>
                  </a:lnTo>
                  <a:lnTo>
                    <a:pt x="723887" y="980631"/>
                  </a:lnTo>
                  <a:lnTo>
                    <a:pt x="721708" y="981689"/>
                  </a:lnTo>
                  <a:lnTo>
                    <a:pt x="719772" y="983323"/>
                  </a:lnTo>
                  <a:lnTo>
                    <a:pt x="718229" y="985289"/>
                  </a:lnTo>
                  <a:lnTo>
                    <a:pt x="716535" y="986469"/>
                  </a:lnTo>
                  <a:lnTo>
                    <a:pt x="709578" y="986953"/>
                  </a:lnTo>
                  <a:lnTo>
                    <a:pt x="698112" y="991884"/>
                  </a:lnTo>
                  <a:lnTo>
                    <a:pt x="685104" y="992489"/>
                  </a:lnTo>
                  <a:lnTo>
                    <a:pt x="683108" y="991763"/>
                  </a:lnTo>
                  <a:lnTo>
                    <a:pt x="678782" y="989041"/>
                  </a:lnTo>
                  <a:lnTo>
                    <a:pt x="677178" y="989161"/>
                  </a:lnTo>
                  <a:lnTo>
                    <a:pt x="676573" y="991430"/>
                  </a:lnTo>
                  <a:lnTo>
                    <a:pt x="675938" y="998751"/>
                  </a:lnTo>
                  <a:lnTo>
                    <a:pt x="674788" y="1000324"/>
                  </a:lnTo>
                  <a:lnTo>
                    <a:pt x="673639" y="1001474"/>
                  </a:lnTo>
                  <a:lnTo>
                    <a:pt x="672429" y="1004136"/>
                  </a:lnTo>
                  <a:lnTo>
                    <a:pt x="671642" y="1007070"/>
                  </a:lnTo>
                  <a:lnTo>
                    <a:pt x="671703" y="1009158"/>
                  </a:lnTo>
                  <a:lnTo>
                    <a:pt x="670220" y="1010156"/>
                  </a:lnTo>
                  <a:lnTo>
                    <a:pt x="668012" y="1012788"/>
                  </a:lnTo>
                  <a:lnTo>
                    <a:pt x="666863" y="1013574"/>
                  </a:lnTo>
                  <a:lnTo>
                    <a:pt x="663414" y="1014059"/>
                  </a:lnTo>
                  <a:lnTo>
                    <a:pt x="659935" y="1013574"/>
                  </a:lnTo>
                  <a:lnTo>
                    <a:pt x="655549" y="1011457"/>
                  </a:lnTo>
                  <a:lnTo>
                    <a:pt x="653734" y="1011275"/>
                  </a:lnTo>
                  <a:lnTo>
                    <a:pt x="649166" y="1012546"/>
                  </a:lnTo>
                  <a:lnTo>
                    <a:pt x="647562" y="1012485"/>
                  </a:lnTo>
                  <a:lnTo>
                    <a:pt x="648530" y="1009491"/>
                  </a:lnTo>
                  <a:lnTo>
                    <a:pt x="648530" y="1009491"/>
                  </a:lnTo>
                  <a:lnTo>
                    <a:pt x="646564" y="1010156"/>
                  </a:lnTo>
                  <a:lnTo>
                    <a:pt x="645687" y="1011184"/>
                  </a:lnTo>
                  <a:lnTo>
                    <a:pt x="644900" y="1012334"/>
                  </a:lnTo>
                  <a:lnTo>
                    <a:pt x="644083" y="1013181"/>
                  </a:lnTo>
                  <a:lnTo>
                    <a:pt x="637670" y="1014089"/>
                  </a:lnTo>
                  <a:lnTo>
                    <a:pt x="636460" y="1014966"/>
                  </a:lnTo>
                  <a:lnTo>
                    <a:pt x="635462" y="1016025"/>
                  </a:lnTo>
                  <a:lnTo>
                    <a:pt x="632618" y="1020109"/>
                  </a:lnTo>
                  <a:lnTo>
                    <a:pt x="633042" y="1021500"/>
                  </a:lnTo>
                  <a:lnTo>
                    <a:pt x="632769" y="1021772"/>
                  </a:lnTo>
                  <a:lnTo>
                    <a:pt x="632225" y="1021954"/>
                  </a:lnTo>
                  <a:lnTo>
                    <a:pt x="631831" y="1023104"/>
                  </a:lnTo>
                  <a:lnTo>
                    <a:pt x="632406" y="1027218"/>
                  </a:lnTo>
                  <a:lnTo>
                    <a:pt x="632285" y="1028549"/>
                  </a:lnTo>
                  <a:lnTo>
                    <a:pt x="631559" y="1029638"/>
                  </a:lnTo>
                  <a:lnTo>
                    <a:pt x="631408" y="1029850"/>
                  </a:lnTo>
                  <a:lnTo>
                    <a:pt x="629411" y="1030636"/>
                  </a:lnTo>
                  <a:lnTo>
                    <a:pt x="628595" y="1031634"/>
                  </a:lnTo>
                  <a:lnTo>
                    <a:pt x="628231" y="1033540"/>
                  </a:lnTo>
                  <a:lnTo>
                    <a:pt x="628655" y="1037624"/>
                  </a:lnTo>
                  <a:lnTo>
                    <a:pt x="628655" y="1039288"/>
                  </a:lnTo>
                  <a:lnTo>
                    <a:pt x="627627" y="1042737"/>
                  </a:lnTo>
                  <a:lnTo>
                    <a:pt x="626023" y="1045580"/>
                  </a:lnTo>
                  <a:lnTo>
                    <a:pt x="618733" y="1053960"/>
                  </a:lnTo>
                  <a:lnTo>
                    <a:pt x="618097" y="1056108"/>
                  </a:lnTo>
                  <a:lnTo>
                    <a:pt x="617916" y="1060101"/>
                  </a:lnTo>
                  <a:lnTo>
                    <a:pt x="618249" y="1061311"/>
                  </a:lnTo>
                  <a:lnTo>
                    <a:pt x="618793" y="1061856"/>
                  </a:lnTo>
                  <a:lnTo>
                    <a:pt x="618793" y="1062188"/>
                  </a:lnTo>
                  <a:lnTo>
                    <a:pt x="617492" y="1062733"/>
                  </a:lnTo>
                  <a:lnTo>
                    <a:pt x="616434" y="1062673"/>
                  </a:lnTo>
                  <a:lnTo>
                    <a:pt x="614558" y="1061705"/>
                  </a:lnTo>
                  <a:lnTo>
                    <a:pt x="611533" y="1062551"/>
                  </a:lnTo>
                  <a:lnTo>
                    <a:pt x="608084" y="1061674"/>
                  </a:lnTo>
                  <a:lnTo>
                    <a:pt x="606299" y="1062642"/>
                  </a:lnTo>
                  <a:lnTo>
                    <a:pt x="602790" y="1065819"/>
                  </a:lnTo>
                  <a:lnTo>
                    <a:pt x="599341" y="1067634"/>
                  </a:lnTo>
                  <a:lnTo>
                    <a:pt x="595923" y="1067876"/>
                  </a:lnTo>
                  <a:lnTo>
                    <a:pt x="592595" y="1066242"/>
                  </a:lnTo>
                  <a:lnTo>
                    <a:pt x="589721" y="1063943"/>
                  </a:lnTo>
                  <a:lnTo>
                    <a:pt x="588330" y="1063883"/>
                  </a:lnTo>
                  <a:lnTo>
                    <a:pt x="584881" y="1067089"/>
                  </a:lnTo>
                  <a:lnTo>
                    <a:pt x="579890" y="1069388"/>
                  </a:lnTo>
                  <a:lnTo>
                    <a:pt x="581554" y="1070659"/>
                  </a:lnTo>
                  <a:lnTo>
                    <a:pt x="582189" y="1070992"/>
                  </a:lnTo>
                  <a:lnTo>
                    <a:pt x="581402" y="1073382"/>
                  </a:lnTo>
                  <a:lnTo>
                    <a:pt x="582219" y="1075045"/>
                  </a:lnTo>
                  <a:lnTo>
                    <a:pt x="583883" y="1076044"/>
                  </a:lnTo>
                  <a:lnTo>
                    <a:pt x="585638" y="1076497"/>
                  </a:lnTo>
                  <a:lnTo>
                    <a:pt x="586485" y="1077012"/>
                  </a:lnTo>
                  <a:lnTo>
                    <a:pt x="587513" y="1079039"/>
                  </a:lnTo>
                  <a:lnTo>
                    <a:pt x="588300" y="1079825"/>
                  </a:lnTo>
                  <a:lnTo>
                    <a:pt x="589147" y="1079825"/>
                  </a:lnTo>
                  <a:lnTo>
                    <a:pt x="590690" y="1078766"/>
                  </a:lnTo>
                  <a:lnTo>
                    <a:pt x="591446" y="1078555"/>
                  </a:lnTo>
                  <a:lnTo>
                    <a:pt x="592837" y="1079311"/>
                  </a:lnTo>
                  <a:lnTo>
                    <a:pt x="596074" y="1082003"/>
                  </a:lnTo>
                  <a:lnTo>
                    <a:pt x="597647" y="1082578"/>
                  </a:lnTo>
                  <a:lnTo>
                    <a:pt x="599341" y="1081822"/>
                  </a:lnTo>
                  <a:lnTo>
                    <a:pt x="600915" y="1080763"/>
                  </a:lnTo>
                  <a:lnTo>
                    <a:pt x="601973" y="1081005"/>
                  </a:lnTo>
                  <a:lnTo>
                    <a:pt x="602246" y="1084121"/>
                  </a:lnTo>
                  <a:lnTo>
                    <a:pt x="602246" y="1084121"/>
                  </a:lnTo>
                  <a:lnTo>
                    <a:pt x="602246" y="1084212"/>
                  </a:lnTo>
                  <a:lnTo>
                    <a:pt x="598101" y="1085482"/>
                  </a:lnTo>
                  <a:lnTo>
                    <a:pt x="588088" y="1094285"/>
                  </a:lnTo>
                  <a:lnTo>
                    <a:pt x="584216" y="1095677"/>
                  </a:lnTo>
                  <a:lnTo>
                    <a:pt x="580253" y="1095526"/>
                  </a:lnTo>
                  <a:lnTo>
                    <a:pt x="572630" y="1093892"/>
                  </a:lnTo>
                  <a:lnTo>
                    <a:pt x="570512" y="1096070"/>
                  </a:lnTo>
                  <a:lnTo>
                    <a:pt x="568485" y="1098853"/>
                  </a:lnTo>
                  <a:lnTo>
                    <a:pt x="567245" y="1101183"/>
                  </a:lnTo>
                  <a:lnTo>
                    <a:pt x="566730" y="1101848"/>
                  </a:lnTo>
                  <a:lnTo>
                    <a:pt x="565581" y="1102847"/>
                  </a:lnTo>
                  <a:lnTo>
                    <a:pt x="563100" y="1104208"/>
                  </a:lnTo>
                  <a:lnTo>
                    <a:pt x="557746" y="1105660"/>
                  </a:lnTo>
                  <a:lnTo>
                    <a:pt x="555900" y="1106598"/>
                  </a:lnTo>
                  <a:lnTo>
                    <a:pt x="555356" y="1106870"/>
                  </a:lnTo>
                  <a:lnTo>
                    <a:pt x="556626" y="1107959"/>
                  </a:lnTo>
                  <a:lnTo>
                    <a:pt x="556929" y="1109199"/>
                  </a:lnTo>
                  <a:lnTo>
                    <a:pt x="557141" y="1110470"/>
                  </a:lnTo>
                  <a:lnTo>
                    <a:pt x="558109" y="1111801"/>
                  </a:lnTo>
                  <a:lnTo>
                    <a:pt x="560499" y="1114281"/>
                  </a:lnTo>
                  <a:lnTo>
                    <a:pt x="564764" y="1119848"/>
                  </a:lnTo>
                  <a:lnTo>
                    <a:pt x="567124" y="1122117"/>
                  </a:lnTo>
                  <a:lnTo>
                    <a:pt x="569665" y="1123387"/>
                  </a:lnTo>
                  <a:lnTo>
                    <a:pt x="572599" y="1123387"/>
                  </a:lnTo>
                  <a:lnTo>
                    <a:pt x="574717" y="1128379"/>
                  </a:lnTo>
                  <a:lnTo>
                    <a:pt x="576018" y="1130647"/>
                  </a:lnTo>
                  <a:lnTo>
                    <a:pt x="577742" y="1132432"/>
                  </a:lnTo>
                  <a:lnTo>
                    <a:pt x="578619" y="1132765"/>
                  </a:lnTo>
                  <a:lnTo>
                    <a:pt x="579406" y="1133037"/>
                  </a:lnTo>
                  <a:lnTo>
                    <a:pt x="583338" y="1133582"/>
                  </a:lnTo>
                  <a:lnTo>
                    <a:pt x="584821" y="1134641"/>
                  </a:lnTo>
                  <a:lnTo>
                    <a:pt x="585486" y="1137152"/>
                  </a:lnTo>
                  <a:lnTo>
                    <a:pt x="585879" y="1144140"/>
                  </a:lnTo>
                  <a:lnTo>
                    <a:pt x="587211" y="1146590"/>
                  </a:lnTo>
                  <a:lnTo>
                    <a:pt x="589177" y="1147709"/>
                  </a:lnTo>
                  <a:lnTo>
                    <a:pt x="594713" y="1148405"/>
                  </a:lnTo>
                  <a:lnTo>
                    <a:pt x="600703" y="1148042"/>
                  </a:lnTo>
                  <a:lnTo>
                    <a:pt x="602488" y="1148344"/>
                  </a:lnTo>
                  <a:lnTo>
                    <a:pt x="609748" y="1153366"/>
                  </a:lnTo>
                  <a:lnTo>
                    <a:pt x="610474" y="1154364"/>
                  </a:lnTo>
                  <a:lnTo>
                    <a:pt x="610625" y="1155756"/>
                  </a:lnTo>
                  <a:lnTo>
                    <a:pt x="610958" y="1157087"/>
                  </a:lnTo>
                  <a:lnTo>
                    <a:pt x="612138" y="1157904"/>
                  </a:lnTo>
                  <a:lnTo>
                    <a:pt x="622877" y="1160233"/>
                  </a:lnTo>
                  <a:lnTo>
                    <a:pt x="625055" y="1159840"/>
                  </a:lnTo>
                  <a:lnTo>
                    <a:pt x="629200" y="1156815"/>
                  </a:lnTo>
                  <a:lnTo>
                    <a:pt x="631710" y="1156997"/>
                  </a:lnTo>
                  <a:lnTo>
                    <a:pt x="630591" y="1158358"/>
                  </a:lnTo>
                  <a:lnTo>
                    <a:pt x="630954" y="1158600"/>
                  </a:lnTo>
                  <a:lnTo>
                    <a:pt x="631953" y="1158449"/>
                  </a:lnTo>
                  <a:lnTo>
                    <a:pt x="632799" y="1158660"/>
                  </a:lnTo>
                  <a:lnTo>
                    <a:pt x="633525" y="1160052"/>
                  </a:lnTo>
                  <a:lnTo>
                    <a:pt x="633707" y="1160748"/>
                  </a:lnTo>
                  <a:lnTo>
                    <a:pt x="634161" y="1160869"/>
                  </a:lnTo>
                  <a:lnTo>
                    <a:pt x="635643" y="1160536"/>
                  </a:lnTo>
                  <a:lnTo>
                    <a:pt x="640514" y="1162048"/>
                  </a:lnTo>
                  <a:lnTo>
                    <a:pt x="641572" y="1161958"/>
                  </a:lnTo>
                  <a:lnTo>
                    <a:pt x="642178" y="1161897"/>
                  </a:lnTo>
                  <a:lnTo>
                    <a:pt x="639878" y="1157480"/>
                  </a:lnTo>
                  <a:lnTo>
                    <a:pt x="639878" y="1156422"/>
                  </a:lnTo>
                  <a:lnTo>
                    <a:pt x="640604" y="1155605"/>
                  </a:lnTo>
                  <a:lnTo>
                    <a:pt x="643660" y="1153941"/>
                  </a:lnTo>
                  <a:lnTo>
                    <a:pt x="644023" y="1154335"/>
                  </a:lnTo>
                  <a:lnTo>
                    <a:pt x="643720" y="1155454"/>
                  </a:lnTo>
                  <a:lnTo>
                    <a:pt x="643569" y="1156876"/>
                  </a:lnTo>
                  <a:lnTo>
                    <a:pt x="643569" y="1158691"/>
                  </a:lnTo>
                  <a:lnTo>
                    <a:pt x="643478" y="1160143"/>
                  </a:lnTo>
                  <a:lnTo>
                    <a:pt x="643841" y="1160748"/>
                  </a:lnTo>
                  <a:lnTo>
                    <a:pt x="645233" y="1160082"/>
                  </a:lnTo>
                  <a:lnTo>
                    <a:pt x="646171" y="1159114"/>
                  </a:lnTo>
                  <a:lnTo>
                    <a:pt x="646897" y="1157753"/>
                  </a:lnTo>
                  <a:lnTo>
                    <a:pt x="647169" y="1156119"/>
                  </a:lnTo>
                  <a:lnTo>
                    <a:pt x="646715" y="1154546"/>
                  </a:lnTo>
                  <a:lnTo>
                    <a:pt x="648681" y="1153608"/>
                  </a:lnTo>
                  <a:lnTo>
                    <a:pt x="648561" y="1152792"/>
                  </a:lnTo>
                  <a:lnTo>
                    <a:pt x="647623" y="1152035"/>
                  </a:lnTo>
                  <a:lnTo>
                    <a:pt x="647139" y="1151400"/>
                  </a:lnTo>
                  <a:lnTo>
                    <a:pt x="647713" y="1149827"/>
                  </a:lnTo>
                  <a:lnTo>
                    <a:pt x="648349" y="1148798"/>
                  </a:lnTo>
                  <a:lnTo>
                    <a:pt x="649196" y="1148042"/>
                  </a:lnTo>
                  <a:lnTo>
                    <a:pt x="650345" y="1147225"/>
                  </a:lnTo>
                  <a:lnTo>
                    <a:pt x="655851" y="1145864"/>
                  </a:lnTo>
                  <a:lnTo>
                    <a:pt x="657999" y="1144563"/>
                  </a:lnTo>
                  <a:lnTo>
                    <a:pt x="657364" y="1141961"/>
                  </a:lnTo>
                  <a:lnTo>
                    <a:pt x="658755" y="1140177"/>
                  </a:lnTo>
                  <a:lnTo>
                    <a:pt x="655186" y="1137393"/>
                  </a:lnTo>
                  <a:lnTo>
                    <a:pt x="655791" y="1135185"/>
                  </a:lnTo>
                  <a:lnTo>
                    <a:pt x="652433" y="1133642"/>
                  </a:lnTo>
                  <a:lnTo>
                    <a:pt x="652191" y="1131918"/>
                  </a:lnTo>
                  <a:lnTo>
                    <a:pt x="652675" y="1131827"/>
                  </a:lnTo>
                  <a:lnTo>
                    <a:pt x="653431" y="1132039"/>
                  </a:lnTo>
                  <a:lnTo>
                    <a:pt x="653975" y="1131404"/>
                  </a:lnTo>
                  <a:lnTo>
                    <a:pt x="654097" y="1131404"/>
                  </a:lnTo>
                  <a:lnTo>
                    <a:pt x="654883" y="1129952"/>
                  </a:lnTo>
                  <a:lnTo>
                    <a:pt x="654883" y="1129861"/>
                  </a:lnTo>
                  <a:lnTo>
                    <a:pt x="654581" y="1129619"/>
                  </a:lnTo>
                  <a:lnTo>
                    <a:pt x="654187" y="1128802"/>
                  </a:lnTo>
                  <a:lnTo>
                    <a:pt x="653945" y="1127834"/>
                  </a:lnTo>
                  <a:lnTo>
                    <a:pt x="654097" y="1127108"/>
                  </a:lnTo>
                  <a:lnTo>
                    <a:pt x="654399" y="1126957"/>
                  </a:lnTo>
                  <a:lnTo>
                    <a:pt x="654792" y="1126775"/>
                  </a:lnTo>
                  <a:lnTo>
                    <a:pt x="656577" y="1127078"/>
                  </a:lnTo>
                  <a:lnTo>
                    <a:pt x="657394" y="1127078"/>
                  </a:lnTo>
                  <a:lnTo>
                    <a:pt x="660691" y="1124749"/>
                  </a:lnTo>
                  <a:lnTo>
                    <a:pt x="665562" y="1117639"/>
                  </a:lnTo>
                  <a:lnTo>
                    <a:pt x="668526" y="1114947"/>
                  </a:lnTo>
                  <a:lnTo>
                    <a:pt x="671673" y="1114675"/>
                  </a:lnTo>
                  <a:lnTo>
                    <a:pt x="675061" y="1116278"/>
                  </a:lnTo>
                  <a:lnTo>
                    <a:pt x="681293" y="1121088"/>
                  </a:lnTo>
                  <a:lnTo>
                    <a:pt x="681988" y="1122177"/>
                  </a:lnTo>
                  <a:lnTo>
                    <a:pt x="682896" y="1124839"/>
                  </a:lnTo>
                  <a:lnTo>
                    <a:pt x="683713" y="1125293"/>
                  </a:lnTo>
                  <a:lnTo>
                    <a:pt x="684923" y="1125384"/>
                  </a:lnTo>
                  <a:lnTo>
                    <a:pt x="685558" y="1126019"/>
                  </a:lnTo>
                  <a:lnTo>
                    <a:pt x="686526" y="1128500"/>
                  </a:lnTo>
                  <a:lnTo>
                    <a:pt x="687706" y="1131464"/>
                  </a:lnTo>
                  <a:lnTo>
                    <a:pt x="687887" y="1133763"/>
                  </a:lnTo>
                  <a:lnTo>
                    <a:pt x="687071" y="1135367"/>
                  </a:lnTo>
                  <a:lnTo>
                    <a:pt x="685316" y="1136244"/>
                  </a:lnTo>
                  <a:lnTo>
                    <a:pt x="688886" y="1137968"/>
                  </a:lnTo>
                  <a:lnTo>
                    <a:pt x="689793" y="1138906"/>
                  </a:lnTo>
                  <a:lnTo>
                    <a:pt x="690247" y="1140237"/>
                  </a:lnTo>
                  <a:lnTo>
                    <a:pt x="690610" y="1141780"/>
                  </a:lnTo>
                  <a:lnTo>
                    <a:pt x="691185" y="1143353"/>
                  </a:lnTo>
                  <a:lnTo>
                    <a:pt x="692849" y="1145894"/>
                  </a:lnTo>
                  <a:lnTo>
                    <a:pt x="694815" y="1148012"/>
                  </a:lnTo>
                  <a:lnTo>
                    <a:pt x="696963" y="1149676"/>
                  </a:lnTo>
                  <a:lnTo>
                    <a:pt x="699141" y="1150946"/>
                  </a:lnTo>
                  <a:lnTo>
                    <a:pt x="700351" y="1151067"/>
                  </a:lnTo>
                  <a:lnTo>
                    <a:pt x="701168" y="1150281"/>
                  </a:lnTo>
                  <a:lnTo>
                    <a:pt x="701924" y="1149252"/>
                  </a:lnTo>
                  <a:lnTo>
                    <a:pt x="702983" y="1148647"/>
                  </a:lnTo>
                  <a:lnTo>
                    <a:pt x="704193" y="1148798"/>
                  </a:lnTo>
                  <a:lnTo>
                    <a:pt x="705282" y="1149373"/>
                  </a:lnTo>
                  <a:lnTo>
                    <a:pt x="707400" y="1151037"/>
                  </a:lnTo>
                  <a:lnTo>
                    <a:pt x="708852" y="1152640"/>
                  </a:lnTo>
                  <a:lnTo>
                    <a:pt x="709668" y="1153548"/>
                  </a:lnTo>
                  <a:lnTo>
                    <a:pt x="710243" y="1156361"/>
                  </a:lnTo>
                  <a:lnTo>
                    <a:pt x="709305" y="1159235"/>
                  </a:lnTo>
                  <a:lnTo>
                    <a:pt x="707037" y="1161927"/>
                  </a:lnTo>
                  <a:lnTo>
                    <a:pt x="708126" y="1163743"/>
                  </a:lnTo>
                  <a:lnTo>
                    <a:pt x="708005" y="1165527"/>
                  </a:lnTo>
                  <a:lnTo>
                    <a:pt x="706462" y="1169248"/>
                  </a:lnTo>
                  <a:lnTo>
                    <a:pt x="708005" y="1170398"/>
                  </a:lnTo>
                  <a:lnTo>
                    <a:pt x="710697" y="1173453"/>
                  </a:lnTo>
                  <a:lnTo>
                    <a:pt x="712119" y="1174149"/>
                  </a:lnTo>
                  <a:lnTo>
                    <a:pt x="712663" y="1173847"/>
                  </a:lnTo>
                  <a:lnTo>
                    <a:pt x="713238" y="1173030"/>
                  </a:lnTo>
                  <a:lnTo>
                    <a:pt x="713722" y="1172334"/>
                  </a:lnTo>
                  <a:lnTo>
                    <a:pt x="714236" y="1171789"/>
                  </a:lnTo>
                  <a:lnTo>
                    <a:pt x="715023" y="1171638"/>
                  </a:lnTo>
                  <a:lnTo>
                    <a:pt x="716566" y="1172243"/>
                  </a:lnTo>
                  <a:lnTo>
                    <a:pt x="717352" y="1172334"/>
                  </a:lnTo>
                  <a:lnTo>
                    <a:pt x="725944" y="1169369"/>
                  </a:lnTo>
                  <a:lnTo>
                    <a:pt x="728727" y="1169279"/>
                  </a:lnTo>
                  <a:lnTo>
                    <a:pt x="728787" y="1169551"/>
                  </a:lnTo>
                  <a:lnTo>
                    <a:pt x="729181" y="1170217"/>
                  </a:lnTo>
                  <a:lnTo>
                    <a:pt x="729786" y="1170912"/>
                  </a:lnTo>
                  <a:lnTo>
                    <a:pt x="730421" y="1171336"/>
                  </a:lnTo>
                  <a:lnTo>
                    <a:pt x="731147" y="1171336"/>
                  </a:lnTo>
                  <a:lnTo>
                    <a:pt x="733718" y="1170458"/>
                  </a:lnTo>
                  <a:lnTo>
                    <a:pt x="736078" y="1170095"/>
                  </a:lnTo>
                  <a:lnTo>
                    <a:pt x="736713" y="1169551"/>
                  </a:lnTo>
                  <a:lnTo>
                    <a:pt x="737137" y="1168220"/>
                  </a:lnTo>
                  <a:lnTo>
                    <a:pt x="737076" y="1166919"/>
                  </a:lnTo>
                  <a:lnTo>
                    <a:pt x="736895" y="1165709"/>
                  </a:lnTo>
                  <a:lnTo>
                    <a:pt x="737016" y="1164741"/>
                  </a:lnTo>
                  <a:lnTo>
                    <a:pt x="738347" y="1162623"/>
                  </a:lnTo>
                  <a:lnTo>
                    <a:pt x="739164" y="1162744"/>
                  </a:lnTo>
                  <a:lnTo>
                    <a:pt x="739920" y="1163833"/>
                  </a:lnTo>
                  <a:lnTo>
                    <a:pt x="741100" y="1164620"/>
                  </a:lnTo>
                  <a:lnTo>
                    <a:pt x="742431" y="1164348"/>
                  </a:lnTo>
                  <a:lnTo>
                    <a:pt x="743853" y="1163682"/>
                  </a:lnTo>
                  <a:lnTo>
                    <a:pt x="745365" y="1163500"/>
                  </a:lnTo>
                  <a:lnTo>
                    <a:pt x="746847" y="1164650"/>
                  </a:lnTo>
                  <a:lnTo>
                    <a:pt x="747483" y="1163591"/>
                  </a:lnTo>
                  <a:lnTo>
                    <a:pt x="749600" y="1164378"/>
                  </a:lnTo>
                  <a:lnTo>
                    <a:pt x="752626" y="1164589"/>
                  </a:lnTo>
                  <a:lnTo>
                    <a:pt x="755318" y="1165497"/>
                  </a:lnTo>
                  <a:lnTo>
                    <a:pt x="756467" y="1168401"/>
                  </a:lnTo>
                  <a:lnTo>
                    <a:pt x="757768" y="1168492"/>
                  </a:lnTo>
                  <a:lnTo>
                    <a:pt x="765482" y="1171124"/>
                  </a:lnTo>
                  <a:lnTo>
                    <a:pt x="764666" y="1171306"/>
                  </a:lnTo>
                  <a:lnTo>
                    <a:pt x="762669" y="1172213"/>
                  </a:lnTo>
                  <a:lnTo>
                    <a:pt x="762669" y="1173211"/>
                  </a:lnTo>
                  <a:lnTo>
                    <a:pt x="764423" y="1174391"/>
                  </a:lnTo>
                  <a:lnTo>
                    <a:pt x="766027" y="1174663"/>
                  </a:lnTo>
                  <a:lnTo>
                    <a:pt x="769960" y="1174361"/>
                  </a:lnTo>
                  <a:lnTo>
                    <a:pt x="771291" y="1173786"/>
                  </a:lnTo>
                  <a:lnTo>
                    <a:pt x="775556" y="1170791"/>
                  </a:lnTo>
                  <a:lnTo>
                    <a:pt x="778672" y="1167736"/>
                  </a:lnTo>
                  <a:lnTo>
                    <a:pt x="782877" y="1165739"/>
                  </a:lnTo>
                  <a:lnTo>
                    <a:pt x="784722" y="1163622"/>
                  </a:lnTo>
                  <a:lnTo>
                    <a:pt x="785781" y="1161081"/>
                  </a:lnTo>
                  <a:lnTo>
                    <a:pt x="786658" y="1157965"/>
                  </a:lnTo>
                  <a:lnTo>
                    <a:pt x="787263" y="1154698"/>
                  </a:lnTo>
                  <a:lnTo>
                    <a:pt x="787536" y="1151672"/>
                  </a:lnTo>
                  <a:lnTo>
                    <a:pt x="787536" y="1151097"/>
                  </a:lnTo>
                  <a:lnTo>
                    <a:pt x="787324" y="1145682"/>
                  </a:lnTo>
                  <a:lnTo>
                    <a:pt x="787929" y="1143776"/>
                  </a:lnTo>
                  <a:lnTo>
                    <a:pt x="789925" y="1143050"/>
                  </a:lnTo>
                  <a:lnTo>
                    <a:pt x="791892" y="1142718"/>
                  </a:lnTo>
                  <a:lnTo>
                    <a:pt x="796248" y="1141235"/>
                  </a:lnTo>
                  <a:lnTo>
                    <a:pt x="800513" y="1140842"/>
                  </a:lnTo>
                  <a:lnTo>
                    <a:pt x="806352" y="1141326"/>
                  </a:lnTo>
                  <a:lnTo>
                    <a:pt x="807592" y="1142476"/>
                  </a:lnTo>
                  <a:close/>
                  <a:moveTo>
                    <a:pt x="754592" y="976123"/>
                  </a:moveTo>
                  <a:lnTo>
                    <a:pt x="754592" y="976910"/>
                  </a:lnTo>
                  <a:lnTo>
                    <a:pt x="754410" y="978210"/>
                  </a:lnTo>
                  <a:lnTo>
                    <a:pt x="755136" y="977152"/>
                  </a:lnTo>
                  <a:lnTo>
                    <a:pt x="756074" y="975337"/>
                  </a:lnTo>
                  <a:lnTo>
                    <a:pt x="756709" y="973279"/>
                  </a:lnTo>
                  <a:lnTo>
                    <a:pt x="756467" y="971555"/>
                  </a:lnTo>
                  <a:lnTo>
                    <a:pt x="755409" y="971071"/>
                  </a:lnTo>
                  <a:lnTo>
                    <a:pt x="750205" y="970345"/>
                  </a:lnTo>
                  <a:lnTo>
                    <a:pt x="748874" y="970527"/>
                  </a:lnTo>
                  <a:lnTo>
                    <a:pt x="747695" y="970980"/>
                  </a:lnTo>
                  <a:lnTo>
                    <a:pt x="746575" y="971707"/>
                  </a:lnTo>
                  <a:lnTo>
                    <a:pt x="745456" y="972674"/>
                  </a:lnTo>
                  <a:lnTo>
                    <a:pt x="747755" y="973007"/>
                  </a:lnTo>
                  <a:lnTo>
                    <a:pt x="750266" y="972735"/>
                  </a:lnTo>
                  <a:lnTo>
                    <a:pt x="752746" y="972977"/>
                  </a:lnTo>
                  <a:lnTo>
                    <a:pt x="755076" y="974822"/>
                  </a:lnTo>
                  <a:lnTo>
                    <a:pt x="754683" y="975578"/>
                  </a:lnTo>
                  <a:lnTo>
                    <a:pt x="754561" y="976153"/>
                  </a:lnTo>
                  <a:close/>
                  <a:moveTo>
                    <a:pt x="838872" y="908632"/>
                  </a:moveTo>
                  <a:lnTo>
                    <a:pt x="836452" y="912141"/>
                  </a:lnTo>
                  <a:lnTo>
                    <a:pt x="835091" y="915681"/>
                  </a:lnTo>
                  <a:lnTo>
                    <a:pt x="834607" y="920975"/>
                  </a:lnTo>
                  <a:lnTo>
                    <a:pt x="835484" y="924907"/>
                  </a:lnTo>
                  <a:lnTo>
                    <a:pt x="837360" y="928175"/>
                  </a:lnTo>
                  <a:lnTo>
                    <a:pt x="839840" y="931442"/>
                  </a:lnTo>
                  <a:lnTo>
                    <a:pt x="839356" y="932228"/>
                  </a:lnTo>
                  <a:lnTo>
                    <a:pt x="839175" y="932743"/>
                  </a:lnTo>
                  <a:lnTo>
                    <a:pt x="838963" y="933166"/>
                  </a:lnTo>
                  <a:lnTo>
                    <a:pt x="838449" y="933589"/>
                  </a:lnTo>
                  <a:lnTo>
                    <a:pt x="838449" y="934709"/>
                  </a:lnTo>
                  <a:lnTo>
                    <a:pt x="838842" y="935949"/>
                  </a:lnTo>
                  <a:lnTo>
                    <a:pt x="839780" y="940335"/>
                  </a:lnTo>
                  <a:lnTo>
                    <a:pt x="839780" y="942514"/>
                  </a:lnTo>
                  <a:lnTo>
                    <a:pt x="843955" y="945872"/>
                  </a:lnTo>
                  <a:lnTo>
                    <a:pt x="848129" y="948292"/>
                  </a:lnTo>
                  <a:lnTo>
                    <a:pt x="852727" y="949804"/>
                  </a:lnTo>
                  <a:lnTo>
                    <a:pt x="858142" y="950319"/>
                  </a:lnTo>
                  <a:lnTo>
                    <a:pt x="862741" y="949532"/>
                  </a:lnTo>
                  <a:lnTo>
                    <a:pt x="865342" y="948504"/>
                  </a:lnTo>
                  <a:lnTo>
                    <a:pt x="866734" y="946991"/>
                  </a:lnTo>
                  <a:lnTo>
                    <a:pt x="866492" y="944329"/>
                  </a:lnTo>
                  <a:lnTo>
                    <a:pt x="865463" y="941788"/>
                  </a:lnTo>
                  <a:lnTo>
                    <a:pt x="865282" y="939640"/>
                  </a:lnTo>
                  <a:lnTo>
                    <a:pt x="867520" y="938188"/>
                  </a:lnTo>
                  <a:lnTo>
                    <a:pt x="863406" y="936464"/>
                  </a:lnTo>
                  <a:lnTo>
                    <a:pt x="862589" y="935858"/>
                  </a:lnTo>
                  <a:lnTo>
                    <a:pt x="862045" y="933680"/>
                  </a:lnTo>
                  <a:lnTo>
                    <a:pt x="862983" y="933106"/>
                  </a:lnTo>
                  <a:lnTo>
                    <a:pt x="864435" y="933045"/>
                  </a:lnTo>
                  <a:lnTo>
                    <a:pt x="865433" y="932500"/>
                  </a:lnTo>
                  <a:lnTo>
                    <a:pt x="865191" y="928840"/>
                  </a:lnTo>
                  <a:lnTo>
                    <a:pt x="860865" y="924665"/>
                  </a:lnTo>
                  <a:lnTo>
                    <a:pt x="862015" y="922457"/>
                  </a:lnTo>
                  <a:lnTo>
                    <a:pt x="859988" y="914380"/>
                  </a:lnTo>
                  <a:lnTo>
                    <a:pt x="858566" y="910901"/>
                  </a:lnTo>
                  <a:lnTo>
                    <a:pt x="856479" y="907845"/>
                  </a:lnTo>
                  <a:lnTo>
                    <a:pt x="854694" y="906303"/>
                  </a:lnTo>
                  <a:lnTo>
                    <a:pt x="848159" y="903277"/>
                  </a:lnTo>
                  <a:lnTo>
                    <a:pt x="847343" y="903126"/>
                  </a:lnTo>
                  <a:lnTo>
                    <a:pt x="844711" y="903277"/>
                  </a:lnTo>
                  <a:lnTo>
                    <a:pt x="844922" y="903852"/>
                  </a:lnTo>
                  <a:lnTo>
                    <a:pt x="845195" y="905063"/>
                  </a:lnTo>
                  <a:lnTo>
                    <a:pt x="845407" y="905637"/>
                  </a:lnTo>
                  <a:lnTo>
                    <a:pt x="842018" y="906212"/>
                  </a:lnTo>
                  <a:lnTo>
                    <a:pt x="838902" y="908753"/>
                  </a:lnTo>
                  <a:close/>
                  <a:moveTo>
                    <a:pt x="873329" y="895715"/>
                  </a:moveTo>
                  <a:lnTo>
                    <a:pt x="873450" y="894716"/>
                  </a:lnTo>
                  <a:lnTo>
                    <a:pt x="872391" y="889604"/>
                  </a:lnTo>
                  <a:lnTo>
                    <a:pt x="871695" y="887335"/>
                  </a:lnTo>
                  <a:lnTo>
                    <a:pt x="870757" y="885187"/>
                  </a:lnTo>
                  <a:lnTo>
                    <a:pt x="869517" y="882979"/>
                  </a:lnTo>
                  <a:lnTo>
                    <a:pt x="868670" y="882253"/>
                  </a:lnTo>
                  <a:lnTo>
                    <a:pt x="867732" y="881920"/>
                  </a:lnTo>
                  <a:lnTo>
                    <a:pt x="867006" y="881134"/>
                  </a:lnTo>
                  <a:lnTo>
                    <a:pt x="866431" y="877413"/>
                  </a:lnTo>
                  <a:lnTo>
                    <a:pt x="865766" y="876898"/>
                  </a:lnTo>
                  <a:lnTo>
                    <a:pt x="864858" y="876747"/>
                  </a:lnTo>
                  <a:lnTo>
                    <a:pt x="863951" y="876233"/>
                  </a:lnTo>
                  <a:lnTo>
                    <a:pt x="860895" y="873056"/>
                  </a:lnTo>
                  <a:lnTo>
                    <a:pt x="857779" y="870606"/>
                  </a:lnTo>
                  <a:lnTo>
                    <a:pt x="854482" y="872210"/>
                  </a:lnTo>
                  <a:lnTo>
                    <a:pt x="854361" y="874781"/>
                  </a:lnTo>
                  <a:lnTo>
                    <a:pt x="855571" y="877655"/>
                  </a:lnTo>
                  <a:lnTo>
                    <a:pt x="856358" y="880166"/>
                  </a:lnTo>
                  <a:lnTo>
                    <a:pt x="856993" y="881375"/>
                  </a:lnTo>
                  <a:lnTo>
                    <a:pt x="860472" y="883584"/>
                  </a:lnTo>
                  <a:lnTo>
                    <a:pt x="860684" y="885702"/>
                  </a:lnTo>
                  <a:lnTo>
                    <a:pt x="861863" y="890300"/>
                  </a:lnTo>
                  <a:lnTo>
                    <a:pt x="862892" y="893023"/>
                  </a:lnTo>
                  <a:lnTo>
                    <a:pt x="869457" y="898740"/>
                  </a:lnTo>
                  <a:lnTo>
                    <a:pt x="870636" y="901614"/>
                  </a:lnTo>
                  <a:lnTo>
                    <a:pt x="871604" y="903005"/>
                  </a:lnTo>
                  <a:lnTo>
                    <a:pt x="872875" y="903096"/>
                  </a:lnTo>
                  <a:lnTo>
                    <a:pt x="873540" y="902037"/>
                  </a:lnTo>
                  <a:lnTo>
                    <a:pt x="873359" y="900646"/>
                  </a:lnTo>
                  <a:lnTo>
                    <a:pt x="872572" y="899406"/>
                  </a:lnTo>
                  <a:lnTo>
                    <a:pt x="871483" y="898710"/>
                  </a:lnTo>
                  <a:lnTo>
                    <a:pt x="872542" y="896471"/>
                  </a:lnTo>
                  <a:lnTo>
                    <a:pt x="873177" y="895594"/>
                  </a:lnTo>
                  <a:close/>
                  <a:moveTo>
                    <a:pt x="760703" y="918101"/>
                  </a:moveTo>
                  <a:lnTo>
                    <a:pt x="763365" y="916740"/>
                  </a:lnTo>
                  <a:lnTo>
                    <a:pt x="765694" y="914803"/>
                  </a:lnTo>
                  <a:lnTo>
                    <a:pt x="767509" y="912262"/>
                  </a:lnTo>
                  <a:lnTo>
                    <a:pt x="768144" y="913473"/>
                  </a:lnTo>
                  <a:lnTo>
                    <a:pt x="768598" y="912141"/>
                  </a:lnTo>
                  <a:lnTo>
                    <a:pt x="769415" y="911173"/>
                  </a:lnTo>
                  <a:lnTo>
                    <a:pt x="770443" y="910477"/>
                  </a:lnTo>
                  <a:lnTo>
                    <a:pt x="771654" y="909903"/>
                  </a:lnTo>
                  <a:lnTo>
                    <a:pt x="771654" y="908874"/>
                  </a:lnTo>
                  <a:lnTo>
                    <a:pt x="771079" y="907543"/>
                  </a:lnTo>
                  <a:lnTo>
                    <a:pt x="770776" y="905879"/>
                  </a:lnTo>
                  <a:lnTo>
                    <a:pt x="770716" y="904034"/>
                  </a:lnTo>
                  <a:lnTo>
                    <a:pt x="770958" y="902158"/>
                  </a:lnTo>
                  <a:lnTo>
                    <a:pt x="769324" y="901402"/>
                  </a:lnTo>
                  <a:lnTo>
                    <a:pt x="768659" y="900797"/>
                  </a:lnTo>
                  <a:lnTo>
                    <a:pt x="768144" y="899889"/>
                  </a:lnTo>
                  <a:lnTo>
                    <a:pt x="768296" y="898891"/>
                  </a:lnTo>
                  <a:lnTo>
                    <a:pt x="768749" y="897379"/>
                  </a:lnTo>
                  <a:lnTo>
                    <a:pt x="769022" y="896017"/>
                  </a:lnTo>
                  <a:lnTo>
                    <a:pt x="768538" y="895412"/>
                  </a:lnTo>
                  <a:lnTo>
                    <a:pt x="767600" y="894868"/>
                  </a:lnTo>
                  <a:lnTo>
                    <a:pt x="766087" y="893537"/>
                  </a:lnTo>
                  <a:lnTo>
                    <a:pt x="764666" y="891873"/>
                  </a:lnTo>
                  <a:lnTo>
                    <a:pt x="764060" y="890360"/>
                  </a:lnTo>
                  <a:lnTo>
                    <a:pt x="763758" y="885369"/>
                  </a:lnTo>
                  <a:lnTo>
                    <a:pt x="762397" y="876233"/>
                  </a:lnTo>
                  <a:lnTo>
                    <a:pt x="761973" y="869215"/>
                  </a:lnTo>
                  <a:lnTo>
                    <a:pt x="761640" y="868216"/>
                  </a:lnTo>
                  <a:lnTo>
                    <a:pt x="761005" y="867581"/>
                  </a:lnTo>
                  <a:lnTo>
                    <a:pt x="760007" y="867248"/>
                  </a:lnTo>
                  <a:lnTo>
                    <a:pt x="759099" y="868277"/>
                  </a:lnTo>
                  <a:lnTo>
                    <a:pt x="757768" y="869396"/>
                  </a:lnTo>
                  <a:lnTo>
                    <a:pt x="756256" y="870273"/>
                  </a:lnTo>
                  <a:lnTo>
                    <a:pt x="754834" y="870636"/>
                  </a:lnTo>
                  <a:lnTo>
                    <a:pt x="753533" y="871332"/>
                  </a:lnTo>
                  <a:lnTo>
                    <a:pt x="751022" y="874509"/>
                  </a:lnTo>
                  <a:lnTo>
                    <a:pt x="747422" y="876475"/>
                  </a:lnTo>
                  <a:lnTo>
                    <a:pt x="744185" y="879470"/>
                  </a:lnTo>
                  <a:lnTo>
                    <a:pt x="742038" y="883130"/>
                  </a:lnTo>
                  <a:lnTo>
                    <a:pt x="742794" y="886367"/>
                  </a:lnTo>
                  <a:lnTo>
                    <a:pt x="742794" y="887486"/>
                  </a:lnTo>
                  <a:lnTo>
                    <a:pt x="741553" y="887123"/>
                  </a:lnTo>
                  <a:lnTo>
                    <a:pt x="740797" y="885913"/>
                  </a:lnTo>
                  <a:lnTo>
                    <a:pt x="740041" y="882949"/>
                  </a:lnTo>
                  <a:lnTo>
                    <a:pt x="740041" y="881920"/>
                  </a:lnTo>
                  <a:lnTo>
                    <a:pt x="741281" y="877261"/>
                  </a:lnTo>
                  <a:lnTo>
                    <a:pt x="742038" y="876203"/>
                  </a:lnTo>
                  <a:lnTo>
                    <a:pt x="740737" y="875658"/>
                  </a:lnTo>
                  <a:lnTo>
                    <a:pt x="739617" y="876475"/>
                  </a:lnTo>
                  <a:lnTo>
                    <a:pt x="738438" y="877715"/>
                  </a:lnTo>
                  <a:lnTo>
                    <a:pt x="732932" y="879984"/>
                  </a:lnTo>
                  <a:lnTo>
                    <a:pt x="729302" y="882404"/>
                  </a:lnTo>
                  <a:lnTo>
                    <a:pt x="728545" y="883705"/>
                  </a:lnTo>
                  <a:lnTo>
                    <a:pt x="728273" y="885762"/>
                  </a:lnTo>
                  <a:lnTo>
                    <a:pt x="728152" y="888333"/>
                  </a:lnTo>
                  <a:lnTo>
                    <a:pt x="727728" y="889876"/>
                  </a:lnTo>
                  <a:lnTo>
                    <a:pt x="726882" y="890905"/>
                  </a:lnTo>
                  <a:lnTo>
                    <a:pt x="725581" y="891963"/>
                  </a:lnTo>
                  <a:lnTo>
                    <a:pt x="728939" y="894202"/>
                  </a:lnTo>
                  <a:lnTo>
                    <a:pt x="724461" y="900373"/>
                  </a:lnTo>
                  <a:lnTo>
                    <a:pt x="723403" y="903066"/>
                  </a:lnTo>
                  <a:lnTo>
                    <a:pt x="723947" y="903338"/>
                  </a:lnTo>
                  <a:lnTo>
                    <a:pt x="724340" y="903974"/>
                  </a:lnTo>
                  <a:lnTo>
                    <a:pt x="724855" y="904276"/>
                  </a:lnTo>
                  <a:lnTo>
                    <a:pt x="723584" y="907180"/>
                  </a:lnTo>
                  <a:lnTo>
                    <a:pt x="723463" y="909842"/>
                  </a:lnTo>
                  <a:lnTo>
                    <a:pt x="724734" y="911415"/>
                  </a:lnTo>
                  <a:lnTo>
                    <a:pt x="727547" y="910992"/>
                  </a:lnTo>
                  <a:lnTo>
                    <a:pt x="728817" y="909661"/>
                  </a:lnTo>
                  <a:lnTo>
                    <a:pt x="731994" y="905214"/>
                  </a:lnTo>
                  <a:lnTo>
                    <a:pt x="735201" y="903126"/>
                  </a:lnTo>
                  <a:lnTo>
                    <a:pt x="736622" y="900434"/>
                  </a:lnTo>
                  <a:lnTo>
                    <a:pt x="738982" y="894747"/>
                  </a:lnTo>
                  <a:lnTo>
                    <a:pt x="741009" y="893143"/>
                  </a:lnTo>
                  <a:lnTo>
                    <a:pt x="743853" y="892720"/>
                  </a:lnTo>
                  <a:lnTo>
                    <a:pt x="746726" y="893174"/>
                  </a:lnTo>
                  <a:lnTo>
                    <a:pt x="748904" y="894172"/>
                  </a:lnTo>
                  <a:lnTo>
                    <a:pt x="744336" y="898256"/>
                  </a:lnTo>
                  <a:lnTo>
                    <a:pt x="741795" y="901281"/>
                  </a:lnTo>
                  <a:lnTo>
                    <a:pt x="741372" y="904246"/>
                  </a:lnTo>
                  <a:lnTo>
                    <a:pt x="742219" y="904306"/>
                  </a:lnTo>
                  <a:lnTo>
                    <a:pt x="746212" y="906121"/>
                  </a:lnTo>
                  <a:lnTo>
                    <a:pt x="747452" y="907513"/>
                  </a:lnTo>
                  <a:lnTo>
                    <a:pt x="749630" y="913321"/>
                  </a:lnTo>
                  <a:lnTo>
                    <a:pt x="744155" y="916225"/>
                  </a:lnTo>
                  <a:lnTo>
                    <a:pt x="741977" y="918555"/>
                  </a:lnTo>
                  <a:lnTo>
                    <a:pt x="741372" y="922275"/>
                  </a:lnTo>
                  <a:lnTo>
                    <a:pt x="742764" y="925936"/>
                  </a:lnTo>
                  <a:lnTo>
                    <a:pt x="745153" y="926722"/>
                  </a:lnTo>
                  <a:lnTo>
                    <a:pt x="747725" y="925845"/>
                  </a:lnTo>
                  <a:lnTo>
                    <a:pt x="750266" y="923909"/>
                  </a:lnTo>
                  <a:lnTo>
                    <a:pt x="751234" y="922911"/>
                  </a:lnTo>
                  <a:lnTo>
                    <a:pt x="751657" y="922275"/>
                  </a:lnTo>
                  <a:lnTo>
                    <a:pt x="752414" y="918827"/>
                  </a:lnTo>
                  <a:lnTo>
                    <a:pt x="753684" y="918192"/>
                  </a:lnTo>
                  <a:lnTo>
                    <a:pt x="757950" y="918827"/>
                  </a:lnTo>
                  <a:lnTo>
                    <a:pt x="760793" y="917980"/>
                  </a:lnTo>
                  <a:close/>
                  <a:moveTo>
                    <a:pt x="754017" y="839961"/>
                  </a:moveTo>
                  <a:lnTo>
                    <a:pt x="753261" y="840536"/>
                  </a:lnTo>
                  <a:lnTo>
                    <a:pt x="752656" y="841474"/>
                  </a:lnTo>
                  <a:lnTo>
                    <a:pt x="750568" y="844015"/>
                  </a:lnTo>
                  <a:lnTo>
                    <a:pt x="749661" y="846012"/>
                  </a:lnTo>
                  <a:lnTo>
                    <a:pt x="749147" y="848220"/>
                  </a:lnTo>
                  <a:lnTo>
                    <a:pt x="748390" y="850126"/>
                  </a:lnTo>
                  <a:lnTo>
                    <a:pt x="746817" y="851306"/>
                  </a:lnTo>
                  <a:lnTo>
                    <a:pt x="748904" y="852334"/>
                  </a:lnTo>
                  <a:lnTo>
                    <a:pt x="751688" y="852425"/>
                  </a:lnTo>
                  <a:lnTo>
                    <a:pt x="754441" y="851669"/>
                  </a:lnTo>
                  <a:lnTo>
                    <a:pt x="756437" y="850277"/>
                  </a:lnTo>
                  <a:lnTo>
                    <a:pt x="756165" y="847343"/>
                  </a:lnTo>
                  <a:lnTo>
                    <a:pt x="757314" y="844015"/>
                  </a:lnTo>
                  <a:lnTo>
                    <a:pt x="760551" y="838872"/>
                  </a:lnTo>
                  <a:lnTo>
                    <a:pt x="760067" y="836876"/>
                  </a:lnTo>
                  <a:lnTo>
                    <a:pt x="758918" y="836815"/>
                  </a:lnTo>
                  <a:lnTo>
                    <a:pt x="757345" y="837511"/>
                  </a:lnTo>
                  <a:lnTo>
                    <a:pt x="755651" y="837723"/>
                  </a:lnTo>
                  <a:lnTo>
                    <a:pt x="755923" y="838812"/>
                  </a:lnTo>
                  <a:lnTo>
                    <a:pt x="756074" y="839266"/>
                  </a:lnTo>
                  <a:lnTo>
                    <a:pt x="756377" y="839901"/>
                  </a:lnTo>
                  <a:lnTo>
                    <a:pt x="755530" y="840536"/>
                  </a:lnTo>
                  <a:lnTo>
                    <a:pt x="753957" y="839931"/>
                  </a:lnTo>
                  <a:close/>
                  <a:moveTo>
                    <a:pt x="777795" y="889725"/>
                  </a:moveTo>
                  <a:lnTo>
                    <a:pt x="778460" y="887214"/>
                  </a:lnTo>
                  <a:lnTo>
                    <a:pt x="779459" y="880861"/>
                  </a:lnTo>
                  <a:lnTo>
                    <a:pt x="780185" y="879591"/>
                  </a:lnTo>
                  <a:lnTo>
                    <a:pt x="781848" y="878774"/>
                  </a:lnTo>
                  <a:lnTo>
                    <a:pt x="784329" y="875870"/>
                  </a:lnTo>
                  <a:lnTo>
                    <a:pt x="785388" y="876233"/>
                  </a:lnTo>
                  <a:lnTo>
                    <a:pt x="787596" y="869638"/>
                  </a:lnTo>
                  <a:lnTo>
                    <a:pt x="796067" y="854119"/>
                  </a:lnTo>
                  <a:lnTo>
                    <a:pt x="800090" y="844892"/>
                  </a:lnTo>
                  <a:lnTo>
                    <a:pt x="802117" y="842956"/>
                  </a:lnTo>
                  <a:lnTo>
                    <a:pt x="803629" y="840476"/>
                  </a:lnTo>
                  <a:lnTo>
                    <a:pt x="805233" y="839023"/>
                  </a:lnTo>
                  <a:lnTo>
                    <a:pt x="805354" y="836967"/>
                  </a:lnTo>
                  <a:lnTo>
                    <a:pt x="805051" y="834698"/>
                  </a:lnTo>
                  <a:lnTo>
                    <a:pt x="804688" y="833125"/>
                  </a:lnTo>
                  <a:lnTo>
                    <a:pt x="802540" y="832187"/>
                  </a:lnTo>
                  <a:lnTo>
                    <a:pt x="799455" y="834063"/>
                  </a:lnTo>
                  <a:lnTo>
                    <a:pt x="794312" y="838903"/>
                  </a:lnTo>
                  <a:lnTo>
                    <a:pt x="786658" y="845951"/>
                  </a:lnTo>
                  <a:lnTo>
                    <a:pt x="783603" y="846829"/>
                  </a:lnTo>
                  <a:lnTo>
                    <a:pt x="781546" y="848311"/>
                  </a:lnTo>
                  <a:lnTo>
                    <a:pt x="778460" y="851820"/>
                  </a:lnTo>
                  <a:lnTo>
                    <a:pt x="775647" y="856116"/>
                  </a:lnTo>
                  <a:lnTo>
                    <a:pt x="774406" y="859897"/>
                  </a:lnTo>
                  <a:lnTo>
                    <a:pt x="775889" y="862559"/>
                  </a:lnTo>
                  <a:lnTo>
                    <a:pt x="779307" y="862438"/>
                  </a:lnTo>
                  <a:lnTo>
                    <a:pt x="782998" y="861470"/>
                  </a:lnTo>
                  <a:lnTo>
                    <a:pt x="785388" y="861531"/>
                  </a:lnTo>
                  <a:lnTo>
                    <a:pt x="782090" y="864132"/>
                  </a:lnTo>
                  <a:lnTo>
                    <a:pt x="774195" y="865554"/>
                  </a:lnTo>
                  <a:lnTo>
                    <a:pt x="771230" y="867823"/>
                  </a:lnTo>
                  <a:lnTo>
                    <a:pt x="769597" y="869457"/>
                  </a:lnTo>
                  <a:lnTo>
                    <a:pt x="767872" y="870273"/>
                  </a:lnTo>
                  <a:lnTo>
                    <a:pt x="766360" y="871423"/>
                  </a:lnTo>
                  <a:lnTo>
                    <a:pt x="765392" y="873994"/>
                  </a:lnTo>
                  <a:lnTo>
                    <a:pt x="765180" y="876868"/>
                  </a:lnTo>
                  <a:lnTo>
                    <a:pt x="766057" y="884764"/>
                  </a:lnTo>
                  <a:lnTo>
                    <a:pt x="767630" y="888938"/>
                  </a:lnTo>
                  <a:lnTo>
                    <a:pt x="771230" y="891147"/>
                  </a:lnTo>
                  <a:lnTo>
                    <a:pt x="775163" y="891389"/>
                  </a:lnTo>
                  <a:lnTo>
                    <a:pt x="777734" y="889725"/>
                  </a:lnTo>
                  <a:close/>
                  <a:moveTo>
                    <a:pt x="806080" y="825290"/>
                  </a:moveTo>
                  <a:lnTo>
                    <a:pt x="805323" y="824049"/>
                  </a:lnTo>
                  <a:lnTo>
                    <a:pt x="801905" y="826530"/>
                  </a:lnTo>
                  <a:lnTo>
                    <a:pt x="800272" y="828133"/>
                  </a:lnTo>
                  <a:lnTo>
                    <a:pt x="799182" y="830856"/>
                  </a:lnTo>
                  <a:lnTo>
                    <a:pt x="801572" y="830553"/>
                  </a:lnTo>
                  <a:lnTo>
                    <a:pt x="804688" y="829585"/>
                  </a:lnTo>
                  <a:lnTo>
                    <a:pt x="806745" y="827891"/>
                  </a:lnTo>
                  <a:lnTo>
                    <a:pt x="806019" y="825290"/>
                  </a:lnTo>
                  <a:close/>
                  <a:moveTo>
                    <a:pt x="807501" y="820661"/>
                  </a:moveTo>
                  <a:lnTo>
                    <a:pt x="809438" y="825168"/>
                  </a:lnTo>
                  <a:lnTo>
                    <a:pt x="810466" y="826197"/>
                  </a:lnTo>
                  <a:lnTo>
                    <a:pt x="811404" y="820994"/>
                  </a:lnTo>
                  <a:lnTo>
                    <a:pt x="812402" y="818573"/>
                  </a:lnTo>
                  <a:lnTo>
                    <a:pt x="813158" y="816184"/>
                  </a:lnTo>
                  <a:lnTo>
                    <a:pt x="812947" y="813824"/>
                  </a:lnTo>
                  <a:lnTo>
                    <a:pt x="812402" y="814732"/>
                  </a:lnTo>
                  <a:lnTo>
                    <a:pt x="811918" y="814822"/>
                  </a:lnTo>
                  <a:lnTo>
                    <a:pt x="811434" y="814429"/>
                  </a:lnTo>
                  <a:lnTo>
                    <a:pt x="810890" y="813854"/>
                  </a:lnTo>
                  <a:lnTo>
                    <a:pt x="809680" y="815125"/>
                  </a:lnTo>
                  <a:lnTo>
                    <a:pt x="808560" y="819088"/>
                  </a:lnTo>
                  <a:lnTo>
                    <a:pt x="807532" y="820661"/>
                  </a:lnTo>
                  <a:close/>
                  <a:moveTo>
                    <a:pt x="815185" y="805505"/>
                  </a:moveTo>
                  <a:lnTo>
                    <a:pt x="815760" y="803508"/>
                  </a:lnTo>
                  <a:lnTo>
                    <a:pt x="814429" y="804144"/>
                  </a:lnTo>
                  <a:lnTo>
                    <a:pt x="812130" y="803751"/>
                  </a:lnTo>
                  <a:lnTo>
                    <a:pt x="810890" y="804658"/>
                  </a:lnTo>
                  <a:lnTo>
                    <a:pt x="809528" y="807985"/>
                  </a:lnTo>
                  <a:lnTo>
                    <a:pt x="810194" y="810648"/>
                  </a:lnTo>
                  <a:lnTo>
                    <a:pt x="812069" y="811767"/>
                  </a:lnTo>
                  <a:lnTo>
                    <a:pt x="814369" y="810466"/>
                  </a:lnTo>
                  <a:lnTo>
                    <a:pt x="813733" y="808288"/>
                  </a:lnTo>
                  <a:lnTo>
                    <a:pt x="814278" y="806866"/>
                  </a:lnTo>
                  <a:lnTo>
                    <a:pt x="815246" y="805505"/>
                  </a:lnTo>
                  <a:close/>
                  <a:moveTo>
                    <a:pt x="820631" y="792406"/>
                  </a:moveTo>
                  <a:lnTo>
                    <a:pt x="822446" y="790470"/>
                  </a:lnTo>
                  <a:lnTo>
                    <a:pt x="823989" y="787596"/>
                  </a:lnTo>
                  <a:lnTo>
                    <a:pt x="823020" y="788534"/>
                  </a:lnTo>
                  <a:lnTo>
                    <a:pt x="821599" y="788836"/>
                  </a:lnTo>
                  <a:lnTo>
                    <a:pt x="818452" y="788715"/>
                  </a:lnTo>
                  <a:lnTo>
                    <a:pt x="816849" y="790621"/>
                  </a:lnTo>
                  <a:lnTo>
                    <a:pt x="816274" y="791711"/>
                  </a:lnTo>
                  <a:lnTo>
                    <a:pt x="815790" y="793283"/>
                  </a:lnTo>
                  <a:lnTo>
                    <a:pt x="818483" y="793374"/>
                  </a:lnTo>
                  <a:lnTo>
                    <a:pt x="820661" y="792406"/>
                  </a:lnTo>
                  <a:close/>
                  <a:moveTo>
                    <a:pt x="752565" y="779761"/>
                  </a:moveTo>
                  <a:lnTo>
                    <a:pt x="757829" y="779459"/>
                  </a:lnTo>
                  <a:lnTo>
                    <a:pt x="756770" y="777522"/>
                  </a:lnTo>
                  <a:lnTo>
                    <a:pt x="753745" y="775223"/>
                  </a:lnTo>
                  <a:lnTo>
                    <a:pt x="752293" y="773771"/>
                  </a:lnTo>
                  <a:lnTo>
                    <a:pt x="750841" y="773832"/>
                  </a:lnTo>
                  <a:lnTo>
                    <a:pt x="749570" y="774467"/>
                  </a:lnTo>
                  <a:lnTo>
                    <a:pt x="748451" y="775586"/>
                  </a:lnTo>
                  <a:lnTo>
                    <a:pt x="747422" y="777190"/>
                  </a:lnTo>
                  <a:lnTo>
                    <a:pt x="750054" y="779398"/>
                  </a:lnTo>
                  <a:lnTo>
                    <a:pt x="752565" y="779761"/>
                  </a:lnTo>
                  <a:close/>
                  <a:moveTo>
                    <a:pt x="688644" y="776918"/>
                  </a:moveTo>
                  <a:lnTo>
                    <a:pt x="690882" y="776494"/>
                  </a:lnTo>
                  <a:lnTo>
                    <a:pt x="692879" y="774891"/>
                  </a:lnTo>
                  <a:lnTo>
                    <a:pt x="693060" y="772077"/>
                  </a:lnTo>
                  <a:lnTo>
                    <a:pt x="699141" y="771381"/>
                  </a:lnTo>
                  <a:lnTo>
                    <a:pt x="700563" y="769264"/>
                  </a:lnTo>
                  <a:lnTo>
                    <a:pt x="699292" y="766330"/>
                  </a:lnTo>
                  <a:lnTo>
                    <a:pt x="696751" y="766208"/>
                  </a:lnTo>
                  <a:lnTo>
                    <a:pt x="691578" y="767993"/>
                  </a:lnTo>
                  <a:lnTo>
                    <a:pt x="689309" y="768508"/>
                  </a:lnTo>
                  <a:lnTo>
                    <a:pt x="685588" y="770746"/>
                  </a:lnTo>
                  <a:lnTo>
                    <a:pt x="683319" y="771533"/>
                  </a:lnTo>
                  <a:lnTo>
                    <a:pt x="676513" y="772561"/>
                  </a:lnTo>
                  <a:lnTo>
                    <a:pt x="674335" y="773711"/>
                  </a:lnTo>
                  <a:lnTo>
                    <a:pt x="675363" y="776464"/>
                  </a:lnTo>
                  <a:lnTo>
                    <a:pt x="675938" y="779096"/>
                  </a:lnTo>
                  <a:lnTo>
                    <a:pt x="676815" y="781032"/>
                  </a:lnTo>
                  <a:lnTo>
                    <a:pt x="683138" y="783724"/>
                  </a:lnTo>
                  <a:lnTo>
                    <a:pt x="685256" y="783633"/>
                  </a:lnTo>
                  <a:lnTo>
                    <a:pt x="684650" y="780669"/>
                  </a:lnTo>
                  <a:lnTo>
                    <a:pt x="686496" y="777734"/>
                  </a:lnTo>
                  <a:lnTo>
                    <a:pt x="688674" y="776887"/>
                  </a:lnTo>
                  <a:close/>
                  <a:moveTo>
                    <a:pt x="767902" y="751597"/>
                  </a:moveTo>
                  <a:lnTo>
                    <a:pt x="768084" y="750841"/>
                  </a:lnTo>
                  <a:lnTo>
                    <a:pt x="763334" y="749449"/>
                  </a:lnTo>
                  <a:lnTo>
                    <a:pt x="761943" y="748542"/>
                  </a:lnTo>
                  <a:lnTo>
                    <a:pt x="758706" y="748905"/>
                  </a:lnTo>
                  <a:lnTo>
                    <a:pt x="754743" y="750054"/>
                  </a:lnTo>
                  <a:lnTo>
                    <a:pt x="751778" y="752172"/>
                  </a:lnTo>
                  <a:lnTo>
                    <a:pt x="751536" y="755409"/>
                  </a:lnTo>
                  <a:lnTo>
                    <a:pt x="750780" y="756135"/>
                  </a:lnTo>
                  <a:lnTo>
                    <a:pt x="749933" y="756135"/>
                  </a:lnTo>
                  <a:lnTo>
                    <a:pt x="749056" y="755469"/>
                  </a:lnTo>
                  <a:lnTo>
                    <a:pt x="748178" y="754168"/>
                  </a:lnTo>
                  <a:lnTo>
                    <a:pt x="746575" y="755530"/>
                  </a:lnTo>
                  <a:lnTo>
                    <a:pt x="744942" y="756256"/>
                  </a:lnTo>
                  <a:lnTo>
                    <a:pt x="741251" y="756558"/>
                  </a:lnTo>
                  <a:lnTo>
                    <a:pt x="741856" y="758585"/>
                  </a:lnTo>
                  <a:lnTo>
                    <a:pt x="743913" y="760733"/>
                  </a:lnTo>
                  <a:lnTo>
                    <a:pt x="744760" y="762276"/>
                  </a:lnTo>
                  <a:lnTo>
                    <a:pt x="739950" y="765604"/>
                  </a:lnTo>
                  <a:lnTo>
                    <a:pt x="741342" y="766904"/>
                  </a:lnTo>
                  <a:lnTo>
                    <a:pt x="743005" y="768054"/>
                  </a:lnTo>
                  <a:lnTo>
                    <a:pt x="744942" y="768901"/>
                  </a:lnTo>
                  <a:lnTo>
                    <a:pt x="754350" y="770413"/>
                  </a:lnTo>
                  <a:lnTo>
                    <a:pt x="756437" y="771533"/>
                  </a:lnTo>
                  <a:lnTo>
                    <a:pt x="757677" y="772773"/>
                  </a:lnTo>
                  <a:lnTo>
                    <a:pt x="758585" y="774316"/>
                  </a:lnTo>
                  <a:lnTo>
                    <a:pt x="760218" y="777764"/>
                  </a:lnTo>
                  <a:lnTo>
                    <a:pt x="761156" y="778611"/>
                  </a:lnTo>
                  <a:lnTo>
                    <a:pt x="762064" y="778279"/>
                  </a:lnTo>
                  <a:lnTo>
                    <a:pt x="762911" y="777522"/>
                  </a:lnTo>
                  <a:lnTo>
                    <a:pt x="763667" y="777099"/>
                  </a:lnTo>
                  <a:lnTo>
                    <a:pt x="765815" y="776796"/>
                  </a:lnTo>
                  <a:lnTo>
                    <a:pt x="772319" y="773680"/>
                  </a:lnTo>
                  <a:lnTo>
                    <a:pt x="773227" y="774679"/>
                  </a:lnTo>
                  <a:lnTo>
                    <a:pt x="773650" y="776070"/>
                  </a:lnTo>
                  <a:lnTo>
                    <a:pt x="773559" y="777704"/>
                  </a:lnTo>
                  <a:lnTo>
                    <a:pt x="772985" y="779398"/>
                  </a:lnTo>
                  <a:lnTo>
                    <a:pt x="771775" y="780306"/>
                  </a:lnTo>
                  <a:lnTo>
                    <a:pt x="765785" y="782938"/>
                  </a:lnTo>
                  <a:lnTo>
                    <a:pt x="762215" y="782605"/>
                  </a:lnTo>
                  <a:lnTo>
                    <a:pt x="761247" y="782938"/>
                  </a:lnTo>
                  <a:lnTo>
                    <a:pt x="760370" y="783966"/>
                  </a:lnTo>
                  <a:lnTo>
                    <a:pt x="759916" y="785146"/>
                  </a:lnTo>
                  <a:lnTo>
                    <a:pt x="759614" y="786356"/>
                  </a:lnTo>
                  <a:lnTo>
                    <a:pt x="758161" y="789805"/>
                  </a:lnTo>
                  <a:lnTo>
                    <a:pt x="757405" y="790621"/>
                  </a:lnTo>
                  <a:lnTo>
                    <a:pt x="756074" y="790954"/>
                  </a:lnTo>
                  <a:lnTo>
                    <a:pt x="754955" y="791438"/>
                  </a:lnTo>
                  <a:lnTo>
                    <a:pt x="753987" y="792678"/>
                  </a:lnTo>
                  <a:lnTo>
                    <a:pt x="753533" y="794342"/>
                  </a:lnTo>
                  <a:lnTo>
                    <a:pt x="754017" y="796127"/>
                  </a:lnTo>
                  <a:lnTo>
                    <a:pt x="755983" y="797731"/>
                  </a:lnTo>
                  <a:lnTo>
                    <a:pt x="758494" y="797882"/>
                  </a:lnTo>
                  <a:lnTo>
                    <a:pt x="763395" y="796732"/>
                  </a:lnTo>
                  <a:lnTo>
                    <a:pt x="769294" y="793707"/>
                  </a:lnTo>
                  <a:lnTo>
                    <a:pt x="771321" y="793193"/>
                  </a:lnTo>
                  <a:lnTo>
                    <a:pt x="771926" y="794040"/>
                  </a:lnTo>
                  <a:lnTo>
                    <a:pt x="770020" y="795885"/>
                  </a:lnTo>
                  <a:lnTo>
                    <a:pt x="765482" y="798910"/>
                  </a:lnTo>
                  <a:lnTo>
                    <a:pt x="758524" y="800272"/>
                  </a:lnTo>
                  <a:lnTo>
                    <a:pt x="756830" y="801784"/>
                  </a:lnTo>
                  <a:lnTo>
                    <a:pt x="755257" y="802540"/>
                  </a:lnTo>
                  <a:lnTo>
                    <a:pt x="750720" y="801602"/>
                  </a:lnTo>
                  <a:lnTo>
                    <a:pt x="748874" y="802359"/>
                  </a:lnTo>
                  <a:lnTo>
                    <a:pt x="749419" y="802722"/>
                  </a:lnTo>
                  <a:lnTo>
                    <a:pt x="749752" y="803055"/>
                  </a:lnTo>
                  <a:lnTo>
                    <a:pt x="750205" y="803327"/>
                  </a:lnTo>
                  <a:lnTo>
                    <a:pt x="750992" y="803508"/>
                  </a:lnTo>
                  <a:lnTo>
                    <a:pt x="750992" y="804658"/>
                  </a:lnTo>
                  <a:lnTo>
                    <a:pt x="749147" y="805838"/>
                  </a:lnTo>
                  <a:lnTo>
                    <a:pt x="747725" y="804416"/>
                  </a:lnTo>
                  <a:lnTo>
                    <a:pt x="746394" y="801996"/>
                  </a:lnTo>
                  <a:lnTo>
                    <a:pt x="744790" y="800241"/>
                  </a:lnTo>
                  <a:lnTo>
                    <a:pt x="742794" y="799909"/>
                  </a:lnTo>
                  <a:lnTo>
                    <a:pt x="740253" y="800362"/>
                  </a:lnTo>
                  <a:lnTo>
                    <a:pt x="738075" y="801724"/>
                  </a:lnTo>
                  <a:lnTo>
                    <a:pt x="737167" y="804083"/>
                  </a:lnTo>
                  <a:lnTo>
                    <a:pt x="737772" y="807169"/>
                  </a:lnTo>
                  <a:lnTo>
                    <a:pt x="739254" y="809710"/>
                  </a:lnTo>
                  <a:lnTo>
                    <a:pt x="741069" y="811555"/>
                  </a:lnTo>
                  <a:lnTo>
                    <a:pt x="743822" y="813098"/>
                  </a:lnTo>
                  <a:lnTo>
                    <a:pt x="745910" y="813733"/>
                  </a:lnTo>
                  <a:lnTo>
                    <a:pt x="747180" y="813824"/>
                  </a:lnTo>
                  <a:lnTo>
                    <a:pt x="748209" y="813310"/>
                  </a:lnTo>
                  <a:lnTo>
                    <a:pt x="748814" y="812130"/>
                  </a:lnTo>
                  <a:lnTo>
                    <a:pt x="749267" y="810981"/>
                  </a:lnTo>
                  <a:lnTo>
                    <a:pt x="749873" y="810466"/>
                  </a:lnTo>
                  <a:lnTo>
                    <a:pt x="759220" y="810466"/>
                  </a:lnTo>
                  <a:lnTo>
                    <a:pt x="760279" y="809952"/>
                  </a:lnTo>
                  <a:lnTo>
                    <a:pt x="762669" y="808409"/>
                  </a:lnTo>
                  <a:lnTo>
                    <a:pt x="763697" y="808076"/>
                  </a:lnTo>
                  <a:lnTo>
                    <a:pt x="764847" y="808500"/>
                  </a:lnTo>
                  <a:lnTo>
                    <a:pt x="766087" y="809256"/>
                  </a:lnTo>
                  <a:lnTo>
                    <a:pt x="767358" y="809559"/>
                  </a:lnTo>
                  <a:lnTo>
                    <a:pt x="768508" y="808682"/>
                  </a:lnTo>
                  <a:lnTo>
                    <a:pt x="770232" y="806896"/>
                  </a:lnTo>
                  <a:lnTo>
                    <a:pt x="778248" y="803115"/>
                  </a:lnTo>
                  <a:lnTo>
                    <a:pt x="781637" y="802389"/>
                  </a:lnTo>
                  <a:lnTo>
                    <a:pt x="782574" y="801875"/>
                  </a:lnTo>
                  <a:lnTo>
                    <a:pt x="783270" y="800695"/>
                  </a:lnTo>
                  <a:lnTo>
                    <a:pt x="783815" y="799515"/>
                  </a:lnTo>
                  <a:lnTo>
                    <a:pt x="784329" y="798971"/>
                  </a:lnTo>
                  <a:lnTo>
                    <a:pt x="786779" y="798154"/>
                  </a:lnTo>
                  <a:lnTo>
                    <a:pt x="788020" y="798063"/>
                  </a:lnTo>
                  <a:lnTo>
                    <a:pt x="788867" y="798971"/>
                  </a:lnTo>
                  <a:lnTo>
                    <a:pt x="788746" y="800513"/>
                  </a:lnTo>
                  <a:lnTo>
                    <a:pt x="787808" y="801935"/>
                  </a:lnTo>
                  <a:lnTo>
                    <a:pt x="786719" y="803025"/>
                  </a:lnTo>
                  <a:lnTo>
                    <a:pt x="786084" y="803508"/>
                  </a:lnTo>
                  <a:lnTo>
                    <a:pt x="789290" y="805505"/>
                  </a:lnTo>
                  <a:lnTo>
                    <a:pt x="793253" y="804628"/>
                  </a:lnTo>
                  <a:lnTo>
                    <a:pt x="802177" y="798971"/>
                  </a:lnTo>
                  <a:lnTo>
                    <a:pt x="803902" y="797005"/>
                  </a:lnTo>
                  <a:lnTo>
                    <a:pt x="804567" y="795189"/>
                  </a:lnTo>
                  <a:lnTo>
                    <a:pt x="802933" y="794403"/>
                  </a:lnTo>
                  <a:lnTo>
                    <a:pt x="799152" y="794917"/>
                  </a:lnTo>
                  <a:lnTo>
                    <a:pt x="797337" y="795643"/>
                  </a:lnTo>
                  <a:lnTo>
                    <a:pt x="795734" y="796793"/>
                  </a:lnTo>
                  <a:lnTo>
                    <a:pt x="795734" y="795552"/>
                  </a:lnTo>
                  <a:lnTo>
                    <a:pt x="799031" y="792860"/>
                  </a:lnTo>
                  <a:lnTo>
                    <a:pt x="800241" y="790894"/>
                  </a:lnTo>
                  <a:lnTo>
                    <a:pt x="799908" y="788715"/>
                  </a:lnTo>
                  <a:lnTo>
                    <a:pt x="800665" y="788625"/>
                  </a:lnTo>
                  <a:lnTo>
                    <a:pt x="801330" y="788715"/>
                  </a:lnTo>
                  <a:lnTo>
                    <a:pt x="801966" y="789048"/>
                  </a:lnTo>
                  <a:lnTo>
                    <a:pt x="802570" y="789744"/>
                  </a:lnTo>
                  <a:lnTo>
                    <a:pt x="802389" y="791529"/>
                  </a:lnTo>
                  <a:lnTo>
                    <a:pt x="803841" y="792194"/>
                  </a:lnTo>
                  <a:lnTo>
                    <a:pt x="807138" y="792134"/>
                  </a:lnTo>
                  <a:lnTo>
                    <a:pt x="808439" y="791075"/>
                  </a:lnTo>
                  <a:lnTo>
                    <a:pt x="807683" y="788776"/>
                  </a:lnTo>
                  <a:lnTo>
                    <a:pt x="806201" y="786417"/>
                  </a:lnTo>
                  <a:lnTo>
                    <a:pt x="805323" y="785267"/>
                  </a:lnTo>
                  <a:lnTo>
                    <a:pt x="807169" y="785539"/>
                  </a:lnTo>
                  <a:lnTo>
                    <a:pt x="807986" y="785811"/>
                  </a:lnTo>
                  <a:lnTo>
                    <a:pt x="808833" y="786386"/>
                  </a:lnTo>
                  <a:lnTo>
                    <a:pt x="809347" y="783089"/>
                  </a:lnTo>
                  <a:lnTo>
                    <a:pt x="808288" y="782423"/>
                  </a:lnTo>
                  <a:lnTo>
                    <a:pt x="806806" y="782756"/>
                  </a:lnTo>
                  <a:lnTo>
                    <a:pt x="806049" y="782393"/>
                  </a:lnTo>
                  <a:lnTo>
                    <a:pt x="805566" y="780336"/>
                  </a:lnTo>
                  <a:lnTo>
                    <a:pt x="804446" y="778400"/>
                  </a:lnTo>
                  <a:lnTo>
                    <a:pt x="803085" y="776857"/>
                  </a:lnTo>
                  <a:lnTo>
                    <a:pt x="801935" y="775980"/>
                  </a:lnTo>
                  <a:lnTo>
                    <a:pt x="801270" y="775980"/>
                  </a:lnTo>
                  <a:lnTo>
                    <a:pt x="799394" y="776252"/>
                  </a:lnTo>
                  <a:lnTo>
                    <a:pt x="798426" y="775980"/>
                  </a:lnTo>
                  <a:lnTo>
                    <a:pt x="797579" y="775284"/>
                  </a:lnTo>
                  <a:lnTo>
                    <a:pt x="795341" y="772047"/>
                  </a:lnTo>
                  <a:lnTo>
                    <a:pt x="794645" y="771533"/>
                  </a:lnTo>
                  <a:lnTo>
                    <a:pt x="793646" y="771351"/>
                  </a:lnTo>
                  <a:lnTo>
                    <a:pt x="792648" y="771533"/>
                  </a:lnTo>
                  <a:lnTo>
                    <a:pt x="791105" y="772501"/>
                  </a:lnTo>
                  <a:lnTo>
                    <a:pt x="790349" y="771865"/>
                  </a:lnTo>
                  <a:lnTo>
                    <a:pt x="789623" y="770867"/>
                  </a:lnTo>
                  <a:lnTo>
                    <a:pt x="788806" y="770262"/>
                  </a:lnTo>
                  <a:lnTo>
                    <a:pt x="778763" y="770262"/>
                  </a:lnTo>
                  <a:lnTo>
                    <a:pt x="777704" y="769929"/>
                  </a:lnTo>
                  <a:lnTo>
                    <a:pt x="777432" y="769082"/>
                  </a:lnTo>
                  <a:lnTo>
                    <a:pt x="777432" y="767993"/>
                  </a:lnTo>
                  <a:lnTo>
                    <a:pt x="777129" y="766813"/>
                  </a:lnTo>
                  <a:lnTo>
                    <a:pt x="773045" y="757738"/>
                  </a:lnTo>
                  <a:lnTo>
                    <a:pt x="770565" y="754350"/>
                  </a:lnTo>
                  <a:lnTo>
                    <a:pt x="767449" y="754108"/>
                  </a:lnTo>
                  <a:lnTo>
                    <a:pt x="767630" y="753352"/>
                  </a:lnTo>
                  <a:lnTo>
                    <a:pt x="767902" y="751537"/>
                  </a:lnTo>
                  <a:close/>
                  <a:moveTo>
                    <a:pt x="706069" y="759523"/>
                  </a:moveTo>
                  <a:lnTo>
                    <a:pt x="703285" y="760007"/>
                  </a:lnTo>
                  <a:lnTo>
                    <a:pt x="703860" y="761640"/>
                  </a:lnTo>
                  <a:lnTo>
                    <a:pt x="704798" y="763698"/>
                  </a:lnTo>
                  <a:lnTo>
                    <a:pt x="705706" y="764635"/>
                  </a:lnTo>
                  <a:lnTo>
                    <a:pt x="706099" y="762911"/>
                  </a:lnTo>
                  <a:lnTo>
                    <a:pt x="706613" y="761368"/>
                  </a:lnTo>
                  <a:lnTo>
                    <a:pt x="707793" y="761368"/>
                  </a:lnTo>
                  <a:lnTo>
                    <a:pt x="710213" y="762336"/>
                  </a:lnTo>
                  <a:lnTo>
                    <a:pt x="711907" y="761792"/>
                  </a:lnTo>
                  <a:lnTo>
                    <a:pt x="717171" y="757859"/>
                  </a:lnTo>
                  <a:lnTo>
                    <a:pt x="720892" y="753200"/>
                  </a:lnTo>
                  <a:lnTo>
                    <a:pt x="722193" y="753049"/>
                  </a:lnTo>
                  <a:lnTo>
                    <a:pt x="723130" y="752595"/>
                  </a:lnTo>
                  <a:lnTo>
                    <a:pt x="723917" y="751869"/>
                  </a:lnTo>
                  <a:lnTo>
                    <a:pt x="724673" y="750871"/>
                  </a:lnTo>
                  <a:lnTo>
                    <a:pt x="725399" y="749570"/>
                  </a:lnTo>
                  <a:lnTo>
                    <a:pt x="726791" y="746152"/>
                  </a:lnTo>
                  <a:lnTo>
                    <a:pt x="727759" y="744488"/>
                  </a:lnTo>
                  <a:lnTo>
                    <a:pt x="728424" y="742764"/>
                  </a:lnTo>
                  <a:lnTo>
                    <a:pt x="727426" y="742279"/>
                  </a:lnTo>
                  <a:lnTo>
                    <a:pt x="724673" y="742703"/>
                  </a:lnTo>
                  <a:lnTo>
                    <a:pt x="723040" y="743248"/>
                  </a:lnTo>
                  <a:lnTo>
                    <a:pt x="720045" y="745698"/>
                  </a:lnTo>
                  <a:lnTo>
                    <a:pt x="717655" y="746636"/>
                  </a:lnTo>
                  <a:lnTo>
                    <a:pt x="714418" y="748905"/>
                  </a:lnTo>
                  <a:lnTo>
                    <a:pt x="713238" y="750296"/>
                  </a:lnTo>
                  <a:lnTo>
                    <a:pt x="708700" y="757133"/>
                  </a:lnTo>
                  <a:lnTo>
                    <a:pt x="706069" y="759553"/>
                  </a:lnTo>
                  <a:close/>
                  <a:moveTo>
                    <a:pt x="625358" y="699927"/>
                  </a:moveTo>
                  <a:lnTo>
                    <a:pt x="626961" y="699716"/>
                  </a:lnTo>
                  <a:lnTo>
                    <a:pt x="628504" y="699050"/>
                  </a:lnTo>
                  <a:lnTo>
                    <a:pt x="629351" y="697931"/>
                  </a:lnTo>
                  <a:lnTo>
                    <a:pt x="628776" y="696358"/>
                  </a:lnTo>
                  <a:lnTo>
                    <a:pt x="629502" y="695965"/>
                  </a:lnTo>
                  <a:lnTo>
                    <a:pt x="630289" y="695420"/>
                  </a:lnTo>
                  <a:lnTo>
                    <a:pt x="631105" y="694603"/>
                  </a:lnTo>
                  <a:lnTo>
                    <a:pt x="631922" y="693514"/>
                  </a:lnTo>
                  <a:lnTo>
                    <a:pt x="632769" y="692909"/>
                  </a:lnTo>
                  <a:lnTo>
                    <a:pt x="635673" y="693000"/>
                  </a:lnTo>
                  <a:lnTo>
                    <a:pt x="634826" y="692213"/>
                  </a:lnTo>
                  <a:lnTo>
                    <a:pt x="634403" y="690882"/>
                  </a:lnTo>
                  <a:lnTo>
                    <a:pt x="634100" y="689461"/>
                  </a:lnTo>
                  <a:lnTo>
                    <a:pt x="633616" y="688341"/>
                  </a:lnTo>
                  <a:lnTo>
                    <a:pt x="632739" y="687585"/>
                  </a:lnTo>
                  <a:lnTo>
                    <a:pt x="629502" y="686042"/>
                  </a:lnTo>
                  <a:lnTo>
                    <a:pt x="630107" y="685377"/>
                  </a:lnTo>
                  <a:lnTo>
                    <a:pt x="631559" y="682472"/>
                  </a:lnTo>
                  <a:lnTo>
                    <a:pt x="631136" y="681958"/>
                  </a:lnTo>
                  <a:lnTo>
                    <a:pt x="630712" y="681595"/>
                  </a:lnTo>
                  <a:lnTo>
                    <a:pt x="630198" y="681383"/>
                  </a:lnTo>
                  <a:lnTo>
                    <a:pt x="629502" y="681323"/>
                  </a:lnTo>
                  <a:lnTo>
                    <a:pt x="628837" y="680385"/>
                  </a:lnTo>
                  <a:lnTo>
                    <a:pt x="628504" y="680143"/>
                  </a:lnTo>
                  <a:lnTo>
                    <a:pt x="628050" y="680143"/>
                  </a:lnTo>
                  <a:lnTo>
                    <a:pt x="627264" y="684741"/>
                  </a:lnTo>
                  <a:lnTo>
                    <a:pt x="625388" y="686193"/>
                  </a:lnTo>
                  <a:lnTo>
                    <a:pt x="622968" y="686677"/>
                  </a:lnTo>
                  <a:lnTo>
                    <a:pt x="620517" y="688341"/>
                  </a:lnTo>
                  <a:lnTo>
                    <a:pt x="621576" y="689581"/>
                  </a:lnTo>
                  <a:lnTo>
                    <a:pt x="621818" y="691487"/>
                  </a:lnTo>
                  <a:lnTo>
                    <a:pt x="621334" y="693272"/>
                  </a:lnTo>
                  <a:lnTo>
                    <a:pt x="620154" y="694029"/>
                  </a:lnTo>
                  <a:lnTo>
                    <a:pt x="618460" y="694755"/>
                  </a:lnTo>
                  <a:lnTo>
                    <a:pt x="617341" y="696388"/>
                  </a:lnTo>
                  <a:lnTo>
                    <a:pt x="617280" y="698022"/>
                  </a:lnTo>
                  <a:lnTo>
                    <a:pt x="618823" y="698748"/>
                  </a:lnTo>
                  <a:lnTo>
                    <a:pt x="625358" y="699897"/>
                  </a:lnTo>
                  <a:close/>
                  <a:moveTo>
                    <a:pt x="748693" y="685558"/>
                  </a:moveTo>
                  <a:lnTo>
                    <a:pt x="746484" y="683229"/>
                  </a:lnTo>
                  <a:lnTo>
                    <a:pt x="741221" y="680113"/>
                  </a:lnTo>
                  <a:lnTo>
                    <a:pt x="737288" y="680627"/>
                  </a:lnTo>
                  <a:lnTo>
                    <a:pt x="734172" y="682956"/>
                  </a:lnTo>
                  <a:lnTo>
                    <a:pt x="728122" y="689400"/>
                  </a:lnTo>
                  <a:lnTo>
                    <a:pt x="729997" y="690338"/>
                  </a:lnTo>
                  <a:lnTo>
                    <a:pt x="733144" y="693393"/>
                  </a:lnTo>
                  <a:lnTo>
                    <a:pt x="734656" y="694059"/>
                  </a:lnTo>
                  <a:lnTo>
                    <a:pt x="736078" y="694997"/>
                  </a:lnTo>
                  <a:lnTo>
                    <a:pt x="737711" y="699020"/>
                  </a:lnTo>
                  <a:lnTo>
                    <a:pt x="739527" y="699927"/>
                  </a:lnTo>
                  <a:lnTo>
                    <a:pt x="743369" y="699564"/>
                  </a:lnTo>
                  <a:lnTo>
                    <a:pt x="746152" y="698022"/>
                  </a:lnTo>
                  <a:lnTo>
                    <a:pt x="748088" y="694512"/>
                  </a:lnTo>
                  <a:lnTo>
                    <a:pt x="749449" y="688311"/>
                  </a:lnTo>
                  <a:lnTo>
                    <a:pt x="746757" y="688311"/>
                  </a:lnTo>
                  <a:lnTo>
                    <a:pt x="746757" y="687071"/>
                  </a:lnTo>
                  <a:lnTo>
                    <a:pt x="748663" y="685558"/>
                  </a:lnTo>
                  <a:close/>
                  <a:moveTo>
                    <a:pt x="718774" y="681988"/>
                  </a:moveTo>
                  <a:lnTo>
                    <a:pt x="722011" y="681474"/>
                  </a:lnTo>
                  <a:lnTo>
                    <a:pt x="724643" y="680143"/>
                  </a:lnTo>
                  <a:lnTo>
                    <a:pt x="723463" y="679296"/>
                  </a:lnTo>
                  <a:lnTo>
                    <a:pt x="721013" y="678691"/>
                  </a:lnTo>
                  <a:lnTo>
                    <a:pt x="719833" y="677723"/>
                  </a:lnTo>
                  <a:lnTo>
                    <a:pt x="717927" y="678177"/>
                  </a:lnTo>
                  <a:lnTo>
                    <a:pt x="714448" y="680052"/>
                  </a:lnTo>
                  <a:lnTo>
                    <a:pt x="712875" y="681293"/>
                  </a:lnTo>
                  <a:lnTo>
                    <a:pt x="715477" y="681867"/>
                  </a:lnTo>
                  <a:lnTo>
                    <a:pt x="718714" y="682019"/>
                  </a:lnTo>
                  <a:close/>
                  <a:moveTo>
                    <a:pt x="774951" y="634584"/>
                  </a:moveTo>
                  <a:lnTo>
                    <a:pt x="772531" y="635976"/>
                  </a:lnTo>
                  <a:lnTo>
                    <a:pt x="773136" y="638336"/>
                  </a:lnTo>
                  <a:lnTo>
                    <a:pt x="775435" y="640574"/>
                  </a:lnTo>
                  <a:lnTo>
                    <a:pt x="778097" y="641603"/>
                  </a:lnTo>
                  <a:lnTo>
                    <a:pt x="781425" y="640363"/>
                  </a:lnTo>
                  <a:lnTo>
                    <a:pt x="781031" y="637700"/>
                  </a:lnTo>
                  <a:lnTo>
                    <a:pt x="778369" y="635250"/>
                  </a:lnTo>
                  <a:lnTo>
                    <a:pt x="774921" y="634584"/>
                  </a:lnTo>
                  <a:close/>
                  <a:moveTo>
                    <a:pt x="645535" y="650618"/>
                  </a:moveTo>
                  <a:lnTo>
                    <a:pt x="647502" y="649771"/>
                  </a:lnTo>
                  <a:lnTo>
                    <a:pt x="648228" y="648409"/>
                  </a:lnTo>
                  <a:lnTo>
                    <a:pt x="649287" y="644900"/>
                  </a:lnTo>
                  <a:lnTo>
                    <a:pt x="649892" y="643357"/>
                  </a:lnTo>
                  <a:lnTo>
                    <a:pt x="651071" y="642026"/>
                  </a:lnTo>
                  <a:lnTo>
                    <a:pt x="652251" y="641452"/>
                  </a:lnTo>
                  <a:lnTo>
                    <a:pt x="653189" y="640514"/>
                  </a:lnTo>
                  <a:lnTo>
                    <a:pt x="653703" y="638003"/>
                  </a:lnTo>
                  <a:lnTo>
                    <a:pt x="652040" y="638124"/>
                  </a:lnTo>
                  <a:lnTo>
                    <a:pt x="650950" y="637156"/>
                  </a:lnTo>
                  <a:lnTo>
                    <a:pt x="650013" y="635764"/>
                  </a:lnTo>
                  <a:lnTo>
                    <a:pt x="648833" y="634615"/>
                  </a:lnTo>
                  <a:lnTo>
                    <a:pt x="647260" y="634191"/>
                  </a:lnTo>
                  <a:lnTo>
                    <a:pt x="644144" y="634131"/>
                  </a:lnTo>
                  <a:lnTo>
                    <a:pt x="642631" y="633435"/>
                  </a:lnTo>
                  <a:lnTo>
                    <a:pt x="641361" y="631347"/>
                  </a:lnTo>
                  <a:lnTo>
                    <a:pt x="640967" y="630984"/>
                  </a:lnTo>
                  <a:lnTo>
                    <a:pt x="638547" y="629926"/>
                  </a:lnTo>
                  <a:lnTo>
                    <a:pt x="637730" y="629744"/>
                  </a:lnTo>
                  <a:lnTo>
                    <a:pt x="636823" y="629835"/>
                  </a:lnTo>
                  <a:lnTo>
                    <a:pt x="636097" y="629502"/>
                  </a:lnTo>
                  <a:lnTo>
                    <a:pt x="635794" y="628050"/>
                  </a:lnTo>
                  <a:lnTo>
                    <a:pt x="635583" y="627264"/>
                  </a:lnTo>
                  <a:lnTo>
                    <a:pt x="635038" y="626416"/>
                  </a:lnTo>
                  <a:lnTo>
                    <a:pt x="634373" y="625660"/>
                  </a:lnTo>
                  <a:lnTo>
                    <a:pt x="633768" y="625085"/>
                  </a:lnTo>
                  <a:lnTo>
                    <a:pt x="636067" y="623906"/>
                  </a:lnTo>
                  <a:lnTo>
                    <a:pt x="638063" y="625781"/>
                  </a:lnTo>
                  <a:lnTo>
                    <a:pt x="640060" y="628474"/>
                  </a:lnTo>
                  <a:lnTo>
                    <a:pt x="644235" y="630803"/>
                  </a:lnTo>
                  <a:lnTo>
                    <a:pt x="646080" y="632497"/>
                  </a:lnTo>
                  <a:lnTo>
                    <a:pt x="648228" y="633465"/>
                  </a:lnTo>
                  <a:lnTo>
                    <a:pt x="651011" y="632104"/>
                  </a:lnTo>
                  <a:lnTo>
                    <a:pt x="651011" y="630954"/>
                  </a:lnTo>
                  <a:lnTo>
                    <a:pt x="648772" y="630621"/>
                  </a:lnTo>
                  <a:lnTo>
                    <a:pt x="645626" y="627838"/>
                  </a:lnTo>
                  <a:lnTo>
                    <a:pt x="643387" y="627445"/>
                  </a:lnTo>
                  <a:lnTo>
                    <a:pt x="643387" y="626265"/>
                  </a:lnTo>
                  <a:lnTo>
                    <a:pt x="645324" y="626961"/>
                  </a:lnTo>
                  <a:lnTo>
                    <a:pt x="646019" y="626901"/>
                  </a:lnTo>
                  <a:lnTo>
                    <a:pt x="646866" y="626265"/>
                  </a:lnTo>
                  <a:lnTo>
                    <a:pt x="637852" y="620427"/>
                  </a:lnTo>
                  <a:lnTo>
                    <a:pt x="636853" y="620427"/>
                  </a:lnTo>
                  <a:lnTo>
                    <a:pt x="632255" y="622544"/>
                  </a:lnTo>
                  <a:lnTo>
                    <a:pt x="630258" y="623906"/>
                  </a:lnTo>
                  <a:lnTo>
                    <a:pt x="632921" y="631650"/>
                  </a:lnTo>
                  <a:lnTo>
                    <a:pt x="634100" y="636853"/>
                  </a:lnTo>
                  <a:lnTo>
                    <a:pt x="633344" y="639213"/>
                  </a:lnTo>
                  <a:lnTo>
                    <a:pt x="632043" y="639606"/>
                  </a:lnTo>
                  <a:lnTo>
                    <a:pt x="631559" y="640604"/>
                  </a:lnTo>
                  <a:lnTo>
                    <a:pt x="631317" y="642087"/>
                  </a:lnTo>
                  <a:lnTo>
                    <a:pt x="630864" y="643902"/>
                  </a:lnTo>
                  <a:lnTo>
                    <a:pt x="629563" y="647139"/>
                  </a:lnTo>
                  <a:lnTo>
                    <a:pt x="628776" y="648349"/>
                  </a:lnTo>
                  <a:lnTo>
                    <a:pt x="627505" y="649710"/>
                  </a:lnTo>
                  <a:lnTo>
                    <a:pt x="628837" y="650073"/>
                  </a:lnTo>
                  <a:lnTo>
                    <a:pt x="629926" y="650951"/>
                  </a:lnTo>
                  <a:lnTo>
                    <a:pt x="631650" y="653219"/>
                  </a:lnTo>
                  <a:lnTo>
                    <a:pt x="631650" y="654369"/>
                  </a:lnTo>
                  <a:lnTo>
                    <a:pt x="631045" y="656365"/>
                  </a:lnTo>
                  <a:lnTo>
                    <a:pt x="631408" y="659118"/>
                  </a:lnTo>
                  <a:lnTo>
                    <a:pt x="634010" y="668073"/>
                  </a:lnTo>
                  <a:lnTo>
                    <a:pt x="634887" y="669888"/>
                  </a:lnTo>
                  <a:lnTo>
                    <a:pt x="637791" y="673094"/>
                  </a:lnTo>
                  <a:lnTo>
                    <a:pt x="640937" y="671340"/>
                  </a:lnTo>
                  <a:lnTo>
                    <a:pt x="649256" y="672943"/>
                  </a:lnTo>
                  <a:lnTo>
                    <a:pt x="651586" y="670674"/>
                  </a:lnTo>
                  <a:lnTo>
                    <a:pt x="651586" y="669616"/>
                  </a:lnTo>
                  <a:lnTo>
                    <a:pt x="649559" y="669434"/>
                  </a:lnTo>
                  <a:lnTo>
                    <a:pt x="648288" y="668012"/>
                  </a:lnTo>
                  <a:lnTo>
                    <a:pt x="647139" y="666197"/>
                  </a:lnTo>
                  <a:lnTo>
                    <a:pt x="645414" y="664866"/>
                  </a:lnTo>
                  <a:lnTo>
                    <a:pt x="643872" y="664715"/>
                  </a:lnTo>
                  <a:lnTo>
                    <a:pt x="640241" y="665169"/>
                  </a:lnTo>
                  <a:lnTo>
                    <a:pt x="638456" y="664866"/>
                  </a:lnTo>
                  <a:lnTo>
                    <a:pt x="638456" y="663686"/>
                  </a:lnTo>
                  <a:lnTo>
                    <a:pt x="642329" y="663505"/>
                  </a:lnTo>
                  <a:lnTo>
                    <a:pt x="644265" y="663807"/>
                  </a:lnTo>
                  <a:lnTo>
                    <a:pt x="646019" y="664836"/>
                  </a:lnTo>
                  <a:lnTo>
                    <a:pt x="647139" y="662809"/>
                  </a:lnTo>
                  <a:lnTo>
                    <a:pt x="647350" y="659421"/>
                  </a:lnTo>
                  <a:lnTo>
                    <a:pt x="646897" y="655821"/>
                  </a:lnTo>
                  <a:lnTo>
                    <a:pt x="646019" y="653189"/>
                  </a:lnTo>
                  <a:lnTo>
                    <a:pt x="644235" y="651525"/>
                  </a:lnTo>
                  <a:lnTo>
                    <a:pt x="637761" y="649680"/>
                  </a:lnTo>
                  <a:lnTo>
                    <a:pt x="637761" y="648621"/>
                  </a:lnTo>
                  <a:lnTo>
                    <a:pt x="645505" y="650527"/>
                  </a:lnTo>
                  <a:close/>
                  <a:moveTo>
                    <a:pt x="646594" y="608417"/>
                  </a:moveTo>
                  <a:lnTo>
                    <a:pt x="646655" y="608296"/>
                  </a:lnTo>
                  <a:lnTo>
                    <a:pt x="646836" y="607540"/>
                  </a:lnTo>
                  <a:lnTo>
                    <a:pt x="645717" y="607691"/>
                  </a:lnTo>
                  <a:lnTo>
                    <a:pt x="644749" y="607600"/>
                  </a:lnTo>
                  <a:lnTo>
                    <a:pt x="643962" y="607177"/>
                  </a:lnTo>
                  <a:lnTo>
                    <a:pt x="643357" y="606390"/>
                  </a:lnTo>
                  <a:lnTo>
                    <a:pt x="642208" y="607388"/>
                  </a:lnTo>
                  <a:lnTo>
                    <a:pt x="640967" y="607600"/>
                  </a:lnTo>
                  <a:lnTo>
                    <a:pt x="639727" y="607237"/>
                  </a:lnTo>
                  <a:lnTo>
                    <a:pt x="638547" y="606420"/>
                  </a:lnTo>
                  <a:lnTo>
                    <a:pt x="636188" y="606541"/>
                  </a:lnTo>
                  <a:lnTo>
                    <a:pt x="634221" y="608145"/>
                  </a:lnTo>
                  <a:lnTo>
                    <a:pt x="632860" y="610807"/>
                  </a:lnTo>
                  <a:lnTo>
                    <a:pt x="632376" y="614013"/>
                  </a:lnTo>
                  <a:lnTo>
                    <a:pt x="633525" y="616010"/>
                  </a:lnTo>
                  <a:lnTo>
                    <a:pt x="641361" y="620457"/>
                  </a:lnTo>
                  <a:lnTo>
                    <a:pt x="643993" y="621032"/>
                  </a:lnTo>
                  <a:lnTo>
                    <a:pt x="652705" y="618642"/>
                  </a:lnTo>
                  <a:lnTo>
                    <a:pt x="652826" y="617462"/>
                  </a:lnTo>
                  <a:lnTo>
                    <a:pt x="652040" y="616313"/>
                  </a:lnTo>
                  <a:lnTo>
                    <a:pt x="650587" y="615798"/>
                  </a:lnTo>
                  <a:lnTo>
                    <a:pt x="648258" y="615798"/>
                  </a:lnTo>
                  <a:lnTo>
                    <a:pt x="647411" y="615133"/>
                  </a:lnTo>
                  <a:lnTo>
                    <a:pt x="646866" y="613439"/>
                  </a:lnTo>
                  <a:lnTo>
                    <a:pt x="648772" y="613318"/>
                  </a:lnTo>
                  <a:lnTo>
                    <a:pt x="651041" y="611382"/>
                  </a:lnTo>
                  <a:lnTo>
                    <a:pt x="652433" y="612138"/>
                  </a:lnTo>
                  <a:lnTo>
                    <a:pt x="653068" y="611079"/>
                  </a:lnTo>
                  <a:lnTo>
                    <a:pt x="650315" y="609022"/>
                  </a:lnTo>
                  <a:lnTo>
                    <a:pt x="649619" y="608719"/>
                  </a:lnTo>
                  <a:lnTo>
                    <a:pt x="648681" y="608901"/>
                  </a:lnTo>
                  <a:lnTo>
                    <a:pt x="647835" y="609294"/>
                  </a:lnTo>
                  <a:lnTo>
                    <a:pt x="647018" y="609415"/>
                  </a:lnTo>
                  <a:lnTo>
                    <a:pt x="646171" y="608689"/>
                  </a:lnTo>
                  <a:lnTo>
                    <a:pt x="646564" y="608356"/>
                  </a:lnTo>
                  <a:lnTo>
                    <a:pt x="646685" y="608356"/>
                  </a:lnTo>
                  <a:close/>
                  <a:moveTo>
                    <a:pt x="767479" y="630984"/>
                  </a:moveTo>
                  <a:lnTo>
                    <a:pt x="767146" y="631680"/>
                  </a:lnTo>
                  <a:lnTo>
                    <a:pt x="766995" y="632195"/>
                  </a:lnTo>
                  <a:lnTo>
                    <a:pt x="766723" y="633435"/>
                  </a:lnTo>
                  <a:lnTo>
                    <a:pt x="768447" y="634463"/>
                  </a:lnTo>
                  <a:lnTo>
                    <a:pt x="770050" y="633889"/>
                  </a:lnTo>
                  <a:lnTo>
                    <a:pt x="771654" y="632769"/>
                  </a:lnTo>
                  <a:lnTo>
                    <a:pt x="773317" y="632164"/>
                  </a:lnTo>
                  <a:lnTo>
                    <a:pt x="775042" y="630864"/>
                  </a:lnTo>
                  <a:lnTo>
                    <a:pt x="774467" y="628050"/>
                  </a:lnTo>
                  <a:lnTo>
                    <a:pt x="773075" y="625237"/>
                  </a:lnTo>
                  <a:lnTo>
                    <a:pt x="772289" y="623966"/>
                  </a:lnTo>
                  <a:lnTo>
                    <a:pt x="772198" y="618702"/>
                  </a:lnTo>
                  <a:lnTo>
                    <a:pt x="773680" y="612773"/>
                  </a:lnTo>
                  <a:lnTo>
                    <a:pt x="775314" y="607721"/>
                  </a:lnTo>
                  <a:lnTo>
                    <a:pt x="775737" y="605120"/>
                  </a:lnTo>
                  <a:lnTo>
                    <a:pt x="775284" y="604182"/>
                  </a:lnTo>
                  <a:lnTo>
                    <a:pt x="774648" y="603456"/>
                  </a:lnTo>
                  <a:lnTo>
                    <a:pt x="773892" y="603002"/>
                  </a:lnTo>
                  <a:lnTo>
                    <a:pt x="772985" y="602760"/>
                  </a:lnTo>
                  <a:lnTo>
                    <a:pt x="774406" y="605089"/>
                  </a:lnTo>
                  <a:lnTo>
                    <a:pt x="774406" y="606390"/>
                  </a:lnTo>
                  <a:lnTo>
                    <a:pt x="772349" y="605210"/>
                  </a:lnTo>
                  <a:lnTo>
                    <a:pt x="771351" y="605301"/>
                  </a:lnTo>
                  <a:lnTo>
                    <a:pt x="770232" y="606390"/>
                  </a:lnTo>
                  <a:lnTo>
                    <a:pt x="771049" y="608205"/>
                  </a:lnTo>
                  <a:lnTo>
                    <a:pt x="771593" y="609113"/>
                  </a:lnTo>
                  <a:lnTo>
                    <a:pt x="772289" y="609929"/>
                  </a:lnTo>
                  <a:lnTo>
                    <a:pt x="772289" y="611109"/>
                  </a:lnTo>
                  <a:lnTo>
                    <a:pt x="769385" y="611442"/>
                  </a:lnTo>
                  <a:lnTo>
                    <a:pt x="767751" y="612803"/>
                  </a:lnTo>
                  <a:lnTo>
                    <a:pt x="766995" y="615647"/>
                  </a:lnTo>
                  <a:lnTo>
                    <a:pt x="766178" y="626689"/>
                  </a:lnTo>
                  <a:lnTo>
                    <a:pt x="766360" y="629563"/>
                  </a:lnTo>
                  <a:lnTo>
                    <a:pt x="767479" y="631015"/>
                  </a:lnTo>
                  <a:close/>
                  <a:moveTo>
                    <a:pt x="777159" y="601580"/>
                  </a:moveTo>
                  <a:lnTo>
                    <a:pt x="777159" y="598827"/>
                  </a:lnTo>
                  <a:lnTo>
                    <a:pt x="778460" y="592172"/>
                  </a:lnTo>
                  <a:lnTo>
                    <a:pt x="777795" y="591355"/>
                  </a:lnTo>
                  <a:lnTo>
                    <a:pt x="777129" y="591476"/>
                  </a:lnTo>
                  <a:lnTo>
                    <a:pt x="776403" y="592202"/>
                  </a:lnTo>
                  <a:lnTo>
                    <a:pt x="775707" y="593231"/>
                  </a:lnTo>
                  <a:lnTo>
                    <a:pt x="775919" y="593896"/>
                  </a:lnTo>
                  <a:lnTo>
                    <a:pt x="775919" y="594047"/>
                  </a:lnTo>
                  <a:lnTo>
                    <a:pt x="776403" y="594501"/>
                  </a:lnTo>
                  <a:lnTo>
                    <a:pt x="775254" y="596649"/>
                  </a:lnTo>
                  <a:lnTo>
                    <a:pt x="774981" y="598948"/>
                  </a:lnTo>
                  <a:lnTo>
                    <a:pt x="775617" y="600763"/>
                  </a:lnTo>
                  <a:lnTo>
                    <a:pt x="777159" y="601550"/>
                  </a:lnTo>
                  <a:close/>
                  <a:moveTo>
                    <a:pt x="91" y="587816"/>
                  </a:moveTo>
                  <a:lnTo>
                    <a:pt x="0" y="587937"/>
                  </a:lnTo>
                  <a:lnTo>
                    <a:pt x="0" y="588058"/>
                  </a:lnTo>
                  <a:lnTo>
                    <a:pt x="272" y="588058"/>
                  </a:lnTo>
                  <a:lnTo>
                    <a:pt x="363" y="587997"/>
                  </a:lnTo>
                  <a:lnTo>
                    <a:pt x="363" y="587997"/>
                  </a:lnTo>
                  <a:lnTo>
                    <a:pt x="272" y="587846"/>
                  </a:lnTo>
                  <a:lnTo>
                    <a:pt x="91" y="587846"/>
                  </a:lnTo>
                  <a:close/>
                  <a:moveTo>
                    <a:pt x="624722" y="592353"/>
                  </a:moveTo>
                  <a:lnTo>
                    <a:pt x="625963" y="593110"/>
                  </a:lnTo>
                  <a:lnTo>
                    <a:pt x="626779" y="593261"/>
                  </a:lnTo>
                  <a:lnTo>
                    <a:pt x="627475" y="592898"/>
                  </a:lnTo>
                  <a:lnTo>
                    <a:pt x="628141" y="592142"/>
                  </a:lnTo>
                  <a:lnTo>
                    <a:pt x="628837" y="591022"/>
                  </a:lnTo>
                  <a:lnTo>
                    <a:pt x="631922" y="591748"/>
                  </a:lnTo>
                  <a:lnTo>
                    <a:pt x="638003" y="595439"/>
                  </a:lnTo>
                  <a:lnTo>
                    <a:pt x="641330" y="595711"/>
                  </a:lnTo>
                  <a:lnTo>
                    <a:pt x="639394" y="596921"/>
                  </a:lnTo>
                  <a:lnTo>
                    <a:pt x="638517" y="597012"/>
                  </a:lnTo>
                  <a:lnTo>
                    <a:pt x="639334" y="597859"/>
                  </a:lnTo>
                  <a:lnTo>
                    <a:pt x="639788" y="598797"/>
                  </a:lnTo>
                  <a:lnTo>
                    <a:pt x="640151" y="599735"/>
                  </a:lnTo>
                  <a:lnTo>
                    <a:pt x="641300" y="601762"/>
                  </a:lnTo>
                  <a:lnTo>
                    <a:pt x="641663" y="602185"/>
                  </a:lnTo>
                  <a:lnTo>
                    <a:pt x="642601" y="602790"/>
                  </a:lnTo>
                  <a:lnTo>
                    <a:pt x="644386" y="603183"/>
                  </a:lnTo>
                  <a:lnTo>
                    <a:pt x="647895" y="602911"/>
                  </a:lnTo>
                  <a:lnTo>
                    <a:pt x="649529" y="604061"/>
                  </a:lnTo>
                  <a:lnTo>
                    <a:pt x="651192" y="602820"/>
                  </a:lnTo>
                  <a:lnTo>
                    <a:pt x="653249" y="602518"/>
                  </a:lnTo>
                  <a:lnTo>
                    <a:pt x="657454" y="602790"/>
                  </a:lnTo>
                  <a:lnTo>
                    <a:pt x="659481" y="599160"/>
                  </a:lnTo>
                  <a:lnTo>
                    <a:pt x="659814" y="598071"/>
                  </a:lnTo>
                  <a:lnTo>
                    <a:pt x="659421" y="596921"/>
                  </a:lnTo>
                  <a:lnTo>
                    <a:pt x="658786" y="596347"/>
                  </a:lnTo>
                  <a:lnTo>
                    <a:pt x="657061" y="595742"/>
                  </a:lnTo>
                  <a:lnTo>
                    <a:pt x="655034" y="595439"/>
                  </a:lnTo>
                  <a:lnTo>
                    <a:pt x="649135" y="597042"/>
                  </a:lnTo>
                  <a:lnTo>
                    <a:pt x="641875" y="597042"/>
                  </a:lnTo>
                  <a:lnTo>
                    <a:pt x="641875" y="595742"/>
                  </a:lnTo>
                  <a:lnTo>
                    <a:pt x="646110" y="592565"/>
                  </a:lnTo>
                  <a:lnTo>
                    <a:pt x="647441" y="592232"/>
                  </a:lnTo>
                  <a:lnTo>
                    <a:pt x="647895" y="592777"/>
                  </a:lnTo>
                  <a:lnTo>
                    <a:pt x="648772" y="595046"/>
                  </a:lnTo>
                  <a:lnTo>
                    <a:pt x="649468" y="595742"/>
                  </a:lnTo>
                  <a:lnTo>
                    <a:pt x="650073" y="595681"/>
                  </a:lnTo>
                  <a:lnTo>
                    <a:pt x="651525" y="594834"/>
                  </a:lnTo>
                  <a:lnTo>
                    <a:pt x="652281" y="594592"/>
                  </a:lnTo>
                  <a:lnTo>
                    <a:pt x="658150" y="594108"/>
                  </a:lnTo>
                  <a:lnTo>
                    <a:pt x="660601" y="592474"/>
                  </a:lnTo>
                  <a:lnTo>
                    <a:pt x="662567" y="588723"/>
                  </a:lnTo>
                  <a:lnTo>
                    <a:pt x="659330" y="589752"/>
                  </a:lnTo>
                  <a:lnTo>
                    <a:pt x="657697" y="589691"/>
                  </a:lnTo>
                  <a:lnTo>
                    <a:pt x="657001" y="588118"/>
                  </a:lnTo>
                  <a:lnTo>
                    <a:pt x="656668" y="585789"/>
                  </a:lnTo>
                  <a:lnTo>
                    <a:pt x="655791" y="584972"/>
                  </a:lnTo>
                  <a:lnTo>
                    <a:pt x="652886" y="585184"/>
                  </a:lnTo>
                  <a:lnTo>
                    <a:pt x="652886" y="583883"/>
                  </a:lnTo>
                  <a:lnTo>
                    <a:pt x="653492" y="582824"/>
                  </a:lnTo>
                  <a:lnTo>
                    <a:pt x="653371" y="582129"/>
                  </a:lnTo>
                  <a:lnTo>
                    <a:pt x="652675" y="581765"/>
                  </a:lnTo>
                  <a:lnTo>
                    <a:pt x="651495" y="581675"/>
                  </a:lnTo>
                  <a:lnTo>
                    <a:pt x="651495" y="580374"/>
                  </a:lnTo>
                  <a:lnTo>
                    <a:pt x="656002" y="580374"/>
                  </a:lnTo>
                  <a:lnTo>
                    <a:pt x="658271" y="582461"/>
                  </a:lnTo>
                  <a:lnTo>
                    <a:pt x="659391" y="582855"/>
                  </a:lnTo>
                  <a:lnTo>
                    <a:pt x="660056" y="583490"/>
                  </a:lnTo>
                  <a:lnTo>
                    <a:pt x="660812" y="584821"/>
                  </a:lnTo>
                  <a:lnTo>
                    <a:pt x="661811" y="586031"/>
                  </a:lnTo>
                  <a:lnTo>
                    <a:pt x="663232" y="586273"/>
                  </a:lnTo>
                  <a:lnTo>
                    <a:pt x="663928" y="585547"/>
                  </a:lnTo>
                  <a:lnTo>
                    <a:pt x="665622" y="582643"/>
                  </a:lnTo>
                  <a:lnTo>
                    <a:pt x="666651" y="581675"/>
                  </a:lnTo>
                  <a:lnTo>
                    <a:pt x="665743" y="579527"/>
                  </a:lnTo>
                  <a:lnTo>
                    <a:pt x="663868" y="578559"/>
                  </a:lnTo>
                  <a:lnTo>
                    <a:pt x="661659" y="578498"/>
                  </a:lnTo>
                  <a:lnTo>
                    <a:pt x="660177" y="578407"/>
                  </a:lnTo>
                  <a:lnTo>
                    <a:pt x="658846" y="577500"/>
                  </a:lnTo>
                  <a:lnTo>
                    <a:pt x="655791" y="578982"/>
                  </a:lnTo>
                  <a:lnTo>
                    <a:pt x="654157" y="578014"/>
                  </a:lnTo>
                  <a:lnTo>
                    <a:pt x="655912" y="576895"/>
                  </a:lnTo>
                  <a:lnTo>
                    <a:pt x="656517" y="575443"/>
                  </a:lnTo>
                  <a:lnTo>
                    <a:pt x="656154" y="573839"/>
                  </a:lnTo>
                  <a:lnTo>
                    <a:pt x="654883" y="572236"/>
                  </a:lnTo>
                  <a:lnTo>
                    <a:pt x="652130" y="572660"/>
                  </a:lnTo>
                  <a:lnTo>
                    <a:pt x="647411" y="575957"/>
                  </a:lnTo>
                  <a:lnTo>
                    <a:pt x="645263" y="576835"/>
                  </a:lnTo>
                  <a:lnTo>
                    <a:pt x="646655" y="577863"/>
                  </a:lnTo>
                  <a:lnTo>
                    <a:pt x="647320" y="578014"/>
                  </a:lnTo>
                  <a:lnTo>
                    <a:pt x="647320" y="579194"/>
                  </a:lnTo>
                  <a:lnTo>
                    <a:pt x="645172" y="578982"/>
                  </a:lnTo>
                  <a:lnTo>
                    <a:pt x="639697" y="576835"/>
                  </a:lnTo>
                  <a:lnTo>
                    <a:pt x="640665" y="574626"/>
                  </a:lnTo>
                  <a:lnTo>
                    <a:pt x="641149" y="573930"/>
                  </a:lnTo>
                  <a:lnTo>
                    <a:pt x="641754" y="573325"/>
                  </a:lnTo>
                  <a:lnTo>
                    <a:pt x="641754" y="572267"/>
                  </a:lnTo>
                  <a:lnTo>
                    <a:pt x="639425" y="574414"/>
                  </a:lnTo>
                  <a:lnTo>
                    <a:pt x="636248" y="578680"/>
                  </a:lnTo>
                  <a:lnTo>
                    <a:pt x="633253" y="581463"/>
                  </a:lnTo>
                  <a:lnTo>
                    <a:pt x="631468" y="579224"/>
                  </a:lnTo>
                  <a:lnTo>
                    <a:pt x="633435" y="578165"/>
                  </a:lnTo>
                  <a:lnTo>
                    <a:pt x="634221" y="578044"/>
                  </a:lnTo>
                  <a:lnTo>
                    <a:pt x="634221" y="576865"/>
                  </a:lnTo>
                  <a:lnTo>
                    <a:pt x="627354" y="577984"/>
                  </a:lnTo>
                  <a:lnTo>
                    <a:pt x="625206" y="576865"/>
                  </a:lnTo>
                  <a:lnTo>
                    <a:pt x="623543" y="579708"/>
                  </a:lnTo>
                  <a:lnTo>
                    <a:pt x="622181" y="583127"/>
                  </a:lnTo>
                  <a:lnTo>
                    <a:pt x="620608" y="586091"/>
                  </a:lnTo>
                  <a:lnTo>
                    <a:pt x="618339" y="587574"/>
                  </a:lnTo>
                  <a:lnTo>
                    <a:pt x="618339" y="588753"/>
                  </a:lnTo>
                  <a:lnTo>
                    <a:pt x="622907" y="591839"/>
                  </a:lnTo>
                  <a:lnTo>
                    <a:pt x="624541" y="592444"/>
                  </a:lnTo>
                  <a:close/>
                  <a:moveTo>
                    <a:pt x="758040" y="587816"/>
                  </a:moveTo>
                  <a:lnTo>
                    <a:pt x="756982" y="586122"/>
                  </a:lnTo>
                  <a:lnTo>
                    <a:pt x="755076" y="583823"/>
                  </a:lnTo>
                  <a:lnTo>
                    <a:pt x="750568" y="580283"/>
                  </a:lnTo>
                  <a:lnTo>
                    <a:pt x="750236" y="579466"/>
                  </a:lnTo>
                  <a:lnTo>
                    <a:pt x="747785" y="575594"/>
                  </a:lnTo>
                  <a:lnTo>
                    <a:pt x="746847" y="574414"/>
                  </a:lnTo>
                  <a:lnTo>
                    <a:pt x="744488" y="572599"/>
                  </a:lnTo>
                  <a:lnTo>
                    <a:pt x="743580" y="571510"/>
                  </a:lnTo>
                  <a:lnTo>
                    <a:pt x="742703" y="569695"/>
                  </a:lnTo>
                  <a:lnTo>
                    <a:pt x="742370" y="570330"/>
                  </a:lnTo>
                  <a:lnTo>
                    <a:pt x="742038" y="570572"/>
                  </a:lnTo>
                  <a:lnTo>
                    <a:pt x="741251" y="570875"/>
                  </a:lnTo>
                  <a:lnTo>
                    <a:pt x="739950" y="570330"/>
                  </a:lnTo>
                  <a:lnTo>
                    <a:pt x="739224" y="571541"/>
                  </a:lnTo>
                  <a:lnTo>
                    <a:pt x="738619" y="573628"/>
                  </a:lnTo>
                  <a:lnTo>
                    <a:pt x="737742" y="575715"/>
                  </a:lnTo>
                  <a:lnTo>
                    <a:pt x="737076" y="576381"/>
                  </a:lnTo>
                  <a:lnTo>
                    <a:pt x="733053" y="578770"/>
                  </a:lnTo>
                  <a:lnTo>
                    <a:pt x="732357" y="578952"/>
                  </a:lnTo>
                  <a:lnTo>
                    <a:pt x="732115" y="579557"/>
                  </a:lnTo>
                  <a:lnTo>
                    <a:pt x="732236" y="581584"/>
                  </a:lnTo>
                  <a:lnTo>
                    <a:pt x="732750" y="582733"/>
                  </a:lnTo>
                  <a:lnTo>
                    <a:pt x="733597" y="583732"/>
                  </a:lnTo>
                  <a:lnTo>
                    <a:pt x="734111" y="585123"/>
                  </a:lnTo>
                  <a:lnTo>
                    <a:pt x="733688" y="587483"/>
                  </a:lnTo>
                  <a:lnTo>
                    <a:pt x="734414" y="588209"/>
                  </a:lnTo>
                  <a:lnTo>
                    <a:pt x="735412" y="588693"/>
                  </a:lnTo>
                  <a:lnTo>
                    <a:pt x="736562" y="588875"/>
                  </a:lnTo>
                  <a:lnTo>
                    <a:pt x="737772" y="588693"/>
                  </a:lnTo>
                  <a:lnTo>
                    <a:pt x="736501" y="592202"/>
                  </a:lnTo>
                  <a:lnTo>
                    <a:pt x="735140" y="593926"/>
                  </a:lnTo>
                  <a:lnTo>
                    <a:pt x="734777" y="595681"/>
                  </a:lnTo>
                  <a:lnTo>
                    <a:pt x="736441" y="599281"/>
                  </a:lnTo>
                  <a:lnTo>
                    <a:pt x="739920" y="603093"/>
                  </a:lnTo>
                  <a:lnTo>
                    <a:pt x="741311" y="605271"/>
                  </a:lnTo>
                  <a:lnTo>
                    <a:pt x="741251" y="607630"/>
                  </a:lnTo>
                  <a:lnTo>
                    <a:pt x="741674" y="608266"/>
                  </a:lnTo>
                  <a:lnTo>
                    <a:pt x="742189" y="609385"/>
                  </a:lnTo>
                  <a:lnTo>
                    <a:pt x="742673" y="609960"/>
                  </a:lnTo>
                  <a:lnTo>
                    <a:pt x="742673" y="611140"/>
                  </a:lnTo>
                  <a:lnTo>
                    <a:pt x="735019" y="601731"/>
                  </a:lnTo>
                  <a:lnTo>
                    <a:pt x="733688" y="601096"/>
                  </a:lnTo>
                  <a:lnTo>
                    <a:pt x="732508" y="604484"/>
                  </a:lnTo>
                  <a:lnTo>
                    <a:pt x="730360" y="607056"/>
                  </a:lnTo>
                  <a:lnTo>
                    <a:pt x="729362" y="606783"/>
                  </a:lnTo>
                  <a:lnTo>
                    <a:pt x="731661" y="601671"/>
                  </a:lnTo>
                  <a:lnTo>
                    <a:pt x="729967" y="601792"/>
                  </a:lnTo>
                  <a:lnTo>
                    <a:pt x="728576" y="602457"/>
                  </a:lnTo>
                  <a:lnTo>
                    <a:pt x="727245" y="602578"/>
                  </a:lnTo>
                  <a:lnTo>
                    <a:pt x="725823" y="601126"/>
                  </a:lnTo>
                  <a:lnTo>
                    <a:pt x="724673" y="599523"/>
                  </a:lnTo>
                  <a:lnTo>
                    <a:pt x="723584" y="598615"/>
                  </a:lnTo>
                  <a:lnTo>
                    <a:pt x="718895" y="596195"/>
                  </a:lnTo>
                  <a:lnTo>
                    <a:pt x="718199" y="595681"/>
                  </a:lnTo>
                  <a:lnTo>
                    <a:pt x="717231" y="594592"/>
                  </a:lnTo>
                  <a:lnTo>
                    <a:pt x="716959" y="593503"/>
                  </a:lnTo>
                  <a:lnTo>
                    <a:pt x="716808" y="591930"/>
                  </a:lnTo>
                  <a:lnTo>
                    <a:pt x="716414" y="590508"/>
                  </a:lnTo>
                  <a:lnTo>
                    <a:pt x="714206" y="589117"/>
                  </a:lnTo>
                  <a:lnTo>
                    <a:pt x="713087" y="587574"/>
                  </a:lnTo>
                  <a:lnTo>
                    <a:pt x="711665" y="586243"/>
                  </a:lnTo>
                  <a:lnTo>
                    <a:pt x="709578" y="586243"/>
                  </a:lnTo>
                  <a:lnTo>
                    <a:pt x="709578" y="587513"/>
                  </a:lnTo>
                  <a:lnTo>
                    <a:pt x="710727" y="589026"/>
                  </a:lnTo>
                  <a:lnTo>
                    <a:pt x="710515" y="591506"/>
                  </a:lnTo>
                  <a:lnTo>
                    <a:pt x="709457" y="594078"/>
                  </a:lnTo>
                  <a:lnTo>
                    <a:pt x="708126" y="595772"/>
                  </a:lnTo>
                  <a:lnTo>
                    <a:pt x="710637" y="596377"/>
                  </a:lnTo>
                  <a:lnTo>
                    <a:pt x="713722" y="598252"/>
                  </a:lnTo>
                  <a:lnTo>
                    <a:pt x="716294" y="600975"/>
                  </a:lnTo>
                  <a:lnTo>
                    <a:pt x="717292" y="604091"/>
                  </a:lnTo>
                  <a:lnTo>
                    <a:pt x="714327" y="602820"/>
                  </a:lnTo>
                  <a:lnTo>
                    <a:pt x="712542" y="602609"/>
                  </a:lnTo>
                  <a:lnTo>
                    <a:pt x="711756" y="603456"/>
                  </a:lnTo>
                  <a:lnTo>
                    <a:pt x="711544" y="604061"/>
                  </a:lnTo>
                  <a:lnTo>
                    <a:pt x="710606" y="604424"/>
                  </a:lnTo>
                  <a:lnTo>
                    <a:pt x="710364" y="605150"/>
                  </a:lnTo>
                  <a:lnTo>
                    <a:pt x="710546" y="605815"/>
                  </a:lnTo>
                  <a:lnTo>
                    <a:pt x="711453" y="607056"/>
                  </a:lnTo>
                  <a:lnTo>
                    <a:pt x="711726" y="607630"/>
                  </a:lnTo>
                  <a:lnTo>
                    <a:pt x="711998" y="608024"/>
                  </a:lnTo>
                  <a:lnTo>
                    <a:pt x="713722" y="609990"/>
                  </a:lnTo>
                  <a:lnTo>
                    <a:pt x="713238" y="610262"/>
                  </a:lnTo>
                  <a:lnTo>
                    <a:pt x="712815" y="610807"/>
                  </a:lnTo>
                  <a:lnTo>
                    <a:pt x="712391" y="611140"/>
                  </a:lnTo>
                  <a:lnTo>
                    <a:pt x="712391" y="612198"/>
                  </a:lnTo>
                  <a:lnTo>
                    <a:pt x="712966" y="614346"/>
                  </a:lnTo>
                  <a:lnTo>
                    <a:pt x="711635" y="614074"/>
                  </a:lnTo>
                  <a:lnTo>
                    <a:pt x="709820" y="612743"/>
                  </a:lnTo>
                  <a:lnTo>
                    <a:pt x="708882" y="611654"/>
                  </a:lnTo>
                  <a:lnTo>
                    <a:pt x="708247" y="610081"/>
                  </a:lnTo>
                  <a:lnTo>
                    <a:pt x="702922" y="602820"/>
                  </a:lnTo>
                  <a:lnTo>
                    <a:pt x="701984" y="602246"/>
                  </a:lnTo>
                  <a:lnTo>
                    <a:pt x="700926" y="602730"/>
                  </a:lnTo>
                  <a:lnTo>
                    <a:pt x="699564" y="604605"/>
                  </a:lnTo>
                  <a:lnTo>
                    <a:pt x="698808" y="606783"/>
                  </a:lnTo>
                  <a:lnTo>
                    <a:pt x="698990" y="608871"/>
                  </a:lnTo>
                  <a:lnTo>
                    <a:pt x="699897" y="610716"/>
                  </a:lnTo>
                  <a:lnTo>
                    <a:pt x="701289" y="612229"/>
                  </a:lnTo>
                  <a:lnTo>
                    <a:pt x="695118" y="612229"/>
                  </a:lnTo>
                  <a:lnTo>
                    <a:pt x="696207" y="616071"/>
                  </a:lnTo>
                  <a:lnTo>
                    <a:pt x="700381" y="619005"/>
                  </a:lnTo>
                  <a:lnTo>
                    <a:pt x="701319" y="623482"/>
                  </a:lnTo>
                  <a:lnTo>
                    <a:pt x="702106" y="625933"/>
                  </a:lnTo>
                  <a:lnTo>
                    <a:pt x="704011" y="628020"/>
                  </a:lnTo>
                  <a:lnTo>
                    <a:pt x="706371" y="629472"/>
                  </a:lnTo>
                  <a:lnTo>
                    <a:pt x="715628" y="632406"/>
                  </a:lnTo>
                  <a:lnTo>
                    <a:pt x="717292" y="631075"/>
                  </a:lnTo>
                  <a:lnTo>
                    <a:pt x="717503" y="629139"/>
                  </a:lnTo>
                  <a:lnTo>
                    <a:pt x="716384" y="626023"/>
                  </a:lnTo>
                  <a:lnTo>
                    <a:pt x="716535" y="624057"/>
                  </a:lnTo>
                  <a:lnTo>
                    <a:pt x="717473" y="622696"/>
                  </a:lnTo>
                  <a:lnTo>
                    <a:pt x="718653" y="622242"/>
                  </a:lnTo>
                  <a:lnTo>
                    <a:pt x="719803" y="621516"/>
                  </a:lnTo>
                  <a:lnTo>
                    <a:pt x="720650" y="619247"/>
                  </a:lnTo>
                  <a:lnTo>
                    <a:pt x="721588" y="620548"/>
                  </a:lnTo>
                  <a:lnTo>
                    <a:pt x="721951" y="622091"/>
                  </a:lnTo>
                  <a:lnTo>
                    <a:pt x="721829" y="623694"/>
                  </a:lnTo>
                  <a:lnTo>
                    <a:pt x="721315" y="625207"/>
                  </a:lnTo>
                  <a:lnTo>
                    <a:pt x="722646" y="624390"/>
                  </a:lnTo>
                  <a:lnTo>
                    <a:pt x="724643" y="622091"/>
                  </a:lnTo>
                  <a:lnTo>
                    <a:pt x="726125" y="621728"/>
                  </a:lnTo>
                  <a:lnTo>
                    <a:pt x="725641" y="623633"/>
                  </a:lnTo>
                  <a:lnTo>
                    <a:pt x="725853" y="625025"/>
                  </a:lnTo>
                  <a:lnTo>
                    <a:pt x="726519" y="625933"/>
                  </a:lnTo>
                  <a:lnTo>
                    <a:pt x="727426" y="626386"/>
                  </a:lnTo>
                  <a:lnTo>
                    <a:pt x="727154" y="627052"/>
                  </a:lnTo>
                  <a:lnTo>
                    <a:pt x="726851" y="627294"/>
                  </a:lnTo>
                  <a:lnTo>
                    <a:pt x="726125" y="627536"/>
                  </a:lnTo>
                  <a:lnTo>
                    <a:pt x="728061" y="628564"/>
                  </a:lnTo>
                  <a:lnTo>
                    <a:pt x="728878" y="628716"/>
                  </a:lnTo>
                  <a:lnTo>
                    <a:pt x="728878" y="630016"/>
                  </a:lnTo>
                  <a:lnTo>
                    <a:pt x="727426" y="631075"/>
                  </a:lnTo>
                  <a:lnTo>
                    <a:pt x="728666" y="631075"/>
                  </a:lnTo>
                  <a:lnTo>
                    <a:pt x="730875" y="630228"/>
                  </a:lnTo>
                  <a:lnTo>
                    <a:pt x="731994" y="630016"/>
                  </a:lnTo>
                  <a:lnTo>
                    <a:pt x="733144" y="630228"/>
                  </a:lnTo>
                  <a:lnTo>
                    <a:pt x="733809" y="630742"/>
                  </a:lnTo>
                  <a:lnTo>
                    <a:pt x="735110" y="632225"/>
                  </a:lnTo>
                  <a:lnTo>
                    <a:pt x="741432" y="637095"/>
                  </a:lnTo>
                  <a:lnTo>
                    <a:pt x="742733" y="639364"/>
                  </a:lnTo>
                  <a:lnTo>
                    <a:pt x="740041" y="638789"/>
                  </a:lnTo>
                  <a:lnTo>
                    <a:pt x="737923" y="637035"/>
                  </a:lnTo>
                  <a:lnTo>
                    <a:pt x="736138" y="634978"/>
                  </a:lnTo>
                  <a:lnTo>
                    <a:pt x="734354" y="633526"/>
                  </a:lnTo>
                  <a:lnTo>
                    <a:pt x="732115" y="633163"/>
                  </a:lnTo>
                  <a:lnTo>
                    <a:pt x="730118" y="633979"/>
                  </a:lnTo>
                  <a:lnTo>
                    <a:pt x="725490" y="637035"/>
                  </a:lnTo>
                  <a:lnTo>
                    <a:pt x="725792" y="638245"/>
                  </a:lnTo>
                  <a:lnTo>
                    <a:pt x="726156" y="638820"/>
                  </a:lnTo>
                  <a:lnTo>
                    <a:pt x="726609" y="639243"/>
                  </a:lnTo>
                  <a:lnTo>
                    <a:pt x="727123" y="639969"/>
                  </a:lnTo>
                  <a:lnTo>
                    <a:pt x="727426" y="640695"/>
                  </a:lnTo>
                  <a:lnTo>
                    <a:pt x="727940" y="642298"/>
                  </a:lnTo>
                  <a:lnTo>
                    <a:pt x="728182" y="642873"/>
                  </a:lnTo>
                  <a:lnTo>
                    <a:pt x="732932" y="648742"/>
                  </a:lnTo>
                  <a:lnTo>
                    <a:pt x="734626" y="649226"/>
                  </a:lnTo>
                  <a:lnTo>
                    <a:pt x="739254" y="648833"/>
                  </a:lnTo>
                  <a:lnTo>
                    <a:pt x="738649" y="650224"/>
                  </a:lnTo>
                  <a:lnTo>
                    <a:pt x="737863" y="651132"/>
                  </a:lnTo>
                  <a:lnTo>
                    <a:pt x="736925" y="651767"/>
                  </a:lnTo>
                  <a:lnTo>
                    <a:pt x="735836" y="652221"/>
                  </a:lnTo>
                  <a:lnTo>
                    <a:pt x="737348" y="655397"/>
                  </a:lnTo>
                  <a:lnTo>
                    <a:pt x="739285" y="658180"/>
                  </a:lnTo>
                  <a:lnTo>
                    <a:pt x="740858" y="657031"/>
                  </a:lnTo>
                  <a:lnTo>
                    <a:pt x="742552" y="656184"/>
                  </a:lnTo>
                  <a:lnTo>
                    <a:pt x="744336" y="655760"/>
                  </a:lnTo>
                  <a:lnTo>
                    <a:pt x="746212" y="655821"/>
                  </a:lnTo>
                  <a:lnTo>
                    <a:pt x="746212" y="656880"/>
                  </a:lnTo>
                  <a:lnTo>
                    <a:pt x="743157" y="660601"/>
                  </a:lnTo>
                  <a:lnTo>
                    <a:pt x="742007" y="661539"/>
                  </a:lnTo>
                  <a:lnTo>
                    <a:pt x="742007" y="662809"/>
                  </a:lnTo>
                  <a:lnTo>
                    <a:pt x="756225" y="659360"/>
                  </a:lnTo>
                  <a:lnTo>
                    <a:pt x="757980" y="658241"/>
                  </a:lnTo>
                  <a:lnTo>
                    <a:pt x="756528" y="656880"/>
                  </a:lnTo>
                  <a:lnTo>
                    <a:pt x="756528" y="655821"/>
                  </a:lnTo>
                  <a:lnTo>
                    <a:pt x="757526" y="655942"/>
                  </a:lnTo>
                  <a:lnTo>
                    <a:pt x="758403" y="656365"/>
                  </a:lnTo>
                  <a:lnTo>
                    <a:pt x="759220" y="657122"/>
                  </a:lnTo>
                  <a:lnTo>
                    <a:pt x="759946" y="658180"/>
                  </a:lnTo>
                  <a:lnTo>
                    <a:pt x="760763" y="657364"/>
                  </a:lnTo>
                  <a:lnTo>
                    <a:pt x="761338" y="657031"/>
                  </a:lnTo>
                  <a:lnTo>
                    <a:pt x="761882" y="657273"/>
                  </a:lnTo>
                  <a:lnTo>
                    <a:pt x="762699" y="658211"/>
                  </a:lnTo>
                  <a:lnTo>
                    <a:pt x="762881" y="660782"/>
                  </a:lnTo>
                  <a:lnTo>
                    <a:pt x="763304" y="664231"/>
                  </a:lnTo>
                  <a:lnTo>
                    <a:pt x="763879" y="667256"/>
                  </a:lnTo>
                  <a:lnTo>
                    <a:pt x="765180" y="668587"/>
                  </a:lnTo>
                  <a:lnTo>
                    <a:pt x="766662" y="667861"/>
                  </a:lnTo>
                  <a:lnTo>
                    <a:pt x="767600" y="666167"/>
                  </a:lnTo>
                  <a:lnTo>
                    <a:pt x="768447" y="664261"/>
                  </a:lnTo>
                  <a:lnTo>
                    <a:pt x="769687" y="662869"/>
                  </a:lnTo>
                  <a:lnTo>
                    <a:pt x="768991" y="661599"/>
                  </a:lnTo>
                  <a:lnTo>
                    <a:pt x="769990" y="660631"/>
                  </a:lnTo>
                  <a:lnTo>
                    <a:pt x="770686" y="659451"/>
                  </a:lnTo>
                  <a:lnTo>
                    <a:pt x="771744" y="656940"/>
                  </a:lnTo>
                  <a:lnTo>
                    <a:pt x="770534" y="654248"/>
                  </a:lnTo>
                  <a:lnTo>
                    <a:pt x="770111" y="652917"/>
                  </a:lnTo>
                  <a:lnTo>
                    <a:pt x="769687" y="651102"/>
                  </a:lnTo>
                  <a:lnTo>
                    <a:pt x="770867" y="651677"/>
                  </a:lnTo>
                  <a:lnTo>
                    <a:pt x="772168" y="653189"/>
                  </a:lnTo>
                  <a:lnTo>
                    <a:pt x="774558" y="656910"/>
                  </a:lnTo>
                  <a:lnTo>
                    <a:pt x="774769" y="657848"/>
                  </a:lnTo>
                  <a:lnTo>
                    <a:pt x="774769" y="659028"/>
                  </a:lnTo>
                  <a:lnTo>
                    <a:pt x="774951" y="660056"/>
                  </a:lnTo>
                  <a:lnTo>
                    <a:pt x="775496" y="660480"/>
                  </a:lnTo>
                  <a:lnTo>
                    <a:pt x="784087" y="660328"/>
                  </a:lnTo>
                  <a:lnTo>
                    <a:pt x="786900" y="659572"/>
                  </a:lnTo>
                  <a:lnTo>
                    <a:pt x="789684" y="658150"/>
                  </a:lnTo>
                  <a:lnTo>
                    <a:pt x="789684" y="659330"/>
                  </a:lnTo>
                  <a:lnTo>
                    <a:pt x="780003" y="663868"/>
                  </a:lnTo>
                  <a:lnTo>
                    <a:pt x="778853" y="664896"/>
                  </a:lnTo>
                  <a:lnTo>
                    <a:pt x="777946" y="666046"/>
                  </a:lnTo>
                  <a:lnTo>
                    <a:pt x="776100" y="669283"/>
                  </a:lnTo>
                  <a:lnTo>
                    <a:pt x="775405" y="670100"/>
                  </a:lnTo>
                  <a:lnTo>
                    <a:pt x="775102" y="670856"/>
                  </a:lnTo>
                  <a:lnTo>
                    <a:pt x="774679" y="672429"/>
                  </a:lnTo>
                  <a:lnTo>
                    <a:pt x="774376" y="672913"/>
                  </a:lnTo>
                  <a:lnTo>
                    <a:pt x="773771" y="673276"/>
                  </a:lnTo>
                  <a:lnTo>
                    <a:pt x="773771" y="674456"/>
                  </a:lnTo>
                  <a:lnTo>
                    <a:pt x="774043" y="675938"/>
                  </a:lnTo>
                  <a:lnTo>
                    <a:pt x="771321" y="679629"/>
                  </a:lnTo>
                  <a:lnTo>
                    <a:pt x="771018" y="682563"/>
                  </a:lnTo>
                  <a:lnTo>
                    <a:pt x="771986" y="684772"/>
                  </a:lnTo>
                  <a:lnTo>
                    <a:pt x="773408" y="685377"/>
                  </a:lnTo>
                  <a:lnTo>
                    <a:pt x="778763" y="684409"/>
                  </a:lnTo>
                  <a:lnTo>
                    <a:pt x="780638" y="683198"/>
                  </a:lnTo>
                  <a:lnTo>
                    <a:pt x="782272" y="681686"/>
                  </a:lnTo>
                  <a:lnTo>
                    <a:pt x="788171" y="674002"/>
                  </a:lnTo>
                  <a:lnTo>
                    <a:pt x="788957" y="672701"/>
                  </a:lnTo>
                  <a:lnTo>
                    <a:pt x="789925" y="671854"/>
                  </a:lnTo>
                  <a:lnTo>
                    <a:pt x="792043" y="670765"/>
                  </a:lnTo>
                  <a:lnTo>
                    <a:pt x="794161" y="669192"/>
                  </a:lnTo>
                  <a:lnTo>
                    <a:pt x="795129" y="666863"/>
                  </a:lnTo>
                  <a:lnTo>
                    <a:pt x="795310" y="663081"/>
                  </a:lnTo>
                  <a:lnTo>
                    <a:pt x="796006" y="661932"/>
                  </a:lnTo>
                  <a:lnTo>
                    <a:pt x="799999" y="661569"/>
                  </a:lnTo>
                  <a:lnTo>
                    <a:pt x="801512" y="660843"/>
                  </a:lnTo>
                  <a:lnTo>
                    <a:pt x="805172" y="657999"/>
                  </a:lnTo>
                  <a:lnTo>
                    <a:pt x="807229" y="655428"/>
                  </a:lnTo>
                  <a:lnTo>
                    <a:pt x="807986" y="654036"/>
                  </a:lnTo>
                  <a:lnTo>
                    <a:pt x="808379" y="652372"/>
                  </a:lnTo>
                  <a:lnTo>
                    <a:pt x="807925" y="650527"/>
                  </a:lnTo>
                  <a:lnTo>
                    <a:pt x="807925" y="649408"/>
                  </a:lnTo>
                  <a:lnTo>
                    <a:pt x="809559" y="645172"/>
                  </a:lnTo>
                  <a:lnTo>
                    <a:pt x="802056" y="645172"/>
                  </a:lnTo>
                  <a:lnTo>
                    <a:pt x="800392" y="642994"/>
                  </a:lnTo>
                  <a:lnTo>
                    <a:pt x="797428" y="642994"/>
                  </a:lnTo>
                  <a:lnTo>
                    <a:pt x="794614" y="643932"/>
                  </a:lnTo>
                  <a:lnTo>
                    <a:pt x="791741" y="646594"/>
                  </a:lnTo>
                  <a:lnTo>
                    <a:pt x="787566" y="646413"/>
                  </a:lnTo>
                  <a:lnTo>
                    <a:pt x="787021" y="647078"/>
                  </a:lnTo>
                  <a:lnTo>
                    <a:pt x="786416" y="648167"/>
                  </a:lnTo>
                  <a:lnTo>
                    <a:pt x="785509" y="648984"/>
                  </a:lnTo>
                  <a:lnTo>
                    <a:pt x="784057" y="648833"/>
                  </a:lnTo>
                  <a:lnTo>
                    <a:pt x="783391" y="647895"/>
                  </a:lnTo>
                  <a:lnTo>
                    <a:pt x="782726" y="646292"/>
                  </a:lnTo>
                  <a:lnTo>
                    <a:pt x="781788" y="644749"/>
                  </a:lnTo>
                  <a:lnTo>
                    <a:pt x="780275" y="644083"/>
                  </a:lnTo>
                  <a:lnTo>
                    <a:pt x="777734" y="644325"/>
                  </a:lnTo>
                  <a:lnTo>
                    <a:pt x="776403" y="644174"/>
                  </a:lnTo>
                  <a:lnTo>
                    <a:pt x="775435" y="643509"/>
                  </a:lnTo>
                  <a:lnTo>
                    <a:pt x="773196" y="641361"/>
                  </a:lnTo>
                  <a:lnTo>
                    <a:pt x="771139" y="641603"/>
                  </a:lnTo>
                  <a:lnTo>
                    <a:pt x="768931" y="642631"/>
                  </a:lnTo>
                  <a:lnTo>
                    <a:pt x="766178" y="642904"/>
                  </a:lnTo>
                  <a:lnTo>
                    <a:pt x="766178" y="641754"/>
                  </a:lnTo>
                  <a:lnTo>
                    <a:pt x="768719" y="640635"/>
                  </a:lnTo>
                  <a:lnTo>
                    <a:pt x="769899" y="639062"/>
                  </a:lnTo>
                  <a:lnTo>
                    <a:pt x="769475" y="637670"/>
                  </a:lnTo>
                  <a:lnTo>
                    <a:pt x="767176" y="637065"/>
                  </a:lnTo>
                  <a:lnTo>
                    <a:pt x="758555" y="638124"/>
                  </a:lnTo>
                  <a:lnTo>
                    <a:pt x="759916" y="636944"/>
                  </a:lnTo>
                  <a:lnTo>
                    <a:pt x="763304" y="635069"/>
                  </a:lnTo>
                  <a:lnTo>
                    <a:pt x="764030" y="633556"/>
                  </a:lnTo>
                  <a:lnTo>
                    <a:pt x="763365" y="632316"/>
                  </a:lnTo>
                  <a:lnTo>
                    <a:pt x="761852" y="631045"/>
                  </a:lnTo>
                  <a:lnTo>
                    <a:pt x="760400" y="629290"/>
                  </a:lnTo>
                  <a:lnTo>
                    <a:pt x="759916" y="626447"/>
                  </a:lnTo>
                  <a:lnTo>
                    <a:pt x="760521" y="625418"/>
                  </a:lnTo>
                  <a:lnTo>
                    <a:pt x="761580" y="623996"/>
                  </a:lnTo>
                  <a:lnTo>
                    <a:pt x="762155" y="622363"/>
                  </a:lnTo>
                  <a:lnTo>
                    <a:pt x="761277" y="620608"/>
                  </a:lnTo>
                  <a:lnTo>
                    <a:pt x="759765" y="620124"/>
                  </a:lnTo>
                  <a:lnTo>
                    <a:pt x="757980" y="620699"/>
                  </a:lnTo>
                  <a:lnTo>
                    <a:pt x="756316" y="621818"/>
                  </a:lnTo>
                  <a:lnTo>
                    <a:pt x="755106" y="622938"/>
                  </a:lnTo>
                  <a:lnTo>
                    <a:pt x="756014" y="621365"/>
                  </a:lnTo>
                  <a:lnTo>
                    <a:pt x="758676" y="618944"/>
                  </a:lnTo>
                  <a:lnTo>
                    <a:pt x="759220" y="617644"/>
                  </a:lnTo>
                  <a:lnTo>
                    <a:pt x="759402" y="615314"/>
                  </a:lnTo>
                  <a:lnTo>
                    <a:pt x="760309" y="611412"/>
                  </a:lnTo>
                  <a:lnTo>
                    <a:pt x="760581" y="608840"/>
                  </a:lnTo>
                  <a:lnTo>
                    <a:pt x="760400" y="606451"/>
                  </a:lnTo>
                  <a:lnTo>
                    <a:pt x="759432" y="601308"/>
                  </a:lnTo>
                  <a:lnTo>
                    <a:pt x="758524" y="589328"/>
                  </a:lnTo>
                  <a:lnTo>
                    <a:pt x="758071" y="587906"/>
                  </a:lnTo>
                  <a:close/>
                  <a:moveTo>
                    <a:pt x="656244" y="567547"/>
                  </a:moveTo>
                  <a:lnTo>
                    <a:pt x="658060" y="565611"/>
                  </a:lnTo>
                  <a:lnTo>
                    <a:pt x="657152" y="563766"/>
                  </a:lnTo>
                  <a:lnTo>
                    <a:pt x="655246" y="564159"/>
                  </a:lnTo>
                  <a:lnTo>
                    <a:pt x="650981" y="568485"/>
                  </a:lnTo>
                  <a:lnTo>
                    <a:pt x="653371" y="568788"/>
                  </a:lnTo>
                  <a:lnTo>
                    <a:pt x="656275" y="567547"/>
                  </a:lnTo>
                  <a:close/>
                  <a:moveTo>
                    <a:pt x="511824" y="548247"/>
                  </a:moveTo>
                  <a:lnTo>
                    <a:pt x="510251" y="547067"/>
                  </a:lnTo>
                  <a:lnTo>
                    <a:pt x="511280" y="550606"/>
                  </a:lnTo>
                  <a:lnTo>
                    <a:pt x="513276" y="551998"/>
                  </a:lnTo>
                  <a:lnTo>
                    <a:pt x="515484" y="551514"/>
                  </a:lnTo>
                  <a:lnTo>
                    <a:pt x="517148" y="549548"/>
                  </a:lnTo>
                  <a:lnTo>
                    <a:pt x="515454" y="548731"/>
                  </a:lnTo>
                  <a:lnTo>
                    <a:pt x="511824" y="548247"/>
                  </a:lnTo>
                  <a:close/>
                  <a:moveTo>
                    <a:pt x="665380" y="538869"/>
                  </a:moveTo>
                  <a:lnTo>
                    <a:pt x="666772" y="538748"/>
                  </a:lnTo>
                  <a:lnTo>
                    <a:pt x="667800" y="538203"/>
                  </a:lnTo>
                  <a:lnTo>
                    <a:pt x="668496" y="537054"/>
                  </a:lnTo>
                  <a:lnTo>
                    <a:pt x="668859" y="535087"/>
                  </a:lnTo>
                  <a:lnTo>
                    <a:pt x="672429" y="537266"/>
                  </a:lnTo>
                  <a:lnTo>
                    <a:pt x="673639" y="536570"/>
                  </a:lnTo>
                  <a:lnTo>
                    <a:pt x="673639" y="532819"/>
                  </a:lnTo>
                  <a:lnTo>
                    <a:pt x="671794" y="531639"/>
                  </a:lnTo>
                  <a:lnTo>
                    <a:pt x="669555" y="532607"/>
                  </a:lnTo>
                  <a:lnTo>
                    <a:pt x="665380" y="536358"/>
                  </a:lnTo>
                  <a:lnTo>
                    <a:pt x="665532" y="536963"/>
                  </a:lnTo>
                  <a:lnTo>
                    <a:pt x="665653" y="537054"/>
                  </a:lnTo>
                  <a:lnTo>
                    <a:pt x="665653" y="537417"/>
                  </a:lnTo>
                  <a:lnTo>
                    <a:pt x="665411" y="538869"/>
                  </a:lnTo>
                  <a:close/>
                  <a:moveTo>
                    <a:pt x="686224" y="478336"/>
                  </a:moveTo>
                  <a:lnTo>
                    <a:pt x="687494" y="479001"/>
                  </a:lnTo>
                  <a:lnTo>
                    <a:pt x="687494" y="480090"/>
                  </a:lnTo>
                  <a:lnTo>
                    <a:pt x="687161" y="480151"/>
                  </a:lnTo>
                  <a:lnTo>
                    <a:pt x="686102" y="480090"/>
                  </a:lnTo>
                  <a:lnTo>
                    <a:pt x="686102" y="481300"/>
                  </a:lnTo>
                  <a:lnTo>
                    <a:pt x="694361" y="481300"/>
                  </a:lnTo>
                  <a:lnTo>
                    <a:pt x="693907" y="479758"/>
                  </a:lnTo>
                  <a:lnTo>
                    <a:pt x="693272" y="478457"/>
                  </a:lnTo>
                  <a:lnTo>
                    <a:pt x="692516" y="477398"/>
                  </a:lnTo>
                  <a:lnTo>
                    <a:pt x="691608" y="476521"/>
                  </a:lnTo>
                  <a:lnTo>
                    <a:pt x="690580" y="477126"/>
                  </a:lnTo>
                  <a:lnTo>
                    <a:pt x="687343" y="473707"/>
                  </a:lnTo>
                  <a:lnTo>
                    <a:pt x="685437" y="472921"/>
                  </a:lnTo>
                  <a:lnTo>
                    <a:pt x="684802" y="474706"/>
                  </a:lnTo>
                  <a:lnTo>
                    <a:pt x="685195" y="476702"/>
                  </a:lnTo>
                  <a:lnTo>
                    <a:pt x="686224" y="478366"/>
                  </a:lnTo>
                  <a:close/>
                  <a:moveTo>
                    <a:pt x="661962" y="497697"/>
                  </a:moveTo>
                  <a:lnTo>
                    <a:pt x="662537" y="498483"/>
                  </a:lnTo>
                  <a:lnTo>
                    <a:pt x="662022" y="500571"/>
                  </a:lnTo>
                  <a:lnTo>
                    <a:pt x="662809" y="501478"/>
                  </a:lnTo>
                  <a:lnTo>
                    <a:pt x="665774" y="507165"/>
                  </a:lnTo>
                  <a:lnTo>
                    <a:pt x="666590" y="507075"/>
                  </a:lnTo>
                  <a:lnTo>
                    <a:pt x="670947" y="504140"/>
                  </a:lnTo>
                  <a:lnTo>
                    <a:pt x="670493" y="505441"/>
                  </a:lnTo>
                  <a:lnTo>
                    <a:pt x="669857" y="506470"/>
                  </a:lnTo>
                  <a:lnTo>
                    <a:pt x="669071" y="507256"/>
                  </a:lnTo>
                  <a:lnTo>
                    <a:pt x="668163" y="507831"/>
                  </a:lnTo>
                  <a:lnTo>
                    <a:pt x="670977" y="507831"/>
                  </a:lnTo>
                  <a:lnTo>
                    <a:pt x="670977" y="508920"/>
                  </a:lnTo>
                  <a:lnTo>
                    <a:pt x="669827" y="508648"/>
                  </a:lnTo>
                  <a:lnTo>
                    <a:pt x="668799" y="508859"/>
                  </a:lnTo>
                  <a:lnTo>
                    <a:pt x="668012" y="509707"/>
                  </a:lnTo>
                  <a:lnTo>
                    <a:pt x="667558" y="511310"/>
                  </a:lnTo>
                  <a:lnTo>
                    <a:pt x="670523" y="511370"/>
                  </a:lnTo>
                  <a:lnTo>
                    <a:pt x="679992" y="508950"/>
                  </a:lnTo>
                  <a:lnTo>
                    <a:pt x="673881" y="512187"/>
                  </a:lnTo>
                  <a:lnTo>
                    <a:pt x="670614" y="513276"/>
                  </a:lnTo>
                  <a:lnTo>
                    <a:pt x="667558" y="513730"/>
                  </a:lnTo>
                  <a:lnTo>
                    <a:pt x="667770" y="514244"/>
                  </a:lnTo>
                  <a:lnTo>
                    <a:pt x="667831" y="514456"/>
                  </a:lnTo>
                  <a:lnTo>
                    <a:pt x="667891" y="514607"/>
                  </a:lnTo>
                  <a:lnTo>
                    <a:pt x="668194" y="515001"/>
                  </a:lnTo>
                  <a:lnTo>
                    <a:pt x="668194" y="516059"/>
                  </a:lnTo>
                  <a:lnTo>
                    <a:pt x="666197" y="515968"/>
                  </a:lnTo>
                  <a:lnTo>
                    <a:pt x="664896" y="516997"/>
                  </a:lnTo>
                  <a:lnTo>
                    <a:pt x="663717" y="518479"/>
                  </a:lnTo>
                  <a:lnTo>
                    <a:pt x="662083" y="519750"/>
                  </a:lnTo>
                  <a:lnTo>
                    <a:pt x="666802" y="523108"/>
                  </a:lnTo>
                  <a:lnTo>
                    <a:pt x="667679" y="523108"/>
                  </a:lnTo>
                  <a:lnTo>
                    <a:pt x="668950" y="522140"/>
                  </a:lnTo>
                  <a:lnTo>
                    <a:pt x="669767" y="524923"/>
                  </a:lnTo>
                  <a:lnTo>
                    <a:pt x="672429" y="525861"/>
                  </a:lnTo>
                  <a:lnTo>
                    <a:pt x="678237" y="525619"/>
                  </a:lnTo>
                  <a:lnTo>
                    <a:pt x="679750" y="526193"/>
                  </a:lnTo>
                  <a:lnTo>
                    <a:pt x="682382" y="528735"/>
                  </a:lnTo>
                  <a:lnTo>
                    <a:pt x="683773" y="529309"/>
                  </a:lnTo>
                  <a:lnTo>
                    <a:pt x="689612" y="529309"/>
                  </a:lnTo>
                  <a:lnTo>
                    <a:pt x="689612" y="530489"/>
                  </a:lnTo>
                  <a:lnTo>
                    <a:pt x="688825" y="530641"/>
                  </a:lnTo>
                  <a:lnTo>
                    <a:pt x="686919" y="531790"/>
                  </a:lnTo>
                  <a:lnTo>
                    <a:pt x="687192" y="532365"/>
                  </a:lnTo>
                  <a:lnTo>
                    <a:pt x="687524" y="532849"/>
                  </a:lnTo>
                  <a:lnTo>
                    <a:pt x="688341" y="533514"/>
                  </a:lnTo>
                  <a:lnTo>
                    <a:pt x="689309" y="534271"/>
                  </a:lnTo>
                  <a:lnTo>
                    <a:pt x="690277" y="535148"/>
                  </a:lnTo>
                  <a:lnTo>
                    <a:pt x="688311" y="533666"/>
                  </a:lnTo>
                  <a:lnTo>
                    <a:pt x="685316" y="533030"/>
                  </a:lnTo>
                  <a:lnTo>
                    <a:pt x="682321" y="533666"/>
                  </a:lnTo>
                  <a:lnTo>
                    <a:pt x="677209" y="536418"/>
                  </a:lnTo>
                  <a:lnTo>
                    <a:pt x="677209" y="537598"/>
                  </a:lnTo>
                  <a:lnTo>
                    <a:pt x="682079" y="541047"/>
                  </a:lnTo>
                  <a:lnTo>
                    <a:pt x="677239" y="540896"/>
                  </a:lnTo>
                  <a:lnTo>
                    <a:pt x="674970" y="541592"/>
                  </a:lnTo>
                  <a:lnTo>
                    <a:pt x="673699" y="543528"/>
                  </a:lnTo>
                  <a:lnTo>
                    <a:pt x="665441" y="550637"/>
                  </a:lnTo>
                  <a:lnTo>
                    <a:pt x="665048" y="548489"/>
                  </a:lnTo>
                  <a:lnTo>
                    <a:pt x="664503" y="547037"/>
                  </a:lnTo>
                  <a:lnTo>
                    <a:pt x="663656" y="546220"/>
                  </a:lnTo>
                  <a:lnTo>
                    <a:pt x="662416" y="545978"/>
                  </a:lnTo>
                  <a:lnTo>
                    <a:pt x="660843" y="546401"/>
                  </a:lnTo>
                  <a:lnTo>
                    <a:pt x="660903" y="547460"/>
                  </a:lnTo>
                  <a:lnTo>
                    <a:pt x="661629" y="548791"/>
                  </a:lnTo>
                  <a:lnTo>
                    <a:pt x="662083" y="550032"/>
                  </a:lnTo>
                  <a:lnTo>
                    <a:pt x="663202" y="550788"/>
                  </a:lnTo>
                  <a:lnTo>
                    <a:pt x="669283" y="557897"/>
                  </a:lnTo>
                  <a:lnTo>
                    <a:pt x="670281" y="558442"/>
                  </a:lnTo>
                  <a:lnTo>
                    <a:pt x="675394" y="564038"/>
                  </a:lnTo>
                  <a:lnTo>
                    <a:pt x="676120" y="564341"/>
                  </a:lnTo>
                  <a:lnTo>
                    <a:pt x="677965" y="562525"/>
                  </a:lnTo>
                  <a:lnTo>
                    <a:pt x="684136" y="558593"/>
                  </a:lnTo>
                  <a:lnTo>
                    <a:pt x="686224" y="556596"/>
                  </a:lnTo>
                  <a:lnTo>
                    <a:pt x="685770" y="556263"/>
                  </a:lnTo>
                  <a:lnTo>
                    <a:pt x="685286" y="555749"/>
                  </a:lnTo>
                  <a:lnTo>
                    <a:pt x="684802" y="555416"/>
                  </a:lnTo>
                  <a:lnTo>
                    <a:pt x="687464" y="553420"/>
                  </a:lnTo>
                  <a:lnTo>
                    <a:pt x="688583" y="552270"/>
                  </a:lnTo>
                  <a:lnTo>
                    <a:pt x="689702" y="550576"/>
                  </a:lnTo>
                  <a:lnTo>
                    <a:pt x="689037" y="549941"/>
                  </a:lnTo>
                  <a:lnTo>
                    <a:pt x="688190" y="548731"/>
                  </a:lnTo>
                  <a:lnTo>
                    <a:pt x="687645" y="548338"/>
                  </a:lnTo>
                  <a:lnTo>
                    <a:pt x="688341" y="547037"/>
                  </a:lnTo>
                  <a:lnTo>
                    <a:pt x="693030" y="550243"/>
                  </a:lnTo>
                  <a:lnTo>
                    <a:pt x="695269" y="550576"/>
                  </a:lnTo>
                  <a:lnTo>
                    <a:pt x="695269" y="549487"/>
                  </a:lnTo>
                  <a:lnTo>
                    <a:pt x="694543" y="549487"/>
                  </a:lnTo>
                  <a:lnTo>
                    <a:pt x="694543" y="548307"/>
                  </a:lnTo>
                  <a:lnTo>
                    <a:pt x="696327" y="548489"/>
                  </a:lnTo>
                  <a:lnTo>
                    <a:pt x="698143" y="548156"/>
                  </a:lnTo>
                  <a:lnTo>
                    <a:pt x="699504" y="547279"/>
                  </a:lnTo>
                  <a:lnTo>
                    <a:pt x="700018" y="545887"/>
                  </a:lnTo>
                  <a:lnTo>
                    <a:pt x="699625" y="544919"/>
                  </a:lnTo>
                  <a:lnTo>
                    <a:pt x="697265" y="540956"/>
                  </a:lnTo>
                  <a:lnTo>
                    <a:pt x="696388" y="540381"/>
                  </a:lnTo>
                  <a:lnTo>
                    <a:pt x="694240" y="539504"/>
                  </a:lnTo>
                  <a:lnTo>
                    <a:pt x="693091" y="538778"/>
                  </a:lnTo>
                  <a:lnTo>
                    <a:pt x="693907" y="537538"/>
                  </a:lnTo>
                  <a:lnTo>
                    <a:pt x="694422" y="536418"/>
                  </a:lnTo>
                  <a:lnTo>
                    <a:pt x="694966" y="535541"/>
                  </a:lnTo>
                  <a:lnTo>
                    <a:pt x="695904" y="534966"/>
                  </a:lnTo>
                  <a:lnTo>
                    <a:pt x="699413" y="536842"/>
                  </a:lnTo>
                  <a:lnTo>
                    <a:pt x="707672" y="538748"/>
                  </a:lnTo>
                  <a:lnTo>
                    <a:pt x="707248" y="535057"/>
                  </a:lnTo>
                  <a:lnTo>
                    <a:pt x="706976" y="533877"/>
                  </a:lnTo>
                  <a:lnTo>
                    <a:pt x="706522" y="533484"/>
                  </a:lnTo>
                  <a:lnTo>
                    <a:pt x="705706" y="533212"/>
                  </a:lnTo>
                  <a:lnTo>
                    <a:pt x="704828" y="532728"/>
                  </a:lnTo>
                  <a:lnTo>
                    <a:pt x="704163" y="531609"/>
                  </a:lnTo>
                  <a:lnTo>
                    <a:pt x="704889" y="531487"/>
                  </a:lnTo>
                  <a:lnTo>
                    <a:pt x="705403" y="531124"/>
                  </a:lnTo>
                  <a:lnTo>
                    <a:pt x="705826" y="530671"/>
                  </a:lnTo>
                  <a:lnTo>
                    <a:pt x="706371" y="530338"/>
                  </a:lnTo>
                  <a:lnTo>
                    <a:pt x="705433" y="529128"/>
                  </a:lnTo>
                  <a:lnTo>
                    <a:pt x="704465" y="527494"/>
                  </a:lnTo>
                  <a:lnTo>
                    <a:pt x="703316" y="526073"/>
                  </a:lnTo>
                  <a:lnTo>
                    <a:pt x="701894" y="525467"/>
                  </a:lnTo>
                  <a:lnTo>
                    <a:pt x="700775" y="524378"/>
                  </a:lnTo>
                  <a:lnTo>
                    <a:pt x="698687" y="519145"/>
                  </a:lnTo>
                  <a:lnTo>
                    <a:pt x="697356" y="517239"/>
                  </a:lnTo>
                  <a:lnTo>
                    <a:pt x="699322" y="516090"/>
                  </a:lnTo>
                  <a:lnTo>
                    <a:pt x="702166" y="513579"/>
                  </a:lnTo>
                  <a:lnTo>
                    <a:pt x="704526" y="510796"/>
                  </a:lnTo>
                  <a:lnTo>
                    <a:pt x="704980" y="508799"/>
                  </a:lnTo>
                  <a:lnTo>
                    <a:pt x="704980" y="507710"/>
                  </a:lnTo>
                  <a:lnTo>
                    <a:pt x="714660" y="507710"/>
                  </a:lnTo>
                  <a:lnTo>
                    <a:pt x="714660" y="508799"/>
                  </a:lnTo>
                  <a:lnTo>
                    <a:pt x="710878" y="509041"/>
                  </a:lnTo>
                  <a:lnTo>
                    <a:pt x="707218" y="510130"/>
                  </a:lnTo>
                  <a:lnTo>
                    <a:pt x="704314" y="512671"/>
                  </a:lnTo>
                  <a:lnTo>
                    <a:pt x="702832" y="517239"/>
                  </a:lnTo>
                  <a:lnTo>
                    <a:pt x="702983" y="519750"/>
                  </a:lnTo>
                  <a:lnTo>
                    <a:pt x="703769" y="522079"/>
                  </a:lnTo>
                  <a:lnTo>
                    <a:pt x="706522" y="527313"/>
                  </a:lnTo>
                  <a:lnTo>
                    <a:pt x="707158" y="529461"/>
                  </a:lnTo>
                  <a:lnTo>
                    <a:pt x="707672" y="530368"/>
                  </a:lnTo>
                  <a:lnTo>
                    <a:pt x="708670" y="531215"/>
                  </a:lnTo>
                  <a:lnTo>
                    <a:pt x="711877" y="532728"/>
                  </a:lnTo>
                  <a:lnTo>
                    <a:pt x="712572" y="531639"/>
                  </a:lnTo>
                  <a:lnTo>
                    <a:pt x="711816" y="530459"/>
                  </a:lnTo>
                  <a:lnTo>
                    <a:pt x="710848" y="528341"/>
                  </a:lnTo>
                  <a:lnTo>
                    <a:pt x="710304" y="526375"/>
                  </a:lnTo>
                  <a:lnTo>
                    <a:pt x="710818" y="525498"/>
                  </a:lnTo>
                  <a:lnTo>
                    <a:pt x="711786" y="525861"/>
                  </a:lnTo>
                  <a:lnTo>
                    <a:pt x="712331" y="526799"/>
                  </a:lnTo>
                  <a:lnTo>
                    <a:pt x="713208" y="529158"/>
                  </a:lnTo>
                  <a:lnTo>
                    <a:pt x="714448" y="531034"/>
                  </a:lnTo>
                  <a:lnTo>
                    <a:pt x="715991" y="532365"/>
                  </a:lnTo>
                  <a:lnTo>
                    <a:pt x="717866" y="532698"/>
                  </a:lnTo>
                  <a:lnTo>
                    <a:pt x="720105" y="531639"/>
                  </a:lnTo>
                  <a:lnTo>
                    <a:pt x="720105" y="530338"/>
                  </a:lnTo>
                  <a:lnTo>
                    <a:pt x="719651" y="529975"/>
                  </a:lnTo>
                  <a:lnTo>
                    <a:pt x="719167" y="529461"/>
                  </a:lnTo>
                  <a:lnTo>
                    <a:pt x="718714" y="529158"/>
                  </a:lnTo>
                  <a:lnTo>
                    <a:pt x="718714" y="527857"/>
                  </a:lnTo>
                  <a:lnTo>
                    <a:pt x="720559" y="528311"/>
                  </a:lnTo>
                  <a:lnTo>
                    <a:pt x="721829" y="528977"/>
                  </a:lnTo>
                  <a:lnTo>
                    <a:pt x="723100" y="529098"/>
                  </a:lnTo>
                  <a:lnTo>
                    <a:pt x="724915" y="527857"/>
                  </a:lnTo>
                  <a:lnTo>
                    <a:pt x="725762" y="526678"/>
                  </a:lnTo>
                  <a:lnTo>
                    <a:pt x="727396" y="523895"/>
                  </a:lnTo>
                  <a:lnTo>
                    <a:pt x="728364" y="523199"/>
                  </a:lnTo>
                  <a:lnTo>
                    <a:pt x="728364" y="522019"/>
                  </a:lnTo>
                  <a:lnTo>
                    <a:pt x="726942" y="520204"/>
                  </a:lnTo>
                  <a:lnTo>
                    <a:pt x="723372" y="519236"/>
                  </a:lnTo>
                  <a:lnTo>
                    <a:pt x="721799" y="517784"/>
                  </a:lnTo>
                  <a:lnTo>
                    <a:pt x="719651" y="516937"/>
                  </a:lnTo>
                  <a:lnTo>
                    <a:pt x="718804" y="516180"/>
                  </a:lnTo>
                  <a:lnTo>
                    <a:pt x="719379" y="514879"/>
                  </a:lnTo>
                  <a:lnTo>
                    <a:pt x="719954" y="514879"/>
                  </a:lnTo>
                  <a:lnTo>
                    <a:pt x="722071" y="515727"/>
                  </a:lnTo>
                  <a:lnTo>
                    <a:pt x="731510" y="517239"/>
                  </a:lnTo>
                  <a:lnTo>
                    <a:pt x="733870" y="516634"/>
                  </a:lnTo>
                  <a:lnTo>
                    <a:pt x="735473" y="515122"/>
                  </a:lnTo>
                  <a:lnTo>
                    <a:pt x="736895" y="513155"/>
                  </a:lnTo>
                  <a:lnTo>
                    <a:pt x="738770" y="511159"/>
                  </a:lnTo>
                  <a:lnTo>
                    <a:pt x="737500" y="511280"/>
                  </a:lnTo>
                  <a:lnTo>
                    <a:pt x="736229" y="511128"/>
                  </a:lnTo>
                  <a:lnTo>
                    <a:pt x="735049" y="510705"/>
                  </a:lnTo>
                  <a:lnTo>
                    <a:pt x="733960" y="509948"/>
                  </a:lnTo>
                  <a:lnTo>
                    <a:pt x="734928" y="509797"/>
                  </a:lnTo>
                  <a:lnTo>
                    <a:pt x="735806" y="509374"/>
                  </a:lnTo>
                  <a:lnTo>
                    <a:pt x="736622" y="508678"/>
                  </a:lnTo>
                  <a:lnTo>
                    <a:pt x="737379" y="507680"/>
                  </a:lnTo>
                  <a:lnTo>
                    <a:pt x="736411" y="506681"/>
                  </a:lnTo>
                  <a:lnTo>
                    <a:pt x="736017" y="506379"/>
                  </a:lnTo>
                  <a:lnTo>
                    <a:pt x="736138" y="504110"/>
                  </a:lnTo>
                  <a:lnTo>
                    <a:pt x="735594" y="501871"/>
                  </a:lnTo>
                  <a:lnTo>
                    <a:pt x="734565" y="500117"/>
                  </a:lnTo>
                  <a:lnTo>
                    <a:pt x="733265" y="499240"/>
                  </a:lnTo>
                  <a:lnTo>
                    <a:pt x="731903" y="499451"/>
                  </a:lnTo>
                  <a:lnTo>
                    <a:pt x="728817" y="501206"/>
                  </a:lnTo>
                  <a:lnTo>
                    <a:pt x="715749" y="504110"/>
                  </a:lnTo>
                  <a:lnTo>
                    <a:pt x="711907" y="504019"/>
                  </a:lnTo>
                  <a:lnTo>
                    <a:pt x="711907" y="502839"/>
                  </a:lnTo>
                  <a:lnTo>
                    <a:pt x="713541" y="502960"/>
                  </a:lnTo>
                  <a:lnTo>
                    <a:pt x="718774" y="501629"/>
                  </a:lnTo>
                  <a:lnTo>
                    <a:pt x="721527" y="499240"/>
                  </a:lnTo>
                  <a:lnTo>
                    <a:pt x="722465" y="499360"/>
                  </a:lnTo>
                  <a:lnTo>
                    <a:pt x="724008" y="500359"/>
                  </a:lnTo>
                  <a:lnTo>
                    <a:pt x="724945" y="500419"/>
                  </a:lnTo>
                  <a:lnTo>
                    <a:pt x="726458" y="499512"/>
                  </a:lnTo>
                  <a:lnTo>
                    <a:pt x="729816" y="495640"/>
                  </a:lnTo>
                  <a:lnTo>
                    <a:pt x="734898" y="494581"/>
                  </a:lnTo>
                  <a:lnTo>
                    <a:pt x="736683" y="493250"/>
                  </a:lnTo>
                  <a:lnTo>
                    <a:pt x="736259" y="491919"/>
                  </a:lnTo>
                  <a:lnTo>
                    <a:pt x="736199" y="491041"/>
                  </a:lnTo>
                  <a:lnTo>
                    <a:pt x="736562" y="490346"/>
                  </a:lnTo>
                  <a:lnTo>
                    <a:pt x="737409" y="489559"/>
                  </a:lnTo>
                  <a:lnTo>
                    <a:pt x="736320" y="487563"/>
                  </a:lnTo>
                  <a:lnTo>
                    <a:pt x="733991" y="481179"/>
                  </a:lnTo>
                  <a:lnTo>
                    <a:pt x="735564" y="481179"/>
                  </a:lnTo>
                  <a:lnTo>
                    <a:pt x="738559" y="483025"/>
                  </a:lnTo>
                  <a:lnTo>
                    <a:pt x="740253" y="483569"/>
                  </a:lnTo>
                  <a:lnTo>
                    <a:pt x="744730" y="483025"/>
                  </a:lnTo>
                  <a:lnTo>
                    <a:pt x="746424" y="483569"/>
                  </a:lnTo>
                  <a:lnTo>
                    <a:pt x="749389" y="485475"/>
                  </a:lnTo>
                  <a:lnTo>
                    <a:pt x="750780" y="485687"/>
                  </a:lnTo>
                  <a:lnTo>
                    <a:pt x="752626" y="484779"/>
                  </a:lnTo>
                  <a:lnTo>
                    <a:pt x="752989" y="484295"/>
                  </a:lnTo>
                  <a:lnTo>
                    <a:pt x="753957" y="482601"/>
                  </a:lnTo>
                  <a:lnTo>
                    <a:pt x="754652" y="481815"/>
                  </a:lnTo>
                  <a:lnTo>
                    <a:pt x="755530" y="481210"/>
                  </a:lnTo>
                  <a:lnTo>
                    <a:pt x="758192" y="480000"/>
                  </a:lnTo>
                  <a:lnTo>
                    <a:pt x="757708" y="478245"/>
                  </a:lnTo>
                  <a:lnTo>
                    <a:pt x="757435" y="477610"/>
                  </a:lnTo>
                  <a:lnTo>
                    <a:pt x="757859" y="477035"/>
                  </a:lnTo>
                  <a:lnTo>
                    <a:pt x="758343" y="475946"/>
                  </a:lnTo>
                  <a:lnTo>
                    <a:pt x="758827" y="475099"/>
                  </a:lnTo>
                  <a:lnTo>
                    <a:pt x="758192" y="475099"/>
                  </a:lnTo>
                  <a:lnTo>
                    <a:pt x="758192" y="474010"/>
                  </a:lnTo>
                  <a:lnTo>
                    <a:pt x="759129" y="472709"/>
                  </a:lnTo>
                  <a:lnTo>
                    <a:pt x="758071" y="472618"/>
                  </a:lnTo>
                  <a:lnTo>
                    <a:pt x="756195" y="473223"/>
                  </a:lnTo>
                  <a:lnTo>
                    <a:pt x="754683" y="474040"/>
                  </a:lnTo>
                  <a:lnTo>
                    <a:pt x="749812" y="478941"/>
                  </a:lnTo>
                  <a:lnTo>
                    <a:pt x="747029" y="480090"/>
                  </a:lnTo>
                  <a:lnTo>
                    <a:pt x="743005" y="480332"/>
                  </a:lnTo>
                  <a:lnTo>
                    <a:pt x="739285" y="479274"/>
                  </a:lnTo>
                  <a:lnTo>
                    <a:pt x="737439" y="476430"/>
                  </a:lnTo>
                  <a:lnTo>
                    <a:pt x="740222" y="476369"/>
                  </a:lnTo>
                  <a:lnTo>
                    <a:pt x="741342" y="476006"/>
                  </a:lnTo>
                  <a:lnTo>
                    <a:pt x="742249" y="475129"/>
                  </a:lnTo>
                  <a:lnTo>
                    <a:pt x="742401" y="473828"/>
                  </a:lnTo>
                  <a:lnTo>
                    <a:pt x="742098" y="472285"/>
                  </a:lnTo>
                  <a:lnTo>
                    <a:pt x="742310" y="470985"/>
                  </a:lnTo>
                  <a:lnTo>
                    <a:pt x="745305" y="469865"/>
                  </a:lnTo>
                  <a:lnTo>
                    <a:pt x="746273" y="467385"/>
                  </a:lnTo>
                  <a:lnTo>
                    <a:pt x="747452" y="466840"/>
                  </a:lnTo>
                  <a:lnTo>
                    <a:pt x="748753" y="466568"/>
                  </a:lnTo>
                  <a:lnTo>
                    <a:pt x="749510" y="465842"/>
                  </a:lnTo>
                  <a:lnTo>
                    <a:pt x="749661" y="464692"/>
                  </a:lnTo>
                  <a:lnTo>
                    <a:pt x="749147" y="463150"/>
                  </a:lnTo>
                  <a:lnTo>
                    <a:pt x="750810" y="461425"/>
                  </a:lnTo>
                  <a:lnTo>
                    <a:pt x="755318" y="458249"/>
                  </a:lnTo>
                  <a:lnTo>
                    <a:pt x="757466" y="457251"/>
                  </a:lnTo>
                  <a:lnTo>
                    <a:pt x="757466" y="455950"/>
                  </a:lnTo>
                  <a:lnTo>
                    <a:pt x="755983" y="456010"/>
                  </a:lnTo>
                  <a:lnTo>
                    <a:pt x="754652" y="455556"/>
                  </a:lnTo>
                  <a:lnTo>
                    <a:pt x="753503" y="454679"/>
                  </a:lnTo>
                  <a:lnTo>
                    <a:pt x="752656" y="453530"/>
                  </a:lnTo>
                  <a:lnTo>
                    <a:pt x="754955" y="446209"/>
                  </a:lnTo>
                  <a:lnTo>
                    <a:pt x="755711" y="445210"/>
                  </a:lnTo>
                  <a:lnTo>
                    <a:pt x="757526" y="444363"/>
                  </a:lnTo>
                  <a:lnTo>
                    <a:pt x="757224" y="442518"/>
                  </a:lnTo>
                  <a:lnTo>
                    <a:pt x="755409" y="439674"/>
                  </a:lnTo>
                  <a:lnTo>
                    <a:pt x="754924" y="436861"/>
                  </a:lnTo>
                  <a:lnTo>
                    <a:pt x="753654" y="433473"/>
                  </a:lnTo>
                  <a:lnTo>
                    <a:pt x="751869" y="430297"/>
                  </a:lnTo>
                  <a:lnTo>
                    <a:pt x="749842" y="428209"/>
                  </a:lnTo>
                  <a:lnTo>
                    <a:pt x="747392" y="428028"/>
                  </a:lnTo>
                  <a:lnTo>
                    <a:pt x="744488" y="430660"/>
                  </a:lnTo>
                  <a:lnTo>
                    <a:pt x="739527" y="436680"/>
                  </a:lnTo>
                  <a:lnTo>
                    <a:pt x="721648" y="449476"/>
                  </a:lnTo>
                  <a:lnTo>
                    <a:pt x="719107" y="452652"/>
                  </a:lnTo>
                  <a:lnTo>
                    <a:pt x="718199" y="453409"/>
                  </a:lnTo>
                  <a:lnTo>
                    <a:pt x="711846" y="456555"/>
                  </a:lnTo>
                  <a:lnTo>
                    <a:pt x="709154" y="457311"/>
                  </a:lnTo>
                  <a:lnTo>
                    <a:pt x="705706" y="457311"/>
                  </a:lnTo>
                  <a:lnTo>
                    <a:pt x="704858" y="457886"/>
                  </a:lnTo>
                  <a:lnTo>
                    <a:pt x="704223" y="458733"/>
                  </a:lnTo>
                  <a:lnTo>
                    <a:pt x="703467" y="459187"/>
                  </a:lnTo>
                  <a:lnTo>
                    <a:pt x="702257" y="458521"/>
                  </a:lnTo>
                  <a:lnTo>
                    <a:pt x="700109" y="461334"/>
                  </a:lnTo>
                  <a:lnTo>
                    <a:pt x="691881" y="468111"/>
                  </a:lnTo>
                  <a:lnTo>
                    <a:pt x="692970" y="468050"/>
                  </a:lnTo>
                  <a:lnTo>
                    <a:pt x="693635" y="468413"/>
                  </a:lnTo>
                  <a:lnTo>
                    <a:pt x="694119" y="469230"/>
                  </a:lnTo>
                  <a:lnTo>
                    <a:pt x="694633" y="470501"/>
                  </a:lnTo>
                  <a:lnTo>
                    <a:pt x="693938" y="470561"/>
                  </a:lnTo>
                  <a:lnTo>
                    <a:pt x="693454" y="470924"/>
                  </a:lnTo>
                  <a:lnTo>
                    <a:pt x="693060" y="471348"/>
                  </a:lnTo>
                  <a:lnTo>
                    <a:pt x="692546" y="471681"/>
                  </a:lnTo>
                  <a:lnTo>
                    <a:pt x="692970" y="472709"/>
                  </a:lnTo>
                  <a:lnTo>
                    <a:pt x="693454" y="473586"/>
                  </a:lnTo>
                  <a:lnTo>
                    <a:pt x="694603" y="475159"/>
                  </a:lnTo>
                  <a:lnTo>
                    <a:pt x="694785" y="475643"/>
                  </a:lnTo>
                  <a:lnTo>
                    <a:pt x="695178" y="477247"/>
                  </a:lnTo>
                  <a:lnTo>
                    <a:pt x="695359" y="477701"/>
                  </a:lnTo>
                  <a:lnTo>
                    <a:pt x="695964" y="477852"/>
                  </a:lnTo>
                  <a:lnTo>
                    <a:pt x="697447" y="477458"/>
                  </a:lnTo>
                  <a:lnTo>
                    <a:pt x="698022" y="477670"/>
                  </a:lnTo>
                  <a:lnTo>
                    <a:pt x="698475" y="478669"/>
                  </a:lnTo>
                  <a:lnTo>
                    <a:pt x="699050" y="481421"/>
                  </a:lnTo>
                  <a:lnTo>
                    <a:pt x="699443" y="482480"/>
                  </a:lnTo>
                  <a:lnTo>
                    <a:pt x="700290" y="483418"/>
                  </a:lnTo>
                  <a:lnTo>
                    <a:pt x="702801" y="484870"/>
                  </a:lnTo>
                  <a:lnTo>
                    <a:pt x="700049" y="488561"/>
                  </a:lnTo>
                  <a:lnTo>
                    <a:pt x="698869" y="486020"/>
                  </a:lnTo>
                  <a:lnTo>
                    <a:pt x="696449" y="483811"/>
                  </a:lnTo>
                  <a:lnTo>
                    <a:pt x="693847" y="482601"/>
                  </a:lnTo>
                  <a:lnTo>
                    <a:pt x="692153" y="483085"/>
                  </a:lnTo>
                  <a:lnTo>
                    <a:pt x="691155" y="483841"/>
                  </a:lnTo>
                  <a:lnTo>
                    <a:pt x="686677" y="484900"/>
                  </a:lnTo>
                  <a:lnTo>
                    <a:pt x="686345" y="485445"/>
                  </a:lnTo>
                  <a:lnTo>
                    <a:pt x="686224" y="486655"/>
                  </a:lnTo>
                  <a:lnTo>
                    <a:pt x="685861" y="487926"/>
                  </a:lnTo>
                  <a:lnTo>
                    <a:pt x="684862" y="488591"/>
                  </a:lnTo>
                  <a:lnTo>
                    <a:pt x="685467" y="490315"/>
                  </a:lnTo>
                  <a:lnTo>
                    <a:pt x="686980" y="493371"/>
                  </a:lnTo>
                  <a:lnTo>
                    <a:pt x="687676" y="494490"/>
                  </a:lnTo>
                  <a:lnTo>
                    <a:pt x="687464" y="496850"/>
                  </a:lnTo>
                  <a:lnTo>
                    <a:pt x="687464" y="497818"/>
                  </a:lnTo>
                  <a:lnTo>
                    <a:pt x="687676" y="499391"/>
                  </a:lnTo>
                  <a:lnTo>
                    <a:pt x="686345" y="497636"/>
                  </a:lnTo>
                  <a:lnTo>
                    <a:pt x="684802" y="494309"/>
                  </a:lnTo>
                  <a:lnTo>
                    <a:pt x="683773" y="490648"/>
                  </a:lnTo>
                  <a:lnTo>
                    <a:pt x="683894" y="487956"/>
                  </a:lnTo>
                  <a:lnTo>
                    <a:pt x="682624" y="486625"/>
                  </a:lnTo>
                  <a:lnTo>
                    <a:pt x="680536" y="483630"/>
                  </a:lnTo>
                  <a:lnTo>
                    <a:pt x="679871" y="481149"/>
                  </a:lnTo>
                  <a:lnTo>
                    <a:pt x="682866" y="481331"/>
                  </a:lnTo>
                  <a:lnTo>
                    <a:pt x="682866" y="480121"/>
                  </a:lnTo>
                  <a:lnTo>
                    <a:pt x="677360" y="477761"/>
                  </a:lnTo>
                  <a:lnTo>
                    <a:pt x="676604" y="478366"/>
                  </a:lnTo>
                  <a:lnTo>
                    <a:pt x="675817" y="478245"/>
                  </a:lnTo>
                  <a:lnTo>
                    <a:pt x="671915" y="476279"/>
                  </a:lnTo>
                  <a:lnTo>
                    <a:pt x="670432" y="475220"/>
                  </a:lnTo>
                  <a:lnTo>
                    <a:pt x="668496" y="477398"/>
                  </a:lnTo>
                  <a:lnTo>
                    <a:pt x="667891" y="478578"/>
                  </a:lnTo>
                  <a:lnTo>
                    <a:pt x="667679" y="480726"/>
                  </a:lnTo>
                  <a:lnTo>
                    <a:pt x="668103" y="482843"/>
                  </a:lnTo>
                  <a:lnTo>
                    <a:pt x="669162" y="483781"/>
                  </a:lnTo>
                  <a:lnTo>
                    <a:pt x="671794" y="484931"/>
                  </a:lnTo>
                  <a:lnTo>
                    <a:pt x="669737" y="485778"/>
                  </a:lnTo>
                  <a:lnTo>
                    <a:pt x="662174" y="486231"/>
                  </a:lnTo>
                  <a:lnTo>
                    <a:pt x="662174" y="487320"/>
                  </a:lnTo>
                  <a:lnTo>
                    <a:pt x="662718" y="487623"/>
                  </a:lnTo>
                  <a:lnTo>
                    <a:pt x="663444" y="488319"/>
                  </a:lnTo>
                  <a:lnTo>
                    <a:pt x="664170" y="488621"/>
                  </a:lnTo>
                  <a:lnTo>
                    <a:pt x="663717" y="489559"/>
                  </a:lnTo>
                  <a:lnTo>
                    <a:pt x="663474" y="490194"/>
                  </a:lnTo>
                  <a:lnTo>
                    <a:pt x="663081" y="490618"/>
                  </a:lnTo>
                  <a:lnTo>
                    <a:pt x="662204" y="490920"/>
                  </a:lnTo>
                  <a:lnTo>
                    <a:pt x="662264" y="492645"/>
                  </a:lnTo>
                  <a:lnTo>
                    <a:pt x="661145" y="494188"/>
                  </a:lnTo>
                  <a:lnTo>
                    <a:pt x="660843" y="496426"/>
                  </a:lnTo>
                  <a:lnTo>
                    <a:pt x="661296" y="497364"/>
                  </a:lnTo>
                  <a:lnTo>
                    <a:pt x="662174" y="497757"/>
                  </a:lnTo>
                  <a:close/>
                  <a:moveTo>
                    <a:pt x="1553623" y="1406510"/>
                  </a:moveTo>
                  <a:lnTo>
                    <a:pt x="1553744" y="1401035"/>
                  </a:lnTo>
                  <a:lnTo>
                    <a:pt x="1553562" y="1398040"/>
                  </a:lnTo>
                  <a:lnTo>
                    <a:pt x="1552957" y="1395710"/>
                  </a:lnTo>
                  <a:lnTo>
                    <a:pt x="1553623" y="1392474"/>
                  </a:lnTo>
                  <a:lnTo>
                    <a:pt x="1552292" y="1387997"/>
                  </a:lnTo>
                  <a:lnTo>
                    <a:pt x="1550446" y="1383549"/>
                  </a:lnTo>
                  <a:lnTo>
                    <a:pt x="1548540" y="1376349"/>
                  </a:lnTo>
                  <a:lnTo>
                    <a:pt x="1546151" y="1372598"/>
                  </a:lnTo>
                  <a:lnTo>
                    <a:pt x="1543217" y="1369513"/>
                  </a:lnTo>
                  <a:lnTo>
                    <a:pt x="1518229" y="1351846"/>
                  </a:lnTo>
                  <a:lnTo>
                    <a:pt x="1506007" y="1346068"/>
                  </a:lnTo>
                  <a:lnTo>
                    <a:pt x="1474969" y="1339140"/>
                  </a:lnTo>
                  <a:lnTo>
                    <a:pt x="1474969" y="1340169"/>
                  </a:lnTo>
                  <a:lnTo>
                    <a:pt x="1476270" y="1340048"/>
                  </a:lnTo>
                  <a:lnTo>
                    <a:pt x="1477540" y="1340199"/>
                  </a:lnTo>
                  <a:lnTo>
                    <a:pt x="1478751" y="1340623"/>
                  </a:lnTo>
                  <a:lnTo>
                    <a:pt x="1479809" y="1341318"/>
                  </a:lnTo>
                  <a:lnTo>
                    <a:pt x="1475241" y="1343255"/>
                  </a:lnTo>
                  <a:lnTo>
                    <a:pt x="1470492" y="1342135"/>
                  </a:lnTo>
                  <a:lnTo>
                    <a:pt x="1465894" y="1340078"/>
                  </a:lnTo>
                  <a:lnTo>
                    <a:pt x="1461901" y="1339110"/>
                  </a:lnTo>
                  <a:lnTo>
                    <a:pt x="1453339" y="1339110"/>
                  </a:lnTo>
                  <a:lnTo>
                    <a:pt x="1451192" y="1338626"/>
                  </a:lnTo>
                  <a:lnTo>
                    <a:pt x="1448923" y="1337749"/>
                  </a:lnTo>
                  <a:lnTo>
                    <a:pt x="1446714" y="1337265"/>
                  </a:lnTo>
                  <a:lnTo>
                    <a:pt x="1444657" y="1337961"/>
                  </a:lnTo>
                  <a:lnTo>
                    <a:pt x="1445413" y="1339110"/>
                  </a:lnTo>
                  <a:lnTo>
                    <a:pt x="1440543" y="1338928"/>
                  </a:lnTo>
                  <a:lnTo>
                    <a:pt x="1435128" y="1339897"/>
                  </a:lnTo>
                  <a:lnTo>
                    <a:pt x="1430167" y="1342044"/>
                  </a:lnTo>
                  <a:lnTo>
                    <a:pt x="1426688" y="1345372"/>
                  </a:lnTo>
                  <a:lnTo>
                    <a:pt x="1425357" y="1347974"/>
                  </a:lnTo>
                  <a:lnTo>
                    <a:pt x="1423784" y="1351725"/>
                  </a:lnTo>
                  <a:lnTo>
                    <a:pt x="1422513" y="1355839"/>
                  </a:lnTo>
                  <a:lnTo>
                    <a:pt x="1421969" y="1359560"/>
                  </a:lnTo>
                  <a:lnTo>
                    <a:pt x="1420638" y="1361617"/>
                  </a:lnTo>
                  <a:lnTo>
                    <a:pt x="1418006" y="1364340"/>
                  </a:lnTo>
                  <a:lnTo>
                    <a:pt x="1415979" y="1367184"/>
                  </a:lnTo>
                  <a:lnTo>
                    <a:pt x="1416524" y="1369573"/>
                  </a:lnTo>
                  <a:lnTo>
                    <a:pt x="1416524" y="1370602"/>
                  </a:lnTo>
                  <a:lnTo>
                    <a:pt x="1415041" y="1369876"/>
                  </a:lnTo>
                  <a:lnTo>
                    <a:pt x="1412197" y="1366155"/>
                  </a:lnTo>
                  <a:lnTo>
                    <a:pt x="1410564" y="1365278"/>
                  </a:lnTo>
                  <a:lnTo>
                    <a:pt x="1406540" y="1364915"/>
                  </a:lnTo>
                  <a:lnTo>
                    <a:pt x="1404423" y="1365187"/>
                  </a:lnTo>
                  <a:lnTo>
                    <a:pt x="1402638" y="1366427"/>
                  </a:lnTo>
                  <a:lnTo>
                    <a:pt x="1400188" y="1363674"/>
                  </a:lnTo>
                  <a:lnTo>
                    <a:pt x="1395014" y="1356263"/>
                  </a:lnTo>
                  <a:lnTo>
                    <a:pt x="1392625" y="1354750"/>
                  </a:lnTo>
                  <a:lnTo>
                    <a:pt x="1391233" y="1354266"/>
                  </a:lnTo>
                  <a:lnTo>
                    <a:pt x="1388450" y="1352088"/>
                  </a:lnTo>
                  <a:lnTo>
                    <a:pt x="1387119" y="1351604"/>
                  </a:lnTo>
                  <a:lnTo>
                    <a:pt x="1381885" y="1352754"/>
                  </a:lnTo>
                  <a:lnTo>
                    <a:pt x="1378830" y="1352542"/>
                  </a:lnTo>
                  <a:lnTo>
                    <a:pt x="1378649" y="1350666"/>
                  </a:lnTo>
                  <a:lnTo>
                    <a:pt x="1380010" y="1348549"/>
                  </a:lnTo>
                  <a:lnTo>
                    <a:pt x="1381583" y="1347520"/>
                  </a:lnTo>
                  <a:lnTo>
                    <a:pt x="1383943" y="1346643"/>
                  </a:lnTo>
                  <a:lnTo>
                    <a:pt x="1386060" y="1344525"/>
                  </a:lnTo>
                  <a:lnTo>
                    <a:pt x="1393986" y="1333756"/>
                  </a:lnTo>
                  <a:lnTo>
                    <a:pt x="1395378" y="1332757"/>
                  </a:lnTo>
                  <a:lnTo>
                    <a:pt x="1397253" y="1332031"/>
                  </a:lnTo>
                  <a:lnTo>
                    <a:pt x="1406268" y="1323621"/>
                  </a:lnTo>
                  <a:lnTo>
                    <a:pt x="1407902" y="1322653"/>
                  </a:lnTo>
                  <a:lnTo>
                    <a:pt x="1409898" y="1322290"/>
                  </a:lnTo>
                  <a:lnTo>
                    <a:pt x="1411018" y="1321867"/>
                  </a:lnTo>
                  <a:lnTo>
                    <a:pt x="1411623" y="1320808"/>
                  </a:lnTo>
                  <a:lnTo>
                    <a:pt x="1413710" y="1312761"/>
                  </a:lnTo>
                  <a:lnTo>
                    <a:pt x="1413710" y="1306166"/>
                  </a:lnTo>
                  <a:lnTo>
                    <a:pt x="1412258" y="1300358"/>
                  </a:lnTo>
                  <a:lnTo>
                    <a:pt x="1404030" y="1279454"/>
                  </a:lnTo>
                  <a:lnTo>
                    <a:pt x="1403606" y="1277337"/>
                  </a:lnTo>
                  <a:lnTo>
                    <a:pt x="1402487" y="1274886"/>
                  </a:lnTo>
                  <a:lnTo>
                    <a:pt x="1400914" y="1272738"/>
                  </a:lnTo>
                  <a:lnTo>
                    <a:pt x="1399159" y="1271529"/>
                  </a:lnTo>
                  <a:lnTo>
                    <a:pt x="1399916" y="1270469"/>
                  </a:lnTo>
                  <a:lnTo>
                    <a:pt x="1397011" y="1268534"/>
                  </a:lnTo>
                  <a:lnTo>
                    <a:pt x="1396104" y="1268261"/>
                  </a:lnTo>
                  <a:lnTo>
                    <a:pt x="1395529" y="1267656"/>
                  </a:lnTo>
                  <a:lnTo>
                    <a:pt x="1395257" y="1266235"/>
                  </a:lnTo>
                  <a:lnTo>
                    <a:pt x="1395045" y="1264631"/>
                  </a:lnTo>
                  <a:lnTo>
                    <a:pt x="1394742" y="1263482"/>
                  </a:lnTo>
                  <a:lnTo>
                    <a:pt x="1393139" y="1261727"/>
                  </a:lnTo>
                  <a:lnTo>
                    <a:pt x="1391354" y="1260971"/>
                  </a:lnTo>
                  <a:lnTo>
                    <a:pt x="1389448" y="1260578"/>
                  </a:lnTo>
                  <a:lnTo>
                    <a:pt x="1387512" y="1259791"/>
                  </a:lnTo>
                  <a:lnTo>
                    <a:pt x="1377862" y="1252500"/>
                  </a:lnTo>
                  <a:lnTo>
                    <a:pt x="1373173" y="1247055"/>
                  </a:lnTo>
                  <a:lnTo>
                    <a:pt x="1371721" y="1246511"/>
                  </a:lnTo>
                  <a:lnTo>
                    <a:pt x="1368212" y="1246026"/>
                  </a:lnTo>
                  <a:lnTo>
                    <a:pt x="1366488" y="1244877"/>
                  </a:lnTo>
                  <a:lnTo>
                    <a:pt x="1363372" y="1241458"/>
                  </a:lnTo>
                  <a:lnTo>
                    <a:pt x="1358894" y="1239311"/>
                  </a:lnTo>
                  <a:lnTo>
                    <a:pt x="1351664" y="1228934"/>
                  </a:lnTo>
                  <a:lnTo>
                    <a:pt x="1349758" y="1225819"/>
                  </a:lnTo>
                  <a:lnTo>
                    <a:pt x="1346945" y="1224699"/>
                  </a:lnTo>
                  <a:lnTo>
                    <a:pt x="1328915" y="1227785"/>
                  </a:lnTo>
                  <a:lnTo>
                    <a:pt x="1326132" y="1229842"/>
                  </a:lnTo>
                  <a:lnTo>
                    <a:pt x="1324529" y="1230417"/>
                  </a:lnTo>
                  <a:lnTo>
                    <a:pt x="1323047" y="1229479"/>
                  </a:lnTo>
                  <a:lnTo>
                    <a:pt x="1321957" y="1228390"/>
                  </a:lnTo>
                  <a:lnTo>
                    <a:pt x="1317873" y="1225637"/>
                  </a:lnTo>
                  <a:lnTo>
                    <a:pt x="1315514" y="1225062"/>
                  </a:lnTo>
                  <a:lnTo>
                    <a:pt x="1312459" y="1225274"/>
                  </a:lnTo>
                  <a:lnTo>
                    <a:pt x="1309675" y="1226484"/>
                  </a:lnTo>
                  <a:lnTo>
                    <a:pt x="1308163" y="1228934"/>
                  </a:lnTo>
                  <a:lnTo>
                    <a:pt x="1307376" y="1228178"/>
                  </a:lnTo>
                  <a:lnTo>
                    <a:pt x="1306529" y="1227573"/>
                  </a:lnTo>
                  <a:lnTo>
                    <a:pt x="1305652" y="1227119"/>
                  </a:lnTo>
                  <a:lnTo>
                    <a:pt x="1304744" y="1226817"/>
                  </a:lnTo>
                  <a:lnTo>
                    <a:pt x="1311611" y="1222551"/>
                  </a:lnTo>
                  <a:lnTo>
                    <a:pt x="1313759" y="1221916"/>
                  </a:lnTo>
                  <a:lnTo>
                    <a:pt x="1319598" y="1222551"/>
                  </a:lnTo>
                  <a:lnTo>
                    <a:pt x="1319900" y="1222914"/>
                  </a:lnTo>
                  <a:lnTo>
                    <a:pt x="1322381" y="1225183"/>
                  </a:lnTo>
                  <a:lnTo>
                    <a:pt x="1323107" y="1225455"/>
                  </a:lnTo>
                  <a:lnTo>
                    <a:pt x="1326526" y="1224699"/>
                  </a:lnTo>
                  <a:lnTo>
                    <a:pt x="1334512" y="1224699"/>
                  </a:lnTo>
                  <a:lnTo>
                    <a:pt x="1347187" y="1220736"/>
                  </a:lnTo>
                  <a:lnTo>
                    <a:pt x="1348155" y="1220888"/>
                  </a:lnTo>
                  <a:lnTo>
                    <a:pt x="1351695" y="1221402"/>
                  </a:lnTo>
                  <a:lnTo>
                    <a:pt x="1355234" y="1223822"/>
                  </a:lnTo>
                  <a:lnTo>
                    <a:pt x="1364824" y="1235317"/>
                  </a:lnTo>
                  <a:lnTo>
                    <a:pt x="1366578" y="1236649"/>
                  </a:lnTo>
                  <a:lnTo>
                    <a:pt x="1368635" y="1237647"/>
                  </a:lnTo>
                  <a:lnTo>
                    <a:pt x="1370934" y="1238282"/>
                  </a:lnTo>
                  <a:lnTo>
                    <a:pt x="1373385" y="1238494"/>
                  </a:lnTo>
                  <a:lnTo>
                    <a:pt x="1375502" y="1237979"/>
                  </a:lnTo>
                  <a:lnTo>
                    <a:pt x="1379405" y="1235741"/>
                  </a:lnTo>
                  <a:lnTo>
                    <a:pt x="1381371" y="1235287"/>
                  </a:lnTo>
                  <a:lnTo>
                    <a:pt x="1383549" y="1236043"/>
                  </a:lnTo>
                  <a:lnTo>
                    <a:pt x="1387905" y="1238978"/>
                  </a:lnTo>
                  <a:lnTo>
                    <a:pt x="1389993" y="1239643"/>
                  </a:lnTo>
                  <a:lnTo>
                    <a:pt x="1391566" y="1240793"/>
                  </a:lnTo>
                  <a:lnTo>
                    <a:pt x="1391112" y="1243425"/>
                  </a:lnTo>
                  <a:lnTo>
                    <a:pt x="1388934" y="1248235"/>
                  </a:lnTo>
                  <a:lnTo>
                    <a:pt x="1391112" y="1246601"/>
                  </a:lnTo>
                  <a:lnTo>
                    <a:pt x="1391687" y="1246026"/>
                  </a:lnTo>
                  <a:lnTo>
                    <a:pt x="1392927" y="1240974"/>
                  </a:lnTo>
                  <a:lnTo>
                    <a:pt x="1391354" y="1235832"/>
                  </a:lnTo>
                  <a:lnTo>
                    <a:pt x="1373385" y="1211086"/>
                  </a:lnTo>
                  <a:lnTo>
                    <a:pt x="1362736" y="1195718"/>
                  </a:lnTo>
                  <a:lnTo>
                    <a:pt x="1360952" y="1190999"/>
                  </a:lnTo>
                  <a:lnTo>
                    <a:pt x="1358078" y="1180714"/>
                  </a:lnTo>
                  <a:lnTo>
                    <a:pt x="1355839" y="1176297"/>
                  </a:lnTo>
                  <a:lnTo>
                    <a:pt x="1358350" y="1170065"/>
                  </a:lnTo>
                  <a:lnTo>
                    <a:pt x="1361435" y="1166738"/>
                  </a:lnTo>
                  <a:lnTo>
                    <a:pt x="1370330" y="1162200"/>
                  </a:lnTo>
                  <a:lnTo>
                    <a:pt x="1366729" y="1159144"/>
                  </a:lnTo>
                  <a:lnTo>
                    <a:pt x="1354417" y="1154607"/>
                  </a:lnTo>
                  <a:lnTo>
                    <a:pt x="1351755" y="1152005"/>
                  </a:lnTo>
                  <a:lnTo>
                    <a:pt x="1351543" y="1151370"/>
                  </a:lnTo>
                  <a:lnTo>
                    <a:pt x="1350847" y="1147165"/>
                  </a:lnTo>
                  <a:lnTo>
                    <a:pt x="1350091" y="1145562"/>
                  </a:lnTo>
                  <a:lnTo>
                    <a:pt x="1347792" y="1144473"/>
                  </a:lnTo>
                  <a:lnTo>
                    <a:pt x="1346612" y="1143383"/>
                  </a:lnTo>
                  <a:lnTo>
                    <a:pt x="1345584" y="1142687"/>
                  </a:lnTo>
                  <a:lnTo>
                    <a:pt x="1341500" y="1141659"/>
                  </a:lnTo>
                  <a:lnTo>
                    <a:pt x="1340713" y="1140842"/>
                  </a:lnTo>
                  <a:lnTo>
                    <a:pt x="1338838" y="1138271"/>
                  </a:lnTo>
                  <a:lnTo>
                    <a:pt x="1337991" y="1137454"/>
                  </a:lnTo>
                  <a:lnTo>
                    <a:pt x="1338263" y="1136819"/>
                  </a:lnTo>
                  <a:lnTo>
                    <a:pt x="1338686" y="1135185"/>
                  </a:lnTo>
                  <a:lnTo>
                    <a:pt x="1337628" y="1134852"/>
                  </a:lnTo>
                  <a:lnTo>
                    <a:pt x="1336841" y="1134036"/>
                  </a:lnTo>
                  <a:lnTo>
                    <a:pt x="1336266" y="1133007"/>
                  </a:lnTo>
                  <a:lnTo>
                    <a:pt x="1335934" y="1131948"/>
                  </a:lnTo>
                  <a:lnTo>
                    <a:pt x="1335934" y="1128772"/>
                  </a:lnTo>
                  <a:lnTo>
                    <a:pt x="1334663" y="1124779"/>
                  </a:lnTo>
                  <a:lnTo>
                    <a:pt x="1332939" y="1120997"/>
                  </a:lnTo>
                  <a:lnTo>
                    <a:pt x="1331426" y="1118486"/>
                  </a:lnTo>
                  <a:lnTo>
                    <a:pt x="1330004" y="1117186"/>
                  </a:lnTo>
                  <a:lnTo>
                    <a:pt x="1326646" y="1114917"/>
                  </a:lnTo>
                  <a:lnTo>
                    <a:pt x="1325588" y="1113555"/>
                  </a:lnTo>
                  <a:lnTo>
                    <a:pt x="1325285" y="1111922"/>
                  </a:lnTo>
                  <a:lnTo>
                    <a:pt x="1325467" y="1110682"/>
                  </a:lnTo>
                  <a:lnTo>
                    <a:pt x="1325346" y="1109260"/>
                  </a:lnTo>
                  <a:lnTo>
                    <a:pt x="1324166" y="1107051"/>
                  </a:lnTo>
                  <a:lnTo>
                    <a:pt x="1321322" y="1104450"/>
                  </a:lnTo>
                  <a:lnTo>
                    <a:pt x="1298694" y="1091169"/>
                  </a:lnTo>
                  <a:lnTo>
                    <a:pt x="1278002" y="1085210"/>
                  </a:lnTo>
                  <a:lnTo>
                    <a:pt x="1273101" y="1082185"/>
                  </a:lnTo>
                  <a:lnTo>
                    <a:pt x="1268866" y="1081640"/>
                  </a:lnTo>
                  <a:lnTo>
                    <a:pt x="1266930" y="1080975"/>
                  </a:lnTo>
                  <a:lnTo>
                    <a:pt x="1265206" y="1079644"/>
                  </a:lnTo>
                  <a:lnTo>
                    <a:pt x="1263451" y="1077466"/>
                  </a:lnTo>
                  <a:lnTo>
                    <a:pt x="1262574" y="1081943"/>
                  </a:lnTo>
                  <a:lnTo>
                    <a:pt x="1261969" y="1082790"/>
                  </a:lnTo>
                  <a:lnTo>
                    <a:pt x="1260759" y="1083001"/>
                  </a:lnTo>
                  <a:lnTo>
                    <a:pt x="1260940" y="1082638"/>
                  </a:lnTo>
                  <a:lnTo>
                    <a:pt x="1260698" y="1081882"/>
                  </a:lnTo>
                  <a:lnTo>
                    <a:pt x="1260275" y="1081096"/>
                  </a:lnTo>
                  <a:lnTo>
                    <a:pt x="1260002" y="1080702"/>
                  </a:lnTo>
                  <a:lnTo>
                    <a:pt x="1259519" y="1080612"/>
                  </a:lnTo>
                  <a:lnTo>
                    <a:pt x="1259367" y="1081005"/>
                  </a:lnTo>
                  <a:lnTo>
                    <a:pt x="1259276" y="1081519"/>
                  </a:lnTo>
                  <a:lnTo>
                    <a:pt x="1259004" y="1081791"/>
                  </a:lnTo>
                  <a:lnTo>
                    <a:pt x="1258036" y="1081701"/>
                  </a:lnTo>
                  <a:lnTo>
                    <a:pt x="1257340" y="1081398"/>
                  </a:lnTo>
                  <a:lnTo>
                    <a:pt x="1256856" y="1080733"/>
                  </a:lnTo>
                  <a:lnTo>
                    <a:pt x="1256614" y="1079583"/>
                  </a:lnTo>
                  <a:lnTo>
                    <a:pt x="1259004" y="1078585"/>
                  </a:lnTo>
                  <a:lnTo>
                    <a:pt x="1259972" y="1077798"/>
                  </a:lnTo>
                  <a:lnTo>
                    <a:pt x="1260789" y="1076437"/>
                  </a:lnTo>
                  <a:lnTo>
                    <a:pt x="1259972" y="1075529"/>
                  </a:lnTo>
                  <a:lnTo>
                    <a:pt x="1259367" y="1074501"/>
                  </a:lnTo>
                  <a:lnTo>
                    <a:pt x="1258974" y="1073321"/>
                  </a:lnTo>
                  <a:lnTo>
                    <a:pt x="1258732" y="1072050"/>
                  </a:lnTo>
                  <a:lnTo>
                    <a:pt x="1258157" y="1071082"/>
                  </a:lnTo>
                  <a:lnTo>
                    <a:pt x="1257976" y="1070598"/>
                  </a:lnTo>
                  <a:lnTo>
                    <a:pt x="1257976" y="1069872"/>
                  </a:lnTo>
                  <a:lnTo>
                    <a:pt x="1260002" y="1069872"/>
                  </a:lnTo>
                  <a:lnTo>
                    <a:pt x="1260002" y="1068693"/>
                  </a:lnTo>
                  <a:lnTo>
                    <a:pt x="1254678" y="1066484"/>
                  </a:lnTo>
                  <a:lnTo>
                    <a:pt x="1253135" y="1065425"/>
                  </a:lnTo>
                  <a:lnTo>
                    <a:pt x="1249626" y="1061130"/>
                  </a:lnTo>
                  <a:lnTo>
                    <a:pt x="1247478" y="1056078"/>
                  </a:lnTo>
                  <a:lnTo>
                    <a:pt x="1241549" y="1036112"/>
                  </a:lnTo>
                  <a:lnTo>
                    <a:pt x="1241821" y="1034629"/>
                  </a:lnTo>
                  <a:lnTo>
                    <a:pt x="1241095" y="1034055"/>
                  </a:lnTo>
                  <a:lnTo>
                    <a:pt x="1240853" y="1032633"/>
                  </a:lnTo>
                  <a:lnTo>
                    <a:pt x="1240732" y="1029063"/>
                  </a:lnTo>
                  <a:lnTo>
                    <a:pt x="1240793" y="1028095"/>
                  </a:lnTo>
                  <a:lnTo>
                    <a:pt x="1240974" y="1027369"/>
                  </a:lnTo>
                  <a:lnTo>
                    <a:pt x="1240884" y="1026401"/>
                  </a:lnTo>
                  <a:lnTo>
                    <a:pt x="1240127" y="1024677"/>
                  </a:lnTo>
                  <a:lnTo>
                    <a:pt x="1237314" y="1021924"/>
                  </a:lnTo>
                  <a:lnTo>
                    <a:pt x="1236981" y="1021470"/>
                  </a:lnTo>
                  <a:lnTo>
                    <a:pt x="1235832" y="1020683"/>
                  </a:lnTo>
                  <a:lnTo>
                    <a:pt x="1235166" y="1018838"/>
                  </a:lnTo>
                  <a:lnTo>
                    <a:pt x="1234712" y="1016811"/>
                  </a:lnTo>
                  <a:lnTo>
                    <a:pt x="1234198" y="1015359"/>
                  </a:lnTo>
                  <a:lnTo>
                    <a:pt x="1233290" y="1013907"/>
                  </a:lnTo>
                  <a:lnTo>
                    <a:pt x="1231627" y="1009823"/>
                  </a:lnTo>
                  <a:lnTo>
                    <a:pt x="1231294" y="1008492"/>
                  </a:lnTo>
                  <a:lnTo>
                    <a:pt x="1231143" y="1008038"/>
                  </a:lnTo>
                  <a:lnTo>
                    <a:pt x="1230780" y="1007766"/>
                  </a:lnTo>
                  <a:lnTo>
                    <a:pt x="1229479" y="1007222"/>
                  </a:lnTo>
                  <a:lnTo>
                    <a:pt x="1229086" y="1006949"/>
                  </a:lnTo>
                  <a:lnTo>
                    <a:pt x="1228722" y="1005921"/>
                  </a:lnTo>
                  <a:lnTo>
                    <a:pt x="1227845" y="1002472"/>
                  </a:lnTo>
                  <a:lnTo>
                    <a:pt x="1227512" y="998993"/>
                  </a:lnTo>
                  <a:lnTo>
                    <a:pt x="1227028" y="997843"/>
                  </a:lnTo>
                  <a:lnTo>
                    <a:pt x="1225304" y="995363"/>
                  </a:lnTo>
                  <a:lnTo>
                    <a:pt x="1224881" y="993699"/>
                  </a:lnTo>
                  <a:lnTo>
                    <a:pt x="1225334" y="992277"/>
                  </a:lnTo>
                  <a:lnTo>
                    <a:pt x="1226000" y="990886"/>
                  </a:lnTo>
                  <a:lnTo>
                    <a:pt x="1226272" y="989282"/>
                  </a:lnTo>
                  <a:lnTo>
                    <a:pt x="1225637" y="987649"/>
                  </a:lnTo>
                  <a:lnTo>
                    <a:pt x="1224639" y="986772"/>
                  </a:lnTo>
                  <a:lnTo>
                    <a:pt x="1224124" y="985773"/>
                  </a:lnTo>
                  <a:lnTo>
                    <a:pt x="1224941" y="983656"/>
                  </a:lnTo>
                  <a:lnTo>
                    <a:pt x="1222642" y="981296"/>
                  </a:lnTo>
                  <a:lnTo>
                    <a:pt x="1221371" y="979481"/>
                  </a:lnTo>
                  <a:lnTo>
                    <a:pt x="1220797" y="977605"/>
                  </a:lnTo>
                  <a:lnTo>
                    <a:pt x="1220585" y="976547"/>
                  </a:lnTo>
                  <a:lnTo>
                    <a:pt x="1220192" y="975518"/>
                  </a:lnTo>
                  <a:lnTo>
                    <a:pt x="1220010" y="974459"/>
                  </a:lnTo>
                  <a:lnTo>
                    <a:pt x="1220434" y="973249"/>
                  </a:lnTo>
                  <a:lnTo>
                    <a:pt x="1220827" y="972584"/>
                  </a:lnTo>
                  <a:lnTo>
                    <a:pt x="1221129" y="971888"/>
                  </a:lnTo>
                  <a:lnTo>
                    <a:pt x="1221341" y="971132"/>
                  </a:lnTo>
                  <a:lnTo>
                    <a:pt x="1221462" y="970375"/>
                  </a:lnTo>
                  <a:lnTo>
                    <a:pt x="1221190" y="967532"/>
                  </a:lnTo>
                  <a:lnTo>
                    <a:pt x="1218709" y="963357"/>
                  </a:lnTo>
                  <a:lnTo>
                    <a:pt x="1218104" y="959818"/>
                  </a:lnTo>
                  <a:lnTo>
                    <a:pt x="1218104" y="958396"/>
                  </a:lnTo>
                  <a:lnTo>
                    <a:pt x="1218225" y="957518"/>
                  </a:lnTo>
                  <a:lnTo>
                    <a:pt x="1218739" y="954856"/>
                  </a:lnTo>
                  <a:lnTo>
                    <a:pt x="1218921" y="953283"/>
                  </a:lnTo>
                  <a:lnTo>
                    <a:pt x="1218558" y="942362"/>
                  </a:lnTo>
                  <a:lnTo>
                    <a:pt x="1218104" y="940426"/>
                  </a:lnTo>
                  <a:lnTo>
                    <a:pt x="1217408" y="939731"/>
                  </a:lnTo>
                  <a:lnTo>
                    <a:pt x="1216410" y="939186"/>
                  </a:lnTo>
                  <a:lnTo>
                    <a:pt x="1215896" y="938400"/>
                  </a:lnTo>
                  <a:lnTo>
                    <a:pt x="1216743" y="936978"/>
                  </a:lnTo>
                  <a:lnTo>
                    <a:pt x="1216743" y="935858"/>
                  </a:lnTo>
                  <a:lnTo>
                    <a:pt x="1214807" y="934164"/>
                  </a:lnTo>
                  <a:lnTo>
                    <a:pt x="1213930" y="933650"/>
                  </a:lnTo>
                  <a:lnTo>
                    <a:pt x="1213930" y="932531"/>
                  </a:lnTo>
                  <a:lnTo>
                    <a:pt x="1215291" y="931533"/>
                  </a:lnTo>
                  <a:lnTo>
                    <a:pt x="1214232" y="930413"/>
                  </a:lnTo>
                  <a:lnTo>
                    <a:pt x="1213536" y="929233"/>
                  </a:lnTo>
                  <a:lnTo>
                    <a:pt x="1213355" y="928054"/>
                  </a:lnTo>
                  <a:lnTo>
                    <a:pt x="1213899" y="926965"/>
                  </a:lnTo>
                  <a:lnTo>
                    <a:pt x="1213899" y="925845"/>
                  </a:lnTo>
                  <a:lnTo>
                    <a:pt x="1207032" y="921308"/>
                  </a:lnTo>
                  <a:lnTo>
                    <a:pt x="1204854" y="921035"/>
                  </a:lnTo>
                  <a:lnTo>
                    <a:pt x="1201315" y="921973"/>
                  </a:lnTo>
                  <a:lnTo>
                    <a:pt x="1200105" y="921308"/>
                  </a:lnTo>
                  <a:lnTo>
                    <a:pt x="1200105" y="920279"/>
                  </a:lnTo>
                  <a:lnTo>
                    <a:pt x="1202131" y="920279"/>
                  </a:lnTo>
                  <a:lnTo>
                    <a:pt x="1201254" y="917919"/>
                  </a:lnTo>
                  <a:lnTo>
                    <a:pt x="1200044" y="916558"/>
                  </a:lnTo>
                  <a:lnTo>
                    <a:pt x="1198774" y="915953"/>
                  </a:lnTo>
                  <a:lnTo>
                    <a:pt x="1197654" y="915802"/>
                  </a:lnTo>
                  <a:lnTo>
                    <a:pt x="1197291" y="916165"/>
                  </a:lnTo>
                  <a:lnTo>
                    <a:pt x="1196837" y="916981"/>
                  </a:lnTo>
                  <a:lnTo>
                    <a:pt x="1196202" y="917768"/>
                  </a:lnTo>
                  <a:lnTo>
                    <a:pt x="1195264" y="918040"/>
                  </a:lnTo>
                  <a:lnTo>
                    <a:pt x="1194750" y="917466"/>
                  </a:lnTo>
                  <a:lnTo>
                    <a:pt x="1194296" y="916286"/>
                  </a:lnTo>
                  <a:lnTo>
                    <a:pt x="1193752" y="915136"/>
                  </a:lnTo>
                  <a:lnTo>
                    <a:pt x="1191574" y="913714"/>
                  </a:lnTo>
                  <a:lnTo>
                    <a:pt x="1190575" y="911687"/>
                  </a:lnTo>
                  <a:lnTo>
                    <a:pt x="1189093" y="907876"/>
                  </a:lnTo>
                  <a:lnTo>
                    <a:pt x="1175813" y="892115"/>
                  </a:lnTo>
                  <a:lnTo>
                    <a:pt x="1174482" y="889695"/>
                  </a:lnTo>
                  <a:lnTo>
                    <a:pt x="1168704" y="879197"/>
                  </a:lnTo>
                  <a:lnTo>
                    <a:pt x="1166768" y="877141"/>
                  </a:lnTo>
                  <a:lnTo>
                    <a:pt x="1164620" y="876324"/>
                  </a:lnTo>
                  <a:lnTo>
                    <a:pt x="1163833" y="875809"/>
                  </a:lnTo>
                  <a:lnTo>
                    <a:pt x="1163591" y="874599"/>
                  </a:lnTo>
                  <a:lnTo>
                    <a:pt x="1163440" y="873087"/>
                  </a:lnTo>
                  <a:lnTo>
                    <a:pt x="1162895" y="871725"/>
                  </a:lnTo>
                  <a:lnTo>
                    <a:pt x="1161988" y="871272"/>
                  </a:lnTo>
                  <a:lnTo>
                    <a:pt x="1145803" y="868368"/>
                  </a:lnTo>
                  <a:lnTo>
                    <a:pt x="1141477" y="866190"/>
                  </a:lnTo>
                  <a:lnTo>
                    <a:pt x="1135094" y="861198"/>
                  </a:lnTo>
                  <a:lnTo>
                    <a:pt x="1131252" y="860048"/>
                  </a:lnTo>
                  <a:lnTo>
                    <a:pt x="1127169" y="857356"/>
                  </a:lnTo>
                  <a:lnTo>
                    <a:pt x="1125686" y="855934"/>
                  </a:lnTo>
                  <a:lnTo>
                    <a:pt x="1125021" y="856660"/>
                  </a:lnTo>
                  <a:lnTo>
                    <a:pt x="1123992" y="857537"/>
                  </a:lnTo>
                  <a:lnTo>
                    <a:pt x="1123569" y="858203"/>
                  </a:lnTo>
                  <a:lnTo>
                    <a:pt x="1122056" y="857205"/>
                  </a:lnTo>
                  <a:lnTo>
                    <a:pt x="1119485" y="857658"/>
                  </a:lnTo>
                  <a:lnTo>
                    <a:pt x="1118063" y="857205"/>
                  </a:lnTo>
                  <a:lnTo>
                    <a:pt x="1118607" y="856328"/>
                  </a:lnTo>
                  <a:lnTo>
                    <a:pt x="1119515" y="853605"/>
                  </a:lnTo>
                  <a:lnTo>
                    <a:pt x="1117700" y="852546"/>
                  </a:lnTo>
                  <a:lnTo>
                    <a:pt x="1114826" y="848885"/>
                  </a:lnTo>
                  <a:lnTo>
                    <a:pt x="1112890" y="848069"/>
                  </a:lnTo>
                  <a:lnTo>
                    <a:pt x="1096009" y="846949"/>
                  </a:lnTo>
                  <a:lnTo>
                    <a:pt x="1093952" y="847796"/>
                  </a:lnTo>
                  <a:lnTo>
                    <a:pt x="1090957" y="851094"/>
                  </a:lnTo>
                  <a:lnTo>
                    <a:pt x="1089142" y="852606"/>
                  </a:lnTo>
                  <a:lnTo>
                    <a:pt x="1089596" y="853272"/>
                  </a:lnTo>
                  <a:lnTo>
                    <a:pt x="1089868" y="853998"/>
                  </a:lnTo>
                  <a:lnTo>
                    <a:pt x="1090443" y="855995"/>
                  </a:lnTo>
                  <a:lnTo>
                    <a:pt x="1087932" y="856267"/>
                  </a:lnTo>
                  <a:lnTo>
                    <a:pt x="1086208" y="858294"/>
                  </a:lnTo>
                  <a:lnTo>
                    <a:pt x="1084544" y="860865"/>
                  </a:lnTo>
                  <a:lnTo>
                    <a:pt x="1082215" y="862741"/>
                  </a:lnTo>
                  <a:lnTo>
                    <a:pt x="1074592" y="865856"/>
                  </a:lnTo>
                  <a:lnTo>
                    <a:pt x="1068299" y="866462"/>
                  </a:lnTo>
                  <a:lnTo>
                    <a:pt x="1067059" y="866250"/>
                  </a:lnTo>
                  <a:lnTo>
                    <a:pt x="1066454" y="865615"/>
                  </a:lnTo>
                  <a:lnTo>
                    <a:pt x="1064639" y="863285"/>
                  </a:lnTo>
                  <a:lnTo>
                    <a:pt x="1063943" y="862771"/>
                  </a:lnTo>
                  <a:lnTo>
                    <a:pt x="1045671" y="861410"/>
                  </a:lnTo>
                  <a:lnTo>
                    <a:pt x="1043947" y="860018"/>
                  </a:lnTo>
                  <a:lnTo>
                    <a:pt x="1042888" y="858687"/>
                  </a:lnTo>
                  <a:lnTo>
                    <a:pt x="1041890" y="858627"/>
                  </a:lnTo>
                  <a:lnTo>
                    <a:pt x="1040135" y="859413"/>
                  </a:lnTo>
                  <a:lnTo>
                    <a:pt x="1035386" y="859413"/>
                  </a:lnTo>
                  <a:lnTo>
                    <a:pt x="1018082" y="854905"/>
                  </a:lnTo>
                  <a:lnTo>
                    <a:pt x="1015843" y="854905"/>
                  </a:lnTo>
                  <a:lnTo>
                    <a:pt x="1010156" y="856055"/>
                  </a:lnTo>
                  <a:lnTo>
                    <a:pt x="1008946" y="855631"/>
                  </a:lnTo>
                  <a:lnTo>
                    <a:pt x="1008311" y="854633"/>
                  </a:lnTo>
                  <a:lnTo>
                    <a:pt x="1007827" y="853514"/>
                  </a:lnTo>
                  <a:lnTo>
                    <a:pt x="1007101" y="852637"/>
                  </a:lnTo>
                  <a:lnTo>
                    <a:pt x="1006405" y="852546"/>
                  </a:lnTo>
                  <a:lnTo>
                    <a:pt x="1004469" y="852909"/>
                  </a:lnTo>
                  <a:lnTo>
                    <a:pt x="1003591" y="852637"/>
                  </a:lnTo>
                  <a:lnTo>
                    <a:pt x="1003077" y="851427"/>
                  </a:lnTo>
                  <a:lnTo>
                    <a:pt x="999598" y="845740"/>
                  </a:lnTo>
                  <a:lnTo>
                    <a:pt x="998751" y="845286"/>
                  </a:lnTo>
                  <a:lnTo>
                    <a:pt x="997904" y="844015"/>
                  </a:lnTo>
                  <a:lnTo>
                    <a:pt x="991884" y="840113"/>
                  </a:lnTo>
                  <a:lnTo>
                    <a:pt x="991884" y="839084"/>
                  </a:lnTo>
                  <a:lnTo>
                    <a:pt x="993941" y="839145"/>
                  </a:lnTo>
                  <a:lnTo>
                    <a:pt x="995333" y="839992"/>
                  </a:lnTo>
                  <a:lnTo>
                    <a:pt x="997450" y="842472"/>
                  </a:lnTo>
                  <a:lnTo>
                    <a:pt x="1001050" y="845679"/>
                  </a:lnTo>
                  <a:lnTo>
                    <a:pt x="1001141" y="845770"/>
                  </a:lnTo>
                  <a:lnTo>
                    <a:pt x="1004711" y="848099"/>
                  </a:lnTo>
                  <a:lnTo>
                    <a:pt x="1008583" y="849309"/>
                  </a:lnTo>
                  <a:lnTo>
                    <a:pt x="1017537" y="849158"/>
                  </a:lnTo>
                  <a:lnTo>
                    <a:pt x="1033812" y="853605"/>
                  </a:lnTo>
                  <a:lnTo>
                    <a:pt x="1037745" y="853847"/>
                  </a:lnTo>
                  <a:lnTo>
                    <a:pt x="1041678" y="853212"/>
                  </a:lnTo>
                  <a:lnTo>
                    <a:pt x="1045671" y="851487"/>
                  </a:lnTo>
                  <a:lnTo>
                    <a:pt x="1049150" y="849279"/>
                  </a:lnTo>
                  <a:lnTo>
                    <a:pt x="1051147" y="848432"/>
                  </a:lnTo>
                  <a:lnTo>
                    <a:pt x="1058195" y="848069"/>
                  </a:lnTo>
                  <a:lnTo>
                    <a:pt x="1059678" y="847131"/>
                  </a:lnTo>
                  <a:lnTo>
                    <a:pt x="1060827" y="844711"/>
                  </a:lnTo>
                  <a:lnTo>
                    <a:pt x="1062219" y="839145"/>
                  </a:lnTo>
                  <a:lnTo>
                    <a:pt x="1063308" y="837390"/>
                  </a:lnTo>
                  <a:lnTo>
                    <a:pt x="1065335" y="836724"/>
                  </a:lnTo>
                  <a:lnTo>
                    <a:pt x="1066998" y="835817"/>
                  </a:lnTo>
                  <a:lnTo>
                    <a:pt x="1072595" y="829918"/>
                  </a:lnTo>
                  <a:lnTo>
                    <a:pt x="1077949" y="826379"/>
                  </a:lnTo>
                  <a:lnTo>
                    <a:pt x="1078736" y="824866"/>
                  </a:lnTo>
                  <a:lnTo>
                    <a:pt x="1079764" y="823656"/>
                  </a:lnTo>
                  <a:lnTo>
                    <a:pt x="1082215" y="823021"/>
                  </a:lnTo>
                  <a:lnTo>
                    <a:pt x="1087055" y="823111"/>
                  </a:lnTo>
                  <a:lnTo>
                    <a:pt x="1093226" y="826136"/>
                  </a:lnTo>
                  <a:lnTo>
                    <a:pt x="1095707" y="826530"/>
                  </a:lnTo>
                  <a:lnTo>
                    <a:pt x="1097976" y="825925"/>
                  </a:lnTo>
                  <a:lnTo>
                    <a:pt x="1104359" y="821901"/>
                  </a:lnTo>
                  <a:lnTo>
                    <a:pt x="1109199" y="820873"/>
                  </a:lnTo>
                  <a:lnTo>
                    <a:pt x="1111589" y="819814"/>
                  </a:lnTo>
                  <a:lnTo>
                    <a:pt x="1113434" y="816517"/>
                  </a:lnTo>
                  <a:lnTo>
                    <a:pt x="1118789" y="811646"/>
                  </a:lnTo>
                  <a:lnTo>
                    <a:pt x="1118789" y="810618"/>
                  </a:lnTo>
                  <a:lnTo>
                    <a:pt x="1115128" y="807622"/>
                  </a:lnTo>
                  <a:lnTo>
                    <a:pt x="1114312" y="807199"/>
                  </a:lnTo>
                  <a:lnTo>
                    <a:pt x="1110893" y="804234"/>
                  </a:lnTo>
                  <a:lnTo>
                    <a:pt x="1108685" y="803176"/>
                  </a:lnTo>
                  <a:lnTo>
                    <a:pt x="1099488" y="802510"/>
                  </a:lnTo>
                  <a:lnTo>
                    <a:pt x="1098823" y="801330"/>
                  </a:lnTo>
                  <a:lnTo>
                    <a:pt x="1098067" y="800967"/>
                  </a:lnTo>
                  <a:lnTo>
                    <a:pt x="1097189" y="800816"/>
                  </a:lnTo>
                  <a:lnTo>
                    <a:pt x="1096040" y="800332"/>
                  </a:lnTo>
                  <a:lnTo>
                    <a:pt x="1095858" y="799697"/>
                  </a:lnTo>
                  <a:lnTo>
                    <a:pt x="1095405" y="797397"/>
                  </a:lnTo>
                  <a:lnTo>
                    <a:pt x="1095042" y="796883"/>
                  </a:lnTo>
                  <a:lnTo>
                    <a:pt x="1092561" y="796883"/>
                  </a:lnTo>
                  <a:lnTo>
                    <a:pt x="1094164" y="795159"/>
                  </a:lnTo>
                  <a:lnTo>
                    <a:pt x="1095525" y="792678"/>
                  </a:lnTo>
                  <a:lnTo>
                    <a:pt x="1096251" y="789714"/>
                  </a:lnTo>
                  <a:lnTo>
                    <a:pt x="1096070" y="786537"/>
                  </a:lnTo>
                  <a:lnTo>
                    <a:pt x="1094860" y="784450"/>
                  </a:lnTo>
                  <a:lnTo>
                    <a:pt x="1091320" y="784178"/>
                  </a:lnTo>
                  <a:lnTo>
                    <a:pt x="1089536" y="782544"/>
                  </a:lnTo>
                  <a:lnTo>
                    <a:pt x="1087811" y="781515"/>
                  </a:lnTo>
                  <a:lnTo>
                    <a:pt x="1085391" y="781879"/>
                  </a:lnTo>
                  <a:lnTo>
                    <a:pt x="1083213" y="783149"/>
                  </a:lnTo>
                  <a:lnTo>
                    <a:pt x="1082275" y="784753"/>
                  </a:lnTo>
                  <a:lnTo>
                    <a:pt x="1081217" y="785872"/>
                  </a:lnTo>
                  <a:lnTo>
                    <a:pt x="1061160" y="795280"/>
                  </a:lnTo>
                  <a:lnTo>
                    <a:pt x="1057257" y="796188"/>
                  </a:lnTo>
                  <a:lnTo>
                    <a:pt x="1052992" y="798547"/>
                  </a:lnTo>
                  <a:lnTo>
                    <a:pt x="1050874" y="799061"/>
                  </a:lnTo>
                  <a:lnTo>
                    <a:pt x="1046609" y="799061"/>
                  </a:lnTo>
                  <a:lnTo>
                    <a:pt x="1044854" y="798457"/>
                  </a:lnTo>
                  <a:lnTo>
                    <a:pt x="1043644" y="796883"/>
                  </a:lnTo>
                  <a:lnTo>
                    <a:pt x="1048000" y="798214"/>
                  </a:lnTo>
                  <a:lnTo>
                    <a:pt x="1052236" y="796581"/>
                  </a:lnTo>
                  <a:lnTo>
                    <a:pt x="1062733" y="786689"/>
                  </a:lnTo>
                  <a:lnTo>
                    <a:pt x="1066212" y="784178"/>
                  </a:lnTo>
                  <a:lnTo>
                    <a:pt x="1070114" y="782544"/>
                  </a:lnTo>
                  <a:lnTo>
                    <a:pt x="1070598" y="782484"/>
                  </a:lnTo>
                  <a:lnTo>
                    <a:pt x="1094376" y="779277"/>
                  </a:lnTo>
                  <a:lnTo>
                    <a:pt x="1099851" y="778521"/>
                  </a:lnTo>
                  <a:lnTo>
                    <a:pt x="1101122" y="778884"/>
                  </a:lnTo>
                  <a:lnTo>
                    <a:pt x="1101908" y="779580"/>
                  </a:lnTo>
                  <a:lnTo>
                    <a:pt x="1102634" y="780003"/>
                  </a:lnTo>
                  <a:lnTo>
                    <a:pt x="1103603" y="779580"/>
                  </a:lnTo>
                  <a:lnTo>
                    <a:pt x="1105508" y="775163"/>
                  </a:lnTo>
                  <a:lnTo>
                    <a:pt x="1106416" y="773892"/>
                  </a:lnTo>
                  <a:lnTo>
                    <a:pt x="1110288" y="772107"/>
                  </a:lnTo>
                  <a:lnTo>
                    <a:pt x="1112345" y="770746"/>
                  </a:lnTo>
                  <a:lnTo>
                    <a:pt x="1114070" y="767237"/>
                  </a:lnTo>
                  <a:lnTo>
                    <a:pt x="1123508" y="760975"/>
                  </a:lnTo>
                  <a:lnTo>
                    <a:pt x="1125081" y="759160"/>
                  </a:lnTo>
                  <a:lnTo>
                    <a:pt x="1126140" y="756256"/>
                  </a:lnTo>
                  <a:lnTo>
                    <a:pt x="1127925" y="754441"/>
                  </a:lnTo>
                  <a:lnTo>
                    <a:pt x="1128469" y="753291"/>
                  </a:lnTo>
                  <a:lnTo>
                    <a:pt x="1128409" y="752293"/>
                  </a:lnTo>
                  <a:lnTo>
                    <a:pt x="1127773" y="749994"/>
                  </a:lnTo>
                  <a:lnTo>
                    <a:pt x="1127773" y="748662"/>
                  </a:lnTo>
                  <a:lnTo>
                    <a:pt x="1128802" y="746182"/>
                  </a:lnTo>
                  <a:lnTo>
                    <a:pt x="1130194" y="744488"/>
                  </a:lnTo>
                  <a:lnTo>
                    <a:pt x="1131404" y="742431"/>
                  </a:lnTo>
                  <a:lnTo>
                    <a:pt x="1132493" y="735049"/>
                  </a:lnTo>
                  <a:lnTo>
                    <a:pt x="1132977" y="734112"/>
                  </a:lnTo>
                  <a:lnTo>
                    <a:pt x="1133945" y="732266"/>
                  </a:lnTo>
                  <a:lnTo>
                    <a:pt x="1135730" y="730300"/>
                  </a:lnTo>
                  <a:lnTo>
                    <a:pt x="1137424" y="728909"/>
                  </a:lnTo>
                  <a:lnTo>
                    <a:pt x="1143051" y="725581"/>
                  </a:lnTo>
                  <a:lnTo>
                    <a:pt x="1144684" y="723766"/>
                  </a:lnTo>
                  <a:lnTo>
                    <a:pt x="1147104" y="719773"/>
                  </a:lnTo>
                  <a:lnTo>
                    <a:pt x="1149797" y="716233"/>
                  </a:lnTo>
                  <a:lnTo>
                    <a:pt x="1153245" y="713692"/>
                  </a:lnTo>
                  <a:lnTo>
                    <a:pt x="1154728" y="711786"/>
                  </a:lnTo>
                  <a:lnTo>
                    <a:pt x="1155363" y="708731"/>
                  </a:lnTo>
                  <a:lnTo>
                    <a:pt x="1155756" y="707853"/>
                  </a:lnTo>
                  <a:lnTo>
                    <a:pt x="1157601" y="705645"/>
                  </a:lnTo>
                  <a:lnTo>
                    <a:pt x="1158085" y="704677"/>
                  </a:lnTo>
                  <a:lnTo>
                    <a:pt x="1158085" y="702620"/>
                  </a:lnTo>
                  <a:lnTo>
                    <a:pt x="1157601" y="701380"/>
                  </a:lnTo>
                  <a:lnTo>
                    <a:pt x="1157027" y="700351"/>
                  </a:lnTo>
                  <a:lnTo>
                    <a:pt x="1156724" y="698929"/>
                  </a:lnTo>
                  <a:lnTo>
                    <a:pt x="1158055" y="692818"/>
                  </a:lnTo>
                  <a:lnTo>
                    <a:pt x="1161141" y="686708"/>
                  </a:lnTo>
                  <a:lnTo>
                    <a:pt x="1170216" y="673246"/>
                  </a:lnTo>
                  <a:lnTo>
                    <a:pt x="1170277" y="673125"/>
                  </a:lnTo>
                  <a:lnTo>
                    <a:pt x="1171880" y="670009"/>
                  </a:lnTo>
                  <a:lnTo>
                    <a:pt x="1171578" y="668557"/>
                  </a:lnTo>
                  <a:lnTo>
                    <a:pt x="1169672" y="667165"/>
                  </a:lnTo>
                  <a:lnTo>
                    <a:pt x="1169399" y="663989"/>
                  </a:lnTo>
                  <a:lnTo>
                    <a:pt x="1169974" y="660510"/>
                  </a:lnTo>
                  <a:lnTo>
                    <a:pt x="1172364" y="651646"/>
                  </a:lnTo>
                  <a:lnTo>
                    <a:pt x="1178838" y="635795"/>
                  </a:lnTo>
                  <a:lnTo>
                    <a:pt x="1181440" y="632043"/>
                  </a:lnTo>
                  <a:lnTo>
                    <a:pt x="1191967" y="622907"/>
                  </a:lnTo>
                  <a:lnTo>
                    <a:pt x="1192209" y="620548"/>
                  </a:lnTo>
                  <a:lnTo>
                    <a:pt x="1193964" y="617462"/>
                  </a:lnTo>
                  <a:lnTo>
                    <a:pt x="1198078" y="612259"/>
                  </a:lnTo>
                  <a:lnTo>
                    <a:pt x="1200407" y="610353"/>
                  </a:lnTo>
                  <a:lnTo>
                    <a:pt x="1201073" y="609294"/>
                  </a:lnTo>
                  <a:lnTo>
                    <a:pt x="1199832" y="608840"/>
                  </a:lnTo>
                  <a:lnTo>
                    <a:pt x="1198864" y="608145"/>
                  </a:lnTo>
                  <a:lnTo>
                    <a:pt x="1198774" y="606662"/>
                  </a:lnTo>
                  <a:lnTo>
                    <a:pt x="1199469" y="605362"/>
                  </a:lnTo>
                  <a:lnTo>
                    <a:pt x="1200891" y="605210"/>
                  </a:lnTo>
                  <a:lnTo>
                    <a:pt x="1198048" y="602215"/>
                  </a:lnTo>
                  <a:lnTo>
                    <a:pt x="1196989" y="600309"/>
                  </a:lnTo>
                  <a:lnTo>
                    <a:pt x="1197382" y="598162"/>
                  </a:lnTo>
                  <a:lnTo>
                    <a:pt x="1197382" y="597103"/>
                  </a:lnTo>
                  <a:lnTo>
                    <a:pt x="1195839" y="594350"/>
                  </a:lnTo>
                  <a:lnTo>
                    <a:pt x="1195264" y="591295"/>
                  </a:lnTo>
                  <a:lnTo>
                    <a:pt x="1194901" y="588149"/>
                  </a:lnTo>
                  <a:lnTo>
                    <a:pt x="1193994" y="585184"/>
                  </a:lnTo>
                  <a:lnTo>
                    <a:pt x="1185463" y="576320"/>
                  </a:lnTo>
                  <a:lnTo>
                    <a:pt x="1184313" y="573991"/>
                  </a:lnTo>
                  <a:lnTo>
                    <a:pt x="1183618" y="573265"/>
                  </a:lnTo>
                  <a:lnTo>
                    <a:pt x="1182407" y="573265"/>
                  </a:lnTo>
                  <a:lnTo>
                    <a:pt x="1180744" y="574596"/>
                  </a:lnTo>
                  <a:lnTo>
                    <a:pt x="1179503" y="574475"/>
                  </a:lnTo>
                  <a:lnTo>
                    <a:pt x="1178626" y="573507"/>
                  </a:lnTo>
                  <a:lnTo>
                    <a:pt x="1177749" y="571904"/>
                  </a:lnTo>
                  <a:lnTo>
                    <a:pt x="1177144" y="570421"/>
                  </a:lnTo>
                  <a:lnTo>
                    <a:pt x="1177053" y="569756"/>
                  </a:lnTo>
                  <a:lnTo>
                    <a:pt x="1165921" y="569393"/>
                  </a:lnTo>
                  <a:lnTo>
                    <a:pt x="1164287" y="569756"/>
                  </a:lnTo>
                  <a:lnTo>
                    <a:pt x="1158267" y="573961"/>
                  </a:lnTo>
                  <a:lnTo>
                    <a:pt x="1155665" y="574475"/>
                  </a:lnTo>
                  <a:lnTo>
                    <a:pt x="1153639" y="573839"/>
                  </a:lnTo>
                  <a:lnTo>
                    <a:pt x="1149191" y="571298"/>
                  </a:lnTo>
                  <a:lnTo>
                    <a:pt x="1147044" y="570935"/>
                  </a:lnTo>
                  <a:lnTo>
                    <a:pt x="1146197" y="571268"/>
                  </a:lnTo>
                  <a:lnTo>
                    <a:pt x="1145259" y="571964"/>
                  </a:lnTo>
                  <a:lnTo>
                    <a:pt x="1144533" y="572902"/>
                  </a:lnTo>
                  <a:lnTo>
                    <a:pt x="1144230" y="573870"/>
                  </a:lnTo>
                  <a:lnTo>
                    <a:pt x="1143686" y="574717"/>
                  </a:lnTo>
                  <a:lnTo>
                    <a:pt x="1142476" y="574384"/>
                  </a:lnTo>
                  <a:lnTo>
                    <a:pt x="1140509" y="573265"/>
                  </a:lnTo>
                  <a:lnTo>
                    <a:pt x="1139602" y="573567"/>
                  </a:lnTo>
                  <a:lnTo>
                    <a:pt x="1137877" y="575110"/>
                  </a:lnTo>
                  <a:lnTo>
                    <a:pt x="1136728" y="575715"/>
                  </a:lnTo>
                  <a:lnTo>
                    <a:pt x="1135639" y="575443"/>
                  </a:lnTo>
                  <a:lnTo>
                    <a:pt x="1134731" y="574656"/>
                  </a:lnTo>
                  <a:lnTo>
                    <a:pt x="1133945" y="574414"/>
                  </a:lnTo>
                  <a:lnTo>
                    <a:pt x="1133219" y="575715"/>
                  </a:lnTo>
                  <a:lnTo>
                    <a:pt x="1128469" y="573446"/>
                  </a:lnTo>
                  <a:lnTo>
                    <a:pt x="1126654" y="573235"/>
                  </a:lnTo>
                  <a:lnTo>
                    <a:pt x="1125323" y="574021"/>
                  </a:lnTo>
                  <a:lnTo>
                    <a:pt x="1124627" y="575352"/>
                  </a:lnTo>
                  <a:lnTo>
                    <a:pt x="1123810" y="575624"/>
                  </a:lnTo>
                  <a:lnTo>
                    <a:pt x="1122207" y="573235"/>
                  </a:lnTo>
                  <a:lnTo>
                    <a:pt x="1119031" y="573386"/>
                  </a:lnTo>
                  <a:lnTo>
                    <a:pt x="1110409" y="570633"/>
                  </a:lnTo>
                  <a:lnTo>
                    <a:pt x="1106991" y="572176"/>
                  </a:lnTo>
                  <a:lnTo>
                    <a:pt x="1105932" y="571117"/>
                  </a:lnTo>
                  <a:lnTo>
                    <a:pt x="1105115" y="571238"/>
                  </a:lnTo>
                  <a:lnTo>
                    <a:pt x="1104268" y="571813"/>
                  </a:lnTo>
                  <a:lnTo>
                    <a:pt x="1103149" y="572176"/>
                  </a:lnTo>
                  <a:lnTo>
                    <a:pt x="1102151" y="571782"/>
                  </a:lnTo>
                  <a:lnTo>
                    <a:pt x="1101122" y="570088"/>
                  </a:lnTo>
                  <a:lnTo>
                    <a:pt x="1100426" y="569695"/>
                  </a:lnTo>
                  <a:lnTo>
                    <a:pt x="1084514" y="569695"/>
                  </a:lnTo>
                  <a:lnTo>
                    <a:pt x="1082850" y="570270"/>
                  </a:lnTo>
                  <a:lnTo>
                    <a:pt x="1076618" y="574445"/>
                  </a:lnTo>
                  <a:lnTo>
                    <a:pt x="1072565" y="575624"/>
                  </a:lnTo>
                  <a:lnTo>
                    <a:pt x="1068148" y="575473"/>
                  </a:lnTo>
                  <a:lnTo>
                    <a:pt x="1054928" y="571208"/>
                  </a:lnTo>
                  <a:lnTo>
                    <a:pt x="1047426" y="566640"/>
                  </a:lnTo>
                  <a:lnTo>
                    <a:pt x="1034902" y="566125"/>
                  </a:lnTo>
                  <a:lnTo>
                    <a:pt x="1033692" y="566458"/>
                  </a:lnTo>
                  <a:lnTo>
                    <a:pt x="1030999" y="568001"/>
                  </a:lnTo>
                  <a:lnTo>
                    <a:pt x="1029698" y="568485"/>
                  </a:lnTo>
                  <a:lnTo>
                    <a:pt x="1028458" y="568273"/>
                  </a:lnTo>
                  <a:lnTo>
                    <a:pt x="1027460" y="567759"/>
                  </a:lnTo>
                  <a:lnTo>
                    <a:pt x="1026552" y="567910"/>
                  </a:lnTo>
                  <a:lnTo>
                    <a:pt x="1025554" y="569695"/>
                  </a:lnTo>
                  <a:lnTo>
                    <a:pt x="1026129" y="571692"/>
                  </a:lnTo>
                  <a:lnTo>
                    <a:pt x="1025161" y="573900"/>
                  </a:lnTo>
                  <a:lnTo>
                    <a:pt x="1023557" y="575776"/>
                  </a:lnTo>
                  <a:lnTo>
                    <a:pt x="1022105" y="576774"/>
                  </a:lnTo>
                  <a:lnTo>
                    <a:pt x="1020169" y="577137"/>
                  </a:lnTo>
                  <a:lnTo>
                    <a:pt x="1018173" y="576925"/>
                  </a:lnTo>
                  <a:lnTo>
                    <a:pt x="1014482" y="575715"/>
                  </a:lnTo>
                  <a:lnTo>
                    <a:pt x="1016569" y="580313"/>
                  </a:lnTo>
                  <a:lnTo>
                    <a:pt x="1015057" y="580646"/>
                  </a:lnTo>
                  <a:lnTo>
                    <a:pt x="1013695" y="581221"/>
                  </a:lnTo>
                  <a:lnTo>
                    <a:pt x="1012395" y="581312"/>
                  </a:lnTo>
                  <a:lnTo>
                    <a:pt x="1011063" y="580313"/>
                  </a:lnTo>
                  <a:lnTo>
                    <a:pt x="1011850" y="579496"/>
                  </a:lnTo>
                  <a:lnTo>
                    <a:pt x="1012364" y="578680"/>
                  </a:lnTo>
                  <a:lnTo>
                    <a:pt x="1013121" y="576774"/>
                  </a:lnTo>
                  <a:lnTo>
                    <a:pt x="1007131" y="578075"/>
                  </a:lnTo>
                  <a:lnTo>
                    <a:pt x="991763" y="588693"/>
                  </a:lnTo>
                  <a:lnTo>
                    <a:pt x="988677" y="589570"/>
                  </a:lnTo>
                  <a:lnTo>
                    <a:pt x="978997" y="588693"/>
                  </a:lnTo>
                  <a:lnTo>
                    <a:pt x="969770" y="590024"/>
                  </a:lnTo>
                  <a:lnTo>
                    <a:pt x="966957" y="589843"/>
                  </a:lnTo>
                  <a:lnTo>
                    <a:pt x="970738" y="592989"/>
                  </a:lnTo>
                  <a:lnTo>
                    <a:pt x="971888" y="594864"/>
                  </a:lnTo>
                  <a:lnTo>
                    <a:pt x="970073" y="595681"/>
                  </a:lnTo>
                  <a:lnTo>
                    <a:pt x="968651" y="596044"/>
                  </a:lnTo>
                  <a:lnTo>
                    <a:pt x="967078" y="597012"/>
                  </a:lnTo>
                  <a:lnTo>
                    <a:pt x="965626" y="598343"/>
                  </a:lnTo>
                  <a:lnTo>
                    <a:pt x="963750" y="600915"/>
                  </a:lnTo>
                  <a:lnTo>
                    <a:pt x="962691" y="601429"/>
                  </a:lnTo>
                  <a:lnTo>
                    <a:pt x="960423" y="601610"/>
                  </a:lnTo>
                  <a:lnTo>
                    <a:pt x="960362" y="602094"/>
                  </a:lnTo>
                  <a:lnTo>
                    <a:pt x="959606" y="603214"/>
                  </a:lnTo>
                  <a:lnTo>
                    <a:pt x="957972" y="605120"/>
                  </a:lnTo>
                  <a:lnTo>
                    <a:pt x="955885" y="606148"/>
                  </a:lnTo>
                  <a:lnTo>
                    <a:pt x="954070" y="606057"/>
                  </a:lnTo>
                  <a:lnTo>
                    <a:pt x="950440" y="605150"/>
                  </a:lnTo>
                  <a:lnTo>
                    <a:pt x="951589" y="603788"/>
                  </a:lnTo>
                  <a:lnTo>
                    <a:pt x="952708" y="602034"/>
                  </a:lnTo>
                  <a:lnTo>
                    <a:pt x="954554" y="598101"/>
                  </a:lnTo>
                  <a:lnTo>
                    <a:pt x="953313" y="597224"/>
                  </a:lnTo>
                  <a:lnTo>
                    <a:pt x="951922" y="596921"/>
                  </a:lnTo>
                  <a:lnTo>
                    <a:pt x="949048" y="597012"/>
                  </a:lnTo>
                  <a:lnTo>
                    <a:pt x="949048" y="595711"/>
                  </a:lnTo>
                  <a:lnTo>
                    <a:pt x="954554" y="595711"/>
                  </a:lnTo>
                  <a:lnTo>
                    <a:pt x="956883" y="596377"/>
                  </a:lnTo>
                  <a:lnTo>
                    <a:pt x="957579" y="596135"/>
                  </a:lnTo>
                  <a:lnTo>
                    <a:pt x="956641" y="594532"/>
                  </a:lnTo>
                  <a:lnTo>
                    <a:pt x="958335" y="592474"/>
                  </a:lnTo>
                  <a:lnTo>
                    <a:pt x="960271" y="591416"/>
                  </a:lnTo>
                  <a:lnTo>
                    <a:pt x="964960" y="590992"/>
                  </a:lnTo>
                  <a:lnTo>
                    <a:pt x="964567" y="590629"/>
                  </a:lnTo>
                  <a:lnTo>
                    <a:pt x="964234" y="590175"/>
                  </a:lnTo>
                  <a:lnTo>
                    <a:pt x="963901" y="589540"/>
                  </a:lnTo>
                  <a:lnTo>
                    <a:pt x="963599" y="588663"/>
                  </a:lnTo>
                  <a:lnTo>
                    <a:pt x="967138" y="583429"/>
                  </a:lnTo>
                  <a:lnTo>
                    <a:pt x="970073" y="581281"/>
                  </a:lnTo>
                  <a:lnTo>
                    <a:pt x="972977" y="577924"/>
                  </a:lnTo>
                  <a:lnTo>
                    <a:pt x="975064" y="574324"/>
                  </a:lnTo>
                  <a:lnTo>
                    <a:pt x="974580" y="572145"/>
                  </a:lnTo>
                  <a:lnTo>
                    <a:pt x="973037" y="572387"/>
                  </a:lnTo>
                  <a:lnTo>
                    <a:pt x="968651" y="574959"/>
                  </a:lnTo>
                  <a:lnTo>
                    <a:pt x="967380" y="576229"/>
                  </a:lnTo>
                  <a:lnTo>
                    <a:pt x="965747" y="577409"/>
                  </a:lnTo>
                  <a:lnTo>
                    <a:pt x="963538" y="577470"/>
                  </a:lnTo>
                  <a:lnTo>
                    <a:pt x="958486" y="576411"/>
                  </a:lnTo>
                  <a:lnTo>
                    <a:pt x="957155" y="574868"/>
                  </a:lnTo>
                  <a:lnTo>
                    <a:pt x="956006" y="574414"/>
                  </a:lnTo>
                  <a:lnTo>
                    <a:pt x="955189" y="574505"/>
                  </a:lnTo>
                  <a:lnTo>
                    <a:pt x="950893" y="576562"/>
                  </a:lnTo>
                  <a:lnTo>
                    <a:pt x="947021" y="580283"/>
                  </a:lnTo>
                  <a:lnTo>
                    <a:pt x="942423" y="582885"/>
                  </a:lnTo>
                  <a:lnTo>
                    <a:pt x="941213" y="584458"/>
                  </a:lnTo>
                  <a:lnTo>
                    <a:pt x="940184" y="586152"/>
                  </a:lnTo>
                  <a:lnTo>
                    <a:pt x="938762" y="587906"/>
                  </a:lnTo>
                  <a:lnTo>
                    <a:pt x="937280" y="589268"/>
                  </a:lnTo>
                  <a:lnTo>
                    <a:pt x="934255" y="590448"/>
                  </a:lnTo>
                  <a:lnTo>
                    <a:pt x="932894" y="591416"/>
                  </a:lnTo>
                  <a:lnTo>
                    <a:pt x="932410" y="591295"/>
                  </a:lnTo>
                  <a:lnTo>
                    <a:pt x="933226" y="588632"/>
                  </a:lnTo>
                  <a:lnTo>
                    <a:pt x="934043" y="586908"/>
                  </a:lnTo>
                  <a:lnTo>
                    <a:pt x="934951" y="585789"/>
                  </a:lnTo>
                  <a:lnTo>
                    <a:pt x="941485" y="579648"/>
                  </a:lnTo>
                  <a:lnTo>
                    <a:pt x="942907" y="579103"/>
                  </a:lnTo>
                  <a:lnTo>
                    <a:pt x="944450" y="577954"/>
                  </a:lnTo>
                  <a:lnTo>
                    <a:pt x="945115" y="575564"/>
                  </a:lnTo>
                  <a:lnTo>
                    <a:pt x="945872" y="573567"/>
                  </a:lnTo>
                  <a:lnTo>
                    <a:pt x="947596" y="573476"/>
                  </a:lnTo>
                  <a:lnTo>
                    <a:pt x="949471" y="573809"/>
                  </a:lnTo>
                  <a:lnTo>
                    <a:pt x="956036" y="572115"/>
                  </a:lnTo>
                  <a:lnTo>
                    <a:pt x="958607" y="571964"/>
                  </a:lnTo>
                  <a:lnTo>
                    <a:pt x="959938" y="571419"/>
                  </a:lnTo>
                  <a:lnTo>
                    <a:pt x="967713" y="564885"/>
                  </a:lnTo>
                  <a:lnTo>
                    <a:pt x="971253" y="563675"/>
                  </a:lnTo>
                  <a:lnTo>
                    <a:pt x="973945" y="566095"/>
                  </a:lnTo>
                  <a:lnTo>
                    <a:pt x="972674" y="568788"/>
                  </a:lnTo>
                  <a:lnTo>
                    <a:pt x="973158" y="570482"/>
                  </a:lnTo>
                  <a:lnTo>
                    <a:pt x="974731" y="571177"/>
                  </a:lnTo>
                  <a:lnTo>
                    <a:pt x="976728" y="570784"/>
                  </a:lnTo>
                  <a:lnTo>
                    <a:pt x="978029" y="569514"/>
                  </a:lnTo>
                  <a:lnTo>
                    <a:pt x="980691" y="565762"/>
                  </a:lnTo>
                  <a:lnTo>
                    <a:pt x="982990" y="564068"/>
                  </a:lnTo>
                  <a:lnTo>
                    <a:pt x="996664" y="547430"/>
                  </a:lnTo>
                  <a:lnTo>
                    <a:pt x="997450" y="545917"/>
                  </a:lnTo>
                  <a:lnTo>
                    <a:pt x="997723" y="543104"/>
                  </a:lnTo>
                  <a:lnTo>
                    <a:pt x="997057" y="541410"/>
                  </a:lnTo>
                  <a:lnTo>
                    <a:pt x="995817" y="541229"/>
                  </a:lnTo>
                  <a:lnTo>
                    <a:pt x="994304" y="542862"/>
                  </a:lnTo>
                  <a:lnTo>
                    <a:pt x="991460" y="546734"/>
                  </a:lnTo>
                  <a:lnTo>
                    <a:pt x="987861" y="549880"/>
                  </a:lnTo>
                  <a:lnTo>
                    <a:pt x="984140" y="551454"/>
                  </a:lnTo>
                  <a:lnTo>
                    <a:pt x="980872" y="550576"/>
                  </a:lnTo>
                  <a:lnTo>
                    <a:pt x="982234" y="548338"/>
                  </a:lnTo>
                  <a:lnTo>
                    <a:pt x="980449" y="546129"/>
                  </a:lnTo>
                  <a:lnTo>
                    <a:pt x="977212" y="545434"/>
                  </a:lnTo>
                  <a:lnTo>
                    <a:pt x="971525" y="549638"/>
                  </a:lnTo>
                  <a:lnTo>
                    <a:pt x="967985" y="548761"/>
                  </a:lnTo>
                  <a:lnTo>
                    <a:pt x="961542" y="544647"/>
                  </a:lnTo>
                  <a:lnTo>
                    <a:pt x="962117" y="547551"/>
                  </a:lnTo>
                  <a:lnTo>
                    <a:pt x="960483" y="547612"/>
                  </a:lnTo>
                  <a:lnTo>
                    <a:pt x="958093" y="546008"/>
                  </a:lnTo>
                  <a:lnTo>
                    <a:pt x="956369" y="544042"/>
                  </a:lnTo>
                  <a:lnTo>
                    <a:pt x="954584" y="542499"/>
                  </a:lnTo>
                  <a:lnTo>
                    <a:pt x="952466" y="542832"/>
                  </a:lnTo>
                  <a:lnTo>
                    <a:pt x="948413" y="544617"/>
                  </a:lnTo>
                  <a:lnTo>
                    <a:pt x="944571" y="543830"/>
                  </a:lnTo>
                  <a:lnTo>
                    <a:pt x="941364" y="541349"/>
                  </a:lnTo>
                  <a:lnTo>
                    <a:pt x="936040" y="533938"/>
                  </a:lnTo>
                  <a:lnTo>
                    <a:pt x="938067" y="534603"/>
                  </a:lnTo>
                  <a:lnTo>
                    <a:pt x="939973" y="536207"/>
                  </a:lnTo>
                  <a:lnTo>
                    <a:pt x="943210" y="540412"/>
                  </a:lnTo>
                  <a:lnTo>
                    <a:pt x="945418" y="541864"/>
                  </a:lnTo>
                  <a:lnTo>
                    <a:pt x="953555" y="539867"/>
                  </a:lnTo>
                  <a:lnTo>
                    <a:pt x="956339" y="540593"/>
                  </a:lnTo>
                  <a:lnTo>
                    <a:pt x="962117" y="543346"/>
                  </a:lnTo>
                  <a:lnTo>
                    <a:pt x="964930" y="543437"/>
                  </a:lnTo>
                  <a:lnTo>
                    <a:pt x="965747" y="542802"/>
                  </a:lnTo>
                  <a:lnTo>
                    <a:pt x="967532" y="540563"/>
                  </a:lnTo>
                  <a:lnTo>
                    <a:pt x="968439" y="539897"/>
                  </a:lnTo>
                  <a:lnTo>
                    <a:pt x="969982" y="539897"/>
                  </a:lnTo>
                  <a:lnTo>
                    <a:pt x="972977" y="540956"/>
                  </a:lnTo>
                  <a:lnTo>
                    <a:pt x="974550" y="540956"/>
                  </a:lnTo>
                  <a:lnTo>
                    <a:pt x="974096" y="538990"/>
                  </a:lnTo>
                  <a:lnTo>
                    <a:pt x="974610" y="537205"/>
                  </a:lnTo>
                  <a:lnTo>
                    <a:pt x="976698" y="533968"/>
                  </a:lnTo>
                  <a:lnTo>
                    <a:pt x="974580" y="530580"/>
                  </a:lnTo>
                  <a:lnTo>
                    <a:pt x="973915" y="529793"/>
                  </a:lnTo>
                  <a:lnTo>
                    <a:pt x="972372" y="529098"/>
                  </a:lnTo>
                  <a:lnTo>
                    <a:pt x="969226" y="528946"/>
                  </a:lnTo>
                  <a:lnTo>
                    <a:pt x="967713" y="527888"/>
                  </a:lnTo>
                  <a:lnTo>
                    <a:pt x="966836" y="526345"/>
                  </a:lnTo>
                  <a:lnTo>
                    <a:pt x="966564" y="524893"/>
                  </a:lnTo>
                  <a:lnTo>
                    <a:pt x="967048" y="524197"/>
                  </a:lnTo>
                  <a:lnTo>
                    <a:pt x="969921" y="525800"/>
                  </a:lnTo>
                  <a:lnTo>
                    <a:pt x="972493" y="526103"/>
                  </a:lnTo>
                  <a:lnTo>
                    <a:pt x="973884" y="526799"/>
                  </a:lnTo>
                  <a:lnTo>
                    <a:pt x="973189" y="527888"/>
                  </a:lnTo>
                  <a:lnTo>
                    <a:pt x="973673" y="528311"/>
                  </a:lnTo>
                  <a:lnTo>
                    <a:pt x="975306" y="529189"/>
                  </a:lnTo>
                  <a:lnTo>
                    <a:pt x="975367" y="527373"/>
                  </a:lnTo>
                  <a:lnTo>
                    <a:pt x="975730" y="525921"/>
                  </a:lnTo>
                  <a:lnTo>
                    <a:pt x="976395" y="524893"/>
                  </a:lnTo>
                  <a:lnTo>
                    <a:pt x="977363" y="524348"/>
                  </a:lnTo>
                  <a:lnTo>
                    <a:pt x="983807" y="520173"/>
                  </a:lnTo>
                  <a:lnTo>
                    <a:pt x="987014" y="519478"/>
                  </a:lnTo>
                  <a:lnTo>
                    <a:pt x="989524" y="518177"/>
                  </a:lnTo>
                  <a:lnTo>
                    <a:pt x="990432" y="517300"/>
                  </a:lnTo>
                  <a:lnTo>
                    <a:pt x="991007" y="516029"/>
                  </a:lnTo>
                  <a:lnTo>
                    <a:pt x="992005" y="512490"/>
                  </a:lnTo>
                  <a:lnTo>
                    <a:pt x="992882" y="510644"/>
                  </a:lnTo>
                  <a:lnTo>
                    <a:pt x="994728" y="508920"/>
                  </a:lnTo>
                  <a:lnTo>
                    <a:pt x="1002200" y="505380"/>
                  </a:lnTo>
                  <a:lnTo>
                    <a:pt x="1024314" y="488531"/>
                  </a:lnTo>
                  <a:lnTo>
                    <a:pt x="1028518" y="484144"/>
                  </a:lnTo>
                  <a:lnTo>
                    <a:pt x="1030394" y="481210"/>
                  </a:lnTo>
                  <a:lnTo>
                    <a:pt x="1031181" y="478306"/>
                  </a:lnTo>
                  <a:lnTo>
                    <a:pt x="1032088" y="476672"/>
                  </a:lnTo>
                  <a:lnTo>
                    <a:pt x="1037443" y="471650"/>
                  </a:lnTo>
                  <a:lnTo>
                    <a:pt x="1040982" y="469623"/>
                  </a:lnTo>
                  <a:lnTo>
                    <a:pt x="1049785" y="466719"/>
                  </a:lnTo>
                  <a:lnTo>
                    <a:pt x="1053990" y="464450"/>
                  </a:lnTo>
                  <a:lnTo>
                    <a:pt x="1057772" y="460427"/>
                  </a:lnTo>
                  <a:lnTo>
                    <a:pt x="1063096" y="453227"/>
                  </a:lnTo>
                  <a:lnTo>
                    <a:pt x="1067482" y="445301"/>
                  </a:lnTo>
                  <a:lnTo>
                    <a:pt x="1068420" y="439069"/>
                  </a:lnTo>
                  <a:lnTo>
                    <a:pt x="1069449" y="438797"/>
                  </a:lnTo>
                  <a:lnTo>
                    <a:pt x="1070356" y="437799"/>
                  </a:lnTo>
                  <a:lnTo>
                    <a:pt x="1070810" y="436226"/>
                  </a:lnTo>
                  <a:lnTo>
                    <a:pt x="1070477" y="434169"/>
                  </a:lnTo>
                  <a:lnTo>
                    <a:pt x="1069691" y="433201"/>
                  </a:lnTo>
                  <a:lnTo>
                    <a:pt x="1068723" y="433443"/>
                  </a:lnTo>
                  <a:lnTo>
                    <a:pt x="1067603" y="434048"/>
                  </a:lnTo>
                  <a:lnTo>
                    <a:pt x="1066363" y="434169"/>
                  </a:lnTo>
                  <a:lnTo>
                    <a:pt x="1064215" y="432928"/>
                  </a:lnTo>
                  <a:lnTo>
                    <a:pt x="1063156" y="430811"/>
                  </a:lnTo>
                  <a:lnTo>
                    <a:pt x="1063156" y="427937"/>
                  </a:lnTo>
                  <a:lnTo>
                    <a:pt x="1064306" y="424488"/>
                  </a:lnTo>
                  <a:lnTo>
                    <a:pt x="1065032" y="423308"/>
                  </a:lnTo>
                  <a:lnTo>
                    <a:pt x="1067664" y="420949"/>
                  </a:lnTo>
                  <a:lnTo>
                    <a:pt x="1068572" y="419466"/>
                  </a:lnTo>
                  <a:lnTo>
                    <a:pt x="1070084" y="416260"/>
                  </a:lnTo>
                  <a:lnTo>
                    <a:pt x="1071233" y="414778"/>
                  </a:lnTo>
                  <a:lnTo>
                    <a:pt x="1071718" y="412146"/>
                  </a:lnTo>
                  <a:lnTo>
                    <a:pt x="1073623" y="408515"/>
                  </a:lnTo>
                  <a:lnTo>
                    <a:pt x="1074259" y="405279"/>
                  </a:lnTo>
                  <a:lnTo>
                    <a:pt x="1070870" y="403887"/>
                  </a:lnTo>
                  <a:lnTo>
                    <a:pt x="1064245" y="405127"/>
                  </a:lnTo>
                  <a:lnTo>
                    <a:pt x="1060918" y="405127"/>
                  </a:lnTo>
                  <a:lnTo>
                    <a:pt x="1055684" y="401588"/>
                  </a:lnTo>
                  <a:lnTo>
                    <a:pt x="1051631" y="401951"/>
                  </a:lnTo>
                  <a:lnTo>
                    <a:pt x="1045036" y="403887"/>
                  </a:lnTo>
                  <a:lnTo>
                    <a:pt x="1041950" y="403887"/>
                  </a:lnTo>
                  <a:lnTo>
                    <a:pt x="1041224" y="403191"/>
                  </a:lnTo>
                  <a:lnTo>
                    <a:pt x="1040831" y="401618"/>
                  </a:lnTo>
                  <a:lnTo>
                    <a:pt x="1040559" y="399954"/>
                  </a:lnTo>
                  <a:lnTo>
                    <a:pt x="1040165" y="399016"/>
                  </a:lnTo>
                  <a:lnTo>
                    <a:pt x="1038502" y="398744"/>
                  </a:lnTo>
                  <a:lnTo>
                    <a:pt x="1036989" y="399682"/>
                  </a:lnTo>
                  <a:lnTo>
                    <a:pt x="1034690" y="402556"/>
                  </a:lnTo>
                  <a:lnTo>
                    <a:pt x="1035779" y="404976"/>
                  </a:lnTo>
                  <a:lnTo>
                    <a:pt x="1037412" y="406791"/>
                  </a:lnTo>
                  <a:lnTo>
                    <a:pt x="1039258" y="408031"/>
                  </a:lnTo>
                  <a:lnTo>
                    <a:pt x="1040952" y="408727"/>
                  </a:lnTo>
                  <a:lnTo>
                    <a:pt x="1039621" y="412267"/>
                  </a:lnTo>
                  <a:lnTo>
                    <a:pt x="1036868" y="412267"/>
                  </a:lnTo>
                  <a:lnTo>
                    <a:pt x="1031271" y="409937"/>
                  </a:lnTo>
                  <a:lnTo>
                    <a:pt x="1025524" y="411813"/>
                  </a:lnTo>
                  <a:lnTo>
                    <a:pt x="1022710" y="412025"/>
                  </a:lnTo>
                  <a:lnTo>
                    <a:pt x="1020290" y="409907"/>
                  </a:lnTo>
                  <a:lnTo>
                    <a:pt x="1020683" y="409635"/>
                  </a:lnTo>
                  <a:lnTo>
                    <a:pt x="1021682" y="408667"/>
                  </a:lnTo>
                  <a:lnTo>
                    <a:pt x="1019383" y="407638"/>
                  </a:lnTo>
                  <a:lnTo>
                    <a:pt x="1016146" y="407547"/>
                  </a:lnTo>
                  <a:lnTo>
                    <a:pt x="1009884" y="408667"/>
                  </a:lnTo>
                  <a:lnTo>
                    <a:pt x="1006011" y="410391"/>
                  </a:lnTo>
                  <a:lnTo>
                    <a:pt x="999114" y="415262"/>
                  </a:lnTo>
                  <a:lnTo>
                    <a:pt x="994758" y="417137"/>
                  </a:lnTo>
                  <a:lnTo>
                    <a:pt x="986136" y="418468"/>
                  </a:lnTo>
                  <a:lnTo>
                    <a:pt x="977515" y="417137"/>
                  </a:lnTo>
                  <a:lnTo>
                    <a:pt x="975276" y="417561"/>
                  </a:lnTo>
                  <a:lnTo>
                    <a:pt x="974731" y="417077"/>
                  </a:lnTo>
                  <a:lnTo>
                    <a:pt x="972856" y="413628"/>
                  </a:lnTo>
                  <a:lnTo>
                    <a:pt x="972735" y="413204"/>
                  </a:lnTo>
                  <a:lnTo>
                    <a:pt x="972584" y="413386"/>
                  </a:lnTo>
                  <a:lnTo>
                    <a:pt x="971676" y="413598"/>
                  </a:lnTo>
                  <a:lnTo>
                    <a:pt x="970769" y="414203"/>
                  </a:lnTo>
                  <a:lnTo>
                    <a:pt x="969498" y="417167"/>
                  </a:lnTo>
                  <a:lnTo>
                    <a:pt x="968621" y="418438"/>
                  </a:lnTo>
                  <a:lnTo>
                    <a:pt x="967501" y="419103"/>
                  </a:lnTo>
                  <a:lnTo>
                    <a:pt x="966624" y="419043"/>
                  </a:lnTo>
                  <a:lnTo>
                    <a:pt x="964506" y="418408"/>
                  </a:lnTo>
                  <a:lnTo>
                    <a:pt x="960665" y="418408"/>
                  </a:lnTo>
                  <a:lnTo>
                    <a:pt x="959545" y="418952"/>
                  </a:lnTo>
                  <a:lnTo>
                    <a:pt x="958789" y="421282"/>
                  </a:lnTo>
                  <a:lnTo>
                    <a:pt x="957912" y="421796"/>
                  </a:lnTo>
                  <a:lnTo>
                    <a:pt x="956520" y="421554"/>
                  </a:lnTo>
                  <a:lnTo>
                    <a:pt x="954614" y="420646"/>
                  </a:lnTo>
                  <a:lnTo>
                    <a:pt x="953465" y="420828"/>
                  </a:lnTo>
                  <a:lnTo>
                    <a:pt x="952799" y="421493"/>
                  </a:lnTo>
                  <a:lnTo>
                    <a:pt x="952345" y="422492"/>
                  </a:lnTo>
                  <a:lnTo>
                    <a:pt x="951740" y="423550"/>
                  </a:lnTo>
                  <a:lnTo>
                    <a:pt x="950651" y="424337"/>
                  </a:lnTo>
                  <a:lnTo>
                    <a:pt x="952073" y="425638"/>
                  </a:lnTo>
                  <a:lnTo>
                    <a:pt x="949804" y="425063"/>
                  </a:lnTo>
                  <a:lnTo>
                    <a:pt x="946809" y="422401"/>
                  </a:lnTo>
                  <a:lnTo>
                    <a:pt x="944813" y="421796"/>
                  </a:lnTo>
                  <a:lnTo>
                    <a:pt x="943814" y="421917"/>
                  </a:lnTo>
                  <a:lnTo>
                    <a:pt x="941122" y="423127"/>
                  </a:lnTo>
                  <a:lnTo>
                    <a:pt x="937250" y="425638"/>
                  </a:lnTo>
                  <a:lnTo>
                    <a:pt x="936947" y="426031"/>
                  </a:lnTo>
                  <a:lnTo>
                    <a:pt x="932863" y="430145"/>
                  </a:lnTo>
                  <a:lnTo>
                    <a:pt x="932440" y="430357"/>
                  </a:lnTo>
                  <a:lnTo>
                    <a:pt x="932047" y="430660"/>
                  </a:lnTo>
                  <a:lnTo>
                    <a:pt x="932047" y="431355"/>
                  </a:lnTo>
                  <a:lnTo>
                    <a:pt x="932198" y="432202"/>
                  </a:lnTo>
                  <a:lnTo>
                    <a:pt x="932077" y="432898"/>
                  </a:lnTo>
                  <a:lnTo>
                    <a:pt x="929354" y="436649"/>
                  </a:lnTo>
                  <a:lnTo>
                    <a:pt x="927660" y="438222"/>
                  </a:lnTo>
                  <a:lnTo>
                    <a:pt x="925936" y="438948"/>
                  </a:lnTo>
                  <a:lnTo>
                    <a:pt x="927721" y="435076"/>
                  </a:lnTo>
                  <a:lnTo>
                    <a:pt x="929022" y="431416"/>
                  </a:lnTo>
                  <a:lnTo>
                    <a:pt x="930504" y="428209"/>
                  </a:lnTo>
                  <a:lnTo>
                    <a:pt x="932863" y="425638"/>
                  </a:lnTo>
                  <a:lnTo>
                    <a:pt x="932652" y="423853"/>
                  </a:lnTo>
                  <a:lnTo>
                    <a:pt x="932742" y="423762"/>
                  </a:lnTo>
                  <a:lnTo>
                    <a:pt x="932894" y="423127"/>
                  </a:lnTo>
                  <a:lnTo>
                    <a:pt x="932894" y="421796"/>
                  </a:lnTo>
                  <a:lnTo>
                    <a:pt x="927963" y="418408"/>
                  </a:lnTo>
                  <a:lnTo>
                    <a:pt x="923728" y="416653"/>
                  </a:lnTo>
                  <a:lnTo>
                    <a:pt x="919402" y="415867"/>
                  </a:lnTo>
                  <a:lnTo>
                    <a:pt x="916951" y="416895"/>
                  </a:lnTo>
                  <a:lnTo>
                    <a:pt x="915923" y="419406"/>
                  </a:lnTo>
                  <a:lnTo>
                    <a:pt x="915318" y="422613"/>
                  </a:lnTo>
                  <a:lnTo>
                    <a:pt x="914198" y="425668"/>
                  </a:lnTo>
                  <a:lnTo>
                    <a:pt x="912353" y="427392"/>
                  </a:lnTo>
                  <a:lnTo>
                    <a:pt x="910326" y="428270"/>
                  </a:lnTo>
                  <a:lnTo>
                    <a:pt x="908662" y="429510"/>
                  </a:lnTo>
                  <a:lnTo>
                    <a:pt x="907997" y="432263"/>
                  </a:lnTo>
                  <a:lnTo>
                    <a:pt x="907029" y="432747"/>
                  </a:lnTo>
                  <a:lnTo>
                    <a:pt x="901039" y="438948"/>
                  </a:lnTo>
                  <a:lnTo>
                    <a:pt x="899163" y="439221"/>
                  </a:lnTo>
                  <a:lnTo>
                    <a:pt x="900131" y="436801"/>
                  </a:lnTo>
                  <a:lnTo>
                    <a:pt x="902037" y="433473"/>
                  </a:lnTo>
                  <a:lnTo>
                    <a:pt x="903852" y="429026"/>
                  </a:lnTo>
                  <a:lnTo>
                    <a:pt x="907422" y="425789"/>
                  </a:lnTo>
                  <a:lnTo>
                    <a:pt x="908602" y="424337"/>
                  </a:lnTo>
                  <a:lnTo>
                    <a:pt x="909025" y="423218"/>
                  </a:lnTo>
                  <a:lnTo>
                    <a:pt x="909419" y="421584"/>
                  </a:lnTo>
                  <a:lnTo>
                    <a:pt x="909328" y="420102"/>
                  </a:lnTo>
                  <a:lnTo>
                    <a:pt x="908269" y="419466"/>
                  </a:lnTo>
                  <a:lnTo>
                    <a:pt x="906968" y="419103"/>
                  </a:lnTo>
                  <a:lnTo>
                    <a:pt x="904125" y="417046"/>
                  </a:lnTo>
                  <a:lnTo>
                    <a:pt x="902430" y="416260"/>
                  </a:lnTo>
                  <a:lnTo>
                    <a:pt x="899345" y="412418"/>
                  </a:lnTo>
                  <a:lnTo>
                    <a:pt x="897560" y="410996"/>
                  </a:lnTo>
                  <a:lnTo>
                    <a:pt x="898044" y="413961"/>
                  </a:lnTo>
                  <a:lnTo>
                    <a:pt x="897499" y="415231"/>
                  </a:lnTo>
                  <a:lnTo>
                    <a:pt x="896622" y="416351"/>
                  </a:lnTo>
                  <a:lnTo>
                    <a:pt x="896168" y="418922"/>
                  </a:lnTo>
                  <a:lnTo>
                    <a:pt x="896168" y="420828"/>
                  </a:lnTo>
                  <a:lnTo>
                    <a:pt x="896017" y="422613"/>
                  </a:lnTo>
                  <a:lnTo>
                    <a:pt x="895231" y="424246"/>
                  </a:lnTo>
                  <a:lnTo>
                    <a:pt x="893385" y="425638"/>
                  </a:lnTo>
                  <a:lnTo>
                    <a:pt x="894051" y="424337"/>
                  </a:lnTo>
                  <a:lnTo>
                    <a:pt x="894474" y="423006"/>
                  </a:lnTo>
                  <a:lnTo>
                    <a:pt x="894747" y="421463"/>
                  </a:lnTo>
                  <a:lnTo>
                    <a:pt x="894837" y="419497"/>
                  </a:lnTo>
                  <a:lnTo>
                    <a:pt x="894535" y="419678"/>
                  </a:lnTo>
                  <a:lnTo>
                    <a:pt x="893930" y="417288"/>
                  </a:lnTo>
                  <a:lnTo>
                    <a:pt x="893416" y="414505"/>
                  </a:lnTo>
                  <a:lnTo>
                    <a:pt x="893416" y="413567"/>
                  </a:lnTo>
                  <a:lnTo>
                    <a:pt x="891601" y="411420"/>
                  </a:lnTo>
                  <a:lnTo>
                    <a:pt x="889241" y="409968"/>
                  </a:lnTo>
                  <a:lnTo>
                    <a:pt x="876293" y="407275"/>
                  </a:lnTo>
                  <a:lnTo>
                    <a:pt x="874599" y="409151"/>
                  </a:lnTo>
                  <a:lnTo>
                    <a:pt x="873934" y="412206"/>
                  </a:lnTo>
                  <a:lnTo>
                    <a:pt x="873571" y="415836"/>
                  </a:lnTo>
                  <a:lnTo>
                    <a:pt x="872784" y="419497"/>
                  </a:lnTo>
                  <a:lnTo>
                    <a:pt x="873480" y="419497"/>
                  </a:lnTo>
                  <a:lnTo>
                    <a:pt x="872300" y="422189"/>
                  </a:lnTo>
                  <a:lnTo>
                    <a:pt x="870818" y="423702"/>
                  </a:lnTo>
                  <a:lnTo>
                    <a:pt x="865494" y="426636"/>
                  </a:lnTo>
                  <a:lnTo>
                    <a:pt x="864707" y="427453"/>
                  </a:lnTo>
                  <a:lnTo>
                    <a:pt x="864526" y="428996"/>
                  </a:lnTo>
                  <a:lnTo>
                    <a:pt x="864526" y="432202"/>
                  </a:lnTo>
                  <a:lnTo>
                    <a:pt x="875597" y="441187"/>
                  </a:lnTo>
                  <a:lnTo>
                    <a:pt x="872572" y="439221"/>
                  </a:lnTo>
                  <a:lnTo>
                    <a:pt x="870092" y="438132"/>
                  </a:lnTo>
                  <a:lnTo>
                    <a:pt x="864526" y="441187"/>
                  </a:lnTo>
                  <a:lnTo>
                    <a:pt x="865494" y="442095"/>
                  </a:lnTo>
                  <a:lnTo>
                    <a:pt x="865917" y="442397"/>
                  </a:lnTo>
                  <a:lnTo>
                    <a:pt x="866613" y="442518"/>
                  </a:lnTo>
                  <a:lnTo>
                    <a:pt x="866613" y="443728"/>
                  </a:lnTo>
                  <a:lnTo>
                    <a:pt x="865312" y="443728"/>
                  </a:lnTo>
                  <a:lnTo>
                    <a:pt x="865312" y="445029"/>
                  </a:lnTo>
                  <a:lnTo>
                    <a:pt x="866431" y="445180"/>
                  </a:lnTo>
                  <a:lnTo>
                    <a:pt x="867520" y="445089"/>
                  </a:lnTo>
                  <a:lnTo>
                    <a:pt x="868519" y="444605"/>
                  </a:lnTo>
                  <a:lnTo>
                    <a:pt x="869426" y="443728"/>
                  </a:lnTo>
                  <a:lnTo>
                    <a:pt x="870122" y="445029"/>
                  </a:lnTo>
                  <a:lnTo>
                    <a:pt x="869820" y="446451"/>
                  </a:lnTo>
                  <a:lnTo>
                    <a:pt x="870757" y="447600"/>
                  </a:lnTo>
                  <a:lnTo>
                    <a:pt x="873540" y="449718"/>
                  </a:lnTo>
                  <a:lnTo>
                    <a:pt x="869335" y="449869"/>
                  </a:lnTo>
                  <a:lnTo>
                    <a:pt x="863497" y="446088"/>
                  </a:lnTo>
                  <a:lnTo>
                    <a:pt x="862862" y="445906"/>
                  </a:lnTo>
                  <a:lnTo>
                    <a:pt x="861531" y="445150"/>
                  </a:lnTo>
                  <a:lnTo>
                    <a:pt x="860774" y="444968"/>
                  </a:lnTo>
                  <a:lnTo>
                    <a:pt x="860381" y="445392"/>
                  </a:lnTo>
                  <a:lnTo>
                    <a:pt x="860381" y="446420"/>
                  </a:lnTo>
                  <a:lnTo>
                    <a:pt x="860532" y="447570"/>
                  </a:lnTo>
                  <a:lnTo>
                    <a:pt x="860441" y="448478"/>
                  </a:lnTo>
                  <a:lnTo>
                    <a:pt x="859504" y="450323"/>
                  </a:lnTo>
                  <a:lnTo>
                    <a:pt x="858778" y="452077"/>
                  </a:lnTo>
                  <a:lnTo>
                    <a:pt x="858778" y="453832"/>
                  </a:lnTo>
                  <a:lnTo>
                    <a:pt x="859746" y="455708"/>
                  </a:lnTo>
                  <a:lnTo>
                    <a:pt x="857749" y="455708"/>
                  </a:lnTo>
                  <a:lnTo>
                    <a:pt x="857961" y="456978"/>
                  </a:lnTo>
                  <a:lnTo>
                    <a:pt x="858294" y="458279"/>
                  </a:lnTo>
                  <a:lnTo>
                    <a:pt x="859080" y="460518"/>
                  </a:lnTo>
                  <a:lnTo>
                    <a:pt x="859443" y="460881"/>
                  </a:lnTo>
                  <a:lnTo>
                    <a:pt x="861349" y="463573"/>
                  </a:lnTo>
                  <a:lnTo>
                    <a:pt x="861470" y="464239"/>
                  </a:lnTo>
                  <a:lnTo>
                    <a:pt x="862499" y="465176"/>
                  </a:lnTo>
                  <a:lnTo>
                    <a:pt x="865463" y="469291"/>
                  </a:lnTo>
                  <a:lnTo>
                    <a:pt x="866946" y="470228"/>
                  </a:lnTo>
                  <a:lnTo>
                    <a:pt x="868035" y="470622"/>
                  </a:lnTo>
                  <a:lnTo>
                    <a:pt x="870092" y="472255"/>
                  </a:lnTo>
                  <a:lnTo>
                    <a:pt x="871120" y="472649"/>
                  </a:lnTo>
                  <a:lnTo>
                    <a:pt x="872209" y="472316"/>
                  </a:lnTo>
                  <a:lnTo>
                    <a:pt x="873359" y="470743"/>
                  </a:lnTo>
                  <a:lnTo>
                    <a:pt x="874176" y="470259"/>
                  </a:lnTo>
                  <a:lnTo>
                    <a:pt x="876142" y="470259"/>
                  </a:lnTo>
                  <a:lnTo>
                    <a:pt x="882525" y="471438"/>
                  </a:lnTo>
                  <a:lnTo>
                    <a:pt x="881164" y="472346"/>
                  </a:lnTo>
                  <a:lnTo>
                    <a:pt x="878290" y="472830"/>
                  </a:lnTo>
                  <a:lnTo>
                    <a:pt x="876959" y="473859"/>
                  </a:lnTo>
                  <a:lnTo>
                    <a:pt x="879682" y="475795"/>
                  </a:lnTo>
                  <a:lnTo>
                    <a:pt x="880831" y="476884"/>
                  </a:lnTo>
                  <a:lnTo>
                    <a:pt x="881829" y="478729"/>
                  </a:lnTo>
                  <a:lnTo>
                    <a:pt x="874902" y="473828"/>
                  </a:lnTo>
                  <a:lnTo>
                    <a:pt x="873359" y="473435"/>
                  </a:lnTo>
                  <a:lnTo>
                    <a:pt x="868337" y="473828"/>
                  </a:lnTo>
                  <a:lnTo>
                    <a:pt x="866976" y="473284"/>
                  </a:lnTo>
                  <a:lnTo>
                    <a:pt x="863920" y="470803"/>
                  </a:lnTo>
                  <a:lnTo>
                    <a:pt x="862136" y="470259"/>
                  </a:lnTo>
                  <a:lnTo>
                    <a:pt x="861228" y="470591"/>
                  </a:lnTo>
                  <a:lnTo>
                    <a:pt x="859837" y="471438"/>
                  </a:lnTo>
                  <a:lnTo>
                    <a:pt x="858475" y="472588"/>
                  </a:lnTo>
                  <a:lnTo>
                    <a:pt x="857719" y="473859"/>
                  </a:lnTo>
                  <a:lnTo>
                    <a:pt x="855601" y="472255"/>
                  </a:lnTo>
                  <a:lnTo>
                    <a:pt x="853423" y="472013"/>
                  </a:lnTo>
                  <a:lnTo>
                    <a:pt x="851275" y="472679"/>
                  </a:lnTo>
                  <a:lnTo>
                    <a:pt x="847282" y="475190"/>
                  </a:lnTo>
                  <a:lnTo>
                    <a:pt x="845588" y="475613"/>
                  </a:lnTo>
                  <a:lnTo>
                    <a:pt x="843894" y="475190"/>
                  </a:lnTo>
                  <a:lnTo>
                    <a:pt x="839659" y="472467"/>
                  </a:lnTo>
                  <a:lnTo>
                    <a:pt x="837360" y="471529"/>
                  </a:lnTo>
                  <a:lnTo>
                    <a:pt x="835726" y="472044"/>
                  </a:lnTo>
                  <a:lnTo>
                    <a:pt x="835635" y="474978"/>
                  </a:lnTo>
                  <a:lnTo>
                    <a:pt x="840294" y="481633"/>
                  </a:lnTo>
                  <a:lnTo>
                    <a:pt x="841292" y="482269"/>
                  </a:lnTo>
                  <a:lnTo>
                    <a:pt x="842593" y="482269"/>
                  </a:lnTo>
                  <a:lnTo>
                    <a:pt x="842381" y="483085"/>
                  </a:lnTo>
                  <a:lnTo>
                    <a:pt x="842049" y="485142"/>
                  </a:lnTo>
                  <a:lnTo>
                    <a:pt x="841837" y="485959"/>
                  </a:lnTo>
                  <a:lnTo>
                    <a:pt x="842805" y="486262"/>
                  </a:lnTo>
                  <a:lnTo>
                    <a:pt x="843682" y="486776"/>
                  </a:lnTo>
                  <a:lnTo>
                    <a:pt x="844529" y="487472"/>
                  </a:lnTo>
                  <a:lnTo>
                    <a:pt x="845285" y="488319"/>
                  </a:lnTo>
                  <a:lnTo>
                    <a:pt x="844529" y="489438"/>
                  </a:lnTo>
                  <a:lnTo>
                    <a:pt x="845921" y="490436"/>
                  </a:lnTo>
                  <a:lnTo>
                    <a:pt x="847494" y="490739"/>
                  </a:lnTo>
                  <a:lnTo>
                    <a:pt x="850822" y="490588"/>
                  </a:lnTo>
                  <a:lnTo>
                    <a:pt x="850822" y="491888"/>
                  </a:lnTo>
                  <a:lnTo>
                    <a:pt x="849460" y="492614"/>
                  </a:lnTo>
                  <a:lnTo>
                    <a:pt x="846586" y="493250"/>
                  </a:lnTo>
                  <a:lnTo>
                    <a:pt x="845255" y="494157"/>
                  </a:lnTo>
                  <a:lnTo>
                    <a:pt x="847343" y="495458"/>
                  </a:lnTo>
                  <a:lnTo>
                    <a:pt x="847343" y="496668"/>
                  </a:lnTo>
                  <a:lnTo>
                    <a:pt x="845951" y="496668"/>
                  </a:lnTo>
                  <a:lnTo>
                    <a:pt x="846647" y="497908"/>
                  </a:lnTo>
                  <a:lnTo>
                    <a:pt x="847131" y="499330"/>
                  </a:lnTo>
                  <a:lnTo>
                    <a:pt x="847191" y="500934"/>
                  </a:lnTo>
                  <a:lnTo>
                    <a:pt x="846677" y="502658"/>
                  </a:lnTo>
                  <a:lnTo>
                    <a:pt x="847312" y="502658"/>
                  </a:lnTo>
                  <a:lnTo>
                    <a:pt x="844892" y="505502"/>
                  </a:lnTo>
                  <a:lnTo>
                    <a:pt x="842654" y="505229"/>
                  </a:lnTo>
                  <a:lnTo>
                    <a:pt x="840506" y="504564"/>
                  </a:lnTo>
                  <a:lnTo>
                    <a:pt x="838297" y="506228"/>
                  </a:lnTo>
                  <a:lnTo>
                    <a:pt x="835908" y="501660"/>
                  </a:lnTo>
                  <a:lnTo>
                    <a:pt x="832066" y="500661"/>
                  </a:lnTo>
                  <a:lnTo>
                    <a:pt x="830160" y="503051"/>
                  </a:lnTo>
                  <a:lnTo>
                    <a:pt x="833488" y="508648"/>
                  </a:lnTo>
                  <a:lnTo>
                    <a:pt x="833488" y="509828"/>
                  </a:lnTo>
                  <a:lnTo>
                    <a:pt x="832913" y="510433"/>
                  </a:lnTo>
                  <a:lnTo>
                    <a:pt x="832640" y="510977"/>
                  </a:lnTo>
                  <a:lnTo>
                    <a:pt x="832459" y="511582"/>
                  </a:lnTo>
                  <a:lnTo>
                    <a:pt x="832126" y="512338"/>
                  </a:lnTo>
                  <a:lnTo>
                    <a:pt x="836271" y="512096"/>
                  </a:lnTo>
                  <a:lnTo>
                    <a:pt x="838237" y="512732"/>
                  </a:lnTo>
                  <a:lnTo>
                    <a:pt x="839750" y="514728"/>
                  </a:lnTo>
                  <a:lnTo>
                    <a:pt x="839265" y="515182"/>
                  </a:lnTo>
                  <a:lnTo>
                    <a:pt x="839265" y="515333"/>
                  </a:lnTo>
                  <a:lnTo>
                    <a:pt x="838993" y="515787"/>
                  </a:lnTo>
                  <a:lnTo>
                    <a:pt x="841565" y="516271"/>
                  </a:lnTo>
                  <a:lnTo>
                    <a:pt x="845709" y="521142"/>
                  </a:lnTo>
                  <a:lnTo>
                    <a:pt x="848674" y="521837"/>
                  </a:lnTo>
                  <a:lnTo>
                    <a:pt x="850096" y="523078"/>
                  </a:lnTo>
                  <a:lnTo>
                    <a:pt x="853332" y="523683"/>
                  </a:lnTo>
                  <a:lnTo>
                    <a:pt x="854543" y="524681"/>
                  </a:lnTo>
                  <a:lnTo>
                    <a:pt x="855450" y="526859"/>
                  </a:lnTo>
                  <a:lnTo>
                    <a:pt x="855601" y="528886"/>
                  </a:lnTo>
                  <a:lnTo>
                    <a:pt x="854815" y="530156"/>
                  </a:lnTo>
                  <a:lnTo>
                    <a:pt x="852848" y="530156"/>
                  </a:lnTo>
                  <a:lnTo>
                    <a:pt x="852848" y="531427"/>
                  </a:lnTo>
                  <a:lnTo>
                    <a:pt x="855299" y="532032"/>
                  </a:lnTo>
                  <a:lnTo>
                    <a:pt x="865372" y="540200"/>
                  </a:lnTo>
                  <a:lnTo>
                    <a:pt x="865917" y="541380"/>
                  </a:lnTo>
                  <a:lnTo>
                    <a:pt x="866159" y="542590"/>
                  </a:lnTo>
                  <a:lnTo>
                    <a:pt x="866764" y="544284"/>
                  </a:lnTo>
                  <a:lnTo>
                    <a:pt x="867460" y="545857"/>
                  </a:lnTo>
                  <a:lnTo>
                    <a:pt x="868035" y="546795"/>
                  </a:lnTo>
                  <a:lnTo>
                    <a:pt x="865978" y="545554"/>
                  </a:lnTo>
                  <a:lnTo>
                    <a:pt x="863073" y="540744"/>
                  </a:lnTo>
                  <a:lnTo>
                    <a:pt x="858808" y="538929"/>
                  </a:lnTo>
                  <a:lnTo>
                    <a:pt x="855117" y="535572"/>
                  </a:lnTo>
                  <a:lnTo>
                    <a:pt x="853877" y="534815"/>
                  </a:lnTo>
                  <a:lnTo>
                    <a:pt x="852909" y="534483"/>
                  </a:lnTo>
                  <a:lnTo>
                    <a:pt x="850640" y="532940"/>
                  </a:lnTo>
                  <a:lnTo>
                    <a:pt x="849370" y="532546"/>
                  </a:lnTo>
                  <a:lnTo>
                    <a:pt x="848281" y="532728"/>
                  </a:lnTo>
                  <a:lnTo>
                    <a:pt x="846375" y="533666"/>
                  </a:lnTo>
                  <a:lnTo>
                    <a:pt x="845225" y="533756"/>
                  </a:lnTo>
                  <a:lnTo>
                    <a:pt x="843047" y="532637"/>
                  </a:lnTo>
                  <a:lnTo>
                    <a:pt x="840234" y="528825"/>
                  </a:lnTo>
                  <a:lnTo>
                    <a:pt x="838297" y="527706"/>
                  </a:lnTo>
                  <a:lnTo>
                    <a:pt x="837753" y="529793"/>
                  </a:lnTo>
                  <a:lnTo>
                    <a:pt x="837027" y="529642"/>
                  </a:lnTo>
                  <a:lnTo>
                    <a:pt x="836271" y="528825"/>
                  </a:lnTo>
                  <a:lnTo>
                    <a:pt x="835635" y="528977"/>
                  </a:lnTo>
                  <a:lnTo>
                    <a:pt x="835212" y="530156"/>
                  </a:lnTo>
                  <a:lnTo>
                    <a:pt x="835212" y="530641"/>
                  </a:lnTo>
                  <a:lnTo>
                    <a:pt x="835514" y="531034"/>
                  </a:lnTo>
                  <a:lnTo>
                    <a:pt x="835666" y="532032"/>
                  </a:lnTo>
                  <a:lnTo>
                    <a:pt x="836482" y="532728"/>
                  </a:lnTo>
                  <a:lnTo>
                    <a:pt x="842926" y="535450"/>
                  </a:lnTo>
                  <a:lnTo>
                    <a:pt x="847343" y="539686"/>
                  </a:lnTo>
                  <a:lnTo>
                    <a:pt x="850277" y="540926"/>
                  </a:lnTo>
                  <a:lnTo>
                    <a:pt x="851427" y="542015"/>
                  </a:lnTo>
                  <a:lnTo>
                    <a:pt x="852909" y="544435"/>
                  </a:lnTo>
                  <a:lnTo>
                    <a:pt x="845618" y="541803"/>
                  </a:lnTo>
                  <a:lnTo>
                    <a:pt x="842230" y="539867"/>
                  </a:lnTo>
                  <a:lnTo>
                    <a:pt x="839387" y="536721"/>
                  </a:lnTo>
                  <a:lnTo>
                    <a:pt x="837995" y="535632"/>
                  </a:lnTo>
                  <a:lnTo>
                    <a:pt x="833427" y="533787"/>
                  </a:lnTo>
                  <a:lnTo>
                    <a:pt x="832156" y="533787"/>
                  </a:lnTo>
                  <a:lnTo>
                    <a:pt x="831219" y="535602"/>
                  </a:lnTo>
                  <a:lnTo>
                    <a:pt x="830009" y="540563"/>
                  </a:lnTo>
                  <a:lnTo>
                    <a:pt x="828799" y="542075"/>
                  </a:lnTo>
                  <a:lnTo>
                    <a:pt x="829403" y="543255"/>
                  </a:lnTo>
                  <a:lnTo>
                    <a:pt x="826167" y="542892"/>
                  </a:lnTo>
                  <a:lnTo>
                    <a:pt x="822052" y="540866"/>
                  </a:lnTo>
                  <a:lnTo>
                    <a:pt x="819209" y="537356"/>
                  </a:lnTo>
                  <a:lnTo>
                    <a:pt x="819784" y="532607"/>
                  </a:lnTo>
                  <a:lnTo>
                    <a:pt x="816093" y="532607"/>
                  </a:lnTo>
                  <a:lnTo>
                    <a:pt x="815004" y="531941"/>
                  </a:lnTo>
                  <a:lnTo>
                    <a:pt x="813552" y="530247"/>
                  </a:lnTo>
                  <a:lnTo>
                    <a:pt x="812735" y="531609"/>
                  </a:lnTo>
                  <a:lnTo>
                    <a:pt x="810406" y="534513"/>
                  </a:lnTo>
                  <a:lnTo>
                    <a:pt x="809438" y="536177"/>
                  </a:lnTo>
                  <a:lnTo>
                    <a:pt x="809710" y="536842"/>
                  </a:lnTo>
                  <a:lnTo>
                    <a:pt x="810012" y="537144"/>
                  </a:lnTo>
                  <a:lnTo>
                    <a:pt x="810799" y="537356"/>
                  </a:lnTo>
                  <a:lnTo>
                    <a:pt x="809740" y="539111"/>
                  </a:lnTo>
                  <a:lnTo>
                    <a:pt x="811041" y="541077"/>
                  </a:lnTo>
                  <a:lnTo>
                    <a:pt x="814913" y="544465"/>
                  </a:lnTo>
                  <a:lnTo>
                    <a:pt x="816274" y="547158"/>
                  </a:lnTo>
                  <a:lnTo>
                    <a:pt x="816093" y="549396"/>
                  </a:lnTo>
                  <a:lnTo>
                    <a:pt x="815669" y="551847"/>
                  </a:lnTo>
                  <a:lnTo>
                    <a:pt x="816335" y="555235"/>
                  </a:lnTo>
                  <a:lnTo>
                    <a:pt x="814459" y="554146"/>
                  </a:lnTo>
                  <a:lnTo>
                    <a:pt x="813461" y="553874"/>
                  </a:lnTo>
                  <a:lnTo>
                    <a:pt x="812191" y="553934"/>
                  </a:lnTo>
                  <a:lnTo>
                    <a:pt x="812947" y="556022"/>
                  </a:lnTo>
                  <a:lnTo>
                    <a:pt x="813401" y="556899"/>
                  </a:lnTo>
                  <a:lnTo>
                    <a:pt x="814157" y="557716"/>
                  </a:lnTo>
                  <a:lnTo>
                    <a:pt x="812523" y="557776"/>
                  </a:lnTo>
                  <a:lnTo>
                    <a:pt x="810980" y="557080"/>
                  </a:lnTo>
                  <a:lnTo>
                    <a:pt x="809649" y="555779"/>
                  </a:lnTo>
                  <a:lnTo>
                    <a:pt x="808651" y="553964"/>
                  </a:lnTo>
                  <a:lnTo>
                    <a:pt x="807895" y="551423"/>
                  </a:lnTo>
                  <a:lnTo>
                    <a:pt x="807199" y="547914"/>
                  </a:lnTo>
                  <a:lnTo>
                    <a:pt x="806897" y="544465"/>
                  </a:lnTo>
                  <a:lnTo>
                    <a:pt x="807290" y="542106"/>
                  </a:lnTo>
                  <a:lnTo>
                    <a:pt x="804809" y="540623"/>
                  </a:lnTo>
                  <a:lnTo>
                    <a:pt x="802177" y="539837"/>
                  </a:lnTo>
                  <a:lnTo>
                    <a:pt x="799515" y="539837"/>
                  </a:lnTo>
                  <a:lnTo>
                    <a:pt x="796974" y="540805"/>
                  </a:lnTo>
                  <a:lnTo>
                    <a:pt x="795673" y="541834"/>
                  </a:lnTo>
                  <a:lnTo>
                    <a:pt x="794614" y="543286"/>
                  </a:lnTo>
                  <a:lnTo>
                    <a:pt x="793858" y="544980"/>
                  </a:lnTo>
                  <a:lnTo>
                    <a:pt x="793465" y="546855"/>
                  </a:lnTo>
                  <a:lnTo>
                    <a:pt x="793586" y="549033"/>
                  </a:lnTo>
                  <a:lnTo>
                    <a:pt x="794463" y="552543"/>
                  </a:lnTo>
                  <a:lnTo>
                    <a:pt x="794221" y="553964"/>
                  </a:lnTo>
                  <a:lnTo>
                    <a:pt x="794403" y="555991"/>
                  </a:lnTo>
                  <a:lnTo>
                    <a:pt x="793919" y="560499"/>
                  </a:lnTo>
                  <a:lnTo>
                    <a:pt x="794251" y="562374"/>
                  </a:lnTo>
                  <a:lnTo>
                    <a:pt x="802631" y="564189"/>
                  </a:lnTo>
                  <a:lnTo>
                    <a:pt x="803811" y="564855"/>
                  </a:lnTo>
                  <a:lnTo>
                    <a:pt x="804809" y="565974"/>
                  </a:lnTo>
                  <a:lnTo>
                    <a:pt x="805475" y="567124"/>
                  </a:lnTo>
                  <a:lnTo>
                    <a:pt x="806201" y="568001"/>
                  </a:lnTo>
                  <a:lnTo>
                    <a:pt x="807320" y="568304"/>
                  </a:lnTo>
                  <a:lnTo>
                    <a:pt x="806533" y="570209"/>
                  </a:lnTo>
                  <a:lnTo>
                    <a:pt x="805475" y="571541"/>
                  </a:lnTo>
                  <a:lnTo>
                    <a:pt x="804204" y="571692"/>
                  </a:lnTo>
                  <a:lnTo>
                    <a:pt x="801239" y="568606"/>
                  </a:lnTo>
                  <a:lnTo>
                    <a:pt x="799334" y="568697"/>
                  </a:lnTo>
                  <a:lnTo>
                    <a:pt x="795582" y="570693"/>
                  </a:lnTo>
                  <a:lnTo>
                    <a:pt x="795582" y="571994"/>
                  </a:lnTo>
                  <a:lnTo>
                    <a:pt x="796157" y="573537"/>
                  </a:lnTo>
                  <a:lnTo>
                    <a:pt x="794100" y="575655"/>
                  </a:lnTo>
                  <a:lnTo>
                    <a:pt x="793525" y="577742"/>
                  </a:lnTo>
                  <a:lnTo>
                    <a:pt x="794070" y="579890"/>
                  </a:lnTo>
                  <a:lnTo>
                    <a:pt x="795310" y="580586"/>
                  </a:lnTo>
                  <a:lnTo>
                    <a:pt x="796853" y="580767"/>
                  </a:lnTo>
                  <a:lnTo>
                    <a:pt x="798396" y="581372"/>
                  </a:lnTo>
                  <a:lnTo>
                    <a:pt x="800272" y="584125"/>
                  </a:lnTo>
                  <a:lnTo>
                    <a:pt x="801542" y="587513"/>
                  </a:lnTo>
                  <a:lnTo>
                    <a:pt x="803297" y="590206"/>
                  </a:lnTo>
                  <a:lnTo>
                    <a:pt x="806655" y="590780"/>
                  </a:lnTo>
                  <a:lnTo>
                    <a:pt x="805807" y="592474"/>
                  </a:lnTo>
                  <a:lnTo>
                    <a:pt x="805263" y="593019"/>
                  </a:lnTo>
                  <a:lnTo>
                    <a:pt x="808712" y="596770"/>
                  </a:lnTo>
                  <a:lnTo>
                    <a:pt x="811495" y="594501"/>
                  </a:lnTo>
                  <a:lnTo>
                    <a:pt x="815942" y="593926"/>
                  </a:lnTo>
                  <a:lnTo>
                    <a:pt x="820479" y="594895"/>
                  </a:lnTo>
                  <a:lnTo>
                    <a:pt x="823565" y="597284"/>
                  </a:lnTo>
                  <a:lnTo>
                    <a:pt x="823142" y="598434"/>
                  </a:lnTo>
                  <a:lnTo>
                    <a:pt x="820782" y="598494"/>
                  </a:lnTo>
                  <a:lnTo>
                    <a:pt x="816637" y="597829"/>
                  </a:lnTo>
                  <a:lnTo>
                    <a:pt x="809407" y="599009"/>
                  </a:lnTo>
                  <a:lnTo>
                    <a:pt x="809710" y="599826"/>
                  </a:lnTo>
                  <a:lnTo>
                    <a:pt x="809922" y="600672"/>
                  </a:lnTo>
                  <a:lnTo>
                    <a:pt x="810224" y="601580"/>
                  </a:lnTo>
                  <a:lnTo>
                    <a:pt x="810769" y="602548"/>
                  </a:lnTo>
                  <a:lnTo>
                    <a:pt x="809680" y="602276"/>
                  </a:lnTo>
                  <a:lnTo>
                    <a:pt x="806655" y="600309"/>
                  </a:lnTo>
                  <a:lnTo>
                    <a:pt x="805747" y="599674"/>
                  </a:lnTo>
                  <a:lnTo>
                    <a:pt x="804023" y="597194"/>
                  </a:lnTo>
                  <a:lnTo>
                    <a:pt x="803145" y="597889"/>
                  </a:lnTo>
                  <a:lnTo>
                    <a:pt x="801451" y="596710"/>
                  </a:lnTo>
                  <a:lnTo>
                    <a:pt x="796036" y="591567"/>
                  </a:lnTo>
                  <a:lnTo>
                    <a:pt x="794312" y="590508"/>
                  </a:lnTo>
                  <a:lnTo>
                    <a:pt x="792527" y="590206"/>
                  </a:lnTo>
                  <a:lnTo>
                    <a:pt x="790742" y="590871"/>
                  </a:lnTo>
                  <a:lnTo>
                    <a:pt x="790954" y="591658"/>
                  </a:lnTo>
                  <a:lnTo>
                    <a:pt x="791287" y="593624"/>
                  </a:lnTo>
                  <a:lnTo>
                    <a:pt x="791499" y="594411"/>
                  </a:lnTo>
                  <a:lnTo>
                    <a:pt x="789956" y="594411"/>
                  </a:lnTo>
                  <a:lnTo>
                    <a:pt x="789502" y="595742"/>
                  </a:lnTo>
                  <a:lnTo>
                    <a:pt x="789502" y="597950"/>
                  </a:lnTo>
                  <a:lnTo>
                    <a:pt x="789441" y="600400"/>
                  </a:lnTo>
                  <a:lnTo>
                    <a:pt x="789048" y="601489"/>
                  </a:lnTo>
                  <a:lnTo>
                    <a:pt x="787687" y="604394"/>
                  </a:lnTo>
                  <a:lnTo>
                    <a:pt x="787384" y="605634"/>
                  </a:lnTo>
                  <a:lnTo>
                    <a:pt x="787596" y="607872"/>
                  </a:lnTo>
                  <a:lnTo>
                    <a:pt x="788534" y="610837"/>
                  </a:lnTo>
                  <a:lnTo>
                    <a:pt x="788746" y="612682"/>
                  </a:lnTo>
                  <a:lnTo>
                    <a:pt x="789411" y="613076"/>
                  </a:lnTo>
                  <a:lnTo>
                    <a:pt x="792527" y="613923"/>
                  </a:lnTo>
                  <a:lnTo>
                    <a:pt x="793586" y="614497"/>
                  </a:lnTo>
                  <a:lnTo>
                    <a:pt x="792497" y="615647"/>
                  </a:lnTo>
                  <a:lnTo>
                    <a:pt x="792164" y="616797"/>
                  </a:lnTo>
                  <a:lnTo>
                    <a:pt x="792164" y="619096"/>
                  </a:lnTo>
                  <a:lnTo>
                    <a:pt x="792376" y="619640"/>
                  </a:lnTo>
                  <a:lnTo>
                    <a:pt x="793314" y="620971"/>
                  </a:lnTo>
                  <a:lnTo>
                    <a:pt x="793586" y="621546"/>
                  </a:lnTo>
                  <a:lnTo>
                    <a:pt x="793435" y="622091"/>
                  </a:lnTo>
                  <a:lnTo>
                    <a:pt x="792981" y="622575"/>
                  </a:lnTo>
                  <a:lnTo>
                    <a:pt x="792497" y="622877"/>
                  </a:lnTo>
                  <a:lnTo>
                    <a:pt x="792225" y="622726"/>
                  </a:lnTo>
                  <a:lnTo>
                    <a:pt x="793949" y="629502"/>
                  </a:lnTo>
                  <a:lnTo>
                    <a:pt x="796278" y="630591"/>
                  </a:lnTo>
                  <a:lnTo>
                    <a:pt x="801512" y="629865"/>
                  </a:lnTo>
                  <a:lnTo>
                    <a:pt x="804053" y="628655"/>
                  </a:lnTo>
                  <a:lnTo>
                    <a:pt x="810829" y="620396"/>
                  </a:lnTo>
                  <a:lnTo>
                    <a:pt x="812432" y="618944"/>
                  </a:lnTo>
                  <a:lnTo>
                    <a:pt x="812856" y="618944"/>
                  </a:lnTo>
                  <a:lnTo>
                    <a:pt x="813038" y="620033"/>
                  </a:lnTo>
                  <a:lnTo>
                    <a:pt x="813915" y="622151"/>
                  </a:lnTo>
                  <a:lnTo>
                    <a:pt x="814127" y="623633"/>
                  </a:lnTo>
                  <a:lnTo>
                    <a:pt x="813280" y="624783"/>
                  </a:lnTo>
                  <a:lnTo>
                    <a:pt x="810829" y="626235"/>
                  </a:lnTo>
                  <a:lnTo>
                    <a:pt x="813764" y="626659"/>
                  </a:lnTo>
                  <a:lnTo>
                    <a:pt x="816214" y="627748"/>
                  </a:lnTo>
                  <a:lnTo>
                    <a:pt x="818543" y="628080"/>
                  </a:lnTo>
                  <a:lnTo>
                    <a:pt x="821145" y="626235"/>
                  </a:lnTo>
                  <a:lnTo>
                    <a:pt x="825713" y="620276"/>
                  </a:lnTo>
                  <a:lnTo>
                    <a:pt x="828436" y="617674"/>
                  </a:lnTo>
                  <a:lnTo>
                    <a:pt x="830160" y="618037"/>
                  </a:lnTo>
                  <a:lnTo>
                    <a:pt x="829313" y="622877"/>
                  </a:lnTo>
                  <a:lnTo>
                    <a:pt x="824805" y="626749"/>
                  </a:lnTo>
                  <a:lnTo>
                    <a:pt x="813552" y="631710"/>
                  </a:lnTo>
                  <a:lnTo>
                    <a:pt x="811192" y="632073"/>
                  </a:lnTo>
                  <a:lnTo>
                    <a:pt x="810708" y="631499"/>
                  </a:lnTo>
                  <a:lnTo>
                    <a:pt x="810133" y="630349"/>
                  </a:lnTo>
                  <a:lnTo>
                    <a:pt x="809407" y="629653"/>
                  </a:lnTo>
                  <a:lnTo>
                    <a:pt x="808470" y="630379"/>
                  </a:lnTo>
                  <a:lnTo>
                    <a:pt x="807623" y="631287"/>
                  </a:lnTo>
                  <a:lnTo>
                    <a:pt x="805444" y="632527"/>
                  </a:lnTo>
                  <a:lnTo>
                    <a:pt x="804628" y="633344"/>
                  </a:lnTo>
                  <a:lnTo>
                    <a:pt x="802298" y="638608"/>
                  </a:lnTo>
                  <a:lnTo>
                    <a:pt x="801875" y="639183"/>
                  </a:lnTo>
                  <a:lnTo>
                    <a:pt x="802752" y="641542"/>
                  </a:lnTo>
                  <a:lnTo>
                    <a:pt x="804809" y="641693"/>
                  </a:lnTo>
                  <a:lnTo>
                    <a:pt x="809165" y="640363"/>
                  </a:lnTo>
                  <a:lnTo>
                    <a:pt x="811132" y="640756"/>
                  </a:lnTo>
                  <a:lnTo>
                    <a:pt x="814943" y="642420"/>
                  </a:lnTo>
                  <a:lnTo>
                    <a:pt x="817061" y="642692"/>
                  </a:lnTo>
                  <a:lnTo>
                    <a:pt x="819088" y="642057"/>
                  </a:lnTo>
                  <a:lnTo>
                    <a:pt x="822597" y="639697"/>
                  </a:lnTo>
                  <a:lnTo>
                    <a:pt x="824321" y="639183"/>
                  </a:lnTo>
                  <a:lnTo>
                    <a:pt x="825531" y="638124"/>
                  </a:lnTo>
                  <a:lnTo>
                    <a:pt x="826802" y="636036"/>
                  </a:lnTo>
                  <a:lnTo>
                    <a:pt x="828496" y="634615"/>
                  </a:lnTo>
                  <a:lnTo>
                    <a:pt x="830946" y="635583"/>
                  </a:lnTo>
                  <a:lnTo>
                    <a:pt x="830946" y="636853"/>
                  </a:lnTo>
                  <a:lnTo>
                    <a:pt x="828526" y="637730"/>
                  </a:lnTo>
                  <a:lnTo>
                    <a:pt x="826106" y="640151"/>
                  </a:lnTo>
                  <a:lnTo>
                    <a:pt x="824805" y="642692"/>
                  </a:lnTo>
                  <a:lnTo>
                    <a:pt x="825743" y="643841"/>
                  </a:lnTo>
                  <a:lnTo>
                    <a:pt x="826711" y="644325"/>
                  </a:lnTo>
                  <a:lnTo>
                    <a:pt x="827709" y="645475"/>
                  </a:lnTo>
                  <a:lnTo>
                    <a:pt x="829192" y="647955"/>
                  </a:lnTo>
                  <a:lnTo>
                    <a:pt x="830130" y="648742"/>
                  </a:lnTo>
                  <a:lnTo>
                    <a:pt x="834334" y="649650"/>
                  </a:lnTo>
                  <a:lnTo>
                    <a:pt x="834334" y="650829"/>
                  </a:lnTo>
                  <a:lnTo>
                    <a:pt x="830402" y="652009"/>
                  </a:lnTo>
                  <a:lnTo>
                    <a:pt x="827014" y="649619"/>
                  </a:lnTo>
                  <a:lnTo>
                    <a:pt x="823837" y="646110"/>
                  </a:lnTo>
                  <a:lnTo>
                    <a:pt x="820600" y="643841"/>
                  </a:lnTo>
                  <a:lnTo>
                    <a:pt x="817121" y="644537"/>
                  </a:lnTo>
                  <a:lnTo>
                    <a:pt x="812917" y="647018"/>
                  </a:lnTo>
                  <a:lnTo>
                    <a:pt x="810496" y="650255"/>
                  </a:lnTo>
                  <a:lnTo>
                    <a:pt x="812372" y="653159"/>
                  </a:lnTo>
                  <a:lnTo>
                    <a:pt x="811041" y="655518"/>
                  </a:lnTo>
                  <a:lnTo>
                    <a:pt x="807532" y="660207"/>
                  </a:lnTo>
                  <a:lnTo>
                    <a:pt x="806806" y="663111"/>
                  </a:lnTo>
                  <a:lnTo>
                    <a:pt x="808046" y="664866"/>
                  </a:lnTo>
                  <a:lnTo>
                    <a:pt x="816486" y="667256"/>
                  </a:lnTo>
                  <a:lnTo>
                    <a:pt x="817636" y="668254"/>
                  </a:lnTo>
                  <a:lnTo>
                    <a:pt x="820207" y="671279"/>
                  </a:lnTo>
                  <a:lnTo>
                    <a:pt x="820933" y="671915"/>
                  </a:lnTo>
                  <a:lnTo>
                    <a:pt x="822264" y="671733"/>
                  </a:lnTo>
                  <a:lnTo>
                    <a:pt x="824624" y="670856"/>
                  </a:lnTo>
                  <a:lnTo>
                    <a:pt x="833064" y="669495"/>
                  </a:lnTo>
                  <a:lnTo>
                    <a:pt x="835030" y="670644"/>
                  </a:lnTo>
                  <a:lnTo>
                    <a:pt x="835030" y="671915"/>
                  </a:lnTo>
                  <a:lnTo>
                    <a:pt x="834334" y="671915"/>
                  </a:lnTo>
                  <a:lnTo>
                    <a:pt x="833639" y="671612"/>
                  </a:lnTo>
                  <a:lnTo>
                    <a:pt x="831975" y="671189"/>
                  </a:lnTo>
                  <a:lnTo>
                    <a:pt x="830311" y="671279"/>
                  </a:lnTo>
                  <a:lnTo>
                    <a:pt x="829555" y="672520"/>
                  </a:lnTo>
                  <a:lnTo>
                    <a:pt x="829071" y="673064"/>
                  </a:lnTo>
                  <a:lnTo>
                    <a:pt x="819179" y="672973"/>
                  </a:lnTo>
                  <a:lnTo>
                    <a:pt x="817152" y="671945"/>
                  </a:lnTo>
                  <a:lnTo>
                    <a:pt x="812886" y="668920"/>
                  </a:lnTo>
                  <a:lnTo>
                    <a:pt x="810375" y="668012"/>
                  </a:lnTo>
                  <a:lnTo>
                    <a:pt x="808591" y="668980"/>
                  </a:lnTo>
                  <a:lnTo>
                    <a:pt x="807562" y="669767"/>
                  </a:lnTo>
                  <a:lnTo>
                    <a:pt x="804597" y="669464"/>
                  </a:lnTo>
                  <a:lnTo>
                    <a:pt x="803357" y="669585"/>
                  </a:lnTo>
                  <a:lnTo>
                    <a:pt x="802661" y="670221"/>
                  </a:lnTo>
                  <a:lnTo>
                    <a:pt x="801481" y="672096"/>
                  </a:lnTo>
                  <a:lnTo>
                    <a:pt x="797276" y="677118"/>
                  </a:lnTo>
                  <a:lnTo>
                    <a:pt x="795764" y="679931"/>
                  </a:lnTo>
                  <a:lnTo>
                    <a:pt x="796853" y="681202"/>
                  </a:lnTo>
                  <a:lnTo>
                    <a:pt x="797912" y="681535"/>
                  </a:lnTo>
                  <a:lnTo>
                    <a:pt x="799636" y="683108"/>
                  </a:lnTo>
                  <a:lnTo>
                    <a:pt x="800665" y="683531"/>
                  </a:lnTo>
                  <a:lnTo>
                    <a:pt x="801784" y="683380"/>
                  </a:lnTo>
                  <a:lnTo>
                    <a:pt x="803841" y="682503"/>
                  </a:lnTo>
                  <a:lnTo>
                    <a:pt x="804749" y="682382"/>
                  </a:lnTo>
                  <a:lnTo>
                    <a:pt x="806957" y="683864"/>
                  </a:lnTo>
                  <a:lnTo>
                    <a:pt x="806806" y="686193"/>
                  </a:lnTo>
                  <a:lnTo>
                    <a:pt x="806412" y="688372"/>
                  </a:lnTo>
                  <a:lnTo>
                    <a:pt x="807955" y="689309"/>
                  </a:lnTo>
                  <a:lnTo>
                    <a:pt x="810012" y="690035"/>
                  </a:lnTo>
                  <a:lnTo>
                    <a:pt x="812130" y="691366"/>
                  </a:lnTo>
                  <a:lnTo>
                    <a:pt x="814308" y="691941"/>
                  </a:lnTo>
                  <a:lnTo>
                    <a:pt x="816547" y="690489"/>
                  </a:lnTo>
                  <a:lnTo>
                    <a:pt x="817878" y="691155"/>
                  </a:lnTo>
                  <a:lnTo>
                    <a:pt x="819360" y="690671"/>
                  </a:lnTo>
                  <a:lnTo>
                    <a:pt x="820994" y="689793"/>
                  </a:lnTo>
                  <a:lnTo>
                    <a:pt x="822718" y="689309"/>
                  </a:lnTo>
                  <a:lnTo>
                    <a:pt x="822718" y="690459"/>
                  </a:lnTo>
                  <a:lnTo>
                    <a:pt x="817878" y="692728"/>
                  </a:lnTo>
                  <a:lnTo>
                    <a:pt x="812402" y="693938"/>
                  </a:lnTo>
                  <a:lnTo>
                    <a:pt x="809075" y="693454"/>
                  </a:lnTo>
                  <a:lnTo>
                    <a:pt x="807501" y="692758"/>
                  </a:lnTo>
                  <a:lnTo>
                    <a:pt x="806080" y="691729"/>
                  </a:lnTo>
                  <a:lnTo>
                    <a:pt x="804900" y="690308"/>
                  </a:lnTo>
                  <a:lnTo>
                    <a:pt x="802903" y="687010"/>
                  </a:lnTo>
                  <a:lnTo>
                    <a:pt x="801966" y="685951"/>
                  </a:lnTo>
                  <a:lnTo>
                    <a:pt x="799364" y="685498"/>
                  </a:lnTo>
                  <a:lnTo>
                    <a:pt x="796278" y="686526"/>
                  </a:lnTo>
                  <a:lnTo>
                    <a:pt x="793435" y="688402"/>
                  </a:lnTo>
                  <a:lnTo>
                    <a:pt x="791680" y="690519"/>
                  </a:lnTo>
                  <a:lnTo>
                    <a:pt x="790591" y="693847"/>
                  </a:lnTo>
                  <a:lnTo>
                    <a:pt x="789684" y="697780"/>
                  </a:lnTo>
                  <a:lnTo>
                    <a:pt x="788564" y="701259"/>
                  </a:lnTo>
                  <a:lnTo>
                    <a:pt x="786810" y="703255"/>
                  </a:lnTo>
                  <a:lnTo>
                    <a:pt x="788836" y="705191"/>
                  </a:lnTo>
                  <a:lnTo>
                    <a:pt x="789593" y="705675"/>
                  </a:lnTo>
                  <a:lnTo>
                    <a:pt x="789593" y="706916"/>
                  </a:lnTo>
                  <a:lnTo>
                    <a:pt x="786023" y="707127"/>
                  </a:lnTo>
                  <a:lnTo>
                    <a:pt x="782635" y="707974"/>
                  </a:lnTo>
                  <a:lnTo>
                    <a:pt x="787294" y="709154"/>
                  </a:lnTo>
                  <a:lnTo>
                    <a:pt x="796793" y="707188"/>
                  </a:lnTo>
                  <a:lnTo>
                    <a:pt x="801330" y="707974"/>
                  </a:lnTo>
                  <a:lnTo>
                    <a:pt x="797307" y="712058"/>
                  </a:lnTo>
                  <a:lnTo>
                    <a:pt x="796460" y="713753"/>
                  </a:lnTo>
                  <a:lnTo>
                    <a:pt x="800423" y="714720"/>
                  </a:lnTo>
                  <a:lnTo>
                    <a:pt x="802450" y="714781"/>
                  </a:lnTo>
                  <a:lnTo>
                    <a:pt x="804053" y="711937"/>
                  </a:lnTo>
                  <a:lnTo>
                    <a:pt x="805717" y="711121"/>
                  </a:lnTo>
                  <a:lnTo>
                    <a:pt x="807562" y="710909"/>
                  </a:lnTo>
                  <a:lnTo>
                    <a:pt x="808893" y="711514"/>
                  </a:lnTo>
                  <a:lnTo>
                    <a:pt x="805626" y="714569"/>
                  </a:lnTo>
                  <a:lnTo>
                    <a:pt x="801481" y="716294"/>
                  </a:lnTo>
                  <a:lnTo>
                    <a:pt x="791075" y="717685"/>
                  </a:lnTo>
                  <a:lnTo>
                    <a:pt x="789684" y="718986"/>
                  </a:lnTo>
                  <a:lnTo>
                    <a:pt x="789684" y="720831"/>
                  </a:lnTo>
                  <a:lnTo>
                    <a:pt x="791650" y="722979"/>
                  </a:lnTo>
                  <a:lnTo>
                    <a:pt x="799213" y="726428"/>
                  </a:lnTo>
                  <a:lnTo>
                    <a:pt x="797216" y="725914"/>
                  </a:lnTo>
                  <a:lnTo>
                    <a:pt x="794645" y="725278"/>
                  </a:lnTo>
                  <a:lnTo>
                    <a:pt x="792376" y="726004"/>
                  </a:lnTo>
                  <a:lnTo>
                    <a:pt x="790924" y="727729"/>
                  </a:lnTo>
                  <a:lnTo>
                    <a:pt x="789835" y="726882"/>
                  </a:lnTo>
                  <a:lnTo>
                    <a:pt x="788655" y="726428"/>
                  </a:lnTo>
                  <a:lnTo>
                    <a:pt x="787415" y="726337"/>
                  </a:lnTo>
                  <a:lnTo>
                    <a:pt x="786174" y="726488"/>
                  </a:lnTo>
                  <a:lnTo>
                    <a:pt x="786174" y="727759"/>
                  </a:lnTo>
                  <a:lnTo>
                    <a:pt x="787989" y="728031"/>
                  </a:lnTo>
                  <a:lnTo>
                    <a:pt x="789018" y="729272"/>
                  </a:lnTo>
                  <a:lnTo>
                    <a:pt x="789502" y="731056"/>
                  </a:lnTo>
                  <a:lnTo>
                    <a:pt x="789623" y="732902"/>
                  </a:lnTo>
                  <a:lnTo>
                    <a:pt x="788746" y="732266"/>
                  </a:lnTo>
                  <a:lnTo>
                    <a:pt x="783452" y="730088"/>
                  </a:lnTo>
                  <a:lnTo>
                    <a:pt x="781969" y="729029"/>
                  </a:lnTo>
                  <a:lnTo>
                    <a:pt x="781031" y="727849"/>
                  </a:lnTo>
                  <a:lnTo>
                    <a:pt x="780003" y="726912"/>
                  </a:lnTo>
                  <a:lnTo>
                    <a:pt x="778309" y="726519"/>
                  </a:lnTo>
                  <a:lnTo>
                    <a:pt x="776827" y="727093"/>
                  </a:lnTo>
                  <a:lnTo>
                    <a:pt x="773317" y="729544"/>
                  </a:lnTo>
                  <a:lnTo>
                    <a:pt x="772107" y="730088"/>
                  </a:lnTo>
                  <a:lnTo>
                    <a:pt x="756649" y="731631"/>
                  </a:lnTo>
                  <a:lnTo>
                    <a:pt x="755348" y="732660"/>
                  </a:lnTo>
                  <a:lnTo>
                    <a:pt x="753140" y="735836"/>
                  </a:lnTo>
                  <a:lnTo>
                    <a:pt x="752383" y="736229"/>
                  </a:lnTo>
                  <a:lnTo>
                    <a:pt x="751718" y="735927"/>
                  </a:lnTo>
                  <a:lnTo>
                    <a:pt x="751234" y="736018"/>
                  </a:lnTo>
                  <a:lnTo>
                    <a:pt x="751052" y="737621"/>
                  </a:lnTo>
                  <a:lnTo>
                    <a:pt x="751143" y="738740"/>
                  </a:lnTo>
                  <a:lnTo>
                    <a:pt x="751415" y="739738"/>
                  </a:lnTo>
                  <a:lnTo>
                    <a:pt x="751869" y="740646"/>
                  </a:lnTo>
                  <a:lnTo>
                    <a:pt x="752414" y="741584"/>
                  </a:lnTo>
                  <a:lnTo>
                    <a:pt x="753745" y="742764"/>
                  </a:lnTo>
                  <a:lnTo>
                    <a:pt x="756044" y="744004"/>
                  </a:lnTo>
                  <a:lnTo>
                    <a:pt x="758555" y="744488"/>
                  </a:lnTo>
                  <a:lnTo>
                    <a:pt x="760370" y="743368"/>
                  </a:lnTo>
                  <a:lnTo>
                    <a:pt x="762366" y="741553"/>
                  </a:lnTo>
                  <a:lnTo>
                    <a:pt x="764908" y="741312"/>
                  </a:lnTo>
                  <a:lnTo>
                    <a:pt x="772319" y="743217"/>
                  </a:lnTo>
                  <a:lnTo>
                    <a:pt x="779307" y="742703"/>
                  </a:lnTo>
                  <a:lnTo>
                    <a:pt x="780608" y="743036"/>
                  </a:lnTo>
                  <a:lnTo>
                    <a:pt x="782877" y="744518"/>
                  </a:lnTo>
                  <a:lnTo>
                    <a:pt x="784178" y="745032"/>
                  </a:lnTo>
                  <a:lnTo>
                    <a:pt x="785236" y="745032"/>
                  </a:lnTo>
                  <a:lnTo>
                    <a:pt x="789048" y="743974"/>
                  </a:lnTo>
                  <a:lnTo>
                    <a:pt x="800029" y="738377"/>
                  </a:lnTo>
                  <a:lnTo>
                    <a:pt x="804174" y="739375"/>
                  </a:lnTo>
                  <a:lnTo>
                    <a:pt x="809226" y="742370"/>
                  </a:lnTo>
                  <a:lnTo>
                    <a:pt x="811434" y="742703"/>
                  </a:lnTo>
                  <a:lnTo>
                    <a:pt x="820782" y="741553"/>
                  </a:lnTo>
                  <a:lnTo>
                    <a:pt x="818664" y="742885"/>
                  </a:lnTo>
                  <a:lnTo>
                    <a:pt x="815700" y="743611"/>
                  </a:lnTo>
                  <a:lnTo>
                    <a:pt x="810345" y="743974"/>
                  </a:lnTo>
                  <a:lnTo>
                    <a:pt x="807804" y="743490"/>
                  </a:lnTo>
                  <a:lnTo>
                    <a:pt x="801481" y="740434"/>
                  </a:lnTo>
                  <a:lnTo>
                    <a:pt x="799001" y="740706"/>
                  </a:lnTo>
                  <a:lnTo>
                    <a:pt x="788352" y="747332"/>
                  </a:lnTo>
                  <a:lnTo>
                    <a:pt x="788352" y="748995"/>
                  </a:lnTo>
                  <a:lnTo>
                    <a:pt x="789381" y="750115"/>
                  </a:lnTo>
                  <a:lnTo>
                    <a:pt x="791771" y="751930"/>
                  </a:lnTo>
                  <a:lnTo>
                    <a:pt x="791015" y="753170"/>
                  </a:lnTo>
                  <a:lnTo>
                    <a:pt x="788231" y="750629"/>
                  </a:lnTo>
                  <a:lnTo>
                    <a:pt x="784994" y="749086"/>
                  </a:lnTo>
                  <a:lnTo>
                    <a:pt x="781516" y="748421"/>
                  </a:lnTo>
                  <a:lnTo>
                    <a:pt x="776494" y="748753"/>
                  </a:lnTo>
                  <a:lnTo>
                    <a:pt x="775011" y="749237"/>
                  </a:lnTo>
                  <a:lnTo>
                    <a:pt x="774013" y="750508"/>
                  </a:lnTo>
                  <a:lnTo>
                    <a:pt x="773832" y="753170"/>
                  </a:lnTo>
                  <a:lnTo>
                    <a:pt x="774467" y="754471"/>
                  </a:lnTo>
                  <a:lnTo>
                    <a:pt x="789472" y="765906"/>
                  </a:lnTo>
                  <a:lnTo>
                    <a:pt x="795582" y="767116"/>
                  </a:lnTo>
                  <a:lnTo>
                    <a:pt x="799334" y="762306"/>
                  </a:lnTo>
                  <a:lnTo>
                    <a:pt x="800090" y="762306"/>
                  </a:lnTo>
                  <a:lnTo>
                    <a:pt x="799908" y="763970"/>
                  </a:lnTo>
                  <a:lnTo>
                    <a:pt x="799485" y="765301"/>
                  </a:lnTo>
                  <a:lnTo>
                    <a:pt x="797972" y="768023"/>
                  </a:lnTo>
                  <a:lnTo>
                    <a:pt x="799182" y="769324"/>
                  </a:lnTo>
                  <a:lnTo>
                    <a:pt x="800937" y="770444"/>
                  </a:lnTo>
                  <a:lnTo>
                    <a:pt x="802843" y="771230"/>
                  </a:lnTo>
                  <a:lnTo>
                    <a:pt x="804507" y="771533"/>
                  </a:lnTo>
                  <a:lnTo>
                    <a:pt x="805566" y="772017"/>
                  </a:lnTo>
                  <a:lnTo>
                    <a:pt x="806745" y="774225"/>
                  </a:lnTo>
                  <a:lnTo>
                    <a:pt x="807653" y="774860"/>
                  </a:lnTo>
                  <a:lnTo>
                    <a:pt x="808318" y="774588"/>
                  </a:lnTo>
                  <a:lnTo>
                    <a:pt x="815125" y="769475"/>
                  </a:lnTo>
                  <a:lnTo>
                    <a:pt x="821780" y="762125"/>
                  </a:lnTo>
                  <a:lnTo>
                    <a:pt x="825834" y="756498"/>
                  </a:lnTo>
                  <a:lnTo>
                    <a:pt x="826923" y="755348"/>
                  </a:lnTo>
                  <a:lnTo>
                    <a:pt x="828103" y="754471"/>
                  </a:lnTo>
                  <a:lnTo>
                    <a:pt x="829373" y="754138"/>
                  </a:lnTo>
                  <a:lnTo>
                    <a:pt x="830311" y="753412"/>
                  </a:lnTo>
                  <a:lnTo>
                    <a:pt x="831763" y="750326"/>
                  </a:lnTo>
                  <a:lnTo>
                    <a:pt x="832792" y="749631"/>
                  </a:lnTo>
                  <a:lnTo>
                    <a:pt x="834849" y="749268"/>
                  </a:lnTo>
                  <a:lnTo>
                    <a:pt x="836452" y="748269"/>
                  </a:lnTo>
                  <a:lnTo>
                    <a:pt x="839326" y="744942"/>
                  </a:lnTo>
                  <a:lnTo>
                    <a:pt x="840415" y="742885"/>
                  </a:lnTo>
                  <a:lnTo>
                    <a:pt x="841232" y="741886"/>
                  </a:lnTo>
                  <a:lnTo>
                    <a:pt x="843350" y="741130"/>
                  </a:lnTo>
                  <a:lnTo>
                    <a:pt x="844287" y="739617"/>
                  </a:lnTo>
                  <a:lnTo>
                    <a:pt x="845165" y="739254"/>
                  </a:lnTo>
                  <a:lnTo>
                    <a:pt x="846949" y="739103"/>
                  </a:lnTo>
                  <a:lnTo>
                    <a:pt x="848432" y="738468"/>
                  </a:lnTo>
                  <a:lnTo>
                    <a:pt x="849763" y="737046"/>
                  </a:lnTo>
                  <a:lnTo>
                    <a:pt x="851094" y="734535"/>
                  </a:lnTo>
                  <a:lnTo>
                    <a:pt x="851396" y="733204"/>
                  </a:lnTo>
                  <a:lnTo>
                    <a:pt x="851578" y="731691"/>
                  </a:lnTo>
                  <a:lnTo>
                    <a:pt x="851941" y="730451"/>
                  </a:lnTo>
                  <a:lnTo>
                    <a:pt x="852788" y="729937"/>
                  </a:lnTo>
                  <a:lnTo>
                    <a:pt x="853816" y="729695"/>
                  </a:lnTo>
                  <a:lnTo>
                    <a:pt x="855057" y="729029"/>
                  </a:lnTo>
                  <a:lnTo>
                    <a:pt x="856116" y="728092"/>
                  </a:lnTo>
                  <a:lnTo>
                    <a:pt x="856539" y="727003"/>
                  </a:lnTo>
                  <a:lnTo>
                    <a:pt x="857386" y="725641"/>
                  </a:lnTo>
                  <a:lnTo>
                    <a:pt x="863346" y="720710"/>
                  </a:lnTo>
                  <a:lnTo>
                    <a:pt x="861682" y="724038"/>
                  </a:lnTo>
                  <a:lnTo>
                    <a:pt x="859837" y="726821"/>
                  </a:lnTo>
                  <a:lnTo>
                    <a:pt x="853060" y="733688"/>
                  </a:lnTo>
                  <a:lnTo>
                    <a:pt x="852425" y="734535"/>
                  </a:lnTo>
                  <a:lnTo>
                    <a:pt x="851427" y="736865"/>
                  </a:lnTo>
                  <a:lnTo>
                    <a:pt x="851427" y="737863"/>
                  </a:lnTo>
                  <a:lnTo>
                    <a:pt x="859262" y="741372"/>
                  </a:lnTo>
                  <a:lnTo>
                    <a:pt x="875870" y="737984"/>
                  </a:lnTo>
                  <a:lnTo>
                    <a:pt x="874145" y="739103"/>
                  </a:lnTo>
                  <a:lnTo>
                    <a:pt x="866038" y="740827"/>
                  </a:lnTo>
                  <a:lnTo>
                    <a:pt x="862075" y="743278"/>
                  </a:lnTo>
                  <a:lnTo>
                    <a:pt x="859988" y="743822"/>
                  </a:lnTo>
                  <a:lnTo>
                    <a:pt x="855662" y="742582"/>
                  </a:lnTo>
                  <a:lnTo>
                    <a:pt x="853393" y="742582"/>
                  </a:lnTo>
                  <a:lnTo>
                    <a:pt x="850428" y="745032"/>
                  </a:lnTo>
                  <a:lnTo>
                    <a:pt x="849097" y="745154"/>
                  </a:lnTo>
                  <a:lnTo>
                    <a:pt x="846556" y="744881"/>
                  </a:lnTo>
                  <a:lnTo>
                    <a:pt x="844318" y="746696"/>
                  </a:lnTo>
                  <a:lnTo>
                    <a:pt x="843440" y="747180"/>
                  </a:lnTo>
                  <a:lnTo>
                    <a:pt x="843440" y="748421"/>
                  </a:lnTo>
                  <a:lnTo>
                    <a:pt x="845376" y="749691"/>
                  </a:lnTo>
                  <a:lnTo>
                    <a:pt x="844771" y="750750"/>
                  </a:lnTo>
                  <a:lnTo>
                    <a:pt x="844136" y="751839"/>
                  </a:lnTo>
                  <a:lnTo>
                    <a:pt x="839991" y="755318"/>
                  </a:lnTo>
                  <a:lnTo>
                    <a:pt x="839114" y="756437"/>
                  </a:lnTo>
                  <a:lnTo>
                    <a:pt x="836513" y="761066"/>
                  </a:lnTo>
                  <a:lnTo>
                    <a:pt x="836240" y="761701"/>
                  </a:lnTo>
                  <a:lnTo>
                    <a:pt x="835908" y="763123"/>
                  </a:lnTo>
                  <a:lnTo>
                    <a:pt x="835514" y="763909"/>
                  </a:lnTo>
                  <a:lnTo>
                    <a:pt x="834909" y="764635"/>
                  </a:lnTo>
                  <a:lnTo>
                    <a:pt x="834456" y="764998"/>
                  </a:lnTo>
                  <a:lnTo>
                    <a:pt x="834093" y="765543"/>
                  </a:lnTo>
                  <a:lnTo>
                    <a:pt x="833790" y="766783"/>
                  </a:lnTo>
                  <a:lnTo>
                    <a:pt x="835151" y="766965"/>
                  </a:lnTo>
                  <a:lnTo>
                    <a:pt x="836785" y="768689"/>
                  </a:lnTo>
                  <a:lnTo>
                    <a:pt x="837995" y="769203"/>
                  </a:lnTo>
                  <a:lnTo>
                    <a:pt x="839205" y="768901"/>
                  </a:lnTo>
                  <a:lnTo>
                    <a:pt x="841383" y="767207"/>
                  </a:lnTo>
                  <a:lnTo>
                    <a:pt x="842502" y="766813"/>
                  </a:lnTo>
                  <a:lnTo>
                    <a:pt x="844196" y="765573"/>
                  </a:lnTo>
                  <a:lnTo>
                    <a:pt x="844590" y="765452"/>
                  </a:lnTo>
                  <a:lnTo>
                    <a:pt x="846617" y="765573"/>
                  </a:lnTo>
                  <a:lnTo>
                    <a:pt x="847736" y="765301"/>
                  </a:lnTo>
                  <a:lnTo>
                    <a:pt x="851124" y="763365"/>
                  </a:lnTo>
                  <a:lnTo>
                    <a:pt x="850065" y="764847"/>
                  </a:lnTo>
                  <a:lnTo>
                    <a:pt x="848825" y="765724"/>
                  </a:lnTo>
                  <a:lnTo>
                    <a:pt x="846254" y="766813"/>
                  </a:lnTo>
                  <a:lnTo>
                    <a:pt x="841444" y="770262"/>
                  </a:lnTo>
                  <a:lnTo>
                    <a:pt x="839598" y="771018"/>
                  </a:lnTo>
                  <a:lnTo>
                    <a:pt x="837330" y="771109"/>
                  </a:lnTo>
                  <a:lnTo>
                    <a:pt x="834849" y="770201"/>
                  </a:lnTo>
                  <a:lnTo>
                    <a:pt x="832459" y="767993"/>
                  </a:lnTo>
                  <a:lnTo>
                    <a:pt x="831884" y="770383"/>
                  </a:lnTo>
                  <a:lnTo>
                    <a:pt x="828314" y="778400"/>
                  </a:lnTo>
                  <a:lnTo>
                    <a:pt x="829676" y="779428"/>
                  </a:lnTo>
                  <a:lnTo>
                    <a:pt x="831612" y="775829"/>
                  </a:lnTo>
                  <a:lnTo>
                    <a:pt x="832792" y="774346"/>
                  </a:lnTo>
                  <a:lnTo>
                    <a:pt x="834153" y="773741"/>
                  </a:lnTo>
                  <a:lnTo>
                    <a:pt x="835787" y="780124"/>
                  </a:lnTo>
                  <a:lnTo>
                    <a:pt x="837420" y="781213"/>
                  </a:lnTo>
                  <a:lnTo>
                    <a:pt x="840234" y="778884"/>
                  </a:lnTo>
                  <a:lnTo>
                    <a:pt x="850943" y="781183"/>
                  </a:lnTo>
                  <a:lnTo>
                    <a:pt x="855238" y="780699"/>
                  </a:lnTo>
                  <a:lnTo>
                    <a:pt x="856327" y="779610"/>
                  </a:lnTo>
                  <a:lnTo>
                    <a:pt x="858687" y="776040"/>
                  </a:lnTo>
                  <a:lnTo>
                    <a:pt x="862801" y="772622"/>
                  </a:lnTo>
                  <a:lnTo>
                    <a:pt x="864344" y="770050"/>
                  </a:lnTo>
                  <a:lnTo>
                    <a:pt x="865433" y="767056"/>
                  </a:lnTo>
                  <a:lnTo>
                    <a:pt x="866734" y="764575"/>
                  </a:lnTo>
                  <a:lnTo>
                    <a:pt x="868942" y="763455"/>
                  </a:lnTo>
                  <a:lnTo>
                    <a:pt x="866825" y="766208"/>
                  </a:lnTo>
                  <a:lnTo>
                    <a:pt x="863527" y="773076"/>
                  </a:lnTo>
                  <a:lnTo>
                    <a:pt x="857144" y="781123"/>
                  </a:lnTo>
                  <a:lnTo>
                    <a:pt x="854452" y="783270"/>
                  </a:lnTo>
                  <a:lnTo>
                    <a:pt x="851094" y="784057"/>
                  </a:lnTo>
                  <a:lnTo>
                    <a:pt x="842956" y="781909"/>
                  </a:lnTo>
                  <a:lnTo>
                    <a:pt x="832822" y="782726"/>
                  </a:lnTo>
                  <a:lnTo>
                    <a:pt x="829464" y="784268"/>
                  </a:lnTo>
                  <a:lnTo>
                    <a:pt x="826923" y="787566"/>
                  </a:lnTo>
                  <a:lnTo>
                    <a:pt x="827346" y="788927"/>
                  </a:lnTo>
                  <a:lnTo>
                    <a:pt x="826530" y="789744"/>
                  </a:lnTo>
                  <a:lnTo>
                    <a:pt x="825229" y="790288"/>
                  </a:lnTo>
                  <a:lnTo>
                    <a:pt x="824140" y="790984"/>
                  </a:lnTo>
                  <a:lnTo>
                    <a:pt x="823383" y="792285"/>
                  </a:lnTo>
                  <a:lnTo>
                    <a:pt x="821357" y="797821"/>
                  </a:lnTo>
                  <a:lnTo>
                    <a:pt x="823595" y="798305"/>
                  </a:lnTo>
                  <a:lnTo>
                    <a:pt x="827951" y="796944"/>
                  </a:lnTo>
                  <a:lnTo>
                    <a:pt x="830372" y="796793"/>
                  </a:lnTo>
                  <a:lnTo>
                    <a:pt x="830372" y="797851"/>
                  </a:lnTo>
                  <a:lnTo>
                    <a:pt x="825320" y="799727"/>
                  </a:lnTo>
                  <a:lnTo>
                    <a:pt x="822597" y="800030"/>
                  </a:lnTo>
                  <a:lnTo>
                    <a:pt x="820721" y="798971"/>
                  </a:lnTo>
                  <a:lnTo>
                    <a:pt x="818815" y="800937"/>
                  </a:lnTo>
                  <a:lnTo>
                    <a:pt x="817817" y="803115"/>
                  </a:lnTo>
                  <a:lnTo>
                    <a:pt x="816607" y="809317"/>
                  </a:lnTo>
                  <a:lnTo>
                    <a:pt x="815518" y="812796"/>
                  </a:lnTo>
                  <a:lnTo>
                    <a:pt x="815276" y="814671"/>
                  </a:lnTo>
                  <a:lnTo>
                    <a:pt x="815881" y="816123"/>
                  </a:lnTo>
                  <a:lnTo>
                    <a:pt x="816880" y="816305"/>
                  </a:lnTo>
                  <a:lnTo>
                    <a:pt x="817848" y="815458"/>
                  </a:lnTo>
                  <a:lnTo>
                    <a:pt x="818785" y="814369"/>
                  </a:lnTo>
                  <a:lnTo>
                    <a:pt x="819663" y="813824"/>
                  </a:lnTo>
                  <a:lnTo>
                    <a:pt x="823868" y="812584"/>
                  </a:lnTo>
                  <a:lnTo>
                    <a:pt x="825199" y="813128"/>
                  </a:lnTo>
                  <a:lnTo>
                    <a:pt x="825834" y="814339"/>
                  </a:lnTo>
                  <a:lnTo>
                    <a:pt x="825652" y="815548"/>
                  </a:lnTo>
                  <a:lnTo>
                    <a:pt x="824503" y="816093"/>
                  </a:lnTo>
                  <a:lnTo>
                    <a:pt x="822537" y="816517"/>
                  </a:lnTo>
                  <a:lnTo>
                    <a:pt x="820358" y="817696"/>
                  </a:lnTo>
                  <a:lnTo>
                    <a:pt x="819148" y="819481"/>
                  </a:lnTo>
                  <a:lnTo>
                    <a:pt x="820026" y="821689"/>
                  </a:lnTo>
                  <a:lnTo>
                    <a:pt x="818120" y="824352"/>
                  </a:lnTo>
                  <a:lnTo>
                    <a:pt x="816395" y="827528"/>
                  </a:lnTo>
                  <a:lnTo>
                    <a:pt x="815095" y="830947"/>
                  </a:lnTo>
                  <a:lnTo>
                    <a:pt x="814429" y="834365"/>
                  </a:lnTo>
                  <a:lnTo>
                    <a:pt x="816758" y="832610"/>
                  </a:lnTo>
                  <a:lnTo>
                    <a:pt x="818785" y="829736"/>
                  </a:lnTo>
                  <a:lnTo>
                    <a:pt x="821054" y="827165"/>
                  </a:lnTo>
                  <a:lnTo>
                    <a:pt x="824109" y="826348"/>
                  </a:lnTo>
                  <a:lnTo>
                    <a:pt x="823505" y="828617"/>
                  </a:lnTo>
                  <a:lnTo>
                    <a:pt x="822809" y="830099"/>
                  </a:lnTo>
                  <a:lnTo>
                    <a:pt x="819572" y="834789"/>
                  </a:lnTo>
                  <a:lnTo>
                    <a:pt x="819179" y="835878"/>
                  </a:lnTo>
                  <a:lnTo>
                    <a:pt x="819360" y="837299"/>
                  </a:lnTo>
                  <a:lnTo>
                    <a:pt x="819995" y="839931"/>
                  </a:lnTo>
                  <a:lnTo>
                    <a:pt x="820298" y="840173"/>
                  </a:lnTo>
                  <a:lnTo>
                    <a:pt x="820903" y="840566"/>
                  </a:lnTo>
                  <a:lnTo>
                    <a:pt x="821568" y="841232"/>
                  </a:lnTo>
                  <a:lnTo>
                    <a:pt x="822052" y="842291"/>
                  </a:lnTo>
                  <a:lnTo>
                    <a:pt x="821901" y="843259"/>
                  </a:lnTo>
                  <a:lnTo>
                    <a:pt x="821115" y="843168"/>
                  </a:lnTo>
                  <a:lnTo>
                    <a:pt x="820268" y="842654"/>
                  </a:lnTo>
                  <a:lnTo>
                    <a:pt x="819995" y="842291"/>
                  </a:lnTo>
                  <a:lnTo>
                    <a:pt x="819995" y="842079"/>
                  </a:lnTo>
                  <a:lnTo>
                    <a:pt x="819390" y="841686"/>
                  </a:lnTo>
                  <a:lnTo>
                    <a:pt x="818574" y="841323"/>
                  </a:lnTo>
                  <a:lnTo>
                    <a:pt x="817908" y="841172"/>
                  </a:lnTo>
                  <a:lnTo>
                    <a:pt x="817273" y="841504"/>
                  </a:lnTo>
                  <a:lnTo>
                    <a:pt x="817000" y="842170"/>
                  </a:lnTo>
                  <a:lnTo>
                    <a:pt x="816849" y="842926"/>
                  </a:lnTo>
                  <a:lnTo>
                    <a:pt x="816547" y="843531"/>
                  </a:lnTo>
                  <a:lnTo>
                    <a:pt x="808984" y="853696"/>
                  </a:lnTo>
                  <a:lnTo>
                    <a:pt x="805293" y="860502"/>
                  </a:lnTo>
                  <a:lnTo>
                    <a:pt x="804749" y="864889"/>
                  </a:lnTo>
                  <a:lnTo>
                    <a:pt x="804355" y="865887"/>
                  </a:lnTo>
                  <a:lnTo>
                    <a:pt x="804204" y="867067"/>
                  </a:lnTo>
                  <a:lnTo>
                    <a:pt x="804507" y="868035"/>
                  </a:lnTo>
                  <a:lnTo>
                    <a:pt x="805505" y="868398"/>
                  </a:lnTo>
                  <a:lnTo>
                    <a:pt x="805898" y="867883"/>
                  </a:lnTo>
                  <a:lnTo>
                    <a:pt x="807592" y="864919"/>
                  </a:lnTo>
                  <a:lnTo>
                    <a:pt x="807501" y="861259"/>
                  </a:lnTo>
                  <a:lnTo>
                    <a:pt x="811827" y="856600"/>
                  </a:lnTo>
                  <a:lnTo>
                    <a:pt x="812432" y="853544"/>
                  </a:lnTo>
                  <a:lnTo>
                    <a:pt x="814006" y="852637"/>
                  </a:lnTo>
                  <a:lnTo>
                    <a:pt x="815367" y="851517"/>
                  </a:lnTo>
                  <a:lnTo>
                    <a:pt x="816637" y="850852"/>
                  </a:lnTo>
                  <a:lnTo>
                    <a:pt x="817938" y="851397"/>
                  </a:lnTo>
                  <a:lnTo>
                    <a:pt x="817394" y="852213"/>
                  </a:lnTo>
                  <a:lnTo>
                    <a:pt x="816789" y="852818"/>
                  </a:lnTo>
                  <a:lnTo>
                    <a:pt x="817212" y="853575"/>
                  </a:lnTo>
                  <a:lnTo>
                    <a:pt x="816365" y="855631"/>
                  </a:lnTo>
                  <a:lnTo>
                    <a:pt x="805323" y="871484"/>
                  </a:lnTo>
                  <a:lnTo>
                    <a:pt x="805566" y="873299"/>
                  </a:lnTo>
                  <a:lnTo>
                    <a:pt x="806201" y="875204"/>
                  </a:lnTo>
                  <a:lnTo>
                    <a:pt x="806897" y="876324"/>
                  </a:lnTo>
                  <a:lnTo>
                    <a:pt x="807834" y="876324"/>
                  </a:lnTo>
                  <a:lnTo>
                    <a:pt x="809649" y="874539"/>
                  </a:lnTo>
                  <a:lnTo>
                    <a:pt x="812281" y="873268"/>
                  </a:lnTo>
                  <a:lnTo>
                    <a:pt x="815700" y="869547"/>
                  </a:lnTo>
                  <a:lnTo>
                    <a:pt x="817938" y="868458"/>
                  </a:lnTo>
                  <a:lnTo>
                    <a:pt x="816395" y="870304"/>
                  </a:lnTo>
                  <a:lnTo>
                    <a:pt x="814580" y="871907"/>
                  </a:lnTo>
                  <a:lnTo>
                    <a:pt x="813068" y="873631"/>
                  </a:lnTo>
                  <a:lnTo>
                    <a:pt x="812432" y="875809"/>
                  </a:lnTo>
                  <a:lnTo>
                    <a:pt x="811797" y="877141"/>
                  </a:lnTo>
                  <a:lnTo>
                    <a:pt x="807562" y="883070"/>
                  </a:lnTo>
                  <a:lnTo>
                    <a:pt x="808076" y="884370"/>
                  </a:lnTo>
                  <a:lnTo>
                    <a:pt x="808197" y="888787"/>
                  </a:lnTo>
                  <a:lnTo>
                    <a:pt x="808954" y="891026"/>
                  </a:lnTo>
                  <a:lnTo>
                    <a:pt x="810315" y="892660"/>
                  </a:lnTo>
                  <a:lnTo>
                    <a:pt x="811676" y="893446"/>
                  </a:lnTo>
                  <a:lnTo>
                    <a:pt x="814429" y="894414"/>
                  </a:lnTo>
                  <a:lnTo>
                    <a:pt x="813733" y="896562"/>
                  </a:lnTo>
                  <a:lnTo>
                    <a:pt x="815064" y="896501"/>
                  </a:lnTo>
                  <a:lnTo>
                    <a:pt x="816274" y="896017"/>
                  </a:lnTo>
                  <a:lnTo>
                    <a:pt x="819874" y="893295"/>
                  </a:lnTo>
                  <a:lnTo>
                    <a:pt x="829615" y="883070"/>
                  </a:lnTo>
                  <a:lnTo>
                    <a:pt x="827770" y="888031"/>
                  </a:lnTo>
                  <a:lnTo>
                    <a:pt x="824624" y="892357"/>
                  </a:lnTo>
                  <a:lnTo>
                    <a:pt x="821145" y="895382"/>
                  </a:lnTo>
                  <a:lnTo>
                    <a:pt x="818241" y="896562"/>
                  </a:lnTo>
                  <a:lnTo>
                    <a:pt x="816910" y="897591"/>
                  </a:lnTo>
                  <a:lnTo>
                    <a:pt x="815185" y="899980"/>
                  </a:lnTo>
                  <a:lnTo>
                    <a:pt x="813673" y="902794"/>
                  </a:lnTo>
                  <a:lnTo>
                    <a:pt x="813038" y="905063"/>
                  </a:lnTo>
                  <a:lnTo>
                    <a:pt x="812342" y="906938"/>
                  </a:lnTo>
                  <a:lnTo>
                    <a:pt x="806866" y="911234"/>
                  </a:lnTo>
                  <a:lnTo>
                    <a:pt x="808016" y="913473"/>
                  </a:lnTo>
                  <a:lnTo>
                    <a:pt x="807623" y="916770"/>
                  </a:lnTo>
                  <a:lnTo>
                    <a:pt x="805475" y="922518"/>
                  </a:lnTo>
                  <a:lnTo>
                    <a:pt x="803115" y="927388"/>
                  </a:lnTo>
                  <a:lnTo>
                    <a:pt x="802752" y="929203"/>
                  </a:lnTo>
                  <a:lnTo>
                    <a:pt x="803055" y="930383"/>
                  </a:lnTo>
                  <a:lnTo>
                    <a:pt x="803750" y="931472"/>
                  </a:lnTo>
                  <a:lnTo>
                    <a:pt x="804174" y="932682"/>
                  </a:lnTo>
                  <a:lnTo>
                    <a:pt x="802752" y="937492"/>
                  </a:lnTo>
                  <a:lnTo>
                    <a:pt x="802933" y="941122"/>
                  </a:lnTo>
                  <a:lnTo>
                    <a:pt x="803418" y="944813"/>
                  </a:lnTo>
                  <a:lnTo>
                    <a:pt x="803418" y="948231"/>
                  </a:lnTo>
                  <a:lnTo>
                    <a:pt x="802389" y="949925"/>
                  </a:lnTo>
                  <a:lnTo>
                    <a:pt x="798577" y="954070"/>
                  </a:lnTo>
                  <a:lnTo>
                    <a:pt x="795764" y="956248"/>
                  </a:lnTo>
                  <a:lnTo>
                    <a:pt x="795219" y="959424"/>
                  </a:lnTo>
                  <a:lnTo>
                    <a:pt x="795431" y="963115"/>
                  </a:lnTo>
                  <a:lnTo>
                    <a:pt x="796611" y="970073"/>
                  </a:lnTo>
                  <a:lnTo>
                    <a:pt x="797670" y="972070"/>
                  </a:lnTo>
                  <a:lnTo>
                    <a:pt x="799455" y="972705"/>
                  </a:lnTo>
                  <a:lnTo>
                    <a:pt x="802359" y="972705"/>
                  </a:lnTo>
                  <a:lnTo>
                    <a:pt x="803508" y="972433"/>
                  </a:lnTo>
                  <a:lnTo>
                    <a:pt x="805777" y="970890"/>
                  </a:lnTo>
                  <a:lnTo>
                    <a:pt x="806836" y="970436"/>
                  </a:lnTo>
                  <a:lnTo>
                    <a:pt x="808016" y="970527"/>
                  </a:lnTo>
                  <a:lnTo>
                    <a:pt x="809982" y="971464"/>
                  </a:lnTo>
                  <a:lnTo>
                    <a:pt x="810950" y="971676"/>
                  </a:lnTo>
                  <a:lnTo>
                    <a:pt x="813340" y="971253"/>
                  </a:lnTo>
                  <a:lnTo>
                    <a:pt x="815579" y="970194"/>
                  </a:lnTo>
                  <a:lnTo>
                    <a:pt x="817575" y="968772"/>
                  </a:lnTo>
                  <a:lnTo>
                    <a:pt x="819239" y="967169"/>
                  </a:lnTo>
                  <a:lnTo>
                    <a:pt x="822537" y="962843"/>
                  </a:lnTo>
                  <a:lnTo>
                    <a:pt x="823535" y="960392"/>
                  </a:lnTo>
                  <a:lnTo>
                    <a:pt x="822355" y="959303"/>
                  </a:lnTo>
                  <a:lnTo>
                    <a:pt x="822264" y="958638"/>
                  </a:lnTo>
                  <a:lnTo>
                    <a:pt x="820631" y="954947"/>
                  </a:lnTo>
                  <a:lnTo>
                    <a:pt x="819693" y="953707"/>
                  </a:lnTo>
                  <a:lnTo>
                    <a:pt x="818785" y="952829"/>
                  </a:lnTo>
                  <a:lnTo>
                    <a:pt x="817787" y="952436"/>
                  </a:lnTo>
                  <a:lnTo>
                    <a:pt x="816517" y="952618"/>
                  </a:lnTo>
                  <a:lnTo>
                    <a:pt x="816517" y="951589"/>
                  </a:lnTo>
                  <a:lnTo>
                    <a:pt x="818846" y="950258"/>
                  </a:lnTo>
                  <a:lnTo>
                    <a:pt x="820449" y="948050"/>
                  </a:lnTo>
                  <a:lnTo>
                    <a:pt x="822688" y="942604"/>
                  </a:lnTo>
                  <a:lnTo>
                    <a:pt x="823142" y="942181"/>
                  </a:lnTo>
                  <a:lnTo>
                    <a:pt x="823595" y="942393"/>
                  </a:lnTo>
                  <a:lnTo>
                    <a:pt x="823928" y="942302"/>
                  </a:lnTo>
                  <a:lnTo>
                    <a:pt x="824049" y="940971"/>
                  </a:lnTo>
                  <a:lnTo>
                    <a:pt x="823958" y="937885"/>
                  </a:lnTo>
                  <a:lnTo>
                    <a:pt x="824049" y="937008"/>
                  </a:lnTo>
                  <a:lnTo>
                    <a:pt x="824654" y="935405"/>
                  </a:lnTo>
                  <a:lnTo>
                    <a:pt x="826802" y="931533"/>
                  </a:lnTo>
                  <a:lnTo>
                    <a:pt x="826167" y="928447"/>
                  </a:lnTo>
                  <a:lnTo>
                    <a:pt x="827346" y="927479"/>
                  </a:lnTo>
                  <a:lnTo>
                    <a:pt x="828950" y="926843"/>
                  </a:lnTo>
                  <a:lnTo>
                    <a:pt x="829555" y="924696"/>
                  </a:lnTo>
                  <a:lnTo>
                    <a:pt x="828799" y="923062"/>
                  </a:lnTo>
                  <a:lnTo>
                    <a:pt x="827588" y="922729"/>
                  </a:lnTo>
                  <a:lnTo>
                    <a:pt x="826681" y="921731"/>
                  </a:lnTo>
                  <a:lnTo>
                    <a:pt x="826832" y="918010"/>
                  </a:lnTo>
                  <a:lnTo>
                    <a:pt x="826620" y="917526"/>
                  </a:lnTo>
                  <a:lnTo>
                    <a:pt x="826227" y="916770"/>
                  </a:lnTo>
                  <a:lnTo>
                    <a:pt x="826046" y="916074"/>
                  </a:lnTo>
                  <a:lnTo>
                    <a:pt x="828194" y="914531"/>
                  </a:lnTo>
                  <a:lnTo>
                    <a:pt x="828436" y="913170"/>
                  </a:lnTo>
                  <a:lnTo>
                    <a:pt x="828708" y="910266"/>
                  </a:lnTo>
                  <a:lnTo>
                    <a:pt x="828950" y="908905"/>
                  </a:lnTo>
                  <a:lnTo>
                    <a:pt x="829676" y="906878"/>
                  </a:lnTo>
                  <a:lnTo>
                    <a:pt x="830614" y="905063"/>
                  </a:lnTo>
                  <a:lnTo>
                    <a:pt x="831733" y="903520"/>
                  </a:lnTo>
                  <a:lnTo>
                    <a:pt x="836331" y="898710"/>
                  </a:lnTo>
                  <a:lnTo>
                    <a:pt x="837844" y="897711"/>
                  </a:lnTo>
                  <a:lnTo>
                    <a:pt x="841262" y="896683"/>
                  </a:lnTo>
                  <a:lnTo>
                    <a:pt x="842654" y="895594"/>
                  </a:lnTo>
                  <a:lnTo>
                    <a:pt x="843319" y="893325"/>
                  </a:lnTo>
                  <a:lnTo>
                    <a:pt x="842412" y="889120"/>
                  </a:lnTo>
                  <a:lnTo>
                    <a:pt x="839901" y="885187"/>
                  </a:lnTo>
                  <a:lnTo>
                    <a:pt x="834304" y="879621"/>
                  </a:lnTo>
                  <a:lnTo>
                    <a:pt x="834788" y="879288"/>
                  </a:lnTo>
                  <a:lnTo>
                    <a:pt x="835272" y="878774"/>
                  </a:lnTo>
                  <a:lnTo>
                    <a:pt x="835756" y="878411"/>
                  </a:lnTo>
                  <a:lnTo>
                    <a:pt x="834758" y="877594"/>
                  </a:lnTo>
                  <a:lnTo>
                    <a:pt x="834334" y="877413"/>
                  </a:lnTo>
                  <a:lnTo>
                    <a:pt x="834334" y="876293"/>
                  </a:lnTo>
                  <a:lnTo>
                    <a:pt x="835030" y="876293"/>
                  </a:lnTo>
                  <a:lnTo>
                    <a:pt x="835030" y="875265"/>
                  </a:lnTo>
                  <a:lnTo>
                    <a:pt x="833820" y="874146"/>
                  </a:lnTo>
                  <a:lnTo>
                    <a:pt x="833488" y="872875"/>
                  </a:lnTo>
                  <a:lnTo>
                    <a:pt x="833397" y="871332"/>
                  </a:lnTo>
                  <a:lnTo>
                    <a:pt x="832973" y="869457"/>
                  </a:lnTo>
                  <a:lnTo>
                    <a:pt x="831975" y="866159"/>
                  </a:lnTo>
                  <a:lnTo>
                    <a:pt x="831400" y="866038"/>
                  </a:lnTo>
                  <a:lnTo>
                    <a:pt x="829888" y="865282"/>
                  </a:lnTo>
                  <a:lnTo>
                    <a:pt x="829525" y="864919"/>
                  </a:lnTo>
                  <a:lnTo>
                    <a:pt x="830281" y="856025"/>
                  </a:lnTo>
                  <a:lnTo>
                    <a:pt x="830220" y="854936"/>
                  </a:lnTo>
                  <a:lnTo>
                    <a:pt x="830220" y="853907"/>
                  </a:lnTo>
                  <a:lnTo>
                    <a:pt x="830614" y="853030"/>
                  </a:lnTo>
                  <a:lnTo>
                    <a:pt x="831340" y="852637"/>
                  </a:lnTo>
                  <a:lnTo>
                    <a:pt x="831582" y="853696"/>
                  </a:lnTo>
                  <a:lnTo>
                    <a:pt x="831582" y="855148"/>
                  </a:lnTo>
                  <a:lnTo>
                    <a:pt x="831672" y="855934"/>
                  </a:lnTo>
                  <a:lnTo>
                    <a:pt x="833548" y="856479"/>
                  </a:lnTo>
                  <a:lnTo>
                    <a:pt x="836029" y="856691"/>
                  </a:lnTo>
                  <a:lnTo>
                    <a:pt x="838207" y="856085"/>
                  </a:lnTo>
                  <a:lnTo>
                    <a:pt x="839145" y="854210"/>
                  </a:lnTo>
                  <a:lnTo>
                    <a:pt x="839447" y="854361"/>
                  </a:lnTo>
                  <a:lnTo>
                    <a:pt x="840052" y="852364"/>
                  </a:lnTo>
                  <a:lnTo>
                    <a:pt x="840536" y="850005"/>
                  </a:lnTo>
                  <a:lnTo>
                    <a:pt x="840536" y="849158"/>
                  </a:lnTo>
                  <a:lnTo>
                    <a:pt x="841262" y="848674"/>
                  </a:lnTo>
                  <a:lnTo>
                    <a:pt x="843077" y="848522"/>
                  </a:lnTo>
                  <a:lnTo>
                    <a:pt x="843985" y="848008"/>
                  </a:lnTo>
                  <a:lnTo>
                    <a:pt x="852304" y="836210"/>
                  </a:lnTo>
                  <a:lnTo>
                    <a:pt x="864314" y="828647"/>
                  </a:lnTo>
                  <a:lnTo>
                    <a:pt x="865252" y="827437"/>
                  </a:lnTo>
                  <a:lnTo>
                    <a:pt x="867672" y="821629"/>
                  </a:lnTo>
                  <a:lnTo>
                    <a:pt x="868761" y="819572"/>
                  </a:lnTo>
                  <a:lnTo>
                    <a:pt x="870273" y="818301"/>
                  </a:lnTo>
                  <a:lnTo>
                    <a:pt x="871967" y="817606"/>
                  </a:lnTo>
                  <a:lnTo>
                    <a:pt x="876082" y="817303"/>
                  </a:lnTo>
                  <a:lnTo>
                    <a:pt x="877776" y="816486"/>
                  </a:lnTo>
                  <a:lnTo>
                    <a:pt x="881497" y="812675"/>
                  </a:lnTo>
                  <a:lnTo>
                    <a:pt x="883251" y="811555"/>
                  </a:lnTo>
                  <a:lnTo>
                    <a:pt x="881285" y="815942"/>
                  </a:lnTo>
                  <a:lnTo>
                    <a:pt x="877776" y="818332"/>
                  </a:lnTo>
                  <a:lnTo>
                    <a:pt x="873934" y="819874"/>
                  </a:lnTo>
                  <a:lnTo>
                    <a:pt x="870909" y="821750"/>
                  </a:lnTo>
                  <a:lnTo>
                    <a:pt x="869305" y="823928"/>
                  </a:lnTo>
                  <a:lnTo>
                    <a:pt x="865735" y="831521"/>
                  </a:lnTo>
                  <a:lnTo>
                    <a:pt x="864767" y="832489"/>
                  </a:lnTo>
                  <a:lnTo>
                    <a:pt x="860563" y="835545"/>
                  </a:lnTo>
                  <a:lnTo>
                    <a:pt x="854724" y="837814"/>
                  </a:lnTo>
                  <a:lnTo>
                    <a:pt x="843743" y="855541"/>
                  </a:lnTo>
                  <a:lnTo>
                    <a:pt x="841262" y="858143"/>
                  </a:lnTo>
                  <a:lnTo>
                    <a:pt x="842533" y="862983"/>
                  </a:lnTo>
                  <a:lnTo>
                    <a:pt x="842714" y="864404"/>
                  </a:lnTo>
                  <a:lnTo>
                    <a:pt x="842502" y="865796"/>
                  </a:lnTo>
                  <a:lnTo>
                    <a:pt x="841504" y="867611"/>
                  </a:lnTo>
                  <a:lnTo>
                    <a:pt x="841262" y="868882"/>
                  </a:lnTo>
                  <a:lnTo>
                    <a:pt x="841202" y="871907"/>
                  </a:lnTo>
                  <a:lnTo>
                    <a:pt x="841262" y="873419"/>
                  </a:lnTo>
                  <a:lnTo>
                    <a:pt x="841625" y="874599"/>
                  </a:lnTo>
                  <a:lnTo>
                    <a:pt x="842381" y="875446"/>
                  </a:lnTo>
                  <a:lnTo>
                    <a:pt x="843168" y="875840"/>
                  </a:lnTo>
                  <a:lnTo>
                    <a:pt x="843773" y="876444"/>
                  </a:lnTo>
                  <a:lnTo>
                    <a:pt x="844408" y="880559"/>
                  </a:lnTo>
                  <a:lnTo>
                    <a:pt x="845467" y="881829"/>
                  </a:lnTo>
                  <a:lnTo>
                    <a:pt x="848855" y="882979"/>
                  </a:lnTo>
                  <a:lnTo>
                    <a:pt x="853272" y="885339"/>
                  </a:lnTo>
                  <a:lnTo>
                    <a:pt x="855117" y="885339"/>
                  </a:lnTo>
                  <a:lnTo>
                    <a:pt x="854391" y="882404"/>
                  </a:lnTo>
                  <a:lnTo>
                    <a:pt x="853393" y="879863"/>
                  </a:lnTo>
                  <a:lnTo>
                    <a:pt x="850973" y="875204"/>
                  </a:lnTo>
                  <a:lnTo>
                    <a:pt x="853938" y="871211"/>
                  </a:lnTo>
                  <a:lnTo>
                    <a:pt x="854421" y="869971"/>
                  </a:lnTo>
                  <a:lnTo>
                    <a:pt x="854633" y="868337"/>
                  </a:lnTo>
                  <a:lnTo>
                    <a:pt x="855238" y="866008"/>
                  </a:lnTo>
                  <a:lnTo>
                    <a:pt x="856116" y="863830"/>
                  </a:lnTo>
                  <a:lnTo>
                    <a:pt x="857144" y="862589"/>
                  </a:lnTo>
                  <a:lnTo>
                    <a:pt x="857144" y="866038"/>
                  </a:lnTo>
                  <a:lnTo>
                    <a:pt x="858052" y="868156"/>
                  </a:lnTo>
                  <a:lnTo>
                    <a:pt x="864677" y="873208"/>
                  </a:lnTo>
                  <a:lnTo>
                    <a:pt x="866583" y="873813"/>
                  </a:lnTo>
                  <a:lnTo>
                    <a:pt x="867430" y="872210"/>
                  </a:lnTo>
                  <a:lnTo>
                    <a:pt x="866673" y="868761"/>
                  </a:lnTo>
                  <a:lnTo>
                    <a:pt x="862831" y="859776"/>
                  </a:lnTo>
                  <a:lnTo>
                    <a:pt x="861228" y="857054"/>
                  </a:lnTo>
                  <a:lnTo>
                    <a:pt x="862831" y="855874"/>
                  </a:lnTo>
                  <a:lnTo>
                    <a:pt x="863588" y="857235"/>
                  </a:lnTo>
                  <a:lnTo>
                    <a:pt x="864102" y="859353"/>
                  </a:lnTo>
                  <a:lnTo>
                    <a:pt x="868125" y="864344"/>
                  </a:lnTo>
                  <a:lnTo>
                    <a:pt x="868519" y="867642"/>
                  </a:lnTo>
                  <a:lnTo>
                    <a:pt x="869547" y="872330"/>
                  </a:lnTo>
                  <a:lnTo>
                    <a:pt x="870999" y="876535"/>
                  </a:lnTo>
                  <a:lnTo>
                    <a:pt x="872603" y="878350"/>
                  </a:lnTo>
                  <a:lnTo>
                    <a:pt x="875779" y="878986"/>
                  </a:lnTo>
                  <a:lnTo>
                    <a:pt x="876959" y="878774"/>
                  </a:lnTo>
                  <a:lnTo>
                    <a:pt x="878381" y="877322"/>
                  </a:lnTo>
                  <a:lnTo>
                    <a:pt x="879379" y="875628"/>
                  </a:lnTo>
                  <a:lnTo>
                    <a:pt x="879802" y="874115"/>
                  </a:lnTo>
                  <a:lnTo>
                    <a:pt x="880075" y="872512"/>
                  </a:lnTo>
                  <a:lnTo>
                    <a:pt x="880559" y="870576"/>
                  </a:lnTo>
                  <a:lnTo>
                    <a:pt x="881406" y="869124"/>
                  </a:lnTo>
                  <a:lnTo>
                    <a:pt x="882555" y="867793"/>
                  </a:lnTo>
                  <a:lnTo>
                    <a:pt x="883554" y="866190"/>
                  </a:lnTo>
                  <a:lnTo>
                    <a:pt x="883917" y="863800"/>
                  </a:lnTo>
                  <a:lnTo>
                    <a:pt x="883433" y="861924"/>
                  </a:lnTo>
                  <a:lnTo>
                    <a:pt x="882374" y="860623"/>
                  </a:lnTo>
                  <a:lnTo>
                    <a:pt x="881043" y="859776"/>
                  </a:lnTo>
                  <a:lnTo>
                    <a:pt x="879772" y="859201"/>
                  </a:lnTo>
                  <a:lnTo>
                    <a:pt x="879772" y="858082"/>
                  </a:lnTo>
                  <a:lnTo>
                    <a:pt x="881497" y="858536"/>
                  </a:lnTo>
                  <a:lnTo>
                    <a:pt x="883100" y="859383"/>
                  </a:lnTo>
                  <a:lnTo>
                    <a:pt x="884612" y="859867"/>
                  </a:lnTo>
                  <a:lnTo>
                    <a:pt x="886004" y="859201"/>
                  </a:lnTo>
                  <a:lnTo>
                    <a:pt x="885459" y="857326"/>
                  </a:lnTo>
                  <a:lnTo>
                    <a:pt x="885248" y="855117"/>
                  </a:lnTo>
                  <a:lnTo>
                    <a:pt x="885248" y="851880"/>
                  </a:lnTo>
                  <a:lnTo>
                    <a:pt x="884824" y="848522"/>
                  </a:lnTo>
                  <a:lnTo>
                    <a:pt x="885066" y="847282"/>
                  </a:lnTo>
                  <a:lnTo>
                    <a:pt x="886367" y="846798"/>
                  </a:lnTo>
                  <a:lnTo>
                    <a:pt x="886670" y="844227"/>
                  </a:lnTo>
                  <a:lnTo>
                    <a:pt x="885762" y="838540"/>
                  </a:lnTo>
                  <a:lnTo>
                    <a:pt x="884370" y="832701"/>
                  </a:lnTo>
                  <a:lnTo>
                    <a:pt x="883221" y="829736"/>
                  </a:lnTo>
                  <a:lnTo>
                    <a:pt x="884582" y="828224"/>
                  </a:lnTo>
                  <a:lnTo>
                    <a:pt x="885943" y="828678"/>
                  </a:lnTo>
                  <a:lnTo>
                    <a:pt x="887002" y="830372"/>
                  </a:lnTo>
                  <a:lnTo>
                    <a:pt x="887426" y="832610"/>
                  </a:lnTo>
                  <a:lnTo>
                    <a:pt x="887275" y="837693"/>
                  </a:lnTo>
                  <a:lnTo>
                    <a:pt x="888031" y="838993"/>
                  </a:lnTo>
                  <a:lnTo>
                    <a:pt x="890179" y="838903"/>
                  </a:lnTo>
                  <a:lnTo>
                    <a:pt x="891631" y="836936"/>
                  </a:lnTo>
                  <a:lnTo>
                    <a:pt x="897409" y="825804"/>
                  </a:lnTo>
                  <a:lnTo>
                    <a:pt x="898770" y="824049"/>
                  </a:lnTo>
                  <a:lnTo>
                    <a:pt x="899859" y="823323"/>
                  </a:lnTo>
                  <a:lnTo>
                    <a:pt x="900343" y="823958"/>
                  </a:lnTo>
                  <a:lnTo>
                    <a:pt x="899889" y="826348"/>
                  </a:lnTo>
                  <a:lnTo>
                    <a:pt x="892750" y="836997"/>
                  </a:lnTo>
                  <a:lnTo>
                    <a:pt x="888817" y="846526"/>
                  </a:lnTo>
                  <a:lnTo>
                    <a:pt x="888666" y="847918"/>
                  </a:lnTo>
                  <a:lnTo>
                    <a:pt x="888817" y="854210"/>
                  </a:lnTo>
                  <a:lnTo>
                    <a:pt x="889120" y="857205"/>
                  </a:lnTo>
                  <a:lnTo>
                    <a:pt x="890209" y="859534"/>
                  </a:lnTo>
                  <a:lnTo>
                    <a:pt x="892569" y="860472"/>
                  </a:lnTo>
                  <a:lnTo>
                    <a:pt x="895019" y="860472"/>
                  </a:lnTo>
                  <a:lnTo>
                    <a:pt x="896864" y="860199"/>
                  </a:lnTo>
                  <a:lnTo>
                    <a:pt x="897499" y="858869"/>
                  </a:lnTo>
                  <a:lnTo>
                    <a:pt x="896380" y="855874"/>
                  </a:lnTo>
                  <a:lnTo>
                    <a:pt x="891601" y="849188"/>
                  </a:lnTo>
                  <a:lnTo>
                    <a:pt x="890965" y="847131"/>
                  </a:lnTo>
                  <a:lnTo>
                    <a:pt x="890905" y="845467"/>
                  </a:lnTo>
                  <a:lnTo>
                    <a:pt x="891419" y="844197"/>
                  </a:lnTo>
                  <a:lnTo>
                    <a:pt x="892932" y="844529"/>
                  </a:lnTo>
                  <a:lnTo>
                    <a:pt x="892992" y="845346"/>
                  </a:lnTo>
                  <a:lnTo>
                    <a:pt x="894323" y="850308"/>
                  </a:lnTo>
                  <a:lnTo>
                    <a:pt x="895473" y="852425"/>
                  </a:lnTo>
                  <a:lnTo>
                    <a:pt x="897046" y="854633"/>
                  </a:lnTo>
                  <a:lnTo>
                    <a:pt x="898891" y="856388"/>
                  </a:lnTo>
                  <a:lnTo>
                    <a:pt x="902975" y="857840"/>
                  </a:lnTo>
                  <a:lnTo>
                    <a:pt x="908118" y="863860"/>
                  </a:lnTo>
                  <a:lnTo>
                    <a:pt x="912474" y="866431"/>
                  </a:lnTo>
                  <a:lnTo>
                    <a:pt x="916437" y="867218"/>
                  </a:lnTo>
                  <a:lnTo>
                    <a:pt x="927388" y="869396"/>
                  </a:lnTo>
                  <a:lnTo>
                    <a:pt x="924938" y="870909"/>
                  </a:lnTo>
                  <a:lnTo>
                    <a:pt x="908178" y="868488"/>
                  </a:lnTo>
                  <a:lnTo>
                    <a:pt x="906030" y="867248"/>
                  </a:lnTo>
                  <a:lnTo>
                    <a:pt x="904881" y="867732"/>
                  </a:lnTo>
                  <a:lnTo>
                    <a:pt x="903187" y="867460"/>
                  </a:lnTo>
                  <a:lnTo>
                    <a:pt x="896804" y="864677"/>
                  </a:lnTo>
                  <a:lnTo>
                    <a:pt x="895442" y="864526"/>
                  </a:lnTo>
                  <a:lnTo>
                    <a:pt x="893567" y="864919"/>
                  </a:lnTo>
                  <a:lnTo>
                    <a:pt x="890421" y="866129"/>
                  </a:lnTo>
                  <a:lnTo>
                    <a:pt x="888122" y="867944"/>
                  </a:lnTo>
                  <a:lnTo>
                    <a:pt x="886670" y="870848"/>
                  </a:lnTo>
                  <a:lnTo>
                    <a:pt x="886034" y="875265"/>
                  </a:lnTo>
                  <a:lnTo>
                    <a:pt x="886428" y="879803"/>
                  </a:lnTo>
                  <a:lnTo>
                    <a:pt x="886428" y="879923"/>
                  </a:lnTo>
                  <a:lnTo>
                    <a:pt x="887033" y="887032"/>
                  </a:lnTo>
                  <a:lnTo>
                    <a:pt x="887547" y="888727"/>
                  </a:lnTo>
                  <a:lnTo>
                    <a:pt x="888152" y="890148"/>
                  </a:lnTo>
                  <a:lnTo>
                    <a:pt x="888787" y="892115"/>
                  </a:lnTo>
                  <a:lnTo>
                    <a:pt x="889211" y="897651"/>
                  </a:lnTo>
                  <a:lnTo>
                    <a:pt x="887668" y="901190"/>
                  </a:lnTo>
                  <a:lnTo>
                    <a:pt x="883221" y="905577"/>
                  </a:lnTo>
                  <a:lnTo>
                    <a:pt x="885187" y="908239"/>
                  </a:lnTo>
                  <a:lnTo>
                    <a:pt x="888454" y="910992"/>
                  </a:lnTo>
                  <a:lnTo>
                    <a:pt x="894293" y="914531"/>
                  </a:lnTo>
                  <a:lnTo>
                    <a:pt x="894293" y="915741"/>
                  </a:lnTo>
                  <a:lnTo>
                    <a:pt x="893537" y="917254"/>
                  </a:lnTo>
                  <a:lnTo>
                    <a:pt x="894474" y="917859"/>
                  </a:lnTo>
                  <a:lnTo>
                    <a:pt x="897711" y="917980"/>
                  </a:lnTo>
                  <a:lnTo>
                    <a:pt x="903187" y="920219"/>
                  </a:lnTo>
                  <a:lnTo>
                    <a:pt x="906121" y="922518"/>
                  </a:lnTo>
                  <a:lnTo>
                    <a:pt x="908299" y="925906"/>
                  </a:lnTo>
                  <a:lnTo>
                    <a:pt x="908753" y="929355"/>
                  </a:lnTo>
                  <a:lnTo>
                    <a:pt x="908753" y="929536"/>
                  </a:lnTo>
                  <a:lnTo>
                    <a:pt x="906666" y="932500"/>
                  </a:lnTo>
                  <a:lnTo>
                    <a:pt x="910326" y="933650"/>
                  </a:lnTo>
                  <a:lnTo>
                    <a:pt x="912746" y="936464"/>
                  </a:lnTo>
                  <a:lnTo>
                    <a:pt x="913654" y="940396"/>
                  </a:lnTo>
                  <a:lnTo>
                    <a:pt x="912777" y="944813"/>
                  </a:lnTo>
                  <a:lnTo>
                    <a:pt x="910356" y="948050"/>
                  </a:lnTo>
                  <a:lnTo>
                    <a:pt x="903671" y="950984"/>
                  </a:lnTo>
                  <a:lnTo>
                    <a:pt x="900434" y="953707"/>
                  </a:lnTo>
                  <a:lnTo>
                    <a:pt x="899466" y="955582"/>
                  </a:lnTo>
                  <a:lnTo>
                    <a:pt x="898619" y="959364"/>
                  </a:lnTo>
                  <a:lnTo>
                    <a:pt x="898014" y="960937"/>
                  </a:lnTo>
                  <a:lnTo>
                    <a:pt x="897197" y="961905"/>
                  </a:lnTo>
                  <a:lnTo>
                    <a:pt x="895382" y="963327"/>
                  </a:lnTo>
                  <a:lnTo>
                    <a:pt x="892024" y="967169"/>
                  </a:lnTo>
                  <a:lnTo>
                    <a:pt x="891479" y="968167"/>
                  </a:lnTo>
                  <a:lnTo>
                    <a:pt x="891298" y="969710"/>
                  </a:lnTo>
                  <a:lnTo>
                    <a:pt x="891540" y="973249"/>
                  </a:lnTo>
                  <a:lnTo>
                    <a:pt x="891449" y="974852"/>
                  </a:lnTo>
                  <a:lnTo>
                    <a:pt x="891056" y="976304"/>
                  </a:lnTo>
                  <a:lnTo>
                    <a:pt x="888757" y="981780"/>
                  </a:lnTo>
                  <a:lnTo>
                    <a:pt x="888666" y="982597"/>
                  </a:lnTo>
                  <a:lnTo>
                    <a:pt x="888666" y="984321"/>
                  </a:lnTo>
                  <a:lnTo>
                    <a:pt x="888485" y="984836"/>
                  </a:lnTo>
                  <a:lnTo>
                    <a:pt x="887456" y="985077"/>
                  </a:lnTo>
                  <a:lnTo>
                    <a:pt x="886972" y="985440"/>
                  </a:lnTo>
                  <a:lnTo>
                    <a:pt x="880438" y="993639"/>
                  </a:lnTo>
                  <a:lnTo>
                    <a:pt x="876293" y="996119"/>
                  </a:lnTo>
                  <a:lnTo>
                    <a:pt x="874327" y="997965"/>
                  </a:lnTo>
                  <a:lnTo>
                    <a:pt x="873480" y="1000959"/>
                  </a:lnTo>
                  <a:lnTo>
                    <a:pt x="873208" y="1004257"/>
                  </a:lnTo>
                  <a:lnTo>
                    <a:pt x="872512" y="1006435"/>
                  </a:lnTo>
                  <a:lnTo>
                    <a:pt x="870727" y="1010368"/>
                  </a:lnTo>
                  <a:lnTo>
                    <a:pt x="870303" y="1011759"/>
                  </a:lnTo>
                  <a:lnTo>
                    <a:pt x="870092" y="1012848"/>
                  </a:lnTo>
                  <a:lnTo>
                    <a:pt x="870031" y="1016418"/>
                  </a:lnTo>
                  <a:lnTo>
                    <a:pt x="870364" y="1018293"/>
                  </a:lnTo>
                  <a:lnTo>
                    <a:pt x="871786" y="1021500"/>
                  </a:lnTo>
                  <a:lnTo>
                    <a:pt x="871846" y="1021742"/>
                  </a:lnTo>
                  <a:lnTo>
                    <a:pt x="872119" y="1023073"/>
                  </a:lnTo>
                  <a:lnTo>
                    <a:pt x="872693" y="1024525"/>
                  </a:lnTo>
                  <a:lnTo>
                    <a:pt x="876293" y="1031271"/>
                  </a:lnTo>
                  <a:lnTo>
                    <a:pt x="876293" y="1032360"/>
                  </a:lnTo>
                  <a:lnTo>
                    <a:pt x="875870" y="1032905"/>
                  </a:lnTo>
                  <a:lnTo>
                    <a:pt x="875537" y="1033540"/>
                  </a:lnTo>
                  <a:lnTo>
                    <a:pt x="873782" y="1035265"/>
                  </a:lnTo>
                  <a:lnTo>
                    <a:pt x="871967" y="1034992"/>
                  </a:lnTo>
                  <a:lnTo>
                    <a:pt x="870303" y="1033540"/>
                  </a:lnTo>
                  <a:lnTo>
                    <a:pt x="868972" y="1031786"/>
                  </a:lnTo>
                  <a:lnTo>
                    <a:pt x="868519" y="1030304"/>
                  </a:lnTo>
                  <a:lnTo>
                    <a:pt x="868670" y="1026401"/>
                  </a:lnTo>
                  <a:lnTo>
                    <a:pt x="868579" y="1024647"/>
                  </a:lnTo>
                  <a:lnTo>
                    <a:pt x="868095" y="1022952"/>
                  </a:lnTo>
                  <a:lnTo>
                    <a:pt x="867339" y="1021440"/>
                  </a:lnTo>
                  <a:lnTo>
                    <a:pt x="865826" y="1019171"/>
                  </a:lnTo>
                  <a:lnTo>
                    <a:pt x="865463" y="1018293"/>
                  </a:lnTo>
                  <a:lnTo>
                    <a:pt x="864495" y="1016509"/>
                  </a:lnTo>
                  <a:lnTo>
                    <a:pt x="863497" y="1015631"/>
                  </a:lnTo>
                  <a:lnTo>
                    <a:pt x="863043" y="1017507"/>
                  </a:lnTo>
                  <a:lnTo>
                    <a:pt x="862559" y="1018021"/>
                  </a:lnTo>
                  <a:lnTo>
                    <a:pt x="861440" y="1018173"/>
                  </a:lnTo>
                  <a:lnTo>
                    <a:pt x="859322" y="1018052"/>
                  </a:lnTo>
                  <a:lnTo>
                    <a:pt x="857900" y="1019322"/>
                  </a:lnTo>
                  <a:lnTo>
                    <a:pt x="857205" y="1022257"/>
                  </a:lnTo>
                  <a:lnTo>
                    <a:pt x="856902" y="1028065"/>
                  </a:lnTo>
                  <a:lnTo>
                    <a:pt x="857416" y="1034448"/>
                  </a:lnTo>
                  <a:lnTo>
                    <a:pt x="859262" y="1040165"/>
                  </a:lnTo>
                  <a:lnTo>
                    <a:pt x="862166" y="1045006"/>
                  </a:lnTo>
                  <a:lnTo>
                    <a:pt x="871725" y="1055684"/>
                  </a:lnTo>
                  <a:lnTo>
                    <a:pt x="873752" y="1056562"/>
                  </a:lnTo>
                  <a:lnTo>
                    <a:pt x="874720" y="1057469"/>
                  </a:lnTo>
                  <a:lnTo>
                    <a:pt x="875355" y="1059526"/>
                  </a:lnTo>
                  <a:lnTo>
                    <a:pt x="875809" y="1061795"/>
                  </a:lnTo>
                  <a:lnTo>
                    <a:pt x="876263" y="1063247"/>
                  </a:lnTo>
                  <a:lnTo>
                    <a:pt x="876929" y="1063822"/>
                  </a:lnTo>
                  <a:lnTo>
                    <a:pt x="877745" y="1064155"/>
                  </a:lnTo>
                  <a:lnTo>
                    <a:pt x="879621" y="1064336"/>
                  </a:lnTo>
                  <a:lnTo>
                    <a:pt x="879197" y="1065546"/>
                  </a:lnTo>
                  <a:lnTo>
                    <a:pt x="879197" y="1066635"/>
                  </a:lnTo>
                  <a:lnTo>
                    <a:pt x="879621" y="1067694"/>
                  </a:lnTo>
                  <a:lnTo>
                    <a:pt x="880377" y="1068693"/>
                  </a:lnTo>
                  <a:lnTo>
                    <a:pt x="879197" y="1070175"/>
                  </a:lnTo>
                  <a:lnTo>
                    <a:pt x="879107" y="1072807"/>
                  </a:lnTo>
                  <a:lnTo>
                    <a:pt x="879742" y="1075318"/>
                  </a:lnTo>
                  <a:lnTo>
                    <a:pt x="880710" y="1076437"/>
                  </a:lnTo>
                  <a:lnTo>
                    <a:pt x="882797" y="1076921"/>
                  </a:lnTo>
                  <a:lnTo>
                    <a:pt x="887123" y="1079069"/>
                  </a:lnTo>
                  <a:lnTo>
                    <a:pt x="889271" y="1079583"/>
                  </a:lnTo>
                  <a:lnTo>
                    <a:pt x="887970" y="1076981"/>
                  </a:lnTo>
                  <a:lnTo>
                    <a:pt x="887970" y="1074713"/>
                  </a:lnTo>
                  <a:lnTo>
                    <a:pt x="888485" y="1071809"/>
                  </a:lnTo>
                  <a:lnTo>
                    <a:pt x="888485" y="1070417"/>
                  </a:lnTo>
                  <a:lnTo>
                    <a:pt x="885580" y="1068118"/>
                  </a:lnTo>
                  <a:lnTo>
                    <a:pt x="883977" y="1064306"/>
                  </a:lnTo>
                  <a:lnTo>
                    <a:pt x="882858" y="1060525"/>
                  </a:lnTo>
                  <a:lnTo>
                    <a:pt x="882162" y="1058800"/>
                  </a:lnTo>
                  <a:lnTo>
                    <a:pt x="881134" y="1058105"/>
                  </a:lnTo>
                  <a:lnTo>
                    <a:pt x="880377" y="1056471"/>
                  </a:lnTo>
                  <a:lnTo>
                    <a:pt x="879863" y="1054595"/>
                  </a:lnTo>
                  <a:lnTo>
                    <a:pt x="879682" y="1053234"/>
                  </a:lnTo>
                  <a:lnTo>
                    <a:pt x="879682" y="1052054"/>
                  </a:lnTo>
                  <a:lnTo>
                    <a:pt x="879802" y="1051207"/>
                  </a:lnTo>
                  <a:lnTo>
                    <a:pt x="880196" y="1050269"/>
                  </a:lnTo>
                  <a:lnTo>
                    <a:pt x="881073" y="1048848"/>
                  </a:lnTo>
                  <a:lnTo>
                    <a:pt x="882616" y="1046821"/>
                  </a:lnTo>
                  <a:lnTo>
                    <a:pt x="884612" y="1044824"/>
                  </a:lnTo>
                  <a:lnTo>
                    <a:pt x="886911" y="1043160"/>
                  </a:lnTo>
                  <a:lnTo>
                    <a:pt x="889332" y="1042162"/>
                  </a:lnTo>
                  <a:lnTo>
                    <a:pt x="893143" y="1042101"/>
                  </a:lnTo>
                  <a:lnTo>
                    <a:pt x="895291" y="1042979"/>
                  </a:lnTo>
                  <a:lnTo>
                    <a:pt x="897167" y="1047516"/>
                  </a:lnTo>
                  <a:lnTo>
                    <a:pt x="899315" y="1048757"/>
                  </a:lnTo>
                  <a:lnTo>
                    <a:pt x="903852" y="1049967"/>
                  </a:lnTo>
                  <a:lnTo>
                    <a:pt x="915711" y="1056804"/>
                  </a:lnTo>
                  <a:lnTo>
                    <a:pt x="919039" y="1059829"/>
                  </a:lnTo>
                  <a:lnTo>
                    <a:pt x="924877" y="1068118"/>
                  </a:lnTo>
                  <a:lnTo>
                    <a:pt x="925785" y="1068753"/>
                  </a:lnTo>
                  <a:lnTo>
                    <a:pt x="929354" y="1068662"/>
                  </a:lnTo>
                  <a:lnTo>
                    <a:pt x="930292" y="1069056"/>
                  </a:lnTo>
                  <a:lnTo>
                    <a:pt x="932833" y="1070840"/>
                  </a:lnTo>
                  <a:lnTo>
                    <a:pt x="934981" y="1071718"/>
                  </a:lnTo>
                  <a:lnTo>
                    <a:pt x="937280" y="1072020"/>
                  </a:lnTo>
                  <a:lnTo>
                    <a:pt x="938339" y="1071657"/>
                  </a:lnTo>
                  <a:lnTo>
                    <a:pt x="939005" y="1070901"/>
                  </a:lnTo>
                  <a:lnTo>
                    <a:pt x="939519" y="1070175"/>
                  </a:lnTo>
                  <a:lnTo>
                    <a:pt x="940094" y="1069812"/>
                  </a:lnTo>
                  <a:lnTo>
                    <a:pt x="940759" y="1068511"/>
                  </a:lnTo>
                  <a:lnTo>
                    <a:pt x="940245" y="1065486"/>
                  </a:lnTo>
                  <a:lnTo>
                    <a:pt x="939912" y="1062128"/>
                  </a:lnTo>
                  <a:lnTo>
                    <a:pt x="941183" y="1059799"/>
                  </a:lnTo>
                  <a:lnTo>
                    <a:pt x="939761" y="1057469"/>
                  </a:lnTo>
                  <a:lnTo>
                    <a:pt x="940245" y="1055533"/>
                  </a:lnTo>
                  <a:lnTo>
                    <a:pt x="941122" y="1053718"/>
                  </a:lnTo>
                  <a:lnTo>
                    <a:pt x="940789" y="1051661"/>
                  </a:lnTo>
                  <a:lnTo>
                    <a:pt x="939579" y="1050179"/>
                  </a:lnTo>
                  <a:lnTo>
                    <a:pt x="938279" y="1049332"/>
                  </a:lnTo>
                  <a:lnTo>
                    <a:pt x="936826" y="1048969"/>
                  </a:lnTo>
                  <a:lnTo>
                    <a:pt x="935193" y="1048878"/>
                  </a:lnTo>
                  <a:lnTo>
                    <a:pt x="934558" y="1047819"/>
                  </a:lnTo>
                  <a:lnTo>
                    <a:pt x="933771" y="1045459"/>
                  </a:lnTo>
                  <a:lnTo>
                    <a:pt x="932833" y="1041678"/>
                  </a:lnTo>
                  <a:lnTo>
                    <a:pt x="933136" y="1039923"/>
                  </a:lnTo>
                  <a:lnTo>
                    <a:pt x="933831" y="1037927"/>
                  </a:lnTo>
                  <a:lnTo>
                    <a:pt x="934618" y="1036293"/>
                  </a:lnTo>
                  <a:lnTo>
                    <a:pt x="935223" y="1035598"/>
                  </a:lnTo>
                  <a:lnTo>
                    <a:pt x="936857" y="1035991"/>
                  </a:lnTo>
                  <a:lnTo>
                    <a:pt x="937552" y="1037110"/>
                  </a:lnTo>
                  <a:lnTo>
                    <a:pt x="938036" y="1038865"/>
                  </a:lnTo>
                  <a:lnTo>
                    <a:pt x="939005" y="1041164"/>
                  </a:lnTo>
                  <a:lnTo>
                    <a:pt x="939882" y="1042283"/>
                  </a:lnTo>
                  <a:lnTo>
                    <a:pt x="941062" y="1043160"/>
                  </a:lnTo>
                  <a:lnTo>
                    <a:pt x="948564" y="1046488"/>
                  </a:lnTo>
                  <a:lnTo>
                    <a:pt x="950077" y="1046669"/>
                  </a:lnTo>
                  <a:lnTo>
                    <a:pt x="951680" y="1045913"/>
                  </a:lnTo>
                  <a:lnTo>
                    <a:pt x="954130" y="1043009"/>
                  </a:lnTo>
                  <a:lnTo>
                    <a:pt x="955613" y="1042162"/>
                  </a:lnTo>
                  <a:lnTo>
                    <a:pt x="954735" y="1048575"/>
                  </a:lnTo>
                  <a:lnTo>
                    <a:pt x="958275" y="1054021"/>
                  </a:lnTo>
                  <a:lnTo>
                    <a:pt x="963417" y="1057106"/>
                  </a:lnTo>
                  <a:lnTo>
                    <a:pt x="967350" y="1056471"/>
                  </a:lnTo>
                  <a:lnTo>
                    <a:pt x="966382" y="1053930"/>
                  </a:lnTo>
                  <a:lnTo>
                    <a:pt x="966715" y="1051177"/>
                  </a:lnTo>
                  <a:lnTo>
                    <a:pt x="967864" y="1048878"/>
                  </a:lnTo>
                  <a:lnTo>
                    <a:pt x="969347" y="1047698"/>
                  </a:lnTo>
                  <a:lnTo>
                    <a:pt x="969347" y="1048454"/>
                  </a:lnTo>
                  <a:lnTo>
                    <a:pt x="970769" y="1049029"/>
                  </a:lnTo>
                  <a:lnTo>
                    <a:pt x="970980" y="1050663"/>
                  </a:lnTo>
                  <a:lnTo>
                    <a:pt x="970587" y="1052750"/>
                  </a:lnTo>
                  <a:lnTo>
                    <a:pt x="970799" y="1054353"/>
                  </a:lnTo>
                  <a:lnTo>
                    <a:pt x="970738" y="1054505"/>
                  </a:lnTo>
                  <a:lnTo>
                    <a:pt x="970466" y="1055079"/>
                  </a:lnTo>
                  <a:lnTo>
                    <a:pt x="970194" y="1055563"/>
                  </a:lnTo>
                  <a:lnTo>
                    <a:pt x="970436" y="1055987"/>
                  </a:lnTo>
                  <a:lnTo>
                    <a:pt x="970769" y="1056229"/>
                  </a:lnTo>
                  <a:lnTo>
                    <a:pt x="971101" y="1056320"/>
                  </a:lnTo>
                  <a:lnTo>
                    <a:pt x="971495" y="1056501"/>
                  </a:lnTo>
                  <a:lnTo>
                    <a:pt x="971495" y="1057711"/>
                  </a:lnTo>
                  <a:lnTo>
                    <a:pt x="974641" y="1057893"/>
                  </a:lnTo>
                  <a:lnTo>
                    <a:pt x="979420" y="1057288"/>
                  </a:lnTo>
                  <a:lnTo>
                    <a:pt x="987316" y="1051752"/>
                  </a:lnTo>
                  <a:lnTo>
                    <a:pt x="992580" y="1049574"/>
                  </a:lnTo>
                  <a:lnTo>
                    <a:pt x="993548" y="1048817"/>
                  </a:lnTo>
                  <a:lnTo>
                    <a:pt x="990129" y="1045641"/>
                  </a:lnTo>
                  <a:lnTo>
                    <a:pt x="991521" y="1044612"/>
                  </a:lnTo>
                  <a:lnTo>
                    <a:pt x="992187" y="1044461"/>
                  </a:lnTo>
                  <a:lnTo>
                    <a:pt x="991975" y="1043826"/>
                  </a:lnTo>
                  <a:lnTo>
                    <a:pt x="991521" y="1042162"/>
                  </a:lnTo>
                  <a:lnTo>
                    <a:pt x="993064" y="1040770"/>
                  </a:lnTo>
                  <a:lnTo>
                    <a:pt x="994274" y="1038986"/>
                  </a:lnTo>
                  <a:lnTo>
                    <a:pt x="994637" y="1039469"/>
                  </a:lnTo>
                  <a:lnTo>
                    <a:pt x="994788" y="1039954"/>
                  </a:lnTo>
                  <a:lnTo>
                    <a:pt x="994939" y="1041164"/>
                  </a:lnTo>
                  <a:lnTo>
                    <a:pt x="994455" y="1040407"/>
                  </a:lnTo>
                  <a:lnTo>
                    <a:pt x="993971" y="1040165"/>
                  </a:lnTo>
                  <a:lnTo>
                    <a:pt x="992822" y="1042132"/>
                  </a:lnTo>
                  <a:lnTo>
                    <a:pt x="993336" y="1043160"/>
                  </a:lnTo>
                  <a:lnTo>
                    <a:pt x="993971" y="1043796"/>
                  </a:lnTo>
                  <a:lnTo>
                    <a:pt x="994728" y="1043917"/>
                  </a:lnTo>
                  <a:lnTo>
                    <a:pt x="995635" y="1043311"/>
                  </a:lnTo>
                  <a:lnTo>
                    <a:pt x="995272" y="1042979"/>
                  </a:lnTo>
                  <a:lnTo>
                    <a:pt x="995151" y="1042979"/>
                  </a:lnTo>
                  <a:lnTo>
                    <a:pt x="994909" y="1042101"/>
                  </a:lnTo>
                  <a:lnTo>
                    <a:pt x="1002048" y="1043130"/>
                  </a:lnTo>
                  <a:lnTo>
                    <a:pt x="1004227" y="1039742"/>
                  </a:lnTo>
                  <a:lnTo>
                    <a:pt x="1006828" y="1039349"/>
                  </a:lnTo>
                  <a:lnTo>
                    <a:pt x="1016236" y="1040196"/>
                  </a:lnTo>
                  <a:lnTo>
                    <a:pt x="1017930" y="1039288"/>
                  </a:lnTo>
                  <a:lnTo>
                    <a:pt x="1019050" y="1036687"/>
                  </a:lnTo>
                  <a:lnTo>
                    <a:pt x="1019231" y="1034085"/>
                  </a:lnTo>
                  <a:lnTo>
                    <a:pt x="1019050" y="1030636"/>
                  </a:lnTo>
                  <a:lnTo>
                    <a:pt x="1018536" y="1027460"/>
                  </a:lnTo>
                  <a:lnTo>
                    <a:pt x="1017749" y="1025736"/>
                  </a:lnTo>
                  <a:lnTo>
                    <a:pt x="1019050" y="1021319"/>
                  </a:lnTo>
                  <a:lnTo>
                    <a:pt x="1021924" y="1023709"/>
                  </a:lnTo>
                  <a:lnTo>
                    <a:pt x="1023527" y="1024283"/>
                  </a:lnTo>
                  <a:lnTo>
                    <a:pt x="1025221" y="1023527"/>
                  </a:lnTo>
                  <a:lnTo>
                    <a:pt x="1025040" y="1022831"/>
                  </a:lnTo>
                  <a:lnTo>
                    <a:pt x="1024979" y="1022680"/>
                  </a:lnTo>
                  <a:lnTo>
                    <a:pt x="1024888" y="1022680"/>
                  </a:lnTo>
                  <a:lnTo>
                    <a:pt x="1024586" y="1022287"/>
                  </a:lnTo>
                  <a:lnTo>
                    <a:pt x="1026038" y="1021772"/>
                  </a:lnTo>
                  <a:lnTo>
                    <a:pt x="1027520" y="1022257"/>
                  </a:lnTo>
                  <a:lnTo>
                    <a:pt x="1029093" y="1023073"/>
                  </a:lnTo>
                  <a:lnTo>
                    <a:pt x="1030787" y="1023497"/>
                  </a:lnTo>
                  <a:lnTo>
                    <a:pt x="1062824" y="1025705"/>
                  </a:lnTo>
                  <a:lnTo>
                    <a:pt x="1071415" y="1023557"/>
                  </a:lnTo>
                  <a:lnTo>
                    <a:pt x="1071415" y="1023557"/>
                  </a:lnTo>
                  <a:lnTo>
                    <a:pt x="1071808" y="1023467"/>
                  </a:lnTo>
                  <a:lnTo>
                    <a:pt x="1074259" y="1024525"/>
                  </a:lnTo>
                  <a:lnTo>
                    <a:pt x="1074259" y="1025705"/>
                  </a:lnTo>
                  <a:lnTo>
                    <a:pt x="1072353" y="1025010"/>
                  </a:lnTo>
                  <a:lnTo>
                    <a:pt x="1070810" y="1025584"/>
                  </a:lnTo>
                  <a:lnTo>
                    <a:pt x="1069267" y="1026492"/>
                  </a:lnTo>
                  <a:lnTo>
                    <a:pt x="1067331" y="1026794"/>
                  </a:lnTo>
                  <a:lnTo>
                    <a:pt x="1067331" y="1027883"/>
                  </a:lnTo>
                  <a:lnTo>
                    <a:pt x="1074259" y="1027883"/>
                  </a:lnTo>
                  <a:lnTo>
                    <a:pt x="1072474" y="1029033"/>
                  </a:lnTo>
                  <a:lnTo>
                    <a:pt x="1064094" y="1031362"/>
                  </a:lnTo>
                  <a:lnTo>
                    <a:pt x="1062067" y="1031241"/>
                  </a:lnTo>
                  <a:lnTo>
                    <a:pt x="1058286" y="1030061"/>
                  </a:lnTo>
                  <a:lnTo>
                    <a:pt x="1057499" y="1029456"/>
                  </a:lnTo>
                  <a:lnTo>
                    <a:pt x="1056925" y="1028791"/>
                  </a:lnTo>
                  <a:lnTo>
                    <a:pt x="1056168" y="1028216"/>
                  </a:lnTo>
                  <a:lnTo>
                    <a:pt x="1054898" y="1027853"/>
                  </a:lnTo>
                  <a:lnTo>
                    <a:pt x="1048575" y="1029608"/>
                  </a:lnTo>
                  <a:lnTo>
                    <a:pt x="1047063" y="1030697"/>
                  </a:lnTo>
                  <a:lnTo>
                    <a:pt x="1044461" y="1033329"/>
                  </a:lnTo>
                  <a:lnTo>
                    <a:pt x="1049483" y="1035718"/>
                  </a:lnTo>
                  <a:lnTo>
                    <a:pt x="1050784" y="1036626"/>
                  </a:lnTo>
                  <a:lnTo>
                    <a:pt x="1046639" y="1038713"/>
                  </a:lnTo>
                  <a:lnTo>
                    <a:pt x="1045580" y="1038834"/>
                  </a:lnTo>
                  <a:lnTo>
                    <a:pt x="1043947" y="1038229"/>
                  </a:lnTo>
                  <a:lnTo>
                    <a:pt x="1042888" y="1037050"/>
                  </a:lnTo>
                  <a:lnTo>
                    <a:pt x="1041738" y="1036202"/>
                  </a:lnTo>
                  <a:lnTo>
                    <a:pt x="1039772" y="1036626"/>
                  </a:lnTo>
                  <a:lnTo>
                    <a:pt x="1037412" y="1039258"/>
                  </a:lnTo>
                  <a:lnTo>
                    <a:pt x="1035446" y="1043644"/>
                  </a:lnTo>
                  <a:lnTo>
                    <a:pt x="1032149" y="1053022"/>
                  </a:lnTo>
                  <a:lnTo>
                    <a:pt x="1033086" y="1055745"/>
                  </a:lnTo>
                  <a:lnTo>
                    <a:pt x="1032209" y="1058800"/>
                  </a:lnTo>
                  <a:lnTo>
                    <a:pt x="1030606" y="1061432"/>
                  </a:lnTo>
                  <a:lnTo>
                    <a:pt x="1029335" y="1063005"/>
                  </a:lnTo>
                  <a:lnTo>
                    <a:pt x="1028246" y="1063701"/>
                  </a:lnTo>
                  <a:lnTo>
                    <a:pt x="1026038" y="1064488"/>
                  </a:lnTo>
                  <a:lnTo>
                    <a:pt x="1025191" y="1065183"/>
                  </a:lnTo>
                  <a:lnTo>
                    <a:pt x="1024495" y="1066575"/>
                  </a:lnTo>
                  <a:lnTo>
                    <a:pt x="1023073" y="1070568"/>
                  </a:lnTo>
                  <a:lnTo>
                    <a:pt x="1019685" y="1077798"/>
                  </a:lnTo>
                  <a:lnTo>
                    <a:pt x="1017023" y="1090262"/>
                  </a:lnTo>
                  <a:lnTo>
                    <a:pt x="1014875" y="1095798"/>
                  </a:lnTo>
                  <a:lnTo>
                    <a:pt x="1014421" y="1096161"/>
                  </a:lnTo>
                  <a:lnTo>
                    <a:pt x="1013363" y="1097310"/>
                  </a:lnTo>
                  <a:lnTo>
                    <a:pt x="1012606" y="1098490"/>
                  </a:lnTo>
                  <a:lnTo>
                    <a:pt x="1013665" y="1099579"/>
                  </a:lnTo>
                  <a:lnTo>
                    <a:pt x="1014724" y="1101878"/>
                  </a:lnTo>
                  <a:lnTo>
                    <a:pt x="1015238" y="1102423"/>
                  </a:lnTo>
                  <a:lnTo>
                    <a:pt x="1016872" y="1103240"/>
                  </a:lnTo>
                  <a:lnTo>
                    <a:pt x="1026340" y="1115522"/>
                  </a:lnTo>
                  <a:lnTo>
                    <a:pt x="1028700" y="1117488"/>
                  </a:lnTo>
                  <a:lnTo>
                    <a:pt x="1032118" y="1124113"/>
                  </a:lnTo>
                  <a:lnTo>
                    <a:pt x="1034508" y="1125202"/>
                  </a:lnTo>
                  <a:lnTo>
                    <a:pt x="1034811" y="1125505"/>
                  </a:lnTo>
                  <a:lnTo>
                    <a:pt x="1035023" y="1127138"/>
                  </a:lnTo>
                  <a:lnTo>
                    <a:pt x="1035749" y="1129377"/>
                  </a:lnTo>
                  <a:lnTo>
                    <a:pt x="1035567" y="1130799"/>
                  </a:lnTo>
                  <a:lnTo>
                    <a:pt x="1035113" y="1132069"/>
                  </a:lnTo>
                  <a:lnTo>
                    <a:pt x="1034871" y="1133310"/>
                  </a:lnTo>
                  <a:lnTo>
                    <a:pt x="1035416" y="1135851"/>
                  </a:lnTo>
                  <a:lnTo>
                    <a:pt x="1036747" y="1137968"/>
                  </a:lnTo>
                  <a:lnTo>
                    <a:pt x="1039742" y="1141417"/>
                  </a:lnTo>
                  <a:lnTo>
                    <a:pt x="1043372" y="1147377"/>
                  </a:lnTo>
                  <a:lnTo>
                    <a:pt x="1045550" y="1149404"/>
                  </a:lnTo>
                  <a:lnTo>
                    <a:pt x="1047637" y="1148556"/>
                  </a:lnTo>
                  <a:lnTo>
                    <a:pt x="1049241" y="1148254"/>
                  </a:lnTo>
                  <a:lnTo>
                    <a:pt x="1051540" y="1148466"/>
                  </a:lnTo>
                  <a:lnTo>
                    <a:pt x="1053053" y="1147740"/>
                  </a:lnTo>
                  <a:lnTo>
                    <a:pt x="1052175" y="1144654"/>
                  </a:lnTo>
                  <a:lnTo>
                    <a:pt x="1053143" y="1140661"/>
                  </a:lnTo>
                  <a:lnTo>
                    <a:pt x="1053960" y="1139027"/>
                  </a:lnTo>
                  <a:lnTo>
                    <a:pt x="1055533" y="1138180"/>
                  </a:lnTo>
                  <a:lnTo>
                    <a:pt x="1055351" y="1141387"/>
                  </a:lnTo>
                  <a:lnTo>
                    <a:pt x="1055594" y="1146741"/>
                  </a:lnTo>
                  <a:lnTo>
                    <a:pt x="1054747" y="1151339"/>
                  </a:lnTo>
                  <a:lnTo>
                    <a:pt x="1051419" y="1152308"/>
                  </a:lnTo>
                  <a:lnTo>
                    <a:pt x="1051419" y="1153366"/>
                  </a:lnTo>
                  <a:lnTo>
                    <a:pt x="1052962" y="1154576"/>
                  </a:lnTo>
                  <a:lnTo>
                    <a:pt x="1053022" y="1156845"/>
                  </a:lnTo>
                  <a:lnTo>
                    <a:pt x="1052447" y="1159538"/>
                  </a:lnTo>
                  <a:lnTo>
                    <a:pt x="1052175" y="1161958"/>
                  </a:lnTo>
                  <a:lnTo>
                    <a:pt x="1053173" y="1163077"/>
                  </a:lnTo>
                  <a:lnTo>
                    <a:pt x="1054323" y="1163743"/>
                  </a:lnTo>
                  <a:lnTo>
                    <a:pt x="1055715" y="1164106"/>
                  </a:lnTo>
                  <a:lnTo>
                    <a:pt x="1057318" y="1164196"/>
                  </a:lnTo>
                  <a:lnTo>
                    <a:pt x="1058256" y="1164983"/>
                  </a:lnTo>
                  <a:lnTo>
                    <a:pt x="1061795" y="1169581"/>
                  </a:lnTo>
                  <a:lnTo>
                    <a:pt x="1061886" y="1167796"/>
                  </a:lnTo>
                  <a:lnTo>
                    <a:pt x="1061583" y="1165649"/>
                  </a:lnTo>
                  <a:lnTo>
                    <a:pt x="1061795" y="1163863"/>
                  </a:lnTo>
                  <a:lnTo>
                    <a:pt x="1064548" y="1162472"/>
                  </a:lnTo>
                  <a:lnTo>
                    <a:pt x="1065576" y="1160959"/>
                  </a:lnTo>
                  <a:lnTo>
                    <a:pt x="1067271" y="1157662"/>
                  </a:lnTo>
                  <a:lnTo>
                    <a:pt x="1070266" y="1154123"/>
                  </a:lnTo>
                  <a:lnTo>
                    <a:pt x="1070719" y="1152822"/>
                  </a:lnTo>
                  <a:lnTo>
                    <a:pt x="1071052" y="1151067"/>
                  </a:lnTo>
                  <a:lnTo>
                    <a:pt x="1071627" y="1149010"/>
                  </a:lnTo>
                  <a:lnTo>
                    <a:pt x="1071960" y="1146802"/>
                  </a:lnTo>
                  <a:lnTo>
                    <a:pt x="1071506" y="1144624"/>
                  </a:lnTo>
                  <a:lnTo>
                    <a:pt x="1072867" y="1143988"/>
                  </a:lnTo>
                  <a:lnTo>
                    <a:pt x="1074017" y="1144684"/>
                  </a:lnTo>
                  <a:lnTo>
                    <a:pt x="1074924" y="1146197"/>
                  </a:lnTo>
                  <a:lnTo>
                    <a:pt x="1075650" y="1148012"/>
                  </a:lnTo>
                  <a:lnTo>
                    <a:pt x="1074743" y="1149615"/>
                  </a:lnTo>
                  <a:lnTo>
                    <a:pt x="1075348" y="1152126"/>
                  </a:lnTo>
                  <a:lnTo>
                    <a:pt x="1076709" y="1154425"/>
                  </a:lnTo>
                  <a:lnTo>
                    <a:pt x="1078070" y="1155454"/>
                  </a:lnTo>
                  <a:lnTo>
                    <a:pt x="1082578" y="1155151"/>
                  </a:lnTo>
                  <a:lnTo>
                    <a:pt x="1084484" y="1154062"/>
                  </a:lnTo>
                  <a:lnTo>
                    <a:pt x="1085270" y="1151703"/>
                  </a:lnTo>
                  <a:lnTo>
                    <a:pt x="1086087" y="1150008"/>
                  </a:lnTo>
                  <a:lnTo>
                    <a:pt x="1087932" y="1148647"/>
                  </a:lnTo>
                  <a:lnTo>
                    <a:pt x="1091532" y="1146832"/>
                  </a:lnTo>
                  <a:lnTo>
                    <a:pt x="1094527" y="1144624"/>
                  </a:lnTo>
                  <a:lnTo>
                    <a:pt x="1095949" y="1142718"/>
                  </a:lnTo>
                  <a:lnTo>
                    <a:pt x="1096342" y="1140328"/>
                  </a:lnTo>
                  <a:lnTo>
                    <a:pt x="1097038" y="1140328"/>
                  </a:lnTo>
                  <a:lnTo>
                    <a:pt x="1097099" y="1143353"/>
                  </a:lnTo>
                  <a:lnTo>
                    <a:pt x="1095586" y="1146136"/>
                  </a:lnTo>
                  <a:lnTo>
                    <a:pt x="1093317" y="1148163"/>
                  </a:lnTo>
                  <a:lnTo>
                    <a:pt x="1091169" y="1148950"/>
                  </a:lnTo>
                  <a:lnTo>
                    <a:pt x="1091502" y="1150432"/>
                  </a:lnTo>
                  <a:lnTo>
                    <a:pt x="1092954" y="1153124"/>
                  </a:lnTo>
                  <a:lnTo>
                    <a:pt x="1095314" y="1157511"/>
                  </a:lnTo>
                  <a:lnTo>
                    <a:pt x="1097008" y="1159810"/>
                  </a:lnTo>
                  <a:lnTo>
                    <a:pt x="1095072" y="1163985"/>
                  </a:lnTo>
                  <a:lnTo>
                    <a:pt x="1093922" y="1165558"/>
                  </a:lnTo>
                  <a:lnTo>
                    <a:pt x="1090685" y="1166768"/>
                  </a:lnTo>
                  <a:lnTo>
                    <a:pt x="1089294" y="1168250"/>
                  </a:lnTo>
                  <a:lnTo>
                    <a:pt x="1087358" y="1171638"/>
                  </a:lnTo>
                  <a:lnTo>
                    <a:pt x="1086480" y="1172455"/>
                  </a:lnTo>
                  <a:lnTo>
                    <a:pt x="1085421" y="1173242"/>
                  </a:lnTo>
                  <a:lnTo>
                    <a:pt x="1084726" y="1174149"/>
                  </a:lnTo>
                  <a:lnTo>
                    <a:pt x="1084937" y="1175359"/>
                  </a:lnTo>
                  <a:lnTo>
                    <a:pt x="1086511" y="1178747"/>
                  </a:lnTo>
                  <a:lnTo>
                    <a:pt x="1086995" y="1179141"/>
                  </a:lnTo>
                  <a:lnTo>
                    <a:pt x="1090080" y="1178838"/>
                  </a:lnTo>
                  <a:lnTo>
                    <a:pt x="1091835" y="1178203"/>
                  </a:lnTo>
                  <a:lnTo>
                    <a:pt x="1093589" y="1176993"/>
                  </a:lnTo>
                  <a:lnTo>
                    <a:pt x="1093136" y="1179534"/>
                  </a:lnTo>
                  <a:lnTo>
                    <a:pt x="1089626" y="1182831"/>
                  </a:lnTo>
                  <a:lnTo>
                    <a:pt x="1090746" y="1184586"/>
                  </a:lnTo>
                  <a:lnTo>
                    <a:pt x="1090020" y="1184919"/>
                  </a:lnTo>
                  <a:lnTo>
                    <a:pt x="1089112" y="1185524"/>
                  </a:lnTo>
                  <a:lnTo>
                    <a:pt x="1088326" y="1186340"/>
                  </a:lnTo>
                  <a:lnTo>
                    <a:pt x="1087993" y="1187278"/>
                  </a:lnTo>
                  <a:lnTo>
                    <a:pt x="1087690" y="1187974"/>
                  </a:lnTo>
                  <a:lnTo>
                    <a:pt x="1086934" y="1187702"/>
                  </a:lnTo>
                  <a:lnTo>
                    <a:pt x="1085603" y="1186734"/>
                  </a:lnTo>
                  <a:lnTo>
                    <a:pt x="1083969" y="1186915"/>
                  </a:lnTo>
                  <a:lnTo>
                    <a:pt x="1074712" y="1190152"/>
                  </a:lnTo>
                  <a:lnTo>
                    <a:pt x="1072383" y="1191483"/>
                  </a:lnTo>
                  <a:lnTo>
                    <a:pt x="1070780" y="1194206"/>
                  </a:lnTo>
                  <a:lnTo>
                    <a:pt x="1071960" y="1198532"/>
                  </a:lnTo>
                  <a:lnTo>
                    <a:pt x="1070810" y="1210360"/>
                  </a:lnTo>
                  <a:lnTo>
                    <a:pt x="1071536" y="1215594"/>
                  </a:lnTo>
                  <a:lnTo>
                    <a:pt x="1074319" y="1219315"/>
                  </a:lnTo>
                  <a:lnTo>
                    <a:pt x="1078010" y="1220827"/>
                  </a:lnTo>
                  <a:lnTo>
                    <a:pt x="1086662" y="1220918"/>
                  </a:lnTo>
                  <a:lnTo>
                    <a:pt x="1085421" y="1222521"/>
                  </a:lnTo>
                  <a:lnTo>
                    <a:pt x="1081368" y="1225183"/>
                  </a:lnTo>
                  <a:lnTo>
                    <a:pt x="1080490" y="1226817"/>
                  </a:lnTo>
                  <a:lnTo>
                    <a:pt x="1079643" y="1227361"/>
                  </a:lnTo>
                  <a:lnTo>
                    <a:pt x="1074289" y="1233805"/>
                  </a:lnTo>
                  <a:lnTo>
                    <a:pt x="1067664" y="1243939"/>
                  </a:lnTo>
                  <a:lnTo>
                    <a:pt x="1066484" y="1246389"/>
                  </a:lnTo>
                  <a:lnTo>
                    <a:pt x="1066242" y="1248567"/>
                  </a:lnTo>
                  <a:lnTo>
                    <a:pt x="1066787" y="1250716"/>
                  </a:lnTo>
                  <a:lnTo>
                    <a:pt x="1078433" y="1274221"/>
                  </a:lnTo>
                  <a:lnTo>
                    <a:pt x="1080823" y="1277669"/>
                  </a:lnTo>
                  <a:lnTo>
                    <a:pt x="1084030" y="1280846"/>
                  </a:lnTo>
                  <a:lnTo>
                    <a:pt x="1087902" y="1283387"/>
                  </a:lnTo>
                  <a:lnTo>
                    <a:pt x="1092198" y="1284869"/>
                  </a:lnTo>
                  <a:lnTo>
                    <a:pt x="1095556" y="1285202"/>
                  </a:lnTo>
                  <a:lnTo>
                    <a:pt x="1096614" y="1285323"/>
                  </a:lnTo>
                  <a:lnTo>
                    <a:pt x="1098369" y="1284506"/>
                  </a:lnTo>
                  <a:lnTo>
                    <a:pt x="1099065" y="1282237"/>
                  </a:lnTo>
                  <a:lnTo>
                    <a:pt x="1100184" y="1281602"/>
                  </a:lnTo>
                  <a:lnTo>
                    <a:pt x="1105236" y="1280483"/>
                  </a:lnTo>
                  <a:lnTo>
                    <a:pt x="1106688" y="1280574"/>
                  </a:lnTo>
                  <a:lnTo>
                    <a:pt x="1105811" y="1281451"/>
                  </a:lnTo>
                  <a:lnTo>
                    <a:pt x="1104934" y="1281965"/>
                  </a:lnTo>
                  <a:lnTo>
                    <a:pt x="1104056" y="1282086"/>
                  </a:lnTo>
                  <a:lnTo>
                    <a:pt x="1103209" y="1281693"/>
                  </a:lnTo>
                  <a:lnTo>
                    <a:pt x="1102332" y="1282600"/>
                  </a:lnTo>
                  <a:lnTo>
                    <a:pt x="1101545" y="1283659"/>
                  </a:lnTo>
                  <a:lnTo>
                    <a:pt x="1101273" y="1285051"/>
                  </a:lnTo>
                  <a:lnTo>
                    <a:pt x="1101818" y="1287048"/>
                  </a:lnTo>
                  <a:lnTo>
                    <a:pt x="1099065" y="1288560"/>
                  </a:lnTo>
                  <a:lnTo>
                    <a:pt x="1097643" y="1288923"/>
                  </a:lnTo>
                  <a:lnTo>
                    <a:pt x="1095979" y="1289044"/>
                  </a:lnTo>
                  <a:lnTo>
                    <a:pt x="1095253" y="1288863"/>
                  </a:lnTo>
                  <a:lnTo>
                    <a:pt x="1093710" y="1288137"/>
                  </a:lnTo>
                  <a:lnTo>
                    <a:pt x="1092803" y="1288076"/>
                  </a:lnTo>
                  <a:lnTo>
                    <a:pt x="1092046" y="1288500"/>
                  </a:lnTo>
                  <a:lnTo>
                    <a:pt x="1091714" y="1289195"/>
                  </a:lnTo>
                  <a:lnTo>
                    <a:pt x="1091593" y="1289861"/>
                  </a:lnTo>
                  <a:lnTo>
                    <a:pt x="1091502" y="1290193"/>
                  </a:lnTo>
                  <a:lnTo>
                    <a:pt x="1088386" y="1290315"/>
                  </a:lnTo>
                  <a:lnTo>
                    <a:pt x="1085452" y="1289104"/>
                  </a:lnTo>
                  <a:lnTo>
                    <a:pt x="1082971" y="1287078"/>
                  </a:lnTo>
                  <a:lnTo>
                    <a:pt x="1081186" y="1284839"/>
                  </a:lnTo>
                  <a:lnTo>
                    <a:pt x="1075227" y="1270469"/>
                  </a:lnTo>
                  <a:lnTo>
                    <a:pt x="1072897" y="1267838"/>
                  </a:lnTo>
                  <a:lnTo>
                    <a:pt x="1070629" y="1267687"/>
                  </a:lnTo>
                  <a:lnTo>
                    <a:pt x="1066998" y="1270379"/>
                  </a:lnTo>
                  <a:lnTo>
                    <a:pt x="1064941" y="1271105"/>
                  </a:lnTo>
                  <a:lnTo>
                    <a:pt x="1060645" y="1271710"/>
                  </a:lnTo>
                  <a:lnTo>
                    <a:pt x="1058800" y="1272648"/>
                  </a:lnTo>
                  <a:lnTo>
                    <a:pt x="1057711" y="1274191"/>
                  </a:lnTo>
                  <a:lnTo>
                    <a:pt x="1057832" y="1276580"/>
                  </a:lnTo>
                  <a:lnTo>
                    <a:pt x="1059193" y="1278910"/>
                  </a:lnTo>
                  <a:lnTo>
                    <a:pt x="1062824" y="1283326"/>
                  </a:lnTo>
                  <a:lnTo>
                    <a:pt x="1065274" y="1288106"/>
                  </a:lnTo>
                  <a:lnTo>
                    <a:pt x="1066817" y="1290526"/>
                  </a:lnTo>
                  <a:lnTo>
                    <a:pt x="1067966" y="1292342"/>
                  </a:lnTo>
                  <a:lnTo>
                    <a:pt x="1067966" y="1298029"/>
                  </a:lnTo>
                  <a:lnTo>
                    <a:pt x="1067634" y="1298634"/>
                  </a:lnTo>
                  <a:lnTo>
                    <a:pt x="1066877" y="1297938"/>
                  </a:lnTo>
                  <a:lnTo>
                    <a:pt x="1065637" y="1296002"/>
                  </a:lnTo>
                  <a:lnTo>
                    <a:pt x="1064155" y="1294398"/>
                  </a:lnTo>
                  <a:lnTo>
                    <a:pt x="1051207" y="1286624"/>
                  </a:lnTo>
                  <a:lnTo>
                    <a:pt x="1050057" y="1285384"/>
                  </a:lnTo>
                  <a:lnTo>
                    <a:pt x="1049120" y="1283841"/>
                  </a:lnTo>
                  <a:lnTo>
                    <a:pt x="1047002" y="1282298"/>
                  </a:lnTo>
                  <a:lnTo>
                    <a:pt x="1043191" y="1280574"/>
                  </a:lnTo>
                  <a:lnTo>
                    <a:pt x="1038986" y="1280694"/>
                  </a:lnTo>
                  <a:lnTo>
                    <a:pt x="1019836" y="1289437"/>
                  </a:lnTo>
                  <a:lnTo>
                    <a:pt x="1015813" y="1290284"/>
                  </a:lnTo>
                  <a:lnTo>
                    <a:pt x="1004348" y="1290587"/>
                  </a:lnTo>
                  <a:lnTo>
                    <a:pt x="1002775" y="1289679"/>
                  </a:lnTo>
                  <a:lnTo>
                    <a:pt x="1001141" y="1287380"/>
                  </a:lnTo>
                  <a:lnTo>
                    <a:pt x="999054" y="1285625"/>
                  </a:lnTo>
                  <a:lnTo>
                    <a:pt x="996876" y="1284990"/>
                  </a:lnTo>
                  <a:lnTo>
                    <a:pt x="994909" y="1285958"/>
                  </a:lnTo>
                  <a:lnTo>
                    <a:pt x="993608" y="1284506"/>
                  </a:lnTo>
                  <a:lnTo>
                    <a:pt x="991854" y="1283538"/>
                  </a:lnTo>
                  <a:lnTo>
                    <a:pt x="989918" y="1282994"/>
                  </a:lnTo>
                  <a:lnTo>
                    <a:pt x="988072" y="1282782"/>
                  </a:lnTo>
                  <a:lnTo>
                    <a:pt x="988829" y="1284627"/>
                  </a:lnTo>
                  <a:lnTo>
                    <a:pt x="991793" y="1287441"/>
                  </a:lnTo>
                  <a:lnTo>
                    <a:pt x="992822" y="1290284"/>
                  </a:lnTo>
                  <a:lnTo>
                    <a:pt x="989403" y="1290284"/>
                  </a:lnTo>
                  <a:lnTo>
                    <a:pt x="978392" y="1294520"/>
                  </a:lnTo>
                  <a:lnTo>
                    <a:pt x="974943" y="1297182"/>
                  </a:lnTo>
                  <a:lnTo>
                    <a:pt x="972584" y="1297756"/>
                  </a:lnTo>
                  <a:lnTo>
                    <a:pt x="970406" y="1298725"/>
                  </a:lnTo>
                  <a:lnTo>
                    <a:pt x="969105" y="1299541"/>
                  </a:lnTo>
                  <a:lnTo>
                    <a:pt x="968348" y="1299299"/>
                  </a:lnTo>
                  <a:lnTo>
                    <a:pt x="967562" y="1298876"/>
                  </a:lnTo>
                  <a:lnTo>
                    <a:pt x="966715" y="1298634"/>
                  </a:lnTo>
                  <a:lnTo>
                    <a:pt x="963538" y="1298906"/>
                  </a:lnTo>
                  <a:lnTo>
                    <a:pt x="960604" y="1299723"/>
                  </a:lnTo>
                  <a:lnTo>
                    <a:pt x="957942" y="1301326"/>
                  </a:lnTo>
                  <a:lnTo>
                    <a:pt x="955673" y="1303897"/>
                  </a:lnTo>
                  <a:lnTo>
                    <a:pt x="953586" y="1307890"/>
                  </a:lnTo>
                  <a:lnTo>
                    <a:pt x="952255" y="1309615"/>
                  </a:lnTo>
                  <a:lnTo>
                    <a:pt x="950470" y="1310311"/>
                  </a:lnTo>
                  <a:lnTo>
                    <a:pt x="949350" y="1311067"/>
                  </a:lnTo>
                  <a:lnTo>
                    <a:pt x="945327" y="1315544"/>
                  </a:lnTo>
                  <a:lnTo>
                    <a:pt x="945206" y="1316210"/>
                  </a:lnTo>
                  <a:lnTo>
                    <a:pt x="944450" y="1317995"/>
                  </a:lnTo>
                  <a:lnTo>
                    <a:pt x="943603" y="1319205"/>
                  </a:lnTo>
                  <a:lnTo>
                    <a:pt x="943179" y="1318237"/>
                  </a:lnTo>
                  <a:lnTo>
                    <a:pt x="942877" y="1317178"/>
                  </a:lnTo>
                  <a:lnTo>
                    <a:pt x="942211" y="1316845"/>
                  </a:lnTo>
                  <a:lnTo>
                    <a:pt x="941546" y="1317480"/>
                  </a:lnTo>
                  <a:lnTo>
                    <a:pt x="941243" y="1319265"/>
                  </a:lnTo>
                  <a:lnTo>
                    <a:pt x="941062" y="1325648"/>
                  </a:lnTo>
                  <a:lnTo>
                    <a:pt x="940638" y="1328431"/>
                  </a:lnTo>
                  <a:lnTo>
                    <a:pt x="939821" y="1330428"/>
                  </a:lnTo>
                  <a:lnTo>
                    <a:pt x="933226" y="1334391"/>
                  </a:lnTo>
                  <a:lnTo>
                    <a:pt x="931230" y="1337537"/>
                  </a:lnTo>
                  <a:lnTo>
                    <a:pt x="923123" y="1343345"/>
                  </a:lnTo>
                  <a:lnTo>
                    <a:pt x="921156" y="1344313"/>
                  </a:lnTo>
                  <a:lnTo>
                    <a:pt x="919281" y="1344828"/>
                  </a:lnTo>
                  <a:lnTo>
                    <a:pt x="917375" y="1344979"/>
                  </a:lnTo>
                  <a:lnTo>
                    <a:pt x="915862" y="1345765"/>
                  </a:lnTo>
                  <a:lnTo>
                    <a:pt x="901886" y="1360770"/>
                  </a:lnTo>
                  <a:lnTo>
                    <a:pt x="900434" y="1363251"/>
                  </a:lnTo>
                  <a:lnTo>
                    <a:pt x="899799" y="1364007"/>
                  </a:lnTo>
                  <a:lnTo>
                    <a:pt x="900192" y="1364945"/>
                  </a:lnTo>
                  <a:lnTo>
                    <a:pt x="900101" y="1365610"/>
                  </a:lnTo>
                  <a:lnTo>
                    <a:pt x="899073" y="1367032"/>
                  </a:lnTo>
                  <a:lnTo>
                    <a:pt x="900615" y="1367970"/>
                  </a:lnTo>
                  <a:lnTo>
                    <a:pt x="902037" y="1367365"/>
                  </a:lnTo>
                  <a:lnTo>
                    <a:pt x="903429" y="1365852"/>
                  </a:lnTo>
                  <a:lnTo>
                    <a:pt x="904911" y="1364975"/>
                  </a:lnTo>
                  <a:lnTo>
                    <a:pt x="910538" y="1365520"/>
                  </a:lnTo>
                  <a:lnTo>
                    <a:pt x="912777" y="1364975"/>
                  </a:lnTo>
                  <a:lnTo>
                    <a:pt x="913503" y="1364461"/>
                  </a:lnTo>
                  <a:lnTo>
                    <a:pt x="914077" y="1363765"/>
                  </a:lnTo>
                  <a:lnTo>
                    <a:pt x="914803" y="1363160"/>
                  </a:lnTo>
                  <a:lnTo>
                    <a:pt x="915983" y="1362888"/>
                  </a:lnTo>
                  <a:lnTo>
                    <a:pt x="917163" y="1363220"/>
                  </a:lnTo>
                  <a:lnTo>
                    <a:pt x="919099" y="1364642"/>
                  </a:lnTo>
                  <a:lnTo>
                    <a:pt x="921247" y="1365338"/>
                  </a:lnTo>
                  <a:lnTo>
                    <a:pt x="922638" y="1366911"/>
                  </a:lnTo>
                  <a:lnTo>
                    <a:pt x="923849" y="1367062"/>
                  </a:lnTo>
                  <a:lnTo>
                    <a:pt x="924575" y="1366790"/>
                  </a:lnTo>
                  <a:lnTo>
                    <a:pt x="925301" y="1366246"/>
                  </a:lnTo>
                  <a:lnTo>
                    <a:pt x="926601" y="1364975"/>
                  </a:lnTo>
                  <a:lnTo>
                    <a:pt x="925361" y="1363311"/>
                  </a:lnTo>
                  <a:lnTo>
                    <a:pt x="925361" y="1361345"/>
                  </a:lnTo>
                  <a:lnTo>
                    <a:pt x="926359" y="1359621"/>
                  </a:lnTo>
                  <a:lnTo>
                    <a:pt x="927963" y="1358713"/>
                  </a:lnTo>
                  <a:lnTo>
                    <a:pt x="927721" y="1358078"/>
                  </a:lnTo>
                  <a:lnTo>
                    <a:pt x="927328" y="1357685"/>
                  </a:lnTo>
                  <a:lnTo>
                    <a:pt x="930897" y="1353873"/>
                  </a:lnTo>
                  <a:lnTo>
                    <a:pt x="932803" y="1352330"/>
                  </a:lnTo>
                  <a:lnTo>
                    <a:pt x="934890" y="1351332"/>
                  </a:lnTo>
                  <a:lnTo>
                    <a:pt x="941848" y="1351422"/>
                  </a:lnTo>
                  <a:lnTo>
                    <a:pt x="943845" y="1350303"/>
                  </a:lnTo>
                  <a:lnTo>
                    <a:pt x="945509" y="1349335"/>
                  </a:lnTo>
                  <a:lnTo>
                    <a:pt x="952769" y="1347248"/>
                  </a:lnTo>
                  <a:lnTo>
                    <a:pt x="958486" y="1348125"/>
                  </a:lnTo>
                  <a:lnTo>
                    <a:pt x="961239" y="1347944"/>
                  </a:lnTo>
                  <a:lnTo>
                    <a:pt x="963841" y="1346128"/>
                  </a:lnTo>
                  <a:lnTo>
                    <a:pt x="964627" y="1347823"/>
                  </a:lnTo>
                  <a:lnTo>
                    <a:pt x="965656" y="1348064"/>
                  </a:lnTo>
                  <a:lnTo>
                    <a:pt x="966806" y="1347338"/>
                  </a:lnTo>
                  <a:lnTo>
                    <a:pt x="967955" y="1346128"/>
                  </a:lnTo>
                  <a:lnTo>
                    <a:pt x="968258" y="1346734"/>
                  </a:lnTo>
                  <a:lnTo>
                    <a:pt x="968590" y="1347006"/>
                  </a:lnTo>
                  <a:lnTo>
                    <a:pt x="969347" y="1347278"/>
                  </a:lnTo>
                  <a:lnTo>
                    <a:pt x="963357" y="1351241"/>
                  </a:lnTo>
                  <a:lnTo>
                    <a:pt x="962722" y="1351876"/>
                  </a:lnTo>
                  <a:lnTo>
                    <a:pt x="962510" y="1352905"/>
                  </a:lnTo>
                  <a:lnTo>
                    <a:pt x="962510" y="1355083"/>
                  </a:lnTo>
                  <a:lnTo>
                    <a:pt x="962933" y="1356081"/>
                  </a:lnTo>
                  <a:lnTo>
                    <a:pt x="963720" y="1358471"/>
                  </a:lnTo>
                  <a:lnTo>
                    <a:pt x="963962" y="1360830"/>
                  </a:lnTo>
                  <a:lnTo>
                    <a:pt x="962812" y="1361920"/>
                  </a:lnTo>
                  <a:lnTo>
                    <a:pt x="961058" y="1362434"/>
                  </a:lnTo>
                  <a:lnTo>
                    <a:pt x="960786" y="1363674"/>
                  </a:lnTo>
                  <a:lnTo>
                    <a:pt x="961270" y="1365096"/>
                  </a:lnTo>
                  <a:lnTo>
                    <a:pt x="963206" y="1368817"/>
                  </a:lnTo>
                  <a:lnTo>
                    <a:pt x="970890" y="1377469"/>
                  </a:lnTo>
                  <a:lnTo>
                    <a:pt x="972584" y="1377106"/>
                  </a:lnTo>
                  <a:lnTo>
                    <a:pt x="974308" y="1375835"/>
                  </a:lnTo>
                  <a:lnTo>
                    <a:pt x="976970" y="1375533"/>
                  </a:lnTo>
                  <a:lnTo>
                    <a:pt x="975669" y="1377076"/>
                  </a:lnTo>
                  <a:lnTo>
                    <a:pt x="971555" y="1380040"/>
                  </a:lnTo>
                  <a:lnTo>
                    <a:pt x="970466" y="1380403"/>
                  </a:lnTo>
                  <a:lnTo>
                    <a:pt x="970073" y="1380645"/>
                  </a:lnTo>
                  <a:lnTo>
                    <a:pt x="969831" y="1381280"/>
                  </a:lnTo>
                  <a:lnTo>
                    <a:pt x="969347" y="1383338"/>
                  </a:lnTo>
                  <a:lnTo>
                    <a:pt x="968984" y="1383761"/>
                  </a:lnTo>
                  <a:lnTo>
                    <a:pt x="967199" y="1384911"/>
                  </a:lnTo>
                  <a:lnTo>
                    <a:pt x="965081" y="1387845"/>
                  </a:lnTo>
                  <a:lnTo>
                    <a:pt x="963448" y="1391627"/>
                  </a:lnTo>
                  <a:lnTo>
                    <a:pt x="963115" y="1395408"/>
                  </a:lnTo>
                  <a:lnTo>
                    <a:pt x="964264" y="1397737"/>
                  </a:lnTo>
                  <a:lnTo>
                    <a:pt x="968863" y="1403606"/>
                  </a:lnTo>
                  <a:lnTo>
                    <a:pt x="970406" y="1404756"/>
                  </a:lnTo>
                  <a:lnTo>
                    <a:pt x="973158" y="1404302"/>
                  </a:lnTo>
                  <a:lnTo>
                    <a:pt x="978331" y="1402608"/>
                  </a:lnTo>
                  <a:lnTo>
                    <a:pt x="981054" y="1402608"/>
                  </a:lnTo>
                  <a:lnTo>
                    <a:pt x="981054" y="1403727"/>
                  </a:lnTo>
                  <a:lnTo>
                    <a:pt x="975881" y="1407267"/>
                  </a:lnTo>
                  <a:lnTo>
                    <a:pt x="974126" y="1407872"/>
                  </a:lnTo>
                  <a:lnTo>
                    <a:pt x="973068" y="1407660"/>
                  </a:lnTo>
                  <a:lnTo>
                    <a:pt x="970859" y="1406571"/>
                  </a:lnTo>
                  <a:lnTo>
                    <a:pt x="970043" y="1406722"/>
                  </a:lnTo>
                  <a:lnTo>
                    <a:pt x="969437" y="1408023"/>
                  </a:lnTo>
                  <a:lnTo>
                    <a:pt x="969286" y="1409808"/>
                  </a:lnTo>
                  <a:lnTo>
                    <a:pt x="969498" y="1411653"/>
                  </a:lnTo>
                  <a:lnTo>
                    <a:pt x="970043" y="1413044"/>
                  </a:lnTo>
                  <a:lnTo>
                    <a:pt x="968893" y="1415193"/>
                  </a:lnTo>
                  <a:lnTo>
                    <a:pt x="967804" y="1418338"/>
                  </a:lnTo>
                  <a:lnTo>
                    <a:pt x="966957" y="1421787"/>
                  </a:lnTo>
                  <a:lnTo>
                    <a:pt x="966049" y="1428200"/>
                  </a:lnTo>
                  <a:lnTo>
                    <a:pt x="964718" y="1431619"/>
                  </a:lnTo>
                  <a:lnTo>
                    <a:pt x="961754" y="1436913"/>
                  </a:lnTo>
                  <a:lnTo>
                    <a:pt x="955915" y="1444597"/>
                  </a:lnTo>
                  <a:lnTo>
                    <a:pt x="943966" y="1454096"/>
                  </a:lnTo>
                  <a:lnTo>
                    <a:pt x="942120" y="1454610"/>
                  </a:lnTo>
                  <a:lnTo>
                    <a:pt x="940063" y="1454701"/>
                  </a:lnTo>
                  <a:lnTo>
                    <a:pt x="938399" y="1455124"/>
                  </a:lnTo>
                  <a:lnTo>
                    <a:pt x="936947" y="1456002"/>
                  </a:lnTo>
                  <a:lnTo>
                    <a:pt x="933953" y="1459299"/>
                  </a:lnTo>
                  <a:lnTo>
                    <a:pt x="931986" y="1460993"/>
                  </a:lnTo>
                  <a:lnTo>
                    <a:pt x="929990" y="1462264"/>
                  </a:lnTo>
                  <a:lnTo>
                    <a:pt x="927025" y="1463111"/>
                  </a:lnTo>
                  <a:lnTo>
                    <a:pt x="926359" y="1464018"/>
                  </a:lnTo>
                  <a:lnTo>
                    <a:pt x="925875" y="1465047"/>
                  </a:lnTo>
                  <a:lnTo>
                    <a:pt x="925210" y="1465803"/>
                  </a:lnTo>
                  <a:lnTo>
                    <a:pt x="924060" y="1466196"/>
                  </a:lnTo>
                  <a:lnTo>
                    <a:pt x="911627" y="1465773"/>
                  </a:lnTo>
                  <a:lnTo>
                    <a:pt x="907785" y="1467497"/>
                  </a:lnTo>
                  <a:lnTo>
                    <a:pt x="907997" y="1471944"/>
                  </a:lnTo>
                  <a:lnTo>
                    <a:pt x="904669" y="1469524"/>
                  </a:lnTo>
                  <a:lnTo>
                    <a:pt x="903278" y="1469524"/>
                  </a:lnTo>
                  <a:lnTo>
                    <a:pt x="901432" y="1471430"/>
                  </a:lnTo>
                  <a:lnTo>
                    <a:pt x="898982" y="1475181"/>
                  </a:lnTo>
                  <a:lnTo>
                    <a:pt x="897530" y="1476845"/>
                  </a:lnTo>
                  <a:lnTo>
                    <a:pt x="895594" y="1478115"/>
                  </a:lnTo>
                  <a:lnTo>
                    <a:pt x="892236" y="1478630"/>
                  </a:lnTo>
                  <a:lnTo>
                    <a:pt x="891449" y="1479235"/>
                  </a:lnTo>
                  <a:lnTo>
                    <a:pt x="891449" y="1480566"/>
                  </a:lnTo>
                  <a:lnTo>
                    <a:pt x="891873" y="1482260"/>
                  </a:lnTo>
                  <a:lnTo>
                    <a:pt x="892024" y="1483712"/>
                  </a:lnTo>
                  <a:lnTo>
                    <a:pt x="891116" y="1484347"/>
                  </a:lnTo>
                  <a:lnTo>
                    <a:pt x="888908" y="1484015"/>
                  </a:lnTo>
                  <a:lnTo>
                    <a:pt x="885036" y="1482592"/>
                  </a:lnTo>
                  <a:lnTo>
                    <a:pt x="883130" y="1482290"/>
                  </a:lnTo>
                  <a:lnTo>
                    <a:pt x="883826" y="1484347"/>
                  </a:lnTo>
                  <a:lnTo>
                    <a:pt x="880922" y="1485467"/>
                  </a:lnTo>
                  <a:lnTo>
                    <a:pt x="878986" y="1485467"/>
                  </a:lnTo>
                  <a:lnTo>
                    <a:pt x="873631" y="1482774"/>
                  </a:lnTo>
                  <a:lnTo>
                    <a:pt x="872451" y="1482472"/>
                  </a:lnTo>
                  <a:lnTo>
                    <a:pt x="869729" y="1482320"/>
                  </a:lnTo>
                  <a:lnTo>
                    <a:pt x="868065" y="1482623"/>
                  </a:lnTo>
                  <a:lnTo>
                    <a:pt x="866976" y="1483409"/>
                  </a:lnTo>
                  <a:lnTo>
                    <a:pt x="866825" y="1484408"/>
                  </a:lnTo>
                  <a:lnTo>
                    <a:pt x="868035" y="1485376"/>
                  </a:lnTo>
                  <a:lnTo>
                    <a:pt x="868035" y="1486314"/>
                  </a:lnTo>
                  <a:lnTo>
                    <a:pt x="866613" y="1486314"/>
                  </a:lnTo>
                  <a:lnTo>
                    <a:pt x="866310" y="1490186"/>
                  </a:lnTo>
                  <a:lnTo>
                    <a:pt x="863134" y="1492727"/>
                  </a:lnTo>
                  <a:lnTo>
                    <a:pt x="859020" y="1494149"/>
                  </a:lnTo>
                  <a:lnTo>
                    <a:pt x="855934" y="1494572"/>
                  </a:lnTo>
                  <a:lnTo>
                    <a:pt x="854633" y="1495207"/>
                  </a:lnTo>
                  <a:lnTo>
                    <a:pt x="851608" y="1498082"/>
                  </a:lnTo>
                  <a:lnTo>
                    <a:pt x="849733" y="1498747"/>
                  </a:lnTo>
                  <a:lnTo>
                    <a:pt x="846102" y="1498989"/>
                  </a:lnTo>
                  <a:lnTo>
                    <a:pt x="845134" y="1499897"/>
                  </a:lnTo>
                  <a:lnTo>
                    <a:pt x="845921" y="1501802"/>
                  </a:lnTo>
                  <a:lnTo>
                    <a:pt x="845921" y="1502740"/>
                  </a:lnTo>
                  <a:lnTo>
                    <a:pt x="844953" y="1503285"/>
                  </a:lnTo>
                  <a:lnTo>
                    <a:pt x="844711" y="1503739"/>
                  </a:lnTo>
                  <a:lnTo>
                    <a:pt x="844892" y="1504222"/>
                  </a:lnTo>
                  <a:lnTo>
                    <a:pt x="845225" y="1504888"/>
                  </a:lnTo>
                  <a:lnTo>
                    <a:pt x="845225" y="1506007"/>
                  </a:lnTo>
                  <a:lnTo>
                    <a:pt x="844529" y="1506370"/>
                  </a:lnTo>
                  <a:lnTo>
                    <a:pt x="843864" y="1506915"/>
                  </a:lnTo>
                  <a:lnTo>
                    <a:pt x="845830" y="1506915"/>
                  </a:lnTo>
                  <a:lnTo>
                    <a:pt x="851427" y="1505856"/>
                  </a:lnTo>
                  <a:lnTo>
                    <a:pt x="852848" y="1504858"/>
                  </a:lnTo>
                  <a:lnTo>
                    <a:pt x="854633" y="1505977"/>
                  </a:lnTo>
                  <a:lnTo>
                    <a:pt x="858596" y="1506491"/>
                  </a:lnTo>
                  <a:lnTo>
                    <a:pt x="860411" y="1507913"/>
                  </a:lnTo>
                  <a:lnTo>
                    <a:pt x="861107" y="1506884"/>
                  </a:lnTo>
                  <a:lnTo>
                    <a:pt x="862499" y="1508064"/>
                  </a:lnTo>
                  <a:lnTo>
                    <a:pt x="863346" y="1509910"/>
                  </a:lnTo>
                  <a:lnTo>
                    <a:pt x="863769" y="1512148"/>
                  </a:lnTo>
                  <a:lnTo>
                    <a:pt x="863890" y="1514478"/>
                  </a:lnTo>
                  <a:lnTo>
                    <a:pt x="864404" y="1518229"/>
                  </a:lnTo>
                  <a:lnTo>
                    <a:pt x="864072" y="1519650"/>
                  </a:lnTo>
                  <a:lnTo>
                    <a:pt x="862499" y="1521163"/>
                  </a:lnTo>
                  <a:lnTo>
                    <a:pt x="860774" y="1521859"/>
                  </a:lnTo>
                  <a:lnTo>
                    <a:pt x="857386" y="1522494"/>
                  </a:lnTo>
                  <a:lnTo>
                    <a:pt x="855934" y="1523795"/>
                  </a:lnTo>
                  <a:lnTo>
                    <a:pt x="854754" y="1525308"/>
                  </a:lnTo>
                  <a:lnTo>
                    <a:pt x="853635" y="1526064"/>
                  </a:lnTo>
                  <a:lnTo>
                    <a:pt x="852213" y="1526336"/>
                  </a:lnTo>
                  <a:lnTo>
                    <a:pt x="850065" y="1526336"/>
                  </a:lnTo>
                  <a:lnTo>
                    <a:pt x="852001" y="1526911"/>
                  </a:lnTo>
                  <a:lnTo>
                    <a:pt x="856993" y="1530450"/>
                  </a:lnTo>
                  <a:lnTo>
                    <a:pt x="856993" y="1531388"/>
                  </a:lnTo>
                  <a:lnTo>
                    <a:pt x="856781" y="1533022"/>
                  </a:lnTo>
                  <a:lnTo>
                    <a:pt x="858233" y="1533082"/>
                  </a:lnTo>
                  <a:lnTo>
                    <a:pt x="859413" y="1531812"/>
                  </a:lnTo>
                  <a:lnTo>
                    <a:pt x="858415" y="1529392"/>
                  </a:lnTo>
                  <a:lnTo>
                    <a:pt x="860200" y="1528756"/>
                  </a:lnTo>
                  <a:lnTo>
                    <a:pt x="874236" y="1530511"/>
                  </a:lnTo>
                  <a:lnTo>
                    <a:pt x="876414" y="1530450"/>
                  </a:lnTo>
                  <a:lnTo>
                    <a:pt x="884219" y="1528756"/>
                  </a:lnTo>
                  <a:lnTo>
                    <a:pt x="885702" y="1527274"/>
                  </a:lnTo>
                  <a:lnTo>
                    <a:pt x="886065" y="1525610"/>
                  </a:lnTo>
                  <a:lnTo>
                    <a:pt x="884643" y="1524430"/>
                  </a:lnTo>
                  <a:lnTo>
                    <a:pt x="885217" y="1522222"/>
                  </a:lnTo>
                  <a:lnTo>
                    <a:pt x="884764" y="1520861"/>
                  </a:lnTo>
                  <a:lnTo>
                    <a:pt x="883554" y="1520256"/>
                  </a:lnTo>
                  <a:lnTo>
                    <a:pt x="881920" y="1520256"/>
                  </a:lnTo>
                  <a:lnTo>
                    <a:pt x="883160" y="1519560"/>
                  </a:lnTo>
                  <a:lnTo>
                    <a:pt x="888848" y="1519076"/>
                  </a:lnTo>
                  <a:lnTo>
                    <a:pt x="891752" y="1517957"/>
                  </a:lnTo>
                  <a:lnTo>
                    <a:pt x="892932" y="1517200"/>
                  </a:lnTo>
                  <a:lnTo>
                    <a:pt x="892932" y="1518320"/>
                  </a:lnTo>
                  <a:lnTo>
                    <a:pt x="889090" y="1519197"/>
                  </a:lnTo>
                  <a:lnTo>
                    <a:pt x="887456" y="1522252"/>
                  </a:lnTo>
                  <a:lnTo>
                    <a:pt x="888001" y="1525882"/>
                  </a:lnTo>
                  <a:lnTo>
                    <a:pt x="890874" y="1528514"/>
                  </a:lnTo>
                  <a:lnTo>
                    <a:pt x="890874" y="1529452"/>
                  </a:lnTo>
                  <a:lnTo>
                    <a:pt x="889543" y="1528786"/>
                  </a:lnTo>
                  <a:lnTo>
                    <a:pt x="888515" y="1529029"/>
                  </a:lnTo>
                  <a:lnTo>
                    <a:pt x="886065" y="1530572"/>
                  </a:lnTo>
                  <a:lnTo>
                    <a:pt x="881194" y="1531509"/>
                  </a:lnTo>
                  <a:lnTo>
                    <a:pt x="877836" y="1533324"/>
                  </a:lnTo>
                  <a:lnTo>
                    <a:pt x="876475" y="1533627"/>
                  </a:lnTo>
                  <a:lnTo>
                    <a:pt x="875023" y="1533415"/>
                  </a:lnTo>
                  <a:lnTo>
                    <a:pt x="872391" y="1532568"/>
                  </a:lnTo>
                  <a:lnTo>
                    <a:pt x="870909" y="1532568"/>
                  </a:lnTo>
                  <a:lnTo>
                    <a:pt x="871120" y="1533113"/>
                  </a:lnTo>
                  <a:lnTo>
                    <a:pt x="871392" y="1534232"/>
                  </a:lnTo>
                  <a:lnTo>
                    <a:pt x="871604" y="1534746"/>
                  </a:lnTo>
                  <a:lnTo>
                    <a:pt x="863890" y="1533717"/>
                  </a:lnTo>
                  <a:lnTo>
                    <a:pt x="863255" y="1534746"/>
                  </a:lnTo>
                  <a:lnTo>
                    <a:pt x="865191" y="1536803"/>
                  </a:lnTo>
                  <a:lnTo>
                    <a:pt x="870152" y="1537953"/>
                  </a:lnTo>
                  <a:lnTo>
                    <a:pt x="871604" y="1540857"/>
                  </a:lnTo>
                  <a:lnTo>
                    <a:pt x="870666" y="1542430"/>
                  </a:lnTo>
                  <a:lnTo>
                    <a:pt x="873087" y="1544033"/>
                  </a:lnTo>
                  <a:lnTo>
                    <a:pt x="879651" y="1546000"/>
                  </a:lnTo>
                  <a:lnTo>
                    <a:pt x="880710" y="1546786"/>
                  </a:lnTo>
                  <a:lnTo>
                    <a:pt x="881224" y="1546937"/>
                  </a:lnTo>
                  <a:lnTo>
                    <a:pt x="882132" y="1546574"/>
                  </a:lnTo>
                  <a:lnTo>
                    <a:pt x="882949" y="1545122"/>
                  </a:lnTo>
                  <a:lnTo>
                    <a:pt x="884854" y="1544366"/>
                  </a:lnTo>
                  <a:lnTo>
                    <a:pt x="885762" y="1543277"/>
                  </a:lnTo>
                  <a:lnTo>
                    <a:pt x="886548" y="1541946"/>
                  </a:lnTo>
                  <a:lnTo>
                    <a:pt x="887426" y="1540826"/>
                  </a:lnTo>
                  <a:lnTo>
                    <a:pt x="888969" y="1539828"/>
                  </a:lnTo>
                  <a:lnTo>
                    <a:pt x="890481" y="1539496"/>
                  </a:lnTo>
                  <a:lnTo>
                    <a:pt x="899466" y="1539677"/>
                  </a:lnTo>
                  <a:lnTo>
                    <a:pt x="901221" y="1538013"/>
                  </a:lnTo>
                  <a:lnTo>
                    <a:pt x="901916" y="1537529"/>
                  </a:lnTo>
                  <a:lnTo>
                    <a:pt x="903278" y="1538588"/>
                  </a:lnTo>
                  <a:lnTo>
                    <a:pt x="904185" y="1538891"/>
                  </a:lnTo>
                  <a:lnTo>
                    <a:pt x="906030" y="1534686"/>
                  </a:lnTo>
                  <a:lnTo>
                    <a:pt x="906272" y="1533566"/>
                  </a:lnTo>
                  <a:lnTo>
                    <a:pt x="906272" y="1532991"/>
                  </a:lnTo>
                  <a:lnTo>
                    <a:pt x="906484" y="1532750"/>
                  </a:lnTo>
                  <a:lnTo>
                    <a:pt x="907422" y="1532568"/>
                  </a:lnTo>
                  <a:lnTo>
                    <a:pt x="907634" y="1528877"/>
                  </a:lnTo>
                  <a:lnTo>
                    <a:pt x="910931" y="1526699"/>
                  </a:lnTo>
                  <a:lnTo>
                    <a:pt x="911536" y="1526548"/>
                  </a:lnTo>
                  <a:lnTo>
                    <a:pt x="915136" y="1525641"/>
                  </a:lnTo>
                  <a:lnTo>
                    <a:pt x="918071" y="1525338"/>
                  </a:lnTo>
                  <a:lnTo>
                    <a:pt x="925664" y="1526276"/>
                  </a:lnTo>
                  <a:lnTo>
                    <a:pt x="929506" y="1526124"/>
                  </a:lnTo>
                  <a:lnTo>
                    <a:pt x="932954" y="1524400"/>
                  </a:lnTo>
                  <a:lnTo>
                    <a:pt x="931442" y="1522978"/>
                  </a:lnTo>
                  <a:lnTo>
                    <a:pt x="930655" y="1521556"/>
                  </a:lnTo>
                  <a:lnTo>
                    <a:pt x="931018" y="1520528"/>
                  </a:lnTo>
                  <a:lnTo>
                    <a:pt x="932954" y="1520225"/>
                  </a:lnTo>
                  <a:lnTo>
                    <a:pt x="933831" y="1521345"/>
                  </a:lnTo>
                  <a:lnTo>
                    <a:pt x="934679" y="1522040"/>
                  </a:lnTo>
                  <a:lnTo>
                    <a:pt x="935707" y="1522283"/>
                  </a:lnTo>
                  <a:lnTo>
                    <a:pt x="936312" y="1521950"/>
                  </a:lnTo>
                  <a:lnTo>
                    <a:pt x="937129" y="1520740"/>
                  </a:lnTo>
                  <a:lnTo>
                    <a:pt x="937704" y="1520225"/>
                  </a:lnTo>
                  <a:lnTo>
                    <a:pt x="938490" y="1518622"/>
                  </a:lnTo>
                  <a:lnTo>
                    <a:pt x="939125" y="1518168"/>
                  </a:lnTo>
                  <a:lnTo>
                    <a:pt x="939821" y="1519197"/>
                  </a:lnTo>
                  <a:lnTo>
                    <a:pt x="939821" y="1520528"/>
                  </a:lnTo>
                  <a:lnTo>
                    <a:pt x="939337" y="1521919"/>
                  </a:lnTo>
                  <a:lnTo>
                    <a:pt x="938762" y="1522948"/>
                  </a:lnTo>
                  <a:lnTo>
                    <a:pt x="938460" y="1523281"/>
                  </a:lnTo>
                  <a:lnTo>
                    <a:pt x="939398" y="1525066"/>
                  </a:lnTo>
                  <a:lnTo>
                    <a:pt x="940941" y="1526124"/>
                  </a:lnTo>
                  <a:lnTo>
                    <a:pt x="942816" y="1526548"/>
                  </a:lnTo>
                  <a:lnTo>
                    <a:pt x="944662" y="1526457"/>
                  </a:lnTo>
                  <a:lnTo>
                    <a:pt x="943693" y="1527788"/>
                  </a:lnTo>
                  <a:lnTo>
                    <a:pt x="941878" y="1528000"/>
                  </a:lnTo>
                  <a:lnTo>
                    <a:pt x="937734" y="1527486"/>
                  </a:lnTo>
                  <a:lnTo>
                    <a:pt x="939035" y="1530238"/>
                  </a:lnTo>
                  <a:lnTo>
                    <a:pt x="941455" y="1532871"/>
                  </a:lnTo>
                  <a:lnTo>
                    <a:pt x="944177" y="1534867"/>
                  </a:lnTo>
                  <a:lnTo>
                    <a:pt x="946356" y="1535623"/>
                  </a:lnTo>
                  <a:lnTo>
                    <a:pt x="954281" y="1534534"/>
                  </a:lnTo>
                  <a:lnTo>
                    <a:pt x="955734" y="1533597"/>
                  </a:lnTo>
                  <a:lnTo>
                    <a:pt x="961179" y="1536410"/>
                  </a:lnTo>
                  <a:lnTo>
                    <a:pt x="965142" y="1536833"/>
                  </a:lnTo>
                  <a:lnTo>
                    <a:pt x="966291" y="1536712"/>
                  </a:lnTo>
                  <a:lnTo>
                    <a:pt x="967108" y="1536138"/>
                  </a:lnTo>
                  <a:lnTo>
                    <a:pt x="968288" y="1534806"/>
                  </a:lnTo>
                  <a:lnTo>
                    <a:pt x="968772" y="1535079"/>
                  </a:lnTo>
                  <a:lnTo>
                    <a:pt x="968772" y="1535321"/>
                  </a:lnTo>
                  <a:lnTo>
                    <a:pt x="968863" y="1536107"/>
                  </a:lnTo>
                  <a:lnTo>
                    <a:pt x="968863" y="1537106"/>
                  </a:lnTo>
                  <a:lnTo>
                    <a:pt x="966715" y="1540434"/>
                  </a:lnTo>
                  <a:lnTo>
                    <a:pt x="961905" y="1541553"/>
                  </a:lnTo>
                  <a:lnTo>
                    <a:pt x="956762" y="1541855"/>
                  </a:lnTo>
                  <a:lnTo>
                    <a:pt x="953646" y="1542823"/>
                  </a:lnTo>
                  <a:lnTo>
                    <a:pt x="952950" y="1542188"/>
                  </a:lnTo>
                  <a:lnTo>
                    <a:pt x="952255" y="1541734"/>
                  </a:lnTo>
                  <a:lnTo>
                    <a:pt x="952255" y="1540826"/>
                  </a:lnTo>
                  <a:lnTo>
                    <a:pt x="952890" y="1540826"/>
                  </a:lnTo>
                  <a:lnTo>
                    <a:pt x="952255" y="1539707"/>
                  </a:lnTo>
                  <a:lnTo>
                    <a:pt x="951589" y="1540554"/>
                  </a:lnTo>
                  <a:lnTo>
                    <a:pt x="950500" y="1542369"/>
                  </a:lnTo>
                  <a:lnTo>
                    <a:pt x="950107" y="1542853"/>
                  </a:lnTo>
                  <a:lnTo>
                    <a:pt x="946688" y="1543882"/>
                  </a:lnTo>
                  <a:lnTo>
                    <a:pt x="946688" y="1546181"/>
                  </a:lnTo>
                  <a:lnTo>
                    <a:pt x="947596" y="1548057"/>
                  </a:lnTo>
                  <a:lnTo>
                    <a:pt x="947838" y="1549630"/>
                  </a:lnTo>
                  <a:lnTo>
                    <a:pt x="945932" y="1550961"/>
                  </a:lnTo>
                  <a:lnTo>
                    <a:pt x="946144" y="1552050"/>
                  </a:lnTo>
                  <a:lnTo>
                    <a:pt x="946325" y="1552474"/>
                  </a:lnTo>
                  <a:lnTo>
                    <a:pt x="946658" y="1553018"/>
                  </a:lnTo>
                  <a:lnTo>
                    <a:pt x="948413" y="1553139"/>
                  </a:lnTo>
                  <a:lnTo>
                    <a:pt x="954342" y="1555468"/>
                  </a:lnTo>
                  <a:lnTo>
                    <a:pt x="955643" y="1555529"/>
                  </a:lnTo>
                  <a:lnTo>
                    <a:pt x="956036" y="1553956"/>
                  </a:lnTo>
                  <a:lnTo>
                    <a:pt x="956944" y="1554047"/>
                  </a:lnTo>
                  <a:lnTo>
                    <a:pt x="958063" y="1554712"/>
                  </a:lnTo>
                  <a:lnTo>
                    <a:pt x="959092" y="1554984"/>
                  </a:lnTo>
                  <a:lnTo>
                    <a:pt x="960059" y="1554440"/>
                  </a:lnTo>
                  <a:lnTo>
                    <a:pt x="961481" y="1552867"/>
                  </a:lnTo>
                  <a:lnTo>
                    <a:pt x="962540" y="1551959"/>
                  </a:lnTo>
                  <a:lnTo>
                    <a:pt x="963599" y="1551505"/>
                  </a:lnTo>
                  <a:lnTo>
                    <a:pt x="964567" y="1551566"/>
                  </a:lnTo>
                  <a:lnTo>
                    <a:pt x="967078" y="1552111"/>
                  </a:lnTo>
                  <a:lnTo>
                    <a:pt x="968137" y="1552867"/>
                  </a:lnTo>
                  <a:lnTo>
                    <a:pt x="968802" y="1553078"/>
                  </a:lnTo>
                  <a:lnTo>
                    <a:pt x="969256" y="1552776"/>
                  </a:lnTo>
                  <a:lnTo>
                    <a:pt x="970194" y="1551354"/>
                  </a:lnTo>
                  <a:lnTo>
                    <a:pt x="970527" y="1551022"/>
                  </a:lnTo>
                  <a:lnTo>
                    <a:pt x="971192" y="1551142"/>
                  </a:lnTo>
                  <a:lnTo>
                    <a:pt x="971979" y="1551475"/>
                  </a:lnTo>
                  <a:lnTo>
                    <a:pt x="972644" y="1551929"/>
                  </a:lnTo>
                  <a:lnTo>
                    <a:pt x="972916" y="1552504"/>
                  </a:lnTo>
                  <a:lnTo>
                    <a:pt x="973189" y="1553290"/>
                  </a:lnTo>
                  <a:lnTo>
                    <a:pt x="973763" y="1553018"/>
                  </a:lnTo>
                  <a:lnTo>
                    <a:pt x="974247" y="1552352"/>
                  </a:lnTo>
                  <a:lnTo>
                    <a:pt x="974247" y="1551959"/>
                  </a:lnTo>
                  <a:lnTo>
                    <a:pt x="978422" y="1551959"/>
                  </a:lnTo>
                  <a:lnTo>
                    <a:pt x="977696" y="1550688"/>
                  </a:lnTo>
                  <a:lnTo>
                    <a:pt x="976637" y="1549297"/>
                  </a:lnTo>
                  <a:lnTo>
                    <a:pt x="975881" y="1547845"/>
                  </a:lnTo>
                  <a:lnTo>
                    <a:pt x="976002" y="1546454"/>
                  </a:lnTo>
                  <a:lnTo>
                    <a:pt x="976879" y="1545546"/>
                  </a:lnTo>
                  <a:lnTo>
                    <a:pt x="978210" y="1544759"/>
                  </a:lnTo>
                  <a:lnTo>
                    <a:pt x="979632" y="1544185"/>
                  </a:lnTo>
                  <a:lnTo>
                    <a:pt x="987225" y="1543338"/>
                  </a:lnTo>
                  <a:lnTo>
                    <a:pt x="990432" y="1542975"/>
                  </a:lnTo>
                  <a:lnTo>
                    <a:pt x="991763" y="1543307"/>
                  </a:lnTo>
                  <a:lnTo>
                    <a:pt x="992671" y="1544185"/>
                  </a:lnTo>
                  <a:lnTo>
                    <a:pt x="994244" y="1547028"/>
                  </a:lnTo>
                  <a:lnTo>
                    <a:pt x="995181" y="1548117"/>
                  </a:lnTo>
                  <a:lnTo>
                    <a:pt x="996936" y="1549176"/>
                  </a:lnTo>
                  <a:lnTo>
                    <a:pt x="997753" y="1549962"/>
                  </a:lnTo>
                  <a:lnTo>
                    <a:pt x="998963" y="1551959"/>
                  </a:lnTo>
                  <a:lnTo>
                    <a:pt x="1000082" y="1554410"/>
                  </a:lnTo>
                  <a:lnTo>
                    <a:pt x="1000778" y="1556436"/>
                  </a:lnTo>
                  <a:lnTo>
                    <a:pt x="1001050" y="1557193"/>
                  </a:lnTo>
                  <a:lnTo>
                    <a:pt x="1001807" y="1560127"/>
                  </a:lnTo>
                  <a:lnTo>
                    <a:pt x="1001534" y="1560218"/>
                  </a:lnTo>
                  <a:lnTo>
                    <a:pt x="1001201" y="1560309"/>
                  </a:lnTo>
                  <a:lnTo>
                    <a:pt x="1001020" y="1560550"/>
                  </a:lnTo>
                  <a:lnTo>
                    <a:pt x="1001141" y="1561186"/>
                  </a:lnTo>
                  <a:lnTo>
                    <a:pt x="1002200" y="1562699"/>
                  </a:lnTo>
                  <a:lnTo>
                    <a:pt x="1004196" y="1564514"/>
                  </a:lnTo>
                  <a:lnTo>
                    <a:pt x="1006465" y="1565572"/>
                  </a:lnTo>
                  <a:lnTo>
                    <a:pt x="1008341" y="1564755"/>
                  </a:lnTo>
                  <a:lnTo>
                    <a:pt x="1009732" y="1564877"/>
                  </a:lnTo>
                  <a:lnTo>
                    <a:pt x="1015631" y="1569414"/>
                  </a:lnTo>
                  <a:lnTo>
                    <a:pt x="1018596" y="1573135"/>
                  </a:lnTo>
                  <a:lnTo>
                    <a:pt x="1020381" y="1575404"/>
                  </a:lnTo>
                  <a:lnTo>
                    <a:pt x="1022226" y="1576372"/>
                  </a:lnTo>
                  <a:lnTo>
                    <a:pt x="1047365" y="1578490"/>
                  </a:lnTo>
                  <a:lnTo>
                    <a:pt x="1054474" y="1575737"/>
                  </a:lnTo>
                  <a:lnTo>
                    <a:pt x="1055957" y="1575918"/>
                  </a:lnTo>
                  <a:lnTo>
                    <a:pt x="1057893" y="1576493"/>
                  </a:lnTo>
                  <a:lnTo>
                    <a:pt x="1059678" y="1574587"/>
                  </a:lnTo>
                  <a:lnTo>
                    <a:pt x="1060404" y="1571411"/>
                  </a:lnTo>
                  <a:lnTo>
                    <a:pt x="1059133" y="1568265"/>
                  </a:lnTo>
                  <a:lnTo>
                    <a:pt x="1059163" y="1568265"/>
                  </a:lnTo>
                  <a:lnTo>
                    <a:pt x="1059738" y="1567841"/>
                  </a:lnTo>
                  <a:lnTo>
                    <a:pt x="1061160" y="1567660"/>
                  </a:lnTo>
                  <a:lnTo>
                    <a:pt x="1061886" y="1567267"/>
                  </a:lnTo>
                  <a:lnTo>
                    <a:pt x="1062340" y="1566540"/>
                  </a:lnTo>
                  <a:lnTo>
                    <a:pt x="1062914" y="1564846"/>
                  </a:lnTo>
                  <a:lnTo>
                    <a:pt x="1063247" y="1564241"/>
                  </a:lnTo>
                  <a:lnTo>
                    <a:pt x="1065879" y="1561730"/>
                  </a:lnTo>
                  <a:lnTo>
                    <a:pt x="1067543" y="1560581"/>
                  </a:lnTo>
                  <a:lnTo>
                    <a:pt x="1068813" y="1560187"/>
                  </a:lnTo>
                  <a:lnTo>
                    <a:pt x="1069086" y="1560097"/>
                  </a:lnTo>
                  <a:lnTo>
                    <a:pt x="1074924" y="1556648"/>
                  </a:lnTo>
                  <a:lnTo>
                    <a:pt x="1075469" y="1555680"/>
                  </a:lnTo>
                  <a:lnTo>
                    <a:pt x="1078101" y="1552625"/>
                  </a:lnTo>
                  <a:lnTo>
                    <a:pt x="1079038" y="1551959"/>
                  </a:lnTo>
                  <a:lnTo>
                    <a:pt x="1079553" y="1552413"/>
                  </a:lnTo>
                  <a:lnTo>
                    <a:pt x="1080097" y="1553472"/>
                  </a:lnTo>
                  <a:lnTo>
                    <a:pt x="1080884" y="1554530"/>
                  </a:lnTo>
                  <a:lnTo>
                    <a:pt x="1082185" y="1554984"/>
                  </a:lnTo>
                  <a:lnTo>
                    <a:pt x="1090715" y="1554440"/>
                  </a:lnTo>
                  <a:lnTo>
                    <a:pt x="1094981" y="1553048"/>
                  </a:lnTo>
                  <a:lnTo>
                    <a:pt x="1096826" y="1551868"/>
                  </a:lnTo>
                  <a:lnTo>
                    <a:pt x="1100608" y="1549448"/>
                  </a:lnTo>
                  <a:lnTo>
                    <a:pt x="1105357" y="1548420"/>
                  </a:lnTo>
                  <a:lnTo>
                    <a:pt x="1107293" y="1546998"/>
                  </a:lnTo>
                  <a:lnTo>
                    <a:pt x="1110167" y="1543852"/>
                  </a:lnTo>
                  <a:lnTo>
                    <a:pt x="1110167" y="1543852"/>
                  </a:lnTo>
                  <a:lnTo>
                    <a:pt x="1116732" y="1536652"/>
                  </a:lnTo>
                  <a:lnTo>
                    <a:pt x="1117639" y="1535200"/>
                  </a:lnTo>
                  <a:lnTo>
                    <a:pt x="1118577" y="1534262"/>
                  </a:lnTo>
                  <a:lnTo>
                    <a:pt x="1124567" y="1530572"/>
                  </a:lnTo>
                  <a:lnTo>
                    <a:pt x="1125989" y="1528756"/>
                  </a:lnTo>
                  <a:lnTo>
                    <a:pt x="1127199" y="1526760"/>
                  </a:lnTo>
                  <a:lnTo>
                    <a:pt x="1128590" y="1525156"/>
                  </a:lnTo>
                  <a:lnTo>
                    <a:pt x="1130466" y="1524491"/>
                  </a:lnTo>
                  <a:lnTo>
                    <a:pt x="1132463" y="1524309"/>
                  </a:lnTo>
                  <a:lnTo>
                    <a:pt x="1134792" y="1523614"/>
                  </a:lnTo>
                  <a:lnTo>
                    <a:pt x="1136607" y="1522040"/>
                  </a:lnTo>
                  <a:lnTo>
                    <a:pt x="1137061" y="1519287"/>
                  </a:lnTo>
                  <a:lnTo>
                    <a:pt x="1138543" y="1520619"/>
                  </a:lnTo>
                  <a:lnTo>
                    <a:pt x="1138815" y="1522313"/>
                  </a:lnTo>
                  <a:lnTo>
                    <a:pt x="1138029" y="1524037"/>
                  </a:lnTo>
                  <a:lnTo>
                    <a:pt x="1136395" y="1525429"/>
                  </a:lnTo>
                  <a:lnTo>
                    <a:pt x="1132069" y="1526820"/>
                  </a:lnTo>
                  <a:lnTo>
                    <a:pt x="1130345" y="1527697"/>
                  </a:lnTo>
                  <a:lnTo>
                    <a:pt x="1126896" y="1532054"/>
                  </a:lnTo>
                  <a:lnTo>
                    <a:pt x="1121148" y="1537650"/>
                  </a:lnTo>
                  <a:lnTo>
                    <a:pt x="1120543" y="1538528"/>
                  </a:lnTo>
                  <a:lnTo>
                    <a:pt x="1119878" y="1539768"/>
                  </a:lnTo>
                  <a:lnTo>
                    <a:pt x="1119333" y="1541129"/>
                  </a:lnTo>
                  <a:lnTo>
                    <a:pt x="1119091" y="1542369"/>
                  </a:lnTo>
                  <a:lnTo>
                    <a:pt x="1118728" y="1543670"/>
                  </a:lnTo>
                  <a:lnTo>
                    <a:pt x="1117851" y="1544336"/>
                  </a:lnTo>
                  <a:lnTo>
                    <a:pt x="1116822" y="1544759"/>
                  </a:lnTo>
                  <a:lnTo>
                    <a:pt x="1115975" y="1545364"/>
                  </a:lnTo>
                  <a:lnTo>
                    <a:pt x="1107082" y="1559431"/>
                  </a:lnTo>
                  <a:lnTo>
                    <a:pt x="1105055" y="1561367"/>
                  </a:lnTo>
                  <a:lnTo>
                    <a:pt x="1102937" y="1562184"/>
                  </a:lnTo>
                  <a:lnTo>
                    <a:pt x="1100547" y="1562366"/>
                  </a:lnTo>
                  <a:lnTo>
                    <a:pt x="1098581" y="1562940"/>
                  </a:lnTo>
                  <a:lnTo>
                    <a:pt x="1096796" y="1563908"/>
                  </a:lnTo>
                  <a:lnTo>
                    <a:pt x="1095011" y="1565240"/>
                  </a:lnTo>
                  <a:lnTo>
                    <a:pt x="1088205" y="1573619"/>
                  </a:lnTo>
                  <a:lnTo>
                    <a:pt x="1084484" y="1576947"/>
                  </a:lnTo>
                  <a:lnTo>
                    <a:pt x="1081277" y="1576342"/>
                  </a:lnTo>
                  <a:lnTo>
                    <a:pt x="1079099" y="1578459"/>
                  </a:lnTo>
                  <a:lnTo>
                    <a:pt x="1080612" y="1579942"/>
                  </a:lnTo>
                  <a:lnTo>
                    <a:pt x="1079976" y="1581333"/>
                  </a:lnTo>
                  <a:lnTo>
                    <a:pt x="1078585" y="1582664"/>
                  </a:lnTo>
                  <a:lnTo>
                    <a:pt x="1077798" y="1584026"/>
                  </a:lnTo>
                  <a:lnTo>
                    <a:pt x="1077738" y="1586325"/>
                  </a:lnTo>
                  <a:lnTo>
                    <a:pt x="1077375" y="1587686"/>
                  </a:lnTo>
                  <a:lnTo>
                    <a:pt x="1077375" y="1587686"/>
                  </a:lnTo>
                  <a:lnTo>
                    <a:pt x="1076346" y="1588140"/>
                  </a:lnTo>
                  <a:lnTo>
                    <a:pt x="1074380" y="1587565"/>
                  </a:lnTo>
                  <a:lnTo>
                    <a:pt x="1075529" y="1589320"/>
                  </a:lnTo>
                  <a:lnTo>
                    <a:pt x="1075832" y="1592133"/>
                  </a:lnTo>
                  <a:lnTo>
                    <a:pt x="1075771" y="1597669"/>
                  </a:lnTo>
                  <a:lnTo>
                    <a:pt x="1076104" y="1599060"/>
                  </a:lnTo>
                  <a:lnTo>
                    <a:pt x="1076467" y="1599847"/>
                  </a:lnTo>
                  <a:lnTo>
                    <a:pt x="1076649" y="1600815"/>
                  </a:lnTo>
                  <a:lnTo>
                    <a:pt x="1076467" y="1602691"/>
                  </a:lnTo>
                  <a:lnTo>
                    <a:pt x="1076104" y="1603780"/>
                  </a:lnTo>
                  <a:lnTo>
                    <a:pt x="1074380" y="1606805"/>
                  </a:lnTo>
                  <a:lnTo>
                    <a:pt x="1073018" y="1605807"/>
                  </a:lnTo>
                  <a:lnTo>
                    <a:pt x="1074380" y="1603689"/>
                  </a:lnTo>
                  <a:lnTo>
                    <a:pt x="1073623" y="1602691"/>
                  </a:lnTo>
                  <a:lnTo>
                    <a:pt x="1070780" y="1604506"/>
                  </a:lnTo>
                  <a:lnTo>
                    <a:pt x="1066817" y="1605051"/>
                  </a:lnTo>
                  <a:lnTo>
                    <a:pt x="1060192" y="1604718"/>
                  </a:lnTo>
                  <a:lnTo>
                    <a:pt x="1056562" y="1605202"/>
                  </a:lnTo>
                  <a:lnTo>
                    <a:pt x="1049331" y="1607289"/>
                  </a:lnTo>
                  <a:lnTo>
                    <a:pt x="1037836" y="1607743"/>
                  </a:lnTo>
                  <a:lnTo>
                    <a:pt x="1035900" y="1606866"/>
                  </a:lnTo>
                  <a:lnTo>
                    <a:pt x="1032905" y="1604264"/>
                  </a:lnTo>
                  <a:lnTo>
                    <a:pt x="1020320" y="1601572"/>
                  </a:lnTo>
                  <a:lnTo>
                    <a:pt x="1012213" y="1601813"/>
                  </a:lnTo>
                  <a:lnTo>
                    <a:pt x="999175" y="1598668"/>
                  </a:lnTo>
                  <a:lnTo>
                    <a:pt x="997390" y="1598819"/>
                  </a:lnTo>
                  <a:lnTo>
                    <a:pt x="994183" y="1600392"/>
                  </a:lnTo>
                  <a:lnTo>
                    <a:pt x="991975" y="1600785"/>
                  </a:lnTo>
                  <a:lnTo>
                    <a:pt x="984684" y="1600785"/>
                  </a:lnTo>
                  <a:lnTo>
                    <a:pt x="982809" y="1601087"/>
                  </a:lnTo>
                  <a:lnTo>
                    <a:pt x="979027" y="1602388"/>
                  </a:lnTo>
                  <a:lnTo>
                    <a:pt x="960604" y="1603991"/>
                  </a:lnTo>
                  <a:lnTo>
                    <a:pt x="952950" y="1606805"/>
                  </a:lnTo>
                  <a:lnTo>
                    <a:pt x="952950" y="1607743"/>
                  </a:lnTo>
                  <a:lnTo>
                    <a:pt x="954070" y="1608439"/>
                  </a:lnTo>
                  <a:lnTo>
                    <a:pt x="954826" y="1609709"/>
                  </a:lnTo>
                  <a:lnTo>
                    <a:pt x="954977" y="1611252"/>
                  </a:lnTo>
                  <a:lnTo>
                    <a:pt x="954342" y="1612855"/>
                  </a:lnTo>
                  <a:lnTo>
                    <a:pt x="953586" y="1613127"/>
                  </a:lnTo>
                  <a:lnTo>
                    <a:pt x="950228" y="1612855"/>
                  </a:lnTo>
                  <a:lnTo>
                    <a:pt x="950893" y="1614126"/>
                  </a:lnTo>
                  <a:lnTo>
                    <a:pt x="952618" y="1616516"/>
                  </a:lnTo>
                  <a:lnTo>
                    <a:pt x="952950" y="1617454"/>
                  </a:lnTo>
                  <a:lnTo>
                    <a:pt x="953162" y="1618512"/>
                  </a:lnTo>
                  <a:lnTo>
                    <a:pt x="954372" y="1622536"/>
                  </a:lnTo>
                  <a:lnTo>
                    <a:pt x="955008" y="1623958"/>
                  </a:lnTo>
                  <a:lnTo>
                    <a:pt x="953949" y="1624532"/>
                  </a:lnTo>
                  <a:lnTo>
                    <a:pt x="953313" y="1625319"/>
                  </a:lnTo>
                  <a:lnTo>
                    <a:pt x="952860" y="1626196"/>
                  </a:lnTo>
                  <a:lnTo>
                    <a:pt x="952285" y="1627043"/>
                  </a:lnTo>
                  <a:lnTo>
                    <a:pt x="945478" y="1634062"/>
                  </a:lnTo>
                  <a:lnTo>
                    <a:pt x="943966" y="1635060"/>
                  </a:lnTo>
                  <a:lnTo>
                    <a:pt x="941909" y="1635665"/>
                  </a:lnTo>
                  <a:lnTo>
                    <a:pt x="936070" y="1635060"/>
                  </a:lnTo>
                  <a:lnTo>
                    <a:pt x="935072" y="1634727"/>
                  </a:lnTo>
                  <a:lnTo>
                    <a:pt x="932985" y="1633305"/>
                  </a:lnTo>
                  <a:lnTo>
                    <a:pt x="931895" y="1632973"/>
                  </a:lnTo>
                  <a:lnTo>
                    <a:pt x="922941" y="1632973"/>
                  </a:lnTo>
                  <a:lnTo>
                    <a:pt x="922457" y="1633880"/>
                  </a:lnTo>
                  <a:lnTo>
                    <a:pt x="922548" y="1635937"/>
                  </a:lnTo>
                  <a:lnTo>
                    <a:pt x="922911" y="1638055"/>
                  </a:lnTo>
                  <a:lnTo>
                    <a:pt x="923304" y="1639174"/>
                  </a:lnTo>
                  <a:lnTo>
                    <a:pt x="921882" y="1642865"/>
                  </a:lnTo>
                  <a:lnTo>
                    <a:pt x="921186" y="1644105"/>
                  </a:lnTo>
                  <a:lnTo>
                    <a:pt x="920067" y="1650185"/>
                  </a:lnTo>
                  <a:lnTo>
                    <a:pt x="920551" y="1663073"/>
                  </a:lnTo>
                  <a:lnTo>
                    <a:pt x="917829" y="1668155"/>
                  </a:lnTo>
                  <a:lnTo>
                    <a:pt x="913624" y="1671089"/>
                  </a:lnTo>
                  <a:lnTo>
                    <a:pt x="911748" y="1673056"/>
                  </a:lnTo>
                  <a:lnTo>
                    <a:pt x="910961" y="1675627"/>
                  </a:lnTo>
                  <a:lnTo>
                    <a:pt x="909782" y="1677442"/>
                  </a:lnTo>
                  <a:lnTo>
                    <a:pt x="902673" y="1683099"/>
                  </a:lnTo>
                  <a:lnTo>
                    <a:pt x="901281" y="1682736"/>
                  </a:lnTo>
                  <a:lnTo>
                    <a:pt x="900283" y="1683432"/>
                  </a:lnTo>
                  <a:lnTo>
                    <a:pt x="899920" y="1685005"/>
                  </a:lnTo>
                  <a:lnTo>
                    <a:pt x="900555" y="1687153"/>
                  </a:lnTo>
                  <a:lnTo>
                    <a:pt x="898952" y="1689543"/>
                  </a:lnTo>
                  <a:lnTo>
                    <a:pt x="897802" y="1692174"/>
                  </a:lnTo>
                  <a:lnTo>
                    <a:pt x="896199" y="1694323"/>
                  </a:lnTo>
                  <a:lnTo>
                    <a:pt x="893295" y="1695200"/>
                  </a:lnTo>
                  <a:lnTo>
                    <a:pt x="885792" y="1695684"/>
                  </a:lnTo>
                  <a:lnTo>
                    <a:pt x="883281" y="1695200"/>
                  </a:lnTo>
                  <a:lnTo>
                    <a:pt x="883281" y="1696107"/>
                  </a:lnTo>
                  <a:lnTo>
                    <a:pt x="883826" y="1697620"/>
                  </a:lnTo>
                  <a:lnTo>
                    <a:pt x="883312" y="1698830"/>
                  </a:lnTo>
                  <a:lnTo>
                    <a:pt x="883130" y="1700161"/>
                  </a:lnTo>
                  <a:lnTo>
                    <a:pt x="884703" y="1702036"/>
                  </a:lnTo>
                  <a:lnTo>
                    <a:pt x="888031" y="1703186"/>
                  </a:lnTo>
                  <a:lnTo>
                    <a:pt x="889785" y="1704154"/>
                  </a:lnTo>
                  <a:lnTo>
                    <a:pt x="890874" y="1706090"/>
                  </a:lnTo>
                  <a:lnTo>
                    <a:pt x="889241" y="1705334"/>
                  </a:lnTo>
                  <a:lnTo>
                    <a:pt x="885066" y="1705122"/>
                  </a:lnTo>
                  <a:lnTo>
                    <a:pt x="883251" y="1704094"/>
                  </a:lnTo>
                  <a:lnTo>
                    <a:pt x="882888" y="1704548"/>
                  </a:lnTo>
                  <a:lnTo>
                    <a:pt x="882616" y="1704789"/>
                  </a:lnTo>
                  <a:lnTo>
                    <a:pt x="881950" y="1705183"/>
                  </a:lnTo>
                  <a:lnTo>
                    <a:pt x="881860" y="1703519"/>
                  </a:lnTo>
                  <a:lnTo>
                    <a:pt x="881587" y="1701522"/>
                  </a:lnTo>
                  <a:lnTo>
                    <a:pt x="881164" y="1699828"/>
                  </a:lnTo>
                  <a:lnTo>
                    <a:pt x="880589" y="1699042"/>
                  </a:lnTo>
                  <a:lnTo>
                    <a:pt x="879833" y="1699193"/>
                  </a:lnTo>
                  <a:lnTo>
                    <a:pt x="878532" y="1700615"/>
                  </a:lnTo>
                  <a:lnTo>
                    <a:pt x="877806" y="1701099"/>
                  </a:lnTo>
                  <a:lnTo>
                    <a:pt x="875749" y="1701099"/>
                  </a:lnTo>
                  <a:lnTo>
                    <a:pt x="873722" y="1702581"/>
                  </a:lnTo>
                  <a:lnTo>
                    <a:pt x="872754" y="1704578"/>
                  </a:lnTo>
                  <a:lnTo>
                    <a:pt x="872421" y="1707089"/>
                  </a:lnTo>
                  <a:lnTo>
                    <a:pt x="872300" y="1710023"/>
                  </a:lnTo>
                  <a:lnTo>
                    <a:pt x="871392" y="1715650"/>
                  </a:lnTo>
                  <a:lnTo>
                    <a:pt x="870455" y="1717616"/>
                  </a:lnTo>
                  <a:lnTo>
                    <a:pt x="870243" y="1718463"/>
                  </a:lnTo>
                  <a:lnTo>
                    <a:pt x="863255" y="1721912"/>
                  </a:lnTo>
                  <a:lnTo>
                    <a:pt x="862499" y="1721851"/>
                  </a:lnTo>
                  <a:lnTo>
                    <a:pt x="860986" y="1721972"/>
                  </a:lnTo>
                  <a:lnTo>
                    <a:pt x="859837" y="1722698"/>
                  </a:lnTo>
                  <a:lnTo>
                    <a:pt x="860502" y="1725602"/>
                  </a:lnTo>
                  <a:lnTo>
                    <a:pt x="860653" y="1727417"/>
                  </a:lnTo>
                  <a:lnTo>
                    <a:pt x="860593" y="1729081"/>
                  </a:lnTo>
                  <a:lnTo>
                    <a:pt x="860230" y="1729838"/>
                  </a:lnTo>
                  <a:lnTo>
                    <a:pt x="858869" y="1730261"/>
                  </a:lnTo>
                  <a:lnTo>
                    <a:pt x="855178" y="1732621"/>
                  </a:lnTo>
                  <a:lnTo>
                    <a:pt x="843652" y="1743784"/>
                  </a:lnTo>
                  <a:lnTo>
                    <a:pt x="839931" y="1745689"/>
                  </a:lnTo>
                  <a:lnTo>
                    <a:pt x="836331" y="1745689"/>
                  </a:lnTo>
                  <a:lnTo>
                    <a:pt x="835787" y="1746234"/>
                  </a:lnTo>
                  <a:lnTo>
                    <a:pt x="835484" y="1747565"/>
                  </a:lnTo>
                  <a:lnTo>
                    <a:pt x="834788" y="1748987"/>
                  </a:lnTo>
                  <a:lnTo>
                    <a:pt x="833336" y="1751135"/>
                  </a:lnTo>
                  <a:lnTo>
                    <a:pt x="831279" y="1752314"/>
                  </a:lnTo>
                  <a:lnTo>
                    <a:pt x="829252" y="1751377"/>
                  </a:lnTo>
                  <a:lnTo>
                    <a:pt x="826136" y="1748624"/>
                  </a:lnTo>
                  <a:lnTo>
                    <a:pt x="823928" y="1748684"/>
                  </a:lnTo>
                  <a:lnTo>
                    <a:pt x="820056" y="1750983"/>
                  </a:lnTo>
                  <a:lnTo>
                    <a:pt x="816607" y="1752103"/>
                  </a:lnTo>
                  <a:lnTo>
                    <a:pt x="810194" y="1755551"/>
                  </a:lnTo>
                  <a:lnTo>
                    <a:pt x="807229" y="1756580"/>
                  </a:lnTo>
                  <a:lnTo>
                    <a:pt x="806443" y="1757064"/>
                  </a:lnTo>
                  <a:lnTo>
                    <a:pt x="804537" y="1760089"/>
                  </a:lnTo>
                  <a:lnTo>
                    <a:pt x="804355" y="1760573"/>
                  </a:lnTo>
                  <a:lnTo>
                    <a:pt x="803962" y="1761239"/>
                  </a:lnTo>
                  <a:lnTo>
                    <a:pt x="804144" y="1762751"/>
                  </a:lnTo>
                  <a:lnTo>
                    <a:pt x="804688" y="1765474"/>
                  </a:lnTo>
                  <a:lnTo>
                    <a:pt x="804870" y="1765474"/>
                  </a:lnTo>
                  <a:lnTo>
                    <a:pt x="805202" y="1765837"/>
                  </a:lnTo>
                  <a:lnTo>
                    <a:pt x="805475" y="1766533"/>
                  </a:lnTo>
                  <a:lnTo>
                    <a:pt x="805475" y="1767440"/>
                  </a:lnTo>
                  <a:lnTo>
                    <a:pt x="805021" y="1768015"/>
                  </a:lnTo>
                  <a:lnTo>
                    <a:pt x="804295" y="1768287"/>
                  </a:lnTo>
                  <a:lnTo>
                    <a:pt x="803327" y="1768408"/>
                  </a:lnTo>
                  <a:lnTo>
                    <a:pt x="804386" y="1772764"/>
                  </a:lnTo>
                  <a:lnTo>
                    <a:pt x="808197" y="1774126"/>
                  </a:lnTo>
                  <a:lnTo>
                    <a:pt x="813007" y="1773642"/>
                  </a:lnTo>
                  <a:lnTo>
                    <a:pt x="817152" y="1772401"/>
                  </a:lnTo>
                  <a:lnTo>
                    <a:pt x="818664" y="1771706"/>
                  </a:lnTo>
                  <a:lnTo>
                    <a:pt x="820479" y="1770374"/>
                  </a:lnTo>
                  <a:lnTo>
                    <a:pt x="821568" y="1768439"/>
                  </a:lnTo>
                  <a:lnTo>
                    <a:pt x="820963" y="1765927"/>
                  </a:lnTo>
                  <a:lnTo>
                    <a:pt x="820963" y="1763961"/>
                  </a:lnTo>
                  <a:lnTo>
                    <a:pt x="822869" y="1762479"/>
                  </a:lnTo>
                  <a:lnTo>
                    <a:pt x="825501" y="1761632"/>
                  </a:lnTo>
                  <a:lnTo>
                    <a:pt x="827588" y="1761511"/>
                  </a:lnTo>
                  <a:lnTo>
                    <a:pt x="829283" y="1762176"/>
                  </a:lnTo>
                  <a:lnTo>
                    <a:pt x="832640" y="1764082"/>
                  </a:lnTo>
                  <a:lnTo>
                    <a:pt x="836724" y="1764748"/>
                  </a:lnTo>
                  <a:lnTo>
                    <a:pt x="842775" y="1767410"/>
                  </a:lnTo>
                  <a:lnTo>
                    <a:pt x="844741" y="1768741"/>
                  </a:lnTo>
                  <a:lnTo>
                    <a:pt x="846344" y="1770556"/>
                  </a:lnTo>
                  <a:lnTo>
                    <a:pt x="849218" y="1774852"/>
                  </a:lnTo>
                  <a:lnTo>
                    <a:pt x="849914" y="1776274"/>
                  </a:lnTo>
                  <a:lnTo>
                    <a:pt x="849914" y="1778452"/>
                  </a:lnTo>
                  <a:lnTo>
                    <a:pt x="850247" y="1780267"/>
                  </a:lnTo>
                  <a:lnTo>
                    <a:pt x="850670" y="1781265"/>
                  </a:lnTo>
                  <a:lnTo>
                    <a:pt x="851154" y="1781961"/>
                  </a:lnTo>
                  <a:lnTo>
                    <a:pt x="854179" y="1785047"/>
                  </a:lnTo>
                  <a:lnTo>
                    <a:pt x="855208" y="1785803"/>
                  </a:lnTo>
                  <a:lnTo>
                    <a:pt x="856116" y="1786136"/>
                  </a:lnTo>
                  <a:lnTo>
                    <a:pt x="856448" y="1785379"/>
                  </a:lnTo>
                  <a:lnTo>
                    <a:pt x="857628" y="1782021"/>
                  </a:lnTo>
                  <a:lnTo>
                    <a:pt x="860623" y="1778784"/>
                  </a:lnTo>
                  <a:lnTo>
                    <a:pt x="861319" y="1778240"/>
                  </a:lnTo>
                  <a:lnTo>
                    <a:pt x="862559" y="1778089"/>
                  </a:lnTo>
                  <a:lnTo>
                    <a:pt x="864586" y="1778452"/>
                  </a:lnTo>
                  <a:lnTo>
                    <a:pt x="865524" y="1778270"/>
                  </a:lnTo>
                  <a:lnTo>
                    <a:pt x="868398" y="1774277"/>
                  </a:lnTo>
                  <a:lnTo>
                    <a:pt x="869698" y="1771615"/>
                  </a:lnTo>
                  <a:lnTo>
                    <a:pt x="869275" y="1770405"/>
                  </a:lnTo>
                  <a:lnTo>
                    <a:pt x="868851" y="1770011"/>
                  </a:lnTo>
                  <a:lnTo>
                    <a:pt x="868488" y="1768106"/>
                  </a:lnTo>
                  <a:lnTo>
                    <a:pt x="868246" y="1767470"/>
                  </a:lnTo>
                  <a:lnTo>
                    <a:pt x="867793" y="1767319"/>
                  </a:lnTo>
                  <a:lnTo>
                    <a:pt x="866643" y="1767531"/>
                  </a:lnTo>
                  <a:lnTo>
                    <a:pt x="866159" y="1767470"/>
                  </a:lnTo>
                  <a:lnTo>
                    <a:pt x="864737" y="1766654"/>
                  </a:lnTo>
                  <a:lnTo>
                    <a:pt x="863860" y="1766442"/>
                  </a:lnTo>
                  <a:lnTo>
                    <a:pt x="862710" y="1766442"/>
                  </a:lnTo>
                  <a:lnTo>
                    <a:pt x="865947" y="1765141"/>
                  </a:lnTo>
                  <a:lnTo>
                    <a:pt x="866855" y="1764506"/>
                  </a:lnTo>
                  <a:lnTo>
                    <a:pt x="867248" y="1763447"/>
                  </a:lnTo>
                  <a:lnTo>
                    <a:pt x="867188" y="1762267"/>
                  </a:lnTo>
                  <a:lnTo>
                    <a:pt x="867309" y="1761208"/>
                  </a:lnTo>
                  <a:lnTo>
                    <a:pt x="868277" y="1760573"/>
                  </a:lnTo>
                  <a:lnTo>
                    <a:pt x="869517" y="1759786"/>
                  </a:lnTo>
                  <a:lnTo>
                    <a:pt x="870183" y="1759514"/>
                  </a:lnTo>
                  <a:lnTo>
                    <a:pt x="871029" y="1759575"/>
                  </a:lnTo>
                  <a:lnTo>
                    <a:pt x="869517" y="1757941"/>
                  </a:lnTo>
                  <a:lnTo>
                    <a:pt x="868912" y="1757518"/>
                  </a:lnTo>
                  <a:lnTo>
                    <a:pt x="868912" y="1756610"/>
                  </a:lnTo>
                  <a:lnTo>
                    <a:pt x="870183" y="1755037"/>
                  </a:lnTo>
                  <a:lnTo>
                    <a:pt x="870001" y="1753403"/>
                  </a:lnTo>
                  <a:lnTo>
                    <a:pt x="870061" y="1752103"/>
                  </a:lnTo>
                  <a:lnTo>
                    <a:pt x="872058" y="1751588"/>
                  </a:lnTo>
                  <a:lnTo>
                    <a:pt x="873359" y="1752647"/>
                  </a:lnTo>
                  <a:lnTo>
                    <a:pt x="873934" y="1757760"/>
                  </a:lnTo>
                  <a:lnTo>
                    <a:pt x="875144" y="1759544"/>
                  </a:lnTo>
                  <a:lnTo>
                    <a:pt x="879349" y="1752859"/>
                  </a:lnTo>
                  <a:lnTo>
                    <a:pt x="880710" y="1751588"/>
                  </a:lnTo>
                  <a:lnTo>
                    <a:pt x="884976" y="1750288"/>
                  </a:lnTo>
                  <a:lnTo>
                    <a:pt x="886730" y="1749319"/>
                  </a:lnTo>
                  <a:lnTo>
                    <a:pt x="888606" y="1747232"/>
                  </a:lnTo>
                  <a:lnTo>
                    <a:pt x="890511" y="1746506"/>
                  </a:lnTo>
                  <a:lnTo>
                    <a:pt x="895503" y="1747232"/>
                  </a:lnTo>
                  <a:lnTo>
                    <a:pt x="896501" y="1746234"/>
                  </a:lnTo>
                  <a:lnTo>
                    <a:pt x="896683" y="1745417"/>
                  </a:lnTo>
                  <a:lnTo>
                    <a:pt x="897893" y="1742725"/>
                  </a:lnTo>
                  <a:lnTo>
                    <a:pt x="897893" y="1742120"/>
                  </a:lnTo>
                  <a:lnTo>
                    <a:pt x="897348" y="1741152"/>
                  </a:lnTo>
                  <a:lnTo>
                    <a:pt x="897197" y="1740274"/>
                  </a:lnTo>
                  <a:lnTo>
                    <a:pt x="897560" y="1739337"/>
                  </a:lnTo>
                  <a:lnTo>
                    <a:pt x="898377" y="1738278"/>
                  </a:lnTo>
                  <a:lnTo>
                    <a:pt x="899315" y="1737340"/>
                  </a:lnTo>
                  <a:lnTo>
                    <a:pt x="900010" y="1736795"/>
                  </a:lnTo>
                  <a:lnTo>
                    <a:pt x="900010" y="1735706"/>
                  </a:lnTo>
                  <a:lnTo>
                    <a:pt x="899224" y="1733831"/>
                  </a:lnTo>
                  <a:lnTo>
                    <a:pt x="900343" y="1732651"/>
                  </a:lnTo>
                  <a:lnTo>
                    <a:pt x="902400" y="1732016"/>
                  </a:lnTo>
                  <a:lnTo>
                    <a:pt x="904427" y="1731834"/>
                  </a:lnTo>
                  <a:lnTo>
                    <a:pt x="905002" y="1731592"/>
                  </a:lnTo>
                  <a:lnTo>
                    <a:pt x="905546" y="1731108"/>
                  </a:lnTo>
                  <a:lnTo>
                    <a:pt x="906152" y="1730745"/>
                  </a:lnTo>
                  <a:lnTo>
                    <a:pt x="906878" y="1730866"/>
                  </a:lnTo>
                  <a:lnTo>
                    <a:pt x="908269" y="1734799"/>
                  </a:lnTo>
                  <a:lnTo>
                    <a:pt x="908844" y="1734799"/>
                  </a:lnTo>
                  <a:lnTo>
                    <a:pt x="909358" y="1734466"/>
                  </a:lnTo>
                  <a:lnTo>
                    <a:pt x="909661" y="1734073"/>
                  </a:lnTo>
                  <a:lnTo>
                    <a:pt x="909661" y="1733831"/>
                  </a:lnTo>
                  <a:lnTo>
                    <a:pt x="926178" y="1732923"/>
                  </a:lnTo>
                  <a:lnTo>
                    <a:pt x="930111" y="1731501"/>
                  </a:lnTo>
                  <a:lnTo>
                    <a:pt x="937401" y="1727266"/>
                  </a:lnTo>
                  <a:lnTo>
                    <a:pt x="942030" y="1726813"/>
                  </a:lnTo>
                  <a:lnTo>
                    <a:pt x="950621" y="1728869"/>
                  </a:lnTo>
                  <a:lnTo>
                    <a:pt x="952376" y="1729868"/>
                  </a:lnTo>
                  <a:lnTo>
                    <a:pt x="953313" y="1731925"/>
                  </a:lnTo>
                  <a:lnTo>
                    <a:pt x="954402" y="1733710"/>
                  </a:lnTo>
                  <a:lnTo>
                    <a:pt x="956550" y="1733831"/>
                  </a:lnTo>
                  <a:lnTo>
                    <a:pt x="956550" y="1732923"/>
                  </a:lnTo>
                  <a:lnTo>
                    <a:pt x="956006" y="1731925"/>
                  </a:lnTo>
                  <a:lnTo>
                    <a:pt x="956127" y="1730927"/>
                  </a:lnTo>
                  <a:lnTo>
                    <a:pt x="956792" y="1730170"/>
                  </a:lnTo>
                  <a:lnTo>
                    <a:pt x="957912" y="1729807"/>
                  </a:lnTo>
                  <a:lnTo>
                    <a:pt x="957912" y="1728900"/>
                  </a:lnTo>
                  <a:lnTo>
                    <a:pt x="955098" y="1728900"/>
                  </a:lnTo>
                  <a:lnTo>
                    <a:pt x="955855" y="1727841"/>
                  </a:lnTo>
                  <a:lnTo>
                    <a:pt x="953888" y="1727629"/>
                  </a:lnTo>
                  <a:lnTo>
                    <a:pt x="953041" y="1727841"/>
                  </a:lnTo>
                  <a:lnTo>
                    <a:pt x="953041" y="1726843"/>
                  </a:lnTo>
                  <a:lnTo>
                    <a:pt x="956550" y="1725935"/>
                  </a:lnTo>
                  <a:lnTo>
                    <a:pt x="954281" y="1724362"/>
                  </a:lnTo>
                  <a:lnTo>
                    <a:pt x="948564" y="1725209"/>
                  </a:lnTo>
                  <a:lnTo>
                    <a:pt x="946870" y="1722971"/>
                  </a:lnTo>
                  <a:lnTo>
                    <a:pt x="951740" y="1723364"/>
                  </a:lnTo>
                  <a:lnTo>
                    <a:pt x="953041" y="1722971"/>
                  </a:lnTo>
                  <a:lnTo>
                    <a:pt x="953918" y="1721851"/>
                  </a:lnTo>
                  <a:lnTo>
                    <a:pt x="954281" y="1720308"/>
                  </a:lnTo>
                  <a:lnTo>
                    <a:pt x="953858" y="1718826"/>
                  </a:lnTo>
                  <a:lnTo>
                    <a:pt x="952406" y="1717918"/>
                  </a:lnTo>
                  <a:lnTo>
                    <a:pt x="952406" y="1717011"/>
                  </a:lnTo>
                  <a:lnTo>
                    <a:pt x="953646" y="1717011"/>
                  </a:lnTo>
                  <a:lnTo>
                    <a:pt x="954675" y="1716557"/>
                  </a:lnTo>
                  <a:lnTo>
                    <a:pt x="955461" y="1715499"/>
                  </a:lnTo>
                  <a:lnTo>
                    <a:pt x="955552" y="1715105"/>
                  </a:lnTo>
                  <a:lnTo>
                    <a:pt x="955855" y="1713956"/>
                  </a:lnTo>
                  <a:lnTo>
                    <a:pt x="956974" y="1714803"/>
                  </a:lnTo>
                  <a:lnTo>
                    <a:pt x="958002" y="1714893"/>
                  </a:lnTo>
                  <a:lnTo>
                    <a:pt x="959999" y="1713956"/>
                  </a:lnTo>
                  <a:lnTo>
                    <a:pt x="958910" y="1716043"/>
                  </a:lnTo>
                  <a:lnTo>
                    <a:pt x="957549" y="1717979"/>
                  </a:lnTo>
                  <a:lnTo>
                    <a:pt x="956792" y="1720036"/>
                  </a:lnTo>
                  <a:lnTo>
                    <a:pt x="957549" y="1722426"/>
                  </a:lnTo>
                  <a:lnTo>
                    <a:pt x="958365" y="1723908"/>
                  </a:lnTo>
                  <a:lnTo>
                    <a:pt x="958789" y="1725058"/>
                  </a:lnTo>
                  <a:lnTo>
                    <a:pt x="959394" y="1725996"/>
                  </a:lnTo>
                  <a:lnTo>
                    <a:pt x="960665" y="1726813"/>
                  </a:lnTo>
                  <a:lnTo>
                    <a:pt x="961784" y="1727054"/>
                  </a:lnTo>
                  <a:lnTo>
                    <a:pt x="965475" y="1726813"/>
                  </a:lnTo>
                  <a:lnTo>
                    <a:pt x="964083" y="1729535"/>
                  </a:lnTo>
                  <a:lnTo>
                    <a:pt x="965142" y="1731744"/>
                  </a:lnTo>
                  <a:lnTo>
                    <a:pt x="967380" y="1733256"/>
                  </a:lnTo>
                  <a:lnTo>
                    <a:pt x="969589" y="1733831"/>
                  </a:lnTo>
                  <a:lnTo>
                    <a:pt x="969195" y="1735192"/>
                  </a:lnTo>
                  <a:lnTo>
                    <a:pt x="968953" y="1735706"/>
                  </a:lnTo>
                  <a:lnTo>
                    <a:pt x="970557" y="1736977"/>
                  </a:lnTo>
                  <a:lnTo>
                    <a:pt x="971585" y="1737552"/>
                  </a:lnTo>
                  <a:lnTo>
                    <a:pt x="972705" y="1737764"/>
                  </a:lnTo>
                  <a:lnTo>
                    <a:pt x="973521" y="1737431"/>
                  </a:lnTo>
                  <a:lnTo>
                    <a:pt x="974883" y="1736009"/>
                  </a:lnTo>
                  <a:lnTo>
                    <a:pt x="975457" y="1735676"/>
                  </a:lnTo>
                  <a:lnTo>
                    <a:pt x="976456" y="1735374"/>
                  </a:lnTo>
                  <a:lnTo>
                    <a:pt x="979027" y="1734012"/>
                  </a:lnTo>
                  <a:lnTo>
                    <a:pt x="979965" y="1733800"/>
                  </a:lnTo>
                  <a:lnTo>
                    <a:pt x="981084" y="1734285"/>
                  </a:lnTo>
                  <a:lnTo>
                    <a:pt x="987709" y="1739851"/>
                  </a:lnTo>
                  <a:lnTo>
                    <a:pt x="993548" y="1746536"/>
                  </a:lnTo>
                  <a:lnTo>
                    <a:pt x="997299" y="1749682"/>
                  </a:lnTo>
                  <a:lnTo>
                    <a:pt x="998781" y="1748140"/>
                  </a:lnTo>
                  <a:lnTo>
                    <a:pt x="1000354" y="1748321"/>
                  </a:lnTo>
                  <a:lnTo>
                    <a:pt x="1002200" y="1749138"/>
                  </a:lnTo>
                  <a:lnTo>
                    <a:pt x="1004438" y="1749652"/>
                  </a:lnTo>
                  <a:lnTo>
                    <a:pt x="1006163" y="1749471"/>
                  </a:lnTo>
                  <a:lnTo>
                    <a:pt x="1010216" y="1748382"/>
                  </a:lnTo>
                  <a:lnTo>
                    <a:pt x="1011729" y="1747656"/>
                  </a:lnTo>
                  <a:lnTo>
                    <a:pt x="1010942" y="1744025"/>
                  </a:lnTo>
                  <a:lnTo>
                    <a:pt x="1011517" y="1740637"/>
                  </a:lnTo>
                  <a:lnTo>
                    <a:pt x="1012546" y="1737612"/>
                  </a:lnTo>
                  <a:lnTo>
                    <a:pt x="1013090" y="1735162"/>
                  </a:lnTo>
                  <a:lnTo>
                    <a:pt x="1014149" y="1733770"/>
                  </a:lnTo>
                  <a:lnTo>
                    <a:pt x="1016418" y="1733196"/>
                  </a:lnTo>
                  <a:lnTo>
                    <a:pt x="1018566" y="1732016"/>
                  </a:lnTo>
                  <a:lnTo>
                    <a:pt x="1019292" y="1728779"/>
                  </a:lnTo>
                  <a:lnTo>
                    <a:pt x="1020925" y="1730049"/>
                  </a:lnTo>
                  <a:lnTo>
                    <a:pt x="1022498" y="1730533"/>
                  </a:lnTo>
                  <a:lnTo>
                    <a:pt x="1023709" y="1729747"/>
                  </a:lnTo>
                  <a:lnTo>
                    <a:pt x="1024404" y="1726117"/>
                  </a:lnTo>
                  <a:lnTo>
                    <a:pt x="1024919" y="1725360"/>
                  </a:lnTo>
                  <a:lnTo>
                    <a:pt x="1025705" y="1724937"/>
                  </a:lnTo>
                  <a:lnTo>
                    <a:pt x="1026613" y="1724816"/>
                  </a:lnTo>
                  <a:lnTo>
                    <a:pt x="1026703" y="1724301"/>
                  </a:lnTo>
                  <a:lnTo>
                    <a:pt x="1027702" y="1721760"/>
                  </a:lnTo>
                  <a:lnTo>
                    <a:pt x="1027702" y="1720793"/>
                  </a:lnTo>
                  <a:lnTo>
                    <a:pt x="1023224" y="1720974"/>
                  </a:lnTo>
                  <a:lnTo>
                    <a:pt x="1021470" y="1720187"/>
                  </a:lnTo>
                  <a:lnTo>
                    <a:pt x="1020774" y="1717797"/>
                  </a:lnTo>
                  <a:lnTo>
                    <a:pt x="1021470" y="1715710"/>
                  </a:lnTo>
                  <a:lnTo>
                    <a:pt x="1023224" y="1714500"/>
                  </a:lnTo>
                  <a:lnTo>
                    <a:pt x="1025463" y="1713986"/>
                  </a:lnTo>
                  <a:lnTo>
                    <a:pt x="1027702" y="1713835"/>
                  </a:lnTo>
                  <a:lnTo>
                    <a:pt x="1025947" y="1707754"/>
                  </a:lnTo>
                  <a:lnTo>
                    <a:pt x="1025856" y="1704911"/>
                  </a:lnTo>
                  <a:lnTo>
                    <a:pt x="1026976" y="1700947"/>
                  </a:lnTo>
                  <a:lnTo>
                    <a:pt x="1028307" y="1697983"/>
                  </a:lnTo>
                  <a:lnTo>
                    <a:pt x="1029759" y="1695502"/>
                  </a:lnTo>
                  <a:lnTo>
                    <a:pt x="1031392" y="1693506"/>
                  </a:lnTo>
                  <a:lnTo>
                    <a:pt x="1033177" y="1691933"/>
                  </a:lnTo>
                  <a:lnTo>
                    <a:pt x="1032300" y="1689996"/>
                  </a:lnTo>
                  <a:lnTo>
                    <a:pt x="1030969" y="1684975"/>
                  </a:lnTo>
                  <a:lnTo>
                    <a:pt x="1029698" y="1683644"/>
                  </a:lnTo>
                  <a:lnTo>
                    <a:pt x="1029608" y="1682948"/>
                  </a:lnTo>
                  <a:lnTo>
                    <a:pt x="1029729" y="1682282"/>
                  </a:lnTo>
                  <a:lnTo>
                    <a:pt x="1030061" y="1681980"/>
                  </a:lnTo>
                  <a:lnTo>
                    <a:pt x="1030636" y="1682131"/>
                  </a:lnTo>
                  <a:lnTo>
                    <a:pt x="1030939" y="1682434"/>
                  </a:lnTo>
                  <a:lnTo>
                    <a:pt x="1031150" y="1682736"/>
                  </a:lnTo>
                  <a:lnTo>
                    <a:pt x="1031453" y="1682887"/>
                  </a:lnTo>
                  <a:lnTo>
                    <a:pt x="1031846" y="1683462"/>
                  </a:lnTo>
                  <a:lnTo>
                    <a:pt x="1033147" y="1686941"/>
                  </a:lnTo>
                  <a:lnTo>
                    <a:pt x="1034387" y="1689149"/>
                  </a:lnTo>
                  <a:lnTo>
                    <a:pt x="1035749" y="1690329"/>
                  </a:lnTo>
                  <a:lnTo>
                    <a:pt x="1037443" y="1690813"/>
                  </a:lnTo>
                  <a:lnTo>
                    <a:pt x="1039712" y="1690934"/>
                  </a:lnTo>
                  <a:lnTo>
                    <a:pt x="1047002" y="1687969"/>
                  </a:lnTo>
                  <a:lnTo>
                    <a:pt x="1048515" y="1685973"/>
                  </a:lnTo>
                  <a:lnTo>
                    <a:pt x="1049422" y="1684037"/>
                  </a:lnTo>
                  <a:lnTo>
                    <a:pt x="1050572" y="1682555"/>
                  </a:lnTo>
                  <a:lnTo>
                    <a:pt x="1054656" y="1681647"/>
                  </a:lnTo>
                  <a:lnTo>
                    <a:pt x="1058014" y="1680195"/>
                  </a:lnTo>
                  <a:lnTo>
                    <a:pt x="1059950" y="1679893"/>
                  </a:lnTo>
                  <a:lnTo>
                    <a:pt x="1061099" y="1680104"/>
                  </a:lnTo>
                  <a:lnTo>
                    <a:pt x="1063035" y="1680891"/>
                  </a:lnTo>
                  <a:lnTo>
                    <a:pt x="1064094" y="1680982"/>
                  </a:lnTo>
                  <a:lnTo>
                    <a:pt x="1065062" y="1680588"/>
                  </a:lnTo>
                  <a:lnTo>
                    <a:pt x="1066726" y="1679287"/>
                  </a:lnTo>
                  <a:lnTo>
                    <a:pt x="1067240" y="1679015"/>
                  </a:lnTo>
                  <a:lnTo>
                    <a:pt x="1069539" y="1677261"/>
                  </a:lnTo>
                  <a:lnTo>
                    <a:pt x="1070719" y="1676928"/>
                  </a:lnTo>
                  <a:lnTo>
                    <a:pt x="1074531" y="1677926"/>
                  </a:lnTo>
                  <a:lnTo>
                    <a:pt x="1076921" y="1677654"/>
                  </a:lnTo>
                  <a:lnTo>
                    <a:pt x="1080490" y="1675476"/>
                  </a:lnTo>
                  <a:lnTo>
                    <a:pt x="1082215" y="1675113"/>
                  </a:lnTo>
                  <a:lnTo>
                    <a:pt x="1088084" y="1673873"/>
                  </a:lnTo>
                  <a:lnTo>
                    <a:pt x="1090352" y="1673963"/>
                  </a:lnTo>
                  <a:lnTo>
                    <a:pt x="1107656" y="1679953"/>
                  </a:lnTo>
                  <a:lnTo>
                    <a:pt x="1128711" y="1694867"/>
                  </a:lnTo>
                  <a:lnTo>
                    <a:pt x="1131041" y="1698497"/>
                  </a:lnTo>
                  <a:lnTo>
                    <a:pt x="1131131" y="1704003"/>
                  </a:lnTo>
                  <a:lnTo>
                    <a:pt x="1131736" y="1704003"/>
                  </a:lnTo>
                  <a:lnTo>
                    <a:pt x="1133158" y="1701946"/>
                  </a:lnTo>
                  <a:lnTo>
                    <a:pt x="1134217" y="1699677"/>
                  </a:lnTo>
                  <a:lnTo>
                    <a:pt x="1133975" y="1697831"/>
                  </a:lnTo>
                  <a:lnTo>
                    <a:pt x="1131434" y="1697075"/>
                  </a:lnTo>
                  <a:lnTo>
                    <a:pt x="1130526" y="1695684"/>
                  </a:lnTo>
                  <a:lnTo>
                    <a:pt x="1131071" y="1692568"/>
                  </a:lnTo>
                  <a:lnTo>
                    <a:pt x="1132311" y="1689452"/>
                  </a:lnTo>
                  <a:lnTo>
                    <a:pt x="1133491" y="1688060"/>
                  </a:lnTo>
                  <a:lnTo>
                    <a:pt x="1137272" y="1686880"/>
                  </a:lnTo>
                  <a:lnTo>
                    <a:pt x="1139420" y="1686578"/>
                  </a:lnTo>
                  <a:lnTo>
                    <a:pt x="1142869" y="1688575"/>
                  </a:lnTo>
                  <a:lnTo>
                    <a:pt x="1161504" y="1690511"/>
                  </a:lnTo>
                  <a:lnTo>
                    <a:pt x="1169067" y="1693808"/>
                  </a:lnTo>
                  <a:lnTo>
                    <a:pt x="1170761" y="1694141"/>
                  </a:lnTo>
                  <a:lnTo>
                    <a:pt x="1178959" y="1693990"/>
                  </a:lnTo>
                  <a:lnTo>
                    <a:pt x="1180835" y="1693173"/>
                  </a:lnTo>
                  <a:lnTo>
                    <a:pt x="1180623" y="1691025"/>
                  </a:lnTo>
                  <a:lnTo>
                    <a:pt x="1184102" y="1687032"/>
                  </a:lnTo>
                  <a:lnTo>
                    <a:pt x="1183527" y="1686850"/>
                  </a:lnTo>
                  <a:lnTo>
                    <a:pt x="1182044" y="1685973"/>
                  </a:lnTo>
                  <a:lnTo>
                    <a:pt x="1182740" y="1683492"/>
                  </a:lnTo>
                  <a:lnTo>
                    <a:pt x="1182044" y="1682373"/>
                  </a:lnTo>
                  <a:lnTo>
                    <a:pt x="1180562" y="1682071"/>
                  </a:lnTo>
                  <a:lnTo>
                    <a:pt x="1178898" y="1682071"/>
                  </a:lnTo>
                  <a:lnTo>
                    <a:pt x="1177053" y="1681677"/>
                  </a:lnTo>
                  <a:lnTo>
                    <a:pt x="1175873" y="1680588"/>
                  </a:lnTo>
                  <a:lnTo>
                    <a:pt x="1173695" y="1677018"/>
                  </a:lnTo>
                  <a:lnTo>
                    <a:pt x="1172606" y="1677896"/>
                  </a:lnTo>
                  <a:lnTo>
                    <a:pt x="1171487" y="1678531"/>
                  </a:lnTo>
                  <a:lnTo>
                    <a:pt x="1170307" y="1678924"/>
                  </a:lnTo>
                  <a:lnTo>
                    <a:pt x="1168976" y="1679106"/>
                  </a:lnTo>
                  <a:lnTo>
                    <a:pt x="1172455" y="1673873"/>
                  </a:lnTo>
                  <a:lnTo>
                    <a:pt x="1173362" y="1673147"/>
                  </a:lnTo>
                  <a:lnTo>
                    <a:pt x="1173877" y="1673540"/>
                  </a:lnTo>
                  <a:lnTo>
                    <a:pt x="1174633" y="1675294"/>
                  </a:lnTo>
                  <a:lnTo>
                    <a:pt x="1174724" y="1675445"/>
                  </a:lnTo>
                  <a:lnTo>
                    <a:pt x="1175087" y="1675990"/>
                  </a:lnTo>
                  <a:lnTo>
                    <a:pt x="1175904" y="1676172"/>
                  </a:lnTo>
                  <a:lnTo>
                    <a:pt x="1178535" y="1675990"/>
                  </a:lnTo>
                  <a:lnTo>
                    <a:pt x="1182407" y="1676988"/>
                  </a:lnTo>
                  <a:lnTo>
                    <a:pt x="1182710" y="1677775"/>
                  </a:lnTo>
                  <a:lnTo>
                    <a:pt x="1182892" y="1679257"/>
                  </a:lnTo>
                  <a:lnTo>
                    <a:pt x="1183315" y="1680256"/>
                  </a:lnTo>
                  <a:lnTo>
                    <a:pt x="1184404" y="1679499"/>
                  </a:lnTo>
                  <a:lnTo>
                    <a:pt x="1185947" y="1677805"/>
                  </a:lnTo>
                  <a:lnTo>
                    <a:pt x="1187671" y="1676535"/>
                  </a:lnTo>
                  <a:lnTo>
                    <a:pt x="1187732" y="1676535"/>
                  </a:lnTo>
                  <a:lnTo>
                    <a:pt x="1189638" y="1675536"/>
                  </a:lnTo>
                  <a:lnTo>
                    <a:pt x="1191664" y="1674931"/>
                  </a:lnTo>
                  <a:lnTo>
                    <a:pt x="1193903" y="1674810"/>
                  </a:lnTo>
                  <a:lnTo>
                    <a:pt x="1197685" y="1675476"/>
                  </a:lnTo>
                  <a:lnTo>
                    <a:pt x="1200286" y="1675899"/>
                  </a:lnTo>
                  <a:lnTo>
                    <a:pt x="1202101" y="1675506"/>
                  </a:lnTo>
                  <a:lnTo>
                    <a:pt x="1205973" y="1673630"/>
                  </a:lnTo>
                  <a:lnTo>
                    <a:pt x="1208182" y="1673025"/>
                  </a:lnTo>
                  <a:lnTo>
                    <a:pt x="1210451" y="1673025"/>
                  </a:lnTo>
                  <a:lnTo>
                    <a:pt x="1217348" y="1674205"/>
                  </a:lnTo>
                  <a:lnTo>
                    <a:pt x="1219496" y="1675536"/>
                  </a:lnTo>
                  <a:lnTo>
                    <a:pt x="1221462" y="1676081"/>
                  </a:lnTo>
                  <a:lnTo>
                    <a:pt x="1221644" y="1676081"/>
                  </a:lnTo>
                  <a:lnTo>
                    <a:pt x="1221855" y="1675445"/>
                  </a:lnTo>
                  <a:lnTo>
                    <a:pt x="1225123" y="1669909"/>
                  </a:lnTo>
                  <a:lnTo>
                    <a:pt x="1228420" y="1670454"/>
                  </a:lnTo>
                  <a:lnTo>
                    <a:pt x="1228874" y="1670394"/>
                  </a:lnTo>
                  <a:lnTo>
                    <a:pt x="1230023" y="1669546"/>
                  </a:lnTo>
                  <a:lnTo>
                    <a:pt x="1232625" y="1668699"/>
                  </a:lnTo>
                  <a:lnTo>
                    <a:pt x="1237193" y="1667913"/>
                  </a:lnTo>
                  <a:lnTo>
                    <a:pt x="1237193" y="1667005"/>
                  </a:lnTo>
                  <a:lnTo>
                    <a:pt x="1236558" y="1666430"/>
                  </a:lnTo>
                  <a:lnTo>
                    <a:pt x="1235832" y="1665916"/>
                  </a:lnTo>
                  <a:lnTo>
                    <a:pt x="1237314" y="1665463"/>
                  </a:lnTo>
                  <a:lnTo>
                    <a:pt x="1243757" y="1664948"/>
                  </a:lnTo>
                  <a:lnTo>
                    <a:pt x="1246026" y="1664192"/>
                  </a:lnTo>
                  <a:lnTo>
                    <a:pt x="1246329" y="1662437"/>
                  </a:lnTo>
                  <a:lnTo>
                    <a:pt x="1245452" y="1660471"/>
                  </a:lnTo>
                  <a:lnTo>
                    <a:pt x="1237616" y="1652364"/>
                  </a:lnTo>
                  <a:lnTo>
                    <a:pt x="1235136" y="1649581"/>
                  </a:lnTo>
                  <a:lnTo>
                    <a:pt x="1233895" y="1649399"/>
                  </a:lnTo>
                  <a:lnTo>
                    <a:pt x="1232050" y="1648280"/>
                  </a:lnTo>
                  <a:lnTo>
                    <a:pt x="1231052" y="1647826"/>
                  </a:lnTo>
                  <a:lnTo>
                    <a:pt x="1231052" y="1646918"/>
                  </a:lnTo>
                  <a:lnTo>
                    <a:pt x="1232776" y="1647796"/>
                  </a:lnTo>
                  <a:lnTo>
                    <a:pt x="1243878" y="1653574"/>
                  </a:lnTo>
                  <a:lnTo>
                    <a:pt x="1245936" y="1655873"/>
                  </a:lnTo>
                  <a:lnTo>
                    <a:pt x="1247660" y="1657809"/>
                  </a:lnTo>
                  <a:lnTo>
                    <a:pt x="1248991" y="1658474"/>
                  </a:lnTo>
                  <a:lnTo>
                    <a:pt x="1252288" y="1659533"/>
                  </a:lnTo>
                  <a:lnTo>
                    <a:pt x="1254678" y="1661439"/>
                  </a:lnTo>
                  <a:lnTo>
                    <a:pt x="1257915" y="1663042"/>
                  </a:lnTo>
                  <a:lnTo>
                    <a:pt x="1258581" y="1664404"/>
                  </a:lnTo>
                  <a:lnTo>
                    <a:pt x="1259276" y="1665311"/>
                  </a:lnTo>
                  <a:lnTo>
                    <a:pt x="1260910" y="1666279"/>
                  </a:lnTo>
                  <a:lnTo>
                    <a:pt x="1262755" y="1666945"/>
                  </a:lnTo>
                  <a:lnTo>
                    <a:pt x="1264056" y="1667005"/>
                  </a:lnTo>
                  <a:lnTo>
                    <a:pt x="1265387" y="1665856"/>
                  </a:lnTo>
                  <a:lnTo>
                    <a:pt x="1265750" y="1664283"/>
                  </a:lnTo>
                  <a:lnTo>
                    <a:pt x="1265478" y="1661439"/>
                  </a:lnTo>
                  <a:lnTo>
                    <a:pt x="1264873" y="1660501"/>
                  </a:lnTo>
                  <a:lnTo>
                    <a:pt x="1261364" y="1657779"/>
                  </a:lnTo>
                  <a:lnTo>
                    <a:pt x="1262846" y="1657355"/>
                  </a:lnTo>
                  <a:lnTo>
                    <a:pt x="1269048" y="1656902"/>
                  </a:lnTo>
                  <a:lnTo>
                    <a:pt x="1269138" y="1656902"/>
                  </a:lnTo>
                  <a:lnTo>
                    <a:pt x="1270953" y="1657779"/>
                  </a:lnTo>
                  <a:lnTo>
                    <a:pt x="1270348" y="1659775"/>
                  </a:lnTo>
                  <a:lnTo>
                    <a:pt x="1268503" y="1662286"/>
                  </a:lnTo>
                  <a:lnTo>
                    <a:pt x="1267565" y="1664827"/>
                  </a:lnTo>
                  <a:lnTo>
                    <a:pt x="1269592" y="1666945"/>
                  </a:lnTo>
                  <a:lnTo>
                    <a:pt x="1272254" y="1666642"/>
                  </a:lnTo>
                  <a:lnTo>
                    <a:pt x="1273616" y="1663859"/>
                  </a:lnTo>
                  <a:lnTo>
                    <a:pt x="1274523" y="1660350"/>
                  </a:lnTo>
                  <a:lnTo>
                    <a:pt x="1275824" y="1657748"/>
                  </a:lnTo>
                  <a:lnTo>
                    <a:pt x="1277730" y="1657265"/>
                  </a:lnTo>
                  <a:lnTo>
                    <a:pt x="1280846" y="1657265"/>
                  </a:lnTo>
                  <a:lnTo>
                    <a:pt x="1284022" y="1657839"/>
                  </a:lnTo>
                  <a:lnTo>
                    <a:pt x="1284960" y="1658323"/>
                  </a:lnTo>
                  <a:lnTo>
                    <a:pt x="1286049" y="1658898"/>
                  </a:lnTo>
                  <a:lnTo>
                    <a:pt x="1285051" y="1660864"/>
                  </a:lnTo>
                  <a:lnTo>
                    <a:pt x="1285777" y="1661046"/>
                  </a:lnTo>
                  <a:lnTo>
                    <a:pt x="1287017" y="1660410"/>
                  </a:lnTo>
                  <a:lnTo>
                    <a:pt x="1287501" y="1659927"/>
                  </a:lnTo>
                  <a:lnTo>
                    <a:pt x="1288651" y="1660532"/>
                  </a:lnTo>
                  <a:lnTo>
                    <a:pt x="1290617" y="1662347"/>
                  </a:lnTo>
                  <a:lnTo>
                    <a:pt x="1291615" y="1663012"/>
                  </a:lnTo>
                  <a:lnTo>
                    <a:pt x="1291615" y="1663920"/>
                  </a:lnTo>
                  <a:lnTo>
                    <a:pt x="1288711" y="1665009"/>
                  </a:lnTo>
                  <a:lnTo>
                    <a:pt x="1287380" y="1665947"/>
                  </a:lnTo>
                  <a:lnTo>
                    <a:pt x="1286805" y="1667459"/>
                  </a:lnTo>
                  <a:lnTo>
                    <a:pt x="1287562" y="1668336"/>
                  </a:lnTo>
                  <a:lnTo>
                    <a:pt x="1296758" y="1673751"/>
                  </a:lnTo>
                  <a:lnTo>
                    <a:pt x="1299057" y="1674447"/>
                  </a:lnTo>
                  <a:lnTo>
                    <a:pt x="1300963" y="1673449"/>
                  </a:lnTo>
                  <a:lnTo>
                    <a:pt x="1301447" y="1671936"/>
                  </a:lnTo>
                  <a:lnTo>
                    <a:pt x="1300751" y="1669183"/>
                  </a:lnTo>
                  <a:lnTo>
                    <a:pt x="1301326" y="1667913"/>
                  </a:lnTo>
                  <a:lnTo>
                    <a:pt x="1302264" y="1667580"/>
                  </a:lnTo>
                  <a:lnTo>
                    <a:pt x="1303111" y="1668034"/>
                  </a:lnTo>
                  <a:lnTo>
                    <a:pt x="1303958" y="1668699"/>
                  </a:lnTo>
                  <a:lnTo>
                    <a:pt x="1304835" y="1669002"/>
                  </a:lnTo>
                  <a:lnTo>
                    <a:pt x="1321322" y="1663920"/>
                  </a:lnTo>
                  <a:lnTo>
                    <a:pt x="1338566" y="1663920"/>
                  </a:lnTo>
                  <a:lnTo>
                    <a:pt x="1351422" y="1659654"/>
                  </a:lnTo>
                  <a:lnTo>
                    <a:pt x="1355113" y="1661016"/>
                  </a:lnTo>
                  <a:lnTo>
                    <a:pt x="1357564" y="1659806"/>
                  </a:lnTo>
                  <a:lnTo>
                    <a:pt x="1357836" y="1659684"/>
                  </a:lnTo>
                  <a:lnTo>
                    <a:pt x="1361163" y="1659987"/>
                  </a:lnTo>
                  <a:lnTo>
                    <a:pt x="1380343" y="1666430"/>
                  </a:lnTo>
                  <a:lnTo>
                    <a:pt x="1382067" y="1667005"/>
                  </a:lnTo>
                  <a:lnTo>
                    <a:pt x="1386332" y="1667278"/>
                  </a:lnTo>
                  <a:lnTo>
                    <a:pt x="1388208" y="1667853"/>
                  </a:lnTo>
                  <a:lnTo>
                    <a:pt x="1389963" y="1669456"/>
                  </a:lnTo>
                  <a:lnTo>
                    <a:pt x="1390870" y="1669940"/>
                  </a:lnTo>
                  <a:lnTo>
                    <a:pt x="1394410" y="1669940"/>
                  </a:lnTo>
                  <a:lnTo>
                    <a:pt x="1395499" y="1670091"/>
                  </a:lnTo>
                  <a:lnTo>
                    <a:pt x="1400097" y="1671694"/>
                  </a:lnTo>
                  <a:lnTo>
                    <a:pt x="1402094" y="1671967"/>
                  </a:lnTo>
                  <a:lnTo>
                    <a:pt x="1405814" y="1671906"/>
                  </a:lnTo>
                  <a:lnTo>
                    <a:pt x="1409535" y="1667005"/>
                  </a:lnTo>
                  <a:lnTo>
                    <a:pt x="1412984" y="1664918"/>
                  </a:lnTo>
                  <a:lnTo>
                    <a:pt x="1413196" y="1664343"/>
                  </a:lnTo>
                  <a:lnTo>
                    <a:pt x="1414194" y="1662800"/>
                  </a:lnTo>
                  <a:lnTo>
                    <a:pt x="1415313" y="1661439"/>
                  </a:lnTo>
                  <a:lnTo>
                    <a:pt x="1415827" y="1661439"/>
                  </a:lnTo>
                  <a:lnTo>
                    <a:pt x="1419579" y="1659927"/>
                  </a:lnTo>
                  <a:lnTo>
                    <a:pt x="1441390" y="1655631"/>
                  </a:lnTo>
                  <a:lnTo>
                    <a:pt x="1445444" y="1653937"/>
                  </a:lnTo>
                  <a:lnTo>
                    <a:pt x="1455306" y="1645073"/>
                  </a:lnTo>
                  <a:lnTo>
                    <a:pt x="1459299" y="1643863"/>
                  </a:lnTo>
                  <a:lnTo>
                    <a:pt x="1466105" y="1645920"/>
                  </a:lnTo>
                  <a:lnTo>
                    <a:pt x="1473698" y="1648219"/>
                  </a:lnTo>
                  <a:lnTo>
                    <a:pt x="1477177" y="1646949"/>
                  </a:lnTo>
                  <a:lnTo>
                    <a:pt x="1476088" y="1641261"/>
                  </a:lnTo>
                  <a:lnTo>
                    <a:pt x="1475816" y="1637480"/>
                  </a:lnTo>
                  <a:lnTo>
                    <a:pt x="1476814" y="1635786"/>
                  </a:lnTo>
                  <a:lnTo>
                    <a:pt x="1481957" y="1628858"/>
                  </a:lnTo>
                  <a:lnTo>
                    <a:pt x="1485920" y="1625501"/>
                  </a:lnTo>
                  <a:lnTo>
                    <a:pt x="1487947" y="1624230"/>
                  </a:lnTo>
                  <a:lnTo>
                    <a:pt x="1489914" y="1623746"/>
                  </a:lnTo>
                  <a:lnTo>
                    <a:pt x="1496508" y="1623595"/>
                  </a:lnTo>
                  <a:lnTo>
                    <a:pt x="1498505" y="1622838"/>
                  </a:lnTo>
                  <a:lnTo>
                    <a:pt x="1499291" y="1622082"/>
                  </a:lnTo>
                  <a:lnTo>
                    <a:pt x="1500138" y="1621053"/>
                  </a:lnTo>
                  <a:lnTo>
                    <a:pt x="1501137" y="1620116"/>
                  </a:lnTo>
                  <a:lnTo>
                    <a:pt x="1502317" y="1619722"/>
                  </a:lnTo>
                  <a:lnTo>
                    <a:pt x="1504495" y="1619904"/>
                  </a:lnTo>
                  <a:lnTo>
                    <a:pt x="1505644" y="1619813"/>
                  </a:lnTo>
                  <a:lnTo>
                    <a:pt x="1508397" y="1617847"/>
                  </a:lnTo>
                  <a:lnTo>
                    <a:pt x="1515113" y="1615699"/>
                  </a:lnTo>
                  <a:lnTo>
                    <a:pt x="1517866" y="1612674"/>
                  </a:lnTo>
                  <a:lnTo>
                    <a:pt x="1519923" y="1607985"/>
                  </a:lnTo>
                  <a:lnTo>
                    <a:pt x="1520770" y="1602358"/>
                  </a:lnTo>
                  <a:lnTo>
                    <a:pt x="1519892" y="1596519"/>
                  </a:lnTo>
                  <a:lnTo>
                    <a:pt x="1518229" y="1592587"/>
                  </a:lnTo>
                  <a:lnTo>
                    <a:pt x="1517503" y="1590106"/>
                  </a:lnTo>
                  <a:lnTo>
                    <a:pt x="1517200" y="1586930"/>
                  </a:lnTo>
                  <a:lnTo>
                    <a:pt x="1517745" y="1586416"/>
                  </a:lnTo>
                  <a:lnTo>
                    <a:pt x="1521344" y="1586416"/>
                  </a:lnTo>
                  <a:lnTo>
                    <a:pt x="1522010" y="1585931"/>
                  </a:lnTo>
                  <a:lnTo>
                    <a:pt x="1522585" y="1585236"/>
                  </a:lnTo>
                  <a:lnTo>
                    <a:pt x="1523069" y="1584358"/>
                  </a:lnTo>
                  <a:lnTo>
                    <a:pt x="1523432" y="1583421"/>
                  </a:lnTo>
                  <a:lnTo>
                    <a:pt x="1524339" y="1578581"/>
                  </a:lnTo>
                  <a:lnTo>
                    <a:pt x="1521889" y="1577219"/>
                  </a:lnTo>
                  <a:lnTo>
                    <a:pt x="1489399" y="1580002"/>
                  </a:lnTo>
                  <a:lnTo>
                    <a:pt x="1476966" y="1583572"/>
                  </a:lnTo>
                  <a:lnTo>
                    <a:pt x="1455548" y="1581303"/>
                  </a:lnTo>
                  <a:lnTo>
                    <a:pt x="1454459" y="1580244"/>
                  </a:lnTo>
                  <a:lnTo>
                    <a:pt x="1453037" y="1577824"/>
                  </a:lnTo>
                  <a:lnTo>
                    <a:pt x="1451948" y="1575132"/>
                  </a:lnTo>
                  <a:lnTo>
                    <a:pt x="1451736" y="1573226"/>
                  </a:lnTo>
                  <a:lnTo>
                    <a:pt x="1449618" y="1573135"/>
                  </a:lnTo>
                  <a:lnTo>
                    <a:pt x="1449134" y="1574557"/>
                  </a:lnTo>
                  <a:lnTo>
                    <a:pt x="1449588" y="1576614"/>
                  </a:lnTo>
                  <a:lnTo>
                    <a:pt x="1450405" y="1578338"/>
                  </a:lnTo>
                  <a:lnTo>
                    <a:pt x="1446291" y="1577340"/>
                  </a:lnTo>
                  <a:lnTo>
                    <a:pt x="1437639" y="1577340"/>
                  </a:lnTo>
                  <a:lnTo>
                    <a:pt x="1436701" y="1576977"/>
                  </a:lnTo>
                  <a:lnTo>
                    <a:pt x="1435945" y="1576100"/>
                  </a:lnTo>
                  <a:lnTo>
                    <a:pt x="1435249" y="1575071"/>
                  </a:lnTo>
                  <a:lnTo>
                    <a:pt x="1434462" y="1574224"/>
                  </a:lnTo>
                  <a:lnTo>
                    <a:pt x="1436308" y="1573135"/>
                  </a:lnTo>
                  <a:lnTo>
                    <a:pt x="1439999" y="1572318"/>
                  </a:lnTo>
                  <a:lnTo>
                    <a:pt x="1443175" y="1569505"/>
                  </a:lnTo>
                  <a:lnTo>
                    <a:pt x="1444748" y="1569445"/>
                  </a:lnTo>
                  <a:lnTo>
                    <a:pt x="1448348" y="1570201"/>
                  </a:lnTo>
                  <a:lnTo>
                    <a:pt x="1450435" y="1569959"/>
                  </a:lnTo>
                  <a:lnTo>
                    <a:pt x="1451433" y="1569142"/>
                  </a:lnTo>
                  <a:lnTo>
                    <a:pt x="1451313" y="1567720"/>
                  </a:lnTo>
                  <a:lnTo>
                    <a:pt x="1450072" y="1565603"/>
                  </a:lnTo>
                  <a:lnTo>
                    <a:pt x="1448590" y="1564635"/>
                  </a:lnTo>
                  <a:lnTo>
                    <a:pt x="1432496" y="1562456"/>
                  </a:lnTo>
                  <a:lnTo>
                    <a:pt x="1425932" y="1564120"/>
                  </a:lnTo>
                  <a:lnTo>
                    <a:pt x="1425448" y="1564574"/>
                  </a:lnTo>
                  <a:lnTo>
                    <a:pt x="1425115" y="1565633"/>
                  </a:lnTo>
                  <a:lnTo>
                    <a:pt x="1424631" y="1566661"/>
                  </a:lnTo>
                  <a:lnTo>
                    <a:pt x="1423784" y="1567145"/>
                  </a:lnTo>
                  <a:lnTo>
                    <a:pt x="1417340" y="1568174"/>
                  </a:lnTo>
                  <a:lnTo>
                    <a:pt x="1418823" y="1567387"/>
                  </a:lnTo>
                  <a:lnTo>
                    <a:pt x="1420335" y="1566873"/>
                  </a:lnTo>
                  <a:lnTo>
                    <a:pt x="1421787" y="1566087"/>
                  </a:lnTo>
                  <a:lnTo>
                    <a:pt x="1423118" y="1564635"/>
                  </a:lnTo>
                  <a:lnTo>
                    <a:pt x="1423753" y="1562971"/>
                  </a:lnTo>
                  <a:lnTo>
                    <a:pt x="1424026" y="1561458"/>
                  </a:lnTo>
                  <a:lnTo>
                    <a:pt x="1424570" y="1560369"/>
                  </a:lnTo>
                  <a:lnTo>
                    <a:pt x="1431558" y="1558675"/>
                  </a:lnTo>
                  <a:lnTo>
                    <a:pt x="1433736" y="1558554"/>
                  </a:lnTo>
                  <a:lnTo>
                    <a:pt x="1434311" y="1558554"/>
                  </a:lnTo>
                  <a:lnTo>
                    <a:pt x="1435914" y="1559946"/>
                  </a:lnTo>
                  <a:lnTo>
                    <a:pt x="1437276" y="1558735"/>
                  </a:lnTo>
                  <a:lnTo>
                    <a:pt x="1438577" y="1558403"/>
                  </a:lnTo>
                  <a:lnTo>
                    <a:pt x="1439938" y="1558342"/>
                  </a:lnTo>
                  <a:lnTo>
                    <a:pt x="1441420" y="1557888"/>
                  </a:lnTo>
                  <a:lnTo>
                    <a:pt x="1443357" y="1556194"/>
                  </a:lnTo>
                  <a:lnTo>
                    <a:pt x="1443477" y="1555952"/>
                  </a:lnTo>
                  <a:lnTo>
                    <a:pt x="1443750" y="1555952"/>
                  </a:lnTo>
                  <a:lnTo>
                    <a:pt x="1444143" y="1555831"/>
                  </a:lnTo>
                  <a:lnTo>
                    <a:pt x="1445474" y="1555831"/>
                  </a:lnTo>
                  <a:lnTo>
                    <a:pt x="1445535" y="1555952"/>
                  </a:lnTo>
                  <a:lnTo>
                    <a:pt x="1448318" y="1555771"/>
                  </a:lnTo>
                  <a:lnTo>
                    <a:pt x="1456304" y="1556951"/>
                  </a:lnTo>
                  <a:lnTo>
                    <a:pt x="1460842" y="1555650"/>
                  </a:lnTo>
                  <a:lnTo>
                    <a:pt x="1462052" y="1554954"/>
                  </a:lnTo>
                  <a:lnTo>
                    <a:pt x="1466589" y="1552322"/>
                  </a:lnTo>
                  <a:lnTo>
                    <a:pt x="1471732" y="1548026"/>
                  </a:lnTo>
                  <a:lnTo>
                    <a:pt x="1474485" y="1543761"/>
                  </a:lnTo>
                  <a:lnTo>
                    <a:pt x="1474122" y="1543095"/>
                  </a:lnTo>
                  <a:lnTo>
                    <a:pt x="1473154" y="1542581"/>
                  </a:lnTo>
                  <a:lnTo>
                    <a:pt x="1470431" y="1542763"/>
                  </a:lnTo>
                  <a:lnTo>
                    <a:pt x="1471974" y="1541704"/>
                  </a:lnTo>
                  <a:lnTo>
                    <a:pt x="1472791" y="1540978"/>
                  </a:lnTo>
                  <a:lnTo>
                    <a:pt x="1473124" y="1540191"/>
                  </a:lnTo>
                  <a:lnTo>
                    <a:pt x="1473124" y="1536743"/>
                  </a:lnTo>
                  <a:lnTo>
                    <a:pt x="1473487" y="1535472"/>
                  </a:lnTo>
                  <a:lnTo>
                    <a:pt x="1474515" y="1534655"/>
                  </a:lnTo>
                  <a:lnTo>
                    <a:pt x="1473729" y="1532840"/>
                  </a:lnTo>
                  <a:lnTo>
                    <a:pt x="1473335" y="1531691"/>
                  </a:lnTo>
                  <a:lnTo>
                    <a:pt x="1473124" y="1530511"/>
                  </a:lnTo>
                  <a:lnTo>
                    <a:pt x="1473366" y="1530269"/>
                  </a:lnTo>
                  <a:lnTo>
                    <a:pt x="1473789" y="1529149"/>
                  </a:lnTo>
                  <a:lnTo>
                    <a:pt x="1474061" y="1527697"/>
                  </a:lnTo>
                  <a:lnTo>
                    <a:pt x="1473880" y="1526457"/>
                  </a:lnTo>
                  <a:lnTo>
                    <a:pt x="1472307" y="1524975"/>
                  </a:lnTo>
                  <a:lnTo>
                    <a:pt x="1470522" y="1525278"/>
                  </a:lnTo>
                  <a:lnTo>
                    <a:pt x="1467618" y="1527456"/>
                  </a:lnTo>
                  <a:lnTo>
                    <a:pt x="1464563" y="1528635"/>
                  </a:lnTo>
                  <a:lnTo>
                    <a:pt x="1458119" y="1529936"/>
                  </a:lnTo>
                  <a:lnTo>
                    <a:pt x="1455275" y="1532538"/>
                  </a:lnTo>
                  <a:lnTo>
                    <a:pt x="1454126" y="1530178"/>
                  </a:lnTo>
                  <a:lnTo>
                    <a:pt x="1452432" y="1529392"/>
                  </a:lnTo>
                  <a:lnTo>
                    <a:pt x="1450587" y="1529149"/>
                  </a:lnTo>
                  <a:lnTo>
                    <a:pt x="1449014" y="1528454"/>
                  </a:lnTo>
                  <a:lnTo>
                    <a:pt x="1451252" y="1527244"/>
                  </a:lnTo>
                  <a:lnTo>
                    <a:pt x="1455911" y="1525550"/>
                  </a:lnTo>
                  <a:lnTo>
                    <a:pt x="1458391" y="1525308"/>
                  </a:lnTo>
                  <a:lnTo>
                    <a:pt x="1459359" y="1525519"/>
                  </a:lnTo>
                  <a:lnTo>
                    <a:pt x="1461568" y="1526397"/>
                  </a:lnTo>
                  <a:lnTo>
                    <a:pt x="1462808" y="1526397"/>
                  </a:lnTo>
                  <a:lnTo>
                    <a:pt x="1463836" y="1525973"/>
                  </a:lnTo>
                  <a:lnTo>
                    <a:pt x="1465440" y="1524642"/>
                  </a:lnTo>
                  <a:lnTo>
                    <a:pt x="1466620" y="1524370"/>
                  </a:lnTo>
                  <a:lnTo>
                    <a:pt x="1467134" y="1523553"/>
                  </a:lnTo>
                  <a:lnTo>
                    <a:pt x="1467588" y="1521768"/>
                  </a:lnTo>
                  <a:lnTo>
                    <a:pt x="1467890" y="1519984"/>
                  </a:lnTo>
                  <a:lnTo>
                    <a:pt x="1467951" y="1519167"/>
                  </a:lnTo>
                  <a:lnTo>
                    <a:pt x="1468677" y="1518804"/>
                  </a:lnTo>
                  <a:lnTo>
                    <a:pt x="1471793" y="1516111"/>
                  </a:lnTo>
                  <a:lnTo>
                    <a:pt x="1475514" y="1514447"/>
                  </a:lnTo>
                  <a:lnTo>
                    <a:pt x="1477026" y="1512844"/>
                  </a:lnTo>
                  <a:lnTo>
                    <a:pt x="1477299" y="1510000"/>
                  </a:lnTo>
                  <a:lnTo>
                    <a:pt x="1478206" y="1511997"/>
                  </a:lnTo>
                  <a:lnTo>
                    <a:pt x="1481473" y="1516142"/>
                  </a:lnTo>
                  <a:lnTo>
                    <a:pt x="1483077" y="1519197"/>
                  </a:lnTo>
                  <a:lnTo>
                    <a:pt x="1484014" y="1519953"/>
                  </a:lnTo>
                  <a:lnTo>
                    <a:pt x="1485890" y="1520225"/>
                  </a:lnTo>
                  <a:lnTo>
                    <a:pt x="1492939" y="1519287"/>
                  </a:lnTo>
                  <a:lnTo>
                    <a:pt x="1496206" y="1518017"/>
                  </a:lnTo>
                  <a:lnTo>
                    <a:pt x="1501379" y="1514810"/>
                  </a:lnTo>
                  <a:lnTo>
                    <a:pt x="1507126" y="1509879"/>
                  </a:lnTo>
                  <a:lnTo>
                    <a:pt x="1508306" y="1507520"/>
                  </a:lnTo>
                  <a:lnTo>
                    <a:pt x="1508155" y="1504343"/>
                  </a:lnTo>
                  <a:lnTo>
                    <a:pt x="1507731" y="1504525"/>
                  </a:lnTo>
                  <a:lnTo>
                    <a:pt x="1506975" y="1506037"/>
                  </a:lnTo>
                  <a:lnTo>
                    <a:pt x="1505947" y="1507006"/>
                  </a:lnTo>
                  <a:lnTo>
                    <a:pt x="1502256" y="1506491"/>
                  </a:lnTo>
                  <a:lnTo>
                    <a:pt x="1500683" y="1505856"/>
                  </a:lnTo>
                  <a:lnTo>
                    <a:pt x="1499412" y="1504948"/>
                  </a:lnTo>
                  <a:lnTo>
                    <a:pt x="1507368" y="1497416"/>
                  </a:lnTo>
                  <a:lnTo>
                    <a:pt x="1507701" y="1494633"/>
                  </a:lnTo>
                  <a:lnTo>
                    <a:pt x="1505705" y="1495752"/>
                  </a:lnTo>
                  <a:lnTo>
                    <a:pt x="1488945" y="1494754"/>
                  </a:lnTo>
                  <a:lnTo>
                    <a:pt x="1486283" y="1493604"/>
                  </a:lnTo>
                  <a:lnTo>
                    <a:pt x="1488824" y="1493241"/>
                  </a:lnTo>
                  <a:lnTo>
                    <a:pt x="1493725" y="1491759"/>
                  </a:lnTo>
                  <a:lnTo>
                    <a:pt x="1495964" y="1491608"/>
                  </a:lnTo>
                  <a:lnTo>
                    <a:pt x="1498777" y="1493332"/>
                  </a:lnTo>
                  <a:lnTo>
                    <a:pt x="1500048" y="1493634"/>
                  </a:lnTo>
                  <a:lnTo>
                    <a:pt x="1501258" y="1493514"/>
                  </a:lnTo>
                  <a:lnTo>
                    <a:pt x="1503406" y="1492878"/>
                  </a:lnTo>
                  <a:lnTo>
                    <a:pt x="1504585" y="1492727"/>
                  </a:lnTo>
                  <a:lnTo>
                    <a:pt x="1506612" y="1493211"/>
                  </a:lnTo>
                  <a:lnTo>
                    <a:pt x="1506975" y="1492545"/>
                  </a:lnTo>
                  <a:lnTo>
                    <a:pt x="1507036" y="1490125"/>
                  </a:lnTo>
                  <a:lnTo>
                    <a:pt x="1506582" y="1489460"/>
                  </a:lnTo>
                  <a:lnTo>
                    <a:pt x="1505523" y="1488976"/>
                  </a:lnTo>
                  <a:lnTo>
                    <a:pt x="1500894" y="1487977"/>
                  </a:lnTo>
                  <a:lnTo>
                    <a:pt x="1498807" y="1486586"/>
                  </a:lnTo>
                  <a:lnTo>
                    <a:pt x="1495208" y="1483470"/>
                  </a:lnTo>
                  <a:lnTo>
                    <a:pt x="1495208" y="1482441"/>
                  </a:lnTo>
                  <a:lnTo>
                    <a:pt x="1497960" y="1482956"/>
                  </a:lnTo>
                  <a:lnTo>
                    <a:pt x="1502952" y="1486677"/>
                  </a:lnTo>
                  <a:lnTo>
                    <a:pt x="1505916" y="1487554"/>
                  </a:lnTo>
                  <a:lnTo>
                    <a:pt x="1512753" y="1495692"/>
                  </a:lnTo>
                  <a:lnTo>
                    <a:pt x="1513872" y="1495268"/>
                  </a:lnTo>
                  <a:lnTo>
                    <a:pt x="1515022" y="1493604"/>
                  </a:lnTo>
                  <a:lnTo>
                    <a:pt x="1522070" y="1486434"/>
                  </a:lnTo>
                  <a:lnTo>
                    <a:pt x="1524491" y="1482956"/>
                  </a:lnTo>
                  <a:lnTo>
                    <a:pt x="1525186" y="1482441"/>
                  </a:lnTo>
                  <a:lnTo>
                    <a:pt x="1526003" y="1481443"/>
                  </a:lnTo>
                  <a:lnTo>
                    <a:pt x="1526275" y="1479507"/>
                  </a:lnTo>
                  <a:lnTo>
                    <a:pt x="1526790" y="1478267"/>
                  </a:lnTo>
                  <a:lnTo>
                    <a:pt x="1528272" y="1479356"/>
                  </a:lnTo>
                  <a:lnTo>
                    <a:pt x="1529966" y="1477571"/>
                  </a:lnTo>
                  <a:lnTo>
                    <a:pt x="1537892" y="1474485"/>
                  </a:lnTo>
                  <a:lnTo>
                    <a:pt x="1538437" y="1473638"/>
                  </a:lnTo>
                  <a:lnTo>
                    <a:pt x="1538588" y="1471551"/>
                  </a:lnTo>
                  <a:lnTo>
                    <a:pt x="1540040" y="1467497"/>
                  </a:lnTo>
                  <a:lnTo>
                    <a:pt x="1540433" y="1464775"/>
                  </a:lnTo>
                  <a:lnTo>
                    <a:pt x="1542248" y="1459601"/>
                  </a:lnTo>
                  <a:lnTo>
                    <a:pt x="1542793" y="1456667"/>
                  </a:lnTo>
                  <a:lnTo>
                    <a:pt x="1542520" y="1449861"/>
                  </a:lnTo>
                  <a:lnTo>
                    <a:pt x="1542763" y="1445988"/>
                  </a:lnTo>
                  <a:lnTo>
                    <a:pt x="1543821" y="1444264"/>
                  </a:lnTo>
                  <a:lnTo>
                    <a:pt x="1544910" y="1443175"/>
                  </a:lnTo>
                  <a:lnTo>
                    <a:pt x="1548117" y="1437821"/>
                  </a:lnTo>
                  <a:lnTo>
                    <a:pt x="1552564" y="1426960"/>
                  </a:lnTo>
                  <a:lnTo>
                    <a:pt x="1552776" y="1425508"/>
                  </a:lnTo>
                  <a:lnTo>
                    <a:pt x="1552685" y="1424056"/>
                  </a:lnTo>
                  <a:lnTo>
                    <a:pt x="1555226" y="1416221"/>
                  </a:lnTo>
                  <a:lnTo>
                    <a:pt x="1556497" y="1414769"/>
                  </a:lnTo>
                  <a:lnTo>
                    <a:pt x="1556920" y="1413407"/>
                  </a:lnTo>
                  <a:lnTo>
                    <a:pt x="1554561" y="1406268"/>
                  </a:lnTo>
                  <a:close/>
                  <a:moveTo>
                    <a:pt x="1084574" y="375027"/>
                  </a:moveTo>
                  <a:lnTo>
                    <a:pt x="1087418" y="373303"/>
                  </a:lnTo>
                  <a:lnTo>
                    <a:pt x="1087600" y="371125"/>
                  </a:lnTo>
                  <a:lnTo>
                    <a:pt x="1085270" y="370066"/>
                  </a:lnTo>
                  <a:lnTo>
                    <a:pt x="1080642" y="369703"/>
                  </a:lnTo>
                  <a:lnTo>
                    <a:pt x="1076195" y="370550"/>
                  </a:lnTo>
                  <a:lnTo>
                    <a:pt x="1072323" y="372153"/>
                  </a:lnTo>
                  <a:lnTo>
                    <a:pt x="1072323" y="373272"/>
                  </a:lnTo>
                  <a:lnTo>
                    <a:pt x="1079190" y="373272"/>
                  </a:lnTo>
                  <a:lnTo>
                    <a:pt x="1079190" y="374604"/>
                  </a:lnTo>
                  <a:lnTo>
                    <a:pt x="1078010" y="375390"/>
                  </a:lnTo>
                  <a:lnTo>
                    <a:pt x="1076770" y="375662"/>
                  </a:lnTo>
                  <a:lnTo>
                    <a:pt x="1075499" y="375390"/>
                  </a:lnTo>
                  <a:lnTo>
                    <a:pt x="1074319" y="374604"/>
                  </a:lnTo>
                  <a:lnTo>
                    <a:pt x="1077405" y="379172"/>
                  </a:lnTo>
                  <a:lnTo>
                    <a:pt x="1078464" y="381864"/>
                  </a:lnTo>
                  <a:lnTo>
                    <a:pt x="1077102" y="383134"/>
                  </a:lnTo>
                  <a:lnTo>
                    <a:pt x="1077102" y="384466"/>
                  </a:lnTo>
                  <a:lnTo>
                    <a:pt x="1081912" y="389215"/>
                  </a:lnTo>
                  <a:lnTo>
                    <a:pt x="1084121" y="387854"/>
                  </a:lnTo>
                  <a:lnTo>
                    <a:pt x="1084817" y="386008"/>
                  </a:lnTo>
                  <a:lnTo>
                    <a:pt x="1084393" y="383618"/>
                  </a:lnTo>
                  <a:lnTo>
                    <a:pt x="1083304" y="380593"/>
                  </a:lnTo>
                  <a:lnTo>
                    <a:pt x="1084544" y="379565"/>
                  </a:lnTo>
                  <a:lnTo>
                    <a:pt x="1084363" y="378536"/>
                  </a:lnTo>
                  <a:lnTo>
                    <a:pt x="1083818" y="377326"/>
                  </a:lnTo>
                  <a:lnTo>
                    <a:pt x="1084000" y="375723"/>
                  </a:lnTo>
                  <a:lnTo>
                    <a:pt x="1084574" y="374997"/>
                  </a:lnTo>
                  <a:close/>
                  <a:moveTo>
                    <a:pt x="1033389" y="363683"/>
                  </a:moveTo>
                  <a:lnTo>
                    <a:pt x="1034418" y="363501"/>
                  </a:lnTo>
                  <a:lnTo>
                    <a:pt x="1035386" y="364258"/>
                  </a:lnTo>
                  <a:lnTo>
                    <a:pt x="1035870" y="364469"/>
                  </a:lnTo>
                  <a:lnTo>
                    <a:pt x="1037049" y="363411"/>
                  </a:lnTo>
                  <a:lnTo>
                    <a:pt x="1037745" y="363653"/>
                  </a:lnTo>
                  <a:lnTo>
                    <a:pt x="1038260" y="364742"/>
                  </a:lnTo>
                  <a:lnTo>
                    <a:pt x="1038017" y="365528"/>
                  </a:lnTo>
                  <a:lnTo>
                    <a:pt x="1037624" y="366315"/>
                  </a:lnTo>
                  <a:lnTo>
                    <a:pt x="1037745" y="367343"/>
                  </a:lnTo>
                  <a:lnTo>
                    <a:pt x="1039802" y="371004"/>
                  </a:lnTo>
                  <a:lnTo>
                    <a:pt x="1040710" y="371851"/>
                  </a:lnTo>
                  <a:lnTo>
                    <a:pt x="1041859" y="372667"/>
                  </a:lnTo>
                  <a:lnTo>
                    <a:pt x="1042858" y="373666"/>
                  </a:lnTo>
                  <a:lnTo>
                    <a:pt x="1043311" y="375239"/>
                  </a:lnTo>
                  <a:lnTo>
                    <a:pt x="1045248" y="379807"/>
                  </a:lnTo>
                  <a:lnTo>
                    <a:pt x="1045762" y="380654"/>
                  </a:lnTo>
                  <a:lnTo>
                    <a:pt x="1055140" y="380654"/>
                  </a:lnTo>
                  <a:lnTo>
                    <a:pt x="1060131" y="379293"/>
                  </a:lnTo>
                  <a:lnTo>
                    <a:pt x="1062612" y="375783"/>
                  </a:lnTo>
                  <a:lnTo>
                    <a:pt x="1059738" y="375511"/>
                  </a:lnTo>
                  <a:lnTo>
                    <a:pt x="1053869" y="378143"/>
                  </a:lnTo>
                  <a:lnTo>
                    <a:pt x="1050844" y="378355"/>
                  </a:lnTo>
                  <a:lnTo>
                    <a:pt x="1052024" y="375935"/>
                  </a:lnTo>
                  <a:lnTo>
                    <a:pt x="1054172" y="374422"/>
                  </a:lnTo>
                  <a:lnTo>
                    <a:pt x="1056562" y="373636"/>
                  </a:lnTo>
                  <a:lnTo>
                    <a:pt x="1058467" y="373394"/>
                  </a:lnTo>
                  <a:lnTo>
                    <a:pt x="1058467" y="372274"/>
                  </a:lnTo>
                  <a:lnTo>
                    <a:pt x="1057015" y="370459"/>
                  </a:lnTo>
                  <a:lnTo>
                    <a:pt x="1056199" y="369945"/>
                  </a:lnTo>
                  <a:lnTo>
                    <a:pt x="1055019" y="369824"/>
                  </a:lnTo>
                  <a:lnTo>
                    <a:pt x="1055019" y="368523"/>
                  </a:lnTo>
                  <a:lnTo>
                    <a:pt x="1056441" y="367404"/>
                  </a:lnTo>
                  <a:lnTo>
                    <a:pt x="1051116" y="359780"/>
                  </a:lnTo>
                  <a:lnTo>
                    <a:pt x="1049150" y="358722"/>
                  </a:lnTo>
                  <a:lnTo>
                    <a:pt x="1046911" y="358026"/>
                  </a:lnTo>
                  <a:lnTo>
                    <a:pt x="1043463" y="354849"/>
                  </a:lnTo>
                  <a:lnTo>
                    <a:pt x="1041920" y="353942"/>
                  </a:lnTo>
                  <a:lnTo>
                    <a:pt x="1040680" y="353942"/>
                  </a:lnTo>
                  <a:lnTo>
                    <a:pt x="1036263" y="355454"/>
                  </a:lnTo>
                  <a:lnTo>
                    <a:pt x="1033934" y="357602"/>
                  </a:lnTo>
                  <a:lnTo>
                    <a:pt x="1033722" y="358268"/>
                  </a:lnTo>
                  <a:lnTo>
                    <a:pt x="1032209" y="361777"/>
                  </a:lnTo>
                  <a:lnTo>
                    <a:pt x="1032542" y="363592"/>
                  </a:lnTo>
                  <a:lnTo>
                    <a:pt x="1033329" y="363743"/>
                  </a:lnTo>
                  <a:close/>
                  <a:moveTo>
                    <a:pt x="1043342" y="348799"/>
                  </a:moveTo>
                  <a:lnTo>
                    <a:pt x="1046730" y="350009"/>
                  </a:lnTo>
                  <a:lnTo>
                    <a:pt x="1046730" y="348890"/>
                  </a:lnTo>
                  <a:lnTo>
                    <a:pt x="1049150" y="346651"/>
                  </a:lnTo>
                  <a:lnTo>
                    <a:pt x="1049997" y="345018"/>
                  </a:lnTo>
                  <a:lnTo>
                    <a:pt x="1049483" y="342688"/>
                  </a:lnTo>
                  <a:lnTo>
                    <a:pt x="1049301" y="342386"/>
                  </a:lnTo>
                  <a:lnTo>
                    <a:pt x="1049392" y="340964"/>
                  </a:lnTo>
                  <a:lnTo>
                    <a:pt x="1049029" y="339845"/>
                  </a:lnTo>
                  <a:lnTo>
                    <a:pt x="1048091" y="339088"/>
                  </a:lnTo>
                  <a:lnTo>
                    <a:pt x="1048938" y="338483"/>
                  </a:lnTo>
                  <a:lnTo>
                    <a:pt x="1049785" y="338272"/>
                  </a:lnTo>
                  <a:lnTo>
                    <a:pt x="1050663" y="338514"/>
                  </a:lnTo>
                  <a:lnTo>
                    <a:pt x="1051600" y="339088"/>
                  </a:lnTo>
                  <a:lnTo>
                    <a:pt x="1051600" y="337848"/>
                  </a:lnTo>
                  <a:lnTo>
                    <a:pt x="1050965" y="336638"/>
                  </a:lnTo>
                  <a:lnTo>
                    <a:pt x="1051086" y="335609"/>
                  </a:lnTo>
                  <a:lnTo>
                    <a:pt x="1051812" y="334762"/>
                  </a:lnTo>
                  <a:lnTo>
                    <a:pt x="1052901" y="334157"/>
                  </a:lnTo>
                  <a:lnTo>
                    <a:pt x="1053234" y="335488"/>
                  </a:lnTo>
                  <a:lnTo>
                    <a:pt x="1053657" y="336759"/>
                  </a:lnTo>
                  <a:lnTo>
                    <a:pt x="1054232" y="337969"/>
                  </a:lnTo>
                  <a:lnTo>
                    <a:pt x="1054988" y="339088"/>
                  </a:lnTo>
                  <a:lnTo>
                    <a:pt x="1054988" y="340208"/>
                  </a:lnTo>
                  <a:lnTo>
                    <a:pt x="1053385" y="342658"/>
                  </a:lnTo>
                  <a:lnTo>
                    <a:pt x="1052175" y="346016"/>
                  </a:lnTo>
                  <a:lnTo>
                    <a:pt x="1051842" y="349888"/>
                  </a:lnTo>
                  <a:lnTo>
                    <a:pt x="1052901" y="353881"/>
                  </a:lnTo>
                  <a:lnTo>
                    <a:pt x="1055442" y="356150"/>
                  </a:lnTo>
                  <a:lnTo>
                    <a:pt x="1061493" y="355212"/>
                  </a:lnTo>
                  <a:lnTo>
                    <a:pt x="1063973" y="356211"/>
                  </a:lnTo>
                  <a:lnTo>
                    <a:pt x="1064457" y="354244"/>
                  </a:lnTo>
                  <a:lnTo>
                    <a:pt x="1065667" y="353609"/>
                  </a:lnTo>
                  <a:lnTo>
                    <a:pt x="1068783" y="353881"/>
                  </a:lnTo>
                  <a:lnTo>
                    <a:pt x="1067331" y="351310"/>
                  </a:lnTo>
                  <a:lnTo>
                    <a:pt x="1068632" y="351522"/>
                  </a:lnTo>
                  <a:lnTo>
                    <a:pt x="1069630" y="351976"/>
                  </a:lnTo>
                  <a:lnTo>
                    <a:pt x="1070538" y="352096"/>
                  </a:lnTo>
                  <a:lnTo>
                    <a:pt x="1071566" y="351340"/>
                  </a:lnTo>
                  <a:lnTo>
                    <a:pt x="1073442" y="351794"/>
                  </a:lnTo>
                  <a:lnTo>
                    <a:pt x="1075045" y="350251"/>
                  </a:lnTo>
                  <a:lnTo>
                    <a:pt x="1076467" y="348497"/>
                  </a:lnTo>
                  <a:lnTo>
                    <a:pt x="1077738" y="348255"/>
                  </a:lnTo>
                  <a:lnTo>
                    <a:pt x="1078494" y="349404"/>
                  </a:lnTo>
                  <a:lnTo>
                    <a:pt x="1082154" y="356664"/>
                  </a:lnTo>
                  <a:lnTo>
                    <a:pt x="1083213" y="358177"/>
                  </a:lnTo>
                  <a:lnTo>
                    <a:pt x="1084393" y="359206"/>
                  </a:lnTo>
                  <a:lnTo>
                    <a:pt x="1092016" y="362170"/>
                  </a:lnTo>
                  <a:lnTo>
                    <a:pt x="1093589" y="362352"/>
                  </a:lnTo>
                  <a:lnTo>
                    <a:pt x="1095193" y="361202"/>
                  </a:lnTo>
                  <a:lnTo>
                    <a:pt x="1097492" y="357148"/>
                  </a:lnTo>
                  <a:lnTo>
                    <a:pt x="1098823" y="356241"/>
                  </a:lnTo>
                  <a:lnTo>
                    <a:pt x="1102665" y="355454"/>
                  </a:lnTo>
                  <a:lnTo>
                    <a:pt x="1104571" y="354486"/>
                  </a:lnTo>
                  <a:lnTo>
                    <a:pt x="1105387" y="353246"/>
                  </a:lnTo>
                  <a:lnTo>
                    <a:pt x="1105387" y="350554"/>
                  </a:lnTo>
                  <a:lnTo>
                    <a:pt x="1105266" y="348497"/>
                  </a:lnTo>
                  <a:lnTo>
                    <a:pt x="1104661" y="347075"/>
                  </a:lnTo>
                  <a:lnTo>
                    <a:pt x="1103240" y="346349"/>
                  </a:lnTo>
                  <a:lnTo>
                    <a:pt x="1101606" y="346651"/>
                  </a:lnTo>
                  <a:lnTo>
                    <a:pt x="1098218" y="348739"/>
                  </a:lnTo>
                  <a:lnTo>
                    <a:pt x="1096372" y="348890"/>
                  </a:lnTo>
                  <a:lnTo>
                    <a:pt x="1097038" y="350100"/>
                  </a:lnTo>
                  <a:lnTo>
                    <a:pt x="1098460" y="353881"/>
                  </a:lnTo>
                  <a:lnTo>
                    <a:pt x="1096524" y="354335"/>
                  </a:lnTo>
                  <a:lnTo>
                    <a:pt x="1094799" y="353791"/>
                  </a:lnTo>
                  <a:lnTo>
                    <a:pt x="1093347" y="352308"/>
                  </a:lnTo>
                  <a:lnTo>
                    <a:pt x="1092228" y="349979"/>
                  </a:lnTo>
                  <a:lnTo>
                    <a:pt x="1093741" y="348527"/>
                  </a:lnTo>
                  <a:lnTo>
                    <a:pt x="1097825" y="345774"/>
                  </a:lnTo>
                  <a:lnTo>
                    <a:pt x="1098490" y="343989"/>
                  </a:lnTo>
                  <a:lnTo>
                    <a:pt x="1097976" y="342840"/>
                  </a:lnTo>
                  <a:lnTo>
                    <a:pt x="1097008" y="342477"/>
                  </a:lnTo>
                  <a:lnTo>
                    <a:pt x="1094709" y="342628"/>
                  </a:lnTo>
                  <a:lnTo>
                    <a:pt x="1092863" y="343293"/>
                  </a:lnTo>
                  <a:lnTo>
                    <a:pt x="1091200" y="344624"/>
                  </a:lnTo>
                  <a:lnTo>
                    <a:pt x="1089475" y="345593"/>
                  </a:lnTo>
                  <a:lnTo>
                    <a:pt x="1087388" y="345199"/>
                  </a:lnTo>
                  <a:lnTo>
                    <a:pt x="1087600" y="344322"/>
                  </a:lnTo>
                  <a:lnTo>
                    <a:pt x="1087902" y="342234"/>
                  </a:lnTo>
                  <a:lnTo>
                    <a:pt x="1088114" y="341388"/>
                  </a:lnTo>
                  <a:lnTo>
                    <a:pt x="1086389" y="342688"/>
                  </a:lnTo>
                  <a:lnTo>
                    <a:pt x="1085270" y="341690"/>
                  </a:lnTo>
                  <a:lnTo>
                    <a:pt x="1084181" y="339966"/>
                  </a:lnTo>
                  <a:lnTo>
                    <a:pt x="1082608" y="339058"/>
                  </a:lnTo>
                  <a:lnTo>
                    <a:pt x="1081186" y="339724"/>
                  </a:lnTo>
                  <a:lnTo>
                    <a:pt x="1079855" y="340873"/>
                  </a:lnTo>
                  <a:lnTo>
                    <a:pt x="1078433" y="341236"/>
                  </a:lnTo>
                  <a:lnTo>
                    <a:pt x="1074652" y="337939"/>
                  </a:lnTo>
                  <a:lnTo>
                    <a:pt x="1072928" y="339209"/>
                  </a:lnTo>
                  <a:lnTo>
                    <a:pt x="1071385" y="341418"/>
                  </a:lnTo>
                  <a:lnTo>
                    <a:pt x="1069872" y="342598"/>
                  </a:lnTo>
                  <a:lnTo>
                    <a:pt x="1066091" y="342114"/>
                  </a:lnTo>
                  <a:lnTo>
                    <a:pt x="1064124" y="341357"/>
                  </a:lnTo>
                  <a:lnTo>
                    <a:pt x="1062612" y="340117"/>
                  </a:lnTo>
                  <a:lnTo>
                    <a:pt x="1064397" y="339542"/>
                  </a:lnTo>
                  <a:lnTo>
                    <a:pt x="1066726" y="337636"/>
                  </a:lnTo>
                  <a:lnTo>
                    <a:pt x="1068723" y="335005"/>
                  </a:lnTo>
                  <a:lnTo>
                    <a:pt x="1069570" y="332131"/>
                  </a:lnTo>
                  <a:lnTo>
                    <a:pt x="1070477" y="332524"/>
                  </a:lnTo>
                  <a:lnTo>
                    <a:pt x="1076437" y="330285"/>
                  </a:lnTo>
                  <a:lnTo>
                    <a:pt x="1075983" y="329952"/>
                  </a:lnTo>
                  <a:lnTo>
                    <a:pt x="1075499" y="329438"/>
                  </a:lnTo>
                  <a:lnTo>
                    <a:pt x="1075045" y="329075"/>
                  </a:lnTo>
                  <a:lnTo>
                    <a:pt x="1075378" y="328410"/>
                  </a:lnTo>
                  <a:lnTo>
                    <a:pt x="1075681" y="328137"/>
                  </a:lnTo>
                  <a:lnTo>
                    <a:pt x="1076407" y="327865"/>
                  </a:lnTo>
                  <a:lnTo>
                    <a:pt x="1070689" y="324840"/>
                  </a:lnTo>
                  <a:lnTo>
                    <a:pt x="1068783" y="322843"/>
                  </a:lnTo>
                  <a:lnTo>
                    <a:pt x="1069449" y="322722"/>
                  </a:lnTo>
                  <a:lnTo>
                    <a:pt x="1070901" y="321633"/>
                  </a:lnTo>
                  <a:lnTo>
                    <a:pt x="1069963" y="320968"/>
                  </a:lnTo>
                  <a:lnTo>
                    <a:pt x="1068360" y="318790"/>
                  </a:lnTo>
                  <a:lnTo>
                    <a:pt x="1067331" y="318033"/>
                  </a:lnTo>
                  <a:lnTo>
                    <a:pt x="1066182" y="318154"/>
                  </a:lnTo>
                  <a:lnTo>
                    <a:pt x="1064941" y="318729"/>
                  </a:lnTo>
                  <a:lnTo>
                    <a:pt x="1063610" y="318729"/>
                  </a:lnTo>
                  <a:lnTo>
                    <a:pt x="1060131" y="315462"/>
                  </a:lnTo>
                  <a:lnTo>
                    <a:pt x="1057439" y="314585"/>
                  </a:lnTo>
                  <a:lnTo>
                    <a:pt x="1052568" y="314343"/>
                  </a:lnTo>
                  <a:lnTo>
                    <a:pt x="1047728" y="315220"/>
                  </a:lnTo>
                  <a:lnTo>
                    <a:pt x="1043251" y="318124"/>
                  </a:lnTo>
                  <a:lnTo>
                    <a:pt x="1040589" y="323418"/>
                  </a:lnTo>
                  <a:lnTo>
                    <a:pt x="1041224" y="331556"/>
                  </a:lnTo>
                  <a:lnTo>
                    <a:pt x="1040528" y="332766"/>
                  </a:lnTo>
                  <a:lnTo>
                    <a:pt x="1038925" y="338151"/>
                  </a:lnTo>
                  <a:lnTo>
                    <a:pt x="1040286" y="344110"/>
                  </a:lnTo>
                  <a:lnTo>
                    <a:pt x="1043311" y="348708"/>
                  </a:lnTo>
                  <a:close/>
                  <a:moveTo>
                    <a:pt x="1114675" y="321845"/>
                  </a:moveTo>
                  <a:lnTo>
                    <a:pt x="1116187" y="323872"/>
                  </a:lnTo>
                  <a:lnTo>
                    <a:pt x="1116399" y="327926"/>
                  </a:lnTo>
                  <a:lnTo>
                    <a:pt x="1118547" y="326715"/>
                  </a:lnTo>
                  <a:lnTo>
                    <a:pt x="1122903" y="326080"/>
                  </a:lnTo>
                  <a:lnTo>
                    <a:pt x="1124718" y="324235"/>
                  </a:lnTo>
                  <a:lnTo>
                    <a:pt x="1121935" y="322571"/>
                  </a:lnTo>
                  <a:lnTo>
                    <a:pt x="1121330" y="321482"/>
                  </a:lnTo>
                  <a:lnTo>
                    <a:pt x="1121995" y="319395"/>
                  </a:lnTo>
                  <a:lnTo>
                    <a:pt x="1122268" y="319183"/>
                  </a:lnTo>
                  <a:lnTo>
                    <a:pt x="1122540" y="319183"/>
                  </a:lnTo>
                  <a:lnTo>
                    <a:pt x="1122721" y="318971"/>
                  </a:lnTo>
                  <a:lnTo>
                    <a:pt x="1122661" y="318033"/>
                  </a:lnTo>
                  <a:lnTo>
                    <a:pt x="1120301" y="319334"/>
                  </a:lnTo>
                  <a:lnTo>
                    <a:pt x="1119001" y="319697"/>
                  </a:lnTo>
                  <a:lnTo>
                    <a:pt x="1117790" y="319395"/>
                  </a:lnTo>
                  <a:lnTo>
                    <a:pt x="1116611" y="317761"/>
                  </a:lnTo>
                  <a:lnTo>
                    <a:pt x="1116853" y="316127"/>
                  </a:lnTo>
                  <a:lnTo>
                    <a:pt x="1117912" y="315160"/>
                  </a:lnTo>
                  <a:lnTo>
                    <a:pt x="1119212" y="315462"/>
                  </a:lnTo>
                  <a:lnTo>
                    <a:pt x="1118365" y="314585"/>
                  </a:lnTo>
                  <a:lnTo>
                    <a:pt x="1117155" y="314282"/>
                  </a:lnTo>
                  <a:lnTo>
                    <a:pt x="1114372" y="314373"/>
                  </a:lnTo>
                  <a:lnTo>
                    <a:pt x="1114644" y="313707"/>
                  </a:lnTo>
                  <a:lnTo>
                    <a:pt x="1114977" y="313163"/>
                  </a:lnTo>
                  <a:lnTo>
                    <a:pt x="1114977" y="312044"/>
                  </a:lnTo>
                  <a:lnTo>
                    <a:pt x="1113555" y="311862"/>
                  </a:lnTo>
                  <a:lnTo>
                    <a:pt x="1109532" y="313163"/>
                  </a:lnTo>
                  <a:lnTo>
                    <a:pt x="1110591" y="313889"/>
                  </a:lnTo>
                  <a:lnTo>
                    <a:pt x="1113707" y="317035"/>
                  </a:lnTo>
                  <a:lnTo>
                    <a:pt x="1114372" y="318094"/>
                  </a:lnTo>
                  <a:lnTo>
                    <a:pt x="1113888" y="320181"/>
                  </a:lnTo>
                  <a:lnTo>
                    <a:pt x="1112648" y="320847"/>
                  </a:lnTo>
                  <a:lnTo>
                    <a:pt x="1111075" y="321028"/>
                  </a:lnTo>
                  <a:lnTo>
                    <a:pt x="1109562" y="321694"/>
                  </a:lnTo>
                  <a:lnTo>
                    <a:pt x="1107505" y="325082"/>
                  </a:lnTo>
                  <a:lnTo>
                    <a:pt x="1109048" y="326474"/>
                  </a:lnTo>
                  <a:lnTo>
                    <a:pt x="1111226" y="325748"/>
                  </a:lnTo>
                  <a:lnTo>
                    <a:pt x="1110954" y="322904"/>
                  </a:lnTo>
                  <a:lnTo>
                    <a:pt x="1112708" y="321573"/>
                  </a:lnTo>
                  <a:lnTo>
                    <a:pt x="1114735" y="321815"/>
                  </a:lnTo>
                  <a:close/>
                  <a:moveTo>
                    <a:pt x="1066635" y="315432"/>
                  </a:moveTo>
                  <a:lnTo>
                    <a:pt x="1069267" y="317096"/>
                  </a:lnTo>
                  <a:lnTo>
                    <a:pt x="1072202" y="317912"/>
                  </a:lnTo>
                  <a:lnTo>
                    <a:pt x="1075378" y="318124"/>
                  </a:lnTo>
                  <a:lnTo>
                    <a:pt x="1078373" y="317096"/>
                  </a:lnTo>
                  <a:lnTo>
                    <a:pt x="1078494" y="314615"/>
                  </a:lnTo>
                  <a:lnTo>
                    <a:pt x="1078191" y="311741"/>
                  </a:lnTo>
                  <a:lnTo>
                    <a:pt x="1079886" y="309502"/>
                  </a:lnTo>
                  <a:lnTo>
                    <a:pt x="1080249" y="309351"/>
                  </a:lnTo>
                  <a:lnTo>
                    <a:pt x="1080551" y="309351"/>
                  </a:lnTo>
                  <a:lnTo>
                    <a:pt x="1080702" y="309079"/>
                  </a:lnTo>
                  <a:lnTo>
                    <a:pt x="1080642" y="308171"/>
                  </a:lnTo>
                  <a:lnTo>
                    <a:pt x="1079129" y="307415"/>
                  </a:lnTo>
                  <a:lnTo>
                    <a:pt x="1077828" y="307415"/>
                  </a:lnTo>
                  <a:lnTo>
                    <a:pt x="1073684" y="308323"/>
                  </a:lnTo>
                  <a:lnTo>
                    <a:pt x="1072958" y="308323"/>
                  </a:lnTo>
                  <a:lnTo>
                    <a:pt x="1072323" y="308171"/>
                  </a:lnTo>
                  <a:lnTo>
                    <a:pt x="1071627" y="307597"/>
                  </a:lnTo>
                  <a:lnTo>
                    <a:pt x="1071264" y="306780"/>
                  </a:lnTo>
                  <a:lnTo>
                    <a:pt x="1071082" y="306054"/>
                  </a:lnTo>
                  <a:lnTo>
                    <a:pt x="1070961" y="305691"/>
                  </a:lnTo>
                  <a:lnTo>
                    <a:pt x="1068450" y="305570"/>
                  </a:lnTo>
                  <a:lnTo>
                    <a:pt x="1065607" y="306871"/>
                  </a:lnTo>
                  <a:lnTo>
                    <a:pt x="1063792" y="309351"/>
                  </a:lnTo>
                  <a:lnTo>
                    <a:pt x="1064367" y="312649"/>
                  </a:lnTo>
                  <a:lnTo>
                    <a:pt x="1066666" y="315462"/>
                  </a:lnTo>
                  <a:close/>
                  <a:moveTo>
                    <a:pt x="1092984" y="309472"/>
                  </a:moveTo>
                  <a:lnTo>
                    <a:pt x="1094527" y="309805"/>
                  </a:lnTo>
                  <a:lnTo>
                    <a:pt x="1095858" y="310833"/>
                  </a:lnTo>
                  <a:lnTo>
                    <a:pt x="1096766" y="312558"/>
                  </a:lnTo>
                  <a:lnTo>
                    <a:pt x="1097099" y="314948"/>
                  </a:lnTo>
                  <a:lnTo>
                    <a:pt x="1097885" y="315644"/>
                  </a:lnTo>
                  <a:lnTo>
                    <a:pt x="1099640" y="315432"/>
                  </a:lnTo>
                  <a:lnTo>
                    <a:pt x="1102604" y="314373"/>
                  </a:lnTo>
                  <a:lnTo>
                    <a:pt x="1102604" y="313133"/>
                  </a:lnTo>
                  <a:lnTo>
                    <a:pt x="1100940" y="312981"/>
                  </a:lnTo>
                  <a:lnTo>
                    <a:pt x="1100154" y="311499"/>
                  </a:lnTo>
                  <a:lnTo>
                    <a:pt x="1099942" y="309139"/>
                  </a:lnTo>
                  <a:lnTo>
                    <a:pt x="1099942" y="306296"/>
                  </a:lnTo>
                  <a:lnTo>
                    <a:pt x="1100426" y="305388"/>
                  </a:lnTo>
                  <a:lnTo>
                    <a:pt x="1102665" y="302242"/>
                  </a:lnTo>
                  <a:lnTo>
                    <a:pt x="1103330" y="300669"/>
                  </a:lnTo>
                  <a:lnTo>
                    <a:pt x="1102665" y="299005"/>
                  </a:lnTo>
                  <a:lnTo>
                    <a:pt x="1101727" y="298158"/>
                  </a:lnTo>
                  <a:lnTo>
                    <a:pt x="1100547" y="297916"/>
                  </a:lnTo>
                  <a:lnTo>
                    <a:pt x="1099216" y="298188"/>
                  </a:lnTo>
                  <a:lnTo>
                    <a:pt x="1099216" y="296978"/>
                  </a:lnTo>
                  <a:lnTo>
                    <a:pt x="1099972" y="296978"/>
                  </a:lnTo>
                  <a:lnTo>
                    <a:pt x="1099972" y="295617"/>
                  </a:lnTo>
                  <a:lnTo>
                    <a:pt x="1098339" y="295466"/>
                  </a:lnTo>
                  <a:lnTo>
                    <a:pt x="1097280" y="296494"/>
                  </a:lnTo>
                  <a:lnTo>
                    <a:pt x="1096887" y="298340"/>
                  </a:lnTo>
                  <a:lnTo>
                    <a:pt x="1097159" y="300639"/>
                  </a:lnTo>
                  <a:lnTo>
                    <a:pt x="1097038" y="301819"/>
                  </a:lnTo>
                  <a:lnTo>
                    <a:pt x="1097583" y="304935"/>
                  </a:lnTo>
                  <a:lnTo>
                    <a:pt x="1097462" y="305570"/>
                  </a:lnTo>
                  <a:lnTo>
                    <a:pt x="1096312" y="305902"/>
                  </a:lnTo>
                  <a:lnTo>
                    <a:pt x="1095314" y="306477"/>
                  </a:lnTo>
                  <a:lnTo>
                    <a:pt x="1094285" y="306568"/>
                  </a:lnTo>
                  <a:lnTo>
                    <a:pt x="1093015" y="305539"/>
                  </a:lnTo>
                  <a:lnTo>
                    <a:pt x="1093015" y="309351"/>
                  </a:lnTo>
                  <a:close/>
                  <a:moveTo>
                    <a:pt x="1107324" y="306871"/>
                  </a:moveTo>
                  <a:lnTo>
                    <a:pt x="1107898" y="305751"/>
                  </a:lnTo>
                  <a:lnTo>
                    <a:pt x="1108171" y="303301"/>
                  </a:lnTo>
                  <a:lnTo>
                    <a:pt x="1109925" y="303815"/>
                  </a:lnTo>
                  <a:lnTo>
                    <a:pt x="1112013" y="301849"/>
                  </a:lnTo>
                  <a:lnTo>
                    <a:pt x="1115733" y="297039"/>
                  </a:lnTo>
                  <a:lnTo>
                    <a:pt x="1116490" y="298037"/>
                  </a:lnTo>
                  <a:lnTo>
                    <a:pt x="1117307" y="298128"/>
                  </a:lnTo>
                  <a:lnTo>
                    <a:pt x="1119243" y="297039"/>
                  </a:lnTo>
                  <a:lnTo>
                    <a:pt x="1119243" y="298249"/>
                  </a:lnTo>
                  <a:lnTo>
                    <a:pt x="1119001" y="298854"/>
                  </a:lnTo>
                  <a:lnTo>
                    <a:pt x="1118486" y="300730"/>
                  </a:lnTo>
                  <a:lnTo>
                    <a:pt x="1122873" y="295859"/>
                  </a:lnTo>
                  <a:lnTo>
                    <a:pt x="1124567" y="295678"/>
                  </a:lnTo>
                  <a:lnTo>
                    <a:pt x="1124718" y="299610"/>
                  </a:lnTo>
                  <a:lnTo>
                    <a:pt x="1125747" y="299066"/>
                  </a:lnTo>
                  <a:lnTo>
                    <a:pt x="1126473" y="298007"/>
                  </a:lnTo>
                  <a:lnTo>
                    <a:pt x="1128439" y="293742"/>
                  </a:lnTo>
                  <a:lnTo>
                    <a:pt x="1129528" y="292743"/>
                  </a:lnTo>
                  <a:lnTo>
                    <a:pt x="1130345" y="290777"/>
                  </a:lnTo>
                  <a:lnTo>
                    <a:pt x="1132281" y="289869"/>
                  </a:lnTo>
                  <a:lnTo>
                    <a:pt x="1137030" y="289627"/>
                  </a:lnTo>
                  <a:lnTo>
                    <a:pt x="1136728" y="287873"/>
                  </a:lnTo>
                  <a:lnTo>
                    <a:pt x="1135790" y="284031"/>
                  </a:lnTo>
                  <a:lnTo>
                    <a:pt x="1135185" y="283547"/>
                  </a:lnTo>
                  <a:lnTo>
                    <a:pt x="1133763" y="285090"/>
                  </a:lnTo>
                  <a:lnTo>
                    <a:pt x="1131615" y="288236"/>
                  </a:lnTo>
                  <a:lnTo>
                    <a:pt x="1130133" y="288659"/>
                  </a:lnTo>
                  <a:lnTo>
                    <a:pt x="1128530" y="288659"/>
                  </a:lnTo>
                  <a:lnTo>
                    <a:pt x="1126987" y="288901"/>
                  </a:lnTo>
                  <a:lnTo>
                    <a:pt x="1124325" y="291624"/>
                  </a:lnTo>
                  <a:lnTo>
                    <a:pt x="1121027" y="292259"/>
                  </a:lnTo>
                  <a:lnTo>
                    <a:pt x="1119848" y="293288"/>
                  </a:lnTo>
                  <a:lnTo>
                    <a:pt x="1119545" y="292622"/>
                  </a:lnTo>
                  <a:lnTo>
                    <a:pt x="1119243" y="292380"/>
                  </a:lnTo>
                  <a:lnTo>
                    <a:pt x="1118486" y="292168"/>
                  </a:lnTo>
                  <a:lnTo>
                    <a:pt x="1120997" y="289264"/>
                  </a:lnTo>
                  <a:lnTo>
                    <a:pt x="1122510" y="287994"/>
                  </a:lnTo>
                  <a:lnTo>
                    <a:pt x="1123992" y="287116"/>
                  </a:lnTo>
                  <a:lnTo>
                    <a:pt x="1123992" y="285755"/>
                  </a:lnTo>
                  <a:lnTo>
                    <a:pt x="1121451" y="285937"/>
                  </a:lnTo>
                  <a:lnTo>
                    <a:pt x="1117397" y="288205"/>
                  </a:lnTo>
                  <a:lnTo>
                    <a:pt x="1115007" y="288205"/>
                  </a:lnTo>
                  <a:lnTo>
                    <a:pt x="1116490" y="290263"/>
                  </a:lnTo>
                  <a:lnTo>
                    <a:pt x="1117034" y="290807"/>
                  </a:lnTo>
                  <a:lnTo>
                    <a:pt x="1116581" y="293318"/>
                  </a:lnTo>
                  <a:lnTo>
                    <a:pt x="1115854" y="293923"/>
                  </a:lnTo>
                  <a:lnTo>
                    <a:pt x="1114856" y="293923"/>
                  </a:lnTo>
                  <a:lnTo>
                    <a:pt x="1113646" y="294498"/>
                  </a:lnTo>
                  <a:lnTo>
                    <a:pt x="1112769" y="295587"/>
                  </a:lnTo>
                  <a:lnTo>
                    <a:pt x="1111105" y="298340"/>
                  </a:lnTo>
                  <a:lnTo>
                    <a:pt x="1110197" y="299519"/>
                  </a:lnTo>
                  <a:lnTo>
                    <a:pt x="1108927" y="300427"/>
                  </a:lnTo>
                  <a:lnTo>
                    <a:pt x="1107959" y="300820"/>
                  </a:lnTo>
                  <a:lnTo>
                    <a:pt x="1107263" y="301758"/>
                  </a:lnTo>
                  <a:lnTo>
                    <a:pt x="1106749" y="304330"/>
                  </a:lnTo>
                  <a:lnTo>
                    <a:pt x="1106749" y="306387"/>
                  </a:lnTo>
                  <a:lnTo>
                    <a:pt x="1107263" y="306750"/>
                  </a:lnTo>
                  <a:close/>
                  <a:moveTo>
                    <a:pt x="1069146" y="282911"/>
                  </a:moveTo>
                  <a:lnTo>
                    <a:pt x="1069993" y="282851"/>
                  </a:lnTo>
                  <a:lnTo>
                    <a:pt x="1070961" y="283426"/>
                  </a:lnTo>
                  <a:lnTo>
                    <a:pt x="1071899" y="284817"/>
                  </a:lnTo>
                  <a:lnTo>
                    <a:pt x="1072232" y="285785"/>
                  </a:lnTo>
                  <a:lnTo>
                    <a:pt x="1072413" y="286784"/>
                  </a:lnTo>
                  <a:lnTo>
                    <a:pt x="1073866" y="290565"/>
                  </a:lnTo>
                  <a:lnTo>
                    <a:pt x="1074380" y="291563"/>
                  </a:lnTo>
                  <a:lnTo>
                    <a:pt x="1075075" y="292199"/>
                  </a:lnTo>
                  <a:lnTo>
                    <a:pt x="1076134" y="292773"/>
                  </a:lnTo>
                  <a:lnTo>
                    <a:pt x="1076951" y="292955"/>
                  </a:lnTo>
                  <a:lnTo>
                    <a:pt x="1077677" y="292441"/>
                  </a:lnTo>
                  <a:lnTo>
                    <a:pt x="1078464" y="290837"/>
                  </a:lnTo>
                  <a:lnTo>
                    <a:pt x="1079916" y="292168"/>
                  </a:lnTo>
                  <a:lnTo>
                    <a:pt x="1078978" y="290263"/>
                  </a:lnTo>
                  <a:lnTo>
                    <a:pt x="1078494" y="289597"/>
                  </a:lnTo>
                  <a:lnTo>
                    <a:pt x="1078494" y="288266"/>
                  </a:lnTo>
                  <a:lnTo>
                    <a:pt x="1081247" y="288599"/>
                  </a:lnTo>
                  <a:lnTo>
                    <a:pt x="1083969" y="290051"/>
                  </a:lnTo>
                  <a:lnTo>
                    <a:pt x="1088931" y="294558"/>
                  </a:lnTo>
                  <a:lnTo>
                    <a:pt x="1088174" y="295708"/>
                  </a:lnTo>
                  <a:lnTo>
                    <a:pt x="1087781" y="296767"/>
                  </a:lnTo>
                  <a:lnTo>
                    <a:pt x="1087600" y="298007"/>
                  </a:lnTo>
                  <a:lnTo>
                    <a:pt x="1087448" y="299610"/>
                  </a:lnTo>
                  <a:lnTo>
                    <a:pt x="1089778" y="296585"/>
                  </a:lnTo>
                  <a:lnTo>
                    <a:pt x="1090988" y="295708"/>
                  </a:lnTo>
                  <a:lnTo>
                    <a:pt x="1093015" y="295708"/>
                  </a:lnTo>
                  <a:lnTo>
                    <a:pt x="1093015" y="294588"/>
                  </a:lnTo>
                  <a:lnTo>
                    <a:pt x="1092107" y="293379"/>
                  </a:lnTo>
                  <a:lnTo>
                    <a:pt x="1091109" y="293076"/>
                  </a:lnTo>
                  <a:lnTo>
                    <a:pt x="1090020" y="292955"/>
                  </a:lnTo>
                  <a:lnTo>
                    <a:pt x="1088870" y="292289"/>
                  </a:lnTo>
                  <a:lnTo>
                    <a:pt x="1088326" y="291291"/>
                  </a:lnTo>
                  <a:lnTo>
                    <a:pt x="1086420" y="286572"/>
                  </a:lnTo>
                  <a:lnTo>
                    <a:pt x="1084998" y="285816"/>
                  </a:lnTo>
                  <a:lnTo>
                    <a:pt x="1077133" y="283517"/>
                  </a:lnTo>
                  <a:lnTo>
                    <a:pt x="1077133" y="282276"/>
                  </a:lnTo>
                  <a:lnTo>
                    <a:pt x="1077828" y="282397"/>
                  </a:lnTo>
                  <a:lnTo>
                    <a:pt x="1079886" y="282276"/>
                  </a:lnTo>
                  <a:lnTo>
                    <a:pt x="1079462" y="280673"/>
                  </a:lnTo>
                  <a:lnTo>
                    <a:pt x="1079523" y="279796"/>
                  </a:lnTo>
                  <a:lnTo>
                    <a:pt x="1080642" y="278434"/>
                  </a:lnTo>
                  <a:lnTo>
                    <a:pt x="1080914" y="278283"/>
                  </a:lnTo>
                  <a:lnTo>
                    <a:pt x="1081156" y="278283"/>
                  </a:lnTo>
                  <a:lnTo>
                    <a:pt x="1081277" y="278102"/>
                  </a:lnTo>
                  <a:lnTo>
                    <a:pt x="1081277" y="277315"/>
                  </a:lnTo>
                  <a:lnTo>
                    <a:pt x="1079371" y="276044"/>
                  </a:lnTo>
                  <a:lnTo>
                    <a:pt x="1077859" y="277103"/>
                  </a:lnTo>
                  <a:lnTo>
                    <a:pt x="1075045" y="280915"/>
                  </a:lnTo>
                  <a:lnTo>
                    <a:pt x="1073412" y="281580"/>
                  </a:lnTo>
                  <a:lnTo>
                    <a:pt x="1070205" y="280885"/>
                  </a:lnTo>
                  <a:lnTo>
                    <a:pt x="1068118" y="280885"/>
                  </a:lnTo>
                  <a:lnTo>
                    <a:pt x="1068481" y="282639"/>
                  </a:lnTo>
                  <a:lnTo>
                    <a:pt x="1069116" y="282972"/>
                  </a:lnTo>
                  <a:close/>
                  <a:moveTo>
                    <a:pt x="1216410" y="241407"/>
                  </a:moveTo>
                  <a:lnTo>
                    <a:pt x="1217862" y="241134"/>
                  </a:lnTo>
                  <a:lnTo>
                    <a:pt x="1218165" y="240922"/>
                  </a:lnTo>
                  <a:lnTo>
                    <a:pt x="1218437" y="240922"/>
                  </a:lnTo>
                  <a:lnTo>
                    <a:pt x="1218588" y="240650"/>
                  </a:lnTo>
                  <a:lnTo>
                    <a:pt x="1218528" y="239773"/>
                  </a:lnTo>
                  <a:lnTo>
                    <a:pt x="1216531" y="239713"/>
                  </a:lnTo>
                  <a:lnTo>
                    <a:pt x="1214262" y="240529"/>
                  </a:lnTo>
                  <a:lnTo>
                    <a:pt x="1212417" y="242374"/>
                  </a:lnTo>
                  <a:lnTo>
                    <a:pt x="1211661" y="245400"/>
                  </a:lnTo>
                  <a:lnTo>
                    <a:pt x="1212236" y="248092"/>
                  </a:lnTo>
                  <a:lnTo>
                    <a:pt x="1213657" y="247578"/>
                  </a:lnTo>
                  <a:lnTo>
                    <a:pt x="1215442" y="245823"/>
                  </a:lnTo>
                  <a:lnTo>
                    <a:pt x="1217106" y="244825"/>
                  </a:lnTo>
                  <a:lnTo>
                    <a:pt x="1217106" y="243464"/>
                  </a:lnTo>
                  <a:lnTo>
                    <a:pt x="1215714" y="243464"/>
                  </a:lnTo>
                  <a:lnTo>
                    <a:pt x="1215956" y="242042"/>
                  </a:lnTo>
                  <a:lnTo>
                    <a:pt x="1216410" y="241376"/>
                  </a:lnTo>
                  <a:close/>
                  <a:moveTo>
                    <a:pt x="1241731" y="146054"/>
                  </a:moveTo>
                  <a:lnTo>
                    <a:pt x="1241247" y="148141"/>
                  </a:lnTo>
                  <a:lnTo>
                    <a:pt x="1239946" y="149805"/>
                  </a:lnTo>
                  <a:lnTo>
                    <a:pt x="1240158" y="150592"/>
                  </a:lnTo>
                  <a:lnTo>
                    <a:pt x="1241579" y="149412"/>
                  </a:lnTo>
                  <a:lnTo>
                    <a:pt x="1243152" y="147022"/>
                  </a:lnTo>
                  <a:lnTo>
                    <a:pt x="1243394" y="145903"/>
                  </a:lnTo>
                  <a:lnTo>
                    <a:pt x="1243515" y="144753"/>
                  </a:lnTo>
                  <a:lnTo>
                    <a:pt x="1243667" y="145237"/>
                  </a:lnTo>
                  <a:lnTo>
                    <a:pt x="1243576" y="147506"/>
                  </a:lnTo>
                  <a:lnTo>
                    <a:pt x="1243152" y="149442"/>
                  </a:lnTo>
                  <a:lnTo>
                    <a:pt x="1243062" y="150773"/>
                  </a:lnTo>
                  <a:lnTo>
                    <a:pt x="1243606" y="150834"/>
                  </a:lnTo>
                  <a:lnTo>
                    <a:pt x="1244302" y="149533"/>
                  </a:lnTo>
                  <a:lnTo>
                    <a:pt x="1245209" y="146629"/>
                  </a:lnTo>
                  <a:lnTo>
                    <a:pt x="1245996" y="144753"/>
                  </a:lnTo>
                  <a:lnTo>
                    <a:pt x="1246510" y="142847"/>
                  </a:lnTo>
                  <a:lnTo>
                    <a:pt x="1246178" y="141456"/>
                  </a:lnTo>
                  <a:lnTo>
                    <a:pt x="1245482" y="141547"/>
                  </a:lnTo>
                  <a:lnTo>
                    <a:pt x="1244665" y="142575"/>
                  </a:lnTo>
                  <a:lnTo>
                    <a:pt x="1244816" y="141668"/>
                  </a:lnTo>
                  <a:lnTo>
                    <a:pt x="1245482" y="139217"/>
                  </a:lnTo>
                  <a:lnTo>
                    <a:pt x="1245391" y="137523"/>
                  </a:lnTo>
                  <a:lnTo>
                    <a:pt x="1244846" y="137523"/>
                  </a:lnTo>
                  <a:lnTo>
                    <a:pt x="1244181" y="138279"/>
                  </a:lnTo>
                  <a:lnTo>
                    <a:pt x="1242366" y="138733"/>
                  </a:lnTo>
                  <a:lnTo>
                    <a:pt x="1242245" y="139550"/>
                  </a:lnTo>
                  <a:lnTo>
                    <a:pt x="1242910" y="140458"/>
                  </a:lnTo>
                  <a:lnTo>
                    <a:pt x="1243152" y="141607"/>
                  </a:lnTo>
                  <a:lnTo>
                    <a:pt x="1242184" y="143452"/>
                  </a:lnTo>
                  <a:lnTo>
                    <a:pt x="1241731" y="146024"/>
                  </a:lnTo>
                  <a:close/>
                  <a:moveTo>
                    <a:pt x="1167796" y="136101"/>
                  </a:moveTo>
                  <a:lnTo>
                    <a:pt x="1170186" y="137100"/>
                  </a:lnTo>
                  <a:lnTo>
                    <a:pt x="1171699" y="135012"/>
                  </a:lnTo>
                  <a:lnTo>
                    <a:pt x="1171608" y="131685"/>
                  </a:lnTo>
                  <a:lnTo>
                    <a:pt x="1171184" y="130111"/>
                  </a:lnTo>
                  <a:lnTo>
                    <a:pt x="1170035" y="129779"/>
                  </a:lnTo>
                  <a:lnTo>
                    <a:pt x="1167705" y="130142"/>
                  </a:lnTo>
                  <a:lnTo>
                    <a:pt x="1166132" y="131140"/>
                  </a:lnTo>
                  <a:lnTo>
                    <a:pt x="1165436" y="132017"/>
                  </a:lnTo>
                  <a:lnTo>
                    <a:pt x="1165255" y="133379"/>
                  </a:lnTo>
                  <a:lnTo>
                    <a:pt x="1165951" y="134468"/>
                  </a:lnTo>
                  <a:lnTo>
                    <a:pt x="1167796" y="136101"/>
                  </a:lnTo>
                  <a:close/>
                  <a:moveTo>
                    <a:pt x="1265811" y="137402"/>
                  </a:moveTo>
                  <a:lnTo>
                    <a:pt x="1268745" y="139459"/>
                  </a:lnTo>
                  <a:lnTo>
                    <a:pt x="1269744" y="138975"/>
                  </a:lnTo>
                  <a:lnTo>
                    <a:pt x="1270470" y="134982"/>
                  </a:lnTo>
                  <a:lnTo>
                    <a:pt x="1271196" y="133439"/>
                  </a:lnTo>
                  <a:lnTo>
                    <a:pt x="1271861" y="131443"/>
                  </a:lnTo>
                  <a:lnTo>
                    <a:pt x="1272073" y="128780"/>
                  </a:lnTo>
                  <a:lnTo>
                    <a:pt x="1272073" y="127510"/>
                  </a:lnTo>
                  <a:lnTo>
                    <a:pt x="1270833" y="128539"/>
                  </a:lnTo>
                  <a:lnTo>
                    <a:pt x="1270137" y="128539"/>
                  </a:lnTo>
                  <a:lnTo>
                    <a:pt x="1269804" y="126875"/>
                  </a:lnTo>
                  <a:lnTo>
                    <a:pt x="1269622" y="125060"/>
                  </a:lnTo>
                  <a:lnTo>
                    <a:pt x="1269169" y="124031"/>
                  </a:lnTo>
                  <a:lnTo>
                    <a:pt x="1268473" y="124364"/>
                  </a:lnTo>
                  <a:lnTo>
                    <a:pt x="1268140" y="125906"/>
                  </a:lnTo>
                  <a:lnTo>
                    <a:pt x="1267354" y="126360"/>
                  </a:lnTo>
                  <a:lnTo>
                    <a:pt x="1265508" y="125543"/>
                  </a:lnTo>
                  <a:lnTo>
                    <a:pt x="1263602" y="125816"/>
                  </a:lnTo>
                  <a:lnTo>
                    <a:pt x="1263512" y="127812"/>
                  </a:lnTo>
                  <a:lnTo>
                    <a:pt x="1265176" y="130111"/>
                  </a:lnTo>
                  <a:lnTo>
                    <a:pt x="1264873" y="136131"/>
                  </a:lnTo>
                  <a:lnTo>
                    <a:pt x="1265811" y="137402"/>
                  </a:lnTo>
                  <a:close/>
                  <a:moveTo>
                    <a:pt x="1277669" y="89817"/>
                  </a:moveTo>
                  <a:lnTo>
                    <a:pt x="1276550" y="90331"/>
                  </a:lnTo>
                  <a:lnTo>
                    <a:pt x="1275552" y="91632"/>
                  </a:lnTo>
                  <a:lnTo>
                    <a:pt x="1275038" y="93023"/>
                  </a:lnTo>
                  <a:lnTo>
                    <a:pt x="1274826" y="93961"/>
                  </a:lnTo>
                  <a:lnTo>
                    <a:pt x="1274281" y="94657"/>
                  </a:lnTo>
                  <a:lnTo>
                    <a:pt x="1273767" y="95685"/>
                  </a:lnTo>
                  <a:lnTo>
                    <a:pt x="1275673" y="96805"/>
                  </a:lnTo>
                  <a:lnTo>
                    <a:pt x="1279605" y="95655"/>
                  </a:lnTo>
                  <a:lnTo>
                    <a:pt x="1282358" y="92751"/>
                  </a:lnTo>
                  <a:lnTo>
                    <a:pt x="1284083" y="90391"/>
                  </a:lnTo>
                  <a:lnTo>
                    <a:pt x="1285444" y="88879"/>
                  </a:lnTo>
                  <a:lnTo>
                    <a:pt x="1286109" y="87820"/>
                  </a:lnTo>
                  <a:lnTo>
                    <a:pt x="1285958" y="86973"/>
                  </a:lnTo>
                  <a:lnTo>
                    <a:pt x="1285323" y="87094"/>
                  </a:lnTo>
                  <a:lnTo>
                    <a:pt x="1285020" y="87396"/>
                  </a:lnTo>
                  <a:lnTo>
                    <a:pt x="1283962" y="87729"/>
                  </a:lnTo>
                  <a:lnTo>
                    <a:pt x="1280422" y="88062"/>
                  </a:lnTo>
                  <a:lnTo>
                    <a:pt x="1279726" y="89030"/>
                  </a:lnTo>
                  <a:lnTo>
                    <a:pt x="1278789" y="89696"/>
                  </a:lnTo>
                  <a:lnTo>
                    <a:pt x="1277639" y="89817"/>
                  </a:lnTo>
                  <a:close/>
                  <a:moveTo>
                    <a:pt x="1298876" y="44107"/>
                  </a:moveTo>
                  <a:lnTo>
                    <a:pt x="1298482" y="44409"/>
                  </a:lnTo>
                  <a:lnTo>
                    <a:pt x="1297968" y="44984"/>
                  </a:lnTo>
                  <a:lnTo>
                    <a:pt x="1297303" y="45468"/>
                  </a:lnTo>
                  <a:lnTo>
                    <a:pt x="1296425" y="45407"/>
                  </a:lnTo>
                  <a:lnTo>
                    <a:pt x="1296214" y="44651"/>
                  </a:lnTo>
                  <a:lnTo>
                    <a:pt x="1296334" y="43320"/>
                  </a:lnTo>
                  <a:lnTo>
                    <a:pt x="1296183" y="42080"/>
                  </a:lnTo>
                  <a:lnTo>
                    <a:pt x="1295124" y="41535"/>
                  </a:lnTo>
                  <a:lnTo>
                    <a:pt x="1283387" y="41535"/>
                  </a:lnTo>
                  <a:lnTo>
                    <a:pt x="1283387" y="42927"/>
                  </a:lnTo>
                  <a:lnTo>
                    <a:pt x="1286775" y="49431"/>
                  </a:lnTo>
                  <a:lnTo>
                    <a:pt x="1288983" y="52517"/>
                  </a:lnTo>
                  <a:lnTo>
                    <a:pt x="1291736" y="53122"/>
                  </a:lnTo>
                  <a:lnTo>
                    <a:pt x="1291403" y="52426"/>
                  </a:lnTo>
                  <a:lnTo>
                    <a:pt x="1291161" y="51821"/>
                  </a:lnTo>
                  <a:lnTo>
                    <a:pt x="1290859" y="51246"/>
                  </a:lnTo>
                  <a:lnTo>
                    <a:pt x="1290284" y="50641"/>
                  </a:lnTo>
                  <a:lnTo>
                    <a:pt x="1290284" y="49249"/>
                  </a:lnTo>
                  <a:lnTo>
                    <a:pt x="1293128" y="49159"/>
                  </a:lnTo>
                  <a:lnTo>
                    <a:pt x="1296062" y="50641"/>
                  </a:lnTo>
                  <a:lnTo>
                    <a:pt x="1298876" y="51427"/>
                  </a:lnTo>
                  <a:lnTo>
                    <a:pt x="1301326" y="49249"/>
                  </a:lnTo>
                  <a:lnTo>
                    <a:pt x="1301931" y="47162"/>
                  </a:lnTo>
                  <a:lnTo>
                    <a:pt x="1301568" y="45529"/>
                  </a:lnTo>
                  <a:lnTo>
                    <a:pt x="1300479" y="44470"/>
                  </a:lnTo>
                  <a:lnTo>
                    <a:pt x="1298936" y="44107"/>
                  </a:lnTo>
                  <a:close/>
                  <a:moveTo>
                    <a:pt x="1209815" y="114472"/>
                  </a:moveTo>
                  <a:lnTo>
                    <a:pt x="1210662" y="115530"/>
                  </a:lnTo>
                  <a:lnTo>
                    <a:pt x="1212719" y="115833"/>
                  </a:lnTo>
                  <a:lnTo>
                    <a:pt x="1213536" y="116196"/>
                  </a:lnTo>
                  <a:lnTo>
                    <a:pt x="1213718" y="117013"/>
                  </a:lnTo>
                  <a:lnTo>
                    <a:pt x="1213808" y="117950"/>
                  </a:lnTo>
                  <a:lnTo>
                    <a:pt x="1214383" y="118616"/>
                  </a:lnTo>
                  <a:lnTo>
                    <a:pt x="1215351" y="118888"/>
                  </a:lnTo>
                  <a:lnTo>
                    <a:pt x="1217590" y="118616"/>
                  </a:lnTo>
                  <a:lnTo>
                    <a:pt x="1220645" y="116710"/>
                  </a:lnTo>
                  <a:lnTo>
                    <a:pt x="1222098" y="116287"/>
                  </a:lnTo>
                  <a:lnTo>
                    <a:pt x="1222702" y="117920"/>
                  </a:lnTo>
                  <a:lnTo>
                    <a:pt x="1223247" y="119796"/>
                  </a:lnTo>
                  <a:lnTo>
                    <a:pt x="1224427" y="119523"/>
                  </a:lnTo>
                  <a:lnTo>
                    <a:pt x="1225607" y="117799"/>
                  </a:lnTo>
                  <a:lnTo>
                    <a:pt x="1226151" y="115258"/>
                  </a:lnTo>
                  <a:lnTo>
                    <a:pt x="1226575" y="113746"/>
                  </a:lnTo>
                  <a:lnTo>
                    <a:pt x="1229025" y="117678"/>
                  </a:lnTo>
                  <a:lnTo>
                    <a:pt x="1230326" y="118616"/>
                  </a:lnTo>
                  <a:lnTo>
                    <a:pt x="1229025" y="119221"/>
                  </a:lnTo>
                  <a:lnTo>
                    <a:pt x="1226000" y="119977"/>
                  </a:lnTo>
                  <a:lnTo>
                    <a:pt x="1224850" y="121036"/>
                  </a:lnTo>
                  <a:lnTo>
                    <a:pt x="1224276" y="122276"/>
                  </a:lnTo>
                  <a:lnTo>
                    <a:pt x="1224215" y="123123"/>
                  </a:lnTo>
                  <a:lnTo>
                    <a:pt x="1224850" y="124848"/>
                  </a:lnTo>
                  <a:lnTo>
                    <a:pt x="1225153" y="124697"/>
                  </a:lnTo>
                  <a:lnTo>
                    <a:pt x="1227331" y="126996"/>
                  </a:lnTo>
                  <a:lnTo>
                    <a:pt x="1227543" y="127389"/>
                  </a:lnTo>
                  <a:lnTo>
                    <a:pt x="1231445" y="129960"/>
                  </a:lnTo>
                  <a:lnTo>
                    <a:pt x="1232383" y="130021"/>
                  </a:lnTo>
                  <a:lnTo>
                    <a:pt x="1233200" y="128629"/>
                  </a:lnTo>
                  <a:lnTo>
                    <a:pt x="1233472" y="126572"/>
                  </a:lnTo>
                  <a:lnTo>
                    <a:pt x="1233895" y="124636"/>
                  </a:lnTo>
                  <a:lnTo>
                    <a:pt x="1235106" y="123577"/>
                  </a:lnTo>
                  <a:lnTo>
                    <a:pt x="1235620" y="126118"/>
                  </a:lnTo>
                  <a:lnTo>
                    <a:pt x="1236527" y="125665"/>
                  </a:lnTo>
                  <a:lnTo>
                    <a:pt x="1237223" y="123214"/>
                  </a:lnTo>
                  <a:lnTo>
                    <a:pt x="1237163" y="119796"/>
                  </a:lnTo>
                  <a:lnTo>
                    <a:pt x="1238463" y="119886"/>
                  </a:lnTo>
                  <a:lnTo>
                    <a:pt x="1239401" y="120552"/>
                  </a:lnTo>
                  <a:lnTo>
                    <a:pt x="1241368" y="122488"/>
                  </a:lnTo>
                  <a:lnTo>
                    <a:pt x="1242063" y="119826"/>
                  </a:lnTo>
                  <a:lnTo>
                    <a:pt x="1240793" y="117043"/>
                  </a:lnTo>
                  <a:lnTo>
                    <a:pt x="1239432" y="114804"/>
                  </a:lnTo>
                  <a:lnTo>
                    <a:pt x="1237828" y="113201"/>
                  </a:lnTo>
                  <a:lnTo>
                    <a:pt x="1235892" y="112293"/>
                  </a:lnTo>
                  <a:lnTo>
                    <a:pt x="1235892" y="110902"/>
                  </a:lnTo>
                  <a:lnTo>
                    <a:pt x="1239159" y="111658"/>
                  </a:lnTo>
                  <a:lnTo>
                    <a:pt x="1241247" y="113594"/>
                  </a:lnTo>
                  <a:lnTo>
                    <a:pt x="1242729" y="116740"/>
                  </a:lnTo>
                  <a:lnTo>
                    <a:pt x="1244120" y="121066"/>
                  </a:lnTo>
                  <a:lnTo>
                    <a:pt x="1246904" y="115198"/>
                  </a:lnTo>
                  <a:lnTo>
                    <a:pt x="1248386" y="113231"/>
                  </a:lnTo>
                  <a:lnTo>
                    <a:pt x="1250322" y="113443"/>
                  </a:lnTo>
                  <a:lnTo>
                    <a:pt x="1250322" y="114714"/>
                  </a:lnTo>
                  <a:lnTo>
                    <a:pt x="1249324" y="115651"/>
                  </a:lnTo>
                  <a:lnTo>
                    <a:pt x="1248416" y="117134"/>
                  </a:lnTo>
                  <a:lnTo>
                    <a:pt x="1247630" y="118979"/>
                  </a:lnTo>
                  <a:lnTo>
                    <a:pt x="1246147" y="123880"/>
                  </a:lnTo>
                  <a:lnTo>
                    <a:pt x="1245845" y="125453"/>
                  </a:lnTo>
                  <a:lnTo>
                    <a:pt x="1246178" y="126118"/>
                  </a:lnTo>
                  <a:lnTo>
                    <a:pt x="1247297" y="126270"/>
                  </a:lnTo>
                  <a:lnTo>
                    <a:pt x="1247720" y="125665"/>
                  </a:lnTo>
                  <a:lnTo>
                    <a:pt x="1249172" y="124636"/>
                  </a:lnTo>
                  <a:lnTo>
                    <a:pt x="1250201" y="124576"/>
                  </a:lnTo>
                  <a:lnTo>
                    <a:pt x="1248598" y="128448"/>
                  </a:lnTo>
                  <a:lnTo>
                    <a:pt x="1248295" y="129385"/>
                  </a:lnTo>
                  <a:lnTo>
                    <a:pt x="1248204" y="130081"/>
                  </a:lnTo>
                  <a:lnTo>
                    <a:pt x="1248658" y="131927"/>
                  </a:lnTo>
                  <a:lnTo>
                    <a:pt x="1249203" y="132078"/>
                  </a:lnTo>
                  <a:lnTo>
                    <a:pt x="1249808" y="131866"/>
                  </a:lnTo>
                  <a:lnTo>
                    <a:pt x="1250352" y="132622"/>
                  </a:lnTo>
                  <a:lnTo>
                    <a:pt x="1250867" y="137644"/>
                  </a:lnTo>
                  <a:lnTo>
                    <a:pt x="1249808" y="141335"/>
                  </a:lnTo>
                  <a:lnTo>
                    <a:pt x="1248325" y="144965"/>
                  </a:lnTo>
                  <a:lnTo>
                    <a:pt x="1246813" y="153768"/>
                  </a:lnTo>
                  <a:lnTo>
                    <a:pt x="1245300" y="156884"/>
                  </a:lnTo>
                  <a:lnTo>
                    <a:pt x="1244211" y="159788"/>
                  </a:lnTo>
                  <a:lnTo>
                    <a:pt x="1244786" y="163086"/>
                  </a:lnTo>
                  <a:lnTo>
                    <a:pt x="1242094" y="163086"/>
                  </a:lnTo>
                  <a:lnTo>
                    <a:pt x="1242094" y="164326"/>
                  </a:lnTo>
                  <a:lnTo>
                    <a:pt x="1242971" y="164901"/>
                  </a:lnTo>
                  <a:lnTo>
                    <a:pt x="1244786" y="166958"/>
                  </a:lnTo>
                  <a:lnTo>
                    <a:pt x="1244786" y="167986"/>
                  </a:lnTo>
                  <a:lnTo>
                    <a:pt x="1243606" y="167775"/>
                  </a:lnTo>
                  <a:lnTo>
                    <a:pt x="1242487" y="168107"/>
                  </a:lnTo>
                  <a:lnTo>
                    <a:pt x="1241489" y="169015"/>
                  </a:lnTo>
                  <a:lnTo>
                    <a:pt x="1240642" y="170527"/>
                  </a:lnTo>
                  <a:lnTo>
                    <a:pt x="1241247" y="173432"/>
                  </a:lnTo>
                  <a:lnTo>
                    <a:pt x="1239432" y="175821"/>
                  </a:lnTo>
                  <a:lnTo>
                    <a:pt x="1240642" y="178090"/>
                  </a:lnTo>
                  <a:lnTo>
                    <a:pt x="1242275" y="178877"/>
                  </a:lnTo>
                  <a:lnTo>
                    <a:pt x="1245452" y="178151"/>
                  </a:lnTo>
                  <a:lnTo>
                    <a:pt x="1246964" y="179452"/>
                  </a:lnTo>
                  <a:lnTo>
                    <a:pt x="1246964" y="180722"/>
                  </a:lnTo>
                  <a:lnTo>
                    <a:pt x="1245815" y="182386"/>
                  </a:lnTo>
                  <a:lnTo>
                    <a:pt x="1245996" y="183777"/>
                  </a:lnTo>
                  <a:lnTo>
                    <a:pt x="1246813" y="184020"/>
                  </a:lnTo>
                  <a:lnTo>
                    <a:pt x="1247599" y="182114"/>
                  </a:lnTo>
                  <a:lnTo>
                    <a:pt x="1249263" y="184988"/>
                  </a:lnTo>
                  <a:lnTo>
                    <a:pt x="1249657" y="185895"/>
                  </a:lnTo>
                  <a:lnTo>
                    <a:pt x="1250625" y="185048"/>
                  </a:lnTo>
                  <a:lnTo>
                    <a:pt x="1251018" y="183657"/>
                  </a:lnTo>
                  <a:lnTo>
                    <a:pt x="1250746" y="182083"/>
                  </a:lnTo>
                  <a:lnTo>
                    <a:pt x="1249657" y="180752"/>
                  </a:lnTo>
                  <a:lnTo>
                    <a:pt x="1250534" y="178272"/>
                  </a:lnTo>
                  <a:lnTo>
                    <a:pt x="1250776" y="176124"/>
                  </a:lnTo>
                  <a:lnTo>
                    <a:pt x="1250473" y="174097"/>
                  </a:lnTo>
                  <a:lnTo>
                    <a:pt x="1249687" y="171949"/>
                  </a:lnTo>
                  <a:lnTo>
                    <a:pt x="1249959" y="172343"/>
                  </a:lnTo>
                  <a:lnTo>
                    <a:pt x="1250383" y="173220"/>
                  </a:lnTo>
                  <a:lnTo>
                    <a:pt x="1251804" y="170648"/>
                  </a:lnTo>
                  <a:lnTo>
                    <a:pt x="1252651" y="167169"/>
                  </a:lnTo>
                  <a:lnTo>
                    <a:pt x="1252893" y="163267"/>
                  </a:lnTo>
                  <a:lnTo>
                    <a:pt x="1252470" y="159455"/>
                  </a:lnTo>
                  <a:lnTo>
                    <a:pt x="1255646" y="161422"/>
                  </a:lnTo>
                  <a:lnTo>
                    <a:pt x="1257098" y="161512"/>
                  </a:lnTo>
                  <a:lnTo>
                    <a:pt x="1257976" y="159455"/>
                  </a:lnTo>
                  <a:lnTo>
                    <a:pt x="1255707" y="154161"/>
                  </a:lnTo>
                  <a:lnTo>
                    <a:pt x="1255283" y="151650"/>
                  </a:lnTo>
                  <a:lnTo>
                    <a:pt x="1256856" y="152256"/>
                  </a:lnTo>
                  <a:lnTo>
                    <a:pt x="1258732" y="151923"/>
                  </a:lnTo>
                  <a:lnTo>
                    <a:pt x="1260245" y="150501"/>
                  </a:lnTo>
                  <a:lnTo>
                    <a:pt x="1260789" y="147869"/>
                  </a:lnTo>
                  <a:lnTo>
                    <a:pt x="1259821" y="147869"/>
                  </a:lnTo>
                  <a:lnTo>
                    <a:pt x="1257976" y="146084"/>
                  </a:lnTo>
                  <a:lnTo>
                    <a:pt x="1257038" y="143634"/>
                  </a:lnTo>
                  <a:lnTo>
                    <a:pt x="1258762" y="141547"/>
                  </a:lnTo>
                  <a:lnTo>
                    <a:pt x="1256735" y="140488"/>
                  </a:lnTo>
                  <a:lnTo>
                    <a:pt x="1255949" y="140276"/>
                  </a:lnTo>
                  <a:lnTo>
                    <a:pt x="1255949" y="139127"/>
                  </a:lnTo>
                  <a:lnTo>
                    <a:pt x="1257038" y="139217"/>
                  </a:lnTo>
                  <a:lnTo>
                    <a:pt x="1257794" y="138884"/>
                  </a:lnTo>
                  <a:lnTo>
                    <a:pt x="1258339" y="138007"/>
                  </a:lnTo>
                  <a:lnTo>
                    <a:pt x="1258792" y="136464"/>
                  </a:lnTo>
                  <a:lnTo>
                    <a:pt x="1257371" y="135073"/>
                  </a:lnTo>
                  <a:lnTo>
                    <a:pt x="1259186" y="135073"/>
                  </a:lnTo>
                  <a:lnTo>
                    <a:pt x="1260245" y="133742"/>
                  </a:lnTo>
                  <a:lnTo>
                    <a:pt x="1261273" y="132834"/>
                  </a:lnTo>
                  <a:lnTo>
                    <a:pt x="1262937" y="133923"/>
                  </a:lnTo>
                  <a:lnTo>
                    <a:pt x="1262937" y="132653"/>
                  </a:lnTo>
                  <a:lnTo>
                    <a:pt x="1262181" y="132653"/>
                  </a:lnTo>
                  <a:lnTo>
                    <a:pt x="1262181" y="131261"/>
                  </a:lnTo>
                  <a:lnTo>
                    <a:pt x="1264994" y="131261"/>
                  </a:lnTo>
                  <a:lnTo>
                    <a:pt x="1264994" y="130111"/>
                  </a:lnTo>
                  <a:lnTo>
                    <a:pt x="1261576" y="127449"/>
                  </a:lnTo>
                  <a:lnTo>
                    <a:pt x="1262967" y="124182"/>
                  </a:lnTo>
                  <a:lnTo>
                    <a:pt x="1261848" y="123244"/>
                  </a:lnTo>
                  <a:lnTo>
                    <a:pt x="1259700" y="124122"/>
                  </a:lnTo>
                  <a:lnTo>
                    <a:pt x="1258097" y="126270"/>
                  </a:lnTo>
                  <a:lnTo>
                    <a:pt x="1258641" y="123486"/>
                  </a:lnTo>
                  <a:lnTo>
                    <a:pt x="1261606" y="117255"/>
                  </a:lnTo>
                  <a:lnTo>
                    <a:pt x="1260275" y="117648"/>
                  </a:lnTo>
                  <a:lnTo>
                    <a:pt x="1259276" y="118525"/>
                  </a:lnTo>
                  <a:lnTo>
                    <a:pt x="1257431" y="121066"/>
                  </a:lnTo>
                  <a:lnTo>
                    <a:pt x="1258278" y="118434"/>
                  </a:lnTo>
                  <a:lnTo>
                    <a:pt x="1258823" y="117134"/>
                  </a:lnTo>
                  <a:lnTo>
                    <a:pt x="1259488" y="115863"/>
                  </a:lnTo>
                  <a:lnTo>
                    <a:pt x="1255434" y="115863"/>
                  </a:lnTo>
                  <a:lnTo>
                    <a:pt x="1255434" y="114714"/>
                  </a:lnTo>
                  <a:lnTo>
                    <a:pt x="1257038" y="113685"/>
                  </a:lnTo>
                  <a:lnTo>
                    <a:pt x="1257885" y="113413"/>
                  </a:lnTo>
                  <a:lnTo>
                    <a:pt x="1258853" y="113413"/>
                  </a:lnTo>
                  <a:lnTo>
                    <a:pt x="1258853" y="112293"/>
                  </a:lnTo>
                  <a:lnTo>
                    <a:pt x="1258127" y="111628"/>
                  </a:lnTo>
                  <a:lnTo>
                    <a:pt x="1257552" y="110569"/>
                  </a:lnTo>
                  <a:lnTo>
                    <a:pt x="1257461" y="109389"/>
                  </a:lnTo>
                  <a:lnTo>
                    <a:pt x="1258127" y="108330"/>
                  </a:lnTo>
                  <a:lnTo>
                    <a:pt x="1259095" y="108452"/>
                  </a:lnTo>
                  <a:lnTo>
                    <a:pt x="1259942" y="109813"/>
                  </a:lnTo>
                  <a:lnTo>
                    <a:pt x="1260940" y="112293"/>
                  </a:lnTo>
                  <a:lnTo>
                    <a:pt x="1262634" y="112777"/>
                  </a:lnTo>
                  <a:lnTo>
                    <a:pt x="1264450" y="112021"/>
                  </a:lnTo>
                  <a:lnTo>
                    <a:pt x="1268473" y="108361"/>
                  </a:lnTo>
                  <a:lnTo>
                    <a:pt x="1267868" y="107877"/>
                  </a:lnTo>
                  <a:lnTo>
                    <a:pt x="1266507" y="107665"/>
                  </a:lnTo>
                  <a:lnTo>
                    <a:pt x="1265750" y="107181"/>
                  </a:lnTo>
                  <a:lnTo>
                    <a:pt x="1265236" y="107090"/>
                  </a:lnTo>
                  <a:lnTo>
                    <a:pt x="1264480" y="108058"/>
                  </a:lnTo>
                  <a:lnTo>
                    <a:pt x="1263996" y="107756"/>
                  </a:lnTo>
                  <a:lnTo>
                    <a:pt x="1263723" y="106969"/>
                  </a:lnTo>
                  <a:lnTo>
                    <a:pt x="1263572" y="105880"/>
                  </a:lnTo>
                  <a:lnTo>
                    <a:pt x="1263633" y="104912"/>
                  </a:lnTo>
                  <a:lnTo>
                    <a:pt x="1263996" y="104489"/>
                  </a:lnTo>
                  <a:lnTo>
                    <a:pt x="1265115" y="103853"/>
                  </a:lnTo>
                  <a:lnTo>
                    <a:pt x="1269925" y="99255"/>
                  </a:lnTo>
                  <a:lnTo>
                    <a:pt x="1267323" y="97349"/>
                  </a:lnTo>
                  <a:lnTo>
                    <a:pt x="1262241" y="96200"/>
                  </a:lnTo>
                  <a:lnTo>
                    <a:pt x="1260154" y="94264"/>
                  </a:lnTo>
                  <a:lnTo>
                    <a:pt x="1261666" y="93659"/>
                  </a:lnTo>
                  <a:lnTo>
                    <a:pt x="1269532" y="92872"/>
                  </a:lnTo>
                  <a:lnTo>
                    <a:pt x="1270409" y="92025"/>
                  </a:lnTo>
                  <a:lnTo>
                    <a:pt x="1270923" y="90149"/>
                  </a:lnTo>
                  <a:lnTo>
                    <a:pt x="1271165" y="88213"/>
                  </a:lnTo>
                  <a:lnTo>
                    <a:pt x="1271226" y="87185"/>
                  </a:lnTo>
                  <a:lnTo>
                    <a:pt x="1270621" y="85158"/>
                  </a:lnTo>
                  <a:lnTo>
                    <a:pt x="1269290" y="85158"/>
                  </a:lnTo>
                  <a:lnTo>
                    <a:pt x="1267989" y="86065"/>
                  </a:lnTo>
                  <a:lnTo>
                    <a:pt x="1267414" y="86610"/>
                  </a:lnTo>
                  <a:lnTo>
                    <a:pt x="1266416" y="88455"/>
                  </a:lnTo>
                  <a:lnTo>
                    <a:pt x="1265659" y="89363"/>
                  </a:lnTo>
                  <a:lnTo>
                    <a:pt x="1265024" y="89060"/>
                  </a:lnTo>
                  <a:lnTo>
                    <a:pt x="1264903" y="87518"/>
                  </a:lnTo>
                  <a:lnTo>
                    <a:pt x="1265478" y="86096"/>
                  </a:lnTo>
                  <a:lnTo>
                    <a:pt x="1272587" y="78230"/>
                  </a:lnTo>
                  <a:lnTo>
                    <a:pt x="1274039" y="74993"/>
                  </a:lnTo>
                  <a:lnTo>
                    <a:pt x="1272073" y="74993"/>
                  </a:lnTo>
                  <a:lnTo>
                    <a:pt x="1270167" y="76143"/>
                  </a:lnTo>
                  <a:lnTo>
                    <a:pt x="1268624" y="78291"/>
                  </a:lnTo>
                  <a:lnTo>
                    <a:pt x="1267717" y="81376"/>
                  </a:lnTo>
                  <a:lnTo>
                    <a:pt x="1267565" y="79924"/>
                  </a:lnTo>
                  <a:lnTo>
                    <a:pt x="1267414" y="79319"/>
                  </a:lnTo>
                  <a:lnTo>
                    <a:pt x="1267051" y="78684"/>
                  </a:lnTo>
                  <a:lnTo>
                    <a:pt x="1266204" y="80045"/>
                  </a:lnTo>
                  <a:lnTo>
                    <a:pt x="1265720" y="81528"/>
                  </a:lnTo>
                  <a:lnTo>
                    <a:pt x="1265417" y="82950"/>
                  </a:lnTo>
                  <a:lnTo>
                    <a:pt x="1265024" y="84069"/>
                  </a:lnTo>
                  <a:lnTo>
                    <a:pt x="1264177" y="84855"/>
                  </a:lnTo>
                  <a:lnTo>
                    <a:pt x="1263693" y="84583"/>
                  </a:lnTo>
                  <a:lnTo>
                    <a:pt x="1263360" y="84704"/>
                  </a:lnTo>
                  <a:lnTo>
                    <a:pt x="1262967" y="86640"/>
                  </a:lnTo>
                  <a:lnTo>
                    <a:pt x="1262211" y="86640"/>
                  </a:lnTo>
                  <a:lnTo>
                    <a:pt x="1262029" y="83010"/>
                  </a:lnTo>
                  <a:lnTo>
                    <a:pt x="1260850" y="82224"/>
                  </a:lnTo>
                  <a:lnTo>
                    <a:pt x="1257431" y="84069"/>
                  </a:lnTo>
                  <a:lnTo>
                    <a:pt x="1257431" y="82677"/>
                  </a:lnTo>
                  <a:lnTo>
                    <a:pt x="1258460" y="81860"/>
                  </a:lnTo>
                  <a:lnTo>
                    <a:pt x="1258853" y="81407"/>
                  </a:lnTo>
                  <a:lnTo>
                    <a:pt x="1256493" y="82496"/>
                  </a:lnTo>
                  <a:lnTo>
                    <a:pt x="1255283" y="82798"/>
                  </a:lnTo>
                  <a:lnTo>
                    <a:pt x="1254951" y="82375"/>
                  </a:lnTo>
                  <a:lnTo>
                    <a:pt x="1255979" y="81709"/>
                  </a:lnTo>
                  <a:lnTo>
                    <a:pt x="1256947" y="80741"/>
                  </a:lnTo>
                  <a:lnTo>
                    <a:pt x="1257794" y="79440"/>
                  </a:lnTo>
                  <a:lnTo>
                    <a:pt x="1258823" y="78593"/>
                  </a:lnTo>
                  <a:lnTo>
                    <a:pt x="1261031" y="79743"/>
                  </a:lnTo>
                  <a:lnTo>
                    <a:pt x="1262271" y="78745"/>
                  </a:lnTo>
                  <a:lnTo>
                    <a:pt x="1260971" y="77595"/>
                  </a:lnTo>
                  <a:lnTo>
                    <a:pt x="1261122" y="77171"/>
                  </a:lnTo>
                  <a:lnTo>
                    <a:pt x="1261636" y="76324"/>
                  </a:lnTo>
                  <a:lnTo>
                    <a:pt x="1261182" y="74177"/>
                  </a:lnTo>
                  <a:lnTo>
                    <a:pt x="1260426" y="72694"/>
                  </a:lnTo>
                  <a:lnTo>
                    <a:pt x="1259397" y="71726"/>
                  </a:lnTo>
                  <a:lnTo>
                    <a:pt x="1258157" y="71182"/>
                  </a:lnTo>
                  <a:lnTo>
                    <a:pt x="1258792" y="69094"/>
                  </a:lnTo>
                  <a:lnTo>
                    <a:pt x="1257492" y="67189"/>
                  </a:lnTo>
                  <a:lnTo>
                    <a:pt x="1255646" y="66130"/>
                  </a:lnTo>
                  <a:lnTo>
                    <a:pt x="1254708" y="66644"/>
                  </a:lnTo>
                  <a:lnTo>
                    <a:pt x="1254315" y="67884"/>
                  </a:lnTo>
                  <a:lnTo>
                    <a:pt x="1252258" y="71242"/>
                  </a:lnTo>
                  <a:lnTo>
                    <a:pt x="1251320" y="72362"/>
                  </a:lnTo>
                  <a:lnTo>
                    <a:pt x="1251169" y="69246"/>
                  </a:lnTo>
                  <a:lnTo>
                    <a:pt x="1250171" y="68731"/>
                  </a:lnTo>
                  <a:lnTo>
                    <a:pt x="1248870" y="69790"/>
                  </a:lnTo>
                  <a:lnTo>
                    <a:pt x="1247841" y="71212"/>
                  </a:lnTo>
                  <a:lnTo>
                    <a:pt x="1249263" y="72936"/>
                  </a:lnTo>
                  <a:lnTo>
                    <a:pt x="1254013" y="76324"/>
                  </a:lnTo>
                  <a:lnTo>
                    <a:pt x="1247630" y="77414"/>
                  </a:lnTo>
                  <a:lnTo>
                    <a:pt x="1244877" y="79319"/>
                  </a:lnTo>
                  <a:lnTo>
                    <a:pt x="1245028" y="82708"/>
                  </a:lnTo>
                  <a:lnTo>
                    <a:pt x="1243969" y="83585"/>
                  </a:lnTo>
                  <a:lnTo>
                    <a:pt x="1242789" y="84099"/>
                  </a:lnTo>
                  <a:lnTo>
                    <a:pt x="1241549" y="84250"/>
                  </a:lnTo>
                  <a:lnTo>
                    <a:pt x="1240248" y="84099"/>
                  </a:lnTo>
                  <a:lnTo>
                    <a:pt x="1240248" y="82708"/>
                  </a:lnTo>
                  <a:lnTo>
                    <a:pt x="1242094" y="81074"/>
                  </a:lnTo>
                  <a:lnTo>
                    <a:pt x="1244483" y="74540"/>
                  </a:lnTo>
                  <a:lnTo>
                    <a:pt x="1246420" y="73753"/>
                  </a:lnTo>
                  <a:lnTo>
                    <a:pt x="1246420" y="72362"/>
                  </a:lnTo>
                  <a:lnTo>
                    <a:pt x="1246087" y="71242"/>
                  </a:lnTo>
                  <a:lnTo>
                    <a:pt x="1246359" y="70093"/>
                  </a:lnTo>
                  <a:lnTo>
                    <a:pt x="1247781" y="67249"/>
                  </a:lnTo>
                  <a:lnTo>
                    <a:pt x="1247146" y="66099"/>
                  </a:lnTo>
                  <a:lnTo>
                    <a:pt x="1246359" y="67158"/>
                  </a:lnTo>
                  <a:lnTo>
                    <a:pt x="1245512" y="67915"/>
                  </a:lnTo>
                  <a:lnTo>
                    <a:pt x="1244604" y="68399"/>
                  </a:lnTo>
                  <a:lnTo>
                    <a:pt x="1243637" y="68580"/>
                  </a:lnTo>
                  <a:lnTo>
                    <a:pt x="1245694" y="62288"/>
                  </a:lnTo>
                  <a:lnTo>
                    <a:pt x="1244907" y="62106"/>
                  </a:lnTo>
                  <a:lnTo>
                    <a:pt x="1244514" y="61774"/>
                  </a:lnTo>
                  <a:lnTo>
                    <a:pt x="1244181" y="61350"/>
                  </a:lnTo>
                  <a:lnTo>
                    <a:pt x="1243637" y="60987"/>
                  </a:lnTo>
                  <a:lnTo>
                    <a:pt x="1244786" y="60836"/>
                  </a:lnTo>
                  <a:lnTo>
                    <a:pt x="1245240" y="60503"/>
                  </a:lnTo>
                  <a:lnTo>
                    <a:pt x="1245724" y="59565"/>
                  </a:lnTo>
                  <a:lnTo>
                    <a:pt x="1243667" y="59565"/>
                  </a:lnTo>
                  <a:lnTo>
                    <a:pt x="1244877" y="57084"/>
                  </a:lnTo>
                  <a:lnTo>
                    <a:pt x="1246329" y="55632"/>
                  </a:lnTo>
                  <a:lnTo>
                    <a:pt x="1247146" y="53606"/>
                  </a:lnTo>
                  <a:lnTo>
                    <a:pt x="1246420" y="49280"/>
                  </a:lnTo>
                  <a:lnTo>
                    <a:pt x="1247388" y="49007"/>
                  </a:lnTo>
                  <a:lnTo>
                    <a:pt x="1247962" y="48251"/>
                  </a:lnTo>
                  <a:lnTo>
                    <a:pt x="1248114" y="47071"/>
                  </a:lnTo>
                  <a:lnTo>
                    <a:pt x="1247811" y="45438"/>
                  </a:lnTo>
                  <a:lnTo>
                    <a:pt x="1248265" y="44137"/>
                  </a:lnTo>
                  <a:lnTo>
                    <a:pt x="1248174" y="42624"/>
                  </a:lnTo>
                  <a:lnTo>
                    <a:pt x="1247176" y="38873"/>
                  </a:lnTo>
                  <a:lnTo>
                    <a:pt x="1244907" y="42957"/>
                  </a:lnTo>
                  <a:lnTo>
                    <a:pt x="1244695" y="44863"/>
                  </a:lnTo>
                  <a:lnTo>
                    <a:pt x="1246450" y="46678"/>
                  </a:lnTo>
                  <a:lnTo>
                    <a:pt x="1246057" y="47283"/>
                  </a:lnTo>
                  <a:lnTo>
                    <a:pt x="1245754" y="48070"/>
                  </a:lnTo>
                  <a:lnTo>
                    <a:pt x="1243304" y="46073"/>
                  </a:lnTo>
                  <a:lnTo>
                    <a:pt x="1240581" y="44651"/>
                  </a:lnTo>
                  <a:lnTo>
                    <a:pt x="1237828" y="44258"/>
                  </a:lnTo>
                  <a:lnTo>
                    <a:pt x="1235348" y="45407"/>
                  </a:lnTo>
                  <a:lnTo>
                    <a:pt x="1235650" y="46255"/>
                  </a:lnTo>
                  <a:lnTo>
                    <a:pt x="1235801" y="46981"/>
                  </a:lnTo>
                  <a:lnTo>
                    <a:pt x="1235559" y="47888"/>
                  </a:lnTo>
                  <a:lnTo>
                    <a:pt x="1234682" y="49249"/>
                  </a:lnTo>
                  <a:lnTo>
                    <a:pt x="1235075" y="49552"/>
                  </a:lnTo>
                  <a:lnTo>
                    <a:pt x="1236104" y="50641"/>
                  </a:lnTo>
                  <a:lnTo>
                    <a:pt x="1233049" y="52819"/>
                  </a:lnTo>
                  <a:lnTo>
                    <a:pt x="1231929" y="53091"/>
                  </a:lnTo>
                  <a:lnTo>
                    <a:pt x="1231415" y="53727"/>
                  </a:lnTo>
                  <a:lnTo>
                    <a:pt x="1230054" y="56994"/>
                  </a:lnTo>
                  <a:lnTo>
                    <a:pt x="1229207" y="58325"/>
                  </a:lnTo>
                  <a:lnTo>
                    <a:pt x="1230840" y="58688"/>
                  </a:lnTo>
                  <a:lnTo>
                    <a:pt x="1232050" y="60049"/>
                  </a:lnTo>
                  <a:lnTo>
                    <a:pt x="1232927" y="61471"/>
                  </a:lnTo>
                  <a:lnTo>
                    <a:pt x="1233653" y="62137"/>
                  </a:lnTo>
                  <a:lnTo>
                    <a:pt x="1236195" y="62197"/>
                  </a:lnTo>
                  <a:lnTo>
                    <a:pt x="1237707" y="62560"/>
                  </a:lnTo>
                  <a:lnTo>
                    <a:pt x="1238857" y="63407"/>
                  </a:lnTo>
                  <a:lnTo>
                    <a:pt x="1235529" y="65283"/>
                  </a:lnTo>
                  <a:lnTo>
                    <a:pt x="1231748" y="64042"/>
                  </a:lnTo>
                  <a:lnTo>
                    <a:pt x="1228420" y="60866"/>
                  </a:lnTo>
                  <a:lnTo>
                    <a:pt x="1227180" y="56903"/>
                  </a:lnTo>
                  <a:lnTo>
                    <a:pt x="1225818" y="54846"/>
                  </a:lnTo>
                  <a:lnTo>
                    <a:pt x="1224518" y="55027"/>
                  </a:lnTo>
                  <a:lnTo>
                    <a:pt x="1223338" y="56510"/>
                  </a:lnTo>
                  <a:lnTo>
                    <a:pt x="1222370" y="58325"/>
                  </a:lnTo>
                  <a:lnTo>
                    <a:pt x="1222128" y="59444"/>
                  </a:lnTo>
                  <a:lnTo>
                    <a:pt x="1222188" y="60775"/>
                  </a:lnTo>
                  <a:lnTo>
                    <a:pt x="1222128" y="62167"/>
                  </a:lnTo>
                  <a:lnTo>
                    <a:pt x="1221613" y="63468"/>
                  </a:lnTo>
                  <a:lnTo>
                    <a:pt x="1221039" y="63740"/>
                  </a:lnTo>
                  <a:lnTo>
                    <a:pt x="1218558" y="63468"/>
                  </a:lnTo>
                  <a:lnTo>
                    <a:pt x="1217650" y="64466"/>
                  </a:lnTo>
                  <a:lnTo>
                    <a:pt x="1216743" y="66674"/>
                  </a:lnTo>
                  <a:lnTo>
                    <a:pt x="1216229" y="68883"/>
                  </a:lnTo>
                  <a:lnTo>
                    <a:pt x="1216501" y="69881"/>
                  </a:lnTo>
                  <a:lnTo>
                    <a:pt x="1219980" y="70093"/>
                  </a:lnTo>
                  <a:lnTo>
                    <a:pt x="1221432" y="69367"/>
                  </a:lnTo>
                  <a:lnTo>
                    <a:pt x="1222339" y="67189"/>
                  </a:lnTo>
                  <a:lnTo>
                    <a:pt x="1223973" y="68913"/>
                  </a:lnTo>
                  <a:lnTo>
                    <a:pt x="1225516" y="69004"/>
                  </a:lnTo>
                  <a:lnTo>
                    <a:pt x="1227180" y="68520"/>
                  </a:lnTo>
                  <a:lnTo>
                    <a:pt x="1229207" y="68459"/>
                  </a:lnTo>
                  <a:lnTo>
                    <a:pt x="1227906" y="69760"/>
                  </a:lnTo>
                  <a:lnTo>
                    <a:pt x="1227301" y="71514"/>
                  </a:lnTo>
                  <a:lnTo>
                    <a:pt x="1227664" y="73057"/>
                  </a:lnTo>
                  <a:lnTo>
                    <a:pt x="1229237" y="73693"/>
                  </a:lnTo>
                  <a:lnTo>
                    <a:pt x="1230265" y="72815"/>
                  </a:lnTo>
                  <a:lnTo>
                    <a:pt x="1231324" y="70819"/>
                  </a:lnTo>
                  <a:lnTo>
                    <a:pt x="1232686" y="67158"/>
                  </a:lnTo>
                  <a:lnTo>
                    <a:pt x="1233472" y="73118"/>
                  </a:lnTo>
                  <a:lnTo>
                    <a:pt x="1233653" y="76385"/>
                  </a:lnTo>
                  <a:lnTo>
                    <a:pt x="1233381" y="78714"/>
                  </a:lnTo>
                  <a:lnTo>
                    <a:pt x="1234380" y="79773"/>
                  </a:lnTo>
                  <a:lnTo>
                    <a:pt x="1235741" y="80166"/>
                  </a:lnTo>
                  <a:lnTo>
                    <a:pt x="1238887" y="80166"/>
                  </a:lnTo>
                  <a:lnTo>
                    <a:pt x="1238887" y="81407"/>
                  </a:lnTo>
                  <a:lnTo>
                    <a:pt x="1237798" y="82768"/>
                  </a:lnTo>
                  <a:lnTo>
                    <a:pt x="1237465" y="84553"/>
                  </a:lnTo>
                  <a:lnTo>
                    <a:pt x="1237828" y="86368"/>
                  </a:lnTo>
                  <a:lnTo>
                    <a:pt x="1238887" y="87759"/>
                  </a:lnTo>
                  <a:lnTo>
                    <a:pt x="1240006" y="88002"/>
                  </a:lnTo>
                  <a:lnTo>
                    <a:pt x="1241095" y="87336"/>
                  </a:lnTo>
                  <a:lnTo>
                    <a:pt x="1243001" y="85218"/>
                  </a:lnTo>
                  <a:lnTo>
                    <a:pt x="1243606" y="89242"/>
                  </a:lnTo>
                  <a:lnTo>
                    <a:pt x="1245996" y="90664"/>
                  </a:lnTo>
                  <a:lnTo>
                    <a:pt x="1248961" y="91269"/>
                  </a:lnTo>
                  <a:lnTo>
                    <a:pt x="1251351" y="92842"/>
                  </a:lnTo>
                  <a:lnTo>
                    <a:pt x="1246329" y="92690"/>
                  </a:lnTo>
                  <a:lnTo>
                    <a:pt x="1244514" y="93296"/>
                  </a:lnTo>
                  <a:lnTo>
                    <a:pt x="1245784" y="95413"/>
                  </a:lnTo>
                  <a:lnTo>
                    <a:pt x="1244302" y="95292"/>
                  </a:lnTo>
                  <a:lnTo>
                    <a:pt x="1243667" y="95020"/>
                  </a:lnTo>
                  <a:lnTo>
                    <a:pt x="1242971" y="94233"/>
                  </a:lnTo>
                  <a:lnTo>
                    <a:pt x="1240914" y="99225"/>
                  </a:lnTo>
                  <a:lnTo>
                    <a:pt x="1243727" y="101887"/>
                  </a:lnTo>
                  <a:lnTo>
                    <a:pt x="1242336" y="103551"/>
                  </a:lnTo>
                  <a:lnTo>
                    <a:pt x="1240914" y="105699"/>
                  </a:lnTo>
                  <a:lnTo>
                    <a:pt x="1239885" y="101554"/>
                  </a:lnTo>
                  <a:lnTo>
                    <a:pt x="1237647" y="99043"/>
                  </a:lnTo>
                  <a:lnTo>
                    <a:pt x="1234985" y="98227"/>
                  </a:lnTo>
                  <a:lnTo>
                    <a:pt x="1232655" y="99195"/>
                  </a:lnTo>
                  <a:lnTo>
                    <a:pt x="1233079" y="101100"/>
                  </a:lnTo>
                  <a:lnTo>
                    <a:pt x="1233351" y="101857"/>
                  </a:lnTo>
                  <a:lnTo>
                    <a:pt x="1231264" y="101857"/>
                  </a:lnTo>
                  <a:lnTo>
                    <a:pt x="1231566" y="102643"/>
                  </a:lnTo>
                  <a:lnTo>
                    <a:pt x="1232141" y="104610"/>
                  </a:lnTo>
                  <a:lnTo>
                    <a:pt x="1232625" y="105638"/>
                  </a:lnTo>
                  <a:lnTo>
                    <a:pt x="1232201" y="106092"/>
                  </a:lnTo>
                  <a:lnTo>
                    <a:pt x="1231082" y="106848"/>
                  </a:lnTo>
                  <a:lnTo>
                    <a:pt x="1230568" y="107030"/>
                  </a:lnTo>
                  <a:lnTo>
                    <a:pt x="1230447" y="101463"/>
                  </a:lnTo>
                  <a:lnTo>
                    <a:pt x="1229055" y="99981"/>
                  </a:lnTo>
                  <a:lnTo>
                    <a:pt x="1224336" y="100556"/>
                  </a:lnTo>
                  <a:lnTo>
                    <a:pt x="1224336" y="101826"/>
                  </a:lnTo>
                  <a:lnTo>
                    <a:pt x="1225062" y="101826"/>
                  </a:lnTo>
                  <a:lnTo>
                    <a:pt x="1225062" y="103097"/>
                  </a:lnTo>
                  <a:lnTo>
                    <a:pt x="1221553" y="101826"/>
                  </a:lnTo>
                  <a:lnTo>
                    <a:pt x="1222309" y="104367"/>
                  </a:lnTo>
                  <a:lnTo>
                    <a:pt x="1220615" y="104428"/>
                  </a:lnTo>
                  <a:lnTo>
                    <a:pt x="1219405" y="103309"/>
                  </a:lnTo>
                  <a:lnTo>
                    <a:pt x="1218286" y="101766"/>
                  </a:lnTo>
                  <a:lnTo>
                    <a:pt x="1216804" y="100556"/>
                  </a:lnTo>
                  <a:lnTo>
                    <a:pt x="1215140" y="100405"/>
                  </a:lnTo>
                  <a:lnTo>
                    <a:pt x="1213204" y="100949"/>
                  </a:lnTo>
                  <a:lnTo>
                    <a:pt x="1211328" y="101947"/>
                  </a:lnTo>
                  <a:lnTo>
                    <a:pt x="1209876" y="103158"/>
                  </a:lnTo>
                  <a:lnTo>
                    <a:pt x="1208424" y="104821"/>
                  </a:lnTo>
                  <a:lnTo>
                    <a:pt x="1208031" y="105910"/>
                  </a:lnTo>
                  <a:lnTo>
                    <a:pt x="1209120" y="109541"/>
                  </a:lnTo>
                  <a:lnTo>
                    <a:pt x="1210088" y="114411"/>
                  </a:lnTo>
                  <a:close/>
                  <a:moveTo>
                    <a:pt x="1261727" y="64194"/>
                  </a:moveTo>
                  <a:lnTo>
                    <a:pt x="1264086" y="66493"/>
                  </a:lnTo>
                  <a:lnTo>
                    <a:pt x="1267475" y="67219"/>
                  </a:lnTo>
                  <a:lnTo>
                    <a:pt x="1267475" y="66069"/>
                  </a:lnTo>
                  <a:lnTo>
                    <a:pt x="1266386" y="64829"/>
                  </a:lnTo>
                  <a:lnTo>
                    <a:pt x="1266507" y="63710"/>
                  </a:lnTo>
                  <a:lnTo>
                    <a:pt x="1267081" y="62953"/>
                  </a:lnTo>
                  <a:lnTo>
                    <a:pt x="1267444" y="62863"/>
                  </a:lnTo>
                  <a:lnTo>
                    <a:pt x="1267959" y="64315"/>
                  </a:lnTo>
                  <a:lnTo>
                    <a:pt x="1269169" y="64799"/>
                  </a:lnTo>
                  <a:lnTo>
                    <a:pt x="1271649" y="64678"/>
                  </a:lnTo>
                  <a:lnTo>
                    <a:pt x="1274039" y="65646"/>
                  </a:lnTo>
                  <a:lnTo>
                    <a:pt x="1274856" y="65192"/>
                  </a:lnTo>
                  <a:lnTo>
                    <a:pt x="1275158" y="62832"/>
                  </a:lnTo>
                  <a:lnTo>
                    <a:pt x="1275007" y="60624"/>
                  </a:lnTo>
                  <a:lnTo>
                    <a:pt x="1274553" y="59021"/>
                  </a:lnTo>
                  <a:lnTo>
                    <a:pt x="1273041" y="55784"/>
                  </a:lnTo>
                  <a:lnTo>
                    <a:pt x="1274977" y="55300"/>
                  </a:lnTo>
                  <a:lnTo>
                    <a:pt x="1276157" y="53454"/>
                  </a:lnTo>
                  <a:lnTo>
                    <a:pt x="1276157" y="51155"/>
                  </a:lnTo>
                  <a:lnTo>
                    <a:pt x="1274402" y="49249"/>
                  </a:lnTo>
                  <a:lnTo>
                    <a:pt x="1274916" y="48856"/>
                  </a:lnTo>
                  <a:lnTo>
                    <a:pt x="1274916" y="48705"/>
                  </a:lnTo>
                  <a:lnTo>
                    <a:pt x="1275128" y="48070"/>
                  </a:lnTo>
                  <a:lnTo>
                    <a:pt x="1273555" y="47949"/>
                  </a:lnTo>
                  <a:lnTo>
                    <a:pt x="1271982" y="47404"/>
                  </a:lnTo>
                  <a:lnTo>
                    <a:pt x="1270772" y="46194"/>
                  </a:lnTo>
                  <a:lnTo>
                    <a:pt x="1270288" y="44107"/>
                  </a:lnTo>
                  <a:lnTo>
                    <a:pt x="1271680" y="45166"/>
                  </a:lnTo>
                  <a:lnTo>
                    <a:pt x="1273101" y="45438"/>
                  </a:lnTo>
                  <a:lnTo>
                    <a:pt x="1274493" y="45044"/>
                  </a:lnTo>
                  <a:lnTo>
                    <a:pt x="1275824" y="44107"/>
                  </a:lnTo>
                  <a:lnTo>
                    <a:pt x="1273525" y="38873"/>
                  </a:lnTo>
                  <a:lnTo>
                    <a:pt x="1272133" y="36483"/>
                  </a:lnTo>
                  <a:lnTo>
                    <a:pt x="1270953" y="35092"/>
                  </a:lnTo>
                  <a:lnTo>
                    <a:pt x="1272950" y="35334"/>
                  </a:lnTo>
                  <a:lnTo>
                    <a:pt x="1274614" y="36665"/>
                  </a:lnTo>
                  <a:lnTo>
                    <a:pt x="1277881" y="40204"/>
                  </a:lnTo>
                  <a:lnTo>
                    <a:pt x="1278668" y="38268"/>
                  </a:lnTo>
                  <a:lnTo>
                    <a:pt x="1279273" y="36241"/>
                  </a:lnTo>
                  <a:lnTo>
                    <a:pt x="1277518" y="32581"/>
                  </a:lnTo>
                  <a:lnTo>
                    <a:pt x="1277427" y="30766"/>
                  </a:lnTo>
                  <a:lnTo>
                    <a:pt x="1278516" y="28497"/>
                  </a:lnTo>
                  <a:lnTo>
                    <a:pt x="1278063" y="28164"/>
                  </a:lnTo>
                  <a:lnTo>
                    <a:pt x="1277639" y="27620"/>
                  </a:lnTo>
                  <a:lnTo>
                    <a:pt x="1277155" y="27347"/>
                  </a:lnTo>
                  <a:lnTo>
                    <a:pt x="1277155" y="25956"/>
                  </a:lnTo>
                  <a:lnTo>
                    <a:pt x="1277760" y="25532"/>
                  </a:lnTo>
                  <a:lnTo>
                    <a:pt x="1277911" y="24746"/>
                  </a:lnTo>
                  <a:lnTo>
                    <a:pt x="1277911" y="22205"/>
                  </a:lnTo>
                  <a:lnTo>
                    <a:pt x="1273495" y="21842"/>
                  </a:lnTo>
                  <a:lnTo>
                    <a:pt x="1271407" y="22477"/>
                  </a:lnTo>
                  <a:lnTo>
                    <a:pt x="1270258" y="24655"/>
                  </a:lnTo>
                  <a:lnTo>
                    <a:pt x="1269169" y="21358"/>
                  </a:lnTo>
                  <a:lnTo>
                    <a:pt x="1267928" y="21358"/>
                  </a:lnTo>
                  <a:lnTo>
                    <a:pt x="1266718" y="23203"/>
                  </a:lnTo>
                  <a:lnTo>
                    <a:pt x="1265720" y="25290"/>
                  </a:lnTo>
                  <a:lnTo>
                    <a:pt x="1265296" y="26712"/>
                  </a:lnTo>
                  <a:lnTo>
                    <a:pt x="1265054" y="28648"/>
                  </a:lnTo>
                  <a:lnTo>
                    <a:pt x="1265145" y="30342"/>
                  </a:lnTo>
                  <a:lnTo>
                    <a:pt x="1265720" y="31068"/>
                  </a:lnTo>
                  <a:lnTo>
                    <a:pt x="1265962" y="31613"/>
                  </a:lnTo>
                  <a:lnTo>
                    <a:pt x="1265024" y="34396"/>
                  </a:lnTo>
                  <a:lnTo>
                    <a:pt x="1264752" y="35636"/>
                  </a:lnTo>
                  <a:lnTo>
                    <a:pt x="1265085" y="38208"/>
                  </a:lnTo>
                  <a:lnTo>
                    <a:pt x="1266507" y="43199"/>
                  </a:lnTo>
                  <a:lnTo>
                    <a:pt x="1266809" y="44076"/>
                  </a:lnTo>
                  <a:lnTo>
                    <a:pt x="1265690" y="44591"/>
                  </a:lnTo>
                  <a:lnTo>
                    <a:pt x="1264117" y="43290"/>
                  </a:lnTo>
                  <a:lnTo>
                    <a:pt x="1263028" y="41051"/>
                  </a:lnTo>
                  <a:lnTo>
                    <a:pt x="1263330" y="38813"/>
                  </a:lnTo>
                  <a:lnTo>
                    <a:pt x="1263330" y="37633"/>
                  </a:lnTo>
                  <a:lnTo>
                    <a:pt x="1259972" y="38268"/>
                  </a:lnTo>
                  <a:lnTo>
                    <a:pt x="1259095" y="42292"/>
                  </a:lnTo>
                  <a:lnTo>
                    <a:pt x="1260335" y="60019"/>
                  </a:lnTo>
                  <a:lnTo>
                    <a:pt x="1261727" y="64194"/>
                  </a:lnTo>
                  <a:close/>
                  <a:moveTo>
                    <a:pt x="1280604" y="29949"/>
                  </a:moveTo>
                  <a:lnTo>
                    <a:pt x="1282207" y="31068"/>
                  </a:lnTo>
                  <a:lnTo>
                    <a:pt x="1283780" y="31492"/>
                  </a:lnTo>
                  <a:lnTo>
                    <a:pt x="1286805" y="31129"/>
                  </a:lnTo>
                  <a:lnTo>
                    <a:pt x="1288257" y="30947"/>
                  </a:lnTo>
                  <a:lnTo>
                    <a:pt x="1290224" y="31129"/>
                  </a:lnTo>
                  <a:lnTo>
                    <a:pt x="1291071" y="31583"/>
                  </a:lnTo>
                  <a:lnTo>
                    <a:pt x="1291857" y="32218"/>
                  </a:lnTo>
                  <a:lnTo>
                    <a:pt x="1292704" y="32641"/>
                  </a:lnTo>
                  <a:lnTo>
                    <a:pt x="1293672" y="32520"/>
                  </a:lnTo>
                  <a:lnTo>
                    <a:pt x="1295124" y="30917"/>
                  </a:lnTo>
                  <a:lnTo>
                    <a:pt x="1294429" y="29041"/>
                  </a:lnTo>
                  <a:lnTo>
                    <a:pt x="1293007" y="26954"/>
                  </a:lnTo>
                  <a:lnTo>
                    <a:pt x="1292311" y="24655"/>
                  </a:lnTo>
                  <a:lnTo>
                    <a:pt x="1293037" y="23536"/>
                  </a:lnTo>
                  <a:lnTo>
                    <a:pt x="1297181" y="19603"/>
                  </a:lnTo>
                  <a:lnTo>
                    <a:pt x="1297181" y="18181"/>
                  </a:lnTo>
                  <a:lnTo>
                    <a:pt x="1296546" y="17667"/>
                  </a:lnTo>
                  <a:lnTo>
                    <a:pt x="1295881" y="17274"/>
                  </a:lnTo>
                  <a:lnTo>
                    <a:pt x="1295185" y="17001"/>
                  </a:lnTo>
                  <a:lnTo>
                    <a:pt x="1297181" y="16880"/>
                  </a:lnTo>
                  <a:lnTo>
                    <a:pt x="1297181" y="15459"/>
                  </a:lnTo>
                  <a:lnTo>
                    <a:pt x="1296486" y="13159"/>
                  </a:lnTo>
                  <a:lnTo>
                    <a:pt x="1297756" y="11828"/>
                  </a:lnTo>
                  <a:lnTo>
                    <a:pt x="1299753" y="10709"/>
                  </a:lnTo>
                  <a:lnTo>
                    <a:pt x="1301265" y="9075"/>
                  </a:lnTo>
                  <a:lnTo>
                    <a:pt x="1300479" y="8924"/>
                  </a:lnTo>
                  <a:lnTo>
                    <a:pt x="1298513" y="7775"/>
                  </a:lnTo>
                  <a:lnTo>
                    <a:pt x="1300449" y="6686"/>
                  </a:lnTo>
                  <a:lnTo>
                    <a:pt x="1301265" y="6595"/>
                  </a:lnTo>
                  <a:lnTo>
                    <a:pt x="1300933" y="4266"/>
                  </a:lnTo>
                  <a:lnTo>
                    <a:pt x="1300146" y="2753"/>
                  </a:lnTo>
                  <a:lnTo>
                    <a:pt x="1299057" y="1845"/>
                  </a:lnTo>
                  <a:lnTo>
                    <a:pt x="1297787" y="1301"/>
                  </a:lnTo>
                  <a:lnTo>
                    <a:pt x="1296365" y="1180"/>
                  </a:lnTo>
                  <a:lnTo>
                    <a:pt x="1295790" y="908"/>
                  </a:lnTo>
                  <a:lnTo>
                    <a:pt x="1295124" y="0"/>
                  </a:lnTo>
                  <a:lnTo>
                    <a:pt x="1294156" y="1452"/>
                  </a:lnTo>
                  <a:lnTo>
                    <a:pt x="1292009" y="8410"/>
                  </a:lnTo>
                  <a:lnTo>
                    <a:pt x="1291131" y="9408"/>
                  </a:lnTo>
                  <a:lnTo>
                    <a:pt x="1289709" y="10467"/>
                  </a:lnTo>
                  <a:lnTo>
                    <a:pt x="1288469" y="11012"/>
                  </a:lnTo>
                  <a:lnTo>
                    <a:pt x="1288197" y="10467"/>
                  </a:lnTo>
                  <a:lnTo>
                    <a:pt x="1289135" y="8924"/>
                  </a:lnTo>
                  <a:lnTo>
                    <a:pt x="1290284" y="7865"/>
                  </a:lnTo>
                  <a:lnTo>
                    <a:pt x="1291283" y="6625"/>
                  </a:lnTo>
                  <a:lnTo>
                    <a:pt x="1291706" y="4538"/>
                  </a:lnTo>
                  <a:lnTo>
                    <a:pt x="1291283" y="1966"/>
                  </a:lnTo>
                  <a:lnTo>
                    <a:pt x="1290314" y="514"/>
                  </a:lnTo>
                  <a:lnTo>
                    <a:pt x="1289165" y="514"/>
                  </a:lnTo>
                  <a:lnTo>
                    <a:pt x="1288197" y="2481"/>
                  </a:lnTo>
                  <a:lnTo>
                    <a:pt x="1288257" y="4235"/>
                  </a:lnTo>
                  <a:lnTo>
                    <a:pt x="1286896" y="6444"/>
                  </a:lnTo>
                  <a:lnTo>
                    <a:pt x="1284990" y="8319"/>
                  </a:lnTo>
                  <a:lnTo>
                    <a:pt x="1283387" y="9075"/>
                  </a:lnTo>
                  <a:lnTo>
                    <a:pt x="1283387" y="10467"/>
                  </a:lnTo>
                  <a:lnTo>
                    <a:pt x="1284657" y="11980"/>
                  </a:lnTo>
                  <a:lnTo>
                    <a:pt x="1284657" y="14823"/>
                  </a:lnTo>
                  <a:lnTo>
                    <a:pt x="1283689" y="17395"/>
                  </a:lnTo>
                  <a:lnTo>
                    <a:pt x="1281995" y="18090"/>
                  </a:lnTo>
                  <a:lnTo>
                    <a:pt x="1282661" y="20359"/>
                  </a:lnTo>
                  <a:lnTo>
                    <a:pt x="1282903" y="23052"/>
                  </a:lnTo>
                  <a:lnTo>
                    <a:pt x="1282358" y="24564"/>
                  </a:lnTo>
                  <a:lnTo>
                    <a:pt x="1280573" y="23233"/>
                  </a:lnTo>
                  <a:lnTo>
                    <a:pt x="1281027" y="24564"/>
                  </a:lnTo>
                  <a:lnTo>
                    <a:pt x="1281209" y="26168"/>
                  </a:lnTo>
                  <a:lnTo>
                    <a:pt x="1281088" y="27952"/>
                  </a:lnTo>
                  <a:lnTo>
                    <a:pt x="1280604" y="29798"/>
                  </a:lnTo>
                  <a:close/>
                  <a:moveTo>
                    <a:pt x="1139965" y="1859556"/>
                  </a:moveTo>
                  <a:lnTo>
                    <a:pt x="1139723" y="1859707"/>
                  </a:lnTo>
                  <a:lnTo>
                    <a:pt x="1139360" y="1860221"/>
                  </a:lnTo>
                  <a:lnTo>
                    <a:pt x="1139088" y="1860796"/>
                  </a:lnTo>
                  <a:lnTo>
                    <a:pt x="1138815" y="1861159"/>
                  </a:lnTo>
                  <a:lnTo>
                    <a:pt x="1138815" y="1861885"/>
                  </a:lnTo>
                  <a:lnTo>
                    <a:pt x="1139057" y="1862762"/>
                  </a:lnTo>
                  <a:lnTo>
                    <a:pt x="1138876" y="1863488"/>
                  </a:lnTo>
                  <a:lnTo>
                    <a:pt x="1138543" y="1864396"/>
                  </a:lnTo>
                  <a:lnTo>
                    <a:pt x="1138997" y="1864577"/>
                  </a:lnTo>
                  <a:lnTo>
                    <a:pt x="1139904" y="1863670"/>
                  </a:lnTo>
                  <a:lnTo>
                    <a:pt x="1140933" y="1862278"/>
                  </a:lnTo>
                  <a:lnTo>
                    <a:pt x="1140721" y="1860494"/>
                  </a:lnTo>
                  <a:lnTo>
                    <a:pt x="1139965" y="1859586"/>
                  </a:lnTo>
                  <a:close/>
                  <a:moveTo>
                    <a:pt x="1122419" y="1850601"/>
                  </a:moveTo>
                  <a:lnTo>
                    <a:pt x="1120271" y="1852084"/>
                  </a:lnTo>
                  <a:lnTo>
                    <a:pt x="1118184" y="1852900"/>
                  </a:lnTo>
                  <a:lnTo>
                    <a:pt x="1113707" y="1856863"/>
                  </a:lnTo>
                  <a:lnTo>
                    <a:pt x="1112376" y="1857136"/>
                  </a:lnTo>
                  <a:lnTo>
                    <a:pt x="1111135" y="1857136"/>
                  </a:lnTo>
                  <a:lnTo>
                    <a:pt x="1110500" y="1857771"/>
                  </a:lnTo>
                  <a:lnTo>
                    <a:pt x="1110984" y="1859798"/>
                  </a:lnTo>
                  <a:lnTo>
                    <a:pt x="1109865" y="1859979"/>
                  </a:lnTo>
                  <a:lnTo>
                    <a:pt x="1109078" y="1860705"/>
                  </a:lnTo>
                  <a:lnTo>
                    <a:pt x="1108806" y="1861462"/>
                  </a:lnTo>
                  <a:lnTo>
                    <a:pt x="1109229" y="1861825"/>
                  </a:lnTo>
                  <a:lnTo>
                    <a:pt x="1118910" y="1861825"/>
                  </a:lnTo>
                  <a:lnTo>
                    <a:pt x="1119727" y="1862036"/>
                  </a:lnTo>
                  <a:lnTo>
                    <a:pt x="1120332" y="1862369"/>
                  </a:lnTo>
                  <a:lnTo>
                    <a:pt x="1120997" y="1862430"/>
                  </a:lnTo>
                  <a:lnTo>
                    <a:pt x="1122026" y="1861825"/>
                  </a:lnTo>
                  <a:lnTo>
                    <a:pt x="1122812" y="1861068"/>
                  </a:lnTo>
                  <a:lnTo>
                    <a:pt x="1122933" y="1860675"/>
                  </a:lnTo>
                  <a:lnTo>
                    <a:pt x="1122933" y="1860131"/>
                  </a:lnTo>
                  <a:lnTo>
                    <a:pt x="1123538" y="1857892"/>
                  </a:lnTo>
                  <a:lnTo>
                    <a:pt x="1123992" y="1854837"/>
                  </a:lnTo>
                  <a:lnTo>
                    <a:pt x="1125656" y="1852295"/>
                  </a:lnTo>
                  <a:lnTo>
                    <a:pt x="1126049" y="1851055"/>
                  </a:lnTo>
                  <a:lnTo>
                    <a:pt x="1124385" y="1849784"/>
                  </a:lnTo>
                  <a:lnTo>
                    <a:pt x="1122358" y="1850601"/>
                  </a:lnTo>
                  <a:close/>
                  <a:moveTo>
                    <a:pt x="1157662" y="1821983"/>
                  </a:moveTo>
                  <a:lnTo>
                    <a:pt x="1159416" y="1820199"/>
                  </a:lnTo>
                  <a:lnTo>
                    <a:pt x="1159416" y="1819412"/>
                  </a:lnTo>
                  <a:lnTo>
                    <a:pt x="1158993" y="1819049"/>
                  </a:lnTo>
                  <a:lnTo>
                    <a:pt x="1158570" y="1819110"/>
                  </a:lnTo>
                  <a:lnTo>
                    <a:pt x="1156936" y="1819987"/>
                  </a:lnTo>
                  <a:lnTo>
                    <a:pt x="1155937" y="1820078"/>
                  </a:lnTo>
                  <a:lnTo>
                    <a:pt x="1154546" y="1820864"/>
                  </a:lnTo>
                  <a:lnTo>
                    <a:pt x="1153759" y="1822407"/>
                  </a:lnTo>
                  <a:lnTo>
                    <a:pt x="1154697" y="1823073"/>
                  </a:lnTo>
                  <a:lnTo>
                    <a:pt x="1156301" y="1822709"/>
                  </a:lnTo>
                  <a:lnTo>
                    <a:pt x="1157601" y="1822014"/>
                  </a:lnTo>
                  <a:close/>
                  <a:moveTo>
                    <a:pt x="896683" y="1168068"/>
                  </a:moveTo>
                  <a:lnTo>
                    <a:pt x="896320" y="1168341"/>
                  </a:lnTo>
                  <a:lnTo>
                    <a:pt x="895775" y="1168643"/>
                  </a:lnTo>
                  <a:lnTo>
                    <a:pt x="895775" y="1169823"/>
                  </a:lnTo>
                  <a:lnTo>
                    <a:pt x="898195" y="1170549"/>
                  </a:lnTo>
                  <a:lnTo>
                    <a:pt x="900283" y="1169248"/>
                  </a:lnTo>
                  <a:lnTo>
                    <a:pt x="902249" y="1167433"/>
                  </a:lnTo>
                  <a:lnTo>
                    <a:pt x="904427" y="1166495"/>
                  </a:lnTo>
                  <a:lnTo>
                    <a:pt x="905909" y="1167040"/>
                  </a:lnTo>
                  <a:lnTo>
                    <a:pt x="907785" y="1169309"/>
                  </a:lnTo>
                  <a:lnTo>
                    <a:pt x="909267" y="1169823"/>
                  </a:lnTo>
                  <a:lnTo>
                    <a:pt x="910598" y="1169369"/>
                  </a:lnTo>
                  <a:lnTo>
                    <a:pt x="911809" y="1168734"/>
                  </a:lnTo>
                  <a:lnTo>
                    <a:pt x="912867" y="1168885"/>
                  </a:lnTo>
                  <a:lnTo>
                    <a:pt x="913745" y="1170882"/>
                  </a:lnTo>
                  <a:lnTo>
                    <a:pt x="915076" y="1166647"/>
                  </a:lnTo>
                  <a:lnTo>
                    <a:pt x="915892" y="1165527"/>
                  </a:lnTo>
                  <a:lnTo>
                    <a:pt x="917042" y="1164983"/>
                  </a:lnTo>
                  <a:lnTo>
                    <a:pt x="918615" y="1164620"/>
                  </a:lnTo>
                  <a:lnTo>
                    <a:pt x="920037" y="1164015"/>
                  </a:lnTo>
                  <a:lnTo>
                    <a:pt x="920642" y="1162774"/>
                  </a:lnTo>
                  <a:lnTo>
                    <a:pt x="922094" y="1161111"/>
                  </a:lnTo>
                  <a:lnTo>
                    <a:pt x="927600" y="1157692"/>
                  </a:lnTo>
                  <a:lnTo>
                    <a:pt x="927509" y="1155756"/>
                  </a:lnTo>
                  <a:lnTo>
                    <a:pt x="930383" y="1153215"/>
                  </a:lnTo>
                  <a:lnTo>
                    <a:pt x="933831" y="1151491"/>
                  </a:lnTo>
                  <a:lnTo>
                    <a:pt x="936040" y="1149192"/>
                  </a:lnTo>
                  <a:lnTo>
                    <a:pt x="935193" y="1144866"/>
                  </a:lnTo>
                  <a:lnTo>
                    <a:pt x="937946" y="1143413"/>
                  </a:lnTo>
                  <a:lnTo>
                    <a:pt x="938581" y="1142809"/>
                  </a:lnTo>
                  <a:lnTo>
                    <a:pt x="939186" y="1141659"/>
                  </a:lnTo>
                  <a:lnTo>
                    <a:pt x="939731" y="1140207"/>
                  </a:lnTo>
                  <a:lnTo>
                    <a:pt x="940336" y="1138936"/>
                  </a:lnTo>
                  <a:lnTo>
                    <a:pt x="941092" y="1138392"/>
                  </a:lnTo>
                  <a:lnTo>
                    <a:pt x="942514" y="1135639"/>
                  </a:lnTo>
                  <a:lnTo>
                    <a:pt x="943088" y="1135125"/>
                  </a:lnTo>
                  <a:lnTo>
                    <a:pt x="943996" y="1134550"/>
                  </a:lnTo>
                  <a:lnTo>
                    <a:pt x="943845" y="1133188"/>
                  </a:lnTo>
                  <a:lnTo>
                    <a:pt x="943210" y="1131767"/>
                  </a:lnTo>
                  <a:lnTo>
                    <a:pt x="942665" y="1130890"/>
                  </a:lnTo>
                  <a:lnTo>
                    <a:pt x="941909" y="1130375"/>
                  </a:lnTo>
                  <a:lnTo>
                    <a:pt x="940063" y="1130163"/>
                  </a:lnTo>
                  <a:lnTo>
                    <a:pt x="939277" y="1129710"/>
                  </a:lnTo>
                  <a:lnTo>
                    <a:pt x="938702" y="1128651"/>
                  </a:lnTo>
                  <a:lnTo>
                    <a:pt x="938067" y="1126019"/>
                  </a:lnTo>
                  <a:lnTo>
                    <a:pt x="937522" y="1124839"/>
                  </a:lnTo>
                  <a:lnTo>
                    <a:pt x="937310" y="1122691"/>
                  </a:lnTo>
                  <a:lnTo>
                    <a:pt x="939368" y="1116732"/>
                  </a:lnTo>
                  <a:lnTo>
                    <a:pt x="939942" y="1114433"/>
                  </a:lnTo>
                  <a:lnTo>
                    <a:pt x="938279" y="1113616"/>
                  </a:lnTo>
                  <a:lnTo>
                    <a:pt x="936463" y="1114130"/>
                  </a:lnTo>
                  <a:lnTo>
                    <a:pt x="934588" y="1115098"/>
                  </a:lnTo>
                  <a:lnTo>
                    <a:pt x="930806" y="1115945"/>
                  </a:lnTo>
                  <a:lnTo>
                    <a:pt x="925422" y="1118880"/>
                  </a:lnTo>
                  <a:lnTo>
                    <a:pt x="921852" y="1122026"/>
                  </a:lnTo>
                  <a:lnTo>
                    <a:pt x="919492" y="1126291"/>
                  </a:lnTo>
                  <a:lnTo>
                    <a:pt x="915076" y="1136214"/>
                  </a:lnTo>
                  <a:lnTo>
                    <a:pt x="913654" y="1137968"/>
                  </a:lnTo>
                  <a:lnTo>
                    <a:pt x="910568" y="1140509"/>
                  </a:lnTo>
                  <a:lnTo>
                    <a:pt x="908481" y="1143020"/>
                  </a:lnTo>
                  <a:lnTo>
                    <a:pt x="906030" y="1144563"/>
                  </a:lnTo>
                  <a:lnTo>
                    <a:pt x="903792" y="1145047"/>
                  </a:lnTo>
                  <a:lnTo>
                    <a:pt x="903610" y="1145682"/>
                  </a:lnTo>
                  <a:lnTo>
                    <a:pt x="903731" y="1146741"/>
                  </a:lnTo>
                  <a:lnTo>
                    <a:pt x="903399" y="1148254"/>
                  </a:lnTo>
                  <a:lnTo>
                    <a:pt x="902461" y="1150613"/>
                  </a:lnTo>
                  <a:lnTo>
                    <a:pt x="902067" y="1152640"/>
                  </a:lnTo>
                  <a:lnTo>
                    <a:pt x="902007" y="1157390"/>
                  </a:lnTo>
                  <a:lnTo>
                    <a:pt x="901099" y="1160173"/>
                  </a:lnTo>
                  <a:lnTo>
                    <a:pt x="897711" y="1164589"/>
                  </a:lnTo>
                  <a:lnTo>
                    <a:pt x="897832" y="1167645"/>
                  </a:lnTo>
                  <a:lnTo>
                    <a:pt x="897076" y="1167827"/>
                  </a:lnTo>
                  <a:lnTo>
                    <a:pt x="896653" y="1168068"/>
                  </a:lnTo>
                  <a:close/>
                  <a:moveTo>
                    <a:pt x="1174815" y="1891501"/>
                  </a:moveTo>
                  <a:lnTo>
                    <a:pt x="1174361" y="1890927"/>
                  </a:lnTo>
                  <a:lnTo>
                    <a:pt x="1174482" y="1889535"/>
                  </a:lnTo>
                  <a:lnTo>
                    <a:pt x="1169732" y="1887357"/>
                  </a:lnTo>
                  <a:lnTo>
                    <a:pt x="1168250" y="1885996"/>
                  </a:lnTo>
                  <a:lnTo>
                    <a:pt x="1166768" y="1886086"/>
                  </a:lnTo>
                  <a:lnTo>
                    <a:pt x="1166132" y="1886298"/>
                  </a:lnTo>
                  <a:lnTo>
                    <a:pt x="1165467" y="1886964"/>
                  </a:lnTo>
                  <a:lnTo>
                    <a:pt x="1164317" y="1886268"/>
                  </a:lnTo>
                  <a:lnTo>
                    <a:pt x="1162109" y="1885753"/>
                  </a:lnTo>
                  <a:lnTo>
                    <a:pt x="1161322" y="1885027"/>
                  </a:lnTo>
                  <a:lnTo>
                    <a:pt x="1160203" y="1885965"/>
                  </a:lnTo>
                  <a:lnTo>
                    <a:pt x="1159235" y="1886540"/>
                  </a:lnTo>
                  <a:lnTo>
                    <a:pt x="1158206" y="1886842"/>
                  </a:lnTo>
                  <a:lnTo>
                    <a:pt x="1156845" y="1886933"/>
                  </a:lnTo>
                  <a:lnTo>
                    <a:pt x="1154939" y="1885965"/>
                  </a:lnTo>
                  <a:lnTo>
                    <a:pt x="1153517" y="1885572"/>
                  </a:lnTo>
                  <a:lnTo>
                    <a:pt x="1152338" y="1885965"/>
                  </a:lnTo>
                  <a:lnTo>
                    <a:pt x="1152247" y="1887690"/>
                  </a:lnTo>
                  <a:lnTo>
                    <a:pt x="1153124" y="1890443"/>
                  </a:lnTo>
                  <a:lnTo>
                    <a:pt x="1153820" y="1893619"/>
                  </a:lnTo>
                  <a:lnTo>
                    <a:pt x="1153094" y="1896644"/>
                  </a:lnTo>
                  <a:lnTo>
                    <a:pt x="1154122" y="1896644"/>
                  </a:lnTo>
                  <a:lnTo>
                    <a:pt x="1156180" y="1895797"/>
                  </a:lnTo>
                  <a:lnTo>
                    <a:pt x="1156452" y="1895585"/>
                  </a:lnTo>
                  <a:lnTo>
                    <a:pt x="1157511" y="1895978"/>
                  </a:lnTo>
                  <a:lnTo>
                    <a:pt x="1158781" y="1897249"/>
                  </a:lnTo>
                  <a:lnTo>
                    <a:pt x="1159628" y="1897491"/>
                  </a:lnTo>
                  <a:lnTo>
                    <a:pt x="1160445" y="1895737"/>
                  </a:lnTo>
                  <a:lnTo>
                    <a:pt x="1161231" y="1894436"/>
                  </a:lnTo>
                  <a:lnTo>
                    <a:pt x="1162048" y="1893649"/>
                  </a:lnTo>
                  <a:lnTo>
                    <a:pt x="1162744" y="1893649"/>
                  </a:lnTo>
                  <a:lnTo>
                    <a:pt x="1163652" y="1894012"/>
                  </a:lnTo>
                  <a:lnTo>
                    <a:pt x="1164529" y="1894557"/>
                  </a:lnTo>
                  <a:lnTo>
                    <a:pt x="1166858" y="1896735"/>
                  </a:lnTo>
                  <a:lnTo>
                    <a:pt x="1168583" y="1897430"/>
                  </a:lnTo>
                  <a:lnTo>
                    <a:pt x="1171668" y="1897491"/>
                  </a:lnTo>
                  <a:lnTo>
                    <a:pt x="1172576" y="1897854"/>
                  </a:lnTo>
                  <a:lnTo>
                    <a:pt x="1173483" y="1898459"/>
                  </a:lnTo>
                  <a:lnTo>
                    <a:pt x="1174149" y="1898459"/>
                  </a:lnTo>
                  <a:lnTo>
                    <a:pt x="1174421" y="1897037"/>
                  </a:lnTo>
                  <a:lnTo>
                    <a:pt x="1174421" y="1895464"/>
                  </a:lnTo>
                  <a:lnTo>
                    <a:pt x="1174512" y="1894315"/>
                  </a:lnTo>
                  <a:lnTo>
                    <a:pt x="1174905" y="1893377"/>
                  </a:lnTo>
                  <a:lnTo>
                    <a:pt x="1175782" y="1892651"/>
                  </a:lnTo>
                  <a:lnTo>
                    <a:pt x="1175419" y="1892227"/>
                  </a:lnTo>
                  <a:lnTo>
                    <a:pt x="1174875" y="1891380"/>
                  </a:lnTo>
                  <a:close/>
                </a:path>
              </a:pathLst>
            </a:custGeom>
            <a:solidFill>
              <a:srgbClr val="96A3AC"/>
            </a:solidFill>
            <a:ln w="3175" cap="rnd">
              <a:solidFill>
                <a:schemeClr val="bg1"/>
              </a:solidFill>
              <a:prstDash val="solid"/>
              <a:round/>
            </a:ln>
          </p:spPr>
          <p:txBody>
            <a:bodyPr rtlCol="0" anchor="ctr"/>
            <a:lstStyle/>
            <a:p>
              <a:endParaRPr lang="en-ID"/>
            </a:p>
          </p:txBody>
        </p:sp>
        <p:sp>
          <p:nvSpPr>
            <p:cNvPr id="49" name="Freeform: Shape 48">
              <a:extLst>
                <a:ext uri="{FF2B5EF4-FFF2-40B4-BE49-F238E27FC236}">
                  <a16:creationId xmlns:a16="http://schemas.microsoft.com/office/drawing/2014/main" id="{9914C617-AECD-C312-5A4A-48029BA084D4}"/>
                </a:ext>
              </a:extLst>
            </p:cNvPr>
            <p:cNvSpPr/>
            <p:nvPr/>
          </p:nvSpPr>
          <p:spPr>
            <a:xfrm>
              <a:off x="7737731" y="5422167"/>
              <a:ext cx="1551" cy="2703"/>
            </a:xfrm>
            <a:custGeom>
              <a:avLst/>
              <a:gdLst>
                <a:gd name="connsiteX0" fmla="*/ 1997 w 1996"/>
                <a:gd name="connsiteY0" fmla="*/ 0 h 3478"/>
                <a:gd name="connsiteX1" fmla="*/ 0 w 1996"/>
                <a:gd name="connsiteY1" fmla="*/ 0 h 3478"/>
                <a:gd name="connsiteX2" fmla="*/ 847 w 1996"/>
                <a:gd name="connsiteY2" fmla="*/ 2481 h 3478"/>
                <a:gd name="connsiteX3" fmla="*/ 1664 w 1996"/>
                <a:gd name="connsiteY3" fmla="*/ 3479 h 3478"/>
                <a:gd name="connsiteX4" fmla="*/ 1936 w 1996"/>
                <a:gd name="connsiteY4" fmla="*/ 1966 h 3478"/>
                <a:gd name="connsiteX5" fmla="*/ 1876 w 1996"/>
                <a:gd name="connsiteY5" fmla="*/ 1271 h 3478"/>
                <a:gd name="connsiteX6" fmla="*/ 1997 w 1996"/>
                <a:gd name="connsiteY6" fmla="*/ 0 h 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6" h="3478">
                  <a:moveTo>
                    <a:pt x="1997" y="0"/>
                  </a:moveTo>
                  <a:lnTo>
                    <a:pt x="0" y="0"/>
                  </a:lnTo>
                  <a:lnTo>
                    <a:pt x="847" y="2481"/>
                  </a:lnTo>
                  <a:lnTo>
                    <a:pt x="1664" y="3479"/>
                  </a:lnTo>
                  <a:lnTo>
                    <a:pt x="1936" y="1966"/>
                  </a:lnTo>
                  <a:lnTo>
                    <a:pt x="1876" y="1271"/>
                  </a:lnTo>
                  <a:lnTo>
                    <a:pt x="1997" y="0"/>
                  </a:lnTo>
                  <a:close/>
                </a:path>
              </a:pathLst>
            </a:custGeom>
            <a:solidFill>
              <a:srgbClr val="96A3AC"/>
            </a:solidFill>
            <a:ln w="3175" cap="rnd">
              <a:solidFill>
                <a:schemeClr val="bg1"/>
              </a:solidFill>
              <a:prstDash val="solid"/>
              <a:round/>
            </a:ln>
          </p:spPr>
          <p:txBody>
            <a:bodyPr rtlCol="0" anchor="ctr"/>
            <a:lstStyle/>
            <a:p>
              <a:endParaRPr lang="en-ID"/>
            </a:p>
          </p:txBody>
        </p:sp>
        <p:sp>
          <p:nvSpPr>
            <p:cNvPr id="50" name="Freeform: Shape 49">
              <a:extLst>
                <a:ext uri="{FF2B5EF4-FFF2-40B4-BE49-F238E27FC236}">
                  <a16:creationId xmlns:a16="http://schemas.microsoft.com/office/drawing/2014/main" id="{7AD665BA-C89B-AC67-AFD8-D8F3B8D46504}"/>
                </a:ext>
              </a:extLst>
            </p:cNvPr>
            <p:cNvSpPr/>
            <p:nvPr/>
          </p:nvSpPr>
          <p:spPr>
            <a:xfrm>
              <a:off x="8614876" y="3453378"/>
              <a:ext cx="717249" cy="895346"/>
            </a:xfrm>
            <a:custGeom>
              <a:avLst/>
              <a:gdLst>
                <a:gd name="connsiteX0" fmla="*/ 82677 w 922759"/>
                <a:gd name="connsiteY0" fmla="*/ 235931 h 1151883"/>
                <a:gd name="connsiteX1" fmla="*/ 84492 w 922759"/>
                <a:gd name="connsiteY1" fmla="*/ 236748 h 1151883"/>
                <a:gd name="connsiteX2" fmla="*/ 85097 w 922759"/>
                <a:gd name="connsiteY2" fmla="*/ 236597 h 1151883"/>
                <a:gd name="connsiteX3" fmla="*/ 86580 w 922759"/>
                <a:gd name="connsiteY3" fmla="*/ 235871 h 1151883"/>
                <a:gd name="connsiteX4" fmla="*/ 87608 w 922759"/>
                <a:gd name="connsiteY4" fmla="*/ 235719 h 1151883"/>
                <a:gd name="connsiteX5" fmla="*/ 88485 w 922759"/>
                <a:gd name="connsiteY5" fmla="*/ 236022 h 1151883"/>
                <a:gd name="connsiteX6" fmla="*/ 89786 w 922759"/>
                <a:gd name="connsiteY6" fmla="*/ 237444 h 1151883"/>
                <a:gd name="connsiteX7" fmla="*/ 90694 w 922759"/>
                <a:gd name="connsiteY7" fmla="*/ 237928 h 1151883"/>
                <a:gd name="connsiteX8" fmla="*/ 89998 w 922759"/>
                <a:gd name="connsiteY8" fmla="*/ 236445 h 1151883"/>
                <a:gd name="connsiteX9" fmla="*/ 89272 w 922759"/>
                <a:gd name="connsiteY9" fmla="*/ 235538 h 1151883"/>
                <a:gd name="connsiteX10" fmla="*/ 88395 w 922759"/>
                <a:gd name="connsiteY10" fmla="*/ 234963 h 1151883"/>
                <a:gd name="connsiteX11" fmla="*/ 87275 w 922759"/>
                <a:gd name="connsiteY11" fmla="*/ 234570 h 1151883"/>
                <a:gd name="connsiteX12" fmla="*/ 87275 w 922759"/>
                <a:gd name="connsiteY12" fmla="*/ 233602 h 1151883"/>
                <a:gd name="connsiteX13" fmla="*/ 89121 w 922759"/>
                <a:gd name="connsiteY13" fmla="*/ 233178 h 1151883"/>
                <a:gd name="connsiteX14" fmla="*/ 92630 w 922759"/>
                <a:gd name="connsiteY14" fmla="*/ 231786 h 1151883"/>
                <a:gd name="connsiteX15" fmla="*/ 94899 w 922759"/>
                <a:gd name="connsiteY15" fmla="*/ 231484 h 1151883"/>
                <a:gd name="connsiteX16" fmla="*/ 93537 w 922759"/>
                <a:gd name="connsiteY16" fmla="*/ 229064 h 1151883"/>
                <a:gd name="connsiteX17" fmla="*/ 89786 w 922759"/>
                <a:gd name="connsiteY17" fmla="*/ 229306 h 1151883"/>
                <a:gd name="connsiteX18" fmla="*/ 82133 w 922759"/>
                <a:gd name="connsiteY18" fmla="*/ 231484 h 1151883"/>
                <a:gd name="connsiteX19" fmla="*/ 80953 w 922759"/>
                <a:gd name="connsiteY19" fmla="*/ 232331 h 1151883"/>
                <a:gd name="connsiteX20" fmla="*/ 81346 w 922759"/>
                <a:gd name="connsiteY20" fmla="*/ 234176 h 1151883"/>
                <a:gd name="connsiteX21" fmla="*/ 82738 w 922759"/>
                <a:gd name="connsiteY21" fmla="*/ 235991 h 1151883"/>
                <a:gd name="connsiteX22" fmla="*/ 119917 w 922759"/>
                <a:gd name="connsiteY22" fmla="*/ 217447 h 1151883"/>
                <a:gd name="connsiteX23" fmla="*/ 106213 w 922759"/>
                <a:gd name="connsiteY23" fmla="*/ 219081 h 1151883"/>
                <a:gd name="connsiteX24" fmla="*/ 102492 w 922759"/>
                <a:gd name="connsiteY24" fmla="*/ 220775 h 1151883"/>
                <a:gd name="connsiteX25" fmla="*/ 123789 w 922759"/>
                <a:gd name="connsiteY25" fmla="*/ 218567 h 1151883"/>
                <a:gd name="connsiteX26" fmla="*/ 119917 w 922759"/>
                <a:gd name="connsiteY26" fmla="*/ 217447 h 1151883"/>
                <a:gd name="connsiteX27" fmla="*/ 144934 w 922759"/>
                <a:gd name="connsiteY27" fmla="*/ 214815 h 1151883"/>
                <a:gd name="connsiteX28" fmla="*/ 149623 w 922759"/>
                <a:gd name="connsiteY28" fmla="*/ 213091 h 1151883"/>
                <a:gd name="connsiteX29" fmla="*/ 149896 w 922759"/>
                <a:gd name="connsiteY29" fmla="*/ 213091 h 1151883"/>
                <a:gd name="connsiteX30" fmla="*/ 150077 w 922759"/>
                <a:gd name="connsiteY30" fmla="*/ 212910 h 1151883"/>
                <a:gd name="connsiteX31" fmla="*/ 150017 w 922759"/>
                <a:gd name="connsiteY31" fmla="*/ 212153 h 1151883"/>
                <a:gd name="connsiteX32" fmla="*/ 138612 w 922759"/>
                <a:gd name="connsiteY32" fmla="*/ 211942 h 1151883"/>
                <a:gd name="connsiteX33" fmla="*/ 133197 w 922759"/>
                <a:gd name="connsiteY33" fmla="*/ 212789 h 1151883"/>
                <a:gd name="connsiteX34" fmla="*/ 128599 w 922759"/>
                <a:gd name="connsiteY34" fmla="*/ 215269 h 1151883"/>
                <a:gd name="connsiteX35" fmla="*/ 132652 w 922759"/>
                <a:gd name="connsiteY35" fmla="*/ 216298 h 1151883"/>
                <a:gd name="connsiteX36" fmla="*/ 144934 w 922759"/>
                <a:gd name="connsiteY36" fmla="*/ 214785 h 1151883"/>
                <a:gd name="connsiteX37" fmla="*/ 157580 w 922759"/>
                <a:gd name="connsiteY37" fmla="*/ 213243 h 1151883"/>
                <a:gd name="connsiteX38" fmla="*/ 158366 w 922759"/>
                <a:gd name="connsiteY38" fmla="*/ 213031 h 1151883"/>
                <a:gd name="connsiteX39" fmla="*/ 158699 w 922759"/>
                <a:gd name="connsiteY39" fmla="*/ 212789 h 1151883"/>
                <a:gd name="connsiteX40" fmla="*/ 159032 w 922759"/>
                <a:gd name="connsiteY40" fmla="*/ 212184 h 1151883"/>
                <a:gd name="connsiteX41" fmla="*/ 157731 w 922759"/>
                <a:gd name="connsiteY41" fmla="*/ 211216 h 1151883"/>
                <a:gd name="connsiteX42" fmla="*/ 155795 w 922759"/>
                <a:gd name="connsiteY42" fmla="*/ 210822 h 1151883"/>
                <a:gd name="connsiteX43" fmla="*/ 153738 w 922759"/>
                <a:gd name="connsiteY43" fmla="*/ 211125 h 1151883"/>
                <a:gd name="connsiteX44" fmla="*/ 152074 w 922759"/>
                <a:gd name="connsiteY44" fmla="*/ 212184 h 1151883"/>
                <a:gd name="connsiteX45" fmla="*/ 153556 w 922759"/>
                <a:gd name="connsiteY45" fmla="*/ 212093 h 1151883"/>
                <a:gd name="connsiteX46" fmla="*/ 157580 w 922759"/>
                <a:gd name="connsiteY46" fmla="*/ 213243 h 1151883"/>
                <a:gd name="connsiteX47" fmla="*/ 229578 w 922759"/>
                <a:gd name="connsiteY47" fmla="*/ 213757 h 1151883"/>
                <a:gd name="connsiteX48" fmla="*/ 230153 w 922759"/>
                <a:gd name="connsiteY48" fmla="*/ 214120 h 1151883"/>
                <a:gd name="connsiteX49" fmla="*/ 231000 w 922759"/>
                <a:gd name="connsiteY49" fmla="*/ 214332 h 1151883"/>
                <a:gd name="connsiteX50" fmla="*/ 231514 w 922759"/>
                <a:gd name="connsiteY50" fmla="*/ 213999 h 1151883"/>
                <a:gd name="connsiteX51" fmla="*/ 233117 w 922759"/>
                <a:gd name="connsiteY51" fmla="*/ 212577 h 1151883"/>
                <a:gd name="connsiteX52" fmla="*/ 234116 w 922759"/>
                <a:gd name="connsiteY52" fmla="*/ 212214 h 1151883"/>
                <a:gd name="connsiteX53" fmla="*/ 235538 w 922759"/>
                <a:gd name="connsiteY53" fmla="*/ 212214 h 1151883"/>
                <a:gd name="connsiteX54" fmla="*/ 233420 w 922759"/>
                <a:gd name="connsiteY54" fmla="*/ 210792 h 1151883"/>
                <a:gd name="connsiteX55" fmla="*/ 231151 w 922759"/>
                <a:gd name="connsiteY55" fmla="*/ 210459 h 1151883"/>
                <a:gd name="connsiteX56" fmla="*/ 229155 w 922759"/>
                <a:gd name="connsiteY56" fmla="*/ 211276 h 1151883"/>
                <a:gd name="connsiteX57" fmla="*/ 227884 w 922759"/>
                <a:gd name="connsiteY57" fmla="*/ 213303 h 1151883"/>
                <a:gd name="connsiteX58" fmla="*/ 227884 w 922759"/>
                <a:gd name="connsiteY58" fmla="*/ 214362 h 1151883"/>
                <a:gd name="connsiteX59" fmla="*/ 228943 w 922759"/>
                <a:gd name="connsiteY59" fmla="*/ 213696 h 1151883"/>
                <a:gd name="connsiteX60" fmla="*/ 229548 w 922759"/>
                <a:gd name="connsiteY60" fmla="*/ 213787 h 1151883"/>
                <a:gd name="connsiteX61" fmla="*/ 163690 w 922759"/>
                <a:gd name="connsiteY61" fmla="*/ 212305 h 1151883"/>
                <a:gd name="connsiteX62" fmla="*/ 166625 w 922759"/>
                <a:gd name="connsiteY62" fmla="*/ 212184 h 1151883"/>
                <a:gd name="connsiteX63" fmla="*/ 166897 w 922759"/>
                <a:gd name="connsiteY63" fmla="*/ 209431 h 1151883"/>
                <a:gd name="connsiteX64" fmla="*/ 170285 w 922759"/>
                <a:gd name="connsiteY64" fmla="*/ 208675 h 1151883"/>
                <a:gd name="connsiteX65" fmla="*/ 177636 w 922759"/>
                <a:gd name="connsiteY65" fmla="*/ 208886 h 1151883"/>
                <a:gd name="connsiteX66" fmla="*/ 177908 w 922759"/>
                <a:gd name="connsiteY66" fmla="*/ 208765 h 1151883"/>
                <a:gd name="connsiteX67" fmla="*/ 178151 w 922759"/>
                <a:gd name="connsiteY67" fmla="*/ 208765 h 1151883"/>
                <a:gd name="connsiteX68" fmla="*/ 178302 w 922759"/>
                <a:gd name="connsiteY68" fmla="*/ 208614 h 1151883"/>
                <a:gd name="connsiteX69" fmla="*/ 178241 w 922759"/>
                <a:gd name="connsiteY69" fmla="*/ 207918 h 1151883"/>
                <a:gd name="connsiteX70" fmla="*/ 176215 w 922759"/>
                <a:gd name="connsiteY70" fmla="*/ 206769 h 1151883"/>
                <a:gd name="connsiteX71" fmla="*/ 167230 w 922759"/>
                <a:gd name="connsiteY71" fmla="*/ 206859 h 1151883"/>
                <a:gd name="connsiteX72" fmla="*/ 164175 w 922759"/>
                <a:gd name="connsiteY72" fmla="*/ 206980 h 1151883"/>
                <a:gd name="connsiteX73" fmla="*/ 162934 w 922759"/>
                <a:gd name="connsiteY73" fmla="*/ 207706 h 1151883"/>
                <a:gd name="connsiteX74" fmla="*/ 162420 w 922759"/>
                <a:gd name="connsiteY74" fmla="*/ 209491 h 1151883"/>
                <a:gd name="connsiteX75" fmla="*/ 162752 w 922759"/>
                <a:gd name="connsiteY75" fmla="*/ 211609 h 1151883"/>
                <a:gd name="connsiteX76" fmla="*/ 163660 w 922759"/>
                <a:gd name="connsiteY76" fmla="*/ 212335 h 1151883"/>
                <a:gd name="connsiteX77" fmla="*/ 183324 w 922759"/>
                <a:gd name="connsiteY77" fmla="*/ 207525 h 1151883"/>
                <a:gd name="connsiteX78" fmla="*/ 184201 w 922759"/>
                <a:gd name="connsiteY78" fmla="*/ 206920 h 1151883"/>
                <a:gd name="connsiteX79" fmla="*/ 185108 w 922759"/>
                <a:gd name="connsiteY79" fmla="*/ 205710 h 1151883"/>
                <a:gd name="connsiteX80" fmla="*/ 187589 w 922759"/>
                <a:gd name="connsiteY80" fmla="*/ 207222 h 1151883"/>
                <a:gd name="connsiteX81" fmla="*/ 190493 w 922759"/>
                <a:gd name="connsiteY81" fmla="*/ 207071 h 1151883"/>
                <a:gd name="connsiteX82" fmla="*/ 193307 w 922759"/>
                <a:gd name="connsiteY82" fmla="*/ 205952 h 1151883"/>
                <a:gd name="connsiteX83" fmla="*/ 195576 w 922759"/>
                <a:gd name="connsiteY83" fmla="*/ 204651 h 1151883"/>
                <a:gd name="connsiteX84" fmla="*/ 196997 w 922759"/>
                <a:gd name="connsiteY84" fmla="*/ 204651 h 1151883"/>
                <a:gd name="connsiteX85" fmla="*/ 196997 w 922759"/>
                <a:gd name="connsiteY85" fmla="*/ 203592 h 1151883"/>
                <a:gd name="connsiteX86" fmla="*/ 188496 w 922759"/>
                <a:gd name="connsiteY86" fmla="*/ 203048 h 1151883"/>
                <a:gd name="connsiteX87" fmla="*/ 184261 w 922759"/>
                <a:gd name="connsiteY87" fmla="*/ 203925 h 1151883"/>
                <a:gd name="connsiteX88" fmla="*/ 181720 w 922759"/>
                <a:gd name="connsiteY88" fmla="*/ 206890 h 1151883"/>
                <a:gd name="connsiteX89" fmla="*/ 182507 w 922759"/>
                <a:gd name="connsiteY89" fmla="*/ 207555 h 1151883"/>
                <a:gd name="connsiteX90" fmla="*/ 183354 w 922759"/>
                <a:gd name="connsiteY90" fmla="*/ 207555 h 1151883"/>
                <a:gd name="connsiteX91" fmla="*/ 203259 w 922759"/>
                <a:gd name="connsiteY91" fmla="*/ 202775 h 1151883"/>
                <a:gd name="connsiteX92" fmla="*/ 205074 w 922759"/>
                <a:gd name="connsiteY92" fmla="*/ 202685 h 1151883"/>
                <a:gd name="connsiteX93" fmla="*/ 209309 w 922759"/>
                <a:gd name="connsiteY93" fmla="*/ 203592 h 1151883"/>
                <a:gd name="connsiteX94" fmla="*/ 210398 w 922759"/>
                <a:gd name="connsiteY94" fmla="*/ 203441 h 1151883"/>
                <a:gd name="connsiteX95" fmla="*/ 211367 w 922759"/>
                <a:gd name="connsiteY95" fmla="*/ 203623 h 1151883"/>
                <a:gd name="connsiteX96" fmla="*/ 208705 w 922759"/>
                <a:gd name="connsiteY96" fmla="*/ 202110 h 1151883"/>
                <a:gd name="connsiteX97" fmla="*/ 207192 w 922759"/>
                <a:gd name="connsiteY97" fmla="*/ 201656 h 1151883"/>
                <a:gd name="connsiteX98" fmla="*/ 205528 w 922759"/>
                <a:gd name="connsiteY98" fmla="*/ 201505 h 1151883"/>
                <a:gd name="connsiteX99" fmla="*/ 203411 w 922759"/>
                <a:gd name="connsiteY99" fmla="*/ 201717 h 1151883"/>
                <a:gd name="connsiteX100" fmla="*/ 201626 w 922759"/>
                <a:gd name="connsiteY100" fmla="*/ 202322 h 1151883"/>
                <a:gd name="connsiteX101" fmla="*/ 201172 w 922759"/>
                <a:gd name="connsiteY101" fmla="*/ 203320 h 1151883"/>
                <a:gd name="connsiteX102" fmla="*/ 203108 w 922759"/>
                <a:gd name="connsiteY102" fmla="*/ 204621 h 1151883"/>
                <a:gd name="connsiteX103" fmla="*/ 203259 w 922759"/>
                <a:gd name="connsiteY103" fmla="*/ 202745 h 1151883"/>
                <a:gd name="connsiteX104" fmla="*/ 558653 w 922759"/>
                <a:gd name="connsiteY104" fmla="*/ 174581 h 1151883"/>
                <a:gd name="connsiteX105" fmla="*/ 560256 w 922759"/>
                <a:gd name="connsiteY105" fmla="*/ 174672 h 1151883"/>
                <a:gd name="connsiteX106" fmla="*/ 561739 w 922759"/>
                <a:gd name="connsiteY106" fmla="*/ 173523 h 1151883"/>
                <a:gd name="connsiteX107" fmla="*/ 561285 w 922759"/>
                <a:gd name="connsiteY107" fmla="*/ 171374 h 1151883"/>
                <a:gd name="connsiteX108" fmla="*/ 561830 w 922759"/>
                <a:gd name="connsiteY108" fmla="*/ 170044 h 1151883"/>
                <a:gd name="connsiteX109" fmla="*/ 562646 w 922759"/>
                <a:gd name="connsiteY109" fmla="*/ 170044 h 1151883"/>
                <a:gd name="connsiteX110" fmla="*/ 563100 w 922759"/>
                <a:gd name="connsiteY110" fmla="*/ 171889 h 1151883"/>
                <a:gd name="connsiteX111" fmla="*/ 562404 w 922759"/>
                <a:gd name="connsiteY111" fmla="*/ 174642 h 1151883"/>
                <a:gd name="connsiteX112" fmla="*/ 562495 w 922759"/>
                <a:gd name="connsiteY112" fmla="*/ 175731 h 1151883"/>
                <a:gd name="connsiteX113" fmla="*/ 563735 w 922759"/>
                <a:gd name="connsiteY113" fmla="*/ 175731 h 1151883"/>
                <a:gd name="connsiteX114" fmla="*/ 564794 w 922759"/>
                <a:gd name="connsiteY114" fmla="*/ 174218 h 1151883"/>
                <a:gd name="connsiteX115" fmla="*/ 567759 w 922759"/>
                <a:gd name="connsiteY115" fmla="*/ 166020 h 1151883"/>
                <a:gd name="connsiteX116" fmla="*/ 564764 w 922759"/>
                <a:gd name="connsiteY116" fmla="*/ 164750 h 1151883"/>
                <a:gd name="connsiteX117" fmla="*/ 560589 w 922759"/>
                <a:gd name="connsiteY117" fmla="*/ 165990 h 1151883"/>
                <a:gd name="connsiteX118" fmla="*/ 556959 w 922759"/>
                <a:gd name="connsiteY118" fmla="*/ 168864 h 1151883"/>
                <a:gd name="connsiteX119" fmla="*/ 555477 w 922759"/>
                <a:gd name="connsiteY119" fmla="*/ 172433 h 1151883"/>
                <a:gd name="connsiteX120" fmla="*/ 556989 w 922759"/>
                <a:gd name="connsiteY120" fmla="*/ 173674 h 1151883"/>
                <a:gd name="connsiteX121" fmla="*/ 558623 w 922759"/>
                <a:gd name="connsiteY121" fmla="*/ 174581 h 1151883"/>
                <a:gd name="connsiteX122" fmla="*/ 571994 w 922759"/>
                <a:gd name="connsiteY122" fmla="*/ 160635 h 1151883"/>
                <a:gd name="connsiteX123" fmla="*/ 573295 w 922759"/>
                <a:gd name="connsiteY123" fmla="*/ 158094 h 1151883"/>
                <a:gd name="connsiteX124" fmla="*/ 577953 w 922759"/>
                <a:gd name="connsiteY124" fmla="*/ 154162 h 1151883"/>
                <a:gd name="connsiteX125" fmla="*/ 579648 w 922759"/>
                <a:gd name="connsiteY125" fmla="*/ 151953 h 1151883"/>
                <a:gd name="connsiteX126" fmla="*/ 578256 w 922759"/>
                <a:gd name="connsiteY126" fmla="*/ 153224 h 1151883"/>
                <a:gd name="connsiteX127" fmla="*/ 571419 w 922759"/>
                <a:gd name="connsiteY127" fmla="*/ 156249 h 1151883"/>
                <a:gd name="connsiteX128" fmla="*/ 570875 w 922759"/>
                <a:gd name="connsiteY128" fmla="*/ 157429 h 1151883"/>
                <a:gd name="connsiteX129" fmla="*/ 570875 w 922759"/>
                <a:gd name="connsiteY129" fmla="*/ 157792 h 1151883"/>
                <a:gd name="connsiteX130" fmla="*/ 571419 w 922759"/>
                <a:gd name="connsiteY130" fmla="*/ 160666 h 1151883"/>
                <a:gd name="connsiteX131" fmla="*/ 571994 w 922759"/>
                <a:gd name="connsiteY131" fmla="*/ 160666 h 1151883"/>
                <a:gd name="connsiteX132" fmla="*/ 794705 w 922759"/>
                <a:gd name="connsiteY132" fmla="*/ 145479 h 1151883"/>
                <a:gd name="connsiteX133" fmla="*/ 795945 w 922759"/>
                <a:gd name="connsiteY133" fmla="*/ 147234 h 1151883"/>
                <a:gd name="connsiteX134" fmla="*/ 800060 w 922759"/>
                <a:gd name="connsiteY134" fmla="*/ 151227 h 1151883"/>
                <a:gd name="connsiteX135" fmla="*/ 800937 w 922759"/>
                <a:gd name="connsiteY135" fmla="*/ 153647 h 1151883"/>
                <a:gd name="connsiteX136" fmla="*/ 800362 w 922759"/>
                <a:gd name="connsiteY136" fmla="*/ 157761 h 1151883"/>
                <a:gd name="connsiteX137" fmla="*/ 797639 w 922759"/>
                <a:gd name="connsiteY137" fmla="*/ 162964 h 1151883"/>
                <a:gd name="connsiteX138" fmla="*/ 796823 w 922759"/>
                <a:gd name="connsiteY138" fmla="*/ 166020 h 1151883"/>
                <a:gd name="connsiteX139" fmla="*/ 798849 w 922759"/>
                <a:gd name="connsiteY139" fmla="*/ 166746 h 1151883"/>
                <a:gd name="connsiteX140" fmla="*/ 800271 w 922759"/>
                <a:gd name="connsiteY140" fmla="*/ 165476 h 1151883"/>
                <a:gd name="connsiteX141" fmla="*/ 801754 w 922759"/>
                <a:gd name="connsiteY141" fmla="*/ 163630 h 1151883"/>
                <a:gd name="connsiteX142" fmla="*/ 804960 w 922759"/>
                <a:gd name="connsiteY142" fmla="*/ 162299 h 1151883"/>
                <a:gd name="connsiteX143" fmla="*/ 805807 w 922759"/>
                <a:gd name="connsiteY143" fmla="*/ 161724 h 1151883"/>
                <a:gd name="connsiteX144" fmla="*/ 806564 w 922759"/>
                <a:gd name="connsiteY144" fmla="*/ 161936 h 1151883"/>
                <a:gd name="connsiteX145" fmla="*/ 807078 w 922759"/>
                <a:gd name="connsiteY145" fmla="*/ 163842 h 1151883"/>
                <a:gd name="connsiteX146" fmla="*/ 806806 w 922759"/>
                <a:gd name="connsiteY146" fmla="*/ 164870 h 1151883"/>
                <a:gd name="connsiteX147" fmla="*/ 805989 w 922759"/>
                <a:gd name="connsiteY147" fmla="*/ 165808 h 1151883"/>
                <a:gd name="connsiteX148" fmla="*/ 805232 w 922759"/>
                <a:gd name="connsiteY148" fmla="*/ 167109 h 1151883"/>
                <a:gd name="connsiteX149" fmla="*/ 805021 w 922759"/>
                <a:gd name="connsiteY149" fmla="*/ 169227 h 1151883"/>
                <a:gd name="connsiteX150" fmla="*/ 808530 w 922759"/>
                <a:gd name="connsiteY150" fmla="*/ 167986 h 1151883"/>
                <a:gd name="connsiteX151" fmla="*/ 809135 w 922759"/>
                <a:gd name="connsiteY151" fmla="*/ 167654 h 1151883"/>
                <a:gd name="connsiteX152" fmla="*/ 809437 w 922759"/>
                <a:gd name="connsiteY152" fmla="*/ 166474 h 1151883"/>
                <a:gd name="connsiteX153" fmla="*/ 810194 w 922759"/>
                <a:gd name="connsiteY153" fmla="*/ 165233 h 1151883"/>
                <a:gd name="connsiteX154" fmla="*/ 811101 w 922759"/>
                <a:gd name="connsiteY154" fmla="*/ 164265 h 1151883"/>
                <a:gd name="connsiteX155" fmla="*/ 811949 w 922759"/>
                <a:gd name="connsiteY155" fmla="*/ 163812 h 1151883"/>
                <a:gd name="connsiteX156" fmla="*/ 811949 w 922759"/>
                <a:gd name="connsiteY156" fmla="*/ 162662 h 1151883"/>
                <a:gd name="connsiteX157" fmla="*/ 811041 w 922759"/>
                <a:gd name="connsiteY157" fmla="*/ 160696 h 1151883"/>
                <a:gd name="connsiteX158" fmla="*/ 812069 w 922759"/>
                <a:gd name="connsiteY158" fmla="*/ 159486 h 1151883"/>
                <a:gd name="connsiteX159" fmla="*/ 814066 w 922759"/>
                <a:gd name="connsiteY159" fmla="*/ 159093 h 1151883"/>
                <a:gd name="connsiteX160" fmla="*/ 816063 w 922759"/>
                <a:gd name="connsiteY160" fmla="*/ 159546 h 1151883"/>
                <a:gd name="connsiteX161" fmla="*/ 817666 w 922759"/>
                <a:gd name="connsiteY161" fmla="*/ 160726 h 1151883"/>
                <a:gd name="connsiteX162" fmla="*/ 819027 w 922759"/>
                <a:gd name="connsiteY162" fmla="*/ 162390 h 1151883"/>
                <a:gd name="connsiteX163" fmla="*/ 820147 w 922759"/>
                <a:gd name="connsiteY163" fmla="*/ 164477 h 1151883"/>
                <a:gd name="connsiteX164" fmla="*/ 820963 w 922759"/>
                <a:gd name="connsiteY164" fmla="*/ 167049 h 1151883"/>
                <a:gd name="connsiteX165" fmla="*/ 823293 w 922759"/>
                <a:gd name="connsiteY165" fmla="*/ 166141 h 1151883"/>
                <a:gd name="connsiteX166" fmla="*/ 824684 w 922759"/>
                <a:gd name="connsiteY166" fmla="*/ 168743 h 1151883"/>
                <a:gd name="connsiteX167" fmla="*/ 824835 w 922759"/>
                <a:gd name="connsiteY167" fmla="*/ 172917 h 1151883"/>
                <a:gd name="connsiteX168" fmla="*/ 823565 w 922759"/>
                <a:gd name="connsiteY168" fmla="*/ 176790 h 1151883"/>
                <a:gd name="connsiteX169" fmla="*/ 824382 w 922759"/>
                <a:gd name="connsiteY169" fmla="*/ 178817 h 1151883"/>
                <a:gd name="connsiteX170" fmla="*/ 820963 w 922759"/>
                <a:gd name="connsiteY170" fmla="*/ 177848 h 1151883"/>
                <a:gd name="connsiteX171" fmla="*/ 821114 w 922759"/>
                <a:gd name="connsiteY171" fmla="*/ 176971 h 1151883"/>
                <a:gd name="connsiteX172" fmla="*/ 821387 w 922759"/>
                <a:gd name="connsiteY172" fmla="*/ 176396 h 1151883"/>
                <a:gd name="connsiteX173" fmla="*/ 821780 w 922759"/>
                <a:gd name="connsiteY173" fmla="*/ 175973 h 1151883"/>
                <a:gd name="connsiteX174" fmla="*/ 822294 w 922759"/>
                <a:gd name="connsiteY174" fmla="*/ 175610 h 1151883"/>
                <a:gd name="connsiteX175" fmla="*/ 818241 w 922759"/>
                <a:gd name="connsiteY175" fmla="*/ 175610 h 1151883"/>
                <a:gd name="connsiteX176" fmla="*/ 816940 w 922759"/>
                <a:gd name="connsiteY176" fmla="*/ 176245 h 1151883"/>
                <a:gd name="connsiteX177" fmla="*/ 815367 w 922759"/>
                <a:gd name="connsiteY177" fmla="*/ 178817 h 1151883"/>
                <a:gd name="connsiteX178" fmla="*/ 815488 w 922759"/>
                <a:gd name="connsiteY178" fmla="*/ 176336 h 1151883"/>
                <a:gd name="connsiteX179" fmla="*/ 816305 w 922759"/>
                <a:gd name="connsiteY179" fmla="*/ 173280 h 1151883"/>
                <a:gd name="connsiteX180" fmla="*/ 816063 w 922759"/>
                <a:gd name="connsiteY180" fmla="*/ 172403 h 1151883"/>
                <a:gd name="connsiteX181" fmla="*/ 816758 w 922759"/>
                <a:gd name="connsiteY181" fmla="*/ 171254 h 1151883"/>
                <a:gd name="connsiteX182" fmla="*/ 814974 w 922759"/>
                <a:gd name="connsiteY182" fmla="*/ 170558 h 1151883"/>
                <a:gd name="connsiteX183" fmla="*/ 809922 w 922759"/>
                <a:gd name="connsiteY183" fmla="*/ 170285 h 1151883"/>
                <a:gd name="connsiteX184" fmla="*/ 809649 w 922759"/>
                <a:gd name="connsiteY184" fmla="*/ 174309 h 1151883"/>
                <a:gd name="connsiteX185" fmla="*/ 813401 w 922759"/>
                <a:gd name="connsiteY185" fmla="*/ 180843 h 1151883"/>
                <a:gd name="connsiteX186" fmla="*/ 812675 w 922759"/>
                <a:gd name="connsiteY186" fmla="*/ 185381 h 1151883"/>
                <a:gd name="connsiteX187" fmla="*/ 811737 w 922759"/>
                <a:gd name="connsiteY187" fmla="*/ 186289 h 1151883"/>
                <a:gd name="connsiteX188" fmla="*/ 808258 w 922759"/>
                <a:gd name="connsiteY188" fmla="*/ 188134 h 1151883"/>
                <a:gd name="connsiteX189" fmla="*/ 805021 w 922759"/>
                <a:gd name="connsiteY189" fmla="*/ 188799 h 1151883"/>
                <a:gd name="connsiteX190" fmla="*/ 802933 w 922759"/>
                <a:gd name="connsiteY190" fmla="*/ 190282 h 1151883"/>
                <a:gd name="connsiteX191" fmla="*/ 801633 w 922759"/>
                <a:gd name="connsiteY191" fmla="*/ 190735 h 1151883"/>
                <a:gd name="connsiteX192" fmla="*/ 803478 w 922759"/>
                <a:gd name="connsiteY192" fmla="*/ 193065 h 1151883"/>
                <a:gd name="connsiteX193" fmla="*/ 807018 w 922759"/>
                <a:gd name="connsiteY193" fmla="*/ 194033 h 1151883"/>
                <a:gd name="connsiteX194" fmla="*/ 813370 w 922759"/>
                <a:gd name="connsiteY194" fmla="*/ 193942 h 1151883"/>
                <a:gd name="connsiteX195" fmla="*/ 819148 w 922759"/>
                <a:gd name="connsiteY195" fmla="*/ 192520 h 1151883"/>
                <a:gd name="connsiteX196" fmla="*/ 822083 w 922759"/>
                <a:gd name="connsiteY196" fmla="*/ 190947 h 1151883"/>
                <a:gd name="connsiteX197" fmla="*/ 824412 w 922759"/>
                <a:gd name="connsiteY197" fmla="*/ 188497 h 1151883"/>
                <a:gd name="connsiteX198" fmla="*/ 826106 w 922759"/>
                <a:gd name="connsiteY198" fmla="*/ 189586 h 1151883"/>
                <a:gd name="connsiteX199" fmla="*/ 828345 w 922759"/>
                <a:gd name="connsiteY199" fmla="*/ 189888 h 1151883"/>
                <a:gd name="connsiteX200" fmla="*/ 839749 w 922759"/>
                <a:gd name="connsiteY200" fmla="*/ 188678 h 1151883"/>
                <a:gd name="connsiteX201" fmla="*/ 838933 w 922759"/>
                <a:gd name="connsiteY201" fmla="*/ 186228 h 1151883"/>
                <a:gd name="connsiteX202" fmla="*/ 837178 w 922759"/>
                <a:gd name="connsiteY202" fmla="*/ 184231 h 1151883"/>
                <a:gd name="connsiteX203" fmla="*/ 838116 w 922759"/>
                <a:gd name="connsiteY203" fmla="*/ 183959 h 1151883"/>
                <a:gd name="connsiteX204" fmla="*/ 838963 w 922759"/>
                <a:gd name="connsiteY204" fmla="*/ 183414 h 1151883"/>
                <a:gd name="connsiteX205" fmla="*/ 840687 w 922759"/>
                <a:gd name="connsiteY205" fmla="*/ 179180 h 1151883"/>
                <a:gd name="connsiteX206" fmla="*/ 840627 w 922759"/>
                <a:gd name="connsiteY206" fmla="*/ 179180 h 1151883"/>
                <a:gd name="connsiteX207" fmla="*/ 838902 w 922759"/>
                <a:gd name="connsiteY207" fmla="*/ 177969 h 1151883"/>
                <a:gd name="connsiteX208" fmla="*/ 821205 w 922759"/>
                <a:gd name="connsiteY208" fmla="*/ 160060 h 1151883"/>
                <a:gd name="connsiteX209" fmla="*/ 818150 w 922759"/>
                <a:gd name="connsiteY209" fmla="*/ 158306 h 1151883"/>
                <a:gd name="connsiteX210" fmla="*/ 814338 w 922759"/>
                <a:gd name="connsiteY210" fmla="*/ 156944 h 1151883"/>
                <a:gd name="connsiteX211" fmla="*/ 807713 w 922759"/>
                <a:gd name="connsiteY211" fmla="*/ 153375 h 1151883"/>
                <a:gd name="connsiteX212" fmla="*/ 805051 w 922759"/>
                <a:gd name="connsiteY212" fmla="*/ 150864 h 1151883"/>
                <a:gd name="connsiteX213" fmla="*/ 803841 w 922759"/>
                <a:gd name="connsiteY213" fmla="*/ 148837 h 1151883"/>
                <a:gd name="connsiteX214" fmla="*/ 801814 w 922759"/>
                <a:gd name="connsiteY214" fmla="*/ 143694 h 1151883"/>
                <a:gd name="connsiteX215" fmla="*/ 800937 w 922759"/>
                <a:gd name="connsiteY215" fmla="*/ 142182 h 1151883"/>
                <a:gd name="connsiteX216" fmla="*/ 799031 w 922759"/>
                <a:gd name="connsiteY216" fmla="*/ 141456 h 1151883"/>
                <a:gd name="connsiteX217" fmla="*/ 797156 w 922759"/>
                <a:gd name="connsiteY217" fmla="*/ 142122 h 1151883"/>
                <a:gd name="connsiteX218" fmla="*/ 795613 w 922759"/>
                <a:gd name="connsiteY218" fmla="*/ 143634 h 1151883"/>
                <a:gd name="connsiteX219" fmla="*/ 794675 w 922759"/>
                <a:gd name="connsiteY219" fmla="*/ 145419 h 1151883"/>
                <a:gd name="connsiteX220" fmla="*/ 204741 w 922759"/>
                <a:gd name="connsiteY220" fmla="*/ 140034 h 1151883"/>
                <a:gd name="connsiteX221" fmla="*/ 205074 w 922759"/>
                <a:gd name="connsiteY221" fmla="*/ 140730 h 1151883"/>
                <a:gd name="connsiteX222" fmla="*/ 205498 w 922759"/>
                <a:gd name="connsiteY222" fmla="*/ 140851 h 1151883"/>
                <a:gd name="connsiteX223" fmla="*/ 205649 w 922759"/>
                <a:gd name="connsiteY223" fmla="*/ 141516 h 1151883"/>
                <a:gd name="connsiteX224" fmla="*/ 206164 w 922759"/>
                <a:gd name="connsiteY224" fmla="*/ 141153 h 1151883"/>
                <a:gd name="connsiteX225" fmla="*/ 205801 w 922759"/>
                <a:gd name="connsiteY225" fmla="*/ 139550 h 1151883"/>
                <a:gd name="connsiteX226" fmla="*/ 205195 w 922759"/>
                <a:gd name="connsiteY226" fmla="*/ 138915 h 1151883"/>
                <a:gd name="connsiteX227" fmla="*/ 203713 w 922759"/>
                <a:gd name="connsiteY227" fmla="*/ 139036 h 1151883"/>
                <a:gd name="connsiteX228" fmla="*/ 204318 w 922759"/>
                <a:gd name="connsiteY228" fmla="*/ 139550 h 1151883"/>
                <a:gd name="connsiteX229" fmla="*/ 204772 w 922759"/>
                <a:gd name="connsiteY229" fmla="*/ 140034 h 1151883"/>
                <a:gd name="connsiteX230" fmla="*/ 209068 w 922759"/>
                <a:gd name="connsiteY230" fmla="*/ 139671 h 1151883"/>
                <a:gd name="connsiteX231" fmla="*/ 208705 w 922759"/>
                <a:gd name="connsiteY231" fmla="*/ 138824 h 1151883"/>
                <a:gd name="connsiteX232" fmla="*/ 206950 w 922759"/>
                <a:gd name="connsiteY232" fmla="*/ 139308 h 1151883"/>
                <a:gd name="connsiteX233" fmla="*/ 207494 w 922759"/>
                <a:gd name="connsiteY233" fmla="*/ 140155 h 1151883"/>
                <a:gd name="connsiteX234" fmla="*/ 209098 w 922759"/>
                <a:gd name="connsiteY234" fmla="*/ 139701 h 1151883"/>
                <a:gd name="connsiteX235" fmla="*/ 297553 w 922759"/>
                <a:gd name="connsiteY235" fmla="*/ 93356 h 1151883"/>
                <a:gd name="connsiteX236" fmla="*/ 298672 w 922759"/>
                <a:gd name="connsiteY236" fmla="*/ 95141 h 1151883"/>
                <a:gd name="connsiteX237" fmla="*/ 300729 w 922759"/>
                <a:gd name="connsiteY237" fmla="*/ 95837 h 1151883"/>
                <a:gd name="connsiteX238" fmla="*/ 305116 w 922759"/>
                <a:gd name="connsiteY238" fmla="*/ 95534 h 1151883"/>
                <a:gd name="connsiteX239" fmla="*/ 307476 w 922759"/>
                <a:gd name="connsiteY239" fmla="*/ 94415 h 1151883"/>
                <a:gd name="connsiteX240" fmla="*/ 308928 w 922759"/>
                <a:gd name="connsiteY240" fmla="*/ 92630 h 1151883"/>
                <a:gd name="connsiteX241" fmla="*/ 310198 w 922759"/>
                <a:gd name="connsiteY241" fmla="*/ 90664 h 1151883"/>
                <a:gd name="connsiteX242" fmla="*/ 312044 w 922759"/>
                <a:gd name="connsiteY242" fmla="*/ 89030 h 1151883"/>
                <a:gd name="connsiteX243" fmla="*/ 311953 w 922759"/>
                <a:gd name="connsiteY243" fmla="*/ 88153 h 1151883"/>
                <a:gd name="connsiteX244" fmla="*/ 312013 w 922759"/>
                <a:gd name="connsiteY244" fmla="*/ 87457 h 1151883"/>
                <a:gd name="connsiteX245" fmla="*/ 312225 w 922759"/>
                <a:gd name="connsiteY245" fmla="*/ 86973 h 1151883"/>
                <a:gd name="connsiteX246" fmla="*/ 312679 w 922759"/>
                <a:gd name="connsiteY246" fmla="*/ 86792 h 1151883"/>
                <a:gd name="connsiteX247" fmla="*/ 308262 w 922759"/>
                <a:gd name="connsiteY247" fmla="*/ 85703 h 1151883"/>
                <a:gd name="connsiteX248" fmla="*/ 304299 w 922759"/>
                <a:gd name="connsiteY248" fmla="*/ 85914 h 1151883"/>
                <a:gd name="connsiteX249" fmla="*/ 300760 w 922759"/>
                <a:gd name="connsiteY249" fmla="*/ 87396 h 1151883"/>
                <a:gd name="connsiteX250" fmla="*/ 297583 w 922759"/>
                <a:gd name="connsiteY250" fmla="*/ 90240 h 1151883"/>
                <a:gd name="connsiteX251" fmla="*/ 298400 w 922759"/>
                <a:gd name="connsiteY251" fmla="*/ 90997 h 1151883"/>
                <a:gd name="connsiteX252" fmla="*/ 298854 w 922759"/>
                <a:gd name="connsiteY252" fmla="*/ 91964 h 1151883"/>
                <a:gd name="connsiteX253" fmla="*/ 298672 w 922759"/>
                <a:gd name="connsiteY253" fmla="*/ 92872 h 1151883"/>
                <a:gd name="connsiteX254" fmla="*/ 297583 w 922759"/>
                <a:gd name="connsiteY254" fmla="*/ 93416 h 1151883"/>
                <a:gd name="connsiteX255" fmla="*/ 519689 w 922759"/>
                <a:gd name="connsiteY255" fmla="*/ 97047 h 1151883"/>
                <a:gd name="connsiteX256" fmla="*/ 520234 w 922759"/>
                <a:gd name="connsiteY256" fmla="*/ 97047 h 1151883"/>
                <a:gd name="connsiteX257" fmla="*/ 520567 w 922759"/>
                <a:gd name="connsiteY257" fmla="*/ 97712 h 1151883"/>
                <a:gd name="connsiteX258" fmla="*/ 520899 w 922759"/>
                <a:gd name="connsiteY258" fmla="*/ 98862 h 1151883"/>
                <a:gd name="connsiteX259" fmla="*/ 521656 w 922759"/>
                <a:gd name="connsiteY259" fmla="*/ 98862 h 1151883"/>
                <a:gd name="connsiteX260" fmla="*/ 522412 w 922759"/>
                <a:gd name="connsiteY260" fmla="*/ 97924 h 1151883"/>
                <a:gd name="connsiteX261" fmla="*/ 523501 w 922759"/>
                <a:gd name="connsiteY261" fmla="*/ 97621 h 1151883"/>
                <a:gd name="connsiteX262" fmla="*/ 526133 w 922759"/>
                <a:gd name="connsiteY262" fmla="*/ 97682 h 1151883"/>
                <a:gd name="connsiteX263" fmla="*/ 527585 w 922759"/>
                <a:gd name="connsiteY263" fmla="*/ 98166 h 1151883"/>
                <a:gd name="connsiteX264" fmla="*/ 528039 w 922759"/>
                <a:gd name="connsiteY264" fmla="*/ 99407 h 1151883"/>
                <a:gd name="connsiteX265" fmla="*/ 527827 w 922759"/>
                <a:gd name="connsiteY265" fmla="*/ 102643 h 1151883"/>
                <a:gd name="connsiteX266" fmla="*/ 528946 w 922759"/>
                <a:gd name="connsiteY266" fmla="*/ 103944 h 1151883"/>
                <a:gd name="connsiteX267" fmla="*/ 531578 w 922759"/>
                <a:gd name="connsiteY267" fmla="*/ 104338 h 1151883"/>
                <a:gd name="connsiteX268" fmla="*/ 535632 w 922759"/>
                <a:gd name="connsiteY268" fmla="*/ 104095 h 1151883"/>
                <a:gd name="connsiteX269" fmla="*/ 535178 w 922759"/>
                <a:gd name="connsiteY269" fmla="*/ 103823 h 1151883"/>
                <a:gd name="connsiteX270" fmla="*/ 534724 w 922759"/>
                <a:gd name="connsiteY270" fmla="*/ 103158 h 1151883"/>
                <a:gd name="connsiteX271" fmla="*/ 536570 w 922759"/>
                <a:gd name="connsiteY271" fmla="*/ 102189 h 1151883"/>
                <a:gd name="connsiteX272" fmla="*/ 549215 w 922759"/>
                <a:gd name="connsiteY272" fmla="*/ 104156 h 1151883"/>
                <a:gd name="connsiteX273" fmla="*/ 543316 w 922759"/>
                <a:gd name="connsiteY273" fmla="*/ 93840 h 1151883"/>
                <a:gd name="connsiteX274" fmla="*/ 541743 w 922759"/>
                <a:gd name="connsiteY274" fmla="*/ 91178 h 1151883"/>
                <a:gd name="connsiteX275" fmla="*/ 540956 w 922759"/>
                <a:gd name="connsiteY275" fmla="*/ 90210 h 1151883"/>
                <a:gd name="connsiteX276" fmla="*/ 538385 w 922759"/>
                <a:gd name="connsiteY276" fmla="*/ 88183 h 1151883"/>
                <a:gd name="connsiteX277" fmla="*/ 529793 w 922759"/>
                <a:gd name="connsiteY277" fmla="*/ 84765 h 1151883"/>
                <a:gd name="connsiteX278" fmla="*/ 524923 w 922759"/>
                <a:gd name="connsiteY278" fmla="*/ 85521 h 1151883"/>
                <a:gd name="connsiteX279" fmla="*/ 520990 w 922759"/>
                <a:gd name="connsiteY279" fmla="*/ 89091 h 1151883"/>
                <a:gd name="connsiteX280" fmla="*/ 518177 w 922759"/>
                <a:gd name="connsiteY280" fmla="*/ 95504 h 1151883"/>
                <a:gd name="connsiteX281" fmla="*/ 518449 w 922759"/>
                <a:gd name="connsiteY281" fmla="*/ 97682 h 1151883"/>
                <a:gd name="connsiteX282" fmla="*/ 519659 w 922759"/>
                <a:gd name="connsiteY282" fmla="*/ 97017 h 1151883"/>
                <a:gd name="connsiteX283" fmla="*/ 278162 w 922759"/>
                <a:gd name="connsiteY283" fmla="*/ 84492 h 1151883"/>
                <a:gd name="connsiteX284" fmla="*/ 276347 w 922759"/>
                <a:gd name="connsiteY284" fmla="*/ 85793 h 1151883"/>
                <a:gd name="connsiteX285" fmla="*/ 275712 w 922759"/>
                <a:gd name="connsiteY285" fmla="*/ 88365 h 1151883"/>
                <a:gd name="connsiteX286" fmla="*/ 276740 w 922759"/>
                <a:gd name="connsiteY286" fmla="*/ 90664 h 1151883"/>
                <a:gd name="connsiteX287" fmla="*/ 278011 w 922759"/>
                <a:gd name="connsiteY287" fmla="*/ 91723 h 1151883"/>
                <a:gd name="connsiteX288" fmla="*/ 280280 w 922759"/>
                <a:gd name="connsiteY288" fmla="*/ 91723 h 1151883"/>
                <a:gd name="connsiteX289" fmla="*/ 283153 w 922759"/>
                <a:gd name="connsiteY289" fmla="*/ 90240 h 1151883"/>
                <a:gd name="connsiteX290" fmla="*/ 285483 w 922759"/>
                <a:gd name="connsiteY290" fmla="*/ 86852 h 1151883"/>
                <a:gd name="connsiteX291" fmla="*/ 286300 w 922759"/>
                <a:gd name="connsiteY291" fmla="*/ 82950 h 1151883"/>
                <a:gd name="connsiteX292" fmla="*/ 286088 w 922759"/>
                <a:gd name="connsiteY292" fmla="*/ 81225 h 1151883"/>
                <a:gd name="connsiteX293" fmla="*/ 279614 w 922759"/>
                <a:gd name="connsiteY293" fmla="*/ 83766 h 1151883"/>
                <a:gd name="connsiteX294" fmla="*/ 278888 w 922759"/>
                <a:gd name="connsiteY294" fmla="*/ 84190 h 1151883"/>
                <a:gd name="connsiteX295" fmla="*/ 278162 w 922759"/>
                <a:gd name="connsiteY295" fmla="*/ 84523 h 1151883"/>
                <a:gd name="connsiteX296" fmla="*/ 725913 w 922759"/>
                <a:gd name="connsiteY296" fmla="*/ 92176 h 1151883"/>
                <a:gd name="connsiteX297" fmla="*/ 726095 w 922759"/>
                <a:gd name="connsiteY297" fmla="*/ 90573 h 1151883"/>
                <a:gd name="connsiteX298" fmla="*/ 726458 w 922759"/>
                <a:gd name="connsiteY298" fmla="*/ 89030 h 1151883"/>
                <a:gd name="connsiteX299" fmla="*/ 727063 w 922759"/>
                <a:gd name="connsiteY299" fmla="*/ 87790 h 1151883"/>
                <a:gd name="connsiteX300" fmla="*/ 728485 w 922759"/>
                <a:gd name="connsiteY300" fmla="*/ 86640 h 1151883"/>
                <a:gd name="connsiteX301" fmla="*/ 729211 w 922759"/>
                <a:gd name="connsiteY301" fmla="*/ 85763 h 1151883"/>
                <a:gd name="connsiteX302" fmla="*/ 730179 w 922759"/>
                <a:gd name="connsiteY302" fmla="*/ 82435 h 1151883"/>
                <a:gd name="connsiteX303" fmla="*/ 730270 w 922759"/>
                <a:gd name="connsiteY303" fmla="*/ 79350 h 1151883"/>
                <a:gd name="connsiteX304" fmla="*/ 730844 w 922759"/>
                <a:gd name="connsiteY304" fmla="*/ 76748 h 1151883"/>
                <a:gd name="connsiteX305" fmla="*/ 733295 w 922759"/>
                <a:gd name="connsiteY305" fmla="*/ 74872 h 1151883"/>
                <a:gd name="connsiteX306" fmla="*/ 733295 w 922759"/>
                <a:gd name="connsiteY306" fmla="*/ 78109 h 1151883"/>
                <a:gd name="connsiteX307" fmla="*/ 733930 w 922759"/>
                <a:gd name="connsiteY307" fmla="*/ 78109 h 1151883"/>
                <a:gd name="connsiteX308" fmla="*/ 733930 w 922759"/>
                <a:gd name="connsiteY308" fmla="*/ 75931 h 1151883"/>
                <a:gd name="connsiteX309" fmla="*/ 734323 w 922759"/>
                <a:gd name="connsiteY309" fmla="*/ 75931 h 1151883"/>
                <a:gd name="connsiteX310" fmla="*/ 734595 w 922759"/>
                <a:gd name="connsiteY310" fmla="*/ 76294 h 1151883"/>
                <a:gd name="connsiteX311" fmla="*/ 734656 w 922759"/>
                <a:gd name="connsiteY311" fmla="*/ 76476 h 1151883"/>
                <a:gd name="connsiteX312" fmla="*/ 734656 w 922759"/>
                <a:gd name="connsiteY312" fmla="*/ 74691 h 1151883"/>
                <a:gd name="connsiteX313" fmla="*/ 734051 w 922759"/>
                <a:gd name="connsiteY313" fmla="*/ 73753 h 1151883"/>
                <a:gd name="connsiteX314" fmla="*/ 732932 w 922759"/>
                <a:gd name="connsiteY314" fmla="*/ 73572 h 1151883"/>
                <a:gd name="connsiteX315" fmla="*/ 731540 w 922759"/>
                <a:gd name="connsiteY315" fmla="*/ 73632 h 1151883"/>
                <a:gd name="connsiteX316" fmla="*/ 729907 w 922759"/>
                <a:gd name="connsiteY316" fmla="*/ 74026 h 1151883"/>
                <a:gd name="connsiteX317" fmla="*/ 729180 w 922759"/>
                <a:gd name="connsiteY317" fmla="*/ 75145 h 1151883"/>
                <a:gd name="connsiteX318" fmla="*/ 728515 w 922759"/>
                <a:gd name="connsiteY318" fmla="*/ 79168 h 1151883"/>
                <a:gd name="connsiteX319" fmla="*/ 725369 w 922759"/>
                <a:gd name="connsiteY319" fmla="*/ 89635 h 1151883"/>
                <a:gd name="connsiteX320" fmla="*/ 725066 w 922759"/>
                <a:gd name="connsiteY320" fmla="*/ 93296 h 1151883"/>
                <a:gd name="connsiteX321" fmla="*/ 725066 w 922759"/>
                <a:gd name="connsiteY321" fmla="*/ 95474 h 1151883"/>
                <a:gd name="connsiteX322" fmla="*/ 725762 w 922759"/>
                <a:gd name="connsiteY322" fmla="*/ 95474 h 1151883"/>
                <a:gd name="connsiteX323" fmla="*/ 725913 w 922759"/>
                <a:gd name="connsiteY323" fmla="*/ 92116 h 1151883"/>
                <a:gd name="connsiteX324" fmla="*/ 748874 w 922759"/>
                <a:gd name="connsiteY324" fmla="*/ 87396 h 1151883"/>
                <a:gd name="connsiteX325" fmla="*/ 748450 w 922759"/>
                <a:gd name="connsiteY325" fmla="*/ 86247 h 1151883"/>
                <a:gd name="connsiteX326" fmla="*/ 747906 w 922759"/>
                <a:gd name="connsiteY326" fmla="*/ 84160 h 1151883"/>
                <a:gd name="connsiteX327" fmla="*/ 746726 w 922759"/>
                <a:gd name="connsiteY327" fmla="*/ 83343 h 1151883"/>
                <a:gd name="connsiteX328" fmla="*/ 745577 w 922759"/>
                <a:gd name="connsiteY328" fmla="*/ 82919 h 1151883"/>
                <a:gd name="connsiteX329" fmla="*/ 745032 w 922759"/>
                <a:gd name="connsiteY329" fmla="*/ 81951 h 1151883"/>
                <a:gd name="connsiteX330" fmla="*/ 743368 w 922759"/>
                <a:gd name="connsiteY330" fmla="*/ 81588 h 1151883"/>
                <a:gd name="connsiteX331" fmla="*/ 735654 w 922759"/>
                <a:gd name="connsiteY331" fmla="*/ 82647 h 1151883"/>
                <a:gd name="connsiteX332" fmla="*/ 733355 w 922759"/>
                <a:gd name="connsiteY332" fmla="*/ 83676 h 1151883"/>
                <a:gd name="connsiteX333" fmla="*/ 734263 w 922759"/>
                <a:gd name="connsiteY333" fmla="*/ 83676 h 1151883"/>
                <a:gd name="connsiteX334" fmla="*/ 734928 w 922759"/>
                <a:gd name="connsiteY334" fmla="*/ 84039 h 1151883"/>
                <a:gd name="connsiteX335" fmla="*/ 735321 w 922759"/>
                <a:gd name="connsiteY335" fmla="*/ 84855 h 1151883"/>
                <a:gd name="connsiteX336" fmla="*/ 735443 w 922759"/>
                <a:gd name="connsiteY336" fmla="*/ 86247 h 1151883"/>
                <a:gd name="connsiteX337" fmla="*/ 735684 w 922759"/>
                <a:gd name="connsiteY337" fmla="*/ 87487 h 1151883"/>
                <a:gd name="connsiteX338" fmla="*/ 736138 w 922759"/>
                <a:gd name="connsiteY338" fmla="*/ 87850 h 1151883"/>
                <a:gd name="connsiteX339" fmla="*/ 736622 w 922759"/>
                <a:gd name="connsiteY339" fmla="*/ 87971 h 1151883"/>
                <a:gd name="connsiteX340" fmla="*/ 736834 w 922759"/>
                <a:gd name="connsiteY340" fmla="*/ 88485 h 1151883"/>
                <a:gd name="connsiteX341" fmla="*/ 737621 w 922759"/>
                <a:gd name="connsiteY341" fmla="*/ 89212 h 1151883"/>
                <a:gd name="connsiteX342" fmla="*/ 739436 w 922759"/>
                <a:gd name="connsiteY342" fmla="*/ 89030 h 1151883"/>
                <a:gd name="connsiteX343" fmla="*/ 742400 w 922759"/>
                <a:gd name="connsiteY343" fmla="*/ 87941 h 1151883"/>
                <a:gd name="connsiteX344" fmla="*/ 742491 w 922759"/>
                <a:gd name="connsiteY344" fmla="*/ 89060 h 1151883"/>
                <a:gd name="connsiteX345" fmla="*/ 742310 w 922759"/>
                <a:gd name="connsiteY345" fmla="*/ 89575 h 1151883"/>
                <a:gd name="connsiteX346" fmla="*/ 741977 w 922759"/>
                <a:gd name="connsiteY346" fmla="*/ 89847 h 1151883"/>
                <a:gd name="connsiteX347" fmla="*/ 741644 w 922759"/>
                <a:gd name="connsiteY347" fmla="*/ 90210 h 1151883"/>
                <a:gd name="connsiteX348" fmla="*/ 742430 w 922759"/>
                <a:gd name="connsiteY348" fmla="*/ 91632 h 1151883"/>
                <a:gd name="connsiteX349" fmla="*/ 743641 w 922759"/>
                <a:gd name="connsiteY349" fmla="*/ 92388 h 1151883"/>
                <a:gd name="connsiteX350" fmla="*/ 746424 w 922759"/>
                <a:gd name="connsiteY350" fmla="*/ 93386 h 1151883"/>
                <a:gd name="connsiteX351" fmla="*/ 745789 w 922759"/>
                <a:gd name="connsiteY351" fmla="*/ 94113 h 1151883"/>
                <a:gd name="connsiteX352" fmla="*/ 745183 w 922759"/>
                <a:gd name="connsiteY352" fmla="*/ 94415 h 1151883"/>
                <a:gd name="connsiteX353" fmla="*/ 745062 w 922759"/>
                <a:gd name="connsiteY353" fmla="*/ 94415 h 1151883"/>
                <a:gd name="connsiteX354" fmla="*/ 745062 w 922759"/>
                <a:gd name="connsiteY354" fmla="*/ 95534 h 1151883"/>
                <a:gd name="connsiteX355" fmla="*/ 743005 w 922759"/>
                <a:gd name="connsiteY355" fmla="*/ 95897 h 1151883"/>
                <a:gd name="connsiteX356" fmla="*/ 739980 w 922759"/>
                <a:gd name="connsiteY356" fmla="*/ 97380 h 1151883"/>
                <a:gd name="connsiteX357" fmla="*/ 737258 w 922759"/>
                <a:gd name="connsiteY357" fmla="*/ 98015 h 1151883"/>
                <a:gd name="connsiteX358" fmla="*/ 736501 w 922759"/>
                <a:gd name="connsiteY358" fmla="*/ 98862 h 1151883"/>
                <a:gd name="connsiteX359" fmla="*/ 734747 w 922759"/>
                <a:gd name="connsiteY359" fmla="*/ 102189 h 1151883"/>
                <a:gd name="connsiteX360" fmla="*/ 739224 w 922759"/>
                <a:gd name="connsiteY360" fmla="*/ 101100 h 1151883"/>
                <a:gd name="connsiteX361" fmla="*/ 740252 w 922759"/>
                <a:gd name="connsiteY361" fmla="*/ 101494 h 1151883"/>
                <a:gd name="connsiteX362" fmla="*/ 740888 w 922759"/>
                <a:gd name="connsiteY362" fmla="*/ 102341 h 1151883"/>
                <a:gd name="connsiteX363" fmla="*/ 741644 w 922759"/>
                <a:gd name="connsiteY363" fmla="*/ 103127 h 1151883"/>
                <a:gd name="connsiteX364" fmla="*/ 743005 w 922759"/>
                <a:gd name="connsiteY364" fmla="*/ 103248 h 1151883"/>
                <a:gd name="connsiteX365" fmla="*/ 743005 w 922759"/>
                <a:gd name="connsiteY365" fmla="*/ 104247 h 1151883"/>
                <a:gd name="connsiteX366" fmla="*/ 742552 w 922759"/>
                <a:gd name="connsiteY366" fmla="*/ 105910 h 1151883"/>
                <a:gd name="connsiteX367" fmla="*/ 743066 w 922759"/>
                <a:gd name="connsiteY367" fmla="*/ 107453 h 1151883"/>
                <a:gd name="connsiteX368" fmla="*/ 744246 w 922759"/>
                <a:gd name="connsiteY368" fmla="*/ 108512 h 1151883"/>
                <a:gd name="connsiteX369" fmla="*/ 745819 w 922759"/>
                <a:gd name="connsiteY369" fmla="*/ 108663 h 1151883"/>
                <a:gd name="connsiteX370" fmla="*/ 742854 w 922759"/>
                <a:gd name="connsiteY370" fmla="*/ 110539 h 1151883"/>
                <a:gd name="connsiteX371" fmla="*/ 741463 w 922759"/>
                <a:gd name="connsiteY371" fmla="*/ 110781 h 1151883"/>
                <a:gd name="connsiteX372" fmla="*/ 740283 w 922759"/>
                <a:gd name="connsiteY372" fmla="*/ 109722 h 1151883"/>
                <a:gd name="connsiteX373" fmla="*/ 739587 w 922759"/>
                <a:gd name="connsiteY373" fmla="*/ 110811 h 1151883"/>
                <a:gd name="connsiteX374" fmla="*/ 736532 w 922759"/>
                <a:gd name="connsiteY374" fmla="*/ 108935 h 1151883"/>
                <a:gd name="connsiteX375" fmla="*/ 733991 w 922759"/>
                <a:gd name="connsiteY375" fmla="*/ 110024 h 1151883"/>
                <a:gd name="connsiteX376" fmla="*/ 731994 w 922759"/>
                <a:gd name="connsiteY376" fmla="*/ 112808 h 1151883"/>
                <a:gd name="connsiteX377" fmla="*/ 730602 w 922759"/>
                <a:gd name="connsiteY377" fmla="*/ 116226 h 1151883"/>
                <a:gd name="connsiteX378" fmla="*/ 736834 w 922759"/>
                <a:gd name="connsiteY378" fmla="*/ 120643 h 1151883"/>
                <a:gd name="connsiteX379" fmla="*/ 736834 w 922759"/>
                <a:gd name="connsiteY379" fmla="*/ 121641 h 1151883"/>
                <a:gd name="connsiteX380" fmla="*/ 735291 w 922759"/>
                <a:gd name="connsiteY380" fmla="*/ 121066 h 1151883"/>
                <a:gd name="connsiteX381" fmla="*/ 733960 w 922759"/>
                <a:gd name="connsiteY381" fmla="*/ 121520 h 1151883"/>
                <a:gd name="connsiteX382" fmla="*/ 733355 w 922759"/>
                <a:gd name="connsiteY382" fmla="*/ 122579 h 1151883"/>
                <a:gd name="connsiteX383" fmla="*/ 734051 w 922759"/>
                <a:gd name="connsiteY383" fmla="*/ 123789 h 1151883"/>
                <a:gd name="connsiteX384" fmla="*/ 735049 w 922759"/>
                <a:gd name="connsiteY384" fmla="*/ 123698 h 1151883"/>
                <a:gd name="connsiteX385" fmla="*/ 738135 w 922759"/>
                <a:gd name="connsiteY385" fmla="*/ 122307 h 1151883"/>
                <a:gd name="connsiteX386" fmla="*/ 739587 w 922759"/>
                <a:gd name="connsiteY386" fmla="*/ 122700 h 1151883"/>
                <a:gd name="connsiteX387" fmla="*/ 739042 w 922759"/>
                <a:gd name="connsiteY387" fmla="*/ 124727 h 1151883"/>
                <a:gd name="connsiteX388" fmla="*/ 740131 w 922759"/>
                <a:gd name="connsiteY388" fmla="*/ 126088 h 1151883"/>
                <a:gd name="connsiteX389" fmla="*/ 741916 w 922759"/>
                <a:gd name="connsiteY389" fmla="*/ 126875 h 1151883"/>
                <a:gd name="connsiteX390" fmla="*/ 743399 w 922759"/>
                <a:gd name="connsiteY390" fmla="*/ 127147 h 1151883"/>
                <a:gd name="connsiteX391" fmla="*/ 744034 w 922759"/>
                <a:gd name="connsiteY391" fmla="*/ 127601 h 1151883"/>
                <a:gd name="connsiteX392" fmla="*/ 744972 w 922759"/>
                <a:gd name="connsiteY392" fmla="*/ 128539 h 1151883"/>
                <a:gd name="connsiteX393" fmla="*/ 745970 w 922759"/>
                <a:gd name="connsiteY393" fmla="*/ 129174 h 1151883"/>
                <a:gd name="connsiteX394" fmla="*/ 746878 w 922759"/>
                <a:gd name="connsiteY394" fmla="*/ 128720 h 1151883"/>
                <a:gd name="connsiteX395" fmla="*/ 747604 w 922759"/>
                <a:gd name="connsiteY395" fmla="*/ 128145 h 1151883"/>
                <a:gd name="connsiteX396" fmla="*/ 748662 w 922759"/>
                <a:gd name="connsiteY396" fmla="*/ 127933 h 1151883"/>
                <a:gd name="connsiteX397" fmla="*/ 750689 w 922759"/>
                <a:gd name="connsiteY397" fmla="*/ 128115 h 1151883"/>
                <a:gd name="connsiteX398" fmla="*/ 750417 w 922759"/>
                <a:gd name="connsiteY398" fmla="*/ 127570 h 1151883"/>
                <a:gd name="connsiteX399" fmla="*/ 750024 w 922759"/>
                <a:gd name="connsiteY399" fmla="*/ 127147 h 1151883"/>
                <a:gd name="connsiteX400" fmla="*/ 750629 w 922759"/>
                <a:gd name="connsiteY400" fmla="*/ 126330 h 1151883"/>
                <a:gd name="connsiteX401" fmla="*/ 751294 w 922759"/>
                <a:gd name="connsiteY401" fmla="*/ 125695 h 1151883"/>
                <a:gd name="connsiteX402" fmla="*/ 752777 w 922759"/>
                <a:gd name="connsiteY402" fmla="*/ 124878 h 1151883"/>
                <a:gd name="connsiteX403" fmla="*/ 751718 w 922759"/>
                <a:gd name="connsiteY403" fmla="*/ 127298 h 1151883"/>
                <a:gd name="connsiteX404" fmla="*/ 751173 w 922759"/>
                <a:gd name="connsiteY404" fmla="*/ 129174 h 1151883"/>
                <a:gd name="connsiteX405" fmla="*/ 750356 w 922759"/>
                <a:gd name="connsiteY405" fmla="*/ 130021 h 1151883"/>
                <a:gd name="connsiteX406" fmla="*/ 753926 w 922759"/>
                <a:gd name="connsiteY406" fmla="*/ 132169 h 1151883"/>
                <a:gd name="connsiteX407" fmla="*/ 757103 w 922759"/>
                <a:gd name="connsiteY407" fmla="*/ 133227 h 1151883"/>
                <a:gd name="connsiteX408" fmla="*/ 759976 w 922759"/>
                <a:gd name="connsiteY408" fmla="*/ 133651 h 1151883"/>
                <a:gd name="connsiteX409" fmla="*/ 761550 w 922759"/>
                <a:gd name="connsiteY409" fmla="*/ 132925 h 1151883"/>
                <a:gd name="connsiteX410" fmla="*/ 761761 w 922759"/>
                <a:gd name="connsiteY410" fmla="*/ 131261 h 1151883"/>
                <a:gd name="connsiteX411" fmla="*/ 761035 w 922759"/>
                <a:gd name="connsiteY411" fmla="*/ 127661 h 1151883"/>
                <a:gd name="connsiteX412" fmla="*/ 760339 w 922759"/>
                <a:gd name="connsiteY412" fmla="*/ 127359 h 1151883"/>
                <a:gd name="connsiteX413" fmla="*/ 755530 w 922759"/>
                <a:gd name="connsiteY413" fmla="*/ 128115 h 1151883"/>
                <a:gd name="connsiteX414" fmla="*/ 755681 w 922759"/>
                <a:gd name="connsiteY414" fmla="*/ 128266 h 1151883"/>
                <a:gd name="connsiteX415" fmla="*/ 755953 w 922759"/>
                <a:gd name="connsiteY415" fmla="*/ 128266 h 1151883"/>
                <a:gd name="connsiteX416" fmla="*/ 756165 w 922759"/>
                <a:gd name="connsiteY416" fmla="*/ 128478 h 1151883"/>
                <a:gd name="connsiteX417" fmla="*/ 756165 w 922759"/>
                <a:gd name="connsiteY417" fmla="*/ 129295 h 1151883"/>
                <a:gd name="connsiteX418" fmla="*/ 754773 w 922759"/>
                <a:gd name="connsiteY418" fmla="*/ 130384 h 1151883"/>
                <a:gd name="connsiteX419" fmla="*/ 755167 w 922759"/>
                <a:gd name="connsiteY419" fmla="*/ 126149 h 1151883"/>
                <a:gd name="connsiteX420" fmla="*/ 757375 w 922759"/>
                <a:gd name="connsiteY420" fmla="*/ 125060 h 1151883"/>
                <a:gd name="connsiteX421" fmla="*/ 759825 w 922759"/>
                <a:gd name="connsiteY421" fmla="*/ 124576 h 1151883"/>
                <a:gd name="connsiteX422" fmla="*/ 761005 w 922759"/>
                <a:gd name="connsiteY422" fmla="*/ 122155 h 1151883"/>
                <a:gd name="connsiteX423" fmla="*/ 762124 w 922759"/>
                <a:gd name="connsiteY423" fmla="*/ 120492 h 1151883"/>
                <a:gd name="connsiteX424" fmla="*/ 767448 w 922759"/>
                <a:gd name="connsiteY424" fmla="*/ 116166 h 1151883"/>
                <a:gd name="connsiteX425" fmla="*/ 769234 w 922759"/>
                <a:gd name="connsiteY425" fmla="*/ 115107 h 1151883"/>
                <a:gd name="connsiteX426" fmla="*/ 779247 w 922759"/>
                <a:gd name="connsiteY426" fmla="*/ 114018 h 1151883"/>
                <a:gd name="connsiteX427" fmla="*/ 780396 w 922759"/>
                <a:gd name="connsiteY427" fmla="*/ 114623 h 1151883"/>
                <a:gd name="connsiteX428" fmla="*/ 781183 w 922759"/>
                <a:gd name="connsiteY428" fmla="*/ 115652 h 1151883"/>
                <a:gd name="connsiteX429" fmla="*/ 782030 w 922759"/>
                <a:gd name="connsiteY429" fmla="*/ 116015 h 1151883"/>
                <a:gd name="connsiteX430" fmla="*/ 783361 w 922759"/>
                <a:gd name="connsiteY430" fmla="*/ 114532 h 1151883"/>
                <a:gd name="connsiteX431" fmla="*/ 784359 w 922759"/>
                <a:gd name="connsiteY431" fmla="*/ 113866 h 1151883"/>
                <a:gd name="connsiteX432" fmla="*/ 785751 w 922759"/>
                <a:gd name="connsiteY432" fmla="*/ 113746 h 1151883"/>
                <a:gd name="connsiteX433" fmla="*/ 788473 w 922759"/>
                <a:gd name="connsiteY433" fmla="*/ 113988 h 1151883"/>
                <a:gd name="connsiteX434" fmla="*/ 788473 w 922759"/>
                <a:gd name="connsiteY434" fmla="*/ 115077 h 1151883"/>
                <a:gd name="connsiteX435" fmla="*/ 786568 w 922759"/>
                <a:gd name="connsiteY435" fmla="*/ 115803 h 1151883"/>
                <a:gd name="connsiteX436" fmla="*/ 781031 w 922759"/>
                <a:gd name="connsiteY436" fmla="*/ 119403 h 1151883"/>
                <a:gd name="connsiteX437" fmla="*/ 783028 w 922759"/>
                <a:gd name="connsiteY437" fmla="*/ 118132 h 1151883"/>
                <a:gd name="connsiteX438" fmla="*/ 785388 w 922759"/>
                <a:gd name="connsiteY438" fmla="*/ 117467 h 1151883"/>
                <a:gd name="connsiteX439" fmla="*/ 790621 w 922759"/>
                <a:gd name="connsiteY439" fmla="*/ 117134 h 1151883"/>
                <a:gd name="connsiteX440" fmla="*/ 789774 w 922759"/>
                <a:gd name="connsiteY440" fmla="*/ 118949 h 1151883"/>
                <a:gd name="connsiteX441" fmla="*/ 788231 w 922759"/>
                <a:gd name="connsiteY441" fmla="*/ 120098 h 1151883"/>
                <a:gd name="connsiteX442" fmla="*/ 784480 w 922759"/>
                <a:gd name="connsiteY442" fmla="*/ 121581 h 1151883"/>
                <a:gd name="connsiteX443" fmla="*/ 784480 w 922759"/>
                <a:gd name="connsiteY443" fmla="*/ 122639 h 1151883"/>
                <a:gd name="connsiteX444" fmla="*/ 785720 w 922759"/>
                <a:gd name="connsiteY444" fmla="*/ 123154 h 1151883"/>
                <a:gd name="connsiteX445" fmla="*/ 787324 w 922759"/>
                <a:gd name="connsiteY445" fmla="*/ 123154 h 1151883"/>
                <a:gd name="connsiteX446" fmla="*/ 788867 w 922759"/>
                <a:gd name="connsiteY446" fmla="*/ 122579 h 1151883"/>
                <a:gd name="connsiteX447" fmla="*/ 789895 w 922759"/>
                <a:gd name="connsiteY447" fmla="*/ 121550 h 1151883"/>
                <a:gd name="connsiteX448" fmla="*/ 790591 w 922759"/>
                <a:gd name="connsiteY448" fmla="*/ 121550 h 1151883"/>
                <a:gd name="connsiteX449" fmla="*/ 790984 w 922759"/>
                <a:gd name="connsiteY449" fmla="*/ 123245 h 1151883"/>
                <a:gd name="connsiteX450" fmla="*/ 790591 w 922759"/>
                <a:gd name="connsiteY450" fmla="*/ 124303 h 1151883"/>
                <a:gd name="connsiteX451" fmla="*/ 789653 w 922759"/>
                <a:gd name="connsiteY451" fmla="*/ 124787 h 1151883"/>
                <a:gd name="connsiteX452" fmla="*/ 788473 w 922759"/>
                <a:gd name="connsiteY452" fmla="*/ 124787 h 1151883"/>
                <a:gd name="connsiteX453" fmla="*/ 790651 w 922759"/>
                <a:gd name="connsiteY453" fmla="*/ 125514 h 1151883"/>
                <a:gd name="connsiteX454" fmla="*/ 791710 w 922759"/>
                <a:gd name="connsiteY454" fmla="*/ 125604 h 1151883"/>
                <a:gd name="connsiteX455" fmla="*/ 792013 w 922759"/>
                <a:gd name="connsiteY455" fmla="*/ 124606 h 1151883"/>
                <a:gd name="connsiteX456" fmla="*/ 792013 w 922759"/>
                <a:gd name="connsiteY456" fmla="*/ 122095 h 1151883"/>
                <a:gd name="connsiteX457" fmla="*/ 792406 w 922759"/>
                <a:gd name="connsiteY457" fmla="*/ 119493 h 1151883"/>
                <a:gd name="connsiteX458" fmla="*/ 793404 w 922759"/>
                <a:gd name="connsiteY458" fmla="*/ 117436 h 1151883"/>
                <a:gd name="connsiteX459" fmla="*/ 794735 w 922759"/>
                <a:gd name="connsiteY459" fmla="*/ 115924 h 1151883"/>
                <a:gd name="connsiteX460" fmla="*/ 796096 w 922759"/>
                <a:gd name="connsiteY460" fmla="*/ 115046 h 1151883"/>
                <a:gd name="connsiteX461" fmla="*/ 793616 w 922759"/>
                <a:gd name="connsiteY461" fmla="*/ 114169 h 1151883"/>
                <a:gd name="connsiteX462" fmla="*/ 791892 w 922759"/>
                <a:gd name="connsiteY462" fmla="*/ 112082 h 1151883"/>
                <a:gd name="connsiteX463" fmla="*/ 789230 w 922759"/>
                <a:gd name="connsiteY463" fmla="*/ 107574 h 1151883"/>
                <a:gd name="connsiteX464" fmla="*/ 787142 w 922759"/>
                <a:gd name="connsiteY464" fmla="*/ 106183 h 1151883"/>
                <a:gd name="connsiteX465" fmla="*/ 782393 w 922759"/>
                <a:gd name="connsiteY465" fmla="*/ 105124 h 1151883"/>
                <a:gd name="connsiteX466" fmla="*/ 780305 w 922759"/>
                <a:gd name="connsiteY466" fmla="*/ 104126 h 1151883"/>
                <a:gd name="connsiteX467" fmla="*/ 779247 w 922759"/>
                <a:gd name="connsiteY467" fmla="*/ 102734 h 1151883"/>
                <a:gd name="connsiteX468" fmla="*/ 778127 w 922759"/>
                <a:gd name="connsiteY468" fmla="*/ 100344 h 1151883"/>
                <a:gd name="connsiteX469" fmla="*/ 777250 w 922759"/>
                <a:gd name="connsiteY469" fmla="*/ 97561 h 1151883"/>
                <a:gd name="connsiteX470" fmla="*/ 776887 w 922759"/>
                <a:gd name="connsiteY470" fmla="*/ 94899 h 1151883"/>
                <a:gd name="connsiteX471" fmla="*/ 777825 w 922759"/>
                <a:gd name="connsiteY471" fmla="*/ 92570 h 1151883"/>
                <a:gd name="connsiteX472" fmla="*/ 780033 w 922759"/>
                <a:gd name="connsiteY472" fmla="*/ 90573 h 1151883"/>
                <a:gd name="connsiteX473" fmla="*/ 784480 w 922759"/>
                <a:gd name="connsiteY473" fmla="*/ 87820 h 1151883"/>
                <a:gd name="connsiteX474" fmla="*/ 787112 w 922759"/>
                <a:gd name="connsiteY474" fmla="*/ 83978 h 1151883"/>
                <a:gd name="connsiteX475" fmla="*/ 786446 w 922759"/>
                <a:gd name="connsiteY475" fmla="*/ 79894 h 1151883"/>
                <a:gd name="connsiteX476" fmla="*/ 783421 w 922759"/>
                <a:gd name="connsiteY476" fmla="*/ 76778 h 1151883"/>
                <a:gd name="connsiteX477" fmla="*/ 778944 w 922759"/>
                <a:gd name="connsiteY477" fmla="*/ 75871 h 1151883"/>
                <a:gd name="connsiteX478" fmla="*/ 765906 w 922759"/>
                <a:gd name="connsiteY478" fmla="*/ 78170 h 1151883"/>
                <a:gd name="connsiteX479" fmla="*/ 761701 w 922759"/>
                <a:gd name="connsiteY479" fmla="*/ 76839 h 1151883"/>
                <a:gd name="connsiteX480" fmla="*/ 760007 w 922759"/>
                <a:gd name="connsiteY480" fmla="*/ 75538 h 1151883"/>
                <a:gd name="connsiteX481" fmla="*/ 758706 w 922759"/>
                <a:gd name="connsiteY481" fmla="*/ 73783 h 1151883"/>
                <a:gd name="connsiteX482" fmla="*/ 757829 w 922759"/>
                <a:gd name="connsiteY482" fmla="*/ 71514 h 1151883"/>
                <a:gd name="connsiteX483" fmla="*/ 757526 w 922759"/>
                <a:gd name="connsiteY483" fmla="*/ 68671 h 1151883"/>
                <a:gd name="connsiteX484" fmla="*/ 758312 w 922759"/>
                <a:gd name="connsiteY484" fmla="*/ 66402 h 1151883"/>
                <a:gd name="connsiteX485" fmla="*/ 760128 w 922759"/>
                <a:gd name="connsiteY485" fmla="*/ 64920 h 1151883"/>
                <a:gd name="connsiteX486" fmla="*/ 762215 w 922759"/>
                <a:gd name="connsiteY486" fmla="*/ 63831 h 1151883"/>
                <a:gd name="connsiteX487" fmla="*/ 763758 w 922759"/>
                <a:gd name="connsiteY487" fmla="*/ 62681 h 1151883"/>
                <a:gd name="connsiteX488" fmla="*/ 763758 w 922759"/>
                <a:gd name="connsiteY488" fmla="*/ 61683 h 1151883"/>
                <a:gd name="connsiteX489" fmla="*/ 761096 w 922759"/>
                <a:gd name="connsiteY489" fmla="*/ 60352 h 1151883"/>
                <a:gd name="connsiteX490" fmla="*/ 758282 w 922759"/>
                <a:gd name="connsiteY490" fmla="*/ 60352 h 1151883"/>
                <a:gd name="connsiteX491" fmla="*/ 744457 w 922759"/>
                <a:gd name="connsiteY491" fmla="*/ 64103 h 1151883"/>
                <a:gd name="connsiteX492" fmla="*/ 743247 w 922759"/>
                <a:gd name="connsiteY492" fmla="*/ 64890 h 1151883"/>
                <a:gd name="connsiteX493" fmla="*/ 742189 w 922759"/>
                <a:gd name="connsiteY493" fmla="*/ 65948 h 1151883"/>
                <a:gd name="connsiteX494" fmla="*/ 741614 w 922759"/>
                <a:gd name="connsiteY494" fmla="*/ 67037 h 1151883"/>
                <a:gd name="connsiteX495" fmla="*/ 741553 w 922759"/>
                <a:gd name="connsiteY495" fmla="*/ 68883 h 1151883"/>
                <a:gd name="connsiteX496" fmla="*/ 742219 w 922759"/>
                <a:gd name="connsiteY496" fmla="*/ 69064 h 1151883"/>
                <a:gd name="connsiteX497" fmla="*/ 743671 w 922759"/>
                <a:gd name="connsiteY497" fmla="*/ 68096 h 1151883"/>
                <a:gd name="connsiteX498" fmla="*/ 748178 w 922759"/>
                <a:gd name="connsiteY498" fmla="*/ 67037 h 1151883"/>
                <a:gd name="connsiteX499" fmla="*/ 748481 w 922759"/>
                <a:gd name="connsiteY499" fmla="*/ 67703 h 1151883"/>
                <a:gd name="connsiteX500" fmla="*/ 748269 w 922759"/>
                <a:gd name="connsiteY500" fmla="*/ 69185 h 1151883"/>
                <a:gd name="connsiteX501" fmla="*/ 747815 w 922759"/>
                <a:gd name="connsiteY501" fmla="*/ 70698 h 1151883"/>
                <a:gd name="connsiteX502" fmla="*/ 747513 w 922759"/>
                <a:gd name="connsiteY502" fmla="*/ 71363 h 1151883"/>
                <a:gd name="connsiteX503" fmla="*/ 746091 w 922759"/>
                <a:gd name="connsiteY503" fmla="*/ 72574 h 1151883"/>
                <a:gd name="connsiteX504" fmla="*/ 744760 w 922759"/>
                <a:gd name="connsiteY504" fmla="*/ 75266 h 1151883"/>
                <a:gd name="connsiteX505" fmla="*/ 744064 w 922759"/>
                <a:gd name="connsiteY505" fmla="*/ 78200 h 1151883"/>
                <a:gd name="connsiteX506" fmla="*/ 744427 w 922759"/>
                <a:gd name="connsiteY506" fmla="*/ 80076 h 1151883"/>
                <a:gd name="connsiteX507" fmla="*/ 746454 w 922759"/>
                <a:gd name="connsiteY507" fmla="*/ 80650 h 1151883"/>
                <a:gd name="connsiteX508" fmla="*/ 748269 w 922759"/>
                <a:gd name="connsiteY508" fmla="*/ 79380 h 1151883"/>
                <a:gd name="connsiteX509" fmla="*/ 749993 w 922759"/>
                <a:gd name="connsiteY509" fmla="*/ 77656 h 1151883"/>
                <a:gd name="connsiteX510" fmla="*/ 752353 w 922759"/>
                <a:gd name="connsiteY510" fmla="*/ 76355 h 1151883"/>
                <a:gd name="connsiteX511" fmla="*/ 753987 w 922759"/>
                <a:gd name="connsiteY511" fmla="*/ 74267 h 1151883"/>
                <a:gd name="connsiteX512" fmla="*/ 754773 w 922759"/>
                <a:gd name="connsiteY512" fmla="*/ 73481 h 1151883"/>
                <a:gd name="connsiteX513" fmla="*/ 756134 w 922759"/>
                <a:gd name="connsiteY513" fmla="*/ 72452 h 1151883"/>
                <a:gd name="connsiteX514" fmla="*/ 756346 w 922759"/>
                <a:gd name="connsiteY514" fmla="*/ 73088 h 1151883"/>
                <a:gd name="connsiteX515" fmla="*/ 757526 w 922759"/>
                <a:gd name="connsiteY515" fmla="*/ 74691 h 1151883"/>
                <a:gd name="connsiteX516" fmla="*/ 758192 w 922759"/>
                <a:gd name="connsiteY516" fmla="*/ 75810 h 1151883"/>
                <a:gd name="connsiteX517" fmla="*/ 758524 w 922759"/>
                <a:gd name="connsiteY517" fmla="*/ 76839 h 1151883"/>
                <a:gd name="connsiteX518" fmla="*/ 759160 w 922759"/>
                <a:gd name="connsiteY518" fmla="*/ 77625 h 1151883"/>
                <a:gd name="connsiteX519" fmla="*/ 760672 w 922759"/>
                <a:gd name="connsiteY519" fmla="*/ 77928 h 1151883"/>
                <a:gd name="connsiteX520" fmla="*/ 761640 w 922759"/>
                <a:gd name="connsiteY520" fmla="*/ 78442 h 1151883"/>
                <a:gd name="connsiteX521" fmla="*/ 762336 w 922759"/>
                <a:gd name="connsiteY521" fmla="*/ 79592 h 1151883"/>
                <a:gd name="connsiteX522" fmla="*/ 762880 w 922759"/>
                <a:gd name="connsiteY522" fmla="*/ 80711 h 1151883"/>
                <a:gd name="connsiteX523" fmla="*/ 763425 w 922759"/>
                <a:gd name="connsiteY523" fmla="*/ 81225 h 1151883"/>
                <a:gd name="connsiteX524" fmla="*/ 766874 w 922759"/>
                <a:gd name="connsiteY524" fmla="*/ 81407 h 1151883"/>
                <a:gd name="connsiteX525" fmla="*/ 767963 w 922759"/>
                <a:gd name="connsiteY525" fmla="*/ 81225 h 1151883"/>
                <a:gd name="connsiteX526" fmla="*/ 768689 w 922759"/>
                <a:gd name="connsiteY526" fmla="*/ 80681 h 1151883"/>
                <a:gd name="connsiteX527" fmla="*/ 769324 w 922759"/>
                <a:gd name="connsiteY527" fmla="*/ 79803 h 1151883"/>
                <a:gd name="connsiteX528" fmla="*/ 770141 w 922759"/>
                <a:gd name="connsiteY528" fmla="*/ 79138 h 1151883"/>
                <a:gd name="connsiteX529" fmla="*/ 771381 w 922759"/>
                <a:gd name="connsiteY529" fmla="*/ 79077 h 1151883"/>
                <a:gd name="connsiteX530" fmla="*/ 771381 w 922759"/>
                <a:gd name="connsiteY530" fmla="*/ 80046 h 1151883"/>
                <a:gd name="connsiteX531" fmla="*/ 770595 w 922759"/>
                <a:gd name="connsiteY531" fmla="*/ 80227 h 1151883"/>
                <a:gd name="connsiteX532" fmla="*/ 770171 w 922759"/>
                <a:gd name="connsiteY532" fmla="*/ 80499 h 1151883"/>
                <a:gd name="connsiteX533" fmla="*/ 769838 w 922759"/>
                <a:gd name="connsiteY533" fmla="*/ 80832 h 1151883"/>
                <a:gd name="connsiteX534" fmla="*/ 769263 w 922759"/>
                <a:gd name="connsiteY534" fmla="*/ 81225 h 1151883"/>
                <a:gd name="connsiteX535" fmla="*/ 769263 w 922759"/>
                <a:gd name="connsiteY535" fmla="*/ 82314 h 1151883"/>
                <a:gd name="connsiteX536" fmla="*/ 770050 w 922759"/>
                <a:gd name="connsiteY536" fmla="*/ 83222 h 1151883"/>
                <a:gd name="connsiteX537" fmla="*/ 770595 w 922759"/>
                <a:gd name="connsiteY537" fmla="*/ 84371 h 1151883"/>
                <a:gd name="connsiteX538" fmla="*/ 771381 w 922759"/>
                <a:gd name="connsiteY538" fmla="*/ 86580 h 1151883"/>
                <a:gd name="connsiteX539" fmla="*/ 771381 w 922759"/>
                <a:gd name="connsiteY539" fmla="*/ 87759 h 1151883"/>
                <a:gd name="connsiteX540" fmla="*/ 770716 w 922759"/>
                <a:gd name="connsiteY540" fmla="*/ 88274 h 1151883"/>
                <a:gd name="connsiteX541" fmla="*/ 770232 w 922759"/>
                <a:gd name="connsiteY541" fmla="*/ 88939 h 1151883"/>
                <a:gd name="connsiteX542" fmla="*/ 769263 w 922759"/>
                <a:gd name="connsiteY542" fmla="*/ 91027 h 1151883"/>
                <a:gd name="connsiteX543" fmla="*/ 769990 w 922759"/>
                <a:gd name="connsiteY543" fmla="*/ 92237 h 1151883"/>
                <a:gd name="connsiteX544" fmla="*/ 764817 w 922759"/>
                <a:gd name="connsiteY544" fmla="*/ 92358 h 1151883"/>
                <a:gd name="connsiteX545" fmla="*/ 762306 w 922759"/>
                <a:gd name="connsiteY545" fmla="*/ 91511 h 1151883"/>
                <a:gd name="connsiteX546" fmla="*/ 760309 w 922759"/>
                <a:gd name="connsiteY546" fmla="*/ 88848 h 1151883"/>
                <a:gd name="connsiteX547" fmla="*/ 760944 w 922759"/>
                <a:gd name="connsiteY547" fmla="*/ 86429 h 1151883"/>
                <a:gd name="connsiteX548" fmla="*/ 759765 w 922759"/>
                <a:gd name="connsiteY548" fmla="*/ 84251 h 1151883"/>
                <a:gd name="connsiteX549" fmla="*/ 757980 w 922759"/>
                <a:gd name="connsiteY549" fmla="*/ 82163 h 1151883"/>
                <a:gd name="connsiteX550" fmla="*/ 756860 w 922759"/>
                <a:gd name="connsiteY550" fmla="*/ 80046 h 1151883"/>
                <a:gd name="connsiteX551" fmla="*/ 755499 w 922759"/>
                <a:gd name="connsiteY551" fmla="*/ 81225 h 1151883"/>
                <a:gd name="connsiteX552" fmla="*/ 755499 w 922759"/>
                <a:gd name="connsiteY552" fmla="*/ 82314 h 1151883"/>
                <a:gd name="connsiteX553" fmla="*/ 756346 w 922759"/>
                <a:gd name="connsiteY553" fmla="*/ 82556 h 1151883"/>
                <a:gd name="connsiteX554" fmla="*/ 757314 w 922759"/>
                <a:gd name="connsiteY554" fmla="*/ 83282 h 1151883"/>
                <a:gd name="connsiteX555" fmla="*/ 758161 w 922759"/>
                <a:gd name="connsiteY555" fmla="*/ 83525 h 1151883"/>
                <a:gd name="connsiteX556" fmla="*/ 757556 w 922759"/>
                <a:gd name="connsiteY556" fmla="*/ 85279 h 1151883"/>
                <a:gd name="connsiteX557" fmla="*/ 756679 w 922759"/>
                <a:gd name="connsiteY557" fmla="*/ 86277 h 1151883"/>
                <a:gd name="connsiteX558" fmla="*/ 755530 w 922759"/>
                <a:gd name="connsiteY558" fmla="*/ 86640 h 1151883"/>
                <a:gd name="connsiteX559" fmla="*/ 754078 w 922759"/>
                <a:gd name="connsiteY559" fmla="*/ 86550 h 1151883"/>
                <a:gd name="connsiteX560" fmla="*/ 755015 w 922759"/>
                <a:gd name="connsiteY560" fmla="*/ 84251 h 1151883"/>
                <a:gd name="connsiteX561" fmla="*/ 755530 w 922759"/>
                <a:gd name="connsiteY561" fmla="*/ 83494 h 1151883"/>
                <a:gd name="connsiteX562" fmla="*/ 755076 w 922759"/>
                <a:gd name="connsiteY562" fmla="*/ 82768 h 1151883"/>
                <a:gd name="connsiteX563" fmla="*/ 754592 w 922759"/>
                <a:gd name="connsiteY563" fmla="*/ 82375 h 1151883"/>
                <a:gd name="connsiteX564" fmla="*/ 754047 w 922759"/>
                <a:gd name="connsiteY564" fmla="*/ 82284 h 1151883"/>
                <a:gd name="connsiteX565" fmla="*/ 753412 w 922759"/>
                <a:gd name="connsiteY565" fmla="*/ 82284 h 1151883"/>
                <a:gd name="connsiteX566" fmla="*/ 754289 w 922759"/>
                <a:gd name="connsiteY566" fmla="*/ 81407 h 1151883"/>
                <a:gd name="connsiteX567" fmla="*/ 755045 w 922759"/>
                <a:gd name="connsiteY567" fmla="*/ 79985 h 1151883"/>
                <a:gd name="connsiteX568" fmla="*/ 756165 w 922759"/>
                <a:gd name="connsiteY568" fmla="*/ 76748 h 1151883"/>
                <a:gd name="connsiteX569" fmla="*/ 754471 w 922759"/>
                <a:gd name="connsiteY569" fmla="*/ 77353 h 1151883"/>
                <a:gd name="connsiteX570" fmla="*/ 752595 w 922759"/>
                <a:gd name="connsiteY570" fmla="*/ 78684 h 1151883"/>
                <a:gd name="connsiteX571" fmla="*/ 750750 w 922759"/>
                <a:gd name="connsiteY571" fmla="*/ 80469 h 1151883"/>
                <a:gd name="connsiteX572" fmla="*/ 749298 w 922759"/>
                <a:gd name="connsiteY572" fmla="*/ 82314 h 1151883"/>
                <a:gd name="connsiteX573" fmla="*/ 750114 w 922759"/>
                <a:gd name="connsiteY573" fmla="*/ 84795 h 1151883"/>
                <a:gd name="connsiteX574" fmla="*/ 749751 w 922759"/>
                <a:gd name="connsiteY574" fmla="*/ 86610 h 1151883"/>
                <a:gd name="connsiteX575" fmla="*/ 748965 w 922759"/>
                <a:gd name="connsiteY575" fmla="*/ 87215 h 1151883"/>
                <a:gd name="connsiteX576" fmla="*/ 251329 w 922759"/>
                <a:gd name="connsiteY576" fmla="*/ 57357 h 1151883"/>
                <a:gd name="connsiteX577" fmla="*/ 251601 w 922759"/>
                <a:gd name="connsiteY577" fmla="*/ 57175 h 1151883"/>
                <a:gd name="connsiteX578" fmla="*/ 251904 w 922759"/>
                <a:gd name="connsiteY578" fmla="*/ 57175 h 1151883"/>
                <a:gd name="connsiteX579" fmla="*/ 252055 w 922759"/>
                <a:gd name="connsiteY579" fmla="*/ 57024 h 1151883"/>
                <a:gd name="connsiteX580" fmla="*/ 252055 w 922759"/>
                <a:gd name="connsiteY580" fmla="*/ 56268 h 1151883"/>
                <a:gd name="connsiteX581" fmla="*/ 249816 w 922759"/>
                <a:gd name="connsiteY581" fmla="*/ 57024 h 1151883"/>
                <a:gd name="connsiteX582" fmla="*/ 248001 w 922759"/>
                <a:gd name="connsiteY582" fmla="*/ 58839 h 1151883"/>
                <a:gd name="connsiteX583" fmla="*/ 245097 w 922759"/>
                <a:gd name="connsiteY583" fmla="*/ 63891 h 1151883"/>
                <a:gd name="connsiteX584" fmla="*/ 247093 w 922759"/>
                <a:gd name="connsiteY584" fmla="*/ 66402 h 1151883"/>
                <a:gd name="connsiteX585" fmla="*/ 248999 w 922759"/>
                <a:gd name="connsiteY585" fmla="*/ 69578 h 1151883"/>
                <a:gd name="connsiteX586" fmla="*/ 251359 w 922759"/>
                <a:gd name="connsiteY586" fmla="*/ 71575 h 1151883"/>
                <a:gd name="connsiteX587" fmla="*/ 254777 w 922759"/>
                <a:gd name="connsiteY587" fmla="*/ 70425 h 1151883"/>
                <a:gd name="connsiteX588" fmla="*/ 256139 w 922759"/>
                <a:gd name="connsiteY588" fmla="*/ 69336 h 1151883"/>
                <a:gd name="connsiteX589" fmla="*/ 254233 w 922759"/>
                <a:gd name="connsiteY589" fmla="*/ 68338 h 1151883"/>
                <a:gd name="connsiteX590" fmla="*/ 249211 w 922759"/>
                <a:gd name="connsiteY590" fmla="*/ 59596 h 1151883"/>
                <a:gd name="connsiteX591" fmla="*/ 250240 w 922759"/>
                <a:gd name="connsiteY591" fmla="*/ 58385 h 1151883"/>
                <a:gd name="connsiteX592" fmla="*/ 251359 w 922759"/>
                <a:gd name="connsiteY592" fmla="*/ 57327 h 1151883"/>
                <a:gd name="connsiteX593" fmla="*/ 264579 w 922759"/>
                <a:gd name="connsiteY593" fmla="*/ 60563 h 1151883"/>
                <a:gd name="connsiteX594" fmla="*/ 267211 w 922759"/>
                <a:gd name="connsiteY594" fmla="*/ 59626 h 1151883"/>
                <a:gd name="connsiteX595" fmla="*/ 268088 w 922759"/>
                <a:gd name="connsiteY595" fmla="*/ 60291 h 1151883"/>
                <a:gd name="connsiteX596" fmla="*/ 269631 w 922759"/>
                <a:gd name="connsiteY596" fmla="*/ 60836 h 1151883"/>
                <a:gd name="connsiteX597" fmla="*/ 271325 w 922759"/>
                <a:gd name="connsiteY597" fmla="*/ 61017 h 1151883"/>
                <a:gd name="connsiteX598" fmla="*/ 272717 w 922759"/>
                <a:gd name="connsiteY598" fmla="*/ 60624 h 1151883"/>
                <a:gd name="connsiteX599" fmla="*/ 273564 w 922759"/>
                <a:gd name="connsiteY599" fmla="*/ 59535 h 1151883"/>
                <a:gd name="connsiteX600" fmla="*/ 274713 w 922759"/>
                <a:gd name="connsiteY600" fmla="*/ 56449 h 1151883"/>
                <a:gd name="connsiteX601" fmla="*/ 275560 w 922759"/>
                <a:gd name="connsiteY601" fmla="*/ 55179 h 1151883"/>
                <a:gd name="connsiteX602" fmla="*/ 275560 w 922759"/>
                <a:gd name="connsiteY602" fmla="*/ 54090 h 1151883"/>
                <a:gd name="connsiteX603" fmla="*/ 273775 w 922759"/>
                <a:gd name="connsiteY603" fmla="*/ 51216 h 1151883"/>
                <a:gd name="connsiteX604" fmla="*/ 271476 w 922759"/>
                <a:gd name="connsiteY604" fmla="*/ 49915 h 1151883"/>
                <a:gd name="connsiteX605" fmla="*/ 265880 w 922759"/>
                <a:gd name="connsiteY605" fmla="*/ 49612 h 1151883"/>
                <a:gd name="connsiteX606" fmla="*/ 262522 w 922759"/>
                <a:gd name="connsiteY606" fmla="*/ 49885 h 1151883"/>
                <a:gd name="connsiteX607" fmla="*/ 259769 w 922759"/>
                <a:gd name="connsiteY607" fmla="*/ 50883 h 1151883"/>
                <a:gd name="connsiteX608" fmla="*/ 257500 w 922759"/>
                <a:gd name="connsiteY608" fmla="*/ 52910 h 1151883"/>
                <a:gd name="connsiteX609" fmla="*/ 255503 w 922759"/>
                <a:gd name="connsiteY609" fmla="*/ 56268 h 1151883"/>
                <a:gd name="connsiteX610" fmla="*/ 261372 w 922759"/>
                <a:gd name="connsiteY610" fmla="*/ 59626 h 1151883"/>
                <a:gd name="connsiteX611" fmla="*/ 264639 w 922759"/>
                <a:gd name="connsiteY611" fmla="*/ 60563 h 1151883"/>
                <a:gd name="connsiteX612" fmla="*/ 921973 w 922759"/>
                <a:gd name="connsiteY612" fmla="*/ 589873 h 1151883"/>
                <a:gd name="connsiteX613" fmla="*/ 921610 w 922759"/>
                <a:gd name="connsiteY613" fmla="*/ 589419 h 1151883"/>
                <a:gd name="connsiteX614" fmla="*/ 922124 w 922759"/>
                <a:gd name="connsiteY614" fmla="*/ 585123 h 1151883"/>
                <a:gd name="connsiteX615" fmla="*/ 920672 w 922759"/>
                <a:gd name="connsiteY615" fmla="*/ 582219 h 1151883"/>
                <a:gd name="connsiteX616" fmla="*/ 918403 w 922759"/>
                <a:gd name="connsiteY616" fmla="*/ 579769 h 1151883"/>
                <a:gd name="connsiteX617" fmla="*/ 916558 w 922759"/>
                <a:gd name="connsiteY617" fmla="*/ 576744 h 1151883"/>
                <a:gd name="connsiteX618" fmla="*/ 916286 w 922759"/>
                <a:gd name="connsiteY618" fmla="*/ 575746 h 1151883"/>
                <a:gd name="connsiteX619" fmla="*/ 915832 w 922759"/>
                <a:gd name="connsiteY619" fmla="*/ 573083 h 1151883"/>
                <a:gd name="connsiteX620" fmla="*/ 915832 w 922759"/>
                <a:gd name="connsiteY620" fmla="*/ 572932 h 1151883"/>
                <a:gd name="connsiteX621" fmla="*/ 915227 w 922759"/>
                <a:gd name="connsiteY621" fmla="*/ 566670 h 1151883"/>
                <a:gd name="connsiteX622" fmla="*/ 914833 w 922759"/>
                <a:gd name="connsiteY622" fmla="*/ 562768 h 1151883"/>
                <a:gd name="connsiteX623" fmla="*/ 915680 w 922759"/>
                <a:gd name="connsiteY623" fmla="*/ 560922 h 1151883"/>
                <a:gd name="connsiteX624" fmla="*/ 914652 w 922759"/>
                <a:gd name="connsiteY624" fmla="*/ 558895 h 1151883"/>
                <a:gd name="connsiteX625" fmla="*/ 912807 w 922759"/>
                <a:gd name="connsiteY625" fmla="*/ 557080 h 1151883"/>
                <a:gd name="connsiteX626" fmla="*/ 911234 w 922759"/>
                <a:gd name="connsiteY626" fmla="*/ 555961 h 1151883"/>
                <a:gd name="connsiteX627" fmla="*/ 908965 w 922759"/>
                <a:gd name="connsiteY627" fmla="*/ 554963 h 1151883"/>
                <a:gd name="connsiteX628" fmla="*/ 904245 w 922759"/>
                <a:gd name="connsiteY628" fmla="*/ 553692 h 1151883"/>
                <a:gd name="connsiteX629" fmla="*/ 901947 w 922759"/>
                <a:gd name="connsiteY629" fmla="*/ 552482 h 1151883"/>
                <a:gd name="connsiteX630" fmla="*/ 901947 w 922759"/>
                <a:gd name="connsiteY630" fmla="*/ 552482 h 1151883"/>
                <a:gd name="connsiteX631" fmla="*/ 899829 w 922759"/>
                <a:gd name="connsiteY631" fmla="*/ 551060 h 1151883"/>
                <a:gd name="connsiteX632" fmla="*/ 893234 w 922759"/>
                <a:gd name="connsiteY632" fmla="*/ 549034 h 1151883"/>
                <a:gd name="connsiteX633" fmla="*/ 891025 w 922759"/>
                <a:gd name="connsiteY633" fmla="*/ 546886 h 1151883"/>
                <a:gd name="connsiteX634" fmla="*/ 890693 w 922759"/>
                <a:gd name="connsiteY634" fmla="*/ 545312 h 1151883"/>
                <a:gd name="connsiteX635" fmla="*/ 890451 w 922759"/>
                <a:gd name="connsiteY635" fmla="*/ 544254 h 1151883"/>
                <a:gd name="connsiteX636" fmla="*/ 891268 w 922759"/>
                <a:gd name="connsiteY636" fmla="*/ 541380 h 1151883"/>
                <a:gd name="connsiteX637" fmla="*/ 893234 w 922759"/>
                <a:gd name="connsiteY637" fmla="*/ 538506 h 1151883"/>
                <a:gd name="connsiteX638" fmla="*/ 894444 w 922759"/>
                <a:gd name="connsiteY638" fmla="*/ 535541 h 1151883"/>
                <a:gd name="connsiteX639" fmla="*/ 894263 w 922759"/>
                <a:gd name="connsiteY639" fmla="*/ 531639 h 1151883"/>
                <a:gd name="connsiteX640" fmla="*/ 893264 w 922759"/>
                <a:gd name="connsiteY640" fmla="*/ 527858 h 1151883"/>
                <a:gd name="connsiteX641" fmla="*/ 891963 w 922759"/>
                <a:gd name="connsiteY641" fmla="*/ 525286 h 1151883"/>
                <a:gd name="connsiteX642" fmla="*/ 887063 w 922759"/>
                <a:gd name="connsiteY642" fmla="*/ 521535 h 1151883"/>
                <a:gd name="connsiteX643" fmla="*/ 884794 w 922759"/>
                <a:gd name="connsiteY643" fmla="*/ 519085 h 1151883"/>
                <a:gd name="connsiteX644" fmla="*/ 883765 w 922759"/>
                <a:gd name="connsiteY644" fmla="*/ 515303 h 1151883"/>
                <a:gd name="connsiteX645" fmla="*/ 883372 w 922759"/>
                <a:gd name="connsiteY645" fmla="*/ 511370 h 1151883"/>
                <a:gd name="connsiteX646" fmla="*/ 881980 w 922759"/>
                <a:gd name="connsiteY646" fmla="*/ 509646 h 1151883"/>
                <a:gd name="connsiteX647" fmla="*/ 880165 w 922759"/>
                <a:gd name="connsiteY647" fmla="*/ 508497 h 1151883"/>
                <a:gd name="connsiteX648" fmla="*/ 878532 w 922759"/>
                <a:gd name="connsiteY648" fmla="*/ 506167 h 1151883"/>
                <a:gd name="connsiteX649" fmla="*/ 878229 w 922759"/>
                <a:gd name="connsiteY649" fmla="*/ 502991 h 1151883"/>
                <a:gd name="connsiteX650" fmla="*/ 879560 w 922759"/>
                <a:gd name="connsiteY650" fmla="*/ 500419 h 1151883"/>
                <a:gd name="connsiteX651" fmla="*/ 885338 w 922759"/>
                <a:gd name="connsiteY651" fmla="*/ 495004 h 1151883"/>
                <a:gd name="connsiteX652" fmla="*/ 887184 w 922759"/>
                <a:gd name="connsiteY652" fmla="*/ 492705 h 1151883"/>
                <a:gd name="connsiteX653" fmla="*/ 888727 w 922759"/>
                <a:gd name="connsiteY653" fmla="*/ 490013 h 1151883"/>
                <a:gd name="connsiteX654" fmla="*/ 889604 w 922759"/>
                <a:gd name="connsiteY654" fmla="*/ 487078 h 1151883"/>
                <a:gd name="connsiteX655" fmla="*/ 889936 w 922759"/>
                <a:gd name="connsiteY655" fmla="*/ 477943 h 1151883"/>
                <a:gd name="connsiteX656" fmla="*/ 890481 w 922759"/>
                <a:gd name="connsiteY656" fmla="*/ 476490 h 1151883"/>
                <a:gd name="connsiteX657" fmla="*/ 892659 w 922759"/>
                <a:gd name="connsiteY657" fmla="*/ 472860 h 1151883"/>
                <a:gd name="connsiteX658" fmla="*/ 893083 w 922759"/>
                <a:gd name="connsiteY658" fmla="*/ 471439 h 1151883"/>
                <a:gd name="connsiteX659" fmla="*/ 893264 w 922759"/>
                <a:gd name="connsiteY659" fmla="*/ 470047 h 1151883"/>
                <a:gd name="connsiteX660" fmla="*/ 893597 w 922759"/>
                <a:gd name="connsiteY660" fmla="*/ 468716 h 1151883"/>
                <a:gd name="connsiteX661" fmla="*/ 894353 w 922759"/>
                <a:gd name="connsiteY661" fmla="*/ 467445 h 1151883"/>
                <a:gd name="connsiteX662" fmla="*/ 896229 w 922759"/>
                <a:gd name="connsiteY662" fmla="*/ 465328 h 1151883"/>
                <a:gd name="connsiteX663" fmla="*/ 889664 w 922759"/>
                <a:gd name="connsiteY663" fmla="*/ 460820 h 1151883"/>
                <a:gd name="connsiteX664" fmla="*/ 888666 w 922759"/>
                <a:gd name="connsiteY664" fmla="*/ 458672 h 1151883"/>
                <a:gd name="connsiteX665" fmla="*/ 889301 w 922759"/>
                <a:gd name="connsiteY665" fmla="*/ 454770 h 1151883"/>
                <a:gd name="connsiteX666" fmla="*/ 890390 w 922759"/>
                <a:gd name="connsiteY666" fmla="*/ 452017 h 1151883"/>
                <a:gd name="connsiteX667" fmla="*/ 890784 w 922759"/>
                <a:gd name="connsiteY667" fmla="*/ 449869 h 1151883"/>
                <a:gd name="connsiteX668" fmla="*/ 889332 w 922759"/>
                <a:gd name="connsiteY668" fmla="*/ 447752 h 1151883"/>
                <a:gd name="connsiteX669" fmla="*/ 889332 w 922759"/>
                <a:gd name="connsiteY669" fmla="*/ 446814 h 1151883"/>
                <a:gd name="connsiteX670" fmla="*/ 891298 w 922759"/>
                <a:gd name="connsiteY670" fmla="*/ 444424 h 1151883"/>
                <a:gd name="connsiteX671" fmla="*/ 891298 w 922759"/>
                <a:gd name="connsiteY671" fmla="*/ 441338 h 1151883"/>
                <a:gd name="connsiteX672" fmla="*/ 889755 w 922759"/>
                <a:gd name="connsiteY672" fmla="*/ 438676 h 1151883"/>
                <a:gd name="connsiteX673" fmla="*/ 886942 w 922759"/>
                <a:gd name="connsiteY673" fmla="*/ 437527 h 1151883"/>
                <a:gd name="connsiteX674" fmla="*/ 884098 w 922759"/>
                <a:gd name="connsiteY674" fmla="*/ 436922 h 1151883"/>
                <a:gd name="connsiteX675" fmla="*/ 880680 w 922759"/>
                <a:gd name="connsiteY675" fmla="*/ 435288 h 1151883"/>
                <a:gd name="connsiteX676" fmla="*/ 878411 w 922759"/>
                <a:gd name="connsiteY676" fmla="*/ 432959 h 1151883"/>
                <a:gd name="connsiteX677" fmla="*/ 879016 w 922759"/>
                <a:gd name="connsiteY677" fmla="*/ 430206 h 1151883"/>
                <a:gd name="connsiteX678" fmla="*/ 876898 w 922759"/>
                <a:gd name="connsiteY678" fmla="*/ 425819 h 1151883"/>
                <a:gd name="connsiteX679" fmla="*/ 874508 w 922759"/>
                <a:gd name="connsiteY679" fmla="*/ 419225 h 1151883"/>
                <a:gd name="connsiteX680" fmla="*/ 873934 w 922759"/>
                <a:gd name="connsiteY680" fmla="*/ 413205 h 1151883"/>
                <a:gd name="connsiteX681" fmla="*/ 879137 w 922759"/>
                <a:gd name="connsiteY681" fmla="*/ 408969 h 1151883"/>
                <a:gd name="connsiteX682" fmla="*/ 881557 w 922759"/>
                <a:gd name="connsiteY682" fmla="*/ 405400 h 1151883"/>
                <a:gd name="connsiteX683" fmla="*/ 883221 w 922759"/>
                <a:gd name="connsiteY683" fmla="*/ 401860 h 1151883"/>
                <a:gd name="connsiteX684" fmla="*/ 882767 w 922759"/>
                <a:gd name="connsiteY684" fmla="*/ 400227 h 1151883"/>
                <a:gd name="connsiteX685" fmla="*/ 880891 w 922759"/>
                <a:gd name="connsiteY685" fmla="*/ 398653 h 1151883"/>
                <a:gd name="connsiteX686" fmla="*/ 881678 w 922759"/>
                <a:gd name="connsiteY686" fmla="*/ 395114 h 1151883"/>
                <a:gd name="connsiteX687" fmla="*/ 884491 w 922759"/>
                <a:gd name="connsiteY687" fmla="*/ 389669 h 1151883"/>
                <a:gd name="connsiteX688" fmla="*/ 881345 w 922759"/>
                <a:gd name="connsiteY688" fmla="*/ 387309 h 1151883"/>
                <a:gd name="connsiteX689" fmla="*/ 880771 w 922759"/>
                <a:gd name="connsiteY689" fmla="*/ 386704 h 1151883"/>
                <a:gd name="connsiteX690" fmla="*/ 874932 w 922759"/>
                <a:gd name="connsiteY690" fmla="*/ 380654 h 1151883"/>
                <a:gd name="connsiteX691" fmla="*/ 868912 w 922759"/>
                <a:gd name="connsiteY691" fmla="*/ 378446 h 1151883"/>
                <a:gd name="connsiteX692" fmla="*/ 866008 w 922759"/>
                <a:gd name="connsiteY692" fmla="*/ 374815 h 1151883"/>
                <a:gd name="connsiteX693" fmla="*/ 864102 w 922759"/>
                <a:gd name="connsiteY693" fmla="*/ 373999 h 1151883"/>
                <a:gd name="connsiteX694" fmla="*/ 863043 w 922759"/>
                <a:gd name="connsiteY694" fmla="*/ 373061 h 1151883"/>
                <a:gd name="connsiteX695" fmla="*/ 859595 w 922759"/>
                <a:gd name="connsiteY695" fmla="*/ 366799 h 1151883"/>
                <a:gd name="connsiteX696" fmla="*/ 858021 w 922759"/>
                <a:gd name="connsiteY696" fmla="*/ 365105 h 1151883"/>
                <a:gd name="connsiteX697" fmla="*/ 847343 w 922759"/>
                <a:gd name="connsiteY697" fmla="*/ 357844 h 1151883"/>
                <a:gd name="connsiteX698" fmla="*/ 844590 w 922759"/>
                <a:gd name="connsiteY698" fmla="*/ 356483 h 1151883"/>
                <a:gd name="connsiteX699" fmla="*/ 841323 w 922759"/>
                <a:gd name="connsiteY699" fmla="*/ 352913 h 1151883"/>
                <a:gd name="connsiteX700" fmla="*/ 839296 w 922759"/>
                <a:gd name="connsiteY700" fmla="*/ 352096 h 1151883"/>
                <a:gd name="connsiteX701" fmla="*/ 837057 w 922759"/>
                <a:gd name="connsiteY701" fmla="*/ 351945 h 1151883"/>
                <a:gd name="connsiteX702" fmla="*/ 834940 w 922759"/>
                <a:gd name="connsiteY702" fmla="*/ 351340 h 1151883"/>
                <a:gd name="connsiteX703" fmla="*/ 833185 w 922759"/>
                <a:gd name="connsiteY703" fmla="*/ 350070 h 1151883"/>
                <a:gd name="connsiteX704" fmla="*/ 832005 w 922759"/>
                <a:gd name="connsiteY704" fmla="*/ 347922 h 1151883"/>
                <a:gd name="connsiteX705" fmla="*/ 834697 w 922759"/>
                <a:gd name="connsiteY705" fmla="*/ 345774 h 1151883"/>
                <a:gd name="connsiteX706" fmla="*/ 835726 w 922759"/>
                <a:gd name="connsiteY706" fmla="*/ 343929 h 1151883"/>
                <a:gd name="connsiteX707" fmla="*/ 836119 w 922759"/>
                <a:gd name="connsiteY707" fmla="*/ 341025 h 1151883"/>
                <a:gd name="connsiteX708" fmla="*/ 835907 w 922759"/>
                <a:gd name="connsiteY708" fmla="*/ 339089 h 1151883"/>
                <a:gd name="connsiteX709" fmla="*/ 834697 w 922759"/>
                <a:gd name="connsiteY709" fmla="*/ 333673 h 1151883"/>
                <a:gd name="connsiteX710" fmla="*/ 834092 w 922759"/>
                <a:gd name="connsiteY710" fmla="*/ 332131 h 1151883"/>
                <a:gd name="connsiteX711" fmla="*/ 834092 w 922759"/>
                <a:gd name="connsiteY711" fmla="*/ 331163 h 1151883"/>
                <a:gd name="connsiteX712" fmla="*/ 838963 w 922759"/>
                <a:gd name="connsiteY712" fmla="*/ 327805 h 1151883"/>
                <a:gd name="connsiteX713" fmla="*/ 845074 w 922759"/>
                <a:gd name="connsiteY713" fmla="*/ 324870 h 1151883"/>
                <a:gd name="connsiteX714" fmla="*/ 851003 w 922759"/>
                <a:gd name="connsiteY714" fmla="*/ 320514 h 1151883"/>
                <a:gd name="connsiteX715" fmla="*/ 854089 w 922759"/>
                <a:gd name="connsiteY715" fmla="*/ 317519 h 1151883"/>
                <a:gd name="connsiteX716" fmla="*/ 855450 w 922759"/>
                <a:gd name="connsiteY716" fmla="*/ 314736 h 1151883"/>
                <a:gd name="connsiteX717" fmla="*/ 855722 w 922759"/>
                <a:gd name="connsiteY717" fmla="*/ 313465 h 1151883"/>
                <a:gd name="connsiteX718" fmla="*/ 858747 w 922759"/>
                <a:gd name="connsiteY718" fmla="*/ 304753 h 1151883"/>
                <a:gd name="connsiteX719" fmla="*/ 858535 w 922759"/>
                <a:gd name="connsiteY719" fmla="*/ 302545 h 1151883"/>
                <a:gd name="connsiteX720" fmla="*/ 857931 w 922759"/>
                <a:gd name="connsiteY720" fmla="*/ 300367 h 1151883"/>
                <a:gd name="connsiteX721" fmla="*/ 857568 w 922759"/>
                <a:gd name="connsiteY721" fmla="*/ 297856 h 1151883"/>
                <a:gd name="connsiteX722" fmla="*/ 857840 w 922759"/>
                <a:gd name="connsiteY722" fmla="*/ 295799 h 1151883"/>
                <a:gd name="connsiteX723" fmla="*/ 858566 w 922759"/>
                <a:gd name="connsiteY723" fmla="*/ 293923 h 1151883"/>
                <a:gd name="connsiteX724" fmla="*/ 859564 w 922759"/>
                <a:gd name="connsiteY724" fmla="*/ 292562 h 1151883"/>
                <a:gd name="connsiteX725" fmla="*/ 860623 w 922759"/>
                <a:gd name="connsiteY725" fmla="*/ 292017 h 1151883"/>
                <a:gd name="connsiteX726" fmla="*/ 861349 w 922759"/>
                <a:gd name="connsiteY726" fmla="*/ 290989 h 1151883"/>
                <a:gd name="connsiteX727" fmla="*/ 863981 w 922759"/>
                <a:gd name="connsiteY727" fmla="*/ 286239 h 1151883"/>
                <a:gd name="connsiteX728" fmla="*/ 862650 w 922759"/>
                <a:gd name="connsiteY728" fmla="*/ 285120 h 1151883"/>
                <a:gd name="connsiteX729" fmla="*/ 862257 w 922759"/>
                <a:gd name="connsiteY729" fmla="*/ 284273 h 1151883"/>
                <a:gd name="connsiteX730" fmla="*/ 860744 w 922759"/>
                <a:gd name="connsiteY730" fmla="*/ 283063 h 1151883"/>
                <a:gd name="connsiteX731" fmla="*/ 860139 w 922759"/>
                <a:gd name="connsiteY731" fmla="*/ 282065 h 1151883"/>
                <a:gd name="connsiteX732" fmla="*/ 859836 w 922759"/>
                <a:gd name="connsiteY732" fmla="*/ 280552 h 1151883"/>
                <a:gd name="connsiteX733" fmla="*/ 859776 w 922759"/>
                <a:gd name="connsiteY733" fmla="*/ 277739 h 1151883"/>
                <a:gd name="connsiteX734" fmla="*/ 859624 w 922759"/>
                <a:gd name="connsiteY734" fmla="*/ 276438 h 1151883"/>
                <a:gd name="connsiteX735" fmla="*/ 858929 w 922759"/>
                <a:gd name="connsiteY735" fmla="*/ 273534 h 1151883"/>
                <a:gd name="connsiteX736" fmla="*/ 856842 w 922759"/>
                <a:gd name="connsiteY736" fmla="*/ 264519 h 1151883"/>
                <a:gd name="connsiteX737" fmla="*/ 855783 w 922759"/>
                <a:gd name="connsiteY737" fmla="*/ 256502 h 1151883"/>
                <a:gd name="connsiteX738" fmla="*/ 853665 w 922759"/>
                <a:gd name="connsiteY738" fmla="*/ 253235 h 1151883"/>
                <a:gd name="connsiteX739" fmla="*/ 852606 w 922759"/>
                <a:gd name="connsiteY739" fmla="*/ 249998 h 1151883"/>
                <a:gd name="connsiteX740" fmla="*/ 850156 w 922759"/>
                <a:gd name="connsiteY740" fmla="*/ 246519 h 1151883"/>
                <a:gd name="connsiteX741" fmla="*/ 849430 w 922759"/>
                <a:gd name="connsiteY741" fmla="*/ 243312 h 1151883"/>
                <a:gd name="connsiteX742" fmla="*/ 849370 w 922759"/>
                <a:gd name="connsiteY742" fmla="*/ 239864 h 1151883"/>
                <a:gd name="connsiteX743" fmla="*/ 849642 w 922759"/>
                <a:gd name="connsiteY743" fmla="*/ 234176 h 1151883"/>
                <a:gd name="connsiteX744" fmla="*/ 849460 w 922759"/>
                <a:gd name="connsiteY744" fmla="*/ 232634 h 1151883"/>
                <a:gd name="connsiteX745" fmla="*/ 847343 w 922759"/>
                <a:gd name="connsiteY745" fmla="*/ 226583 h 1151883"/>
                <a:gd name="connsiteX746" fmla="*/ 845830 w 922759"/>
                <a:gd name="connsiteY746" fmla="*/ 223528 h 1151883"/>
                <a:gd name="connsiteX747" fmla="*/ 846254 w 922759"/>
                <a:gd name="connsiteY747" fmla="*/ 221108 h 1151883"/>
                <a:gd name="connsiteX748" fmla="*/ 846132 w 922759"/>
                <a:gd name="connsiteY748" fmla="*/ 216721 h 1151883"/>
                <a:gd name="connsiteX749" fmla="*/ 846132 w 922759"/>
                <a:gd name="connsiteY749" fmla="*/ 216721 h 1151883"/>
                <a:gd name="connsiteX750" fmla="*/ 845376 w 922759"/>
                <a:gd name="connsiteY750" fmla="*/ 216812 h 1151883"/>
                <a:gd name="connsiteX751" fmla="*/ 843742 w 922759"/>
                <a:gd name="connsiteY751" fmla="*/ 216601 h 1151883"/>
                <a:gd name="connsiteX752" fmla="*/ 842260 w 922759"/>
                <a:gd name="connsiteY752" fmla="*/ 216116 h 1151883"/>
                <a:gd name="connsiteX753" fmla="*/ 840990 w 922759"/>
                <a:gd name="connsiteY753" fmla="*/ 215451 h 1151883"/>
                <a:gd name="connsiteX754" fmla="*/ 845679 w 922759"/>
                <a:gd name="connsiteY754" fmla="*/ 212335 h 1151883"/>
                <a:gd name="connsiteX755" fmla="*/ 846465 w 922759"/>
                <a:gd name="connsiteY755" fmla="*/ 211185 h 1151883"/>
                <a:gd name="connsiteX756" fmla="*/ 846193 w 922759"/>
                <a:gd name="connsiteY756" fmla="*/ 208644 h 1151883"/>
                <a:gd name="connsiteX757" fmla="*/ 844741 w 922759"/>
                <a:gd name="connsiteY757" fmla="*/ 207343 h 1151883"/>
                <a:gd name="connsiteX758" fmla="*/ 843138 w 922759"/>
                <a:gd name="connsiteY758" fmla="*/ 207071 h 1151883"/>
                <a:gd name="connsiteX759" fmla="*/ 842381 w 922759"/>
                <a:gd name="connsiteY759" fmla="*/ 207525 h 1151883"/>
                <a:gd name="connsiteX760" fmla="*/ 841171 w 922759"/>
                <a:gd name="connsiteY760" fmla="*/ 209703 h 1151883"/>
                <a:gd name="connsiteX761" fmla="*/ 838328 w 922759"/>
                <a:gd name="connsiteY761" fmla="*/ 210490 h 1151883"/>
                <a:gd name="connsiteX762" fmla="*/ 830250 w 922759"/>
                <a:gd name="connsiteY762" fmla="*/ 209945 h 1151883"/>
                <a:gd name="connsiteX763" fmla="*/ 829040 w 922759"/>
                <a:gd name="connsiteY763" fmla="*/ 209491 h 1151883"/>
                <a:gd name="connsiteX764" fmla="*/ 826499 w 922759"/>
                <a:gd name="connsiteY764" fmla="*/ 208069 h 1151883"/>
                <a:gd name="connsiteX765" fmla="*/ 825773 w 922759"/>
                <a:gd name="connsiteY765" fmla="*/ 207918 h 1151883"/>
                <a:gd name="connsiteX766" fmla="*/ 823323 w 922759"/>
                <a:gd name="connsiteY766" fmla="*/ 208069 h 1151883"/>
                <a:gd name="connsiteX767" fmla="*/ 822930 w 922759"/>
                <a:gd name="connsiteY767" fmla="*/ 207737 h 1151883"/>
                <a:gd name="connsiteX768" fmla="*/ 821296 w 922759"/>
                <a:gd name="connsiteY768" fmla="*/ 205861 h 1151883"/>
                <a:gd name="connsiteX769" fmla="*/ 817969 w 922759"/>
                <a:gd name="connsiteY769" fmla="*/ 205165 h 1151883"/>
                <a:gd name="connsiteX770" fmla="*/ 810557 w 922759"/>
                <a:gd name="connsiteY770" fmla="*/ 199448 h 1151883"/>
                <a:gd name="connsiteX771" fmla="*/ 809468 w 922759"/>
                <a:gd name="connsiteY771" fmla="*/ 199659 h 1151883"/>
                <a:gd name="connsiteX772" fmla="*/ 807834 w 922759"/>
                <a:gd name="connsiteY772" fmla="*/ 198329 h 1151883"/>
                <a:gd name="connsiteX773" fmla="*/ 806352 w 922759"/>
                <a:gd name="connsiteY773" fmla="*/ 196332 h 1151883"/>
                <a:gd name="connsiteX774" fmla="*/ 805717 w 922759"/>
                <a:gd name="connsiteY774" fmla="*/ 194608 h 1151883"/>
                <a:gd name="connsiteX775" fmla="*/ 804869 w 922759"/>
                <a:gd name="connsiteY775" fmla="*/ 194033 h 1151883"/>
                <a:gd name="connsiteX776" fmla="*/ 802994 w 922759"/>
                <a:gd name="connsiteY776" fmla="*/ 193639 h 1151883"/>
                <a:gd name="connsiteX777" fmla="*/ 801118 w 922759"/>
                <a:gd name="connsiteY777" fmla="*/ 192793 h 1151883"/>
                <a:gd name="connsiteX778" fmla="*/ 800211 w 922759"/>
                <a:gd name="connsiteY778" fmla="*/ 190887 h 1151883"/>
                <a:gd name="connsiteX779" fmla="*/ 801239 w 922759"/>
                <a:gd name="connsiteY779" fmla="*/ 188860 h 1151883"/>
                <a:gd name="connsiteX780" fmla="*/ 808439 w 922759"/>
                <a:gd name="connsiteY780" fmla="*/ 183384 h 1151883"/>
                <a:gd name="connsiteX781" fmla="*/ 809589 w 922759"/>
                <a:gd name="connsiteY781" fmla="*/ 181902 h 1151883"/>
                <a:gd name="connsiteX782" fmla="*/ 810224 w 922759"/>
                <a:gd name="connsiteY782" fmla="*/ 180147 h 1151883"/>
                <a:gd name="connsiteX783" fmla="*/ 810073 w 922759"/>
                <a:gd name="connsiteY783" fmla="*/ 178665 h 1151883"/>
                <a:gd name="connsiteX784" fmla="*/ 808833 w 922759"/>
                <a:gd name="connsiteY784" fmla="*/ 178030 h 1151883"/>
                <a:gd name="connsiteX785" fmla="*/ 808258 w 922759"/>
                <a:gd name="connsiteY785" fmla="*/ 177969 h 1151883"/>
                <a:gd name="connsiteX786" fmla="*/ 807622 w 922759"/>
                <a:gd name="connsiteY786" fmla="*/ 177727 h 1151883"/>
                <a:gd name="connsiteX787" fmla="*/ 806987 w 922759"/>
                <a:gd name="connsiteY787" fmla="*/ 177394 h 1151883"/>
                <a:gd name="connsiteX788" fmla="*/ 806443 w 922759"/>
                <a:gd name="connsiteY788" fmla="*/ 176971 h 1151883"/>
                <a:gd name="connsiteX789" fmla="*/ 806110 w 922759"/>
                <a:gd name="connsiteY789" fmla="*/ 176850 h 1151883"/>
                <a:gd name="connsiteX790" fmla="*/ 804658 w 922759"/>
                <a:gd name="connsiteY790" fmla="*/ 176971 h 1151883"/>
                <a:gd name="connsiteX791" fmla="*/ 804265 w 922759"/>
                <a:gd name="connsiteY791" fmla="*/ 176699 h 1151883"/>
                <a:gd name="connsiteX792" fmla="*/ 804265 w 922759"/>
                <a:gd name="connsiteY792" fmla="*/ 176094 h 1151883"/>
                <a:gd name="connsiteX793" fmla="*/ 804416 w 922759"/>
                <a:gd name="connsiteY793" fmla="*/ 175368 h 1151883"/>
                <a:gd name="connsiteX794" fmla="*/ 804295 w 922759"/>
                <a:gd name="connsiteY794" fmla="*/ 174793 h 1151883"/>
                <a:gd name="connsiteX795" fmla="*/ 804023 w 922759"/>
                <a:gd name="connsiteY795" fmla="*/ 174067 h 1151883"/>
                <a:gd name="connsiteX796" fmla="*/ 803720 w 922759"/>
                <a:gd name="connsiteY796" fmla="*/ 172917 h 1151883"/>
                <a:gd name="connsiteX797" fmla="*/ 803266 w 922759"/>
                <a:gd name="connsiteY797" fmla="*/ 171828 h 1151883"/>
                <a:gd name="connsiteX798" fmla="*/ 802570 w 922759"/>
                <a:gd name="connsiteY798" fmla="*/ 171374 h 1151883"/>
                <a:gd name="connsiteX799" fmla="*/ 799727 w 922759"/>
                <a:gd name="connsiteY799" fmla="*/ 170255 h 1151883"/>
                <a:gd name="connsiteX800" fmla="*/ 799152 w 922759"/>
                <a:gd name="connsiteY800" fmla="*/ 169832 h 1151883"/>
                <a:gd name="connsiteX801" fmla="*/ 798093 w 922759"/>
                <a:gd name="connsiteY801" fmla="*/ 168229 h 1151883"/>
                <a:gd name="connsiteX802" fmla="*/ 795189 w 922759"/>
                <a:gd name="connsiteY802" fmla="*/ 164780 h 1151883"/>
                <a:gd name="connsiteX803" fmla="*/ 793979 w 922759"/>
                <a:gd name="connsiteY803" fmla="*/ 163902 h 1151883"/>
                <a:gd name="connsiteX804" fmla="*/ 796732 w 922759"/>
                <a:gd name="connsiteY804" fmla="*/ 162360 h 1151883"/>
                <a:gd name="connsiteX805" fmla="*/ 797972 w 922759"/>
                <a:gd name="connsiteY805" fmla="*/ 159576 h 1151883"/>
                <a:gd name="connsiteX806" fmla="*/ 798789 w 922759"/>
                <a:gd name="connsiteY806" fmla="*/ 156551 h 1151883"/>
                <a:gd name="connsiteX807" fmla="*/ 800241 w 922759"/>
                <a:gd name="connsiteY807" fmla="*/ 154252 h 1151883"/>
                <a:gd name="connsiteX808" fmla="*/ 800241 w 922759"/>
                <a:gd name="connsiteY808" fmla="*/ 153193 h 1151883"/>
                <a:gd name="connsiteX809" fmla="*/ 792255 w 922759"/>
                <a:gd name="connsiteY809" fmla="*/ 147022 h 1151883"/>
                <a:gd name="connsiteX810" fmla="*/ 789199 w 922759"/>
                <a:gd name="connsiteY810" fmla="*/ 145570 h 1151883"/>
                <a:gd name="connsiteX811" fmla="*/ 789199 w 922759"/>
                <a:gd name="connsiteY811" fmla="*/ 144602 h 1151883"/>
                <a:gd name="connsiteX812" fmla="*/ 790198 w 922759"/>
                <a:gd name="connsiteY812" fmla="*/ 144360 h 1151883"/>
                <a:gd name="connsiteX813" fmla="*/ 790833 w 922759"/>
                <a:gd name="connsiteY813" fmla="*/ 143876 h 1151883"/>
                <a:gd name="connsiteX814" fmla="*/ 791014 w 922759"/>
                <a:gd name="connsiteY814" fmla="*/ 143180 h 1151883"/>
                <a:gd name="connsiteX815" fmla="*/ 790561 w 922759"/>
                <a:gd name="connsiteY815" fmla="*/ 142363 h 1151883"/>
                <a:gd name="connsiteX816" fmla="*/ 787687 w 922759"/>
                <a:gd name="connsiteY816" fmla="*/ 143241 h 1151883"/>
                <a:gd name="connsiteX817" fmla="*/ 782544 w 922759"/>
                <a:gd name="connsiteY817" fmla="*/ 146478 h 1151883"/>
                <a:gd name="connsiteX818" fmla="*/ 779579 w 922759"/>
                <a:gd name="connsiteY818" fmla="*/ 147748 h 1151883"/>
                <a:gd name="connsiteX819" fmla="*/ 767146 w 922759"/>
                <a:gd name="connsiteY819" fmla="*/ 149987 h 1151883"/>
                <a:gd name="connsiteX820" fmla="*/ 767146 w 922759"/>
                <a:gd name="connsiteY820" fmla="*/ 151076 h 1151883"/>
                <a:gd name="connsiteX821" fmla="*/ 767963 w 922759"/>
                <a:gd name="connsiteY821" fmla="*/ 151772 h 1151883"/>
                <a:gd name="connsiteX822" fmla="*/ 769112 w 922759"/>
                <a:gd name="connsiteY822" fmla="*/ 153587 h 1151883"/>
                <a:gd name="connsiteX823" fmla="*/ 769929 w 922759"/>
                <a:gd name="connsiteY823" fmla="*/ 154313 h 1151883"/>
                <a:gd name="connsiteX824" fmla="*/ 769929 w 922759"/>
                <a:gd name="connsiteY824" fmla="*/ 155402 h 1151883"/>
                <a:gd name="connsiteX825" fmla="*/ 767570 w 922759"/>
                <a:gd name="connsiteY825" fmla="*/ 155402 h 1151883"/>
                <a:gd name="connsiteX826" fmla="*/ 765724 w 922759"/>
                <a:gd name="connsiteY826" fmla="*/ 154222 h 1151883"/>
                <a:gd name="connsiteX827" fmla="*/ 764242 w 922759"/>
                <a:gd name="connsiteY827" fmla="*/ 152347 h 1151883"/>
                <a:gd name="connsiteX828" fmla="*/ 762971 w 922759"/>
                <a:gd name="connsiteY828" fmla="*/ 150017 h 1151883"/>
                <a:gd name="connsiteX829" fmla="*/ 761519 w 922759"/>
                <a:gd name="connsiteY829" fmla="*/ 146417 h 1151883"/>
                <a:gd name="connsiteX830" fmla="*/ 760975 w 922759"/>
                <a:gd name="connsiteY830" fmla="*/ 145630 h 1151883"/>
                <a:gd name="connsiteX831" fmla="*/ 760067 w 922759"/>
                <a:gd name="connsiteY831" fmla="*/ 145389 h 1151883"/>
                <a:gd name="connsiteX832" fmla="*/ 759402 w 922759"/>
                <a:gd name="connsiteY832" fmla="*/ 145903 h 1151883"/>
                <a:gd name="connsiteX833" fmla="*/ 758675 w 922759"/>
                <a:gd name="connsiteY833" fmla="*/ 146296 h 1151883"/>
                <a:gd name="connsiteX834" fmla="*/ 757496 w 922759"/>
                <a:gd name="connsiteY834" fmla="*/ 145630 h 1151883"/>
                <a:gd name="connsiteX835" fmla="*/ 758282 w 922759"/>
                <a:gd name="connsiteY835" fmla="*/ 144965 h 1151883"/>
                <a:gd name="connsiteX836" fmla="*/ 758766 w 922759"/>
                <a:gd name="connsiteY836" fmla="*/ 144239 h 1151883"/>
                <a:gd name="connsiteX837" fmla="*/ 759553 w 922759"/>
                <a:gd name="connsiteY837" fmla="*/ 142394 h 1151883"/>
                <a:gd name="connsiteX838" fmla="*/ 757556 w 922759"/>
                <a:gd name="connsiteY838" fmla="*/ 141668 h 1151883"/>
                <a:gd name="connsiteX839" fmla="*/ 753805 w 922759"/>
                <a:gd name="connsiteY839" fmla="*/ 143452 h 1151883"/>
                <a:gd name="connsiteX840" fmla="*/ 751294 w 922759"/>
                <a:gd name="connsiteY840" fmla="*/ 143452 h 1151883"/>
                <a:gd name="connsiteX841" fmla="*/ 752474 w 922759"/>
                <a:gd name="connsiteY841" fmla="*/ 142333 h 1151883"/>
                <a:gd name="connsiteX842" fmla="*/ 754047 w 922759"/>
                <a:gd name="connsiteY842" fmla="*/ 141305 h 1151883"/>
                <a:gd name="connsiteX843" fmla="*/ 751325 w 922759"/>
                <a:gd name="connsiteY843" fmla="*/ 139096 h 1151883"/>
                <a:gd name="connsiteX844" fmla="*/ 747997 w 922759"/>
                <a:gd name="connsiteY844" fmla="*/ 132804 h 1151883"/>
                <a:gd name="connsiteX845" fmla="*/ 745425 w 922759"/>
                <a:gd name="connsiteY845" fmla="*/ 131503 h 1151883"/>
                <a:gd name="connsiteX846" fmla="*/ 741916 w 922759"/>
                <a:gd name="connsiteY846" fmla="*/ 130747 h 1151883"/>
                <a:gd name="connsiteX847" fmla="*/ 736653 w 922759"/>
                <a:gd name="connsiteY847" fmla="*/ 127994 h 1151883"/>
                <a:gd name="connsiteX848" fmla="*/ 733355 w 922759"/>
                <a:gd name="connsiteY848" fmla="*/ 128266 h 1151883"/>
                <a:gd name="connsiteX849" fmla="*/ 734474 w 922759"/>
                <a:gd name="connsiteY849" fmla="*/ 127570 h 1151883"/>
                <a:gd name="connsiteX850" fmla="*/ 735170 w 922759"/>
                <a:gd name="connsiteY850" fmla="*/ 127298 h 1151883"/>
                <a:gd name="connsiteX851" fmla="*/ 736108 w 922759"/>
                <a:gd name="connsiteY851" fmla="*/ 127298 h 1151883"/>
                <a:gd name="connsiteX852" fmla="*/ 736108 w 922759"/>
                <a:gd name="connsiteY852" fmla="*/ 126088 h 1151883"/>
                <a:gd name="connsiteX853" fmla="*/ 731631 w 922759"/>
                <a:gd name="connsiteY853" fmla="*/ 126088 h 1151883"/>
                <a:gd name="connsiteX854" fmla="*/ 730512 w 922759"/>
                <a:gd name="connsiteY854" fmla="*/ 125543 h 1151883"/>
                <a:gd name="connsiteX855" fmla="*/ 730239 w 922759"/>
                <a:gd name="connsiteY855" fmla="*/ 124213 h 1151883"/>
                <a:gd name="connsiteX856" fmla="*/ 730239 w 922759"/>
                <a:gd name="connsiteY856" fmla="*/ 122488 h 1151883"/>
                <a:gd name="connsiteX857" fmla="*/ 729937 w 922759"/>
                <a:gd name="connsiteY857" fmla="*/ 120764 h 1151883"/>
                <a:gd name="connsiteX858" fmla="*/ 727093 w 922759"/>
                <a:gd name="connsiteY858" fmla="*/ 116498 h 1151883"/>
                <a:gd name="connsiteX859" fmla="*/ 726670 w 922759"/>
                <a:gd name="connsiteY859" fmla="*/ 114048 h 1151883"/>
                <a:gd name="connsiteX860" fmla="*/ 728575 w 922759"/>
                <a:gd name="connsiteY860" fmla="*/ 110932 h 1151883"/>
                <a:gd name="connsiteX861" fmla="*/ 727396 w 922759"/>
                <a:gd name="connsiteY861" fmla="*/ 109843 h 1151883"/>
                <a:gd name="connsiteX862" fmla="*/ 723040 w 922759"/>
                <a:gd name="connsiteY862" fmla="*/ 107756 h 1151883"/>
                <a:gd name="connsiteX863" fmla="*/ 721860 w 922759"/>
                <a:gd name="connsiteY863" fmla="*/ 106213 h 1151883"/>
                <a:gd name="connsiteX864" fmla="*/ 721103 w 922759"/>
                <a:gd name="connsiteY864" fmla="*/ 104216 h 1151883"/>
                <a:gd name="connsiteX865" fmla="*/ 721103 w 922759"/>
                <a:gd name="connsiteY865" fmla="*/ 102311 h 1151883"/>
                <a:gd name="connsiteX866" fmla="*/ 722434 w 922759"/>
                <a:gd name="connsiteY866" fmla="*/ 101161 h 1151883"/>
                <a:gd name="connsiteX867" fmla="*/ 719863 w 922759"/>
                <a:gd name="connsiteY867" fmla="*/ 100465 h 1151883"/>
                <a:gd name="connsiteX868" fmla="*/ 715870 w 922759"/>
                <a:gd name="connsiteY868" fmla="*/ 101857 h 1151883"/>
                <a:gd name="connsiteX869" fmla="*/ 711877 w 922759"/>
                <a:gd name="connsiteY869" fmla="*/ 104247 h 1151883"/>
                <a:gd name="connsiteX870" fmla="*/ 709305 w 922759"/>
                <a:gd name="connsiteY870" fmla="*/ 106606 h 1151883"/>
                <a:gd name="connsiteX871" fmla="*/ 708398 w 922759"/>
                <a:gd name="connsiteY871" fmla="*/ 108179 h 1151883"/>
                <a:gd name="connsiteX872" fmla="*/ 707339 w 922759"/>
                <a:gd name="connsiteY872" fmla="*/ 110751 h 1151883"/>
                <a:gd name="connsiteX873" fmla="*/ 706492 w 922759"/>
                <a:gd name="connsiteY873" fmla="*/ 112021 h 1151883"/>
                <a:gd name="connsiteX874" fmla="*/ 705342 w 922759"/>
                <a:gd name="connsiteY874" fmla="*/ 112959 h 1151883"/>
                <a:gd name="connsiteX875" fmla="*/ 704344 w 922759"/>
                <a:gd name="connsiteY875" fmla="*/ 113231 h 1151883"/>
                <a:gd name="connsiteX876" fmla="*/ 702408 w 922759"/>
                <a:gd name="connsiteY876" fmla="*/ 113110 h 1151883"/>
                <a:gd name="connsiteX877" fmla="*/ 701410 w 922759"/>
                <a:gd name="connsiteY877" fmla="*/ 113322 h 1151883"/>
                <a:gd name="connsiteX878" fmla="*/ 701047 w 922759"/>
                <a:gd name="connsiteY878" fmla="*/ 113473 h 1151883"/>
                <a:gd name="connsiteX879" fmla="*/ 700684 w 922759"/>
                <a:gd name="connsiteY879" fmla="*/ 113201 h 1151883"/>
                <a:gd name="connsiteX880" fmla="*/ 698959 w 922759"/>
                <a:gd name="connsiteY880" fmla="*/ 111174 h 1151883"/>
                <a:gd name="connsiteX881" fmla="*/ 698324 w 922759"/>
                <a:gd name="connsiteY881" fmla="*/ 110146 h 1151883"/>
                <a:gd name="connsiteX882" fmla="*/ 697840 w 922759"/>
                <a:gd name="connsiteY882" fmla="*/ 108996 h 1151883"/>
                <a:gd name="connsiteX883" fmla="*/ 697568 w 922759"/>
                <a:gd name="connsiteY883" fmla="*/ 107756 h 1151883"/>
                <a:gd name="connsiteX884" fmla="*/ 696690 w 922759"/>
                <a:gd name="connsiteY884" fmla="*/ 108935 h 1151883"/>
                <a:gd name="connsiteX885" fmla="*/ 695722 w 922759"/>
                <a:gd name="connsiteY885" fmla="*/ 109692 h 1151883"/>
                <a:gd name="connsiteX886" fmla="*/ 694633 w 922759"/>
                <a:gd name="connsiteY886" fmla="*/ 109692 h 1151883"/>
                <a:gd name="connsiteX887" fmla="*/ 693454 w 922759"/>
                <a:gd name="connsiteY887" fmla="*/ 108754 h 1151883"/>
                <a:gd name="connsiteX888" fmla="*/ 692334 w 922759"/>
                <a:gd name="connsiteY888" fmla="*/ 109964 h 1151883"/>
                <a:gd name="connsiteX889" fmla="*/ 691185 w 922759"/>
                <a:gd name="connsiteY889" fmla="*/ 109480 h 1151883"/>
                <a:gd name="connsiteX890" fmla="*/ 690156 w 922759"/>
                <a:gd name="connsiteY890" fmla="*/ 108089 h 1151883"/>
                <a:gd name="connsiteX891" fmla="*/ 689249 w 922759"/>
                <a:gd name="connsiteY891" fmla="*/ 106576 h 1151883"/>
                <a:gd name="connsiteX892" fmla="*/ 688886 w 922759"/>
                <a:gd name="connsiteY892" fmla="*/ 107846 h 1151883"/>
                <a:gd name="connsiteX893" fmla="*/ 688432 w 922759"/>
                <a:gd name="connsiteY893" fmla="*/ 108905 h 1151883"/>
                <a:gd name="connsiteX894" fmla="*/ 687161 w 922759"/>
                <a:gd name="connsiteY894" fmla="*/ 110932 h 1151883"/>
                <a:gd name="connsiteX895" fmla="*/ 687403 w 922759"/>
                <a:gd name="connsiteY895" fmla="*/ 108935 h 1151883"/>
                <a:gd name="connsiteX896" fmla="*/ 687978 w 922759"/>
                <a:gd name="connsiteY896" fmla="*/ 107120 h 1151883"/>
                <a:gd name="connsiteX897" fmla="*/ 689007 w 922759"/>
                <a:gd name="connsiteY897" fmla="*/ 105850 h 1151883"/>
                <a:gd name="connsiteX898" fmla="*/ 690519 w 922759"/>
                <a:gd name="connsiteY898" fmla="*/ 105487 h 1151883"/>
                <a:gd name="connsiteX899" fmla="*/ 690519 w 922759"/>
                <a:gd name="connsiteY899" fmla="*/ 104307 h 1151883"/>
                <a:gd name="connsiteX900" fmla="*/ 689218 w 922759"/>
                <a:gd name="connsiteY900" fmla="*/ 104186 h 1151883"/>
                <a:gd name="connsiteX901" fmla="*/ 687978 w 922759"/>
                <a:gd name="connsiteY901" fmla="*/ 104338 h 1151883"/>
                <a:gd name="connsiteX902" fmla="*/ 686798 w 922759"/>
                <a:gd name="connsiteY902" fmla="*/ 104791 h 1151883"/>
                <a:gd name="connsiteX903" fmla="*/ 685739 w 922759"/>
                <a:gd name="connsiteY903" fmla="*/ 105487 h 1151883"/>
                <a:gd name="connsiteX904" fmla="*/ 685951 w 922759"/>
                <a:gd name="connsiteY904" fmla="*/ 106031 h 1151883"/>
                <a:gd name="connsiteX905" fmla="*/ 686223 w 922759"/>
                <a:gd name="connsiteY905" fmla="*/ 107242 h 1151883"/>
                <a:gd name="connsiteX906" fmla="*/ 686465 w 922759"/>
                <a:gd name="connsiteY906" fmla="*/ 107786 h 1151883"/>
                <a:gd name="connsiteX907" fmla="*/ 680990 w 922759"/>
                <a:gd name="connsiteY907" fmla="*/ 110660 h 1151883"/>
                <a:gd name="connsiteX908" fmla="*/ 677995 w 922759"/>
                <a:gd name="connsiteY908" fmla="*/ 111386 h 1151883"/>
                <a:gd name="connsiteX909" fmla="*/ 676120 w 922759"/>
                <a:gd name="connsiteY909" fmla="*/ 109843 h 1151883"/>
                <a:gd name="connsiteX910" fmla="*/ 676120 w 922759"/>
                <a:gd name="connsiteY910" fmla="*/ 110932 h 1151883"/>
                <a:gd name="connsiteX911" fmla="*/ 675303 w 922759"/>
                <a:gd name="connsiteY911" fmla="*/ 110358 h 1151883"/>
                <a:gd name="connsiteX912" fmla="*/ 674637 w 922759"/>
                <a:gd name="connsiteY912" fmla="*/ 110297 h 1151883"/>
                <a:gd name="connsiteX913" fmla="*/ 672762 w 922759"/>
                <a:gd name="connsiteY913" fmla="*/ 110932 h 1151883"/>
                <a:gd name="connsiteX914" fmla="*/ 672762 w 922759"/>
                <a:gd name="connsiteY914" fmla="*/ 112021 h 1151883"/>
                <a:gd name="connsiteX915" fmla="*/ 673397 w 922759"/>
                <a:gd name="connsiteY915" fmla="*/ 112173 h 1151883"/>
                <a:gd name="connsiteX916" fmla="*/ 674758 w 922759"/>
                <a:gd name="connsiteY916" fmla="*/ 113110 h 1151883"/>
                <a:gd name="connsiteX917" fmla="*/ 668224 w 922759"/>
                <a:gd name="connsiteY917" fmla="*/ 116015 h 1151883"/>
                <a:gd name="connsiteX918" fmla="*/ 666530 w 922759"/>
                <a:gd name="connsiteY918" fmla="*/ 117345 h 1151883"/>
                <a:gd name="connsiteX919" fmla="*/ 666318 w 922759"/>
                <a:gd name="connsiteY919" fmla="*/ 118011 h 1151883"/>
                <a:gd name="connsiteX920" fmla="*/ 666227 w 922759"/>
                <a:gd name="connsiteY920" fmla="*/ 120008 h 1151883"/>
                <a:gd name="connsiteX921" fmla="*/ 665895 w 922759"/>
                <a:gd name="connsiteY921" fmla="*/ 120794 h 1151883"/>
                <a:gd name="connsiteX922" fmla="*/ 665501 w 922759"/>
                <a:gd name="connsiteY922" fmla="*/ 121097 h 1151883"/>
                <a:gd name="connsiteX923" fmla="*/ 664382 w 922759"/>
                <a:gd name="connsiteY923" fmla="*/ 121429 h 1151883"/>
                <a:gd name="connsiteX924" fmla="*/ 663777 w 922759"/>
                <a:gd name="connsiteY924" fmla="*/ 121792 h 1151883"/>
                <a:gd name="connsiteX925" fmla="*/ 661266 w 922759"/>
                <a:gd name="connsiteY925" fmla="*/ 124061 h 1151883"/>
                <a:gd name="connsiteX926" fmla="*/ 660328 w 922759"/>
                <a:gd name="connsiteY926" fmla="*/ 125423 h 1151883"/>
                <a:gd name="connsiteX927" fmla="*/ 659693 w 922759"/>
                <a:gd name="connsiteY927" fmla="*/ 127298 h 1151883"/>
                <a:gd name="connsiteX928" fmla="*/ 661750 w 922759"/>
                <a:gd name="connsiteY928" fmla="*/ 128962 h 1151883"/>
                <a:gd name="connsiteX929" fmla="*/ 662930 w 922759"/>
                <a:gd name="connsiteY929" fmla="*/ 129507 h 1151883"/>
                <a:gd name="connsiteX930" fmla="*/ 664473 w 922759"/>
                <a:gd name="connsiteY930" fmla="*/ 129446 h 1151883"/>
                <a:gd name="connsiteX931" fmla="*/ 662325 w 922759"/>
                <a:gd name="connsiteY931" fmla="*/ 130686 h 1151883"/>
                <a:gd name="connsiteX932" fmla="*/ 659905 w 922759"/>
                <a:gd name="connsiteY932" fmla="*/ 130111 h 1151883"/>
                <a:gd name="connsiteX933" fmla="*/ 655518 w 922759"/>
                <a:gd name="connsiteY933" fmla="*/ 127298 h 1151883"/>
                <a:gd name="connsiteX934" fmla="*/ 656668 w 922759"/>
                <a:gd name="connsiteY934" fmla="*/ 126058 h 1151883"/>
                <a:gd name="connsiteX935" fmla="*/ 656456 w 922759"/>
                <a:gd name="connsiteY935" fmla="*/ 124666 h 1151883"/>
                <a:gd name="connsiteX936" fmla="*/ 655609 w 922759"/>
                <a:gd name="connsiteY936" fmla="*/ 122972 h 1151883"/>
                <a:gd name="connsiteX937" fmla="*/ 654883 w 922759"/>
                <a:gd name="connsiteY937" fmla="*/ 120794 h 1151883"/>
                <a:gd name="connsiteX938" fmla="*/ 656547 w 922759"/>
                <a:gd name="connsiteY938" fmla="*/ 120431 h 1151883"/>
                <a:gd name="connsiteX939" fmla="*/ 657817 w 922759"/>
                <a:gd name="connsiteY939" fmla="*/ 119070 h 1151883"/>
                <a:gd name="connsiteX940" fmla="*/ 658301 w 922759"/>
                <a:gd name="connsiteY940" fmla="*/ 117194 h 1151883"/>
                <a:gd name="connsiteX941" fmla="*/ 657666 w 922759"/>
                <a:gd name="connsiteY941" fmla="*/ 115289 h 1151883"/>
                <a:gd name="connsiteX942" fmla="*/ 658332 w 922759"/>
                <a:gd name="connsiteY942" fmla="*/ 114199 h 1151883"/>
                <a:gd name="connsiteX943" fmla="*/ 659027 w 922759"/>
                <a:gd name="connsiteY943" fmla="*/ 114774 h 1151883"/>
                <a:gd name="connsiteX944" fmla="*/ 659632 w 922759"/>
                <a:gd name="connsiteY944" fmla="*/ 115016 h 1151883"/>
                <a:gd name="connsiteX945" fmla="*/ 661085 w 922759"/>
                <a:gd name="connsiteY945" fmla="*/ 115289 h 1151883"/>
                <a:gd name="connsiteX946" fmla="*/ 660510 w 922759"/>
                <a:gd name="connsiteY946" fmla="*/ 112808 h 1151883"/>
                <a:gd name="connsiteX947" fmla="*/ 661175 w 922759"/>
                <a:gd name="connsiteY947" fmla="*/ 110388 h 1151883"/>
                <a:gd name="connsiteX948" fmla="*/ 662537 w 922759"/>
                <a:gd name="connsiteY948" fmla="*/ 108542 h 1151883"/>
                <a:gd name="connsiteX949" fmla="*/ 664170 w 922759"/>
                <a:gd name="connsiteY949" fmla="*/ 107816 h 1151883"/>
                <a:gd name="connsiteX950" fmla="*/ 667831 w 922759"/>
                <a:gd name="connsiteY950" fmla="*/ 108149 h 1151883"/>
                <a:gd name="connsiteX951" fmla="*/ 669827 w 922759"/>
                <a:gd name="connsiteY951" fmla="*/ 109057 h 1151883"/>
                <a:gd name="connsiteX952" fmla="*/ 671461 w 922759"/>
                <a:gd name="connsiteY952" fmla="*/ 110962 h 1151883"/>
                <a:gd name="connsiteX953" fmla="*/ 672338 w 922759"/>
                <a:gd name="connsiteY953" fmla="*/ 109147 h 1151883"/>
                <a:gd name="connsiteX954" fmla="*/ 674153 w 922759"/>
                <a:gd name="connsiteY954" fmla="*/ 108028 h 1151883"/>
                <a:gd name="connsiteX955" fmla="*/ 676331 w 922759"/>
                <a:gd name="connsiteY955" fmla="*/ 107846 h 1151883"/>
                <a:gd name="connsiteX956" fmla="*/ 678267 w 922759"/>
                <a:gd name="connsiteY956" fmla="*/ 108815 h 1151883"/>
                <a:gd name="connsiteX957" fmla="*/ 678267 w 922759"/>
                <a:gd name="connsiteY957" fmla="*/ 108119 h 1151883"/>
                <a:gd name="connsiteX958" fmla="*/ 678388 w 922759"/>
                <a:gd name="connsiteY958" fmla="*/ 107907 h 1151883"/>
                <a:gd name="connsiteX959" fmla="*/ 678661 w 922759"/>
                <a:gd name="connsiteY959" fmla="*/ 107907 h 1151883"/>
                <a:gd name="connsiteX960" fmla="*/ 679024 w 922759"/>
                <a:gd name="connsiteY960" fmla="*/ 107816 h 1151883"/>
                <a:gd name="connsiteX961" fmla="*/ 678207 w 922759"/>
                <a:gd name="connsiteY961" fmla="*/ 107695 h 1151883"/>
                <a:gd name="connsiteX962" fmla="*/ 677572 w 922759"/>
                <a:gd name="connsiteY962" fmla="*/ 107483 h 1151883"/>
                <a:gd name="connsiteX963" fmla="*/ 677148 w 922759"/>
                <a:gd name="connsiteY963" fmla="*/ 106879 h 1151883"/>
                <a:gd name="connsiteX964" fmla="*/ 676967 w 922759"/>
                <a:gd name="connsiteY964" fmla="*/ 105517 h 1151883"/>
                <a:gd name="connsiteX965" fmla="*/ 677602 w 922759"/>
                <a:gd name="connsiteY965" fmla="*/ 105366 h 1151883"/>
                <a:gd name="connsiteX966" fmla="*/ 678479 w 922759"/>
                <a:gd name="connsiteY966" fmla="*/ 104640 h 1151883"/>
                <a:gd name="connsiteX967" fmla="*/ 678993 w 922759"/>
                <a:gd name="connsiteY967" fmla="*/ 104338 h 1151883"/>
                <a:gd name="connsiteX968" fmla="*/ 679628 w 922759"/>
                <a:gd name="connsiteY968" fmla="*/ 105517 h 1151883"/>
                <a:gd name="connsiteX969" fmla="*/ 680234 w 922759"/>
                <a:gd name="connsiteY969" fmla="*/ 103400 h 1151883"/>
                <a:gd name="connsiteX970" fmla="*/ 681202 w 922759"/>
                <a:gd name="connsiteY970" fmla="*/ 102915 h 1151883"/>
                <a:gd name="connsiteX971" fmla="*/ 683803 w 922759"/>
                <a:gd name="connsiteY971" fmla="*/ 103369 h 1151883"/>
                <a:gd name="connsiteX972" fmla="*/ 685860 w 922759"/>
                <a:gd name="connsiteY972" fmla="*/ 103369 h 1151883"/>
                <a:gd name="connsiteX973" fmla="*/ 686435 w 922759"/>
                <a:gd name="connsiteY973" fmla="*/ 102976 h 1151883"/>
                <a:gd name="connsiteX974" fmla="*/ 687494 w 922759"/>
                <a:gd name="connsiteY974" fmla="*/ 101554 h 1151883"/>
                <a:gd name="connsiteX975" fmla="*/ 688281 w 922759"/>
                <a:gd name="connsiteY975" fmla="*/ 101222 h 1151883"/>
                <a:gd name="connsiteX976" fmla="*/ 690943 w 922759"/>
                <a:gd name="connsiteY976" fmla="*/ 101554 h 1151883"/>
                <a:gd name="connsiteX977" fmla="*/ 695238 w 922759"/>
                <a:gd name="connsiteY977" fmla="*/ 103037 h 1151883"/>
                <a:gd name="connsiteX978" fmla="*/ 706008 w 922759"/>
                <a:gd name="connsiteY978" fmla="*/ 103884 h 1151883"/>
                <a:gd name="connsiteX979" fmla="*/ 708579 w 922759"/>
                <a:gd name="connsiteY979" fmla="*/ 103369 h 1151883"/>
                <a:gd name="connsiteX980" fmla="*/ 711090 w 922759"/>
                <a:gd name="connsiteY980" fmla="*/ 101252 h 1151883"/>
                <a:gd name="connsiteX981" fmla="*/ 709820 w 922759"/>
                <a:gd name="connsiteY981" fmla="*/ 99467 h 1151883"/>
                <a:gd name="connsiteX982" fmla="*/ 706915 w 922759"/>
                <a:gd name="connsiteY982" fmla="*/ 98801 h 1151883"/>
                <a:gd name="connsiteX983" fmla="*/ 704586 w 922759"/>
                <a:gd name="connsiteY983" fmla="*/ 100011 h 1151883"/>
                <a:gd name="connsiteX984" fmla="*/ 700804 w 922759"/>
                <a:gd name="connsiteY984" fmla="*/ 98317 h 1151883"/>
                <a:gd name="connsiteX985" fmla="*/ 677904 w 922759"/>
                <a:gd name="connsiteY985" fmla="*/ 98317 h 1151883"/>
                <a:gd name="connsiteX986" fmla="*/ 673578 w 922759"/>
                <a:gd name="connsiteY986" fmla="*/ 96684 h 1151883"/>
                <a:gd name="connsiteX987" fmla="*/ 671430 w 922759"/>
                <a:gd name="connsiteY987" fmla="*/ 93507 h 1151883"/>
                <a:gd name="connsiteX988" fmla="*/ 672126 w 922759"/>
                <a:gd name="connsiteY988" fmla="*/ 93507 h 1151883"/>
                <a:gd name="connsiteX989" fmla="*/ 672126 w 922759"/>
                <a:gd name="connsiteY989" fmla="*/ 92539 h 1151883"/>
                <a:gd name="connsiteX990" fmla="*/ 670069 w 922759"/>
                <a:gd name="connsiteY990" fmla="*/ 93477 h 1151883"/>
                <a:gd name="connsiteX991" fmla="*/ 668920 w 922759"/>
                <a:gd name="connsiteY991" fmla="*/ 94869 h 1151883"/>
                <a:gd name="connsiteX992" fmla="*/ 667316 w 922759"/>
                <a:gd name="connsiteY992" fmla="*/ 99044 h 1151883"/>
                <a:gd name="connsiteX993" fmla="*/ 663172 w 922759"/>
                <a:gd name="connsiteY993" fmla="*/ 105699 h 1151883"/>
                <a:gd name="connsiteX994" fmla="*/ 662506 w 922759"/>
                <a:gd name="connsiteY994" fmla="*/ 107211 h 1151883"/>
                <a:gd name="connsiteX995" fmla="*/ 656456 w 922759"/>
                <a:gd name="connsiteY995" fmla="*/ 115289 h 1151883"/>
                <a:gd name="connsiteX996" fmla="*/ 652826 w 922759"/>
                <a:gd name="connsiteY996" fmla="*/ 121762 h 1151883"/>
                <a:gd name="connsiteX997" fmla="*/ 651343 w 922759"/>
                <a:gd name="connsiteY997" fmla="*/ 123396 h 1151883"/>
                <a:gd name="connsiteX998" fmla="*/ 647532 w 922759"/>
                <a:gd name="connsiteY998" fmla="*/ 126330 h 1151883"/>
                <a:gd name="connsiteX999" fmla="*/ 639969 w 922759"/>
                <a:gd name="connsiteY999" fmla="*/ 130142 h 1151883"/>
                <a:gd name="connsiteX1000" fmla="*/ 638638 w 922759"/>
                <a:gd name="connsiteY1000" fmla="*/ 130505 h 1151883"/>
                <a:gd name="connsiteX1001" fmla="*/ 637216 w 922759"/>
                <a:gd name="connsiteY1001" fmla="*/ 131352 h 1151883"/>
                <a:gd name="connsiteX1002" fmla="*/ 634826 w 922759"/>
                <a:gd name="connsiteY1002" fmla="*/ 135073 h 1151883"/>
                <a:gd name="connsiteX1003" fmla="*/ 632799 w 922759"/>
                <a:gd name="connsiteY1003" fmla="*/ 136767 h 1151883"/>
                <a:gd name="connsiteX1004" fmla="*/ 629411 w 922759"/>
                <a:gd name="connsiteY1004" fmla="*/ 140881 h 1151883"/>
                <a:gd name="connsiteX1005" fmla="*/ 628625 w 922759"/>
                <a:gd name="connsiteY1005" fmla="*/ 142363 h 1151883"/>
                <a:gd name="connsiteX1006" fmla="*/ 629563 w 922759"/>
                <a:gd name="connsiteY1006" fmla="*/ 141759 h 1151883"/>
                <a:gd name="connsiteX1007" fmla="*/ 630591 w 922759"/>
                <a:gd name="connsiteY1007" fmla="*/ 141365 h 1151883"/>
                <a:gd name="connsiteX1008" fmla="*/ 631680 w 922759"/>
                <a:gd name="connsiteY1008" fmla="*/ 141184 h 1151883"/>
                <a:gd name="connsiteX1009" fmla="*/ 632799 w 922759"/>
                <a:gd name="connsiteY1009" fmla="*/ 141274 h 1151883"/>
                <a:gd name="connsiteX1010" fmla="*/ 631953 w 922759"/>
                <a:gd name="connsiteY1010" fmla="*/ 143392 h 1151883"/>
                <a:gd name="connsiteX1011" fmla="*/ 629048 w 922759"/>
                <a:gd name="connsiteY1011" fmla="*/ 144904 h 1151883"/>
                <a:gd name="connsiteX1012" fmla="*/ 627989 w 922759"/>
                <a:gd name="connsiteY1012" fmla="*/ 146750 h 1151883"/>
                <a:gd name="connsiteX1013" fmla="*/ 628534 w 922759"/>
                <a:gd name="connsiteY1013" fmla="*/ 148262 h 1151883"/>
                <a:gd name="connsiteX1014" fmla="*/ 629018 w 922759"/>
                <a:gd name="connsiteY1014" fmla="*/ 152376 h 1151883"/>
                <a:gd name="connsiteX1015" fmla="*/ 630016 w 922759"/>
                <a:gd name="connsiteY1015" fmla="*/ 154282 h 1151883"/>
                <a:gd name="connsiteX1016" fmla="*/ 627657 w 922759"/>
                <a:gd name="connsiteY1016" fmla="*/ 151741 h 1151883"/>
                <a:gd name="connsiteX1017" fmla="*/ 627445 w 922759"/>
                <a:gd name="connsiteY1017" fmla="*/ 148020 h 1151883"/>
                <a:gd name="connsiteX1018" fmla="*/ 627808 w 922759"/>
                <a:gd name="connsiteY1018" fmla="*/ 143634 h 1151883"/>
                <a:gd name="connsiteX1019" fmla="*/ 627294 w 922759"/>
                <a:gd name="connsiteY1019" fmla="*/ 139127 h 1151883"/>
                <a:gd name="connsiteX1020" fmla="*/ 623512 w 922759"/>
                <a:gd name="connsiteY1020" fmla="*/ 141365 h 1151883"/>
                <a:gd name="connsiteX1021" fmla="*/ 599523 w 922759"/>
                <a:gd name="connsiteY1021" fmla="*/ 146115 h 1151883"/>
                <a:gd name="connsiteX1022" fmla="*/ 591113 w 922759"/>
                <a:gd name="connsiteY1022" fmla="*/ 144753 h 1151883"/>
                <a:gd name="connsiteX1023" fmla="*/ 587180 w 922759"/>
                <a:gd name="connsiteY1023" fmla="*/ 145267 h 1151883"/>
                <a:gd name="connsiteX1024" fmla="*/ 583973 w 922759"/>
                <a:gd name="connsiteY1024" fmla="*/ 147325 h 1151883"/>
                <a:gd name="connsiteX1025" fmla="*/ 581493 w 922759"/>
                <a:gd name="connsiteY1025" fmla="*/ 151469 h 1151883"/>
                <a:gd name="connsiteX1026" fmla="*/ 581130 w 922759"/>
                <a:gd name="connsiteY1026" fmla="*/ 151893 h 1151883"/>
                <a:gd name="connsiteX1027" fmla="*/ 580706 w 922759"/>
                <a:gd name="connsiteY1027" fmla="*/ 152437 h 1151883"/>
                <a:gd name="connsiteX1028" fmla="*/ 580374 w 922759"/>
                <a:gd name="connsiteY1028" fmla="*/ 153254 h 1151883"/>
                <a:gd name="connsiteX1029" fmla="*/ 580374 w 922759"/>
                <a:gd name="connsiteY1029" fmla="*/ 154071 h 1151883"/>
                <a:gd name="connsiteX1030" fmla="*/ 581130 w 922759"/>
                <a:gd name="connsiteY1030" fmla="*/ 154645 h 1151883"/>
                <a:gd name="connsiteX1031" fmla="*/ 581069 w 922759"/>
                <a:gd name="connsiteY1031" fmla="*/ 155432 h 1151883"/>
                <a:gd name="connsiteX1032" fmla="*/ 580616 w 922759"/>
                <a:gd name="connsiteY1032" fmla="*/ 156612 h 1151883"/>
                <a:gd name="connsiteX1033" fmla="*/ 580102 w 922759"/>
                <a:gd name="connsiteY1033" fmla="*/ 157610 h 1151883"/>
                <a:gd name="connsiteX1034" fmla="*/ 579436 w 922759"/>
                <a:gd name="connsiteY1034" fmla="*/ 158306 h 1151883"/>
                <a:gd name="connsiteX1035" fmla="*/ 578619 w 922759"/>
                <a:gd name="connsiteY1035" fmla="*/ 158578 h 1151883"/>
                <a:gd name="connsiteX1036" fmla="*/ 577258 w 922759"/>
                <a:gd name="connsiteY1036" fmla="*/ 159456 h 1151883"/>
                <a:gd name="connsiteX1037" fmla="*/ 575443 w 922759"/>
                <a:gd name="connsiteY1037" fmla="*/ 163630 h 1151883"/>
                <a:gd name="connsiteX1038" fmla="*/ 573416 w 922759"/>
                <a:gd name="connsiteY1038" fmla="*/ 165022 h 1151883"/>
                <a:gd name="connsiteX1039" fmla="*/ 572539 w 922759"/>
                <a:gd name="connsiteY1039" fmla="*/ 165022 h 1151883"/>
                <a:gd name="connsiteX1040" fmla="*/ 569967 w 922759"/>
                <a:gd name="connsiteY1040" fmla="*/ 164054 h 1151883"/>
                <a:gd name="connsiteX1041" fmla="*/ 569967 w 922759"/>
                <a:gd name="connsiteY1041" fmla="*/ 165022 h 1151883"/>
                <a:gd name="connsiteX1042" fmla="*/ 570663 w 922759"/>
                <a:gd name="connsiteY1042" fmla="*/ 165022 h 1151883"/>
                <a:gd name="connsiteX1043" fmla="*/ 570663 w 922759"/>
                <a:gd name="connsiteY1043" fmla="*/ 166202 h 1151883"/>
                <a:gd name="connsiteX1044" fmla="*/ 567214 w 922759"/>
                <a:gd name="connsiteY1044" fmla="*/ 169408 h 1151883"/>
                <a:gd name="connsiteX1045" fmla="*/ 567396 w 922759"/>
                <a:gd name="connsiteY1045" fmla="*/ 170134 h 1151883"/>
                <a:gd name="connsiteX1046" fmla="*/ 567638 w 922759"/>
                <a:gd name="connsiteY1046" fmla="*/ 171919 h 1151883"/>
                <a:gd name="connsiteX1047" fmla="*/ 567850 w 922759"/>
                <a:gd name="connsiteY1047" fmla="*/ 172615 h 1151883"/>
                <a:gd name="connsiteX1048" fmla="*/ 567002 w 922759"/>
                <a:gd name="connsiteY1048" fmla="*/ 172826 h 1151883"/>
                <a:gd name="connsiteX1049" fmla="*/ 566035 w 922759"/>
                <a:gd name="connsiteY1049" fmla="*/ 173523 h 1151883"/>
                <a:gd name="connsiteX1050" fmla="*/ 565278 w 922759"/>
                <a:gd name="connsiteY1050" fmla="*/ 174672 h 1151883"/>
                <a:gd name="connsiteX1051" fmla="*/ 565732 w 922759"/>
                <a:gd name="connsiteY1051" fmla="*/ 177213 h 1151883"/>
                <a:gd name="connsiteX1052" fmla="*/ 564976 w 922759"/>
                <a:gd name="connsiteY1052" fmla="*/ 180329 h 1151883"/>
                <a:gd name="connsiteX1053" fmla="*/ 563947 w 922759"/>
                <a:gd name="connsiteY1053" fmla="*/ 182840 h 1151883"/>
                <a:gd name="connsiteX1054" fmla="*/ 563826 w 922759"/>
                <a:gd name="connsiteY1054" fmla="*/ 184504 h 1151883"/>
                <a:gd name="connsiteX1055" fmla="*/ 562677 w 922759"/>
                <a:gd name="connsiteY1055" fmla="*/ 184504 h 1151883"/>
                <a:gd name="connsiteX1056" fmla="*/ 561920 w 922759"/>
                <a:gd name="connsiteY1056" fmla="*/ 184050 h 1151883"/>
                <a:gd name="connsiteX1057" fmla="*/ 558048 w 922759"/>
                <a:gd name="connsiteY1057" fmla="*/ 179573 h 1151883"/>
                <a:gd name="connsiteX1058" fmla="*/ 558048 w 922759"/>
                <a:gd name="connsiteY1058" fmla="*/ 179058 h 1151883"/>
                <a:gd name="connsiteX1059" fmla="*/ 553813 w 922759"/>
                <a:gd name="connsiteY1059" fmla="*/ 179058 h 1151883"/>
                <a:gd name="connsiteX1060" fmla="*/ 553178 w 922759"/>
                <a:gd name="connsiteY1060" fmla="*/ 178544 h 1151883"/>
                <a:gd name="connsiteX1061" fmla="*/ 552149 w 922759"/>
                <a:gd name="connsiteY1061" fmla="*/ 176305 h 1151883"/>
                <a:gd name="connsiteX1062" fmla="*/ 551393 w 922759"/>
                <a:gd name="connsiteY1062" fmla="*/ 175821 h 1151883"/>
                <a:gd name="connsiteX1063" fmla="*/ 547339 w 922759"/>
                <a:gd name="connsiteY1063" fmla="*/ 179028 h 1151883"/>
                <a:gd name="connsiteX1064" fmla="*/ 546492 w 922759"/>
                <a:gd name="connsiteY1064" fmla="*/ 179210 h 1151883"/>
                <a:gd name="connsiteX1065" fmla="*/ 543497 w 922759"/>
                <a:gd name="connsiteY1065" fmla="*/ 179028 h 1151883"/>
                <a:gd name="connsiteX1066" fmla="*/ 542227 w 922759"/>
                <a:gd name="connsiteY1066" fmla="*/ 178363 h 1151883"/>
                <a:gd name="connsiteX1067" fmla="*/ 541984 w 922759"/>
                <a:gd name="connsiteY1067" fmla="*/ 176729 h 1151883"/>
                <a:gd name="connsiteX1068" fmla="*/ 542469 w 922759"/>
                <a:gd name="connsiteY1068" fmla="*/ 173129 h 1151883"/>
                <a:gd name="connsiteX1069" fmla="*/ 541924 w 922759"/>
                <a:gd name="connsiteY1069" fmla="*/ 172343 h 1151883"/>
                <a:gd name="connsiteX1070" fmla="*/ 538354 w 922759"/>
                <a:gd name="connsiteY1070" fmla="*/ 171435 h 1151883"/>
                <a:gd name="connsiteX1071" fmla="*/ 537659 w 922759"/>
                <a:gd name="connsiteY1071" fmla="*/ 170346 h 1151883"/>
                <a:gd name="connsiteX1072" fmla="*/ 536993 w 922759"/>
                <a:gd name="connsiteY1072" fmla="*/ 168138 h 1151883"/>
                <a:gd name="connsiteX1073" fmla="*/ 536298 w 922759"/>
                <a:gd name="connsiteY1073" fmla="*/ 167260 h 1151883"/>
                <a:gd name="connsiteX1074" fmla="*/ 535420 w 922759"/>
                <a:gd name="connsiteY1074" fmla="*/ 166958 h 1151883"/>
                <a:gd name="connsiteX1075" fmla="*/ 523168 w 922759"/>
                <a:gd name="connsiteY1075" fmla="*/ 168440 h 1151883"/>
                <a:gd name="connsiteX1076" fmla="*/ 517814 w 922759"/>
                <a:gd name="connsiteY1076" fmla="*/ 171102 h 1151883"/>
                <a:gd name="connsiteX1077" fmla="*/ 515908 w 922759"/>
                <a:gd name="connsiteY1077" fmla="*/ 171465 h 1151883"/>
                <a:gd name="connsiteX1078" fmla="*/ 514244 w 922759"/>
                <a:gd name="connsiteY1078" fmla="*/ 172070 h 1151883"/>
                <a:gd name="connsiteX1079" fmla="*/ 511280 w 922759"/>
                <a:gd name="connsiteY1079" fmla="*/ 174914 h 1151883"/>
                <a:gd name="connsiteX1080" fmla="*/ 510009 w 922759"/>
                <a:gd name="connsiteY1080" fmla="*/ 175852 h 1151883"/>
                <a:gd name="connsiteX1081" fmla="*/ 509494 w 922759"/>
                <a:gd name="connsiteY1081" fmla="*/ 175942 h 1151883"/>
                <a:gd name="connsiteX1082" fmla="*/ 508315 w 922759"/>
                <a:gd name="connsiteY1082" fmla="*/ 175882 h 1151883"/>
                <a:gd name="connsiteX1083" fmla="*/ 507922 w 922759"/>
                <a:gd name="connsiteY1083" fmla="*/ 175882 h 1151883"/>
                <a:gd name="connsiteX1084" fmla="*/ 506439 w 922759"/>
                <a:gd name="connsiteY1084" fmla="*/ 175458 h 1151883"/>
                <a:gd name="connsiteX1085" fmla="*/ 506076 w 922759"/>
                <a:gd name="connsiteY1085" fmla="*/ 174006 h 1151883"/>
                <a:gd name="connsiteX1086" fmla="*/ 505986 w 922759"/>
                <a:gd name="connsiteY1086" fmla="*/ 172131 h 1151883"/>
                <a:gd name="connsiteX1087" fmla="*/ 505259 w 922759"/>
                <a:gd name="connsiteY1087" fmla="*/ 170497 h 1151883"/>
                <a:gd name="connsiteX1088" fmla="*/ 504261 w 922759"/>
                <a:gd name="connsiteY1088" fmla="*/ 170104 h 1151883"/>
                <a:gd name="connsiteX1089" fmla="*/ 500359 w 922759"/>
                <a:gd name="connsiteY1089" fmla="*/ 170497 h 1151883"/>
                <a:gd name="connsiteX1090" fmla="*/ 497606 w 922759"/>
                <a:gd name="connsiteY1090" fmla="*/ 169681 h 1151883"/>
                <a:gd name="connsiteX1091" fmla="*/ 495670 w 922759"/>
                <a:gd name="connsiteY1091" fmla="*/ 168198 h 1151883"/>
                <a:gd name="connsiteX1092" fmla="*/ 494218 w 922759"/>
                <a:gd name="connsiteY1092" fmla="*/ 165929 h 1151883"/>
                <a:gd name="connsiteX1093" fmla="*/ 492886 w 922759"/>
                <a:gd name="connsiteY1093" fmla="*/ 162874 h 1151883"/>
                <a:gd name="connsiteX1094" fmla="*/ 492886 w 922759"/>
                <a:gd name="connsiteY1094" fmla="*/ 161875 h 1151883"/>
                <a:gd name="connsiteX1095" fmla="*/ 493915 w 922759"/>
                <a:gd name="connsiteY1095" fmla="*/ 160817 h 1151883"/>
                <a:gd name="connsiteX1096" fmla="*/ 497787 w 922759"/>
                <a:gd name="connsiteY1096" fmla="*/ 155220 h 1151883"/>
                <a:gd name="connsiteX1097" fmla="*/ 498180 w 922759"/>
                <a:gd name="connsiteY1097" fmla="*/ 154797 h 1151883"/>
                <a:gd name="connsiteX1098" fmla="*/ 498967 w 922759"/>
                <a:gd name="connsiteY1098" fmla="*/ 154313 h 1151883"/>
                <a:gd name="connsiteX1099" fmla="*/ 499875 w 922759"/>
                <a:gd name="connsiteY1099" fmla="*/ 154403 h 1151883"/>
                <a:gd name="connsiteX1100" fmla="*/ 500601 w 922759"/>
                <a:gd name="connsiteY1100" fmla="*/ 155099 h 1151883"/>
                <a:gd name="connsiteX1101" fmla="*/ 501266 w 922759"/>
                <a:gd name="connsiteY1101" fmla="*/ 155553 h 1151883"/>
                <a:gd name="connsiteX1102" fmla="*/ 502113 w 922759"/>
                <a:gd name="connsiteY1102" fmla="*/ 154857 h 1151883"/>
                <a:gd name="connsiteX1103" fmla="*/ 502900 w 922759"/>
                <a:gd name="connsiteY1103" fmla="*/ 154857 h 1151883"/>
                <a:gd name="connsiteX1104" fmla="*/ 506984 w 922759"/>
                <a:gd name="connsiteY1104" fmla="*/ 153587 h 1151883"/>
                <a:gd name="connsiteX1105" fmla="*/ 508738 w 922759"/>
                <a:gd name="connsiteY1105" fmla="*/ 152558 h 1151883"/>
                <a:gd name="connsiteX1106" fmla="*/ 512762 w 922759"/>
                <a:gd name="connsiteY1106" fmla="*/ 147779 h 1151883"/>
                <a:gd name="connsiteX1107" fmla="*/ 524439 w 922759"/>
                <a:gd name="connsiteY1107" fmla="*/ 140760 h 1151883"/>
                <a:gd name="connsiteX1108" fmla="*/ 524893 w 922759"/>
                <a:gd name="connsiteY1108" fmla="*/ 139399 h 1151883"/>
                <a:gd name="connsiteX1109" fmla="*/ 525861 w 922759"/>
                <a:gd name="connsiteY1109" fmla="*/ 138400 h 1151883"/>
                <a:gd name="connsiteX1110" fmla="*/ 526829 w 922759"/>
                <a:gd name="connsiteY1110" fmla="*/ 136979 h 1151883"/>
                <a:gd name="connsiteX1111" fmla="*/ 527282 w 922759"/>
                <a:gd name="connsiteY1111" fmla="*/ 134286 h 1151883"/>
                <a:gd name="connsiteX1112" fmla="*/ 526587 w 922759"/>
                <a:gd name="connsiteY1112" fmla="*/ 129718 h 1151883"/>
                <a:gd name="connsiteX1113" fmla="*/ 526526 w 922759"/>
                <a:gd name="connsiteY1113" fmla="*/ 127026 h 1151883"/>
                <a:gd name="connsiteX1114" fmla="*/ 527282 w 922759"/>
                <a:gd name="connsiteY1114" fmla="*/ 125029 h 1151883"/>
                <a:gd name="connsiteX1115" fmla="*/ 526466 w 922759"/>
                <a:gd name="connsiteY1115" fmla="*/ 122035 h 1151883"/>
                <a:gd name="connsiteX1116" fmla="*/ 525558 w 922759"/>
                <a:gd name="connsiteY1116" fmla="*/ 115742 h 1151883"/>
                <a:gd name="connsiteX1117" fmla="*/ 524469 w 922759"/>
                <a:gd name="connsiteY1117" fmla="*/ 113171 h 1151883"/>
                <a:gd name="connsiteX1118" fmla="*/ 526012 w 922759"/>
                <a:gd name="connsiteY1118" fmla="*/ 113806 h 1151883"/>
                <a:gd name="connsiteX1119" fmla="*/ 526617 w 922759"/>
                <a:gd name="connsiteY1119" fmla="*/ 114260 h 1151883"/>
                <a:gd name="connsiteX1120" fmla="*/ 527676 w 922759"/>
                <a:gd name="connsiteY1120" fmla="*/ 112717 h 1151883"/>
                <a:gd name="connsiteX1121" fmla="*/ 531396 w 922759"/>
                <a:gd name="connsiteY1121" fmla="*/ 108845 h 1151883"/>
                <a:gd name="connsiteX1122" fmla="*/ 528251 w 922759"/>
                <a:gd name="connsiteY1122" fmla="*/ 107726 h 1151883"/>
                <a:gd name="connsiteX1123" fmla="*/ 521202 w 922759"/>
                <a:gd name="connsiteY1123" fmla="*/ 111719 h 1151883"/>
                <a:gd name="connsiteX1124" fmla="*/ 518842 w 922759"/>
                <a:gd name="connsiteY1124" fmla="*/ 110206 h 1151883"/>
                <a:gd name="connsiteX1125" fmla="*/ 517088 w 922759"/>
                <a:gd name="connsiteY1125" fmla="*/ 110721 h 1151883"/>
                <a:gd name="connsiteX1126" fmla="*/ 515363 w 922759"/>
                <a:gd name="connsiteY1126" fmla="*/ 109995 h 1151883"/>
                <a:gd name="connsiteX1127" fmla="*/ 517874 w 922759"/>
                <a:gd name="connsiteY1127" fmla="*/ 109995 h 1151883"/>
                <a:gd name="connsiteX1128" fmla="*/ 519689 w 922759"/>
                <a:gd name="connsiteY1128" fmla="*/ 109873 h 1151883"/>
                <a:gd name="connsiteX1129" fmla="*/ 519689 w 922759"/>
                <a:gd name="connsiteY1129" fmla="*/ 108784 h 1151883"/>
                <a:gd name="connsiteX1130" fmla="*/ 511280 w 922759"/>
                <a:gd name="connsiteY1130" fmla="*/ 109783 h 1151883"/>
                <a:gd name="connsiteX1131" fmla="*/ 507831 w 922759"/>
                <a:gd name="connsiteY1131" fmla="*/ 111114 h 1151883"/>
                <a:gd name="connsiteX1132" fmla="*/ 504503 w 922759"/>
                <a:gd name="connsiteY1132" fmla="*/ 113110 h 1151883"/>
                <a:gd name="connsiteX1133" fmla="*/ 498755 w 922759"/>
                <a:gd name="connsiteY1133" fmla="*/ 118041 h 1151883"/>
                <a:gd name="connsiteX1134" fmla="*/ 495367 w 922759"/>
                <a:gd name="connsiteY1134" fmla="*/ 119977 h 1151883"/>
                <a:gd name="connsiteX1135" fmla="*/ 490769 w 922759"/>
                <a:gd name="connsiteY1135" fmla="*/ 120764 h 1151883"/>
                <a:gd name="connsiteX1136" fmla="*/ 486655 w 922759"/>
                <a:gd name="connsiteY1136" fmla="*/ 119796 h 1151883"/>
                <a:gd name="connsiteX1137" fmla="*/ 477670 w 922759"/>
                <a:gd name="connsiteY1137" fmla="*/ 111991 h 1151883"/>
                <a:gd name="connsiteX1138" fmla="*/ 461788 w 922759"/>
                <a:gd name="connsiteY1138" fmla="*/ 105487 h 1151883"/>
                <a:gd name="connsiteX1139" fmla="*/ 455708 w 922759"/>
                <a:gd name="connsiteY1139" fmla="*/ 100979 h 1151883"/>
                <a:gd name="connsiteX1140" fmla="*/ 453499 w 922759"/>
                <a:gd name="connsiteY1140" fmla="*/ 99981 h 1151883"/>
                <a:gd name="connsiteX1141" fmla="*/ 449204 w 922759"/>
                <a:gd name="connsiteY1141" fmla="*/ 99618 h 1151883"/>
                <a:gd name="connsiteX1142" fmla="*/ 448054 w 922759"/>
                <a:gd name="connsiteY1142" fmla="*/ 99981 h 1151883"/>
                <a:gd name="connsiteX1143" fmla="*/ 447116 w 922759"/>
                <a:gd name="connsiteY1143" fmla="*/ 100828 h 1151883"/>
                <a:gd name="connsiteX1144" fmla="*/ 446602 w 922759"/>
                <a:gd name="connsiteY1144" fmla="*/ 101705 h 1151883"/>
                <a:gd name="connsiteX1145" fmla="*/ 445936 w 922759"/>
                <a:gd name="connsiteY1145" fmla="*/ 102552 h 1151883"/>
                <a:gd name="connsiteX1146" fmla="*/ 444545 w 922759"/>
                <a:gd name="connsiteY1146" fmla="*/ 103309 h 1151883"/>
                <a:gd name="connsiteX1147" fmla="*/ 440733 w 922759"/>
                <a:gd name="connsiteY1147" fmla="*/ 103672 h 1151883"/>
                <a:gd name="connsiteX1148" fmla="*/ 439735 w 922759"/>
                <a:gd name="connsiteY1148" fmla="*/ 104277 h 1151883"/>
                <a:gd name="connsiteX1149" fmla="*/ 439009 w 922759"/>
                <a:gd name="connsiteY1149" fmla="*/ 105608 h 1151883"/>
                <a:gd name="connsiteX1150" fmla="*/ 437678 w 922759"/>
                <a:gd name="connsiteY1150" fmla="*/ 110872 h 1151883"/>
                <a:gd name="connsiteX1151" fmla="*/ 435318 w 922759"/>
                <a:gd name="connsiteY1151" fmla="*/ 115803 h 1151883"/>
                <a:gd name="connsiteX1152" fmla="*/ 433654 w 922759"/>
                <a:gd name="connsiteY1152" fmla="*/ 117708 h 1151883"/>
                <a:gd name="connsiteX1153" fmla="*/ 431446 w 922759"/>
                <a:gd name="connsiteY1153" fmla="*/ 118465 h 1151883"/>
                <a:gd name="connsiteX1154" fmla="*/ 432444 w 922759"/>
                <a:gd name="connsiteY1154" fmla="*/ 116952 h 1151883"/>
                <a:gd name="connsiteX1155" fmla="*/ 432837 w 922759"/>
                <a:gd name="connsiteY1155" fmla="*/ 115440 h 1151883"/>
                <a:gd name="connsiteX1156" fmla="*/ 432535 w 922759"/>
                <a:gd name="connsiteY1156" fmla="*/ 114109 h 1151883"/>
                <a:gd name="connsiteX1157" fmla="*/ 431446 w 922759"/>
                <a:gd name="connsiteY1157" fmla="*/ 113050 h 1151883"/>
                <a:gd name="connsiteX1158" fmla="*/ 432081 w 922759"/>
                <a:gd name="connsiteY1158" fmla="*/ 111991 h 1151883"/>
                <a:gd name="connsiteX1159" fmla="*/ 432081 w 922759"/>
                <a:gd name="connsiteY1159" fmla="*/ 111507 h 1151883"/>
                <a:gd name="connsiteX1160" fmla="*/ 431688 w 922759"/>
                <a:gd name="connsiteY1160" fmla="*/ 111235 h 1151883"/>
                <a:gd name="connsiteX1161" fmla="*/ 431446 w 922759"/>
                <a:gd name="connsiteY1161" fmla="*/ 110872 h 1151883"/>
                <a:gd name="connsiteX1162" fmla="*/ 433170 w 922759"/>
                <a:gd name="connsiteY1162" fmla="*/ 110388 h 1151883"/>
                <a:gd name="connsiteX1163" fmla="*/ 434985 w 922759"/>
                <a:gd name="connsiteY1163" fmla="*/ 108966 h 1151883"/>
                <a:gd name="connsiteX1164" fmla="*/ 436407 w 922759"/>
                <a:gd name="connsiteY1164" fmla="*/ 106969 h 1151883"/>
                <a:gd name="connsiteX1165" fmla="*/ 436982 w 922759"/>
                <a:gd name="connsiteY1165" fmla="*/ 104852 h 1151883"/>
                <a:gd name="connsiteX1166" fmla="*/ 436468 w 922759"/>
                <a:gd name="connsiteY1166" fmla="*/ 102311 h 1151883"/>
                <a:gd name="connsiteX1167" fmla="*/ 435681 w 922759"/>
                <a:gd name="connsiteY1167" fmla="*/ 100374 h 1151883"/>
                <a:gd name="connsiteX1168" fmla="*/ 435681 w 922759"/>
                <a:gd name="connsiteY1168" fmla="*/ 98650 h 1151883"/>
                <a:gd name="connsiteX1169" fmla="*/ 437708 w 922759"/>
                <a:gd name="connsiteY1169" fmla="*/ 96805 h 1151883"/>
                <a:gd name="connsiteX1170" fmla="*/ 431597 w 922759"/>
                <a:gd name="connsiteY1170" fmla="*/ 91904 h 1151883"/>
                <a:gd name="connsiteX1171" fmla="*/ 429721 w 922759"/>
                <a:gd name="connsiteY1171" fmla="*/ 91269 h 1151883"/>
                <a:gd name="connsiteX1172" fmla="*/ 405430 w 922759"/>
                <a:gd name="connsiteY1172" fmla="*/ 96623 h 1151883"/>
                <a:gd name="connsiteX1173" fmla="*/ 401073 w 922759"/>
                <a:gd name="connsiteY1173" fmla="*/ 94536 h 1151883"/>
                <a:gd name="connsiteX1174" fmla="*/ 401073 w 922759"/>
                <a:gd name="connsiteY1174" fmla="*/ 93447 h 1151883"/>
                <a:gd name="connsiteX1175" fmla="*/ 405278 w 922759"/>
                <a:gd name="connsiteY1175" fmla="*/ 92993 h 1151883"/>
                <a:gd name="connsiteX1176" fmla="*/ 409634 w 922759"/>
                <a:gd name="connsiteY1176" fmla="*/ 91692 h 1151883"/>
                <a:gd name="connsiteX1177" fmla="*/ 413688 w 922759"/>
                <a:gd name="connsiteY1177" fmla="*/ 89605 h 1151883"/>
                <a:gd name="connsiteX1178" fmla="*/ 416925 w 922759"/>
                <a:gd name="connsiteY1178" fmla="*/ 86822 h 1151883"/>
                <a:gd name="connsiteX1179" fmla="*/ 418196 w 922759"/>
                <a:gd name="connsiteY1179" fmla="*/ 85128 h 1151883"/>
                <a:gd name="connsiteX1180" fmla="*/ 419164 w 922759"/>
                <a:gd name="connsiteY1180" fmla="*/ 83282 h 1151883"/>
                <a:gd name="connsiteX1181" fmla="*/ 419859 w 922759"/>
                <a:gd name="connsiteY1181" fmla="*/ 81044 h 1151883"/>
                <a:gd name="connsiteX1182" fmla="*/ 420374 w 922759"/>
                <a:gd name="connsiteY1182" fmla="*/ 78200 h 1151883"/>
                <a:gd name="connsiteX1183" fmla="*/ 420949 w 922759"/>
                <a:gd name="connsiteY1183" fmla="*/ 71605 h 1151883"/>
                <a:gd name="connsiteX1184" fmla="*/ 420888 w 922759"/>
                <a:gd name="connsiteY1184" fmla="*/ 68429 h 1151883"/>
                <a:gd name="connsiteX1185" fmla="*/ 420374 w 922759"/>
                <a:gd name="connsiteY1185" fmla="*/ 66220 h 1151883"/>
                <a:gd name="connsiteX1186" fmla="*/ 421100 w 922759"/>
                <a:gd name="connsiteY1186" fmla="*/ 63982 h 1151883"/>
                <a:gd name="connsiteX1187" fmla="*/ 420555 w 922759"/>
                <a:gd name="connsiteY1187" fmla="*/ 63014 h 1151883"/>
                <a:gd name="connsiteX1188" fmla="*/ 419406 w 922759"/>
                <a:gd name="connsiteY1188" fmla="*/ 63105 h 1151883"/>
                <a:gd name="connsiteX1189" fmla="*/ 418347 w 922759"/>
                <a:gd name="connsiteY1189" fmla="*/ 63952 h 1151883"/>
                <a:gd name="connsiteX1190" fmla="*/ 416834 w 922759"/>
                <a:gd name="connsiteY1190" fmla="*/ 62076 h 1151883"/>
                <a:gd name="connsiteX1191" fmla="*/ 414202 w 922759"/>
                <a:gd name="connsiteY1191" fmla="*/ 62227 h 1151883"/>
                <a:gd name="connsiteX1192" fmla="*/ 411571 w 922759"/>
                <a:gd name="connsiteY1192" fmla="*/ 62953 h 1151883"/>
                <a:gd name="connsiteX1193" fmla="*/ 410088 w 922759"/>
                <a:gd name="connsiteY1193" fmla="*/ 62863 h 1151883"/>
                <a:gd name="connsiteX1194" fmla="*/ 410149 w 922759"/>
                <a:gd name="connsiteY1194" fmla="*/ 61380 h 1151883"/>
                <a:gd name="connsiteX1195" fmla="*/ 410391 w 922759"/>
                <a:gd name="connsiteY1195" fmla="*/ 61048 h 1151883"/>
                <a:gd name="connsiteX1196" fmla="*/ 410814 w 922759"/>
                <a:gd name="connsiteY1196" fmla="*/ 61048 h 1151883"/>
                <a:gd name="connsiteX1197" fmla="*/ 411480 w 922759"/>
                <a:gd name="connsiteY1197" fmla="*/ 60685 h 1151883"/>
                <a:gd name="connsiteX1198" fmla="*/ 411782 w 922759"/>
                <a:gd name="connsiteY1198" fmla="*/ 60685 h 1151883"/>
                <a:gd name="connsiteX1199" fmla="*/ 414263 w 922759"/>
                <a:gd name="connsiteY1199" fmla="*/ 58839 h 1151883"/>
                <a:gd name="connsiteX1200" fmla="*/ 414202 w 922759"/>
                <a:gd name="connsiteY1200" fmla="*/ 58476 h 1151883"/>
                <a:gd name="connsiteX1201" fmla="*/ 415140 w 922759"/>
                <a:gd name="connsiteY1201" fmla="*/ 58718 h 1151883"/>
                <a:gd name="connsiteX1202" fmla="*/ 416381 w 922759"/>
                <a:gd name="connsiteY1202" fmla="*/ 59233 h 1151883"/>
                <a:gd name="connsiteX1203" fmla="*/ 417712 w 922759"/>
                <a:gd name="connsiteY1203" fmla="*/ 59384 h 1151883"/>
                <a:gd name="connsiteX1204" fmla="*/ 419013 w 922759"/>
                <a:gd name="connsiteY1204" fmla="*/ 58476 h 1151883"/>
                <a:gd name="connsiteX1205" fmla="*/ 417137 w 922759"/>
                <a:gd name="connsiteY1205" fmla="*/ 56601 h 1151883"/>
                <a:gd name="connsiteX1206" fmla="*/ 416229 w 922759"/>
                <a:gd name="connsiteY1206" fmla="*/ 55391 h 1151883"/>
                <a:gd name="connsiteX1207" fmla="*/ 415594 w 922759"/>
                <a:gd name="connsiteY1207" fmla="*/ 54120 h 1151883"/>
                <a:gd name="connsiteX1208" fmla="*/ 414233 w 922759"/>
                <a:gd name="connsiteY1208" fmla="*/ 48645 h 1151883"/>
                <a:gd name="connsiteX1209" fmla="*/ 411934 w 922759"/>
                <a:gd name="connsiteY1209" fmla="*/ 45952 h 1151883"/>
                <a:gd name="connsiteX1210" fmla="*/ 408667 w 922759"/>
                <a:gd name="connsiteY1210" fmla="*/ 44077 h 1151883"/>
                <a:gd name="connsiteX1211" fmla="*/ 406307 w 922759"/>
                <a:gd name="connsiteY1211" fmla="*/ 44228 h 1151883"/>
                <a:gd name="connsiteX1212" fmla="*/ 406700 w 922759"/>
                <a:gd name="connsiteY1212" fmla="*/ 47556 h 1151883"/>
                <a:gd name="connsiteX1213" fmla="*/ 402132 w 922759"/>
                <a:gd name="connsiteY1213" fmla="*/ 49159 h 1151883"/>
                <a:gd name="connsiteX1214" fmla="*/ 399500 w 922759"/>
                <a:gd name="connsiteY1214" fmla="*/ 49582 h 1151883"/>
                <a:gd name="connsiteX1215" fmla="*/ 398351 w 922759"/>
                <a:gd name="connsiteY1215" fmla="*/ 48100 h 1151883"/>
                <a:gd name="connsiteX1216" fmla="*/ 397292 w 922759"/>
                <a:gd name="connsiteY1216" fmla="*/ 45317 h 1151883"/>
                <a:gd name="connsiteX1217" fmla="*/ 394902 w 922759"/>
                <a:gd name="connsiteY1217" fmla="*/ 43744 h 1151883"/>
                <a:gd name="connsiteX1218" fmla="*/ 392300 w 922759"/>
                <a:gd name="connsiteY1218" fmla="*/ 42715 h 1151883"/>
                <a:gd name="connsiteX1219" fmla="*/ 390546 w 922759"/>
                <a:gd name="connsiteY1219" fmla="*/ 41475 h 1151883"/>
                <a:gd name="connsiteX1220" fmla="*/ 386371 w 922759"/>
                <a:gd name="connsiteY1220" fmla="*/ 39750 h 1151883"/>
                <a:gd name="connsiteX1221" fmla="*/ 380200 w 922759"/>
                <a:gd name="connsiteY1221" fmla="*/ 39448 h 1151883"/>
                <a:gd name="connsiteX1222" fmla="*/ 375329 w 922759"/>
                <a:gd name="connsiteY1222" fmla="*/ 37784 h 1151883"/>
                <a:gd name="connsiteX1223" fmla="*/ 374997 w 922759"/>
                <a:gd name="connsiteY1223" fmla="*/ 32006 h 1151883"/>
                <a:gd name="connsiteX1224" fmla="*/ 373696 w 922759"/>
                <a:gd name="connsiteY1224" fmla="*/ 33004 h 1151883"/>
                <a:gd name="connsiteX1225" fmla="*/ 372425 w 922759"/>
                <a:gd name="connsiteY1225" fmla="*/ 35092 h 1151883"/>
                <a:gd name="connsiteX1226" fmla="*/ 369975 w 922759"/>
                <a:gd name="connsiteY1226" fmla="*/ 35999 h 1151883"/>
                <a:gd name="connsiteX1227" fmla="*/ 368069 w 922759"/>
                <a:gd name="connsiteY1227" fmla="*/ 38208 h 1151883"/>
                <a:gd name="connsiteX1228" fmla="*/ 362079 w 922759"/>
                <a:gd name="connsiteY1228" fmla="*/ 40991 h 1151883"/>
                <a:gd name="connsiteX1229" fmla="*/ 360627 w 922759"/>
                <a:gd name="connsiteY1229" fmla="*/ 40991 h 1151883"/>
                <a:gd name="connsiteX1230" fmla="*/ 359145 w 922759"/>
                <a:gd name="connsiteY1230" fmla="*/ 41505 h 1151883"/>
                <a:gd name="connsiteX1231" fmla="*/ 357451 w 922759"/>
                <a:gd name="connsiteY1231" fmla="*/ 41324 h 1151883"/>
                <a:gd name="connsiteX1232" fmla="*/ 355424 w 922759"/>
                <a:gd name="connsiteY1232" fmla="*/ 39569 h 1151883"/>
                <a:gd name="connsiteX1233" fmla="*/ 353609 w 922759"/>
                <a:gd name="connsiteY1233" fmla="*/ 39962 h 1151883"/>
                <a:gd name="connsiteX1234" fmla="*/ 352490 w 922759"/>
                <a:gd name="connsiteY1234" fmla="*/ 40870 h 1151883"/>
                <a:gd name="connsiteX1235" fmla="*/ 351068 w 922759"/>
                <a:gd name="connsiteY1235" fmla="*/ 41233 h 1151883"/>
                <a:gd name="connsiteX1236" fmla="*/ 350100 w 922759"/>
                <a:gd name="connsiteY1236" fmla="*/ 42171 h 1151883"/>
                <a:gd name="connsiteX1237" fmla="*/ 348587 w 922759"/>
                <a:gd name="connsiteY1237" fmla="*/ 42413 h 1151883"/>
                <a:gd name="connsiteX1238" fmla="*/ 341266 w 922759"/>
                <a:gd name="connsiteY1238" fmla="*/ 42413 h 1151883"/>
                <a:gd name="connsiteX1239" fmla="*/ 339481 w 922759"/>
                <a:gd name="connsiteY1239" fmla="*/ 41717 h 1151883"/>
                <a:gd name="connsiteX1240" fmla="*/ 338725 w 922759"/>
                <a:gd name="connsiteY1240" fmla="*/ 39811 h 1151883"/>
                <a:gd name="connsiteX1241" fmla="*/ 338423 w 922759"/>
                <a:gd name="connsiteY1241" fmla="*/ 37572 h 1151883"/>
                <a:gd name="connsiteX1242" fmla="*/ 337969 w 922759"/>
                <a:gd name="connsiteY1242" fmla="*/ 35969 h 1151883"/>
                <a:gd name="connsiteX1243" fmla="*/ 336275 w 922759"/>
                <a:gd name="connsiteY1243" fmla="*/ 34578 h 1151883"/>
                <a:gd name="connsiteX1244" fmla="*/ 314948 w 922759"/>
                <a:gd name="connsiteY1244" fmla="*/ 29919 h 1151883"/>
                <a:gd name="connsiteX1245" fmla="*/ 307052 w 922759"/>
                <a:gd name="connsiteY1245" fmla="*/ 26924 h 1151883"/>
                <a:gd name="connsiteX1246" fmla="*/ 299005 w 922759"/>
                <a:gd name="connsiteY1246" fmla="*/ 25654 h 1151883"/>
                <a:gd name="connsiteX1247" fmla="*/ 296645 w 922759"/>
                <a:gd name="connsiteY1247" fmla="*/ 25986 h 1151883"/>
                <a:gd name="connsiteX1248" fmla="*/ 289778 w 922759"/>
                <a:gd name="connsiteY1248" fmla="*/ 28376 h 1151883"/>
                <a:gd name="connsiteX1249" fmla="*/ 286057 w 922759"/>
                <a:gd name="connsiteY1249" fmla="*/ 28225 h 1151883"/>
                <a:gd name="connsiteX1250" fmla="*/ 282518 w 922759"/>
                <a:gd name="connsiteY1250" fmla="*/ 27196 h 1151883"/>
                <a:gd name="connsiteX1251" fmla="*/ 281157 w 922759"/>
                <a:gd name="connsiteY1251" fmla="*/ 31855 h 1151883"/>
                <a:gd name="connsiteX1252" fmla="*/ 280703 w 922759"/>
                <a:gd name="connsiteY1252" fmla="*/ 35576 h 1151883"/>
                <a:gd name="connsiteX1253" fmla="*/ 281278 w 922759"/>
                <a:gd name="connsiteY1253" fmla="*/ 39781 h 1151883"/>
                <a:gd name="connsiteX1254" fmla="*/ 282639 w 922759"/>
                <a:gd name="connsiteY1254" fmla="*/ 42534 h 1151883"/>
                <a:gd name="connsiteX1255" fmla="*/ 284605 w 922759"/>
                <a:gd name="connsiteY1255" fmla="*/ 45740 h 1151883"/>
                <a:gd name="connsiteX1256" fmla="*/ 285906 w 922759"/>
                <a:gd name="connsiteY1256" fmla="*/ 49008 h 1151883"/>
                <a:gd name="connsiteX1257" fmla="*/ 285331 w 922759"/>
                <a:gd name="connsiteY1257" fmla="*/ 51912 h 1151883"/>
                <a:gd name="connsiteX1258" fmla="*/ 285331 w 922759"/>
                <a:gd name="connsiteY1258" fmla="*/ 53031 h 1151883"/>
                <a:gd name="connsiteX1259" fmla="*/ 288750 w 922759"/>
                <a:gd name="connsiteY1259" fmla="*/ 54574 h 1151883"/>
                <a:gd name="connsiteX1260" fmla="*/ 294195 w 922759"/>
                <a:gd name="connsiteY1260" fmla="*/ 58990 h 1151883"/>
                <a:gd name="connsiteX1261" fmla="*/ 297069 w 922759"/>
                <a:gd name="connsiteY1261" fmla="*/ 60654 h 1151883"/>
                <a:gd name="connsiteX1262" fmla="*/ 298370 w 922759"/>
                <a:gd name="connsiteY1262" fmla="*/ 62863 h 1151883"/>
                <a:gd name="connsiteX1263" fmla="*/ 301879 w 922759"/>
                <a:gd name="connsiteY1263" fmla="*/ 71545 h 1151883"/>
                <a:gd name="connsiteX1264" fmla="*/ 298430 w 922759"/>
                <a:gd name="connsiteY1264" fmla="*/ 73723 h 1151883"/>
                <a:gd name="connsiteX1265" fmla="*/ 299126 w 922759"/>
                <a:gd name="connsiteY1265" fmla="*/ 74933 h 1151883"/>
                <a:gd name="connsiteX1266" fmla="*/ 300276 w 922759"/>
                <a:gd name="connsiteY1266" fmla="*/ 74207 h 1151883"/>
                <a:gd name="connsiteX1267" fmla="*/ 302393 w 922759"/>
                <a:gd name="connsiteY1267" fmla="*/ 73663 h 1151883"/>
                <a:gd name="connsiteX1268" fmla="*/ 304450 w 922759"/>
                <a:gd name="connsiteY1268" fmla="*/ 73602 h 1151883"/>
                <a:gd name="connsiteX1269" fmla="*/ 305388 w 922759"/>
                <a:gd name="connsiteY1269" fmla="*/ 74358 h 1151883"/>
                <a:gd name="connsiteX1270" fmla="*/ 305872 w 922759"/>
                <a:gd name="connsiteY1270" fmla="*/ 76052 h 1151883"/>
                <a:gd name="connsiteX1271" fmla="*/ 307052 w 922759"/>
                <a:gd name="connsiteY1271" fmla="*/ 77746 h 1151883"/>
                <a:gd name="connsiteX1272" fmla="*/ 315280 w 922759"/>
                <a:gd name="connsiteY1272" fmla="*/ 85914 h 1151883"/>
                <a:gd name="connsiteX1273" fmla="*/ 317852 w 922759"/>
                <a:gd name="connsiteY1273" fmla="*/ 89575 h 1151883"/>
                <a:gd name="connsiteX1274" fmla="*/ 317852 w 922759"/>
                <a:gd name="connsiteY1274" fmla="*/ 93447 h 1151883"/>
                <a:gd name="connsiteX1275" fmla="*/ 317156 w 922759"/>
                <a:gd name="connsiteY1275" fmla="*/ 96018 h 1151883"/>
                <a:gd name="connsiteX1276" fmla="*/ 315462 w 922759"/>
                <a:gd name="connsiteY1276" fmla="*/ 97198 h 1151883"/>
                <a:gd name="connsiteX1277" fmla="*/ 311590 w 922759"/>
                <a:gd name="connsiteY1277" fmla="*/ 98953 h 1151883"/>
                <a:gd name="connsiteX1278" fmla="*/ 307324 w 922759"/>
                <a:gd name="connsiteY1278" fmla="*/ 102432 h 1151883"/>
                <a:gd name="connsiteX1279" fmla="*/ 305207 w 922759"/>
                <a:gd name="connsiteY1279" fmla="*/ 103672 h 1151883"/>
                <a:gd name="connsiteX1280" fmla="*/ 302665 w 922759"/>
                <a:gd name="connsiteY1280" fmla="*/ 104307 h 1151883"/>
                <a:gd name="connsiteX1281" fmla="*/ 291624 w 922759"/>
                <a:gd name="connsiteY1281" fmla="*/ 104307 h 1151883"/>
                <a:gd name="connsiteX1282" fmla="*/ 283456 w 922759"/>
                <a:gd name="connsiteY1282" fmla="*/ 106364 h 1151883"/>
                <a:gd name="connsiteX1283" fmla="*/ 281308 w 922759"/>
                <a:gd name="connsiteY1283" fmla="*/ 105487 h 1151883"/>
                <a:gd name="connsiteX1284" fmla="*/ 280310 w 922759"/>
                <a:gd name="connsiteY1284" fmla="*/ 106818 h 1151883"/>
                <a:gd name="connsiteX1285" fmla="*/ 279372 w 922759"/>
                <a:gd name="connsiteY1285" fmla="*/ 108482 h 1151883"/>
                <a:gd name="connsiteX1286" fmla="*/ 279069 w 922759"/>
                <a:gd name="connsiteY1286" fmla="*/ 110267 h 1151883"/>
                <a:gd name="connsiteX1287" fmla="*/ 279917 w 922759"/>
                <a:gd name="connsiteY1287" fmla="*/ 112021 h 1151883"/>
                <a:gd name="connsiteX1288" fmla="*/ 281520 w 922759"/>
                <a:gd name="connsiteY1288" fmla="*/ 110024 h 1151883"/>
                <a:gd name="connsiteX1289" fmla="*/ 282851 w 922759"/>
                <a:gd name="connsiteY1289" fmla="*/ 110418 h 1151883"/>
                <a:gd name="connsiteX1290" fmla="*/ 284242 w 922759"/>
                <a:gd name="connsiteY1290" fmla="*/ 111628 h 1151883"/>
                <a:gd name="connsiteX1291" fmla="*/ 286057 w 922759"/>
                <a:gd name="connsiteY1291" fmla="*/ 112021 h 1151883"/>
                <a:gd name="connsiteX1292" fmla="*/ 286057 w 922759"/>
                <a:gd name="connsiteY1292" fmla="*/ 113110 h 1151883"/>
                <a:gd name="connsiteX1293" fmla="*/ 283698 w 922759"/>
                <a:gd name="connsiteY1293" fmla="*/ 112989 h 1151883"/>
                <a:gd name="connsiteX1294" fmla="*/ 280612 w 922759"/>
                <a:gd name="connsiteY1294" fmla="*/ 113564 h 1151883"/>
                <a:gd name="connsiteX1295" fmla="*/ 277859 w 922759"/>
                <a:gd name="connsiteY1295" fmla="*/ 114714 h 1151883"/>
                <a:gd name="connsiteX1296" fmla="*/ 276438 w 922759"/>
                <a:gd name="connsiteY1296" fmla="*/ 116347 h 1151883"/>
                <a:gd name="connsiteX1297" fmla="*/ 276740 w 922759"/>
                <a:gd name="connsiteY1297" fmla="*/ 120461 h 1151883"/>
                <a:gd name="connsiteX1298" fmla="*/ 278827 w 922759"/>
                <a:gd name="connsiteY1298" fmla="*/ 123940 h 1151883"/>
                <a:gd name="connsiteX1299" fmla="*/ 281701 w 922759"/>
                <a:gd name="connsiteY1299" fmla="*/ 126360 h 1151883"/>
                <a:gd name="connsiteX1300" fmla="*/ 284394 w 922759"/>
                <a:gd name="connsiteY1300" fmla="*/ 127268 h 1151883"/>
                <a:gd name="connsiteX1301" fmla="*/ 285574 w 922759"/>
                <a:gd name="connsiteY1301" fmla="*/ 126905 h 1151883"/>
                <a:gd name="connsiteX1302" fmla="*/ 288931 w 922759"/>
                <a:gd name="connsiteY1302" fmla="*/ 123910 h 1151883"/>
                <a:gd name="connsiteX1303" fmla="*/ 290505 w 922759"/>
                <a:gd name="connsiteY1303" fmla="*/ 123335 h 1151883"/>
                <a:gd name="connsiteX1304" fmla="*/ 294104 w 922759"/>
                <a:gd name="connsiteY1304" fmla="*/ 123910 h 1151883"/>
                <a:gd name="connsiteX1305" fmla="*/ 297190 w 922759"/>
                <a:gd name="connsiteY1305" fmla="*/ 123577 h 1151883"/>
                <a:gd name="connsiteX1306" fmla="*/ 302454 w 922759"/>
                <a:gd name="connsiteY1306" fmla="*/ 122095 h 1151883"/>
                <a:gd name="connsiteX1307" fmla="*/ 305509 w 922759"/>
                <a:gd name="connsiteY1307" fmla="*/ 121762 h 1151883"/>
                <a:gd name="connsiteX1308" fmla="*/ 305297 w 922759"/>
                <a:gd name="connsiteY1308" fmla="*/ 122276 h 1151883"/>
                <a:gd name="connsiteX1309" fmla="*/ 305025 w 922759"/>
                <a:gd name="connsiteY1309" fmla="*/ 123396 h 1151883"/>
                <a:gd name="connsiteX1310" fmla="*/ 304813 w 922759"/>
                <a:gd name="connsiteY1310" fmla="*/ 123910 h 1151883"/>
                <a:gd name="connsiteX1311" fmla="*/ 306991 w 922759"/>
                <a:gd name="connsiteY1311" fmla="*/ 123033 h 1151883"/>
                <a:gd name="connsiteX1312" fmla="*/ 310773 w 922759"/>
                <a:gd name="connsiteY1312" fmla="*/ 120008 h 1151883"/>
                <a:gd name="connsiteX1313" fmla="*/ 313072 w 922759"/>
                <a:gd name="connsiteY1313" fmla="*/ 119584 h 1151883"/>
                <a:gd name="connsiteX1314" fmla="*/ 312074 w 922759"/>
                <a:gd name="connsiteY1314" fmla="*/ 121974 h 1151883"/>
                <a:gd name="connsiteX1315" fmla="*/ 310501 w 922759"/>
                <a:gd name="connsiteY1315" fmla="*/ 124485 h 1151883"/>
                <a:gd name="connsiteX1316" fmla="*/ 308958 w 922759"/>
                <a:gd name="connsiteY1316" fmla="*/ 126451 h 1151883"/>
                <a:gd name="connsiteX1317" fmla="*/ 307899 w 922759"/>
                <a:gd name="connsiteY1317" fmla="*/ 127238 h 1151883"/>
                <a:gd name="connsiteX1318" fmla="*/ 306175 w 922759"/>
                <a:gd name="connsiteY1318" fmla="*/ 127389 h 1151883"/>
                <a:gd name="connsiteX1319" fmla="*/ 301909 w 922759"/>
                <a:gd name="connsiteY1319" fmla="*/ 128508 h 1151883"/>
                <a:gd name="connsiteX1320" fmla="*/ 300669 w 922759"/>
                <a:gd name="connsiteY1320" fmla="*/ 129385 h 1151883"/>
                <a:gd name="connsiteX1321" fmla="*/ 300669 w 922759"/>
                <a:gd name="connsiteY1321" fmla="*/ 130474 h 1151883"/>
                <a:gd name="connsiteX1322" fmla="*/ 301365 w 922759"/>
                <a:gd name="connsiteY1322" fmla="*/ 132864 h 1151883"/>
                <a:gd name="connsiteX1323" fmla="*/ 300306 w 922759"/>
                <a:gd name="connsiteY1323" fmla="*/ 135375 h 1151883"/>
                <a:gd name="connsiteX1324" fmla="*/ 298763 w 922759"/>
                <a:gd name="connsiteY1324" fmla="*/ 138098 h 1151883"/>
                <a:gd name="connsiteX1325" fmla="*/ 297946 w 922759"/>
                <a:gd name="connsiteY1325" fmla="*/ 141244 h 1151883"/>
                <a:gd name="connsiteX1326" fmla="*/ 298249 w 922759"/>
                <a:gd name="connsiteY1326" fmla="*/ 142031 h 1151883"/>
                <a:gd name="connsiteX1327" fmla="*/ 300034 w 922759"/>
                <a:gd name="connsiteY1327" fmla="*/ 145570 h 1151883"/>
                <a:gd name="connsiteX1328" fmla="*/ 302786 w 922759"/>
                <a:gd name="connsiteY1328" fmla="*/ 149957 h 1151883"/>
                <a:gd name="connsiteX1329" fmla="*/ 303482 w 922759"/>
                <a:gd name="connsiteY1329" fmla="*/ 149957 h 1151883"/>
                <a:gd name="connsiteX1330" fmla="*/ 305297 w 922759"/>
                <a:gd name="connsiteY1330" fmla="*/ 148081 h 1151883"/>
                <a:gd name="connsiteX1331" fmla="*/ 308565 w 922759"/>
                <a:gd name="connsiteY1331" fmla="*/ 146629 h 1151883"/>
                <a:gd name="connsiteX1332" fmla="*/ 312074 w 922759"/>
                <a:gd name="connsiteY1332" fmla="*/ 146024 h 1151883"/>
                <a:gd name="connsiteX1333" fmla="*/ 314524 w 922759"/>
                <a:gd name="connsiteY1333" fmla="*/ 146719 h 1151883"/>
                <a:gd name="connsiteX1334" fmla="*/ 314524 w 922759"/>
                <a:gd name="connsiteY1334" fmla="*/ 147688 h 1151883"/>
                <a:gd name="connsiteX1335" fmla="*/ 314222 w 922759"/>
                <a:gd name="connsiteY1335" fmla="*/ 149503 h 1151883"/>
                <a:gd name="connsiteX1336" fmla="*/ 315613 w 922759"/>
                <a:gd name="connsiteY1336" fmla="*/ 151106 h 1151883"/>
                <a:gd name="connsiteX1337" fmla="*/ 317489 w 922759"/>
                <a:gd name="connsiteY1337" fmla="*/ 152619 h 1151883"/>
                <a:gd name="connsiteX1338" fmla="*/ 318668 w 922759"/>
                <a:gd name="connsiteY1338" fmla="*/ 154252 h 1151883"/>
                <a:gd name="connsiteX1339" fmla="*/ 318668 w 922759"/>
                <a:gd name="connsiteY1339" fmla="*/ 156703 h 1151883"/>
                <a:gd name="connsiteX1340" fmla="*/ 318154 w 922759"/>
                <a:gd name="connsiteY1340" fmla="*/ 160091 h 1151883"/>
                <a:gd name="connsiteX1341" fmla="*/ 317338 w 922759"/>
                <a:gd name="connsiteY1341" fmla="*/ 163207 h 1151883"/>
                <a:gd name="connsiteX1342" fmla="*/ 316581 w 922759"/>
                <a:gd name="connsiteY1342" fmla="*/ 164931 h 1151883"/>
                <a:gd name="connsiteX1343" fmla="*/ 314373 w 922759"/>
                <a:gd name="connsiteY1343" fmla="*/ 165899 h 1151883"/>
                <a:gd name="connsiteX1344" fmla="*/ 312195 w 922759"/>
                <a:gd name="connsiteY1344" fmla="*/ 165233 h 1151883"/>
                <a:gd name="connsiteX1345" fmla="*/ 308232 w 922759"/>
                <a:gd name="connsiteY1345" fmla="*/ 162783 h 1151883"/>
                <a:gd name="connsiteX1346" fmla="*/ 305842 w 922759"/>
                <a:gd name="connsiteY1346" fmla="*/ 162178 h 1151883"/>
                <a:gd name="connsiteX1347" fmla="*/ 303936 w 922759"/>
                <a:gd name="connsiteY1347" fmla="*/ 162299 h 1151883"/>
                <a:gd name="connsiteX1348" fmla="*/ 300064 w 922759"/>
                <a:gd name="connsiteY1348" fmla="*/ 163933 h 1151883"/>
                <a:gd name="connsiteX1349" fmla="*/ 308383 w 922759"/>
                <a:gd name="connsiteY1349" fmla="*/ 179512 h 1151883"/>
                <a:gd name="connsiteX1350" fmla="*/ 311741 w 922759"/>
                <a:gd name="connsiteY1350" fmla="*/ 183354 h 1151883"/>
                <a:gd name="connsiteX1351" fmla="*/ 315280 w 922759"/>
                <a:gd name="connsiteY1351" fmla="*/ 185835 h 1151883"/>
                <a:gd name="connsiteX1352" fmla="*/ 317610 w 922759"/>
                <a:gd name="connsiteY1352" fmla="*/ 186561 h 1151883"/>
                <a:gd name="connsiteX1353" fmla="*/ 318668 w 922759"/>
                <a:gd name="connsiteY1353" fmla="*/ 184957 h 1151883"/>
                <a:gd name="connsiteX1354" fmla="*/ 319848 w 922759"/>
                <a:gd name="connsiteY1354" fmla="*/ 184262 h 1151883"/>
                <a:gd name="connsiteX1355" fmla="*/ 322420 w 922759"/>
                <a:gd name="connsiteY1355" fmla="*/ 184927 h 1151883"/>
                <a:gd name="connsiteX1356" fmla="*/ 326231 w 922759"/>
                <a:gd name="connsiteY1356" fmla="*/ 186561 h 1151883"/>
                <a:gd name="connsiteX1357" fmla="*/ 339028 w 922759"/>
                <a:gd name="connsiteY1357" fmla="*/ 186833 h 1151883"/>
                <a:gd name="connsiteX1358" fmla="*/ 342779 w 922759"/>
                <a:gd name="connsiteY1358" fmla="*/ 187650 h 1151883"/>
                <a:gd name="connsiteX1359" fmla="*/ 346591 w 922759"/>
                <a:gd name="connsiteY1359" fmla="*/ 189798 h 1151883"/>
                <a:gd name="connsiteX1360" fmla="*/ 352943 w 922759"/>
                <a:gd name="connsiteY1360" fmla="*/ 194850 h 1151883"/>
                <a:gd name="connsiteX1361" fmla="*/ 356604 w 922759"/>
                <a:gd name="connsiteY1361" fmla="*/ 196181 h 1151883"/>
                <a:gd name="connsiteX1362" fmla="*/ 356755 w 922759"/>
                <a:gd name="connsiteY1362" fmla="*/ 199296 h 1151883"/>
                <a:gd name="connsiteX1363" fmla="*/ 358358 w 922759"/>
                <a:gd name="connsiteY1363" fmla="*/ 204349 h 1151883"/>
                <a:gd name="connsiteX1364" fmla="*/ 360718 w 922759"/>
                <a:gd name="connsiteY1364" fmla="*/ 209038 h 1151883"/>
                <a:gd name="connsiteX1365" fmla="*/ 363168 w 922759"/>
                <a:gd name="connsiteY1365" fmla="*/ 211095 h 1151883"/>
                <a:gd name="connsiteX1366" fmla="*/ 364681 w 922759"/>
                <a:gd name="connsiteY1366" fmla="*/ 211609 h 1151883"/>
                <a:gd name="connsiteX1367" fmla="*/ 369400 w 922759"/>
                <a:gd name="connsiteY1367" fmla="*/ 214029 h 1151883"/>
                <a:gd name="connsiteX1368" fmla="*/ 370429 w 922759"/>
                <a:gd name="connsiteY1368" fmla="*/ 214876 h 1151883"/>
                <a:gd name="connsiteX1369" fmla="*/ 370822 w 922759"/>
                <a:gd name="connsiteY1369" fmla="*/ 217599 h 1151883"/>
                <a:gd name="connsiteX1370" fmla="*/ 371124 w 922759"/>
                <a:gd name="connsiteY1370" fmla="*/ 221834 h 1151883"/>
                <a:gd name="connsiteX1371" fmla="*/ 372304 w 922759"/>
                <a:gd name="connsiteY1371" fmla="*/ 226826 h 1151883"/>
                <a:gd name="connsiteX1372" fmla="*/ 375602 w 922759"/>
                <a:gd name="connsiteY1372" fmla="*/ 230274 h 1151883"/>
                <a:gd name="connsiteX1373" fmla="*/ 382862 w 922759"/>
                <a:gd name="connsiteY1373" fmla="*/ 234600 h 1151883"/>
                <a:gd name="connsiteX1374" fmla="*/ 386553 w 922759"/>
                <a:gd name="connsiteY1374" fmla="*/ 235931 h 1151883"/>
                <a:gd name="connsiteX1375" fmla="*/ 395598 w 922759"/>
                <a:gd name="connsiteY1375" fmla="*/ 236899 h 1151883"/>
                <a:gd name="connsiteX1376" fmla="*/ 399379 w 922759"/>
                <a:gd name="connsiteY1376" fmla="*/ 238926 h 1151883"/>
                <a:gd name="connsiteX1377" fmla="*/ 400620 w 922759"/>
                <a:gd name="connsiteY1377" fmla="*/ 240953 h 1151883"/>
                <a:gd name="connsiteX1378" fmla="*/ 399319 w 922759"/>
                <a:gd name="connsiteY1378" fmla="*/ 241437 h 1151883"/>
                <a:gd name="connsiteX1379" fmla="*/ 393783 w 922759"/>
                <a:gd name="connsiteY1379" fmla="*/ 240287 h 1151883"/>
                <a:gd name="connsiteX1380" fmla="*/ 387006 w 922759"/>
                <a:gd name="connsiteY1380" fmla="*/ 238896 h 1151883"/>
                <a:gd name="connsiteX1381" fmla="*/ 381017 w 922759"/>
                <a:gd name="connsiteY1381" fmla="*/ 235114 h 1151883"/>
                <a:gd name="connsiteX1382" fmla="*/ 379776 w 922759"/>
                <a:gd name="connsiteY1382" fmla="*/ 234570 h 1151883"/>
                <a:gd name="connsiteX1383" fmla="*/ 377387 w 922759"/>
                <a:gd name="connsiteY1383" fmla="*/ 234298 h 1151883"/>
                <a:gd name="connsiteX1384" fmla="*/ 375511 w 922759"/>
                <a:gd name="connsiteY1384" fmla="*/ 233541 h 1151883"/>
                <a:gd name="connsiteX1385" fmla="*/ 373968 w 922759"/>
                <a:gd name="connsiteY1385" fmla="*/ 232240 h 1151883"/>
                <a:gd name="connsiteX1386" fmla="*/ 367071 w 922759"/>
                <a:gd name="connsiteY1386" fmla="*/ 222862 h 1151883"/>
                <a:gd name="connsiteX1387" fmla="*/ 365679 w 922759"/>
                <a:gd name="connsiteY1387" fmla="*/ 218143 h 1151883"/>
                <a:gd name="connsiteX1388" fmla="*/ 364288 w 922759"/>
                <a:gd name="connsiteY1388" fmla="*/ 216510 h 1151883"/>
                <a:gd name="connsiteX1389" fmla="*/ 361474 w 922759"/>
                <a:gd name="connsiteY1389" fmla="*/ 214392 h 1151883"/>
                <a:gd name="connsiteX1390" fmla="*/ 357421 w 922759"/>
                <a:gd name="connsiteY1390" fmla="*/ 209975 h 1151883"/>
                <a:gd name="connsiteX1391" fmla="*/ 347619 w 922759"/>
                <a:gd name="connsiteY1391" fmla="*/ 194002 h 1151883"/>
                <a:gd name="connsiteX1392" fmla="*/ 345411 w 922759"/>
                <a:gd name="connsiteY1392" fmla="*/ 191340 h 1151883"/>
                <a:gd name="connsiteX1393" fmla="*/ 344534 w 922759"/>
                <a:gd name="connsiteY1393" fmla="*/ 190796 h 1151883"/>
                <a:gd name="connsiteX1394" fmla="*/ 341115 w 922759"/>
                <a:gd name="connsiteY1394" fmla="*/ 190947 h 1151883"/>
                <a:gd name="connsiteX1395" fmla="*/ 339451 w 922759"/>
                <a:gd name="connsiteY1395" fmla="*/ 190675 h 1151883"/>
                <a:gd name="connsiteX1396" fmla="*/ 338090 w 922759"/>
                <a:gd name="connsiteY1396" fmla="*/ 189707 h 1151883"/>
                <a:gd name="connsiteX1397" fmla="*/ 336366 w 922759"/>
                <a:gd name="connsiteY1397" fmla="*/ 190857 h 1151883"/>
                <a:gd name="connsiteX1398" fmla="*/ 328409 w 922759"/>
                <a:gd name="connsiteY1398" fmla="*/ 190766 h 1151883"/>
                <a:gd name="connsiteX1399" fmla="*/ 320423 w 922759"/>
                <a:gd name="connsiteY1399" fmla="*/ 192581 h 1151883"/>
                <a:gd name="connsiteX1400" fmla="*/ 318547 w 922759"/>
                <a:gd name="connsiteY1400" fmla="*/ 194638 h 1151883"/>
                <a:gd name="connsiteX1401" fmla="*/ 314524 w 922759"/>
                <a:gd name="connsiteY1401" fmla="*/ 194336 h 1151883"/>
                <a:gd name="connsiteX1402" fmla="*/ 307203 w 922759"/>
                <a:gd name="connsiteY1402" fmla="*/ 195999 h 1151883"/>
                <a:gd name="connsiteX1403" fmla="*/ 302877 w 922759"/>
                <a:gd name="connsiteY1403" fmla="*/ 196120 h 1151883"/>
                <a:gd name="connsiteX1404" fmla="*/ 295012 w 922759"/>
                <a:gd name="connsiteY1404" fmla="*/ 194305 h 1151883"/>
                <a:gd name="connsiteX1405" fmla="*/ 291200 w 922759"/>
                <a:gd name="connsiteY1405" fmla="*/ 192490 h 1151883"/>
                <a:gd name="connsiteX1406" fmla="*/ 287631 w 922759"/>
                <a:gd name="connsiteY1406" fmla="*/ 189707 h 1151883"/>
                <a:gd name="connsiteX1407" fmla="*/ 285150 w 922759"/>
                <a:gd name="connsiteY1407" fmla="*/ 187136 h 1151883"/>
                <a:gd name="connsiteX1408" fmla="*/ 283940 w 922759"/>
                <a:gd name="connsiteY1408" fmla="*/ 186652 h 1151883"/>
                <a:gd name="connsiteX1409" fmla="*/ 281852 w 922759"/>
                <a:gd name="connsiteY1409" fmla="*/ 186500 h 1151883"/>
                <a:gd name="connsiteX1410" fmla="*/ 279584 w 922759"/>
                <a:gd name="connsiteY1410" fmla="*/ 186984 h 1151883"/>
                <a:gd name="connsiteX1411" fmla="*/ 277345 w 922759"/>
                <a:gd name="connsiteY1411" fmla="*/ 188225 h 1151883"/>
                <a:gd name="connsiteX1412" fmla="*/ 275379 w 922759"/>
                <a:gd name="connsiteY1412" fmla="*/ 189979 h 1151883"/>
                <a:gd name="connsiteX1413" fmla="*/ 273927 w 922759"/>
                <a:gd name="connsiteY1413" fmla="*/ 191976 h 1151883"/>
                <a:gd name="connsiteX1414" fmla="*/ 272202 w 922759"/>
                <a:gd name="connsiteY1414" fmla="*/ 196151 h 1151883"/>
                <a:gd name="connsiteX1415" fmla="*/ 269540 w 922759"/>
                <a:gd name="connsiteY1415" fmla="*/ 205589 h 1151883"/>
                <a:gd name="connsiteX1416" fmla="*/ 265759 w 922759"/>
                <a:gd name="connsiteY1416" fmla="*/ 214271 h 1151883"/>
                <a:gd name="connsiteX1417" fmla="*/ 265124 w 922759"/>
                <a:gd name="connsiteY1417" fmla="*/ 216570 h 1151883"/>
                <a:gd name="connsiteX1418" fmla="*/ 264912 w 922759"/>
                <a:gd name="connsiteY1418" fmla="*/ 219202 h 1151883"/>
                <a:gd name="connsiteX1419" fmla="*/ 265214 w 922759"/>
                <a:gd name="connsiteY1419" fmla="*/ 221804 h 1151883"/>
                <a:gd name="connsiteX1420" fmla="*/ 266636 w 922759"/>
                <a:gd name="connsiteY1420" fmla="*/ 225343 h 1151883"/>
                <a:gd name="connsiteX1421" fmla="*/ 267362 w 922759"/>
                <a:gd name="connsiteY1421" fmla="*/ 228308 h 1151883"/>
                <a:gd name="connsiteX1422" fmla="*/ 268239 w 922759"/>
                <a:gd name="connsiteY1422" fmla="*/ 230637 h 1151883"/>
                <a:gd name="connsiteX1423" fmla="*/ 269298 w 922759"/>
                <a:gd name="connsiteY1423" fmla="*/ 232755 h 1151883"/>
                <a:gd name="connsiteX1424" fmla="*/ 270085 w 922759"/>
                <a:gd name="connsiteY1424" fmla="*/ 233662 h 1151883"/>
                <a:gd name="connsiteX1425" fmla="*/ 272656 w 922759"/>
                <a:gd name="connsiteY1425" fmla="*/ 239743 h 1151883"/>
                <a:gd name="connsiteX1426" fmla="*/ 273140 w 922759"/>
                <a:gd name="connsiteY1426" fmla="*/ 240529 h 1151883"/>
                <a:gd name="connsiteX1427" fmla="*/ 272233 w 922759"/>
                <a:gd name="connsiteY1427" fmla="*/ 244946 h 1151883"/>
                <a:gd name="connsiteX1428" fmla="*/ 270145 w 922759"/>
                <a:gd name="connsiteY1428" fmla="*/ 246822 h 1151883"/>
                <a:gd name="connsiteX1429" fmla="*/ 267846 w 922759"/>
                <a:gd name="connsiteY1429" fmla="*/ 248334 h 1151883"/>
                <a:gd name="connsiteX1430" fmla="*/ 266303 w 922759"/>
                <a:gd name="connsiteY1430" fmla="*/ 251692 h 1151883"/>
                <a:gd name="connsiteX1431" fmla="*/ 266213 w 922759"/>
                <a:gd name="connsiteY1431" fmla="*/ 256290 h 1151883"/>
                <a:gd name="connsiteX1432" fmla="*/ 267271 w 922759"/>
                <a:gd name="connsiteY1432" fmla="*/ 265971 h 1151883"/>
                <a:gd name="connsiteX1433" fmla="*/ 266969 w 922759"/>
                <a:gd name="connsiteY1433" fmla="*/ 269782 h 1151883"/>
                <a:gd name="connsiteX1434" fmla="*/ 265607 w 922759"/>
                <a:gd name="connsiteY1434" fmla="*/ 266939 h 1151883"/>
                <a:gd name="connsiteX1435" fmla="*/ 265033 w 922759"/>
                <a:gd name="connsiteY1435" fmla="*/ 263097 h 1151883"/>
                <a:gd name="connsiteX1436" fmla="*/ 264912 w 922759"/>
                <a:gd name="connsiteY1436" fmla="*/ 254385 h 1151883"/>
                <a:gd name="connsiteX1437" fmla="*/ 265517 w 922759"/>
                <a:gd name="connsiteY1437" fmla="*/ 249877 h 1151883"/>
                <a:gd name="connsiteX1438" fmla="*/ 267150 w 922759"/>
                <a:gd name="connsiteY1438" fmla="*/ 246519 h 1151883"/>
                <a:gd name="connsiteX1439" fmla="*/ 269359 w 922759"/>
                <a:gd name="connsiteY1439" fmla="*/ 244038 h 1151883"/>
                <a:gd name="connsiteX1440" fmla="*/ 271748 w 922759"/>
                <a:gd name="connsiteY1440" fmla="*/ 242133 h 1151883"/>
                <a:gd name="connsiteX1441" fmla="*/ 271748 w 922759"/>
                <a:gd name="connsiteY1441" fmla="*/ 240983 h 1151883"/>
                <a:gd name="connsiteX1442" fmla="*/ 267876 w 922759"/>
                <a:gd name="connsiteY1442" fmla="*/ 239259 h 1151883"/>
                <a:gd name="connsiteX1443" fmla="*/ 259285 w 922759"/>
                <a:gd name="connsiteY1443" fmla="*/ 237686 h 1151883"/>
                <a:gd name="connsiteX1444" fmla="*/ 255231 w 922759"/>
                <a:gd name="connsiteY1444" fmla="*/ 235780 h 1151883"/>
                <a:gd name="connsiteX1445" fmla="*/ 253991 w 922759"/>
                <a:gd name="connsiteY1445" fmla="*/ 234237 h 1151883"/>
                <a:gd name="connsiteX1446" fmla="*/ 252751 w 922759"/>
                <a:gd name="connsiteY1446" fmla="*/ 232120 h 1151883"/>
                <a:gd name="connsiteX1447" fmla="*/ 251268 w 922759"/>
                <a:gd name="connsiteY1447" fmla="*/ 230214 h 1151883"/>
                <a:gd name="connsiteX1448" fmla="*/ 249332 w 922759"/>
                <a:gd name="connsiteY1448" fmla="*/ 229397 h 1151883"/>
                <a:gd name="connsiteX1449" fmla="*/ 245127 w 922759"/>
                <a:gd name="connsiteY1449" fmla="*/ 229608 h 1151883"/>
                <a:gd name="connsiteX1450" fmla="*/ 243433 w 922759"/>
                <a:gd name="connsiteY1450" fmla="*/ 230244 h 1151883"/>
                <a:gd name="connsiteX1451" fmla="*/ 242102 w 922759"/>
                <a:gd name="connsiteY1451" fmla="*/ 231545 h 1151883"/>
                <a:gd name="connsiteX1452" fmla="*/ 241255 w 922759"/>
                <a:gd name="connsiteY1452" fmla="*/ 233753 h 1151883"/>
                <a:gd name="connsiteX1453" fmla="*/ 240529 w 922759"/>
                <a:gd name="connsiteY1453" fmla="*/ 239047 h 1151883"/>
                <a:gd name="connsiteX1454" fmla="*/ 239682 w 922759"/>
                <a:gd name="connsiteY1454" fmla="*/ 241588 h 1151883"/>
                <a:gd name="connsiteX1455" fmla="*/ 239500 w 922759"/>
                <a:gd name="connsiteY1455" fmla="*/ 243887 h 1151883"/>
                <a:gd name="connsiteX1456" fmla="*/ 241618 w 922759"/>
                <a:gd name="connsiteY1456" fmla="*/ 244220 h 1151883"/>
                <a:gd name="connsiteX1457" fmla="*/ 245581 w 922759"/>
                <a:gd name="connsiteY1457" fmla="*/ 243252 h 1151883"/>
                <a:gd name="connsiteX1458" fmla="*/ 248485 w 922759"/>
                <a:gd name="connsiteY1458" fmla="*/ 246368 h 1151883"/>
                <a:gd name="connsiteX1459" fmla="*/ 247941 w 922759"/>
                <a:gd name="connsiteY1459" fmla="*/ 251692 h 1151883"/>
                <a:gd name="connsiteX1460" fmla="*/ 245702 w 922759"/>
                <a:gd name="connsiteY1460" fmla="*/ 257016 h 1151883"/>
                <a:gd name="connsiteX1461" fmla="*/ 243585 w 922759"/>
                <a:gd name="connsiteY1461" fmla="*/ 260283 h 1151883"/>
                <a:gd name="connsiteX1462" fmla="*/ 242344 w 922759"/>
                <a:gd name="connsiteY1462" fmla="*/ 261403 h 1151883"/>
                <a:gd name="connsiteX1463" fmla="*/ 241255 w 922759"/>
                <a:gd name="connsiteY1463" fmla="*/ 262008 h 1151883"/>
                <a:gd name="connsiteX1464" fmla="*/ 240015 w 922759"/>
                <a:gd name="connsiteY1464" fmla="*/ 262280 h 1151883"/>
                <a:gd name="connsiteX1465" fmla="*/ 238321 w 922759"/>
                <a:gd name="connsiteY1465" fmla="*/ 262280 h 1151883"/>
                <a:gd name="connsiteX1466" fmla="*/ 236869 w 922759"/>
                <a:gd name="connsiteY1466" fmla="*/ 261645 h 1151883"/>
                <a:gd name="connsiteX1467" fmla="*/ 235810 w 922759"/>
                <a:gd name="connsiteY1467" fmla="*/ 260193 h 1151883"/>
                <a:gd name="connsiteX1468" fmla="*/ 234993 w 922759"/>
                <a:gd name="connsiteY1468" fmla="*/ 258741 h 1151883"/>
                <a:gd name="connsiteX1469" fmla="*/ 234176 w 922759"/>
                <a:gd name="connsiteY1469" fmla="*/ 258075 h 1151883"/>
                <a:gd name="connsiteX1470" fmla="*/ 233450 w 922759"/>
                <a:gd name="connsiteY1470" fmla="*/ 257621 h 1151883"/>
                <a:gd name="connsiteX1471" fmla="*/ 231544 w 922759"/>
                <a:gd name="connsiteY1471" fmla="*/ 255564 h 1151883"/>
                <a:gd name="connsiteX1472" fmla="*/ 230365 w 922759"/>
                <a:gd name="connsiteY1472" fmla="*/ 254989 h 1151883"/>
                <a:gd name="connsiteX1473" fmla="*/ 228670 w 922759"/>
                <a:gd name="connsiteY1473" fmla="*/ 254929 h 1151883"/>
                <a:gd name="connsiteX1474" fmla="*/ 227521 w 922759"/>
                <a:gd name="connsiteY1474" fmla="*/ 255383 h 1151883"/>
                <a:gd name="connsiteX1475" fmla="*/ 226250 w 922759"/>
                <a:gd name="connsiteY1475" fmla="*/ 255927 h 1151883"/>
                <a:gd name="connsiteX1476" fmla="*/ 224889 w 922759"/>
                <a:gd name="connsiteY1476" fmla="*/ 254596 h 1151883"/>
                <a:gd name="connsiteX1477" fmla="*/ 223981 w 922759"/>
                <a:gd name="connsiteY1477" fmla="*/ 252630 h 1151883"/>
                <a:gd name="connsiteX1478" fmla="*/ 222136 w 922759"/>
                <a:gd name="connsiteY1478" fmla="*/ 247457 h 1151883"/>
                <a:gd name="connsiteX1479" fmla="*/ 223891 w 922759"/>
                <a:gd name="connsiteY1479" fmla="*/ 246428 h 1151883"/>
                <a:gd name="connsiteX1480" fmla="*/ 227854 w 922759"/>
                <a:gd name="connsiteY1480" fmla="*/ 246096 h 1151883"/>
                <a:gd name="connsiteX1481" fmla="*/ 229669 w 922759"/>
                <a:gd name="connsiteY1481" fmla="*/ 245218 h 1151883"/>
                <a:gd name="connsiteX1482" fmla="*/ 231847 w 922759"/>
                <a:gd name="connsiteY1482" fmla="*/ 243706 h 1151883"/>
                <a:gd name="connsiteX1483" fmla="*/ 232785 w 922759"/>
                <a:gd name="connsiteY1483" fmla="*/ 242284 h 1151883"/>
                <a:gd name="connsiteX1484" fmla="*/ 233087 w 922759"/>
                <a:gd name="connsiteY1484" fmla="*/ 239501 h 1151883"/>
                <a:gd name="connsiteX1485" fmla="*/ 231968 w 922759"/>
                <a:gd name="connsiteY1485" fmla="*/ 237867 h 1151883"/>
                <a:gd name="connsiteX1486" fmla="*/ 229729 w 922759"/>
                <a:gd name="connsiteY1486" fmla="*/ 237262 h 1151883"/>
                <a:gd name="connsiteX1487" fmla="*/ 228186 w 922759"/>
                <a:gd name="connsiteY1487" fmla="*/ 236566 h 1151883"/>
                <a:gd name="connsiteX1488" fmla="*/ 229033 w 922759"/>
                <a:gd name="connsiteY1488" fmla="*/ 234600 h 1151883"/>
                <a:gd name="connsiteX1489" fmla="*/ 229033 w 922759"/>
                <a:gd name="connsiteY1489" fmla="*/ 233632 h 1151883"/>
                <a:gd name="connsiteX1490" fmla="*/ 225645 w 922759"/>
                <a:gd name="connsiteY1490" fmla="*/ 231454 h 1151883"/>
                <a:gd name="connsiteX1491" fmla="*/ 221501 w 922759"/>
                <a:gd name="connsiteY1491" fmla="*/ 226523 h 1151883"/>
                <a:gd name="connsiteX1492" fmla="*/ 218687 w 922759"/>
                <a:gd name="connsiteY1492" fmla="*/ 220866 h 1151883"/>
                <a:gd name="connsiteX1493" fmla="*/ 219323 w 922759"/>
                <a:gd name="connsiteY1493" fmla="*/ 216479 h 1151883"/>
                <a:gd name="connsiteX1494" fmla="*/ 219323 w 922759"/>
                <a:gd name="connsiteY1494" fmla="*/ 215330 h 1151883"/>
                <a:gd name="connsiteX1495" fmla="*/ 211276 w 922759"/>
                <a:gd name="connsiteY1495" fmla="*/ 213182 h 1151883"/>
                <a:gd name="connsiteX1496" fmla="*/ 181085 w 922759"/>
                <a:gd name="connsiteY1496" fmla="*/ 217054 h 1151883"/>
                <a:gd name="connsiteX1497" fmla="*/ 166262 w 922759"/>
                <a:gd name="connsiteY1497" fmla="*/ 219928 h 1151883"/>
                <a:gd name="connsiteX1498" fmla="*/ 163872 w 922759"/>
                <a:gd name="connsiteY1498" fmla="*/ 219414 h 1151883"/>
                <a:gd name="connsiteX1499" fmla="*/ 162783 w 922759"/>
                <a:gd name="connsiteY1499" fmla="*/ 218053 h 1151883"/>
                <a:gd name="connsiteX1500" fmla="*/ 161694 w 922759"/>
                <a:gd name="connsiteY1500" fmla="*/ 217357 h 1151883"/>
                <a:gd name="connsiteX1501" fmla="*/ 146205 w 922759"/>
                <a:gd name="connsiteY1501" fmla="*/ 218960 h 1151883"/>
                <a:gd name="connsiteX1502" fmla="*/ 138279 w 922759"/>
                <a:gd name="connsiteY1502" fmla="*/ 221804 h 1151883"/>
                <a:gd name="connsiteX1503" fmla="*/ 134528 w 922759"/>
                <a:gd name="connsiteY1503" fmla="*/ 225403 h 1151883"/>
                <a:gd name="connsiteX1504" fmla="*/ 132562 w 922759"/>
                <a:gd name="connsiteY1504" fmla="*/ 226644 h 1151883"/>
                <a:gd name="connsiteX1505" fmla="*/ 128901 w 922759"/>
                <a:gd name="connsiteY1505" fmla="*/ 230425 h 1151883"/>
                <a:gd name="connsiteX1506" fmla="*/ 125664 w 922759"/>
                <a:gd name="connsiteY1506" fmla="*/ 232513 h 1151883"/>
                <a:gd name="connsiteX1507" fmla="*/ 124242 w 922759"/>
                <a:gd name="connsiteY1507" fmla="*/ 234237 h 1151883"/>
                <a:gd name="connsiteX1508" fmla="*/ 124454 w 922759"/>
                <a:gd name="connsiteY1508" fmla="*/ 236294 h 1151883"/>
                <a:gd name="connsiteX1509" fmla="*/ 125785 w 922759"/>
                <a:gd name="connsiteY1509" fmla="*/ 237534 h 1151883"/>
                <a:gd name="connsiteX1510" fmla="*/ 128720 w 922759"/>
                <a:gd name="connsiteY1510" fmla="*/ 238896 h 1151883"/>
                <a:gd name="connsiteX1511" fmla="*/ 129627 w 922759"/>
                <a:gd name="connsiteY1511" fmla="*/ 240015 h 1151883"/>
                <a:gd name="connsiteX1512" fmla="*/ 129809 w 922759"/>
                <a:gd name="connsiteY1512" fmla="*/ 241982 h 1151883"/>
                <a:gd name="connsiteX1513" fmla="*/ 129083 w 922759"/>
                <a:gd name="connsiteY1513" fmla="*/ 243494 h 1151883"/>
                <a:gd name="connsiteX1514" fmla="*/ 128115 w 922759"/>
                <a:gd name="connsiteY1514" fmla="*/ 243978 h 1151883"/>
                <a:gd name="connsiteX1515" fmla="*/ 127570 w 922759"/>
                <a:gd name="connsiteY1515" fmla="*/ 245249 h 1151883"/>
                <a:gd name="connsiteX1516" fmla="*/ 123516 w 922759"/>
                <a:gd name="connsiteY1516" fmla="*/ 244432 h 1151883"/>
                <a:gd name="connsiteX1517" fmla="*/ 121550 w 922759"/>
                <a:gd name="connsiteY1517" fmla="*/ 244432 h 1151883"/>
                <a:gd name="connsiteX1518" fmla="*/ 120703 w 922759"/>
                <a:gd name="connsiteY1518" fmla="*/ 245823 h 1151883"/>
                <a:gd name="connsiteX1519" fmla="*/ 120249 w 922759"/>
                <a:gd name="connsiteY1519" fmla="*/ 248122 h 1151883"/>
                <a:gd name="connsiteX1520" fmla="*/ 118313 w 922759"/>
                <a:gd name="connsiteY1520" fmla="*/ 252842 h 1151883"/>
                <a:gd name="connsiteX1521" fmla="*/ 117859 w 922759"/>
                <a:gd name="connsiteY1521" fmla="*/ 255443 h 1151883"/>
                <a:gd name="connsiteX1522" fmla="*/ 117859 w 922759"/>
                <a:gd name="connsiteY1522" fmla="*/ 266939 h 1151883"/>
                <a:gd name="connsiteX1523" fmla="*/ 119372 w 922759"/>
                <a:gd name="connsiteY1523" fmla="*/ 271265 h 1151883"/>
                <a:gd name="connsiteX1524" fmla="*/ 123093 w 922759"/>
                <a:gd name="connsiteY1524" fmla="*/ 272959 h 1151883"/>
                <a:gd name="connsiteX1525" fmla="*/ 146024 w 922759"/>
                <a:gd name="connsiteY1525" fmla="*/ 273715 h 1151883"/>
                <a:gd name="connsiteX1526" fmla="*/ 150017 w 922759"/>
                <a:gd name="connsiteY1526" fmla="*/ 275076 h 1151883"/>
                <a:gd name="connsiteX1527" fmla="*/ 152437 w 922759"/>
                <a:gd name="connsiteY1527" fmla="*/ 278343 h 1151883"/>
                <a:gd name="connsiteX1528" fmla="*/ 150531 w 922759"/>
                <a:gd name="connsiteY1528" fmla="*/ 277648 h 1151883"/>
                <a:gd name="connsiteX1529" fmla="*/ 147052 w 922759"/>
                <a:gd name="connsiteY1529" fmla="*/ 275621 h 1151883"/>
                <a:gd name="connsiteX1530" fmla="*/ 144874 w 922759"/>
                <a:gd name="connsiteY1530" fmla="*/ 275107 h 1151883"/>
                <a:gd name="connsiteX1531" fmla="*/ 142545 w 922759"/>
                <a:gd name="connsiteY1531" fmla="*/ 275107 h 1151883"/>
                <a:gd name="connsiteX1532" fmla="*/ 141183 w 922759"/>
                <a:gd name="connsiteY1532" fmla="*/ 275802 h 1151883"/>
                <a:gd name="connsiteX1533" fmla="*/ 138642 w 922759"/>
                <a:gd name="connsiteY1533" fmla="*/ 279342 h 1151883"/>
                <a:gd name="connsiteX1534" fmla="*/ 139398 w 922759"/>
                <a:gd name="connsiteY1534" fmla="*/ 281066 h 1151883"/>
                <a:gd name="connsiteX1535" fmla="*/ 139066 w 922759"/>
                <a:gd name="connsiteY1535" fmla="*/ 282911 h 1151883"/>
                <a:gd name="connsiteX1536" fmla="*/ 138158 w 922759"/>
                <a:gd name="connsiteY1536" fmla="*/ 284545 h 1151883"/>
                <a:gd name="connsiteX1537" fmla="*/ 137281 w 922759"/>
                <a:gd name="connsiteY1537" fmla="*/ 285695 h 1151883"/>
                <a:gd name="connsiteX1538" fmla="*/ 136131 w 922759"/>
                <a:gd name="connsiteY1538" fmla="*/ 286814 h 1151883"/>
                <a:gd name="connsiteX1539" fmla="*/ 135163 w 922759"/>
                <a:gd name="connsiteY1539" fmla="*/ 287298 h 1151883"/>
                <a:gd name="connsiteX1540" fmla="*/ 135436 w 922759"/>
                <a:gd name="connsiteY1540" fmla="*/ 291684 h 1151883"/>
                <a:gd name="connsiteX1541" fmla="*/ 135526 w 922759"/>
                <a:gd name="connsiteY1541" fmla="*/ 294165 h 1151883"/>
                <a:gd name="connsiteX1542" fmla="*/ 135224 w 922759"/>
                <a:gd name="connsiteY1542" fmla="*/ 296555 h 1151883"/>
                <a:gd name="connsiteX1543" fmla="*/ 134528 w 922759"/>
                <a:gd name="connsiteY1543" fmla="*/ 299217 h 1151883"/>
                <a:gd name="connsiteX1544" fmla="*/ 133106 w 922759"/>
                <a:gd name="connsiteY1544" fmla="*/ 302605 h 1151883"/>
                <a:gd name="connsiteX1545" fmla="*/ 132864 w 922759"/>
                <a:gd name="connsiteY1545" fmla="*/ 303846 h 1151883"/>
                <a:gd name="connsiteX1546" fmla="*/ 132925 w 922759"/>
                <a:gd name="connsiteY1546" fmla="*/ 305691 h 1151883"/>
                <a:gd name="connsiteX1547" fmla="*/ 133318 w 922759"/>
                <a:gd name="connsiteY1547" fmla="*/ 306659 h 1151883"/>
                <a:gd name="connsiteX1548" fmla="*/ 133802 w 922759"/>
                <a:gd name="connsiteY1548" fmla="*/ 307476 h 1151883"/>
                <a:gd name="connsiteX1549" fmla="*/ 134165 w 922759"/>
                <a:gd name="connsiteY1549" fmla="*/ 308807 h 1151883"/>
                <a:gd name="connsiteX1550" fmla="*/ 135103 w 922759"/>
                <a:gd name="connsiteY1550" fmla="*/ 319818 h 1151883"/>
                <a:gd name="connsiteX1551" fmla="*/ 134952 w 922759"/>
                <a:gd name="connsiteY1551" fmla="*/ 325324 h 1151883"/>
                <a:gd name="connsiteX1552" fmla="*/ 134014 w 922759"/>
                <a:gd name="connsiteY1552" fmla="*/ 330225 h 1151883"/>
                <a:gd name="connsiteX1553" fmla="*/ 131836 w 922759"/>
                <a:gd name="connsiteY1553" fmla="*/ 335368 h 1151883"/>
                <a:gd name="connsiteX1554" fmla="*/ 123577 w 922759"/>
                <a:gd name="connsiteY1554" fmla="*/ 347347 h 1151883"/>
                <a:gd name="connsiteX1555" fmla="*/ 122821 w 922759"/>
                <a:gd name="connsiteY1555" fmla="*/ 349344 h 1151883"/>
                <a:gd name="connsiteX1556" fmla="*/ 121792 w 922759"/>
                <a:gd name="connsiteY1556" fmla="*/ 352006 h 1151883"/>
                <a:gd name="connsiteX1557" fmla="*/ 120915 w 922759"/>
                <a:gd name="connsiteY1557" fmla="*/ 357118 h 1151883"/>
                <a:gd name="connsiteX1558" fmla="*/ 119977 w 922759"/>
                <a:gd name="connsiteY1558" fmla="*/ 373575 h 1151883"/>
                <a:gd name="connsiteX1559" fmla="*/ 119251 w 922759"/>
                <a:gd name="connsiteY1559" fmla="*/ 378930 h 1151883"/>
                <a:gd name="connsiteX1560" fmla="*/ 117436 w 922759"/>
                <a:gd name="connsiteY1560" fmla="*/ 382197 h 1151883"/>
                <a:gd name="connsiteX1561" fmla="*/ 113836 w 922759"/>
                <a:gd name="connsiteY1561" fmla="*/ 381138 h 1151883"/>
                <a:gd name="connsiteX1562" fmla="*/ 112324 w 922759"/>
                <a:gd name="connsiteY1562" fmla="*/ 380563 h 1151883"/>
                <a:gd name="connsiteX1563" fmla="*/ 107362 w 922759"/>
                <a:gd name="connsiteY1563" fmla="*/ 381229 h 1151883"/>
                <a:gd name="connsiteX1564" fmla="*/ 102038 w 922759"/>
                <a:gd name="connsiteY1564" fmla="*/ 379746 h 1151883"/>
                <a:gd name="connsiteX1565" fmla="*/ 92478 w 922759"/>
                <a:gd name="connsiteY1565" fmla="*/ 379898 h 1151883"/>
                <a:gd name="connsiteX1566" fmla="*/ 89121 w 922759"/>
                <a:gd name="connsiteY1566" fmla="*/ 380866 h 1151883"/>
                <a:gd name="connsiteX1567" fmla="*/ 87306 w 922759"/>
                <a:gd name="connsiteY1567" fmla="*/ 382076 h 1151883"/>
                <a:gd name="connsiteX1568" fmla="*/ 85581 w 922759"/>
                <a:gd name="connsiteY1568" fmla="*/ 383225 h 1151883"/>
                <a:gd name="connsiteX1569" fmla="*/ 86428 w 922759"/>
                <a:gd name="connsiteY1569" fmla="*/ 384829 h 1151883"/>
                <a:gd name="connsiteX1570" fmla="*/ 86217 w 922759"/>
                <a:gd name="connsiteY1570" fmla="*/ 386190 h 1151883"/>
                <a:gd name="connsiteX1571" fmla="*/ 85763 w 922759"/>
                <a:gd name="connsiteY1571" fmla="*/ 387461 h 1151883"/>
                <a:gd name="connsiteX1572" fmla="*/ 85763 w 922759"/>
                <a:gd name="connsiteY1572" fmla="*/ 388731 h 1151883"/>
                <a:gd name="connsiteX1573" fmla="*/ 86489 w 922759"/>
                <a:gd name="connsiteY1573" fmla="*/ 389699 h 1151883"/>
                <a:gd name="connsiteX1574" fmla="*/ 89786 w 922759"/>
                <a:gd name="connsiteY1574" fmla="*/ 392270 h 1151883"/>
                <a:gd name="connsiteX1575" fmla="*/ 84220 w 922759"/>
                <a:gd name="connsiteY1575" fmla="*/ 394872 h 1151883"/>
                <a:gd name="connsiteX1576" fmla="*/ 82556 w 922759"/>
                <a:gd name="connsiteY1576" fmla="*/ 395023 h 1151883"/>
                <a:gd name="connsiteX1577" fmla="*/ 83796 w 922759"/>
                <a:gd name="connsiteY1577" fmla="*/ 397413 h 1151883"/>
                <a:gd name="connsiteX1578" fmla="*/ 84129 w 922759"/>
                <a:gd name="connsiteY1578" fmla="*/ 400136 h 1151883"/>
                <a:gd name="connsiteX1579" fmla="*/ 84280 w 922759"/>
                <a:gd name="connsiteY1579" fmla="*/ 402828 h 1151883"/>
                <a:gd name="connsiteX1580" fmla="*/ 84885 w 922759"/>
                <a:gd name="connsiteY1580" fmla="*/ 405097 h 1151883"/>
                <a:gd name="connsiteX1581" fmla="*/ 86882 w 922759"/>
                <a:gd name="connsiteY1581" fmla="*/ 407245 h 1151883"/>
                <a:gd name="connsiteX1582" fmla="*/ 89544 w 922759"/>
                <a:gd name="connsiteY1582" fmla="*/ 408425 h 1151883"/>
                <a:gd name="connsiteX1583" fmla="*/ 97500 w 922759"/>
                <a:gd name="connsiteY1583" fmla="*/ 409453 h 1151883"/>
                <a:gd name="connsiteX1584" fmla="*/ 102703 w 922759"/>
                <a:gd name="connsiteY1584" fmla="*/ 411299 h 1151883"/>
                <a:gd name="connsiteX1585" fmla="*/ 105547 w 922759"/>
                <a:gd name="connsiteY1585" fmla="*/ 411722 h 1151883"/>
                <a:gd name="connsiteX1586" fmla="*/ 108179 w 922759"/>
                <a:gd name="connsiteY1586" fmla="*/ 411571 h 1151883"/>
                <a:gd name="connsiteX1587" fmla="*/ 110690 w 922759"/>
                <a:gd name="connsiteY1587" fmla="*/ 410875 h 1151883"/>
                <a:gd name="connsiteX1588" fmla="*/ 111628 w 922759"/>
                <a:gd name="connsiteY1588" fmla="*/ 410058 h 1151883"/>
                <a:gd name="connsiteX1589" fmla="*/ 112233 w 922759"/>
                <a:gd name="connsiteY1589" fmla="*/ 409030 h 1151883"/>
                <a:gd name="connsiteX1590" fmla="*/ 112868 w 922759"/>
                <a:gd name="connsiteY1590" fmla="*/ 408757 h 1151883"/>
                <a:gd name="connsiteX1591" fmla="*/ 118979 w 922759"/>
                <a:gd name="connsiteY1591" fmla="*/ 417924 h 1151883"/>
                <a:gd name="connsiteX1592" fmla="*/ 120400 w 922759"/>
                <a:gd name="connsiteY1592" fmla="*/ 421826 h 1151883"/>
                <a:gd name="connsiteX1593" fmla="*/ 119554 w 922759"/>
                <a:gd name="connsiteY1593" fmla="*/ 427362 h 1151883"/>
                <a:gd name="connsiteX1594" fmla="*/ 117557 w 922759"/>
                <a:gd name="connsiteY1594" fmla="*/ 431658 h 1151883"/>
                <a:gd name="connsiteX1595" fmla="*/ 116831 w 922759"/>
                <a:gd name="connsiteY1595" fmla="*/ 433927 h 1151883"/>
                <a:gd name="connsiteX1596" fmla="*/ 116770 w 922759"/>
                <a:gd name="connsiteY1596" fmla="*/ 436710 h 1151883"/>
                <a:gd name="connsiteX1597" fmla="*/ 117678 w 922759"/>
                <a:gd name="connsiteY1597" fmla="*/ 439916 h 1151883"/>
                <a:gd name="connsiteX1598" fmla="*/ 118253 w 922759"/>
                <a:gd name="connsiteY1598" fmla="*/ 440915 h 1151883"/>
                <a:gd name="connsiteX1599" fmla="*/ 118495 w 922759"/>
                <a:gd name="connsiteY1599" fmla="*/ 441338 h 1151883"/>
                <a:gd name="connsiteX1600" fmla="*/ 118222 w 922759"/>
                <a:gd name="connsiteY1600" fmla="*/ 442095 h 1151883"/>
                <a:gd name="connsiteX1601" fmla="*/ 113745 w 922759"/>
                <a:gd name="connsiteY1601" fmla="*/ 444606 h 1151883"/>
                <a:gd name="connsiteX1602" fmla="*/ 112656 w 922759"/>
                <a:gd name="connsiteY1602" fmla="*/ 445785 h 1151883"/>
                <a:gd name="connsiteX1603" fmla="*/ 110297 w 922759"/>
                <a:gd name="connsiteY1603" fmla="*/ 449294 h 1151883"/>
                <a:gd name="connsiteX1604" fmla="*/ 108300 w 922759"/>
                <a:gd name="connsiteY1604" fmla="*/ 450928 h 1151883"/>
                <a:gd name="connsiteX1605" fmla="*/ 104004 w 922759"/>
                <a:gd name="connsiteY1605" fmla="*/ 452683 h 1151883"/>
                <a:gd name="connsiteX1606" fmla="*/ 102038 w 922759"/>
                <a:gd name="connsiteY1606" fmla="*/ 454558 h 1151883"/>
                <a:gd name="connsiteX1607" fmla="*/ 99830 w 922759"/>
                <a:gd name="connsiteY1607" fmla="*/ 458733 h 1151883"/>
                <a:gd name="connsiteX1608" fmla="*/ 98559 w 922759"/>
                <a:gd name="connsiteY1608" fmla="*/ 459792 h 1151883"/>
                <a:gd name="connsiteX1609" fmla="*/ 92600 w 922759"/>
                <a:gd name="connsiteY1609" fmla="*/ 460397 h 1151883"/>
                <a:gd name="connsiteX1610" fmla="*/ 92025 w 922759"/>
                <a:gd name="connsiteY1610" fmla="*/ 460457 h 1151883"/>
                <a:gd name="connsiteX1611" fmla="*/ 90422 w 922759"/>
                <a:gd name="connsiteY1611" fmla="*/ 461274 h 1151883"/>
                <a:gd name="connsiteX1612" fmla="*/ 88697 w 922759"/>
                <a:gd name="connsiteY1612" fmla="*/ 462908 h 1151883"/>
                <a:gd name="connsiteX1613" fmla="*/ 88153 w 922759"/>
                <a:gd name="connsiteY1613" fmla="*/ 463755 h 1151883"/>
                <a:gd name="connsiteX1614" fmla="*/ 87336 w 922759"/>
                <a:gd name="connsiteY1614" fmla="*/ 465691 h 1151883"/>
                <a:gd name="connsiteX1615" fmla="*/ 86519 w 922759"/>
                <a:gd name="connsiteY1615" fmla="*/ 466628 h 1151883"/>
                <a:gd name="connsiteX1616" fmla="*/ 85309 w 922759"/>
                <a:gd name="connsiteY1616" fmla="*/ 467203 h 1151883"/>
                <a:gd name="connsiteX1617" fmla="*/ 84250 w 922759"/>
                <a:gd name="connsiteY1617" fmla="*/ 467294 h 1151883"/>
                <a:gd name="connsiteX1618" fmla="*/ 83342 w 922759"/>
                <a:gd name="connsiteY1618" fmla="*/ 467687 h 1151883"/>
                <a:gd name="connsiteX1619" fmla="*/ 82647 w 922759"/>
                <a:gd name="connsiteY1619" fmla="*/ 469260 h 1151883"/>
                <a:gd name="connsiteX1620" fmla="*/ 82859 w 922759"/>
                <a:gd name="connsiteY1620" fmla="*/ 471529 h 1151883"/>
                <a:gd name="connsiteX1621" fmla="*/ 84462 w 922759"/>
                <a:gd name="connsiteY1621" fmla="*/ 472558 h 1151883"/>
                <a:gd name="connsiteX1622" fmla="*/ 86670 w 922759"/>
                <a:gd name="connsiteY1622" fmla="*/ 473163 h 1151883"/>
                <a:gd name="connsiteX1623" fmla="*/ 93235 w 922759"/>
                <a:gd name="connsiteY1623" fmla="*/ 476551 h 1151883"/>
                <a:gd name="connsiteX1624" fmla="*/ 95836 w 922759"/>
                <a:gd name="connsiteY1624" fmla="*/ 479092 h 1151883"/>
                <a:gd name="connsiteX1625" fmla="*/ 96351 w 922759"/>
                <a:gd name="connsiteY1625" fmla="*/ 479818 h 1151883"/>
                <a:gd name="connsiteX1626" fmla="*/ 96593 w 922759"/>
                <a:gd name="connsiteY1626" fmla="*/ 480816 h 1151883"/>
                <a:gd name="connsiteX1627" fmla="*/ 96502 w 922759"/>
                <a:gd name="connsiteY1627" fmla="*/ 482632 h 1151883"/>
                <a:gd name="connsiteX1628" fmla="*/ 95988 w 922759"/>
                <a:gd name="connsiteY1628" fmla="*/ 483085 h 1151883"/>
                <a:gd name="connsiteX1629" fmla="*/ 95231 w 922759"/>
                <a:gd name="connsiteY1629" fmla="*/ 483206 h 1151883"/>
                <a:gd name="connsiteX1630" fmla="*/ 94415 w 922759"/>
                <a:gd name="connsiteY1630" fmla="*/ 484053 h 1151883"/>
                <a:gd name="connsiteX1631" fmla="*/ 92115 w 922759"/>
                <a:gd name="connsiteY1631" fmla="*/ 487895 h 1151883"/>
                <a:gd name="connsiteX1632" fmla="*/ 89786 w 922759"/>
                <a:gd name="connsiteY1632" fmla="*/ 490467 h 1151883"/>
                <a:gd name="connsiteX1633" fmla="*/ 87064 w 922759"/>
                <a:gd name="connsiteY1633" fmla="*/ 491828 h 1151883"/>
                <a:gd name="connsiteX1634" fmla="*/ 78170 w 922759"/>
                <a:gd name="connsiteY1634" fmla="*/ 492100 h 1151883"/>
                <a:gd name="connsiteX1635" fmla="*/ 68157 w 922759"/>
                <a:gd name="connsiteY1635" fmla="*/ 495246 h 1151883"/>
                <a:gd name="connsiteX1636" fmla="*/ 63195 w 922759"/>
                <a:gd name="connsiteY1636" fmla="*/ 498755 h 1151883"/>
                <a:gd name="connsiteX1637" fmla="*/ 61531 w 922759"/>
                <a:gd name="connsiteY1637" fmla="*/ 499451 h 1151883"/>
                <a:gd name="connsiteX1638" fmla="*/ 59474 w 922759"/>
                <a:gd name="connsiteY1638" fmla="*/ 499451 h 1151883"/>
                <a:gd name="connsiteX1639" fmla="*/ 53031 w 922759"/>
                <a:gd name="connsiteY1639" fmla="*/ 497697 h 1151883"/>
                <a:gd name="connsiteX1640" fmla="*/ 53847 w 922759"/>
                <a:gd name="connsiteY1640" fmla="*/ 501085 h 1151883"/>
                <a:gd name="connsiteX1641" fmla="*/ 53424 w 922759"/>
                <a:gd name="connsiteY1641" fmla="*/ 502567 h 1151883"/>
                <a:gd name="connsiteX1642" fmla="*/ 49642 w 922759"/>
                <a:gd name="connsiteY1642" fmla="*/ 503535 h 1151883"/>
                <a:gd name="connsiteX1643" fmla="*/ 49340 w 922759"/>
                <a:gd name="connsiteY1643" fmla="*/ 501206 h 1151883"/>
                <a:gd name="connsiteX1644" fmla="*/ 47707 w 922759"/>
                <a:gd name="connsiteY1644" fmla="*/ 500329 h 1151883"/>
                <a:gd name="connsiteX1645" fmla="*/ 43865 w 922759"/>
                <a:gd name="connsiteY1645" fmla="*/ 499784 h 1151883"/>
                <a:gd name="connsiteX1646" fmla="*/ 43411 w 922759"/>
                <a:gd name="connsiteY1646" fmla="*/ 499270 h 1151883"/>
                <a:gd name="connsiteX1647" fmla="*/ 42291 w 922759"/>
                <a:gd name="connsiteY1647" fmla="*/ 497425 h 1151883"/>
                <a:gd name="connsiteX1648" fmla="*/ 41565 w 922759"/>
                <a:gd name="connsiteY1648" fmla="*/ 496789 h 1151883"/>
                <a:gd name="connsiteX1649" fmla="*/ 40749 w 922759"/>
                <a:gd name="connsiteY1649" fmla="*/ 496698 h 1151883"/>
                <a:gd name="connsiteX1650" fmla="*/ 37602 w 922759"/>
                <a:gd name="connsiteY1650" fmla="*/ 497334 h 1151883"/>
                <a:gd name="connsiteX1651" fmla="*/ 34214 w 922759"/>
                <a:gd name="connsiteY1651" fmla="*/ 496063 h 1151883"/>
                <a:gd name="connsiteX1652" fmla="*/ 30977 w 922759"/>
                <a:gd name="connsiteY1652" fmla="*/ 493643 h 1151883"/>
                <a:gd name="connsiteX1653" fmla="*/ 27740 w 922759"/>
                <a:gd name="connsiteY1653" fmla="*/ 492221 h 1151883"/>
                <a:gd name="connsiteX1654" fmla="*/ 24322 w 922759"/>
                <a:gd name="connsiteY1654" fmla="*/ 493946 h 1151883"/>
                <a:gd name="connsiteX1655" fmla="*/ 25562 w 922759"/>
                <a:gd name="connsiteY1655" fmla="*/ 494823 h 1151883"/>
                <a:gd name="connsiteX1656" fmla="*/ 29313 w 922759"/>
                <a:gd name="connsiteY1656" fmla="*/ 498453 h 1151883"/>
                <a:gd name="connsiteX1657" fmla="*/ 30675 w 922759"/>
                <a:gd name="connsiteY1657" fmla="*/ 500419 h 1151883"/>
                <a:gd name="connsiteX1658" fmla="*/ 29041 w 922759"/>
                <a:gd name="connsiteY1658" fmla="*/ 500056 h 1151883"/>
                <a:gd name="connsiteX1659" fmla="*/ 26682 w 922759"/>
                <a:gd name="connsiteY1659" fmla="*/ 499482 h 1151883"/>
                <a:gd name="connsiteX1660" fmla="*/ 23415 w 922759"/>
                <a:gd name="connsiteY1660" fmla="*/ 498665 h 1151883"/>
                <a:gd name="connsiteX1661" fmla="*/ 19331 w 922759"/>
                <a:gd name="connsiteY1661" fmla="*/ 499693 h 1151883"/>
                <a:gd name="connsiteX1662" fmla="*/ 17878 w 922759"/>
                <a:gd name="connsiteY1662" fmla="*/ 500389 h 1151883"/>
                <a:gd name="connsiteX1663" fmla="*/ 15791 w 922759"/>
                <a:gd name="connsiteY1663" fmla="*/ 501811 h 1151883"/>
                <a:gd name="connsiteX1664" fmla="*/ 13855 w 922759"/>
                <a:gd name="connsiteY1664" fmla="*/ 502567 h 1151883"/>
                <a:gd name="connsiteX1665" fmla="*/ 9741 w 922759"/>
                <a:gd name="connsiteY1665" fmla="*/ 503233 h 1151883"/>
                <a:gd name="connsiteX1666" fmla="*/ 8077 w 922759"/>
                <a:gd name="connsiteY1666" fmla="*/ 504322 h 1151883"/>
                <a:gd name="connsiteX1667" fmla="*/ 7744 w 922759"/>
                <a:gd name="connsiteY1667" fmla="*/ 505653 h 1151883"/>
                <a:gd name="connsiteX1668" fmla="*/ 10043 w 922759"/>
                <a:gd name="connsiteY1668" fmla="*/ 507256 h 1151883"/>
                <a:gd name="connsiteX1669" fmla="*/ 11405 w 922759"/>
                <a:gd name="connsiteY1669" fmla="*/ 510160 h 1151883"/>
                <a:gd name="connsiteX1670" fmla="*/ 11223 w 922759"/>
                <a:gd name="connsiteY1670" fmla="*/ 513185 h 1151883"/>
                <a:gd name="connsiteX1671" fmla="*/ 9589 w 922759"/>
                <a:gd name="connsiteY1671" fmla="*/ 514698 h 1151883"/>
                <a:gd name="connsiteX1672" fmla="*/ 8985 w 922759"/>
                <a:gd name="connsiteY1672" fmla="*/ 515243 h 1151883"/>
                <a:gd name="connsiteX1673" fmla="*/ 8894 w 922759"/>
                <a:gd name="connsiteY1673" fmla="*/ 516846 h 1151883"/>
                <a:gd name="connsiteX1674" fmla="*/ 9892 w 922759"/>
                <a:gd name="connsiteY1674" fmla="*/ 517209 h 1151883"/>
                <a:gd name="connsiteX1675" fmla="*/ 12796 w 922759"/>
                <a:gd name="connsiteY1675" fmla="*/ 517209 h 1151883"/>
                <a:gd name="connsiteX1676" fmla="*/ 13946 w 922759"/>
                <a:gd name="connsiteY1676" fmla="*/ 517663 h 1151883"/>
                <a:gd name="connsiteX1677" fmla="*/ 16184 w 922759"/>
                <a:gd name="connsiteY1677" fmla="*/ 519236 h 1151883"/>
                <a:gd name="connsiteX1678" fmla="*/ 17183 w 922759"/>
                <a:gd name="connsiteY1678" fmla="*/ 520174 h 1151883"/>
                <a:gd name="connsiteX1679" fmla="*/ 15821 w 922759"/>
                <a:gd name="connsiteY1679" fmla="*/ 524409 h 1151883"/>
                <a:gd name="connsiteX1680" fmla="*/ 18121 w 922759"/>
                <a:gd name="connsiteY1680" fmla="*/ 527101 h 1151883"/>
                <a:gd name="connsiteX1681" fmla="*/ 24927 w 922759"/>
                <a:gd name="connsiteY1681" fmla="*/ 529854 h 1151883"/>
                <a:gd name="connsiteX1682" fmla="*/ 23747 w 922759"/>
                <a:gd name="connsiteY1682" fmla="*/ 533182 h 1151883"/>
                <a:gd name="connsiteX1683" fmla="*/ 23203 w 922759"/>
                <a:gd name="connsiteY1683" fmla="*/ 535330 h 1151883"/>
                <a:gd name="connsiteX1684" fmla="*/ 23626 w 922759"/>
                <a:gd name="connsiteY1684" fmla="*/ 537145 h 1151883"/>
                <a:gd name="connsiteX1685" fmla="*/ 30312 w 922759"/>
                <a:gd name="connsiteY1685" fmla="*/ 545645 h 1151883"/>
                <a:gd name="connsiteX1686" fmla="*/ 34366 w 922759"/>
                <a:gd name="connsiteY1686" fmla="*/ 549971 h 1151883"/>
                <a:gd name="connsiteX1687" fmla="*/ 35092 w 922759"/>
                <a:gd name="connsiteY1687" fmla="*/ 554842 h 1151883"/>
                <a:gd name="connsiteX1688" fmla="*/ 35576 w 922759"/>
                <a:gd name="connsiteY1688" fmla="*/ 557534 h 1151883"/>
                <a:gd name="connsiteX1689" fmla="*/ 35213 w 922759"/>
                <a:gd name="connsiteY1689" fmla="*/ 560468 h 1151883"/>
                <a:gd name="connsiteX1690" fmla="*/ 34426 w 922759"/>
                <a:gd name="connsiteY1690" fmla="*/ 563615 h 1151883"/>
                <a:gd name="connsiteX1691" fmla="*/ 34275 w 922759"/>
                <a:gd name="connsiteY1691" fmla="*/ 566337 h 1151883"/>
                <a:gd name="connsiteX1692" fmla="*/ 35787 w 922759"/>
                <a:gd name="connsiteY1692" fmla="*/ 568001 h 1151883"/>
                <a:gd name="connsiteX1693" fmla="*/ 35213 w 922759"/>
                <a:gd name="connsiteY1693" fmla="*/ 569302 h 1151883"/>
                <a:gd name="connsiteX1694" fmla="*/ 34910 w 922759"/>
                <a:gd name="connsiteY1694" fmla="*/ 572539 h 1151883"/>
                <a:gd name="connsiteX1695" fmla="*/ 34366 w 922759"/>
                <a:gd name="connsiteY1695" fmla="*/ 574384 h 1151883"/>
                <a:gd name="connsiteX1696" fmla="*/ 33367 w 922759"/>
                <a:gd name="connsiteY1696" fmla="*/ 575685 h 1151883"/>
                <a:gd name="connsiteX1697" fmla="*/ 30796 w 922759"/>
                <a:gd name="connsiteY1697" fmla="*/ 577319 h 1151883"/>
                <a:gd name="connsiteX1698" fmla="*/ 29737 w 922759"/>
                <a:gd name="connsiteY1698" fmla="*/ 578287 h 1151883"/>
                <a:gd name="connsiteX1699" fmla="*/ 24594 w 922759"/>
                <a:gd name="connsiteY1699" fmla="*/ 587060 h 1151883"/>
                <a:gd name="connsiteX1700" fmla="*/ 22477 w 922759"/>
                <a:gd name="connsiteY1700" fmla="*/ 589419 h 1151883"/>
                <a:gd name="connsiteX1701" fmla="*/ 21448 w 922759"/>
                <a:gd name="connsiteY1701" fmla="*/ 591053 h 1151883"/>
                <a:gd name="connsiteX1702" fmla="*/ 20571 w 922759"/>
                <a:gd name="connsiteY1702" fmla="*/ 593987 h 1151883"/>
                <a:gd name="connsiteX1703" fmla="*/ 20268 w 922759"/>
                <a:gd name="connsiteY1703" fmla="*/ 597285 h 1151883"/>
                <a:gd name="connsiteX1704" fmla="*/ 20994 w 922759"/>
                <a:gd name="connsiteY1704" fmla="*/ 600007 h 1151883"/>
                <a:gd name="connsiteX1705" fmla="*/ 23354 w 922759"/>
                <a:gd name="connsiteY1705" fmla="*/ 601217 h 1151883"/>
                <a:gd name="connsiteX1706" fmla="*/ 28376 w 922759"/>
                <a:gd name="connsiteY1706" fmla="*/ 598041 h 1151883"/>
                <a:gd name="connsiteX1707" fmla="*/ 30675 w 922759"/>
                <a:gd name="connsiteY1707" fmla="*/ 598767 h 1151883"/>
                <a:gd name="connsiteX1708" fmla="*/ 29858 w 922759"/>
                <a:gd name="connsiteY1708" fmla="*/ 599190 h 1151883"/>
                <a:gd name="connsiteX1709" fmla="*/ 27559 w 922759"/>
                <a:gd name="connsiteY1709" fmla="*/ 600915 h 1151883"/>
                <a:gd name="connsiteX1710" fmla="*/ 29676 w 922759"/>
                <a:gd name="connsiteY1710" fmla="*/ 602730 h 1151883"/>
                <a:gd name="connsiteX1711" fmla="*/ 28194 w 922759"/>
                <a:gd name="connsiteY1711" fmla="*/ 604545 h 1151883"/>
                <a:gd name="connsiteX1712" fmla="*/ 22446 w 922759"/>
                <a:gd name="connsiteY1712" fmla="*/ 607419 h 1151883"/>
                <a:gd name="connsiteX1713" fmla="*/ 13129 w 922759"/>
                <a:gd name="connsiteY1713" fmla="*/ 614134 h 1151883"/>
                <a:gd name="connsiteX1714" fmla="*/ 11768 w 922759"/>
                <a:gd name="connsiteY1714" fmla="*/ 615557 h 1151883"/>
                <a:gd name="connsiteX1715" fmla="*/ 9832 w 922759"/>
                <a:gd name="connsiteY1715" fmla="*/ 619277 h 1151883"/>
                <a:gd name="connsiteX1716" fmla="*/ 8591 w 922759"/>
                <a:gd name="connsiteY1716" fmla="*/ 620548 h 1151883"/>
                <a:gd name="connsiteX1717" fmla="*/ 6716 w 922759"/>
                <a:gd name="connsiteY1717" fmla="*/ 620729 h 1151883"/>
                <a:gd name="connsiteX1718" fmla="*/ 5385 w 922759"/>
                <a:gd name="connsiteY1718" fmla="*/ 619580 h 1151883"/>
                <a:gd name="connsiteX1719" fmla="*/ 4205 w 922759"/>
                <a:gd name="connsiteY1719" fmla="*/ 618158 h 1151883"/>
                <a:gd name="connsiteX1720" fmla="*/ 2813 w 922759"/>
                <a:gd name="connsiteY1720" fmla="*/ 617432 h 1151883"/>
                <a:gd name="connsiteX1721" fmla="*/ 0 w 922759"/>
                <a:gd name="connsiteY1721" fmla="*/ 618793 h 1151883"/>
                <a:gd name="connsiteX1722" fmla="*/ 575 w 922759"/>
                <a:gd name="connsiteY1722" fmla="*/ 622242 h 1151883"/>
                <a:gd name="connsiteX1723" fmla="*/ 2117 w 922759"/>
                <a:gd name="connsiteY1723" fmla="*/ 626447 h 1151883"/>
                <a:gd name="connsiteX1724" fmla="*/ 2208 w 922759"/>
                <a:gd name="connsiteY1724" fmla="*/ 630168 h 1151883"/>
                <a:gd name="connsiteX1725" fmla="*/ 3600 w 922759"/>
                <a:gd name="connsiteY1725" fmla="*/ 629896 h 1151883"/>
                <a:gd name="connsiteX1726" fmla="*/ 6201 w 922759"/>
                <a:gd name="connsiteY1726" fmla="*/ 628716 h 1151883"/>
                <a:gd name="connsiteX1727" fmla="*/ 7563 w 922759"/>
                <a:gd name="connsiteY1727" fmla="*/ 628353 h 1151883"/>
                <a:gd name="connsiteX1728" fmla="*/ 8954 w 922759"/>
                <a:gd name="connsiteY1728" fmla="*/ 628534 h 1151883"/>
                <a:gd name="connsiteX1729" fmla="*/ 11586 w 922759"/>
                <a:gd name="connsiteY1729" fmla="*/ 629351 h 1151883"/>
                <a:gd name="connsiteX1730" fmla="*/ 15186 w 922759"/>
                <a:gd name="connsiteY1730" fmla="*/ 628958 h 1151883"/>
                <a:gd name="connsiteX1731" fmla="*/ 15398 w 922759"/>
                <a:gd name="connsiteY1731" fmla="*/ 629714 h 1151883"/>
                <a:gd name="connsiteX1732" fmla="*/ 14793 w 922759"/>
                <a:gd name="connsiteY1732" fmla="*/ 630954 h 1151883"/>
                <a:gd name="connsiteX1733" fmla="*/ 14400 w 922759"/>
                <a:gd name="connsiteY1733" fmla="*/ 632165 h 1151883"/>
                <a:gd name="connsiteX1734" fmla="*/ 14551 w 922759"/>
                <a:gd name="connsiteY1734" fmla="*/ 634282 h 1151883"/>
                <a:gd name="connsiteX1735" fmla="*/ 14793 w 922759"/>
                <a:gd name="connsiteY1735" fmla="*/ 635462 h 1151883"/>
                <a:gd name="connsiteX1736" fmla="*/ 15580 w 922759"/>
                <a:gd name="connsiteY1736" fmla="*/ 636248 h 1151883"/>
                <a:gd name="connsiteX1737" fmla="*/ 17939 w 922759"/>
                <a:gd name="connsiteY1737" fmla="*/ 637610 h 1151883"/>
                <a:gd name="connsiteX1738" fmla="*/ 21237 w 922759"/>
                <a:gd name="connsiteY1738" fmla="*/ 638668 h 1151883"/>
                <a:gd name="connsiteX1739" fmla="*/ 21055 w 922759"/>
                <a:gd name="connsiteY1739" fmla="*/ 639243 h 1151883"/>
                <a:gd name="connsiteX1740" fmla="*/ 20511 w 922759"/>
                <a:gd name="connsiteY1740" fmla="*/ 640030 h 1151883"/>
                <a:gd name="connsiteX1741" fmla="*/ 20329 w 922759"/>
                <a:gd name="connsiteY1741" fmla="*/ 640998 h 1151883"/>
                <a:gd name="connsiteX1742" fmla="*/ 21176 w 922759"/>
                <a:gd name="connsiteY1742" fmla="*/ 644023 h 1151883"/>
                <a:gd name="connsiteX1743" fmla="*/ 21176 w 922759"/>
                <a:gd name="connsiteY1743" fmla="*/ 645172 h 1151883"/>
                <a:gd name="connsiteX1744" fmla="*/ 20540 w 922759"/>
                <a:gd name="connsiteY1744" fmla="*/ 646685 h 1151883"/>
                <a:gd name="connsiteX1745" fmla="*/ 19421 w 922759"/>
                <a:gd name="connsiteY1745" fmla="*/ 647925 h 1151883"/>
                <a:gd name="connsiteX1746" fmla="*/ 17152 w 922759"/>
                <a:gd name="connsiteY1746" fmla="*/ 647744 h 1151883"/>
                <a:gd name="connsiteX1747" fmla="*/ 15761 w 922759"/>
                <a:gd name="connsiteY1747" fmla="*/ 648470 h 1151883"/>
                <a:gd name="connsiteX1748" fmla="*/ 14883 w 922759"/>
                <a:gd name="connsiteY1748" fmla="*/ 649952 h 1151883"/>
                <a:gd name="connsiteX1749" fmla="*/ 14974 w 922759"/>
                <a:gd name="connsiteY1749" fmla="*/ 651192 h 1151883"/>
                <a:gd name="connsiteX1750" fmla="*/ 15186 w 922759"/>
                <a:gd name="connsiteY1750" fmla="*/ 652554 h 1151883"/>
                <a:gd name="connsiteX1751" fmla="*/ 14672 w 922759"/>
                <a:gd name="connsiteY1751" fmla="*/ 654278 h 1151883"/>
                <a:gd name="connsiteX1752" fmla="*/ 13220 w 922759"/>
                <a:gd name="connsiteY1752" fmla="*/ 655549 h 1151883"/>
                <a:gd name="connsiteX1753" fmla="*/ 11707 w 922759"/>
                <a:gd name="connsiteY1753" fmla="*/ 655186 h 1151883"/>
                <a:gd name="connsiteX1754" fmla="*/ 12131 w 922759"/>
                <a:gd name="connsiteY1754" fmla="*/ 657061 h 1151883"/>
                <a:gd name="connsiteX1755" fmla="*/ 12887 w 922759"/>
                <a:gd name="connsiteY1755" fmla="*/ 658302 h 1151883"/>
                <a:gd name="connsiteX1756" fmla="*/ 13885 w 922759"/>
                <a:gd name="connsiteY1756" fmla="*/ 658937 h 1151883"/>
                <a:gd name="connsiteX1757" fmla="*/ 14551 w 922759"/>
                <a:gd name="connsiteY1757" fmla="*/ 659814 h 1151883"/>
                <a:gd name="connsiteX1758" fmla="*/ 14339 w 922759"/>
                <a:gd name="connsiteY1758" fmla="*/ 661720 h 1151883"/>
                <a:gd name="connsiteX1759" fmla="*/ 14157 w 922759"/>
                <a:gd name="connsiteY1759" fmla="*/ 661992 h 1151883"/>
                <a:gd name="connsiteX1760" fmla="*/ 14097 w 922759"/>
                <a:gd name="connsiteY1760" fmla="*/ 662265 h 1151883"/>
                <a:gd name="connsiteX1761" fmla="*/ 14097 w 922759"/>
                <a:gd name="connsiteY1761" fmla="*/ 662537 h 1151883"/>
                <a:gd name="connsiteX1762" fmla="*/ 14248 w 922759"/>
                <a:gd name="connsiteY1762" fmla="*/ 662809 h 1151883"/>
                <a:gd name="connsiteX1763" fmla="*/ 15943 w 922759"/>
                <a:gd name="connsiteY1763" fmla="*/ 663626 h 1151883"/>
                <a:gd name="connsiteX1764" fmla="*/ 16003 w 922759"/>
                <a:gd name="connsiteY1764" fmla="*/ 665018 h 1151883"/>
                <a:gd name="connsiteX1765" fmla="*/ 15640 w 922759"/>
                <a:gd name="connsiteY1765" fmla="*/ 666560 h 1151883"/>
                <a:gd name="connsiteX1766" fmla="*/ 16033 w 922759"/>
                <a:gd name="connsiteY1766" fmla="*/ 667800 h 1151883"/>
                <a:gd name="connsiteX1767" fmla="*/ 17364 w 922759"/>
                <a:gd name="connsiteY1767" fmla="*/ 667952 h 1151883"/>
                <a:gd name="connsiteX1768" fmla="*/ 21327 w 922759"/>
                <a:gd name="connsiteY1768" fmla="*/ 666954 h 1151883"/>
                <a:gd name="connsiteX1769" fmla="*/ 23021 w 922759"/>
                <a:gd name="connsiteY1769" fmla="*/ 667105 h 1151883"/>
                <a:gd name="connsiteX1770" fmla="*/ 24957 w 922759"/>
                <a:gd name="connsiteY1770" fmla="*/ 668890 h 1151883"/>
                <a:gd name="connsiteX1771" fmla="*/ 31099 w 922759"/>
                <a:gd name="connsiteY1771" fmla="*/ 677511 h 1151883"/>
                <a:gd name="connsiteX1772" fmla="*/ 29767 w 922759"/>
                <a:gd name="connsiteY1772" fmla="*/ 678298 h 1151883"/>
                <a:gd name="connsiteX1773" fmla="*/ 30947 w 922759"/>
                <a:gd name="connsiteY1773" fmla="*/ 680385 h 1151883"/>
                <a:gd name="connsiteX1774" fmla="*/ 33004 w 922759"/>
                <a:gd name="connsiteY1774" fmla="*/ 681384 h 1151883"/>
                <a:gd name="connsiteX1775" fmla="*/ 39962 w 922759"/>
                <a:gd name="connsiteY1775" fmla="*/ 681535 h 1151883"/>
                <a:gd name="connsiteX1776" fmla="*/ 40204 w 922759"/>
                <a:gd name="connsiteY1776" fmla="*/ 682412 h 1151883"/>
                <a:gd name="connsiteX1777" fmla="*/ 39478 w 922759"/>
                <a:gd name="connsiteY1777" fmla="*/ 683713 h 1151883"/>
                <a:gd name="connsiteX1778" fmla="*/ 38328 w 922759"/>
                <a:gd name="connsiteY1778" fmla="*/ 684983 h 1151883"/>
                <a:gd name="connsiteX1779" fmla="*/ 38328 w 922759"/>
                <a:gd name="connsiteY1779" fmla="*/ 685528 h 1151883"/>
                <a:gd name="connsiteX1780" fmla="*/ 36090 w 922759"/>
                <a:gd name="connsiteY1780" fmla="*/ 686768 h 1151883"/>
                <a:gd name="connsiteX1781" fmla="*/ 32914 w 922759"/>
                <a:gd name="connsiteY1781" fmla="*/ 689188 h 1151883"/>
                <a:gd name="connsiteX1782" fmla="*/ 31068 w 922759"/>
                <a:gd name="connsiteY1782" fmla="*/ 691851 h 1151883"/>
                <a:gd name="connsiteX1783" fmla="*/ 32732 w 922759"/>
                <a:gd name="connsiteY1783" fmla="*/ 693787 h 1151883"/>
                <a:gd name="connsiteX1784" fmla="*/ 31945 w 922759"/>
                <a:gd name="connsiteY1784" fmla="*/ 694906 h 1151883"/>
                <a:gd name="connsiteX1785" fmla="*/ 32066 w 922759"/>
                <a:gd name="connsiteY1785" fmla="*/ 695571 h 1151883"/>
                <a:gd name="connsiteX1786" fmla="*/ 32883 w 922759"/>
                <a:gd name="connsiteY1786" fmla="*/ 695874 h 1151883"/>
                <a:gd name="connsiteX1787" fmla="*/ 34063 w 922759"/>
                <a:gd name="connsiteY1787" fmla="*/ 695965 h 1151883"/>
                <a:gd name="connsiteX1788" fmla="*/ 33277 w 922759"/>
                <a:gd name="connsiteY1788" fmla="*/ 697235 h 1151883"/>
                <a:gd name="connsiteX1789" fmla="*/ 34093 w 922759"/>
                <a:gd name="connsiteY1789" fmla="*/ 697931 h 1151883"/>
                <a:gd name="connsiteX1790" fmla="*/ 34940 w 922759"/>
                <a:gd name="connsiteY1790" fmla="*/ 699595 h 1151883"/>
                <a:gd name="connsiteX1791" fmla="*/ 35757 w 922759"/>
                <a:gd name="connsiteY1791" fmla="*/ 700170 h 1151883"/>
                <a:gd name="connsiteX1792" fmla="*/ 36756 w 922759"/>
                <a:gd name="connsiteY1792" fmla="*/ 700230 h 1151883"/>
                <a:gd name="connsiteX1793" fmla="*/ 40144 w 922759"/>
                <a:gd name="connsiteY1793" fmla="*/ 699262 h 1151883"/>
                <a:gd name="connsiteX1794" fmla="*/ 40355 w 922759"/>
                <a:gd name="connsiteY1794" fmla="*/ 699050 h 1151883"/>
                <a:gd name="connsiteX1795" fmla="*/ 40597 w 922759"/>
                <a:gd name="connsiteY1795" fmla="*/ 698990 h 1151883"/>
                <a:gd name="connsiteX1796" fmla="*/ 40839 w 922759"/>
                <a:gd name="connsiteY1796" fmla="*/ 699050 h 1151883"/>
                <a:gd name="connsiteX1797" fmla="*/ 41081 w 922759"/>
                <a:gd name="connsiteY1797" fmla="*/ 699262 h 1151883"/>
                <a:gd name="connsiteX1798" fmla="*/ 42624 w 922759"/>
                <a:gd name="connsiteY1798" fmla="*/ 699927 h 1151883"/>
                <a:gd name="connsiteX1799" fmla="*/ 46981 w 922759"/>
                <a:gd name="connsiteY1799" fmla="*/ 700865 h 1151883"/>
                <a:gd name="connsiteX1800" fmla="*/ 48796 w 922759"/>
                <a:gd name="connsiteY1800" fmla="*/ 700956 h 1151883"/>
                <a:gd name="connsiteX1801" fmla="*/ 47676 w 922759"/>
                <a:gd name="connsiteY1801" fmla="*/ 701985 h 1151883"/>
                <a:gd name="connsiteX1802" fmla="*/ 47434 w 922759"/>
                <a:gd name="connsiteY1802" fmla="*/ 703165 h 1151883"/>
                <a:gd name="connsiteX1803" fmla="*/ 47737 w 922759"/>
                <a:gd name="connsiteY1803" fmla="*/ 704465 h 1151883"/>
                <a:gd name="connsiteX1804" fmla="*/ 48281 w 922759"/>
                <a:gd name="connsiteY1804" fmla="*/ 705918 h 1151883"/>
                <a:gd name="connsiteX1805" fmla="*/ 49128 w 922759"/>
                <a:gd name="connsiteY1805" fmla="*/ 707248 h 1151883"/>
                <a:gd name="connsiteX1806" fmla="*/ 49854 w 922759"/>
                <a:gd name="connsiteY1806" fmla="*/ 707370 h 1151883"/>
                <a:gd name="connsiteX1807" fmla="*/ 50248 w 922759"/>
                <a:gd name="connsiteY1807" fmla="*/ 707854 h 1151883"/>
                <a:gd name="connsiteX1808" fmla="*/ 50157 w 922759"/>
                <a:gd name="connsiteY1808" fmla="*/ 710274 h 1151883"/>
                <a:gd name="connsiteX1809" fmla="*/ 49431 w 922759"/>
                <a:gd name="connsiteY1809" fmla="*/ 713692 h 1151883"/>
                <a:gd name="connsiteX1810" fmla="*/ 48735 w 922759"/>
                <a:gd name="connsiteY1810" fmla="*/ 715628 h 1151883"/>
                <a:gd name="connsiteX1811" fmla="*/ 48856 w 922759"/>
                <a:gd name="connsiteY1811" fmla="*/ 717322 h 1151883"/>
                <a:gd name="connsiteX1812" fmla="*/ 52365 w 922759"/>
                <a:gd name="connsiteY1812" fmla="*/ 722919 h 1151883"/>
                <a:gd name="connsiteX1813" fmla="*/ 52456 w 922759"/>
                <a:gd name="connsiteY1813" fmla="*/ 723856 h 1151883"/>
                <a:gd name="connsiteX1814" fmla="*/ 52577 w 922759"/>
                <a:gd name="connsiteY1814" fmla="*/ 724945 h 1151883"/>
                <a:gd name="connsiteX1815" fmla="*/ 51306 w 922759"/>
                <a:gd name="connsiteY1815" fmla="*/ 726186 h 1151883"/>
                <a:gd name="connsiteX1816" fmla="*/ 48644 w 922759"/>
                <a:gd name="connsiteY1816" fmla="*/ 726640 h 1151883"/>
                <a:gd name="connsiteX1817" fmla="*/ 47283 w 922759"/>
                <a:gd name="connsiteY1817" fmla="*/ 726397 h 1151883"/>
                <a:gd name="connsiteX1818" fmla="*/ 46133 w 922759"/>
                <a:gd name="connsiteY1818" fmla="*/ 726005 h 1151883"/>
                <a:gd name="connsiteX1819" fmla="*/ 45014 w 922759"/>
                <a:gd name="connsiteY1819" fmla="*/ 725914 h 1151883"/>
                <a:gd name="connsiteX1820" fmla="*/ 43653 w 922759"/>
                <a:gd name="connsiteY1820" fmla="*/ 726640 h 1151883"/>
                <a:gd name="connsiteX1821" fmla="*/ 42654 w 922759"/>
                <a:gd name="connsiteY1821" fmla="*/ 727759 h 1151883"/>
                <a:gd name="connsiteX1822" fmla="*/ 41989 w 922759"/>
                <a:gd name="connsiteY1822" fmla="*/ 729150 h 1151883"/>
                <a:gd name="connsiteX1823" fmla="*/ 41777 w 922759"/>
                <a:gd name="connsiteY1823" fmla="*/ 730602 h 1151883"/>
                <a:gd name="connsiteX1824" fmla="*/ 42231 w 922759"/>
                <a:gd name="connsiteY1824" fmla="*/ 731903 h 1151883"/>
                <a:gd name="connsiteX1825" fmla="*/ 40386 w 922759"/>
                <a:gd name="connsiteY1825" fmla="*/ 733446 h 1151883"/>
                <a:gd name="connsiteX1826" fmla="*/ 36059 w 922759"/>
                <a:gd name="connsiteY1826" fmla="*/ 734566 h 1151883"/>
                <a:gd name="connsiteX1827" fmla="*/ 33972 w 922759"/>
                <a:gd name="connsiteY1827" fmla="*/ 735473 h 1151883"/>
                <a:gd name="connsiteX1828" fmla="*/ 33004 w 922759"/>
                <a:gd name="connsiteY1828" fmla="*/ 736895 h 1151883"/>
                <a:gd name="connsiteX1829" fmla="*/ 30735 w 922759"/>
                <a:gd name="connsiteY1829" fmla="*/ 738377 h 1151883"/>
                <a:gd name="connsiteX1830" fmla="*/ 29707 w 922759"/>
                <a:gd name="connsiteY1830" fmla="*/ 739618 h 1151883"/>
                <a:gd name="connsiteX1831" fmla="*/ 31038 w 922759"/>
                <a:gd name="connsiteY1831" fmla="*/ 740979 h 1151883"/>
                <a:gd name="connsiteX1832" fmla="*/ 31613 w 922759"/>
                <a:gd name="connsiteY1832" fmla="*/ 742613 h 1151883"/>
                <a:gd name="connsiteX1833" fmla="*/ 31552 w 922759"/>
                <a:gd name="connsiteY1833" fmla="*/ 744216 h 1151883"/>
                <a:gd name="connsiteX1834" fmla="*/ 30947 w 922759"/>
                <a:gd name="connsiteY1834" fmla="*/ 745577 h 1151883"/>
                <a:gd name="connsiteX1835" fmla="*/ 30221 w 922759"/>
                <a:gd name="connsiteY1835" fmla="*/ 746031 h 1151883"/>
                <a:gd name="connsiteX1836" fmla="*/ 28224 w 922759"/>
                <a:gd name="connsiteY1836" fmla="*/ 746182 h 1151883"/>
                <a:gd name="connsiteX1837" fmla="*/ 27347 w 922759"/>
                <a:gd name="connsiteY1837" fmla="*/ 746666 h 1151883"/>
                <a:gd name="connsiteX1838" fmla="*/ 27166 w 922759"/>
                <a:gd name="connsiteY1838" fmla="*/ 747150 h 1151883"/>
                <a:gd name="connsiteX1839" fmla="*/ 26833 w 922759"/>
                <a:gd name="connsiteY1839" fmla="*/ 748753 h 1151883"/>
                <a:gd name="connsiteX1840" fmla="*/ 26621 w 922759"/>
                <a:gd name="connsiteY1840" fmla="*/ 749449 h 1151883"/>
                <a:gd name="connsiteX1841" fmla="*/ 27650 w 922759"/>
                <a:gd name="connsiteY1841" fmla="*/ 750206 h 1151883"/>
                <a:gd name="connsiteX1842" fmla="*/ 28013 w 922759"/>
                <a:gd name="connsiteY1842" fmla="*/ 751113 h 1151883"/>
                <a:gd name="connsiteX1843" fmla="*/ 27710 w 922759"/>
                <a:gd name="connsiteY1843" fmla="*/ 752081 h 1151883"/>
                <a:gd name="connsiteX1844" fmla="*/ 26803 w 922759"/>
                <a:gd name="connsiteY1844" fmla="*/ 753079 h 1151883"/>
                <a:gd name="connsiteX1845" fmla="*/ 26107 w 922759"/>
                <a:gd name="connsiteY1845" fmla="*/ 755167 h 1151883"/>
                <a:gd name="connsiteX1846" fmla="*/ 25623 w 922759"/>
                <a:gd name="connsiteY1846" fmla="*/ 757163 h 1151883"/>
                <a:gd name="connsiteX1847" fmla="*/ 24988 w 922759"/>
                <a:gd name="connsiteY1847" fmla="*/ 761217 h 1151883"/>
                <a:gd name="connsiteX1848" fmla="*/ 25169 w 922759"/>
                <a:gd name="connsiteY1848" fmla="*/ 761308 h 1151883"/>
                <a:gd name="connsiteX1849" fmla="*/ 25774 w 922759"/>
                <a:gd name="connsiteY1849" fmla="*/ 761247 h 1151883"/>
                <a:gd name="connsiteX1850" fmla="*/ 26016 w 922759"/>
                <a:gd name="connsiteY1850" fmla="*/ 761247 h 1151883"/>
                <a:gd name="connsiteX1851" fmla="*/ 25653 w 922759"/>
                <a:gd name="connsiteY1851" fmla="*/ 761731 h 1151883"/>
                <a:gd name="connsiteX1852" fmla="*/ 24715 w 922759"/>
                <a:gd name="connsiteY1852" fmla="*/ 763426 h 1151883"/>
                <a:gd name="connsiteX1853" fmla="*/ 25805 w 922759"/>
                <a:gd name="connsiteY1853" fmla="*/ 764000 h 1151883"/>
                <a:gd name="connsiteX1854" fmla="*/ 26470 w 922759"/>
                <a:gd name="connsiteY1854" fmla="*/ 765180 h 1151883"/>
                <a:gd name="connsiteX1855" fmla="*/ 27105 w 922759"/>
                <a:gd name="connsiteY1855" fmla="*/ 768175 h 1151883"/>
                <a:gd name="connsiteX1856" fmla="*/ 26833 w 922759"/>
                <a:gd name="connsiteY1856" fmla="*/ 769778 h 1151883"/>
                <a:gd name="connsiteX1857" fmla="*/ 27287 w 922759"/>
                <a:gd name="connsiteY1857" fmla="*/ 770928 h 1151883"/>
                <a:gd name="connsiteX1858" fmla="*/ 29011 w 922759"/>
                <a:gd name="connsiteY1858" fmla="*/ 773378 h 1151883"/>
                <a:gd name="connsiteX1859" fmla="*/ 30524 w 922759"/>
                <a:gd name="connsiteY1859" fmla="*/ 777402 h 1151883"/>
                <a:gd name="connsiteX1860" fmla="*/ 31310 w 922759"/>
                <a:gd name="connsiteY1860" fmla="*/ 778642 h 1151883"/>
                <a:gd name="connsiteX1861" fmla="*/ 32399 w 922759"/>
                <a:gd name="connsiteY1861" fmla="*/ 776676 h 1151883"/>
                <a:gd name="connsiteX1862" fmla="*/ 34124 w 922759"/>
                <a:gd name="connsiteY1862" fmla="*/ 779247 h 1151883"/>
                <a:gd name="connsiteX1863" fmla="*/ 37421 w 922759"/>
                <a:gd name="connsiteY1863" fmla="*/ 786598 h 1151883"/>
                <a:gd name="connsiteX1864" fmla="*/ 38994 w 922759"/>
                <a:gd name="connsiteY1864" fmla="*/ 788080 h 1151883"/>
                <a:gd name="connsiteX1865" fmla="*/ 42413 w 922759"/>
                <a:gd name="connsiteY1865" fmla="*/ 789472 h 1151883"/>
                <a:gd name="connsiteX1866" fmla="*/ 43895 w 922759"/>
                <a:gd name="connsiteY1866" fmla="*/ 790349 h 1151883"/>
                <a:gd name="connsiteX1867" fmla="*/ 44379 w 922759"/>
                <a:gd name="connsiteY1867" fmla="*/ 791136 h 1151883"/>
                <a:gd name="connsiteX1868" fmla="*/ 44772 w 922759"/>
                <a:gd name="connsiteY1868" fmla="*/ 792134 h 1151883"/>
                <a:gd name="connsiteX1869" fmla="*/ 45377 w 922759"/>
                <a:gd name="connsiteY1869" fmla="*/ 793616 h 1151883"/>
                <a:gd name="connsiteX1870" fmla="*/ 45468 w 922759"/>
                <a:gd name="connsiteY1870" fmla="*/ 794100 h 1151883"/>
                <a:gd name="connsiteX1871" fmla="*/ 46284 w 922759"/>
                <a:gd name="connsiteY1871" fmla="*/ 794161 h 1151883"/>
                <a:gd name="connsiteX1872" fmla="*/ 47797 w 922759"/>
                <a:gd name="connsiteY1872" fmla="*/ 793344 h 1151883"/>
                <a:gd name="connsiteX1873" fmla="*/ 48674 w 922759"/>
                <a:gd name="connsiteY1873" fmla="*/ 793344 h 1151883"/>
                <a:gd name="connsiteX1874" fmla="*/ 50399 w 922759"/>
                <a:gd name="connsiteY1874" fmla="*/ 794342 h 1151883"/>
                <a:gd name="connsiteX1875" fmla="*/ 53273 w 922759"/>
                <a:gd name="connsiteY1875" fmla="*/ 796883 h 1151883"/>
                <a:gd name="connsiteX1876" fmla="*/ 54967 w 922759"/>
                <a:gd name="connsiteY1876" fmla="*/ 797882 h 1151883"/>
                <a:gd name="connsiteX1877" fmla="*/ 56721 w 922759"/>
                <a:gd name="connsiteY1877" fmla="*/ 798335 h 1151883"/>
                <a:gd name="connsiteX1878" fmla="*/ 61531 w 922759"/>
                <a:gd name="connsiteY1878" fmla="*/ 798335 h 1151883"/>
                <a:gd name="connsiteX1879" fmla="*/ 64647 w 922759"/>
                <a:gd name="connsiteY1879" fmla="*/ 799183 h 1151883"/>
                <a:gd name="connsiteX1880" fmla="*/ 65041 w 922759"/>
                <a:gd name="connsiteY1880" fmla="*/ 799183 h 1151883"/>
                <a:gd name="connsiteX1881" fmla="*/ 65585 w 922759"/>
                <a:gd name="connsiteY1881" fmla="*/ 799757 h 1151883"/>
                <a:gd name="connsiteX1882" fmla="*/ 65555 w 922759"/>
                <a:gd name="connsiteY1882" fmla="*/ 799757 h 1151883"/>
                <a:gd name="connsiteX1883" fmla="*/ 65343 w 922759"/>
                <a:gd name="connsiteY1883" fmla="*/ 799939 h 1151883"/>
                <a:gd name="connsiteX1884" fmla="*/ 65343 w 922759"/>
                <a:gd name="connsiteY1884" fmla="*/ 801149 h 1151883"/>
                <a:gd name="connsiteX1885" fmla="*/ 65192 w 922759"/>
                <a:gd name="connsiteY1885" fmla="*/ 801240 h 1151883"/>
                <a:gd name="connsiteX1886" fmla="*/ 64708 w 922759"/>
                <a:gd name="connsiteY1886" fmla="*/ 804355 h 1151883"/>
                <a:gd name="connsiteX1887" fmla="*/ 64708 w 922759"/>
                <a:gd name="connsiteY1887" fmla="*/ 805384 h 1151883"/>
                <a:gd name="connsiteX1888" fmla="*/ 64980 w 922759"/>
                <a:gd name="connsiteY1888" fmla="*/ 806019 h 1151883"/>
                <a:gd name="connsiteX1889" fmla="*/ 64980 w 922759"/>
                <a:gd name="connsiteY1889" fmla="*/ 806594 h 1151883"/>
                <a:gd name="connsiteX1890" fmla="*/ 63952 w 922759"/>
                <a:gd name="connsiteY1890" fmla="*/ 807381 h 1151883"/>
                <a:gd name="connsiteX1891" fmla="*/ 63891 w 922759"/>
                <a:gd name="connsiteY1891" fmla="*/ 808651 h 1151883"/>
                <a:gd name="connsiteX1892" fmla="*/ 64103 w 922759"/>
                <a:gd name="connsiteY1892" fmla="*/ 809831 h 1151883"/>
                <a:gd name="connsiteX1893" fmla="*/ 64587 w 922759"/>
                <a:gd name="connsiteY1893" fmla="*/ 810860 h 1151883"/>
                <a:gd name="connsiteX1894" fmla="*/ 65313 w 922759"/>
                <a:gd name="connsiteY1894" fmla="*/ 811737 h 1151883"/>
                <a:gd name="connsiteX1895" fmla="*/ 64435 w 922759"/>
                <a:gd name="connsiteY1895" fmla="*/ 811435 h 1151883"/>
                <a:gd name="connsiteX1896" fmla="*/ 63982 w 922759"/>
                <a:gd name="connsiteY1896" fmla="*/ 811646 h 1151883"/>
                <a:gd name="connsiteX1897" fmla="*/ 63649 w 922759"/>
                <a:gd name="connsiteY1897" fmla="*/ 812342 h 1151883"/>
                <a:gd name="connsiteX1898" fmla="*/ 64345 w 922759"/>
                <a:gd name="connsiteY1898" fmla="*/ 813068 h 1151883"/>
                <a:gd name="connsiteX1899" fmla="*/ 64526 w 922759"/>
                <a:gd name="connsiteY1899" fmla="*/ 813370 h 1151883"/>
                <a:gd name="connsiteX1900" fmla="*/ 57145 w 922759"/>
                <a:gd name="connsiteY1900" fmla="*/ 817787 h 1151883"/>
                <a:gd name="connsiteX1901" fmla="*/ 55602 w 922759"/>
                <a:gd name="connsiteY1901" fmla="*/ 819814 h 1151883"/>
                <a:gd name="connsiteX1902" fmla="*/ 55753 w 922759"/>
                <a:gd name="connsiteY1902" fmla="*/ 820298 h 1151883"/>
                <a:gd name="connsiteX1903" fmla="*/ 56419 w 922759"/>
                <a:gd name="connsiteY1903" fmla="*/ 820691 h 1151883"/>
                <a:gd name="connsiteX1904" fmla="*/ 57024 w 922759"/>
                <a:gd name="connsiteY1904" fmla="*/ 821266 h 1151883"/>
                <a:gd name="connsiteX1905" fmla="*/ 57115 w 922759"/>
                <a:gd name="connsiteY1905" fmla="*/ 822204 h 1151883"/>
                <a:gd name="connsiteX1906" fmla="*/ 56842 w 922759"/>
                <a:gd name="connsiteY1906" fmla="*/ 822839 h 1151883"/>
                <a:gd name="connsiteX1907" fmla="*/ 56086 w 922759"/>
                <a:gd name="connsiteY1907" fmla="*/ 823868 h 1151883"/>
                <a:gd name="connsiteX1908" fmla="*/ 55057 w 922759"/>
                <a:gd name="connsiteY1908" fmla="*/ 825804 h 1151883"/>
                <a:gd name="connsiteX1909" fmla="*/ 52456 w 922759"/>
                <a:gd name="connsiteY1909" fmla="*/ 828769 h 1151883"/>
                <a:gd name="connsiteX1910" fmla="*/ 50943 w 922759"/>
                <a:gd name="connsiteY1910" fmla="*/ 830977 h 1151883"/>
                <a:gd name="connsiteX1911" fmla="*/ 50369 w 922759"/>
                <a:gd name="connsiteY1911" fmla="*/ 832550 h 1151883"/>
                <a:gd name="connsiteX1912" fmla="*/ 50369 w 922759"/>
                <a:gd name="connsiteY1912" fmla="*/ 837057 h 1151883"/>
                <a:gd name="connsiteX1913" fmla="*/ 50157 w 922759"/>
                <a:gd name="connsiteY1913" fmla="*/ 838449 h 1151883"/>
                <a:gd name="connsiteX1914" fmla="*/ 49491 w 922759"/>
                <a:gd name="connsiteY1914" fmla="*/ 843017 h 1151883"/>
                <a:gd name="connsiteX1915" fmla="*/ 49794 w 922759"/>
                <a:gd name="connsiteY1915" fmla="*/ 847313 h 1151883"/>
                <a:gd name="connsiteX1916" fmla="*/ 49794 w 922759"/>
                <a:gd name="connsiteY1916" fmla="*/ 848371 h 1151883"/>
                <a:gd name="connsiteX1917" fmla="*/ 50641 w 922759"/>
                <a:gd name="connsiteY1917" fmla="*/ 848462 h 1151883"/>
                <a:gd name="connsiteX1918" fmla="*/ 51700 w 922759"/>
                <a:gd name="connsiteY1918" fmla="*/ 848281 h 1151883"/>
                <a:gd name="connsiteX1919" fmla="*/ 53605 w 922759"/>
                <a:gd name="connsiteY1919" fmla="*/ 847070 h 1151883"/>
                <a:gd name="connsiteX1920" fmla="*/ 54422 w 922759"/>
                <a:gd name="connsiteY1920" fmla="*/ 846798 h 1151883"/>
                <a:gd name="connsiteX1921" fmla="*/ 55542 w 922759"/>
                <a:gd name="connsiteY1921" fmla="*/ 846980 h 1151883"/>
                <a:gd name="connsiteX1922" fmla="*/ 64768 w 922759"/>
                <a:gd name="connsiteY1922" fmla="*/ 851245 h 1151883"/>
                <a:gd name="connsiteX1923" fmla="*/ 66493 w 922759"/>
                <a:gd name="connsiteY1923" fmla="*/ 852788 h 1151883"/>
                <a:gd name="connsiteX1924" fmla="*/ 67128 w 922759"/>
                <a:gd name="connsiteY1924" fmla="*/ 853968 h 1151883"/>
                <a:gd name="connsiteX1925" fmla="*/ 67400 w 922759"/>
                <a:gd name="connsiteY1925" fmla="*/ 855148 h 1151883"/>
                <a:gd name="connsiteX1926" fmla="*/ 67400 w 922759"/>
                <a:gd name="connsiteY1926" fmla="*/ 855934 h 1151883"/>
                <a:gd name="connsiteX1927" fmla="*/ 67219 w 922759"/>
                <a:gd name="connsiteY1927" fmla="*/ 855995 h 1151883"/>
                <a:gd name="connsiteX1928" fmla="*/ 67914 w 922759"/>
                <a:gd name="connsiteY1928" fmla="*/ 856963 h 1151883"/>
                <a:gd name="connsiteX1929" fmla="*/ 72815 w 922759"/>
                <a:gd name="connsiteY1929" fmla="*/ 861743 h 1151883"/>
                <a:gd name="connsiteX1930" fmla="*/ 73178 w 922759"/>
                <a:gd name="connsiteY1930" fmla="*/ 862589 h 1151883"/>
                <a:gd name="connsiteX1931" fmla="*/ 72754 w 922759"/>
                <a:gd name="connsiteY1931" fmla="*/ 863739 h 1151883"/>
                <a:gd name="connsiteX1932" fmla="*/ 70970 w 922759"/>
                <a:gd name="connsiteY1932" fmla="*/ 863830 h 1151883"/>
                <a:gd name="connsiteX1933" fmla="*/ 70425 w 922759"/>
                <a:gd name="connsiteY1933" fmla="*/ 865131 h 1151883"/>
                <a:gd name="connsiteX1934" fmla="*/ 71061 w 922759"/>
                <a:gd name="connsiteY1934" fmla="*/ 866764 h 1151883"/>
                <a:gd name="connsiteX1935" fmla="*/ 72724 w 922759"/>
                <a:gd name="connsiteY1935" fmla="*/ 868640 h 1151883"/>
                <a:gd name="connsiteX1936" fmla="*/ 79410 w 922759"/>
                <a:gd name="connsiteY1936" fmla="*/ 874569 h 1151883"/>
                <a:gd name="connsiteX1937" fmla="*/ 79561 w 922759"/>
                <a:gd name="connsiteY1937" fmla="*/ 875174 h 1151883"/>
                <a:gd name="connsiteX1938" fmla="*/ 79349 w 922759"/>
                <a:gd name="connsiteY1938" fmla="*/ 876596 h 1151883"/>
                <a:gd name="connsiteX1939" fmla="*/ 79471 w 922759"/>
                <a:gd name="connsiteY1939" fmla="*/ 877171 h 1151883"/>
                <a:gd name="connsiteX1940" fmla="*/ 80015 w 922759"/>
                <a:gd name="connsiteY1940" fmla="*/ 877564 h 1151883"/>
                <a:gd name="connsiteX1941" fmla="*/ 81406 w 922759"/>
                <a:gd name="connsiteY1941" fmla="*/ 878018 h 1151883"/>
                <a:gd name="connsiteX1942" fmla="*/ 81830 w 922759"/>
                <a:gd name="connsiteY1942" fmla="*/ 878411 h 1151883"/>
                <a:gd name="connsiteX1943" fmla="*/ 82616 w 922759"/>
                <a:gd name="connsiteY1943" fmla="*/ 881043 h 1151883"/>
                <a:gd name="connsiteX1944" fmla="*/ 82949 w 922759"/>
                <a:gd name="connsiteY1944" fmla="*/ 881648 h 1151883"/>
                <a:gd name="connsiteX1945" fmla="*/ 83070 w 922759"/>
                <a:gd name="connsiteY1945" fmla="*/ 881950 h 1151883"/>
                <a:gd name="connsiteX1946" fmla="*/ 83252 w 922759"/>
                <a:gd name="connsiteY1946" fmla="*/ 883070 h 1151883"/>
                <a:gd name="connsiteX1947" fmla="*/ 83524 w 922759"/>
                <a:gd name="connsiteY1947" fmla="*/ 883584 h 1151883"/>
                <a:gd name="connsiteX1948" fmla="*/ 83978 w 922759"/>
                <a:gd name="connsiteY1948" fmla="*/ 883524 h 1151883"/>
                <a:gd name="connsiteX1949" fmla="*/ 85339 w 922759"/>
                <a:gd name="connsiteY1949" fmla="*/ 882707 h 1151883"/>
                <a:gd name="connsiteX1950" fmla="*/ 85732 w 922759"/>
                <a:gd name="connsiteY1950" fmla="*/ 882707 h 1151883"/>
                <a:gd name="connsiteX1951" fmla="*/ 86368 w 922759"/>
                <a:gd name="connsiteY1951" fmla="*/ 884945 h 1151883"/>
                <a:gd name="connsiteX1952" fmla="*/ 85854 w 922759"/>
                <a:gd name="connsiteY1952" fmla="*/ 886730 h 1151883"/>
                <a:gd name="connsiteX1953" fmla="*/ 85581 w 922759"/>
                <a:gd name="connsiteY1953" fmla="*/ 888455 h 1151883"/>
                <a:gd name="connsiteX1954" fmla="*/ 86882 w 922759"/>
                <a:gd name="connsiteY1954" fmla="*/ 890451 h 1151883"/>
                <a:gd name="connsiteX1955" fmla="*/ 88062 w 922759"/>
                <a:gd name="connsiteY1955" fmla="*/ 890905 h 1151883"/>
                <a:gd name="connsiteX1956" fmla="*/ 92539 w 922759"/>
                <a:gd name="connsiteY1956" fmla="*/ 890905 h 1151883"/>
                <a:gd name="connsiteX1957" fmla="*/ 96472 w 922759"/>
                <a:gd name="connsiteY1957" fmla="*/ 892266 h 1151883"/>
                <a:gd name="connsiteX1958" fmla="*/ 97742 w 922759"/>
                <a:gd name="connsiteY1958" fmla="*/ 891994 h 1151883"/>
                <a:gd name="connsiteX1959" fmla="*/ 99467 w 922759"/>
                <a:gd name="connsiteY1959" fmla="*/ 889876 h 1151883"/>
                <a:gd name="connsiteX1960" fmla="*/ 99073 w 922759"/>
                <a:gd name="connsiteY1960" fmla="*/ 887517 h 1151883"/>
                <a:gd name="connsiteX1961" fmla="*/ 98317 w 922759"/>
                <a:gd name="connsiteY1961" fmla="*/ 885248 h 1151883"/>
                <a:gd name="connsiteX1962" fmla="*/ 98892 w 922759"/>
                <a:gd name="connsiteY1962" fmla="*/ 883282 h 1151883"/>
                <a:gd name="connsiteX1963" fmla="*/ 99890 w 922759"/>
                <a:gd name="connsiteY1963" fmla="*/ 883039 h 1151883"/>
                <a:gd name="connsiteX1964" fmla="*/ 104095 w 922759"/>
                <a:gd name="connsiteY1964" fmla="*/ 883917 h 1151883"/>
                <a:gd name="connsiteX1965" fmla="*/ 107030 w 922759"/>
                <a:gd name="connsiteY1965" fmla="*/ 883675 h 1151883"/>
                <a:gd name="connsiteX1966" fmla="*/ 108149 w 922759"/>
                <a:gd name="connsiteY1966" fmla="*/ 883826 h 1151883"/>
                <a:gd name="connsiteX1967" fmla="*/ 114441 w 922759"/>
                <a:gd name="connsiteY1967" fmla="*/ 887093 h 1151883"/>
                <a:gd name="connsiteX1968" fmla="*/ 116619 w 922759"/>
                <a:gd name="connsiteY1968" fmla="*/ 887184 h 1151883"/>
                <a:gd name="connsiteX1969" fmla="*/ 116559 w 922759"/>
                <a:gd name="connsiteY1969" fmla="*/ 892175 h 1151883"/>
                <a:gd name="connsiteX1970" fmla="*/ 117708 w 922759"/>
                <a:gd name="connsiteY1970" fmla="*/ 896048 h 1151883"/>
                <a:gd name="connsiteX1971" fmla="*/ 119947 w 922759"/>
                <a:gd name="connsiteY1971" fmla="*/ 897651 h 1151883"/>
                <a:gd name="connsiteX1972" fmla="*/ 123032 w 922759"/>
                <a:gd name="connsiteY1972" fmla="*/ 895866 h 1151883"/>
                <a:gd name="connsiteX1973" fmla="*/ 123184 w 922759"/>
                <a:gd name="connsiteY1973" fmla="*/ 895140 h 1151883"/>
                <a:gd name="connsiteX1974" fmla="*/ 122881 w 922759"/>
                <a:gd name="connsiteY1974" fmla="*/ 894414 h 1151883"/>
                <a:gd name="connsiteX1975" fmla="*/ 122790 w 922759"/>
                <a:gd name="connsiteY1975" fmla="*/ 893627 h 1151883"/>
                <a:gd name="connsiteX1976" fmla="*/ 123698 w 922759"/>
                <a:gd name="connsiteY1976" fmla="*/ 892811 h 1151883"/>
                <a:gd name="connsiteX1977" fmla="*/ 124242 w 922759"/>
                <a:gd name="connsiteY1977" fmla="*/ 892871 h 1151883"/>
                <a:gd name="connsiteX1978" fmla="*/ 128084 w 922759"/>
                <a:gd name="connsiteY1978" fmla="*/ 895442 h 1151883"/>
                <a:gd name="connsiteX1979" fmla="*/ 129658 w 922759"/>
                <a:gd name="connsiteY1979" fmla="*/ 896199 h 1151883"/>
                <a:gd name="connsiteX1980" fmla="*/ 131231 w 922759"/>
                <a:gd name="connsiteY1980" fmla="*/ 896683 h 1151883"/>
                <a:gd name="connsiteX1981" fmla="*/ 139913 w 922759"/>
                <a:gd name="connsiteY1981" fmla="*/ 896743 h 1151883"/>
                <a:gd name="connsiteX1982" fmla="*/ 142605 w 922759"/>
                <a:gd name="connsiteY1982" fmla="*/ 897923 h 1151883"/>
                <a:gd name="connsiteX1983" fmla="*/ 143240 w 922759"/>
                <a:gd name="connsiteY1983" fmla="*/ 897984 h 1151883"/>
                <a:gd name="connsiteX1984" fmla="*/ 143815 w 922759"/>
                <a:gd name="connsiteY1984" fmla="*/ 897409 h 1151883"/>
                <a:gd name="connsiteX1985" fmla="*/ 144874 w 922759"/>
                <a:gd name="connsiteY1985" fmla="*/ 895413 h 1151883"/>
                <a:gd name="connsiteX1986" fmla="*/ 145509 w 922759"/>
                <a:gd name="connsiteY1986" fmla="*/ 894716 h 1151883"/>
                <a:gd name="connsiteX1987" fmla="*/ 146417 w 922759"/>
                <a:gd name="connsiteY1987" fmla="*/ 894414 h 1151883"/>
                <a:gd name="connsiteX1988" fmla="*/ 148474 w 922759"/>
                <a:gd name="connsiteY1988" fmla="*/ 894172 h 1151883"/>
                <a:gd name="connsiteX1989" fmla="*/ 149230 w 922759"/>
                <a:gd name="connsiteY1989" fmla="*/ 893839 h 1151883"/>
                <a:gd name="connsiteX1990" fmla="*/ 149745 w 922759"/>
                <a:gd name="connsiteY1990" fmla="*/ 893053 h 1151883"/>
                <a:gd name="connsiteX1991" fmla="*/ 150471 w 922759"/>
                <a:gd name="connsiteY1991" fmla="*/ 890996 h 1151883"/>
                <a:gd name="connsiteX1992" fmla="*/ 150924 w 922759"/>
                <a:gd name="connsiteY1992" fmla="*/ 890300 h 1151883"/>
                <a:gd name="connsiteX1993" fmla="*/ 152618 w 922759"/>
                <a:gd name="connsiteY1993" fmla="*/ 889422 h 1151883"/>
                <a:gd name="connsiteX1994" fmla="*/ 153012 w 922759"/>
                <a:gd name="connsiteY1994" fmla="*/ 889302 h 1151883"/>
                <a:gd name="connsiteX1995" fmla="*/ 154978 w 922759"/>
                <a:gd name="connsiteY1995" fmla="*/ 888757 h 1151883"/>
                <a:gd name="connsiteX1996" fmla="*/ 156944 w 922759"/>
                <a:gd name="connsiteY1996" fmla="*/ 888908 h 1151883"/>
                <a:gd name="connsiteX1997" fmla="*/ 157368 w 922759"/>
                <a:gd name="connsiteY1997" fmla="*/ 890482 h 1151883"/>
                <a:gd name="connsiteX1998" fmla="*/ 161724 w 922759"/>
                <a:gd name="connsiteY1998" fmla="*/ 890754 h 1151883"/>
                <a:gd name="connsiteX1999" fmla="*/ 163539 w 922759"/>
                <a:gd name="connsiteY1999" fmla="*/ 891359 h 1151883"/>
                <a:gd name="connsiteX2000" fmla="*/ 164205 w 922759"/>
                <a:gd name="connsiteY2000" fmla="*/ 893416 h 1151883"/>
                <a:gd name="connsiteX2001" fmla="*/ 163449 w 922759"/>
                <a:gd name="connsiteY2001" fmla="*/ 893870 h 1151883"/>
                <a:gd name="connsiteX2002" fmla="*/ 163206 w 922759"/>
                <a:gd name="connsiteY2002" fmla="*/ 894202 h 1151883"/>
                <a:gd name="connsiteX2003" fmla="*/ 163025 w 922759"/>
                <a:gd name="connsiteY2003" fmla="*/ 894656 h 1151883"/>
                <a:gd name="connsiteX2004" fmla="*/ 164447 w 922759"/>
                <a:gd name="connsiteY2004" fmla="*/ 896017 h 1151883"/>
                <a:gd name="connsiteX2005" fmla="*/ 166716 w 922759"/>
                <a:gd name="connsiteY2005" fmla="*/ 899436 h 1151883"/>
                <a:gd name="connsiteX2006" fmla="*/ 168046 w 922759"/>
                <a:gd name="connsiteY2006" fmla="*/ 900979 h 1151883"/>
                <a:gd name="connsiteX2007" fmla="*/ 170255 w 922759"/>
                <a:gd name="connsiteY2007" fmla="*/ 902249 h 1151883"/>
                <a:gd name="connsiteX2008" fmla="*/ 174641 w 922759"/>
                <a:gd name="connsiteY2008" fmla="*/ 902945 h 1151883"/>
                <a:gd name="connsiteX2009" fmla="*/ 176880 w 922759"/>
                <a:gd name="connsiteY2009" fmla="*/ 904004 h 1151883"/>
                <a:gd name="connsiteX2010" fmla="*/ 177606 w 922759"/>
                <a:gd name="connsiteY2010" fmla="*/ 904851 h 1151883"/>
                <a:gd name="connsiteX2011" fmla="*/ 178574 w 922759"/>
                <a:gd name="connsiteY2011" fmla="*/ 906666 h 1151883"/>
                <a:gd name="connsiteX2012" fmla="*/ 179512 w 922759"/>
                <a:gd name="connsiteY2012" fmla="*/ 907392 h 1151883"/>
                <a:gd name="connsiteX2013" fmla="*/ 180510 w 922759"/>
                <a:gd name="connsiteY2013" fmla="*/ 907604 h 1151883"/>
                <a:gd name="connsiteX2014" fmla="*/ 180903 w 922759"/>
                <a:gd name="connsiteY2014" fmla="*/ 907694 h 1151883"/>
                <a:gd name="connsiteX2015" fmla="*/ 182113 w 922759"/>
                <a:gd name="connsiteY2015" fmla="*/ 907422 h 1151883"/>
                <a:gd name="connsiteX2016" fmla="*/ 183293 w 922759"/>
                <a:gd name="connsiteY2016" fmla="*/ 906938 h 1151883"/>
                <a:gd name="connsiteX2017" fmla="*/ 184564 w 922759"/>
                <a:gd name="connsiteY2017" fmla="*/ 906696 h 1151883"/>
                <a:gd name="connsiteX2018" fmla="*/ 185683 w 922759"/>
                <a:gd name="connsiteY2018" fmla="*/ 906878 h 1151883"/>
                <a:gd name="connsiteX2019" fmla="*/ 187801 w 922759"/>
                <a:gd name="connsiteY2019" fmla="*/ 907573 h 1151883"/>
                <a:gd name="connsiteX2020" fmla="*/ 188769 w 922759"/>
                <a:gd name="connsiteY2020" fmla="*/ 907694 h 1151883"/>
                <a:gd name="connsiteX2021" fmla="*/ 189979 w 922759"/>
                <a:gd name="connsiteY2021" fmla="*/ 907422 h 1151883"/>
                <a:gd name="connsiteX2022" fmla="*/ 192338 w 922759"/>
                <a:gd name="connsiteY2022" fmla="*/ 906242 h 1151883"/>
                <a:gd name="connsiteX2023" fmla="*/ 193458 w 922759"/>
                <a:gd name="connsiteY2023" fmla="*/ 905970 h 1151883"/>
                <a:gd name="connsiteX2024" fmla="*/ 201837 w 922759"/>
                <a:gd name="connsiteY2024" fmla="*/ 908209 h 1151883"/>
                <a:gd name="connsiteX2025" fmla="*/ 207585 w 922759"/>
                <a:gd name="connsiteY2025" fmla="*/ 907664 h 1151883"/>
                <a:gd name="connsiteX2026" fmla="*/ 209400 w 922759"/>
                <a:gd name="connsiteY2026" fmla="*/ 907846 h 1151883"/>
                <a:gd name="connsiteX2027" fmla="*/ 225343 w 922759"/>
                <a:gd name="connsiteY2027" fmla="*/ 915681 h 1151883"/>
                <a:gd name="connsiteX2028" fmla="*/ 235235 w 922759"/>
                <a:gd name="connsiteY2028" fmla="*/ 917556 h 1151883"/>
                <a:gd name="connsiteX2029" fmla="*/ 236415 w 922759"/>
                <a:gd name="connsiteY2029" fmla="*/ 918585 h 1151883"/>
                <a:gd name="connsiteX2030" fmla="*/ 236385 w 922759"/>
                <a:gd name="connsiteY2030" fmla="*/ 918585 h 1151883"/>
                <a:gd name="connsiteX2031" fmla="*/ 234297 w 922759"/>
                <a:gd name="connsiteY2031" fmla="*/ 920823 h 1151883"/>
                <a:gd name="connsiteX2032" fmla="*/ 231151 w 922759"/>
                <a:gd name="connsiteY2032" fmla="*/ 926299 h 1151883"/>
                <a:gd name="connsiteX2033" fmla="*/ 226583 w 922759"/>
                <a:gd name="connsiteY2033" fmla="*/ 937885 h 1151883"/>
                <a:gd name="connsiteX2034" fmla="*/ 225343 w 922759"/>
                <a:gd name="connsiteY2034" fmla="*/ 939821 h 1151883"/>
                <a:gd name="connsiteX2035" fmla="*/ 224738 w 922759"/>
                <a:gd name="connsiteY2035" fmla="*/ 940306 h 1151883"/>
                <a:gd name="connsiteX2036" fmla="*/ 221047 w 922759"/>
                <a:gd name="connsiteY2036" fmla="*/ 942121 h 1151883"/>
                <a:gd name="connsiteX2037" fmla="*/ 220170 w 922759"/>
                <a:gd name="connsiteY2037" fmla="*/ 942121 h 1151883"/>
                <a:gd name="connsiteX2038" fmla="*/ 219958 w 922759"/>
                <a:gd name="connsiteY2038" fmla="*/ 942514 h 1151883"/>
                <a:gd name="connsiteX2039" fmla="*/ 219504 w 922759"/>
                <a:gd name="connsiteY2039" fmla="*/ 942937 h 1151883"/>
                <a:gd name="connsiteX2040" fmla="*/ 219020 w 922759"/>
                <a:gd name="connsiteY2040" fmla="*/ 943694 h 1151883"/>
                <a:gd name="connsiteX2041" fmla="*/ 218808 w 922759"/>
                <a:gd name="connsiteY2041" fmla="*/ 944994 h 1151883"/>
                <a:gd name="connsiteX2042" fmla="*/ 218597 w 922759"/>
                <a:gd name="connsiteY2042" fmla="*/ 945781 h 1151883"/>
                <a:gd name="connsiteX2043" fmla="*/ 218022 w 922759"/>
                <a:gd name="connsiteY2043" fmla="*/ 946235 h 1151883"/>
                <a:gd name="connsiteX2044" fmla="*/ 217235 w 922759"/>
                <a:gd name="connsiteY2044" fmla="*/ 946477 h 1151883"/>
                <a:gd name="connsiteX2045" fmla="*/ 214422 w 922759"/>
                <a:gd name="connsiteY2045" fmla="*/ 946537 h 1151883"/>
                <a:gd name="connsiteX2046" fmla="*/ 213273 w 922759"/>
                <a:gd name="connsiteY2046" fmla="*/ 946870 h 1151883"/>
                <a:gd name="connsiteX2047" fmla="*/ 212728 w 922759"/>
                <a:gd name="connsiteY2047" fmla="*/ 948141 h 1151883"/>
                <a:gd name="connsiteX2048" fmla="*/ 212607 w 922759"/>
                <a:gd name="connsiteY2048" fmla="*/ 950803 h 1151883"/>
                <a:gd name="connsiteX2049" fmla="*/ 212153 w 922759"/>
                <a:gd name="connsiteY2049" fmla="*/ 951922 h 1151883"/>
                <a:gd name="connsiteX2050" fmla="*/ 211064 w 922759"/>
                <a:gd name="connsiteY2050" fmla="*/ 953253 h 1151883"/>
                <a:gd name="connsiteX2051" fmla="*/ 209733 w 922759"/>
                <a:gd name="connsiteY2051" fmla="*/ 954433 h 1151883"/>
                <a:gd name="connsiteX2052" fmla="*/ 208553 w 922759"/>
                <a:gd name="connsiteY2052" fmla="*/ 955159 h 1151883"/>
                <a:gd name="connsiteX2053" fmla="*/ 205801 w 922759"/>
                <a:gd name="connsiteY2053" fmla="*/ 958184 h 1151883"/>
                <a:gd name="connsiteX2054" fmla="*/ 204258 w 922759"/>
                <a:gd name="connsiteY2054" fmla="*/ 959424 h 1151883"/>
                <a:gd name="connsiteX2055" fmla="*/ 202594 w 922759"/>
                <a:gd name="connsiteY2055" fmla="*/ 959939 h 1151883"/>
                <a:gd name="connsiteX2056" fmla="*/ 201414 w 922759"/>
                <a:gd name="connsiteY2056" fmla="*/ 960695 h 1151883"/>
                <a:gd name="connsiteX2057" fmla="*/ 197179 w 922759"/>
                <a:gd name="connsiteY2057" fmla="*/ 966806 h 1151883"/>
                <a:gd name="connsiteX2058" fmla="*/ 196332 w 922759"/>
                <a:gd name="connsiteY2058" fmla="*/ 971374 h 1151883"/>
                <a:gd name="connsiteX2059" fmla="*/ 196332 w 922759"/>
                <a:gd name="connsiteY2059" fmla="*/ 976214 h 1151883"/>
                <a:gd name="connsiteX2060" fmla="*/ 197511 w 922759"/>
                <a:gd name="connsiteY2060" fmla="*/ 979179 h 1151883"/>
                <a:gd name="connsiteX2061" fmla="*/ 197511 w 922759"/>
                <a:gd name="connsiteY2061" fmla="*/ 980146 h 1151883"/>
                <a:gd name="connsiteX2062" fmla="*/ 195001 w 922759"/>
                <a:gd name="connsiteY2062" fmla="*/ 981962 h 1151883"/>
                <a:gd name="connsiteX2063" fmla="*/ 193790 w 922759"/>
                <a:gd name="connsiteY2063" fmla="*/ 983111 h 1151883"/>
                <a:gd name="connsiteX2064" fmla="*/ 193276 w 922759"/>
                <a:gd name="connsiteY2064" fmla="*/ 984382 h 1151883"/>
                <a:gd name="connsiteX2065" fmla="*/ 193064 w 922759"/>
                <a:gd name="connsiteY2065" fmla="*/ 987044 h 1151883"/>
                <a:gd name="connsiteX2066" fmla="*/ 192550 w 922759"/>
                <a:gd name="connsiteY2066" fmla="*/ 988405 h 1151883"/>
                <a:gd name="connsiteX2067" fmla="*/ 191885 w 922759"/>
                <a:gd name="connsiteY2067" fmla="*/ 989313 h 1151883"/>
                <a:gd name="connsiteX2068" fmla="*/ 191189 w 922759"/>
                <a:gd name="connsiteY2068" fmla="*/ 990614 h 1151883"/>
                <a:gd name="connsiteX2069" fmla="*/ 190675 w 922759"/>
                <a:gd name="connsiteY2069" fmla="*/ 992187 h 1151883"/>
                <a:gd name="connsiteX2070" fmla="*/ 189919 w 922759"/>
                <a:gd name="connsiteY2070" fmla="*/ 995877 h 1151883"/>
                <a:gd name="connsiteX2071" fmla="*/ 189797 w 922759"/>
                <a:gd name="connsiteY2071" fmla="*/ 997723 h 1151883"/>
                <a:gd name="connsiteX2072" fmla="*/ 190130 w 922759"/>
                <a:gd name="connsiteY2072" fmla="*/ 999387 h 1151883"/>
                <a:gd name="connsiteX2073" fmla="*/ 190796 w 922759"/>
                <a:gd name="connsiteY2073" fmla="*/ 1001171 h 1151883"/>
                <a:gd name="connsiteX2074" fmla="*/ 191310 w 922759"/>
                <a:gd name="connsiteY2074" fmla="*/ 1003017 h 1151883"/>
                <a:gd name="connsiteX2075" fmla="*/ 191189 w 922759"/>
                <a:gd name="connsiteY2075" fmla="*/ 1004953 h 1151883"/>
                <a:gd name="connsiteX2076" fmla="*/ 189797 w 922759"/>
                <a:gd name="connsiteY2076" fmla="*/ 1006979 h 1151883"/>
                <a:gd name="connsiteX2077" fmla="*/ 187952 w 922759"/>
                <a:gd name="connsiteY2077" fmla="*/ 1007887 h 1151883"/>
                <a:gd name="connsiteX2078" fmla="*/ 186318 w 922759"/>
                <a:gd name="connsiteY2078" fmla="*/ 1009128 h 1151883"/>
                <a:gd name="connsiteX2079" fmla="*/ 185623 w 922759"/>
                <a:gd name="connsiteY2079" fmla="*/ 1012032 h 1151883"/>
                <a:gd name="connsiteX2080" fmla="*/ 185411 w 922759"/>
                <a:gd name="connsiteY2080" fmla="*/ 1014845 h 1151883"/>
                <a:gd name="connsiteX2081" fmla="*/ 184776 w 922759"/>
                <a:gd name="connsiteY2081" fmla="*/ 1017204 h 1151883"/>
                <a:gd name="connsiteX2082" fmla="*/ 183717 w 922759"/>
                <a:gd name="connsiteY2082" fmla="*/ 1019231 h 1151883"/>
                <a:gd name="connsiteX2083" fmla="*/ 177364 w 922759"/>
                <a:gd name="connsiteY2083" fmla="*/ 1027429 h 1151883"/>
                <a:gd name="connsiteX2084" fmla="*/ 176698 w 922759"/>
                <a:gd name="connsiteY2084" fmla="*/ 1029093 h 1151883"/>
                <a:gd name="connsiteX2085" fmla="*/ 176487 w 922759"/>
                <a:gd name="connsiteY2085" fmla="*/ 1031090 h 1151883"/>
                <a:gd name="connsiteX2086" fmla="*/ 175972 w 922759"/>
                <a:gd name="connsiteY2086" fmla="*/ 1032179 h 1151883"/>
                <a:gd name="connsiteX2087" fmla="*/ 175277 w 922759"/>
                <a:gd name="connsiteY2087" fmla="*/ 1033026 h 1151883"/>
                <a:gd name="connsiteX2088" fmla="*/ 174551 w 922759"/>
                <a:gd name="connsiteY2088" fmla="*/ 1034266 h 1151883"/>
                <a:gd name="connsiteX2089" fmla="*/ 173855 w 922759"/>
                <a:gd name="connsiteY2089" fmla="*/ 1036384 h 1151883"/>
                <a:gd name="connsiteX2090" fmla="*/ 173220 w 922759"/>
                <a:gd name="connsiteY2090" fmla="*/ 1039077 h 1151883"/>
                <a:gd name="connsiteX2091" fmla="*/ 173522 w 922759"/>
                <a:gd name="connsiteY2091" fmla="*/ 1044764 h 1151883"/>
                <a:gd name="connsiteX2092" fmla="*/ 177878 w 922759"/>
                <a:gd name="connsiteY2092" fmla="*/ 1051812 h 1151883"/>
                <a:gd name="connsiteX2093" fmla="*/ 178090 w 922759"/>
                <a:gd name="connsiteY2093" fmla="*/ 1056108 h 1151883"/>
                <a:gd name="connsiteX2094" fmla="*/ 177122 w 922759"/>
                <a:gd name="connsiteY2094" fmla="*/ 1057772 h 1151883"/>
                <a:gd name="connsiteX2095" fmla="*/ 174429 w 922759"/>
                <a:gd name="connsiteY2095" fmla="*/ 1060404 h 1151883"/>
                <a:gd name="connsiteX2096" fmla="*/ 173885 w 922759"/>
                <a:gd name="connsiteY2096" fmla="*/ 1062249 h 1151883"/>
                <a:gd name="connsiteX2097" fmla="*/ 174006 w 922759"/>
                <a:gd name="connsiteY2097" fmla="*/ 1064488 h 1151883"/>
                <a:gd name="connsiteX2098" fmla="*/ 173825 w 922759"/>
                <a:gd name="connsiteY2098" fmla="*/ 1065123 h 1151883"/>
                <a:gd name="connsiteX2099" fmla="*/ 173189 w 922759"/>
                <a:gd name="connsiteY2099" fmla="*/ 1066515 h 1151883"/>
                <a:gd name="connsiteX2100" fmla="*/ 172796 w 922759"/>
                <a:gd name="connsiteY2100" fmla="*/ 1067210 h 1151883"/>
                <a:gd name="connsiteX2101" fmla="*/ 172131 w 922759"/>
                <a:gd name="connsiteY2101" fmla="*/ 1067815 h 1151883"/>
                <a:gd name="connsiteX2102" fmla="*/ 171828 w 922759"/>
                <a:gd name="connsiteY2102" fmla="*/ 1068420 h 1151883"/>
                <a:gd name="connsiteX2103" fmla="*/ 171707 w 922759"/>
                <a:gd name="connsiteY2103" fmla="*/ 1068995 h 1151883"/>
                <a:gd name="connsiteX2104" fmla="*/ 171768 w 922759"/>
                <a:gd name="connsiteY2104" fmla="*/ 1069328 h 1151883"/>
                <a:gd name="connsiteX2105" fmla="*/ 171858 w 922759"/>
                <a:gd name="connsiteY2105" fmla="*/ 1069691 h 1151883"/>
                <a:gd name="connsiteX2106" fmla="*/ 171858 w 922759"/>
                <a:gd name="connsiteY2106" fmla="*/ 1070296 h 1151883"/>
                <a:gd name="connsiteX2107" fmla="*/ 172373 w 922759"/>
                <a:gd name="connsiteY2107" fmla="*/ 1072867 h 1151883"/>
                <a:gd name="connsiteX2108" fmla="*/ 172161 w 922759"/>
                <a:gd name="connsiteY2108" fmla="*/ 1074410 h 1151883"/>
                <a:gd name="connsiteX2109" fmla="*/ 170799 w 922759"/>
                <a:gd name="connsiteY2109" fmla="*/ 1075106 h 1151883"/>
                <a:gd name="connsiteX2110" fmla="*/ 170255 w 922759"/>
                <a:gd name="connsiteY2110" fmla="*/ 1075741 h 1151883"/>
                <a:gd name="connsiteX2111" fmla="*/ 168803 w 922759"/>
                <a:gd name="connsiteY2111" fmla="*/ 1080218 h 1151883"/>
                <a:gd name="connsiteX2112" fmla="*/ 168531 w 922759"/>
                <a:gd name="connsiteY2112" fmla="*/ 1082124 h 1151883"/>
                <a:gd name="connsiteX2113" fmla="*/ 169771 w 922759"/>
                <a:gd name="connsiteY2113" fmla="*/ 1086934 h 1151883"/>
                <a:gd name="connsiteX2114" fmla="*/ 169710 w 922759"/>
                <a:gd name="connsiteY2114" fmla="*/ 1089173 h 1151883"/>
                <a:gd name="connsiteX2115" fmla="*/ 169106 w 922759"/>
                <a:gd name="connsiteY2115" fmla="*/ 1090080 h 1151883"/>
                <a:gd name="connsiteX2116" fmla="*/ 167442 w 922759"/>
                <a:gd name="connsiteY2116" fmla="*/ 1091684 h 1151883"/>
                <a:gd name="connsiteX2117" fmla="*/ 167079 w 922759"/>
                <a:gd name="connsiteY2117" fmla="*/ 1092531 h 1151883"/>
                <a:gd name="connsiteX2118" fmla="*/ 167351 w 922759"/>
                <a:gd name="connsiteY2118" fmla="*/ 1095465 h 1151883"/>
                <a:gd name="connsiteX2119" fmla="*/ 167653 w 922759"/>
                <a:gd name="connsiteY2119" fmla="*/ 1096948 h 1151883"/>
                <a:gd name="connsiteX2120" fmla="*/ 168046 w 922759"/>
                <a:gd name="connsiteY2120" fmla="*/ 1097583 h 1151883"/>
                <a:gd name="connsiteX2121" fmla="*/ 169529 w 922759"/>
                <a:gd name="connsiteY2121" fmla="*/ 1098309 h 1151883"/>
                <a:gd name="connsiteX2122" fmla="*/ 170890 w 922759"/>
                <a:gd name="connsiteY2122" fmla="*/ 1100063 h 1151883"/>
                <a:gd name="connsiteX2123" fmla="*/ 173159 w 922759"/>
                <a:gd name="connsiteY2123" fmla="*/ 1104238 h 1151883"/>
                <a:gd name="connsiteX2124" fmla="*/ 173764 w 922759"/>
                <a:gd name="connsiteY2124" fmla="*/ 1104934 h 1151883"/>
                <a:gd name="connsiteX2125" fmla="*/ 174400 w 922759"/>
                <a:gd name="connsiteY2125" fmla="*/ 1105448 h 1151883"/>
                <a:gd name="connsiteX2126" fmla="*/ 174944 w 922759"/>
                <a:gd name="connsiteY2126" fmla="*/ 1106144 h 1151883"/>
                <a:gd name="connsiteX2127" fmla="*/ 175156 w 922759"/>
                <a:gd name="connsiteY2127" fmla="*/ 1107445 h 1151883"/>
                <a:gd name="connsiteX2128" fmla="*/ 174914 w 922759"/>
                <a:gd name="connsiteY2128" fmla="*/ 1107929 h 1151883"/>
                <a:gd name="connsiteX2129" fmla="*/ 174490 w 922759"/>
                <a:gd name="connsiteY2129" fmla="*/ 1109320 h 1151883"/>
                <a:gd name="connsiteX2130" fmla="*/ 179633 w 922759"/>
                <a:gd name="connsiteY2130" fmla="*/ 1107899 h 1151883"/>
                <a:gd name="connsiteX2131" fmla="*/ 181902 w 922759"/>
                <a:gd name="connsiteY2131" fmla="*/ 1107687 h 1151883"/>
                <a:gd name="connsiteX2132" fmla="*/ 180571 w 922759"/>
                <a:gd name="connsiteY2132" fmla="*/ 1111105 h 1151883"/>
                <a:gd name="connsiteX2133" fmla="*/ 179512 w 922759"/>
                <a:gd name="connsiteY2133" fmla="*/ 1112073 h 1151883"/>
                <a:gd name="connsiteX2134" fmla="*/ 176880 w 922759"/>
                <a:gd name="connsiteY2134" fmla="*/ 1112073 h 1151883"/>
                <a:gd name="connsiteX2135" fmla="*/ 180631 w 922759"/>
                <a:gd name="connsiteY2135" fmla="*/ 1113858 h 1151883"/>
                <a:gd name="connsiteX2136" fmla="*/ 182083 w 922759"/>
                <a:gd name="connsiteY2136" fmla="*/ 1114554 h 1151883"/>
                <a:gd name="connsiteX2137" fmla="*/ 184291 w 922759"/>
                <a:gd name="connsiteY2137" fmla="*/ 1114826 h 1151883"/>
                <a:gd name="connsiteX2138" fmla="*/ 188708 w 922759"/>
                <a:gd name="connsiteY2138" fmla="*/ 1113979 h 1151883"/>
                <a:gd name="connsiteX2139" fmla="*/ 192671 w 922759"/>
                <a:gd name="connsiteY2139" fmla="*/ 1113223 h 1151883"/>
                <a:gd name="connsiteX2140" fmla="*/ 194547 w 922759"/>
                <a:gd name="connsiteY2140" fmla="*/ 1112255 h 1151883"/>
                <a:gd name="connsiteX2141" fmla="*/ 196150 w 922759"/>
                <a:gd name="connsiteY2141" fmla="*/ 1110500 h 1151883"/>
                <a:gd name="connsiteX2142" fmla="*/ 197995 w 922759"/>
                <a:gd name="connsiteY2142" fmla="*/ 1107868 h 1151883"/>
                <a:gd name="connsiteX2143" fmla="*/ 199417 w 922759"/>
                <a:gd name="connsiteY2143" fmla="*/ 1108534 h 1151883"/>
                <a:gd name="connsiteX2144" fmla="*/ 205921 w 922759"/>
                <a:gd name="connsiteY2144" fmla="*/ 1108897 h 1151883"/>
                <a:gd name="connsiteX2145" fmla="*/ 206527 w 922759"/>
                <a:gd name="connsiteY2145" fmla="*/ 1109502 h 1151883"/>
                <a:gd name="connsiteX2146" fmla="*/ 206859 w 922759"/>
                <a:gd name="connsiteY2146" fmla="*/ 1110803 h 1151883"/>
                <a:gd name="connsiteX2147" fmla="*/ 207041 w 922759"/>
                <a:gd name="connsiteY2147" fmla="*/ 1112073 h 1151883"/>
                <a:gd name="connsiteX2148" fmla="*/ 207313 w 922759"/>
                <a:gd name="connsiteY2148" fmla="*/ 1112648 h 1151883"/>
                <a:gd name="connsiteX2149" fmla="*/ 220412 w 922759"/>
                <a:gd name="connsiteY2149" fmla="*/ 1112648 h 1151883"/>
                <a:gd name="connsiteX2150" fmla="*/ 224950 w 922759"/>
                <a:gd name="connsiteY2150" fmla="*/ 1111710 h 1151883"/>
                <a:gd name="connsiteX2151" fmla="*/ 225917 w 922759"/>
                <a:gd name="connsiteY2151" fmla="*/ 1111105 h 1151883"/>
                <a:gd name="connsiteX2152" fmla="*/ 226371 w 922759"/>
                <a:gd name="connsiteY2152" fmla="*/ 1110500 h 1151883"/>
                <a:gd name="connsiteX2153" fmla="*/ 226765 w 922759"/>
                <a:gd name="connsiteY2153" fmla="*/ 1109804 h 1151883"/>
                <a:gd name="connsiteX2154" fmla="*/ 227612 w 922759"/>
                <a:gd name="connsiteY2154" fmla="*/ 1108897 h 1151883"/>
                <a:gd name="connsiteX2155" fmla="*/ 228429 w 922759"/>
                <a:gd name="connsiteY2155" fmla="*/ 1108322 h 1151883"/>
                <a:gd name="connsiteX2156" fmla="*/ 230607 w 922759"/>
                <a:gd name="connsiteY2156" fmla="*/ 1107233 h 1151883"/>
                <a:gd name="connsiteX2157" fmla="*/ 232452 w 922759"/>
                <a:gd name="connsiteY2157" fmla="*/ 1106719 h 1151883"/>
                <a:gd name="connsiteX2158" fmla="*/ 233148 w 922759"/>
                <a:gd name="connsiteY2158" fmla="*/ 1106053 h 1151883"/>
                <a:gd name="connsiteX2159" fmla="*/ 233662 w 922759"/>
                <a:gd name="connsiteY2159" fmla="*/ 1105388 h 1151883"/>
                <a:gd name="connsiteX2160" fmla="*/ 234176 w 922759"/>
                <a:gd name="connsiteY2160" fmla="*/ 1105055 h 1151883"/>
                <a:gd name="connsiteX2161" fmla="*/ 239591 w 922759"/>
                <a:gd name="connsiteY2161" fmla="*/ 1104208 h 1151883"/>
                <a:gd name="connsiteX2162" fmla="*/ 241406 w 922759"/>
                <a:gd name="connsiteY2162" fmla="*/ 1104208 h 1151883"/>
                <a:gd name="connsiteX2163" fmla="*/ 244008 w 922759"/>
                <a:gd name="connsiteY2163" fmla="*/ 1104934 h 1151883"/>
                <a:gd name="connsiteX2164" fmla="*/ 245188 w 922759"/>
                <a:gd name="connsiteY2164" fmla="*/ 1105055 h 1151883"/>
                <a:gd name="connsiteX2165" fmla="*/ 245732 w 922759"/>
                <a:gd name="connsiteY2165" fmla="*/ 1105660 h 1151883"/>
                <a:gd name="connsiteX2166" fmla="*/ 246277 w 922759"/>
                <a:gd name="connsiteY2166" fmla="*/ 1106991 h 1151883"/>
                <a:gd name="connsiteX2167" fmla="*/ 247003 w 922759"/>
                <a:gd name="connsiteY2167" fmla="*/ 1108322 h 1151883"/>
                <a:gd name="connsiteX2168" fmla="*/ 247971 w 922759"/>
                <a:gd name="connsiteY2168" fmla="*/ 1108897 h 1151883"/>
                <a:gd name="connsiteX2169" fmla="*/ 251783 w 922759"/>
                <a:gd name="connsiteY2169" fmla="*/ 1109834 h 1151883"/>
                <a:gd name="connsiteX2170" fmla="*/ 258529 w 922759"/>
                <a:gd name="connsiteY2170" fmla="*/ 1109834 h 1151883"/>
                <a:gd name="connsiteX2171" fmla="*/ 261312 w 922759"/>
                <a:gd name="connsiteY2171" fmla="*/ 1109381 h 1151883"/>
                <a:gd name="connsiteX2172" fmla="*/ 261433 w 922759"/>
                <a:gd name="connsiteY2172" fmla="*/ 1108745 h 1151883"/>
                <a:gd name="connsiteX2173" fmla="*/ 262613 w 922759"/>
                <a:gd name="connsiteY2173" fmla="*/ 1106386 h 1151883"/>
                <a:gd name="connsiteX2174" fmla="*/ 265698 w 922759"/>
                <a:gd name="connsiteY2174" fmla="*/ 1104510 h 1151883"/>
                <a:gd name="connsiteX2175" fmla="*/ 268693 w 922759"/>
                <a:gd name="connsiteY2175" fmla="*/ 1104238 h 1151883"/>
                <a:gd name="connsiteX2176" fmla="*/ 270236 w 922759"/>
                <a:gd name="connsiteY2176" fmla="*/ 1105569 h 1151883"/>
                <a:gd name="connsiteX2177" fmla="*/ 271416 w 922759"/>
                <a:gd name="connsiteY2177" fmla="*/ 1107414 h 1151883"/>
                <a:gd name="connsiteX2178" fmla="*/ 271627 w 922759"/>
                <a:gd name="connsiteY2178" fmla="*/ 1107656 h 1151883"/>
                <a:gd name="connsiteX2179" fmla="*/ 272535 w 922759"/>
                <a:gd name="connsiteY2179" fmla="*/ 1108685 h 1151883"/>
                <a:gd name="connsiteX2180" fmla="*/ 273896 w 922759"/>
                <a:gd name="connsiteY2180" fmla="*/ 1108262 h 1151883"/>
                <a:gd name="connsiteX2181" fmla="*/ 274108 w 922759"/>
                <a:gd name="connsiteY2181" fmla="*/ 1107899 h 1151883"/>
                <a:gd name="connsiteX2182" fmla="*/ 274532 w 922759"/>
                <a:gd name="connsiteY2182" fmla="*/ 1107203 h 1151883"/>
                <a:gd name="connsiteX2183" fmla="*/ 274653 w 922759"/>
                <a:gd name="connsiteY2183" fmla="*/ 1106174 h 1151883"/>
                <a:gd name="connsiteX2184" fmla="*/ 274592 w 922759"/>
                <a:gd name="connsiteY2184" fmla="*/ 1105206 h 1151883"/>
                <a:gd name="connsiteX2185" fmla="*/ 274713 w 922759"/>
                <a:gd name="connsiteY2185" fmla="*/ 1104268 h 1151883"/>
                <a:gd name="connsiteX2186" fmla="*/ 274713 w 922759"/>
                <a:gd name="connsiteY2186" fmla="*/ 1103784 h 1151883"/>
                <a:gd name="connsiteX2187" fmla="*/ 274441 w 922759"/>
                <a:gd name="connsiteY2187" fmla="*/ 1103240 h 1151883"/>
                <a:gd name="connsiteX2188" fmla="*/ 274290 w 922759"/>
                <a:gd name="connsiteY2188" fmla="*/ 1102605 h 1151883"/>
                <a:gd name="connsiteX2189" fmla="*/ 274501 w 922759"/>
                <a:gd name="connsiteY2189" fmla="*/ 1101848 h 1151883"/>
                <a:gd name="connsiteX2190" fmla="*/ 274864 w 922759"/>
                <a:gd name="connsiteY2190" fmla="*/ 1101546 h 1151883"/>
                <a:gd name="connsiteX2191" fmla="*/ 275409 w 922759"/>
                <a:gd name="connsiteY2191" fmla="*/ 1101364 h 1151883"/>
                <a:gd name="connsiteX2192" fmla="*/ 275832 w 922759"/>
                <a:gd name="connsiteY2192" fmla="*/ 1101364 h 1151883"/>
                <a:gd name="connsiteX2193" fmla="*/ 275923 w 922759"/>
                <a:gd name="connsiteY2193" fmla="*/ 1101576 h 1151883"/>
                <a:gd name="connsiteX2194" fmla="*/ 275984 w 922759"/>
                <a:gd name="connsiteY2194" fmla="*/ 1102423 h 1151883"/>
                <a:gd name="connsiteX2195" fmla="*/ 276649 w 922759"/>
                <a:gd name="connsiteY2195" fmla="*/ 1102725 h 1151883"/>
                <a:gd name="connsiteX2196" fmla="*/ 277224 w 922759"/>
                <a:gd name="connsiteY2196" fmla="*/ 1099458 h 1151883"/>
                <a:gd name="connsiteX2197" fmla="*/ 276316 w 922759"/>
                <a:gd name="connsiteY2197" fmla="*/ 1099368 h 1151883"/>
                <a:gd name="connsiteX2198" fmla="*/ 275832 w 922759"/>
                <a:gd name="connsiteY2198" fmla="*/ 1099186 h 1151883"/>
                <a:gd name="connsiteX2199" fmla="*/ 274683 w 922759"/>
                <a:gd name="connsiteY2199" fmla="*/ 1098763 h 1151883"/>
                <a:gd name="connsiteX2200" fmla="*/ 273291 w 922759"/>
                <a:gd name="connsiteY2200" fmla="*/ 1098551 h 1151883"/>
                <a:gd name="connsiteX2201" fmla="*/ 268391 w 922759"/>
                <a:gd name="connsiteY2201" fmla="*/ 1099307 h 1151883"/>
                <a:gd name="connsiteX2202" fmla="*/ 266878 w 922759"/>
                <a:gd name="connsiteY2202" fmla="*/ 1100003 h 1151883"/>
                <a:gd name="connsiteX2203" fmla="*/ 265487 w 922759"/>
                <a:gd name="connsiteY2203" fmla="*/ 1100910 h 1151883"/>
                <a:gd name="connsiteX2204" fmla="*/ 264004 w 922759"/>
                <a:gd name="connsiteY2204" fmla="*/ 1101636 h 1151883"/>
                <a:gd name="connsiteX2205" fmla="*/ 262219 w 922759"/>
                <a:gd name="connsiteY2205" fmla="*/ 1101697 h 1151883"/>
                <a:gd name="connsiteX2206" fmla="*/ 260132 w 922759"/>
                <a:gd name="connsiteY2206" fmla="*/ 1100608 h 1151883"/>
                <a:gd name="connsiteX2207" fmla="*/ 257561 w 922759"/>
                <a:gd name="connsiteY2207" fmla="*/ 1098793 h 1151883"/>
                <a:gd name="connsiteX2208" fmla="*/ 257046 w 922759"/>
                <a:gd name="connsiteY2208" fmla="*/ 1098702 h 1151883"/>
                <a:gd name="connsiteX2209" fmla="*/ 255473 w 922759"/>
                <a:gd name="connsiteY2209" fmla="*/ 1098157 h 1151883"/>
                <a:gd name="connsiteX2210" fmla="*/ 256108 w 922759"/>
                <a:gd name="connsiteY2210" fmla="*/ 1096675 h 1151883"/>
                <a:gd name="connsiteX2211" fmla="*/ 255866 w 922759"/>
                <a:gd name="connsiteY2211" fmla="*/ 1095495 h 1151883"/>
                <a:gd name="connsiteX2212" fmla="*/ 255443 w 922759"/>
                <a:gd name="connsiteY2212" fmla="*/ 1094497 h 1151883"/>
                <a:gd name="connsiteX2213" fmla="*/ 255564 w 922759"/>
                <a:gd name="connsiteY2213" fmla="*/ 1093499 h 1151883"/>
                <a:gd name="connsiteX2214" fmla="*/ 256562 w 922759"/>
                <a:gd name="connsiteY2214" fmla="*/ 1092470 h 1151883"/>
                <a:gd name="connsiteX2215" fmla="*/ 259104 w 922759"/>
                <a:gd name="connsiteY2215" fmla="*/ 1091169 h 1151883"/>
                <a:gd name="connsiteX2216" fmla="*/ 260162 w 922759"/>
                <a:gd name="connsiteY2216" fmla="*/ 1090262 h 1151883"/>
                <a:gd name="connsiteX2217" fmla="*/ 260919 w 922759"/>
                <a:gd name="connsiteY2217" fmla="*/ 1087509 h 1151883"/>
                <a:gd name="connsiteX2218" fmla="*/ 261372 w 922759"/>
                <a:gd name="connsiteY2218" fmla="*/ 1086511 h 1151883"/>
                <a:gd name="connsiteX2219" fmla="*/ 262734 w 922759"/>
                <a:gd name="connsiteY2219" fmla="*/ 1084665 h 1151883"/>
                <a:gd name="connsiteX2220" fmla="*/ 263520 w 922759"/>
                <a:gd name="connsiteY2220" fmla="*/ 1084242 h 1151883"/>
                <a:gd name="connsiteX2221" fmla="*/ 264639 w 922759"/>
                <a:gd name="connsiteY2221" fmla="*/ 1084242 h 1151883"/>
                <a:gd name="connsiteX2222" fmla="*/ 270055 w 922759"/>
                <a:gd name="connsiteY2222" fmla="*/ 1083274 h 1151883"/>
                <a:gd name="connsiteX2223" fmla="*/ 271567 w 922759"/>
                <a:gd name="connsiteY2223" fmla="*/ 1082578 h 1151883"/>
                <a:gd name="connsiteX2224" fmla="*/ 270629 w 922759"/>
                <a:gd name="connsiteY2224" fmla="*/ 1080400 h 1151883"/>
                <a:gd name="connsiteX2225" fmla="*/ 272233 w 922759"/>
                <a:gd name="connsiteY2225" fmla="*/ 1079553 h 1151883"/>
                <a:gd name="connsiteX2226" fmla="*/ 274743 w 922759"/>
                <a:gd name="connsiteY2226" fmla="*/ 1079674 h 1151883"/>
                <a:gd name="connsiteX2227" fmla="*/ 276589 w 922759"/>
                <a:gd name="connsiteY2227" fmla="*/ 1080460 h 1151883"/>
                <a:gd name="connsiteX2228" fmla="*/ 276740 w 922759"/>
                <a:gd name="connsiteY2228" fmla="*/ 1081459 h 1151883"/>
                <a:gd name="connsiteX2229" fmla="*/ 276831 w 922759"/>
                <a:gd name="connsiteY2229" fmla="*/ 1083244 h 1151883"/>
                <a:gd name="connsiteX2230" fmla="*/ 277194 w 922759"/>
                <a:gd name="connsiteY2230" fmla="*/ 1084907 h 1151883"/>
                <a:gd name="connsiteX2231" fmla="*/ 278192 w 922759"/>
                <a:gd name="connsiteY2231" fmla="*/ 1085573 h 1151883"/>
                <a:gd name="connsiteX2232" fmla="*/ 279432 w 922759"/>
                <a:gd name="connsiteY2232" fmla="*/ 1084817 h 1151883"/>
                <a:gd name="connsiteX2233" fmla="*/ 279947 w 922759"/>
                <a:gd name="connsiteY2233" fmla="*/ 1081822 h 1151883"/>
                <a:gd name="connsiteX2234" fmla="*/ 280854 w 922759"/>
                <a:gd name="connsiteY2234" fmla="*/ 1080944 h 1151883"/>
                <a:gd name="connsiteX2235" fmla="*/ 282155 w 922759"/>
                <a:gd name="connsiteY2235" fmla="*/ 1081338 h 1151883"/>
                <a:gd name="connsiteX2236" fmla="*/ 283123 w 922759"/>
                <a:gd name="connsiteY2236" fmla="*/ 1082669 h 1151883"/>
                <a:gd name="connsiteX2237" fmla="*/ 283910 w 922759"/>
                <a:gd name="connsiteY2237" fmla="*/ 1084272 h 1151883"/>
                <a:gd name="connsiteX2238" fmla="*/ 284666 w 922759"/>
                <a:gd name="connsiteY2238" fmla="*/ 1085361 h 1151883"/>
                <a:gd name="connsiteX2239" fmla="*/ 285694 w 922759"/>
                <a:gd name="connsiteY2239" fmla="*/ 1085573 h 1151883"/>
                <a:gd name="connsiteX2240" fmla="*/ 286814 w 922759"/>
                <a:gd name="connsiteY2240" fmla="*/ 1085361 h 1151883"/>
                <a:gd name="connsiteX2241" fmla="*/ 287782 w 922759"/>
                <a:gd name="connsiteY2241" fmla="*/ 1085543 h 1151883"/>
                <a:gd name="connsiteX2242" fmla="*/ 288447 w 922759"/>
                <a:gd name="connsiteY2242" fmla="*/ 1086934 h 1151883"/>
                <a:gd name="connsiteX2243" fmla="*/ 288175 w 922759"/>
                <a:gd name="connsiteY2243" fmla="*/ 1087449 h 1151883"/>
                <a:gd name="connsiteX2244" fmla="*/ 286814 w 922759"/>
                <a:gd name="connsiteY2244" fmla="*/ 1089294 h 1151883"/>
                <a:gd name="connsiteX2245" fmla="*/ 286481 w 922759"/>
                <a:gd name="connsiteY2245" fmla="*/ 1090201 h 1151883"/>
                <a:gd name="connsiteX2246" fmla="*/ 286935 w 922759"/>
                <a:gd name="connsiteY2246" fmla="*/ 1091321 h 1151883"/>
                <a:gd name="connsiteX2247" fmla="*/ 287721 w 922759"/>
                <a:gd name="connsiteY2247" fmla="*/ 1092228 h 1151883"/>
                <a:gd name="connsiteX2248" fmla="*/ 287963 w 922759"/>
                <a:gd name="connsiteY2248" fmla="*/ 1093257 h 1151883"/>
                <a:gd name="connsiteX2249" fmla="*/ 288175 w 922759"/>
                <a:gd name="connsiteY2249" fmla="*/ 1094164 h 1151883"/>
                <a:gd name="connsiteX2250" fmla="*/ 293499 w 922759"/>
                <a:gd name="connsiteY2250" fmla="*/ 1094074 h 1151883"/>
                <a:gd name="connsiteX2251" fmla="*/ 292683 w 922759"/>
                <a:gd name="connsiteY2251" fmla="*/ 1093226 h 1151883"/>
                <a:gd name="connsiteX2252" fmla="*/ 293590 w 922759"/>
                <a:gd name="connsiteY2252" fmla="*/ 1090534 h 1151883"/>
                <a:gd name="connsiteX2253" fmla="*/ 296282 w 922759"/>
                <a:gd name="connsiteY2253" fmla="*/ 1090655 h 1151883"/>
                <a:gd name="connsiteX2254" fmla="*/ 299580 w 922759"/>
                <a:gd name="connsiteY2254" fmla="*/ 1092410 h 1151883"/>
                <a:gd name="connsiteX2255" fmla="*/ 302182 w 922759"/>
                <a:gd name="connsiteY2255" fmla="*/ 1094679 h 1151883"/>
                <a:gd name="connsiteX2256" fmla="*/ 300336 w 922759"/>
                <a:gd name="connsiteY2256" fmla="*/ 1095072 h 1151883"/>
                <a:gd name="connsiteX2257" fmla="*/ 300336 w 922759"/>
                <a:gd name="connsiteY2257" fmla="*/ 1096040 h 1151883"/>
                <a:gd name="connsiteX2258" fmla="*/ 301758 w 922759"/>
                <a:gd name="connsiteY2258" fmla="*/ 1097341 h 1151883"/>
                <a:gd name="connsiteX2259" fmla="*/ 301849 w 922759"/>
                <a:gd name="connsiteY2259" fmla="*/ 1097401 h 1151883"/>
                <a:gd name="connsiteX2260" fmla="*/ 304783 w 922759"/>
                <a:gd name="connsiteY2260" fmla="*/ 1099398 h 1151883"/>
                <a:gd name="connsiteX2261" fmla="*/ 307264 w 922759"/>
                <a:gd name="connsiteY2261" fmla="*/ 1100003 h 1151883"/>
                <a:gd name="connsiteX2262" fmla="*/ 311196 w 922759"/>
                <a:gd name="connsiteY2262" fmla="*/ 1099670 h 1151883"/>
                <a:gd name="connsiteX2263" fmla="*/ 314857 w 922759"/>
                <a:gd name="connsiteY2263" fmla="*/ 1098581 h 1151883"/>
                <a:gd name="connsiteX2264" fmla="*/ 316460 w 922759"/>
                <a:gd name="connsiteY2264" fmla="*/ 1096978 h 1151883"/>
                <a:gd name="connsiteX2265" fmla="*/ 318366 w 922759"/>
                <a:gd name="connsiteY2265" fmla="*/ 1096282 h 1151883"/>
                <a:gd name="connsiteX2266" fmla="*/ 329589 w 922759"/>
                <a:gd name="connsiteY2266" fmla="*/ 1097462 h 1151883"/>
                <a:gd name="connsiteX2267" fmla="*/ 335155 w 922759"/>
                <a:gd name="connsiteY2267" fmla="*/ 1097462 h 1151883"/>
                <a:gd name="connsiteX2268" fmla="*/ 336517 w 922759"/>
                <a:gd name="connsiteY2268" fmla="*/ 1099428 h 1151883"/>
                <a:gd name="connsiteX2269" fmla="*/ 340268 w 922759"/>
                <a:gd name="connsiteY2269" fmla="*/ 1099428 h 1151883"/>
                <a:gd name="connsiteX2270" fmla="*/ 344171 w 922759"/>
                <a:gd name="connsiteY2270" fmla="*/ 1100275 h 1151883"/>
                <a:gd name="connsiteX2271" fmla="*/ 371760 w 922759"/>
                <a:gd name="connsiteY2271" fmla="*/ 1116097 h 1151883"/>
                <a:gd name="connsiteX2272" fmla="*/ 372002 w 922759"/>
                <a:gd name="connsiteY2272" fmla="*/ 1116218 h 1151883"/>
                <a:gd name="connsiteX2273" fmla="*/ 372425 w 922759"/>
                <a:gd name="connsiteY2273" fmla="*/ 1116339 h 1151883"/>
                <a:gd name="connsiteX2274" fmla="*/ 378324 w 922759"/>
                <a:gd name="connsiteY2274" fmla="*/ 1117821 h 1151883"/>
                <a:gd name="connsiteX2275" fmla="*/ 384768 w 922759"/>
                <a:gd name="connsiteY2275" fmla="*/ 1117700 h 1151883"/>
                <a:gd name="connsiteX2276" fmla="*/ 387521 w 922759"/>
                <a:gd name="connsiteY2276" fmla="*/ 1116490 h 1151883"/>
                <a:gd name="connsiteX2277" fmla="*/ 388973 w 922759"/>
                <a:gd name="connsiteY2277" fmla="*/ 1114402 h 1151883"/>
                <a:gd name="connsiteX2278" fmla="*/ 390213 w 922759"/>
                <a:gd name="connsiteY2278" fmla="*/ 1111922 h 1151883"/>
                <a:gd name="connsiteX2279" fmla="*/ 392422 w 922759"/>
                <a:gd name="connsiteY2279" fmla="*/ 1109562 h 1151883"/>
                <a:gd name="connsiteX2280" fmla="*/ 393874 w 922759"/>
                <a:gd name="connsiteY2280" fmla="*/ 1108836 h 1151883"/>
                <a:gd name="connsiteX2281" fmla="*/ 395386 w 922759"/>
                <a:gd name="connsiteY2281" fmla="*/ 1108685 h 1151883"/>
                <a:gd name="connsiteX2282" fmla="*/ 396808 w 922759"/>
                <a:gd name="connsiteY2282" fmla="*/ 1109169 h 1151883"/>
                <a:gd name="connsiteX2283" fmla="*/ 397988 w 922759"/>
                <a:gd name="connsiteY2283" fmla="*/ 1110349 h 1151883"/>
                <a:gd name="connsiteX2284" fmla="*/ 398320 w 922759"/>
                <a:gd name="connsiteY2284" fmla="*/ 1111952 h 1151883"/>
                <a:gd name="connsiteX2285" fmla="*/ 398139 w 922759"/>
                <a:gd name="connsiteY2285" fmla="*/ 1113616 h 1151883"/>
                <a:gd name="connsiteX2286" fmla="*/ 398532 w 922759"/>
                <a:gd name="connsiteY2286" fmla="*/ 1115038 h 1151883"/>
                <a:gd name="connsiteX2287" fmla="*/ 400589 w 922759"/>
                <a:gd name="connsiteY2287" fmla="*/ 1116006 h 1151883"/>
                <a:gd name="connsiteX2288" fmla="*/ 401406 w 922759"/>
                <a:gd name="connsiteY2288" fmla="*/ 1115945 h 1151883"/>
                <a:gd name="connsiteX2289" fmla="*/ 402647 w 922759"/>
                <a:gd name="connsiteY2289" fmla="*/ 1115219 h 1151883"/>
                <a:gd name="connsiteX2290" fmla="*/ 403161 w 922759"/>
                <a:gd name="connsiteY2290" fmla="*/ 1115098 h 1151883"/>
                <a:gd name="connsiteX2291" fmla="*/ 406186 w 922759"/>
                <a:gd name="connsiteY2291" fmla="*/ 1116127 h 1151883"/>
                <a:gd name="connsiteX2292" fmla="*/ 409181 w 922759"/>
                <a:gd name="connsiteY2292" fmla="*/ 1116339 h 1151883"/>
                <a:gd name="connsiteX2293" fmla="*/ 410693 w 922759"/>
                <a:gd name="connsiteY2293" fmla="*/ 1116066 h 1151883"/>
                <a:gd name="connsiteX2294" fmla="*/ 411903 w 922759"/>
                <a:gd name="connsiteY2294" fmla="*/ 1115159 h 1151883"/>
                <a:gd name="connsiteX2295" fmla="*/ 412176 w 922759"/>
                <a:gd name="connsiteY2295" fmla="*/ 1117428 h 1151883"/>
                <a:gd name="connsiteX2296" fmla="*/ 413235 w 922759"/>
                <a:gd name="connsiteY2296" fmla="*/ 1118698 h 1151883"/>
                <a:gd name="connsiteX2297" fmla="*/ 414505 w 922759"/>
                <a:gd name="connsiteY2297" fmla="*/ 1119848 h 1151883"/>
                <a:gd name="connsiteX2298" fmla="*/ 415413 w 922759"/>
                <a:gd name="connsiteY2298" fmla="*/ 1121693 h 1151883"/>
                <a:gd name="connsiteX2299" fmla="*/ 415413 w 922759"/>
                <a:gd name="connsiteY2299" fmla="*/ 1122510 h 1151883"/>
                <a:gd name="connsiteX2300" fmla="*/ 415594 w 922759"/>
                <a:gd name="connsiteY2300" fmla="*/ 1123297 h 1151883"/>
                <a:gd name="connsiteX2301" fmla="*/ 416713 w 922759"/>
                <a:gd name="connsiteY2301" fmla="*/ 1123901 h 1151883"/>
                <a:gd name="connsiteX2302" fmla="*/ 417591 w 922759"/>
                <a:gd name="connsiteY2302" fmla="*/ 1123538 h 1151883"/>
                <a:gd name="connsiteX2303" fmla="*/ 418498 w 922759"/>
                <a:gd name="connsiteY2303" fmla="*/ 1122812 h 1151883"/>
                <a:gd name="connsiteX2304" fmla="*/ 419648 w 922759"/>
                <a:gd name="connsiteY2304" fmla="*/ 1122328 h 1151883"/>
                <a:gd name="connsiteX2305" fmla="*/ 424609 w 922759"/>
                <a:gd name="connsiteY2305" fmla="*/ 1128984 h 1151883"/>
                <a:gd name="connsiteX2306" fmla="*/ 425486 w 922759"/>
                <a:gd name="connsiteY2306" fmla="*/ 1130587 h 1151883"/>
                <a:gd name="connsiteX2307" fmla="*/ 425033 w 922759"/>
                <a:gd name="connsiteY2307" fmla="*/ 1132009 h 1151883"/>
                <a:gd name="connsiteX2308" fmla="*/ 422733 w 922759"/>
                <a:gd name="connsiteY2308" fmla="*/ 1133643 h 1151883"/>
                <a:gd name="connsiteX2309" fmla="*/ 423823 w 922759"/>
                <a:gd name="connsiteY2309" fmla="*/ 1134822 h 1151883"/>
                <a:gd name="connsiteX2310" fmla="*/ 424095 w 922759"/>
                <a:gd name="connsiteY2310" fmla="*/ 1136214 h 1151883"/>
                <a:gd name="connsiteX2311" fmla="*/ 424186 w 922759"/>
                <a:gd name="connsiteY2311" fmla="*/ 1137696 h 1151883"/>
                <a:gd name="connsiteX2312" fmla="*/ 424730 w 922759"/>
                <a:gd name="connsiteY2312" fmla="*/ 1138997 h 1151883"/>
                <a:gd name="connsiteX2313" fmla="*/ 425698 w 922759"/>
                <a:gd name="connsiteY2313" fmla="*/ 1139874 h 1151883"/>
                <a:gd name="connsiteX2314" fmla="*/ 426364 w 922759"/>
                <a:gd name="connsiteY2314" fmla="*/ 1139874 h 1151883"/>
                <a:gd name="connsiteX2315" fmla="*/ 427150 w 922759"/>
                <a:gd name="connsiteY2315" fmla="*/ 1139330 h 1151883"/>
                <a:gd name="connsiteX2316" fmla="*/ 428481 w 922759"/>
                <a:gd name="connsiteY2316" fmla="*/ 1138755 h 1151883"/>
                <a:gd name="connsiteX2317" fmla="*/ 428965 w 922759"/>
                <a:gd name="connsiteY2317" fmla="*/ 1138816 h 1151883"/>
                <a:gd name="connsiteX2318" fmla="*/ 430024 w 922759"/>
                <a:gd name="connsiteY2318" fmla="*/ 1139420 h 1151883"/>
                <a:gd name="connsiteX2319" fmla="*/ 430538 w 922759"/>
                <a:gd name="connsiteY2319" fmla="*/ 1139420 h 1151883"/>
                <a:gd name="connsiteX2320" fmla="*/ 430962 w 922759"/>
                <a:gd name="connsiteY2320" fmla="*/ 1139118 h 1151883"/>
                <a:gd name="connsiteX2321" fmla="*/ 432172 w 922759"/>
                <a:gd name="connsiteY2321" fmla="*/ 1137908 h 1151883"/>
                <a:gd name="connsiteX2322" fmla="*/ 436589 w 922759"/>
                <a:gd name="connsiteY2322" fmla="*/ 1137152 h 1151883"/>
                <a:gd name="connsiteX2323" fmla="*/ 438434 w 922759"/>
                <a:gd name="connsiteY2323" fmla="*/ 1138059 h 1151883"/>
                <a:gd name="connsiteX2324" fmla="*/ 438373 w 922759"/>
                <a:gd name="connsiteY2324" fmla="*/ 1140509 h 1151883"/>
                <a:gd name="connsiteX2325" fmla="*/ 436558 w 922759"/>
                <a:gd name="connsiteY2325" fmla="*/ 1145562 h 1151883"/>
                <a:gd name="connsiteX2326" fmla="*/ 436800 w 922759"/>
                <a:gd name="connsiteY2326" fmla="*/ 1146439 h 1151883"/>
                <a:gd name="connsiteX2327" fmla="*/ 436800 w 922759"/>
                <a:gd name="connsiteY2327" fmla="*/ 1147256 h 1151883"/>
                <a:gd name="connsiteX2328" fmla="*/ 436589 w 922759"/>
                <a:gd name="connsiteY2328" fmla="*/ 1148163 h 1151883"/>
                <a:gd name="connsiteX2329" fmla="*/ 436104 w 922759"/>
                <a:gd name="connsiteY2329" fmla="*/ 1148617 h 1151883"/>
                <a:gd name="connsiteX2330" fmla="*/ 434774 w 922759"/>
                <a:gd name="connsiteY2330" fmla="*/ 1148980 h 1151883"/>
                <a:gd name="connsiteX2331" fmla="*/ 434380 w 922759"/>
                <a:gd name="connsiteY2331" fmla="*/ 1149252 h 1151883"/>
                <a:gd name="connsiteX2332" fmla="*/ 433443 w 922759"/>
                <a:gd name="connsiteY2332" fmla="*/ 1150795 h 1151883"/>
                <a:gd name="connsiteX2333" fmla="*/ 433049 w 922759"/>
                <a:gd name="connsiteY2333" fmla="*/ 1151642 h 1151883"/>
                <a:gd name="connsiteX2334" fmla="*/ 433503 w 922759"/>
                <a:gd name="connsiteY2334" fmla="*/ 1151884 h 1151883"/>
                <a:gd name="connsiteX2335" fmla="*/ 435015 w 922759"/>
                <a:gd name="connsiteY2335" fmla="*/ 1151703 h 1151883"/>
                <a:gd name="connsiteX2336" fmla="*/ 441489 w 922759"/>
                <a:gd name="connsiteY2336" fmla="*/ 1150977 h 1151883"/>
                <a:gd name="connsiteX2337" fmla="*/ 443698 w 922759"/>
                <a:gd name="connsiteY2337" fmla="*/ 1150190 h 1151883"/>
                <a:gd name="connsiteX2338" fmla="*/ 448205 w 922759"/>
                <a:gd name="connsiteY2338" fmla="*/ 1147649 h 1151883"/>
                <a:gd name="connsiteX2339" fmla="*/ 450171 w 922759"/>
                <a:gd name="connsiteY2339" fmla="*/ 1146015 h 1151883"/>
                <a:gd name="connsiteX2340" fmla="*/ 451986 w 922759"/>
                <a:gd name="connsiteY2340" fmla="*/ 1143777 h 1151883"/>
                <a:gd name="connsiteX2341" fmla="*/ 454225 w 922759"/>
                <a:gd name="connsiteY2341" fmla="*/ 1139632 h 1151883"/>
                <a:gd name="connsiteX2342" fmla="*/ 454830 w 922759"/>
                <a:gd name="connsiteY2342" fmla="*/ 1138785 h 1151883"/>
                <a:gd name="connsiteX2343" fmla="*/ 455859 w 922759"/>
                <a:gd name="connsiteY2343" fmla="*/ 1138150 h 1151883"/>
                <a:gd name="connsiteX2344" fmla="*/ 457976 w 922759"/>
                <a:gd name="connsiteY2344" fmla="*/ 1137454 h 1151883"/>
                <a:gd name="connsiteX2345" fmla="*/ 458854 w 922759"/>
                <a:gd name="connsiteY2345" fmla="*/ 1136910 h 1151883"/>
                <a:gd name="connsiteX2346" fmla="*/ 460518 w 922759"/>
                <a:gd name="connsiteY2346" fmla="*/ 1134852 h 1151883"/>
                <a:gd name="connsiteX2347" fmla="*/ 461970 w 922759"/>
                <a:gd name="connsiteY2347" fmla="*/ 1132100 h 1151883"/>
                <a:gd name="connsiteX2348" fmla="*/ 462877 w 922759"/>
                <a:gd name="connsiteY2348" fmla="*/ 1129044 h 1151883"/>
                <a:gd name="connsiteX2349" fmla="*/ 462877 w 922759"/>
                <a:gd name="connsiteY2349" fmla="*/ 1126110 h 1151883"/>
                <a:gd name="connsiteX2350" fmla="*/ 462423 w 922759"/>
                <a:gd name="connsiteY2350" fmla="*/ 1124416 h 1151883"/>
                <a:gd name="connsiteX2351" fmla="*/ 461879 w 922759"/>
                <a:gd name="connsiteY2351" fmla="*/ 1123206 h 1151883"/>
                <a:gd name="connsiteX2352" fmla="*/ 461002 w 922759"/>
                <a:gd name="connsiteY2352" fmla="*/ 1122298 h 1151883"/>
                <a:gd name="connsiteX2353" fmla="*/ 459580 w 922759"/>
                <a:gd name="connsiteY2353" fmla="*/ 1121602 h 1151883"/>
                <a:gd name="connsiteX2354" fmla="*/ 460608 w 922759"/>
                <a:gd name="connsiteY2354" fmla="*/ 1116127 h 1151883"/>
                <a:gd name="connsiteX2355" fmla="*/ 460729 w 922759"/>
                <a:gd name="connsiteY2355" fmla="*/ 1114856 h 1151883"/>
                <a:gd name="connsiteX2356" fmla="*/ 460064 w 922759"/>
                <a:gd name="connsiteY2356" fmla="*/ 1113344 h 1151883"/>
                <a:gd name="connsiteX2357" fmla="*/ 459186 w 922759"/>
                <a:gd name="connsiteY2357" fmla="*/ 1111831 h 1151883"/>
                <a:gd name="connsiteX2358" fmla="*/ 459035 w 922759"/>
                <a:gd name="connsiteY2358" fmla="*/ 1110651 h 1151883"/>
                <a:gd name="connsiteX2359" fmla="*/ 460548 w 922759"/>
                <a:gd name="connsiteY2359" fmla="*/ 1110107 h 1151883"/>
                <a:gd name="connsiteX2360" fmla="*/ 462211 w 922759"/>
                <a:gd name="connsiteY2360" fmla="*/ 1109834 h 1151883"/>
                <a:gd name="connsiteX2361" fmla="*/ 462998 w 922759"/>
                <a:gd name="connsiteY2361" fmla="*/ 1109562 h 1151883"/>
                <a:gd name="connsiteX2362" fmla="*/ 463361 w 922759"/>
                <a:gd name="connsiteY2362" fmla="*/ 1109804 h 1151883"/>
                <a:gd name="connsiteX2363" fmla="*/ 463785 w 922759"/>
                <a:gd name="connsiteY2363" fmla="*/ 1111075 h 1151883"/>
                <a:gd name="connsiteX2364" fmla="*/ 463664 w 922759"/>
                <a:gd name="connsiteY2364" fmla="*/ 1111619 h 1151883"/>
                <a:gd name="connsiteX2365" fmla="*/ 463180 w 922759"/>
                <a:gd name="connsiteY2365" fmla="*/ 1112285 h 1151883"/>
                <a:gd name="connsiteX2366" fmla="*/ 462786 w 922759"/>
                <a:gd name="connsiteY2366" fmla="*/ 1113132 h 1151883"/>
                <a:gd name="connsiteX2367" fmla="*/ 462968 w 922759"/>
                <a:gd name="connsiteY2367" fmla="*/ 1114312 h 1151883"/>
                <a:gd name="connsiteX2368" fmla="*/ 463482 w 922759"/>
                <a:gd name="connsiteY2368" fmla="*/ 1114947 h 1151883"/>
                <a:gd name="connsiteX2369" fmla="*/ 464299 w 922759"/>
                <a:gd name="connsiteY2369" fmla="*/ 1115492 h 1151883"/>
                <a:gd name="connsiteX2370" fmla="*/ 465872 w 922759"/>
                <a:gd name="connsiteY2370" fmla="*/ 1116157 h 1151883"/>
                <a:gd name="connsiteX2371" fmla="*/ 470168 w 922759"/>
                <a:gd name="connsiteY2371" fmla="*/ 1116762 h 1151883"/>
                <a:gd name="connsiteX2372" fmla="*/ 471347 w 922759"/>
                <a:gd name="connsiteY2372" fmla="*/ 1116550 h 1151883"/>
                <a:gd name="connsiteX2373" fmla="*/ 472618 w 922759"/>
                <a:gd name="connsiteY2373" fmla="*/ 1115613 h 1151883"/>
                <a:gd name="connsiteX2374" fmla="*/ 474645 w 922759"/>
                <a:gd name="connsiteY2374" fmla="*/ 1113011 h 1151883"/>
                <a:gd name="connsiteX2375" fmla="*/ 476037 w 922759"/>
                <a:gd name="connsiteY2375" fmla="*/ 1112103 h 1151883"/>
                <a:gd name="connsiteX2376" fmla="*/ 478487 w 922759"/>
                <a:gd name="connsiteY2376" fmla="*/ 1112103 h 1151883"/>
                <a:gd name="connsiteX2377" fmla="*/ 491767 w 922759"/>
                <a:gd name="connsiteY2377" fmla="*/ 1116762 h 1151883"/>
                <a:gd name="connsiteX2378" fmla="*/ 492191 w 922759"/>
                <a:gd name="connsiteY2378" fmla="*/ 1117186 h 1151883"/>
                <a:gd name="connsiteX2379" fmla="*/ 492523 w 922759"/>
                <a:gd name="connsiteY2379" fmla="*/ 1117881 h 1151883"/>
                <a:gd name="connsiteX2380" fmla="*/ 493008 w 922759"/>
                <a:gd name="connsiteY2380" fmla="*/ 1118547 h 1151883"/>
                <a:gd name="connsiteX2381" fmla="*/ 493885 w 922759"/>
                <a:gd name="connsiteY2381" fmla="*/ 1118789 h 1151883"/>
                <a:gd name="connsiteX2382" fmla="*/ 496850 w 922759"/>
                <a:gd name="connsiteY2382" fmla="*/ 1118456 h 1151883"/>
                <a:gd name="connsiteX2383" fmla="*/ 500903 w 922759"/>
                <a:gd name="connsiteY2383" fmla="*/ 1116762 h 1151883"/>
                <a:gd name="connsiteX2384" fmla="*/ 502325 w 922759"/>
                <a:gd name="connsiteY2384" fmla="*/ 1116369 h 1151883"/>
                <a:gd name="connsiteX2385" fmla="*/ 503717 w 922759"/>
                <a:gd name="connsiteY2385" fmla="*/ 1116460 h 1151883"/>
                <a:gd name="connsiteX2386" fmla="*/ 504775 w 922759"/>
                <a:gd name="connsiteY2386" fmla="*/ 1117004 h 1151883"/>
                <a:gd name="connsiteX2387" fmla="*/ 507075 w 922759"/>
                <a:gd name="connsiteY2387" fmla="*/ 1118607 h 1151883"/>
                <a:gd name="connsiteX2388" fmla="*/ 506227 w 922759"/>
                <a:gd name="connsiteY2388" fmla="*/ 1119545 h 1151883"/>
                <a:gd name="connsiteX2389" fmla="*/ 502991 w 922759"/>
                <a:gd name="connsiteY2389" fmla="*/ 1121572 h 1151883"/>
                <a:gd name="connsiteX2390" fmla="*/ 503686 w 922759"/>
                <a:gd name="connsiteY2390" fmla="*/ 1122661 h 1151883"/>
                <a:gd name="connsiteX2391" fmla="*/ 508859 w 922759"/>
                <a:gd name="connsiteY2391" fmla="*/ 1124870 h 1151883"/>
                <a:gd name="connsiteX2392" fmla="*/ 513881 w 922759"/>
                <a:gd name="connsiteY2392" fmla="*/ 1129861 h 1151883"/>
                <a:gd name="connsiteX2393" fmla="*/ 514184 w 922759"/>
                <a:gd name="connsiteY2393" fmla="*/ 1130496 h 1151883"/>
                <a:gd name="connsiteX2394" fmla="*/ 514184 w 922759"/>
                <a:gd name="connsiteY2394" fmla="*/ 1131404 h 1151883"/>
                <a:gd name="connsiteX2395" fmla="*/ 514002 w 922759"/>
                <a:gd name="connsiteY2395" fmla="*/ 1132342 h 1151883"/>
                <a:gd name="connsiteX2396" fmla="*/ 513669 w 922759"/>
                <a:gd name="connsiteY2396" fmla="*/ 1132977 h 1151883"/>
                <a:gd name="connsiteX2397" fmla="*/ 513458 w 922759"/>
                <a:gd name="connsiteY2397" fmla="*/ 1132977 h 1151883"/>
                <a:gd name="connsiteX2398" fmla="*/ 514486 w 922759"/>
                <a:gd name="connsiteY2398" fmla="*/ 1134852 h 1151883"/>
                <a:gd name="connsiteX2399" fmla="*/ 515878 w 922759"/>
                <a:gd name="connsiteY2399" fmla="*/ 1135609 h 1151883"/>
                <a:gd name="connsiteX2400" fmla="*/ 526375 w 922759"/>
                <a:gd name="connsiteY2400" fmla="*/ 1135730 h 1151883"/>
                <a:gd name="connsiteX2401" fmla="*/ 528341 w 922759"/>
                <a:gd name="connsiteY2401" fmla="*/ 1135185 h 1151883"/>
                <a:gd name="connsiteX2402" fmla="*/ 534906 w 922759"/>
                <a:gd name="connsiteY2402" fmla="*/ 1130980 h 1151883"/>
                <a:gd name="connsiteX2403" fmla="*/ 537447 w 922759"/>
                <a:gd name="connsiteY2403" fmla="*/ 1130345 h 1151883"/>
                <a:gd name="connsiteX2404" fmla="*/ 539595 w 922759"/>
                <a:gd name="connsiteY2404" fmla="*/ 1131162 h 1151883"/>
                <a:gd name="connsiteX2405" fmla="*/ 539383 w 922759"/>
                <a:gd name="connsiteY2405" fmla="*/ 1134883 h 1151883"/>
                <a:gd name="connsiteX2406" fmla="*/ 541803 w 922759"/>
                <a:gd name="connsiteY2406" fmla="*/ 1135125 h 1151883"/>
                <a:gd name="connsiteX2407" fmla="*/ 544011 w 922759"/>
                <a:gd name="connsiteY2407" fmla="*/ 1134187 h 1151883"/>
                <a:gd name="connsiteX2408" fmla="*/ 545463 w 922759"/>
                <a:gd name="connsiteY2408" fmla="*/ 1132765 h 1151883"/>
                <a:gd name="connsiteX2409" fmla="*/ 546795 w 922759"/>
                <a:gd name="connsiteY2409" fmla="*/ 1131101 h 1151883"/>
                <a:gd name="connsiteX2410" fmla="*/ 548731 w 922759"/>
                <a:gd name="connsiteY2410" fmla="*/ 1129438 h 1151883"/>
                <a:gd name="connsiteX2411" fmla="*/ 550606 w 922759"/>
                <a:gd name="connsiteY2411" fmla="*/ 1128893 h 1151883"/>
                <a:gd name="connsiteX2412" fmla="*/ 554962 w 922759"/>
                <a:gd name="connsiteY2412" fmla="*/ 1128802 h 1151883"/>
                <a:gd name="connsiteX2413" fmla="*/ 556596 w 922759"/>
                <a:gd name="connsiteY2413" fmla="*/ 1128167 h 1151883"/>
                <a:gd name="connsiteX2414" fmla="*/ 557474 w 922759"/>
                <a:gd name="connsiteY2414" fmla="*/ 1126806 h 1151883"/>
                <a:gd name="connsiteX2415" fmla="*/ 557080 w 922759"/>
                <a:gd name="connsiteY2415" fmla="*/ 1125777 h 1151883"/>
                <a:gd name="connsiteX2416" fmla="*/ 555991 w 922759"/>
                <a:gd name="connsiteY2416" fmla="*/ 1125112 h 1151883"/>
                <a:gd name="connsiteX2417" fmla="*/ 554751 w 922759"/>
                <a:gd name="connsiteY2417" fmla="*/ 1124809 h 1151883"/>
                <a:gd name="connsiteX2418" fmla="*/ 559500 w 922759"/>
                <a:gd name="connsiteY2418" fmla="*/ 1119787 h 1151883"/>
                <a:gd name="connsiteX2419" fmla="*/ 561799 w 922759"/>
                <a:gd name="connsiteY2419" fmla="*/ 1119303 h 1151883"/>
                <a:gd name="connsiteX2420" fmla="*/ 564280 w 922759"/>
                <a:gd name="connsiteY2420" fmla="*/ 1119606 h 1151883"/>
                <a:gd name="connsiteX2421" fmla="*/ 566549 w 922759"/>
                <a:gd name="connsiteY2421" fmla="*/ 1120271 h 1151883"/>
                <a:gd name="connsiteX2422" fmla="*/ 571268 w 922759"/>
                <a:gd name="connsiteY2422" fmla="*/ 1119545 h 1151883"/>
                <a:gd name="connsiteX2423" fmla="*/ 573446 w 922759"/>
                <a:gd name="connsiteY2423" fmla="*/ 1118729 h 1151883"/>
                <a:gd name="connsiteX2424" fmla="*/ 575261 w 922759"/>
                <a:gd name="connsiteY2424" fmla="*/ 1116883 h 1151883"/>
                <a:gd name="connsiteX2425" fmla="*/ 575775 w 922759"/>
                <a:gd name="connsiteY2425" fmla="*/ 1115613 h 1151883"/>
                <a:gd name="connsiteX2426" fmla="*/ 576562 w 922759"/>
                <a:gd name="connsiteY2426" fmla="*/ 1112436 h 1151883"/>
                <a:gd name="connsiteX2427" fmla="*/ 577258 w 922759"/>
                <a:gd name="connsiteY2427" fmla="*/ 1110984 h 1151883"/>
                <a:gd name="connsiteX2428" fmla="*/ 580071 w 922759"/>
                <a:gd name="connsiteY2428" fmla="*/ 1108745 h 1151883"/>
                <a:gd name="connsiteX2429" fmla="*/ 580434 w 922759"/>
                <a:gd name="connsiteY2429" fmla="*/ 1108352 h 1151883"/>
                <a:gd name="connsiteX2430" fmla="*/ 582310 w 922759"/>
                <a:gd name="connsiteY2430" fmla="*/ 1108413 h 1151883"/>
                <a:gd name="connsiteX2431" fmla="*/ 586696 w 922759"/>
                <a:gd name="connsiteY2431" fmla="*/ 1109199 h 1151883"/>
                <a:gd name="connsiteX2432" fmla="*/ 594895 w 922759"/>
                <a:gd name="connsiteY2432" fmla="*/ 1109199 h 1151883"/>
                <a:gd name="connsiteX2433" fmla="*/ 600582 w 922759"/>
                <a:gd name="connsiteY2433" fmla="*/ 1110319 h 1151883"/>
                <a:gd name="connsiteX2434" fmla="*/ 601610 w 922759"/>
                <a:gd name="connsiteY2434" fmla="*/ 1109986 h 1151883"/>
                <a:gd name="connsiteX2435" fmla="*/ 602608 w 922759"/>
                <a:gd name="connsiteY2435" fmla="*/ 1107656 h 1151883"/>
                <a:gd name="connsiteX2436" fmla="*/ 603728 w 922759"/>
                <a:gd name="connsiteY2436" fmla="*/ 1107021 h 1151883"/>
                <a:gd name="connsiteX2437" fmla="*/ 612168 w 922759"/>
                <a:gd name="connsiteY2437" fmla="*/ 1105448 h 1151883"/>
                <a:gd name="connsiteX2438" fmla="*/ 635280 w 922759"/>
                <a:gd name="connsiteY2438" fmla="*/ 1106386 h 1151883"/>
                <a:gd name="connsiteX2439" fmla="*/ 636097 w 922759"/>
                <a:gd name="connsiteY2439" fmla="*/ 1106235 h 1151883"/>
                <a:gd name="connsiteX2440" fmla="*/ 638971 w 922759"/>
                <a:gd name="connsiteY2440" fmla="*/ 1102847 h 1151883"/>
                <a:gd name="connsiteX2441" fmla="*/ 639334 w 922759"/>
                <a:gd name="connsiteY2441" fmla="*/ 1101969 h 1151883"/>
                <a:gd name="connsiteX2442" fmla="*/ 639425 w 922759"/>
                <a:gd name="connsiteY2442" fmla="*/ 1100699 h 1151883"/>
                <a:gd name="connsiteX2443" fmla="*/ 639243 w 922759"/>
                <a:gd name="connsiteY2443" fmla="*/ 1097038 h 1151883"/>
                <a:gd name="connsiteX2444" fmla="*/ 638971 w 922759"/>
                <a:gd name="connsiteY2444" fmla="*/ 1096282 h 1151883"/>
                <a:gd name="connsiteX2445" fmla="*/ 638456 w 922759"/>
                <a:gd name="connsiteY2445" fmla="*/ 1095979 h 1151883"/>
                <a:gd name="connsiteX2446" fmla="*/ 637640 w 922759"/>
                <a:gd name="connsiteY2446" fmla="*/ 1095223 h 1151883"/>
                <a:gd name="connsiteX2447" fmla="*/ 636913 w 922759"/>
                <a:gd name="connsiteY2447" fmla="*/ 1094316 h 1151883"/>
                <a:gd name="connsiteX2448" fmla="*/ 636581 w 922759"/>
                <a:gd name="connsiteY2448" fmla="*/ 1093559 h 1151883"/>
                <a:gd name="connsiteX2449" fmla="*/ 636369 w 922759"/>
                <a:gd name="connsiteY2449" fmla="*/ 1092440 h 1151883"/>
                <a:gd name="connsiteX2450" fmla="*/ 637973 w 922759"/>
                <a:gd name="connsiteY2450" fmla="*/ 1091865 h 1151883"/>
                <a:gd name="connsiteX2451" fmla="*/ 640392 w 922759"/>
                <a:gd name="connsiteY2451" fmla="*/ 1089990 h 1151883"/>
                <a:gd name="connsiteX2452" fmla="*/ 641270 w 922759"/>
                <a:gd name="connsiteY2452" fmla="*/ 1089506 h 1151883"/>
                <a:gd name="connsiteX2453" fmla="*/ 642722 w 922759"/>
                <a:gd name="connsiteY2453" fmla="*/ 1088901 h 1151883"/>
                <a:gd name="connsiteX2454" fmla="*/ 642964 w 922759"/>
                <a:gd name="connsiteY2454" fmla="*/ 1088901 h 1151883"/>
                <a:gd name="connsiteX2455" fmla="*/ 642661 w 922759"/>
                <a:gd name="connsiteY2455" fmla="*/ 1089475 h 1151883"/>
                <a:gd name="connsiteX2456" fmla="*/ 642389 w 922759"/>
                <a:gd name="connsiteY2456" fmla="*/ 1090927 h 1151883"/>
                <a:gd name="connsiteX2457" fmla="*/ 642026 w 922759"/>
                <a:gd name="connsiteY2457" fmla="*/ 1092017 h 1151883"/>
                <a:gd name="connsiteX2458" fmla="*/ 641391 w 922759"/>
                <a:gd name="connsiteY2458" fmla="*/ 1092833 h 1151883"/>
                <a:gd name="connsiteX2459" fmla="*/ 641058 w 922759"/>
                <a:gd name="connsiteY2459" fmla="*/ 1093801 h 1151883"/>
                <a:gd name="connsiteX2460" fmla="*/ 641603 w 922759"/>
                <a:gd name="connsiteY2460" fmla="*/ 1095314 h 1151883"/>
                <a:gd name="connsiteX2461" fmla="*/ 642601 w 922759"/>
                <a:gd name="connsiteY2461" fmla="*/ 1096100 h 1151883"/>
                <a:gd name="connsiteX2462" fmla="*/ 643690 w 922759"/>
                <a:gd name="connsiteY2462" fmla="*/ 1095949 h 1151883"/>
                <a:gd name="connsiteX2463" fmla="*/ 645929 w 922759"/>
                <a:gd name="connsiteY2463" fmla="*/ 1094860 h 1151883"/>
                <a:gd name="connsiteX2464" fmla="*/ 648137 w 922759"/>
                <a:gd name="connsiteY2464" fmla="*/ 1094588 h 1151883"/>
                <a:gd name="connsiteX2465" fmla="*/ 653945 w 922759"/>
                <a:gd name="connsiteY2465" fmla="*/ 1095707 h 1151883"/>
                <a:gd name="connsiteX2466" fmla="*/ 655639 w 922759"/>
                <a:gd name="connsiteY2466" fmla="*/ 1095465 h 1151883"/>
                <a:gd name="connsiteX2467" fmla="*/ 659602 w 922759"/>
                <a:gd name="connsiteY2467" fmla="*/ 1094074 h 1151883"/>
                <a:gd name="connsiteX2468" fmla="*/ 661236 w 922759"/>
                <a:gd name="connsiteY2468" fmla="*/ 1094376 h 1151883"/>
                <a:gd name="connsiteX2469" fmla="*/ 661720 w 922759"/>
                <a:gd name="connsiteY2469" fmla="*/ 1095163 h 1151883"/>
                <a:gd name="connsiteX2470" fmla="*/ 662779 w 922759"/>
                <a:gd name="connsiteY2470" fmla="*/ 1098097 h 1151883"/>
                <a:gd name="connsiteX2471" fmla="*/ 663323 w 922759"/>
                <a:gd name="connsiteY2471" fmla="*/ 1099216 h 1151883"/>
                <a:gd name="connsiteX2472" fmla="*/ 664140 w 922759"/>
                <a:gd name="connsiteY2472" fmla="*/ 1100094 h 1151883"/>
                <a:gd name="connsiteX2473" fmla="*/ 667135 w 922759"/>
                <a:gd name="connsiteY2473" fmla="*/ 1102302 h 1151883"/>
                <a:gd name="connsiteX2474" fmla="*/ 668557 w 922759"/>
                <a:gd name="connsiteY2474" fmla="*/ 1102937 h 1151883"/>
                <a:gd name="connsiteX2475" fmla="*/ 670644 w 922759"/>
                <a:gd name="connsiteY2475" fmla="*/ 1102998 h 1151883"/>
                <a:gd name="connsiteX2476" fmla="*/ 672762 w 922759"/>
                <a:gd name="connsiteY2476" fmla="*/ 1102605 h 1151883"/>
                <a:gd name="connsiteX2477" fmla="*/ 674334 w 922759"/>
                <a:gd name="connsiteY2477" fmla="*/ 1101969 h 1151883"/>
                <a:gd name="connsiteX2478" fmla="*/ 675303 w 922759"/>
                <a:gd name="connsiteY2478" fmla="*/ 1101183 h 1151883"/>
                <a:gd name="connsiteX2479" fmla="*/ 678812 w 922759"/>
                <a:gd name="connsiteY2479" fmla="*/ 1098279 h 1151883"/>
                <a:gd name="connsiteX2480" fmla="*/ 680718 w 922759"/>
                <a:gd name="connsiteY2480" fmla="*/ 1097401 h 1151883"/>
                <a:gd name="connsiteX2481" fmla="*/ 684318 w 922759"/>
                <a:gd name="connsiteY2481" fmla="*/ 1096615 h 1151883"/>
                <a:gd name="connsiteX2482" fmla="*/ 687918 w 922759"/>
                <a:gd name="connsiteY2482" fmla="*/ 1096615 h 1151883"/>
                <a:gd name="connsiteX2483" fmla="*/ 693575 w 922759"/>
                <a:gd name="connsiteY2483" fmla="*/ 1097976 h 1151883"/>
                <a:gd name="connsiteX2484" fmla="*/ 695299 w 922759"/>
                <a:gd name="connsiteY2484" fmla="*/ 1097764 h 1151883"/>
                <a:gd name="connsiteX2485" fmla="*/ 694270 w 922759"/>
                <a:gd name="connsiteY2485" fmla="*/ 1100154 h 1151883"/>
                <a:gd name="connsiteX2486" fmla="*/ 695844 w 922759"/>
                <a:gd name="connsiteY2486" fmla="*/ 1101939 h 1151883"/>
                <a:gd name="connsiteX2487" fmla="*/ 698445 w 922759"/>
                <a:gd name="connsiteY2487" fmla="*/ 1103542 h 1151883"/>
                <a:gd name="connsiteX2488" fmla="*/ 700441 w 922759"/>
                <a:gd name="connsiteY2488" fmla="*/ 1105327 h 1151883"/>
                <a:gd name="connsiteX2489" fmla="*/ 697689 w 922759"/>
                <a:gd name="connsiteY2489" fmla="*/ 1106598 h 1151883"/>
                <a:gd name="connsiteX2490" fmla="*/ 696479 w 922759"/>
                <a:gd name="connsiteY2490" fmla="*/ 1109774 h 1151883"/>
                <a:gd name="connsiteX2491" fmla="*/ 696993 w 922759"/>
                <a:gd name="connsiteY2491" fmla="*/ 1113132 h 1151883"/>
                <a:gd name="connsiteX2492" fmla="*/ 699474 w 922759"/>
                <a:gd name="connsiteY2492" fmla="*/ 1114977 h 1151883"/>
                <a:gd name="connsiteX2493" fmla="*/ 701016 w 922759"/>
                <a:gd name="connsiteY2493" fmla="*/ 1115219 h 1151883"/>
                <a:gd name="connsiteX2494" fmla="*/ 701954 w 922759"/>
                <a:gd name="connsiteY2494" fmla="*/ 1115522 h 1151883"/>
                <a:gd name="connsiteX2495" fmla="*/ 702801 w 922759"/>
                <a:gd name="connsiteY2495" fmla="*/ 1116157 h 1151883"/>
                <a:gd name="connsiteX2496" fmla="*/ 707399 w 922759"/>
                <a:gd name="connsiteY2496" fmla="*/ 1120816 h 1151883"/>
                <a:gd name="connsiteX2497" fmla="*/ 712330 w 922759"/>
                <a:gd name="connsiteY2497" fmla="*/ 1124234 h 1151883"/>
                <a:gd name="connsiteX2498" fmla="*/ 713450 w 922759"/>
                <a:gd name="connsiteY2498" fmla="*/ 1124658 h 1151883"/>
                <a:gd name="connsiteX2499" fmla="*/ 714297 w 922759"/>
                <a:gd name="connsiteY2499" fmla="*/ 1124386 h 1151883"/>
                <a:gd name="connsiteX2500" fmla="*/ 715144 w 922759"/>
                <a:gd name="connsiteY2500" fmla="*/ 1123962 h 1151883"/>
                <a:gd name="connsiteX2501" fmla="*/ 716203 w 922759"/>
                <a:gd name="connsiteY2501" fmla="*/ 1123962 h 1151883"/>
                <a:gd name="connsiteX2502" fmla="*/ 717171 w 922759"/>
                <a:gd name="connsiteY2502" fmla="*/ 1124416 h 1151883"/>
                <a:gd name="connsiteX2503" fmla="*/ 717746 w 922759"/>
                <a:gd name="connsiteY2503" fmla="*/ 1124960 h 1151883"/>
                <a:gd name="connsiteX2504" fmla="*/ 718381 w 922759"/>
                <a:gd name="connsiteY2504" fmla="*/ 1125323 h 1151883"/>
                <a:gd name="connsiteX2505" fmla="*/ 719470 w 922759"/>
                <a:gd name="connsiteY2505" fmla="*/ 1125323 h 1151883"/>
                <a:gd name="connsiteX2506" fmla="*/ 720165 w 922759"/>
                <a:gd name="connsiteY2506" fmla="*/ 1124718 h 1151883"/>
                <a:gd name="connsiteX2507" fmla="*/ 723040 w 922759"/>
                <a:gd name="connsiteY2507" fmla="*/ 1121602 h 1151883"/>
                <a:gd name="connsiteX2508" fmla="*/ 723040 w 922759"/>
                <a:gd name="connsiteY2508" fmla="*/ 1120453 h 1151883"/>
                <a:gd name="connsiteX2509" fmla="*/ 722737 w 922759"/>
                <a:gd name="connsiteY2509" fmla="*/ 1119636 h 1151883"/>
                <a:gd name="connsiteX2510" fmla="*/ 722404 w 922759"/>
                <a:gd name="connsiteY2510" fmla="*/ 1118940 h 1151883"/>
                <a:gd name="connsiteX2511" fmla="*/ 722162 w 922759"/>
                <a:gd name="connsiteY2511" fmla="*/ 1118184 h 1151883"/>
                <a:gd name="connsiteX2512" fmla="*/ 722071 w 922759"/>
                <a:gd name="connsiteY2512" fmla="*/ 1117337 h 1151883"/>
                <a:gd name="connsiteX2513" fmla="*/ 722071 w 922759"/>
                <a:gd name="connsiteY2513" fmla="*/ 1114947 h 1151883"/>
                <a:gd name="connsiteX2514" fmla="*/ 722314 w 922759"/>
                <a:gd name="connsiteY2514" fmla="*/ 1114584 h 1151883"/>
                <a:gd name="connsiteX2515" fmla="*/ 723281 w 922759"/>
                <a:gd name="connsiteY2515" fmla="*/ 1112376 h 1151883"/>
                <a:gd name="connsiteX2516" fmla="*/ 723403 w 922759"/>
                <a:gd name="connsiteY2516" fmla="*/ 1112164 h 1151883"/>
                <a:gd name="connsiteX2517" fmla="*/ 723191 w 922759"/>
                <a:gd name="connsiteY2517" fmla="*/ 1112255 h 1151883"/>
                <a:gd name="connsiteX2518" fmla="*/ 723100 w 922759"/>
                <a:gd name="connsiteY2518" fmla="*/ 1109169 h 1151883"/>
                <a:gd name="connsiteX2519" fmla="*/ 723372 w 922759"/>
                <a:gd name="connsiteY2519" fmla="*/ 1109260 h 1151883"/>
                <a:gd name="connsiteX2520" fmla="*/ 725006 w 922759"/>
                <a:gd name="connsiteY2520" fmla="*/ 1107293 h 1151883"/>
                <a:gd name="connsiteX2521" fmla="*/ 725066 w 922759"/>
                <a:gd name="connsiteY2521" fmla="*/ 1106900 h 1151883"/>
                <a:gd name="connsiteX2522" fmla="*/ 726276 w 922759"/>
                <a:gd name="connsiteY2522" fmla="*/ 1104177 h 1151883"/>
                <a:gd name="connsiteX2523" fmla="*/ 726518 w 922759"/>
                <a:gd name="connsiteY2523" fmla="*/ 1103875 h 1151883"/>
                <a:gd name="connsiteX2524" fmla="*/ 726760 w 922759"/>
                <a:gd name="connsiteY2524" fmla="*/ 1102242 h 1151883"/>
                <a:gd name="connsiteX2525" fmla="*/ 726821 w 922759"/>
                <a:gd name="connsiteY2525" fmla="*/ 1100578 h 1151883"/>
                <a:gd name="connsiteX2526" fmla="*/ 726518 w 922759"/>
                <a:gd name="connsiteY2526" fmla="*/ 1098823 h 1151883"/>
                <a:gd name="connsiteX2527" fmla="*/ 725732 w 922759"/>
                <a:gd name="connsiteY2527" fmla="*/ 1096857 h 1151883"/>
                <a:gd name="connsiteX2528" fmla="*/ 723766 w 922759"/>
                <a:gd name="connsiteY2528" fmla="*/ 1093741 h 1151883"/>
                <a:gd name="connsiteX2529" fmla="*/ 722525 w 922759"/>
                <a:gd name="connsiteY2529" fmla="*/ 1092380 h 1151883"/>
                <a:gd name="connsiteX2530" fmla="*/ 721285 w 922759"/>
                <a:gd name="connsiteY2530" fmla="*/ 1091502 h 1151883"/>
                <a:gd name="connsiteX2531" fmla="*/ 719742 w 922759"/>
                <a:gd name="connsiteY2531" fmla="*/ 1091260 h 1151883"/>
                <a:gd name="connsiteX2532" fmla="*/ 717201 w 922759"/>
                <a:gd name="connsiteY2532" fmla="*/ 1092289 h 1151883"/>
                <a:gd name="connsiteX2533" fmla="*/ 715688 w 922759"/>
                <a:gd name="connsiteY2533" fmla="*/ 1092531 h 1151883"/>
                <a:gd name="connsiteX2534" fmla="*/ 710062 w 922759"/>
                <a:gd name="connsiteY2534" fmla="*/ 1091563 h 1151883"/>
                <a:gd name="connsiteX2535" fmla="*/ 708428 w 922759"/>
                <a:gd name="connsiteY2535" fmla="*/ 1090020 h 1151883"/>
                <a:gd name="connsiteX2536" fmla="*/ 710303 w 922759"/>
                <a:gd name="connsiteY2536" fmla="*/ 1087358 h 1151883"/>
                <a:gd name="connsiteX2537" fmla="*/ 710303 w 922759"/>
                <a:gd name="connsiteY2537" fmla="*/ 1087358 h 1151883"/>
                <a:gd name="connsiteX2538" fmla="*/ 710969 w 922759"/>
                <a:gd name="connsiteY2538" fmla="*/ 1086360 h 1151883"/>
                <a:gd name="connsiteX2539" fmla="*/ 711120 w 922759"/>
                <a:gd name="connsiteY2539" fmla="*/ 1085452 h 1151883"/>
                <a:gd name="connsiteX2540" fmla="*/ 711120 w 922759"/>
                <a:gd name="connsiteY2540" fmla="*/ 1084575 h 1151883"/>
                <a:gd name="connsiteX2541" fmla="*/ 711363 w 922759"/>
                <a:gd name="connsiteY2541" fmla="*/ 1083697 h 1151883"/>
                <a:gd name="connsiteX2542" fmla="*/ 711907 w 922759"/>
                <a:gd name="connsiteY2542" fmla="*/ 1082608 h 1151883"/>
                <a:gd name="connsiteX2543" fmla="*/ 718411 w 922759"/>
                <a:gd name="connsiteY2543" fmla="*/ 1073019 h 1151883"/>
                <a:gd name="connsiteX2544" fmla="*/ 717927 w 922759"/>
                <a:gd name="connsiteY2544" fmla="*/ 1072595 h 1151883"/>
                <a:gd name="connsiteX2545" fmla="*/ 715749 w 922759"/>
                <a:gd name="connsiteY2545" fmla="*/ 1069600 h 1151883"/>
                <a:gd name="connsiteX2546" fmla="*/ 712361 w 922759"/>
                <a:gd name="connsiteY2546" fmla="*/ 1062310 h 1151883"/>
                <a:gd name="connsiteX2547" fmla="*/ 710666 w 922759"/>
                <a:gd name="connsiteY2547" fmla="*/ 1060767 h 1151883"/>
                <a:gd name="connsiteX2548" fmla="*/ 709850 w 922759"/>
                <a:gd name="connsiteY2548" fmla="*/ 1060373 h 1151883"/>
                <a:gd name="connsiteX2549" fmla="*/ 707823 w 922759"/>
                <a:gd name="connsiteY2549" fmla="*/ 1058468 h 1151883"/>
                <a:gd name="connsiteX2550" fmla="*/ 705403 w 922759"/>
                <a:gd name="connsiteY2550" fmla="*/ 1057137 h 1151883"/>
                <a:gd name="connsiteX2551" fmla="*/ 704586 w 922759"/>
                <a:gd name="connsiteY2551" fmla="*/ 1056048 h 1151883"/>
                <a:gd name="connsiteX2552" fmla="*/ 704042 w 922759"/>
                <a:gd name="connsiteY2552" fmla="*/ 1054596 h 1151883"/>
                <a:gd name="connsiteX2553" fmla="*/ 704042 w 922759"/>
                <a:gd name="connsiteY2553" fmla="*/ 1054384 h 1151883"/>
                <a:gd name="connsiteX2554" fmla="*/ 703739 w 922759"/>
                <a:gd name="connsiteY2554" fmla="*/ 1052901 h 1151883"/>
                <a:gd name="connsiteX2555" fmla="*/ 702227 w 922759"/>
                <a:gd name="connsiteY2555" fmla="*/ 1049816 h 1151883"/>
                <a:gd name="connsiteX2556" fmla="*/ 695147 w 922759"/>
                <a:gd name="connsiteY2556" fmla="*/ 1043009 h 1151883"/>
                <a:gd name="connsiteX2557" fmla="*/ 694210 w 922759"/>
                <a:gd name="connsiteY2557" fmla="*/ 1041648 h 1151883"/>
                <a:gd name="connsiteX2558" fmla="*/ 693332 w 922759"/>
                <a:gd name="connsiteY2558" fmla="*/ 1039984 h 1151883"/>
                <a:gd name="connsiteX2559" fmla="*/ 692849 w 922759"/>
                <a:gd name="connsiteY2559" fmla="*/ 1038169 h 1151883"/>
                <a:gd name="connsiteX2560" fmla="*/ 693030 w 922759"/>
                <a:gd name="connsiteY2560" fmla="*/ 1036293 h 1151883"/>
                <a:gd name="connsiteX2561" fmla="*/ 693665 w 922759"/>
                <a:gd name="connsiteY2561" fmla="*/ 1035295 h 1151883"/>
                <a:gd name="connsiteX2562" fmla="*/ 694301 w 922759"/>
                <a:gd name="connsiteY2562" fmla="*/ 1035083 h 1151883"/>
                <a:gd name="connsiteX2563" fmla="*/ 694936 w 922759"/>
                <a:gd name="connsiteY2563" fmla="*/ 1035083 h 1151883"/>
                <a:gd name="connsiteX2564" fmla="*/ 695571 w 922759"/>
                <a:gd name="connsiteY2564" fmla="*/ 1034872 h 1151883"/>
                <a:gd name="connsiteX2565" fmla="*/ 696993 w 922759"/>
                <a:gd name="connsiteY2565" fmla="*/ 1032784 h 1151883"/>
                <a:gd name="connsiteX2566" fmla="*/ 697386 w 922759"/>
                <a:gd name="connsiteY2566" fmla="*/ 1032330 h 1151883"/>
                <a:gd name="connsiteX2567" fmla="*/ 701410 w 922759"/>
                <a:gd name="connsiteY2567" fmla="*/ 1029729 h 1151883"/>
                <a:gd name="connsiteX2568" fmla="*/ 702710 w 922759"/>
                <a:gd name="connsiteY2568" fmla="*/ 1028337 h 1151883"/>
                <a:gd name="connsiteX2569" fmla="*/ 704556 w 922759"/>
                <a:gd name="connsiteY2569" fmla="*/ 1025675 h 1151883"/>
                <a:gd name="connsiteX2570" fmla="*/ 705494 w 922759"/>
                <a:gd name="connsiteY2570" fmla="*/ 1024737 h 1151883"/>
                <a:gd name="connsiteX2571" fmla="*/ 707006 w 922759"/>
                <a:gd name="connsiteY2571" fmla="*/ 1023981 h 1151883"/>
                <a:gd name="connsiteX2572" fmla="*/ 712572 w 922759"/>
                <a:gd name="connsiteY2572" fmla="*/ 1022983 h 1151883"/>
                <a:gd name="connsiteX2573" fmla="*/ 712452 w 922759"/>
                <a:gd name="connsiteY2573" fmla="*/ 1022650 h 1151883"/>
                <a:gd name="connsiteX2574" fmla="*/ 714025 w 922759"/>
                <a:gd name="connsiteY2574" fmla="*/ 1021500 h 1151883"/>
                <a:gd name="connsiteX2575" fmla="*/ 717261 w 922759"/>
                <a:gd name="connsiteY2575" fmla="*/ 1019836 h 1151883"/>
                <a:gd name="connsiteX2576" fmla="*/ 721013 w 922759"/>
                <a:gd name="connsiteY2576" fmla="*/ 1016539 h 1151883"/>
                <a:gd name="connsiteX2577" fmla="*/ 722616 w 922759"/>
                <a:gd name="connsiteY2577" fmla="*/ 1015450 h 1151883"/>
                <a:gd name="connsiteX2578" fmla="*/ 733053 w 922759"/>
                <a:gd name="connsiteY2578" fmla="*/ 1011638 h 1151883"/>
                <a:gd name="connsiteX2579" fmla="*/ 746908 w 922759"/>
                <a:gd name="connsiteY2579" fmla="*/ 1009400 h 1151883"/>
                <a:gd name="connsiteX2580" fmla="*/ 750296 w 922759"/>
                <a:gd name="connsiteY2580" fmla="*/ 1007676 h 1151883"/>
                <a:gd name="connsiteX2581" fmla="*/ 760128 w 922759"/>
                <a:gd name="connsiteY2581" fmla="*/ 999780 h 1151883"/>
                <a:gd name="connsiteX2582" fmla="*/ 761519 w 922759"/>
                <a:gd name="connsiteY2582" fmla="*/ 997602 h 1151883"/>
                <a:gd name="connsiteX2583" fmla="*/ 762094 w 922759"/>
                <a:gd name="connsiteY2583" fmla="*/ 994667 h 1151883"/>
                <a:gd name="connsiteX2584" fmla="*/ 762306 w 922759"/>
                <a:gd name="connsiteY2584" fmla="*/ 993941 h 1151883"/>
                <a:gd name="connsiteX2585" fmla="*/ 762760 w 922759"/>
                <a:gd name="connsiteY2585" fmla="*/ 993215 h 1151883"/>
                <a:gd name="connsiteX2586" fmla="*/ 763213 w 922759"/>
                <a:gd name="connsiteY2586" fmla="*/ 992247 h 1151883"/>
                <a:gd name="connsiteX2587" fmla="*/ 763425 w 922759"/>
                <a:gd name="connsiteY2587" fmla="*/ 990795 h 1151883"/>
                <a:gd name="connsiteX2588" fmla="*/ 763213 w 922759"/>
                <a:gd name="connsiteY2588" fmla="*/ 986863 h 1151883"/>
                <a:gd name="connsiteX2589" fmla="*/ 763425 w 922759"/>
                <a:gd name="connsiteY2589" fmla="*/ 985562 h 1151883"/>
                <a:gd name="connsiteX2590" fmla="*/ 763879 w 922759"/>
                <a:gd name="connsiteY2590" fmla="*/ 984291 h 1151883"/>
                <a:gd name="connsiteX2591" fmla="*/ 765240 w 922759"/>
                <a:gd name="connsiteY2591" fmla="*/ 981629 h 1151883"/>
                <a:gd name="connsiteX2592" fmla="*/ 765512 w 922759"/>
                <a:gd name="connsiteY2592" fmla="*/ 980268 h 1151883"/>
                <a:gd name="connsiteX2593" fmla="*/ 765301 w 922759"/>
                <a:gd name="connsiteY2593" fmla="*/ 979057 h 1151883"/>
                <a:gd name="connsiteX2594" fmla="*/ 764363 w 922759"/>
                <a:gd name="connsiteY2594" fmla="*/ 977696 h 1151883"/>
                <a:gd name="connsiteX2595" fmla="*/ 763940 w 922759"/>
                <a:gd name="connsiteY2595" fmla="*/ 975186 h 1151883"/>
                <a:gd name="connsiteX2596" fmla="*/ 763637 w 922759"/>
                <a:gd name="connsiteY2596" fmla="*/ 974550 h 1151883"/>
                <a:gd name="connsiteX2597" fmla="*/ 763576 w 922759"/>
                <a:gd name="connsiteY2597" fmla="*/ 974036 h 1151883"/>
                <a:gd name="connsiteX2598" fmla="*/ 764121 w 922759"/>
                <a:gd name="connsiteY2598" fmla="*/ 973068 h 1151883"/>
                <a:gd name="connsiteX2599" fmla="*/ 764998 w 922759"/>
                <a:gd name="connsiteY2599" fmla="*/ 972281 h 1151883"/>
                <a:gd name="connsiteX2600" fmla="*/ 768296 w 922759"/>
                <a:gd name="connsiteY2600" fmla="*/ 971162 h 1151883"/>
                <a:gd name="connsiteX2601" fmla="*/ 771684 w 922759"/>
                <a:gd name="connsiteY2601" fmla="*/ 970738 h 1151883"/>
                <a:gd name="connsiteX2602" fmla="*/ 782120 w 922759"/>
                <a:gd name="connsiteY2602" fmla="*/ 973400 h 1151883"/>
                <a:gd name="connsiteX2603" fmla="*/ 783875 w 922759"/>
                <a:gd name="connsiteY2603" fmla="*/ 974278 h 1151883"/>
                <a:gd name="connsiteX2604" fmla="*/ 785508 w 922759"/>
                <a:gd name="connsiteY2604" fmla="*/ 975397 h 1151883"/>
                <a:gd name="connsiteX2605" fmla="*/ 787051 w 922759"/>
                <a:gd name="connsiteY2605" fmla="*/ 977575 h 1151883"/>
                <a:gd name="connsiteX2606" fmla="*/ 791166 w 922759"/>
                <a:gd name="connsiteY2606" fmla="*/ 979300 h 1151883"/>
                <a:gd name="connsiteX2607" fmla="*/ 791377 w 922759"/>
                <a:gd name="connsiteY2607" fmla="*/ 979511 h 1151883"/>
                <a:gd name="connsiteX2608" fmla="*/ 792285 w 922759"/>
                <a:gd name="connsiteY2608" fmla="*/ 975790 h 1151883"/>
                <a:gd name="connsiteX2609" fmla="*/ 793132 w 922759"/>
                <a:gd name="connsiteY2609" fmla="*/ 974217 h 1151883"/>
                <a:gd name="connsiteX2610" fmla="*/ 793495 w 922759"/>
                <a:gd name="connsiteY2610" fmla="*/ 974278 h 1151883"/>
                <a:gd name="connsiteX2611" fmla="*/ 795582 w 922759"/>
                <a:gd name="connsiteY2611" fmla="*/ 973975 h 1151883"/>
                <a:gd name="connsiteX2612" fmla="*/ 796369 w 922759"/>
                <a:gd name="connsiteY2612" fmla="*/ 973643 h 1151883"/>
                <a:gd name="connsiteX2613" fmla="*/ 797216 w 922759"/>
                <a:gd name="connsiteY2613" fmla="*/ 972886 h 1151883"/>
                <a:gd name="connsiteX2614" fmla="*/ 797700 w 922759"/>
                <a:gd name="connsiteY2614" fmla="*/ 972221 h 1151883"/>
                <a:gd name="connsiteX2615" fmla="*/ 799424 w 922759"/>
                <a:gd name="connsiteY2615" fmla="*/ 968802 h 1151883"/>
                <a:gd name="connsiteX2616" fmla="*/ 800060 w 922759"/>
                <a:gd name="connsiteY2616" fmla="*/ 966957 h 1151883"/>
                <a:gd name="connsiteX2617" fmla="*/ 800362 w 922759"/>
                <a:gd name="connsiteY2617" fmla="*/ 964961 h 1151883"/>
                <a:gd name="connsiteX2618" fmla="*/ 800423 w 922759"/>
                <a:gd name="connsiteY2618" fmla="*/ 962601 h 1151883"/>
                <a:gd name="connsiteX2619" fmla="*/ 799878 w 922759"/>
                <a:gd name="connsiteY2619" fmla="*/ 958093 h 1151883"/>
                <a:gd name="connsiteX2620" fmla="*/ 800150 w 922759"/>
                <a:gd name="connsiteY2620" fmla="*/ 956429 h 1151883"/>
                <a:gd name="connsiteX2621" fmla="*/ 801481 w 922759"/>
                <a:gd name="connsiteY2621" fmla="*/ 955250 h 1151883"/>
                <a:gd name="connsiteX2622" fmla="*/ 800241 w 922759"/>
                <a:gd name="connsiteY2622" fmla="*/ 954705 h 1151883"/>
                <a:gd name="connsiteX2623" fmla="*/ 799727 w 922759"/>
                <a:gd name="connsiteY2623" fmla="*/ 954282 h 1151883"/>
                <a:gd name="connsiteX2624" fmla="*/ 798668 w 922759"/>
                <a:gd name="connsiteY2624" fmla="*/ 952346 h 1151883"/>
                <a:gd name="connsiteX2625" fmla="*/ 798154 w 922759"/>
                <a:gd name="connsiteY2625" fmla="*/ 952527 h 1151883"/>
                <a:gd name="connsiteX2626" fmla="*/ 798365 w 922759"/>
                <a:gd name="connsiteY2626" fmla="*/ 951196 h 1151883"/>
                <a:gd name="connsiteX2627" fmla="*/ 801361 w 922759"/>
                <a:gd name="connsiteY2627" fmla="*/ 945357 h 1151883"/>
                <a:gd name="connsiteX2628" fmla="*/ 799394 w 922759"/>
                <a:gd name="connsiteY2628" fmla="*/ 943482 h 1151883"/>
                <a:gd name="connsiteX2629" fmla="*/ 794524 w 922759"/>
                <a:gd name="connsiteY2629" fmla="*/ 934558 h 1151883"/>
                <a:gd name="connsiteX2630" fmla="*/ 792194 w 922759"/>
                <a:gd name="connsiteY2630" fmla="*/ 931200 h 1151883"/>
                <a:gd name="connsiteX2631" fmla="*/ 790773 w 922759"/>
                <a:gd name="connsiteY2631" fmla="*/ 930474 h 1151883"/>
                <a:gd name="connsiteX2632" fmla="*/ 787021 w 922759"/>
                <a:gd name="connsiteY2632" fmla="*/ 929929 h 1151883"/>
                <a:gd name="connsiteX2633" fmla="*/ 785116 w 922759"/>
                <a:gd name="connsiteY2633" fmla="*/ 929112 h 1151883"/>
                <a:gd name="connsiteX2634" fmla="*/ 783391 w 922759"/>
                <a:gd name="connsiteY2634" fmla="*/ 927540 h 1151883"/>
                <a:gd name="connsiteX2635" fmla="*/ 781818 w 922759"/>
                <a:gd name="connsiteY2635" fmla="*/ 925331 h 1151883"/>
                <a:gd name="connsiteX2636" fmla="*/ 780759 w 922759"/>
                <a:gd name="connsiteY2636" fmla="*/ 922790 h 1151883"/>
                <a:gd name="connsiteX2637" fmla="*/ 780517 w 922759"/>
                <a:gd name="connsiteY2637" fmla="*/ 920128 h 1151883"/>
                <a:gd name="connsiteX2638" fmla="*/ 778702 w 922759"/>
                <a:gd name="connsiteY2638" fmla="*/ 920340 h 1151883"/>
                <a:gd name="connsiteX2639" fmla="*/ 776978 w 922759"/>
                <a:gd name="connsiteY2639" fmla="*/ 919462 h 1151883"/>
                <a:gd name="connsiteX2640" fmla="*/ 775284 w 922759"/>
                <a:gd name="connsiteY2640" fmla="*/ 918192 h 1151883"/>
                <a:gd name="connsiteX2641" fmla="*/ 773499 w 922759"/>
                <a:gd name="connsiteY2641" fmla="*/ 917193 h 1151883"/>
                <a:gd name="connsiteX2642" fmla="*/ 771835 w 922759"/>
                <a:gd name="connsiteY2642" fmla="*/ 916891 h 1151883"/>
                <a:gd name="connsiteX2643" fmla="*/ 771169 w 922759"/>
                <a:gd name="connsiteY2643" fmla="*/ 916770 h 1151883"/>
                <a:gd name="connsiteX2644" fmla="*/ 769778 w 922759"/>
                <a:gd name="connsiteY2644" fmla="*/ 917345 h 1151883"/>
                <a:gd name="connsiteX2645" fmla="*/ 768810 w 922759"/>
                <a:gd name="connsiteY2645" fmla="*/ 918887 h 1151883"/>
                <a:gd name="connsiteX2646" fmla="*/ 767781 w 922759"/>
                <a:gd name="connsiteY2646" fmla="*/ 921338 h 1151883"/>
                <a:gd name="connsiteX2647" fmla="*/ 765422 w 922759"/>
                <a:gd name="connsiteY2647" fmla="*/ 920309 h 1151883"/>
                <a:gd name="connsiteX2648" fmla="*/ 762245 w 922759"/>
                <a:gd name="connsiteY2648" fmla="*/ 918222 h 1151883"/>
                <a:gd name="connsiteX2649" fmla="*/ 759341 w 922759"/>
                <a:gd name="connsiteY2649" fmla="*/ 915741 h 1151883"/>
                <a:gd name="connsiteX2650" fmla="*/ 757889 w 922759"/>
                <a:gd name="connsiteY2650" fmla="*/ 913593 h 1151883"/>
                <a:gd name="connsiteX2651" fmla="*/ 757829 w 922759"/>
                <a:gd name="connsiteY2651" fmla="*/ 909661 h 1151883"/>
                <a:gd name="connsiteX2652" fmla="*/ 756709 w 922759"/>
                <a:gd name="connsiteY2652" fmla="*/ 907210 h 1151883"/>
                <a:gd name="connsiteX2653" fmla="*/ 752444 w 922759"/>
                <a:gd name="connsiteY2653" fmla="*/ 903187 h 1151883"/>
                <a:gd name="connsiteX2654" fmla="*/ 749388 w 922759"/>
                <a:gd name="connsiteY2654" fmla="*/ 899406 h 1151883"/>
                <a:gd name="connsiteX2655" fmla="*/ 748178 w 922759"/>
                <a:gd name="connsiteY2655" fmla="*/ 898407 h 1151883"/>
                <a:gd name="connsiteX2656" fmla="*/ 746182 w 922759"/>
                <a:gd name="connsiteY2656" fmla="*/ 897711 h 1151883"/>
                <a:gd name="connsiteX2657" fmla="*/ 740071 w 922759"/>
                <a:gd name="connsiteY2657" fmla="*/ 897439 h 1151883"/>
                <a:gd name="connsiteX2658" fmla="*/ 737227 w 922759"/>
                <a:gd name="connsiteY2658" fmla="*/ 895896 h 1151883"/>
                <a:gd name="connsiteX2659" fmla="*/ 735624 w 922759"/>
                <a:gd name="connsiteY2659" fmla="*/ 893537 h 1151883"/>
                <a:gd name="connsiteX2660" fmla="*/ 734293 w 922759"/>
                <a:gd name="connsiteY2660" fmla="*/ 890754 h 1151883"/>
                <a:gd name="connsiteX2661" fmla="*/ 724885 w 922759"/>
                <a:gd name="connsiteY2661" fmla="*/ 878956 h 1151883"/>
                <a:gd name="connsiteX2662" fmla="*/ 723644 w 922759"/>
                <a:gd name="connsiteY2662" fmla="*/ 878290 h 1151883"/>
                <a:gd name="connsiteX2663" fmla="*/ 723644 w 922759"/>
                <a:gd name="connsiteY2663" fmla="*/ 878290 h 1151883"/>
                <a:gd name="connsiteX2664" fmla="*/ 720438 w 922759"/>
                <a:gd name="connsiteY2664" fmla="*/ 874751 h 1151883"/>
                <a:gd name="connsiteX2665" fmla="*/ 719984 w 922759"/>
                <a:gd name="connsiteY2665" fmla="*/ 873420 h 1151883"/>
                <a:gd name="connsiteX2666" fmla="*/ 719833 w 922759"/>
                <a:gd name="connsiteY2666" fmla="*/ 872058 h 1151883"/>
                <a:gd name="connsiteX2667" fmla="*/ 719288 w 922759"/>
                <a:gd name="connsiteY2667" fmla="*/ 870909 h 1151883"/>
                <a:gd name="connsiteX2668" fmla="*/ 717534 w 922759"/>
                <a:gd name="connsiteY2668" fmla="*/ 870243 h 1151883"/>
                <a:gd name="connsiteX2669" fmla="*/ 714720 w 922759"/>
                <a:gd name="connsiteY2669" fmla="*/ 867490 h 1151883"/>
                <a:gd name="connsiteX2670" fmla="*/ 713268 w 922759"/>
                <a:gd name="connsiteY2670" fmla="*/ 866401 h 1151883"/>
                <a:gd name="connsiteX2671" fmla="*/ 711574 w 922759"/>
                <a:gd name="connsiteY2671" fmla="*/ 865554 h 1151883"/>
                <a:gd name="connsiteX2672" fmla="*/ 707732 w 922759"/>
                <a:gd name="connsiteY2672" fmla="*/ 864586 h 1151883"/>
                <a:gd name="connsiteX2673" fmla="*/ 706341 w 922759"/>
                <a:gd name="connsiteY2673" fmla="*/ 864979 h 1151883"/>
                <a:gd name="connsiteX2674" fmla="*/ 706795 w 922759"/>
                <a:gd name="connsiteY2674" fmla="*/ 866794 h 1151883"/>
                <a:gd name="connsiteX2675" fmla="*/ 704919 w 922759"/>
                <a:gd name="connsiteY2675" fmla="*/ 867037 h 1151883"/>
                <a:gd name="connsiteX2676" fmla="*/ 698989 w 922759"/>
                <a:gd name="connsiteY2676" fmla="*/ 866250 h 1151883"/>
                <a:gd name="connsiteX2677" fmla="*/ 696993 w 922759"/>
                <a:gd name="connsiteY2677" fmla="*/ 865584 h 1151883"/>
                <a:gd name="connsiteX2678" fmla="*/ 695390 w 922759"/>
                <a:gd name="connsiteY2678" fmla="*/ 864072 h 1151883"/>
                <a:gd name="connsiteX2679" fmla="*/ 692092 w 922759"/>
                <a:gd name="connsiteY2679" fmla="*/ 857295 h 1151883"/>
                <a:gd name="connsiteX2680" fmla="*/ 690065 w 922759"/>
                <a:gd name="connsiteY2680" fmla="*/ 855359 h 1151883"/>
                <a:gd name="connsiteX2681" fmla="*/ 685407 w 922759"/>
                <a:gd name="connsiteY2681" fmla="*/ 853363 h 1151883"/>
                <a:gd name="connsiteX2682" fmla="*/ 683440 w 922759"/>
                <a:gd name="connsiteY2682" fmla="*/ 851881 h 1151883"/>
                <a:gd name="connsiteX2683" fmla="*/ 682291 w 922759"/>
                <a:gd name="connsiteY2683" fmla="*/ 849823 h 1151883"/>
                <a:gd name="connsiteX2684" fmla="*/ 681807 w 922759"/>
                <a:gd name="connsiteY2684" fmla="*/ 847524 h 1151883"/>
                <a:gd name="connsiteX2685" fmla="*/ 681504 w 922759"/>
                <a:gd name="connsiteY2685" fmla="*/ 842865 h 1151883"/>
                <a:gd name="connsiteX2686" fmla="*/ 681383 w 922759"/>
                <a:gd name="connsiteY2686" fmla="*/ 840476 h 1151883"/>
                <a:gd name="connsiteX2687" fmla="*/ 680627 w 922759"/>
                <a:gd name="connsiteY2687" fmla="*/ 839901 h 1151883"/>
                <a:gd name="connsiteX2688" fmla="*/ 679568 w 922759"/>
                <a:gd name="connsiteY2688" fmla="*/ 840052 h 1151883"/>
                <a:gd name="connsiteX2689" fmla="*/ 678449 w 922759"/>
                <a:gd name="connsiteY2689" fmla="*/ 839720 h 1151883"/>
                <a:gd name="connsiteX2690" fmla="*/ 677360 w 922759"/>
                <a:gd name="connsiteY2690" fmla="*/ 838661 h 1151883"/>
                <a:gd name="connsiteX2691" fmla="*/ 676573 w 922759"/>
                <a:gd name="connsiteY2691" fmla="*/ 837602 h 1151883"/>
                <a:gd name="connsiteX2692" fmla="*/ 675938 w 922759"/>
                <a:gd name="connsiteY2692" fmla="*/ 836331 h 1151883"/>
                <a:gd name="connsiteX2693" fmla="*/ 675303 w 922759"/>
                <a:gd name="connsiteY2693" fmla="*/ 834607 h 1151883"/>
                <a:gd name="connsiteX2694" fmla="*/ 674909 w 922759"/>
                <a:gd name="connsiteY2694" fmla="*/ 832943 h 1151883"/>
                <a:gd name="connsiteX2695" fmla="*/ 674425 w 922759"/>
                <a:gd name="connsiteY2695" fmla="*/ 829797 h 1151883"/>
                <a:gd name="connsiteX2696" fmla="*/ 673730 w 922759"/>
                <a:gd name="connsiteY2696" fmla="*/ 828254 h 1151883"/>
                <a:gd name="connsiteX2697" fmla="*/ 672671 w 922759"/>
                <a:gd name="connsiteY2697" fmla="*/ 827165 h 1151883"/>
                <a:gd name="connsiteX2698" fmla="*/ 670251 w 922759"/>
                <a:gd name="connsiteY2698" fmla="*/ 825955 h 1151883"/>
                <a:gd name="connsiteX2699" fmla="*/ 669222 w 922759"/>
                <a:gd name="connsiteY2699" fmla="*/ 824805 h 1151883"/>
                <a:gd name="connsiteX2700" fmla="*/ 669283 w 922759"/>
                <a:gd name="connsiteY2700" fmla="*/ 824473 h 1151883"/>
                <a:gd name="connsiteX2701" fmla="*/ 669767 w 922759"/>
                <a:gd name="connsiteY2701" fmla="*/ 823353 h 1151883"/>
                <a:gd name="connsiteX2702" fmla="*/ 668950 w 922759"/>
                <a:gd name="connsiteY2702" fmla="*/ 822990 h 1151883"/>
                <a:gd name="connsiteX2703" fmla="*/ 668708 w 922759"/>
                <a:gd name="connsiteY2703" fmla="*/ 822809 h 1151883"/>
                <a:gd name="connsiteX2704" fmla="*/ 669555 w 922759"/>
                <a:gd name="connsiteY2704" fmla="*/ 821054 h 1151883"/>
                <a:gd name="connsiteX2705" fmla="*/ 669494 w 922759"/>
                <a:gd name="connsiteY2705" fmla="*/ 819148 h 1151883"/>
                <a:gd name="connsiteX2706" fmla="*/ 668648 w 922759"/>
                <a:gd name="connsiteY2706" fmla="*/ 817636 h 1151883"/>
                <a:gd name="connsiteX2707" fmla="*/ 667256 w 922759"/>
                <a:gd name="connsiteY2707" fmla="*/ 816970 h 1151883"/>
                <a:gd name="connsiteX2708" fmla="*/ 663898 w 922759"/>
                <a:gd name="connsiteY2708" fmla="*/ 815488 h 1151883"/>
                <a:gd name="connsiteX2709" fmla="*/ 662355 w 922759"/>
                <a:gd name="connsiteY2709" fmla="*/ 814520 h 1151883"/>
                <a:gd name="connsiteX2710" fmla="*/ 660903 w 922759"/>
                <a:gd name="connsiteY2710" fmla="*/ 813310 h 1151883"/>
                <a:gd name="connsiteX2711" fmla="*/ 658816 w 922759"/>
                <a:gd name="connsiteY2711" fmla="*/ 810557 h 1151883"/>
                <a:gd name="connsiteX2712" fmla="*/ 657757 w 922759"/>
                <a:gd name="connsiteY2712" fmla="*/ 808742 h 1151883"/>
                <a:gd name="connsiteX2713" fmla="*/ 657273 w 922759"/>
                <a:gd name="connsiteY2713" fmla="*/ 807230 h 1151883"/>
                <a:gd name="connsiteX2714" fmla="*/ 658452 w 922759"/>
                <a:gd name="connsiteY2714" fmla="*/ 805081 h 1151883"/>
                <a:gd name="connsiteX2715" fmla="*/ 662597 w 922759"/>
                <a:gd name="connsiteY2715" fmla="*/ 803448 h 1151883"/>
                <a:gd name="connsiteX2716" fmla="*/ 664200 w 922759"/>
                <a:gd name="connsiteY2716" fmla="*/ 801966 h 1151883"/>
                <a:gd name="connsiteX2717" fmla="*/ 664533 w 922759"/>
                <a:gd name="connsiteY2717" fmla="*/ 799606 h 1151883"/>
                <a:gd name="connsiteX2718" fmla="*/ 664533 w 922759"/>
                <a:gd name="connsiteY2718" fmla="*/ 796611 h 1151883"/>
                <a:gd name="connsiteX2719" fmla="*/ 665199 w 922759"/>
                <a:gd name="connsiteY2719" fmla="*/ 794584 h 1151883"/>
                <a:gd name="connsiteX2720" fmla="*/ 667225 w 922759"/>
                <a:gd name="connsiteY2720" fmla="*/ 795159 h 1151883"/>
                <a:gd name="connsiteX2721" fmla="*/ 667982 w 922759"/>
                <a:gd name="connsiteY2721" fmla="*/ 792951 h 1151883"/>
                <a:gd name="connsiteX2722" fmla="*/ 670281 w 922759"/>
                <a:gd name="connsiteY2722" fmla="*/ 789018 h 1151883"/>
                <a:gd name="connsiteX2723" fmla="*/ 671098 w 922759"/>
                <a:gd name="connsiteY2723" fmla="*/ 786810 h 1151883"/>
                <a:gd name="connsiteX2724" fmla="*/ 671400 w 922759"/>
                <a:gd name="connsiteY2724" fmla="*/ 784027 h 1151883"/>
                <a:gd name="connsiteX2725" fmla="*/ 670765 w 922759"/>
                <a:gd name="connsiteY2725" fmla="*/ 782998 h 1151883"/>
                <a:gd name="connsiteX2726" fmla="*/ 669313 w 922759"/>
                <a:gd name="connsiteY2726" fmla="*/ 782484 h 1151883"/>
                <a:gd name="connsiteX2727" fmla="*/ 665199 w 922759"/>
                <a:gd name="connsiteY2727" fmla="*/ 780245 h 1151883"/>
                <a:gd name="connsiteX2728" fmla="*/ 665320 w 922759"/>
                <a:gd name="connsiteY2728" fmla="*/ 778702 h 1151883"/>
                <a:gd name="connsiteX2729" fmla="*/ 666015 w 922759"/>
                <a:gd name="connsiteY2729" fmla="*/ 776766 h 1151883"/>
                <a:gd name="connsiteX2730" fmla="*/ 665773 w 922759"/>
                <a:gd name="connsiteY2730" fmla="*/ 774679 h 1151883"/>
                <a:gd name="connsiteX2731" fmla="*/ 664080 w 922759"/>
                <a:gd name="connsiteY2731" fmla="*/ 773197 h 1151883"/>
                <a:gd name="connsiteX2732" fmla="*/ 660389 w 922759"/>
                <a:gd name="connsiteY2732" fmla="*/ 772834 h 1151883"/>
                <a:gd name="connsiteX2733" fmla="*/ 658846 w 922759"/>
                <a:gd name="connsiteY2733" fmla="*/ 771442 h 1151883"/>
                <a:gd name="connsiteX2734" fmla="*/ 658725 w 922759"/>
                <a:gd name="connsiteY2734" fmla="*/ 771442 h 1151883"/>
                <a:gd name="connsiteX2735" fmla="*/ 643508 w 922759"/>
                <a:gd name="connsiteY2735" fmla="*/ 763940 h 1151883"/>
                <a:gd name="connsiteX2736" fmla="*/ 643176 w 922759"/>
                <a:gd name="connsiteY2736" fmla="*/ 763032 h 1151883"/>
                <a:gd name="connsiteX2737" fmla="*/ 643176 w 922759"/>
                <a:gd name="connsiteY2737" fmla="*/ 761731 h 1151883"/>
                <a:gd name="connsiteX2738" fmla="*/ 642934 w 922759"/>
                <a:gd name="connsiteY2738" fmla="*/ 760249 h 1151883"/>
                <a:gd name="connsiteX2739" fmla="*/ 642026 w 922759"/>
                <a:gd name="connsiteY2739" fmla="*/ 758827 h 1151883"/>
                <a:gd name="connsiteX2740" fmla="*/ 640574 w 922759"/>
                <a:gd name="connsiteY2740" fmla="*/ 757647 h 1151883"/>
                <a:gd name="connsiteX2741" fmla="*/ 638971 w 922759"/>
                <a:gd name="connsiteY2741" fmla="*/ 756800 h 1151883"/>
                <a:gd name="connsiteX2742" fmla="*/ 637549 w 922759"/>
                <a:gd name="connsiteY2742" fmla="*/ 755590 h 1151883"/>
                <a:gd name="connsiteX2743" fmla="*/ 636672 w 922759"/>
                <a:gd name="connsiteY2743" fmla="*/ 753412 h 1151883"/>
                <a:gd name="connsiteX2744" fmla="*/ 636611 w 922759"/>
                <a:gd name="connsiteY2744" fmla="*/ 751264 h 1151883"/>
                <a:gd name="connsiteX2745" fmla="*/ 637307 w 922759"/>
                <a:gd name="connsiteY2745" fmla="*/ 747967 h 1151883"/>
                <a:gd name="connsiteX2746" fmla="*/ 637004 w 922759"/>
                <a:gd name="connsiteY2746" fmla="*/ 745789 h 1151883"/>
                <a:gd name="connsiteX2747" fmla="*/ 636248 w 922759"/>
                <a:gd name="connsiteY2747" fmla="*/ 744065 h 1151883"/>
                <a:gd name="connsiteX2748" fmla="*/ 635098 w 922759"/>
                <a:gd name="connsiteY2748" fmla="*/ 742461 h 1151883"/>
                <a:gd name="connsiteX2749" fmla="*/ 632618 w 922759"/>
                <a:gd name="connsiteY2749" fmla="*/ 739981 h 1151883"/>
                <a:gd name="connsiteX2750" fmla="*/ 627657 w 922759"/>
                <a:gd name="connsiteY2750" fmla="*/ 737107 h 1151883"/>
                <a:gd name="connsiteX2751" fmla="*/ 626598 w 922759"/>
                <a:gd name="connsiteY2751" fmla="*/ 735382 h 1151883"/>
                <a:gd name="connsiteX2752" fmla="*/ 627868 w 922759"/>
                <a:gd name="connsiteY2752" fmla="*/ 733658 h 1151883"/>
                <a:gd name="connsiteX2753" fmla="*/ 628897 w 922759"/>
                <a:gd name="connsiteY2753" fmla="*/ 733023 h 1151883"/>
                <a:gd name="connsiteX2754" fmla="*/ 629563 w 922759"/>
                <a:gd name="connsiteY2754" fmla="*/ 732327 h 1151883"/>
                <a:gd name="connsiteX2755" fmla="*/ 629744 w 922759"/>
                <a:gd name="connsiteY2755" fmla="*/ 730482 h 1151883"/>
                <a:gd name="connsiteX2756" fmla="*/ 629381 w 922759"/>
                <a:gd name="connsiteY2756" fmla="*/ 728424 h 1151883"/>
                <a:gd name="connsiteX2757" fmla="*/ 628564 w 922759"/>
                <a:gd name="connsiteY2757" fmla="*/ 727154 h 1151883"/>
                <a:gd name="connsiteX2758" fmla="*/ 626235 w 922759"/>
                <a:gd name="connsiteY2758" fmla="*/ 724915 h 1151883"/>
                <a:gd name="connsiteX2759" fmla="*/ 628776 w 922759"/>
                <a:gd name="connsiteY2759" fmla="*/ 725097 h 1151883"/>
                <a:gd name="connsiteX2760" fmla="*/ 633586 w 922759"/>
                <a:gd name="connsiteY2760" fmla="*/ 725430 h 1151883"/>
                <a:gd name="connsiteX2761" fmla="*/ 635522 w 922759"/>
                <a:gd name="connsiteY2761" fmla="*/ 726700 h 1151883"/>
                <a:gd name="connsiteX2762" fmla="*/ 636127 w 922759"/>
                <a:gd name="connsiteY2762" fmla="*/ 728031 h 1151883"/>
                <a:gd name="connsiteX2763" fmla="*/ 636127 w 922759"/>
                <a:gd name="connsiteY2763" fmla="*/ 730512 h 1151883"/>
                <a:gd name="connsiteX2764" fmla="*/ 636490 w 922759"/>
                <a:gd name="connsiteY2764" fmla="*/ 731631 h 1151883"/>
                <a:gd name="connsiteX2765" fmla="*/ 637640 w 922759"/>
                <a:gd name="connsiteY2765" fmla="*/ 732539 h 1151883"/>
                <a:gd name="connsiteX2766" fmla="*/ 639092 w 922759"/>
                <a:gd name="connsiteY2766" fmla="*/ 732962 h 1151883"/>
                <a:gd name="connsiteX2767" fmla="*/ 641996 w 922759"/>
                <a:gd name="connsiteY2767" fmla="*/ 733023 h 1151883"/>
                <a:gd name="connsiteX2768" fmla="*/ 642692 w 922759"/>
                <a:gd name="connsiteY2768" fmla="*/ 733386 h 1151883"/>
                <a:gd name="connsiteX2769" fmla="*/ 643024 w 922759"/>
                <a:gd name="connsiteY2769" fmla="*/ 733900 h 1151883"/>
                <a:gd name="connsiteX2770" fmla="*/ 642964 w 922759"/>
                <a:gd name="connsiteY2770" fmla="*/ 734566 h 1151883"/>
                <a:gd name="connsiteX2771" fmla="*/ 642541 w 922759"/>
                <a:gd name="connsiteY2771" fmla="*/ 735382 h 1151883"/>
                <a:gd name="connsiteX2772" fmla="*/ 642389 w 922759"/>
                <a:gd name="connsiteY2772" fmla="*/ 735382 h 1151883"/>
                <a:gd name="connsiteX2773" fmla="*/ 642238 w 922759"/>
                <a:gd name="connsiteY2773" fmla="*/ 735443 h 1151883"/>
                <a:gd name="connsiteX2774" fmla="*/ 642117 w 922759"/>
                <a:gd name="connsiteY2774" fmla="*/ 735533 h 1151883"/>
                <a:gd name="connsiteX2775" fmla="*/ 641996 w 922759"/>
                <a:gd name="connsiteY2775" fmla="*/ 735624 h 1151883"/>
                <a:gd name="connsiteX2776" fmla="*/ 641724 w 922759"/>
                <a:gd name="connsiteY2776" fmla="*/ 735896 h 1151883"/>
                <a:gd name="connsiteX2777" fmla="*/ 641633 w 922759"/>
                <a:gd name="connsiteY2777" fmla="*/ 736169 h 1151883"/>
                <a:gd name="connsiteX2778" fmla="*/ 641724 w 922759"/>
                <a:gd name="connsiteY2778" fmla="*/ 736502 h 1151883"/>
                <a:gd name="connsiteX2779" fmla="*/ 641996 w 922759"/>
                <a:gd name="connsiteY2779" fmla="*/ 736834 h 1151883"/>
                <a:gd name="connsiteX2780" fmla="*/ 643750 w 922759"/>
                <a:gd name="connsiteY2780" fmla="*/ 738468 h 1151883"/>
                <a:gd name="connsiteX2781" fmla="*/ 644204 w 922759"/>
                <a:gd name="connsiteY2781" fmla="*/ 739012 h 1151883"/>
                <a:gd name="connsiteX2782" fmla="*/ 644597 w 922759"/>
                <a:gd name="connsiteY2782" fmla="*/ 739950 h 1151883"/>
                <a:gd name="connsiteX2783" fmla="*/ 644779 w 922759"/>
                <a:gd name="connsiteY2783" fmla="*/ 740797 h 1151883"/>
                <a:gd name="connsiteX2784" fmla="*/ 644900 w 922759"/>
                <a:gd name="connsiteY2784" fmla="*/ 741553 h 1151883"/>
                <a:gd name="connsiteX2785" fmla="*/ 646110 w 922759"/>
                <a:gd name="connsiteY2785" fmla="*/ 745547 h 1151883"/>
                <a:gd name="connsiteX2786" fmla="*/ 647138 w 922759"/>
                <a:gd name="connsiteY2786" fmla="*/ 746999 h 1151883"/>
                <a:gd name="connsiteX2787" fmla="*/ 648863 w 922759"/>
                <a:gd name="connsiteY2787" fmla="*/ 747210 h 1151883"/>
                <a:gd name="connsiteX2788" fmla="*/ 650285 w 922759"/>
                <a:gd name="connsiteY2788" fmla="*/ 746273 h 1151883"/>
                <a:gd name="connsiteX2789" fmla="*/ 650285 w 922759"/>
                <a:gd name="connsiteY2789" fmla="*/ 745002 h 1151883"/>
                <a:gd name="connsiteX2790" fmla="*/ 649710 w 922759"/>
                <a:gd name="connsiteY2790" fmla="*/ 743459 h 1151883"/>
                <a:gd name="connsiteX2791" fmla="*/ 649407 w 922759"/>
                <a:gd name="connsiteY2791" fmla="*/ 741675 h 1151883"/>
                <a:gd name="connsiteX2792" fmla="*/ 649710 w 922759"/>
                <a:gd name="connsiteY2792" fmla="*/ 739103 h 1151883"/>
                <a:gd name="connsiteX2793" fmla="*/ 650254 w 922759"/>
                <a:gd name="connsiteY2793" fmla="*/ 737742 h 1151883"/>
                <a:gd name="connsiteX2794" fmla="*/ 652221 w 922759"/>
                <a:gd name="connsiteY2794" fmla="*/ 735382 h 1151883"/>
                <a:gd name="connsiteX2795" fmla="*/ 652523 w 922759"/>
                <a:gd name="connsiteY2795" fmla="*/ 733083 h 1151883"/>
                <a:gd name="connsiteX2796" fmla="*/ 653340 w 922759"/>
                <a:gd name="connsiteY2796" fmla="*/ 731964 h 1151883"/>
                <a:gd name="connsiteX2797" fmla="*/ 654459 w 922759"/>
                <a:gd name="connsiteY2797" fmla="*/ 731238 h 1151883"/>
                <a:gd name="connsiteX2798" fmla="*/ 655609 w 922759"/>
                <a:gd name="connsiteY2798" fmla="*/ 730119 h 1151883"/>
                <a:gd name="connsiteX2799" fmla="*/ 658725 w 922759"/>
                <a:gd name="connsiteY2799" fmla="*/ 724915 h 1151883"/>
                <a:gd name="connsiteX2800" fmla="*/ 659814 w 922759"/>
                <a:gd name="connsiteY2800" fmla="*/ 723947 h 1151883"/>
                <a:gd name="connsiteX2801" fmla="*/ 662779 w 922759"/>
                <a:gd name="connsiteY2801" fmla="*/ 722435 h 1151883"/>
                <a:gd name="connsiteX2802" fmla="*/ 663958 w 922759"/>
                <a:gd name="connsiteY2802" fmla="*/ 721437 h 1151883"/>
                <a:gd name="connsiteX2803" fmla="*/ 664321 w 922759"/>
                <a:gd name="connsiteY2803" fmla="*/ 721255 h 1151883"/>
                <a:gd name="connsiteX2804" fmla="*/ 665229 w 922759"/>
                <a:gd name="connsiteY2804" fmla="*/ 721255 h 1151883"/>
                <a:gd name="connsiteX2805" fmla="*/ 665622 w 922759"/>
                <a:gd name="connsiteY2805" fmla="*/ 721074 h 1151883"/>
                <a:gd name="connsiteX2806" fmla="*/ 665834 w 922759"/>
                <a:gd name="connsiteY2806" fmla="*/ 720529 h 1151883"/>
                <a:gd name="connsiteX2807" fmla="*/ 665773 w 922759"/>
                <a:gd name="connsiteY2807" fmla="*/ 719954 h 1151883"/>
                <a:gd name="connsiteX2808" fmla="*/ 665652 w 922759"/>
                <a:gd name="connsiteY2808" fmla="*/ 719470 h 1151883"/>
                <a:gd name="connsiteX2809" fmla="*/ 665652 w 922759"/>
                <a:gd name="connsiteY2809" fmla="*/ 719168 h 1151883"/>
                <a:gd name="connsiteX2810" fmla="*/ 665895 w 922759"/>
                <a:gd name="connsiteY2810" fmla="*/ 718532 h 1151883"/>
                <a:gd name="connsiteX2811" fmla="*/ 666106 w 922759"/>
                <a:gd name="connsiteY2811" fmla="*/ 717776 h 1151883"/>
                <a:gd name="connsiteX2812" fmla="*/ 666469 w 922759"/>
                <a:gd name="connsiteY2812" fmla="*/ 717050 h 1151883"/>
                <a:gd name="connsiteX2813" fmla="*/ 667225 w 922759"/>
                <a:gd name="connsiteY2813" fmla="*/ 716475 h 1151883"/>
                <a:gd name="connsiteX2814" fmla="*/ 670009 w 922759"/>
                <a:gd name="connsiteY2814" fmla="*/ 714267 h 1151883"/>
                <a:gd name="connsiteX2815" fmla="*/ 674062 w 922759"/>
                <a:gd name="connsiteY2815" fmla="*/ 713178 h 1151883"/>
                <a:gd name="connsiteX2816" fmla="*/ 681595 w 922759"/>
                <a:gd name="connsiteY2816" fmla="*/ 712664 h 1151883"/>
                <a:gd name="connsiteX2817" fmla="*/ 686980 w 922759"/>
                <a:gd name="connsiteY2817" fmla="*/ 713571 h 1151883"/>
                <a:gd name="connsiteX2818" fmla="*/ 688281 w 922759"/>
                <a:gd name="connsiteY2818" fmla="*/ 713450 h 1151883"/>
                <a:gd name="connsiteX2819" fmla="*/ 689400 w 922759"/>
                <a:gd name="connsiteY2819" fmla="*/ 712452 h 1151883"/>
                <a:gd name="connsiteX2820" fmla="*/ 691639 w 922759"/>
                <a:gd name="connsiteY2820" fmla="*/ 709275 h 1151883"/>
                <a:gd name="connsiteX2821" fmla="*/ 692909 w 922759"/>
                <a:gd name="connsiteY2821" fmla="*/ 708096 h 1151883"/>
                <a:gd name="connsiteX2822" fmla="*/ 694543 w 922759"/>
                <a:gd name="connsiteY2822" fmla="*/ 707551 h 1151883"/>
                <a:gd name="connsiteX2823" fmla="*/ 696176 w 922759"/>
                <a:gd name="connsiteY2823" fmla="*/ 707460 h 1151883"/>
                <a:gd name="connsiteX2824" fmla="*/ 697961 w 922759"/>
                <a:gd name="connsiteY2824" fmla="*/ 707702 h 1151883"/>
                <a:gd name="connsiteX2825" fmla="*/ 698566 w 922759"/>
                <a:gd name="connsiteY2825" fmla="*/ 707490 h 1151883"/>
                <a:gd name="connsiteX2826" fmla="*/ 699988 w 922759"/>
                <a:gd name="connsiteY2826" fmla="*/ 706613 h 1151883"/>
                <a:gd name="connsiteX2827" fmla="*/ 700895 w 922759"/>
                <a:gd name="connsiteY2827" fmla="*/ 706432 h 1151883"/>
                <a:gd name="connsiteX2828" fmla="*/ 701742 w 922759"/>
                <a:gd name="connsiteY2828" fmla="*/ 706674 h 1151883"/>
                <a:gd name="connsiteX2829" fmla="*/ 711090 w 922759"/>
                <a:gd name="connsiteY2829" fmla="*/ 711907 h 1151883"/>
                <a:gd name="connsiteX2830" fmla="*/ 714508 w 922759"/>
                <a:gd name="connsiteY2830" fmla="*/ 712089 h 1151883"/>
                <a:gd name="connsiteX2831" fmla="*/ 715325 w 922759"/>
                <a:gd name="connsiteY2831" fmla="*/ 711363 h 1151883"/>
                <a:gd name="connsiteX2832" fmla="*/ 717503 w 922759"/>
                <a:gd name="connsiteY2832" fmla="*/ 709366 h 1151883"/>
                <a:gd name="connsiteX2833" fmla="*/ 718925 w 922759"/>
                <a:gd name="connsiteY2833" fmla="*/ 707823 h 1151883"/>
                <a:gd name="connsiteX2834" fmla="*/ 719561 w 922759"/>
                <a:gd name="connsiteY2834" fmla="*/ 705192 h 1151883"/>
                <a:gd name="connsiteX2835" fmla="*/ 720196 w 922759"/>
                <a:gd name="connsiteY2835" fmla="*/ 699262 h 1151883"/>
                <a:gd name="connsiteX2836" fmla="*/ 721043 w 922759"/>
                <a:gd name="connsiteY2836" fmla="*/ 698748 h 1151883"/>
                <a:gd name="connsiteX2837" fmla="*/ 721890 w 922759"/>
                <a:gd name="connsiteY2837" fmla="*/ 698566 h 1151883"/>
                <a:gd name="connsiteX2838" fmla="*/ 722707 w 922759"/>
                <a:gd name="connsiteY2838" fmla="*/ 698748 h 1151883"/>
                <a:gd name="connsiteX2839" fmla="*/ 723493 w 922759"/>
                <a:gd name="connsiteY2839" fmla="*/ 699262 h 1151883"/>
                <a:gd name="connsiteX2840" fmla="*/ 724370 w 922759"/>
                <a:gd name="connsiteY2840" fmla="*/ 699504 h 1151883"/>
                <a:gd name="connsiteX2841" fmla="*/ 725308 w 922759"/>
                <a:gd name="connsiteY2841" fmla="*/ 699564 h 1151883"/>
                <a:gd name="connsiteX2842" fmla="*/ 726246 w 922759"/>
                <a:gd name="connsiteY2842" fmla="*/ 699504 h 1151883"/>
                <a:gd name="connsiteX2843" fmla="*/ 727154 w 922759"/>
                <a:gd name="connsiteY2843" fmla="*/ 699262 h 1151883"/>
                <a:gd name="connsiteX2844" fmla="*/ 727154 w 922759"/>
                <a:gd name="connsiteY2844" fmla="*/ 699262 h 1151883"/>
                <a:gd name="connsiteX2845" fmla="*/ 729997 w 922759"/>
                <a:gd name="connsiteY2845" fmla="*/ 698355 h 1151883"/>
                <a:gd name="connsiteX2846" fmla="*/ 735291 w 922759"/>
                <a:gd name="connsiteY2846" fmla="*/ 698657 h 1151883"/>
                <a:gd name="connsiteX2847" fmla="*/ 737772 w 922759"/>
                <a:gd name="connsiteY2847" fmla="*/ 696963 h 1151883"/>
                <a:gd name="connsiteX2848" fmla="*/ 739224 w 922759"/>
                <a:gd name="connsiteY2848" fmla="*/ 694543 h 1151883"/>
                <a:gd name="connsiteX2849" fmla="*/ 742582 w 922759"/>
                <a:gd name="connsiteY2849" fmla="*/ 686284 h 1151883"/>
                <a:gd name="connsiteX2850" fmla="*/ 744518 w 922759"/>
                <a:gd name="connsiteY2850" fmla="*/ 686435 h 1151883"/>
                <a:gd name="connsiteX2851" fmla="*/ 746152 w 922759"/>
                <a:gd name="connsiteY2851" fmla="*/ 687494 h 1151883"/>
                <a:gd name="connsiteX2852" fmla="*/ 747815 w 922759"/>
                <a:gd name="connsiteY2852" fmla="*/ 688160 h 1151883"/>
                <a:gd name="connsiteX2853" fmla="*/ 749933 w 922759"/>
                <a:gd name="connsiteY2853" fmla="*/ 687161 h 1151883"/>
                <a:gd name="connsiteX2854" fmla="*/ 750992 w 922759"/>
                <a:gd name="connsiteY2854" fmla="*/ 684227 h 1151883"/>
                <a:gd name="connsiteX2855" fmla="*/ 751566 w 922759"/>
                <a:gd name="connsiteY2855" fmla="*/ 683289 h 1151883"/>
                <a:gd name="connsiteX2856" fmla="*/ 755348 w 922759"/>
                <a:gd name="connsiteY2856" fmla="*/ 680839 h 1151883"/>
                <a:gd name="connsiteX2857" fmla="*/ 755953 w 922759"/>
                <a:gd name="connsiteY2857" fmla="*/ 680234 h 1151883"/>
                <a:gd name="connsiteX2858" fmla="*/ 756013 w 922759"/>
                <a:gd name="connsiteY2858" fmla="*/ 679720 h 1151883"/>
                <a:gd name="connsiteX2859" fmla="*/ 756286 w 922759"/>
                <a:gd name="connsiteY2859" fmla="*/ 679538 h 1151883"/>
                <a:gd name="connsiteX2860" fmla="*/ 757496 w 922759"/>
                <a:gd name="connsiteY2860" fmla="*/ 679962 h 1151883"/>
                <a:gd name="connsiteX2861" fmla="*/ 758040 w 922759"/>
                <a:gd name="connsiteY2861" fmla="*/ 680537 h 1151883"/>
                <a:gd name="connsiteX2862" fmla="*/ 759462 w 922759"/>
                <a:gd name="connsiteY2862" fmla="*/ 682745 h 1151883"/>
                <a:gd name="connsiteX2863" fmla="*/ 760128 w 922759"/>
                <a:gd name="connsiteY2863" fmla="*/ 683501 h 1151883"/>
                <a:gd name="connsiteX2864" fmla="*/ 762366 w 922759"/>
                <a:gd name="connsiteY2864" fmla="*/ 684499 h 1151883"/>
                <a:gd name="connsiteX2865" fmla="*/ 764242 w 922759"/>
                <a:gd name="connsiteY2865" fmla="*/ 684076 h 1151883"/>
                <a:gd name="connsiteX2866" fmla="*/ 765966 w 922759"/>
                <a:gd name="connsiteY2866" fmla="*/ 682624 h 1151883"/>
                <a:gd name="connsiteX2867" fmla="*/ 767721 w 922759"/>
                <a:gd name="connsiteY2867" fmla="*/ 680627 h 1151883"/>
                <a:gd name="connsiteX2868" fmla="*/ 768719 w 922759"/>
                <a:gd name="connsiteY2868" fmla="*/ 680113 h 1151883"/>
                <a:gd name="connsiteX2869" fmla="*/ 769324 w 922759"/>
                <a:gd name="connsiteY2869" fmla="*/ 679417 h 1151883"/>
                <a:gd name="connsiteX2870" fmla="*/ 769415 w 922759"/>
                <a:gd name="connsiteY2870" fmla="*/ 678540 h 1151883"/>
                <a:gd name="connsiteX2871" fmla="*/ 768840 w 922759"/>
                <a:gd name="connsiteY2871" fmla="*/ 677390 h 1151883"/>
                <a:gd name="connsiteX2872" fmla="*/ 770504 w 922759"/>
                <a:gd name="connsiteY2872" fmla="*/ 676241 h 1151883"/>
                <a:gd name="connsiteX2873" fmla="*/ 771865 w 922759"/>
                <a:gd name="connsiteY2873" fmla="*/ 674637 h 1151883"/>
                <a:gd name="connsiteX2874" fmla="*/ 772259 w 922759"/>
                <a:gd name="connsiteY2874" fmla="*/ 672671 h 1151883"/>
                <a:gd name="connsiteX2875" fmla="*/ 771109 w 922759"/>
                <a:gd name="connsiteY2875" fmla="*/ 670432 h 1151883"/>
                <a:gd name="connsiteX2876" fmla="*/ 775223 w 922759"/>
                <a:gd name="connsiteY2876" fmla="*/ 668134 h 1151883"/>
                <a:gd name="connsiteX2877" fmla="*/ 779791 w 922759"/>
                <a:gd name="connsiteY2877" fmla="*/ 667347 h 1151883"/>
                <a:gd name="connsiteX2878" fmla="*/ 788836 w 922759"/>
                <a:gd name="connsiteY2878" fmla="*/ 667407 h 1151883"/>
                <a:gd name="connsiteX2879" fmla="*/ 790773 w 922759"/>
                <a:gd name="connsiteY2879" fmla="*/ 667044 h 1151883"/>
                <a:gd name="connsiteX2880" fmla="*/ 794614 w 922759"/>
                <a:gd name="connsiteY2880" fmla="*/ 665744 h 1151883"/>
                <a:gd name="connsiteX2881" fmla="*/ 796793 w 922759"/>
                <a:gd name="connsiteY2881" fmla="*/ 665532 h 1151883"/>
                <a:gd name="connsiteX2882" fmla="*/ 801421 w 922759"/>
                <a:gd name="connsiteY2882" fmla="*/ 666016 h 1151883"/>
                <a:gd name="connsiteX2883" fmla="*/ 803236 w 922759"/>
                <a:gd name="connsiteY2883" fmla="*/ 665683 h 1151883"/>
                <a:gd name="connsiteX2884" fmla="*/ 806140 w 922759"/>
                <a:gd name="connsiteY2884" fmla="*/ 664019 h 1151883"/>
                <a:gd name="connsiteX2885" fmla="*/ 806745 w 922759"/>
                <a:gd name="connsiteY2885" fmla="*/ 664019 h 1151883"/>
                <a:gd name="connsiteX2886" fmla="*/ 807320 w 922759"/>
                <a:gd name="connsiteY2886" fmla="*/ 663838 h 1151883"/>
                <a:gd name="connsiteX2887" fmla="*/ 808016 w 922759"/>
                <a:gd name="connsiteY2887" fmla="*/ 662930 h 1151883"/>
                <a:gd name="connsiteX2888" fmla="*/ 808016 w 922759"/>
                <a:gd name="connsiteY2888" fmla="*/ 662143 h 1151883"/>
                <a:gd name="connsiteX2889" fmla="*/ 807834 w 922759"/>
                <a:gd name="connsiteY2889" fmla="*/ 661115 h 1151883"/>
                <a:gd name="connsiteX2890" fmla="*/ 807713 w 922759"/>
                <a:gd name="connsiteY2890" fmla="*/ 659875 h 1151883"/>
                <a:gd name="connsiteX2891" fmla="*/ 808137 w 922759"/>
                <a:gd name="connsiteY2891" fmla="*/ 658453 h 1151883"/>
                <a:gd name="connsiteX2892" fmla="*/ 809044 w 922759"/>
                <a:gd name="connsiteY2892" fmla="*/ 657394 h 1151883"/>
                <a:gd name="connsiteX2893" fmla="*/ 809891 w 922759"/>
                <a:gd name="connsiteY2893" fmla="*/ 657394 h 1151883"/>
                <a:gd name="connsiteX2894" fmla="*/ 810859 w 922759"/>
                <a:gd name="connsiteY2894" fmla="*/ 657636 h 1151883"/>
                <a:gd name="connsiteX2895" fmla="*/ 812130 w 922759"/>
                <a:gd name="connsiteY2895" fmla="*/ 657455 h 1151883"/>
                <a:gd name="connsiteX2896" fmla="*/ 813158 w 922759"/>
                <a:gd name="connsiteY2896" fmla="*/ 656759 h 1151883"/>
                <a:gd name="connsiteX2897" fmla="*/ 814701 w 922759"/>
                <a:gd name="connsiteY2897" fmla="*/ 654944 h 1151883"/>
                <a:gd name="connsiteX2898" fmla="*/ 815790 w 922759"/>
                <a:gd name="connsiteY2898" fmla="*/ 654218 h 1151883"/>
                <a:gd name="connsiteX2899" fmla="*/ 817757 w 922759"/>
                <a:gd name="connsiteY2899" fmla="*/ 653824 h 1151883"/>
                <a:gd name="connsiteX2900" fmla="*/ 821417 w 922759"/>
                <a:gd name="connsiteY2900" fmla="*/ 654278 h 1151883"/>
                <a:gd name="connsiteX2901" fmla="*/ 823353 w 922759"/>
                <a:gd name="connsiteY2901" fmla="*/ 654157 h 1151883"/>
                <a:gd name="connsiteX2902" fmla="*/ 839023 w 922759"/>
                <a:gd name="connsiteY2902" fmla="*/ 647532 h 1151883"/>
                <a:gd name="connsiteX2903" fmla="*/ 840234 w 922759"/>
                <a:gd name="connsiteY2903" fmla="*/ 646473 h 1151883"/>
                <a:gd name="connsiteX2904" fmla="*/ 842079 w 922759"/>
                <a:gd name="connsiteY2904" fmla="*/ 643932 h 1151883"/>
                <a:gd name="connsiteX2905" fmla="*/ 843168 w 922759"/>
                <a:gd name="connsiteY2905" fmla="*/ 642934 h 1151883"/>
                <a:gd name="connsiteX2906" fmla="*/ 846768 w 922759"/>
                <a:gd name="connsiteY2906" fmla="*/ 642238 h 1151883"/>
                <a:gd name="connsiteX2907" fmla="*/ 854664 w 922759"/>
                <a:gd name="connsiteY2907" fmla="*/ 642813 h 1151883"/>
                <a:gd name="connsiteX2908" fmla="*/ 857598 w 922759"/>
                <a:gd name="connsiteY2908" fmla="*/ 640484 h 1151883"/>
                <a:gd name="connsiteX2909" fmla="*/ 858203 w 922759"/>
                <a:gd name="connsiteY2909" fmla="*/ 636823 h 1151883"/>
                <a:gd name="connsiteX2910" fmla="*/ 855510 w 922759"/>
                <a:gd name="connsiteY2910" fmla="*/ 635401 h 1151883"/>
                <a:gd name="connsiteX2911" fmla="*/ 851820 w 922759"/>
                <a:gd name="connsiteY2911" fmla="*/ 634373 h 1151883"/>
                <a:gd name="connsiteX2912" fmla="*/ 849248 w 922759"/>
                <a:gd name="connsiteY2912" fmla="*/ 632043 h 1151883"/>
                <a:gd name="connsiteX2913" fmla="*/ 849339 w 922759"/>
                <a:gd name="connsiteY2913" fmla="*/ 630501 h 1151883"/>
                <a:gd name="connsiteX2914" fmla="*/ 850186 w 922759"/>
                <a:gd name="connsiteY2914" fmla="*/ 629956 h 1151883"/>
                <a:gd name="connsiteX2915" fmla="*/ 850337 w 922759"/>
                <a:gd name="connsiteY2915" fmla="*/ 629653 h 1151883"/>
                <a:gd name="connsiteX2916" fmla="*/ 848341 w 922759"/>
                <a:gd name="connsiteY2916" fmla="*/ 628897 h 1151883"/>
                <a:gd name="connsiteX2917" fmla="*/ 844953 w 922759"/>
                <a:gd name="connsiteY2917" fmla="*/ 628504 h 1151883"/>
                <a:gd name="connsiteX2918" fmla="*/ 843773 w 922759"/>
                <a:gd name="connsiteY2918" fmla="*/ 627778 h 1151883"/>
                <a:gd name="connsiteX2919" fmla="*/ 844892 w 922759"/>
                <a:gd name="connsiteY2919" fmla="*/ 626296 h 1151883"/>
                <a:gd name="connsiteX2920" fmla="*/ 846314 w 922759"/>
                <a:gd name="connsiteY2920" fmla="*/ 622060 h 1151883"/>
                <a:gd name="connsiteX2921" fmla="*/ 848734 w 922759"/>
                <a:gd name="connsiteY2921" fmla="*/ 619791 h 1151883"/>
                <a:gd name="connsiteX2922" fmla="*/ 851941 w 922759"/>
                <a:gd name="connsiteY2922" fmla="*/ 619338 h 1151883"/>
                <a:gd name="connsiteX2923" fmla="*/ 855692 w 922759"/>
                <a:gd name="connsiteY2923" fmla="*/ 620457 h 1151883"/>
                <a:gd name="connsiteX2924" fmla="*/ 856448 w 922759"/>
                <a:gd name="connsiteY2924" fmla="*/ 621092 h 1151883"/>
                <a:gd name="connsiteX2925" fmla="*/ 856963 w 922759"/>
                <a:gd name="connsiteY2925" fmla="*/ 621909 h 1151883"/>
                <a:gd name="connsiteX2926" fmla="*/ 857628 w 922759"/>
                <a:gd name="connsiteY2926" fmla="*/ 622696 h 1151883"/>
                <a:gd name="connsiteX2927" fmla="*/ 858717 w 922759"/>
                <a:gd name="connsiteY2927" fmla="*/ 623240 h 1151883"/>
                <a:gd name="connsiteX2928" fmla="*/ 859836 w 922759"/>
                <a:gd name="connsiteY2928" fmla="*/ 623240 h 1151883"/>
                <a:gd name="connsiteX2929" fmla="*/ 862650 w 922759"/>
                <a:gd name="connsiteY2929" fmla="*/ 622121 h 1151883"/>
                <a:gd name="connsiteX2930" fmla="*/ 866310 w 922759"/>
                <a:gd name="connsiteY2930" fmla="*/ 622303 h 1151883"/>
                <a:gd name="connsiteX2931" fmla="*/ 867460 w 922759"/>
                <a:gd name="connsiteY2931" fmla="*/ 621758 h 1151883"/>
                <a:gd name="connsiteX2932" fmla="*/ 868337 w 922759"/>
                <a:gd name="connsiteY2932" fmla="*/ 619731 h 1151883"/>
                <a:gd name="connsiteX2933" fmla="*/ 868912 w 922759"/>
                <a:gd name="connsiteY2933" fmla="*/ 620971 h 1151883"/>
                <a:gd name="connsiteX2934" fmla="*/ 869154 w 922759"/>
                <a:gd name="connsiteY2934" fmla="*/ 621879 h 1151883"/>
                <a:gd name="connsiteX2935" fmla="*/ 869486 w 922759"/>
                <a:gd name="connsiteY2935" fmla="*/ 622756 h 1151883"/>
                <a:gd name="connsiteX2936" fmla="*/ 870424 w 922759"/>
                <a:gd name="connsiteY2936" fmla="*/ 623966 h 1151883"/>
                <a:gd name="connsiteX2937" fmla="*/ 871665 w 922759"/>
                <a:gd name="connsiteY2937" fmla="*/ 624783 h 1151883"/>
                <a:gd name="connsiteX2938" fmla="*/ 874387 w 922759"/>
                <a:gd name="connsiteY2938" fmla="*/ 625419 h 1151883"/>
                <a:gd name="connsiteX2939" fmla="*/ 875628 w 922759"/>
                <a:gd name="connsiteY2939" fmla="*/ 626326 h 1151883"/>
                <a:gd name="connsiteX2940" fmla="*/ 876838 w 922759"/>
                <a:gd name="connsiteY2940" fmla="*/ 627687 h 1151883"/>
                <a:gd name="connsiteX2941" fmla="*/ 877594 w 922759"/>
                <a:gd name="connsiteY2941" fmla="*/ 628837 h 1151883"/>
                <a:gd name="connsiteX2942" fmla="*/ 877896 w 922759"/>
                <a:gd name="connsiteY2942" fmla="*/ 630259 h 1151883"/>
                <a:gd name="connsiteX2943" fmla="*/ 877715 w 922759"/>
                <a:gd name="connsiteY2943" fmla="*/ 632467 h 1151883"/>
                <a:gd name="connsiteX2944" fmla="*/ 876929 w 922759"/>
                <a:gd name="connsiteY2944" fmla="*/ 634252 h 1151883"/>
                <a:gd name="connsiteX2945" fmla="*/ 875718 w 922759"/>
                <a:gd name="connsiteY2945" fmla="*/ 636370 h 1151883"/>
                <a:gd name="connsiteX2946" fmla="*/ 875174 w 922759"/>
                <a:gd name="connsiteY2946" fmla="*/ 638154 h 1151883"/>
                <a:gd name="connsiteX2947" fmla="*/ 876323 w 922759"/>
                <a:gd name="connsiteY2947" fmla="*/ 638971 h 1151883"/>
                <a:gd name="connsiteX2948" fmla="*/ 881890 w 922759"/>
                <a:gd name="connsiteY2948" fmla="*/ 636853 h 1151883"/>
                <a:gd name="connsiteX2949" fmla="*/ 883100 w 922759"/>
                <a:gd name="connsiteY2949" fmla="*/ 636853 h 1151883"/>
                <a:gd name="connsiteX2950" fmla="*/ 883644 w 922759"/>
                <a:gd name="connsiteY2950" fmla="*/ 638548 h 1151883"/>
                <a:gd name="connsiteX2951" fmla="*/ 883069 w 922759"/>
                <a:gd name="connsiteY2951" fmla="*/ 640484 h 1151883"/>
                <a:gd name="connsiteX2952" fmla="*/ 881375 w 922759"/>
                <a:gd name="connsiteY2952" fmla="*/ 644174 h 1151883"/>
                <a:gd name="connsiteX2953" fmla="*/ 881012 w 922759"/>
                <a:gd name="connsiteY2953" fmla="*/ 646806 h 1151883"/>
                <a:gd name="connsiteX2954" fmla="*/ 881497 w 922759"/>
                <a:gd name="connsiteY2954" fmla="*/ 647895 h 1151883"/>
                <a:gd name="connsiteX2955" fmla="*/ 885005 w 922759"/>
                <a:gd name="connsiteY2955" fmla="*/ 648803 h 1151883"/>
                <a:gd name="connsiteX2956" fmla="*/ 886458 w 922759"/>
                <a:gd name="connsiteY2956" fmla="*/ 649559 h 1151883"/>
                <a:gd name="connsiteX2957" fmla="*/ 890299 w 922759"/>
                <a:gd name="connsiteY2957" fmla="*/ 652252 h 1151883"/>
                <a:gd name="connsiteX2958" fmla="*/ 894051 w 922759"/>
                <a:gd name="connsiteY2958" fmla="*/ 653008 h 1151883"/>
                <a:gd name="connsiteX2959" fmla="*/ 896229 w 922759"/>
                <a:gd name="connsiteY2959" fmla="*/ 653098 h 1151883"/>
                <a:gd name="connsiteX2960" fmla="*/ 897862 w 922759"/>
                <a:gd name="connsiteY2960" fmla="*/ 652675 h 1151883"/>
                <a:gd name="connsiteX2961" fmla="*/ 898831 w 922759"/>
                <a:gd name="connsiteY2961" fmla="*/ 651646 h 1151883"/>
                <a:gd name="connsiteX2962" fmla="*/ 899798 w 922759"/>
                <a:gd name="connsiteY2962" fmla="*/ 649952 h 1151883"/>
                <a:gd name="connsiteX2963" fmla="*/ 901402 w 922759"/>
                <a:gd name="connsiteY2963" fmla="*/ 646020 h 1151883"/>
                <a:gd name="connsiteX2964" fmla="*/ 901402 w 922759"/>
                <a:gd name="connsiteY2964" fmla="*/ 643297 h 1151883"/>
                <a:gd name="connsiteX2965" fmla="*/ 902854 w 922759"/>
                <a:gd name="connsiteY2965" fmla="*/ 641119 h 1151883"/>
                <a:gd name="connsiteX2966" fmla="*/ 906424 w 922759"/>
                <a:gd name="connsiteY2966" fmla="*/ 637459 h 1151883"/>
                <a:gd name="connsiteX2967" fmla="*/ 911506 w 922759"/>
                <a:gd name="connsiteY2967" fmla="*/ 626356 h 1151883"/>
                <a:gd name="connsiteX2968" fmla="*/ 916013 w 922759"/>
                <a:gd name="connsiteY2968" fmla="*/ 615859 h 1151883"/>
                <a:gd name="connsiteX2969" fmla="*/ 916316 w 922759"/>
                <a:gd name="connsiteY2969" fmla="*/ 614165 h 1151883"/>
                <a:gd name="connsiteX2970" fmla="*/ 916316 w 922759"/>
                <a:gd name="connsiteY2970" fmla="*/ 611352 h 1151883"/>
                <a:gd name="connsiteX2971" fmla="*/ 916528 w 922759"/>
                <a:gd name="connsiteY2971" fmla="*/ 609900 h 1151883"/>
                <a:gd name="connsiteX2972" fmla="*/ 917072 w 922759"/>
                <a:gd name="connsiteY2972" fmla="*/ 608901 h 1151883"/>
                <a:gd name="connsiteX2973" fmla="*/ 917858 w 922759"/>
                <a:gd name="connsiteY2973" fmla="*/ 608205 h 1151883"/>
                <a:gd name="connsiteX2974" fmla="*/ 918524 w 922759"/>
                <a:gd name="connsiteY2974" fmla="*/ 607237 h 1151883"/>
                <a:gd name="connsiteX2975" fmla="*/ 918736 w 922759"/>
                <a:gd name="connsiteY2975" fmla="*/ 605362 h 1151883"/>
                <a:gd name="connsiteX2976" fmla="*/ 918857 w 922759"/>
                <a:gd name="connsiteY2976" fmla="*/ 601641 h 1151883"/>
                <a:gd name="connsiteX2977" fmla="*/ 919674 w 922759"/>
                <a:gd name="connsiteY2977" fmla="*/ 597496 h 1151883"/>
                <a:gd name="connsiteX2978" fmla="*/ 921035 w 922759"/>
                <a:gd name="connsiteY2978" fmla="*/ 593564 h 1151883"/>
                <a:gd name="connsiteX2979" fmla="*/ 922760 w 922759"/>
                <a:gd name="connsiteY2979" fmla="*/ 590448 h 1151883"/>
                <a:gd name="connsiteX2980" fmla="*/ 922336 w 922759"/>
                <a:gd name="connsiteY2980" fmla="*/ 590024 h 1151883"/>
                <a:gd name="connsiteX2981" fmla="*/ 244401 w 922759"/>
                <a:gd name="connsiteY2981" fmla="*/ 51881 h 1151883"/>
                <a:gd name="connsiteX2982" fmla="*/ 245037 w 922759"/>
                <a:gd name="connsiteY2982" fmla="*/ 51398 h 1151883"/>
                <a:gd name="connsiteX2983" fmla="*/ 245551 w 922759"/>
                <a:gd name="connsiteY2983" fmla="*/ 49189 h 1151883"/>
                <a:gd name="connsiteX2984" fmla="*/ 245823 w 922759"/>
                <a:gd name="connsiteY2984" fmla="*/ 46345 h 1151883"/>
                <a:gd name="connsiteX2985" fmla="*/ 245490 w 922759"/>
                <a:gd name="connsiteY2985" fmla="*/ 37603 h 1151883"/>
                <a:gd name="connsiteX2986" fmla="*/ 245793 w 922759"/>
                <a:gd name="connsiteY2986" fmla="*/ 36937 h 1151883"/>
                <a:gd name="connsiteX2987" fmla="*/ 245944 w 922759"/>
                <a:gd name="connsiteY2987" fmla="*/ 33791 h 1151883"/>
                <a:gd name="connsiteX2988" fmla="*/ 246216 w 922759"/>
                <a:gd name="connsiteY2988" fmla="*/ 32611 h 1151883"/>
                <a:gd name="connsiteX2989" fmla="*/ 246730 w 922759"/>
                <a:gd name="connsiteY2989" fmla="*/ 32157 h 1151883"/>
                <a:gd name="connsiteX2990" fmla="*/ 249786 w 922759"/>
                <a:gd name="connsiteY2990" fmla="*/ 30191 h 1151883"/>
                <a:gd name="connsiteX2991" fmla="*/ 250451 w 922759"/>
                <a:gd name="connsiteY2991" fmla="*/ 29949 h 1151883"/>
                <a:gd name="connsiteX2992" fmla="*/ 251420 w 922759"/>
                <a:gd name="connsiteY2992" fmla="*/ 29949 h 1151883"/>
                <a:gd name="connsiteX2993" fmla="*/ 252267 w 922759"/>
                <a:gd name="connsiteY2993" fmla="*/ 30282 h 1151883"/>
                <a:gd name="connsiteX2994" fmla="*/ 253144 w 922759"/>
                <a:gd name="connsiteY2994" fmla="*/ 31674 h 1151883"/>
                <a:gd name="connsiteX2995" fmla="*/ 253779 w 922759"/>
                <a:gd name="connsiteY2995" fmla="*/ 31976 h 1151883"/>
                <a:gd name="connsiteX2996" fmla="*/ 260707 w 922759"/>
                <a:gd name="connsiteY2996" fmla="*/ 31976 h 1151883"/>
                <a:gd name="connsiteX2997" fmla="*/ 262219 w 922759"/>
                <a:gd name="connsiteY2997" fmla="*/ 31583 h 1151883"/>
                <a:gd name="connsiteX2998" fmla="*/ 265002 w 922759"/>
                <a:gd name="connsiteY2998" fmla="*/ 29586 h 1151883"/>
                <a:gd name="connsiteX2999" fmla="*/ 266576 w 922759"/>
                <a:gd name="connsiteY2999" fmla="*/ 28799 h 1151883"/>
                <a:gd name="connsiteX3000" fmla="*/ 279160 w 922759"/>
                <a:gd name="connsiteY3000" fmla="*/ 29435 h 1151883"/>
                <a:gd name="connsiteX3001" fmla="*/ 281671 w 922759"/>
                <a:gd name="connsiteY3001" fmla="*/ 27589 h 1151883"/>
                <a:gd name="connsiteX3002" fmla="*/ 259739 w 922759"/>
                <a:gd name="connsiteY3002" fmla="*/ 28618 h 1151883"/>
                <a:gd name="connsiteX3003" fmla="*/ 254899 w 922759"/>
                <a:gd name="connsiteY3003" fmla="*/ 27499 h 1151883"/>
                <a:gd name="connsiteX3004" fmla="*/ 251510 w 922759"/>
                <a:gd name="connsiteY3004" fmla="*/ 24534 h 1151883"/>
                <a:gd name="connsiteX3005" fmla="*/ 252085 w 922759"/>
                <a:gd name="connsiteY3005" fmla="*/ 18847 h 1151883"/>
                <a:gd name="connsiteX3006" fmla="*/ 251208 w 922759"/>
                <a:gd name="connsiteY3006" fmla="*/ 15852 h 1151883"/>
                <a:gd name="connsiteX3007" fmla="*/ 252236 w 922759"/>
                <a:gd name="connsiteY3007" fmla="*/ 12615 h 1151883"/>
                <a:gd name="connsiteX3008" fmla="*/ 254142 w 922759"/>
                <a:gd name="connsiteY3008" fmla="*/ 10013 h 1151883"/>
                <a:gd name="connsiteX3009" fmla="*/ 258226 w 922759"/>
                <a:gd name="connsiteY3009" fmla="*/ 7896 h 1151883"/>
                <a:gd name="connsiteX3010" fmla="*/ 259104 w 922759"/>
                <a:gd name="connsiteY3010" fmla="*/ 5687 h 1151883"/>
                <a:gd name="connsiteX3011" fmla="*/ 258287 w 922759"/>
                <a:gd name="connsiteY3011" fmla="*/ 3721 h 1151883"/>
                <a:gd name="connsiteX3012" fmla="*/ 255503 w 922759"/>
                <a:gd name="connsiteY3012" fmla="*/ 3449 h 1151883"/>
                <a:gd name="connsiteX3013" fmla="*/ 256290 w 922759"/>
                <a:gd name="connsiteY3013" fmla="*/ 2662 h 1151883"/>
                <a:gd name="connsiteX3014" fmla="*/ 262431 w 922759"/>
                <a:gd name="connsiteY3014" fmla="*/ 2360 h 1151883"/>
                <a:gd name="connsiteX3015" fmla="*/ 257651 w 922759"/>
                <a:gd name="connsiteY3015" fmla="*/ 0 h 1151883"/>
                <a:gd name="connsiteX3016" fmla="*/ 253416 w 922759"/>
                <a:gd name="connsiteY3016" fmla="*/ 4901 h 1151883"/>
                <a:gd name="connsiteX3017" fmla="*/ 245793 w 922759"/>
                <a:gd name="connsiteY3017" fmla="*/ 24625 h 1151883"/>
                <a:gd name="connsiteX3018" fmla="*/ 244825 w 922759"/>
                <a:gd name="connsiteY3018" fmla="*/ 28043 h 1151883"/>
                <a:gd name="connsiteX3019" fmla="*/ 243675 w 922759"/>
                <a:gd name="connsiteY3019" fmla="*/ 45438 h 1151883"/>
                <a:gd name="connsiteX3020" fmla="*/ 243736 w 922759"/>
                <a:gd name="connsiteY3020" fmla="*/ 49673 h 1151883"/>
                <a:gd name="connsiteX3021" fmla="*/ 244401 w 922759"/>
                <a:gd name="connsiteY3021" fmla="*/ 51912 h 115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Lst>
              <a:rect l="l" t="t" r="r" b="b"/>
              <a:pathLst>
                <a:path w="922759" h="1151883">
                  <a:moveTo>
                    <a:pt x="82677" y="235931"/>
                  </a:moveTo>
                  <a:lnTo>
                    <a:pt x="84492" y="236748"/>
                  </a:lnTo>
                  <a:lnTo>
                    <a:pt x="85097" y="236597"/>
                  </a:lnTo>
                  <a:lnTo>
                    <a:pt x="86580" y="235871"/>
                  </a:lnTo>
                  <a:lnTo>
                    <a:pt x="87608" y="235719"/>
                  </a:lnTo>
                  <a:lnTo>
                    <a:pt x="88485" y="236022"/>
                  </a:lnTo>
                  <a:lnTo>
                    <a:pt x="89786" y="237444"/>
                  </a:lnTo>
                  <a:lnTo>
                    <a:pt x="90694" y="237928"/>
                  </a:lnTo>
                  <a:lnTo>
                    <a:pt x="89998" y="236445"/>
                  </a:lnTo>
                  <a:lnTo>
                    <a:pt x="89272" y="235538"/>
                  </a:lnTo>
                  <a:lnTo>
                    <a:pt x="88395" y="234963"/>
                  </a:lnTo>
                  <a:lnTo>
                    <a:pt x="87275" y="234570"/>
                  </a:lnTo>
                  <a:lnTo>
                    <a:pt x="87275" y="233602"/>
                  </a:lnTo>
                  <a:lnTo>
                    <a:pt x="89121" y="233178"/>
                  </a:lnTo>
                  <a:lnTo>
                    <a:pt x="92630" y="231786"/>
                  </a:lnTo>
                  <a:lnTo>
                    <a:pt x="94899" y="231484"/>
                  </a:lnTo>
                  <a:lnTo>
                    <a:pt x="93537" y="229064"/>
                  </a:lnTo>
                  <a:lnTo>
                    <a:pt x="89786" y="229306"/>
                  </a:lnTo>
                  <a:lnTo>
                    <a:pt x="82133" y="231484"/>
                  </a:lnTo>
                  <a:lnTo>
                    <a:pt x="80953" y="232331"/>
                  </a:lnTo>
                  <a:lnTo>
                    <a:pt x="81346" y="234176"/>
                  </a:lnTo>
                  <a:lnTo>
                    <a:pt x="82738" y="235991"/>
                  </a:lnTo>
                  <a:close/>
                  <a:moveTo>
                    <a:pt x="119917" y="217447"/>
                  </a:moveTo>
                  <a:lnTo>
                    <a:pt x="106213" y="219081"/>
                  </a:lnTo>
                  <a:lnTo>
                    <a:pt x="102492" y="220775"/>
                  </a:lnTo>
                  <a:lnTo>
                    <a:pt x="123789" y="218567"/>
                  </a:lnTo>
                  <a:lnTo>
                    <a:pt x="119917" y="217447"/>
                  </a:lnTo>
                  <a:close/>
                  <a:moveTo>
                    <a:pt x="144934" y="214815"/>
                  </a:moveTo>
                  <a:lnTo>
                    <a:pt x="149623" y="213091"/>
                  </a:lnTo>
                  <a:lnTo>
                    <a:pt x="149896" y="213091"/>
                  </a:lnTo>
                  <a:lnTo>
                    <a:pt x="150077" y="212910"/>
                  </a:lnTo>
                  <a:lnTo>
                    <a:pt x="150017" y="212153"/>
                  </a:lnTo>
                  <a:lnTo>
                    <a:pt x="138612" y="211942"/>
                  </a:lnTo>
                  <a:lnTo>
                    <a:pt x="133197" y="212789"/>
                  </a:lnTo>
                  <a:lnTo>
                    <a:pt x="128599" y="215269"/>
                  </a:lnTo>
                  <a:lnTo>
                    <a:pt x="132652" y="216298"/>
                  </a:lnTo>
                  <a:lnTo>
                    <a:pt x="144934" y="214785"/>
                  </a:lnTo>
                  <a:close/>
                  <a:moveTo>
                    <a:pt x="157580" y="213243"/>
                  </a:moveTo>
                  <a:lnTo>
                    <a:pt x="158366" y="213031"/>
                  </a:lnTo>
                  <a:lnTo>
                    <a:pt x="158699" y="212789"/>
                  </a:lnTo>
                  <a:lnTo>
                    <a:pt x="159032" y="212184"/>
                  </a:lnTo>
                  <a:lnTo>
                    <a:pt x="157731" y="211216"/>
                  </a:lnTo>
                  <a:lnTo>
                    <a:pt x="155795" y="210822"/>
                  </a:lnTo>
                  <a:lnTo>
                    <a:pt x="153738" y="211125"/>
                  </a:lnTo>
                  <a:lnTo>
                    <a:pt x="152074" y="212184"/>
                  </a:lnTo>
                  <a:lnTo>
                    <a:pt x="153556" y="212093"/>
                  </a:lnTo>
                  <a:lnTo>
                    <a:pt x="157580" y="213243"/>
                  </a:lnTo>
                  <a:close/>
                  <a:moveTo>
                    <a:pt x="229578" y="213757"/>
                  </a:moveTo>
                  <a:lnTo>
                    <a:pt x="230153" y="214120"/>
                  </a:lnTo>
                  <a:lnTo>
                    <a:pt x="231000" y="214332"/>
                  </a:lnTo>
                  <a:lnTo>
                    <a:pt x="231514" y="213999"/>
                  </a:lnTo>
                  <a:lnTo>
                    <a:pt x="233117" y="212577"/>
                  </a:lnTo>
                  <a:lnTo>
                    <a:pt x="234116" y="212214"/>
                  </a:lnTo>
                  <a:lnTo>
                    <a:pt x="235538" y="212214"/>
                  </a:lnTo>
                  <a:lnTo>
                    <a:pt x="233420" y="210792"/>
                  </a:lnTo>
                  <a:lnTo>
                    <a:pt x="231151" y="210459"/>
                  </a:lnTo>
                  <a:lnTo>
                    <a:pt x="229155" y="211276"/>
                  </a:lnTo>
                  <a:lnTo>
                    <a:pt x="227884" y="213303"/>
                  </a:lnTo>
                  <a:lnTo>
                    <a:pt x="227884" y="214362"/>
                  </a:lnTo>
                  <a:lnTo>
                    <a:pt x="228943" y="213696"/>
                  </a:lnTo>
                  <a:lnTo>
                    <a:pt x="229548" y="213787"/>
                  </a:lnTo>
                  <a:close/>
                  <a:moveTo>
                    <a:pt x="163690" y="212305"/>
                  </a:moveTo>
                  <a:lnTo>
                    <a:pt x="166625" y="212184"/>
                  </a:lnTo>
                  <a:lnTo>
                    <a:pt x="166897" y="209431"/>
                  </a:lnTo>
                  <a:lnTo>
                    <a:pt x="170285" y="208675"/>
                  </a:lnTo>
                  <a:lnTo>
                    <a:pt x="177636" y="208886"/>
                  </a:lnTo>
                  <a:lnTo>
                    <a:pt x="177908" y="208765"/>
                  </a:lnTo>
                  <a:lnTo>
                    <a:pt x="178151" y="208765"/>
                  </a:lnTo>
                  <a:lnTo>
                    <a:pt x="178302" y="208614"/>
                  </a:lnTo>
                  <a:lnTo>
                    <a:pt x="178241" y="207918"/>
                  </a:lnTo>
                  <a:lnTo>
                    <a:pt x="176215" y="206769"/>
                  </a:lnTo>
                  <a:lnTo>
                    <a:pt x="167230" y="206859"/>
                  </a:lnTo>
                  <a:lnTo>
                    <a:pt x="164175" y="206980"/>
                  </a:lnTo>
                  <a:lnTo>
                    <a:pt x="162934" y="207706"/>
                  </a:lnTo>
                  <a:lnTo>
                    <a:pt x="162420" y="209491"/>
                  </a:lnTo>
                  <a:lnTo>
                    <a:pt x="162752" y="211609"/>
                  </a:lnTo>
                  <a:lnTo>
                    <a:pt x="163660" y="212335"/>
                  </a:lnTo>
                  <a:close/>
                  <a:moveTo>
                    <a:pt x="183324" y="207525"/>
                  </a:moveTo>
                  <a:lnTo>
                    <a:pt x="184201" y="206920"/>
                  </a:lnTo>
                  <a:lnTo>
                    <a:pt x="185108" y="205710"/>
                  </a:lnTo>
                  <a:lnTo>
                    <a:pt x="187589" y="207222"/>
                  </a:lnTo>
                  <a:lnTo>
                    <a:pt x="190493" y="207071"/>
                  </a:lnTo>
                  <a:lnTo>
                    <a:pt x="193307" y="205952"/>
                  </a:lnTo>
                  <a:lnTo>
                    <a:pt x="195576" y="204651"/>
                  </a:lnTo>
                  <a:lnTo>
                    <a:pt x="196997" y="204651"/>
                  </a:lnTo>
                  <a:lnTo>
                    <a:pt x="196997" y="203592"/>
                  </a:lnTo>
                  <a:lnTo>
                    <a:pt x="188496" y="203048"/>
                  </a:lnTo>
                  <a:lnTo>
                    <a:pt x="184261" y="203925"/>
                  </a:lnTo>
                  <a:lnTo>
                    <a:pt x="181720" y="206890"/>
                  </a:lnTo>
                  <a:lnTo>
                    <a:pt x="182507" y="207555"/>
                  </a:lnTo>
                  <a:lnTo>
                    <a:pt x="183354" y="207555"/>
                  </a:lnTo>
                  <a:close/>
                  <a:moveTo>
                    <a:pt x="203259" y="202775"/>
                  </a:moveTo>
                  <a:lnTo>
                    <a:pt x="205074" y="202685"/>
                  </a:lnTo>
                  <a:lnTo>
                    <a:pt x="209309" y="203592"/>
                  </a:lnTo>
                  <a:lnTo>
                    <a:pt x="210398" y="203441"/>
                  </a:lnTo>
                  <a:lnTo>
                    <a:pt x="211367" y="203623"/>
                  </a:lnTo>
                  <a:lnTo>
                    <a:pt x="208705" y="202110"/>
                  </a:lnTo>
                  <a:lnTo>
                    <a:pt x="207192" y="201656"/>
                  </a:lnTo>
                  <a:lnTo>
                    <a:pt x="205528" y="201505"/>
                  </a:lnTo>
                  <a:lnTo>
                    <a:pt x="203411" y="201717"/>
                  </a:lnTo>
                  <a:lnTo>
                    <a:pt x="201626" y="202322"/>
                  </a:lnTo>
                  <a:lnTo>
                    <a:pt x="201172" y="203320"/>
                  </a:lnTo>
                  <a:lnTo>
                    <a:pt x="203108" y="204621"/>
                  </a:lnTo>
                  <a:lnTo>
                    <a:pt x="203259" y="202745"/>
                  </a:lnTo>
                  <a:close/>
                  <a:moveTo>
                    <a:pt x="558653" y="174581"/>
                  </a:moveTo>
                  <a:lnTo>
                    <a:pt x="560256" y="174672"/>
                  </a:lnTo>
                  <a:lnTo>
                    <a:pt x="561739" y="173523"/>
                  </a:lnTo>
                  <a:lnTo>
                    <a:pt x="561285" y="171374"/>
                  </a:lnTo>
                  <a:lnTo>
                    <a:pt x="561830" y="170044"/>
                  </a:lnTo>
                  <a:lnTo>
                    <a:pt x="562646" y="170044"/>
                  </a:lnTo>
                  <a:lnTo>
                    <a:pt x="563100" y="171889"/>
                  </a:lnTo>
                  <a:lnTo>
                    <a:pt x="562404" y="174642"/>
                  </a:lnTo>
                  <a:lnTo>
                    <a:pt x="562495" y="175731"/>
                  </a:lnTo>
                  <a:lnTo>
                    <a:pt x="563735" y="175731"/>
                  </a:lnTo>
                  <a:lnTo>
                    <a:pt x="564794" y="174218"/>
                  </a:lnTo>
                  <a:lnTo>
                    <a:pt x="567759" y="166020"/>
                  </a:lnTo>
                  <a:lnTo>
                    <a:pt x="564764" y="164750"/>
                  </a:lnTo>
                  <a:lnTo>
                    <a:pt x="560589" y="165990"/>
                  </a:lnTo>
                  <a:lnTo>
                    <a:pt x="556959" y="168864"/>
                  </a:lnTo>
                  <a:lnTo>
                    <a:pt x="555477" y="172433"/>
                  </a:lnTo>
                  <a:lnTo>
                    <a:pt x="556989" y="173674"/>
                  </a:lnTo>
                  <a:lnTo>
                    <a:pt x="558623" y="174581"/>
                  </a:lnTo>
                  <a:close/>
                  <a:moveTo>
                    <a:pt x="571994" y="160635"/>
                  </a:moveTo>
                  <a:lnTo>
                    <a:pt x="573295" y="158094"/>
                  </a:lnTo>
                  <a:lnTo>
                    <a:pt x="577953" y="154162"/>
                  </a:lnTo>
                  <a:lnTo>
                    <a:pt x="579648" y="151953"/>
                  </a:lnTo>
                  <a:lnTo>
                    <a:pt x="578256" y="153224"/>
                  </a:lnTo>
                  <a:lnTo>
                    <a:pt x="571419" y="156249"/>
                  </a:lnTo>
                  <a:lnTo>
                    <a:pt x="570875" y="157429"/>
                  </a:lnTo>
                  <a:lnTo>
                    <a:pt x="570875" y="157792"/>
                  </a:lnTo>
                  <a:lnTo>
                    <a:pt x="571419" y="160666"/>
                  </a:lnTo>
                  <a:lnTo>
                    <a:pt x="571994" y="160666"/>
                  </a:lnTo>
                  <a:close/>
                  <a:moveTo>
                    <a:pt x="794705" y="145479"/>
                  </a:moveTo>
                  <a:lnTo>
                    <a:pt x="795945" y="147234"/>
                  </a:lnTo>
                  <a:lnTo>
                    <a:pt x="800060" y="151227"/>
                  </a:lnTo>
                  <a:lnTo>
                    <a:pt x="800937" y="153647"/>
                  </a:lnTo>
                  <a:lnTo>
                    <a:pt x="800362" y="157761"/>
                  </a:lnTo>
                  <a:lnTo>
                    <a:pt x="797639" y="162964"/>
                  </a:lnTo>
                  <a:lnTo>
                    <a:pt x="796823" y="166020"/>
                  </a:lnTo>
                  <a:lnTo>
                    <a:pt x="798849" y="166746"/>
                  </a:lnTo>
                  <a:lnTo>
                    <a:pt x="800271" y="165476"/>
                  </a:lnTo>
                  <a:lnTo>
                    <a:pt x="801754" y="163630"/>
                  </a:lnTo>
                  <a:lnTo>
                    <a:pt x="804960" y="162299"/>
                  </a:lnTo>
                  <a:lnTo>
                    <a:pt x="805807" y="161724"/>
                  </a:lnTo>
                  <a:lnTo>
                    <a:pt x="806564" y="161936"/>
                  </a:lnTo>
                  <a:lnTo>
                    <a:pt x="807078" y="163842"/>
                  </a:lnTo>
                  <a:lnTo>
                    <a:pt x="806806" y="164870"/>
                  </a:lnTo>
                  <a:lnTo>
                    <a:pt x="805989" y="165808"/>
                  </a:lnTo>
                  <a:lnTo>
                    <a:pt x="805232" y="167109"/>
                  </a:lnTo>
                  <a:lnTo>
                    <a:pt x="805021" y="169227"/>
                  </a:lnTo>
                  <a:lnTo>
                    <a:pt x="808530" y="167986"/>
                  </a:lnTo>
                  <a:lnTo>
                    <a:pt x="809135" y="167654"/>
                  </a:lnTo>
                  <a:lnTo>
                    <a:pt x="809437" y="166474"/>
                  </a:lnTo>
                  <a:lnTo>
                    <a:pt x="810194" y="165233"/>
                  </a:lnTo>
                  <a:lnTo>
                    <a:pt x="811101" y="164265"/>
                  </a:lnTo>
                  <a:lnTo>
                    <a:pt x="811949" y="163812"/>
                  </a:lnTo>
                  <a:lnTo>
                    <a:pt x="811949" y="162662"/>
                  </a:lnTo>
                  <a:lnTo>
                    <a:pt x="811041" y="160696"/>
                  </a:lnTo>
                  <a:lnTo>
                    <a:pt x="812069" y="159486"/>
                  </a:lnTo>
                  <a:lnTo>
                    <a:pt x="814066" y="159093"/>
                  </a:lnTo>
                  <a:lnTo>
                    <a:pt x="816063" y="159546"/>
                  </a:lnTo>
                  <a:lnTo>
                    <a:pt x="817666" y="160726"/>
                  </a:lnTo>
                  <a:lnTo>
                    <a:pt x="819027" y="162390"/>
                  </a:lnTo>
                  <a:lnTo>
                    <a:pt x="820147" y="164477"/>
                  </a:lnTo>
                  <a:lnTo>
                    <a:pt x="820963" y="167049"/>
                  </a:lnTo>
                  <a:lnTo>
                    <a:pt x="823293" y="166141"/>
                  </a:lnTo>
                  <a:lnTo>
                    <a:pt x="824684" y="168743"/>
                  </a:lnTo>
                  <a:lnTo>
                    <a:pt x="824835" y="172917"/>
                  </a:lnTo>
                  <a:lnTo>
                    <a:pt x="823565" y="176790"/>
                  </a:lnTo>
                  <a:lnTo>
                    <a:pt x="824382" y="178817"/>
                  </a:lnTo>
                  <a:lnTo>
                    <a:pt x="820963" y="177848"/>
                  </a:lnTo>
                  <a:lnTo>
                    <a:pt x="821114" y="176971"/>
                  </a:lnTo>
                  <a:lnTo>
                    <a:pt x="821387" y="176396"/>
                  </a:lnTo>
                  <a:lnTo>
                    <a:pt x="821780" y="175973"/>
                  </a:lnTo>
                  <a:lnTo>
                    <a:pt x="822294" y="175610"/>
                  </a:lnTo>
                  <a:lnTo>
                    <a:pt x="818241" y="175610"/>
                  </a:lnTo>
                  <a:lnTo>
                    <a:pt x="816940" y="176245"/>
                  </a:lnTo>
                  <a:lnTo>
                    <a:pt x="815367" y="178817"/>
                  </a:lnTo>
                  <a:lnTo>
                    <a:pt x="815488" y="176336"/>
                  </a:lnTo>
                  <a:lnTo>
                    <a:pt x="816305" y="173280"/>
                  </a:lnTo>
                  <a:lnTo>
                    <a:pt x="816063" y="172403"/>
                  </a:lnTo>
                  <a:lnTo>
                    <a:pt x="816758" y="171254"/>
                  </a:lnTo>
                  <a:lnTo>
                    <a:pt x="814974" y="170558"/>
                  </a:lnTo>
                  <a:lnTo>
                    <a:pt x="809922" y="170285"/>
                  </a:lnTo>
                  <a:lnTo>
                    <a:pt x="809649" y="174309"/>
                  </a:lnTo>
                  <a:lnTo>
                    <a:pt x="813401" y="180843"/>
                  </a:lnTo>
                  <a:lnTo>
                    <a:pt x="812675" y="185381"/>
                  </a:lnTo>
                  <a:lnTo>
                    <a:pt x="811737" y="186289"/>
                  </a:lnTo>
                  <a:lnTo>
                    <a:pt x="808258" y="188134"/>
                  </a:lnTo>
                  <a:lnTo>
                    <a:pt x="805021" y="188799"/>
                  </a:lnTo>
                  <a:lnTo>
                    <a:pt x="802933" y="190282"/>
                  </a:lnTo>
                  <a:lnTo>
                    <a:pt x="801633" y="190735"/>
                  </a:lnTo>
                  <a:lnTo>
                    <a:pt x="803478" y="193065"/>
                  </a:lnTo>
                  <a:lnTo>
                    <a:pt x="807018" y="194033"/>
                  </a:lnTo>
                  <a:lnTo>
                    <a:pt x="813370" y="193942"/>
                  </a:lnTo>
                  <a:lnTo>
                    <a:pt x="819148" y="192520"/>
                  </a:lnTo>
                  <a:lnTo>
                    <a:pt x="822083" y="190947"/>
                  </a:lnTo>
                  <a:lnTo>
                    <a:pt x="824412" y="188497"/>
                  </a:lnTo>
                  <a:lnTo>
                    <a:pt x="826106" y="189586"/>
                  </a:lnTo>
                  <a:lnTo>
                    <a:pt x="828345" y="189888"/>
                  </a:lnTo>
                  <a:lnTo>
                    <a:pt x="839749" y="188678"/>
                  </a:lnTo>
                  <a:lnTo>
                    <a:pt x="838933" y="186228"/>
                  </a:lnTo>
                  <a:lnTo>
                    <a:pt x="837178" y="184231"/>
                  </a:lnTo>
                  <a:lnTo>
                    <a:pt x="838116" y="183959"/>
                  </a:lnTo>
                  <a:lnTo>
                    <a:pt x="838963" y="183414"/>
                  </a:lnTo>
                  <a:lnTo>
                    <a:pt x="840687" y="179180"/>
                  </a:lnTo>
                  <a:lnTo>
                    <a:pt x="840627" y="179180"/>
                  </a:lnTo>
                  <a:lnTo>
                    <a:pt x="838902" y="177969"/>
                  </a:lnTo>
                  <a:lnTo>
                    <a:pt x="821205" y="160060"/>
                  </a:lnTo>
                  <a:lnTo>
                    <a:pt x="818150" y="158306"/>
                  </a:lnTo>
                  <a:lnTo>
                    <a:pt x="814338" y="156944"/>
                  </a:lnTo>
                  <a:lnTo>
                    <a:pt x="807713" y="153375"/>
                  </a:lnTo>
                  <a:lnTo>
                    <a:pt x="805051" y="150864"/>
                  </a:lnTo>
                  <a:lnTo>
                    <a:pt x="803841" y="148837"/>
                  </a:lnTo>
                  <a:lnTo>
                    <a:pt x="801814" y="143694"/>
                  </a:lnTo>
                  <a:lnTo>
                    <a:pt x="800937" y="142182"/>
                  </a:lnTo>
                  <a:lnTo>
                    <a:pt x="799031" y="141456"/>
                  </a:lnTo>
                  <a:lnTo>
                    <a:pt x="797156" y="142122"/>
                  </a:lnTo>
                  <a:lnTo>
                    <a:pt x="795613" y="143634"/>
                  </a:lnTo>
                  <a:lnTo>
                    <a:pt x="794675" y="145419"/>
                  </a:lnTo>
                  <a:close/>
                  <a:moveTo>
                    <a:pt x="204741" y="140034"/>
                  </a:moveTo>
                  <a:lnTo>
                    <a:pt x="205074" y="140730"/>
                  </a:lnTo>
                  <a:lnTo>
                    <a:pt x="205498" y="140851"/>
                  </a:lnTo>
                  <a:lnTo>
                    <a:pt x="205649" y="141516"/>
                  </a:lnTo>
                  <a:lnTo>
                    <a:pt x="206164" y="141153"/>
                  </a:lnTo>
                  <a:lnTo>
                    <a:pt x="205801" y="139550"/>
                  </a:lnTo>
                  <a:lnTo>
                    <a:pt x="205195" y="138915"/>
                  </a:lnTo>
                  <a:lnTo>
                    <a:pt x="203713" y="139036"/>
                  </a:lnTo>
                  <a:lnTo>
                    <a:pt x="204318" y="139550"/>
                  </a:lnTo>
                  <a:lnTo>
                    <a:pt x="204772" y="140034"/>
                  </a:lnTo>
                  <a:close/>
                  <a:moveTo>
                    <a:pt x="209068" y="139671"/>
                  </a:moveTo>
                  <a:lnTo>
                    <a:pt x="208705" y="138824"/>
                  </a:lnTo>
                  <a:lnTo>
                    <a:pt x="206950" y="139308"/>
                  </a:lnTo>
                  <a:lnTo>
                    <a:pt x="207494" y="140155"/>
                  </a:lnTo>
                  <a:lnTo>
                    <a:pt x="209098" y="139701"/>
                  </a:lnTo>
                  <a:close/>
                  <a:moveTo>
                    <a:pt x="297553" y="93356"/>
                  </a:moveTo>
                  <a:lnTo>
                    <a:pt x="298672" y="95141"/>
                  </a:lnTo>
                  <a:lnTo>
                    <a:pt x="300729" y="95837"/>
                  </a:lnTo>
                  <a:lnTo>
                    <a:pt x="305116" y="95534"/>
                  </a:lnTo>
                  <a:lnTo>
                    <a:pt x="307476" y="94415"/>
                  </a:lnTo>
                  <a:lnTo>
                    <a:pt x="308928" y="92630"/>
                  </a:lnTo>
                  <a:lnTo>
                    <a:pt x="310198" y="90664"/>
                  </a:lnTo>
                  <a:lnTo>
                    <a:pt x="312044" y="89030"/>
                  </a:lnTo>
                  <a:lnTo>
                    <a:pt x="311953" y="88153"/>
                  </a:lnTo>
                  <a:lnTo>
                    <a:pt x="312013" y="87457"/>
                  </a:lnTo>
                  <a:lnTo>
                    <a:pt x="312225" y="86973"/>
                  </a:lnTo>
                  <a:lnTo>
                    <a:pt x="312679" y="86792"/>
                  </a:lnTo>
                  <a:lnTo>
                    <a:pt x="308262" y="85703"/>
                  </a:lnTo>
                  <a:lnTo>
                    <a:pt x="304299" y="85914"/>
                  </a:lnTo>
                  <a:lnTo>
                    <a:pt x="300760" y="87396"/>
                  </a:lnTo>
                  <a:lnTo>
                    <a:pt x="297583" y="90240"/>
                  </a:lnTo>
                  <a:lnTo>
                    <a:pt x="298400" y="90997"/>
                  </a:lnTo>
                  <a:lnTo>
                    <a:pt x="298854" y="91964"/>
                  </a:lnTo>
                  <a:lnTo>
                    <a:pt x="298672" y="92872"/>
                  </a:lnTo>
                  <a:lnTo>
                    <a:pt x="297583" y="93416"/>
                  </a:lnTo>
                  <a:close/>
                  <a:moveTo>
                    <a:pt x="519689" y="97047"/>
                  </a:moveTo>
                  <a:lnTo>
                    <a:pt x="520234" y="97047"/>
                  </a:lnTo>
                  <a:lnTo>
                    <a:pt x="520567" y="97712"/>
                  </a:lnTo>
                  <a:lnTo>
                    <a:pt x="520899" y="98862"/>
                  </a:lnTo>
                  <a:lnTo>
                    <a:pt x="521656" y="98862"/>
                  </a:lnTo>
                  <a:lnTo>
                    <a:pt x="522412" y="97924"/>
                  </a:lnTo>
                  <a:lnTo>
                    <a:pt x="523501" y="97621"/>
                  </a:lnTo>
                  <a:lnTo>
                    <a:pt x="526133" y="97682"/>
                  </a:lnTo>
                  <a:lnTo>
                    <a:pt x="527585" y="98166"/>
                  </a:lnTo>
                  <a:lnTo>
                    <a:pt x="528039" y="99407"/>
                  </a:lnTo>
                  <a:lnTo>
                    <a:pt x="527827" y="102643"/>
                  </a:lnTo>
                  <a:lnTo>
                    <a:pt x="528946" y="103944"/>
                  </a:lnTo>
                  <a:lnTo>
                    <a:pt x="531578" y="104338"/>
                  </a:lnTo>
                  <a:lnTo>
                    <a:pt x="535632" y="104095"/>
                  </a:lnTo>
                  <a:lnTo>
                    <a:pt x="535178" y="103823"/>
                  </a:lnTo>
                  <a:lnTo>
                    <a:pt x="534724" y="103158"/>
                  </a:lnTo>
                  <a:lnTo>
                    <a:pt x="536570" y="102189"/>
                  </a:lnTo>
                  <a:lnTo>
                    <a:pt x="549215" y="104156"/>
                  </a:lnTo>
                  <a:lnTo>
                    <a:pt x="543316" y="93840"/>
                  </a:lnTo>
                  <a:lnTo>
                    <a:pt x="541743" y="91178"/>
                  </a:lnTo>
                  <a:lnTo>
                    <a:pt x="540956" y="90210"/>
                  </a:lnTo>
                  <a:lnTo>
                    <a:pt x="538385" y="88183"/>
                  </a:lnTo>
                  <a:lnTo>
                    <a:pt x="529793" y="84765"/>
                  </a:lnTo>
                  <a:lnTo>
                    <a:pt x="524923" y="85521"/>
                  </a:lnTo>
                  <a:lnTo>
                    <a:pt x="520990" y="89091"/>
                  </a:lnTo>
                  <a:lnTo>
                    <a:pt x="518177" y="95504"/>
                  </a:lnTo>
                  <a:lnTo>
                    <a:pt x="518449" y="97682"/>
                  </a:lnTo>
                  <a:lnTo>
                    <a:pt x="519659" y="97017"/>
                  </a:lnTo>
                  <a:close/>
                  <a:moveTo>
                    <a:pt x="278162" y="84492"/>
                  </a:moveTo>
                  <a:lnTo>
                    <a:pt x="276347" y="85793"/>
                  </a:lnTo>
                  <a:lnTo>
                    <a:pt x="275712" y="88365"/>
                  </a:lnTo>
                  <a:lnTo>
                    <a:pt x="276740" y="90664"/>
                  </a:lnTo>
                  <a:lnTo>
                    <a:pt x="278011" y="91723"/>
                  </a:lnTo>
                  <a:lnTo>
                    <a:pt x="280280" y="91723"/>
                  </a:lnTo>
                  <a:lnTo>
                    <a:pt x="283153" y="90240"/>
                  </a:lnTo>
                  <a:lnTo>
                    <a:pt x="285483" y="86852"/>
                  </a:lnTo>
                  <a:lnTo>
                    <a:pt x="286300" y="82950"/>
                  </a:lnTo>
                  <a:lnTo>
                    <a:pt x="286088" y="81225"/>
                  </a:lnTo>
                  <a:lnTo>
                    <a:pt x="279614" y="83766"/>
                  </a:lnTo>
                  <a:lnTo>
                    <a:pt x="278888" y="84190"/>
                  </a:lnTo>
                  <a:lnTo>
                    <a:pt x="278162" y="84523"/>
                  </a:lnTo>
                  <a:close/>
                  <a:moveTo>
                    <a:pt x="725913" y="92176"/>
                  </a:moveTo>
                  <a:lnTo>
                    <a:pt x="726095" y="90573"/>
                  </a:lnTo>
                  <a:lnTo>
                    <a:pt x="726458" y="89030"/>
                  </a:lnTo>
                  <a:lnTo>
                    <a:pt x="727063" y="87790"/>
                  </a:lnTo>
                  <a:lnTo>
                    <a:pt x="728485" y="86640"/>
                  </a:lnTo>
                  <a:lnTo>
                    <a:pt x="729211" y="85763"/>
                  </a:lnTo>
                  <a:lnTo>
                    <a:pt x="730179" y="82435"/>
                  </a:lnTo>
                  <a:lnTo>
                    <a:pt x="730270" y="79350"/>
                  </a:lnTo>
                  <a:lnTo>
                    <a:pt x="730844" y="76748"/>
                  </a:lnTo>
                  <a:lnTo>
                    <a:pt x="733295" y="74872"/>
                  </a:lnTo>
                  <a:lnTo>
                    <a:pt x="733295" y="78109"/>
                  </a:lnTo>
                  <a:lnTo>
                    <a:pt x="733930" y="78109"/>
                  </a:lnTo>
                  <a:lnTo>
                    <a:pt x="733930" y="75931"/>
                  </a:lnTo>
                  <a:lnTo>
                    <a:pt x="734323" y="75931"/>
                  </a:lnTo>
                  <a:lnTo>
                    <a:pt x="734595" y="76294"/>
                  </a:lnTo>
                  <a:lnTo>
                    <a:pt x="734656" y="76476"/>
                  </a:lnTo>
                  <a:lnTo>
                    <a:pt x="734656" y="74691"/>
                  </a:lnTo>
                  <a:lnTo>
                    <a:pt x="734051" y="73753"/>
                  </a:lnTo>
                  <a:lnTo>
                    <a:pt x="732932" y="73572"/>
                  </a:lnTo>
                  <a:lnTo>
                    <a:pt x="731540" y="73632"/>
                  </a:lnTo>
                  <a:lnTo>
                    <a:pt x="729907" y="74026"/>
                  </a:lnTo>
                  <a:lnTo>
                    <a:pt x="729180" y="75145"/>
                  </a:lnTo>
                  <a:lnTo>
                    <a:pt x="728515" y="79168"/>
                  </a:lnTo>
                  <a:lnTo>
                    <a:pt x="725369" y="89635"/>
                  </a:lnTo>
                  <a:lnTo>
                    <a:pt x="725066" y="93296"/>
                  </a:lnTo>
                  <a:lnTo>
                    <a:pt x="725066" y="95474"/>
                  </a:lnTo>
                  <a:lnTo>
                    <a:pt x="725762" y="95474"/>
                  </a:lnTo>
                  <a:lnTo>
                    <a:pt x="725913" y="92116"/>
                  </a:lnTo>
                  <a:close/>
                  <a:moveTo>
                    <a:pt x="748874" y="87396"/>
                  </a:moveTo>
                  <a:lnTo>
                    <a:pt x="748450" y="86247"/>
                  </a:lnTo>
                  <a:lnTo>
                    <a:pt x="747906" y="84160"/>
                  </a:lnTo>
                  <a:lnTo>
                    <a:pt x="746726" y="83343"/>
                  </a:lnTo>
                  <a:lnTo>
                    <a:pt x="745577" y="82919"/>
                  </a:lnTo>
                  <a:lnTo>
                    <a:pt x="745032" y="81951"/>
                  </a:lnTo>
                  <a:lnTo>
                    <a:pt x="743368" y="81588"/>
                  </a:lnTo>
                  <a:lnTo>
                    <a:pt x="735654" y="82647"/>
                  </a:lnTo>
                  <a:lnTo>
                    <a:pt x="733355" y="83676"/>
                  </a:lnTo>
                  <a:lnTo>
                    <a:pt x="734263" y="83676"/>
                  </a:lnTo>
                  <a:lnTo>
                    <a:pt x="734928" y="84039"/>
                  </a:lnTo>
                  <a:lnTo>
                    <a:pt x="735321" y="84855"/>
                  </a:lnTo>
                  <a:lnTo>
                    <a:pt x="735443" y="86247"/>
                  </a:lnTo>
                  <a:lnTo>
                    <a:pt x="735684" y="87487"/>
                  </a:lnTo>
                  <a:lnTo>
                    <a:pt x="736138" y="87850"/>
                  </a:lnTo>
                  <a:lnTo>
                    <a:pt x="736622" y="87971"/>
                  </a:lnTo>
                  <a:lnTo>
                    <a:pt x="736834" y="88485"/>
                  </a:lnTo>
                  <a:lnTo>
                    <a:pt x="737621" y="89212"/>
                  </a:lnTo>
                  <a:lnTo>
                    <a:pt x="739436" y="89030"/>
                  </a:lnTo>
                  <a:lnTo>
                    <a:pt x="742400" y="87941"/>
                  </a:lnTo>
                  <a:lnTo>
                    <a:pt x="742491" y="89060"/>
                  </a:lnTo>
                  <a:lnTo>
                    <a:pt x="742310" y="89575"/>
                  </a:lnTo>
                  <a:lnTo>
                    <a:pt x="741977" y="89847"/>
                  </a:lnTo>
                  <a:lnTo>
                    <a:pt x="741644" y="90210"/>
                  </a:lnTo>
                  <a:lnTo>
                    <a:pt x="742430" y="91632"/>
                  </a:lnTo>
                  <a:lnTo>
                    <a:pt x="743641" y="92388"/>
                  </a:lnTo>
                  <a:lnTo>
                    <a:pt x="746424" y="93386"/>
                  </a:lnTo>
                  <a:lnTo>
                    <a:pt x="745789" y="94113"/>
                  </a:lnTo>
                  <a:lnTo>
                    <a:pt x="745183" y="94415"/>
                  </a:lnTo>
                  <a:lnTo>
                    <a:pt x="745062" y="94415"/>
                  </a:lnTo>
                  <a:lnTo>
                    <a:pt x="745062" y="95534"/>
                  </a:lnTo>
                  <a:lnTo>
                    <a:pt x="743005" y="95897"/>
                  </a:lnTo>
                  <a:lnTo>
                    <a:pt x="739980" y="97380"/>
                  </a:lnTo>
                  <a:lnTo>
                    <a:pt x="737258" y="98015"/>
                  </a:lnTo>
                  <a:lnTo>
                    <a:pt x="736501" y="98862"/>
                  </a:lnTo>
                  <a:lnTo>
                    <a:pt x="734747" y="102189"/>
                  </a:lnTo>
                  <a:lnTo>
                    <a:pt x="739224" y="101100"/>
                  </a:lnTo>
                  <a:lnTo>
                    <a:pt x="740252" y="101494"/>
                  </a:lnTo>
                  <a:lnTo>
                    <a:pt x="740888" y="102341"/>
                  </a:lnTo>
                  <a:lnTo>
                    <a:pt x="741644" y="103127"/>
                  </a:lnTo>
                  <a:lnTo>
                    <a:pt x="743005" y="103248"/>
                  </a:lnTo>
                  <a:lnTo>
                    <a:pt x="743005" y="104247"/>
                  </a:lnTo>
                  <a:lnTo>
                    <a:pt x="742552" y="105910"/>
                  </a:lnTo>
                  <a:lnTo>
                    <a:pt x="743066" y="107453"/>
                  </a:lnTo>
                  <a:lnTo>
                    <a:pt x="744246" y="108512"/>
                  </a:lnTo>
                  <a:lnTo>
                    <a:pt x="745819" y="108663"/>
                  </a:lnTo>
                  <a:lnTo>
                    <a:pt x="742854" y="110539"/>
                  </a:lnTo>
                  <a:lnTo>
                    <a:pt x="741463" y="110781"/>
                  </a:lnTo>
                  <a:lnTo>
                    <a:pt x="740283" y="109722"/>
                  </a:lnTo>
                  <a:lnTo>
                    <a:pt x="739587" y="110811"/>
                  </a:lnTo>
                  <a:lnTo>
                    <a:pt x="736532" y="108935"/>
                  </a:lnTo>
                  <a:lnTo>
                    <a:pt x="733991" y="110024"/>
                  </a:lnTo>
                  <a:lnTo>
                    <a:pt x="731994" y="112808"/>
                  </a:lnTo>
                  <a:lnTo>
                    <a:pt x="730602" y="116226"/>
                  </a:lnTo>
                  <a:lnTo>
                    <a:pt x="736834" y="120643"/>
                  </a:lnTo>
                  <a:lnTo>
                    <a:pt x="736834" y="121641"/>
                  </a:lnTo>
                  <a:lnTo>
                    <a:pt x="735291" y="121066"/>
                  </a:lnTo>
                  <a:lnTo>
                    <a:pt x="733960" y="121520"/>
                  </a:lnTo>
                  <a:lnTo>
                    <a:pt x="733355" y="122579"/>
                  </a:lnTo>
                  <a:lnTo>
                    <a:pt x="734051" y="123789"/>
                  </a:lnTo>
                  <a:lnTo>
                    <a:pt x="735049" y="123698"/>
                  </a:lnTo>
                  <a:lnTo>
                    <a:pt x="738135" y="122307"/>
                  </a:lnTo>
                  <a:lnTo>
                    <a:pt x="739587" y="122700"/>
                  </a:lnTo>
                  <a:lnTo>
                    <a:pt x="739042" y="124727"/>
                  </a:lnTo>
                  <a:lnTo>
                    <a:pt x="740131" y="126088"/>
                  </a:lnTo>
                  <a:lnTo>
                    <a:pt x="741916" y="126875"/>
                  </a:lnTo>
                  <a:lnTo>
                    <a:pt x="743399" y="127147"/>
                  </a:lnTo>
                  <a:lnTo>
                    <a:pt x="744034" y="127601"/>
                  </a:lnTo>
                  <a:lnTo>
                    <a:pt x="744972" y="128539"/>
                  </a:lnTo>
                  <a:lnTo>
                    <a:pt x="745970" y="129174"/>
                  </a:lnTo>
                  <a:lnTo>
                    <a:pt x="746878" y="128720"/>
                  </a:lnTo>
                  <a:lnTo>
                    <a:pt x="747604" y="128145"/>
                  </a:lnTo>
                  <a:lnTo>
                    <a:pt x="748662" y="127933"/>
                  </a:lnTo>
                  <a:lnTo>
                    <a:pt x="750689" y="128115"/>
                  </a:lnTo>
                  <a:lnTo>
                    <a:pt x="750417" y="127570"/>
                  </a:lnTo>
                  <a:lnTo>
                    <a:pt x="750024" y="127147"/>
                  </a:lnTo>
                  <a:lnTo>
                    <a:pt x="750629" y="126330"/>
                  </a:lnTo>
                  <a:lnTo>
                    <a:pt x="751294" y="125695"/>
                  </a:lnTo>
                  <a:lnTo>
                    <a:pt x="752777" y="124878"/>
                  </a:lnTo>
                  <a:lnTo>
                    <a:pt x="751718" y="127298"/>
                  </a:lnTo>
                  <a:lnTo>
                    <a:pt x="751173" y="129174"/>
                  </a:lnTo>
                  <a:lnTo>
                    <a:pt x="750356" y="130021"/>
                  </a:lnTo>
                  <a:lnTo>
                    <a:pt x="753926" y="132169"/>
                  </a:lnTo>
                  <a:lnTo>
                    <a:pt x="757103" y="133227"/>
                  </a:lnTo>
                  <a:lnTo>
                    <a:pt x="759976" y="133651"/>
                  </a:lnTo>
                  <a:lnTo>
                    <a:pt x="761550" y="132925"/>
                  </a:lnTo>
                  <a:lnTo>
                    <a:pt x="761761" y="131261"/>
                  </a:lnTo>
                  <a:lnTo>
                    <a:pt x="761035" y="127661"/>
                  </a:lnTo>
                  <a:lnTo>
                    <a:pt x="760339" y="127359"/>
                  </a:lnTo>
                  <a:lnTo>
                    <a:pt x="755530" y="128115"/>
                  </a:lnTo>
                  <a:lnTo>
                    <a:pt x="755681" y="128266"/>
                  </a:lnTo>
                  <a:lnTo>
                    <a:pt x="755953" y="128266"/>
                  </a:lnTo>
                  <a:lnTo>
                    <a:pt x="756165" y="128478"/>
                  </a:lnTo>
                  <a:lnTo>
                    <a:pt x="756165" y="129295"/>
                  </a:lnTo>
                  <a:lnTo>
                    <a:pt x="754773" y="130384"/>
                  </a:lnTo>
                  <a:lnTo>
                    <a:pt x="755167" y="126149"/>
                  </a:lnTo>
                  <a:lnTo>
                    <a:pt x="757375" y="125060"/>
                  </a:lnTo>
                  <a:lnTo>
                    <a:pt x="759825" y="124576"/>
                  </a:lnTo>
                  <a:lnTo>
                    <a:pt x="761005" y="122155"/>
                  </a:lnTo>
                  <a:lnTo>
                    <a:pt x="762124" y="120492"/>
                  </a:lnTo>
                  <a:lnTo>
                    <a:pt x="767448" y="116166"/>
                  </a:lnTo>
                  <a:lnTo>
                    <a:pt x="769234" y="115107"/>
                  </a:lnTo>
                  <a:lnTo>
                    <a:pt x="779247" y="114018"/>
                  </a:lnTo>
                  <a:lnTo>
                    <a:pt x="780396" y="114623"/>
                  </a:lnTo>
                  <a:lnTo>
                    <a:pt x="781183" y="115652"/>
                  </a:lnTo>
                  <a:lnTo>
                    <a:pt x="782030" y="116015"/>
                  </a:lnTo>
                  <a:lnTo>
                    <a:pt x="783361" y="114532"/>
                  </a:lnTo>
                  <a:lnTo>
                    <a:pt x="784359" y="113866"/>
                  </a:lnTo>
                  <a:lnTo>
                    <a:pt x="785751" y="113746"/>
                  </a:lnTo>
                  <a:lnTo>
                    <a:pt x="788473" y="113988"/>
                  </a:lnTo>
                  <a:lnTo>
                    <a:pt x="788473" y="115077"/>
                  </a:lnTo>
                  <a:lnTo>
                    <a:pt x="786568" y="115803"/>
                  </a:lnTo>
                  <a:lnTo>
                    <a:pt x="781031" y="119403"/>
                  </a:lnTo>
                  <a:lnTo>
                    <a:pt x="783028" y="118132"/>
                  </a:lnTo>
                  <a:lnTo>
                    <a:pt x="785388" y="117467"/>
                  </a:lnTo>
                  <a:lnTo>
                    <a:pt x="790621" y="117134"/>
                  </a:lnTo>
                  <a:lnTo>
                    <a:pt x="789774" y="118949"/>
                  </a:lnTo>
                  <a:lnTo>
                    <a:pt x="788231" y="120098"/>
                  </a:lnTo>
                  <a:lnTo>
                    <a:pt x="784480" y="121581"/>
                  </a:lnTo>
                  <a:lnTo>
                    <a:pt x="784480" y="122639"/>
                  </a:lnTo>
                  <a:lnTo>
                    <a:pt x="785720" y="123154"/>
                  </a:lnTo>
                  <a:lnTo>
                    <a:pt x="787324" y="123154"/>
                  </a:lnTo>
                  <a:lnTo>
                    <a:pt x="788867" y="122579"/>
                  </a:lnTo>
                  <a:lnTo>
                    <a:pt x="789895" y="121550"/>
                  </a:lnTo>
                  <a:lnTo>
                    <a:pt x="790591" y="121550"/>
                  </a:lnTo>
                  <a:lnTo>
                    <a:pt x="790984" y="123245"/>
                  </a:lnTo>
                  <a:lnTo>
                    <a:pt x="790591" y="124303"/>
                  </a:lnTo>
                  <a:lnTo>
                    <a:pt x="789653" y="124787"/>
                  </a:lnTo>
                  <a:lnTo>
                    <a:pt x="788473" y="124787"/>
                  </a:lnTo>
                  <a:lnTo>
                    <a:pt x="790651" y="125514"/>
                  </a:lnTo>
                  <a:lnTo>
                    <a:pt x="791710" y="125604"/>
                  </a:lnTo>
                  <a:lnTo>
                    <a:pt x="792013" y="124606"/>
                  </a:lnTo>
                  <a:lnTo>
                    <a:pt x="792013" y="122095"/>
                  </a:lnTo>
                  <a:lnTo>
                    <a:pt x="792406" y="119493"/>
                  </a:lnTo>
                  <a:lnTo>
                    <a:pt x="793404" y="117436"/>
                  </a:lnTo>
                  <a:lnTo>
                    <a:pt x="794735" y="115924"/>
                  </a:lnTo>
                  <a:lnTo>
                    <a:pt x="796096" y="115046"/>
                  </a:lnTo>
                  <a:lnTo>
                    <a:pt x="793616" y="114169"/>
                  </a:lnTo>
                  <a:lnTo>
                    <a:pt x="791892" y="112082"/>
                  </a:lnTo>
                  <a:lnTo>
                    <a:pt x="789230" y="107574"/>
                  </a:lnTo>
                  <a:lnTo>
                    <a:pt x="787142" y="106183"/>
                  </a:lnTo>
                  <a:lnTo>
                    <a:pt x="782393" y="105124"/>
                  </a:lnTo>
                  <a:lnTo>
                    <a:pt x="780305" y="104126"/>
                  </a:lnTo>
                  <a:lnTo>
                    <a:pt x="779247" y="102734"/>
                  </a:lnTo>
                  <a:lnTo>
                    <a:pt x="778127" y="100344"/>
                  </a:lnTo>
                  <a:lnTo>
                    <a:pt x="777250" y="97561"/>
                  </a:lnTo>
                  <a:lnTo>
                    <a:pt x="776887" y="94899"/>
                  </a:lnTo>
                  <a:lnTo>
                    <a:pt x="777825" y="92570"/>
                  </a:lnTo>
                  <a:lnTo>
                    <a:pt x="780033" y="90573"/>
                  </a:lnTo>
                  <a:lnTo>
                    <a:pt x="784480" y="87820"/>
                  </a:lnTo>
                  <a:lnTo>
                    <a:pt x="787112" y="83978"/>
                  </a:lnTo>
                  <a:lnTo>
                    <a:pt x="786446" y="79894"/>
                  </a:lnTo>
                  <a:lnTo>
                    <a:pt x="783421" y="76778"/>
                  </a:lnTo>
                  <a:lnTo>
                    <a:pt x="778944" y="75871"/>
                  </a:lnTo>
                  <a:lnTo>
                    <a:pt x="765906" y="78170"/>
                  </a:lnTo>
                  <a:lnTo>
                    <a:pt x="761701" y="76839"/>
                  </a:lnTo>
                  <a:lnTo>
                    <a:pt x="760007" y="75538"/>
                  </a:lnTo>
                  <a:lnTo>
                    <a:pt x="758706" y="73783"/>
                  </a:lnTo>
                  <a:lnTo>
                    <a:pt x="757829" y="71514"/>
                  </a:lnTo>
                  <a:lnTo>
                    <a:pt x="757526" y="68671"/>
                  </a:lnTo>
                  <a:lnTo>
                    <a:pt x="758312" y="66402"/>
                  </a:lnTo>
                  <a:lnTo>
                    <a:pt x="760128" y="64920"/>
                  </a:lnTo>
                  <a:lnTo>
                    <a:pt x="762215" y="63831"/>
                  </a:lnTo>
                  <a:lnTo>
                    <a:pt x="763758" y="62681"/>
                  </a:lnTo>
                  <a:lnTo>
                    <a:pt x="763758" y="61683"/>
                  </a:lnTo>
                  <a:lnTo>
                    <a:pt x="761096" y="60352"/>
                  </a:lnTo>
                  <a:lnTo>
                    <a:pt x="758282" y="60352"/>
                  </a:lnTo>
                  <a:lnTo>
                    <a:pt x="744457" y="64103"/>
                  </a:lnTo>
                  <a:lnTo>
                    <a:pt x="743247" y="64890"/>
                  </a:lnTo>
                  <a:lnTo>
                    <a:pt x="742189" y="65948"/>
                  </a:lnTo>
                  <a:lnTo>
                    <a:pt x="741614" y="67037"/>
                  </a:lnTo>
                  <a:lnTo>
                    <a:pt x="741553" y="68883"/>
                  </a:lnTo>
                  <a:lnTo>
                    <a:pt x="742219" y="69064"/>
                  </a:lnTo>
                  <a:lnTo>
                    <a:pt x="743671" y="68096"/>
                  </a:lnTo>
                  <a:lnTo>
                    <a:pt x="748178" y="67037"/>
                  </a:lnTo>
                  <a:lnTo>
                    <a:pt x="748481" y="67703"/>
                  </a:lnTo>
                  <a:lnTo>
                    <a:pt x="748269" y="69185"/>
                  </a:lnTo>
                  <a:lnTo>
                    <a:pt x="747815" y="70698"/>
                  </a:lnTo>
                  <a:lnTo>
                    <a:pt x="747513" y="71363"/>
                  </a:lnTo>
                  <a:lnTo>
                    <a:pt x="746091" y="72574"/>
                  </a:lnTo>
                  <a:lnTo>
                    <a:pt x="744760" y="75266"/>
                  </a:lnTo>
                  <a:lnTo>
                    <a:pt x="744064" y="78200"/>
                  </a:lnTo>
                  <a:lnTo>
                    <a:pt x="744427" y="80076"/>
                  </a:lnTo>
                  <a:lnTo>
                    <a:pt x="746454" y="80650"/>
                  </a:lnTo>
                  <a:lnTo>
                    <a:pt x="748269" y="79380"/>
                  </a:lnTo>
                  <a:lnTo>
                    <a:pt x="749993" y="77656"/>
                  </a:lnTo>
                  <a:lnTo>
                    <a:pt x="752353" y="76355"/>
                  </a:lnTo>
                  <a:lnTo>
                    <a:pt x="753987" y="74267"/>
                  </a:lnTo>
                  <a:lnTo>
                    <a:pt x="754773" y="73481"/>
                  </a:lnTo>
                  <a:lnTo>
                    <a:pt x="756134" y="72452"/>
                  </a:lnTo>
                  <a:lnTo>
                    <a:pt x="756346" y="73088"/>
                  </a:lnTo>
                  <a:lnTo>
                    <a:pt x="757526" y="74691"/>
                  </a:lnTo>
                  <a:lnTo>
                    <a:pt x="758192" y="75810"/>
                  </a:lnTo>
                  <a:lnTo>
                    <a:pt x="758524" y="76839"/>
                  </a:lnTo>
                  <a:lnTo>
                    <a:pt x="759160" y="77625"/>
                  </a:lnTo>
                  <a:lnTo>
                    <a:pt x="760672" y="77928"/>
                  </a:lnTo>
                  <a:lnTo>
                    <a:pt x="761640" y="78442"/>
                  </a:lnTo>
                  <a:lnTo>
                    <a:pt x="762336" y="79592"/>
                  </a:lnTo>
                  <a:lnTo>
                    <a:pt x="762880" y="80711"/>
                  </a:lnTo>
                  <a:lnTo>
                    <a:pt x="763425" y="81225"/>
                  </a:lnTo>
                  <a:lnTo>
                    <a:pt x="766874" y="81407"/>
                  </a:lnTo>
                  <a:lnTo>
                    <a:pt x="767963" y="81225"/>
                  </a:lnTo>
                  <a:lnTo>
                    <a:pt x="768689" y="80681"/>
                  </a:lnTo>
                  <a:lnTo>
                    <a:pt x="769324" y="79803"/>
                  </a:lnTo>
                  <a:lnTo>
                    <a:pt x="770141" y="79138"/>
                  </a:lnTo>
                  <a:lnTo>
                    <a:pt x="771381" y="79077"/>
                  </a:lnTo>
                  <a:lnTo>
                    <a:pt x="771381" y="80046"/>
                  </a:lnTo>
                  <a:lnTo>
                    <a:pt x="770595" y="80227"/>
                  </a:lnTo>
                  <a:lnTo>
                    <a:pt x="770171" y="80499"/>
                  </a:lnTo>
                  <a:lnTo>
                    <a:pt x="769838" y="80832"/>
                  </a:lnTo>
                  <a:lnTo>
                    <a:pt x="769263" y="81225"/>
                  </a:lnTo>
                  <a:lnTo>
                    <a:pt x="769263" y="82314"/>
                  </a:lnTo>
                  <a:lnTo>
                    <a:pt x="770050" y="83222"/>
                  </a:lnTo>
                  <a:lnTo>
                    <a:pt x="770595" y="84371"/>
                  </a:lnTo>
                  <a:lnTo>
                    <a:pt x="771381" y="86580"/>
                  </a:lnTo>
                  <a:lnTo>
                    <a:pt x="771381" y="87759"/>
                  </a:lnTo>
                  <a:lnTo>
                    <a:pt x="770716" y="88274"/>
                  </a:lnTo>
                  <a:lnTo>
                    <a:pt x="770232" y="88939"/>
                  </a:lnTo>
                  <a:lnTo>
                    <a:pt x="769263" y="91027"/>
                  </a:lnTo>
                  <a:lnTo>
                    <a:pt x="769990" y="92237"/>
                  </a:lnTo>
                  <a:lnTo>
                    <a:pt x="764817" y="92358"/>
                  </a:lnTo>
                  <a:lnTo>
                    <a:pt x="762306" y="91511"/>
                  </a:lnTo>
                  <a:lnTo>
                    <a:pt x="760309" y="88848"/>
                  </a:lnTo>
                  <a:lnTo>
                    <a:pt x="760944" y="86429"/>
                  </a:lnTo>
                  <a:lnTo>
                    <a:pt x="759765" y="84251"/>
                  </a:lnTo>
                  <a:lnTo>
                    <a:pt x="757980" y="82163"/>
                  </a:lnTo>
                  <a:lnTo>
                    <a:pt x="756860" y="80046"/>
                  </a:lnTo>
                  <a:lnTo>
                    <a:pt x="755499" y="81225"/>
                  </a:lnTo>
                  <a:lnTo>
                    <a:pt x="755499" y="82314"/>
                  </a:lnTo>
                  <a:lnTo>
                    <a:pt x="756346" y="82556"/>
                  </a:lnTo>
                  <a:lnTo>
                    <a:pt x="757314" y="83282"/>
                  </a:lnTo>
                  <a:lnTo>
                    <a:pt x="758161" y="83525"/>
                  </a:lnTo>
                  <a:lnTo>
                    <a:pt x="757556" y="85279"/>
                  </a:lnTo>
                  <a:lnTo>
                    <a:pt x="756679" y="86277"/>
                  </a:lnTo>
                  <a:lnTo>
                    <a:pt x="755530" y="86640"/>
                  </a:lnTo>
                  <a:lnTo>
                    <a:pt x="754078" y="86550"/>
                  </a:lnTo>
                  <a:lnTo>
                    <a:pt x="755015" y="84251"/>
                  </a:lnTo>
                  <a:lnTo>
                    <a:pt x="755530" y="83494"/>
                  </a:lnTo>
                  <a:lnTo>
                    <a:pt x="755076" y="82768"/>
                  </a:lnTo>
                  <a:lnTo>
                    <a:pt x="754592" y="82375"/>
                  </a:lnTo>
                  <a:lnTo>
                    <a:pt x="754047" y="82284"/>
                  </a:lnTo>
                  <a:lnTo>
                    <a:pt x="753412" y="82284"/>
                  </a:lnTo>
                  <a:lnTo>
                    <a:pt x="754289" y="81407"/>
                  </a:lnTo>
                  <a:lnTo>
                    <a:pt x="755045" y="79985"/>
                  </a:lnTo>
                  <a:lnTo>
                    <a:pt x="756165" y="76748"/>
                  </a:lnTo>
                  <a:lnTo>
                    <a:pt x="754471" y="77353"/>
                  </a:lnTo>
                  <a:lnTo>
                    <a:pt x="752595" y="78684"/>
                  </a:lnTo>
                  <a:lnTo>
                    <a:pt x="750750" y="80469"/>
                  </a:lnTo>
                  <a:lnTo>
                    <a:pt x="749298" y="82314"/>
                  </a:lnTo>
                  <a:lnTo>
                    <a:pt x="750114" y="84795"/>
                  </a:lnTo>
                  <a:lnTo>
                    <a:pt x="749751" y="86610"/>
                  </a:lnTo>
                  <a:lnTo>
                    <a:pt x="748965" y="87215"/>
                  </a:lnTo>
                  <a:close/>
                  <a:moveTo>
                    <a:pt x="251329" y="57357"/>
                  </a:moveTo>
                  <a:lnTo>
                    <a:pt x="251601" y="57175"/>
                  </a:lnTo>
                  <a:lnTo>
                    <a:pt x="251904" y="57175"/>
                  </a:lnTo>
                  <a:lnTo>
                    <a:pt x="252055" y="57024"/>
                  </a:lnTo>
                  <a:lnTo>
                    <a:pt x="252055" y="56268"/>
                  </a:lnTo>
                  <a:lnTo>
                    <a:pt x="249816" y="57024"/>
                  </a:lnTo>
                  <a:lnTo>
                    <a:pt x="248001" y="58839"/>
                  </a:lnTo>
                  <a:lnTo>
                    <a:pt x="245097" y="63891"/>
                  </a:lnTo>
                  <a:lnTo>
                    <a:pt x="247093" y="66402"/>
                  </a:lnTo>
                  <a:lnTo>
                    <a:pt x="248999" y="69578"/>
                  </a:lnTo>
                  <a:lnTo>
                    <a:pt x="251359" y="71575"/>
                  </a:lnTo>
                  <a:lnTo>
                    <a:pt x="254777" y="70425"/>
                  </a:lnTo>
                  <a:lnTo>
                    <a:pt x="256139" y="69336"/>
                  </a:lnTo>
                  <a:lnTo>
                    <a:pt x="254233" y="68338"/>
                  </a:lnTo>
                  <a:lnTo>
                    <a:pt x="249211" y="59596"/>
                  </a:lnTo>
                  <a:lnTo>
                    <a:pt x="250240" y="58385"/>
                  </a:lnTo>
                  <a:lnTo>
                    <a:pt x="251359" y="57327"/>
                  </a:lnTo>
                  <a:close/>
                  <a:moveTo>
                    <a:pt x="264579" y="60563"/>
                  </a:moveTo>
                  <a:lnTo>
                    <a:pt x="267211" y="59626"/>
                  </a:lnTo>
                  <a:lnTo>
                    <a:pt x="268088" y="60291"/>
                  </a:lnTo>
                  <a:lnTo>
                    <a:pt x="269631" y="60836"/>
                  </a:lnTo>
                  <a:lnTo>
                    <a:pt x="271325" y="61017"/>
                  </a:lnTo>
                  <a:lnTo>
                    <a:pt x="272717" y="60624"/>
                  </a:lnTo>
                  <a:lnTo>
                    <a:pt x="273564" y="59535"/>
                  </a:lnTo>
                  <a:lnTo>
                    <a:pt x="274713" y="56449"/>
                  </a:lnTo>
                  <a:lnTo>
                    <a:pt x="275560" y="55179"/>
                  </a:lnTo>
                  <a:lnTo>
                    <a:pt x="275560" y="54090"/>
                  </a:lnTo>
                  <a:lnTo>
                    <a:pt x="273775" y="51216"/>
                  </a:lnTo>
                  <a:lnTo>
                    <a:pt x="271476" y="49915"/>
                  </a:lnTo>
                  <a:lnTo>
                    <a:pt x="265880" y="49612"/>
                  </a:lnTo>
                  <a:lnTo>
                    <a:pt x="262522" y="49885"/>
                  </a:lnTo>
                  <a:lnTo>
                    <a:pt x="259769" y="50883"/>
                  </a:lnTo>
                  <a:lnTo>
                    <a:pt x="257500" y="52910"/>
                  </a:lnTo>
                  <a:lnTo>
                    <a:pt x="255503" y="56268"/>
                  </a:lnTo>
                  <a:lnTo>
                    <a:pt x="261372" y="59626"/>
                  </a:lnTo>
                  <a:lnTo>
                    <a:pt x="264639" y="60563"/>
                  </a:lnTo>
                  <a:close/>
                  <a:moveTo>
                    <a:pt x="921973" y="589873"/>
                  </a:moveTo>
                  <a:lnTo>
                    <a:pt x="921610" y="589419"/>
                  </a:lnTo>
                  <a:lnTo>
                    <a:pt x="922124" y="585123"/>
                  </a:lnTo>
                  <a:lnTo>
                    <a:pt x="920672" y="582219"/>
                  </a:lnTo>
                  <a:lnTo>
                    <a:pt x="918403" y="579769"/>
                  </a:lnTo>
                  <a:lnTo>
                    <a:pt x="916558" y="576744"/>
                  </a:lnTo>
                  <a:lnTo>
                    <a:pt x="916286" y="575746"/>
                  </a:lnTo>
                  <a:lnTo>
                    <a:pt x="915832" y="573083"/>
                  </a:lnTo>
                  <a:lnTo>
                    <a:pt x="915832" y="572932"/>
                  </a:lnTo>
                  <a:lnTo>
                    <a:pt x="915227" y="566670"/>
                  </a:lnTo>
                  <a:lnTo>
                    <a:pt x="914833" y="562768"/>
                  </a:lnTo>
                  <a:lnTo>
                    <a:pt x="915680" y="560922"/>
                  </a:lnTo>
                  <a:lnTo>
                    <a:pt x="914652" y="558895"/>
                  </a:lnTo>
                  <a:lnTo>
                    <a:pt x="912807" y="557080"/>
                  </a:lnTo>
                  <a:lnTo>
                    <a:pt x="911234" y="555961"/>
                  </a:lnTo>
                  <a:lnTo>
                    <a:pt x="908965" y="554963"/>
                  </a:lnTo>
                  <a:lnTo>
                    <a:pt x="904245" y="553692"/>
                  </a:lnTo>
                  <a:lnTo>
                    <a:pt x="901947" y="552482"/>
                  </a:lnTo>
                  <a:lnTo>
                    <a:pt x="901947" y="552482"/>
                  </a:lnTo>
                  <a:lnTo>
                    <a:pt x="899829" y="551060"/>
                  </a:lnTo>
                  <a:lnTo>
                    <a:pt x="893234" y="549034"/>
                  </a:lnTo>
                  <a:lnTo>
                    <a:pt x="891025" y="546886"/>
                  </a:lnTo>
                  <a:lnTo>
                    <a:pt x="890693" y="545312"/>
                  </a:lnTo>
                  <a:lnTo>
                    <a:pt x="890451" y="544254"/>
                  </a:lnTo>
                  <a:lnTo>
                    <a:pt x="891268" y="541380"/>
                  </a:lnTo>
                  <a:lnTo>
                    <a:pt x="893234" y="538506"/>
                  </a:lnTo>
                  <a:lnTo>
                    <a:pt x="894444" y="535541"/>
                  </a:lnTo>
                  <a:lnTo>
                    <a:pt x="894263" y="531639"/>
                  </a:lnTo>
                  <a:lnTo>
                    <a:pt x="893264" y="527858"/>
                  </a:lnTo>
                  <a:lnTo>
                    <a:pt x="891963" y="525286"/>
                  </a:lnTo>
                  <a:lnTo>
                    <a:pt x="887063" y="521535"/>
                  </a:lnTo>
                  <a:lnTo>
                    <a:pt x="884794" y="519085"/>
                  </a:lnTo>
                  <a:lnTo>
                    <a:pt x="883765" y="515303"/>
                  </a:lnTo>
                  <a:lnTo>
                    <a:pt x="883372" y="511370"/>
                  </a:lnTo>
                  <a:lnTo>
                    <a:pt x="881980" y="509646"/>
                  </a:lnTo>
                  <a:lnTo>
                    <a:pt x="880165" y="508497"/>
                  </a:lnTo>
                  <a:lnTo>
                    <a:pt x="878532" y="506167"/>
                  </a:lnTo>
                  <a:lnTo>
                    <a:pt x="878229" y="502991"/>
                  </a:lnTo>
                  <a:lnTo>
                    <a:pt x="879560" y="500419"/>
                  </a:lnTo>
                  <a:lnTo>
                    <a:pt x="885338" y="495004"/>
                  </a:lnTo>
                  <a:lnTo>
                    <a:pt x="887184" y="492705"/>
                  </a:lnTo>
                  <a:lnTo>
                    <a:pt x="888727" y="490013"/>
                  </a:lnTo>
                  <a:lnTo>
                    <a:pt x="889604" y="487078"/>
                  </a:lnTo>
                  <a:lnTo>
                    <a:pt x="889936" y="477943"/>
                  </a:lnTo>
                  <a:lnTo>
                    <a:pt x="890481" y="476490"/>
                  </a:lnTo>
                  <a:lnTo>
                    <a:pt x="892659" y="472860"/>
                  </a:lnTo>
                  <a:lnTo>
                    <a:pt x="893083" y="471439"/>
                  </a:lnTo>
                  <a:lnTo>
                    <a:pt x="893264" y="470047"/>
                  </a:lnTo>
                  <a:lnTo>
                    <a:pt x="893597" y="468716"/>
                  </a:lnTo>
                  <a:lnTo>
                    <a:pt x="894353" y="467445"/>
                  </a:lnTo>
                  <a:lnTo>
                    <a:pt x="896229" y="465328"/>
                  </a:lnTo>
                  <a:lnTo>
                    <a:pt x="889664" y="460820"/>
                  </a:lnTo>
                  <a:lnTo>
                    <a:pt x="888666" y="458672"/>
                  </a:lnTo>
                  <a:lnTo>
                    <a:pt x="889301" y="454770"/>
                  </a:lnTo>
                  <a:lnTo>
                    <a:pt x="890390" y="452017"/>
                  </a:lnTo>
                  <a:lnTo>
                    <a:pt x="890784" y="449869"/>
                  </a:lnTo>
                  <a:lnTo>
                    <a:pt x="889332" y="447752"/>
                  </a:lnTo>
                  <a:lnTo>
                    <a:pt x="889332" y="446814"/>
                  </a:lnTo>
                  <a:lnTo>
                    <a:pt x="891298" y="444424"/>
                  </a:lnTo>
                  <a:lnTo>
                    <a:pt x="891298" y="441338"/>
                  </a:lnTo>
                  <a:lnTo>
                    <a:pt x="889755" y="438676"/>
                  </a:lnTo>
                  <a:lnTo>
                    <a:pt x="886942" y="437527"/>
                  </a:lnTo>
                  <a:lnTo>
                    <a:pt x="884098" y="436922"/>
                  </a:lnTo>
                  <a:lnTo>
                    <a:pt x="880680" y="435288"/>
                  </a:lnTo>
                  <a:lnTo>
                    <a:pt x="878411" y="432959"/>
                  </a:lnTo>
                  <a:lnTo>
                    <a:pt x="879016" y="430206"/>
                  </a:lnTo>
                  <a:lnTo>
                    <a:pt x="876898" y="425819"/>
                  </a:lnTo>
                  <a:lnTo>
                    <a:pt x="874508" y="419225"/>
                  </a:lnTo>
                  <a:lnTo>
                    <a:pt x="873934" y="413205"/>
                  </a:lnTo>
                  <a:lnTo>
                    <a:pt x="879137" y="408969"/>
                  </a:lnTo>
                  <a:lnTo>
                    <a:pt x="881557" y="405400"/>
                  </a:lnTo>
                  <a:lnTo>
                    <a:pt x="883221" y="401860"/>
                  </a:lnTo>
                  <a:lnTo>
                    <a:pt x="882767" y="400227"/>
                  </a:lnTo>
                  <a:lnTo>
                    <a:pt x="880891" y="398653"/>
                  </a:lnTo>
                  <a:lnTo>
                    <a:pt x="881678" y="395114"/>
                  </a:lnTo>
                  <a:lnTo>
                    <a:pt x="884491" y="389669"/>
                  </a:lnTo>
                  <a:lnTo>
                    <a:pt x="881345" y="387309"/>
                  </a:lnTo>
                  <a:lnTo>
                    <a:pt x="880771" y="386704"/>
                  </a:lnTo>
                  <a:lnTo>
                    <a:pt x="874932" y="380654"/>
                  </a:lnTo>
                  <a:lnTo>
                    <a:pt x="868912" y="378446"/>
                  </a:lnTo>
                  <a:lnTo>
                    <a:pt x="866008" y="374815"/>
                  </a:lnTo>
                  <a:lnTo>
                    <a:pt x="864102" y="373999"/>
                  </a:lnTo>
                  <a:lnTo>
                    <a:pt x="863043" y="373061"/>
                  </a:lnTo>
                  <a:lnTo>
                    <a:pt x="859595" y="366799"/>
                  </a:lnTo>
                  <a:lnTo>
                    <a:pt x="858021" y="365105"/>
                  </a:lnTo>
                  <a:lnTo>
                    <a:pt x="847343" y="357844"/>
                  </a:lnTo>
                  <a:lnTo>
                    <a:pt x="844590" y="356483"/>
                  </a:lnTo>
                  <a:lnTo>
                    <a:pt x="841323" y="352913"/>
                  </a:lnTo>
                  <a:lnTo>
                    <a:pt x="839296" y="352096"/>
                  </a:lnTo>
                  <a:lnTo>
                    <a:pt x="837057" y="351945"/>
                  </a:lnTo>
                  <a:lnTo>
                    <a:pt x="834940" y="351340"/>
                  </a:lnTo>
                  <a:lnTo>
                    <a:pt x="833185" y="350070"/>
                  </a:lnTo>
                  <a:lnTo>
                    <a:pt x="832005" y="347922"/>
                  </a:lnTo>
                  <a:lnTo>
                    <a:pt x="834697" y="345774"/>
                  </a:lnTo>
                  <a:lnTo>
                    <a:pt x="835726" y="343929"/>
                  </a:lnTo>
                  <a:lnTo>
                    <a:pt x="836119" y="341025"/>
                  </a:lnTo>
                  <a:lnTo>
                    <a:pt x="835907" y="339089"/>
                  </a:lnTo>
                  <a:lnTo>
                    <a:pt x="834697" y="333673"/>
                  </a:lnTo>
                  <a:lnTo>
                    <a:pt x="834092" y="332131"/>
                  </a:lnTo>
                  <a:lnTo>
                    <a:pt x="834092" y="331163"/>
                  </a:lnTo>
                  <a:lnTo>
                    <a:pt x="838963" y="327805"/>
                  </a:lnTo>
                  <a:lnTo>
                    <a:pt x="845074" y="324870"/>
                  </a:lnTo>
                  <a:lnTo>
                    <a:pt x="851003" y="320514"/>
                  </a:lnTo>
                  <a:lnTo>
                    <a:pt x="854089" y="317519"/>
                  </a:lnTo>
                  <a:lnTo>
                    <a:pt x="855450" y="314736"/>
                  </a:lnTo>
                  <a:lnTo>
                    <a:pt x="855722" y="313465"/>
                  </a:lnTo>
                  <a:lnTo>
                    <a:pt x="858747" y="304753"/>
                  </a:lnTo>
                  <a:lnTo>
                    <a:pt x="858535" y="302545"/>
                  </a:lnTo>
                  <a:lnTo>
                    <a:pt x="857931" y="300367"/>
                  </a:lnTo>
                  <a:lnTo>
                    <a:pt x="857568" y="297856"/>
                  </a:lnTo>
                  <a:lnTo>
                    <a:pt x="857840" y="295799"/>
                  </a:lnTo>
                  <a:lnTo>
                    <a:pt x="858566" y="293923"/>
                  </a:lnTo>
                  <a:lnTo>
                    <a:pt x="859564" y="292562"/>
                  </a:lnTo>
                  <a:lnTo>
                    <a:pt x="860623" y="292017"/>
                  </a:lnTo>
                  <a:lnTo>
                    <a:pt x="861349" y="290989"/>
                  </a:lnTo>
                  <a:lnTo>
                    <a:pt x="863981" y="286239"/>
                  </a:lnTo>
                  <a:lnTo>
                    <a:pt x="862650" y="285120"/>
                  </a:lnTo>
                  <a:lnTo>
                    <a:pt x="862257" y="284273"/>
                  </a:lnTo>
                  <a:lnTo>
                    <a:pt x="860744" y="283063"/>
                  </a:lnTo>
                  <a:lnTo>
                    <a:pt x="860139" y="282065"/>
                  </a:lnTo>
                  <a:lnTo>
                    <a:pt x="859836" y="280552"/>
                  </a:lnTo>
                  <a:lnTo>
                    <a:pt x="859776" y="277739"/>
                  </a:lnTo>
                  <a:lnTo>
                    <a:pt x="859624" y="276438"/>
                  </a:lnTo>
                  <a:lnTo>
                    <a:pt x="858929" y="273534"/>
                  </a:lnTo>
                  <a:lnTo>
                    <a:pt x="856842" y="264519"/>
                  </a:lnTo>
                  <a:lnTo>
                    <a:pt x="855783" y="256502"/>
                  </a:lnTo>
                  <a:lnTo>
                    <a:pt x="853665" y="253235"/>
                  </a:lnTo>
                  <a:lnTo>
                    <a:pt x="852606" y="249998"/>
                  </a:lnTo>
                  <a:lnTo>
                    <a:pt x="850156" y="246519"/>
                  </a:lnTo>
                  <a:lnTo>
                    <a:pt x="849430" y="243312"/>
                  </a:lnTo>
                  <a:lnTo>
                    <a:pt x="849370" y="239864"/>
                  </a:lnTo>
                  <a:lnTo>
                    <a:pt x="849642" y="234176"/>
                  </a:lnTo>
                  <a:lnTo>
                    <a:pt x="849460" y="232634"/>
                  </a:lnTo>
                  <a:lnTo>
                    <a:pt x="847343" y="226583"/>
                  </a:lnTo>
                  <a:lnTo>
                    <a:pt x="845830" y="223528"/>
                  </a:lnTo>
                  <a:lnTo>
                    <a:pt x="846254" y="221108"/>
                  </a:lnTo>
                  <a:lnTo>
                    <a:pt x="846132" y="216721"/>
                  </a:lnTo>
                  <a:lnTo>
                    <a:pt x="846132" y="216721"/>
                  </a:lnTo>
                  <a:lnTo>
                    <a:pt x="845376" y="216812"/>
                  </a:lnTo>
                  <a:lnTo>
                    <a:pt x="843742" y="216601"/>
                  </a:lnTo>
                  <a:lnTo>
                    <a:pt x="842260" y="216116"/>
                  </a:lnTo>
                  <a:lnTo>
                    <a:pt x="840990" y="215451"/>
                  </a:lnTo>
                  <a:lnTo>
                    <a:pt x="845679" y="212335"/>
                  </a:lnTo>
                  <a:lnTo>
                    <a:pt x="846465" y="211185"/>
                  </a:lnTo>
                  <a:lnTo>
                    <a:pt x="846193" y="208644"/>
                  </a:lnTo>
                  <a:lnTo>
                    <a:pt x="844741" y="207343"/>
                  </a:lnTo>
                  <a:lnTo>
                    <a:pt x="843138" y="207071"/>
                  </a:lnTo>
                  <a:lnTo>
                    <a:pt x="842381" y="207525"/>
                  </a:lnTo>
                  <a:lnTo>
                    <a:pt x="841171" y="209703"/>
                  </a:lnTo>
                  <a:lnTo>
                    <a:pt x="838328" y="210490"/>
                  </a:lnTo>
                  <a:lnTo>
                    <a:pt x="830250" y="209945"/>
                  </a:lnTo>
                  <a:lnTo>
                    <a:pt x="829040" y="209491"/>
                  </a:lnTo>
                  <a:lnTo>
                    <a:pt x="826499" y="208069"/>
                  </a:lnTo>
                  <a:lnTo>
                    <a:pt x="825773" y="207918"/>
                  </a:lnTo>
                  <a:lnTo>
                    <a:pt x="823323" y="208069"/>
                  </a:lnTo>
                  <a:lnTo>
                    <a:pt x="822930" y="207737"/>
                  </a:lnTo>
                  <a:lnTo>
                    <a:pt x="821296" y="205861"/>
                  </a:lnTo>
                  <a:lnTo>
                    <a:pt x="817969" y="205165"/>
                  </a:lnTo>
                  <a:lnTo>
                    <a:pt x="810557" y="199448"/>
                  </a:lnTo>
                  <a:lnTo>
                    <a:pt x="809468" y="199659"/>
                  </a:lnTo>
                  <a:lnTo>
                    <a:pt x="807834" y="198329"/>
                  </a:lnTo>
                  <a:lnTo>
                    <a:pt x="806352" y="196332"/>
                  </a:lnTo>
                  <a:lnTo>
                    <a:pt x="805717" y="194608"/>
                  </a:lnTo>
                  <a:lnTo>
                    <a:pt x="804869" y="194033"/>
                  </a:lnTo>
                  <a:lnTo>
                    <a:pt x="802994" y="193639"/>
                  </a:lnTo>
                  <a:lnTo>
                    <a:pt x="801118" y="192793"/>
                  </a:lnTo>
                  <a:lnTo>
                    <a:pt x="800211" y="190887"/>
                  </a:lnTo>
                  <a:lnTo>
                    <a:pt x="801239" y="188860"/>
                  </a:lnTo>
                  <a:lnTo>
                    <a:pt x="808439" y="183384"/>
                  </a:lnTo>
                  <a:lnTo>
                    <a:pt x="809589" y="181902"/>
                  </a:lnTo>
                  <a:lnTo>
                    <a:pt x="810224" y="180147"/>
                  </a:lnTo>
                  <a:lnTo>
                    <a:pt x="810073" y="178665"/>
                  </a:lnTo>
                  <a:lnTo>
                    <a:pt x="808833" y="178030"/>
                  </a:lnTo>
                  <a:lnTo>
                    <a:pt x="808258" y="177969"/>
                  </a:lnTo>
                  <a:lnTo>
                    <a:pt x="807622" y="177727"/>
                  </a:lnTo>
                  <a:lnTo>
                    <a:pt x="806987" y="177394"/>
                  </a:lnTo>
                  <a:lnTo>
                    <a:pt x="806443" y="176971"/>
                  </a:lnTo>
                  <a:lnTo>
                    <a:pt x="806110" y="176850"/>
                  </a:lnTo>
                  <a:lnTo>
                    <a:pt x="804658" y="176971"/>
                  </a:lnTo>
                  <a:lnTo>
                    <a:pt x="804265" y="176699"/>
                  </a:lnTo>
                  <a:lnTo>
                    <a:pt x="804265" y="176094"/>
                  </a:lnTo>
                  <a:lnTo>
                    <a:pt x="804416" y="175368"/>
                  </a:lnTo>
                  <a:lnTo>
                    <a:pt x="804295" y="174793"/>
                  </a:lnTo>
                  <a:lnTo>
                    <a:pt x="804023" y="174067"/>
                  </a:lnTo>
                  <a:lnTo>
                    <a:pt x="803720" y="172917"/>
                  </a:lnTo>
                  <a:lnTo>
                    <a:pt x="803266" y="171828"/>
                  </a:lnTo>
                  <a:lnTo>
                    <a:pt x="802570" y="171374"/>
                  </a:lnTo>
                  <a:lnTo>
                    <a:pt x="799727" y="170255"/>
                  </a:lnTo>
                  <a:lnTo>
                    <a:pt x="799152" y="169832"/>
                  </a:lnTo>
                  <a:lnTo>
                    <a:pt x="798093" y="168229"/>
                  </a:lnTo>
                  <a:lnTo>
                    <a:pt x="795189" y="164780"/>
                  </a:lnTo>
                  <a:lnTo>
                    <a:pt x="793979" y="163902"/>
                  </a:lnTo>
                  <a:lnTo>
                    <a:pt x="796732" y="162360"/>
                  </a:lnTo>
                  <a:lnTo>
                    <a:pt x="797972" y="159576"/>
                  </a:lnTo>
                  <a:lnTo>
                    <a:pt x="798789" y="156551"/>
                  </a:lnTo>
                  <a:lnTo>
                    <a:pt x="800241" y="154252"/>
                  </a:lnTo>
                  <a:lnTo>
                    <a:pt x="800241" y="153193"/>
                  </a:lnTo>
                  <a:lnTo>
                    <a:pt x="792255" y="147022"/>
                  </a:lnTo>
                  <a:lnTo>
                    <a:pt x="789199" y="145570"/>
                  </a:lnTo>
                  <a:lnTo>
                    <a:pt x="789199" y="144602"/>
                  </a:lnTo>
                  <a:lnTo>
                    <a:pt x="790198" y="144360"/>
                  </a:lnTo>
                  <a:lnTo>
                    <a:pt x="790833" y="143876"/>
                  </a:lnTo>
                  <a:lnTo>
                    <a:pt x="791014" y="143180"/>
                  </a:lnTo>
                  <a:lnTo>
                    <a:pt x="790561" y="142363"/>
                  </a:lnTo>
                  <a:lnTo>
                    <a:pt x="787687" y="143241"/>
                  </a:lnTo>
                  <a:lnTo>
                    <a:pt x="782544" y="146478"/>
                  </a:lnTo>
                  <a:lnTo>
                    <a:pt x="779579" y="147748"/>
                  </a:lnTo>
                  <a:lnTo>
                    <a:pt x="767146" y="149987"/>
                  </a:lnTo>
                  <a:lnTo>
                    <a:pt x="767146" y="151076"/>
                  </a:lnTo>
                  <a:lnTo>
                    <a:pt x="767963" y="151772"/>
                  </a:lnTo>
                  <a:lnTo>
                    <a:pt x="769112" y="153587"/>
                  </a:lnTo>
                  <a:lnTo>
                    <a:pt x="769929" y="154313"/>
                  </a:lnTo>
                  <a:lnTo>
                    <a:pt x="769929" y="155402"/>
                  </a:lnTo>
                  <a:lnTo>
                    <a:pt x="767570" y="155402"/>
                  </a:lnTo>
                  <a:lnTo>
                    <a:pt x="765724" y="154222"/>
                  </a:lnTo>
                  <a:lnTo>
                    <a:pt x="764242" y="152347"/>
                  </a:lnTo>
                  <a:lnTo>
                    <a:pt x="762971" y="150017"/>
                  </a:lnTo>
                  <a:lnTo>
                    <a:pt x="761519" y="146417"/>
                  </a:lnTo>
                  <a:lnTo>
                    <a:pt x="760975" y="145630"/>
                  </a:lnTo>
                  <a:lnTo>
                    <a:pt x="760067" y="145389"/>
                  </a:lnTo>
                  <a:lnTo>
                    <a:pt x="759402" y="145903"/>
                  </a:lnTo>
                  <a:lnTo>
                    <a:pt x="758675" y="146296"/>
                  </a:lnTo>
                  <a:lnTo>
                    <a:pt x="757496" y="145630"/>
                  </a:lnTo>
                  <a:lnTo>
                    <a:pt x="758282" y="144965"/>
                  </a:lnTo>
                  <a:lnTo>
                    <a:pt x="758766" y="144239"/>
                  </a:lnTo>
                  <a:lnTo>
                    <a:pt x="759553" y="142394"/>
                  </a:lnTo>
                  <a:lnTo>
                    <a:pt x="757556" y="141668"/>
                  </a:lnTo>
                  <a:lnTo>
                    <a:pt x="753805" y="143452"/>
                  </a:lnTo>
                  <a:lnTo>
                    <a:pt x="751294" y="143452"/>
                  </a:lnTo>
                  <a:lnTo>
                    <a:pt x="752474" y="142333"/>
                  </a:lnTo>
                  <a:lnTo>
                    <a:pt x="754047" y="141305"/>
                  </a:lnTo>
                  <a:lnTo>
                    <a:pt x="751325" y="139096"/>
                  </a:lnTo>
                  <a:lnTo>
                    <a:pt x="747997" y="132804"/>
                  </a:lnTo>
                  <a:lnTo>
                    <a:pt x="745425" y="131503"/>
                  </a:lnTo>
                  <a:lnTo>
                    <a:pt x="741916" y="130747"/>
                  </a:lnTo>
                  <a:lnTo>
                    <a:pt x="736653" y="127994"/>
                  </a:lnTo>
                  <a:lnTo>
                    <a:pt x="733355" y="128266"/>
                  </a:lnTo>
                  <a:lnTo>
                    <a:pt x="734474" y="127570"/>
                  </a:lnTo>
                  <a:lnTo>
                    <a:pt x="735170" y="127298"/>
                  </a:lnTo>
                  <a:lnTo>
                    <a:pt x="736108" y="127298"/>
                  </a:lnTo>
                  <a:lnTo>
                    <a:pt x="736108" y="126088"/>
                  </a:lnTo>
                  <a:lnTo>
                    <a:pt x="731631" y="126088"/>
                  </a:lnTo>
                  <a:lnTo>
                    <a:pt x="730512" y="125543"/>
                  </a:lnTo>
                  <a:lnTo>
                    <a:pt x="730239" y="124213"/>
                  </a:lnTo>
                  <a:lnTo>
                    <a:pt x="730239" y="122488"/>
                  </a:lnTo>
                  <a:lnTo>
                    <a:pt x="729937" y="120764"/>
                  </a:lnTo>
                  <a:lnTo>
                    <a:pt x="727093" y="116498"/>
                  </a:lnTo>
                  <a:lnTo>
                    <a:pt x="726670" y="114048"/>
                  </a:lnTo>
                  <a:lnTo>
                    <a:pt x="728575" y="110932"/>
                  </a:lnTo>
                  <a:lnTo>
                    <a:pt x="727396" y="109843"/>
                  </a:lnTo>
                  <a:lnTo>
                    <a:pt x="723040" y="107756"/>
                  </a:lnTo>
                  <a:lnTo>
                    <a:pt x="721860" y="106213"/>
                  </a:lnTo>
                  <a:lnTo>
                    <a:pt x="721103" y="104216"/>
                  </a:lnTo>
                  <a:lnTo>
                    <a:pt x="721103" y="102311"/>
                  </a:lnTo>
                  <a:lnTo>
                    <a:pt x="722434" y="101161"/>
                  </a:lnTo>
                  <a:lnTo>
                    <a:pt x="719863" y="100465"/>
                  </a:lnTo>
                  <a:lnTo>
                    <a:pt x="715870" y="101857"/>
                  </a:lnTo>
                  <a:lnTo>
                    <a:pt x="711877" y="104247"/>
                  </a:lnTo>
                  <a:lnTo>
                    <a:pt x="709305" y="106606"/>
                  </a:lnTo>
                  <a:lnTo>
                    <a:pt x="708398" y="108179"/>
                  </a:lnTo>
                  <a:lnTo>
                    <a:pt x="707339" y="110751"/>
                  </a:lnTo>
                  <a:lnTo>
                    <a:pt x="706492" y="112021"/>
                  </a:lnTo>
                  <a:lnTo>
                    <a:pt x="705342" y="112959"/>
                  </a:lnTo>
                  <a:lnTo>
                    <a:pt x="704344" y="113231"/>
                  </a:lnTo>
                  <a:lnTo>
                    <a:pt x="702408" y="113110"/>
                  </a:lnTo>
                  <a:lnTo>
                    <a:pt x="701410" y="113322"/>
                  </a:lnTo>
                  <a:lnTo>
                    <a:pt x="701047" y="113473"/>
                  </a:lnTo>
                  <a:lnTo>
                    <a:pt x="700684" y="113201"/>
                  </a:lnTo>
                  <a:lnTo>
                    <a:pt x="698959" y="111174"/>
                  </a:lnTo>
                  <a:lnTo>
                    <a:pt x="698324" y="110146"/>
                  </a:lnTo>
                  <a:lnTo>
                    <a:pt x="697840" y="108996"/>
                  </a:lnTo>
                  <a:lnTo>
                    <a:pt x="697568" y="107756"/>
                  </a:lnTo>
                  <a:lnTo>
                    <a:pt x="696690" y="108935"/>
                  </a:lnTo>
                  <a:lnTo>
                    <a:pt x="695722" y="109692"/>
                  </a:lnTo>
                  <a:lnTo>
                    <a:pt x="694633" y="109692"/>
                  </a:lnTo>
                  <a:lnTo>
                    <a:pt x="693454" y="108754"/>
                  </a:lnTo>
                  <a:lnTo>
                    <a:pt x="692334" y="109964"/>
                  </a:lnTo>
                  <a:lnTo>
                    <a:pt x="691185" y="109480"/>
                  </a:lnTo>
                  <a:lnTo>
                    <a:pt x="690156" y="108089"/>
                  </a:lnTo>
                  <a:lnTo>
                    <a:pt x="689249" y="106576"/>
                  </a:lnTo>
                  <a:lnTo>
                    <a:pt x="688886" y="107846"/>
                  </a:lnTo>
                  <a:lnTo>
                    <a:pt x="688432" y="108905"/>
                  </a:lnTo>
                  <a:lnTo>
                    <a:pt x="687161" y="110932"/>
                  </a:lnTo>
                  <a:lnTo>
                    <a:pt x="687403" y="108935"/>
                  </a:lnTo>
                  <a:lnTo>
                    <a:pt x="687978" y="107120"/>
                  </a:lnTo>
                  <a:lnTo>
                    <a:pt x="689007" y="105850"/>
                  </a:lnTo>
                  <a:lnTo>
                    <a:pt x="690519" y="105487"/>
                  </a:lnTo>
                  <a:lnTo>
                    <a:pt x="690519" y="104307"/>
                  </a:lnTo>
                  <a:lnTo>
                    <a:pt x="689218" y="104186"/>
                  </a:lnTo>
                  <a:lnTo>
                    <a:pt x="687978" y="104338"/>
                  </a:lnTo>
                  <a:lnTo>
                    <a:pt x="686798" y="104791"/>
                  </a:lnTo>
                  <a:lnTo>
                    <a:pt x="685739" y="105487"/>
                  </a:lnTo>
                  <a:lnTo>
                    <a:pt x="685951" y="106031"/>
                  </a:lnTo>
                  <a:lnTo>
                    <a:pt x="686223" y="107242"/>
                  </a:lnTo>
                  <a:lnTo>
                    <a:pt x="686465" y="107786"/>
                  </a:lnTo>
                  <a:lnTo>
                    <a:pt x="680990" y="110660"/>
                  </a:lnTo>
                  <a:lnTo>
                    <a:pt x="677995" y="111386"/>
                  </a:lnTo>
                  <a:lnTo>
                    <a:pt x="676120" y="109843"/>
                  </a:lnTo>
                  <a:lnTo>
                    <a:pt x="676120" y="110932"/>
                  </a:lnTo>
                  <a:lnTo>
                    <a:pt x="675303" y="110358"/>
                  </a:lnTo>
                  <a:lnTo>
                    <a:pt x="674637" y="110297"/>
                  </a:lnTo>
                  <a:lnTo>
                    <a:pt x="672762" y="110932"/>
                  </a:lnTo>
                  <a:lnTo>
                    <a:pt x="672762" y="112021"/>
                  </a:lnTo>
                  <a:lnTo>
                    <a:pt x="673397" y="112173"/>
                  </a:lnTo>
                  <a:lnTo>
                    <a:pt x="674758" y="113110"/>
                  </a:lnTo>
                  <a:lnTo>
                    <a:pt x="668224" y="116015"/>
                  </a:lnTo>
                  <a:lnTo>
                    <a:pt x="666530" y="117345"/>
                  </a:lnTo>
                  <a:lnTo>
                    <a:pt x="666318" y="118011"/>
                  </a:lnTo>
                  <a:lnTo>
                    <a:pt x="666227" y="120008"/>
                  </a:lnTo>
                  <a:lnTo>
                    <a:pt x="665895" y="120794"/>
                  </a:lnTo>
                  <a:lnTo>
                    <a:pt x="665501" y="121097"/>
                  </a:lnTo>
                  <a:lnTo>
                    <a:pt x="664382" y="121429"/>
                  </a:lnTo>
                  <a:lnTo>
                    <a:pt x="663777" y="121792"/>
                  </a:lnTo>
                  <a:lnTo>
                    <a:pt x="661266" y="124061"/>
                  </a:lnTo>
                  <a:lnTo>
                    <a:pt x="660328" y="125423"/>
                  </a:lnTo>
                  <a:lnTo>
                    <a:pt x="659693" y="127298"/>
                  </a:lnTo>
                  <a:lnTo>
                    <a:pt x="661750" y="128962"/>
                  </a:lnTo>
                  <a:lnTo>
                    <a:pt x="662930" y="129507"/>
                  </a:lnTo>
                  <a:lnTo>
                    <a:pt x="664473" y="129446"/>
                  </a:lnTo>
                  <a:lnTo>
                    <a:pt x="662325" y="130686"/>
                  </a:lnTo>
                  <a:lnTo>
                    <a:pt x="659905" y="130111"/>
                  </a:lnTo>
                  <a:lnTo>
                    <a:pt x="655518" y="127298"/>
                  </a:lnTo>
                  <a:lnTo>
                    <a:pt x="656668" y="126058"/>
                  </a:lnTo>
                  <a:lnTo>
                    <a:pt x="656456" y="124666"/>
                  </a:lnTo>
                  <a:lnTo>
                    <a:pt x="655609" y="122972"/>
                  </a:lnTo>
                  <a:lnTo>
                    <a:pt x="654883" y="120794"/>
                  </a:lnTo>
                  <a:lnTo>
                    <a:pt x="656547" y="120431"/>
                  </a:lnTo>
                  <a:lnTo>
                    <a:pt x="657817" y="119070"/>
                  </a:lnTo>
                  <a:lnTo>
                    <a:pt x="658301" y="117194"/>
                  </a:lnTo>
                  <a:lnTo>
                    <a:pt x="657666" y="115289"/>
                  </a:lnTo>
                  <a:lnTo>
                    <a:pt x="658332" y="114199"/>
                  </a:lnTo>
                  <a:lnTo>
                    <a:pt x="659027" y="114774"/>
                  </a:lnTo>
                  <a:lnTo>
                    <a:pt x="659632" y="115016"/>
                  </a:lnTo>
                  <a:lnTo>
                    <a:pt x="661085" y="115289"/>
                  </a:lnTo>
                  <a:lnTo>
                    <a:pt x="660510" y="112808"/>
                  </a:lnTo>
                  <a:lnTo>
                    <a:pt x="661175" y="110388"/>
                  </a:lnTo>
                  <a:lnTo>
                    <a:pt x="662537" y="108542"/>
                  </a:lnTo>
                  <a:lnTo>
                    <a:pt x="664170" y="107816"/>
                  </a:lnTo>
                  <a:lnTo>
                    <a:pt x="667831" y="108149"/>
                  </a:lnTo>
                  <a:lnTo>
                    <a:pt x="669827" y="109057"/>
                  </a:lnTo>
                  <a:lnTo>
                    <a:pt x="671461" y="110962"/>
                  </a:lnTo>
                  <a:lnTo>
                    <a:pt x="672338" y="109147"/>
                  </a:lnTo>
                  <a:lnTo>
                    <a:pt x="674153" y="108028"/>
                  </a:lnTo>
                  <a:lnTo>
                    <a:pt x="676331" y="107846"/>
                  </a:lnTo>
                  <a:lnTo>
                    <a:pt x="678267" y="108815"/>
                  </a:lnTo>
                  <a:lnTo>
                    <a:pt x="678267" y="108119"/>
                  </a:lnTo>
                  <a:lnTo>
                    <a:pt x="678388" y="107907"/>
                  </a:lnTo>
                  <a:lnTo>
                    <a:pt x="678661" y="107907"/>
                  </a:lnTo>
                  <a:lnTo>
                    <a:pt x="679024" y="107816"/>
                  </a:lnTo>
                  <a:lnTo>
                    <a:pt x="678207" y="107695"/>
                  </a:lnTo>
                  <a:lnTo>
                    <a:pt x="677572" y="107483"/>
                  </a:lnTo>
                  <a:lnTo>
                    <a:pt x="677148" y="106879"/>
                  </a:lnTo>
                  <a:lnTo>
                    <a:pt x="676967" y="105517"/>
                  </a:lnTo>
                  <a:lnTo>
                    <a:pt x="677602" y="105366"/>
                  </a:lnTo>
                  <a:lnTo>
                    <a:pt x="678479" y="104640"/>
                  </a:lnTo>
                  <a:lnTo>
                    <a:pt x="678993" y="104338"/>
                  </a:lnTo>
                  <a:lnTo>
                    <a:pt x="679628" y="105517"/>
                  </a:lnTo>
                  <a:lnTo>
                    <a:pt x="680234" y="103400"/>
                  </a:lnTo>
                  <a:lnTo>
                    <a:pt x="681202" y="102915"/>
                  </a:lnTo>
                  <a:lnTo>
                    <a:pt x="683803" y="103369"/>
                  </a:lnTo>
                  <a:lnTo>
                    <a:pt x="685860" y="103369"/>
                  </a:lnTo>
                  <a:lnTo>
                    <a:pt x="686435" y="102976"/>
                  </a:lnTo>
                  <a:lnTo>
                    <a:pt x="687494" y="101554"/>
                  </a:lnTo>
                  <a:lnTo>
                    <a:pt x="688281" y="101222"/>
                  </a:lnTo>
                  <a:lnTo>
                    <a:pt x="690943" y="101554"/>
                  </a:lnTo>
                  <a:lnTo>
                    <a:pt x="695238" y="103037"/>
                  </a:lnTo>
                  <a:lnTo>
                    <a:pt x="706008" y="103884"/>
                  </a:lnTo>
                  <a:lnTo>
                    <a:pt x="708579" y="103369"/>
                  </a:lnTo>
                  <a:lnTo>
                    <a:pt x="711090" y="101252"/>
                  </a:lnTo>
                  <a:lnTo>
                    <a:pt x="709820" y="99467"/>
                  </a:lnTo>
                  <a:lnTo>
                    <a:pt x="706915" y="98801"/>
                  </a:lnTo>
                  <a:lnTo>
                    <a:pt x="704586" y="100011"/>
                  </a:lnTo>
                  <a:lnTo>
                    <a:pt x="700804" y="98317"/>
                  </a:lnTo>
                  <a:lnTo>
                    <a:pt x="677904" y="98317"/>
                  </a:lnTo>
                  <a:lnTo>
                    <a:pt x="673578" y="96684"/>
                  </a:lnTo>
                  <a:lnTo>
                    <a:pt x="671430" y="93507"/>
                  </a:lnTo>
                  <a:lnTo>
                    <a:pt x="672126" y="93507"/>
                  </a:lnTo>
                  <a:lnTo>
                    <a:pt x="672126" y="92539"/>
                  </a:lnTo>
                  <a:lnTo>
                    <a:pt x="670069" y="93477"/>
                  </a:lnTo>
                  <a:lnTo>
                    <a:pt x="668920" y="94869"/>
                  </a:lnTo>
                  <a:lnTo>
                    <a:pt x="667316" y="99044"/>
                  </a:lnTo>
                  <a:lnTo>
                    <a:pt x="663172" y="105699"/>
                  </a:lnTo>
                  <a:lnTo>
                    <a:pt x="662506" y="107211"/>
                  </a:lnTo>
                  <a:lnTo>
                    <a:pt x="656456" y="115289"/>
                  </a:lnTo>
                  <a:lnTo>
                    <a:pt x="652826" y="121762"/>
                  </a:lnTo>
                  <a:lnTo>
                    <a:pt x="651343" y="123396"/>
                  </a:lnTo>
                  <a:lnTo>
                    <a:pt x="647532" y="126330"/>
                  </a:lnTo>
                  <a:lnTo>
                    <a:pt x="639969" y="130142"/>
                  </a:lnTo>
                  <a:lnTo>
                    <a:pt x="638638" y="130505"/>
                  </a:lnTo>
                  <a:lnTo>
                    <a:pt x="637216" y="131352"/>
                  </a:lnTo>
                  <a:lnTo>
                    <a:pt x="634826" y="135073"/>
                  </a:lnTo>
                  <a:lnTo>
                    <a:pt x="632799" y="136767"/>
                  </a:lnTo>
                  <a:lnTo>
                    <a:pt x="629411" y="140881"/>
                  </a:lnTo>
                  <a:lnTo>
                    <a:pt x="628625" y="142363"/>
                  </a:lnTo>
                  <a:lnTo>
                    <a:pt x="629563" y="141759"/>
                  </a:lnTo>
                  <a:lnTo>
                    <a:pt x="630591" y="141365"/>
                  </a:lnTo>
                  <a:lnTo>
                    <a:pt x="631680" y="141184"/>
                  </a:lnTo>
                  <a:lnTo>
                    <a:pt x="632799" y="141274"/>
                  </a:lnTo>
                  <a:lnTo>
                    <a:pt x="631953" y="143392"/>
                  </a:lnTo>
                  <a:lnTo>
                    <a:pt x="629048" y="144904"/>
                  </a:lnTo>
                  <a:lnTo>
                    <a:pt x="627989" y="146750"/>
                  </a:lnTo>
                  <a:lnTo>
                    <a:pt x="628534" y="148262"/>
                  </a:lnTo>
                  <a:lnTo>
                    <a:pt x="629018" y="152376"/>
                  </a:lnTo>
                  <a:lnTo>
                    <a:pt x="630016" y="154282"/>
                  </a:lnTo>
                  <a:lnTo>
                    <a:pt x="627657" y="151741"/>
                  </a:lnTo>
                  <a:lnTo>
                    <a:pt x="627445" y="148020"/>
                  </a:lnTo>
                  <a:lnTo>
                    <a:pt x="627808" y="143634"/>
                  </a:lnTo>
                  <a:lnTo>
                    <a:pt x="627294" y="139127"/>
                  </a:lnTo>
                  <a:lnTo>
                    <a:pt x="623512" y="141365"/>
                  </a:lnTo>
                  <a:lnTo>
                    <a:pt x="599523" y="146115"/>
                  </a:lnTo>
                  <a:lnTo>
                    <a:pt x="591113" y="144753"/>
                  </a:lnTo>
                  <a:lnTo>
                    <a:pt x="587180" y="145267"/>
                  </a:lnTo>
                  <a:lnTo>
                    <a:pt x="583973" y="147325"/>
                  </a:lnTo>
                  <a:lnTo>
                    <a:pt x="581493" y="151469"/>
                  </a:lnTo>
                  <a:lnTo>
                    <a:pt x="581130" y="151893"/>
                  </a:lnTo>
                  <a:lnTo>
                    <a:pt x="580706" y="152437"/>
                  </a:lnTo>
                  <a:lnTo>
                    <a:pt x="580374" y="153254"/>
                  </a:lnTo>
                  <a:lnTo>
                    <a:pt x="580374" y="154071"/>
                  </a:lnTo>
                  <a:lnTo>
                    <a:pt x="581130" y="154645"/>
                  </a:lnTo>
                  <a:lnTo>
                    <a:pt x="581069" y="155432"/>
                  </a:lnTo>
                  <a:lnTo>
                    <a:pt x="580616" y="156612"/>
                  </a:lnTo>
                  <a:lnTo>
                    <a:pt x="580102" y="157610"/>
                  </a:lnTo>
                  <a:lnTo>
                    <a:pt x="579436" y="158306"/>
                  </a:lnTo>
                  <a:lnTo>
                    <a:pt x="578619" y="158578"/>
                  </a:lnTo>
                  <a:lnTo>
                    <a:pt x="577258" y="159456"/>
                  </a:lnTo>
                  <a:lnTo>
                    <a:pt x="575443" y="163630"/>
                  </a:lnTo>
                  <a:lnTo>
                    <a:pt x="573416" y="165022"/>
                  </a:lnTo>
                  <a:lnTo>
                    <a:pt x="572539" y="165022"/>
                  </a:lnTo>
                  <a:lnTo>
                    <a:pt x="569967" y="164054"/>
                  </a:lnTo>
                  <a:lnTo>
                    <a:pt x="569967" y="165022"/>
                  </a:lnTo>
                  <a:lnTo>
                    <a:pt x="570663" y="165022"/>
                  </a:lnTo>
                  <a:lnTo>
                    <a:pt x="570663" y="166202"/>
                  </a:lnTo>
                  <a:lnTo>
                    <a:pt x="567214" y="169408"/>
                  </a:lnTo>
                  <a:lnTo>
                    <a:pt x="567396" y="170134"/>
                  </a:lnTo>
                  <a:lnTo>
                    <a:pt x="567638" y="171919"/>
                  </a:lnTo>
                  <a:lnTo>
                    <a:pt x="567850" y="172615"/>
                  </a:lnTo>
                  <a:lnTo>
                    <a:pt x="567002" y="172826"/>
                  </a:lnTo>
                  <a:lnTo>
                    <a:pt x="566035" y="173523"/>
                  </a:lnTo>
                  <a:lnTo>
                    <a:pt x="565278" y="174672"/>
                  </a:lnTo>
                  <a:lnTo>
                    <a:pt x="565732" y="177213"/>
                  </a:lnTo>
                  <a:lnTo>
                    <a:pt x="564976" y="180329"/>
                  </a:lnTo>
                  <a:lnTo>
                    <a:pt x="563947" y="182840"/>
                  </a:lnTo>
                  <a:lnTo>
                    <a:pt x="563826" y="184504"/>
                  </a:lnTo>
                  <a:lnTo>
                    <a:pt x="562677" y="184504"/>
                  </a:lnTo>
                  <a:lnTo>
                    <a:pt x="561920" y="184050"/>
                  </a:lnTo>
                  <a:lnTo>
                    <a:pt x="558048" y="179573"/>
                  </a:lnTo>
                  <a:lnTo>
                    <a:pt x="558048" y="179058"/>
                  </a:lnTo>
                  <a:lnTo>
                    <a:pt x="553813" y="179058"/>
                  </a:lnTo>
                  <a:lnTo>
                    <a:pt x="553178" y="178544"/>
                  </a:lnTo>
                  <a:lnTo>
                    <a:pt x="552149" y="176305"/>
                  </a:lnTo>
                  <a:lnTo>
                    <a:pt x="551393" y="175821"/>
                  </a:lnTo>
                  <a:lnTo>
                    <a:pt x="547339" y="179028"/>
                  </a:lnTo>
                  <a:lnTo>
                    <a:pt x="546492" y="179210"/>
                  </a:lnTo>
                  <a:lnTo>
                    <a:pt x="543497" y="179028"/>
                  </a:lnTo>
                  <a:lnTo>
                    <a:pt x="542227" y="178363"/>
                  </a:lnTo>
                  <a:lnTo>
                    <a:pt x="541984" y="176729"/>
                  </a:lnTo>
                  <a:lnTo>
                    <a:pt x="542469" y="173129"/>
                  </a:lnTo>
                  <a:lnTo>
                    <a:pt x="541924" y="172343"/>
                  </a:lnTo>
                  <a:lnTo>
                    <a:pt x="538354" y="171435"/>
                  </a:lnTo>
                  <a:lnTo>
                    <a:pt x="537659" y="170346"/>
                  </a:lnTo>
                  <a:lnTo>
                    <a:pt x="536993" y="168138"/>
                  </a:lnTo>
                  <a:lnTo>
                    <a:pt x="536298" y="167260"/>
                  </a:lnTo>
                  <a:lnTo>
                    <a:pt x="535420" y="166958"/>
                  </a:lnTo>
                  <a:lnTo>
                    <a:pt x="523168" y="168440"/>
                  </a:lnTo>
                  <a:lnTo>
                    <a:pt x="517814" y="171102"/>
                  </a:lnTo>
                  <a:lnTo>
                    <a:pt x="515908" y="171465"/>
                  </a:lnTo>
                  <a:lnTo>
                    <a:pt x="514244" y="172070"/>
                  </a:lnTo>
                  <a:lnTo>
                    <a:pt x="511280" y="174914"/>
                  </a:lnTo>
                  <a:lnTo>
                    <a:pt x="510009" y="175852"/>
                  </a:lnTo>
                  <a:lnTo>
                    <a:pt x="509494" y="175942"/>
                  </a:lnTo>
                  <a:lnTo>
                    <a:pt x="508315" y="175882"/>
                  </a:lnTo>
                  <a:lnTo>
                    <a:pt x="507922" y="175882"/>
                  </a:lnTo>
                  <a:lnTo>
                    <a:pt x="506439" y="175458"/>
                  </a:lnTo>
                  <a:lnTo>
                    <a:pt x="506076" y="174006"/>
                  </a:lnTo>
                  <a:lnTo>
                    <a:pt x="505986" y="172131"/>
                  </a:lnTo>
                  <a:lnTo>
                    <a:pt x="505259" y="170497"/>
                  </a:lnTo>
                  <a:lnTo>
                    <a:pt x="504261" y="170104"/>
                  </a:lnTo>
                  <a:lnTo>
                    <a:pt x="500359" y="170497"/>
                  </a:lnTo>
                  <a:lnTo>
                    <a:pt x="497606" y="169681"/>
                  </a:lnTo>
                  <a:lnTo>
                    <a:pt x="495670" y="168198"/>
                  </a:lnTo>
                  <a:lnTo>
                    <a:pt x="494218" y="165929"/>
                  </a:lnTo>
                  <a:lnTo>
                    <a:pt x="492886" y="162874"/>
                  </a:lnTo>
                  <a:lnTo>
                    <a:pt x="492886" y="161875"/>
                  </a:lnTo>
                  <a:lnTo>
                    <a:pt x="493915" y="160817"/>
                  </a:lnTo>
                  <a:lnTo>
                    <a:pt x="497787" y="155220"/>
                  </a:lnTo>
                  <a:lnTo>
                    <a:pt x="498180" y="154797"/>
                  </a:lnTo>
                  <a:lnTo>
                    <a:pt x="498967" y="154313"/>
                  </a:lnTo>
                  <a:lnTo>
                    <a:pt x="499875" y="154403"/>
                  </a:lnTo>
                  <a:lnTo>
                    <a:pt x="500601" y="155099"/>
                  </a:lnTo>
                  <a:lnTo>
                    <a:pt x="501266" y="155553"/>
                  </a:lnTo>
                  <a:lnTo>
                    <a:pt x="502113" y="154857"/>
                  </a:lnTo>
                  <a:lnTo>
                    <a:pt x="502900" y="154857"/>
                  </a:lnTo>
                  <a:lnTo>
                    <a:pt x="506984" y="153587"/>
                  </a:lnTo>
                  <a:lnTo>
                    <a:pt x="508738" y="152558"/>
                  </a:lnTo>
                  <a:lnTo>
                    <a:pt x="512762" y="147779"/>
                  </a:lnTo>
                  <a:lnTo>
                    <a:pt x="524439" y="140760"/>
                  </a:lnTo>
                  <a:lnTo>
                    <a:pt x="524893" y="139399"/>
                  </a:lnTo>
                  <a:lnTo>
                    <a:pt x="525861" y="138400"/>
                  </a:lnTo>
                  <a:lnTo>
                    <a:pt x="526829" y="136979"/>
                  </a:lnTo>
                  <a:lnTo>
                    <a:pt x="527282" y="134286"/>
                  </a:lnTo>
                  <a:lnTo>
                    <a:pt x="526587" y="129718"/>
                  </a:lnTo>
                  <a:lnTo>
                    <a:pt x="526526" y="127026"/>
                  </a:lnTo>
                  <a:lnTo>
                    <a:pt x="527282" y="125029"/>
                  </a:lnTo>
                  <a:lnTo>
                    <a:pt x="526466" y="122035"/>
                  </a:lnTo>
                  <a:lnTo>
                    <a:pt x="525558" y="115742"/>
                  </a:lnTo>
                  <a:lnTo>
                    <a:pt x="524469" y="113171"/>
                  </a:lnTo>
                  <a:lnTo>
                    <a:pt x="526012" y="113806"/>
                  </a:lnTo>
                  <a:lnTo>
                    <a:pt x="526617" y="114260"/>
                  </a:lnTo>
                  <a:lnTo>
                    <a:pt x="527676" y="112717"/>
                  </a:lnTo>
                  <a:lnTo>
                    <a:pt x="531396" y="108845"/>
                  </a:lnTo>
                  <a:lnTo>
                    <a:pt x="528251" y="107726"/>
                  </a:lnTo>
                  <a:lnTo>
                    <a:pt x="521202" y="111719"/>
                  </a:lnTo>
                  <a:lnTo>
                    <a:pt x="518842" y="110206"/>
                  </a:lnTo>
                  <a:lnTo>
                    <a:pt x="517088" y="110721"/>
                  </a:lnTo>
                  <a:lnTo>
                    <a:pt x="515363" y="109995"/>
                  </a:lnTo>
                  <a:lnTo>
                    <a:pt x="517874" y="109995"/>
                  </a:lnTo>
                  <a:lnTo>
                    <a:pt x="519689" y="109873"/>
                  </a:lnTo>
                  <a:lnTo>
                    <a:pt x="519689" y="108784"/>
                  </a:lnTo>
                  <a:lnTo>
                    <a:pt x="511280" y="109783"/>
                  </a:lnTo>
                  <a:lnTo>
                    <a:pt x="507831" y="111114"/>
                  </a:lnTo>
                  <a:lnTo>
                    <a:pt x="504503" y="113110"/>
                  </a:lnTo>
                  <a:lnTo>
                    <a:pt x="498755" y="118041"/>
                  </a:lnTo>
                  <a:lnTo>
                    <a:pt x="495367" y="119977"/>
                  </a:lnTo>
                  <a:lnTo>
                    <a:pt x="490769" y="120764"/>
                  </a:lnTo>
                  <a:lnTo>
                    <a:pt x="486655" y="119796"/>
                  </a:lnTo>
                  <a:lnTo>
                    <a:pt x="477670" y="111991"/>
                  </a:lnTo>
                  <a:lnTo>
                    <a:pt x="461788" y="105487"/>
                  </a:lnTo>
                  <a:lnTo>
                    <a:pt x="455708" y="100979"/>
                  </a:lnTo>
                  <a:lnTo>
                    <a:pt x="453499" y="99981"/>
                  </a:lnTo>
                  <a:lnTo>
                    <a:pt x="449204" y="99618"/>
                  </a:lnTo>
                  <a:lnTo>
                    <a:pt x="448054" y="99981"/>
                  </a:lnTo>
                  <a:lnTo>
                    <a:pt x="447116" y="100828"/>
                  </a:lnTo>
                  <a:lnTo>
                    <a:pt x="446602" y="101705"/>
                  </a:lnTo>
                  <a:lnTo>
                    <a:pt x="445936" y="102552"/>
                  </a:lnTo>
                  <a:lnTo>
                    <a:pt x="444545" y="103309"/>
                  </a:lnTo>
                  <a:lnTo>
                    <a:pt x="440733" y="103672"/>
                  </a:lnTo>
                  <a:lnTo>
                    <a:pt x="439735" y="104277"/>
                  </a:lnTo>
                  <a:lnTo>
                    <a:pt x="439009" y="105608"/>
                  </a:lnTo>
                  <a:lnTo>
                    <a:pt x="437678" y="110872"/>
                  </a:lnTo>
                  <a:lnTo>
                    <a:pt x="435318" y="115803"/>
                  </a:lnTo>
                  <a:lnTo>
                    <a:pt x="433654" y="117708"/>
                  </a:lnTo>
                  <a:lnTo>
                    <a:pt x="431446" y="118465"/>
                  </a:lnTo>
                  <a:lnTo>
                    <a:pt x="432444" y="116952"/>
                  </a:lnTo>
                  <a:lnTo>
                    <a:pt x="432837" y="115440"/>
                  </a:lnTo>
                  <a:lnTo>
                    <a:pt x="432535" y="114109"/>
                  </a:lnTo>
                  <a:lnTo>
                    <a:pt x="431446" y="113050"/>
                  </a:lnTo>
                  <a:lnTo>
                    <a:pt x="432081" y="111991"/>
                  </a:lnTo>
                  <a:lnTo>
                    <a:pt x="432081" y="111507"/>
                  </a:lnTo>
                  <a:lnTo>
                    <a:pt x="431688" y="111235"/>
                  </a:lnTo>
                  <a:lnTo>
                    <a:pt x="431446" y="110872"/>
                  </a:lnTo>
                  <a:lnTo>
                    <a:pt x="433170" y="110388"/>
                  </a:lnTo>
                  <a:lnTo>
                    <a:pt x="434985" y="108966"/>
                  </a:lnTo>
                  <a:lnTo>
                    <a:pt x="436407" y="106969"/>
                  </a:lnTo>
                  <a:lnTo>
                    <a:pt x="436982" y="104852"/>
                  </a:lnTo>
                  <a:lnTo>
                    <a:pt x="436468" y="102311"/>
                  </a:lnTo>
                  <a:lnTo>
                    <a:pt x="435681" y="100374"/>
                  </a:lnTo>
                  <a:lnTo>
                    <a:pt x="435681" y="98650"/>
                  </a:lnTo>
                  <a:lnTo>
                    <a:pt x="437708" y="96805"/>
                  </a:lnTo>
                  <a:lnTo>
                    <a:pt x="431597" y="91904"/>
                  </a:lnTo>
                  <a:lnTo>
                    <a:pt x="429721" y="91269"/>
                  </a:lnTo>
                  <a:lnTo>
                    <a:pt x="405430" y="96623"/>
                  </a:lnTo>
                  <a:lnTo>
                    <a:pt x="401073" y="94536"/>
                  </a:lnTo>
                  <a:lnTo>
                    <a:pt x="401073" y="93447"/>
                  </a:lnTo>
                  <a:lnTo>
                    <a:pt x="405278" y="92993"/>
                  </a:lnTo>
                  <a:lnTo>
                    <a:pt x="409634" y="91692"/>
                  </a:lnTo>
                  <a:lnTo>
                    <a:pt x="413688" y="89605"/>
                  </a:lnTo>
                  <a:lnTo>
                    <a:pt x="416925" y="86822"/>
                  </a:lnTo>
                  <a:lnTo>
                    <a:pt x="418196" y="85128"/>
                  </a:lnTo>
                  <a:lnTo>
                    <a:pt x="419164" y="83282"/>
                  </a:lnTo>
                  <a:lnTo>
                    <a:pt x="419859" y="81044"/>
                  </a:lnTo>
                  <a:lnTo>
                    <a:pt x="420374" y="78200"/>
                  </a:lnTo>
                  <a:lnTo>
                    <a:pt x="420949" y="71605"/>
                  </a:lnTo>
                  <a:lnTo>
                    <a:pt x="420888" y="68429"/>
                  </a:lnTo>
                  <a:lnTo>
                    <a:pt x="420374" y="66220"/>
                  </a:lnTo>
                  <a:lnTo>
                    <a:pt x="421100" y="63982"/>
                  </a:lnTo>
                  <a:lnTo>
                    <a:pt x="420555" y="63014"/>
                  </a:lnTo>
                  <a:lnTo>
                    <a:pt x="419406" y="63105"/>
                  </a:lnTo>
                  <a:lnTo>
                    <a:pt x="418347" y="63952"/>
                  </a:lnTo>
                  <a:lnTo>
                    <a:pt x="416834" y="62076"/>
                  </a:lnTo>
                  <a:lnTo>
                    <a:pt x="414202" y="62227"/>
                  </a:lnTo>
                  <a:lnTo>
                    <a:pt x="411571" y="62953"/>
                  </a:lnTo>
                  <a:lnTo>
                    <a:pt x="410088" y="62863"/>
                  </a:lnTo>
                  <a:lnTo>
                    <a:pt x="410149" y="61380"/>
                  </a:lnTo>
                  <a:lnTo>
                    <a:pt x="410391" y="61048"/>
                  </a:lnTo>
                  <a:lnTo>
                    <a:pt x="410814" y="61048"/>
                  </a:lnTo>
                  <a:lnTo>
                    <a:pt x="411480" y="60685"/>
                  </a:lnTo>
                  <a:lnTo>
                    <a:pt x="411782" y="60685"/>
                  </a:lnTo>
                  <a:lnTo>
                    <a:pt x="414263" y="58839"/>
                  </a:lnTo>
                  <a:lnTo>
                    <a:pt x="414202" y="58476"/>
                  </a:lnTo>
                  <a:lnTo>
                    <a:pt x="415140" y="58718"/>
                  </a:lnTo>
                  <a:lnTo>
                    <a:pt x="416381" y="59233"/>
                  </a:lnTo>
                  <a:lnTo>
                    <a:pt x="417712" y="59384"/>
                  </a:lnTo>
                  <a:lnTo>
                    <a:pt x="419013" y="58476"/>
                  </a:lnTo>
                  <a:lnTo>
                    <a:pt x="417137" y="56601"/>
                  </a:lnTo>
                  <a:lnTo>
                    <a:pt x="416229" y="55391"/>
                  </a:lnTo>
                  <a:lnTo>
                    <a:pt x="415594" y="54120"/>
                  </a:lnTo>
                  <a:lnTo>
                    <a:pt x="414233" y="48645"/>
                  </a:lnTo>
                  <a:lnTo>
                    <a:pt x="411934" y="45952"/>
                  </a:lnTo>
                  <a:lnTo>
                    <a:pt x="408667" y="44077"/>
                  </a:lnTo>
                  <a:lnTo>
                    <a:pt x="406307" y="44228"/>
                  </a:lnTo>
                  <a:lnTo>
                    <a:pt x="406700" y="47556"/>
                  </a:lnTo>
                  <a:lnTo>
                    <a:pt x="402132" y="49159"/>
                  </a:lnTo>
                  <a:lnTo>
                    <a:pt x="399500" y="49582"/>
                  </a:lnTo>
                  <a:lnTo>
                    <a:pt x="398351" y="48100"/>
                  </a:lnTo>
                  <a:lnTo>
                    <a:pt x="397292" y="45317"/>
                  </a:lnTo>
                  <a:lnTo>
                    <a:pt x="394902" y="43744"/>
                  </a:lnTo>
                  <a:lnTo>
                    <a:pt x="392300" y="42715"/>
                  </a:lnTo>
                  <a:lnTo>
                    <a:pt x="390546" y="41475"/>
                  </a:lnTo>
                  <a:lnTo>
                    <a:pt x="386371" y="39750"/>
                  </a:lnTo>
                  <a:lnTo>
                    <a:pt x="380200" y="39448"/>
                  </a:lnTo>
                  <a:lnTo>
                    <a:pt x="375329" y="37784"/>
                  </a:lnTo>
                  <a:lnTo>
                    <a:pt x="374997" y="32006"/>
                  </a:lnTo>
                  <a:lnTo>
                    <a:pt x="373696" y="33004"/>
                  </a:lnTo>
                  <a:lnTo>
                    <a:pt x="372425" y="35092"/>
                  </a:lnTo>
                  <a:lnTo>
                    <a:pt x="369975" y="35999"/>
                  </a:lnTo>
                  <a:lnTo>
                    <a:pt x="368069" y="38208"/>
                  </a:lnTo>
                  <a:lnTo>
                    <a:pt x="362079" y="40991"/>
                  </a:lnTo>
                  <a:lnTo>
                    <a:pt x="360627" y="40991"/>
                  </a:lnTo>
                  <a:lnTo>
                    <a:pt x="359145" y="41505"/>
                  </a:lnTo>
                  <a:lnTo>
                    <a:pt x="357451" y="41324"/>
                  </a:lnTo>
                  <a:lnTo>
                    <a:pt x="355424" y="39569"/>
                  </a:lnTo>
                  <a:lnTo>
                    <a:pt x="353609" y="39962"/>
                  </a:lnTo>
                  <a:lnTo>
                    <a:pt x="352490" y="40870"/>
                  </a:lnTo>
                  <a:lnTo>
                    <a:pt x="351068" y="41233"/>
                  </a:lnTo>
                  <a:lnTo>
                    <a:pt x="350100" y="42171"/>
                  </a:lnTo>
                  <a:lnTo>
                    <a:pt x="348587" y="42413"/>
                  </a:lnTo>
                  <a:lnTo>
                    <a:pt x="341266" y="42413"/>
                  </a:lnTo>
                  <a:lnTo>
                    <a:pt x="339481" y="41717"/>
                  </a:lnTo>
                  <a:lnTo>
                    <a:pt x="338725" y="39811"/>
                  </a:lnTo>
                  <a:lnTo>
                    <a:pt x="338423" y="37572"/>
                  </a:lnTo>
                  <a:lnTo>
                    <a:pt x="337969" y="35969"/>
                  </a:lnTo>
                  <a:lnTo>
                    <a:pt x="336275" y="34578"/>
                  </a:lnTo>
                  <a:lnTo>
                    <a:pt x="314948" y="29919"/>
                  </a:lnTo>
                  <a:lnTo>
                    <a:pt x="307052" y="26924"/>
                  </a:lnTo>
                  <a:lnTo>
                    <a:pt x="299005" y="25654"/>
                  </a:lnTo>
                  <a:lnTo>
                    <a:pt x="296645" y="25986"/>
                  </a:lnTo>
                  <a:lnTo>
                    <a:pt x="289778" y="28376"/>
                  </a:lnTo>
                  <a:lnTo>
                    <a:pt x="286057" y="28225"/>
                  </a:lnTo>
                  <a:lnTo>
                    <a:pt x="282518" y="27196"/>
                  </a:lnTo>
                  <a:lnTo>
                    <a:pt x="281157" y="31855"/>
                  </a:lnTo>
                  <a:lnTo>
                    <a:pt x="280703" y="35576"/>
                  </a:lnTo>
                  <a:lnTo>
                    <a:pt x="281278" y="39781"/>
                  </a:lnTo>
                  <a:lnTo>
                    <a:pt x="282639" y="42534"/>
                  </a:lnTo>
                  <a:lnTo>
                    <a:pt x="284605" y="45740"/>
                  </a:lnTo>
                  <a:lnTo>
                    <a:pt x="285906" y="49008"/>
                  </a:lnTo>
                  <a:lnTo>
                    <a:pt x="285331" y="51912"/>
                  </a:lnTo>
                  <a:lnTo>
                    <a:pt x="285331" y="53031"/>
                  </a:lnTo>
                  <a:lnTo>
                    <a:pt x="288750" y="54574"/>
                  </a:lnTo>
                  <a:lnTo>
                    <a:pt x="294195" y="58990"/>
                  </a:lnTo>
                  <a:lnTo>
                    <a:pt x="297069" y="60654"/>
                  </a:lnTo>
                  <a:lnTo>
                    <a:pt x="298370" y="62863"/>
                  </a:lnTo>
                  <a:lnTo>
                    <a:pt x="301879" y="71545"/>
                  </a:lnTo>
                  <a:lnTo>
                    <a:pt x="298430" y="73723"/>
                  </a:lnTo>
                  <a:lnTo>
                    <a:pt x="299126" y="74933"/>
                  </a:lnTo>
                  <a:lnTo>
                    <a:pt x="300276" y="74207"/>
                  </a:lnTo>
                  <a:lnTo>
                    <a:pt x="302393" y="73663"/>
                  </a:lnTo>
                  <a:lnTo>
                    <a:pt x="304450" y="73602"/>
                  </a:lnTo>
                  <a:lnTo>
                    <a:pt x="305388" y="74358"/>
                  </a:lnTo>
                  <a:lnTo>
                    <a:pt x="305872" y="76052"/>
                  </a:lnTo>
                  <a:lnTo>
                    <a:pt x="307052" y="77746"/>
                  </a:lnTo>
                  <a:lnTo>
                    <a:pt x="315280" y="85914"/>
                  </a:lnTo>
                  <a:lnTo>
                    <a:pt x="317852" y="89575"/>
                  </a:lnTo>
                  <a:lnTo>
                    <a:pt x="317852" y="93447"/>
                  </a:lnTo>
                  <a:lnTo>
                    <a:pt x="317156" y="96018"/>
                  </a:lnTo>
                  <a:lnTo>
                    <a:pt x="315462" y="97198"/>
                  </a:lnTo>
                  <a:lnTo>
                    <a:pt x="311590" y="98953"/>
                  </a:lnTo>
                  <a:lnTo>
                    <a:pt x="307324" y="102432"/>
                  </a:lnTo>
                  <a:lnTo>
                    <a:pt x="305207" y="103672"/>
                  </a:lnTo>
                  <a:lnTo>
                    <a:pt x="302665" y="104307"/>
                  </a:lnTo>
                  <a:lnTo>
                    <a:pt x="291624" y="104307"/>
                  </a:lnTo>
                  <a:lnTo>
                    <a:pt x="283456" y="106364"/>
                  </a:lnTo>
                  <a:lnTo>
                    <a:pt x="281308" y="105487"/>
                  </a:lnTo>
                  <a:lnTo>
                    <a:pt x="280310" y="106818"/>
                  </a:lnTo>
                  <a:lnTo>
                    <a:pt x="279372" y="108482"/>
                  </a:lnTo>
                  <a:lnTo>
                    <a:pt x="279069" y="110267"/>
                  </a:lnTo>
                  <a:lnTo>
                    <a:pt x="279917" y="112021"/>
                  </a:lnTo>
                  <a:lnTo>
                    <a:pt x="281520" y="110024"/>
                  </a:lnTo>
                  <a:lnTo>
                    <a:pt x="282851" y="110418"/>
                  </a:lnTo>
                  <a:lnTo>
                    <a:pt x="284242" y="111628"/>
                  </a:lnTo>
                  <a:lnTo>
                    <a:pt x="286057" y="112021"/>
                  </a:lnTo>
                  <a:lnTo>
                    <a:pt x="286057" y="113110"/>
                  </a:lnTo>
                  <a:lnTo>
                    <a:pt x="283698" y="112989"/>
                  </a:lnTo>
                  <a:lnTo>
                    <a:pt x="280612" y="113564"/>
                  </a:lnTo>
                  <a:lnTo>
                    <a:pt x="277859" y="114714"/>
                  </a:lnTo>
                  <a:lnTo>
                    <a:pt x="276438" y="116347"/>
                  </a:lnTo>
                  <a:lnTo>
                    <a:pt x="276740" y="120461"/>
                  </a:lnTo>
                  <a:lnTo>
                    <a:pt x="278827" y="123940"/>
                  </a:lnTo>
                  <a:lnTo>
                    <a:pt x="281701" y="126360"/>
                  </a:lnTo>
                  <a:lnTo>
                    <a:pt x="284394" y="127268"/>
                  </a:lnTo>
                  <a:lnTo>
                    <a:pt x="285574" y="126905"/>
                  </a:lnTo>
                  <a:lnTo>
                    <a:pt x="288931" y="123910"/>
                  </a:lnTo>
                  <a:lnTo>
                    <a:pt x="290505" y="123335"/>
                  </a:lnTo>
                  <a:lnTo>
                    <a:pt x="294104" y="123910"/>
                  </a:lnTo>
                  <a:lnTo>
                    <a:pt x="297190" y="123577"/>
                  </a:lnTo>
                  <a:lnTo>
                    <a:pt x="302454" y="122095"/>
                  </a:lnTo>
                  <a:lnTo>
                    <a:pt x="305509" y="121762"/>
                  </a:lnTo>
                  <a:lnTo>
                    <a:pt x="305297" y="122276"/>
                  </a:lnTo>
                  <a:lnTo>
                    <a:pt x="305025" y="123396"/>
                  </a:lnTo>
                  <a:lnTo>
                    <a:pt x="304813" y="123910"/>
                  </a:lnTo>
                  <a:lnTo>
                    <a:pt x="306991" y="123033"/>
                  </a:lnTo>
                  <a:lnTo>
                    <a:pt x="310773" y="120008"/>
                  </a:lnTo>
                  <a:lnTo>
                    <a:pt x="313072" y="119584"/>
                  </a:lnTo>
                  <a:lnTo>
                    <a:pt x="312074" y="121974"/>
                  </a:lnTo>
                  <a:lnTo>
                    <a:pt x="310501" y="124485"/>
                  </a:lnTo>
                  <a:lnTo>
                    <a:pt x="308958" y="126451"/>
                  </a:lnTo>
                  <a:lnTo>
                    <a:pt x="307899" y="127238"/>
                  </a:lnTo>
                  <a:lnTo>
                    <a:pt x="306175" y="127389"/>
                  </a:lnTo>
                  <a:lnTo>
                    <a:pt x="301909" y="128508"/>
                  </a:lnTo>
                  <a:lnTo>
                    <a:pt x="300669" y="129385"/>
                  </a:lnTo>
                  <a:lnTo>
                    <a:pt x="300669" y="130474"/>
                  </a:lnTo>
                  <a:lnTo>
                    <a:pt x="301365" y="132864"/>
                  </a:lnTo>
                  <a:lnTo>
                    <a:pt x="300306" y="135375"/>
                  </a:lnTo>
                  <a:lnTo>
                    <a:pt x="298763" y="138098"/>
                  </a:lnTo>
                  <a:lnTo>
                    <a:pt x="297946" y="141244"/>
                  </a:lnTo>
                  <a:lnTo>
                    <a:pt x="298249" y="142031"/>
                  </a:lnTo>
                  <a:lnTo>
                    <a:pt x="300034" y="145570"/>
                  </a:lnTo>
                  <a:lnTo>
                    <a:pt x="302786" y="149957"/>
                  </a:lnTo>
                  <a:lnTo>
                    <a:pt x="303482" y="149957"/>
                  </a:lnTo>
                  <a:lnTo>
                    <a:pt x="305297" y="148081"/>
                  </a:lnTo>
                  <a:lnTo>
                    <a:pt x="308565" y="146629"/>
                  </a:lnTo>
                  <a:lnTo>
                    <a:pt x="312074" y="146024"/>
                  </a:lnTo>
                  <a:lnTo>
                    <a:pt x="314524" y="146719"/>
                  </a:lnTo>
                  <a:lnTo>
                    <a:pt x="314524" y="147688"/>
                  </a:lnTo>
                  <a:lnTo>
                    <a:pt x="314222" y="149503"/>
                  </a:lnTo>
                  <a:lnTo>
                    <a:pt x="315613" y="151106"/>
                  </a:lnTo>
                  <a:lnTo>
                    <a:pt x="317489" y="152619"/>
                  </a:lnTo>
                  <a:lnTo>
                    <a:pt x="318668" y="154252"/>
                  </a:lnTo>
                  <a:lnTo>
                    <a:pt x="318668" y="156703"/>
                  </a:lnTo>
                  <a:lnTo>
                    <a:pt x="318154" y="160091"/>
                  </a:lnTo>
                  <a:lnTo>
                    <a:pt x="317338" y="163207"/>
                  </a:lnTo>
                  <a:lnTo>
                    <a:pt x="316581" y="164931"/>
                  </a:lnTo>
                  <a:lnTo>
                    <a:pt x="314373" y="165899"/>
                  </a:lnTo>
                  <a:lnTo>
                    <a:pt x="312195" y="165233"/>
                  </a:lnTo>
                  <a:lnTo>
                    <a:pt x="308232" y="162783"/>
                  </a:lnTo>
                  <a:lnTo>
                    <a:pt x="305842" y="162178"/>
                  </a:lnTo>
                  <a:lnTo>
                    <a:pt x="303936" y="162299"/>
                  </a:lnTo>
                  <a:lnTo>
                    <a:pt x="300064" y="163933"/>
                  </a:lnTo>
                  <a:lnTo>
                    <a:pt x="308383" y="179512"/>
                  </a:lnTo>
                  <a:lnTo>
                    <a:pt x="311741" y="183354"/>
                  </a:lnTo>
                  <a:lnTo>
                    <a:pt x="315280" y="185835"/>
                  </a:lnTo>
                  <a:lnTo>
                    <a:pt x="317610" y="186561"/>
                  </a:lnTo>
                  <a:lnTo>
                    <a:pt x="318668" y="184957"/>
                  </a:lnTo>
                  <a:lnTo>
                    <a:pt x="319848" y="184262"/>
                  </a:lnTo>
                  <a:lnTo>
                    <a:pt x="322420" y="184927"/>
                  </a:lnTo>
                  <a:lnTo>
                    <a:pt x="326231" y="186561"/>
                  </a:lnTo>
                  <a:lnTo>
                    <a:pt x="339028" y="186833"/>
                  </a:lnTo>
                  <a:lnTo>
                    <a:pt x="342779" y="187650"/>
                  </a:lnTo>
                  <a:lnTo>
                    <a:pt x="346591" y="189798"/>
                  </a:lnTo>
                  <a:lnTo>
                    <a:pt x="352943" y="194850"/>
                  </a:lnTo>
                  <a:lnTo>
                    <a:pt x="356604" y="196181"/>
                  </a:lnTo>
                  <a:lnTo>
                    <a:pt x="356755" y="199296"/>
                  </a:lnTo>
                  <a:lnTo>
                    <a:pt x="358358" y="204349"/>
                  </a:lnTo>
                  <a:lnTo>
                    <a:pt x="360718" y="209038"/>
                  </a:lnTo>
                  <a:lnTo>
                    <a:pt x="363168" y="211095"/>
                  </a:lnTo>
                  <a:lnTo>
                    <a:pt x="364681" y="211609"/>
                  </a:lnTo>
                  <a:lnTo>
                    <a:pt x="369400" y="214029"/>
                  </a:lnTo>
                  <a:lnTo>
                    <a:pt x="370429" y="214876"/>
                  </a:lnTo>
                  <a:lnTo>
                    <a:pt x="370822" y="217599"/>
                  </a:lnTo>
                  <a:lnTo>
                    <a:pt x="371124" y="221834"/>
                  </a:lnTo>
                  <a:lnTo>
                    <a:pt x="372304" y="226826"/>
                  </a:lnTo>
                  <a:lnTo>
                    <a:pt x="375602" y="230274"/>
                  </a:lnTo>
                  <a:lnTo>
                    <a:pt x="382862" y="234600"/>
                  </a:lnTo>
                  <a:lnTo>
                    <a:pt x="386553" y="235931"/>
                  </a:lnTo>
                  <a:lnTo>
                    <a:pt x="395598" y="236899"/>
                  </a:lnTo>
                  <a:lnTo>
                    <a:pt x="399379" y="238926"/>
                  </a:lnTo>
                  <a:lnTo>
                    <a:pt x="400620" y="240953"/>
                  </a:lnTo>
                  <a:lnTo>
                    <a:pt x="399319" y="241437"/>
                  </a:lnTo>
                  <a:lnTo>
                    <a:pt x="393783" y="240287"/>
                  </a:lnTo>
                  <a:lnTo>
                    <a:pt x="387006" y="238896"/>
                  </a:lnTo>
                  <a:lnTo>
                    <a:pt x="381017" y="235114"/>
                  </a:lnTo>
                  <a:lnTo>
                    <a:pt x="379776" y="234570"/>
                  </a:lnTo>
                  <a:lnTo>
                    <a:pt x="377387" y="234298"/>
                  </a:lnTo>
                  <a:lnTo>
                    <a:pt x="375511" y="233541"/>
                  </a:lnTo>
                  <a:lnTo>
                    <a:pt x="373968" y="232240"/>
                  </a:lnTo>
                  <a:lnTo>
                    <a:pt x="367071" y="222862"/>
                  </a:lnTo>
                  <a:lnTo>
                    <a:pt x="365679" y="218143"/>
                  </a:lnTo>
                  <a:lnTo>
                    <a:pt x="364288" y="216510"/>
                  </a:lnTo>
                  <a:lnTo>
                    <a:pt x="361474" y="214392"/>
                  </a:lnTo>
                  <a:lnTo>
                    <a:pt x="357421" y="209975"/>
                  </a:lnTo>
                  <a:lnTo>
                    <a:pt x="347619" y="194002"/>
                  </a:lnTo>
                  <a:lnTo>
                    <a:pt x="345411" y="191340"/>
                  </a:lnTo>
                  <a:lnTo>
                    <a:pt x="344534" y="190796"/>
                  </a:lnTo>
                  <a:lnTo>
                    <a:pt x="341115" y="190947"/>
                  </a:lnTo>
                  <a:lnTo>
                    <a:pt x="339451" y="190675"/>
                  </a:lnTo>
                  <a:lnTo>
                    <a:pt x="338090" y="189707"/>
                  </a:lnTo>
                  <a:lnTo>
                    <a:pt x="336366" y="190857"/>
                  </a:lnTo>
                  <a:lnTo>
                    <a:pt x="328409" y="190766"/>
                  </a:lnTo>
                  <a:lnTo>
                    <a:pt x="320423" y="192581"/>
                  </a:lnTo>
                  <a:lnTo>
                    <a:pt x="318547" y="194638"/>
                  </a:lnTo>
                  <a:lnTo>
                    <a:pt x="314524" y="194336"/>
                  </a:lnTo>
                  <a:lnTo>
                    <a:pt x="307203" y="195999"/>
                  </a:lnTo>
                  <a:lnTo>
                    <a:pt x="302877" y="196120"/>
                  </a:lnTo>
                  <a:lnTo>
                    <a:pt x="295012" y="194305"/>
                  </a:lnTo>
                  <a:lnTo>
                    <a:pt x="291200" y="192490"/>
                  </a:lnTo>
                  <a:lnTo>
                    <a:pt x="287631" y="189707"/>
                  </a:lnTo>
                  <a:lnTo>
                    <a:pt x="285150" y="187136"/>
                  </a:lnTo>
                  <a:lnTo>
                    <a:pt x="283940" y="186652"/>
                  </a:lnTo>
                  <a:lnTo>
                    <a:pt x="281852" y="186500"/>
                  </a:lnTo>
                  <a:lnTo>
                    <a:pt x="279584" y="186984"/>
                  </a:lnTo>
                  <a:lnTo>
                    <a:pt x="277345" y="188225"/>
                  </a:lnTo>
                  <a:lnTo>
                    <a:pt x="275379" y="189979"/>
                  </a:lnTo>
                  <a:lnTo>
                    <a:pt x="273927" y="191976"/>
                  </a:lnTo>
                  <a:lnTo>
                    <a:pt x="272202" y="196151"/>
                  </a:lnTo>
                  <a:lnTo>
                    <a:pt x="269540" y="205589"/>
                  </a:lnTo>
                  <a:lnTo>
                    <a:pt x="265759" y="214271"/>
                  </a:lnTo>
                  <a:lnTo>
                    <a:pt x="265124" y="216570"/>
                  </a:lnTo>
                  <a:lnTo>
                    <a:pt x="264912" y="219202"/>
                  </a:lnTo>
                  <a:lnTo>
                    <a:pt x="265214" y="221804"/>
                  </a:lnTo>
                  <a:lnTo>
                    <a:pt x="266636" y="225343"/>
                  </a:lnTo>
                  <a:lnTo>
                    <a:pt x="267362" y="228308"/>
                  </a:lnTo>
                  <a:lnTo>
                    <a:pt x="268239" y="230637"/>
                  </a:lnTo>
                  <a:lnTo>
                    <a:pt x="269298" y="232755"/>
                  </a:lnTo>
                  <a:lnTo>
                    <a:pt x="270085" y="233662"/>
                  </a:lnTo>
                  <a:lnTo>
                    <a:pt x="272656" y="239743"/>
                  </a:lnTo>
                  <a:lnTo>
                    <a:pt x="273140" y="240529"/>
                  </a:lnTo>
                  <a:lnTo>
                    <a:pt x="272233" y="244946"/>
                  </a:lnTo>
                  <a:lnTo>
                    <a:pt x="270145" y="246822"/>
                  </a:lnTo>
                  <a:lnTo>
                    <a:pt x="267846" y="248334"/>
                  </a:lnTo>
                  <a:lnTo>
                    <a:pt x="266303" y="251692"/>
                  </a:lnTo>
                  <a:lnTo>
                    <a:pt x="266213" y="256290"/>
                  </a:lnTo>
                  <a:lnTo>
                    <a:pt x="267271" y="265971"/>
                  </a:lnTo>
                  <a:lnTo>
                    <a:pt x="266969" y="269782"/>
                  </a:lnTo>
                  <a:lnTo>
                    <a:pt x="265607" y="266939"/>
                  </a:lnTo>
                  <a:lnTo>
                    <a:pt x="265033" y="263097"/>
                  </a:lnTo>
                  <a:lnTo>
                    <a:pt x="264912" y="254385"/>
                  </a:lnTo>
                  <a:lnTo>
                    <a:pt x="265517" y="249877"/>
                  </a:lnTo>
                  <a:lnTo>
                    <a:pt x="267150" y="246519"/>
                  </a:lnTo>
                  <a:lnTo>
                    <a:pt x="269359" y="244038"/>
                  </a:lnTo>
                  <a:lnTo>
                    <a:pt x="271748" y="242133"/>
                  </a:lnTo>
                  <a:lnTo>
                    <a:pt x="271748" y="240983"/>
                  </a:lnTo>
                  <a:lnTo>
                    <a:pt x="267876" y="239259"/>
                  </a:lnTo>
                  <a:lnTo>
                    <a:pt x="259285" y="237686"/>
                  </a:lnTo>
                  <a:lnTo>
                    <a:pt x="255231" y="235780"/>
                  </a:lnTo>
                  <a:lnTo>
                    <a:pt x="253991" y="234237"/>
                  </a:lnTo>
                  <a:lnTo>
                    <a:pt x="252751" y="232120"/>
                  </a:lnTo>
                  <a:lnTo>
                    <a:pt x="251268" y="230214"/>
                  </a:lnTo>
                  <a:lnTo>
                    <a:pt x="249332" y="229397"/>
                  </a:lnTo>
                  <a:lnTo>
                    <a:pt x="245127" y="229608"/>
                  </a:lnTo>
                  <a:lnTo>
                    <a:pt x="243433" y="230244"/>
                  </a:lnTo>
                  <a:lnTo>
                    <a:pt x="242102" y="231545"/>
                  </a:lnTo>
                  <a:lnTo>
                    <a:pt x="241255" y="233753"/>
                  </a:lnTo>
                  <a:lnTo>
                    <a:pt x="240529" y="239047"/>
                  </a:lnTo>
                  <a:lnTo>
                    <a:pt x="239682" y="241588"/>
                  </a:lnTo>
                  <a:lnTo>
                    <a:pt x="239500" y="243887"/>
                  </a:lnTo>
                  <a:lnTo>
                    <a:pt x="241618" y="244220"/>
                  </a:lnTo>
                  <a:lnTo>
                    <a:pt x="245581" y="243252"/>
                  </a:lnTo>
                  <a:lnTo>
                    <a:pt x="248485" y="246368"/>
                  </a:lnTo>
                  <a:lnTo>
                    <a:pt x="247941" y="251692"/>
                  </a:lnTo>
                  <a:lnTo>
                    <a:pt x="245702" y="257016"/>
                  </a:lnTo>
                  <a:lnTo>
                    <a:pt x="243585" y="260283"/>
                  </a:lnTo>
                  <a:lnTo>
                    <a:pt x="242344" y="261403"/>
                  </a:lnTo>
                  <a:lnTo>
                    <a:pt x="241255" y="262008"/>
                  </a:lnTo>
                  <a:lnTo>
                    <a:pt x="240015" y="262280"/>
                  </a:lnTo>
                  <a:lnTo>
                    <a:pt x="238321" y="262280"/>
                  </a:lnTo>
                  <a:lnTo>
                    <a:pt x="236869" y="261645"/>
                  </a:lnTo>
                  <a:lnTo>
                    <a:pt x="235810" y="260193"/>
                  </a:lnTo>
                  <a:lnTo>
                    <a:pt x="234993" y="258741"/>
                  </a:lnTo>
                  <a:lnTo>
                    <a:pt x="234176" y="258075"/>
                  </a:lnTo>
                  <a:lnTo>
                    <a:pt x="233450" y="257621"/>
                  </a:lnTo>
                  <a:lnTo>
                    <a:pt x="231544" y="255564"/>
                  </a:lnTo>
                  <a:lnTo>
                    <a:pt x="230365" y="254989"/>
                  </a:lnTo>
                  <a:lnTo>
                    <a:pt x="228670" y="254929"/>
                  </a:lnTo>
                  <a:lnTo>
                    <a:pt x="227521" y="255383"/>
                  </a:lnTo>
                  <a:lnTo>
                    <a:pt x="226250" y="255927"/>
                  </a:lnTo>
                  <a:lnTo>
                    <a:pt x="224889" y="254596"/>
                  </a:lnTo>
                  <a:lnTo>
                    <a:pt x="223981" y="252630"/>
                  </a:lnTo>
                  <a:lnTo>
                    <a:pt x="222136" y="247457"/>
                  </a:lnTo>
                  <a:lnTo>
                    <a:pt x="223891" y="246428"/>
                  </a:lnTo>
                  <a:lnTo>
                    <a:pt x="227854" y="246096"/>
                  </a:lnTo>
                  <a:lnTo>
                    <a:pt x="229669" y="245218"/>
                  </a:lnTo>
                  <a:lnTo>
                    <a:pt x="231847" y="243706"/>
                  </a:lnTo>
                  <a:lnTo>
                    <a:pt x="232785" y="242284"/>
                  </a:lnTo>
                  <a:lnTo>
                    <a:pt x="233087" y="239501"/>
                  </a:lnTo>
                  <a:lnTo>
                    <a:pt x="231968" y="237867"/>
                  </a:lnTo>
                  <a:lnTo>
                    <a:pt x="229729" y="237262"/>
                  </a:lnTo>
                  <a:lnTo>
                    <a:pt x="228186" y="236566"/>
                  </a:lnTo>
                  <a:lnTo>
                    <a:pt x="229033" y="234600"/>
                  </a:lnTo>
                  <a:lnTo>
                    <a:pt x="229033" y="233632"/>
                  </a:lnTo>
                  <a:lnTo>
                    <a:pt x="225645" y="231454"/>
                  </a:lnTo>
                  <a:lnTo>
                    <a:pt x="221501" y="226523"/>
                  </a:lnTo>
                  <a:lnTo>
                    <a:pt x="218687" y="220866"/>
                  </a:lnTo>
                  <a:lnTo>
                    <a:pt x="219323" y="216479"/>
                  </a:lnTo>
                  <a:lnTo>
                    <a:pt x="219323" y="215330"/>
                  </a:lnTo>
                  <a:lnTo>
                    <a:pt x="211276" y="213182"/>
                  </a:lnTo>
                  <a:lnTo>
                    <a:pt x="181085" y="217054"/>
                  </a:lnTo>
                  <a:lnTo>
                    <a:pt x="166262" y="219928"/>
                  </a:lnTo>
                  <a:lnTo>
                    <a:pt x="163872" y="219414"/>
                  </a:lnTo>
                  <a:lnTo>
                    <a:pt x="162783" y="218053"/>
                  </a:lnTo>
                  <a:lnTo>
                    <a:pt x="161694" y="217357"/>
                  </a:lnTo>
                  <a:lnTo>
                    <a:pt x="146205" y="218960"/>
                  </a:lnTo>
                  <a:lnTo>
                    <a:pt x="138279" y="221804"/>
                  </a:lnTo>
                  <a:lnTo>
                    <a:pt x="134528" y="225403"/>
                  </a:lnTo>
                  <a:lnTo>
                    <a:pt x="132562" y="226644"/>
                  </a:lnTo>
                  <a:lnTo>
                    <a:pt x="128901" y="230425"/>
                  </a:lnTo>
                  <a:lnTo>
                    <a:pt x="125664" y="232513"/>
                  </a:lnTo>
                  <a:lnTo>
                    <a:pt x="124242" y="234237"/>
                  </a:lnTo>
                  <a:lnTo>
                    <a:pt x="124454" y="236294"/>
                  </a:lnTo>
                  <a:lnTo>
                    <a:pt x="125785" y="237534"/>
                  </a:lnTo>
                  <a:lnTo>
                    <a:pt x="128720" y="238896"/>
                  </a:lnTo>
                  <a:lnTo>
                    <a:pt x="129627" y="240015"/>
                  </a:lnTo>
                  <a:lnTo>
                    <a:pt x="129809" y="241982"/>
                  </a:lnTo>
                  <a:lnTo>
                    <a:pt x="129083" y="243494"/>
                  </a:lnTo>
                  <a:lnTo>
                    <a:pt x="128115" y="243978"/>
                  </a:lnTo>
                  <a:lnTo>
                    <a:pt x="127570" y="245249"/>
                  </a:lnTo>
                  <a:lnTo>
                    <a:pt x="123516" y="244432"/>
                  </a:lnTo>
                  <a:lnTo>
                    <a:pt x="121550" y="244432"/>
                  </a:lnTo>
                  <a:lnTo>
                    <a:pt x="120703" y="245823"/>
                  </a:lnTo>
                  <a:lnTo>
                    <a:pt x="120249" y="248122"/>
                  </a:lnTo>
                  <a:lnTo>
                    <a:pt x="118313" y="252842"/>
                  </a:lnTo>
                  <a:lnTo>
                    <a:pt x="117859" y="255443"/>
                  </a:lnTo>
                  <a:lnTo>
                    <a:pt x="117859" y="266939"/>
                  </a:lnTo>
                  <a:lnTo>
                    <a:pt x="119372" y="271265"/>
                  </a:lnTo>
                  <a:lnTo>
                    <a:pt x="123093" y="272959"/>
                  </a:lnTo>
                  <a:lnTo>
                    <a:pt x="146024" y="273715"/>
                  </a:lnTo>
                  <a:lnTo>
                    <a:pt x="150017" y="275076"/>
                  </a:lnTo>
                  <a:lnTo>
                    <a:pt x="152437" y="278343"/>
                  </a:lnTo>
                  <a:lnTo>
                    <a:pt x="150531" y="277648"/>
                  </a:lnTo>
                  <a:lnTo>
                    <a:pt x="147052" y="275621"/>
                  </a:lnTo>
                  <a:lnTo>
                    <a:pt x="144874" y="275107"/>
                  </a:lnTo>
                  <a:lnTo>
                    <a:pt x="142545" y="275107"/>
                  </a:lnTo>
                  <a:lnTo>
                    <a:pt x="141183" y="275802"/>
                  </a:lnTo>
                  <a:lnTo>
                    <a:pt x="138642" y="279342"/>
                  </a:lnTo>
                  <a:lnTo>
                    <a:pt x="139398" y="281066"/>
                  </a:lnTo>
                  <a:lnTo>
                    <a:pt x="139066" y="282911"/>
                  </a:lnTo>
                  <a:lnTo>
                    <a:pt x="138158" y="284545"/>
                  </a:lnTo>
                  <a:lnTo>
                    <a:pt x="137281" y="285695"/>
                  </a:lnTo>
                  <a:lnTo>
                    <a:pt x="136131" y="286814"/>
                  </a:lnTo>
                  <a:lnTo>
                    <a:pt x="135163" y="287298"/>
                  </a:lnTo>
                  <a:lnTo>
                    <a:pt x="135436" y="291684"/>
                  </a:lnTo>
                  <a:lnTo>
                    <a:pt x="135526" y="294165"/>
                  </a:lnTo>
                  <a:lnTo>
                    <a:pt x="135224" y="296555"/>
                  </a:lnTo>
                  <a:lnTo>
                    <a:pt x="134528" y="299217"/>
                  </a:lnTo>
                  <a:lnTo>
                    <a:pt x="133106" y="302605"/>
                  </a:lnTo>
                  <a:lnTo>
                    <a:pt x="132864" y="303846"/>
                  </a:lnTo>
                  <a:lnTo>
                    <a:pt x="132925" y="305691"/>
                  </a:lnTo>
                  <a:lnTo>
                    <a:pt x="133318" y="306659"/>
                  </a:lnTo>
                  <a:lnTo>
                    <a:pt x="133802" y="307476"/>
                  </a:lnTo>
                  <a:lnTo>
                    <a:pt x="134165" y="308807"/>
                  </a:lnTo>
                  <a:lnTo>
                    <a:pt x="135103" y="319818"/>
                  </a:lnTo>
                  <a:lnTo>
                    <a:pt x="134952" y="325324"/>
                  </a:lnTo>
                  <a:lnTo>
                    <a:pt x="134014" y="330225"/>
                  </a:lnTo>
                  <a:lnTo>
                    <a:pt x="131836" y="335368"/>
                  </a:lnTo>
                  <a:lnTo>
                    <a:pt x="123577" y="347347"/>
                  </a:lnTo>
                  <a:lnTo>
                    <a:pt x="122821" y="349344"/>
                  </a:lnTo>
                  <a:lnTo>
                    <a:pt x="121792" y="352006"/>
                  </a:lnTo>
                  <a:lnTo>
                    <a:pt x="120915" y="357118"/>
                  </a:lnTo>
                  <a:lnTo>
                    <a:pt x="119977" y="373575"/>
                  </a:lnTo>
                  <a:lnTo>
                    <a:pt x="119251" y="378930"/>
                  </a:lnTo>
                  <a:lnTo>
                    <a:pt x="117436" y="382197"/>
                  </a:lnTo>
                  <a:lnTo>
                    <a:pt x="113836" y="381138"/>
                  </a:lnTo>
                  <a:lnTo>
                    <a:pt x="112324" y="380563"/>
                  </a:lnTo>
                  <a:lnTo>
                    <a:pt x="107362" y="381229"/>
                  </a:lnTo>
                  <a:lnTo>
                    <a:pt x="102038" y="379746"/>
                  </a:lnTo>
                  <a:lnTo>
                    <a:pt x="92478" y="379898"/>
                  </a:lnTo>
                  <a:lnTo>
                    <a:pt x="89121" y="380866"/>
                  </a:lnTo>
                  <a:lnTo>
                    <a:pt x="87306" y="382076"/>
                  </a:lnTo>
                  <a:lnTo>
                    <a:pt x="85581" y="383225"/>
                  </a:lnTo>
                  <a:lnTo>
                    <a:pt x="86428" y="384829"/>
                  </a:lnTo>
                  <a:lnTo>
                    <a:pt x="86217" y="386190"/>
                  </a:lnTo>
                  <a:lnTo>
                    <a:pt x="85763" y="387461"/>
                  </a:lnTo>
                  <a:lnTo>
                    <a:pt x="85763" y="388731"/>
                  </a:lnTo>
                  <a:lnTo>
                    <a:pt x="86489" y="389699"/>
                  </a:lnTo>
                  <a:lnTo>
                    <a:pt x="89786" y="392270"/>
                  </a:lnTo>
                  <a:lnTo>
                    <a:pt x="84220" y="394872"/>
                  </a:lnTo>
                  <a:lnTo>
                    <a:pt x="82556" y="395023"/>
                  </a:lnTo>
                  <a:lnTo>
                    <a:pt x="83796" y="397413"/>
                  </a:lnTo>
                  <a:lnTo>
                    <a:pt x="84129" y="400136"/>
                  </a:lnTo>
                  <a:lnTo>
                    <a:pt x="84280" y="402828"/>
                  </a:lnTo>
                  <a:lnTo>
                    <a:pt x="84885" y="405097"/>
                  </a:lnTo>
                  <a:lnTo>
                    <a:pt x="86882" y="407245"/>
                  </a:lnTo>
                  <a:lnTo>
                    <a:pt x="89544" y="408425"/>
                  </a:lnTo>
                  <a:lnTo>
                    <a:pt x="97500" y="409453"/>
                  </a:lnTo>
                  <a:lnTo>
                    <a:pt x="102703" y="411299"/>
                  </a:lnTo>
                  <a:lnTo>
                    <a:pt x="105547" y="411722"/>
                  </a:lnTo>
                  <a:lnTo>
                    <a:pt x="108179" y="411571"/>
                  </a:lnTo>
                  <a:lnTo>
                    <a:pt x="110690" y="410875"/>
                  </a:lnTo>
                  <a:lnTo>
                    <a:pt x="111628" y="410058"/>
                  </a:lnTo>
                  <a:lnTo>
                    <a:pt x="112233" y="409030"/>
                  </a:lnTo>
                  <a:lnTo>
                    <a:pt x="112868" y="408757"/>
                  </a:lnTo>
                  <a:lnTo>
                    <a:pt x="118979" y="417924"/>
                  </a:lnTo>
                  <a:lnTo>
                    <a:pt x="120400" y="421826"/>
                  </a:lnTo>
                  <a:lnTo>
                    <a:pt x="119554" y="427362"/>
                  </a:lnTo>
                  <a:lnTo>
                    <a:pt x="117557" y="431658"/>
                  </a:lnTo>
                  <a:lnTo>
                    <a:pt x="116831" y="433927"/>
                  </a:lnTo>
                  <a:lnTo>
                    <a:pt x="116770" y="436710"/>
                  </a:lnTo>
                  <a:lnTo>
                    <a:pt x="117678" y="439916"/>
                  </a:lnTo>
                  <a:lnTo>
                    <a:pt x="118253" y="440915"/>
                  </a:lnTo>
                  <a:lnTo>
                    <a:pt x="118495" y="441338"/>
                  </a:lnTo>
                  <a:lnTo>
                    <a:pt x="118222" y="442095"/>
                  </a:lnTo>
                  <a:lnTo>
                    <a:pt x="113745" y="444606"/>
                  </a:lnTo>
                  <a:lnTo>
                    <a:pt x="112656" y="445785"/>
                  </a:lnTo>
                  <a:lnTo>
                    <a:pt x="110297" y="449294"/>
                  </a:lnTo>
                  <a:lnTo>
                    <a:pt x="108300" y="450928"/>
                  </a:lnTo>
                  <a:lnTo>
                    <a:pt x="104004" y="452683"/>
                  </a:lnTo>
                  <a:lnTo>
                    <a:pt x="102038" y="454558"/>
                  </a:lnTo>
                  <a:lnTo>
                    <a:pt x="99830" y="458733"/>
                  </a:lnTo>
                  <a:lnTo>
                    <a:pt x="98559" y="459792"/>
                  </a:lnTo>
                  <a:lnTo>
                    <a:pt x="92600" y="460397"/>
                  </a:lnTo>
                  <a:lnTo>
                    <a:pt x="92025" y="460457"/>
                  </a:lnTo>
                  <a:lnTo>
                    <a:pt x="90422" y="461274"/>
                  </a:lnTo>
                  <a:lnTo>
                    <a:pt x="88697" y="462908"/>
                  </a:lnTo>
                  <a:lnTo>
                    <a:pt x="88153" y="463755"/>
                  </a:lnTo>
                  <a:lnTo>
                    <a:pt x="87336" y="465691"/>
                  </a:lnTo>
                  <a:lnTo>
                    <a:pt x="86519" y="466628"/>
                  </a:lnTo>
                  <a:lnTo>
                    <a:pt x="85309" y="467203"/>
                  </a:lnTo>
                  <a:lnTo>
                    <a:pt x="84250" y="467294"/>
                  </a:lnTo>
                  <a:lnTo>
                    <a:pt x="83342" y="467687"/>
                  </a:lnTo>
                  <a:lnTo>
                    <a:pt x="82647" y="469260"/>
                  </a:lnTo>
                  <a:lnTo>
                    <a:pt x="82859" y="471529"/>
                  </a:lnTo>
                  <a:lnTo>
                    <a:pt x="84462" y="472558"/>
                  </a:lnTo>
                  <a:lnTo>
                    <a:pt x="86670" y="473163"/>
                  </a:lnTo>
                  <a:lnTo>
                    <a:pt x="93235" y="476551"/>
                  </a:lnTo>
                  <a:lnTo>
                    <a:pt x="95836" y="479092"/>
                  </a:lnTo>
                  <a:lnTo>
                    <a:pt x="96351" y="479818"/>
                  </a:lnTo>
                  <a:lnTo>
                    <a:pt x="96593" y="480816"/>
                  </a:lnTo>
                  <a:lnTo>
                    <a:pt x="96502" y="482632"/>
                  </a:lnTo>
                  <a:lnTo>
                    <a:pt x="95988" y="483085"/>
                  </a:lnTo>
                  <a:lnTo>
                    <a:pt x="95231" y="483206"/>
                  </a:lnTo>
                  <a:lnTo>
                    <a:pt x="94415" y="484053"/>
                  </a:lnTo>
                  <a:lnTo>
                    <a:pt x="92115" y="487895"/>
                  </a:lnTo>
                  <a:lnTo>
                    <a:pt x="89786" y="490467"/>
                  </a:lnTo>
                  <a:lnTo>
                    <a:pt x="87064" y="491828"/>
                  </a:lnTo>
                  <a:lnTo>
                    <a:pt x="78170" y="492100"/>
                  </a:lnTo>
                  <a:lnTo>
                    <a:pt x="68157" y="495246"/>
                  </a:lnTo>
                  <a:lnTo>
                    <a:pt x="63195" y="498755"/>
                  </a:lnTo>
                  <a:lnTo>
                    <a:pt x="61531" y="499451"/>
                  </a:lnTo>
                  <a:lnTo>
                    <a:pt x="59474" y="499451"/>
                  </a:lnTo>
                  <a:lnTo>
                    <a:pt x="53031" y="497697"/>
                  </a:lnTo>
                  <a:lnTo>
                    <a:pt x="53847" y="501085"/>
                  </a:lnTo>
                  <a:lnTo>
                    <a:pt x="53424" y="502567"/>
                  </a:lnTo>
                  <a:lnTo>
                    <a:pt x="49642" y="503535"/>
                  </a:lnTo>
                  <a:lnTo>
                    <a:pt x="49340" y="501206"/>
                  </a:lnTo>
                  <a:lnTo>
                    <a:pt x="47707" y="500329"/>
                  </a:lnTo>
                  <a:lnTo>
                    <a:pt x="43865" y="499784"/>
                  </a:lnTo>
                  <a:lnTo>
                    <a:pt x="43411" y="499270"/>
                  </a:lnTo>
                  <a:lnTo>
                    <a:pt x="42291" y="497425"/>
                  </a:lnTo>
                  <a:lnTo>
                    <a:pt x="41565" y="496789"/>
                  </a:lnTo>
                  <a:lnTo>
                    <a:pt x="40749" y="496698"/>
                  </a:lnTo>
                  <a:lnTo>
                    <a:pt x="37602" y="497334"/>
                  </a:lnTo>
                  <a:lnTo>
                    <a:pt x="34214" y="496063"/>
                  </a:lnTo>
                  <a:lnTo>
                    <a:pt x="30977" y="493643"/>
                  </a:lnTo>
                  <a:lnTo>
                    <a:pt x="27740" y="492221"/>
                  </a:lnTo>
                  <a:lnTo>
                    <a:pt x="24322" y="493946"/>
                  </a:lnTo>
                  <a:lnTo>
                    <a:pt x="25562" y="494823"/>
                  </a:lnTo>
                  <a:lnTo>
                    <a:pt x="29313" y="498453"/>
                  </a:lnTo>
                  <a:lnTo>
                    <a:pt x="30675" y="500419"/>
                  </a:lnTo>
                  <a:lnTo>
                    <a:pt x="29041" y="500056"/>
                  </a:lnTo>
                  <a:lnTo>
                    <a:pt x="26682" y="499482"/>
                  </a:lnTo>
                  <a:lnTo>
                    <a:pt x="23415" y="498665"/>
                  </a:lnTo>
                  <a:lnTo>
                    <a:pt x="19331" y="499693"/>
                  </a:lnTo>
                  <a:lnTo>
                    <a:pt x="17878" y="500389"/>
                  </a:lnTo>
                  <a:lnTo>
                    <a:pt x="15791" y="501811"/>
                  </a:lnTo>
                  <a:lnTo>
                    <a:pt x="13855" y="502567"/>
                  </a:lnTo>
                  <a:lnTo>
                    <a:pt x="9741" y="503233"/>
                  </a:lnTo>
                  <a:lnTo>
                    <a:pt x="8077" y="504322"/>
                  </a:lnTo>
                  <a:lnTo>
                    <a:pt x="7744" y="505653"/>
                  </a:lnTo>
                  <a:lnTo>
                    <a:pt x="10043" y="507256"/>
                  </a:lnTo>
                  <a:lnTo>
                    <a:pt x="11405" y="510160"/>
                  </a:lnTo>
                  <a:lnTo>
                    <a:pt x="11223" y="513185"/>
                  </a:lnTo>
                  <a:lnTo>
                    <a:pt x="9589" y="514698"/>
                  </a:lnTo>
                  <a:lnTo>
                    <a:pt x="8985" y="515243"/>
                  </a:lnTo>
                  <a:lnTo>
                    <a:pt x="8894" y="516846"/>
                  </a:lnTo>
                  <a:lnTo>
                    <a:pt x="9892" y="517209"/>
                  </a:lnTo>
                  <a:lnTo>
                    <a:pt x="12796" y="517209"/>
                  </a:lnTo>
                  <a:lnTo>
                    <a:pt x="13946" y="517663"/>
                  </a:lnTo>
                  <a:lnTo>
                    <a:pt x="16184" y="519236"/>
                  </a:lnTo>
                  <a:lnTo>
                    <a:pt x="17183" y="520174"/>
                  </a:lnTo>
                  <a:lnTo>
                    <a:pt x="15821" y="524409"/>
                  </a:lnTo>
                  <a:lnTo>
                    <a:pt x="18121" y="527101"/>
                  </a:lnTo>
                  <a:lnTo>
                    <a:pt x="24927" y="529854"/>
                  </a:lnTo>
                  <a:lnTo>
                    <a:pt x="23747" y="533182"/>
                  </a:lnTo>
                  <a:lnTo>
                    <a:pt x="23203" y="535330"/>
                  </a:lnTo>
                  <a:lnTo>
                    <a:pt x="23626" y="537145"/>
                  </a:lnTo>
                  <a:lnTo>
                    <a:pt x="30312" y="545645"/>
                  </a:lnTo>
                  <a:lnTo>
                    <a:pt x="34366" y="549971"/>
                  </a:lnTo>
                  <a:lnTo>
                    <a:pt x="35092" y="554842"/>
                  </a:lnTo>
                  <a:lnTo>
                    <a:pt x="35576" y="557534"/>
                  </a:lnTo>
                  <a:lnTo>
                    <a:pt x="35213" y="560468"/>
                  </a:lnTo>
                  <a:lnTo>
                    <a:pt x="34426" y="563615"/>
                  </a:lnTo>
                  <a:lnTo>
                    <a:pt x="34275" y="566337"/>
                  </a:lnTo>
                  <a:lnTo>
                    <a:pt x="35787" y="568001"/>
                  </a:lnTo>
                  <a:lnTo>
                    <a:pt x="35213" y="569302"/>
                  </a:lnTo>
                  <a:lnTo>
                    <a:pt x="34910" y="572539"/>
                  </a:lnTo>
                  <a:lnTo>
                    <a:pt x="34366" y="574384"/>
                  </a:lnTo>
                  <a:lnTo>
                    <a:pt x="33367" y="575685"/>
                  </a:lnTo>
                  <a:lnTo>
                    <a:pt x="30796" y="577319"/>
                  </a:lnTo>
                  <a:lnTo>
                    <a:pt x="29737" y="578287"/>
                  </a:lnTo>
                  <a:lnTo>
                    <a:pt x="24594" y="587060"/>
                  </a:lnTo>
                  <a:lnTo>
                    <a:pt x="22477" y="589419"/>
                  </a:lnTo>
                  <a:lnTo>
                    <a:pt x="21448" y="591053"/>
                  </a:lnTo>
                  <a:lnTo>
                    <a:pt x="20571" y="593987"/>
                  </a:lnTo>
                  <a:lnTo>
                    <a:pt x="20268" y="597285"/>
                  </a:lnTo>
                  <a:lnTo>
                    <a:pt x="20994" y="600007"/>
                  </a:lnTo>
                  <a:lnTo>
                    <a:pt x="23354" y="601217"/>
                  </a:lnTo>
                  <a:lnTo>
                    <a:pt x="28376" y="598041"/>
                  </a:lnTo>
                  <a:lnTo>
                    <a:pt x="30675" y="598767"/>
                  </a:lnTo>
                  <a:lnTo>
                    <a:pt x="29858" y="599190"/>
                  </a:lnTo>
                  <a:lnTo>
                    <a:pt x="27559" y="600915"/>
                  </a:lnTo>
                  <a:lnTo>
                    <a:pt x="29676" y="602730"/>
                  </a:lnTo>
                  <a:lnTo>
                    <a:pt x="28194" y="604545"/>
                  </a:lnTo>
                  <a:lnTo>
                    <a:pt x="22446" y="607419"/>
                  </a:lnTo>
                  <a:lnTo>
                    <a:pt x="13129" y="614134"/>
                  </a:lnTo>
                  <a:lnTo>
                    <a:pt x="11768" y="615557"/>
                  </a:lnTo>
                  <a:lnTo>
                    <a:pt x="9832" y="619277"/>
                  </a:lnTo>
                  <a:lnTo>
                    <a:pt x="8591" y="620548"/>
                  </a:lnTo>
                  <a:lnTo>
                    <a:pt x="6716" y="620729"/>
                  </a:lnTo>
                  <a:lnTo>
                    <a:pt x="5385" y="619580"/>
                  </a:lnTo>
                  <a:lnTo>
                    <a:pt x="4205" y="618158"/>
                  </a:lnTo>
                  <a:lnTo>
                    <a:pt x="2813" y="617432"/>
                  </a:lnTo>
                  <a:lnTo>
                    <a:pt x="0" y="618793"/>
                  </a:lnTo>
                  <a:lnTo>
                    <a:pt x="575" y="622242"/>
                  </a:lnTo>
                  <a:lnTo>
                    <a:pt x="2117" y="626447"/>
                  </a:lnTo>
                  <a:lnTo>
                    <a:pt x="2208" y="630168"/>
                  </a:lnTo>
                  <a:lnTo>
                    <a:pt x="3600" y="629896"/>
                  </a:lnTo>
                  <a:lnTo>
                    <a:pt x="6201" y="628716"/>
                  </a:lnTo>
                  <a:lnTo>
                    <a:pt x="7563" y="628353"/>
                  </a:lnTo>
                  <a:lnTo>
                    <a:pt x="8954" y="628534"/>
                  </a:lnTo>
                  <a:lnTo>
                    <a:pt x="11586" y="629351"/>
                  </a:lnTo>
                  <a:lnTo>
                    <a:pt x="15186" y="628958"/>
                  </a:lnTo>
                  <a:lnTo>
                    <a:pt x="15398" y="629714"/>
                  </a:lnTo>
                  <a:lnTo>
                    <a:pt x="14793" y="630954"/>
                  </a:lnTo>
                  <a:lnTo>
                    <a:pt x="14400" y="632165"/>
                  </a:lnTo>
                  <a:lnTo>
                    <a:pt x="14551" y="634282"/>
                  </a:lnTo>
                  <a:lnTo>
                    <a:pt x="14793" y="635462"/>
                  </a:lnTo>
                  <a:lnTo>
                    <a:pt x="15580" y="636248"/>
                  </a:lnTo>
                  <a:lnTo>
                    <a:pt x="17939" y="637610"/>
                  </a:lnTo>
                  <a:lnTo>
                    <a:pt x="21237" y="638668"/>
                  </a:lnTo>
                  <a:lnTo>
                    <a:pt x="21055" y="639243"/>
                  </a:lnTo>
                  <a:lnTo>
                    <a:pt x="20511" y="640030"/>
                  </a:lnTo>
                  <a:lnTo>
                    <a:pt x="20329" y="640998"/>
                  </a:lnTo>
                  <a:lnTo>
                    <a:pt x="21176" y="644023"/>
                  </a:lnTo>
                  <a:lnTo>
                    <a:pt x="21176" y="645172"/>
                  </a:lnTo>
                  <a:lnTo>
                    <a:pt x="20540" y="646685"/>
                  </a:lnTo>
                  <a:lnTo>
                    <a:pt x="19421" y="647925"/>
                  </a:lnTo>
                  <a:lnTo>
                    <a:pt x="17152" y="647744"/>
                  </a:lnTo>
                  <a:lnTo>
                    <a:pt x="15761" y="648470"/>
                  </a:lnTo>
                  <a:lnTo>
                    <a:pt x="14883" y="649952"/>
                  </a:lnTo>
                  <a:lnTo>
                    <a:pt x="14974" y="651192"/>
                  </a:lnTo>
                  <a:lnTo>
                    <a:pt x="15186" y="652554"/>
                  </a:lnTo>
                  <a:lnTo>
                    <a:pt x="14672" y="654278"/>
                  </a:lnTo>
                  <a:lnTo>
                    <a:pt x="13220" y="655549"/>
                  </a:lnTo>
                  <a:lnTo>
                    <a:pt x="11707" y="655186"/>
                  </a:lnTo>
                  <a:lnTo>
                    <a:pt x="12131" y="657061"/>
                  </a:lnTo>
                  <a:lnTo>
                    <a:pt x="12887" y="658302"/>
                  </a:lnTo>
                  <a:lnTo>
                    <a:pt x="13885" y="658937"/>
                  </a:lnTo>
                  <a:lnTo>
                    <a:pt x="14551" y="659814"/>
                  </a:lnTo>
                  <a:lnTo>
                    <a:pt x="14339" y="661720"/>
                  </a:lnTo>
                  <a:lnTo>
                    <a:pt x="14157" y="661992"/>
                  </a:lnTo>
                  <a:lnTo>
                    <a:pt x="14097" y="662265"/>
                  </a:lnTo>
                  <a:lnTo>
                    <a:pt x="14097" y="662537"/>
                  </a:lnTo>
                  <a:lnTo>
                    <a:pt x="14248" y="662809"/>
                  </a:lnTo>
                  <a:lnTo>
                    <a:pt x="15943" y="663626"/>
                  </a:lnTo>
                  <a:lnTo>
                    <a:pt x="16003" y="665018"/>
                  </a:lnTo>
                  <a:lnTo>
                    <a:pt x="15640" y="666560"/>
                  </a:lnTo>
                  <a:lnTo>
                    <a:pt x="16033" y="667800"/>
                  </a:lnTo>
                  <a:lnTo>
                    <a:pt x="17364" y="667952"/>
                  </a:lnTo>
                  <a:lnTo>
                    <a:pt x="21327" y="666954"/>
                  </a:lnTo>
                  <a:lnTo>
                    <a:pt x="23021" y="667105"/>
                  </a:lnTo>
                  <a:lnTo>
                    <a:pt x="24957" y="668890"/>
                  </a:lnTo>
                  <a:lnTo>
                    <a:pt x="31099" y="677511"/>
                  </a:lnTo>
                  <a:lnTo>
                    <a:pt x="29767" y="678298"/>
                  </a:lnTo>
                  <a:lnTo>
                    <a:pt x="30947" y="680385"/>
                  </a:lnTo>
                  <a:lnTo>
                    <a:pt x="33004" y="681384"/>
                  </a:lnTo>
                  <a:lnTo>
                    <a:pt x="39962" y="681535"/>
                  </a:lnTo>
                  <a:lnTo>
                    <a:pt x="40204" y="682412"/>
                  </a:lnTo>
                  <a:lnTo>
                    <a:pt x="39478" y="683713"/>
                  </a:lnTo>
                  <a:lnTo>
                    <a:pt x="38328" y="684983"/>
                  </a:lnTo>
                  <a:lnTo>
                    <a:pt x="38328" y="685528"/>
                  </a:lnTo>
                  <a:lnTo>
                    <a:pt x="36090" y="686768"/>
                  </a:lnTo>
                  <a:lnTo>
                    <a:pt x="32914" y="689188"/>
                  </a:lnTo>
                  <a:lnTo>
                    <a:pt x="31068" y="691851"/>
                  </a:lnTo>
                  <a:lnTo>
                    <a:pt x="32732" y="693787"/>
                  </a:lnTo>
                  <a:lnTo>
                    <a:pt x="31945" y="694906"/>
                  </a:lnTo>
                  <a:lnTo>
                    <a:pt x="32066" y="695571"/>
                  </a:lnTo>
                  <a:lnTo>
                    <a:pt x="32883" y="695874"/>
                  </a:lnTo>
                  <a:lnTo>
                    <a:pt x="34063" y="695965"/>
                  </a:lnTo>
                  <a:lnTo>
                    <a:pt x="33277" y="697235"/>
                  </a:lnTo>
                  <a:lnTo>
                    <a:pt x="34093" y="697931"/>
                  </a:lnTo>
                  <a:lnTo>
                    <a:pt x="34940" y="699595"/>
                  </a:lnTo>
                  <a:lnTo>
                    <a:pt x="35757" y="700170"/>
                  </a:lnTo>
                  <a:lnTo>
                    <a:pt x="36756" y="700230"/>
                  </a:lnTo>
                  <a:lnTo>
                    <a:pt x="40144" y="699262"/>
                  </a:lnTo>
                  <a:lnTo>
                    <a:pt x="40355" y="699050"/>
                  </a:lnTo>
                  <a:lnTo>
                    <a:pt x="40597" y="698990"/>
                  </a:lnTo>
                  <a:lnTo>
                    <a:pt x="40839" y="699050"/>
                  </a:lnTo>
                  <a:lnTo>
                    <a:pt x="41081" y="699262"/>
                  </a:lnTo>
                  <a:lnTo>
                    <a:pt x="42624" y="699927"/>
                  </a:lnTo>
                  <a:lnTo>
                    <a:pt x="46981" y="700865"/>
                  </a:lnTo>
                  <a:lnTo>
                    <a:pt x="48796" y="700956"/>
                  </a:lnTo>
                  <a:lnTo>
                    <a:pt x="47676" y="701985"/>
                  </a:lnTo>
                  <a:lnTo>
                    <a:pt x="47434" y="703165"/>
                  </a:lnTo>
                  <a:lnTo>
                    <a:pt x="47737" y="704465"/>
                  </a:lnTo>
                  <a:lnTo>
                    <a:pt x="48281" y="705918"/>
                  </a:lnTo>
                  <a:lnTo>
                    <a:pt x="49128" y="707248"/>
                  </a:lnTo>
                  <a:lnTo>
                    <a:pt x="49854" y="707370"/>
                  </a:lnTo>
                  <a:lnTo>
                    <a:pt x="50248" y="707854"/>
                  </a:lnTo>
                  <a:lnTo>
                    <a:pt x="50157" y="710274"/>
                  </a:lnTo>
                  <a:lnTo>
                    <a:pt x="49431" y="713692"/>
                  </a:lnTo>
                  <a:lnTo>
                    <a:pt x="48735" y="715628"/>
                  </a:lnTo>
                  <a:lnTo>
                    <a:pt x="48856" y="717322"/>
                  </a:lnTo>
                  <a:lnTo>
                    <a:pt x="52365" y="722919"/>
                  </a:lnTo>
                  <a:lnTo>
                    <a:pt x="52456" y="723856"/>
                  </a:lnTo>
                  <a:lnTo>
                    <a:pt x="52577" y="724945"/>
                  </a:lnTo>
                  <a:lnTo>
                    <a:pt x="51306" y="726186"/>
                  </a:lnTo>
                  <a:lnTo>
                    <a:pt x="48644" y="726640"/>
                  </a:lnTo>
                  <a:lnTo>
                    <a:pt x="47283" y="726397"/>
                  </a:lnTo>
                  <a:lnTo>
                    <a:pt x="46133" y="726005"/>
                  </a:lnTo>
                  <a:lnTo>
                    <a:pt x="45014" y="725914"/>
                  </a:lnTo>
                  <a:lnTo>
                    <a:pt x="43653" y="726640"/>
                  </a:lnTo>
                  <a:lnTo>
                    <a:pt x="42654" y="727759"/>
                  </a:lnTo>
                  <a:lnTo>
                    <a:pt x="41989" y="729150"/>
                  </a:lnTo>
                  <a:lnTo>
                    <a:pt x="41777" y="730602"/>
                  </a:lnTo>
                  <a:lnTo>
                    <a:pt x="42231" y="731903"/>
                  </a:lnTo>
                  <a:lnTo>
                    <a:pt x="40386" y="733446"/>
                  </a:lnTo>
                  <a:lnTo>
                    <a:pt x="36059" y="734566"/>
                  </a:lnTo>
                  <a:lnTo>
                    <a:pt x="33972" y="735473"/>
                  </a:lnTo>
                  <a:lnTo>
                    <a:pt x="33004" y="736895"/>
                  </a:lnTo>
                  <a:lnTo>
                    <a:pt x="30735" y="738377"/>
                  </a:lnTo>
                  <a:lnTo>
                    <a:pt x="29707" y="739618"/>
                  </a:lnTo>
                  <a:lnTo>
                    <a:pt x="31038" y="740979"/>
                  </a:lnTo>
                  <a:lnTo>
                    <a:pt x="31613" y="742613"/>
                  </a:lnTo>
                  <a:lnTo>
                    <a:pt x="31552" y="744216"/>
                  </a:lnTo>
                  <a:lnTo>
                    <a:pt x="30947" y="745577"/>
                  </a:lnTo>
                  <a:lnTo>
                    <a:pt x="30221" y="746031"/>
                  </a:lnTo>
                  <a:lnTo>
                    <a:pt x="28224" y="746182"/>
                  </a:lnTo>
                  <a:lnTo>
                    <a:pt x="27347" y="746666"/>
                  </a:lnTo>
                  <a:lnTo>
                    <a:pt x="27166" y="747150"/>
                  </a:lnTo>
                  <a:lnTo>
                    <a:pt x="26833" y="748753"/>
                  </a:lnTo>
                  <a:lnTo>
                    <a:pt x="26621" y="749449"/>
                  </a:lnTo>
                  <a:lnTo>
                    <a:pt x="27650" y="750206"/>
                  </a:lnTo>
                  <a:lnTo>
                    <a:pt x="28013" y="751113"/>
                  </a:lnTo>
                  <a:lnTo>
                    <a:pt x="27710" y="752081"/>
                  </a:lnTo>
                  <a:lnTo>
                    <a:pt x="26803" y="753079"/>
                  </a:lnTo>
                  <a:lnTo>
                    <a:pt x="26107" y="755167"/>
                  </a:lnTo>
                  <a:lnTo>
                    <a:pt x="25623" y="757163"/>
                  </a:lnTo>
                  <a:lnTo>
                    <a:pt x="24988" y="761217"/>
                  </a:lnTo>
                  <a:lnTo>
                    <a:pt x="25169" y="761308"/>
                  </a:lnTo>
                  <a:lnTo>
                    <a:pt x="25774" y="761247"/>
                  </a:lnTo>
                  <a:lnTo>
                    <a:pt x="26016" y="761247"/>
                  </a:lnTo>
                  <a:lnTo>
                    <a:pt x="25653" y="761731"/>
                  </a:lnTo>
                  <a:lnTo>
                    <a:pt x="24715" y="763426"/>
                  </a:lnTo>
                  <a:lnTo>
                    <a:pt x="25805" y="764000"/>
                  </a:lnTo>
                  <a:lnTo>
                    <a:pt x="26470" y="765180"/>
                  </a:lnTo>
                  <a:lnTo>
                    <a:pt x="27105" y="768175"/>
                  </a:lnTo>
                  <a:lnTo>
                    <a:pt x="26833" y="769778"/>
                  </a:lnTo>
                  <a:lnTo>
                    <a:pt x="27287" y="770928"/>
                  </a:lnTo>
                  <a:lnTo>
                    <a:pt x="29011" y="773378"/>
                  </a:lnTo>
                  <a:lnTo>
                    <a:pt x="30524" y="777402"/>
                  </a:lnTo>
                  <a:lnTo>
                    <a:pt x="31310" y="778642"/>
                  </a:lnTo>
                  <a:lnTo>
                    <a:pt x="32399" y="776676"/>
                  </a:lnTo>
                  <a:lnTo>
                    <a:pt x="34124" y="779247"/>
                  </a:lnTo>
                  <a:lnTo>
                    <a:pt x="37421" y="786598"/>
                  </a:lnTo>
                  <a:lnTo>
                    <a:pt x="38994" y="788080"/>
                  </a:lnTo>
                  <a:lnTo>
                    <a:pt x="42413" y="789472"/>
                  </a:lnTo>
                  <a:lnTo>
                    <a:pt x="43895" y="790349"/>
                  </a:lnTo>
                  <a:lnTo>
                    <a:pt x="44379" y="791136"/>
                  </a:lnTo>
                  <a:lnTo>
                    <a:pt x="44772" y="792134"/>
                  </a:lnTo>
                  <a:lnTo>
                    <a:pt x="45377" y="793616"/>
                  </a:lnTo>
                  <a:lnTo>
                    <a:pt x="45468" y="794100"/>
                  </a:lnTo>
                  <a:lnTo>
                    <a:pt x="46284" y="794161"/>
                  </a:lnTo>
                  <a:lnTo>
                    <a:pt x="47797" y="793344"/>
                  </a:lnTo>
                  <a:lnTo>
                    <a:pt x="48674" y="793344"/>
                  </a:lnTo>
                  <a:lnTo>
                    <a:pt x="50399" y="794342"/>
                  </a:lnTo>
                  <a:lnTo>
                    <a:pt x="53273" y="796883"/>
                  </a:lnTo>
                  <a:lnTo>
                    <a:pt x="54967" y="797882"/>
                  </a:lnTo>
                  <a:lnTo>
                    <a:pt x="56721" y="798335"/>
                  </a:lnTo>
                  <a:lnTo>
                    <a:pt x="61531" y="798335"/>
                  </a:lnTo>
                  <a:lnTo>
                    <a:pt x="64647" y="799183"/>
                  </a:lnTo>
                  <a:lnTo>
                    <a:pt x="65041" y="799183"/>
                  </a:lnTo>
                  <a:lnTo>
                    <a:pt x="65585" y="799757"/>
                  </a:lnTo>
                  <a:lnTo>
                    <a:pt x="65555" y="799757"/>
                  </a:lnTo>
                  <a:lnTo>
                    <a:pt x="65343" y="799939"/>
                  </a:lnTo>
                  <a:lnTo>
                    <a:pt x="65343" y="801149"/>
                  </a:lnTo>
                  <a:lnTo>
                    <a:pt x="65192" y="801240"/>
                  </a:lnTo>
                  <a:lnTo>
                    <a:pt x="64708" y="804355"/>
                  </a:lnTo>
                  <a:lnTo>
                    <a:pt x="64708" y="805384"/>
                  </a:lnTo>
                  <a:lnTo>
                    <a:pt x="64980" y="806019"/>
                  </a:lnTo>
                  <a:lnTo>
                    <a:pt x="64980" y="806594"/>
                  </a:lnTo>
                  <a:lnTo>
                    <a:pt x="63952" y="807381"/>
                  </a:lnTo>
                  <a:lnTo>
                    <a:pt x="63891" y="808651"/>
                  </a:lnTo>
                  <a:lnTo>
                    <a:pt x="64103" y="809831"/>
                  </a:lnTo>
                  <a:lnTo>
                    <a:pt x="64587" y="810860"/>
                  </a:lnTo>
                  <a:lnTo>
                    <a:pt x="65313" y="811737"/>
                  </a:lnTo>
                  <a:lnTo>
                    <a:pt x="64435" y="811435"/>
                  </a:lnTo>
                  <a:lnTo>
                    <a:pt x="63982" y="811646"/>
                  </a:lnTo>
                  <a:lnTo>
                    <a:pt x="63649" y="812342"/>
                  </a:lnTo>
                  <a:lnTo>
                    <a:pt x="64345" y="813068"/>
                  </a:lnTo>
                  <a:lnTo>
                    <a:pt x="64526" y="813370"/>
                  </a:lnTo>
                  <a:lnTo>
                    <a:pt x="57145" y="817787"/>
                  </a:lnTo>
                  <a:lnTo>
                    <a:pt x="55602" y="819814"/>
                  </a:lnTo>
                  <a:lnTo>
                    <a:pt x="55753" y="820298"/>
                  </a:lnTo>
                  <a:lnTo>
                    <a:pt x="56419" y="820691"/>
                  </a:lnTo>
                  <a:lnTo>
                    <a:pt x="57024" y="821266"/>
                  </a:lnTo>
                  <a:lnTo>
                    <a:pt x="57115" y="822204"/>
                  </a:lnTo>
                  <a:lnTo>
                    <a:pt x="56842" y="822839"/>
                  </a:lnTo>
                  <a:lnTo>
                    <a:pt x="56086" y="823868"/>
                  </a:lnTo>
                  <a:lnTo>
                    <a:pt x="55057" y="825804"/>
                  </a:lnTo>
                  <a:lnTo>
                    <a:pt x="52456" y="828769"/>
                  </a:lnTo>
                  <a:lnTo>
                    <a:pt x="50943" y="830977"/>
                  </a:lnTo>
                  <a:lnTo>
                    <a:pt x="50369" y="832550"/>
                  </a:lnTo>
                  <a:lnTo>
                    <a:pt x="50369" y="837057"/>
                  </a:lnTo>
                  <a:lnTo>
                    <a:pt x="50157" y="838449"/>
                  </a:lnTo>
                  <a:lnTo>
                    <a:pt x="49491" y="843017"/>
                  </a:lnTo>
                  <a:lnTo>
                    <a:pt x="49794" y="847313"/>
                  </a:lnTo>
                  <a:lnTo>
                    <a:pt x="49794" y="848371"/>
                  </a:lnTo>
                  <a:lnTo>
                    <a:pt x="50641" y="848462"/>
                  </a:lnTo>
                  <a:lnTo>
                    <a:pt x="51700" y="848281"/>
                  </a:lnTo>
                  <a:lnTo>
                    <a:pt x="53605" y="847070"/>
                  </a:lnTo>
                  <a:lnTo>
                    <a:pt x="54422" y="846798"/>
                  </a:lnTo>
                  <a:lnTo>
                    <a:pt x="55542" y="846980"/>
                  </a:lnTo>
                  <a:lnTo>
                    <a:pt x="64768" y="851245"/>
                  </a:lnTo>
                  <a:lnTo>
                    <a:pt x="66493" y="852788"/>
                  </a:lnTo>
                  <a:lnTo>
                    <a:pt x="67128" y="853968"/>
                  </a:lnTo>
                  <a:lnTo>
                    <a:pt x="67400" y="855148"/>
                  </a:lnTo>
                  <a:lnTo>
                    <a:pt x="67400" y="855934"/>
                  </a:lnTo>
                  <a:lnTo>
                    <a:pt x="67219" y="855995"/>
                  </a:lnTo>
                  <a:lnTo>
                    <a:pt x="67914" y="856963"/>
                  </a:lnTo>
                  <a:lnTo>
                    <a:pt x="72815" y="861743"/>
                  </a:lnTo>
                  <a:lnTo>
                    <a:pt x="73178" y="862589"/>
                  </a:lnTo>
                  <a:lnTo>
                    <a:pt x="72754" y="863739"/>
                  </a:lnTo>
                  <a:lnTo>
                    <a:pt x="70970" y="863830"/>
                  </a:lnTo>
                  <a:lnTo>
                    <a:pt x="70425" y="865131"/>
                  </a:lnTo>
                  <a:lnTo>
                    <a:pt x="71061" y="866764"/>
                  </a:lnTo>
                  <a:lnTo>
                    <a:pt x="72724" y="868640"/>
                  </a:lnTo>
                  <a:lnTo>
                    <a:pt x="79410" y="874569"/>
                  </a:lnTo>
                  <a:lnTo>
                    <a:pt x="79561" y="875174"/>
                  </a:lnTo>
                  <a:lnTo>
                    <a:pt x="79349" y="876596"/>
                  </a:lnTo>
                  <a:lnTo>
                    <a:pt x="79471" y="877171"/>
                  </a:lnTo>
                  <a:lnTo>
                    <a:pt x="80015" y="877564"/>
                  </a:lnTo>
                  <a:lnTo>
                    <a:pt x="81406" y="878018"/>
                  </a:lnTo>
                  <a:lnTo>
                    <a:pt x="81830" y="878411"/>
                  </a:lnTo>
                  <a:lnTo>
                    <a:pt x="82616" y="881043"/>
                  </a:lnTo>
                  <a:lnTo>
                    <a:pt x="82949" y="881648"/>
                  </a:lnTo>
                  <a:lnTo>
                    <a:pt x="83070" y="881950"/>
                  </a:lnTo>
                  <a:lnTo>
                    <a:pt x="83252" y="883070"/>
                  </a:lnTo>
                  <a:lnTo>
                    <a:pt x="83524" y="883584"/>
                  </a:lnTo>
                  <a:lnTo>
                    <a:pt x="83978" y="883524"/>
                  </a:lnTo>
                  <a:lnTo>
                    <a:pt x="85339" y="882707"/>
                  </a:lnTo>
                  <a:lnTo>
                    <a:pt x="85732" y="882707"/>
                  </a:lnTo>
                  <a:lnTo>
                    <a:pt x="86368" y="884945"/>
                  </a:lnTo>
                  <a:lnTo>
                    <a:pt x="85854" y="886730"/>
                  </a:lnTo>
                  <a:lnTo>
                    <a:pt x="85581" y="888455"/>
                  </a:lnTo>
                  <a:lnTo>
                    <a:pt x="86882" y="890451"/>
                  </a:lnTo>
                  <a:lnTo>
                    <a:pt x="88062" y="890905"/>
                  </a:lnTo>
                  <a:lnTo>
                    <a:pt x="92539" y="890905"/>
                  </a:lnTo>
                  <a:lnTo>
                    <a:pt x="96472" y="892266"/>
                  </a:lnTo>
                  <a:lnTo>
                    <a:pt x="97742" y="891994"/>
                  </a:lnTo>
                  <a:lnTo>
                    <a:pt x="99467" y="889876"/>
                  </a:lnTo>
                  <a:lnTo>
                    <a:pt x="99073" y="887517"/>
                  </a:lnTo>
                  <a:lnTo>
                    <a:pt x="98317" y="885248"/>
                  </a:lnTo>
                  <a:lnTo>
                    <a:pt x="98892" y="883282"/>
                  </a:lnTo>
                  <a:lnTo>
                    <a:pt x="99890" y="883039"/>
                  </a:lnTo>
                  <a:lnTo>
                    <a:pt x="104095" y="883917"/>
                  </a:lnTo>
                  <a:lnTo>
                    <a:pt x="107030" y="883675"/>
                  </a:lnTo>
                  <a:lnTo>
                    <a:pt x="108149" y="883826"/>
                  </a:lnTo>
                  <a:lnTo>
                    <a:pt x="114441" y="887093"/>
                  </a:lnTo>
                  <a:lnTo>
                    <a:pt x="116619" y="887184"/>
                  </a:lnTo>
                  <a:lnTo>
                    <a:pt x="116559" y="892175"/>
                  </a:lnTo>
                  <a:lnTo>
                    <a:pt x="117708" y="896048"/>
                  </a:lnTo>
                  <a:lnTo>
                    <a:pt x="119947" y="897651"/>
                  </a:lnTo>
                  <a:lnTo>
                    <a:pt x="123032" y="895866"/>
                  </a:lnTo>
                  <a:lnTo>
                    <a:pt x="123184" y="895140"/>
                  </a:lnTo>
                  <a:lnTo>
                    <a:pt x="122881" y="894414"/>
                  </a:lnTo>
                  <a:lnTo>
                    <a:pt x="122790" y="893627"/>
                  </a:lnTo>
                  <a:lnTo>
                    <a:pt x="123698" y="892811"/>
                  </a:lnTo>
                  <a:lnTo>
                    <a:pt x="124242" y="892871"/>
                  </a:lnTo>
                  <a:lnTo>
                    <a:pt x="128084" y="895442"/>
                  </a:lnTo>
                  <a:lnTo>
                    <a:pt x="129658" y="896199"/>
                  </a:lnTo>
                  <a:lnTo>
                    <a:pt x="131231" y="896683"/>
                  </a:lnTo>
                  <a:lnTo>
                    <a:pt x="139913" y="896743"/>
                  </a:lnTo>
                  <a:lnTo>
                    <a:pt x="142605" y="897923"/>
                  </a:lnTo>
                  <a:lnTo>
                    <a:pt x="143240" y="897984"/>
                  </a:lnTo>
                  <a:lnTo>
                    <a:pt x="143815" y="897409"/>
                  </a:lnTo>
                  <a:lnTo>
                    <a:pt x="144874" y="895413"/>
                  </a:lnTo>
                  <a:lnTo>
                    <a:pt x="145509" y="894716"/>
                  </a:lnTo>
                  <a:lnTo>
                    <a:pt x="146417" y="894414"/>
                  </a:lnTo>
                  <a:lnTo>
                    <a:pt x="148474" y="894172"/>
                  </a:lnTo>
                  <a:lnTo>
                    <a:pt x="149230" y="893839"/>
                  </a:lnTo>
                  <a:lnTo>
                    <a:pt x="149745" y="893053"/>
                  </a:lnTo>
                  <a:lnTo>
                    <a:pt x="150471" y="890996"/>
                  </a:lnTo>
                  <a:lnTo>
                    <a:pt x="150924" y="890300"/>
                  </a:lnTo>
                  <a:lnTo>
                    <a:pt x="152618" y="889422"/>
                  </a:lnTo>
                  <a:lnTo>
                    <a:pt x="153012" y="889302"/>
                  </a:lnTo>
                  <a:lnTo>
                    <a:pt x="154978" y="888757"/>
                  </a:lnTo>
                  <a:lnTo>
                    <a:pt x="156944" y="888908"/>
                  </a:lnTo>
                  <a:lnTo>
                    <a:pt x="157368" y="890482"/>
                  </a:lnTo>
                  <a:lnTo>
                    <a:pt x="161724" y="890754"/>
                  </a:lnTo>
                  <a:lnTo>
                    <a:pt x="163539" y="891359"/>
                  </a:lnTo>
                  <a:lnTo>
                    <a:pt x="164205" y="893416"/>
                  </a:lnTo>
                  <a:lnTo>
                    <a:pt x="163449" y="893870"/>
                  </a:lnTo>
                  <a:lnTo>
                    <a:pt x="163206" y="894202"/>
                  </a:lnTo>
                  <a:lnTo>
                    <a:pt x="163025" y="894656"/>
                  </a:lnTo>
                  <a:lnTo>
                    <a:pt x="164447" y="896017"/>
                  </a:lnTo>
                  <a:lnTo>
                    <a:pt x="166716" y="899436"/>
                  </a:lnTo>
                  <a:lnTo>
                    <a:pt x="168046" y="900979"/>
                  </a:lnTo>
                  <a:lnTo>
                    <a:pt x="170255" y="902249"/>
                  </a:lnTo>
                  <a:lnTo>
                    <a:pt x="174641" y="902945"/>
                  </a:lnTo>
                  <a:lnTo>
                    <a:pt x="176880" y="904004"/>
                  </a:lnTo>
                  <a:lnTo>
                    <a:pt x="177606" y="904851"/>
                  </a:lnTo>
                  <a:lnTo>
                    <a:pt x="178574" y="906666"/>
                  </a:lnTo>
                  <a:lnTo>
                    <a:pt x="179512" y="907392"/>
                  </a:lnTo>
                  <a:lnTo>
                    <a:pt x="180510" y="907604"/>
                  </a:lnTo>
                  <a:lnTo>
                    <a:pt x="180903" y="907694"/>
                  </a:lnTo>
                  <a:lnTo>
                    <a:pt x="182113" y="907422"/>
                  </a:lnTo>
                  <a:lnTo>
                    <a:pt x="183293" y="906938"/>
                  </a:lnTo>
                  <a:lnTo>
                    <a:pt x="184564" y="906696"/>
                  </a:lnTo>
                  <a:lnTo>
                    <a:pt x="185683" y="906878"/>
                  </a:lnTo>
                  <a:lnTo>
                    <a:pt x="187801" y="907573"/>
                  </a:lnTo>
                  <a:lnTo>
                    <a:pt x="188769" y="907694"/>
                  </a:lnTo>
                  <a:lnTo>
                    <a:pt x="189979" y="907422"/>
                  </a:lnTo>
                  <a:lnTo>
                    <a:pt x="192338" y="906242"/>
                  </a:lnTo>
                  <a:lnTo>
                    <a:pt x="193458" y="905970"/>
                  </a:lnTo>
                  <a:lnTo>
                    <a:pt x="201837" y="908209"/>
                  </a:lnTo>
                  <a:lnTo>
                    <a:pt x="207585" y="907664"/>
                  </a:lnTo>
                  <a:lnTo>
                    <a:pt x="209400" y="907846"/>
                  </a:lnTo>
                  <a:lnTo>
                    <a:pt x="225343" y="915681"/>
                  </a:lnTo>
                  <a:lnTo>
                    <a:pt x="235235" y="917556"/>
                  </a:lnTo>
                  <a:lnTo>
                    <a:pt x="236415" y="918585"/>
                  </a:lnTo>
                  <a:lnTo>
                    <a:pt x="236385" y="918585"/>
                  </a:lnTo>
                  <a:lnTo>
                    <a:pt x="234297" y="920823"/>
                  </a:lnTo>
                  <a:lnTo>
                    <a:pt x="231151" y="926299"/>
                  </a:lnTo>
                  <a:lnTo>
                    <a:pt x="226583" y="937885"/>
                  </a:lnTo>
                  <a:lnTo>
                    <a:pt x="225343" y="939821"/>
                  </a:lnTo>
                  <a:lnTo>
                    <a:pt x="224738" y="940306"/>
                  </a:lnTo>
                  <a:lnTo>
                    <a:pt x="221047" y="942121"/>
                  </a:lnTo>
                  <a:lnTo>
                    <a:pt x="220170" y="942121"/>
                  </a:lnTo>
                  <a:lnTo>
                    <a:pt x="219958" y="942514"/>
                  </a:lnTo>
                  <a:lnTo>
                    <a:pt x="219504" y="942937"/>
                  </a:lnTo>
                  <a:lnTo>
                    <a:pt x="219020" y="943694"/>
                  </a:lnTo>
                  <a:lnTo>
                    <a:pt x="218808" y="944994"/>
                  </a:lnTo>
                  <a:lnTo>
                    <a:pt x="218597" y="945781"/>
                  </a:lnTo>
                  <a:lnTo>
                    <a:pt x="218022" y="946235"/>
                  </a:lnTo>
                  <a:lnTo>
                    <a:pt x="217235" y="946477"/>
                  </a:lnTo>
                  <a:lnTo>
                    <a:pt x="214422" y="946537"/>
                  </a:lnTo>
                  <a:lnTo>
                    <a:pt x="213273" y="946870"/>
                  </a:lnTo>
                  <a:lnTo>
                    <a:pt x="212728" y="948141"/>
                  </a:lnTo>
                  <a:lnTo>
                    <a:pt x="212607" y="950803"/>
                  </a:lnTo>
                  <a:lnTo>
                    <a:pt x="212153" y="951922"/>
                  </a:lnTo>
                  <a:lnTo>
                    <a:pt x="211064" y="953253"/>
                  </a:lnTo>
                  <a:lnTo>
                    <a:pt x="209733" y="954433"/>
                  </a:lnTo>
                  <a:lnTo>
                    <a:pt x="208553" y="955159"/>
                  </a:lnTo>
                  <a:lnTo>
                    <a:pt x="205801" y="958184"/>
                  </a:lnTo>
                  <a:lnTo>
                    <a:pt x="204258" y="959424"/>
                  </a:lnTo>
                  <a:lnTo>
                    <a:pt x="202594" y="959939"/>
                  </a:lnTo>
                  <a:lnTo>
                    <a:pt x="201414" y="960695"/>
                  </a:lnTo>
                  <a:lnTo>
                    <a:pt x="197179" y="966806"/>
                  </a:lnTo>
                  <a:lnTo>
                    <a:pt x="196332" y="971374"/>
                  </a:lnTo>
                  <a:lnTo>
                    <a:pt x="196332" y="976214"/>
                  </a:lnTo>
                  <a:lnTo>
                    <a:pt x="197511" y="979179"/>
                  </a:lnTo>
                  <a:lnTo>
                    <a:pt x="197511" y="980146"/>
                  </a:lnTo>
                  <a:lnTo>
                    <a:pt x="195001" y="981962"/>
                  </a:lnTo>
                  <a:lnTo>
                    <a:pt x="193790" y="983111"/>
                  </a:lnTo>
                  <a:lnTo>
                    <a:pt x="193276" y="984382"/>
                  </a:lnTo>
                  <a:lnTo>
                    <a:pt x="193064" y="987044"/>
                  </a:lnTo>
                  <a:lnTo>
                    <a:pt x="192550" y="988405"/>
                  </a:lnTo>
                  <a:lnTo>
                    <a:pt x="191885" y="989313"/>
                  </a:lnTo>
                  <a:lnTo>
                    <a:pt x="191189" y="990614"/>
                  </a:lnTo>
                  <a:lnTo>
                    <a:pt x="190675" y="992187"/>
                  </a:lnTo>
                  <a:lnTo>
                    <a:pt x="189919" y="995877"/>
                  </a:lnTo>
                  <a:lnTo>
                    <a:pt x="189797" y="997723"/>
                  </a:lnTo>
                  <a:lnTo>
                    <a:pt x="190130" y="999387"/>
                  </a:lnTo>
                  <a:lnTo>
                    <a:pt x="190796" y="1001171"/>
                  </a:lnTo>
                  <a:lnTo>
                    <a:pt x="191310" y="1003017"/>
                  </a:lnTo>
                  <a:lnTo>
                    <a:pt x="191189" y="1004953"/>
                  </a:lnTo>
                  <a:lnTo>
                    <a:pt x="189797" y="1006979"/>
                  </a:lnTo>
                  <a:lnTo>
                    <a:pt x="187952" y="1007887"/>
                  </a:lnTo>
                  <a:lnTo>
                    <a:pt x="186318" y="1009128"/>
                  </a:lnTo>
                  <a:lnTo>
                    <a:pt x="185623" y="1012032"/>
                  </a:lnTo>
                  <a:lnTo>
                    <a:pt x="185411" y="1014845"/>
                  </a:lnTo>
                  <a:lnTo>
                    <a:pt x="184776" y="1017204"/>
                  </a:lnTo>
                  <a:lnTo>
                    <a:pt x="183717" y="1019231"/>
                  </a:lnTo>
                  <a:lnTo>
                    <a:pt x="177364" y="1027429"/>
                  </a:lnTo>
                  <a:lnTo>
                    <a:pt x="176698" y="1029093"/>
                  </a:lnTo>
                  <a:lnTo>
                    <a:pt x="176487" y="1031090"/>
                  </a:lnTo>
                  <a:lnTo>
                    <a:pt x="175972" y="1032179"/>
                  </a:lnTo>
                  <a:lnTo>
                    <a:pt x="175277" y="1033026"/>
                  </a:lnTo>
                  <a:lnTo>
                    <a:pt x="174551" y="1034266"/>
                  </a:lnTo>
                  <a:lnTo>
                    <a:pt x="173855" y="1036384"/>
                  </a:lnTo>
                  <a:lnTo>
                    <a:pt x="173220" y="1039077"/>
                  </a:lnTo>
                  <a:lnTo>
                    <a:pt x="173522" y="1044764"/>
                  </a:lnTo>
                  <a:lnTo>
                    <a:pt x="177878" y="1051812"/>
                  </a:lnTo>
                  <a:lnTo>
                    <a:pt x="178090" y="1056108"/>
                  </a:lnTo>
                  <a:lnTo>
                    <a:pt x="177122" y="1057772"/>
                  </a:lnTo>
                  <a:lnTo>
                    <a:pt x="174429" y="1060404"/>
                  </a:lnTo>
                  <a:lnTo>
                    <a:pt x="173885" y="1062249"/>
                  </a:lnTo>
                  <a:lnTo>
                    <a:pt x="174006" y="1064488"/>
                  </a:lnTo>
                  <a:lnTo>
                    <a:pt x="173825" y="1065123"/>
                  </a:lnTo>
                  <a:lnTo>
                    <a:pt x="173189" y="1066515"/>
                  </a:lnTo>
                  <a:lnTo>
                    <a:pt x="172796" y="1067210"/>
                  </a:lnTo>
                  <a:lnTo>
                    <a:pt x="172131" y="1067815"/>
                  </a:lnTo>
                  <a:lnTo>
                    <a:pt x="171828" y="1068420"/>
                  </a:lnTo>
                  <a:lnTo>
                    <a:pt x="171707" y="1068995"/>
                  </a:lnTo>
                  <a:lnTo>
                    <a:pt x="171768" y="1069328"/>
                  </a:lnTo>
                  <a:lnTo>
                    <a:pt x="171858" y="1069691"/>
                  </a:lnTo>
                  <a:lnTo>
                    <a:pt x="171858" y="1070296"/>
                  </a:lnTo>
                  <a:lnTo>
                    <a:pt x="172373" y="1072867"/>
                  </a:lnTo>
                  <a:lnTo>
                    <a:pt x="172161" y="1074410"/>
                  </a:lnTo>
                  <a:lnTo>
                    <a:pt x="170799" y="1075106"/>
                  </a:lnTo>
                  <a:lnTo>
                    <a:pt x="170255" y="1075741"/>
                  </a:lnTo>
                  <a:lnTo>
                    <a:pt x="168803" y="1080218"/>
                  </a:lnTo>
                  <a:lnTo>
                    <a:pt x="168531" y="1082124"/>
                  </a:lnTo>
                  <a:lnTo>
                    <a:pt x="169771" y="1086934"/>
                  </a:lnTo>
                  <a:lnTo>
                    <a:pt x="169710" y="1089173"/>
                  </a:lnTo>
                  <a:lnTo>
                    <a:pt x="169106" y="1090080"/>
                  </a:lnTo>
                  <a:lnTo>
                    <a:pt x="167442" y="1091684"/>
                  </a:lnTo>
                  <a:lnTo>
                    <a:pt x="167079" y="1092531"/>
                  </a:lnTo>
                  <a:lnTo>
                    <a:pt x="167351" y="1095465"/>
                  </a:lnTo>
                  <a:lnTo>
                    <a:pt x="167653" y="1096948"/>
                  </a:lnTo>
                  <a:lnTo>
                    <a:pt x="168046" y="1097583"/>
                  </a:lnTo>
                  <a:lnTo>
                    <a:pt x="169529" y="1098309"/>
                  </a:lnTo>
                  <a:lnTo>
                    <a:pt x="170890" y="1100063"/>
                  </a:lnTo>
                  <a:lnTo>
                    <a:pt x="173159" y="1104238"/>
                  </a:lnTo>
                  <a:lnTo>
                    <a:pt x="173764" y="1104934"/>
                  </a:lnTo>
                  <a:lnTo>
                    <a:pt x="174400" y="1105448"/>
                  </a:lnTo>
                  <a:lnTo>
                    <a:pt x="174944" y="1106144"/>
                  </a:lnTo>
                  <a:lnTo>
                    <a:pt x="175156" y="1107445"/>
                  </a:lnTo>
                  <a:lnTo>
                    <a:pt x="174914" y="1107929"/>
                  </a:lnTo>
                  <a:lnTo>
                    <a:pt x="174490" y="1109320"/>
                  </a:lnTo>
                  <a:lnTo>
                    <a:pt x="179633" y="1107899"/>
                  </a:lnTo>
                  <a:lnTo>
                    <a:pt x="181902" y="1107687"/>
                  </a:lnTo>
                  <a:lnTo>
                    <a:pt x="180571" y="1111105"/>
                  </a:lnTo>
                  <a:lnTo>
                    <a:pt x="179512" y="1112073"/>
                  </a:lnTo>
                  <a:lnTo>
                    <a:pt x="176880" y="1112073"/>
                  </a:lnTo>
                  <a:lnTo>
                    <a:pt x="180631" y="1113858"/>
                  </a:lnTo>
                  <a:lnTo>
                    <a:pt x="182083" y="1114554"/>
                  </a:lnTo>
                  <a:lnTo>
                    <a:pt x="184291" y="1114826"/>
                  </a:lnTo>
                  <a:lnTo>
                    <a:pt x="188708" y="1113979"/>
                  </a:lnTo>
                  <a:lnTo>
                    <a:pt x="192671" y="1113223"/>
                  </a:lnTo>
                  <a:lnTo>
                    <a:pt x="194547" y="1112255"/>
                  </a:lnTo>
                  <a:lnTo>
                    <a:pt x="196150" y="1110500"/>
                  </a:lnTo>
                  <a:lnTo>
                    <a:pt x="197995" y="1107868"/>
                  </a:lnTo>
                  <a:lnTo>
                    <a:pt x="199417" y="1108534"/>
                  </a:lnTo>
                  <a:lnTo>
                    <a:pt x="205921" y="1108897"/>
                  </a:lnTo>
                  <a:lnTo>
                    <a:pt x="206527" y="1109502"/>
                  </a:lnTo>
                  <a:lnTo>
                    <a:pt x="206859" y="1110803"/>
                  </a:lnTo>
                  <a:lnTo>
                    <a:pt x="207041" y="1112073"/>
                  </a:lnTo>
                  <a:lnTo>
                    <a:pt x="207313" y="1112648"/>
                  </a:lnTo>
                  <a:lnTo>
                    <a:pt x="220412" y="1112648"/>
                  </a:lnTo>
                  <a:lnTo>
                    <a:pt x="224950" y="1111710"/>
                  </a:lnTo>
                  <a:lnTo>
                    <a:pt x="225917" y="1111105"/>
                  </a:lnTo>
                  <a:lnTo>
                    <a:pt x="226371" y="1110500"/>
                  </a:lnTo>
                  <a:lnTo>
                    <a:pt x="226765" y="1109804"/>
                  </a:lnTo>
                  <a:lnTo>
                    <a:pt x="227612" y="1108897"/>
                  </a:lnTo>
                  <a:lnTo>
                    <a:pt x="228429" y="1108322"/>
                  </a:lnTo>
                  <a:lnTo>
                    <a:pt x="230607" y="1107233"/>
                  </a:lnTo>
                  <a:lnTo>
                    <a:pt x="232452" y="1106719"/>
                  </a:lnTo>
                  <a:lnTo>
                    <a:pt x="233148" y="1106053"/>
                  </a:lnTo>
                  <a:lnTo>
                    <a:pt x="233662" y="1105388"/>
                  </a:lnTo>
                  <a:lnTo>
                    <a:pt x="234176" y="1105055"/>
                  </a:lnTo>
                  <a:lnTo>
                    <a:pt x="239591" y="1104208"/>
                  </a:lnTo>
                  <a:lnTo>
                    <a:pt x="241406" y="1104208"/>
                  </a:lnTo>
                  <a:lnTo>
                    <a:pt x="244008" y="1104934"/>
                  </a:lnTo>
                  <a:lnTo>
                    <a:pt x="245188" y="1105055"/>
                  </a:lnTo>
                  <a:lnTo>
                    <a:pt x="245732" y="1105660"/>
                  </a:lnTo>
                  <a:lnTo>
                    <a:pt x="246277" y="1106991"/>
                  </a:lnTo>
                  <a:lnTo>
                    <a:pt x="247003" y="1108322"/>
                  </a:lnTo>
                  <a:lnTo>
                    <a:pt x="247971" y="1108897"/>
                  </a:lnTo>
                  <a:lnTo>
                    <a:pt x="251783" y="1109834"/>
                  </a:lnTo>
                  <a:lnTo>
                    <a:pt x="258529" y="1109834"/>
                  </a:lnTo>
                  <a:lnTo>
                    <a:pt x="261312" y="1109381"/>
                  </a:lnTo>
                  <a:lnTo>
                    <a:pt x="261433" y="1108745"/>
                  </a:lnTo>
                  <a:lnTo>
                    <a:pt x="262613" y="1106386"/>
                  </a:lnTo>
                  <a:lnTo>
                    <a:pt x="265698" y="1104510"/>
                  </a:lnTo>
                  <a:lnTo>
                    <a:pt x="268693" y="1104238"/>
                  </a:lnTo>
                  <a:lnTo>
                    <a:pt x="270236" y="1105569"/>
                  </a:lnTo>
                  <a:lnTo>
                    <a:pt x="271416" y="1107414"/>
                  </a:lnTo>
                  <a:lnTo>
                    <a:pt x="271627" y="1107656"/>
                  </a:lnTo>
                  <a:lnTo>
                    <a:pt x="272535" y="1108685"/>
                  </a:lnTo>
                  <a:lnTo>
                    <a:pt x="273896" y="1108262"/>
                  </a:lnTo>
                  <a:lnTo>
                    <a:pt x="274108" y="1107899"/>
                  </a:lnTo>
                  <a:lnTo>
                    <a:pt x="274532" y="1107203"/>
                  </a:lnTo>
                  <a:lnTo>
                    <a:pt x="274653" y="1106174"/>
                  </a:lnTo>
                  <a:lnTo>
                    <a:pt x="274592" y="1105206"/>
                  </a:lnTo>
                  <a:lnTo>
                    <a:pt x="274713" y="1104268"/>
                  </a:lnTo>
                  <a:lnTo>
                    <a:pt x="274713" y="1103784"/>
                  </a:lnTo>
                  <a:lnTo>
                    <a:pt x="274441" y="1103240"/>
                  </a:lnTo>
                  <a:lnTo>
                    <a:pt x="274290" y="1102605"/>
                  </a:lnTo>
                  <a:lnTo>
                    <a:pt x="274501" y="1101848"/>
                  </a:lnTo>
                  <a:lnTo>
                    <a:pt x="274864" y="1101546"/>
                  </a:lnTo>
                  <a:lnTo>
                    <a:pt x="275409" y="1101364"/>
                  </a:lnTo>
                  <a:lnTo>
                    <a:pt x="275832" y="1101364"/>
                  </a:lnTo>
                  <a:lnTo>
                    <a:pt x="275923" y="1101576"/>
                  </a:lnTo>
                  <a:lnTo>
                    <a:pt x="275984" y="1102423"/>
                  </a:lnTo>
                  <a:lnTo>
                    <a:pt x="276649" y="1102725"/>
                  </a:lnTo>
                  <a:lnTo>
                    <a:pt x="277224" y="1099458"/>
                  </a:lnTo>
                  <a:lnTo>
                    <a:pt x="276316" y="1099368"/>
                  </a:lnTo>
                  <a:lnTo>
                    <a:pt x="275832" y="1099186"/>
                  </a:lnTo>
                  <a:lnTo>
                    <a:pt x="274683" y="1098763"/>
                  </a:lnTo>
                  <a:lnTo>
                    <a:pt x="273291" y="1098551"/>
                  </a:lnTo>
                  <a:lnTo>
                    <a:pt x="268391" y="1099307"/>
                  </a:lnTo>
                  <a:lnTo>
                    <a:pt x="266878" y="1100003"/>
                  </a:lnTo>
                  <a:lnTo>
                    <a:pt x="265487" y="1100910"/>
                  </a:lnTo>
                  <a:lnTo>
                    <a:pt x="264004" y="1101636"/>
                  </a:lnTo>
                  <a:lnTo>
                    <a:pt x="262219" y="1101697"/>
                  </a:lnTo>
                  <a:lnTo>
                    <a:pt x="260132" y="1100608"/>
                  </a:lnTo>
                  <a:lnTo>
                    <a:pt x="257561" y="1098793"/>
                  </a:lnTo>
                  <a:lnTo>
                    <a:pt x="257046" y="1098702"/>
                  </a:lnTo>
                  <a:lnTo>
                    <a:pt x="255473" y="1098157"/>
                  </a:lnTo>
                  <a:lnTo>
                    <a:pt x="256108" y="1096675"/>
                  </a:lnTo>
                  <a:lnTo>
                    <a:pt x="255866" y="1095495"/>
                  </a:lnTo>
                  <a:lnTo>
                    <a:pt x="255443" y="1094497"/>
                  </a:lnTo>
                  <a:lnTo>
                    <a:pt x="255564" y="1093499"/>
                  </a:lnTo>
                  <a:lnTo>
                    <a:pt x="256562" y="1092470"/>
                  </a:lnTo>
                  <a:lnTo>
                    <a:pt x="259104" y="1091169"/>
                  </a:lnTo>
                  <a:lnTo>
                    <a:pt x="260162" y="1090262"/>
                  </a:lnTo>
                  <a:lnTo>
                    <a:pt x="260919" y="1087509"/>
                  </a:lnTo>
                  <a:lnTo>
                    <a:pt x="261372" y="1086511"/>
                  </a:lnTo>
                  <a:lnTo>
                    <a:pt x="262734" y="1084665"/>
                  </a:lnTo>
                  <a:lnTo>
                    <a:pt x="263520" y="1084242"/>
                  </a:lnTo>
                  <a:lnTo>
                    <a:pt x="264639" y="1084242"/>
                  </a:lnTo>
                  <a:lnTo>
                    <a:pt x="270055" y="1083274"/>
                  </a:lnTo>
                  <a:lnTo>
                    <a:pt x="271567" y="1082578"/>
                  </a:lnTo>
                  <a:lnTo>
                    <a:pt x="270629" y="1080400"/>
                  </a:lnTo>
                  <a:lnTo>
                    <a:pt x="272233" y="1079553"/>
                  </a:lnTo>
                  <a:lnTo>
                    <a:pt x="274743" y="1079674"/>
                  </a:lnTo>
                  <a:lnTo>
                    <a:pt x="276589" y="1080460"/>
                  </a:lnTo>
                  <a:lnTo>
                    <a:pt x="276740" y="1081459"/>
                  </a:lnTo>
                  <a:lnTo>
                    <a:pt x="276831" y="1083244"/>
                  </a:lnTo>
                  <a:lnTo>
                    <a:pt x="277194" y="1084907"/>
                  </a:lnTo>
                  <a:lnTo>
                    <a:pt x="278192" y="1085573"/>
                  </a:lnTo>
                  <a:lnTo>
                    <a:pt x="279432" y="1084817"/>
                  </a:lnTo>
                  <a:lnTo>
                    <a:pt x="279947" y="1081822"/>
                  </a:lnTo>
                  <a:lnTo>
                    <a:pt x="280854" y="1080944"/>
                  </a:lnTo>
                  <a:lnTo>
                    <a:pt x="282155" y="1081338"/>
                  </a:lnTo>
                  <a:lnTo>
                    <a:pt x="283123" y="1082669"/>
                  </a:lnTo>
                  <a:lnTo>
                    <a:pt x="283910" y="1084272"/>
                  </a:lnTo>
                  <a:lnTo>
                    <a:pt x="284666" y="1085361"/>
                  </a:lnTo>
                  <a:lnTo>
                    <a:pt x="285694" y="1085573"/>
                  </a:lnTo>
                  <a:lnTo>
                    <a:pt x="286814" y="1085361"/>
                  </a:lnTo>
                  <a:lnTo>
                    <a:pt x="287782" y="1085543"/>
                  </a:lnTo>
                  <a:lnTo>
                    <a:pt x="288447" y="1086934"/>
                  </a:lnTo>
                  <a:lnTo>
                    <a:pt x="288175" y="1087449"/>
                  </a:lnTo>
                  <a:lnTo>
                    <a:pt x="286814" y="1089294"/>
                  </a:lnTo>
                  <a:lnTo>
                    <a:pt x="286481" y="1090201"/>
                  </a:lnTo>
                  <a:lnTo>
                    <a:pt x="286935" y="1091321"/>
                  </a:lnTo>
                  <a:lnTo>
                    <a:pt x="287721" y="1092228"/>
                  </a:lnTo>
                  <a:lnTo>
                    <a:pt x="287963" y="1093257"/>
                  </a:lnTo>
                  <a:lnTo>
                    <a:pt x="288175" y="1094164"/>
                  </a:lnTo>
                  <a:lnTo>
                    <a:pt x="293499" y="1094074"/>
                  </a:lnTo>
                  <a:lnTo>
                    <a:pt x="292683" y="1093226"/>
                  </a:lnTo>
                  <a:lnTo>
                    <a:pt x="293590" y="1090534"/>
                  </a:lnTo>
                  <a:lnTo>
                    <a:pt x="296282" y="1090655"/>
                  </a:lnTo>
                  <a:lnTo>
                    <a:pt x="299580" y="1092410"/>
                  </a:lnTo>
                  <a:lnTo>
                    <a:pt x="302182" y="1094679"/>
                  </a:lnTo>
                  <a:lnTo>
                    <a:pt x="300336" y="1095072"/>
                  </a:lnTo>
                  <a:lnTo>
                    <a:pt x="300336" y="1096040"/>
                  </a:lnTo>
                  <a:lnTo>
                    <a:pt x="301758" y="1097341"/>
                  </a:lnTo>
                  <a:lnTo>
                    <a:pt x="301849" y="1097401"/>
                  </a:lnTo>
                  <a:lnTo>
                    <a:pt x="304783" y="1099398"/>
                  </a:lnTo>
                  <a:lnTo>
                    <a:pt x="307264" y="1100003"/>
                  </a:lnTo>
                  <a:lnTo>
                    <a:pt x="311196" y="1099670"/>
                  </a:lnTo>
                  <a:lnTo>
                    <a:pt x="314857" y="1098581"/>
                  </a:lnTo>
                  <a:lnTo>
                    <a:pt x="316460" y="1096978"/>
                  </a:lnTo>
                  <a:lnTo>
                    <a:pt x="318366" y="1096282"/>
                  </a:lnTo>
                  <a:lnTo>
                    <a:pt x="329589" y="1097462"/>
                  </a:lnTo>
                  <a:lnTo>
                    <a:pt x="335155" y="1097462"/>
                  </a:lnTo>
                  <a:lnTo>
                    <a:pt x="336517" y="1099428"/>
                  </a:lnTo>
                  <a:lnTo>
                    <a:pt x="340268" y="1099428"/>
                  </a:lnTo>
                  <a:lnTo>
                    <a:pt x="344171" y="1100275"/>
                  </a:lnTo>
                  <a:lnTo>
                    <a:pt x="371760" y="1116097"/>
                  </a:lnTo>
                  <a:lnTo>
                    <a:pt x="372002" y="1116218"/>
                  </a:lnTo>
                  <a:lnTo>
                    <a:pt x="372425" y="1116339"/>
                  </a:lnTo>
                  <a:lnTo>
                    <a:pt x="378324" y="1117821"/>
                  </a:lnTo>
                  <a:lnTo>
                    <a:pt x="384768" y="1117700"/>
                  </a:lnTo>
                  <a:lnTo>
                    <a:pt x="387521" y="1116490"/>
                  </a:lnTo>
                  <a:lnTo>
                    <a:pt x="388973" y="1114402"/>
                  </a:lnTo>
                  <a:lnTo>
                    <a:pt x="390213" y="1111922"/>
                  </a:lnTo>
                  <a:lnTo>
                    <a:pt x="392422" y="1109562"/>
                  </a:lnTo>
                  <a:lnTo>
                    <a:pt x="393874" y="1108836"/>
                  </a:lnTo>
                  <a:lnTo>
                    <a:pt x="395386" y="1108685"/>
                  </a:lnTo>
                  <a:lnTo>
                    <a:pt x="396808" y="1109169"/>
                  </a:lnTo>
                  <a:lnTo>
                    <a:pt x="397988" y="1110349"/>
                  </a:lnTo>
                  <a:lnTo>
                    <a:pt x="398320" y="1111952"/>
                  </a:lnTo>
                  <a:lnTo>
                    <a:pt x="398139" y="1113616"/>
                  </a:lnTo>
                  <a:lnTo>
                    <a:pt x="398532" y="1115038"/>
                  </a:lnTo>
                  <a:lnTo>
                    <a:pt x="400589" y="1116006"/>
                  </a:lnTo>
                  <a:lnTo>
                    <a:pt x="401406" y="1115945"/>
                  </a:lnTo>
                  <a:lnTo>
                    <a:pt x="402647" y="1115219"/>
                  </a:lnTo>
                  <a:lnTo>
                    <a:pt x="403161" y="1115098"/>
                  </a:lnTo>
                  <a:lnTo>
                    <a:pt x="406186" y="1116127"/>
                  </a:lnTo>
                  <a:lnTo>
                    <a:pt x="409181" y="1116339"/>
                  </a:lnTo>
                  <a:lnTo>
                    <a:pt x="410693" y="1116066"/>
                  </a:lnTo>
                  <a:lnTo>
                    <a:pt x="411903" y="1115159"/>
                  </a:lnTo>
                  <a:lnTo>
                    <a:pt x="412176" y="1117428"/>
                  </a:lnTo>
                  <a:lnTo>
                    <a:pt x="413235" y="1118698"/>
                  </a:lnTo>
                  <a:lnTo>
                    <a:pt x="414505" y="1119848"/>
                  </a:lnTo>
                  <a:lnTo>
                    <a:pt x="415413" y="1121693"/>
                  </a:lnTo>
                  <a:lnTo>
                    <a:pt x="415413" y="1122510"/>
                  </a:lnTo>
                  <a:lnTo>
                    <a:pt x="415594" y="1123297"/>
                  </a:lnTo>
                  <a:lnTo>
                    <a:pt x="416713" y="1123901"/>
                  </a:lnTo>
                  <a:lnTo>
                    <a:pt x="417591" y="1123538"/>
                  </a:lnTo>
                  <a:lnTo>
                    <a:pt x="418498" y="1122812"/>
                  </a:lnTo>
                  <a:lnTo>
                    <a:pt x="419648" y="1122328"/>
                  </a:lnTo>
                  <a:lnTo>
                    <a:pt x="424609" y="1128984"/>
                  </a:lnTo>
                  <a:lnTo>
                    <a:pt x="425486" y="1130587"/>
                  </a:lnTo>
                  <a:lnTo>
                    <a:pt x="425033" y="1132009"/>
                  </a:lnTo>
                  <a:lnTo>
                    <a:pt x="422733" y="1133643"/>
                  </a:lnTo>
                  <a:lnTo>
                    <a:pt x="423823" y="1134822"/>
                  </a:lnTo>
                  <a:lnTo>
                    <a:pt x="424095" y="1136214"/>
                  </a:lnTo>
                  <a:lnTo>
                    <a:pt x="424186" y="1137696"/>
                  </a:lnTo>
                  <a:lnTo>
                    <a:pt x="424730" y="1138997"/>
                  </a:lnTo>
                  <a:lnTo>
                    <a:pt x="425698" y="1139874"/>
                  </a:lnTo>
                  <a:lnTo>
                    <a:pt x="426364" y="1139874"/>
                  </a:lnTo>
                  <a:lnTo>
                    <a:pt x="427150" y="1139330"/>
                  </a:lnTo>
                  <a:lnTo>
                    <a:pt x="428481" y="1138755"/>
                  </a:lnTo>
                  <a:lnTo>
                    <a:pt x="428965" y="1138816"/>
                  </a:lnTo>
                  <a:lnTo>
                    <a:pt x="430024" y="1139420"/>
                  </a:lnTo>
                  <a:lnTo>
                    <a:pt x="430538" y="1139420"/>
                  </a:lnTo>
                  <a:lnTo>
                    <a:pt x="430962" y="1139118"/>
                  </a:lnTo>
                  <a:lnTo>
                    <a:pt x="432172" y="1137908"/>
                  </a:lnTo>
                  <a:lnTo>
                    <a:pt x="436589" y="1137152"/>
                  </a:lnTo>
                  <a:lnTo>
                    <a:pt x="438434" y="1138059"/>
                  </a:lnTo>
                  <a:lnTo>
                    <a:pt x="438373" y="1140509"/>
                  </a:lnTo>
                  <a:lnTo>
                    <a:pt x="436558" y="1145562"/>
                  </a:lnTo>
                  <a:lnTo>
                    <a:pt x="436800" y="1146439"/>
                  </a:lnTo>
                  <a:lnTo>
                    <a:pt x="436800" y="1147256"/>
                  </a:lnTo>
                  <a:lnTo>
                    <a:pt x="436589" y="1148163"/>
                  </a:lnTo>
                  <a:lnTo>
                    <a:pt x="436104" y="1148617"/>
                  </a:lnTo>
                  <a:lnTo>
                    <a:pt x="434774" y="1148980"/>
                  </a:lnTo>
                  <a:lnTo>
                    <a:pt x="434380" y="1149252"/>
                  </a:lnTo>
                  <a:lnTo>
                    <a:pt x="433443" y="1150795"/>
                  </a:lnTo>
                  <a:lnTo>
                    <a:pt x="433049" y="1151642"/>
                  </a:lnTo>
                  <a:lnTo>
                    <a:pt x="433503" y="1151884"/>
                  </a:lnTo>
                  <a:lnTo>
                    <a:pt x="435015" y="1151703"/>
                  </a:lnTo>
                  <a:lnTo>
                    <a:pt x="441489" y="1150977"/>
                  </a:lnTo>
                  <a:lnTo>
                    <a:pt x="443698" y="1150190"/>
                  </a:lnTo>
                  <a:lnTo>
                    <a:pt x="448205" y="1147649"/>
                  </a:lnTo>
                  <a:lnTo>
                    <a:pt x="450171" y="1146015"/>
                  </a:lnTo>
                  <a:lnTo>
                    <a:pt x="451986" y="1143777"/>
                  </a:lnTo>
                  <a:lnTo>
                    <a:pt x="454225" y="1139632"/>
                  </a:lnTo>
                  <a:lnTo>
                    <a:pt x="454830" y="1138785"/>
                  </a:lnTo>
                  <a:lnTo>
                    <a:pt x="455859" y="1138150"/>
                  </a:lnTo>
                  <a:lnTo>
                    <a:pt x="457976" y="1137454"/>
                  </a:lnTo>
                  <a:lnTo>
                    <a:pt x="458854" y="1136910"/>
                  </a:lnTo>
                  <a:lnTo>
                    <a:pt x="460518" y="1134852"/>
                  </a:lnTo>
                  <a:lnTo>
                    <a:pt x="461970" y="1132100"/>
                  </a:lnTo>
                  <a:lnTo>
                    <a:pt x="462877" y="1129044"/>
                  </a:lnTo>
                  <a:lnTo>
                    <a:pt x="462877" y="1126110"/>
                  </a:lnTo>
                  <a:lnTo>
                    <a:pt x="462423" y="1124416"/>
                  </a:lnTo>
                  <a:lnTo>
                    <a:pt x="461879" y="1123206"/>
                  </a:lnTo>
                  <a:lnTo>
                    <a:pt x="461002" y="1122298"/>
                  </a:lnTo>
                  <a:lnTo>
                    <a:pt x="459580" y="1121602"/>
                  </a:lnTo>
                  <a:lnTo>
                    <a:pt x="460608" y="1116127"/>
                  </a:lnTo>
                  <a:lnTo>
                    <a:pt x="460729" y="1114856"/>
                  </a:lnTo>
                  <a:lnTo>
                    <a:pt x="460064" y="1113344"/>
                  </a:lnTo>
                  <a:lnTo>
                    <a:pt x="459186" y="1111831"/>
                  </a:lnTo>
                  <a:lnTo>
                    <a:pt x="459035" y="1110651"/>
                  </a:lnTo>
                  <a:lnTo>
                    <a:pt x="460548" y="1110107"/>
                  </a:lnTo>
                  <a:lnTo>
                    <a:pt x="462211" y="1109834"/>
                  </a:lnTo>
                  <a:lnTo>
                    <a:pt x="462998" y="1109562"/>
                  </a:lnTo>
                  <a:lnTo>
                    <a:pt x="463361" y="1109804"/>
                  </a:lnTo>
                  <a:lnTo>
                    <a:pt x="463785" y="1111075"/>
                  </a:lnTo>
                  <a:lnTo>
                    <a:pt x="463664" y="1111619"/>
                  </a:lnTo>
                  <a:lnTo>
                    <a:pt x="463180" y="1112285"/>
                  </a:lnTo>
                  <a:lnTo>
                    <a:pt x="462786" y="1113132"/>
                  </a:lnTo>
                  <a:lnTo>
                    <a:pt x="462968" y="1114312"/>
                  </a:lnTo>
                  <a:lnTo>
                    <a:pt x="463482" y="1114947"/>
                  </a:lnTo>
                  <a:lnTo>
                    <a:pt x="464299" y="1115492"/>
                  </a:lnTo>
                  <a:lnTo>
                    <a:pt x="465872" y="1116157"/>
                  </a:lnTo>
                  <a:lnTo>
                    <a:pt x="470168" y="1116762"/>
                  </a:lnTo>
                  <a:lnTo>
                    <a:pt x="471347" y="1116550"/>
                  </a:lnTo>
                  <a:lnTo>
                    <a:pt x="472618" y="1115613"/>
                  </a:lnTo>
                  <a:lnTo>
                    <a:pt x="474645" y="1113011"/>
                  </a:lnTo>
                  <a:lnTo>
                    <a:pt x="476037" y="1112103"/>
                  </a:lnTo>
                  <a:lnTo>
                    <a:pt x="478487" y="1112103"/>
                  </a:lnTo>
                  <a:lnTo>
                    <a:pt x="491767" y="1116762"/>
                  </a:lnTo>
                  <a:lnTo>
                    <a:pt x="492191" y="1117186"/>
                  </a:lnTo>
                  <a:lnTo>
                    <a:pt x="492523" y="1117881"/>
                  </a:lnTo>
                  <a:lnTo>
                    <a:pt x="493008" y="1118547"/>
                  </a:lnTo>
                  <a:lnTo>
                    <a:pt x="493885" y="1118789"/>
                  </a:lnTo>
                  <a:lnTo>
                    <a:pt x="496850" y="1118456"/>
                  </a:lnTo>
                  <a:lnTo>
                    <a:pt x="500903" y="1116762"/>
                  </a:lnTo>
                  <a:lnTo>
                    <a:pt x="502325" y="1116369"/>
                  </a:lnTo>
                  <a:lnTo>
                    <a:pt x="503717" y="1116460"/>
                  </a:lnTo>
                  <a:lnTo>
                    <a:pt x="504775" y="1117004"/>
                  </a:lnTo>
                  <a:lnTo>
                    <a:pt x="507075" y="1118607"/>
                  </a:lnTo>
                  <a:lnTo>
                    <a:pt x="506227" y="1119545"/>
                  </a:lnTo>
                  <a:lnTo>
                    <a:pt x="502991" y="1121572"/>
                  </a:lnTo>
                  <a:lnTo>
                    <a:pt x="503686" y="1122661"/>
                  </a:lnTo>
                  <a:lnTo>
                    <a:pt x="508859" y="1124870"/>
                  </a:lnTo>
                  <a:lnTo>
                    <a:pt x="513881" y="1129861"/>
                  </a:lnTo>
                  <a:lnTo>
                    <a:pt x="514184" y="1130496"/>
                  </a:lnTo>
                  <a:lnTo>
                    <a:pt x="514184" y="1131404"/>
                  </a:lnTo>
                  <a:lnTo>
                    <a:pt x="514002" y="1132342"/>
                  </a:lnTo>
                  <a:lnTo>
                    <a:pt x="513669" y="1132977"/>
                  </a:lnTo>
                  <a:lnTo>
                    <a:pt x="513458" y="1132977"/>
                  </a:lnTo>
                  <a:lnTo>
                    <a:pt x="514486" y="1134852"/>
                  </a:lnTo>
                  <a:lnTo>
                    <a:pt x="515878" y="1135609"/>
                  </a:lnTo>
                  <a:lnTo>
                    <a:pt x="526375" y="1135730"/>
                  </a:lnTo>
                  <a:lnTo>
                    <a:pt x="528341" y="1135185"/>
                  </a:lnTo>
                  <a:lnTo>
                    <a:pt x="534906" y="1130980"/>
                  </a:lnTo>
                  <a:lnTo>
                    <a:pt x="537447" y="1130345"/>
                  </a:lnTo>
                  <a:lnTo>
                    <a:pt x="539595" y="1131162"/>
                  </a:lnTo>
                  <a:lnTo>
                    <a:pt x="539383" y="1134883"/>
                  </a:lnTo>
                  <a:lnTo>
                    <a:pt x="541803" y="1135125"/>
                  </a:lnTo>
                  <a:lnTo>
                    <a:pt x="544011" y="1134187"/>
                  </a:lnTo>
                  <a:lnTo>
                    <a:pt x="545463" y="1132765"/>
                  </a:lnTo>
                  <a:lnTo>
                    <a:pt x="546795" y="1131101"/>
                  </a:lnTo>
                  <a:lnTo>
                    <a:pt x="548731" y="1129438"/>
                  </a:lnTo>
                  <a:lnTo>
                    <a:pt x="550606" y="1128893"/>
                  </a:lnTo>
                  <a:lnTo>
                    <a:pt x="554962" y="1128802"/>
                  </a:lnTo>
                  <a:lnTo>
                    <a:pt x="556596" y="1128167"/>
                  </a:lnTo>
                  <a:lnTo>
                    <a:pt x="557474" y="1126806"/>
                  </a:lnTo>
                  <a:lnTo>
                    <a:pt x="557080" y="1125777"/>
                  </a:lnTo>
                  <a:lnTo>
                    <a:pt x="555991" y="1125112"/>
                  </a:lnTo>
                  <a:lnTo>
                    <a:pt x="554751" y="1124809"/>
                  </a:lnTo>
                  <a:lnTo>
                    <a:pt x="559500" y="1119787"/>
                  </a:lnTo>
                  <a:lnTo>
                    <a:pt x="561799" y="1119303"/>
                  </a:lnTo>
                  <a:lnTo>
                    <a:pt x="564280" y="1119606"/>
                  </a:lnTo>
                  <a:lnTo>
                    <a:pt x="566549" y="1120271"/>
                  </a:lnTo>
                  <a:lnTo>
                    <a:pt x="571268" y="1119545"/>
                  </a:lnTo>
                  <a:lnTo>
                    <a:pt x="573446" y="1118729"/>
                  </a:lnTo>
                  <a:lnTo>
                    <a:pt x="575261" y="1116883"/>
                  </a:lnTo>
                  <a:lnTo>
                    <a:pt x="575775" y="1115613"/>
                  </a:lnTo>
                  <a:lnTo>
                    <a:pt x="576562" y="1112436"/>
                  </a:lnTo>
                  <a:lnTo>
                    <a:pt x="577258" y="1110984"/>
                  </a:lnTo>
                  <a:lnTo>
                    <a:pt x="580071" y="1108745"/>
                  </a:lnTo>
                  <a:lnTo>
                    <a:pt x="580434" y="1108352"/>
                  </a:lnTo>
                  <a:lnTo>
                    <a:pt x="582310" y="1108413"/>
                  </a:lnTo>
                  <a:lnTo>
                    <a:pt x="586696" y="1109199"/>
                  </a:lnTo>
                  <a:lnTo>
                    <a:pt x="594895" y="1109199"/>
                  </a:lnTo>
                  <a:lnTo>
                    <a:pt x="600582" y="1110319"/>
                  </a:lnTo>
                  <a:lnTo>
                    <a:pt x="601610" y="1109986"/>
                  </a:lnTo>
                  <a:lnTo>
                    <a:pt x="602608" y="1107656"/>
                  </a:lnTo>
                  <a:lnTo>
                    <a:pt x="603728" y="1107021"/>
                  </a:lnTo>
                  <a:lnTo>
                    <a:pt x="612168" y="1105448"/>
                  </a:lnTo>
                  <a:lnTo>
                    <a:pt x="635280" y="1106386"/>
                  </a:lnTo>
                  <a:lnTo>
                    <a:pt x="636097" y="1106235"/>
                  </a:lnTo>
                  <a:lnTo>
                    <a:pt x="638971" y="1102847"/>
                  </a:lnTo>
                  <a:lnTo>
                    <a:pt x="639334" y="1101969"/>
                  </a:lnTo>
                  <a:lnTo>
                    <a:pt x="639425" y="1100699"/>
                  </a:lnTo>
                  <a:lnTo>
                    <a:pt x="639243" y="1097038"/>
                  </a:lnTo>
                  <a:lnTo>
                    <a:pt x="638971" y="1096282"/>
                  </a:lnTo>
                  <a:lnTo>
                    <a:pt x="638456" y="1095979"/>
                  </a:lnTo>
                  <a:lnTo>
                    <a:pt x="637640" y="1095223"/>
                  </a:lnTo>
                  <a:lnTo>
                    <a:pt x="636913" y="1094316"/>
                  </a:lnTo>
                  <a:lnTo>
                    <a:pt x="636581" y="1093559"/>
                  </a:lnTo>
                  <a:lnTo>
                    <a:pt x="636369" y="1092440"/>
                  </a:lnTo>
                  <a:lnTo>
                    <a:pt x="637973" y="1091865"/>
                  </a:lnTo>
                  <a:lnTo>
                    <a:pt x="640392" y="1089990"/>
                  </a:lnTo>
                  <a:lnTo>
                    <a:pt x="641270" y="1089506"/>
                  </a:lnTo>
                  <a:lnTo>
                    <a:pt x="642722" y="1088901"/>
                  </a:lnTo>
                  <a:lnTo>
                    <a:pt x="642964" y="1088901"/>
                  </a:lnTo>
                  <a:lnTo>
                    <a:pt x="642661" y="1089475"/>
                  </a:lnTo>
                  <a:lnTo>
                    <a:pt x="642389" y="1090927"/>
                  </a:lnTo>
                  <a:lnTo>
                    <a:pt x="642026" y="1092017"/>
                  </a:lnTo>
                  <a:lnTo>
                    <a:pt x="641391" y="1092833"/>
                  </a:lnTo>
                  <a:lnTo>
                    <a:pt x="641058" y="1093801"/>
                  </a:lnTo>
                  <a:lnTo>
                    <a:pt x="641603" y="1095314"/>
                  </a:lnTo>
                  <a:lnTo>
                    <a:pt x="642601" y="1096100"/>
                  </a:lnTo>
                  <a:lnTo>
                    <a:pt x="643690" y="1095949"/>
                  </a:lnTo>
                  <a:lnTo>
                    <a:pt x="645929" y="1094860"/>
                  </a:lnTo>
                  <a:lnTo>
                    <a:pt x="648137" y="1094588"/>
                  </a:lnTo>
                  <a:lnTo>
                    <a:pt x="653945" y="1095707"/>
                  </a:lnTo>
                  <a:lnTo>
                    <a:pt x="655639" y="1095465"/>
                  </a:lnTo>
                  <a:lnTo>
                    <a:pt x="659602" y="1094074"/>
                  </a:lnTo>
                  <a:lnTo>
                    <a:pt x="661236" y="1094376"/>
                  </a:lnTo>
                  <a:lnTo>
                    <a:pt x="661720" y="1095163"/>
                  </a:lnTo>
                  <a:lnTo>
                    <a:pt x="662779" y="1098097"/>
                  </a:lnTo>
                  <a:lnTo>
                    <a:pt x="663323" y="1099216"/>
                  </a:lnTo>
                  <a:lnTo>
                    <a:pt x="664140" y="1100094"/>
                  </a:lnTo>
                  <a:lnTo>
                    <a:pt x="667135" y="1102302"/>
                  </a:lnTo>
                  <a:lnTo>
                    <a:pt x="668557" y="1102937"/>
                  </a:lnTo>
                  <a:lnTo>
                    <a:pt x="670644" y="1102998"/>
                  </a:lnTo>
                  <a:lnTo>
                    <a:pt x="672762" y="1102605"/>
                  </a:lnTo>
                  <a:lnTo>
                    <a:pt x="674334" y="1101969"/>
                  </a:lnTo>
                  <a:lnTo>
                    <a:pt x="675303" y="1101183"/>
                  </a:lnTo>
                  <a:lnTo>
                    <a:pt x="678812" y="1098279"/>
                  </a:lnTo>
                  <a:lnTo>
                    <a:pt x="680718" y="1097401"/>
                  </a:lnTo>
                  <a:lnTo>
                    <a:pt x="684318" y="1096615"/>
                  </a:lnTo>
                  <a:lnTo>
                    <a:pt x="687918" y="1096615"/>
                  </a:lnTo>
                  <a:lnTo>
                    <a:pt x="693575" y="1097976"/>
                  </a:lnTo>
                  <a:lnTo>
                    <a:pt x="695299" y="1097764"/>
                  </a:lnTo>
                  <a:lnTo>
                    <a:pt x="694270" y="1100154"/>
                  </a:lnTo>
                  <a:lnTo>
                    <a:pt x="695844" y="1101939"/>
                  </a:lnTo>
                  <a:lnTo>
                    <a:pt x="698445" y="1103542"/>
                  </a:lnTo>
                  <a:lnTo>
                    <a:pt x="700441" y="1105327"/>
                  </a:lnTo>
                  <a:lnTo>
                    <a:pt x="697689" y="1106598"/>
                  </a:lnTo>
                  <a:lnTo>
                    <a:pt x="696479" y="1109774"/>
                  </a:lnTo>
                  <a:lnTo>
                    <a:pt x="696993" y="1113132"/>
                  </a:lnTo>
                  <a:lnTo>
                    <a:pt x="699474" y="1114977"/>
                  </a:lnTo>
                  <a:lnTo>
                    <a:pt x="701016" y="1115219"/>
                  </a:lnTo>
                  <a:lnTo>
                    <a:pt x="701954" y="1115522"/>
                  </a:lnTo>
                  <a:lnTo>
                    <a:pt x="702801" y="1116157"/>
                  </a:lnTo>
                  <a:lnTo>
                    <a:pt x="707399" y="1120816"/>
                  </a:lnTo>
                  <a:lnTo>
                    <a:pt x="712330" y="1124234"/>
                  </a:lnTo>
                  <a:lnTo>
                    <a:pt x="713450" y="1124658"/>
                  </a:lnTo>
                  <a:lnTo>
                    <a:pt x="714297" y="1124386"/>
                  </a:lnTo>
                  <a:lnTo>
                    <a:pt x="715144" y="1123962"/>
                  </a:lnTo>
                  <a:lnTo>
                    <a:pt x="716203" y="1123962"/>
                  </a:lnTo>
                  <a:lnTo>
                    <a:pt x="717171" y="1124416"/>
                  </a:lnTo>
                  <a:lnTo>
                    <a:pt x="717746" y="1124960"/>
                  </a:lnTo>
                  <a:lnTo>
                    <a:pt x="718381" y="1125323"/>
                  </a:lnTo>
                  <a:lnTo>
                    <a:pt x="719470" y="1125323"/>
                  </a:lnTo>
                  <a:lnTo>
                    <a:pt x="720165" y="1124718"/>
                  </a:lnTo>
                  <a:lnTo>
                    <a:pt x="723040" y="1121602"/>
                  </a:lnTo>
                  <a:lnTo>
                    <a:pt x="723040" y="1120453"/>
                  </a:lnTo>
                  <a:lnTo>
                    <a:pt x="722737" y="1119636"/>
                  </a:lnTo>
                  <a:lnTo>
                    <a:pt x="722404" y="1118940"/>
                  </a:lnTo>
                  <a:lnTo>
                    <a:pt x="722162" y="1118184"/>
                  </a:lnTo>
                  <a:lnTo>
                    <a:pt x="722071" y="1117337"/>
                  </a:lnTo>
                  <a:lnTo>
                    <a:pt x="722071" y="1114947"/>
                  </a:lnTo>
                  <a:lnTo>
                    <a:pt x="722314" y="1114584"/>
                  </a:lnTo>
                  <a:lnTo>
                    <a:pt x="723281" y="1112376"/>
                  </a:lnTo>
                  <a:lnTo>
                    <a:pt x="723403" y="1112164"/>
                  </a:lnTo>
                  <a:lnTo>
                    <a:pt x="723191" y="1112255"/>
                  </a:lnTo>
                  <a:lnTo>
                    <a:pt x="723100" y="1109169"/>
                  </a:lnTo>
                  <a:lnTo>
                    <a:pt x="723372" y="1109260"/>
                  </a:lnTo>
                  <a:lnTo>
                    <a:pt x="725006" y="1107293"/>
                  </a:lnTo>
                  <a:lnTo>
                    <a:pt x="725066" y="1106900"/>
                  </a:lnTo>
                  <a:lnTo>
                    <a:pt x="726276" y="1104177"/>
                  </a:lnTo>
                  <a:lnTo>
                    <a:pt x="726518" y="1103875"/>
                  </a:lnTo>
                  <a:lnTo>
                    <a:pt x="726760" y="1102242"/>
                  </a:lnTo>
                  <a:lnTo>
                    <a:pt x="726821" y="1100578"/>
                  </a:lnTo>
                  <a:lnTo>
                    <a:pt x="726518" y="1098823"/>
                  </a:lnTo>
                  <a:lnTo>
                    <a:pt x="725732" y="1096857"/>
                  </a:lnTo>
                  <a:lnTo>
                    <a:pt x="723766" y="1093741"/>
                  </a:lnTo>
                  <a:lnTo>
                    <a:pt x="722525" y="1092380"/>
                  </a:lnTo>
                  <a:lnTo>
                    <a:pt x="721285" y="1091502"/>
                  </a:lnTo>
                  <a:lnTo>
                    <a:pt x="719742" y="1091260"/>
                  </a:lnTo>
                  <a:lnTo>
                    <a:pt x="717201" y="1092289"/>
                  </a:lnTo>
                  <a:lnTo>
                    <a:pt x="715688" y="1092531"/>
                  </a:lnTo>
                  <a:lnTo>
                    <a:pt x="710062" y="1091563"/>
                  </a:lnTo>
                  <a:lnTo>
                    <a:pt x="708428" y="1090020"/>
                  </a:lnTo>
                  <a:lnTo>
                    <a:pt x="710303" y="1087358"/>
                  </a:lnTo>
                  <a:lnTo>
                    <a:pt x="710303" y="1087358"/>
                  </a:lnTo>
                  <a:lnTo>
                    <a:pt x="710969" y="1086360"/>
                  </a:lnTo>
                  <a:lnTo>
                    <a:pt x="711120" y="1085452"/>
                  </a:lnTo>
                  <a:lnTo>
                    <a:pt x="711120" y="1084575"/>
                  </a:lnTo>
                  <a:lnTo>
                    <a:pt x="711363" y="1083697"/>
                  </a:lnTo>
                  <a:lnTo>
                    <a:pt x="711907" y="1082608"/>
                  </a:lnTo>
                  <a:lnTo>
                    <a:pt x="718411" y="1073019"/>
                  </a:lnTo>
                  <a:lnTo>
                    <a:pt x="717927" y="1072595"/>
                  </a:lnTo>
                  <a:lnTo>
                    <a:pt x="715749" y="1069600"/>
                  </a:lnTo>
                  <a:lnTo>
                    <a:pt x="712361" y="1062310"/>
                  </a:lnTo>
                  <a:lnTo>
                    <a:pt x="710666" y="1060767"/>
                  </a:lnTo>
                  <a:lnTo>
                    <a:pt x="709850" y="1060373"/>
                  </a:lnTo>
                  <a:lnTo>
                    <a:pt x="707823" y="1058468"/>
                  </a:lnTo>
                  <a:lnTo>
                    <a:pt x="705403" y="1057137"/>
                  </a:lnTo>
                  <a:lnTo>
                    <a:pt x="704586" y="1056048"/>
                  </a:lnTo>
                  <a:lnTo>
                    <a:pt x="704042" y="1054596"/>
                  </a:lnTo>
                  <a:lnTo>
                    <a:pt x="704042" y="1054384"/>
                  </a:lnTo>
                  <a:lnTo>
                    <a:pt x="703739" y="1052901"/>
                  </a:lnTo>
                  <a:lnTo>
                    <a:pt x="702227" y="1049816"/>
                  </a:lnTo>
                  <a:lnTo>
                    <a:pt x="695147" y="1043009"/>
                  </a:lnTo>
                  <a:lnTo>
                    <a:pt x="694210" y="1041648"/>
                  </a:lnTo>
                  <a:lnTo>
                    <a:pt x="693332" y="1039984"/>
                  </a:lnTo>
                  <a:lnTo>
                    <a:pt x="692849" y="1038169"/>
                  </a:lnTo>
                  <a:lnTo>
                    <a:pt x="693030" y="1036293"/>
                  </a:lnTo>
                  <a:lnTo>
                    <a:pt x="693665" y="1035295"/>
                  </a:lnTo>
                  <a:lnTo>
                    <a:pt x="694301" y="1035083"/>
                  </a:lnTo>
                  <a:lnTo>
                    <a:pt x="694936" y="1035083"/>
                  </a:lnTo>
                  <a:lnTo>
                    <a:pt x="695571" y="1034872"/>
                  </a:lnTo>
                  <a:lnTo>
                    <a:pt x="696993" y="1032784"/>
                  </a:lnTo>
                  <a:lnTo>
                    <a:pt x="697386" y="1032330"/>
                  </a:lnTo>
                  <a:lnTo>
                    <a:pt x="701410" y="1029729"/>
                  </a:lnTo>
                  <a:lnTo>
                    <a:pt x="702710" y="1028337"/>
                  </a:lnTo>
                  <a:lnTo>
                    <a:pt x="704556" y="1025675"/>
                  </a:lnTo>
                  <a:lnTo>
                    <a:pt x="705494" y="1024737"/>
                  </a:lnTo>
                  <a:lnTo>
                    <a:pt x="707006" y="1023981"/>
                  </a:lnTo>
                  <a:lnTo>
                    <a:pt x="712572" y="1022983"/>
                  </a:lnTo>
                  <a:lnTo>
                    <a:pt x="712452" y="1022650"/>
                  </a:lnTo>
                  <a:lnTo>
                    <a:pt x="714025" y="1021500"/>
                  </a:lnTo>
                  <a:lnTo>
                    <a:pt x="717261" y="1019836"/>
                  </a:lnTo>
                  <a:lnTo>
                    <a:pt x="721013" y="1016539"/>
                  </a:lnTo>
                  <a:lnTo>
                    <a:pt x="722616" y="1015450"/>
                  </a:lnTo>
                  <a:lnTo>
                    <a:pt x="733053" y="1011638"/>
                  </a:lnTo>
                  <a:lnTo>
                    <a:pt x="746908" y="1009400"/>
                  </a:lnTo>
                  <a:lnTo>
                    <a:pt x="750296" y="1007676"/>
                  </a:lnTo>
                  <a:lnTo>
                    <a:pt x="760128" y="999780"/>
                  </a:lnTo>
                  <a:lnTo>
                    <a:pt x="761519" y="997602"/>
                  </a:lnTo>
                  <a:lnTo>
                    <a:pt x="762094" y="994667"/>
                  </a:lnTo>
                  <a:lnTo>
                    <a:pt x="762306" y="993941"/>
                  </a:lnTo>
                  <a:lnTo>
                    <a:pt x="762760" y="993215"/>
                  </a:lnTo>
                  <a:lnTo>
                    <a:pt x="763213" y="992247"/>
                  </a:lnTo>
                  <a:lnTo>
                    <a:pt x="763425" y="990795"/>
                  </a:lnTo>
                  <a:lnTo>
                    <a:pt x="763213" y="986863"/>
                  </a:lnTo>
                  <a:lnTo>
                    <a:pt x="763425" y="985562"/>
                  </a:lnTo>
                  <a:lnTo>
                    <a:pt x="763879" y="984291"/>
                  </a:lnTo>
                  <a:lnTo>
                    <a:pt x="765240" y="981629"/>
                  </a:lnTo>
                  <a:lnTo>
                    <a:pt x="765512" y="980268"/>
                  </a:lnTo>
                  <a:lnTo>
                    <a:pt x="765301" y="979057"/>
                  </a:lnTo>
                  <a:lnTo>
                    <a:pt x="764363" y="977696"/>
                  </a:lnTo>
                  <a:lnTo>
                    <a:pt x="763940" y="975186"/>
                  </a:lnTo>
                  <a:lnTo>
                    <a:pt x="763637" y="974550"/>
                  </a:lnTo>
                  <a:lnTo>
                    <a:pt x="763576" y="974036"/>
                  </a:lnTo>
                  <a:lnTo>
                    <a:pt x="764121" y="973068"/>
                  </a:lnTo>
                  <a:lnTo>
                    <a:pt x="764998" y="972281"/>
                  </a:lnTo>
                  <a:lnTo>
                    <a:pt x="768296" y="971162"/>
                  </a:lnTo>
                  <a:lnTo>
                    <a:pt x="771684" y="970738"/>
                  </a:lnTo>
                  <a:lnTo>
                    <a:pt x="782120" y="973400"/>
                  </a:lnTo>
                  <a:lnTo>
                    <a:pt x="783875" y="974278"/>
                  </a:lnTo>
                  <a:lnTo>
                    <a:pt x="785508" y="975397"/>
                  </a:lnTo>
                  <a:lnTo>
                    <a:pt x="787051" y="977575"/>
                  </a:lnTo>
                  <a:lnTo>
                    <a:pt x="791166" y="979300"/>
                  </a:lnTo>
                  <a:lnTo>
                    <a:pt x="791377" y="979511"/>
                  </a:lnTo>
                  <a:lnTo>
                    <a:pt x="792285" y="975790"/>
                  </a:lnTo>
                  <a:lnTo>
                    <a:pt x="793132" y="974217"/>
                  </a:lnTo>
                  <a:lnTo>
                    <a:pt x="793495" y="974278"/>
                  </a:lnTo>
                  <a:lnTo>
                    <a:pt x="795582" y="973975"/>
                  </a:lnTo>
                  <a:lnTo>
                    <a:pt x="796369" y="973643"/>
                  </a:lnTo>
                  <a:lnTo>
                    <a:pt x="797216" y="972886"/>
                  </a:lnTo>
                  <a:lnTo>
                    <a:pt x="797700" y="972221"/>
                  </a:lnTo>
                  <a:lnTo>
                    <a:pt x="799424" y="968802"/>
                  </a:lnTo>
                  <a:lnTo>
                    <a:pt x="800060" y="966957"/>
                  </a:lnTo>
                  <a:lnTo>
                    <a:pt x="800362" y="964961"/>
                  </a:lnTo>
                  <a:lnTo>
                    <a:pt x="800423" y="962601"/>
                  </a:lnTo>
                  <a:lnTo>
                    <a:pt x="799878" y="958093"/>
                  </a:lnTo>
                  <a:lnTo>
                    <a:pt x="800150" y="956429"/>
                  </a:lnTo>
                  <a:lnTo>
                    <a:pt x="801481" y="955250"/>
                  </a:lnTo>
                  <a:lnTo>
                    <a:pt x="800241" y="954705"/>
                  </a:lnTo>
                  <a:lnTo>
                    <a:pt x="799727" y="954282"/>
                  </a:lnTo>
                  <a:lnTo>
                    <a:pt x="798668" y="952346"/>
                  </a:lnTo>
                  <a:lnTo>
                    <a:pt x="798154" y="952527"/>
                  </a:lnTo>
                  <a:lnTo>
                    <a:pt x="798365" y="951196"/>
                  </a:lnTo>
                  <a:lnTo>
                    <a:pt x="801361" y="945357"/>
                  </a:lnTo>
                  <a:lnTo>
                    <a:pt x="799394" y="943482"/>
                  </a:lnTo>
                  <a:lnTo>
                    <a:pt x="794524" y="934558"/>
                  </a:lnTo>
                  <a:lnTo>
                    <a:pt x="792194" y="931200"/>
                  </a:lnTo>
                  <a:lnTo>
                    <a:pt x="790773" y="930474"/>
                  </a:lnTo>
                  <a:lnTo>
                    <a:pt x="787021" y="929929"/>
                  </a:lnTo>
                  <a:lnTo>
                    <a:pt x="785116" y="929112"/>
                  </a:lnTo>
                  <a:lnTo>
                    <a:pt x="783391" y="927540"/>
                  </a:lnTo>
                  <a:lnTo>
                    <a:pt x="781818" y="925331"/>
                  </a:lnTo>
                  <a:lnTo>
                    <a:pt x="780759" y="922790"/>
                  </a:lnTo>
                  <a:lnTo>
                    <a:pt x="780517" y="920128"/>
                  </a:lnTo>
                  <a:lnTo>
                    <a:pt x="778702" y="920340"/>
                  </a:lnTo>
                  <a:lnTo>
                    <a:pt x="776978" y="919462"/>
                  </a:lnTo>
                  <a:lnTo>
                    <a:pt x="775284" y="918192"/>
                  </a:lnTo>
                  <a:lnTo>
                    <a:pt x="773499" y="917193"/>
                  </a:lnTo>
                  <a:lnTo>
                    <a:pt x="771835" y="916891"/>
                  </a:lnTo>
                  <a:lnTo>
                    <a:pt x="771169" y="916770"/>
                  </a:lnTo>
                  <a:lnTo>
                    <a:pt x="769778" y="917345"/>
                  </a:lnTo>
                  <a:lnTo>
                    <a:pt x="768810" y="918887"/>
                  </a:lnTo>
                  <a:lnTo>
                    <a:pt x="767781" y="921338"/>
                  </a:lnTo>
                  <a:lnTo>
                    <a:pt x="765422" y="920309"/>
                  </a:lnTo>
                  <a:lnTo>
                    <a:pt x="762245" y="918222"/>
                  </a:lnTo>
                  <a:lnTo>
                    <a:pt x="759341" y="915741"/>
                  </a:lnTo>
                  <a:lnTo>
                    <a:pt x="757889" y="913593"/>
                  </a:lnTo>
                  <a:lnTo>
                    <a:pt x="757829" y="909661"/>
                  </a:lnTo>
                  <a:lnTo>
                    <a:pt x="756709" y="907210"/>
                  </a:lnTo>
                  <a:lnTo>
                    <a:pt x="752444" y="903187"/>
                  </a:lnTo>
                  <a:lnTo>
                    <a:pt x="749388" y="899406"/>
                  </a:lnTo>
                  <a:lnTo>
                    <a:pt x="748178" y="898407"/>
                  </a:lnTo>
                  <a:lnTo>
                    <a:pt x="746182" y="897711"/>
                  </a:lnTo>
                  <a:lnTo>
                    <a:pt x="740071" y="897439"/>
                  </a:lnTo>
                  <a:lnTo>
                    <a:pt x="737227" y="895896"/>
                  </a:lnTo>
                  <a:lnTo>
                    <a:pt x="735624" y="893537"/>
                  </a:lnTo>
                  <a:lnTo>
                    <a:pt x="734293" y="890754"/>
                  </a:lnTo>
                  <a:lnTo>
                    <a:pt x="724885" y="878956"/>
                  </a:lnTo>
                  <a:lnTo>
                    <a:pt x="723644" y="878290"/>
                  </a:lnTo>
                  <a:lnTo>
                    <a:pt x="723644" y="878290"/>
                  </a:lnTo>
                  <a:lnTo>
                    <a:pt x="720438" y="874751"/>
                  </a:lnTo>
                  <a:lnTo>
                    <a:pt x="719984" y="873420"/>
                  </a:lnTo>
                  <a:lnTo>
                    <a:pt x="719833" y="872058"/>
                  </a:lnTo>
                  <a:lnTo>
                    <a:pt x="719288" y="870909"/>
                  </a:lnTo>
                  <a:lnTo>
                    <a:pt x="717534" y="870243"/>
                  </a:lnTo>
                  <a:lnTo>
                    <a:pt x="714720" y="867490"/>
                  </a:lnTo>
                  <a:lnTo>
                    <a:pt x="713268" y="866401"/>
                  </a:lnTo>
                  <a:lnTo>
                    <a:pt x="711574" y="865554"/>
                  </a:lnTo>
                  <a:lnTo>
                    <a:pt x="707732" y="864586"/>
                  </a:lnTo>
                  <a:lnTo>
                    <a:pt x="706341" y="864979"/>
                  </a:lnTo>
                  <a:lnTo>
                    <a:pt x="706795" y="866794"/>
                  </a:lnTo>
                  <a:lnTo>
                    <a:pt x="704919" y="867037"/>
                  </a:lnTo>
                  <a:lnTo>
                    <a:pt x="698989" y="866250"/>
                  </a:lnTo>
                  <a:lnTo>
                    <a:pt x="696993" y="865584"/>
                  </a:lnTo>
                  <a:lnTo>
                    <a:pt x="695390" y="864072"/>
                  </a:lnTo>
                  <a:lnTo>
                    <a:pt x="692092" y="857295"/>
                  </a:lnTo>
                  <a:lnTo>
                    <a:pt x="690065" y="855359"/>
                  </a:lnTo>
                  <a:lnTo>
                    <a:pt x="685407" y="853363"/>
                  </a:lnTo>
                  <a:lnTo>
                    <a:pt x="683440" y="851881"/>
                  </a:lnTo>
                  <a:lnTo>
                    <a:pt x="682291" y="849823"/>
                  </a:lnTo>
                  <a:lnTo>
                    <a:pt x="681807" y="847524"/>
                  </a:lnTo>
                  <a:lnTo>
                    <a:pt x="681504" y="842865"/>
                  </a:lnTo>
                  <a:lnTo>
                    <a:pt x="681383" y="840476"/>
                  </a:lnTo>
                  <a:lnTo>
                    <a:pt x="680627" y="839901"/>
                  </a:lnTo>
                  <a:lnTo>
                    <a:pt x="679568" y="840052"/>
                  </a:lnTo>
                  <a:lnTo>
                    <a:pt x="678449" y="839720"/>
                  </a:lnTo>
                  <a:lnTo>
                    <a:pt x="677360" y="838661"/>
                  </a:lnTo>
                  <a:lnTo>
                    <a:pt x="676573" y="837602"/>
                  </a:lnTo>
                  <a:lnTo>
                    <a:pt x="675938" y="836331"/>
                  </a:lnTo>
                  <a:lnTo>
                    <a:pt x="675303" y="834607"/>
                  </a:lnTo>
                  <a:lnTo>
                    <a:pt x="674909" y="832943"/>
                  </a:lnTo>
                  <a:lnTo>
                    <a:pt x="674425" y="829797"/>
                  </a:lnTo>
                  <a:lnTo>
                    <a:pt x="673730" y="828254"/>
                  </a:lnTo>
                  <a:lnTo>
                    <a:pt x="672671" y="827165"/>
                  </a:lnTo>
                  <a:lnTo>
                    <a:pt x="670251" y="825955"/>
                  </a:lnTo>
                  <a:lnTo>
                    <a:pt x="669222" y="824805"/>
                  </a:lnTo>
                  <a:lnTo>
                    <a:pt x="669283" y="824473"/>
                  </a:lnTo>
                  <a:lnTo>
                    <a:pt x="669767" y="823353"/>
                  </a:lnTo>
                  <a:lnTo>
                    <a:pt x="668950" y="822990"/>
                  </a:lnTo>
                  <a:lnTo>
                    <a:pt x="668708" y="822809"/>
                  </a:lnTo>
                  <a:lnTo>
                    <a:pt x="669555" y="821054"/>
                  </a:lnTo>
                  <a:lnTo>
                    <a:pt x="669494" y="819148"/>
                  </a:lnTo>
                  <a:lnTo>
                    <a:pt x="668648" y="817636"/>
                  </a:lnTo>
                  <a:lnTo>
                    <a:pt x="667256" y="816970"/>
                  </a:lnTo>
                  <a:lnTo>
                    <a:pt x="663898" y="815488"/>
                  </a:lnTo>
                  <a:lnTo>
                    <a:pt x="662355" y="814520"/>
                  </a:lnTo>
                  <a:lnTo>
                    <a:pt x="660903" y="813310"/>
                  </a:lnTo>
                  <a:lnTo>
                    <a:pt x="658816" y="810557"/>
                  </a:lnTo>
                  <a:lnTo>
                    <a:pt x="657757" y="808742"/>
                  </a:lnTo>
                  <a:lnTo>
                    <a:pt x="657273" y="807230"/>
                  </a:lnTo>
                  <a:lnTo>
                    <a:pt x="658452" y="805081"/>
                  </a:lnTo>
                  <a:lnTo>
                    <a:pt x="662597" y="803448"/>
                  </a:lnTo>
                  <a:lnTo>
                    <a:pt x="664200" y="801966"/>
                  </a:lnTo>
                  <a:lnTo>
                    <a:pt x="664533" y="799606"/>
                  </a:lnTo>
                  <a:lnTo>
                    <a:pt x="664533" y="796611"/>
                  </a:lnTo>
                  <a:lnTo>
                    <a:pt x="665199" y="794584"/>
                  </a:lnTo>
                  <a:lnTo>
                    <a:pt x="667225" y="795159"/>
                  </a:lnTo>
                  <a:lnTo>
                    <a:pt x="667982" y="792951"/>
                  </a:lnTo>
                  <a:lnTo>
                    <a:pt x="670281" y="789018"/>
                  </a:lnTo>
                  <a:lnTo>
                    <a:pt x="671098" y="786810"/>
                  </a:lnTo>
                  <a:lnTo>
                    <a:pt x="671400" y="784027"/>
                  </a:lnTo>
                  <a:lnTo>
                    <a:pt x="670765" y="782998"/>
                  </a:lnTo>
                  <a:lnTo>
                    <a:pt x="669313" y="782484"/>
                  </a:lnTo>
                  <a:lnTo>
                    <a:pt x="665199" y="780245"/>
                  </a:lnTo>
                  <a:lnTo>
                    <a:pt x="665320" y="778702"/>
                  </a:lnTo>
                  <a:lnTo>
                    <a:pt x="666015" y="776766"/>
                  </a:lnTo>
                  <a:lnTo>
                    <a:pt x="665773" y="774679"/>
                  </a:lnTo>
                  <a:lnTo>
                    <a:pt x="664080" y="773197"/>
                  </a:lnTo>
                  <a:lnTo>
                    <a:pt x="660389" y="772834"/>
                  </a:lnTo>
                  <a:lnTo>
                    <a:pt x="658846" y="771442"/>
                  </a:lnTo>
                  <a:lnTo>
                    <a:pt x="658725" y="771442"/>
                  </a:lnTo>
                  <a:lnTo>
                    <a:pt x="643508" y="763940"/>
                  </a:lnTo>
                  <a:lnTo>
                    <a:pt x="643176" y="763032"/>
                  </a:lnTo>
                  <a:lnTo>
                    <a:pt x="643176" y="761731"/>
                  </a:lnTo>
                  <a:lnTo>
                    <a:pt x="642934" y="760249"/>
                  </a:lnTo>
                  <a:lnTo>
                    <a:pt x="642026" y="758827"/>
                  </a:lnTo>
                  <a:lnTo>
                    <a:pt x="640574" y="757647"/>
                  </a:lnTo>
                  <a:lnTo>
                    <a:pt x="638971" y="756800"/>
                  </a:lnTo>
                  <a:lnTo>
                    <a:pt x="637549" y="755590"/>
                  </a:lnTo>
                  <a:lnTo>
                    <a:pt x="636672" y="753412"/>
                  </a:lnTo>
                  <a:lnTo>
                    <a:pt x="636611" y="751264"/>
                  </a:lnTo>
                  <a:lnTo>
                    <a:pt x="637307" y="747967"/>
                  </a:lnTo>
                  <a:lnTo>
                    <a:pt x="637004" y="745789"/>
                  </a:lnTo>
                  <a:lnTo>
                    <a:pt x="636248" y="744065"/>
                  </a:lnTo>
                  <a:lnTo>
                    <a:pt x="635098" y="742461"/>
                  </a:lnTo>
                  <a:lnTo>
                    <a:pt x="632618" y="739981"/>
                  </a:lnTo>
                  <a:lnTo>
                    <a:pt x="627657" y="737107"/>
                  </a:lnTo>
                  <a:lnTo>
                    <a:pt x="626598" y="735382"/>
                  </a:lnTo>
                  <a:lnTo>
                    <a:pt x="627868" y="733658"/>
                  </a:lnTo>
                  <a:lnTo>
                    <a:pt x="628897" y="733023"/>
                  </a:lnTo>
                  <a:lnTo>
                    <a:pt x="629563" y="732327"/>
                  </a:lnTo>
                  <a:lnTo>
                    <a:pt x="629744" y="730482"/>
                  </a:lnTo>
                  <a:lnTo>
                    <a:pt x="629381" y="728424"/>
                  </a:lnTo>
                  <a:lnTo>
                    <a:pt x="628564" y="727154"/>
                  </a:lnTo>
                  <a:lnTo>
                    <a:pt x="626235" y="724915"/>
                  </a:lnTo>
                  <a:lnTo>
                    <a:pt x="628776" y="725097"/>
                  </a:lnTo>
                  <a:lnTo>
                    <a:pt x="633586" y="725430"/>
                  </a:lnTo>
                  <a:lnTo>
                    <a:pt x="635522" y="726700"/>
                  </a:lnTo>
                  <a:lnTo>
                    <a:pt x="636127" y="728031"/>
                  </a:lnTo>
                  <a:lnTo>
                    <a:pt x="636127" y="730512"/>
                  </a:lnTo>
                  <a:lnTo>
                    <a:pt x="636490" y="731631"/>
                  </a:lnTo>
                  <a:lnTo>
                    <a:pt x="637640" y="732539"/>
                  </a:lnTo>
                  <a:lnTo>
                    <a:pt x="639092" y="732962"/>
                  </a:lnTo>
                  <a:lnTo>
                    <a:pt x="641996" y="733023"/>
                  </a:lnTo>
                  <a:lnTo>
                    <a:pt x="642692" y="733386"/>
                  </a:lnTo>
                  <a:lnTo>
                    <a:pt x="643024" y="733900"/>
                  </a:lnTo>
                  <a:lnTo>
                    <a:pt x="642964" y="734566"/>
                  </a:lnTo>
                  <a:lnTo>
                    <a:pt x="642541" y="735382"/>
                  </a:lnTo>
                  <a:lnTo>
                    <a:pt x="642389" y="735382"/>
                  </a:lnTo>
                  <a:lnTo>
                    <a:pt x="642238" y="735443"/>
                  </a:lnTo>
                  <a:lnTo>
                    <a:pt x="642117" y="735533"/>
                  </a:lnTo>
                  <a:lnTo>
                    <a:pt x="641996" y="735624"/>
                  </a:lnTo>
                  <a:lnTo>
                    <a:pt x="641724" y="735896"/>
                  </a:lnTo>
                  <a:lnTo>
                    <a:pt x="641633" y="736169"/>
                  </a:lnTo>
                  <a:lnTo>
                    <a:pt x="641724" y="736502"/>
                  </a:lnTo>
                  <a:lnTo>
                    <a:pt x="641996" y="736834"/>
                  </a:lnTo>
                  <a:lnTo>
                    <a:pt x="643750" y="738468"/>
                  </a:lnTo>
                  <a:lnTo>
                    <a:pt x="644204" y="739012"/>
                  </a:lnTo>
                  <a:lnTo>
                    <a:pt x="644597" y="739950"/>
                  </a:lnTo>
                  <a:lnTo>
                    <a:pt x="644779" y="740797"/>
                  </a:lnTo>
                  <a:lnTo>
                    <a:pt x="644900" y="741553"/>
                  </a:lnTo>
                  <a:lnTo>
                    <a:pt x="646110" y="745547"/>
                  </a:lnTo>
                  <a:lnTo>
                    <a:pt x="647138" y="746999"/>
                  </a:lnTo>
                  <a:lnTo>
                    <a:pt x="648863" y="747210"/>
                  </a:lnTo>
                  <a:lnTo>
                    <a:pt x="650285" y="746273"/>
                  </a:lnTo>
                  <a:lnTo>
                    <a:pt x="650285" y="745002"/>
                  </a:lnTo>
                  <a:lnTo>
                    <a:pt x="649710" y="743459"/>
                  </a:lnTo>
                  <a:lnTo>
                    <a:pt x="649407" y="741675"/>
                  </a:lnTo>
                  <a:lnTo>
                    <a:pt x="649710" y="739103"/>
                  </a:lnTo>
                  <a:lnTo>
                    <a:pt x="650254" y="737742"/>
                  </a:lnTo>
                  <a:lnTo>
                    <a:pt x="652221" y="735382"/>
                  </a:lnTo>
                  <a:lnTo>
                    <a:pt x="652523" y="733083"/>
                  </a:lnTo>
                  <a:lnTo>
                    <a:pt x="653340" y="731964"/>
                  </a:lnTo>
                  <a:lnTo>
                    <a:pt x="654459" y="731238"/>
                  </a:lnTo>
                  <a:lnTo>
                    <a:pt x="655609" y="730119"/>
                  </a:lnTo>
                  <a:lnTo>
                    <a:pt x="658725" y="724915"/>
                  </a:lnTo>
                  <a:lnTo>
                    <a:pt x="659814" y="723947"/>
                  </a:lnTo>
                  <a:lnTo>
                    <a:pt x="662779" y="722435"/>
                  </a:lnTo>
                  <a:lnTo>
                    <a:pt x="663958" y="721437"/>
                  </a:lnTo>
                  <a:lnTo>
                    <a:pt x="664321" y="721255"/>
                  </a:lnTo>
                  <a:lnTo>
                    <a:pt x="665229" y="721255"/>
                  </a:lnTo>
                  <a:lnTo>
                    <a:pt x="665622" y="721074"/>
                  </a:lnTo>
                  <a:lnTo>
                    <a:pt x="665834" y="720529"/>
                  </a:lnTo>
                  <a:lnTo>
                    <a:pt x="665773" y="719954"/>
                  </a:lnTo>
                  <a:lnTo>
                    <a:pt x="665652" y="719470"/>
                  </a:lnTo>
                  <a:lnTo>
                    <a:pt x="665652" y="719168"/>
                  </a:lnTo>
                  <a:lnTo>
                    <a:pt x="665895" y="718532"/>
                  </a:lnTo>
                  <a:lnTo>
                    <a:pt x="666106" y="717776"/>
                  </a:lnTo>
                  <a:lnTo>
                    <a:pt x="666469" y="717050"/>
                  </a:lnTo>
                  <a:lnTo>
                    <a:pt x="667225" y="716475"/>
                  </a:lnTo>
                  <a:lnTo>
                    <a:pt x="670009" y="714267"/>
                  </a:lnTo>
                  <a:lnTo>
                    <a:pt x="674062" y="713178"/>
                  </a:lnTo>
                  <a:lnTo>
                    <a:pt x="681595" y="712664"/>
                  </a:lnTo>
                  <a:lnTo>
                    <a:pt x="686980" y="713571"/>
                  </a:lnTo>
                  <a:lnTo>
                    <a:pt x="688281" y="713450"/>
                  </a:lnTo>
                  <a:lnTo>
                    <a:pt x="689400" y="712452"/>
                  </a:lnTo>
                  <a:lnTo>
                    <a:pt x="691639" y="709275"/>
                  </a:lnTo>
                  <a:lnTo>
                    <a:pt x="692909" y="708096"/>
                  </a:lnTo>
                  <a:lnTo>
                    <a:pt x="694543" y="707551"/>
                  </a:lnTo>
                  <a:lnTo>
                    <a:pt x="696176" y="707460"/>
                  </a:lnTo>
                  <a:lnTo>
                    <a:pt x="697961" y="707702"/>
                  </a:lnTo>
                  <a:lnTo>
                    <a:pt x="698566" y="707490"/>
                  </a:lnTo>
                  <a:lnTo>
                    <a:pt x="699988" y="706613"/>
                  </a:lnTo>
                  <a:lnTo>
                    <a:pt x="700895" y="706432"/>
                  </a:lnTo>
                  <a:lnTo>
                    <a:pt x="701742" y="706674"/>
                  </a:lnTo>
                  <a:lnTo>
                    <a:pt x="711090" y="711907"/>
                  </a:lnTo>
                  <a:lnTo>
                    <a:pt x="714508" y="712089"/>
                  </a:lnTo>
                  <a:lnTo>
                    <a:pt x="715325" y="711363"/>
                  </a:lnTo>
                  <a:lnTo>
                    <a:pt x="717503" y="709366"/>
                  </a:lnTo>
                  <a:lnTo>
                    <a:pt x="718925" y="707823"/>
                  </a:lnTo>
                  <a:lnTo>
                    <a:pt x="719561" y="705192"/>
                  </a:lnTo>
                  <a:lnTo>
                    <a:pt x="720196" y="699262"/>
                  </a:lnTo>
                  <a:lnTo>
                    <a:pt x="721043" y="698748"/>
                  </a:lnTo>
                  <a:lnTo>
                    <a:pt x="721890" y="698566"/>
                  </a:lnTo>
                  <a:lnTo>
                    <a:pt x="722707" y="698748"/>
                  </a:lnTo>
                  <a:lnTo>
                    <a:pt x="723493" y="699262"/>
                  </a:lnTo>
                  <a:lnTo>
                    <a:pt x="724370" y="699504"/>
                  </a:lnTo>
                  <a:lnTo>
                    <a:pt x="725308" y="699564"/>
                  </a:lnTo>
                  <a:lnTo>
                    <a:pt x="726246" y="699504"/>
                  </a:lnTo>
                  <a:lnTo>
                    <a:pt x="727154" y="699262"/>
                  </a:lnTo>
                  <a:lnTo>
                    <a:pt x="727154" y="699262"/>
                  </a:lnTo>
                  <a:lnTo>
                    <a:pt x="729997" y="698355"/>
                  </a:lnTo>
                  <a:lnTo>
                    <a:pt x="735291" y="698657"/>
                  </a:lnTo>
                  <a:lnTo>
                    <a:pt x="737772" y="696963"/>
                  </a:lnTo>
                  <a:lnTo>
                    <a:pt x="739224" y="694543"/>
                  </a:lnTo>
                  <a:lnTo>
                    <a:pt x="742582" y="686284"/>
                  </a:lnTo>
                  <a:lnTo>
                    <a:pt x="744518" y="686435"/>
                  </a:lnTo>
                  <a:lnTo>
                    <a:pt x="746152" y="687494"/>
                  </a:lnTo>
                  <a:lnTo>
                    <a:pt x="747815" y="688160"/>
                  </a:lnTo>
                  <a:lnTo>
                    <a:pt x="749933" y="687161"/>
                  </a:lnTo>
                  <a:lnTo>
                    <a:pt x="750992" y="684227"/>
                  </a:lnTo>
                  <a:lnTo>
                    <a:pt x="751566" y="683289"/>
                  </a:lnTo>
                  <a:lnTo>
                    <a:pt x="755348" y="680839"/>
                  </a:lnTo>
                  <a:lnTo>
                    <a:pt x="755953" y="680234"/>
                  </a:lnTo>
                  <a:lnTo>
                    <a:pt x="756013" y="679720"/>
                  </a:lnTo>
                  <a:lnTo>
                    <a:pt x="756286" y="679538"/>
                  </a:lnTo>
                  <a:lnTo>
                    <a:pt x="757496" y="679962"/>
                  </a:lnTo>
                  <a:lnTo>
                    <a:pt x="758040" y="680537"/>
                  </a:lnTo>
                  <a:lnTo>
                    <a:pt x="759462" y="682745"/>
                  </a:lnTo>
                  <a:lnTo>
                    <a:pt x="760128" y="683501"/>
                  </a:lnTo>
                  <a:lnTo>
                    <a:pt x="762366" y="684499"/>
                  </a:lnTo>
                  <a:lnTo>
                    <a:pt x="764242" y="684076"/>
                  </a:lnTo>
                  <a:lnTo>
                    <a:pt x="765966" y="682624"/>
                  </a:lnTo>
                  <a:lnTo>
                    <a:pt x="767721" y="680627"/>
                  </a:lnTo>
                  <a:lnTo>
                    <a:pt x="768719" y="680113"/>
                  </a:lnTo>
                  <a:lnTo>
                    <a:pt x="769324" y="679417"/>
                  </a:lnTo>
                  <a:lnTo>
                    <a:pt x="769415" y="678540"/>
                  </a:lnTo>
                  <a:lnTo>
                    <a:pt x="768840" y="677390"/>
                  </a:lnTo>
                  <a:lnTo>
                    <a:pt x="770504" y="676241"/>
                  </a:lnTo>
                  <a:lnTo>
                    <a:pt x="771865" y="674637"/>
                  </a:lnTo>
                  <a:lnTo>
                    <a:pt x="772259" y="672671"/>
                  </a:lnTo>
                  <a:lnTo>
                    <a:pt x="771109" y="670432"/>
                  </a:lnTo>
                  <a:lnTo>
                    <a:pt x="775223" y="668134"/>
                  </a:lnTo>
                  <a:lnTo>
                    <a:pt x="779791" y="667347"/>
                  </a:lnTo>
                  <a:lnTo>
                    <a:pt x="788836" y="667407"/>
                  </a:lnTo>
                  <a:lnTo>
                    <a:pt x="790773" y="667044"/>
                  </a:lnTo>
                  <a:lnTo>
                    <a:pt x="794614" y="665744"/>
                  </a:lnTo>
                  <a:lnTo>
                    <a:pt x="796793" y="665532"/>
                  </a:lnTo>
                  <a:lnTo>
                    <a:pt x="801421" y="666016"/>
                  </a:lnTo>
                  <a:lnTo>
                    <a:pt x="803236" y="665683"/>
                  </a:lnTo>
                  <a:lnTo>
                    <a:pt x="806140" y="664019"/>
                  </a:lnTo>
                  <a:lnTo>
                    <a:pt x="806745" y="664019"/>
                  </a:lnTo>
                  <a:lnTo>
                    <a:pt x="807320" y="663838"/>
                  </a:lnTo>
                  <a:lnTo>
                    <a:pt x="808016" y="662930"/>
                  </a:lnTo>
                  <a:lnTo>
                    <a:pt x="808016" y="662143"/>
                  </a:lnTo>
                  <a:lnTo>
                    <a:pt x="807834" y="661115"/>
                  </a:lnTo>
                  <a:lnTo>
                    <a:pt x="807713" y="659875"/>
                  </a:lnTo>
                  <a:lnTo>
                    <a:pt x="808137" y="658453"/>
                  </a:lnTo>
                  <a:lnTo>
                    <a:pt x="809044" y="657394"/>
                  </a:lnTo>
                  <a:lnTo>
                    <a:pt x="809891" y="657394"/>
                  </a:lnTo>
                  <a:lnTo>
                    <a:pt x="810859" y="657636"/>
                  </a:lnTo>
                  <a:lnTo>
                    <a:pt x="812130" y="657455"/>
                  </a:lnTo>
                  <a:lnTo>
                    <a:pt x="813158" y="656759"/>
                  </a:lnTo>
                  <a:lnTo>
                    <a:pt x="814701" y="654944"/>
                  </a:lnTo>
                  <a:lnTo>
                    <a:pt x="815790" y="654218"/>
                  </a:lnTo>
                  <a:lnTo>
                    <a:pt x="817757" y="653824"/>
                  </a:lnTo>
                  <a:lnTo>
                    <a:pt x="821417" y="654278"/>
                  </a:lnTo>
                  <a:lnTo>
                    <a:pt x="823353" y="654157"/>
                  </a:lnTo>
                  <a:lnTo>
                    <a:pt x="839023" y="647532"/>
                  </a:lnTo>
                  <a:lnTo>
                    <a:pt x="840234" y="646473"/>
                  </a:lnTo>
                  <a:lnTo>
                    <a:pt x="842079" y="643932"/>
                  </a:lnTo>
                  <a:lnTo>
                    <a:pt x="843168" y="642934"/>
                  </a:lnTo>
                  <a:lnTo>
                    <a:pt x="846768" y="642238"/>
                  </a:lnTo>
                  <a:lnTo>
                    <a:pt x="854664" y="642813"/>
                  </a:lnTo>
                  <a:lnTo>
                    <a:pt x="857598" y="640484"/>
                  </a:lnTo>
                  <a:lnTo>
                    <a:pt x="858203" y="636823"/>
                  </a:lnTo>
                  <a:lnTo>
                    <a:pt x="855510" y="635401"/>
                  </a:lnTo>
                  <a:lnTo>
                    <a:pt x="851820" y="634373"/>
                  </a:lnTo>
                  <a:lnTo>
                    <a:pt x="849248" y="632043"/>
                  </a:lnTo>
                  <a:lnTo>
                    <a:pt x="849339" y="630501"/>
                  </a:lnTo>
                  <a:lnTo>
                    <a:pt x="850186" y="629956"/>
                  </a:lnTo>
                  <a:lnTo>
                    <a:pt x="850337" y="629653"/>
                  </a:lnTo>
                  <a:lnTo>
                    <a:pt x="848341" y="628897"/>
                  </a:lnTo>
                  <a:lnTo>
                    <a:pt x="844953" y="628504"/>
                  </a:lnTo>
                  <a:lnTo>
                    <a:pt x="843773" y="627778"/>
                  </a:lnTo>
                  <a:lnTo>
                    <a:pt x="844892" y="626296"/>
                  </a:lnTo>
                  <a:lnTo>
                    <a:pt x="846314" y="622060"/>
                  </a:lnTo>
                  <a:lnTo>
                    <a:pt x="848734" y="619791"/>
                  </a:lnTo>
                  <a:lnTo>
                    <a:pt x="851941" y="619338"/>
                  </a:lnTo>
                  <a:lnTo>
                    <a:pt x="855692" y="620457"/>
                  </a:lnTo>
                  <a:lnTo>
                    <a:pt x="856448" y="621092"/>
                  </a:lnTo>
                  <a:lnTo>
                    <a:pt x="856963" y="621909"/>
                  </a:lnTo>
                  <a:lnTo>
                    <a:pt x="857628" y="622696"/>
                  </a:lnTo>
                  <a:lnTo>
                    <a:pt x="858717" y="623240"/>
                  </a:lnTo>
                  <a:lnTo>
                    <a:pt x="859836" y="623240"/>
                  </a:lnTo>
                  <a:lnTo>
                    <a:pt x="862650" y="622121"/>
                  </a:lnTo>
                  <a:lnTo>
                    <a:pt x="866310" y="622303"/>
                  </a:lnTo>
                  <a:lnTo>
                    <a:pt x="867460" y="621758"/>
                  </a:lnTo>
                  <a:lnTo>
                    <a:pt x="868337" y="619731"/>
                  </a:lnTo>
                  <a:lnTo>
                    <a:pt x="868912" y="620971"/>
                  </a:lnTo>
                  <a:lnTo>
                    <a:pt x="869154" y="621879"/>
                  </a:lnTo>
                  <a:lnTo>
                    <a:pt x="869486" y="622756"/>
                  </a:lnTo>
                  <a:lnTo>
                    <a:pt x="870424" y="623966"/>
                  </a:lnTo>
                  <a:lnTo>
                    <a:pt x="871665" y="624783"/>
                  </a:lnTo>
                  <a:lnTo>
                    <a:pt x="874387" y="625419"/>
                  </a:lnTo>
                  <a:lnTo>
                    <a:pt x="875628" y="626326"/>
                  </a:lnTo>
                  <a:lnTo>
                    <a:pt x="876838" y="627687"/>
                  </a:lnTo>
                  <a:lnTo>
                    <a:pt x="877594" y="628837"/>
                  </a:lnTo>
                  <a:lnTo>
                    <a:pt x="877896" y="630259"/>
                  </a:lnTo>
                  <a:lnTo>
                    <a:pt x="877715" y="632467"/>
                  </a:lnTo>
                  <a:lnTo>
                    <a:pt x="876929" y="634252"/>
                  </a:lnTo>
                  <a:lnTo>
                    <a:pt x="875718" y="636370"/>
                  </a:lnTo>
                  <a:lnTo>
                    <a:pt x="875174" y="638154"/>
                  </a:lnTo>
                  <a:lnTo>
                    <a:pt x="876323" y="638971"/>
                  </a:lnTo>
                  <a:lnTo>
                    <a:pt x="881890" y="636853"/>
                  </a:lnTo>
                  <a:lnTo>
                    <a:pt x="883100" y="636853"/>
                  </a:lnTo>
                  <a:lnTo>
                    <a:pt x="883644" y="638548"/>
                  </a:lnTo>
                  <a:lnTo>
                    <a:pt x="883069" y="640484"/>
                  </a:lnTo>
                  <a:lnTo>
                    <a:pt x="881375" y="644174"/>
                  </a:lnTo>
                  <a:lnTo>
                    <a:pt x="881012" y="646806"/>
                  </a:lnTo>
                  <a:lnTo>
                    <a:pt x="881497" y="647895"/>
                  </a:lnTo>
                  <a:lnTo>
                    <a:pt x="885005" y="648803"/>
                  </a:lnTo>
                  <a:lnTo>
                    <a:pt x="886458" y="649559"/>
                  </a:lnTo>
                  <a:lnTo>
                    <a:pt x="890299" y="652252"/>
                  </a:lnTo>
                  <a:lnTo>
                    <a:pt x="894051" y="653008"/>
                  </a:lnTo>
                  <a:lnTo>
                    <a:pt x="896229" y="653098"/>
                  </a:lnTo>
                  <a:lnTo>
                    <a:pt x="897862" y="652675"/>
                  </a:lnTo>
                  <a:lnTo>
                    <a:pt x="898831" y="651646"/>
                  </a:lnTo>
                  <a:lnTo>
                    <a:pt x="899798" y="649952"/>
                  </a:lnTo>
                  <a:lnTo>
                    <a:pt x="901402" y="646020"/>
                  </a:lnTo>
                  <a:lnTo>
                    <a:pt x="901402" y="643297"/>
                  </a:lnTo>
                  <a:lnTo>
                    <a:pt x="902854" y="641119"/>
                  </a:lnTo>
                  <a:lnTo>
                    <a:pt x="906424" y="637459"/>
                  </a:lnTo>
                  <a:lnTo>
                    <a:pt x="911506" y="626356"/>
                  </a:lnTo>
                  <a:lnTo>
                    <a:pt x="916013" y="615859"/>
                  </a:lnTo>
                  <a:lnTo>
                    <a:pt x="916316" y="614165"/>
                  </a:lnTo>
                  <a:lnTo>
                    <a:pt x="916316" y="611352"/>
                  </a:lnTo>
                  <a:lnTo>
                    <a:pt x="916528" y="609900"/>
                  </a:lnTo>
                  <a:lnTo>
                    <a:pt x="917072" y="608901"/>
                  </a:lnTo>
                  <a:lnTo>
                    <a:pt x="917858" y="608205"/>
                  </a:lnTo>
                  <a:lnTo>
                    <a:pt x="918524" y="607237"/>
                  </a:lnTo>
                  <a:lnTo>
                    <a:pt x="918736" y="605362"/>
                  </a:lnTo>
                  <a:lnTo>
                    <a:pt x="918857" y="601641"/>
                  </a:lnTo>
                  <a:lnTo>
                    <a:pt x="919674" y="597496"/>
                  </a:lnTo>
                  <a:lnTo>
                    <a:pt x="921035" y="593564"/>
                  </a:lnTo>
                  <a:lnTo>
                    <a:pt x="922760" y="590448"/>
                  </a:lnTo>
                  <a:lnTo>
                    <a:pt x="922336" y="590024"/>
                  </a:lnTo>
                  <a:close/>
                  <a:moveTo>
                    <a:pt x="244401" y="51881"/>
                  </a:moveTo>
                  <a:lnTo>
                    <a:pt x="245037" y="51398"/>
                  </a:lnTo>
                  <a:lnTo>
                    <a:pt x="245551" y="49189"/>
                  </a:lnTo>
                  <a:lnTo>
                    <a:pt x="245823" y="46345"/>
                  </a:lnTo>
                  <a:lnTo>
                    <a:pt x="245490" y="37603"/>
                  </a:lnTo>
                  <a:lnTo>
                    <a:pt x="245793" y="36937"/>
                  </a:lnTo>
                  <a:lnTo>
                    <a:pt x="245944" y="33791"/>
                  </a:lnTo>
                  <a:lnTo>
                    <a:pt x="246216" y="32611"/>
                  </a:lnTo>
                  <a:lnTo>
                    <a:pt x="246730" y="32157"/>
                  </a:lnTo>
                  <a:lnTo>
                    <a:pt x="249786" y="30191"/>
                  </a:lnTo>
                  <a:lnTo>
                    <a:pt x="250451" y="29949"/>
                  </a:lnTo>
                  <a:lnTo>
                    <a:pt x="251420" y="29949"/>
                  </a:lnTo>
                  <a:lnTo>
                    <a:pt x="252267" y="30282"/>
                  </a:lnTo>
                  <a:lnTo>
                    <a:pt x="253144" y="31674"/>
                  </a:lnTo>
                  <a:lnTo>
                    <a:pt x="253779" y="31976"/>
                  </a:lnTo>
                  <a:lnTo>
                    <a:pt x="260707" y="31976"/>
                  </a:lnTo>
                  <a:lnTo>
                    <a:pt x="262219" y="31583"/>
                  </a:lnTo>
                  <a:lnTo>
                    <a:pt x="265002" y="29586"/>
                  </a:lnTo>
                  <a:lnTo>
                    <a:pt x="266576" y="28799"/>
                  </a:lnTo>
                  <a:lnTo>
                    <a:pt x="279160" y="29435"/>
                  </a:lnTo>
                  <a:lnTo>
                    <a:pt x="281671" y="27589"/>
                  </a:lnTo>
                  <a:lnTo>
                    <a:pt x="259739" y="28618"/>
                  </a:lnTo>
                  <a:lnTo>
                    <a:pt x="254899" y="27499"/>
                  </a:lnTo>
                  <a:lnTo>
                    <a:pt x="251510" y="24534"/>
                  </a:lnTo>
                  <a:lnTo>
                    <a:pt x="252085" y="18847"/>
                  </a:lnTo>
                  <a:lnTo>
                    <a:pt x="251208" y="15852"/>
                  </a:lnTo>
                  <a:lnTo>
                    <a:pt x="252236" y="12615"/>
                  </a:lnTo>
                  <a:lnTo>
                    <a:pt x="254142" y="10013"/>
                  </a:lnTo>
                  <a:lnTo>
                    <a:pt x="258226" y="7896"/>
                  </a:lnTo>
                  <a:lnTo>
                    <a:pt x="259104" y="5687"/>
                  </a:lnTo>
                  <a:lnTo>
                    <a:pt x="258287" y="3721"/>
                  </a:lnTo>
                  <a:lnTo>
                    <a:pt x="255503" y="3449"/>
                  </a:lnTo>
                  <a:lnTo>
                    <a:pt x="256290" y="2662"/>
                  </a:lnTo>
                  <a:lnTo>
                    <a:pt x="262431" y="2360"/>
                  </a:lnTo>
                  <a:lnTo>
                    <a:pt x="257651" y="0"/>
                  </a:lnTo>
                  <a:lnTo>
                    <a:pt x="253416" y="4901"/>
                  </a:lnTo>
                  <a:lnTo>
                    <a:pt x="245793" y="24625"/>
                  </a:lnTo>
                  <a:lnTo>
                    <a:pt x="244825" y="28043"/>
                  </a:lnTo>
                  <a:lnTo>
                    <a:pt x="243675" y="45438"/>
                  </a:lnTo>
                  <a:lnTo>
                    <a:pt x="243736" y="49673"/>
                  </a:lnTo>
                  <a:lnTo>
                    <a:pt x="244401" y="51912"/>
                  </a:lnTo>
                  <a:close/>
                </a:path>
              </a:pathLst>
            </a:custGeom>
            <a:solidFill>
              <a:srgbClr val="96A3AC"/>
            </a:solidFill>
            <a:ln w="3175" cap="rnd">
              <a:solidFill>
                <a:schemeClr val="bg1"/>
              </a:solidFill>
              <a:prstDash val="solid"/>
              <a:round/>
            </a:ln>
          </p:spPr>
          <p:txBody>
            <a:bodyPr rtlCol="0" anchor="ctr"/>
            <a:lstStyle/>
            <a:p>
              <a:endParaRPr lang="en-ID"/>
            </a:p>
          </p:txBody>
        </p:sp>
        <p:sp>
          <p:nvSpPr>
            <p:cNvPr id="51" name="Freeform: Shape 50">
              <a:extLst>
                <a:ext uri="{FF2B5EF4-FFF2-40B4-BE49-F238E27FC236}">
                  <a16:creationId xmlns:a16="http://schemas.microsoft.com/office/drawing/2014/main" id="{97DE284D-1808-F157-8685-5D8CDEAAB941}"/>
                </a:ext>
              </a:extLst>
            </p:cNvPr>
            <p:cNvSpPr/>
            <p:nvPr/>
          </p:nvSpPr>
          <p:spPr>
            <a:xfrm>
              <a:off x="11284477" y="4726549"/>
              <a:ext cx="524763" cy="245581"/>
            </a:xfrm>
            <a:custGeom>
              <a:avLst/>
              <a:gdLst>
                <a:gd name="connsiteX0" fmla="*/ 674486 w 675120"/>
                <a:gd name="connsiteY0" fmla="*/ 286511 h 315945"/>
                <a:gd name="connsiteX1" fmla="*/ 671309 w 675120"/>
                <a:gd name="connsiteY1" fmla="*/ 282064 h 315945"/>
                <a:gd name="connsiteX2" fmla="*/ 669374 w 675120"/>
                <a:gd name="connsiteY2" fmla="*/ 280037 h 315945"/>
                <a:gd name="connsiteX3" fmla="*/ 668707 w 675120"/>
                <a:gd name="connsiteY3" fmla="*/ 278979 h 315945"/>
                <a:gd name="connsiteX4" fmla="*/ 668587 w 675120"/>
                <a:gd name="connsiteY4" fmla="*/ 278918 h 315945"/>
                <a:gd name="connsiteX5" fmla="*/ 667891 w 675120"/>
                <a:gd name="connsiteY5" fmla="*/ 278495 h 315945"/>
                <a:gd name="connsiteX6" fmla="*/ 666318 w 675120"/>
                <a:gd name="connsiteY6" fmla="*/ 279039 h 315945"/>
                <a:gd name="connsiteX7" fmla="*/ 664715 w 675120"/>
                <a:gd name="connsiteY7" fmla="*/ 275621 h 315945"/>
                <a:gd name="connsiteX8" fmla="*/ 659783 w 675120"/>
                <a:gd name="connsiteY8" fmla="*/ 272898 h 315945"/>
                <a:gd name="connsiteX9" fmla="*/ 650012 w 675120"/>
                <a:gd name="connsiteY9" fmla="*/ 269086 h 315945"/>
                <a:gd name="connsiteX10" fmla="*/ 645262 w 675120"/>
                <a:gd name="connsiteY10" fmla="*/ 265063 h 315945"/>
                <a:gd name="connsiteX11" fmla="*/ 643236 w 675120"/>
                <a:gd name="connsiteY11" fmla="*/ 264609 h 315945"/>
                <a:gd name="connsiteX12" fmla="*/ 642056 w 675120"/>
                <a:gd name="connsiteY12" fmla="*/ 264095 h 315945"/>
                <a:gd name="connsiteX13" fmla="*/ 636793 w 675120"/>
                <a:gd name="connsiteY13" fmla="*/ 260767 h 315945"/>
                <a:gd name="connsiteX14" fmla="*/ 635068 w 675120"/>
                <a:gd name="connsiteY14" fmla="*/ 258710 h 315945"/>
                <a:gd name="connsiteX15" fmla="*/ 634160 w 675120"/>
                <a:gd name="connsiteY15" fmla="*/ 256018 h 315945"/>
                <a:gd name="connsiteX16" fmla="*/ 633374 w 675120"/>
                <a:gd name="connsiteY16" fmla="*/ 251208 h 315945"/>
                <a:gd name="connsiteX17" fmla="*/ 633222 w 675120"/>
                <a:gd name="connsiteY17" fmla="*/ 250300 h 315945"/>
                <a:gd name="connsiteX18" fmla="*/ 630984 w 675120"/>
                <a:gd name="connsiteY18" fmla="*/ 246368 h 315945"/>
                <a:gd name="connsiteX19" fmla="*/ 630742 w 675120"/>
                <a:gd name="connsiteY19" fmla="*/ 245702 h 315945"/>
                <a:gd name="connsiteX20" fmla="*/ 629350 w 675120"/>
                <a:gd name="connsiteY20" fmla="*/ 245732 h 315945"/>
                <a:gd name="connsiteX21" fmla="*/ 628685 w 675120"/>
                <a:gd name="connsiteY21" fmla="*/ 246670 h 315945"/>
                <a:gd name="connsiteX22" fmla="*/ 628171 w 675120"/>
                <a:gd name="connsiteY22" fmla="*/ 247820 h 315945"/>
                <a:gd name="connsiteX23" fmla="*/ 627293 w 675120"/>
                <a:gd name="connsiteY23" fmla="*/ 248485 h 315945"/>
                <a:gd name="connsiteX24" fmla="*/ 624601 w 675120"/>
                <a:gd name="connsiteY24" fmla="*/ 246398 h 315945"/>
                <a:gd name="connsiteX25" fmla="*/ 623300 w 675120"/>
                <a:gd name="connsiteY25" fmla="*/ 240862 h 315945"/>
                <a:gd name="connsiteX26" fmla="*/ 623270 w 675120"/>
                <a:gd name="connsiteY26" fmla="*/ 234570 h 315945"/>
                <a:gd name="connsiteX27" fmla="*/ 624208 w 675120"/>
                <a:gd name="connsiteY27" fmla="*/ 230334 h 315945"/>
                <a:gd name="connsiteX28" fmla="*/ 626144 w 675120"/>
                <a:gd name="connsiteY28" fmla="*/ 228429 h 315945"/>
                <a:gd name="connsiteX29" fmla="*/ 628352 w 675120"/>
                <a:gd name="connsiteY29" fmla="*/ 228217 h 315945"/>
                <a:gd name="connsiteX30" fmla="*/ 633072 w 675120"/>
                <a:gd name="connsiteY30" fmla="*/ 229215 h 315945"/>
                <a:gd name="connsiteX31" fmla="*/ 635159 w 675120"/>
                <a:gd name="connsiteY31" fmla="*/ 229033 h 315945"/>
                <a:gd name="connsiteX32" fmla="*/ 636762 w 675120"/>
                <a:gd name="connsiteY32" fmla="*/ 228307 h 315945"/>
                <a:gd name="connsiteX33" fmla="*/ 638245 w 675120"/>
                <a:gd name="connsiteY33" fmla="*/ 227097 h 315945"/>
                <a:gd name="connsiteX34" fmla="*/ 642570 w 675120"/>
                <a:gd name="connsiteY34" fmla="*/ 222227 h 315945"/>
                <a:gd name="connsiteX35" fmla="*/ 644718 w 675120"/>
                <a:gd name="connsiteY35" fmla="*/ 219020 h 315945"/>
                <a:gd name="connsiteX36" fmla="*/ 648560 w 675120"/>
                <a:gd name="connsiteY36" fmla="*/ 211730 h 315945"/>
                <a:gd name="connsiteX37" fmla="*/ 646110 w 675120"/>
                <a:gd name="connsiteY37" fmla="*/ 208674 h 315945"/>
                <a:gd name="connsiteX38" fmla="*/ 643630 w 675120"/>
                <a:gd name="connsiteY38" fmla="*/ 207434 h 315945"/>
                <a:gd name="connsiteX39" fmla="*/ 637669 w 675120"/>
                <a:gd name="connsiteY39" fmla="*/ 206950 h 315945"/>
                <a:gd name="connsiteX40" fmla="*/ 634796 w 675120"/>
                <a:gd name="connsiteY40" fmla="*/ 205770 h 315945"/>
                <a:gd name="connsiteX41" fmla="*/ 630409 w 675120"/>
                <a:gd name="connsiteY41" fmla="*/ 200930 h 315945"/>
                <a:gd name="connsiteX42" fmla="*/ 627778 w 675120"/>
                <a:gd name="connsiteY42" fmla="*/ 198964 h 315945"/>
                <a:gd name="connsiteX43" fmla="*/ 626779 w 675120"/>
                <a:gd name="connsiteY43" fmla="*/ 198721 h 315945"/>
                <a:gd name="connsiteX44" fmla="*/ 625932 w 675120"/>
                <a:gd name="connsiteY44" fmla="*/ 198631 h 315945"/>
                <a:gd name="connsiteX45" fmla="*/ 625085 w 675120"/>
                <a:gd name="connsiteY45" fmla="*/ 198721 h 315945"/>
                <a:gd name="connsiteX46" fmla="*/ 624238 w 675120"/>
                <a:gd name="connsiteY46" fmla="*/ 198903 h 315945"/>
                <a:gd name="connsiteX47" fmla="*/ 624208 w 675120"/>
                <a:gd name="connsiteY47" fmla="*/ 198933 h 315945"/>
                <a:gd name="connsiteX48" fmla="*/ 624177 w 675120"/>
                <a:gd name="connsiteY48" fmla="*/ 198933 h 315945"/>
                <a:gd name="connsiteX49" fmla="*/ 618278 w 675120"/>
                <a:gd name="connsiteY49" fmla="*/ 200053 h 315945"/>
                <a:gd name="connsiteX50" fmla="*/ 615193 w 675120"/>
                <a:gd name="connsiteY50" fmla="*/ 199992 h 315945"/>
                <a:gd name="connsiteX51" fmla="*/ 612742 w 675120"/>
                <a:gd name="connsiteY51" fmla="*/ 198964 h 315945"/>
                <a:gd name="connsiteX52" fmla="*/ 612077 w 675120"/>
                <a:gd name="connsiteY52" fmla="*/ 196241 h 315945"/>
                <a:gd name="connsiteX53" fmla="*/ 611079 w 675120"/>
                <a:gd name="connsiteY53" fmla="*/ 195606 h 315945"/>
                <a:gd name="connsiteX54" fmla="*/ 609687 w 675120"/>
                <a:gd name="connsiteY54" fmla="*/ 195939 h 315945"/>
                <a:gd name="connsiteX55" fmla="*/ 607902 w 675120"/>
                <a:gd name="connsiteY55" fmla="*/ 196059 h 315945"/>
                <a:gd name="connsiteX56" fmla="*/ 607025 w 675120"/>
                <a:gd name="connsiteY56" fmla="*/ 195666 h 315945"/>
                <a:gd name="connsiteX57" fmla="*/ 605361 w 675120"/>
                <a:gd name="connsiteY57" fmla="*/ 194305 h 315945"/>
                <a:gd name="connsiteX58" fmla="*/ 604726 w 675120"/>
                <a:gd name="connsiteY58" fmla="*/ 194002 h 315945"/>
                <a:gd name="connsiteX59" fmla="*/ 603848 w 675120"/>
                <a:gd name="connsiteY59" fmla="*/ 194184 h 315945"/>
                <a:gd name="connsiteX60" fmla="*/ 602518 w 675120"/>
                <a:gd name="connsiteY60" fmla="*/ 195152 h 315945"/>
                <a:gd name="connsiteX61" fmla="*/ 601792 w 675120"/>
                <a:gd name="connsiteY61" fmla="*/ 195394 h 315945"/>
                <a:gd name="connsiteX62" fmla="*/ 599916 w 675120"/>
                <a:gd name="connsiteY62" fmla="*/ 195303 h 315945"/>
                <a:gd name="connsiteX63" fmla="*/ 598585 w 675120"/>
                <a:gd name="connsiteY63" fmla="*/ 194607 h 315945"/>
                <a:gd name="connsiteX64" fmla="*/ 597496 w 675120"/>
                <a:gd name="connsiteY64" fmla="*/ 193216 h 315945"/>
                <a:gd name="connsiteX65" fmla="*/ 594652 w 675120"/>
                <a:gd name="connsiteY65" fmla="*/ 186712 h 315945"/>
                <a:gd name="connsiteX66" fmla="*/ 593260 w 675120"/>
                <a:gd name="connsiteY66" fmla="*/ 185471 h 315945"/>
                <a:gd name="connsiteX67" fmla="*/ 586242 w 675120"/>
                <a:gd name="connsiteY67" fmla="*/ 183777 h 315945"/>
                <a:gd name="connsiteX68" fmla="*/ 575170 w 675120"/>
                <a:gd name="connsiteY68" fmla="*/ 176668 h 315945"/>
                <a:gd name="connsiteX69" fmla="*/ 571146 w 675120"/>
                <a:gd name="connsiteY69" fmla="*/ 174944 h 315945"/>
                <a:gd name="connsiteX70" fmla="*/ 568121 w 675120"/>
                <a:gd name="connsiteY70" fmla="*/ 173129 h 315945"/>
                <a:gd name="connsiteX71" fmla="*/ 567093 w 675120"/>
                <a:gd name="connsiteY71" fmla="*/ 170225 h 315945"/>
                <a:gd name="connsiteX72" fmla="*/ 578679 w 675120"/>
                <a:gd name="connsiteY72" fmla="*/ 142363 h 315945"/>
                <a:gd name="connsiteX73" fmla="*/ 578982 w 675120"/>
                <a:gd name="connsiteY73" fmla="*/ 139489 h 315945"/>
                <a:gd name="connsiteX74" fmla="*/ 578982 w 675120"/>
                <a:gd name="connsiteY74" fmla="*/ 139398 h 315945"/>
                <a:gd name="connsiteX75" fmla="*/ 574867 w 675120"/>
                <a:gd name="connsiteY75" fmla="*/ 134861 h 315945"/>
                <a:gd name="connsiteX76" fmla="*/ 567033 w 675120"/>
                <a:gd name="connsiteY76" fmla="*/ 132017 h 315945"/>
                <a:gd name="connsiteX77" fmla="*/ 558592 w 675120"/>
                <a:gd name="connsiteY77" fmla="*/ 130625 h 315945"/>
                <a:gd name="connsiteX78" fmla="*/ 552784 w 675120"/>
                <a:gd name="connsiteY78" fmla="*/ 130505 h 315945"/>
                <a:gd name="connsiteX79" fmla="*/ 544676 w 675120"/>
                <a:gd name="connsiteY79" fmla="*/ 132774 h 315945"/>
                <a:gd name="connsiteX80" fmla="*/ 540381 w 675120"/>
                <a:gd name="connsiteY80" fmla="*/ 133318 h 315945"/>
                <a:gd name="connsiteX81" fmla="*/ 537053 w 675120"/>
                <a:gd name="connsiteY81" fmla="*/ 132048 h 315945"/>
                <a:gd name="connsiteX82" fmla="*/ 536025 w 675120"/>
                <a:gd name="connsiteY82" fmla="*/ 130595 h 315945"/>
                <a:gd name="connsiteX83" fmla="*/ 534905 w 675120"/>
                <a:gd name="connsiteY83" fmla="*/ 128326 h 315945"/>
                <a:gd name="connsiteX84" fmla="*/ 534119 w 675120"/>
                <a:gd name="connsiteY84" fmla="*/ 126693 h 315945"/>
                <a:gd name="connsiteX85" fmla="*/ 533030 w 675120"/>
                <a:gd name="connsiteY85" fmla="*/ 124999 h 315945"/>
                <a:gd name="connsiteX86" fmla="*/ 523108 w 675120"/>
                <a:gd name="connsiteY86" fmla="*/ 113897 h 315945"/>
                <a:gd name="connsiteX87" fmla="*/ 520204 w 675120"/>
                <a:gd name="connsiteY87" fmla="*/ 111598 h 315945"/>
                <a:gd name="connsiteX88" fmla="*/ 516936 w 675120"/>
                <a:gd name="connsiteY88" fmla="*/ 110448 h 315945"/>
                <a:gd name="connsiteX89" fmla="*/ 515031 w 675120"/>
                <a:gd name="connsiteY89" fmla="*/ 110690 h 315945"/>
                <a:gd name="connsiteX90" fmla="*/ 512217 w 675120"/>
                <a:gd name="connsiteY90" fmla="*/ 111809 h 315945"/>
                <a:gd name="connsiteX91" fmla="*/ 511310 w 675120"/>
                <a:gd name="connsiteY91" fmla="*/ 112172 h 315945"/>
                <a:gd name="connsiteX92" fmla="*/ 509404 w 675120"/>
                <a:gd name="connsiteY92" fmla="*/ 112505 h 315945"/>
                <a:gd name="connsiteX93" fmla="*/ 507558 w 675120"/>
                <a:gd name="connsiteY93" fmla="*/ 112142 h 315945"/>
                <a:gd name="connsiteX94" fmla="*/ 505774 w 675120"/>
                <a:gd name="connsiteY94" fmla="*/ 111325 h 315945"/>
                <a:gd name="connsiteX95" fmla="*/ 494822 w 675120"/>
                <a:gd name="connsiteY95" fmla="*/ 104065 h 315945"/>
                <a:gd name="connsiteX96" fmla="*/ 490406 w 675120"/>
                <a:gd name="connsiteY96" fmla="*/ 103278 h 315945"/>
                <a:gd name="connsiteX97" fmla="*/ 487835 w 675120"/>
                <a:gd name="connsiteY97" fmla="*/ 106455 h 315945"/>
                <a:gd name="connsiteX98" fmla="*/ 487199 w 675120"/>
                <a:gd name="connsiteY98" fmla="*/ 108482 h 315945"/>
                <a:gd name="connsiteX99" fmla="*/ 484295 w 675120"/>
                <a:gd name="connsiteY99" fmla="*/ 114290 h 315945"/>
                <a:gd name="connsiteX100" fmla="*/ 482661 w 675120"/>
                <a:gd name="connsiteY100" fmla="*/ 121217 h 315945"/>
                <a:gd name="connsiteX101" fmla="*/ 481784 w 675120"/>
                <a:gd name="connsiteY101" fmla="*/ 122064 h 315945"/>
                <a:gd name="connsiteX102" fmla="*/ 480513 w 675120"/>
                <a:gd name="connsiteY102" fmla="*/ 120885 h 315945"/>
                <a:gd name="connsiteX103" fmla="*/ 478063 w 675120"/>
                <a:gd name="connsiteY103" fmla="*/ 113564 h 315945"/>
                <a:gd name="connsiteX104" fmla="*/ 476853 w 675120"/>
                <a:gd name="connsiteY104" fmla="*/ 111870 h 315945"/>
                <a:gd name="connsiteX105" fmla="*/ 473888 w 675120"/>
                <a:gd name="connsiteY105" fmla="*/ 108966 h 315945"/>
                <a:gd name="connsiteX106" fmla="*/ 472315 w 675120"/>
                <a:gd name="connsiteY106" fmla="*/ 107786 h 315945"/>
                <a:gd name="connsiteX107" fmla="*/ 468594 w 675120"/>
                <a:gd name="connsiteY107" fmla="*/ 105819 h 315945"/>
                <a:gd name="connsiteX108" fmla="*/ 468201 w 675120"/>
                <a:gd name="connsiteY108" fmla="*/ 105698 h 315945"/>
                <a:gd name="connsiteX109" fmla="*/ 464420 w 675120"/>
                <a:gd name="connsiteY109" fmla="*/ 104579 h 315945"/>
                <a:gd name="connsiteX110" fmla="*/ 460124 w 675120"/>
                <a:gd name="connsiteY110" fmla="*/ 104065 h 315945"/>
                <a:gd name="connsiteX111" fmla="*/ 455072 w 675120"/>
                <a:gd name="connsiteY111" fmla="*/ 104428 h 315945"/>
                <a:gd name="connsiteX112" fmla="*/ 452168 w 675120"/>
                <a:gd name="connsiteY112" fmla="*/ 105184 h 315945"/>
                <a:gd name="connsiteX113" fmla="*/ 444333 w 675120"/>
                <a:gd name="connsiteY113" fmla="*/ 109056 h 315945"/>
                <a:gd name="connsiteX114" fmla="*/ 440248 w 675120"/>
                <a:gd name="connsiteY114" fmla="*/ 110266 h 315945"/>
                <a:gd name="connsiteX115" fmla="*/ 431294 w 675120"/>
                <a:gd name="connsiteY115" fmla="*/ 110448 h 315945"/>
                <a:gd name="connsiteX116" fmla="*/ 428965 w 675120"/>
                <a:gd name="connsiteY116" fmla="*/ 113019 h 315945"/>
                <a:gd name="connsiteX117" fmla="*/ 427090 w 675120"/>
                <a:gd name="connsiteY117" fmla="*/ 116559 h 315945"/>
                <a:gd name="connsiteX118" fmla="*/ 425214 w 675120"/>
                <a:gd name="connsiteY118" fmla="*/ 118313 h 315945"/>
                <a:gd name="connsiteX119" fmla="*/ 423792 w 675120"/>
                <a:gd name="connsiteY119" fmla="*/ 119644 h 315945"/>
                <a:gd name="connsiteX120" fmla="*/ 422643 w 675120"/>
                <a:gd name="connsiteY120" fmla="*/ 119977 h 315945"/>
                <a:gd name="connsiteX121" fmla="*/ 419103 w 675120"/>
                <a:gd name="connsiteY121" fmla="*/ 120945 h 315945"/>
                <a:gd name="connsiteX122" fmla="*/ 409483 w 675120"/>
                <a:gd name="connsiteY122" fmla="*/ 121369 h 315945"/>
                <a:gd name="connsiteX123" fmla="*/ 405097 w 675120"/>
                <a:gd name="connsiteY123" fmla="*/ 123275 h 315945"/>
                <a:gd name="connsiteX124" fmla="*/ 403736 w 675120"/>
                <a:gd name="connsiteY124" fmla="*/ 124636 h 315945"/>
                <a:gd name="connsiteX125" fmla="*/ 401255 w 675120"/>
                <a:gd name="connsiteY125" fmla="*/ 127812 h 315945"/>
                <a:gd name="connsiteX126" fmla="*/ 399742 w 675120"/>
                <a:gd name="connsiteY126" fmla="*/ 128992 h 315945"/>
                <a:gd name="connsiteX127" fmla="*/ 397867 w 675120"/>
                <a:gd name="connsiteY127" fmla="*/ 129264 h 315945"/>
                <a:gd name="connsiteX128" fmla="*/ 395961 w 675120"/>
                <a:gd name="connsiteY128" fmla="*/ 128417 h 315945"/>
                <a:gd name="connsiteX129" fmla="*/ 394690 w 675120"/>
                <a:gd name="connsiteY129" fmla="*/ 127510 h 315945"/>
                <a:gd name="connsiteX130" fmla="*/ 392391 w 675120"/>
                <a:gd name="connsiteY130" fmla="*/ 125876 h 315945"/>
                <a:gd name="connsiteX131" fmla="*/ 388337 w 675120"/>
                <a:gd name="connsiteY131" fmla="*/ 124908 h 315945"/>
                <a:gd name="connsiteX132" fmla="*/ 383437 w 675120"/>
                <a:gd name="connsiteY132" fmla="*/ 124545 h 315945"/>
                <a:gd name="connsiteX133" fmla="*/ 378899 w 675120"/>
                <a:gd name="connsiteY133" fmla="*/ 123456 h 315945"/>
                <a:gd name="connsiteX134" fmla="*/ 376025 w 675120"/>
                <a:gd name="connsiteY134" fmla="*/ 120189 h 315945"/>
                <a:gd name="connsiteX135" fmla="*/ 376328 w 675120"/>
                <a:gd name="connsiteY135" fmla="*/ 116468 h 315945"/>
                <a:gd name="connsiteX136" fmla="*/ 379171 w 675120"/>
                <a:gd name="connsiteY136" fmla="*/ 113927 h 315945"/>
                <a:gd name="connsiteX137" fmla="*/ 382681 w 675120"/>
                <a:gd name="connsiteY137" fmla="*/ 111628 h 315945"/>
                <a:gd name="connsiteX138" fmla="*/ 385010 w 675120"/>
                <a:gd name="connsiteY138" fmla="*/ 108572 h 315945"/>
                <a:gd name="connsiteX139" fmla="*/ 383860 w 675120"/>
                <a:gd name="connsiteY139" fmla="*/ 104912 h 315945"/>
                <a:gd name="connsiteX140" fmla="*/ 382045 w 675120"/>
                <a:gd name="connsiteY140" fmla="*/ 104065 h 315945"/>
                <a:gd name="connsiteX141" fmla="*/ 379383 w 675120"/>
                <a:gd name="connsiteY141" fmla="*/ 102825 h 315945"/>
                <a:gd name="connsiteX142" fmla="*/ 370005 w 675120"/>
                <a:gd name="connsiteY142" fmla="*/ 100707 h 315945"/>
                <a:gd name="connsiteX143" fmla="*/ 368160 w 675120"/>
                <a:gd name="connsiteY143" fmla="*/ 99618 h 315945"/>
                <a:gd name="connsiteX144" fmla="*/ 363985 w 675120"/>
                <a:gd name="connsiteY144" fmla="*/ 95050 h 315945"/>
                <a:gd name="connsiteX145" fmla="*/ 362291 w 675120"/>
                <a:gd name="connsiteY145" fmla="*/ 93689 h 315945"/>
                <a:gd name="connsiteX146" fmla="*/ 355364 w 675120"/>
                <a:gd name="connsiteY146" fmla="*/ 90573 h 315945"/>
                <a:gd name="connsiteX147" fmla="*/ 351582 w 675120"/>
                <a:gd name="connsiteY147" fmla="*/ 89696 h 315945"/>
                <a:gd name="connsiteX148" fmla="*/ 342174 w 675120"/>
                <a:gd name="connsiteY148" fmla="*/ 87245 h 315945"/>
                <a:gd name="connsiteX149" fmla="*/ 322873 w 675120"/>
                <a:gd name="connsiteY149" fmla="*/ 82223 h 315945"/>
                <a:gd name="connsiteX150" fmla="*/ 320937 w 675120"/>
                <a:gd name="connsiteY150" fmla="*/ 81255 h 315945"/>
                <a:gd name="connsiteX151" fmla="*/ 318971 w 675120"/>
                <a:gd name="connsiteY151" fmla="*/ 80257 h 315945"/>
                <a:gd name="connsiteX152" fmla="*/ 308171 w 675120"/>
                <a:gd name="connsiteY152" fmla="*/ 70849 h 315945"/>
                <a:gd name="connsiteX153" fmla="*/ 303180 w 675120"/>
                <a:gd name="connsiteY153" fmla="*/ 67642 h 315945"/>
                <a:gd name="connsiteX154" fmla="*/ 302272 w 675120"/>
                <a:gd name="connsiteY154" fmla="*/ 66341 h 315945"/>
                <a:gd name="connsiteX155" fmla="*/ 302575 w 675120"/>
                <a:gd name="connsiteY155" fmla="*/ 64284 h 315945"/>
                <a:gd name="connsiteX156" fmla="*/ 303331 w 675120"/>
                <a:gd name="connsiteY156" fmla="*/ 62197 h 315945"/>
                <a:gd name="connsiteX157" fmla="*/ 303331 w 675120"/>
                <a:gd name="connsiteY157" fmla="*/ 60533 h 315945"/>
                <a:gd name="connsiteX158" fmla="*/ 294740 w 675120"/>
                <a:gd name="connsiteY158" fmla="*/ 57569 h 315945"/>
                <a:gd name="connsiteX159" fmla="*/ 291805 w 675120"/>
                <a:gd name="connsiteY159" fmla="*/ 55814 h 315945"/>
                <a:gd name="connsiteX160" fmla="*/ 288991 w 675120"/>
                <a:gd name="connsiteY160" fmla="*/ 53333 h 315945"/>
                <a:gd name="connsiteX161" fmla="*/ 286178 w 675120"/>
                <a:gd name="connsiteY161" fmla="*/ 51639 h 315945"/>
                <a:gd name="connsiteX162" fmla="*/ 282306 w 675120"/>
                <a:gd name="connsiteY162" fmla="*/ 50732 h 315945"/>
                <a:gd name="connsiteX163" fmla="*/ 278313 w 675120"/>
                <a:gd name="connsiteY163" fmla="*/ 50611 h 315945"/>
                <a:gd name="connsiteX164" fmla="*/ 273624 w 675120"/>
                <a:gd name="connsiteY164" fmla="*/ 51972 h 315945"/>
                <a:gd name="connsiteX165" fmla="*/ 270478 w 675120"/>
                <a:gd name="connsiteY165" fmla="*/ 52032 h 315945"/>
                <a:gd name="connsiteX166" fmla="*/ 268723 w 675120"/>
                <a:gd name="connsiteY166" fmla="*/ 52789 h 315945"/>
                <a:gd name="connsiteX167" fmla="*/ 266001 w 675120"/>
                <a:gd name="connsiteY167" fmla="*/ 55148 h 315945"/>
                <a:gd name="connsiteX168" fmla="*/ 264579 w 675120"/>
                <a:gd name="connsiteY168" fmla="*/ 55663 h 315945"/>
                <a:gd name="connsiteX169" fmla="*/ 262642 w 675120"/>
                <a:gd name="connsiteY169" fmla="*/ 55300 h 315945"/>
                <a:gd name="connsiteX170" fmla="*/ 256501 w 675120"/>
                <a:gd name="connsiteY170" fmla="*/ 52123 h 315945"/>
                <a:gd name="connsiteX171" fmla="*/ 253597 w 675120"/>
                <a:gd name="connsiteY171" fmla="*/ 50036 h 315945"/>
                <a:gd name="connsiteX172" fmla="*/ 250966 w 675120"/>
                <a:gd name="connsiteY172" fmla="*/ 47585 h 315945"/>
                <a:gd name="connsiteX173" fmla="*/ 245248 w 675120"/>
                <a:gd name="connsiteY173" fmla="*/ 44046 h 315945"/>
                <a:gd name="connsiteX174" fmla="*/ 239167 w 675120"/>
                <a:gd name="connsiteY174" fmla="*/ 43259 h 315945"/>
                <a:gd name="connsiteX175" fmla="*/ 238350 w 675120"/>
                <a:gd name="connsiteY175" fmla="*/ 43139 h 315945"/>
                <a:gd name="connsiteX176" fmla="*/ 221350 w 675120"/>
                <a:gd name="connsiteY176" fmla="*/ 44469 h 315945"/>
                <a:gd name="connsiteX177" fmla="*/ 218748 w 675120"/>
                <a:gd name="connsiteY177" fmla="*/ 45195 h 315945"/>
                <a:gd name="connsiteX178" fmla="*/ 218203 w 675120"/>
                <a:gd name="connsiteY178" fmla="*/ 45498 h 315945"/>
                <a:gd name="connsiteX179" fmla="*/ 210278 w 675120"/>
                <a:gd name="connsiteY179" fmla="*/ 49552 h 315945"/>
                <a:gd name="connsiteX180" fmla="*/ 207041 w 675120"/>
                <a:gd name="connsiteY180" fmla="*/ 50157 h 315945"/>
                <a:gd name="connsiteX181" fmla="*/ 203834 w 675120"/>
                <a:gd name="connsiteY181" fmla="*/ 50006 h 315945"/>
                <a:gd name="connsiteX182" fmla="*/ 200627 w 675120"/>
                <a:gd name="connsiteY182" fmla="*/ 49128 h 315945"/>
                <a:gd name="connsiteX183" fmla="*/ 197481 w 675120"/>
                <a:gd name="connsiteY183" fmla="*/ 47707 h 315945"/>
                <a:gd name="connsiteX184" fmla="*/ 194577 w 675120"/>
                <a:gd name="connsiteY184" fmla="*/ 46950 h 315945"/>
                <a:gd name="connsiteX185" fmla="*/ 191612 w 675120"/>
                <a:gd name="connsiteY185" fmla="*/ 46829 h 315945"/>
                <a:gd name="connsiteX186" fmla="*/ 184594 w 675120"/>
                <a:gd name="connsiteY186" fmla="*/ 47555 h 315945"/>
                <a:gd name="connsiteX187" fmla="*/ 181418 w 675120"/>
                <a:gd name="connsiteY187" fmla="*/ 47253 h 315945"/>
                <a:gd name="connsiteX188" fmla="*/ 174883 w 675120"/>
                <a:gd name="connsiteY188" fmla="*/ 45528 h 315945"/>
                <a:gd name="connsiteX189" fmla="*/ 171223 w 675120"/>
                <a:gd name="connsiteY189" fmla="*/ 45135 h 315945"/>
                <a:gd name="connsiteX190" fmla="*/ 163841 w 675120"/>
                <a:gd name="connsiteY190" fmla="*/ 46043 h 315945"/>
                <a:gd name="connsiteX191" fmla="*/ 160181 w 675120"/>
                <a:gd name="connsiteY191" fmla="*/ 45770 h 315945"/>
                <a:gd name="connsiteX192" fmla="*/ 157458 w 675120"/>
                <a:gd name="connsiteY192" fmla="*/ 44379 h 315945"/>
                <a:gd name="connsiteX193" fmla="*/ 152981 w 675120"/>
                <a:gd name="connsiteY193" fmla="*/ 40144 h 315945"/>
                <a:gd name="connsiteX194" fmla="*/ 150349 w 675120"/>
                <a:gd name="connsiteY194" fmla="*/ 38692 h 315945"/>
                <a:gd name="connsiteX195" fmla="*/ 145086 w 675120"/>
                <a:gd name="connsiteY195" fmla="*/ 37179 h 315945"/>
                <a:gd name="connsiteX196" fmla="*/ 143634 w 675120"/>
                <a:gd name="connsiteY196" fmla="*/ 36150 h 315945"/>
                <a:gd name="connsiteX197" fmla="*/ 142696 w 675120"/>
                <a:gd name="connsiteY197" fmla="*/ 34850 h 315945"/>
                <a:gd name="connsiteX198" fmla="*/ 141274 w 675120"/>
                <a:gd name="connsiteY198" fmla="*/ 31885 h 315945"/>
                <a:gd name="connsiteX199" fmla="*/ 140366 w 675120"/>
                <a:gd name="connsiteY199" fmla="*/ 30645 h 315945"/>
                <a:gd name="connsiteX200" fmla="*/ 137311 w 675120"/>
                <a:gd name="connsiteY200" fmla="*/ 29525 h 315945"/>
                <a:gd name="connsiteX201" fmla="*/ 130111 w 675120"/>
                <a:gd name="connsiteY201" fmla="*/ 30826 h 315945"/>
                <a:gd name="connsiteX202" fmla="*/ 126602 w 675120"/>
                <a:gd name="connsiteY202" fmla="*/ 29435 h 315945"/>
                <a:gd name="connsiteX203" fmla="*/ 123486 w 675120"/>
                <a:gd name="connsiteY203" fmla="*/ 27075 h 315945"/>
                <a:gd name="connsiteX204" fmla="*/ 120219 w 675120"/>
                <a:gd name="connsiteY204" fmla="*/ 25562 h 315945"/>
                <a:gd name="connsiteX205" fmla="*/ 116800 w 675120"/>
                <a:gd name="connsiteY205" fmla="*/ 24897 h 315945"/>
                <a:gd name="connsiteX206" fmla="*/ 106333 w 675120"/>
                <a:gd name="connsiteY206" fmla="*/ 26168 h 315945"/>
                <a:gd name="connsiteX207" fmla="*/ 103248 w 675120"/>
                <a:gd name="connsiteY207" fmla="*/ 25471 h 315945"/>
                <a:gd name="connsiteX208" fmla="*/ 89453 w 675120"/>
                <a:gd name="connsiteY208" fmla="*/ 15277 h 315945"/>
                <a:gd name="connsiteX209" fmla="*/ 86217 w 675120"/>
                <a:gd name="connsiteY209" fmla="*/ 13522 h 315945"/>
                <a:gd name="connsiteX210" fmla="*/ 75900 w 675120"/>
                <a:gd name="connsiteY210" fmla="*/ 10225 h 315945"/>
                <a:gd name="connsiteX211" fmla="*/ 70849 w 675120"/>
                <a:gd name="connsiteY211" fmla="*/ 6685 h 315945"/>
                <a:gd name="connsiteX212" fmla="*/ 69971 w 675120"/>
                <a:gd name="connsiteY212" fmla="*/ 6050 h 315945"/>
                <a:gd name="connsiteX213" fmla="*/ 67007 w 675120"/>
                <a:gd name="connsiteY213" fmla="*/ 4659 h 315945"/>
                <a:gd name="connsiteX214" fmla="*/ 63346 w 675120"/>
                <a:gd name="connsiteY214" fmla="*/ 5082 h 315945"/>
                <a:gd name="connsiteX215" fmla="*/ 56842 w 675120"/>
                <a:gd name="connsiteY215" fmla="*/ 8198 h 315945"/>
                <a:gd name="connsiteX216" fmla="*/ 53727 w 675120"/>
                <a:gd name="connsiteY216" fmla="*/ 8985 h 315945"/>
                <a:gd name="connsiteX217" fmla="*/ 49703 w 675120"/>
                <a:gd name="connsiteY217" fmla="*/ 8531 h 315945"/>
                <a:gd name="connsiteX218" fmla="*/ 24897 w 675120"/>
                <a:gd name="connsiteY218" fmla="*/ 0 h 315945"/>
                <a:gd name="connsiteX219" fmla="*/ 17969 w 675120"/>
                <a:gd name="connsiteY219" fmla="*/ 0 h 315945"/>
                <a:gd name="connsiteX220" fmla="*/ 11132 w 675120"/>
                <a:gd name="connsiteY220" fmla="*/ 1664 h 315945"/>
                <a:gd name="connsiteX221" fmla="*/ 8742 w 675120"/>
                <a:gd name="connsiteY221" fmla="*/ 3116 h 315945"/>
                <a:gd name="connsiteX222" fmla="*/ 7381 w 675120"/>
                <a:gd name="connsiteY222" fmla="*/ 5143 h 315945"/>
                <a:gd name="connsiteX223" fmla="*/ 544 w 675120"/>
                <a:gd name="connsiteY223" fmla="*/ 21539 h 315945"/>
                <a:gd name="connsiteX224" fmla="*/ 0 w 675120"/>
                <a:gd name="connsiteY224" fmla="*/ 23747 h 315945"/>
                <a:gd name="connsiteX225" fmla="*/ 0 w 675120"/>
                <a:gd name="connsiteY225" fmla="*/ 23747 h 315945"/>
                <a:gd name="connsiteX226" fmla="*/ 2420 w 675120"/>
                <a:gd name="connsiteY226" fmla="*/ 24231 h 315945"/>
                <a:gd name="connsiteX227" fmla="*/ 5536 w 675120"/>
                <a:gd name="connsiteY227" fmla="*/ 25442 h 315945"/>
                <a:gd name="connsiteX228" fmla="*/ 10164 w 675120"/>
                <a:gd name="connsiteY228" fmla="*/ 26107 h 315945"/>
                <a:gd name="connsiteX229" fmla="*/ 11616 w 675120"/>
                <a:gd name="connsiteY229" fmla="*/ 26772 h 315945"/>
                <a:gd name="connsiteX230" fmla="*/ 14853 w 675120"/>
                <a:gd name="connsiteY230" fmla="*/ 29767 h 315945"/>
                <a:gd name="connsiteX231" fmla="*/ 20359 w 675120"/>
                <a:gd name="connsiteY231" fmla="*/ 31280 h 315945"/>
                <a:gd name="connsiteX232" fmla="*/ 23475 w 675120"/>
                <a:gd name="connsiteY232" fmla="*/ 32641 h 315945"/>
                <a:gd name="connsiteX233" fmla="*/ 25078 w 675120"/>
                <a:gd name="connsiteY233" fmla="*/ 34487 h 315945"/>
                <a:gd name="connsiteX234" fmla="*/ 27287 w 675120"/>
                <a:gd name="connsiteY234" fmla="*/ 37905 h 315945"/>
                <a:gd name="connsiteX235" fmla="*/ 28890 w 675120"/>
                <a:gd name="connsiteY235" fmla="*/ 41626 h 315945"/>
                <a:gd name="connsiteX236" fmla="*/ 28436 w 675120"/>
                <a:gd name="connsiteY236" fmla="*/ 45649 h 315945"/>
                <a:gd name="connsiteX237" fmla="*/ 29435 w 675120"/>
                <a:gd name="connsiteY237" fmla="*/ 47011 h 315945"/>
                <a:gd name="connsiteX238" fmla="*/ 31703 w 675120"/>
                <a:gd name="connsiteY238" fmla="*/ 49128 h 315945"/>
                <a:gd name="connsiteX239" fmla="*/ 32641 w 675120"/>
                <a:gd name="connsiteY239" fmla="*/ 50792 h 315945"/>
                <a:gd name="connsiteX240" fmla="*/ 34123 w 675120"/>
                <a:gd name="connsiteY240" fmla="*/ 54180 h 315945"/>
                <a:gd name="connsiteX241" fmla="*/ 35152 w 675120"/>
                <a:gd name="connsiteY241" fmla="*/ 55209 h 315945"/>
                <a:gd name="connsiteX242" fmla="*/ 37754 w 675120"/>
                <a:gd name="connsiteY242" fmla="*/ 52063 h 315945"/>
                <a:gd name="connsiteX243" fmla="*/ 41475 w 675120"/>
                <a:gd name="connsiteY243" fmla="*/ 52486 h 315945"/>
                <a:gd name="connsiteX244" fmla="*/ 49582 w 675120"/>
                <a:gd name="connsiteY244" fmla="*/ 56056 h 315945"/>
                <a:gd name="connsiteX245" fmla="*/ 52758 w 675120"/>
                <a:gd name="connsiteY245" fmla="*/ 56570 h 315945"/>
                <a:gd name="connsiteX246" fmla="*/ 53786 w 675120"/>
                <a:gd name="connsiteY246" fmla="*/ 56903 h 315945"/>
                <a:gd name="connsiteX247" fmla="*/ 54664 w 675120"/>
                <a:gd name="connsiteY247" fmla="*/ 57538 h 315945"/>
                <a:gd name="connsiteX248" fmla="*/ 56358 w 675120"/>
                <a:gd name="connsiteY248" fmla="*/ 59232 h 315945"/>
                <a:gd name="connsiteX249" fmla="*/ 56842 w 675120"/>
                <a:gd name="connsiteY249" fmla="*/ 59565 h 315945"/>
                <a:gd name="connsiteX250" fmla="*/ 57840 w 675120"/>
                <a:gd name="connsiteY250" fmla="*/ 59988 h 315945"/>
                <a:gd name="connsiteX251" fmla="*/ 59777 w 675120"/>
                <a:gd name="connsiteY251" fmla="*/ 61773 h 315945"/>
                <a:gd name="connsiteX252" fmla="*/ 60987 w 675120"/>
                <a:gd name="connsiteY252" fmla="*/ 62166 h 315945"/>
                <a:gd name="connsiteX253" fmla="*/ 62196 w 675120"/>
                <a:gd name="connsiteY253" fmla="*/ 62046 h 315945"/>
                <a:gd name="connsiteX254" fmla="*/ 65433 w 675120"/>
                <a:gd name="connsiteY254" fmla="*/ 61289 h 315945"/>
                <a:gd name="connsiteX255" fmla="*/ 70153 w 675120"/>
                <a:gd name="connsiteY255" fmla="*/ 61077 h 315945"/>
                <a:gd name="connsiteX256" fmla="*/ 80227 w 675120"/>
                <a:gd name="connsiteY256" fmla="*/ 62348 h 315945"/>
                <a:gd name="connsiteX257" fmla="*/ 87547 w 675120"/>
                <a:gd name="connsiteY257" fmla="*/ 65010 h 315945"/>
                <a:gd name="connsiteX258" fmla="*/ 88243 w 675120"/>
                <a:gd name="connsiteY258" fmla="*/ 65555 h 315945"/>
                <a:gd name="connsiteX259" fmla="*/ 90603 w 675120"/>
                <a:gd name="connsiteY259" fmla="*/ 69306 h 315945"/>
                <a:gd name="connsiteX260" fmla="*/ 90633 w 675120"/>
                <a:gd name="connsiteY260" fmla="*/ 69941 h 315945"/>
                <a:gd name="connsiteX261" fmla="*/ 92387 w 675120"/>
                <a:gd name="connsiteY261" fmla="*/ 70909 h 315945"/>
                <a:gd name="connsiteX262" fmla="*/ 95382 w 675120"/>
                <a:gd name="connsiteY262" fmla="*/ 75144 h 315945"/>
                <a:gd name="connsiteX263" fmla="*/ 97924 w 675120"/>
                <a:gd name="connsiteY263" fmla="*/ 75961 h 315945"/>
                <a:gd name="connsiteX264" fmla="*/ 101887 w 675120"/>
                <a:gd name="connsiteY264" fmla="*/ 74328 h 315945"/>
                <a:gd name="connsiteX265" fmla="*/ 104367 w 675120"/>
                <a:gd name="connsiteY265" fmla="*/ 74237 h 315945"/>
                <a:gd name="connsiteX266" fmla="*/ 106091 w 675120"/>
                <a:gd name="connsiteY266" fmla="*/ 77867 h 315945"/>
                <a:gd name="connsiteX267" fmla="*/ 110297 w 675120"/>
                <a:gd name="connsiteY267" fmla="*/ 84553 h 315945"/>
                <a:gd name="connsiteX268" fmla="*/ 112596 w 675120"/>
                <a:gd name="connsiteY268" fmla="*/ 92297 h 315945"/>
                <a:gd name="connsiteX269" fmla="*/ 117164 w 675120"/>
                <a:gd name="connsiteY269" fmla="*/ 98741 h 315945"/>
                <a:gd name="connsiteX270" fmla="*/ 118252 w 675120"/>
                <a:gd name="connsiteY270" fmla="*/ 99315 h 315945"/>
                <a:gd name="connsiteX271" fmla="*/ 119523 w 675120"/>
                <a:gd name="connsiteY271" fmla="*/ 99073 h 315945"/>
                <a:gd name="connsiteX272" fmla="*/ 121550 w 675120"/>
                <a:gd name="connsiteY272" fmla="*/ 97924 h 315945"/>
                <a:gd name="connsiteX273" fmla="*/ 122699 w 675120"/>
                <a:gd name="connsiteY273" fmla="*/ 97621 h 315945"/>
                <a:gd name="connsiteX274" fmla="*/ 124727 w 675120"/>
                <a:gd name="connsiteY274" fmla="*/ 97894 h 315945"/>
                <a:gd name="connsiteX275" fmla="*/ 127298 w 675120"/>
                <a:gd name="connsiteY275" fmla="*/ 98771 h 315945"/>
                <a:gd name="connsiteX276" fmla="*/ 129718 w 675120"/>
                <a:gd name="connsiteY276" fmla="*/ 100041 h 315945"/>
                <a:gd name="connsiteX277" fmla="*/ 131321 w 675120"/>
                <a:gd name="connsiteY277" fmla="*/ 101403 h 315945"/>
                <a:gd name="connsiteX278" fmla="*/ 132985 w 675120"/>
                <a:gd name="connsiteY278" fmla="*/ 102250 h 315945"/>
                <a:gd name="connsiteX279" fmla="*/ 140639 w 675120"/>
                <a:gd name="connsiteY279" fmla="*/ 103551 h 315945"/>
                <a:gd name="connsiteX280" fmla="*/ 144753 w 675120"/>
                <a:gd name="connsiteY280" fmla="*/ 105729 h 315945"/>
                <a:gd name="connsiteX281" fmla="*/ 148081 w 675120"/>
                <a:gd name="connsiteY281" fmla="*/ 109026 h 315945"/>
                <a:gd name="connsiteX282" fmla="*/ 150621 w 675120"/>
                <a:gd name="connsiteY282" fmla="*/ 113231 h 315945"/>
                <a:gd name="connsiteX283" fmla="*/ 152376 w 675120"/>
                <a:gd name="connsiteY283" fmla="*/ 118192 h 315945"/>
                <a:gd name="connsiteX284" fmla="*/ 157519 w 675120"/>
                <a:gd name="connsiteY284" fmla="*/ 147506 h 315945"/>
                <a:gd name="connsiteX285" fmla="*/ 157519 w 675120"/>
                <a:gd name="connsiteY285" fmla="*/ 147506 h 315945"/>
                <a:gd name="connsiteX286" fmla="*/ 157882 w 675120"/>
                <a:gd name="connsiteY286" fmla="*/ 149593 h 315945"/>
                <a:gd name="connsiteX287" fmla="*/ 158245 w 675120"/>
                <a:gd name="connsiteY287" fmla="*/ 150471 h 315945"/>
                <a:gd name="connsiteX288" fmla="*/ 160937 w 675120"/>
                <a:gd name="connsiteY288" fmla="*/ 152951 h 315945"/>
                <a:gd name="connsiteX289" fmla="*/ 161663 w 675120"/>
                <a:gd name="connsiteY289" fmla="*/ 153889 h 315945"/>
                <a:gd name="connsiteX290" fmla="*/ 162056 w 675120"/>
                <a:gd name="connsiteY290" fmla="*/ 154645 h 315945"/>
                <a:gd name="connsiteX291" fmla="*/ 167381 w 675120"/>
                <a:gd name="connsiteY291" fmla="*/ 171768 h 315945"/>
                <a:gd name="connsiteX292" fmla="*/ 168198 w 675120"/>
                <a:gd name="connsiteY292" fmla="*/ 177364 h 315945"/>
                <a:gd name="connsiteX293" fmla="*/ 168379 w 675120"/>
                <a:gd name="connsiteY293" fmla="*/ 181599 h 315945"/>
                <a:gd name="connsiteX294" fmla="*/ 168893 w 675120"/>
                <a:gd name="connsiteY294" fmla="*/ 183989 h 315945"/>
                <a:gd name="connsiteX295" fmla="*/ 169892 w 675120"/>
                <a:gd name="connsiteY295" fmla="*/ 185018 h 315945"/>
                <a:gd name="connsiteX296" fmla="*/ 170981 w 675120"/>
                <a:gd name="connsiteY296" fmla="*/ 185865 h 315945"/>
                <a:gd name="connsiteX297" fmla="*/ 174036 w 675120"/>
                <a:gd name="connsiteY297" fmla="*/ 190765 h 315945"/>
                <a:gd name="connsiteX298" fmla="*/ 178090 w 675120"/>
                <a:gd name="connsiteY298" fmla="*/ 197360 h 315945"/>
                <a:gd name="connsiteX299" fmla="*/ 178544 w 675120"/>
                <a:gd name="connsiteY299" fmla="*/ 199054 h 315945"/>
                <a:gd name="connsiteX300" fmla="*/ 178725 w 675120"/>
                <a:gd name="connsiteY300" fmla="*/ 201868 h 315945"/>
                <a:gd name="connsiteX301" fmla="*/ 179935 w 675120"/>
                <a:gd name="connsiteY301" fmla="*/ 209703 h 315945"/>
                <a:gd name="connsiteX302" fmla="*/ 179935 w 675120"/>
                <a:gd name="connsiteY302" fmla="*/ 220261 h 315945"/>
                <a:gd name="connsiteX303" fmla="*/ 179724 w 675120"/>
                <a:gd name="connsiteY303" fmla="*/ 221380 h 315945"/>
                <a:gd name="connsiteX304" fmla="*/ 179149 w 675120"/>
                <a:gd name="connsiteY304" fmla="*/ 222409 h 315945"/>
                <a:gd name="connsiteX305" fmla="*/ 177515 w 675120"/>
                <a:gd name="connsiteY305" fmla="*/ 224496 h 315945"/>
                <a:gd name="connsiteX306" fmla="*/ 176910 w 675120"/>
                <a:gd name="connsiteY306" fmla="*/ 225585 h 315945"/>
                <a:gd name="connsiteX307" fmla="*/ 176759 w 675120"/>
                <a:gd name="connsiteY307" fmla="*/ 226553 h 315945"/>
                <a:gd name="connsiteX308" fmla="*/ 176759 w 675120"/>
                <a:gd name="connsiteY308" fmla="*/ 227672 h 315945"/>
                <a:gd name="connsiteX309" fmla="*/ 176517 w 675120"/>
                <a:gd name="connsiteY309" fmla="*/ 229124 h 315945"/>
                <a:gd name="connsiteX310" fmla="*/ 171767 w 675120"/>
                <a:gd name="connsiteY310" fmla="*/ 236264 h 315945"/>
                <a:gd name="connsiteX311" fmla="*/ 170073 w 675120"/>
                <a:gd name="connsiteY311" fmla="*/ 239984 h 315945"/>
                <a:gd name="connsiteX312" fmla="*/ 164023 w 675120"/>
                <a:gd name="connsiteY312" fmla="*/ 243645 h 315945"/>
                <a:gd name="connsiteX313" fmla="*/ 161059 w 675120"/>
                <a:gd name="connsiteY313" fmla="*/ 247305 h 315945"/>
                <a:gd name="connsiteX314" fmla="*/ 154463 w 675120"/>
                <a:gd name="connsiteY314" fmla="*/ 258226 h 315945"/>
                <a:gd name="connsiteX315" fmla="*/ 165172 w 675120"/>
                <a:gd name="connsiteY315" fmla="*/ 262401 h 315945"/>
                <a:gd name="connsiteX316" fmla="*/ 166443 w 675120"/>
                <a:gd name="connsiteY316" fmla="*/ 262613 h 315945"/>
                <a:gd name="connsiteX317" fmla="*/ 169469 w 675120"/>
                <a:gd name="connsiteY317" fmla="*/ 262401 h 315945"/>
                <a:gd name="connsiteX318" fmla="*/ 171979 w 675120"/>
                <a:gd name="connsiteY318" fmla="*/ 261312 h 315945"/>
                <a:gd name="connsiteX319" fmla="*/ 172766 w 675120"/>
                <a:gd name="connsiteY319" fmla="*/ 261312 h 315945"/>
                <a:gd name="connsiteX320" fmla="*/ 172887 w 675120"/>
                <a:gd name="connsiteY320" fmla="*/ 261826 h 315945"/>
                <a:gd name="connsiteX321" fmla="*/ 172766 w 675120"/>
                <a:gd name="connsiteY321" fmla="*/ 262734 h 315945"/>
                <a:gd name="connsiteX322" fmla="*/ 172766 w 675120"/>
                <a:gd name="connsiteY322" fmla="*/ 263732 h 315945"/>
                <a:gd name="connsiteX323" fmla="*/ 173189 w 675120"/>
                <a:gd name="connsiteY323" fmla="*/ 264518 h 315945"/>
                <a:gd name="connsiteX324" fmla="*/ 174369 w 675120"/>
                <a:gd name="connsiteY324" fmla="*/ 264942 h 315945"/>
                <a:gd name="connsiteX325" fmla="*/ 177303 w 675120"/>
                <a:gd name="connsiteY325" fmla="*/ 265275 h 315945"/>
                <a:gd name="connsiteX326" fmla="*/ 178634 w 675120"/>
                <a:gd name="connsiteY326" fmla="*/ 265698 h 315945"/>
                <a:gd name="connsiteX327" fmla="*/ 182628 w 675120"/>
                <a:gd name="connsiteY327" fmla="*/ 269117 h 315945"/>
                <a:gd name="connsiteX328" fmla="*/ 183868 w 675120"/>
                <a:gd name="connsiteY328" fmla="*/ 269601 h 315945"/>
                <a:gd name="connsiteX329" fmla="*/ 184836 w 675120"/>
                <a:gd name="connsiteY329" fmla="*/ 269086 h 315945"/>
                <a:gd name="connsiteX330" fmla="*/ 188859 w 675120"/>
                <a:gd name="connsiteY330" fmla="*/ 265910 h 315945"/>
                <a:gd name="connsiteX331" fmla="*/ 192006 w 675120"/>
                <a:gd name="connsiteY331" fmla="*/ 261766 h 315945"/>
                <a:gd name="connsiteX332" fmla="*/ 193397 w 675120"/>
                <a:gd name="connsiteY332" fmla="*/ 260767 h 315945"/>
                <a:gd name="connsiteX333" fmla="*/ 197451 w 675120"/>
                <a:gd name="connsiteY333" fmla="*/ 259285 h 315945"/>
                <a:gd name="connsiteX334" fmla="*/ 204651 w 675120"/>
                <a:gd name="connsiteY334" fmla="*/ 261826 h 315945"/>
                <a:gd name="connsiteX335" fmla="*/ 208220 w 675120"/>
                <a:gd name="connsiteY335" fmla="*/ 260767 h 315945"/>
                <a:gd name="connsiteX336" fmla="*/ 209672 w 675120"/>
                <a:gd name="connsiteY336" fmla="*/ 260162 h 315945"/>
                <a:gd name="connsiteX337" fmla="*/ 211064 w 675120"/>
                <a:gd name="connsiteY337" fmla="*/ 259981 h 315945"/>
                <a:gd name="connsiteX338" fmla="*/ 212486 w 675120"/>
                <a:gd name="connsiteY338" fmla="*/ 260162 h 315945"/>
                <a:gd name="connsiteX339" fmla="*/ 213908 w 675120"/>
                <a:gd name="connsiteY339" fmla="*/ 260767 h 315945"/>
                <a:gd name="connsiteX340" fmla="*/ 217084 w 675120"/>
                <a:gd name="connsiteY340" fmla="*/ 259950 h 315945"/>
                <a:gd name="connsiteX341" fmla="*/ 218627 w 675120"/>
                <a:gd name="connsiteY341" fmla="*/ 259981 h 315945"/>
                <a:gd name="connsiteX342" fmla="*/ 220049 w 675120"/>
                <a:gd name="connsiteY342" fmla="*/ 260767 h 315945"/>
                <a:gd name="connsiteX343" fmla="*/ 221712 w 675120"/>
                <a:gd name="connsiteY343" fmla="*/ 262250 h 315945"/>
                <a:gd name="connsiteX344" fmla="*/ 224132 w 675120"/>
                <a:gd name="connsiteY344" fmla="*/ 262431 h 315945"/>
                <a:gd name="connsiteX345" fmla="*/ 229094 w 675120"/>
                <a:gd name="connsiteY345" fmla="*/ 262159 h 315945"/>
                <a:gd name="connsiteX346" fmla="*/ 246730 w 675120"/>
                <a:gd name="connsiteY346" fmla="*/ 268481 h 315945"/>
                <a:gd name="connsiteX347" fmla="*/ 248062 w 675120"/>
                <a:gd name="connsiteY347" fmla="*/ 268421 h 315945"/>
                <a:gd name="connsiteX348" fmla="*/ 249272 w 675120"/>
                <a:gd name="connsiteY348" fmla="*/ 268360 h 315945"/>
                <a:gd name="connsiteX349" fmla="*/ 251359 w 675120"/>
                <a:gd name="connsiteY349" fmla="*/ 267090 h 315945"/>
                <a:gd name="connsiteX350" fmla="*/ 254384 w 675120"/>
                <a:gd name="connsiteY350" fmla="*/ 262915 h 315945"/>
                <a:gd name="connsiteX351" fmla="*/ 256562 w 675120"/>
                <a:gd name="connsiteY351" fmla="*/ 260767 h 315945"/>
                <a:gd name="connsiteX352" fmla="*/ 257591 w 675120"/>
                <a:gd name="connsiteY352" fmla="*/ 258801 h 315945"/>
                <a:gd name="connsiteX353" fmla="*/ 258529 w 675120"/>
                <a:gd name="connsiteY353" fmla="*/ 253779 h 315945"/>
                <a:gd name="connsiteX354" fmla="*/ 259557 w 675120"/>
                <a:gd name="connsiteY354" fmla="*/ 251722 h 315945"/>
                <a:gd name="connsiteX355" fmla="*/ 261554 w 675120"/>
                <a:gd name="connsiteY355" fmla="*/ 250270 h 315945"/>
                <a:gd name="connsiteX356" fmla="*/ 261705 w 675120"/>
                <a:gd name="connsiteY356" fmla="*/ 250240 h 315945"/>
                <a:gd name="connsiteX357" fmla="*/ 262128 w 675120"/>
                <a:gd name="connsiteY357" fmla="*/ 250088 h 315945"/>
                <a:gd name="connsiteX358" fmla="*/ 264125 w 675120"/>
                <a:gd name="connsiteY358" fmla="*/ 249483 h 315945"/>
                <a:gd name="connsiteX359" fmla="*/ 269207 w 675120"/>
                <a:gd name="connsiteY359" fmla="*/ 249090 h 315945"/>
                <a:gd name="connsiteX360" fmla="*/ 283274 w 675120"/>
                <a:gd name="connsiteY360" fmla="*/ 250209 h 315945"/>
                <a:gd name="connsiteX361" fmla="*/ 285210 w 675120"/>
                <a:gd name="connsiteY361" fmla="*/ 251057 h 315945"/>
                <a:gd name="connsiteX362" fmla="*/ 284424 w 675120"/>
                <a:gd name="connsiteY362" fmla="*/ 252206 h 315945"/>
                <a:gd name="connsiteX363" fmla="*/ 284091 w 675120"/>
                <a:gd name="connsiteY363" fmla="*/ 253447 h 315945"/>
                <a:gd name="connsiteX364" fmla="*/ 283879 w 675120"/>
                <a:gd name="connsiteY364" fmla="*/ 254687 h 315945"/>
                <a:gd name="connsiteX365" fmla="*/ 283456 w 675120"/>
                <a:gd name="connsiteY365" fmla="*/ 255776 h 315945"/>
                <a:gd name="connsiteX366" fmla="*/ 282639 w 675120"/>
                <a:gd name="connsiteY366" fmla="*/ 256683 h 315945"/>
                <a:gd name="connsiteX367" fmla="*/ 280672 w 675120"/>
                <a:gd name="connsiteY367" fmla="*/ 258226 h 315945"/>
                <a:gd name="connsiteX368" fmla="*/ 279826 w 675120"/>
                <a:gd name="connsiteY368" fmla="*/ 259436 h 315945"/>
                <a:gd name="connsiteX369" fmla="*/ 282397 w 675120"/>
                <a:gd name="connsiteY369" fmla="*/ 260858 h 315945"/>
                <a:gd name="connsiteX370" fmla="*/ 284303 w 675120"/>
                <a:gd name="connsiteY370" fmla="*/ 262794 h 315945"/>
                <a:gd name="connsiteX371" fmla="*/ 286208 w 675120"/>
                <a:gd name="connsiteY371" fmla="*/ 263369 h 315945"/>
                <a:gd name="connsiteX372" fmla="*/ 288659 w 675120"/>
                <a:gd name="connsiteY372" fmla="*/ 260737 h 315945"/>
                <a:gd name="connsiteX373" fmla="*/ 290050 w 675120"/>
                <a:gd name="connsiteY373" fmla="*/ 259950 h 315945"/>
                <a:gd name="connsiteX374" fmla="*/ 290746 w 675120"/>
                <a:gd name="connsiteY374" fmla="*/ 260767 h 315945"/>
                <a:gd name="connsiteX375" fmla="*/ 291321 w 675120"/>
                <a:gd name="connsiteY375" fmla="*/ 262280 h 315945"/>
                <a:gd name="connsiteX376" fmla="*/ 292138 w 675120"/>
                <a:gd name="connsiteY376" fmla="*/ 263672 h 315945"/>
                <a:gd name="connsiteX377" fmla="*/ 292924 w 675120"/>
                <a:gd name="connsiteY377" fmla="*/ 264095 h 315945"/>
                <a:gd name="connsiteX378" fmla="*/ 295889 w 675120"/>
                <a:gd name="connsiteY378" fmla="*/ 265003 h 315945"/>
                <a:gd name="connsiteX379" fmla="*/ 296494 w 675120"/>
                <a:gd name="connsiteY379" fmla="*/ 265547 h 315945"/>
                <a:gd name="connsiteX380" fmla="*/ 296887 w 675120"/>
                <a:gd name="connsiteY380" fmla="*/ 266092 h 315945"/>
                <a:gd name="connsiteX381" fmla="*/ 297371 w 675120"/>
                <a:gd name="connsiteY381" fmla="*/ 266576 h 315945"/>
                <a:gd name="connsiteX382" fmla="*/ 298279 w 675120"/>
                <a:gd name="connsiteY382" fmla="*/ 266908 h 315945"/>
                <a:gd name="connsiteX383" fmla="*/ 299065 w 675120"/>
                <a:gd name="connsiteY383" fmla="*/ 267725 h 315945"/>
                <a:gd name="connsiteX384" fmla="*/ 302060 w 675120"/>
                <a:gd name="connsiteY384" fmla="*/ 272928 h 315945"/>
                <a:gd name="connsiteX385" fmla="*/ 303512 w 675120"/>
                <a:gd name="connsiteY385" fmla="*/ 274411 h 315945"/>
                <a:gd name="connsiteX386" fmla="*/ 310924 w 675120"/>
                <a:gd name="connsiteY386" fmla="*/ 279069 h 315945"/>
                <a:gd name="connsiteX387" fmla="*/ 315794 w 675120"/>
                <a:gd name="connsiteY387" fmla="*/ 282972 h 315945"/>
                <a:gd name="connsiteX388" fmla="*/ 318880 w 675120"/>
                <a:gd name="connsiteY388" fmla="*/ 284333 h 315945"/>
                <a:gd name="connsiteX389" fmla="*/ 321814 w 675120"/>
                <a:gd name="connsiteY389" fmla="*/ 284696 h 315945"/>
                <a:gd name="connsiteX390" fmla="*/ 321966 w 675120"/>
                <a:gd name="connsiteY390" fmla="*/ 285331 h 315945"/>
                <a:gd name="connsiteX391" fmla="*/ 320605 w 675120"/>
                <a:gd name="connsiteY391" fmla="*/ 287116 h 315945"/>
                <a:gd name="connsiteX392" fmla="*/ 319122 w 675120"/>
                <a:gd name="connsiteY392" fmla="*/ 288296 h 315945"/>
                <a:gd name="connsiteX393" fmla="*/ 313677 w 675120"/>
                <a:gd name="connsiteY393" fmla="*/ 290868 h 315945"/>
                <a:gd name="connsiteX394" fmla="*/ 316430 w 675120"/>
                <a:gd name="connsiteY394" fmla="*/ 291654 h 315945"/>
                <a:gd name="connsiteX395" fmla="*/ 318638 w 675120"/>
                <a:gd name="connsiteY395" fmla="*/ 291442 h 315945"/>
                <a:gd name="connsiteX396" fmla="*/ 320605 w 675120"/>
                <a:gd name="connsiteY396" fmla="*/ 291654 h 315945"/>
                <a:gd name="connsiteX397" fmla="*/ 322662 w 675120"/>
                <a:gd name="connsiteY397" fmla="*/ 293772 h 315945"/>
                <a:gd name="connsiteX398" fmla="*/ 325052 w 675120"/>
                <a:gd name="connsiteY398" fmla="*/ 299247 h 315945"/>
                <a:gd name="connsiteX399" fmla="*/ 326534 w 675120"/>
                <a:gd name="connsiteY399" fmla="*/ 300215 h 315945"/>
                <a:gd name="connsiteX400" fmla="*/ 335791 w 675120"/>
                <a:gd name="connsiteY400" fmla="*/ 297825 h 315945"/>
                <a:gd name="connsiteX401" fmla="*/ 338695 w 675120"/>
                <a:gd name="connsiteY401" fmla="*/ 297644 h 315945"/>
                <a:gd name="connsiteX402" fmla="*/ 341871 w 675120"/>
                <a:gd name="connsiteY402" fmla="*/ 298430 h 315945"/>
                <a:gd name="connsiteX403" fmla="*/ 344624 w 675120"/>
                <a:gd name="connsiteY403" fmla="*/ 299882 h 315945"/>
                <a:gd name="connsiteX404" fmla="*/ 347346 w 675120"/>
                <a:gd name="connsiteY404" fmla="*/ 302212 h 315945"/>
                <a:gd name="connsiteX405" fmla="*/ 348768 w 675120"/>
                <a:gd name="connsiteY405" fmla="*/ 305116 h 315945"/>
                <a:gd name="connsiteX406" fmla="*/ 347649 w 675120"/>
                <a:gd name="connsiteY406" fmla="*/ 308292 h 315945"/>
                <a:gd name="connsiteX407" fmla="*/ 348648 w 675120"/>
                <a:gd name="connsiteY407" fmla="*/ 308534 h 315945"/>
                <a:gd name="connsiteX408" fmla="*/ 349646 w 675120"/>
                <a:gd name="connsiteY408" fmla="*/ 308565 h 315945"/>
                <a:gd name="connsiteX409" fmla="*/ 350614 w 675120"/>
                <a:gd name="connsiteY409" fmla="*/ 308353 h 315945"/>
                <a:gd name="connsiteX410" fmla="*/ 356059 w 675120"/>
                <a:gd name="connsiteY410" fmla="*/ 306326 h 315945"/>
                <a:gd name="connsiteX411" fmla="*/ 360324 w 675120"/>
                <a:gd name="connsiteY411" fmla="*/ 306144 h 315945"/>
                <a:gd name="connsiteX412" fmla="*/ 376751 w 675120"/>
                <a:gd name="connsiteY412" fmla="*/ 308292 h 315945"/>
                <a:gd name="connsiteX413" fmla="*/ 379201 w 675120"/>
                <a:gd name="connsiteY413" fmla="*/ 308081 h 315945"/>
                <a:gd name="connsiteX414" fmla="*/ 381168 w 675120"/>
                <a:gd name="connsiteY414" fmla="*/ 307324 h 315945"/>
                <a:gd name="connsiteX415" fmla="*/ 385856 w 675120"/>
                <a:gd name="connsiteY415" fmla="*/ 303543 h 315945"/>
                <a:gd name="connsiteX416" fmla="*/ 390183 w 675120"/>
                <a:gd name="connsiteY416" fmla="*/ 301879 h 315945"/>
                <a:gd name="connsiteX417" fmla="*/ 399500 w 675120"/>
                <a:gd name="connsiteY417" fmla="*/ 301698 h 315945"/>
                <a:gd name="connsiteX418" fmla="*/ 401708 w 675120"/>
                <a:gd name="connsiteY418" fmla="*/ 301213 h 315945"/>
                <a:gd name="connsiteX419" fmla="*/ 401738 w 675120"/>
                <a:gd name="connsiteY419" fmla="*/ 301183 h 315945"/>
                <a:gd name="connsiteX420" fmla="*/ 404068 w 675120"/>
                <a:gd name="connsiteY420" fmla="*/ 300669 h 315945"/>
                <a:gd name="connsiteX421" fmla="*/ 408092 w 675120"/>
                <a:gd name="connsiteY421" fmla="*/ 299005 h 315945"/>
                <a:gd name="connsiteX422" fmla="*/ 410118 w 675120"/>
                <a:gd name="connsiteY422" fmla="*/ 298793 h 315945"/>
                <a:gd name="connsiteX423" fmla="*/ 414384 w 675120"/>
                <a:gd name="connsiteY423" fmla="*/ 299882 h 315945"/>
                <a:gd name="connsiteX424" fmla="*/ 416502 w 675120"/>
                <a:gd name="connsiteY424" fmla="*/ 299550 h 315945"/>
                <a:gd name="connsiteX425" fmla="*/ 418468 w 675120"/>
                <a:gd name="connsiteY425" fmla="*/ 298551 h 315945"/>
                <a:gd name="connsiteX426" fmla="*/ 420041 w 675120"/>
                <a:gd name="connsiteY426" fmla="*/ 297099 h 315945"/>
                <a:gd name="connsiteX427" fmla="*/ 420555 w 675120"/>
                <a:gd name="connsiteY427" fmla="*/ 295919 h 315945"/>
                <a:gd name="connsiteX428" fmla="*/ 420615 w 675120"/>
                <a:gd name="connsiteY428" fmla="*/ 294861 h 315945"/>
                <a:gd name="connsiteX429" fmla="*/ 420888 w 675120"/>
                <a:gd name="connsiteY429" fmla="*/ 293953 h 315945"/>
                <a:gd name="connsiteX430" fmla="*/ 422098 w 675120"/>
                <a:gd name="connsiteY430" fmla="*/ 293197 h 315945"/>
                <a:gd name="connsiteX431" fmla="*/ 423157 w 675120"/>
                <a:gd name="connsiteY431" fmla="*/ 293167 h 315945"/>
                <a:gd name="connsiteX432" fmla="*/ 425909 w 675120"/>
                <a:gd name="connsiteY432" fmla="*/ 294195 h 315945"/>
                <a:gd name="connsiteX433" fmla="*/ 430750 w 675120"/>
                <a:gd name="connsiteY433" fmla="*/ 297311 h 315945"/>
                <a:gd name="connsiteX434" fmla="*/ 432595 w 675120"/>
                <a:gd name="connsiteY434" fmla="*/ 297977 h 315945"/>
                <a:gd name="connsiteX435" fmla="*/ 434985 w 675120"/>
                <a:gd name="connsiteY435" fmla="*/ 297614 h 315945"/>
                <a:gd name="connsiteX436" fmla="*/ 435923 w 675120"/>
                <a:gd name="connsiteY436" fmla="*/ 297008 h 315945"/>
                <a:gd name="connsiteX437" fmla="*/ 436649 w 675120"/>
                <a:gd name="connsiteY437" fmla="*/ 296252 h 315945"/>
                <a:gd name="connsiteX438" fmla="*/ 437466 w 675120"/>
                <a:gd name="connsiteY438" fmla="*/ 295587 h 315945"/>
                <a:gd name="connsiteX439" fmla="*/ 438646 w 675120"/>
                <a:gd name="connsiteY439" fmla="*/ 295224 h 315945"/>
                <a:gd name="connsiteX440" fmla="*/ 439886 w 675120"/>
                <a:gd name="connsiteY440" fmla="*/ 295375 h 315945"/>
                <a:gd name="connsiteX441" fmla="*/ 445271 w 675120"/>
                <a:gd name="connsiteY441" fmla="*/ 298340 h 315945"/>
                <a:gd name="connsiteX442" fmla="*/ 447449 w 675120"/>
                <a:gd name="connsiteY442" fmla="*/ 299096 h 315945"/>
                <a:gd name="connsiteX443" fmla="*/ 449718 w 675120"/>
                <a:gd name="connsiteY443" fmla="*/ 299247 h 315945"/>
                <a:gd name="connsiteX444" fmla="*/ 452168 w 675120"/>
                <a:gd name="connsiteY444" fmla="*/ 298582 h 315945"/>
                <a:gd name="connsiteX445" fmla="*/ 454195 w 675120"/>
                <a:gd name="connsiteY445" fmla="*/ 296494 h 315945"/>
                <a:gd name="connsiteX446" fmla="*/ 454860 w 675120"/>
                <a:gd name="connsiteY446" fmla="*/ 296041 h 315945"/>
                <a:gd name="connsiteX447" fmla="*/ 455919 w 675120"/>
                <a:gd name="connsiteY447" fmla="*/ 296010 h 315945"/>
                <a:gd name="connsiteX448" fmla="*/ 456464 w 675120"/>
                <a:gd name="connsiteY448" fmla="*/ 296948 h 315945"/>
                <a:gd name="connsiteX449" fmla="*/ 456827 w 675120"/>
                <a:gd name="connsiteY449" fmla="*/ 298188 h 315945"/>
                <a:gd name="connsiteX450" fmla="*/ 457371 w 675120"/>
                <a:gd name="connsiteY450" fmla="*/ 299126 h 315945"/>
                <a:gd name="connsiteX451" fmla="*/ 459428 w 675120"/>
                <a:gd name="connsiteY451" fmla="*/ 299671 h 315945"/>
                <a:gd name="connsiteX452" fmla="*/ 460910 w 675120"/>
                <a:gd name="connsiteY452" fmla="*/ 298461 h 315945"/>
                <a:gd name="connsiteX453" fmla="*/ 462151 w 675120"/>
                <a:gd name="connsiteY453" fmla="*/ 296494 h 315945"/>
                <a:gd name="connsiteX454" fmla="*/ 463452 w 675120"/>
                <a:gd name="connsiteY454" fmla="*/ 294921 h 315945"/>
                <a:gd name="connsiteX455" fmla="*/ 465630 w 675120"/>
                <a:gd name="connsiteY455" fmla="*/ 294014 h 315945"/>
                <a:gd name="connsiteX456" fmla="*/ 467656 w 675120"/>
                <a:gd name="connsiteY456" fmla="*/ 294256 h 315945"/>
                <a:gd name="connsiteX457" fmla="*/ 471862 w 675120"/>
                <a:gd name="connsiteY457" fmla="*/ 295799 h 315945"/>
                <a:gd name="connsiteX458" fmla="*/ 486624 w 675120"/>
                <a:gd name="connsiteY458" fmla="*/ 296101 h 315945"/>
                <a:gd name="connsiteX459" fmla="*/ 489256 w 675120"/>
                <a:gd name="connsiteY459" fmla="*/ 295768 h 315945"/>
                <a:gd name="connsiteX460" fmla="*/ 490254 w 675120"/>
                <a:gd name="connsiteY460" fmla="*/ 294467 h 315945"/>
                <a:gd name="connsiteX461" fmla="*/ 489861 w 675120"/>
                <a:gd name="connsiteY461" fmla="*/ 293953 h 315945"/>
                <a:gd name="connsiteX462" fmla="*/ 489166 w 675120"/>
                <a:gd name="connsiteY462" fmla="*/ 293076 h 315945"/>
                <a:gd name="connsiteX463" fmla="*/ 485414 w 675120"/>
                <a:gd name="connsiteY463" fmla="*/ 291412 h 315945"/>
                <a:gd name="connsiteX464" fmla="*/ 484567 w 675120"/>
                <a:gd name="connsiteY464" fmla="*/ 289657 h 315945"/>
                <a:gd name="connsiteX465" fmla="*/ 486533 w 675120"/>
                <a:gd name="connsiteY465" fmla="*/ 287842 h 315945"/>
                <a:gd name="connsiteX466" fmla="*/ 496244 w 675120"/>
                <a:gd name="connsiteY466" fmla="*/ 289264 h 315945"/>
                <a:gd name="connsiteX467" fmla="*/ 500056 w 675120"/>
                <a:gd name="connsiteY467" fmla="*/ 289143 h 315945"/>
                <a:gd name="connsiteX468" fmla="*/ 501296 w 675120"/>
                <a:gd name="connsiteY468" fmla="*/ 288387 h 315945"/>
                <a:gd name="connsiteX469" fmla="*/ 503565 w 675120"/>
                <a:gd name="connsiteY469" fmla="*/ 286481 h 315945"/>
                <a:gd name="connsiteX470" fmla="*/ 504805 w 675120"/>
                <a:gd name="connsiteY470" fmla="*/ 285755 h 315945"/>
                <a:gd name="connsiteX471" fmla="*/ 514395 w 675120"/>
                <a:gd name="connsiteY471" fmla="*/ 278434 h 315945"/>
                <a:gd name="connsiteX472" fmla="*/ 529702 w 675120"/>
                <a:gd name="connsiteY472" fmla="*/ 266818 h 315945"/>
                <a:gd name="connsiteX473" fmla="*/ 532909 w 675120"/>
                <a:gd name="connsiteY473" fmla="*/ 265789 h 315945"/>
                <a:gd name="connsiteX474" fmla="*/ 536207 w 675120"/>
                <a:gd name="connsiteY474" fmla="*/ 265940 h 315945"/>
                <a:gd name="connsiteX475" fmla="*/ 538082 w 675120"/>
                <a:gd name="connsiteY475" fmla="*/ 266848 h 315945"/>
                <a:gd name="connsiteX476" fmla="*/ 542922 w 675120"/>
                <a:gd name="connsiteY476" fmla="*/ 269147 h 315945"/>
                <a:gd name="connsiteX477" fmla="*/ 544496 w 675120"/>
                <a:gd name="connsiteY477" fmla="*/ 269419 h 315945"/>
                <a:gd name="connsiteX478" fmla="*/ 546522 w 675120"/>
                <a:gd name="connsiteY478" fmla="*/ 269268 h 315945"/>
                <a:gd name="connsiteX479" fmla="*/ 549850 w 675120"/>
                <a:gd name="connsiteY479" fmla="*/ 268330 h 315945"/>
                <a:gd name="connsiteX480" fmla="*/ 551332 w 675120"/>
                <a:gd name="connsiteY480" fmla="*/ 268572 h 315945"/>
                <a:gd name="connsiteX481" fmla="*/ 552784 w 675120"/>
                <a:gd name="connsiteY481" fmla="*/ 270115 h 315945"/>
                <a:gd name="connsiteX482" fmla="*/ 556081 w 675120"/>
                <a:gd name="connsiteY482" fmla="*/ 272959 h 315945"/>
                <a:gd name="connsiteX483" fmla="*/ 570542 w 675120"/>
                <a:gd name="connsiteY483" fmla="*/ 278162 h 315945"/>
                <a:gd name="connsiteX484" fmla="*/ 577076 w 675120"/>
                <a:gd name="connsiteY484" fmla="*/ 279372 h 315945"/>
                <a:gd name="connsiteX485" fmla="*/ 579435 w 675120"/>
                <a:gd name="connsiteY485" fmla="*/ 280249 h 315945"/>
                <a:gd name="connsiteX486" fmla="*/ 579556 w 675120"/>
                <a:gd name="connsiteY486" fmla="*/ 280975 h 315945"/>
                <a:gd name="connsiteX487" fmla="*/ 578135 w 675120"/>
                <a:gd name="connsiteY487" fmla="*/ 281732 h 315945"/>
                <a:gd name="connsiteX488" fmla="*/ 575836 w 675120"/>
                <a:gd name="connsiteY488" fmla="*/ 282488 h 315945"/>
                <a:gd name="connsiteX489" fmla="*/ 573597 w 675120"/>
                <a:gd name="connsiteY489" fmla="*/ 285029 h 315945"/>
                <a:gd name="connsiteX490" fmla="*/ 575987 w 675120"/>
                <a:gd name="connsiteY490" fmla="*/ 288538 h 315945"/>
                <a:gd name="connsiteX491" fmla="*/ 580132 w 675120"/>
                <a:gd name="connsiteY491" fmla="*/ 291836 h 315945"/>
                <a:gd name="connsiteX492" fmla="*/ 582068 w 675120"/>
                <a:gd name="connsiteY492" fmla="*/ 292925 h 315945"/>
                <a:gd name="connsiteX493" fmla="*/ 587150 w 675120"/>
                <a:gd name="connsiteY493" fmla="*/ 295768 h 315945"/>
                <a:gd name="connsiteX494" fmla="*/ 602094 w 675120"/>
                <a:gd name="connsiteY494" fmla="*/ 300760 h 315945"/>
                <a:gd name="connsiteX495" fmla="*/ 606934 w 675120"/>
                <a:gd name="connsiteY495" fmla="*/ 301304 h 315945"/>
                <a:gd name="connsiteX496" fmla="*/ 609385 w 675120"/>
                <a:gd name="connsiteY496" fmla="*/ 301093 h 315945"/>
                <a:gd name="connsiteX497" fmla="*/ 611381 w 675120"/>
                <a:gd name="connsiteY497" fmla="*/ 300427 h 315945"/>
                <a:gd name="connsiteX498" fmla="*/ 614013 w 675120"/>
                <a:gd name="connsiteY498" fmla="*/ 298854 h 315945"/>
                <a:gd name="connsiteX499" fmla="*/ 616584 w 675120"/>
                <a:gd name="connsiteY499" fmla="*/ 297341 h 315945"/>
                <a:gd name="connsiteX500" fmla="*/ 618823 w 675120"/>
                <a:gd name="connsiteY500" fmla="*/ 296857 h 315945"/>
                <a:gd name="connsiteX501" fmla="*/ 626386 w 675120"/>
                <a:gd name="connsiteY501" fmla="*/ 296827 h 315945"/>
                <a:gd name="connsiteX502" fmla="*/ 628201 w 675120"/>
                <a:gd name="connsiteY502" fmla="*/ 297402 h 315945"/>
                <a:gd name="connsiteX503" fmla="*/ 629774 w 675120"/>
                <a:gd name="connsiteY503" fmla="*/ 298854 h 315945"/>
                <a:gd name="connsiteX504" fmla="*/ 632708 w 675120"/>
                <a:gd name="connsiteY504" fmla="*/ 302212 h 315945"/>
                <a:gd name="connsiteX505" fmla="*/ 638668 w 675120"/>
                <a:gd name="connsiteY505" fmla="*/ 307173 h 315945"/>
                <a:gd name="connsiteX506" fmla="*/ 640725 w 675120"/>
                <a:gd name="connsiteY506" fmla="*/ 308292 h 315945"/>
                <a:gd name="connsiteX507" fmla="*/ 646714 w 675120"/>
                <a:gd name="connsiteY507" fmla="*/ 310107 h 315945"/>
                <a:gd name="connsiteX508" fmla="*/ 648348 w 675120"/>
                <a:gd name="connsiteY508" fmla="*/ 311438 h 315945"/>
                <a:gd name="connsiteX509" fmla="*/ 651192 w 675120"/>
                <a:gd name="connsiteY509" fmla="*/ 314917 h 315945"/>
                <a:gd name="connsiteX510" fmla="*/ 652977 w 675120"/>
                <a:gd name="connsiteY510" fmla="*/ 315946 h 315945"/>
                <a:gd name="connsiteX511" fmla="*/ 655185 w 675120"/>
                <a:gd name="connsiteY511" fmla="*/ 315855 h 315945"/>
                <a:gd name="connsiteX512" fmla="*/ 656093 w 675120"/>
                <a:gd name="connsiteY512" fmla="*/ 314585 h 315945"/>
                <a:gd name="connsiteX513" fmla="*/ 656637 w 675120"/>
                <a:gd name="connsiteY513" fmla="*/ 312649 h 315945"/>
                <a:gd name="connsiteX514" fmla="*/ 657757 w 675120"/>
                <a:gd name="connsiteY514" fmla="*/ 310712 h 315945"/>
                <a:gd name="connsiteX515" fmla="*/ 659904 w 675120"/>
                <a:gd name="connsiteY515" fmla="*/ 309472 h 315945"/>
                <a:gd name="connsiteX516" fmla="*/ 661870 w 675120"/>
                <a:gd name="connsiteY516" fmla="*/ 309654 h 315945"/>
                <a:gd name="connsiteX517" fmla="*/ 663777 w 675120"/>
                <a:gd name="connsiteY517" fmla="*/ 310138 h 315945"/>
                <a:gd name="connsiteX518" fmla="*/ 665743 w 675120"/>
                <a:gd name="connsiteY518" fmla="*/ 309835 h 315945"/>
                <a:gd name="connsiteX519" fmla="*/ 667134 w 675120"/>
                <a:gd name="connsiteY519" fmla="*/ 308050 h 315945"/>
                <a:gd name="connsiteX520" fmla="*/ 667710 w 675120"/>
                <a:gd name="connsiteY520" fmla="*/ 307324 h 315945"/>
                <a:gd name="connsiteX521" fmla="*/ 668557 w 675120"/>
                <a:gd name="connsiteY521" fmla="*/ 303361 h 315945"/>
                <a:gd name="connsiteX522" fmla="*/ 669071 w 675120"/>
                <a:gd name="connsiteY522" fmla="*/ 299187 h 315945"/>
                <a:gd name="connsiteX523" fmla="*/ 670039 w 675120"/>
                <a:gd name="connsiteY523" fmla="*/ 295859 h 315945"/>
                <a:gd name="connsiteX524" fmla="*/ 670644 w 675120"/>
                <a:gd name="connsiteY524" fmla="*/ 295133 h 315945"/>
                <a:gd name="connsiteX525" fmla="*/ 671975 w 675120"/>
                <a:gd name="connsiteY525" fmla="*/ 293953 h 315945"/>
                <a:gd name="connsiteX526" fmla="*/ 672580 w 675120"/>
                <a:gd name="connsiteY526" fmla="*/ 293197 h 315945"/>
                <a:gd name="connsiteX527" fmla="*/ 672792 w 675120"/>
                <a:gd name="connsiteY527" fmla="*/ 292380 h 315945"/>
                <a:gd name="connsiteX528" fmla="*/ 672882 w 675120"/>
                <a:gd name="connsiteY528" fmla="*/ 290232 h 315945"/>
                <a:gd name="connsiteX529" fmla="*/ 673064 w 675120"/>
                <a:gd name="connsiteY529" fmla="*/ 289294 h 315945"/>
                <a:gd name="connsiteX530" fmla="*/ 673971 w 675120"/>
                <a:gd name="connsiteY530" fmla="*/ 288326 h 315945"/>
                <a:gd name="connsiteX531" fmla="*/ 674788 w 675120"/>
                <a:gd name="connsiteY531" fmla="*/ 288447 h 315945"/>
                <a:gd name="connsiteX532" fmla="*/ 675121 w 675120"/>
                <a:gd name="connsiteY532" fmla="*/ 288296 h 315945"/>
                <a:gd name="connsiteX533" fmla="*/ 674486 w 675120"/>
                <a:gd name="connsiteY533" fmla="*/ 286511 h 31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Lst>
              <a:rect l="l" t="t" r="r" b="b"/>
              <a:pathLst>
                <a:path w="675120" h="315945">
                  <a:moveTo>
                    <a:pt x="674486" y="286511"/>
                  </a:moveTo>
                  <a:lnTo>
                    <a:pt x="671309" y="282064"/>
                  </a:lnTo>
                  <a:lnTo>
                    <a:pt x="669374" y="280037"/>
                  </a:lnTo>
                  <a:lnTo>
                    <a:pt x="668707" y="278979"/>
                  </a:lnTo>
                  <a:lnTo>
                    <a:pt x="668587" y="278918"/>
                  </a:lnTo>
                  <a:lnTo>
                    <a:pt x="667891" y="278495"/>
                  </a:lnTo>
                  <a:lnTo>
                    <a:pt x="666318" y="279039"/>
                  </a:lnTo>
                  <a:lnTo>
                    <a:pt x="664715" y="275621"/>
                  </a:lnTo>
                  <a:lnTo>
                    <a:pt x="659783" y="272898"/>
                  </a:lnTo>
                  <a:lnTo>
                    <a:pt x="650012" y="269086"/>
                  </a:lnTo>
                  <a:lnTo>
                    <a:pt x="645262" y="265063"/>
                  </a:lnTo>
                  <a:lnTo>
                    <a:pt x="643236" y="264609"/>
                  </a:lnTo>
                  <a:lnTo>
                    <a:pt x="642056" y="264095"/>
                  </a:lnTo>
                  <a:lnTo>
                    <a:pt x="636793" y="260767"/>
                  </a:lnTo>
                  <a:lnTo>
                    <a:pt x="635068" y="258710"/>
                  </a:lnTo>
                  <a:lnTo>
                    <a:pt x="634160" y="256018"/>
                  </a:lnTo>
                  <a:lnTo>
                    <a:pt x="633374" y="251208"/>
                  </a:lnTo>
                  <a:lnTo>
                    <a:pt x="633222" y="250300"/>
                  </a:lnTo>
                  <a:lnTo>
                    <a:pt x="630984" y="246368"/>
                  </a:lnTo>
                  <a:lnTo>
                    <a:pt x="630742" y="245702"/>
                  </a:lnTo>
                  <a:lnTo>
                    <a:pt x="629350" y="245732"/>
                  </a:lnTo>
                  <a:lnTo>
                    <a:pt x="628685" y="246670"/>
                  </a:lnTo>
                  <a:lnTo>
                    <a:pt x="628171" y="247820"/>
                  </a:lnTo>
                  <a:lnTo>
                    <a:pt x="627293" y="248485"/>
                  </a:lnTo>
                  <a:lnTo>
                    <a:pt x="624601" y="246398"/>
                  </a:lnTo>
                  <a:lnTo>
                    <a:pt x="623300" y="240862"/>
                  </a:lnTo>
                  <a:lnTo>
                    <a:pt x="623270" y="234570"/>
                  </a:lnTo>
                  <a:lnTo>
                    <a:pt x="624208" y="230334"/>
                  </a:lnTo>
                  <a:lnTo>
                    <a:pt x="626144" y="228429"/>
                  </a:lnTo>
                  <a:lnTo>
                    <a:pt x="628352" y="228217"/>
                  </a:lnTo>
                  <a:lnTo>
                    <a:pt x="633072" y="229215"/>
                  </a:lnTo>
                  <a:lnTo>
                    <a:pt x="635159" y="229033"/>
                  </a:lnTo>
                  <a:lnTo>
                    <a:pt x="636762" y="228307"/>
                  </a:lnTo>
                  <a:lnTo>
                    <a:pt x="638245" y="227097"/>
                  </a:lnTo>
                  <a:lnTo>
                    <a:pt x="642570" y="222227"/>
                  </a:lnTo>
                  <a:lnTo>
                    <a:pt x="644718" y="219020"/>
                  </a:lnTo>
                  <a:lnTo>
                    <a:pt x="648560" y="211730"/>
                  </a:lnTo>
                  <a:lnTo>
                    <a:pt x="646110" y="208674"/>
                  </a:lnTo>
                  <a:lnTo>
                    <a:pt x="643630" y="207434"/>
                  </a:lnTo>
                  <a:lnTo>
                    <a:pt x="637669" y="206950"/>
                  </a:lnTo>
                  <a:lnTo>
                    <a:pt x="634796" y="205770"/>
                  </a:lnTo>
                  <a:lnTo>
                    <a:pt x="630409" y="200930"/>
                  </a:lnTo>
                  <a:lnTo>
                    <a:pt x="627778" y="198964"/>
                  </a:lnTo>
                  <a:lnTo>
                    <a:pt x="626779" y="198721"/>
                  </a:lnTo>
                  <a:lnTo>
                    <a:pt x="625932" y="198631"/>
                  </a:lnTo>
                  <a:lnTo>
                    <a:pt x="625085" y="198721"/>
                  </a:lnTo>
                  <a:lnTo>
                    <a:pt x="624238" y="198903"/>
                  </a:lnTo>
                  <a:lnTo>
                    <a:pt x="624208" y="198933"/>
                  </a:lnTo>
                  <a:lnTo>
                    <a:pt x="624177" y="198933"/>
                  </a:lnTo>
                  <a:lnTo>
                    <a:pt x="618278" y="200053"/>
                  </a:lnTo>
                  <a:lnTo>
                    <a:pt x="615193" y="199992"/>
                  </a:lnTo>
                  <a:lnTo>
                    <a:pt x="612742" y="198964"/>
                  </a:lnTo>
                  <a:lnTo>
                    <a:pt x="612077" y="196241"/>
                  </a:lnTo>
                  <a:lnTo>
                    <a:pt x="611079" y="195606"/>
                  </a:lnTo>
                  <a:lnTo>
                    <a:pt x="609687" y="195939"/>
                  </a:lnTo>
                  <a:lnTo>
                    <a:pt x="607902" y="196059"/>
                  </a:lnTo>
                  <a:lnTo>
                    <a:pt x="607025" y="195666"/>
                  </a:lnTo>
                  <a:lnTo>
                    <a:pt x="605361" y="194305"/>
                  </a:lnTo>
                  <a:lnTo>
                    <a:pt x="604726" y="194002"/>
                  </a:lnTo>
                  <a:lnTo>
                    <a:pt x="603848" y="194184"/>
                  </a:lnTo>
                  <a:lnTo>
                    <a:pt x="602518" y="195152"/>
                  </a:lnTo>
                  <a:lnTo>
                    <a:pt x="601792" y="195394"/>
                  </a:lnTo>
                  <a:lnTo>
                    <a:pt x="599916" y="195303"/>
                  </a:lnTo>
                  <a:lnTo>
                    <a:pt x="598585" y="194607"/>
                  </a:lnTo>
                  <a:lnTo>
                    <a:pt x="597496" y="193216"/>
                  </a:lnTo>
                  <a:lnTo>
                    <a:pt x="594652" y="186712"/>
                  </a:lnTo>
                  <a:lnTo>
                    <a:pt x="593260" y="185471"/>
                  </a:lnTo>
                  <a:lnTo>
                    <a:pt x="586242" y="183777"/>
                  </a:lnTo>
                  <a:lnTo>
                    <a:pt x="575170" y="176668"/>
                  </a:lnTo>
                  <a:lnTo>
                    <a:pt x="571146" y="174944"/>
                  </a:lnTo>
                  <a:lnTo>
                    <a:pt x="568121" y="173129"/>
                  </a:lnTo>
                  <a:lnTo>
                    <a:pt x="567093" y="170225"/>
                  </a:lnTo>
                  <a:lnTo>
                    <a:pt x="578679" y="142363"/>
                  </a:lnTo>
                  <a:lnTo>
                    <a:pt x="578982" y="139489"/>
                  </a:lnTo>
                  <a:lnTo>
                    <a:pt x="578982" y="139398"/>
                  </a:lnTo>
                  <a:lnTo>
                    <a:pt x="574867" y="134861"/>
                  </a:lnTo>
                  <a:lnTo>
                    <a:pt x="567033" y="132017"/>
                  </a:lnTo>
                  <a:lnTo>
                    <a:pt x="558592" y="130625"/>
                  </a:lnTo>
                  <a:lnTo>
                    <a:pt x="552784" y="130505"/>
                  </a:lnTo>
                  <a:lnTo>
                    <a:pt x="544676" y="132774"/>
                  </a:lnTo>
                  <a:lnTo>
                    <a:pt x="540381" y="133318"/>
                  </a:lnTo>
                  <a:lnTo>
                    <a:pt x="537053" y="132048"/>
                  </a:lnTo>
                  <a:lnTo>
                    <a:pt x="536025" y="130595"/>
                  </a:lnTo>
                  <a:lnTo>
                    <a:pt x="534905" y="128326"/>
                  </a:lnTo>
                  <a:lnTo>
                    <a:pt x="534119" y="126693"/>
                  </a:lnTo>
                  <a:lnTo>
                    <a:pt x="533030" y="124999"/>
                  </a:lnTo>
                  <a:lnTo>
                    <a:pt x="523108" y="113897"/>
                  </a:lnTo>
                  <a:lnTo>
                    <a:pt x="520204" y="111598"/>
                  </a:lnTo>
                  <a:lnTo>
                    <a:pt x="516936" y="110448"/>
                  </a:lnTo>
                  <a:lnTo>
                    <a:pt x="515031" y="110690"/>
                  </a:lnTo>
                  <a:lnTo>
                    <a:pt x="512217" y="111809"/>
                  </a:lnTo>
                  <a:lnTo>
                    <a:pt x="511310" y="112172"/>
                  </a:lnTo>
                  <a:lnTo>
                    <a:pt x="509404" y="112505"/>
                  </a:lnTo>
                  <a:lnTo>
                    <a:pt x="507558" y="112142"/>
                  </a:lnTo>
                  <a:lnTo>
                    <a:pt x="505774" y="111325"/>
                  </a:lnTo>
                  <a:lnTo>
                    <a:pt x="494822" y="104065"/>
                  </a:lnTo>
                  <a:lnTo>
                    <a:pt x="490406" y="103278"/>
                  </a:lnTo>
                  <a:lnTo>
                    <a:pt x="487835" y="106455"/>
                  </a:lnTo>
                  <a:lnTo>
                    <a:pt x="487199" y="108482"/>
                  </a:lnTo>
                  <a:lnTo>
                    <a:pt x="484295" y="114290"/>
                  </a:lnTo>
                  <a:lnTo>
                    <a:pt x="482661" y="121217"/>
                  </a:lnTo>
                  <a:lnTo>
                    <a:pt x="481784" y="122064"/>
                  </a:lnTo>
                  <a:lnTo>
                    <a:pt x="480513" y="120885"/>
                  </a:lnTo>
                  <a:lnTo>
                    <a:pt x="478063" y="113564"/>
                  </a:lnTo>
                  <a:lnTo>
                    <a:pt x="476853" y="111870"/>
                  </a:lnTo>
                  <a:lnTo>
                    <a:pt x="473888" y="108966"/>
                  </a:lnTo>
                  <a:lnTo>
                    <a:pt x="472315" y="107786"/>
                  </a:lnTo>
                  <a:lnTo>
                    <a:pt x="468594" y="105819"/>
                  </a:lnTo>
                  <a:lnTo>
                    <a:pt x="468201" y="105698"/>
                  </a:lnTo>
                  <a:lnTo>
                    <a:pt x="464420" y="104579"/>
                  </a:lnTo>
                  <a:lnTo>
                    <a:pt x="460124" y="104065"/>
                  </a:lnTo>
                  <a:lnTo>
                    <a:pt x="455072" y="104428"/>
                  </a:lnTo>
                  <a:lnTo>
                    <a:pt x="452168" y="105184"/>
                  </a:lnTo>
                  <a:lnTo>
                    <a:pt x="444333" y="109056"/>
                  </a:lnTo>
                  <a:lnTo>
                    <a:pt x="440248" y="110266"/>
                  </a:lnTo>
                  <a:lnTo>
                    <a:pt x="431294" y="110448"/>
                  </a:lnTo>
                  <a:lnTo>
                    <a:pt x="428965" y="113019"/>
                  </a:lnTo>
                  <a:lnTo>
                    <a:pt x="427090" y="116559"/>
                  </a:lnTo>
                  <a:lnTo>
                    <a:pt x="425214" y="118313"/>
                  </a:lnTo>
                  <a:lnTo>
                    <a:pt x="423792" y="119644"/>
                  </a:lnTo>
                  <a:lnTo>
                    <a:pt x="422643" y="119977"/>
                  </a:lnTo>
                  <a:lnTo>
                    <a:pt x="419103" y="120945"/>
                  </a:lnTo>
                  <a:lnTo>
                    <a:pt x="409483" y="121369"/>
                  </a:lnTo>
                  <a:lnTo>
                    <a:pt x="405097" y="123275"/>
                  </a:lnTo>
                  <a:lnTo>
                    <a:pt x="403736" y="124636"/>
                  </a:lnTo>
                  <a:lnTo>
                    <a:pt x="401255" y="127812"/>
                  </a:lnTo>
                  <a:lnTo>
                    <a:pt x="399742" y="128992"/>
                  </a:lnTo>
                  <a:lnTo>
                    <a:pt x="397867" y="129264"/>
                  </a:lnTo>
                  <a:lnTo>
                    <a:pt x="395961" y="128417"/>
                  </a:lnTo>
                  <a:lnTo>
                    <a:pt x="394690" y="127510"/>
                  </a:lnTo>
                  <a:lnTo>
                    <a:pt x="392391" y="125876"/>
                  </a:lnTo>
                  <a:lnTo>
                    <a:pt x="388337" y="124908"/>
                  </a:lnTo>
                  <a:lnTo>
                    <a:pt x="383437" y="124545"/>
                  </a:lnTo>
                  <a:lnTo>
                    <a:pt x="378899" y="123456"/>
                  </a:lnTo>
                  <a:lnTo>
                    <a:pt x="376025" y="120189"/>
                  </a:lnTo>
                  <a:lnTo>
                    <a:pt x="376328" y="116468"/>
                  </a:lnTo>
                  <a:lnTo>
                    <a:pt x="379171" y="113927"/>
                  </a:lnTo>
                  <a:lnTo>
                    <a:pt x="382681" y="111628"/>
                  </a:lnTo>
                  <a:lnTo>
                    <a:pt x="385010" y="108572"/>
                  </a:lnTo>
                  <a:lnTo>
                    <a:pt x="383860" y="104912"/>
                  </a:lnTo>
                  <a:lnTo>
                    <a:pt x="382045" y="104065"/>
                  </a:lnTo>
                  <a:lnTo>
                    <a:pt x="379383" y="102825"/>
                  </a:lnTo>
                  <a:lnTo>
                    <a:pt x="370005" y="100707"/>
                  </a:lnTo>
                  <a:lnTo>
                    <a:pt x="368160" y="99618"/>
                  </a:lnTo>
                  <a:lnTo>
                    <a:pt x="363985" y="95050"/>
                  </a:lnTo>
                  <a:lnTo>
                    <a:pt x="362291" y="93689"/>
                  </a:lnTo>
                  <a:lnTo>
                    <a:pt x="355364" y="90573"/>
                  </a:lnTo>
                  <a:lnTo>
                    <a:pt x="351582" y="89696"/>
                  </a:lnTo>
                  <a:lnTo>
                    <a:pt x="342174" y="87245"/>
                  </a:lnTo>
                  <a:lnTo>
                    <a:pt x="322873" y="82223"/>
                  </a:lnTo>
                  <a:lnTo>
                    <a:pt x="320937" y="81255"/>
                  </a:lnTo>
                  <a:lnTo>
                    <a:pt x="318971" y="80257"/>
                  </a:lnTo>
                  <a:lnTo>
                    <a:pt x="308171" y="70849"/>
                  </a:lnTo>
                  <a:lnTo>
                    <a:pt x="303180" y="67642"/>
                  </a:lnTo>
                  <a:lnTo>
                    <a:pt x="302272" y="66341"/>
                  </a:lnTo>
                  <a:lnTo>
                    <a:pt x="302575" y="64284"/>
                  </a:lnTo>
                  <a:lnTo>
                    <a:pt x="303331" y="62197"/>
                  </a:lnTo>
                  <a:lnTo>
                    <a:pt x="303331" y="60533"/>
                  </a:lnTo>
                  <a:lnTo>
                    <a:pt x="294740" y="57569"/>
                  </a:lnTo>
                  <a:lnTo>
                    <a:pt x="291805" y="55814"/>
                  </a:lnTo>
                  <a:lnTo>
                    <a:pt x="288991" y="53333"/>
                  </a:lnTo>
                  <a:lnTo>
                    <a:pt x="286178" y="51639"/>
                  </a:lnTo>
                  <a:lnTo>
                    <a:pt x="282306" y="50732"/>
                  </a:lnTo>
                  <a:lnTo>
                    <a:pt x="278313" y="50611"/>
                  </a:lnTo>
                  <a:lnTo>
                    <a:pt x="273624" y="51972"/>
                  </a:lnTo>
                  <a:lnTo>
                    <a:pt x="270478" y="52032"/>
                  </a:lnTo>
                  <a:lnTo>
                    <a:pt x="268723" y="52789"/>
                  </a:lnTo>
                  <a:lnTo>
                    <a:pt x="266001" y="55148"/>
                  </a:lnTo>
                  <a:lnTo>
                    <a:pt x="264579" y="55663"/>
                  </a:lnTo>
                  <a:lnTo>
                    <a:pt x="262642" y="55300"/>
                  </a:lnTo>
                  <a:lnTo>
                    <a:pt x="256501" y="52123"/>
                  </a:lnTo>
                  <a:lnTo>
                    <a:pt x="253597" y="50036"/>
                  </a:lnTo>
                  <a:lnTo>
                    <a:pt x="250966" y="47585"/>
                  </a:lnTo>
                  <a:lnTo>
                    <a:pt x="245248" y="44046"/>
                  </a:lnTo>
                  <a:lnTo>
                    <a:pt x="239167" y="43259"/>
                  </a:lnTo>
                  <a:lnTo>
                    <a:pt x="238350" y="43139"/>
                  </a:lnTo>
                  <a:lnTo>
                    <a:pt x="221350" y="44469"/>
                  </a:lnTo>
                  <a:lnTo>
                    <a:pt x="218748" y="45195"/>
                  </a:lnTo>
                  <a:lnTo>
                    <a:pt x="218203" y="45498"/>
                  </a:lnTo>
                  <a:lnTo>
                    <a:pt x="210278" y="49552"/>
                  </a:lnTo>
                  <a:lnTo>
                    <a:pt x="207041" y="50157"/>
                  </a:lnTo>
                  <a:lnTo>
                    <a:pt x="203834" y="50006"/>
                  </a:lnTo>
                  <a:lnTo>
                    <a:pt x="200627" y="49128"/>
                  </a:lnTo>
                  <a:lnTo>
                    <a:pt x="197481" y="47707"/>
                  </a:lnTo>
                  <a:lnTo>
                    <a:pt x="194577" y="46950"/>
                  </a:lnTo>
                  <a:lnTo>
                    <a:pt x="191612" y="46829"/>
                  </a:lnTo>
                  <a:lnTo>
                    <a:pt x="184594" y="47555"/>
                  </a:lnTo>
                  <a:lnTo>
                    <a:pt x="181418" y="47253"/>
                  </a:lnTo>
                  <a:lnTo>
                    <a:pt x="174883" y="45528"/>
                  </a:lnTo>
                  <a:lnTo>
                    <a:pt x="171223" y="45135"/>
                  </a:lnTo>
                  <a:lnTo>
                    <a:pt x="163841" y="46043"/>
                  </a:lnTo>
                  <a:lnTo>
                    <a:pt x="160181" y="45770"/>
                  </a:lnTo>
                  <a:lnTo>
                    <a:pt x="157458" y="44379"/>
                  </a:lnTo>
                  <a:lnTo>
                    <a:pt x="152981" y="40144"/>
                  </a:lnTo>
                  <a:lnTo>
                    <a:pt x="150349" y="38692"/>
                  </a:lnTo>
                  <a:lnTo>
                    <a:pt x="145086" y="37179"/>
                  </a:lnTo>
                  <a:lnTo>
                    <a:pt x="143634" y="36150"/>
                  </a:lnTo>
                  <a:lnTo>
                    <a:pt x="142696" y="34850"/>
                  </a:lnTo>
                  <a:lnTo>
                    <a:pt x="141274" y="31885"/>
                  </a:lnTo>
                  <a:lnTo>
                    <a:pt x="140366" y="30645"/>
                  </a:lnTo>
                  <a:lnTo>
                    <a:pt x="137311" y="29525"/>
                  </a:lnTo>
                  <a:lnTo>
                    <a:pt x="130111" y="30826"/>
                  </a:lnTo>
                  <a:lnTo>
                    <a:pt x="126602" y="29435"/>
                  </a:lnTo>
                  <a:lnTo>
                    <a:pt x="123486" y="27075"/>
                  </a:lnTo>
                  <a:lnTo>
                    <a:pt x="120219" y="25562"/>
                  </a:lnTo>
                  <a:lnTo>
                    <a:pt x="116800" y="24897"/>
                  </a:lnTo>
                  <a:lnTo>
                    <a:pt x="106333" y="26168"/>
                  </a:lnTo>
                  <a:lnTo>
                    <a:pt x="103248" y="25471"/>
                  </a:lnTo>
                  <a:lnTo>
                    <a:pt x="89453" y="15277"/>
                  </a:lnTo>
                  <a:lnTo>
                    <a:pt x="86217" y="13522"/>
                  </a:lnTo>
                  <a:lnTo>
                    <a:pt x="75900" y="10225"/>
                  </a:lnTo>
                  <a:lnTo>
                    <a:pt x="70849" y="6685"/>
                  </a:lnTo>
                  <a:lnTo>
                    <a:pt x="69971" y="6050"/>
                  </a:lnTo>
                  <a:lnTo>
                    <a:pt x="67007" y="4659"/>
                  </a:lnTo>
                  <a:lnTo>
                    <a:pt x="63346" y="5082"/>
                  </a:lnTo>
                  <a:lnTo>
                    <a:pt x="56842" y="8198"/>
                  </a:lnTo>
                  <a:lnTo>
                    <a:pt x="53727" y="8985"/>
                  </a:lnTo>
                  <a:lnTo>
                    <a:pt x="49703" y="8531"/>
                  </a:lnTo>
                  <a:lnTo>
                    <a:pt x="24897" y="0"/>
                  </a:lnTo>
                  <a:lnTo>
                    <a:pt x="17969" y="0"/>
                  </a:lnTo>
                  <a:lnTo>
                    <a:pt x="11132" y="1664"/>
                  </a:lnTo>
                  <a:lnTo>
                    <a:pt x="8742" y="3116"/>
                  </a:lnTo>
                  <a:lnTo>
                    <a:pt x="7381" y="5143"/>
                  </a:lnTo>
                  <a:lnTo>
                    <a:pt x="544" y="21539"/>
                  </a:lnTo>
                  <a:lnTo>
                    <a:pt x="0" y="23747"/>
                  </a:lnTo>
                  <a:lnTo>
                    <a:pt x="0" y="23747"/>
                  </a:lnTo>
                  <a:lnTo>
                    <a:pt x="2420" y="24231"/>
                  </a:lnTo>
                  <a:lnTo>
                    <a:pt x="5536" y="25442"/>
                  </a:lnTo>
                  <a:lnTo>
                    <a:pt x="10164" y="26107"/>
                  </a:lnTo>
                  <a:lnTo>
                    <a:pt x="11616" y="26772"/>
                  </a:lnTo>
                  <a:lnTo>
                    <a:pt x="14853" y="29767"/>
                  </a:lnTo>
                  <a:lnTo>
                    <a:pt x="20359" y="31280"/>
                  </a:lnTo>
                  <a:lnTo>
                    <a:pt x="23475" y="32641"/>
                  </a:lnTo>
                  <a:lnTo>
                    <a:pt x="25078" y="34487"/>
                  </a:lnTo>
                  <a:lnTo>
                    <a:pt x="27287" y="37905"/>
                  </a:lnTo>
                  <a:lnTo>
                    <a:pt x="28890" y="41626"/>
                  </a:lnTo>
                  <a:lnTo>
                    <a:pt x="28436" y="45649"/>
                  </a:lnTo>
                  <a:lnTo>
                    <a:pt x="29435" y="47011"/>
                  </a:lnTo>
                  <a:lnTo>
                    <a:pt x="31703" y="49128"/>
                  </a:lnTo>
                  <a:lnTo>
                    <a:pt x="32641" y="50792"/>
                  </a:lnTo>
                  <a:lnTo>
                    <a:pt x="34123" y="54180"/>
                  </a:lnTo>
                  <a:lnTo>
                    <a:pt x="35152" y="55209"/>
                  </a:lnTo>
                  <a:lnTo>
                    <a:pt x="37754" y="52063"/>
                  </a:lnTo>
                  <a:lnTo>
                    <a:pt x="41475" y="52486"/>
                  </a:lnTo>
                  <a:lnTo>
                    <a:pt x="49582" y="56056"/>
                  </a:lnTo>
                  <a:lnTo>
                    <a:pt x="52758" y="56570"/>
                  </a:lnTo>
                  <a:lnTo>
                    <a:pt x="53786" y="56903"/>
                  </a:lnTo>
                  <a:lnTo>
                    <a:pt x="54664" y="57538"/>
                  </a:lnTo>
                  <a:lnTo>
                    <a:pt x="56358" y="59232"/>
                  </a:lnTo>
                  <a:lnTo>
                    <a:pt x="56842" y="59565"/>
                  </a:lnTo>
                  <a:lnTo>
                    <a:pt x="57840" y="59988"/>
                  </a:lnTo>
                  <a:lnTo>
                    <a:pt x="59777" y="61773"/>
                  </a:lnTo>
                  <a:lnTo>
                    <a:pt x="60987" y="62166"/>
                  </a:lnTo>
                  <a:lnTo>
                    <a:pt x="62196" y="62046"/>
                  </a:lnTo>
                  <a:lnTo>
                    <a:pt x="65433" y="61289"/>
                  </a:lnTo>
                  <a:lnTo>
                    <a:pt x="70153" y="61077"/>
                  </a:lnTo>
                  <a:lnTo>
                    <a:pt x="80227" y="62348"/>
                  </a:lnTo>
                  <a:lnTo>
                    <a:pt x="87547" y="65010"/>
                  </a:lnTo>
                  <a:lnTo>
                    <a:pt x="88243" y="65555"/>
                  </a:lnTo>
                  <a:lnTo>
                    <a:pt x="90603" y="69306"/>
                  </a:lnTo>
                  <a:lnTo>
                    <a:pt x="90633" y="69941"/>
                  </a:lnTo>
                  <a:lnTo>
                    <a:pt x="92387" y="70909"/>
                  </a:lnTo>
                  <a:lnTo>
                    <a:pt x="95382" y="75144"/>
                  </a:lnTo>
                  <a:lnTo>
                    <a:pt x="97924" y="75961"/>
                  </a:lnTo>
                  <a:lnTo>
                    <a:pt x="101887" y="74328"/>
                  </a:lnTo>
                  <a:lnTo>
                    <a:pt x="104367" y="74237"/>
                  </a:lnTo>
                  <a:lnTo>
                    <a:pt x="106091" y="77867"/>
                  </a:lnTo>
                  <a:lnTo>
                    <a:pt x="110297" y="84553"/>
                  </a:lnTo>
                  <a:lnTo>
                    <a:pt x="112596" y="92297"/>
                  </a:lnTo>
                  <a:lnTo>
                    <a:pt x="117164" y="98741"/>
                  </a:lnTo>
                  <a:lnTo>
                    <a:pt x="118252" y="99315"/>
                  </a:lnTo>
                  <a:lnTo>
                    <a:pt x="119523" y="99073"/>
                  </a:lnTo>
                  <a:lnTo>
                    <a:pt x="121550" y="97924"/>
                  </a:lnTo>
                  <a:lnTo>
                    <a:pt x="122699" y="97621"/>
                  </a:lnTo>
                  <a:lnTo>
                    <a:pt x="124727" y="97894"/>
                  </a:lnTo>
                  <a:lnTo>
                    <a:pt x="127298" y="98771"/>
                  </a:lnTo>
                  <a:lnTo>
                    <a:pt x="129718" y="100041"/>
                  </a:lnTo>
                  <a:lnTo>
                    <a:pt x="131321" y="101403"/>
                  </a:lnTo>
                  <a:lnTo>
                    <a:pt x="132985" y="102250"/>
                  </a:lnTo>
                  <a:lnTo>
                    <a:pt x="140639" y="103551"/>
                  </a:lnTo>
                  <a:lnTo>
                    <a:pt x="144753" y="105729"/>
                  </a:lnTo>
                  <a:lnTo>
                    <a:pt x="148081" y="109026"/>
                  </a:lnTo>
                  <a:lnTo>
                    <a:pt x="150621" y="113231"/>
                  </a:lnTo>
                  <a:lnTo>
                    <a:pt x="152376" y="118192"/>
                  </a:lnTo>
                  <a:lnTo>
                    <a:pt x="157519" y="147506"/>
                  </a:lnTo>
                  <a:lnTo>
                    <a:pt x="157519" y="147506"/>
                  </a:lnTo>
                  <a:lnTo>
                    <a:pt x="157882" y="149593"/>
                  </a:lnTo>
                  <a:lnTo>
                    <a:pt x="158245" y="150471"/>
                  </a:lnTo>
                  <a:lnTo>
                    <a:pt x="160937" y="152951"/>
                  </a:lnTo>
                  <a:lnTo>
                    <a:pt x="161663" y="153889"/>
                  </a:lnTo>
                  <a:lnTo>
                    <a:pt x="162056" y="154645"/>
                  </a:lnTo>
                  <a:lnTo>
                    <a:pt x="167381" y="171768"/>
                  </a:lnTo>
                  <a:lnTo>
                    <a:pt x="168198" y="177364"/>
                  </a:lnTo>
                  <a:lnTo>
                    <a:pt x="168379" y="181599"/>
                  </a:lnTo>
                  <a:lnTo>
                    <a:pt x="168893" y="183989"/>
                  </a:lnTo>
                  <a:lnTo>
                    <a:pt x="169892" y="185018"/>
                  </a:lnTo>
                  <a:lnTo>
                    <a:pt x="170981" y="185865"/>
                  </a:lnTo>
                  <a:lnTo>
                    <a:pt x="174036" y="190765"/>
                  </a:lnTo>
                  <a:lnTo>
                    <a:pt x="178090" y="197360"/>
                  </a:lnTo>
                  <a:lnTo>
                    <a:pt x="178544" y="199054"/>
                  </a:lnTo>
                  <a:lnTo>
                    <a:pt x="178725" y="201868"/>
                  </a:lnTo>
                  <a:lnTo>
                    <a:pt x="179935" y="209703"/>
                  </a:lnTo>
                  <a:lnTo>
                    <a:pt x="179935" y="220261"/>
                  </a:lnTo>
                  <a:lnTo>
                    <a:pt x="179724" y="221380"/>
                  </a:lnTo>
                  <a:lnTo>
                    <a:pt x="179149" y="222409"/>
                  </a:lnTo>
                  <a:lnTo>
                    <a:pt x="177515" y="224496"/>
                  </a:lnTo>
                  <a:lnTo>
                    <a:pt x="176910" y="225585"/>
                  </a:lnTo>
                  <a:lnTo>
                    <a:pt x="176759" y="226553"/>
                  </a:lnTo>
                  <a:lnTo>
                    <a:pt x="176759" y="227672"/>
                  </a:lnTo>
                  <a:lnTo>
                    <a:pt x="176517" y="229124"/>
                  </a:lnTo>
                  <a:lnTo>
                    <a:pt x="171767" y="236264"/>
                  </a:lnTo>
                  <a:lnTo>
                    <a:pt x="170073" y="239984"/>
                  </a:lnTo>
                  <a:lnTo>
                    <a:pt x="164023" y="243645"/>
                  </a:lnTo>
                  <a:lnTo>
                    <a:pt x="161059" y="247305"/>
                  </a:lnTo>
                  <a:lnTo>
                    <a:pt x="154463" y="258226"/>
                  </a:lnTo>
                  <a:lnTo>
                    <a:pt x="165172" y="262401"/>
                  </a:lnTo>
                  <a:lnTo>
                    <a:pt x="166443" y="262613"/>
                  </a:lnTo>
                  <a:lnTo>
                    <a:pt x="169469" y="262401"/>
                  </a:lnTo>
                  <a:lnTo>
                    <a:pt x="171979" y="261312"/>
                  </a:lnTo>
                  <a:lnTo>
                    <a:pt x="172766" y="261312"/>
                  </a:lnTo>
                  <a:lnTo>
                    <a:pt x="172887" y="261826"/>
                  </a:lnTo>
                  <a:lnTo>
                    <a:pt x="172766" y="262734"/>
                  </a:lnTo>
                  <a:lnTo>
                    <a:pt x="172766" y="263732"/>
                  </a:lnTo>
                  <a:lnTo>
                    <a:pt x="173189" y="264518"/>
                  </a:lnTo>
                  <a:lnTo>
                    <a:pt x="174369" y="264942"/>
                  </a:lnTo>
                  <a:lnTo>
                    <a:pt x="177303" y="265275"/>
                  </a:lnTo>
                  <a:lnTo>
                    <a:pt x="178634" y="265698"/>
                  </a:lnTo>
                  <a:lnTo>
                    <a:pt x="182628" y="269117"/>
                  </a:lnTo>
                  <a:lnTo>
                    <a:pt x="183868" y="269601"/>
                  </a:lnTo>
                  <a:lnTo>
                    <a:pt x="184836" y="269086"/>
                  </a:lnTo>
                  <a:lnTo>
                    <a:pt x="188859" y="265910"/>
                  </a:lnTo>
                  <a:lnTo>
                    <a:pt x="192006" y="261766"/>
                  </a:lnTo>
                  <a:lnTo>
                    <a:pt x="193397" y="260767"/>
                  </a:lnTo>
                  <a:lnTo>
                    <a:pt x="197451" y="259285"/>
                  </a:lnTo>
                  <a:lnTo>
                    <a:pt x="204651" y="261826"/>
                  </a:lnTo>
                  <a:lnTo>
                    <a:pt x="208220" y="260767"/>
                  </a:lnTo>
                  <a:lnTo>
                    <a:pt x="209672" y="260162"/>
                  </a:lnTo>
                  <a:lnTo>
                    <a:pt x="211064" y="259981"/>
                  </a:lnTo>
                  <a:lnTo>
                    <a:pt x="212486" y="260162"/>
                  </a:lnTo>
                  <a:lnTo>
                    <a:pt x="213908" y="260767"/>
                  </a:lnTo>
                  <a:lnTo>
                    <a:pt x="217084" y="259950"/>
                  </a:lnTo>
                  <a:lnTo>
                    <a:pt x="218627" y="259981"/>
                  </a:lnTo>
                  <a:lnTo>
                    <a:pt x="220049" y="260767"/>
                  </a:lnTo>
                  <a:lnTo>
                    <a:pt x="221712" y="262250"/>
                  </a:lnTo>
                  <a:lnTo>
                    <a:pt x="224132" y="262431"/>
                  </a:lnTo>
                  <a:lnTo>
                    <a:pt x="229094" y="262159"/>
                  </a:lnTo>
                  <a:lnTo>
                    <a:pt x="246730" y="268481"/>
                  </a:lnTo>
                  <a:lnTo>
                    <a:pt x="248062" y="268421"/>
                  </a:lnTo>
                  <a:lnTo>
                    <a:pt x="249272" y="268360"/>
                  </a:lnTo>
                  <a:lnTo>
                    <a:pt x="251359" y="267090"/>
                  </a:lnTo>
                  <a:lnTo>
                    <a:pt x="254384" y="262915"/>
                  </a:lnTo>
                  <a:lnTo>
                    <a:pt x="256562" y="260767"/>
                  </a:lnTo>
                  <a:lnTo>
                    <a:pt x="257591" y="258801"/>
                  </a:lnTo>
                  <a:lnTo>
                    <a:pt x="258529" y="253779"/>
                  </a:lnTo>
                  <a:lnTo>
                    <a:pt x="259557" y="251722"/>
                  </a:lnTo>
                  <a:lnTo>
                    <a:pt x="261554" y="250270"/>
                  </a:lnTo>
                  <a:lnTo>
                    <a:pt x="261705" y="250240"/>
                  </a:lnTo>
                  <a:lnTo>
                    <a:pt x="262128" y="250088"/>
                  </a:lnTo>
                  <a:lnTo>
                    <a:pt x="264125" y="249483"/>
                  </a:lnTo>
                  <a:lnTo>
                    <a:pt x="269207" y="249090"/>
                  </a:lnTo>
                  <a:lnTo>
                    <a:pt x="283274" y="250209"/>
                  </a:lnTo>
                  <a:lnTo>
                    <a:pt x="285210" y="251057"/>
                  </a:lnTo>
                  <a:lnTo>
                    <a:pt x="284424" y="252206"/>
                  </a:lnTo>
                  <a:lnTo>
                    <a:pt x="284091" y="253447"/>
                  </a:lnTo>
                  <a:lnTo>
                    <a:pt x="283879" y="254687"/>
                  </a:lnTo>
                  <a:lnTo>
                    <a:pt x="283456" y="255776"/>
                  </a:lnTo>
                  <a:lnTo>
                    <a:pt x="282639" y="256683"/>
                  </a:lnTo>
                  <a:lnTo>
                    <a:pt x="280672" y="258226"/>
                  </a:lnTo>
                  <a:lnTo>
                    <a:pt x="279826" y="259436"/>
                  </a:lnTo>
                  <a:lnTo>
                    <a:pt x="282397" y="260858"/>
                  </a:lnTo>
                  <a:lnTo>
                    <a:pt x="284303" y="262794"/>
                  </a:lnTo>
                  <a:lnTo>
                    <a:pt x="286208" y="263369"/>
                  </a:lnTo>
                  <a:lnTo>
                    <a:pt x="288659" y="260737"/>
                  </a:lnTo>
                  <a:lnTo>
                    <a:pt x="290050" y="259950"/>
                  </a:lnTo>
                  <a:lnTo>
                    <a:pt x="290746" y="260767"/>
                  </a:lnTo>
                  <a:lnTo>
                    <a:pt x="291321" y="262280"/>
                  </a:lnTo>
                  <a:lnTo>
                    <a:pt x="292138" y="263672"/>
                  </a:lnTo>
                  <a:lnTo>
                    <a:pt x="292924" y="264095"/>
                  </a:lnTo>
                  <a:lnTo>
                    <a:pt x="295889" y="265003"/>
                  </a:lnTo>
                  <a:lnTo>
                    <a:pt x="296494" y="265547"/>
                  </a:lnTo>
                  <a:lnTo>
                    <a:pt x="296887" y="266092"/>
                  </a:lnTo>
                  <a:lnTo>
                    <a:pt x="297371" y="266576"/>
                  </a:lnTo>
                  <a:lnTo>
                    <a:pt x="298279" y="266908"/>
                  </a:lnTo>
                  <a:lnTo>
                    <a:pt x="299065" y="267725"/>
                  </a:lnTo>
                  <a:lnTo>
                    <a:pt x="302060" y="272928"/>
                  </a:lnTo>
                  <a:lnTo>
                    <a:pt x="303512" y="274411"/>
                  </a:lnTo>
                  <a:lnTo>
                    <a:pt x="310924" y="279069"/>
                  </a:lnTo>
                  <a:lnTo>
                    <a:pt x="315794" y="282972"/>
                  </a:lnTo>
                  <a:lnTo>
                    <a:pt x="318880" y="284333"/>
                  </a:lnTo>
                  <a:lnTo>
                    <a:pt x="321814" y="284696"/>
                  </a:lnTo>
                  <a:lnTo>
                    <a:pt x="321966" y="285331"/>
                  </a:lnTo>
                  <a:lnTo>
                    <a:pt x="320605" y="287116"/>
                  </a:lnTo>
                  <a:lnTo>
                    <a:pt x="319122" y="288296"/>
                  </a:lnTo>
                  <a:lnTo>
                    <a:pt x="313677" y="290868"/>
                  </a:lnTo>
                  <a:lnTo>
                    <a:pt x="316430" y="291654"/>
                  </a:lnTo>
                  <a:lnTo>
                    <a:pt x="318638" y="291442"/>
                  </a:lnTo>
                  <a:lnTo>
                    <a:pt x="320605" y="291654"/>
                  </a:lnTo>
                  <a:lnTo>
                    <a:pt x="322662" y="293772"/>
                  </a:lnTo>
                  <a:lnTo>
                    <a:pt x="325052" y="299247"/>
                  </a:lnTo>
                  <a:lnTo>
                    <a:pt x="326534" y="300215"/>
                  </a:lnTo>
                  <a:lnTo>
                    <a:pt x="335791" y="297825"/>
                  </a:lnTo>
                  <a:lnTo>
                    <a:pt x="338695" y="297644"/>
                  </a:lnTo>
                  <a:lnTo>
                    <a:pt x="341871" y="298430"/>
                  </a:lnTo>
                  <a:lnTo>
                    <a:pt x="344624" y="299882"/>
                  </a:lnTo>
                  <a:lnTo>
                    <a:pt x="347346" y="302212"/>
                  </a:lnTo>
                  <a:lnTo>
                    <a:pt x="348768" y="305116"/>
                  </a:lnTo>
                  <a:lnTo>
                    <a:pt x="347649" y="308292"/>
                  </a:lnTo>
                  <a:lnTo>
                    <a:pt x="348648" y="308534"/>
                  </a:lnTo>
                  <a:lnTo>
                    <a:pt x="349646" y="308565"/>
                  </a:lnTo>
                  <a:lnTo>
                    <a:pt x="350614" y="308353"/>
                  </a:lnTo>
                  <a:lnTo>
                    <a:pt x="356059" y="306326"/>
                  </a:lnTo>
                  <a:lnTo>
                    <a:pt x="360324" y="306144"/>
                  </a:lnTo>
                  <a:lnTo>
                    <a:pt x="376751" y="308292"/>
                  </a:lnTo>
                  <a:lnTo>
                    <a:pt x="379201" y="308081"/>
                  </a:lnTo>
                  <a:lnTo>
                    <a:pt x="381168" y="307324"/>
                  </a:lnTo>
                  <a:lnTo>
                    <a:pt x="385856" y="303543"/>
                  </a:lnTo>
                  <a:lnTo>
                    <a:pt x="390183" y="301879"/>
                  </a:lnTo>
                  <a:lnTo>
                    <a:pt x="399500" y="301698"/>
                  </a:lnTo>
                  <a:lnTo>
                    <a:pt x="401708" y="301213"/>
                  </a:lnTo>
                  <a:lnTo>
                    <a:pt x="401738" y="301183"/>
                  </a:lnTo>
                  <a:lnTo>
                    <a:pt x="404068" y="300669"/>
                  </a:lnTo>
                  <a:lnTo>
                    <a:pt x="408092" y="299005"/>
                  </a:lnTo>
                  <a:lnTo>
                    <a:pt x="410118" y="298793"/>
                  </a:lnTo>
                  <a:lnTo>
                    <a:pt x="414384" y="299882"/>
                  </a:lnTo>
                  <a:lnTo>
                    <a:pt x="416502" y="299550"/>
                  </a:lnTo>
                  <a:lnTo>
                    <a:pt x="418468" y="298551"/>
                  </a:lnTo>
                  <a:lnTo>
                    <a:pt x="420041" y="297099"/>
                  </a:lnTo>
                  <a:lnTo>
                    <a:pt x="420555" y="295919"/>
                  </a:lnTo>
                  <a:lnTo>
                    <a:pt x="420615" y="294861"/>
                  </a:lnTo>
                  <a:lnTo>
                    <a:pt x="420888" y="293953"/>
                  </a:lnTo>
                  <a:lnTo>
                    <a:pt x="422098" y="293197"/>
                  </a:lnTo>
                  <a:lnTo>
                    <a:pt x="423157" y="293167"/>
                  </a:lnTo>
                  <a:lnTo>
                    <a:pt x="425909" y="294195"/>
                  </a:lnTo>
                  <a:lnTo>
                    <a:pt x="430750" y="297311"/>
                  </a:lnTo>
                  <a:lnTo>
                    <a:pt x="432595" y="297977"/>
                  </a:lnTo>
                  <a:lnTo>
                    <a:pt x="434985" y="297614"/>
                  </a:lnTo>
                  <a:lnTo>
                    <a:pt x="435923" y="297008"/>
                  </a:lnTo>
                  <a:lnTo>
                    <a:pt x="436649" y="296252"/>
                  </a:lnTo>
                  <a:lnTo>
                    <a:pt x="437466" y="295587"/>
                  </a:lnTo>
                  <a:lnTo>
                    <a:pt x="438646" y="295224"/>
                  </a:lnTo>
                  <a:lnTo>
                    <a:pt x="439886" y="295375"/>
                  </a:lnTo>
                  <a:lnTo>
                    <a:pt x="445271" y="298340"/>
                  </a:lnTo>
                  <a:lnTo>
                    <a:pt x="447449" y="299096"/>
                  </a:lnTo>
                  <a:lnTo>
                    <a:pt x="449718" y="299247"/>
                  </a:lnTo>
                  <a:lnTo>
                    <a:pt x="452168" y="298582"/>
                  </a:lnTo>
                  <a:lnTo>
                    <a:pt x="454195" y="296494"/>
                  </a:lnTo>
                  <a:lnTo>
                    <a:pt x="454860" y="296041"/>
                  </a:lnTo>
                  <a:lnTo>
                    <a:pt x="455919" y="296010"/>
                  </a:lnTo>
                  <a:lnTo>
                    <a:pt x="456464" y="296948"/>
                  </a:lnTo>
                  <a:lnTo>
                    <a:pt x="456827" y="298188"/>
                  </a:lnTo>
                  <a:lnTo>
                    <a:pt x="457371" y="299126"/>
                  </a:lnTo>
                  <a:lnTo>
                    <a:pt x="459428" y="299671"/>
                  </a:lnTo>
                  <a:lnTo>
                    <a:pt x="460910" y="298461"/>
                  </a:lnTo>
                  <a:lnTo>
                    <a:pt x="462151" y="296494"/>
                  </a:lnTo>
                  <a:lnTo>
                    <a:pt x="463452" y="294921"/>
                  </a:lnTo>
                  <a:lnTo>
                    <a:pt x="465630" y="294014"/>
                  </a:lnTo>
                  <a:lnTo>
                    <a:pt x="467656" y="294256"/>
                  </a:lnTo>
                  <a:lnTo>
                    <a:pt x="471862" y="295799"/>
                  </a:lnTo>
                  <a:lnTo>
                    <a:pt x="486624" y="296101"/>
                  </a:lnTo>
                  <a:lnTo>
                    <a:pt x="489256" y="295768"/>
                  </a:lnTo>
                  <a:lnTo>
                    <a:pt x="490254" y="294467"/>
                  </a:lnTo>
                  <a:lnTo>
                    <a:pt x="489861" y="293953"/>
                  </a:lnTo>
                  <a:lnTo>
                    <a:pt x="489166" y="293076"/>
                  </a:lnTo>
                  <a:lnTo>
                    <a:pt x="485414" y="291412"/>
                  </a:lnTo>
                  <a:lnTo>
                    <a:pt x="484567" y="289657"/>
                  </a:lnTo>
                  <a:lnTo>
                    <a:pt x="486533" y="287842"/>
                  </a:lnTo>
                  <a:lnTo>
                    <a:pt x="496244" y="289264"/>
                  </a:lnTo>
                  <a:lnTo>
                    <a:pt x="500056" y="289143"/>
                  </a:lnTo>
                  <a:lnTo>
                    <a:pt x="501296" y="288387"/>
                  </a:lnTo>
                  <a:lnTo>
                    <a:pt x="503565" y="286481"/>
                  </a:lnTo>
                  <a:lnTo>
                    <a:pt x="504805" y="285755"/>
                  </a:lnTo>
                  <a:lnTo>
                    <a:pt x="514395" y="278434"/>
                  </a:lnTo>
                  <a:lnTo>
                    <a:pt x="529702" y="266818"/>
                  </a:lnTo>
                  <a:lnTo>
                    <a:pt x="532909" y="265789"/>
                  </a:lnTo>
                  <a:lnTo>
                    <a:pt x="536207" y="265940"/>
                  </a:lnTo>
                  <a:lnTo>
                    <a:pt x="538082" y="266848"/>
                  </a:lnTo>
                  <a:lnTo>
                    <a:pt x="542922" y="269147"/>
                  </a:lnTo>
                  <a:lnTo>
                    <a:pt x="544496" y="269419"/>
                  </a:lnTo>
                  <a:lnTo>
                    <a:pt x="546522" y="269268"/>
                  </a:lnTo>
                  <a:lnTo>
                    <a:pt x="549850" y="268330"/>
                  </a:lnTo>
                  <a:lnTo>
                    <a:pt x="551332" y="268572"/>
                  </a:lnTo>
                  <a:lnTo>
                    <a:pt x="552784" y="270115"/>
                  </a:lnTo>
                  <a:lnTo>
                    <a:pt x="556081" y="272959"/>
                  </a:lnTo>
                  <a:lnTo>
                    <a:pt x="570542" y="278162"/>
                  </a:lnTo>
                  <a:lnTo>
                    <a:pt x="577076" y="279372"/>
                  </a:lnTo>
                  <a:lnTo>
                    <a:pt x="579435" y="280249"/>
                  </a:lnTo>
                  <a:lnTo>
                    <a:pt x="579556" y="280975"/>
                  </a:lnTo>
                  <a:lnTo>
                    <a:pt x="578135" y="281732"/>
                  </a:lnTo>
                  <a:lnTo>
                    <a:pt x="575836" y="282488"/>
                  </a:lnTo>
                  <a:lnTo>
                    <a:pt x="573597" y="285029"/>
                  </a:lnTo>
                  <a:lnTo>
                    <a:pt x="575987" y="288538"/>
                  </a:lnTo>
                  <a:lnTo>
                    <a:pt x="580132" y="291836"/>
                  </a:lnTo>
                  <a:lnTo>
                    <a:pt x="582068" y="292925"/>
                  </a:lnTo>
                  <a:lnTo>
                    <a:pt x="587150" y="295768"/>
                  </a:lnTo>
                  <a:lnTo>
                    <a:pt x="602094" y="300760"/>
                  </a:lnTo>
                  <a:lnTo>
                    <a:pt x="606934" y="301304"/>
                  </a:lnTo>
                  <a:lnTo>
                    <a:pt x="609385" y="301093"/>
                  </a:lnTo>
                  <a:lnTo>
                    <a:pt x="611381" y="300427"/>
                  </a:lnTo>
                  <a:lnTo>
                    <a:pt x="614013" y="298854"/>
                  </a:lnTo>
                  <a:lnTo>
                    <a:pt x="616584" y="297341"/>
                  </a:lnTo>
                  <a:lnTo>
                    <a:pt x="618823" y="296857"/>
                  </a:lnTo>
                  <a:lnTo>
                    <a:pt x="626386" y="296827"/>
                  </a:lnTo>
                  <a:lnTo>
                    <a:pt x="628201" y="297402"/>
                  </a:lnTo>
                  <a:lnTo>
                    <a:pt x="629774" y="298854"/>
                  </a:lnTo>
                  <a:lnTo>
                    <a:pt x="632708" y="302212"/>
                  </a:lnTo>
                  <a:lnTo>
                    <a:pt x="638668" y="307173"/>
                  </a:lnTo>
                  <a:lnTo>
                    <a:pt x="640725" y="308292"/>
                  </a:lnTo>
                  <a:lnTo>
                    <a:pt x="646714" y="310107"/>
                  </a:lnTo>
                  <a:lnTo>
                    <a:pt x="648348" y="311438"/>
                  </a:lnTo>
                  <a:lnTo>
                    <a:pt x="651192" y="314917"/>
                  </a:lnTo>
                  <a:lnTo>
                    <a:pt x="652977" y="315946"/>
                  </a:lnTo>
                  <a:lnTo>
                    <a:pt x="655185" y="315855"/>
                  </a:lnTo>
                  <a:lnTo>
                    <a:pt x="656093" y="314585"/>
                  </a:lnTo>
                  <a:lnTo>
                    <a:pt x="656637" y="312649"/>
                  </a:lnTo>
                  <a:lnTo>
                    <a:pt x="657757" y="310712"/>
                  </a:lnTo>
                  <a:lnTo>
                    <a:pt x="659904" y="309472"/>
                  </a:lnTo>
                  <a:lnTo>
                    <a:pt x="661870" y="309654"/>
                  </a:lnTo>
                  <a:lnTo>
                    <a:pt x="663777" y="310138"/>
                  </a:lnTo>
                  <a:lnTo>
                    <a:pt x="665743" y="309835"/>
                  </a:lnTo>
                  <a:lnTo>
                    <a:pt x="667134" y="308050"/>
                  </a:lnTo>
                  <a:lnTo>
                    <a:pt x="667710" y="307324"/>
                  </a:lnTo>
                  <a:lnTo>
                    <a:pt x="668557" y="303361"/>
                  </a:lnTo>
                  <a:lnTo>
                    <a:pt x="669071" y="299187"/>
                  </a:lnTo>
                  <a:lnTo>
                    <a:pt x="670039" y="295859"/>
                  </a:lnTo>
                  <a:lnTo>
                    <a:pt x="670644" y="295133"/>
                  </a:lnTo>
                  <a:lnTo>
                    <a:pt x="671975" y="293953"/>
                  </a:lnTo>
                  <a:lnTo>
                    <a:pt x="672580" y="293197"/>
                  </a:lnTo>
                  <a:lnTo>
                    <a:pt x="672792" y="292380"/>
                  </a:lnTo>
                  <a:lnTo>
                    <a:pt x="672882" y="290232"/>
                  </a:lnTo>
                  <a:lnTo>
                    <a:pt x="673064" y="289294"/>
                  </a:lnTo>
                  <a:lnTo>
                    <a:pt x="673971" y="288326"/>
                  </a:lnTo>
                  <a:lnTo>
                    <a:pt x="674788" y="288447"/>
                  </a:lnTo>
                  <a:lnTo>
                    <a:pt x="675121" y="288296"/>
                  </a:lnTo>
                  <a:lnTo>
                    <a:pt x="674486" y="286511"/>
                  </a:lnTo>
                  <a:close/>
                </a:path>
              </a:pathLst>
            </a:custGeom>
            <a:solidFill>
              <a:srgbClr val="96A3AC"/>
            </a:solidFill>
            <a:ln w="3175" cap="rnd">
              <a:solidFill>
                <a:schemeClr val="bg1"/>
              </a:solidFill>
              <a:prstDash val="solid"/>
              <a:round/>
            </a:ln>
          </p:spPr>
          <p:txBody>
            <a:bodyPr rtlCol="0" anchor="ctr"/>
            <a:lstStyle/>
            <a:p>
              <a:endParaRPr lang="en-ID"/>
            </a:p>
          </p:txBody>
        </p:sp>
        <p:sp>
          <p:nvSpPr>
            <p:cNvPr id="52" name="Freeform: Shape 51">
              <a:extLst>
                <a:ext uri="{FF2B5EF4-FFF2-40B4-BE49-F238E27FC236}">
                  <a16:creationId xmlns:a16="http://schemas.microsoft.com/office/drawing/2014/main" id="{0E084E5C-8DFC-FBD4-B24C-DEA8847466A7}"/>
                </a:ext>
              </a:extLst>
            </p:cNvPr>
            <p:cNvSpPr/>
            <p:nvPr/>
          </p:nvSpPr>
          <p:spPr>
            <a:xfrm>
              <a:off x="7755414" y="3929282"/>
              <a:ext cx="1149321" cy="1012422"/>
            </a:xfrm>
            <a:custGeom>
              <a:avLst/>
              <a:gdLst>
                <a:gd name="connsiteX0" fmla="*/ 1470129 w 1478629"/>
                <a:gd name="connsiteY0" fmla="*/ 1146469 h 1302505"/>
                <a:gd name="connsiteX1" fmla="*/ 1470643 w 1478629"/>
                <a:gd name="connsiteY1" fmla="*/ 1146469 h 1302505"/>
                <a:gd name="connsiteX2" fmla="*/ 1468072 w 1478629"/>
                <a:gd name="connsiteY2" fmla="*/ 1143051 h 1302505"/>
                <a:gd name="connsiteX3" fmla="*/ 1470129 w 1478629"/>
                <a:gd name="connsiteY3" fmla="*/ 1146590 h 1302505"/>
                <a:gd name="connsiteX4" fmla="*/ 1470129 w 1478629"/>
                <a:gd name="connsiteY4" fmla="*/ 1146469 h 1302505"/>
                <a:gd name="connsiteX5" fmla="*/ 1478448 w 1478629"/>
                <a:gd name="connsiteY5" fmla="*/ 1187188 h 1302505"/>
                <a:gd name="connsiteX6" fmla="*/ 1478024 w 1478629"/>
                <a:gd name="connsiteY6" fmla="*/ 1184737 h 1302505"/>
                <a:gd name="connsiteX7" fmla="*/ 1476179 w 1478629"/>
                <a:gd name="connsiteY7" fmla="*/ 1179897 h 1302505"/>
                <a:gd name="connsiteX8" fmla="*/ 1475725 w 1478629"/>
                <a:gd name="connsiteY8" fmla="*/ 1177326 h 1302505"/>
                <a:gd name="connsiteX9" fmla="*/ 1475725 w 1478629"/>
                <a:gd name="connsiteY9" fmla="*/ 1174996 h 1302505"/>
                <a:gd name="connsiteX10" fmla="*/ 1476028 w 1478629"/>
                <a:gd name="connsiteY10" fmla="*/ 1173030 h 1302505"/>
                <a:gd name="connsiteX11" fmla="*/ 1476482 w 1478629"/>
                <a:gd name="connsiteY11" fmla="*/ 1171306 h 1302505"/>
                <a:gd name="connsiteX12" fmla="*/ 1477087 w 1478629"/>
                <a:gd name="connsiteY12" fmla="*/ 1169672 h 1302505"/>
                <a:gd name="connsiteX13" fmla="*/ 1475846 w 1478629"/>
                <a:gd name="connsiteY13" fmla="*/ 1167040 h 1302505"/>
                <a:gd name="connsiteX14" fmla="*/ 1475514 w 1478629"/>
                <a:gd name="connsiteY14" fmla="*/ 1163289 h 1302505"/>
                <a:gd name="connsiteX15" fmla="*/ 1475756 w 1478629"/>
                <a:gd name="connsiteY15" fmla="*/ 1156028 h 1302505"/>
                <a:gd name="connsiteX16" fmla="*/ 1475332 w 1478629"/>
                <a:gd name="connsiteY16" fmla="*/ 1153639 h 1302505"/>
                <a:gd name="connsiteX17" fmla="*/ 1474364 w 1478629"/>
                <a:gd name="connsiteY17" fmla="*/ 1151460 h 1302505"/>
                <a:gd name="connsiteX18" fmla="*/ 1471460 w 1478629"/>
                <a:gd name="connsiteY18" fmla="*/ 1147498 h 1302505"/>
                <a:gd name="connsiteX19" fmla="*/ 1472973 w 1478629"/>
                <a:gd name="connsiteY19" fmla="*/ 1150765 h 1302505"/>
                <a:gd name="connsiteX20" fmla="*/ 1473396 w 1478629"/>
                <a:gd name="connsiteY20" fmla="*/ 1151612 h 1302505"/>
                <a:gd name="connsiteX21" fmla="*/ 1473668 w 1478629"/>
                <a:gd name="connsiteY21" fmla="*/ 1153427 h 1302505"/>
                <a:gd name="connsiteX22" fmla="*/ 1470946 w 1478629"/>
                <a:gd name="connsiteY22" fmla="*/ 1152308 h 1302505"/>
                <a:gd name="connsiteX23" fmla="*/ 1470159 w 1478629"/>
                <a:gd name="connsiteY23" fmla="*/ 1151733 h 1302505"/>
                <a:gd name="connsiteX24" fmla="*/ 1469524 w 1478629"/>
                <a:gd name="connsiteY24" fmla="*/ 1150704 h 1302505"/>
                <a:gd name="connsiteX25" fmla="*/ 1469251 w 1478629"/>
                <a:gd name="connsiteY25" fmla="*/ 1149736 h 1302505"/>
                <a:gd name="connsiteX26" fmla="*/ 1468919 w 1478629"/>
                <a:gd name="connsiteY26" fmla="*/ 1148889 h 1302505"/>
                <a:gd name="connsiteX27" fmla="*/ 1468102 w 1478629"/>
                <a:gd name="connsiteY27" fmla="*/ 1148284 h 1302505"/>
                <a:gd name="connsiteX28" fmla="*/ 1468586 w 1478629"/>
                <a:gd name="connsiteY28" fmla="*/ 1147255 h 1302505"/>
                <a:gd name="connsiteX29" fmla="*/ 1468586 w 1478629"/>
                <a:gd name="connsiteY29" fmla="*/ 1146590 h 1302505"/>
                <a:gd name="connsiteX30" fmla="*/ 1468374 w 1478629"/>
                <a:gd name="connsiteY30" fmla="*/ 1145894 h 1302505"/>
                <a:gd name="connsiteX31" fmla="*/ 1468102 w 1478629"/>
                <a:gd name="connsiteY31" fmla="*/ 1144775 h 1302505"/>
                <a:gd name="connsiteX32" fmla="*/ 1467921 w 1478629"/>
                <a:gd name="connsiteY32" fmla="*/ 1144775 h 1302505"/>
                <a:gd name="connsiteX33" fmla="*/ 1467467 w 1478629"/>
                <a:gd name="connsiteY33" fmla="*/ 1144593 h 1302505"/>
                <a:gd name="connsiteX34" fmla="*/ 1466983 w 1478629"/>
                <a:gd name="connsiteY34" fmla="*/ 1144321 h 1302505"/>
                <a:gd name="connsiteX35" fmla="*/ 1466741 w 1478629"/>
                <a:gd name="connsiteY35" fmla="*/ 1143988 h 1302505"/>
                <a:gd name="connsiteX36" fmla="*/ 1466801 w 1478629"/>
                <a:gd name="connsiteY36" fmla="*/ 1143414 h 1302505"/>
                <a:gd name="connsiteX37" fmla="*/ 1467073 w 1478629"/>
                <a:gd name="connsiteY37" fmla="*/ 1142990 h 1302505"/>
                <a:gd name="connsiteX38" fmla="*/ 1467376 w 1478629"/>
                <a:gd name="connsiteY38" fmla="*/ 1142687 h 1302505"/>
                <a:gd name="connsiteX39" fmla="*/ 1467497 w 1478629"/>
                <a:gd name="connsiteY39" fmla="*/ 1142355 h 1302505"/>
                <a:gd name="connsiteX40" fmla="*/ 1467406 w 1478629"/>
                <a:gd name="connsiteY40" fmla="*/ 1138725 h 1302505"/>
                <a:gd name="connsiteX41" fmla="*/ 1467618 w 1478629"/>
                <a:gd name="connsiteY41" fmla="*/ 1136940 h 1302505"/>
                <a:gd name="connsiteX42" fmla="*/ 1467527 w 1478629"/>
                <a:gd name="connsiteY42" fmla="*/ 1135427 h 1302505"/>
                <a:gd name="connsiteX43" fmla="*/ 1470794 w 1478629"/>
                <a:gd name="connsiteY43" fmla="*/ 1123690 h 1302505"/>
                <a:gd name="connsiteX44" fmla="*/ 1470946 w 1478629"/>
                <a:gd name="connsiteY44" fmla="*/ 1119908 h 1302505"/>
                <a:gd name="connsiteX45" fmla="*/ 1469040 w 1478629"/>
                <a:gd name="connsiteY45" fmla="*/ 1108443 h 1302505"/>
                <a:gd name="connsiteX46" fmla="*/ 1469494 w 1478629"/>
                <a:gd name="connsiteY46" fmla="*/ 1106083 h 1302505"/>
                <a:gd name="connsiteX47" fmla="*/ 1468344 w 1478629"/>
                <a:gd name="connsiteY47" fmla="*/ 1104813 h 1302505"/>
                <a:gd name="connsiteX48" fmla="*/ 1467860 w 1478629"/>
                <a:gd name="connsiteY48" fmla="*/ 1103361 h 1302505"/>
                <a:gd name="connsiteX49" fmla="*/ 1468042 w 1478629"/>
                <a:gd name="connsiteY49" fmla="*/ 1101999 h 1302505"/>
                <a:gd name="connsiteX50" fmla="*/ 1468888 w 1478629"/>
                <a:gd name="connsiteY50" fmla="*/ 1100971 h 1302505"/>
                <a:gd name="connsiteX51" fmla="*/ 1468888 w 1478629"/>
                <a:gd name="connsiteY51" fmla="*/ 1100033 h 1302505"/>
                <a:gd name="connsiteX52" fmla="*/ 1466922 w 1478629"/>
                <a:gd name="connsiteY52" fmla="*/ 1099035 h 1302505"/>
                <a:gd name="connsiteX53" fmla="*/ 1466015 w 1478629"/>
                <a:gd name="connsiteY53" fmla="*/ 1098309 h 1302505"/>
                <a:gd name="connsiteX54" fmla="*/ 1464683 w 1478629"/>
                <a:gd name="connsiteY54" fmla="*/ 1096584 h 1302505"/>
                <a:gd name="connsiteX55" fmla="*/ 1462868 w 1478629"/>
                <a:gd name="connsiteY55" fmla="*/ 1097310 h 1302505"/>
                <a:gd name="connsiteX56" fmla="*/ 1458724 w 1478629"/>
                <a:gd name="connsiteY56" fmla="*/ 1097310 h 1302505"/>
                <a:gd name="connsiteX57" fmla="*/ 1457091 w 1478629"/>
                <a:gd name="connsiteY57" fmla="*/ 1098309 h 1302505"/>
                <a:gd name="connsiteX58" fmla="*/ 1456607 w 1478629"/>
                <a:gd name="connsiteY58" fmla="*/ 1099942 h 1302505"/>
                <a:gd name="connsiteX59" fmla="*/ 1456758 w 1478629"/>
                <a:gd name="connsiteY59" fmla="*/ 1102151 h 1302505"/>
                <a:gd name="connsiteX60" fmla="*/ 1457423 w 1478629"/>
                <a:gd name="connsiteY60" fmla="*/ 1104147 h 1302505"/>
                <a:gd name="connsiteX61" fmla="*/ 1458452 w 1478629"/>
                <a:gd name="connsiteY61" fmla="*/ 1105176 h 1302505"/>
                <a:gd name="connsiteX62" fmla="*/ 1458119 w 1478629"/>
                <a:gd name="connsiteY62" fmla="*/ 1106265 h 1302505"/>
                <a:gd name="connsiteX63" fmla="*/ 1457998 w 1478629"/>
                <a:gd name="connsiteY63" fmla="*/ 1106779 h 1302505"/>
                <a:gd name="connsiteX64" fmla="*/ 1458119 w 1478629"/>
                <a:gd name="connsiteY64" fmla="*/ 1107142 h 1302505"/>
                <a:gd name="connsiteX65" fmla="*/ 1458482 w 1478629"/>
                <a:gd name="connsiteY65" fmla="*/ 1107778 h 1302505"/>
                <a:gd name="connsiteX66" fmla="*/ 1456122 w 1478629"/>
                <a:gd name="connsiteY66" fmla="*/ 1110077 h 1302505"/>
                <a:gd name="connsiteX67" fmla="*/ 1455457 w 1478629"/>
                <a:gd name="connsiteY67" fmla="*/ 1110923 h 1302505"/>
                <a:gd name="connsiteX68" fmla="*/ 1455033 w 1478629"/>
                <a:gd name="connsiteY68" fmla="*/ 1112164 h 1302505"/>
                <a:gd name="connsiteX69" fmla="*/ 1455033 w 1478629"/>
                <a:gd name="connsiteY69" fmla="*/ 1113223 h 1302505"/>
                <a:gd name="connsiteX70" fmla="*/ 1455699 w 1478629"/>
                <a:gd name="connsiteY70" fmla="*/ 1114433 h 1302505"/>
                <a:gd name="connsiteX71" fmla="*/ 1455699 w 1478629"/>
                <a:gd name="connsiteY71" fmla="*/ 1115522 h 1302505"/>
                <a:gd name="connsiteX72" fmla="*/ 1452976 w 1478629"/>
                <a:gd name="connsiteY72" fmla="*/ 1119031 h 1302505"/>
                <a:gd name="connsiteX73" fmla="*/ 1454610 w 1478629"/>
                <a:gd name="connsiteY73" fmla="*/ 1120967 h 1302505"/>
                <a:gd name="connsiteX74" fmla="*/ 1456001 w 1478629"/>
                <a:gd name="connsiteY74" fmla="*/ 1123024 h 1302505"/>
                <a:gd name="connsiteX75" fmla="*/ 1456546 w 1478629"/>
                <a:gd name="connsiteY75" fmla="*/ 1125233 h 1302505"/>
                <a:gd name="connsiteX76" fmla="*/ 1455729 w 1478629"/>
                <a:gd name="connsiteY76" fmla="*/ 1127622 h 1302505"/>
                <a:gd name="connsiteX77" fmla="*/ 1456697 w 1478629"/>
                <a:gd name="connsiteY77" fmla="*/ 1130375 h 1302505"/>
                <a:gd name="connsiteX78" fmla="*/ 1455215 w 1478629"/>
                <a:gd name="connsiteY78" fmla="*/ 1134036 h 1302505"/>
                <a:gd name="connsiteX79" fmla="*/ 1451615 w 1478629"/>
                <a:gd name="connsiteY79" fmla="*/ 1139723 h 1302505"/>
                <a:gd name="connsiteX80" fmla="*/ 1450919 w 1478629"/>
                <a:gd name="connsiteY80" fmla="*/ 1139723 h 1302505"/>
                <a:gd name="connsiteX81" fmla="*/ 1450012 w 1478629"/>
                <a:gd name="connsiteY81" fmla="*/ 1137303 h 1302505"/>
                <a:gd name="connsiteX82" fmla="*/ 1449467 w 1478629"/>
                <a:gd name="connsiteY82" fmla="*/ 1136274 h 1302505"/>
                <a:gd name="connsiteX83" fmla="*/ 1448832 w 1478629"/>
                <a:gd name="connsiteY83" fmla="*/ 1135427 h 1302505"/>
                <a:gd name="connsiteX84" fmla="*/ 1448136 w 1478629"/>
                <a:gd name="connsiteY84" fmla="*/ 1134792 h 1302505"/>
                <a:gd name="connsiteX85" fmla="*/ 1446019 w 1478629"/>
                <a:gd name="connsiteY85" fmla="*/ 1133703 h 1302505"/>
                <a:gd name="connsiteX86" fmla="*/ 1440815 w 1478629"/>
                <a:gd name="connsiteY86" fmla="*/ 1132342 h 1302505"/>
                <a:gd name="connsiteX87" fmla="*/ 1439908 w 1478629"/>
                <a:gd name="connsiteY87" fmla="*/ 1132402 h 1302505"/>
                <a:gd name="connsiteX88" fmla="*/ 1438819 w 1478629"/>
                <a:gd name="connsiteY88" fmla="*/ 1132099 h 1302505"/>
                <a:gd name="connsiteX89" fmla="*/ 1436429 w 1478629"/>
                <a:gd name="connsiteY89" fmla="*/ 1132099 h 1302505"/>
                <a:gd name="connsiteX90" fmla="*/ 1434069 w 1478629"/>
                <a:gd name="connsiteY90" fmla="*/ 1132493 h 1302505"/>
                <a:gd name="connsiteX91" fmla="*/ 1432980 w 1478629"/>
                <a:gd name="connsiteY91" fmla="*/ 1133249 h 1302505"/>
                <a:gd name="connsiteX92" fmla="*/ 1427535 w 1478629"/>
                <a:gd name="connsiteY92" fmla="*/ 1138816 h 1302505"/>
                <a:gd name="connsiteX93" fmla="*/ 1427233 w 1478629"/>
                <a:gd name="connsiteY93" fmla="*/ 1141266 h 1302505"/>
                <a:gd name="connsiteX94" fmla="*/ 1424056 w 1478629"/>
                <a:gd name="connsiteY94" fmla="*/ 1142778 h 1302505"/>
                <a:gd name="connsiteX95" fmla="*/ 1412803 w 1478629"/>
                <a:gd name="connsiteY95" fmla="*/ 1144987 h 1302505"/>
                <a:gd name="connsiteX96" fmla="*/ 1406420 w 1478629"/>
                <a:gd name="connsiteY96" fmla="*/ 1148042 h 1302505"/>
                <a:gd name="connsiteX97" fmla="*/ 1402638 w 1478629"/>
                <a:gd name="connsiteY97" fmla="*/ 1148254 h 1302505"/>
                <a:gd name="connsiteX98" fmla="*/ 1403394 w 1478629"/>
                <a:gd name="connsiteY98" fmla="*/ 1149101 h 1302505"/>
                <a:gd name="connsiteX99" fmla="*/ 1402850 w 1478629"/>
                <a:gd name="connsiteY99" fmla="*/ 1150916 h 1302505"/>
                <a:gd name="connsiteX100" fmla="*/ 1401972 w 1478629"/>
                <a:gd name="connsiteY100" fmla="*/ 1152580 h 1302505"/>
                <a:gd name="connsiteX101" fmla="*/ 1400762 w 1478629"/>
                <a:gd name="connsiteY101" fmla="*/ 1153820 h 1302505"/>
                <a:gd name="connsiteX102" fmla="*/ 1399189 w 1478629"/>
                <a:gd name="connsiteY102" fmla="*/ 1154304 h 1302505"/>
                <a:gd name="connsiteX103" fmla="*/ 1398010 w 1478629"/>
                <a:gd name="connsiteY103" fmla="*/ 1153850 h 1302505"/>
                <a:gd name="connsiteX104" fmla="*/ 1397102 w 1478629"/>
                <a:gd name="connsiteY104" fmla="*/ 1152973 h 1302505"/>
                <a:gd name="connsiteX105" fmla="*/ 1396043 w 1478629"/>
                <a:gd name="connsiteY105" fmla="*/ 1152519 h 1302505"/>
                <a:gd name="connsiteX106" fmla="*/ 1394379 w 1478629"/>
                <a:gd name="connsiteY106" fmla="*/ 1153397 h 1302505"/>
                <a:gd name="connsiteX107" fmla="*/ 1394137 w 1478629"/>
                <a:gd name="connsiteY107" fmla="*/ 1152308 h 1302505"/>
                <a:gd name="connsiteX108" fmla="*/ 1394016 w 1478629"/>
                <a:gd name="connsiteY108" fmla="*/ 1152066 h 1302505"/>
                <a:gd name="connsiteX109" fmla="*/ 1393744 w 1478629"/>
                <a:gd name="connsiteY109" fmla="*/ 1152066 h 1302505"/>
                <a:gd name="connsiteX110" fmla="*/ 1392957 w 1478629"/>
                <a:gd name="connsiteY110" fmla="*/ 1151672 h 1302505"/>
                <a:gd name="connsiteX111" fmla="*/ 1392957 w 1478629"/>
                <a:gd name="connsiteY111" fmla="*/ 1152580 h 1302505"/>
                <a:gd name="connsiteX112" fmla="*/ 1393683 w 1478629"/>
                <a:gd name="connsiteY112" fmla="*/ 1153820 h 1302505"/>
                <a:gd name="connsiteX113" fmla="*/ 1393109 w 1478629"/>
                <a:gd name="connsiteY113" fmla="*/ 1156573 h 1302505"/>
                <a:gd name="connsiteX114" fmla="*/ 1393683 w 1478629"/>
                <a:gd name="connsiteY114" fmla="*/ 1157753 h 1302505"/>
                <a:gd name="connsiteX115" fmla="*/ 1391778 w 1478629"/>
                <a:gd name="connsiteY115" fmla="*/ 1158206 h 1302505"/>
                <a:gd name="connsiteX116" fmla="*/ 1390053 w 1478629"/>
                <a:gd name="connsiteY116" fmla="*/ 1158963 h 1302505"/>
                <a:gd name="connsiteX117" fmla="*/ 1388752 w 1478629"/>
                <a:gd name="connsiteY117" fmla="*/ 1160385 h 1302505"/>
                <a:gd name="connsiteX118" fmla="*/ 1387936 w 1478629"/>
                <a:gd name="connsiteY118" fmla="*/ 1163561 h 1302505"/>
                <a:gd name="connsiteX119" fmla="*/ 1387694 w 1478629"/>
                <a:gd name="connsiteY119" fmla="*/ 1164106 h 1302505"/>
                <a:gd name="connsiteX120" fmla="*/ 1387966 w 1478629"/>
                <a:gd name="connsiteY120" fmla="*/ 1164469 h 1302505"/>
                <a:gd name="connsiteX121" fmla="*/ 1389206 w 1478629"/>
                <a:gd name="connsiteY121" fmla="*/ 1164590 h 1302505"/>
                <a:gd name="connsiteX122" fmla="*/ 1389660 w 1478629"/>
                <a:gd name="connsiteY122" fmla="*/ 1165043 h 1302505"/>
                <a:gd name="connsiteX123" fmla="*/ 1389206 w 1478629"/>
                <a:gd name="connsiteY123" fmla="*/ 1166042 h 1302505"/>
                <a:gd name="connsiteX124" fmla="*/ 1388117 w 1478629"/>
                <a:gd name="connsiteY124" fmla="*/ 1167615 h 1302505"/>
                <a:gd name="connsiteX125" fmla="*/ 1388117 w 1478629"/>
                <a:gd name="connsiteY125" fmla="*/ 1169127 h 1302505"/>
                <a:gd name="connsiteX126" fmla="*/ 1387936 w 1478629"/>
                <a:gd name="connsiteY126" fmla="*/ 1170368 h 1302505"/>
                <a:gd name="connsiteX127" fmla="*/ 1387059 w 1478629"/>
                <a:gd name="connsiteY127" fmla="*/ 1171215 h 1302505"/>
                <a:gd name="connsiteX128" fmla="*/ 1383821 w 1478629"/>
                <a:gd name="connsiteY128" fmla="*/ 1171669 h 1302505"/>
                <a:gd name="connsiteX129" fmla="*/ 1383368 w 1478629"/>
                <a:gd name="connsiteY129" fmla="*/ 1172092 h 1302505"/>
                <a:gd name="connsiteX130" fmla="*/ 1383156 w 1478629"/>
                <a:gd name="connsiteY130" fmla="*/ 1172636 h 1302505"/>
                <a:gd name="connsiteX131" fmla="*/ 1382672 w 1478629"/>
                <a:gd name="connsiteY131" fmla="*/ 1173211 h 1302505"/>
                <a:gd name="connsiteX132" fmla="*/ 1382279 w 1478629"/>
                <a:gd name="connsiteY132" fmla="*/ 1174088 h 1302505"/>
                <a:gd name="connsiteX133" fmla="*/ 1382158 w 1478629"/>
                <a:gd name="connsiteY133" fmla="*/ 1175148 h 1302505"/>
                <a:gd name="connsiteX134" fmla="*/ 1381795 w 1478629"/>
                <a:gd name="connsiteY134" fmla="*/ 1175692 h 1302505"/>
                <a:gd name="connsiteX135" fmla="*/ 1380554 w 1478629"/>
                <a:gd name="connsiteY135" fmla="*/ 1175026 h 1302505"/>
                <a:gd name="connsiteX136" fmla="*/ 1379889 w 1478629"/>
                <a:gd name="connsiteY136" fmla="*/ 1175904 h 1302505"/>
                <a:gd name="connsiteX137" fmla="*/ 1378981 w 1478629"/>
                <a:gd name="connsiteY137" fmla="*/ 1176418 h 1302505"/>
                <a:gd name="connsiteX138" fmla="*/ 1378013 w 1478629"/>
                <a:gd name="connsiteY138" fmla="*/ 1176418 h 1302505"/>
                <a:gd name="connsiteX139" fmla="*/ 1377136 w 1478629"/>
                <a:gd name="connsiteY139" fmla="*/ 1175813 h 1302505"/>
                <a:gd name="connsiteX140" fmla="*/ 1376834 w 1478629"/>
                <a:gd name="connsiteY140" fmla="*/ 1177023 h 1302505"/>
                <a:gd name="connsiteX141" fmla="*/ 1376894 w 1478629"/>
                <a:gd name="connsiteY141" fmla="*/ 1178445 h 1302505"/>
                <a:gd name="connsiteX142" fmla="*/ 1377287 w 1478629"/>
                <a:gd name="connsiteY142" fmla="*/ 1179806 h 1302505"/>
                <a:gd name="connsiteX143" fmla="*/ 1377892 w 1478629"/>
                <a:gd name="connsiteY143" fmla="*/ 1180865 h 1302505"/>
                <a:gd name="connsiteX144" fmla="*/ 1377136 w 1478629"/>
                <a:gd name="connsiteY144" fmla="*/ 1181803 h 1302505"/>
                <a:gd name="connsiteX145" fmla="*/ 1381099 w 1478629"/>
                <a:gd name="connsiteY145" fmla="*/ 1180290 h 1302505"/>
                <a:gd name="connsiteX146" fmla="*/ 1383247 w 1478629"/>
                <a:gd name="connsiteY146" fmla="*/ 1180139 h 1302505"/>
                <a:gd name="connsiteX147" fmla="*/ 1385455 w 1478629"/>
                <a:gd name="connsiteY147" fmla="*/ 1181833 h 1302505"/>
                <a:gd name="connsiteX148" fmla="*/ 1382430 w 1478629"/>
                <a:gd name="connsiteY148" fmla="*/ 1183497 h 1302505"/>
                <a:gd name="connsiteX149" fmla="*/ 1381946 w 1478629"/>
                <a:gd name="connsiteY149" fmla="*/ 1183950 h 1302505"/>
                <a:gd name="connsiteX150" fmla="*/ 1382097 w 1478629"/>
                <a:gd name="connsiteY150" fmla="*/ 1184828 h 1302505"/>
                <a:gd name="connsiteX151" fmla="*/ 1382491 w 1478629"/>
                <a:gd name="connsiteY151" fmla="*/ 1185373 h 1302505"/>
                <a:gd name="connsiteX152" fmla="*/ 1383065 w 1478629"/>
                <a:gd name="connsiteY152" fmla="*/ 1185433 h 1302505"/>
                <a:gd name="connsiteX153" fmla="*/ 1384487 w 1478629"/>
                <a:gd name="connsiteY153" fmla="*/ 1184283 h 1302505"/>
                <a:gd name="connsiteX154" fmla="*/ 1384941 w 1478629"/>
                <a:gd name="connsiteY154" fmla="*/ 1184767 h 1302505"/>
                <a:gd name="connsiteX155" fmla="*/ 1385213 w 1478629"/>
                <a:gd name="connsiteY155" fmla="*/ 1185584 h 1302505"/>
                <a:gd name="connsiteX156" fmla="*/ 1385455 w 1478629"/>
                <a:gd name="connsiteY156" fmla="*/ 1186068 h 1302505"/>
                <a:gd name="connsiteX157" fmla="*/ 1389206 w 1478629"/>
                <a:gd name="connsiteY157" fmla="*/ 1187762 h 1302505"/>
                <a:gd name="connsiteX158" fmla="*/ 1389388 w 1478629"/>
                <a:gd name="connsiteY158" fmla="*/ 1187974 h 1302505"/>
                <a:gd name="connsiteX159" fmla="*/ 1390870 w 1478629"/>
                <a:gd name="connsiteY159" fmla="*/ 1189033 h 1302505"/>
                <a:gd name="connsiteX160" fmla="*/ 1390779 w 1478629"/>
                <a:gd name="connsiteY160" fmla="*/ 1190031 h 1302505"/>
                <a:gd name="connsiteX161" fmla="*/ 1390537 w 1478629"/>
                <a:gd name="connsiteY161" fmla="*/ 1190152 h 1302505"/>
                <a:gd name="connsiteX162" fmla="*/ 1390084 w 1478629"/>
                <a:gd name="connsiteY162" fmla="*/ 1190031 h 1302505"/>
                <a:gd name="connsiteX163" fmla="*/ 1389509 w 1478629"/>
                <a:gd name="connsiteY163" fmla="*/ 1190304 h 1302505"/>
                <a:gd name="connsiteX164" fmla="*/ 1388480 w 1478629"/>
                <a:gd name="connsiteY164" fmla="*/ 1191030 h 1302505"/>
                <a:gd name="connsiteX165" fmla="*/ 1387119 w 1478629"/>
                <a:gd name="connsiteY165" fmla="*/ 1191604 h 1302505"/>
                <a:gd name="connsiteX166" fmla="*/ 1383065 w 1478629"/>
                <a:gd name="connsiteY166" fmla="*/ 1192330 h 1302505"/>
                <a:gd name="connsiteX167" fmla="*/ 1382097 w 1478629"/>
                <a:gd name="connsiteY167" fmla="*/ 1192814 h 1302505"/>
                <a:gd name="connsiteX168" fmla="*/ 1381341 w 1478629"/>
                <a:gd name="connsiteY168" fmla="*/ 1193359 h 1302505"/>
                <a:gd name="connsiteX169" fmla="*/ 1380585 w 1478629"/>
                <a:gd name="connsiteY169" fmla="*/ 1193722 h 1302505"/>
                <a:gd name="connsiteX170" fmla="*/ 1377923 w 1478629"/>
                <a:gd name="connsiteY170" fmla="*/ 1193601 h 1302505"/>
                <a:gd name="connsiteX171" fmla="*/ 1376864 w 1478629"/>
                <a:gd name="connsiteY171" fmla="*/ 1193873 h 1302505"/>
                <a:gd name="connsiteX172" fmla="*/ 1376440 w 1478629"/>
                <a:gd name="connsiteY172" fmla="*/ 1195053 h 1302505"/>
                <a:gd name="connsiteX173" fmla="*/ 1377166 w 1478629"/>
                <a:gd name="connsiteY173" fmla="*/ 1195537 h 1302505"/>
                <a:gd name="connsiteX174" fmla="*/ 1378497 w 1478629"/>
                <a:gd name="connsiteY174" fmla="*/ 1195930 h 1302505"/>
                <a:gd name="connsiteX175" fmla="*/ 1379344 w 1478629"/>
                <a:gd name="connsiteY175" fmla="*/ 1196656 h 1302505"/>
                <a:gd name="connsiteX176" fmla="*/ 1378497 w 1478629"/>
                <a:gd name="connsiteY176" fmla="*/ 1198078 h 1302505"/>
                <a:gd name="connsiteX177" fmla="*/ 1379707 w 1478629"/>
                <a:gd name="connsiteY177" fmla="*/ 1198592 h 1302505"/>
                <a:gd name="connsiteX178" fmla="*/ 1380101 w 1478629"/>
                <a:gd name="connsiteY178" fmla="*/ 1199832 h 1302505"/>
                <a:gd name="connsiteX179" fmla="*/ 1379677 w 1478629"/>
                <a:gd name="connsiteY179" fmla="*/ 1201043 h 1302505"/>
                <a:gd name="connsiteX180" fmla="*/ 1378467 w 1478629"/>
                <a:gd name="connsiteY180" fmla="*/ 1201496 h 1302505"/>
                <a:gd name="connsiteX181" fmla="*/ 1378467 w 1478629"/>
                <a:gd name="connsiteY181" fmla="*/ 1202313 h 1302505"/>
                <a:gd name="connsiteX182" fmla="*/ 1381280 w 1478629"/>
                <a:gd name="connsiteY182" fmla="*/ 1202313 h 1302505"/>
                <a:gd name="connsiteX183" fmla="*/ 1381280 w 1478629"/>
                <a:gd name="connsiteY183" fmla="*/ 1203251 h 1302505"/>
                <a:gd name="connsiteX184" fmla="*/ 1379677 w 1478629"/>
                <a:gd name="connsiteY184" fmla="*/ 1204280 h 1302505"/>
                <a:gd name="connsiteX185" fmla="*/ 1378860 w 1478629"/>
                <a:gd name="connsiteY185" fmla="*/ 1204673 h 1302505"/>
                <a:gd name="connsiteX186" fmla="*/ 1377832 w 1478629"/>
                <a:gd name="connsiteY186" fmla="*/ 1204885 h 1302505"/>
                <a:gd name="connsiteX187" fmla="*/ 1378800 w 1478629"/>
                <a:gd name="connsiteY187" fmla="*/ 1204763 h 1302505"/>
                <a:gd name="connsiteX188" fmla="*/ 1379707 w 1478629"/>
                <a:gd name="connsiteY188" fmla="*/ 1204854 h 1302505"/>
                <a:gd name="connsiteX189" fmla="*/ 1380524 w 1478629"/>
                <a:gd name="connsiteY189" fmla="*/ 1205217 h 1302505"/>
                <a:gd name="connsiteX190" fmla="*/ 1381280 w 1478629"/>
                <a:gd name="connsiteY190" fmla="*/ 1205823 h 1302505"/>
                <a:gd name="connsiteX191" fmla="*/ 1381008 w 1478629"/>
                <a:gd name="connsiteY191" fmla="*/ 1206276 h 1302505"/>
                <a:gd name="connsiteX192" fmla="*/ 1380524 w 1478629"/>
                <a:gd name="connsiteY192" fmla="*/ 1207456 h 1302505"/>
                <a:gd name="connsiteX193" fmla="*/ 1382581 w 1478629"/>
                <a:gd name="connsiteY193" fmla="*/ 1207456 h 1302505"/>
                <a:gd name="connsiteX194" fmla="*/ 1384880 w 1478629"/>
                <a:gd name="connsiteY194" fmla="*/ 1207879 h 1302505"/>
                <a:gd name="connsiteX195" fmla="*/ 1386696 w 1478629"/>
                <a:gd name="connsiteY195" fmla="*/ 1208878 h 1302505"/>
                <a:gd name="connsiteX196" fmla="*/ 1387452 w 1478629"/>
                <a:gd name="connsiteY196" fmla="*/ 1210451 h 1302505"/>
                <a:gd name="connsiteX197" fmla="*/ 1388057 w 1478629"/>
                <a:gd name="connsiteY197" fmla="*/ 1210935 h 1302505"/>
                <a:gd name="connsiteX198" fmla="*/ 1390870 w 1478629"/>
                <a:gd name="connsiteY198" fmla="*/ 1210239 h 1302505"/>
                <a:gd name="connsiteX199" fmla="*/ 1391929 w 1478629"/>
                <a:gd name="connsiteY199" fmla="*/ 1210451 h 1302505"/>
                <a:gd name="connsiteX200" fmla="*/ 1392625 w 1478629"/>
                <a:gd name="connsiteY200" fmla="*/ 1211540 h 1302505"/>
                <a:gd name="connsiteX201" fmla="*/ 1394349 w 1478629"/>
                <a:gd name="connsiteY201" fmla="*/ 1215079 h 1302505"/>
                <a:gd name="connsiteX202" fmla="*/ 1395922 w 1478629"/>
                <a:gd name="connsiteY202" fmla="*/ 1216138 h 1302505"/>
                <a:gd name="connsiteX203" fmla="*/ 1396497 w 1478629"/>
                <a:gd name="connsiteY203" fmla="*/ 1216985 h 1302505"/>
                <a:gd name="connsiteX204" fmla="*/ 1396346 w 1478629"/>
                <a:gd name="connsiteY204" fmla="*/ 1218528 h 1302505"/>
                <a:gd name="connsiteX205" fmla="*/ 1395801 w 1478629"/>
                <a:gd name="connsiteY205" fmla="*/ 1218528 h 1302505"/>
                <a:gd name="connsiteX206" fmla="*/ 1393109 w 1478629"/>
                <a:gd name="connsiteY206" fmla="*/ 1219889 h 1302505"/>
                <a:gd name="connsiteX207" fmla="*/ 1392594 w 1478629"/>
                <a:gd name="connsiteY207" fmla="*/ 1220252 h 1302505"/>
                <a:gd name="connsiteX208" fmla="*/ 1390416 w 1478629"/>
                <a:gd name="connsiteY208" fmla="*/ 1220857 h 1302505"/>
                <a:gd name="connsiteX209" fmla="*/ 1388420 w 1478629"/>
                <a:gd name="connsiteY209" fmla="*/ 1222249 h 1302505"/>
                <a:gd name="connsiteX210" fmla="*/ 1387573 w 1478629"/>
                <a:gd name="connsiteY210" fmla="*/ 1223701 h 1302505"/>
                <a:gd name="connsiteX211" fmla="*/ 1388874 w 1478629"/>
                <a:gd name="connsiteY211" fmla="*/ 1224518 h 1302505"/>
                <a:gd name="connsiteX212" fmla="*/ 1387482 w 1478629"/>
                <a:gd name="connsiteY212" fmla="*/ 1226696 h 1302505"/>
                <a:gd name="connsiteX213" fmla="*/ 1385516 w 1478629"/>
                <a:gd name="connsiteY213" fmla="*/ 1227452 h 1302505"/>
                <a:gd name="connsiteX214" fmla="*/ 1380554 w 1478629"/>
                <a:gd name="connsiteY214" fmla="*/ 1227906 h 1302505"/>
                <a:gd name="connsiteX215" fmla="*/ 1383398 w 1478629"/>
                <a:gd name="connsiteY215" fmla="*/ 1230992 h 1302505"/>
                <a:gd name="connsiteX216" fmla="*/ 1383821 w 1478629"/>
                <a:gd name="connsiteY216" fmla="*/ 1232685 h 1302505"/>
                <a:gd name="connsiteX217" fmla="*/ 1382672 w 1478629"/>
                <a:gd name="connsiteY217" fmla="*/ 1234743 h 1302505"/>
                <a:gd name="connsiteX218" fmla="*/ 1383368 w 1478629"/>
                <a:gd name="connsiteY218" fmla="*/ 1236346 h 1302505"/>
                <a:gd name="connsiteX219" fmla="*/ 1384941 w 1478629"/>
                <a:gd name="connsiteY219" fmla="*/ 1235378 h 1302505"/>
                <a:gd name="connsiteX220" fmla="*/ 1386726 w 1478629"/>
                <a:gd name="connsiteY220" fmla="*/ 1234985 h 1302505"/>
                <a:gd name="connsiteX221" fmla="*/ 1390870 w 1478629"/>
                <a:gd name="connsiteY221" fmla="*/ 1234743 h 1302505"/>
                <a:gd name="connsiteX222" fmla="*/ 1393048 w 1478629"/>
                <a:gd name="connsiteY222" fmla="*/ 1234108 h 1302505"/>
                <a:gd name="connsiteX223" fmla="*/ 1396497 w 1478629"/>
                <a:gd name="connsiteY223" fmla="*/ 1232383 h 1302505"/>
                <a:gd name="connsiteX224" fmla="*/ 1398524 w 1478629"/>
                <a:gd name="connsiteY224" fmla="*/ 1232202 h 1302505"/>
                <a:gd name="connsiteX225" fmla="*/ 1399613 w 1478629"/>
                <a:gd name="connsiteY225" fmla="*/ 1232444 h 1302505"/>
                <a:gd name="connsiteX226" fmla="*/ 1400248 w 1478629"/>
                <a:gd name="connsiteY226" fmla="*/ 1232897 h 1302505"/>
                <a:gd name="connsiteX227" fmla="*/ 1400702 w 1478629"/>
                <a:gd name="connsiteY227" fmla="*/ 1233654 h 1302505"/>
                <a:gd name="connsiteX228" fmla="*/ 1401277 w 1478629"/>
                <a:gd name="connsiteY228" fmla="*/ 1234773 h 1302505"/>
                <a:gd name="connsiteX229" fmla="*/ 1402426 w 1478629"/>
                <a:gd name="connsiteY229" fmla="*/ 1235560 h 1302505"/>
                <a:gd name="connsiteX230" fmla="*/ 1402668 w 1478629"/>
                <a:gd name="connsiteY230" fmla="*/ 1235620 h 1302505"/>
                <a:gd name="connsiteX231" fmla="*/ 1402456 w 1478629"/>
                <a:gd name="connsiteY231" fmla="*/ 1236407 h 1302505"/>
                <a:gd name="connsiteX232" fmla="*/ 1401579 w 1478629"/>
                <a:gd name="connsiteY232" fmla="*/ 1237465 h 1302505"/>
                <a:gd name="connsiteX233" fmla="*/ 1401307 w 1478629"/>
                <a:gd name="connsiteY233" fmla="*/ 1238101 h 1302505"/>
                <a:gd name="connsiteX234" fmla="*/ 1401125 w 1478629"/>
                <a:gd name="connsiteY234" fmla="*/ 1238101 h 1302505"/>
                <a:gd name="connsiteX235" fmla="*/ 1399915 w 1478629"/>
                <a:gd name="connsiteY235" fmla="*/ 1239885 h 1302505"/>
                <a:gd name="connsiteX236" fmla="*/ 1400278 w 1478629"/>
                <a:gd name="connsiteY236" fmla="*/ 1239765 h 1302505"/>
                <a:gd name="connsiteX237" fmla="*/ 1400702 w 1478629"/>
                <a:gd name="connsiteY237" fmla="*/ 1240491 h 1302505"/>
                <a:gd name="connsiteX238" fmla="*/ 1401065 w 1478629"/>
                <a:gd name="connsiteY238" fmla="*/ 1241307 h 1302505"/>
                <a:gd name="connsiteX239" fmla="*/ 1401307 w 1478629"/>
                <a:gd name="connsiteY239" fmla="*/ 1241580 h 1302505"/>
                <a:gd name="connsiteX240" fmla="*/ 1400490 w 1478629"/>
                <a:gd name="connsiteY240" fmla="*/ 1242245 h 1302505"/>
                <a:gd name="connsiteX241" fmla="*/ 1397193 w 1478629"/>
                <a:gd name="connsiteY241" fmla="*/ 1243244 h 1302505"/>
                <a:gd name="connsiteX242" fmla="*/ 1398373 w 1478629"/>
                <a:gd name="connsiteY242" fmla="*/ 1243395 h 1302505"/>
                <a:gd name="connsiteX243" fmla="*/ 1399371 w 1478629"/>
                <a:gd name="connsiteY243" fmla="*/ 1243848 h 1302505"/>
                <a:gd name="connsiteX244" fmla="*/ 1400157 w 1478629"/>
                <a:gd name="connsiteY244" fmla="*/ 1244665 h 1302505"/>
                <a:gd name="connsiteX245" fmla="*/ 1400641 w 1478629"/>
                <a:gd name="connsiteY245" fmla="*/ 1245845 h 1302505"/>
                <a:gd name="connsiteX246" fmla="*/ 1397344 w 1478629"/>
                <a:gd name="connsiteY246" fmla="*/ 1247660 h 1302505"/>
                <a:gd name="connsiteX247" fmla="*/ 1395317 w 1478629"/>
                <a:gd name="connsiteY247" fmla="*/ 1248295 h 1302505"/>
                <a:gd name="connsiteX248" fmla="*/ 1393018 w 1478629"/>
                <a:gd name="connsiteY248" fmla="*/ 1248295 h 1302505"/>
                <a:gd name="connsiteX249" fmla="*/ 1393018 w 1478629"/>
                <a:gd name="connsiteY249" fmla="*/ 1249233 h 1302505"/>
                <a:gd name="connsiteX250" fmla="*/ 1394137 w 1478629"/>
                <a:gd name="connsiteY250" fmla="*/ 1249899 h 1302505"/>
                <a:gd name="connsiteX251" fmla="*/ 1394319 w 1478629"/>
                <a:gd name="connsiteY251" fmla="*/ 1251048 h 1302505"/>
                <a:gd name="connsiteX252" fmla="*/ 1393865 w 1478629"/>
                <a:gd name="connsiteY252" fmla="*/ 1252349 h 1302505"/>
                <a:gd name="connsiteX253" fmla="*/ 1393018 w 1478629"/>
                <a:gd name="connsiteY253" fmla="*/ 1253378 h 1302505"/>
                <a:gd name="connsiteX254" fmla="*/ 1391717 w 1478629"/>
                <a:gd name="connsiteY254" fmla="*/ 1254043 h 1302505"/>
                <a:gd name="connsiteX255" fmla="*/ 1388874 w 1478629"/>
                <a:gd name="connsiteY255" fmla="*/ 1254436 h 1302505"/>
                <a:gd name="connsiteX256" fmla="*/ 1387542 w 1478629"/>
                <a:gd name="connsiteY256" fmla="*/ 1255041 h 1302505"/>
                <a:gd name="connsiteX257" fmla="*/ 1388843 w 1478629"/>
                <a:gd name="connsiteY257" fmla="*/ 1255344 h 1302505"/>
                <a:gd name="connsiteX258" fmla="*/ 1389841 w 1478629"/>
                <a:gd name="connsiteY258" fmla="*/ 1255767 h 1302505"/>
                <a:gd name="connsiteX259" fmla="*/ 1390931 w 1478629"/>
                <a:gd name="connsiteY259" fmla="*/ 1256070 h 1302505"/>
                <a:gd name="connsiteX260" fmla="*/ 1392353 w 1478629"/>
                <a:gd name="connsiteY260" fmla="*/ 1255949 h 1302505"/>
                <a:gd name="connsiteX261" fmla="*/ 1391868 w 1478629"/>
                <a:gd name="connsiteY261" fmla="*/ 1257129 h 1302505"/>
                <a:gd name="connsiteX262" fmla="*/ 1391627 w 1478629"/>
                <a:gd name="connsiteY262" fmla="*/ 1257583 h 1302505"/>
                <a:gd name="connsiteX263" fmla="*/ 1393986 w 1478629"/>
                <a:gd name="connsiteY263" fmla="*/ 1257431 h 1302505"/>
                <a:gd name="connsiteX264" fmla="*/ 1398100 w 1478629"/>
                <a:gd name="connsiteY264" fmla="*/ 1255949 h 1302505"/>
                <a:gd name="connsiteX265" fmla="*/ 1400611 w 1478629"/>
                <a:gd name="connsiteY265" fmla="*/ 1255949 h 1302505"/>
                <a:gd name="connsiteX266" fmla="*/ 1399734 w 1478629"/>
                <a:gd name="connsiteY266" fmla="*/ 1258460 h 1302505"/>
                <a:gd name="connsiteX267" fmla="*/ 1401004 w 1478629"/>
                <a:gd name="connsiteY267" fmla="*/ 1259670 h 1302505"/>
                <a:gd name="connsiteX268" fmla="*/ 1403364 w 1478629"/>
                <a:gd name="connsiteY268" fmla="*/ 1260063 h 1302505"/>
                <a:gd name="connsiteX269" fmla="*/ 1405784 w 1478629"/>
                <a:gd name="connsiteY269" fmla="*/ 1260124 h 1302505"/>
                <a:gd name="connsiteX270" fmla="*/ 1412107 w 1478629"/>
                <a:gd name="connsiteY270" fmla="*/ 1261788 h 1302505"/>
                <a:gd name="connsiteX271" fmla="*/ 1414466 w 1478629"/>
                <a:gd name="connsiteY271" fmla="*/ 1261878 h 1302505"/>
                <a:gd name="connsiteX272" fmla="*/ 1413256 w 1478629"/>
                <a:gd name="connsiteY272" fmla="*/ 1263209 h 1302505"/>
                <a:gd name="connsiteX273" fmla="*/ 1411865 w 1478629"/>
                <a:gd name="connsiteY273" fmla="*/ 1263935 h 1302505"/>
                <a:gd name="connsiteX274" fmla="*/ 1410745 w 1478629"/>
                <a:gd name="connsiteY274" fmla="*/ 1264813 h 1302505"/>
                <a:gd name="connsiteX275" fmla="*/ 1410261 w 1478629"/>
                <a:gd name="connsiteY275" fmla="*/ 1266507 h 1302505"/>
                <a:gd name="connsiteX276" fmla="*/ 1409384 w 1478629"/>
                <a:gd name="connsiteY276" fmla="*/ 1267263 h 1302505"/>
                <a:gd name="connsiteX277" fmla="*/ 1403999 w 1478629"/>
                <a:gd name="connsiteY277" fmla="*/ 1269562 h 1302505"/>
                <a:gd name="connsiteX278" fmla="*/ 1402275 w 1478629"/>
                <a:gd name="connsiteY278" fmla="*/ 1268776 h 1302505"/>
                <a:gd name="connsiteX279" fmla="*/ 1401307 w 1478629"/>
                <a:gd name="connsiteY279" fmla="*/ 1270500 h 1302505"/>
                <a:gd name="connsiteX280" fmla="*/ 1400641 w 1478629"/>
                <a:gd name="connsiteY280" fmla="*/ 1273011 h 1302505"/>
                <a:gd name="connsiteX281" fmla="*/ 1399915 w 1478629"/>
                <a:gd name="connsiteY281" fmla="*/ 1274614 h 1302505"/>
                <a:gd name="connsiteX282" fmla="*/ 1401428 w 1478629"/>
                <a:gd name="connsiteY282" fmla="*/ 1275159 h 1302505"/>
                <a:gd name="connsiteX283" fmla="*/ 1401761 w 1478629"/>
                <a:gd name="connsiteY283" fmla="*/ 1276006 h 1302505"/>
                <a:gd name="connsiteX284" fmla="*/ 1401307 w 1478629"/>
                <a:gd name="connsiteY284" fmla="*/ 1278396 h 1302505"/>
                <a:gd name="connsiteX285" fmla="*/ 1401852 w 1478629"/>
                <a:gd name="connsiteY285" fmla="*/ 1278910 h 1302505"/>
                <a:gd name="connsiteX286" fmla="*/ 1403122 w 1478629"/>
                <a:gd name="connsiteY286" fmla="*/ 1279454 h 1302505"/>
                <a:gd name="connsiteX287" fmla="*/ 1404544 w 1478629"/>
                <a:gd name="connsiteY287" fmla="*/ 1279787 h 1302505"/>
                <a:gd name="connsiteX288" fmla="*/ 1405482 w 1478629"/>
                <a:gd name="connsiteY288" fmla="*/ 1279696 h 1302505"/>
                <a:gd name="connsiteX289" fmla="*/ 1406208 w 1478629"/>
                <a:gd name="connsiteY289" fmla="*/ 1280120 h 1302505"/>
                <a:gd name="connsiteX290" fmla="*/ 1407478 w 1478629"/>
                <a:gd name="connsiteY290" fmla="*/ 1280543 h 1302505"/>
                <a:gd name="connsiteX291" fmla="*/ 1407478 w 1478629"/>
                <a:gd name="connsiteY291" fmla="*/ 1281300 h 1302505"/>
                <a:gd name="connsiteX292" fmla="*/ 1406117 w 1478629"/>
                <a:gd name="connsiteY292" fmla="*/ 1282147 h 1302505"/>
                <a:gd name="connsiteX293" fmla="*/ 1406994 w 1478629"/>
                <a:gd name="connsiteY293" fmla="*/ 1282721 h 1302505"/>
                <a:gd name="connsiteX294" fmla="*/ 1407781 w 1478629"/>
                <a:gd name="connsiteY294" fmla="*/ 1282843 h 1302505"/>
                <a:gd name="connsiteX295" fmla="*/ 1408598 w 1478629"/>
                <a:gd name="connsiteY295" fmla="*/ 1282843 h 1302505"/>
                <a:gd name="connsiteX296" fmla="*/ 1409565 w 1478629"/>
                <a:gd name="connsiteY296" fmla="*/ 1283084 h 1302505"/>
                <a:gd name="connsiteX297" fmla="*/ 1410110 w 1478629"/>
                <a:gd name="connsiteY297" fmla="*/ 1283599 h 1302505"/>
                <a:gd name="connsiteX298" fmla="*/ 1410322 w 1478629"/>
                <a:gd name="connsiteY298" fmla="*/ 1284143 h 1302505"/>
                <a:gd name="connsiteX299" fmla="*/ 1410564 w 1478629"/>
                <a:gd name="connsiteY299" fmla="*/ 1284597 h 1302505"/>
                <a:gd name="connsiteX300" fmla="*/ 1412893 w 1478629"/>
                <a:gd name="connsiteY300" fmla="*/ 1285081 h 1302505"/>
                <a:gd name="connsiteX301" fmla="*/ 1413892 w 1478629"/>
                <a:gd name="connsiteY301" fmla="*/ 1285777 h 1302505"/>
                <a:gd name="connsiteX302" fmla="*/ 1414708 w 1478629"/>
                <a:gd name="connsiteY302" fmla="*/ 1286624 h 1302505"/>
                <a:gd name="connsiteX303" fmla="*/ 1415797 w 1478629"/>
                <a:gd name="connsiteY303" fmla="*/ 1287320 h 1302505"/>
                <a:gd name="connsiteX304" fmla="*/ 1417340 w 1478629"/>
                <a:gd name="connsiteY304" fmla="*/ 1286987 h 1302505"/>
                <a:gd name="connsiteX305" fmla="*/ 1419821 w 1478629"/>
                <a:gd name="connsiteY305" fmla="*/ 1287350 h 1302505"/>
                <a:gd name="connsiteX306" fmla="*/ 1422362 w 1478629"/>
                <a:gd name="connsiteY306" fmla="*/ 1288106 h 1302505"/>
                <a:gd name="connsiteX307" fmla="*/ 1423421 w 1478629"/>
                <a:gd name="connsiteY307" fmla="*/ 1288953 h 1302505"/>
                <a:gd name="connsiteX308" fmla="*/ 1424117 w 1478629"/>
                <a:gd name="connsiteY308" fmla="*/ 1289861 h 1302505"/>
                <a:gd name="connsiteX309" fmla="*/ 1424691 w 1478629"/>
                <a:gd name="connsiteY309" fmla="*/ 1289437 h 1302505"/>
                <a:gd name="connsiteX310" fmla="*/ 1425084 w 1478629"/>
                <a:gd name="connsiteY310" fmla="*/ 1289226 h 1302505"/>
                <a:gd name="connsiteX311" fmla="*/ 1426173 w 1478629"/>
                <a:gd name="connsiteY311" fmla="*/ 1288953 h 1302505"/>
                <a:gd name="connsiteX312" fmla="*/ 1425962 w 1478629"/>
                <a:gd name="connsiteY312" fmla="*/ 1289347 h 1302505"/>
                <a:gd name="connsiteX313" fmla="*/ 1425841 w 1478629"/>
                <a:gd name="connsiteY313" fmla="*/ 1289498 h 1302505"/>
                <a:gd name="connsiteX314" fmla="*/ 1425720 w 1478629"/>
                <a:gd name="connsiteY314" fmla="*/ 1289589 h 1302505"/>
                <a:gd name="connsiteX315" fmla="*/ 1425508 w 1478629"/>
                <a:gd name="connsiteY315" fmla="*/ 1289861 h 1302505"/>
                <a:gd name="connsiteX316" fmla="*/ 1426204 w 1478629"/>
                <a:gd name="connsiteY316" fmla="*/ 1290678 h 1302505"/>
                <a:gd name="connsiteX317" fmla="*/ 1429168 w 1478629"/>
                <a:gd name="connsiteY317" fmla="*/ 1288530 h 1302505"/>
                <a:gd name="connsiteX318" fmla="*/ 1430348 w 1478629"/>
                <a:gd name="connsiteY318" fmla="*/ 1288167 h 1302505"/>
                <a:gd name="connsiteX319" fmla="*/ 1430348 w 1478629"/>
                <a:gd name="connsiteY319" fmla="*/ 1288923 h 1302505"/>
                <a:gd name="connsiteX320" fmla="*/ 1429017 w 1478629"/>
                <a:gd name="connsiteY320" fmla="*/ 1290678 h 1302505"/>
                <a:gd name="connsiteX321" fmla="*/ 1430469 w 1478629"/>
                <a:gd name="connsiteY321" fmla="*/ 1291767 h 1302505"/>
                <a:gd name="connsiteX322" fmla="*/ 1432919 w 1478629"/>
                <a:gd name="connsiteY322" fmla="*/ 1292705 h 1302505"/>
                <a:gd name="connsiteX323" fmla="*/ 1434553 w 1478629"/>
                <a:gd name="connsiteY323" fmla="*/ 1294035 h 1302505"/>
                <a:gd name="connsiteX324" fmla="*/ 1433616 w 1478629"/>
                <a:gd name="connsiteY324" fmla="*/ 1294308 h 1302505"/>
                <a:gd name="connsiteX325" fmla="*/ 1433101 w 1478629"/>
                <a:gd name="connsiteY325" fmla="*/ 1294701 h 1302505"/>
                <a:gd name="connsiteX326" fmla="*/ 1432012 w 1478629"/>
                <a:gd name="connsiteY326" fmla="*/ 1297877 h 1302505"/>
                <a:gd name="connsiteX327" fmla="*/ 1434614 w 1478629"/>
                <a:gd name="connsiteY327" fmla="*/ 1298906 h 1302505"/>
                <a:gd name="connsiteX328" fmla="*/ 1437760 w 1478629"/>
                <a:gd name="connsiteY328" fmla="*/ 1299360 h 1302505"/>
                <a:gd name="connsiteX329" fmla="*/ 1439333 w 1478629"/>
                <a:gd name="connsiteY329" fmla="*/ 1299995 h 1302505"/>
                <a:gd name="connsiteX330" fmla="*/ 1441814 w 1478629"/>
                <a:gd name="connsiteY330" fmla="*/ 1302113 h 1302505"/>
                <a:gd name="connsiteX331" fmla="*/ 1443115 w 1478629"/>
                <a:gd name="connsiteY331" fmla="*/ 1302506 h 1302505"/>
                <a:gd name="connsiteX332" fmla="*/ 1444778 w 1478629"/>
                <a:gd name="connsiteY332" fmla="*/ 1301689 h 1302505"/>
                <a:gd name="connsiteX333" fmla="*/ 1445474 w 1478629"/>
                <a:gd name="connsiteY333" fmla="*/ 1300661 h 1302505"/>
                <a:gd name="connsiteX334" fmla="*/ 1446351 w 1478629"/>
                <a:gd name="connsiteY334" fmla="*/ 1298815 h 1302505"/>
                <a:gd name="connsiteX335" fmla="*/ 1447138 w 1478629"/>
                <a:gd name="connsiteY335" fmla="*/ 1296698 h 1302505"/>
                <a:gd name="connsiteX336" fmla="*/ 1447501 w 1478629"/>
                <a:gd name="connsiteY336" fmla="*/ 1294883 h 1302505"/>
                <a:gd name="connsiteX337" fmla="*/ 1446260 w 1478629"/>
                <a:gd name="connsiteY337" fmla="*/ 1295548 h 1302505"/>
                <a:gd name="connsiteX338" fmla="*/ 1444657 w 1478629"/>
                <a:gd name="connsiteY338" fmla="*/ 1296940 h 1302505"/>
                <a:gd name="connsiteX339" fmla="*/ 1443507 w 1478629"/>
                <a:gd name="connsiteY339" fmla="*/ 1297393 h 1302505"/>
                <a:gd name="connsiteX340" fmla="*/ 1443507 w 1478629"/>
                <a:gd name="connsiteY340" fmla="*/ 1296637 h 1302505"/>
                <a:gd name="connsiteX341" fmla="*/ 1444445 w 1478629"/>
                <a:gd name="connsiteY341" fmla="*/ 1295881 h 1302505"/>
                <a:gd name="connsiteX342" fmla="*/ 1444778 w 1478629"/>
                <a:gd name="connsiteY342" fmla="*/ 1294943 h 1302505"/>
                <a:gd name="connsiteX343" fmla="*/ 1444445 w 1478629"/>
                <a:gd name="connsiteY343" fmla="*/ 1294005 h 1302505"/>
                <a:gd name="connsiteX344" fmla="*/ 1443507 w 1478629"/>
                <a:gd name="connsiteY344" fmla="*/ 1293279 h 1302505"/>
                <a:gd name="connsiteX345" fmla="*/ 1443507 w 1478629"/>
                <a:gd name="connsiteY345" fmla="*/ 1292372 h 1302505"/>
                <a:gd name="connsiteX346" fmla="*/ 1445262 w 1478629"/>
                <a:gd name="connsiteY346" fmla="*/ 1292160 h 1302505"/>
                <a:gd name="connsiteX347" fmla="*/ 1447985 w 1478629"/>
                <a:gd name="connsiteY347" fmla="*/ 1290496 h 1302505"/>
                <a:gd name="connsiteX348" fmla="*/ 1449558 w 1478629"/>
                <a:gd name="connsiteY348" fmla="*/ 1289861 h 1302505"/>
                <a:gd name="connsiteX349" fmla="*/ 1448923 w 1478629"/>
                <a:gd name="connsiteY349" fmla="*/ 1288953 h 1302505"/>
                <a:gd name="connsiteX350" fmla="*/ 1449951 w 1478629"/>
                <a:gd name="connsiteY350" fmla="*/ 1288137 h 1302505"/>
                <a:gd name="connsiteX351" fmla="*/ 1450405 w 1478629"/>
                <a:gd name="connsiteY351" fmla="*/ 1287048 h 1302505"/>
                <a:gd name="connsiteX352" fmla="*/ 1450102 w 1478629"/>
                <a:gd name="connsiteY352" fmla="*/ 1286079 h 1302505"/>
                <a:gd name="connsiteX353" fmla="*/ 1448923 w 1478629"/>
                <a:gd name="connsiteY353" fmla="*/ 1285656 h 1302505"/>
                <a:gd name="connsiteX354" fmla="*/ 1449346 w 1478629"/>
                <a:gd name="connsiteY354" fmla="*/ 1284779 h 1302505"/>
                <a:gd name="connsiteX355" fmla="*/ 1449467 w 1478629"/>
                <a:gd name="connsiteY355" fmla="*/ 1283932 h 1302505"/>
                <a:gd name="connsiteX356" fmla="*/ 1449346 w 1478629"/>
                <a:gd name="connsiteY356" fmla="*/ 1283084 h 1302505"/>
                <a:gd name="connsiteX357" fmla="*/ 1448923 w 1478629"/>
                <a:gd name="connsiteY357" fmla="*/ 1282207 h 1302505"/>
                <a:gd name="connsiteX358" fmla="*/ 1450677 w 1478629"/>
                <a:gd name="connsiteY358" fmla="*/ 1281905 h 1302505"/>
                <a:gd name="connsiteX359" fmla="*/ 1451706 w 1478629"/>
                <a:gd name="connsiteY359" fmla="*/ 1280725 h 1302505"/>
                <a:gd name="connsiteX360" fmla="*/ 1452462 w 1478629"/>
                <a:gd name="connsiteY360" fmla="*/ 1279454 h 1302505"/>
                <a:gd name="connsiteX361" fmla="*/ 1453400 w 1478629"/>
                <a:gd name="connsiteY361" fmla="*/ 1278849 h 1302505"/>
                <a:gd name="connsiteX362" fmla="*/ 1455185 w 1478629"/>
                <a:gd name="connsiteY362" fmla="*/ 1278486 h 1302505"/>
                <a:gd name="connsiteX363" fmla="*/ 1456637 w 1478629"/>
                <a:gd name="connsiteY363" fmla="*/ 1277488 h 1302505"/>
                <a:gd name="connsiteX364" fmla="*/ 1457605 w 1478629"/>
                <a:gd name="connsiteY364" fmla="*/ 1276006 h 1302505"/>
                <a:gd name="connsiteX365" fmla="*/ 1457968 w 1478629"/>
                <a:gd name="connsiteY365" fmla="*/ 1274251 h 1302505"/>
                <a:gd name="connsiteX366" fmla="*/ 1457060 w 1478629"/>
                <a:gd name="connsiteY366" fmla="*/ 1273132 h 1302505"/>
                <a:gd name="connsiteX367" fmla="*/ 1455033 w 1478629"/>
                <a:gd name="connsiteY367" fmla="*/ 1273434 h 1302505"/>
                <a:gd name="connsiteX368" fmla="*/ 1451736 w 1478629"/>
                <a:gd name="connsiteY368" fmla="*/ 1274705 h 1302505"/>
                <a:gd name="connsiteX369" fmla="*/ 1450375 w 1478629"/>
                <a:gd name="connsiteY369" fmla="*/ 1273888 h 1302505"/>
                <a:gd name="connsiteX370" fmla="*/ 1450980 w 1478629"/>
                <a:gd name="connsiteY370" fmla="*/ 1272739 h 1302505"/>
                <a:gd name="connsiteX371" fmla="*/ 1451917 w 1478629"/>
                <a:gd name="connsiteY371" fmla="*/ 1271498 h 1302505"/>
                <a:gd name="connsiteX372" fmla="*/ 1451736 w 1478629"/>
                <a:gd name="connsiteY372" fmla="*/ 1270409 h 1302505"/>
                <a:gd name="connsiteX373" fmla="*/ 1452886 w 1478629"/>
                <a:gd name="connsiteY373" fmla="*/ 1270228 h 1302505"/>
                <a:gd name="connsiteX374" fmla="*/ 1454338 w 1478629"/>
                <a:gd name="connsiteY374" fmla="*/ 1270318 h 1302505"/>
                <a:gd name="connsiteX375" fmla="*/ 1455850 w 1478629"/>
                <a:gd name="connsiteY375" fmla="*/ 1270651 h 1302505"/>
                <a:gd name="connsiteX376" fmla="*/ 1457211 w 1478629"/>
                <a:gd name="connsiteY376" fmla="*/ 1271256 h 1302505"/>
                <a:gd name="connsiteX377" fmla="*/ 1456758 w 1478629"/>
                <a:gd name="connsiteY377" fmla="*/ 1269380 h 1302505"/>
                <a:gd name="connsiteX378" fmla="*/ 1457060 w 1478629"/>
                <a:gd name="connsiteY378" fmla="*/ 1268685 h 1302505"/>
                <a:gd name="connsiteX379" fmla="*/ 1457847 w 1478629"/>
                <a:gd name="connsiteY379" fmla="*/ 1268624 h 1302505"/>
                <a:gd name="connsiteX380" fmla="*/ 1458906 w 1478629"/>
                <a:gd name="connsiteY380" fmla="*/ 1268715 h 1302505"/>
                <a:gd name="connsiteX381" fmla="*/ 1459843 w 1478629"/>
                <a:gd name="connsiteY381" fmla="*/ 1268080 h 1302505"/>
                <a:gd name="connsiteX382" fmla="*/ 1460358 w 1478629"/>
                <a:gd name="connsiteY382" fmla="*/ 1266688 h 1302505"/>
                <a:gd name="connsiteX383" fmla="*/ 1460630 w 1478629"/>
                <a:gd name="connsiteY383" fmla="*/ 1264480 h 1302505"/>
                <a:gd name="connsiteX384" fmla="*/ 1459238 w 1478629"/>
                <a:gd name="connsiteY384" fmla="*/ 1264480 h 1302505"/>
                <a:gd name="connsiteX385" fmla="*/ 1459753 w 1478629"/>
                <a:gd name="connsiteY385" fmla="*/ 1263300 h 1302505"/>
                <a:gd name="connsiteX386" fmla="*/ 1460660 w 1478629"/>
                <a:gd name="connsiteY386" fmla="*/ 1262211 h 1302505"/>
                <a:gd name="connsiteX387" fmla="*/ 1461658 w 1478629"/>
                <a:gd name="connsiteY387" fmla="*/ 1261424 h 1302505"/>
                <a:gd name="connsiteX388" fmla="*/ 1462415 w 1478629"/>
                <a:gd name="connsiteY388" fmla="*/ 1261122 h 1302505"/>
                <a:gd name="connsiteX389" fmla="*/ 1462717 w 1478629"/>
                <a:gd name="connsiteY389" fmla="*/ 1260517 h 1302505"/>
                <a:gd name="connsiteX390" fmla="*/ 1462868 w 1478629"/>
                <a:gd name="connsiteY390" fmla="*/ 1251442 h 1302505"/>
                <a:gd name="connsiteX391" fmla="*/ 1461991 w 1478629"/>
                <a:gd name="connsiteY391" fmla="*/ 1243001 h 1302505"/>
                <a:gd name="connsiteX392" fmla="*/ 1462838 w 1478629"/>
                <a:gd name="connsiteY392" fmla="*/ 1234410 h 1302505"/>
                <a:gd name="connsiteX393" fmla="*/ 1462838 w 1478629"/>
                <a:gd name="connsiteY393" fmla="*/ 1229993 h 1302505"/>
                <a:gd name="connsiteX394" fmla="*/ 1463443 w 1478629"/>
                <a:gd name="connsiteY394" fmla="*/ 1228844 h 1302505"/>
                <a:gd name="connsiteX395" fmla="*/ 1464956 w 1478629"/>
                <a:gd name="connsiteY395" fmla="*/ 1227452 h 1302505"/>
                <a:gd name="connsiteX396" fmla="*/ 1471853 w 1478629"/>
                <a:gd name="connsiteY396" fmla="*/ 1218226 h 1302505"/>
                <a:gd name="connsiteX397" fmla="*/ 1473396 w 1478629"/>
                <a:gd name="connsiteY397" fmla="*/ 1215200 h 1302505"/>
                <a:gd name="connsiteX398" fmla="*/ 1474485 w 1478629"/>
                <a:gd name="connsiteY398" fmla="*/ 1213597 h 1302505"/>
                <a:gd name="connsiteX399" fmla="*/ 1477208 w 1478629"/>
                <a:gd name="connsiteY399" fmla="*/ 1211237 h 1302505"/>
                <a:gd name="connsiteX400" fmla="*/ 1477934 w 1478629"/>
                <a:gd name="connsiteY400" fmla="*/ 1210118 h 1302505"/>
                <a:gd name="connsiteX401" fmla="*/ 1478176 w 1478629"/>
                <a:gd name="connsiteY401" fmla="*/ 1209120 h 1302505"/>
                <a:gd name="connsiteX402" fmla="*/ 1478357 w 1478629"/>
                <a:gd name="connsiteY402" fmla="*/ 1206972 h 1302505"/>
                <a:gd name="connsiteX403" fmla="*/ 1478630 w 1478629"/>
                <a:gd name="connsiteY403" fmla="*/ 1205943 h 1302505"/>
                <a:gd name="connsiteX404" fmla="*/ 1477904 w 1478629"/>
                <a:gd name="connsiteY404" fmla="*/ 1203009 h 1302505"/>
                <a:gd name="connsiteX405" fmla="*/ 1478630 w 1478629"/>
                <a:gd name="connsiteY405" fmla="*/ 1187520 h 1302505"/>
                <a:gd name="connsiteX406" fmla="*/ 1144593 w 1478629"/>
                <a:gd name="connsiteY406" fmla="*/ 1095465 h 1302505"/>
                <a:gd name="connsiteX407" fmla="*/ 1143897 w 1478629"/>
                <a:gd name="connsiteY407" fmla="*/ 1095858 h 1302505"/>
                <a:gd name="connsiteX408" fmla="*/ 1143716 w 1478629"/>
                <a:gd name="connsiteY408" fmla="*/ 1096736 h 1302505"/>
                <a:gd name="connsiteX409" fmla="*/ 1142476 w 1478629"/>
                <a:gd name="connsiteY409" fmla="*/ 1096826 h 1302505"/>
                <a:gd name="connsiteX410" fmla="*/ 1142203 w 1478629"/>
                <a:gd name="connsiteY410" fmla="*/ 1096766 h 1302505"/>
                <a:gd name="connsiteX411" fmla="*/ 1141871 w 1478629"/>
                <a:gd name="connsiteY411" fmla="*/ 1096857 h 1302505"/>
                <a:gd name="connsiteX412" fmla="*/ 1141508 w 1478629"/>
                <a:gd name="connsiteY412" fmla="*/ 1097250 h 1302505"/>
                <a:gd name="connsiteX413" fmla="*/ 1140630 w 1478629"/>
                <a:gd name="connsiteY413" fmla="*/ 1097704 h 1302505"/>
                <a:gd name="connsiteX414" fmla="*/ 1137817 w 1478629"/>
                <a:gd name="connsiteY414" fmla="*/ 1097583 h 1302505"/>
                <a:gd name="connsiteX415" fmla="*/ 1136758 w 1478629"/>
                <a:gd name="connsiteY415" fmla="*/ 1098067 h 1302505"/>
                <a:gd name="connsiteX416" fmla="*/ 1136909 w 1478629"/>
                <a:gd name="connsiteY416" fmla="*/ 1098732 h 1302505"/>
                <a:gd name="connsiteX417" fmla="*/ 1139299 w 1478629"/>
                <a:gd name="connsiteY417" fmla="*/ 1099912 h 1302505"/>
                <a:gd name="connsiteX418" fmla="*/ 1140540 w 1478629"/>
                <a:gd name="connsiteY418" fmla="*/ 1100305 h 1302505"/>
                <a:gd name="connsiteX419" fmla="*/ 1141931 w 1478629"/>
                <a:gd name="connsiteY419" fmla="*/ 1099882 h 1302505"/>
                <a:gd name="connsiteX420" fmla="*/ 1143323 w 1478629"/>
                <a:gd name="connsiteY420" fmla="*/ 1099246 h 1302505"/>
                <a:gd name="connsiteX421" fmla="*/ 1145531 w 1478629"/>
                <a:gd name="connsiteY421" fmla="*/ 1098339 h 1302505"/>
                <a:gd name="connsiteX422" fmla="*/ 1145410 w 1478629"/>
                <a:gd name="connsiteY422" fmla="*/ 1096494 h 1302505"/>
                <a:gd name="connsiteX423" fmla="*/ 1144502 w 1478629"/>
                <a:gd name="connsiteY423" fmla="*/ 1095435 h 1302505"/>
                <a:gd name="connsiteX424" fmla="*/ 392331 w 1478629"/>
                <a:gd name="connsiteY424" fmla="*/ 711453 h 1302505"/>
                <a:gd name="connsiteX425" fmla="*/ 390939 w 1478629"/>
                <a:gd name="connsiteY425" fmla="*/ 710122 h 1302505"/>
                <a:gd name="connsiteX426" fmla="*/ 389578 w 1478629"/>
                <a:gd name="connsiteY426" fmla="*/ 710274 h 1302505"/>
                <a:gd name="connsiteX427" fmla="*/ 388307 w 1478629"/>
                <a:gd name="connsiteY427" fmla="*/ 710667 h 1302505"/>
                <a:gd name="connsiteX428" fmla="*/ 387188 w 1478629"/>
                <a:gd name="connsiteY428" fmla="*/ 710122 h 1302505"/>
                <a:gd name="connsiteX429" fmla="*/ 384828 w 1478629"/>
                <a:gd name="connsiteY429" fmla="*/ 707642 h 1302505"/>
                <a:gd name="connsiteX430" fmla="*/ 381682 w 1478629"/>
                <a:gd name="connsiteY430" fmla="*/ 705282 h 1302505"/>
                <a:gd name="connsiteX431" fmla="*/ 378264 w 1478629"/>
                <a:gd name="connsiteY431" fmla="*/ 703618 h 1302505"/>
                <a:gd name="connsiteX432" fmla="*/ 375148 w 1478629"/>
                <a:gd name="connsiteY432" fmla="*/ 703225 h 1302505"/>
                <a:gd name="connsiteX433" fmla="*/ 377356 w 1478629"/>
                <a:gd name="connsiteY433" fmla="*/ 707823 h 1302505"/>
                <a:gd name="connsiteX434" fmla="*/ 378476 w 1478629"/>
                <a:gd name="connsiteY434" fmla="*/ 710909 h 1302505"/>
                <a:gd name="connsiteX435" fmla="*/ 378234 w 1478629"/>
                <a:gd name="connsiteY435" fmla="*/ 712270 h 1302505"/>
                <a:gd name="connsiteX436" fmla="*/ 377780 w 1478629"/>
                <a:gd name="connsiteY436" fmla="*/ 713450 h 1302505"/>
                <a:gd name="connsiteX437" fmla="*/ 379444 w 1478629"/>
                <a:gd name="connsiteY437" fmla="*/ 716021 h 1302505"/>
                <a:gd name="connsiteX438" fmla="*/ 381622 w 1478629"/>
                <a:gd name="connsiteY438" fmla="*/ 718411 h 1302505"/>
                <a:gd name="connsiteX439" fmla="*/ 383739 w 1478629"/>
                <a:gd name="connsiteY439" fmla="*/ 719803 h 1302505"/>
                <a:gd name="connsiteX440" fmla="*/ 389638 w 1478629"/>
                <a:gd name="connsiteY440" fmla="*/ 725944 h 1302505"/>
                <a:gd name="connsiteX441" fmla="*/ 390727 w 1478629"/>
                <a:gd name="connsiteY441" fmla="*/ 727820 h 1302505"/>
                <a:gd name="connsiteX442" fmla="*/ 391575 w 1478629"/>
                <a:gd name="connsiteY442" fmla="*/ 729574 h 1302505"/>
                <a:gd name="connsiteX443" fmla="*/ 392996 w 1478629"/>
                <a:gd name="connsiteY443" fmla="*/ 734172 h 1302505"/>
                <a:gd name="connsiteX444" fmla="*/ 394781 w 1478629"/>
                <a:gd name="connsiteY444" fmla="*/ 734929 h 1302505"/>
                <a:gd name="connsiteX445" fmla="*/ 396263 w 1478629"/>
                <a:gd name="connsiteY445" fmla="*/ 732811 h 1302505"/>
                <a:gd name="connsiteX446" fmla="*/ 397292 w 1478629"/>
                <a:gd name="connsiteY446" fmla="*/ 729332 h 1302505"/>
                <a:gd name="connsiteX447" fmla="*/ 398109 w 1478629"/>
                <a:gd name="connsiteY447" fmla="*/ 723705 h 1302505"/>
                <a:gd name="connsiteX448" fmla="*/ 397958 w 1478629"/>
                <a:gd name="connsiteY448" fmla="*/ 722616 h 1302505"/>
                <a:gd name="connsiteX449" fmla="*/ 397201 w 1478629"/>
                <a:gd name="connsiteY449" fmla="*/ 721406 h 1302505"/>
                <a:gd name="connsiteX450" fmla="*/ 394297 w 1478629"/>
                <a:gd name="connsiteY450" fmla="*/ 719803 h 1302505"/>
                <a:gd name="connsiteX451" fmla="*/ 393238 w 1478629"/>
                <a:gd name="connsiteY451" fmla="*/ 718865 h 1302505"/>
                <a:gd name="connsiteX452" fmla="*/ 393753 w 1478629"/>
                <a:gd name="connsiteY452" fmla="*/ 717685 h 1302505"/>
                <a:gd name="connsiteX453" fmla="*/ 393753 w 1478629"/>
                <a:gd name="connsiteY453" fmla="*/ 716778 h 1302505"/>
                <a:gd name="connsiteX454" fmla="*/ 392633 w 1478629"/>
                <a:gd name="connsiteY454" fmla="*/ 715779 h 1302505"/>
                <a:gd name="connsiteX455" fmla="*/ 392543 w 1478629"/>
                <a:gd name="connsiteY455" fmla="*/ 714479 h 1302505"/>
                <a:gd name="connsiteX456" fmla="*/ 392724 w 1478629"/>
                <a:gd name="connsiteY456" fmla="*/ 712966 h 1302505"/>
                <a:gd name="connsiteX457" fmla="*/ 392301 w 1478629"/>
                <a:gd name="connsiteY457" fmla="*/ 711302 h 1302505"/>
                <a:gd name="connsiteX458" fmla="*/ 368160 w 1478629"/>
                <a:gd name="connsiteY458" fmla="*/ 678661 h 1302505"/>
                <a:gd name="connsiteX459" fmla="*/ 368795 w 1478629"/>
                <a:gd name="connsiteY459" fmla="*/ 677874 h 1302505"/>
                <a:gd name="connsiteX460" fmla="*/ 368735 w 1478629"/>
                <a:gd name="connsiteY460" fmla="*/ 677088 h 1302505"/>
                <a:gd name="connsiteX461" fmla="*/ 368251 w 1478629"/>
                <a:gd name="connsiteY461" fmla="*/ 676392 h 1302505"/>
                <a:gd name="connsiteX462" fmla="*/ 367525 w 1478629"/>
                <a:gd name="connsiteY462" fmla="*/ 675847 h 1302505"/>
                <a:gd name="connsiteX463" fmla="*/ 365709 w 1478629"/>
                <a:gd name="connsiteY463" fmla="*/ 675484 h 1302505"/>
                <a:gd name="connsiteX464" fmla="*/ 359901 w 1478629"/>
                <a:gd name="connsiteY464" fmla="*/ 676846 h 1302505"/>
                <a:gd name="connsiteX465" fmla="*/ 359901 w 1478629"/>
                <a:gd name="connsiteY465" fmla="*/ 677662 h 1302505"/>
                <a:gd name="connsiteX466" fmla="*/ 361021 w 1478629"/>
                <a:gd name="connsiteY466" fmla="*/ 678419 h 1302505"/>
                <a:gd name="connsiteX467" fmla="*/ 365105 w 1478629"/>
                <a:gd name="connsiteY467" fmla="*/ 682715 h 1302505"/>
                <a:gd name="connsiteX468" fmla="*/ 366647 w 1478629"/>
                <a:gd name="connsiteY468" fmla="*/ 683289 h 1302505"/>
                <a:gd name="connsiteX469" fmla="*/ 372274 w 1478629"/>
                <a:gd name="connsiteY469" fmla="*/ 682291 h 1302505"/>
                <a:gd name="connsiteX470" fmla="*/ 382015 w 1478629"/>
                <a:gd name="connsiteY470" fmla="*/ 688099 h 1302505"/>
                <a:gd name="connsiteX471" fmla="*/ 386583 w 1478629"/>
                <a:gd name="connsiteY471" fmla="*/ 688886 h 1302505"/>
                <a:gd name="connsiteX472" fmla="*/ 387037 w 1478629"/>
                <a:gd name="connsiteY472" fmla="*/ 689037 h 1302505"/>
                <a:gd name="connsiteX473" fmla="*/ 387521 w 1478629"/>
                <a:gd name="connsiteY473" fmla="*/ 689551 h 1302505"/>
                <a:gd name="connsiteX474" fmla="*/ 388580 w 1478629"/>
                <a:gd name="connsiteY474" fmla="*/ 689007 h 1302505"/>
                <a:gd name="connsiteX475" fmla="*/ 389336 w 1478629"/>
                <a:gd name="connsiteY475" fmla="*/ 688795 h 1302505"/>
                <a:gd name="connsiteX476" fmla="*/ 390274 w 1478629"/>
                <a:gd name="connsiteY476" fmla="*/ 688704 h 1302505"/>
                <a:gd name="connsiteX477" fmla="*/ 389124 w 1478629"/>
                <a:gd name="connsiteY477" fmla="*/ 686254 h 1302505"/>
                <a:gd name="connsiteX478" fmla="*/ 387218 w 1478629"/>
                <a:gd name="connsiteY478" fmla="*/ 684197 h 1302505"/>
                <a:gd name="connsiteX479" fmla="*/ 384859 w 1478629"/>
                <a:gd name="connsiteY479" fmla="*/ 682805 h 1302505"/>
                <a:gd name="connsiteX480" fmla="*/ 374724 w 1478629"/>
                <a:gd name="connsiteY480" fmla="*/ 681293 h 1302505"/>
                <a:gd name="connsiteX481" fmla="*/ 373061 w 1478629"/>
                <a:gd name="connsiteY481" fmla="*/ 680537 h 1302505"/>
                <a:gd name="connsiteX482" fmla="*/ 373061 w 1478629"/>
                <a:gd name="connsiteY482" fmla="*/ 679538 h 1302505"/>
                <a:gd name="connsiteX483" fmla="*/ 374482 w 1478629"/>
                <a:gd name="connsiteY483" fmla="*/ 679538 h 1302505"/>
                <a:gd name="connsiteX484" fmla="*/ 374482 w 1478629"/>
                <a:gd name="connsiteY484" fmla="*/ 678631 h 1302505"/>
                <a:gd name="connsiteX485" fmla="*/ 372032 w 1478629"/>
                <a:gd name="connsiteY485" fmla="*/ 679205 h 1302505"/>
                <a:gd name="connsiteX486" fmla="*/ 369158 w 1478629"/>
                <a:gd name="connsiteY486" fmla="*/ 680385 h 1302505"/>
                <a:gd name="connsiteX487" fmla="*/ 366496 w 1478629"/>
                <a:gd name="connsiteY487" fmla="*/ 680446 h 1302505"/>
                <a:gd name="connsiteX488" fmla="*/ 364742 w 1478629"/>
                <a:gd name="connsiteY488" fmla="*/ 677632 h 1302505"/>
                <a:gd name="connsiteX489" fmla="*/ 365770 w 1478629"/>
                <a:gd name="connsiteY489" fmla="*/ 677693 h 1302505"/>
                <a:gd name="connsiteX490" fmla="*/ 368160 w 1478629"/>
                <a:gd name="connsiteY490" fmla="*/ 678631 h 1302505"/>
                <a:gd name="connsiteX491" fmla="*/ 285210 w 1478629"/>
                <a:gd name="connsiteY491" fmla="*/ 614044 h 1302505"/>
                <a:gd name="connsiteX492" fmla="*/ 281278 w 1478629"/>
                <a:gd name="connsiteY492" fmla="*/ 612501 h 1302505"/>
                <a:gd name="connsiteX493" fmla="*/ 279311 w 1478629"/>
                <a:gd name="connsiteY493" fmla="*/ 612198 h 1302505"/>
                <a:gd name="connsiteX494" fmla="*/ 277466 w 1478629"/>
                <a:gd name="connsiteY494" fmla="*/ 612501 h 1302505"/>
                <a:gd name="connsiteX495" fmla="*/ 276679 w 1478629"/>
                <a:gd name="connsiteY495" fmla="*/ 613711 h 1302505"/>
                <a:gd name="connsiteX496" fmla="*/ 277829 w 1478629"/>
                <a:gd name="connsiteY496" fmla="*/ 616192 h 1302505"/>
                <a:gd name="connsiteX497" fmla="*/ 285876 w 1478629"/>
                <a:gd name="connsiteY497" fmla="*/ 616283 h 1302505"/>
                <a:gd name="connsiteX498" fmla="*/ 288145 w 1478629"/>
                <a:gd name="connsiteY498" fmla="*/ 617129 h 1302505"/>
                <a:gd name="connsiteX499" fmla="*/ 287056 w 1478629"/>
                <a:gd name="connsiteY499" fmla="*/ 615405 h 1302505"/>
                <a:gd name="connsiteX500" fmla="*/ 285180 w 1478629"/>
                <a:gd name="connsiteY500" fmla="*/ 614074 h 1302505"/>
                <a:gd name="connsiteX501" fmla="*/ 300639 w 1478629"/>
                <a:gd name="connsiteY501" fmla="*/ 582007 h 1302505"/>
                <a:gd name="connsiteX502" fmla="*/ 299550 w 1478629"/>
                <a:gd name="connsiteY502" fmla="*/ 581009 h 1302505"/>
                <a:gd name="connsiteX503" fmla="*/ 296131 w 1478629"/>
                <a:gd name="connsiteY503" fmla="*/ 579345 h 1302505"/>
                <a:gd name="connsiteX504" fmla="*/ 295103 w 1478629"/>
                <a:gd name="connsiteY504" fmla="*/ 578226 h 1302505"/>
                <a:gd name="connsiteX505" fmla="*/ 294982 w 1478629"/>
                <a:gd name="connsiteY505" fmla="*/ 576290 h 1302505"/>
                <a:gd name="connsiteX506" fmla="*/ 295375 w 1478629"/>
                <a:gd name="connsiteY506" fmla="*/ 574505 h 1302505"/>
                <a:gd name="connsiteX507" fmla="*/ 295133 w 1478629"/>
                <a:gd name="connsiteY507" fmla="*/ 572962 h 1302505"/>
                <a:gd name="connsiteX508" fmla="*/ 293076 w 1478629"/>
                <a:gd name="connsiteY508" fmla="*/ 571752 h 1302505"/>
                <a:gd name="connsiteX509" fmla="*/ 291261 w 1478629"/>
                <a:gd name="connsiteY509" fmla="*/ 571480 h 1302505"/>
                <a:gd name="connsiteX510" fmla="*/ 285513 w 1478629"/>
                <a:gd name="connsiteY510" fmla="*/ 571752 h 1302505"/>
                <a:gd name="connsiteX511" fmla="*/ 287207 w 1478629"/>
                <a:gd name="connsiteY511" fmla="*/ 573779 h 1302505"/>
                <a:gd name="connsiteX512" fmla="*/ 288750 w 1478629"/>
                <a:gd name="connsiteY512" fmla="*/ 578982 h 1302505"/>
                <a:gd name="connsiteX513" fmla="*/ 290353 w 1478629"/>
                <a:gd name="connsiteY513" fmla="*/ 581100 h 1302505"/>
                <a:gd name="connsiteX514" fmla="*/ 293076 w 1478629"/>
                <a:gd name="connsiteY514" fmla="*/ 579799 h 1302505"/>
                <a:gd name="connsiteX515" fmla="*/ 295647 w 1478629"/>
                <a:gd name="connsiteY515" fmla="*/ 581433 h 1302505"/>
                <a:gd name="connsiteX516" fmla="*/ 297765 w 1478629"/>
                <a:gd name="connsiteY516" fmla="*/ 584488 h 1302505"/>
                <a:gd name="connsiteX517" fmla="*/ 299247 w 1478629"/>
                <a:gd name="connsiteY517" fmla="*/ 587544 h 1302505"/>
                <a:gd name="connsiteX518" fmla="*/ 300911 w 1478629"/>
                <a:gd name="connsiteY518" fmla="*/ 588451 h 1302505"/>
                <a:gd name="connsiteX519" fmla="*/ 301395 w 1478629"/>
                <a:gd name="connsiteY519" fmla="*/ 586666 h 1302505"/>
                <a:gd name="connsiteX520" fmla="*/ 301153 w 1478629"/>
                <a:gd name="connsiteY520" fmla="*/ 583913 h 1302505"/>
                <a:gd name="connsiteX521" fmla="*/ 300669 w 1478629"/>
                <a:gd name="connsiteY521" fmla="*/ 582007 h 1302505"/>
                <a:gd name="connsiteX522" fmla="*/ 204258 w 1478629"/>
                <a:gd name="connsiteY522" fmla="*/ 531820 h 1302505"/>
                <a:gd name="connsiteX523" fmla="*/ 203048 w 1478629"/>
                <a:gd name="connsiteY523" fmla="*/ 531245 h 1302505"/>
                <a:gd name="connsiteX524" fmla="*/ 199629 w 1478629"/>
                <a:gd name="connsiteY524" fmla="*/ 528009 h 1302505"/>
                <a:gd name="connsiteX525" fmla="*/ 199357 w 1478629"/>
                <a:gd name="connsiteY525" fmla="*/ 527646 h 1302505"/>
                <a:gd name="connsiteX526" fmla="*/ 196846 w 1478629"/>
                <a:gd name="connsiteY526" fmla="*/ 525831 h 1302505"/>
                <a:gd name="connsiteX527" fmla="*/ 192308 w 1478629"/>
                <a:gd name="connsiteY527" fmla="*/ 523622 h 1302505"/>
                <a:gd name="connsiteX528" fmla="*/ 191038 w 1478629"/>
                <a:gd name="connsiteY528" fmla="*/ 523350 h 1302505"/>
                <a:gd name="connsiteX529" fmla="*/ 190130 w 1478629"/>
                <a:gd name="connsiteY529" fmla="*/ 522563 h 1302505"/>
                <a:gd name="connsiteX530" fmla="*/ 189465 w 1478629"/>
                <a:gd name="connsiteY530" fmla="*/ 522563 h 1302505"/>
                <a:gd name="connsiteX531" fmla="*/ 189071 w 1478629"/>
                <a:gd name="connsiteY531" fmla="*/ 523441 h 1302505"/>
                <a:gd name="connsiteX532" fmla="*/ 188224 w 1478629"/>
                <a:gd name="connsiteY532" fmla="*/ 524227 h 1302505"/>
                <a:gd name="connsiteX533" fmla="*/ 188829 w 1478629"/>
                <a:gd name="connsiteY533" fmla="*/ 526194 h 1302505"/>
                <a:gd name="connsiteX534" fmla="*/ 189918 w 1478629"/>
                <a:gd name="connsiteY534" fmla="*/ 528372 h 1302505"/>
                <a:gd name="connsiteX535" fmla="*/ 190705 w 1478629"/>
                <a:gd name="connsiteY535" fmla="*/ 530641 h 1302505"/>
                <a:gd name="connsiteX536" fmla="*/ 190372 w 1478629"/>
                <a:gd name="connsiteY536" fmla="*/ 532788 h 1302505"/>
                <a:gd name="connsiteX537" fmla="*/ 192127 w 1478629"/>
                <a:gd name="connsiteY537" fmla="*/ 533938 h 1302505"/>
                <a:gd name="connsiteX538" fmla="*/ 197330 w 1478629"/>
                <a:gd name="connsiteY538" fmla="*/ 535390 h 1302505"/>
                <a:gd name="connsiteX539" fmla="*/ 205195 w 1478629"/>
                <a:gd name="connsiteY539" fmla="*/ 536056 h 1302505"/>
                <a:gd name="connsiteX540" fmla="*/ 207857 w 1478629"/>
                <a:gd name="connsiteY540" fmla="*/ 535330 h 1302505"/>
                <a:gd name="connsiteX541" fmla="*/ 208281 w 1478629"/>
                <a:gd name="connsiteY541" fmla="*/ 532788 h 1302505"/>
                <a:gd name="connsiteX542" fmla="*/ 207283 w 1478629"/>
                <a:gd name="connsiteY542" fmla="*/ 531760 h 1302505"/>
                <a:gd name="connsiteX543" fmla="*/ 204258 w 1478629"/>
                <a:gd name="connsiteY543" fmla="*/ 531881 h 1302505"/>
                <a:gd name="connsiteX544" fmla="*/ 8682 w 1478629"/>
                <a:gd name="connsiteY544" fmla="*/ 373908 h 1302505"/>
                <a:gd name="connsiteX545" fmla="*/ 8501 w 1478629"/>
                <a:gd name="connsiteY545" fmla="*/ 373515 h 1302505"/>
                <a:gd name="connsiteX546" fmla="*/ 8289 w 1478629"/>
                <a:gd name="connsiteY546" fmla="*/ 373182 h 1302505"/>
                <a:gd name="connsiteX547" fmla="*/ 6413 w 1478629"/>
                <a:gd name="connsiteY547" fmla="*/ 372335 h 1302505"/>
                <a:gd name="connsiteX548" fmla="*/ 4114 w 1478629"/>
                <a:gd name="connsiteY548" fmla="*/ 372940 h 1302505"/>
                <a:gd name="connsiteX549" fmla="*/ 0 w 1478629"/>
                <a:gd name="connsiteY549" fmla="*/ 375118 h 1302505"/>
                <a:gd name="connsiteX550" fmla="*/ 0 w 1478629"/>
                <a:gd name="connsiteY550" fmla="*/ 376056 h 1302505"/>
                <a:gd name="connsiteX551" fmla="*/ 2541 w 1478629"/>
                <a:gd name="connsiteY551" fmla="*/ 375360 h 1302505"/>
                <a:gd name="connsiteX552" fmla="*/ 3509 w 1478629"/>
                <a:gd name="connsiteY552" fmla="*/ 375632 h 1302505"/>
                <a:gd name="connsiteX553" fmla="*/ 4114 w 1478629"/>
                <a:gd name="connsiteY553" fmla="*/ 376993 h 1302505"/>
                <a:gd name="connsiteX554" fmla="*/ 3781 w 1478629"/>
                <a:gd name="connsiteY554" fmla="*/ 377054 h 1302505"/>
                <a:gd name="connsiteX555" fmla="*/ 3055 w 1478629"/>
                <a:gd name="connsiteY555" fmla="*/ 376933 h 1302505"/>
                <a:gd name="connsiteX556" fmla="*/ 2723 w 1478629"/>
                <a:gd name="connsiteY556" fmla="*/ 376993 h 1302505"/>
                <a:gd name="connsiteX557" fmla="*/ 2723 w 1478629"/>
                <a:gd name="connsiteY557" fmla="*/ 377931 h 1302505"/>
                <a:gd name="connsiteX558" fmla="*/ 4477 w 1478629"/>
                <a:gd name="connsiteY558" fmla="*/ 377568 h 1302505"/>
                <a:gd name="connsiteX559" fmla="*/ 9650 w 1478629"/>
                <a:gd name="connsiteY559" fmla="*/ 375057 h 1302505"/>
                <a:gd name="connsiteX560" fmla="*/ 9650 w 1478629"/>
                <a:gd name="connsiteY560" fmla="*/ 374029 h 1302505"/>
                <a:gd name="connsiteX561" fmla="*/ 9015 w 1478629"/>
                <a:gd name="connsiteY561" fmla="*/ 374120 h 1302505"/>
                <a:gd name="connsiteX562" fmla="*/ 8682 w 1478629"/>
                <a:gd name="connsiteY562" fmla="*/ 373878 h 1302505"/>
                <a:gd name="connsiteX563" fmla="*/ 1330609 w 1478629"/>
                <a:gd name="connsiteY563" fmla="*/ 303180 h 1302505"/>
                <a:gd name="connsiteX564" fmla="*/ 1314667 w 1478629"/>
                <a:gd name="connsiteY564" fmla="*/ 295345 h 1302505"/>
                <a:gd name="connsiteX565" fmla="*/ 1312852 w 1478629"/>
                <a:gd name="connsiteY565" fmla="*/ 295163 h 1302505"/>
                <a:gd name="connsiteX566" fmla="*/ 1307104 w 1478629"/>
                <a:gd name="connsiteY566" fmla="*/ 295708 h 1302505"/>
                <a:gd name="connsiteX567" fmla="*/ 1298724 w 1478629"/>
                <a:gd name="connsiteY567" fmla="*/ 293469 h 1302505"/>
                <a:gd name="connsiteX568" fmla="*/ 1297605 w 1478629"/>
                <a:gd name="connsiteY568" fmla="*/ 293742 h 1302505"/>
                <a:gd name="connsiteX569" fmla="*/ 1295245 w 1478629"/>
                <a:gd name="connsiteY569" fmla="*/ 294921 h 1302505"/>
                <a:gd name="connsiteX570" fmla="*/ 1294035 w 1478629"/>
                <a:gd name="connsiteY570" fmla="*/ 295194 h 1302505"/>
                <a:gd name="connsiteX571" fmla="*/ 1293067 w 1478629"/>
                <a:gd name="connsiteY571" fmla="*/ 295073 h 1302505"/>
                <a:gd name="connsiteX572" fmla="*/ 1290950 w 1478629"/>
                <a:gd name="connsiteY572" fmla="*/ 294377 h 1302505"/>
                <a:gd name="connsiteX573" fmla="*/ 1289830 w 1478629"/>
                <a:gd name="connsiteY573" fmla="*/ 294195 h 1302505"/>
                <a:gd name="connsiteX574" fmla="*/ 1288560 w 1478629"/>
                <a:gd name="connsiteY574" fmla="*/ 294437 h 1302505"/>
                <a:gd name="connsiteX575" fmla="*/ 1287380 w 1478629"/>
                <a:gd name="connsiteY575" fmla="*/ 294921 h 1302505"/>
                <a:gd name="connsiteX576" fmla="*/ 1286170 w 1478629"/>
                <a:gd name="connsiteY576" fmla="*/ 295194 h 1302505"/>
                <a:gd name="connsiteX577" fmla="*/ 1285777 w 1478629"/>
                <a:gd name="connsiteY577" fmla="*/ 295103 h 1302505"/>
                <a:gd name="connsiteX578" fmla="*/ 1284778 w 1478629"/>
                <a:gd name="connsiteY578" fmla="*/ 294891 h 1302505"/>
                <a:gd name="connsiteX579" fmla="*/ 1283841 w 1478629"/>
                <a:gd name="connsiteY579" fmla="*/ 294165 h 1302505"/>
                <a:gd name="connsiteX580" fmla="*/ 1282872 w 1478629"/>
                <a:gd name="connsiteY580" fmla="*/ 292350 h 1302505"/>
                <a:gd name="connsiteX581" fmla="*/ 1282146 w 1478629"/>
                <a:gd name="connsiteY581" fmla="*/ 291503 h 1302505"/>
                <a:gd name="connsiteX582" fmla="*/ 1279908 w 1478629"/>
                <a:gd name="connsiteY582" fmla="*/ 290444 h 1302505"/>
                <a:gd name="connsiteX583" fmla="*/ 1275521 w 1478629"/>
                <a:gd name="connsiteY583" fmla="*/ 289748 h 1302505"/>
                <a:gd name="connsiteX584" fmla="*/ 1273313 w 1478629"/>
                <a:gd name="connsiteY584" fmla="*/ 288478 h 1302505"/>
                <a:gd name="connsiteX585" fmla="*/ 1271982 w 1478629"/>
                <a:gd name="connsiteY585" fmla="*/ 286935 h 1302505"/>
                <a:gd name="connsiteX586" fmla="*/ 1269713 w 1478629"/>
                <a:gd name="connsiteY586" fmla="*/ 283517 h 1302505"/>
                <a:gd name="connsiteX587" fmla="*/ 1268291 w 1478629"/>
                <a:gd name="connsiteY587" fmla="*/ 282155 h 1302505"/>
                <a:gd name="connsiteX588" fmla="*/ 1268473 w 1478629"/>
                <a:gd name="connsiteY588" fmla="*/ 281701 h 1302505"/>
                <a:gd name="connsiteX589" fmla="*/ 1268715 w 1478629"/>
                <a:gd name="connsiteY589" fmla="*/ 281369 h 1302505"/>
                <a:gd name="connsiteX590" fmla="*/ 1269471 w 1478629"/>
                <a:gd name="connsiteY590" fmla="*/ 280915 h 1302505"/>
                <a:gd name="connsiteX591" fmla="*/ 1268805 w 1478629"/>
                <a:gd name="connsiteY591" fmla="*/ 278858 h 1302505"/>
                <a:gd name="connsiteX592" fmla="*/ 1266990 w 1478629"/>
                <a:gd name="connsiteY592" fmla="*/ 278253 h 1302505"/>
                <a:gd name="connsiteX593" fmla="*/ 1262634 w 1478629"/>
                <a:gd name="connsiteY593" fmla="*/ 277980 h 1302505"/>
                <a:gd name="connsiteX594" fmla="*/ 1262211 w 1478629"/>
                <a:gd name="connsiteY594" fmla="*/ 276407 h 1302505"/>
                <a:gd name="connsiteX595" fmla="*/ 1260244 w 1478629"/>
                <a:gd name="connsiteY595" fmla="*/ 276256 h 1302505"/>
                <a:gd name="connsiteX596" fmla="*/ 1258278 w 1478629"/>
                <a:gd name="connsiteY596" fmla="*/ 276801 h 1302505"/>
                <a:gd name="connsiteX597" fmla="*/ 1257885 w 1478629"/>
                <a:gd name="connsiteY597" fmla="*/ 276922 h 1302505"/>
                <a:gd name="connsiteX598" fmla="*/ 1256191 w 1478629"/>
                <a:gd name="connsiteY598" fmla="*/ 277799 h 1302505"/>
                <a:gd name="connsiteX599" fmla="*/ 1255737 w 1478629"/>
                <a:gd name="connsiteY599" fmla="*/ 278495 h 1302505"/>
                <a:gd name="connsiteX600" fmla="*/ 1255011 w 1478629"/>
                <a:gd name="connsiteY600" fmla="*/ 280552 h 1302505"/>
                <a:gd name="connsiteX601" fmla="*/ 1254497 w 1478629"/>
                <a:gd name="connsiteY601" fmla="*/ 281338 h 1302505"/>
                <a:gd name="connsiteX602" fmla="*/ 1253740 w 1478629"/>
                <a:gd name="connsiteY602" fmla="*/ 281671 h 1302505"/>
                <a:gd name="connsiteX603" fmla="*/ 1251683 w 1478629"/>
                <a:gd name="connsiteY603" fmla="*/ 281913 h 1302505"/>
                <a:gd name="connsiteX604" fmla="*/ 1250776 w 1478629"/>
                <a:gd name="connsiteY604" fmla="*/ 282216 h 1302505"/>
                <a:gd name="connsiteX605" fmla="*/ 1250140 w 1478629"/>
                <a:gd name="connsiteY605" fmla="*/ 282911 h 1302505"/>
                <a:gd name="connsiteX606" fmla="*/ 1249082 w 1478629"/>
                <a:gd name="connsiteY606" fmla="*/ 284908 h 1302505"/>
                <a:gd name="connsiteX607" fmla="*/ 1248507 w 1478629"/>
                <a:gd name="connsiteY607" fmla="*/ 285483 h 1302505"/>
                <a:gd name="connsiteX608" fmla="*/ 1247872 w 1478629"/>
                <a:gd name="connsiteY608" fmla="*/ 285423 h 1302505"/>
                <a:gd name="connsiteX609" fmla="*/ 1245179 w 1478629"/>
                <a:gd name="connsiteY609" fmla="*/ 284243 h 1302505"/>
                <a:gd name="connsiteX610" fmla="*/ 1236497 w 1478629"/>
                <a:gd name="connsiteY610" fmla="*/ 284182 h 1302505"/>
                <a:gd name="connsiteX611" fmla="*/ 1234924 w 1478629"/>
                <a:gd name="connsiteY611" fmla="*/ 283698 h 1302505"/>
                <a:gd name="connsiteX612" fmla="*/ 1233351 w 1478629"/>
                <a:gd name="connsiteY612" fmla="*/ 282942 h 1302505"/>
                <a:gd name="connsiteX613" fmla="*/ 1229509 w 1478629"/>
                <a:gd name="connsiteY613" fmla="*/ 280370 h 1302505"/>
                <a:gd name="connsiteX614" fmla="*/ 1228964 w 1478629"/>
                <a:gd name="connsiteY614" fmla="*/ 280310 h 1302505"/>
                <a:gd name="connsiteX615" fmla="*/ 1228057 w 1478629"/>
                <a:gd name="connsiteY615" fmla="*/ 281127 h 1302505"/>
                <a:gd name="connsiteX616" fmla="*/ 1228148 w 1478629"/>
                <a:gd name="connsiteY616" fmla="*/ 281913 h 1302505"/>
                <a:gd name="connsiteX617" fmla="*/ 1228450 w 1478629"/>
                <a:gd name="connsiteY617" fmla="*/ 282639 h 1302505"/>
                <a:gd name="connsiteX618" fmla="*/ 1228299 w 1478629"/>
                <a:gd name="connsiteY618" fmla="*/ 283365 h 1302505"/>
                <a:gd name="connsiteX619" fmla="*/ 1225213 w 1478629"/>
                <a:gd name="connsiteY619" fmla="*/ 285150 h 1302505"/>
                <a:gd name="connsiteX620" fmla="*/ 1222975 w 1478629"/>
                <a:gd name="connsiteY620" fmla="*/ 283547 h 1302505"/>
                <a:gd name="connsiteX621" fmla="*/ 1221825 w 1478629"/>
                <a:gd name="connsiteY621" fmla="*/ 279675 h 1302505"/>
                <a:gd name="connsiteX622" fmla="*/ 1221886 w 1478629"/>
                <a:gd name="connsiteY622" fmla="*/ 274683 h 1302505"/>
                <a:gd name="connsiteX623" fmla="*/ 1219707 w 1478629"/>
                <a:gd name="connsiteY623" fmla="*/ 274592 h 1302505"/>
                <a:gd name="connsiteX624" fmla="*/ 1213415 w 1478629"/>
                <a:gd name="connsiteY624" fmla="*/ 271325 h 1302505"/>
                <a:gd name="connsiteX625" fmla="*/ 1212296 w 1478629"/>
                <a:gd name="connsiteY625" fmla="*/ 271174 h 1302505"/>
                <a:gd name="connsiteX626" fmla="*/ 1209362 w 1478629"/>
                <a:gd name="connsiteY626" fmla="*/ 271416 h 1302505"/>
                <a:gd name="connsiteX627" fmla="*/ 1205157 w 1478629"/>
                <a:gd name="connsiteY627" fmla="*/ 270539 h 1302505"/>
                <a:gd name="connsiteX628" fmla="*/ 1204158 w 1478629"/>
                <a:gd name="connsiteY628" fmla="*/ 270781 h 1302505"/>
                <a:gd name="connsiteX629" fmla="*/ 1203583 w 1478629"/>
                <a:gd name="connsiteY629" fmla="*/ 272747 h 1302505"/>
                <a:gd name="connsiteX630" fmla="*/ 1204340 w 1478629"/>
                <a:gd name="connsiteY630" fmla="*/ 275016 h 1302505"/>
                <a:gd name="connsiteX631" fmla="*/ 1204733 w 1478629"/>
                <a:gd name="connsiteY631" fmla="*/ 277376 h 1302505"/>
                <a:gd name="connsiteX632" fmla="*/ 1203009 w 1478629"/>
                <a:gd name="connsiteY632" fmla="*/ 279493 h 1302505"/>
                <a:gd name="connsiteX633" fmla="*/ 1201738 w 1478629"/>
                <a:gd name="connsiteY633" fmla="*/ 279765 h 1302505"/>
                <a:gd name="connsiteX634" fmla="*/ 1197805 w 1478629"/>
                <a:gd name="connsiteY634" fmla="*/ 278434 h 1302505"/>
                <a:gd name="connsiteX635" fmla="*/ 1193328 w 1478629"/>
                <a:gd name="connsiteY635" fmla="*/ 278434 h 1302505"/>
                <a:gd name="connsiteX636" fmla="*/ 1192148 w 1478629"/>
                <a:gd name="connsiteY636" fmla="*/ 277920 h 1302505"/>
                <a:gd name="connsiteX637" fmla="*/ 1190848 w 1478629"/>
                <a:gd name="connsiteY637" fmla="*/ 275924 h 1302505"/>
                <a:gd name="connsiteX638" fmla="*/ 1191120 w 1478629"/>
                <a:gd name="connsiteY638" fmla="*/ 274199 h 1302505"/>
                <a:gd name="connsiteX639" fmla="*/ 1191634 w 1478629"/>
                <a:gd name="connsiteY639" fmla="*/ 272414 h 1302505"/>
                <a:gd name="connsiteX640" fmla="*/ 1190999 w 1478629"/>
                <a:gd name="connsiteY640" fmla="*/ 270176 h 1302505"/>
                <a:gd name="connsiteX641" fmla="*/ 1190606 w 1478629"/>
                <a:gd name="connsiteY641" fmla="*/ 270176 h 1302505"/>
                <a:gd name="connsiteX642" fmla="*/ 1189244 w 1478629"/>
                <a:gd name="connsiteY642" fmla="*/ 270993 h 1302505"/>
                <a:gd name="connsiteX643" fmla="*/ 1188791 w 1478629"/>
                <a:gd name="connsiteY643" fmla="*/ 271053 h 1302505"/>
                <a:gd name="connsiteX644" fmla="*/ 1188518 w 1478629"/>
                <a:gd name="connsiteY644" fmla="*/ 270539 h 1302505"/>
                <a:gd name="connsiteX645" fmla="*/ 1188337 w 1478629"/>
                <a:gd name="connsiteY645" fmla="*/ 269419 h 1302505"/>
                <a:gd name="connsiteX646" fmla="*/ 1188216 w 1478629"/>
                <a:gd name="connsiteY646" fmla="*/ 269117 h 1302505"/>
                <a:gd name="connsiteX647" fmla="*/ 1187883 w 1478629"/>
                <a:gd name="connsiteY647" fmla="*/ 268512 h 1302505"/>
                <a:gd name="connsiteX648" fmla="*/ 1187097 w 1478629"/>
                <a:gd name="connsiteY648" fmla="*/ 265880 h 1302505"/>
                <a:gd name="connsiteX649" fmla="*/ 1186673 w 1478629"/>
                <a:gd name="connsiteY649" fmla="*/ 265487 h 1302505"/>
                <a:gd name="connsiteX650" fmla="*/ 1185281 w 1478629"/>
                <a:gd name="connsiteY650" fmla="*/ 265033 h 1302505"/>
                <a:gd name="connsiteX651" fmla="*/ 1184737 w 1478629"/>
                <a:gd name="connsiteY651" fmla="*/ 264639 h 1302505"/>
                <a:gd name="connsiteX652" fmla="*/ 1184616 w 1478629"/>
                <a:gd name="connsiteY652" fmla="*/ 264065 h 1302505"/>
                <a:gd name="connsiteX653" fmla="*/ 1184828 w 1478629"/>
                <a:gd name="connsiteY653" fmla="*/ 262643 h 1302505"/>
                <a:gd name="connsiteX654" fmla="*/ 1184676 w 1478629"/>
                <a:gd name="connsiteY654" fmla="*/ 262038 h 1302505"/>
                <a:gd name="connsiteX655" fmla="*/ 1177991 w 1478629"/>
                <a:gd name="connsiteY655" fmla="*/ 256109 h 1302505"/>
                <a:gd name="connsiteX656" fmla="*/ 1176327 w 1478629"/>
                <a:gd name="connsiteY656" fmla="*/ 254233 h 1302505"/>
                <a:gd name="connsiteX657" fmla="*/ 1175692 w 1478629"/>
                <a:gd name="connsiteY657" fmla="*/ 252599 h 1302505"/>
                <a:gd name="connsiteX658" fmla="*/ 1176236 w 1478629"/>
                <a:gd name="connsiteY658" fmla="*/ 251299 h 1302505"/>
                <a:gd name="connsiteX659" fmla="*/ 1178021 w 1478629"/>
                <a:gd name="connsiteY659" fmla="*/ 251208 h 1302505"/>
                <a:gd name="connsiteX660" fmla="*/ 1178444 w 1478629"/>
                <a:gd name="connsiteY660" fmla="*/ 250058 h 1302505"/>
                <a:gd name="connsiteX661" fmla="*/ 1178081 w 1478629"/>
                <a:gd name="connsiteY661" fmla="*/ 249211 h 1302505"/>
                <a:gd name="connsiteX662" fmla="*/ 1173181 w 1478629"/>
                <a:gd name="connsiteY662" fmla="*/ 244432 h 1302505"/>
                <a:gd name="connsiteX663" fmla="*/ 1172485 w 1478629"/>
                <a:gd name="connsiteY663" fmla="*/ 243463 h 1302505"/>
                <a:gd name="connsiteX664" fmla="*/ 1172667 w 1478629"/>
                <a:gd name="connsiteY664" fmla="*/ 243403 h 1302505"/>
                <a:gd name="connsiteX665" fmla="*/ 1172667 w 1478629"/>
                <a:gd name="connsiteY665" fmla="*/ 242617 h 1302505"/>
                <a:gd name="connsiteX666" fmla="*/ 1172364 w 1478629"/>
                <a:gd name="connsiteY666" fmla="*/ 241437 h 1302505"/>
                <a:gd name="connsiteX667" fmla="*/ 1171729 w 1478629"/>
                <a:gd name="connsiteY667" fmla="*/ 240257 h 1302505"/>
                <a:gd name="connsiteX668" fmla="*/ 1170004 w 1478629"/>
                <a:gd name="connsiteY668" fmla="*/ 238714 h 1302505"/>
                <a:gd name="connsiteX669" fmla="*/ 1160778 w 1478629"/>
                <a:gd name="connsiteY669" fmla="*/ 234449 h 1302505"/>
                <a:gd name="connsiteX670" fmla="*/ 1159658 w 1478629"/>
                <a:gd name="connsiteY670" fmla="*/ 234267 h 1302505"/>
                <a:gd name="connsiteX671" fmla="*/ 1158842 w 1478629"/>
                <a:gd name="connsiteY671" fmla="*/ 234539 h 1302505"/>
                <a:gd name="connsiteX672" fmla="*/ 1156936 w 1478629"/>
                <a:gd name="connsiteY672" fmla="*/ 235750 h 1302505"/>
                <a:gd name="connsiteX673" fmla="*/ 1155877 w 1478629"/>
                <a:gd name="connsiteY673" fmla="*/ 235931 h 1302505"/>
                <a:gd name="connsiteX674" fmla="*/ 1155030 w 1478629"/>
                <a:gd name="connsiteY674" fmla="*/ 235840 h 1302505"/>
                <a:gd name="connsiteX675" fmla="*/ 1153003 w 1478629"/>
                <a:gd name="connsiteY675" fmla="*/ 235628 h 1302505"/>
                <a:gd name="connsiteX676" fmla="*/ 1150341 w 1478629"/>
                <a:gd name="connsiteY676" fmla="*/ 234267 h 1302505"/>
                <a:gd name="connsiteX677" fmla="*/ 1145561 w 1478629"/>
                <a:gd name="connsiteY677" fmla="*/ 230970 h 1302505"/>
                <a:gd name="connsiteX678" fmla="*/ 1145380 w 1478629"/>
                <a:gd name="connsiteY678" fmla="*/ 230849 h 1302505"/>
                <a:gd name="connsiteX679" fmla="*/ 1142627 w 1478629"/>
                <a:gd name="connsiteY679" fmla="*/ 229820 h 1302505"/>
                <a:gd name="connsiteX680" fmla="*/ 1139783 w 1478629"/>
                <a:gd name="connsiteY680" fmla="*/ 229548 h 1302505"/>
                <a:gd name="connsiteX681" fmla="*/ 1134005 w 1478629"/>
                <a:gd name="connsiteY681" fmla="*/ 230123 h 1302505"/>
                <a:gd name="connsiteX682" fmla="*/ 1134671 w 1478629"/>
                <a:gd name="connsiteY682" fmla="*/ 231423 h 1302505"/>
                <a:gd name="connsiteX683" fmla="*/ 1131827 w 1478629"/>
                <a:gd name="connsiteY683" fmla="*/ 231666 h 1302505"/>
                <a:gd name="connsiteX684" fmla="*/ 1131101 w 1478629"/>
                <a:gd name="connsiteY684" fmla="*/ 231938 h 1302505"/>
                <a:gd name="connsiteX685" fmla="*/ 1130556 w 1478629"/>
                <a:gd name="connsiteY685" fmla="*/ 232785 h 1302505"/>
                <a:gd name="connsiteX686" fmla="*/ 1130556 w 1478629"/>
                <a:gd name="connsiteY686" fmla="*/ 233692 h 1302505"/>
                <a:gd name="connsiteX687" fmla="*/ 1130345 w 1478629"/>
                <a:gd name="connsiteY687" fmla="*/ 234449 h 1302505"/>
                <a:gd name="connsiteX688" fmla="*/ 1129135 w 1478629"/>
                <a:gd name="connsiteY688" fmla="*/ 234872 h 1302505"/>
                <a:gd name="connsiteX689" fmla="*/ 1128167 w 1478629"/>
                <a:gd name="connsiteY689" fmla="*/ 236234 h 1302505"/>
                <a:gd name="connsiteX690" fmla="*/ 1126684 w 1478629"/>
                <a:gd name="connsiteY690" fmla="*/ 236748 h 1302505"/>
                <a:gd name="connsiteX691" fmla="*/ 1118093 w 1478629"/>
                <a:gd name="connsiteY691" fmla="*/ 237232 h 1302505"/>
                <a:gd name="connsiteX692" fmla="*/ 1116338 w 1478629"/>
                <a:gd name="connsiteY692" fmla="*/ 237777 h 1302505"/>
                <a:gd name="connsiteX693" fmla="*/ 1114947 w 1478629"/>
                <a:gd name="connsiteY693" fmla="*/ 233692 h 1302505"/>
                <a:gd name="connsiteX694" fmla="*/ 1113041 w 1478629"/>
                <a:gd name="connsiteY694" fmla="*/ 231938 h 1302505"/>
                <a:gd name="connsiteX695" fmla="*/ 1106658 w 1478629"/>
                <a:gd name="connsiteY695" fmla="*/ 230516 h 1302505"/>
                <a:gd name="connsiteX696" fmla="*/ 1104117 w 1478629"/>
                <a:gd name="connsiteY696" fmla="*/ 229427 h 1302505"/>
                <a:gd name="connsiteX697" fmla="*/ 1102362 w 1478629"/>
                <a:gd name="connsiteY697" fmla="*/ 227915 h 1302505"/>
                <a:gd name="connsiteX698" fmla="*/ 1099216 w 1478629"/>
                <a:gd name="connsiteY698" fmla="*/ 224042 h 1302505"/>
                <a:gd name="connsiteX699" fmla="*/ 1098036 w 1478629"/>
                <a:gd name="connsiteY699" fmla="*/ 223770 h 1302505"/>
                <a:gd name="connsiteX700" fmla="*/ 1095828 w 1478629"/>
                <a:gd name="connsiteY700" fmla="*/ 222530 h 1302505"/>
                <a:gd name="connsiteX701" fmla="*/ 1094739 w 1478629"/>
                <a:gd name="connsiteY701" fmla="*/ 222378 h 1302505"/>
                <a:gd name="connsiteX702" fmla="*/ 1093650 w 1478629"/>
                <a:gd name="connsiteY702" fmla="*/ 222923 h 1302505"/>
                <a:gd name="connsiteX703" fmla="*/ 1092349 w 1478629"/>
                <a:gd name="connsiteY703" fmla="*/ 224496 h 1302505"/>
                <a:gd name="connsiteX704" fmla="*/ 1091109 w 1478629"/>
                <a:gd name="connsiteY704" fmla="*/ 224980 h 1302505"/>
                <a:gd name="connsiteX705" fmla="*/ 1088930 w 1478629"/>
                <a:gd name="connsiteY705" fmla="*/ 224647 h 1302505"/>
                <a:gd name="connsiteX706" fmla="*/ 1086783 w 1478629"/>
                <a:gd name="connsiteY706" fmla="*/ 223649 h 1302505"/>
                <a:gd name="connsiteX707" fmla="*/ 1084514 w 1478629"/>
                <a:gd name="connsiteY707" fmla="*/ 223195 h 1302505"/>
                <a:gd name="connsiteX708" fmla="*/ 1082003 w 1478629"/>
                <a:gd name="connsiteY708" fmla="*/ 224375 h 1302505"/>
                <a:gd name="connsiteX709" fmla="*/ 1080823 w 1478629"/>
                <a:gd name="connsiteY709" fmla="*/ 225857 h 1302505"/>
                <a:gd name="connsiteX710" fmla="*/ 1080581 w 1478629"/>
                <a:gd name="connsiteY710" fmla="*/ 226886 h 1302505"/>
                <a:gd name="connsiteX711" fmla="*/ 1080248 w 1478629"/>
                <a:gd name="connsiteY711" fmla="*/ 227461 h 1302505"/>
                <a:gd name="connsiteX712" fmla="*/ 1078766 w 1478629"/>
                <a:gd name="connsiteY712" fmla="*/ 227642 h 1302505"/>
                <a:gd name="connsiteX713" fmla="*/ 1077889 w 1478629"/>
                <a:gd name="connsiteY713" fmla="*/ 227430 h 1302505"/>
                <a:gd name="connsiteX714" fmla="*/ 1074743 w 1478629"/>
                <a:gd name="connsiteY714" fmla="*/ 226069 h 1302505"/>
                <a:gd name="connsiteX715" fmla="*/ 1072867 w 1478629"/>
                <a:gd name="connsiteY715" fmla="*/ 226855 h 1302505"/>
                <a:gd name="connsiteX716" fmla="*/ 1070326 w 1478629"/>
                <a:gd name="connsiteY716" fmla="*/ 228701 h 1302505"/>
                <a:gd name="connsiteX717" fmla="*/ 1067724 w 1478629"/>
                <a:gd name="connsiteY717" fmla="*/ 230093 h 1302505"/>
                <a:gd name="connsiteX718" fmla="*/ 1065546 w 1478629"/>
                <a:gd name="connsiteY718" fmla="*/ 229578 h 1302505"/>
                <a:gd name="connsiteX719" fmla="*/ 1064911 w 1478629"/>
                <a:gd name="connsiteY719" fmla="*/ 228308 h 1302505"/>
                <a:gd name="connsiteX720" fmla="*/ 1065002 w 1478629"/>
                <a:gd name="connsiteY720" fmla="*/ 227037 h 1302505"/>
                <a:gd name="connsiteX721" fmla="*/ 1065335 w 1478629"/>
                <a:gd name="connsiteY721" fmla="*/ 225706 h 1302505"/>
                <a:gd name="connsiteX722" fmla="*/ 1065335 w 1478629"/>
                <a:gd name="connsiteY722" fmla="*/ 224224 h 1302505"/>
                <a:gd name="connsiteX723" fmla="*/ 1064941 w 1478629"/>
                <a:gd name="connsiteY723" fmla="*/ 222923 h 1302505"/>
                <a:gd name="connsiteX724" fmla="*/ 1060101 w 1478629"/>
                <a:gd name="connsiteY724" fmla="*/ 214846 h 1302505"/>
                <a:gd name="connsiteX725" fmla="*/ 1059012 w 1478629"/>
                <a:gd name="connsiteY725" fmla="*/ 213938 h 1302505"/>
                <a:gd name="connsiteX726" fmla="*/ 1058225 w 1478629"/>
                <a:gd name="connsiteY726" fmla="*/ 213303 h 1302505"/>
                <a:gd name="connsiteX727" fmla="*/ 1055110 w 1478629"/>
                <a:gd name="connsiteY727" fmla="*/ 212274 h 1302505"/>
                <a:gd name="connsiteX728" fmla="*/ 1053960 w 1478629"/>
                <a:gd name="connsiteY728" fmla="*/ 211639 h 1302505"/>
                <a:gd name="connsiteX729" fmla="*/ 1053325 w 1478629"/>
                <a:gd name="connsiteY729" fmla="*/ 211548 h 1302505"/>
                <a:gd name="connsiteX730" fmla="*/ 1052962 w 1478629"/>
                <a:gd name="connsiteY730" fmla="*/ 211911 h 1302505"/>
                <a:gd name="connsiteX731" fmla="*/ 1052538 w 1478629"/>
                <a:gd name="connsiteY731" fmla="*/ 212698 h 1302505"/>
                <a:gd name="connsiteX732" fmla="*/ 1052024 w 1478629"/>
                <a:gd name="connsiteY732" fmla="*/ 213424 h 1302505"/>
                <a:gd name="connsiteX733" fmla="*/ 1051298 w 1478629"/>
                <a:gd name="connsiteY733" fmla="*/ 213636 h 1302505"/>
                <a:gd name="connsiteX734" fmla="*/ 1049634 w 1478629"/>
                <a:gd name="connsiteY734" fmla="*/ 213333 h 1302505"/>
                <a:gd name="connsiteX735" fmla="*/ 1049150 w 1478629"/>
                <a:gd name="connsiteY735" fmla="*/ 212759 h 1302505"/>
                <a:gd name="connsiteX736" fmla="*/ 1048908 w 1478629"/>
                <a:gd name="connsiteY736" fmla="*/ 211427 h 1302505"/>
                <a:gd name="connsiteX737" fmla="*/ 1049210 w 1478629"/>
                <a:gd name="connsiteY737" fmla="*/ 209401 h 1302505"/>
                <a:gd name="connsiteX738" fmla="*/ 1050027 w 1478629"/>
                <a:gd name="connsiteY738" fmla="*/ 208917 h 1302505"/>
                <a:gd name="connsiteX739" fmla="*/ 1050481 w 1478629"/>
                <a:gd name="connsiteY739" fmla="*/ 208402 h 1302505"/>
                <a:gd name="connsiteX740" fmla="*/ 1049785 w 1478629"/>
                <a:gd name="connsiteY740" fmla="*/ 206285 h 1302505"/>
                <a:gd name="connsiteX741" fmla="*/ 1047849 w 1478629"/>
                <a:gd name="connsiteY741" fmla="*/ 204076 h 1302505"/>
                <a:gd name="connsiteX742" fmla="*/ 1045731 w 1478629"/>
                <a:gd name="connsiteY742" fmla="*/ 202171 h 1302505"/>
                <a:gd name="connsiteX743" fmla="*/ 1043553 w 1478629"/>
                <a:gd name="connsiteY743" fmla="*/ 202231 h 1302505"/>
                <a:gd name="connsiteX744" fmla="*/ 1039016 w 1478629"/>
                <a:gd name="connsiteY744" fmla="*/ 203411 h 1302505"/>
                <a:gd name="connsiteX745" fmla="*/ 1036686 w 1478629"/>
                <a:gd name="connsiteY745" fmla="*/ 202775 h 1302505"/>
                <a:gd name="connsiteX746" fmla="*/ 1034841 w 1478629"/>
                <a:gd name="connsiteY746" fmla="*/ 201505 h 1302505"/>
                <a:gd name="connsiteX747" fmla="*/ 1033359 w 1478629"/>
                <a:gd name="connsiteY747" fmla="*/ 200174 h 1302505"/>
                <a:gd name="connsiteX748" fmla="*/ 1029063 w 1478629"/>
                <a:gd name="connsiteY748" fmla="*/ 194456 h 1302505"/>
                <a:gd name="connsiteX749" fmla="*/ 1027853 w 1478629"/>
                <a:gd name="connsiteY749" fmla="*/ 193398 h 1302505"/>
                <a:gd name="connsiteX750" fmla="*/ 1024253 w 1478629"/>
                <a:gd name="connsiteY750" fmla="*/ 192429 h 1302505"/>
                <a:gd name="connsiteX751" fmla="*/ 1022256 w 1478629"/>
                <a:gd name="connsiteY751" fmla="*/ 191371 h 1302505"/>
                <a:gd name="connsiteX752" fmla="*/ 1018505 w 1478629"/>
                <a:gd name="connsiteY752" fmla="*/ 187982 h 1302505"/>
                <a:gd name="connsiteX753" fmla="*/ 1016690 w 1478629"/>
                <a:gd name="connsiteY753" fmla="*/ 187045 h 1302505"/>
                <a:gd name="connsiteX754" fmla="*/ 1016418 w 1478629"/>
                <a:gd name="connsiteY754" fmla="*/ 187045 h 1302505"/>
                <a:gd name="connsiteX755" fmla="*/ 1014573 w 1478629"/>
                <a:gd name="connsiteY755" fmla="*/ 187135 h 1302505"/>
                <a:gd name="connsiteX756" fmla="*/ 1010216 w 1478629"/>
                <a:gd name="connsiteY756" fmla="*/ 188557 h 1302505"/>
                <a:gd name="connsiteX757" fmla="*/ 1007947 w 1478629"/>
                <a:gd name="connsiteY757" fmla="*/ 188890 h 1302505"/>
                <a:gd name="connsiteX758" fmla="*/ 1005315 w 1478629"/>
                <a:gd name="connsiteY758" fmla="*/ 188557 h 1302505"/>
                <a:gd name="connsiteX759" fmla="*/ 1004408 w 1478629"/>
                <a:gd name="connsiteY759" fmla="*/ 187468 h 1302505"/>
                <a:gd name="connsiteX760" fmla="*/ 1004408 w 1478629"/>
                <a:gd name="connsiteY760" fmla="*/ 182114 h 1302505"/>
                <a:gd name="connsiteX761" fmla="*/ 1004166 w 1478629"/>
                <a:gd name="connsiteY761" fmla="*/ 181267 h 1302505"/>
                <a:gd name="connsiteX762" fmla="*/ 1003168 w 1478629"/>
                <a:gd name="connsiteY762" fmla="*/ 179754 h 1302505"/>
                <a:gd name="connsiteX763" fmla="*/ 1002956 w 1478629"/>
                <a:gd name="connsiteY763" fmla="*/ 179028 h 1302505"/>
                <a:gd name="connsiteX764" fmla="*/ 1003137 w 1478629"/>
                <a:gd name="connsiteY764" fmla="*/ 178151 h 1302505"/>
                <a:gd name="connsiteX765" fmla="*/ 1004045 w 1478629"/>
                <a:gd name="connsiteY765" fmla="*/ 177183 h 1302505"/>
                <a:gd name="connsiteX766" fmla="*/ 1004378 w 1478629"/>
                <a:gd name="connsiteY766" fmla="*/ 176427 h 1302505"/>
                <a:gd name="connsiteX767" fmla="*/ 1004922 w 1478629"/>
                <a:gd name="connsiteY767" fmla="*/ 174672 h 1302505"/>
                <a:gd name="connsiteX768" fmla="*/ 1005437 w 1478629"/>
                <a:gd name="connsiteY768" fmla="*/ 173462 h 1302505"/>
                <a:gd name="connsiteX769" fmla="*/ 1005709 w 1478629"/>
                <a:gd name="connsiteY769" fmla="*/ 172222 h 1302505"/>
                <a:gd name="connsiteX770" fmla="*/ 1005527 w 1478629"/>
                <a:gd name="connsiteY770" fmla="*/ 170346 h 1302505"/>
                <a:gd name="connsiteX771" fmla="*/ 1003954 w 1478629"/>
                <a:gd name="connsiteY771" fmla="*/ 167684 h 1302505"/>
                <a:gd name="connsiteX772" fmla="*/ 999205 w 1478629"/>
                <a:gd name="connsiteY772" fmla="*/ 165899 h 1302505"/>
                <a:gd name="connsiteX773" fmla="*/ 997874 w 1478629"/>
                <a:gd name="connsiteY773" fmla="*/ 163872 h 1302505"/>
                <a:gd name="connsiteX774" fmla="*/ 998297 w 1478629"/>
                <a:gd name="connsiteY774" fmla="*/ 161603 h 1302505"/>
                <a:gd name="connsiteX775" fmla="*/ 1002170 w 1478629"/>
                <a:gd name="connsiteY775" fmla="*/ 152709 h 1302505"/>
                <a:gd name="connsiteX776" fmla="*/ 1002260 w 1478629"/>
                <a:gd name="connsiteY776" fmla="*/ 151167 h 1302505"/>
                <a:gd name="connsiteX777" fmla="*/ 1002109 w 1478629"/>
                <a:gd name="connsiteY777" fmla="*/ 149957 h 1302505"/>
                <a:gd name="connsiteX778" fmla="*/ 1002230 w 1478629"/>
                <a:gd name="connsiteY778" fmla="*/ 148656 h 1302505"/>
                <a:gd name="connsiteX779" fmla="*/ 1004136 w 1478629"/>
                <a:gd name="connsiteY779" fmla="*/ 144844 h 1302505"/>
                <a:gd name="connsiteX780" fmla="*/ 1004741 w 1478629"/>
                <a:gd name="connsiteY780" fmla="*/ 144723 h 1302505"/>
                <a:gd name="connsiteX781" fmla="*/ 1005830 w 1478629"/>
                <a:gd name="connsiteY781" fmla="*/ 145812 h 1302505"/>
                <a:gd name="connsiteX782" fmla="*/ 1006072 w 1478629"/>
                <a:gd name="connsiteY782" fmla="*/ 143301 h 1302505"/>
                <a:gd name="connsiteX783" fmla="*/ 1006616 w 1478629"/>
                <a:gd name="connsiteY783" fmla="*/ 140336 h 1302505"/>
                <a:gd name="connsiteX784" fmla="*/ 1006767 w 1478629"/>
                <a:gd name="connsiteY784" fmla="*/ 137795 h 1302505"/>
                <a:gd name="connsiteX785" fmla="*/ 1005830 w 1478629"/>
                <a:gd name="connsiteY785" fmla="*/ 136676 h 1302505"/>
                <a:gd name="connsiteX786" fmla="*/ 1002684 w 1478629"/>
                <a:gd name="connsiteY786" fmla="*/ 137281 h 1302505"/>
                <a:gd name="connsiteX787" fmla="*/ 1001564 w 1478629"/>
                <a:gd name="connsiteY787" fmla="*/ 136857 h 1302505"/>
                <a:gd name="connsiteX788" fmla="*/ 1001110 w 1478629"/>
                <a:gd name="connsiteY788" fmla="*/ 134710 h 1302505"/>
                <a:gd name="connsiteX789" fmla="*/ 998388 w 1478629"/>
                <a:gd name="connsiteY789" fmla="*/ 135859 h 1302505"/>
                <a:gd name="connsiteX790" fmla="*/ 987649 w 1478629"/>
                <a:gd name="connsiteY790" fmla="*/ 145873 h 1302505"/>
                <a:gd name="connsiteX791" fmla="*/ 987074 w 1478629"/>
                <a:gd name="connsiteY791" fmla="*/ 146992 h 1302505"/>
                <a:gd name="connsiteX792" fmla="*/ 986802 w 1478629"/>
                <a:gd name="connsiteY792" fmla="*/ 148414 h 1302505"/>
                <a:gd name="connsiteX793" fmla="*/ 987044 w 1478629"/>
                <a:gd name="connsiteY793" fmla="*/ 149291 h 1302505"/>
                <a:gd name="connsiteX794" fmla="*/ 987437 w 1478629"/>
                <a:gd name="connsiteY794" fmla="*/ 150017 h 1302505"/>
                <a:gd name="connsiteX795" fmla="*/ 987528 w 1478629"/>
                <a:gd name="connsiteY795" fmla="*/ 151015 h 1302505"/>
                <a:gd name="connsiteX796" fmla="*/ 986771 w 1478629"/>
                <a:gd name="connsiteY796" fmla="*/ 155614 h 1302505"/>
                <a:gd name="connsiteX797" fmla="*/ 986076 w 1478629"/>
                <a:gd name="connsiteY797" fmla="*/ 157882 h 1302505"/>
                <a:gd name="connsiteX798" fmla="*/ 985168 w 1478629"/>
                <a:gd name="connsiteY798" fmla="*/ 159516 h 1302505"/>
                <a:gd name="connsiteX799" fmla="*/ 984079 w 1478629"/>
                <a:gd name="connsiteY799" fmla="*/ 160182 h 1302505"/>
                <a:gd name="connsiteX800" fmla="*/ 979874 w 1478629"/>
                <a:gd name="connsiteY800" fmla="*/ 160786 h 1302505"/>
                <a:gd name="connsiteX801" fmla="*/ 965838 w 1478629"/>
                <a:gd name="connsiteY801" fmla="*/ 167200 h 1302505"/>
                <a:gd name="connsiteX802" fmla="*/ 962843 w 1478629"/>
                <a:gd name="connsiteY802" fmla="*/ 167684 h 1302505"/>
                <a:gd name="connsiteX803" fmla="*/ 962086 w 1478629"/>
                <a:gd name="connsiteY803" fmla="*/ 167472 h 1302505"/>
                <a:gd name="connsiteX804" fmla="*/ 946991 w 1478629"/>
                <a:gd name="connsiteY804" fmla="*/ 163661 h 1302505"/>
                <a:gd name="connsiteX805" fmla="*/ 940789 w 1478629"/>
                <a:gd name="connsiteY805" fmla="*/ 164477 h 1302505"/>
                <a:gd name="connsiteX806" fmla="*/ 939307 w 1478629"/>
                <a:gd name="connsiteY806" fmla="*/ 164689 h 1302505"/>
                <a:gd name="connsiteX807" fmla="*/ 937945 w 1478629"/>
                <a:gd name="connsiteY807" fmla="*/ 164326 h 1302505"/>
                <a:gd name="connsiteX808" fmla="*/ 932288 w 1478629"/>
                <a:gd name="connsiteY808" fmla="*/ 161543 h 1302505"/>
                <a:gd name="connsiteX809" fmla="*/ 932379 w 1478629"/>
                <a:gd name="connsiteY809" fmla="*/ 161543 h 1302505"/>
                <a:gd name="connsiteX810" fmla="*/ 933105 w 1478629"/>
                <a:gd name="connsiteY810" fmla="*/ 161603 h 1302505"/>
                <a:gd name="connsiteX811" fmla="*/ 932985 w 1478629"/>
                <a:gd name="connsiteY811" fmla="*/ 159486 h 1302505"/>
                <a:gd name="connsiteX812" fmla="*/ 932440 w 1478629"/>
                <a:gd name="connsiteY812" fmla="*/ 157277 h 1302505"/>
                <a:gd name="connsiteX813" fmla="*/ 931956 w 1478629"/>
                <a:gd name="connsiteY813" fmla="*/ 157096 h 1302505"/>
                <a:gd name="connsiteX814" fmla="*/ 932379 w 1478629"/>
                <a:gd name="connsiteY814" fmla="*/ 155402 h 1302505"/>
                <a:gd name="connsiteX815" fmla="*/ 932863 w 1478629"/>
                <a:gd name="connsiteY815" fmla="*/ 154313 h 1302505"/>
                <a:gd name="connsiteX816" fmla="*/ 933589 w 1478629"/>
                <a:gd name="connsiteY816" fmla="*/ 153496 h 1302505"/>
                <a:gd name="connsiteX817" fmla="*/ 935435 w 1478629"/>
                <a:gd name="connsiteY817" fmla="*/ 151923 h 1302505"/>
                <a:gd name="connsiteX818" fmla="*/ 937764 w 1478629"/>
                <a:gd name="connsiteY818" fmla="*/ 150380 h 1302505"/>
                <a:gd name="connsiteX819" fmla="*/ 940184 w 1478629"/>
                <a:gd name="connsiteY819" fmla="*/ 149261 h 1302505"/>
                <a:gd name="connsiteX820" fmla="*/ 940184 w 1478629"/>
                <a:gd name="connsiteY820" fmla="*/ 148323 h 1302505"/>
                <a:gd name="connsiteX821" fmla="*/ 939519 w 1478629"/>
                <a:gd name="connsiteY821" fmla="*/ 147173 h 1302505"/>
                <a:gd name="connsiteX822" fmla="*/ 938914 w 1478629"/>
                <a:gd name="connsiteY822" fmla="*/ 145812 h 1302505"/>
                <a:gd name="connsiteX823" fmla="*/ 937219 w 1478629"/>
                <a:gd name="connsiteY823" fmla="*/ 139610 h 1302505"/>
                <a:gd name="connsiteX824" fmla="*/ 936221 w 1478629"/>
                <a:gd name="connsiteY824" fmla="*/ 139157 h 1302505"/>
                <a:gd name="connsiteX825" fmla="*/ 935132 w 1478629"/>
                <a:gd name="connsiteY825" fmla="*/ 139308 h 1302505"/>
                <a:gd name="connsiteX826" fmla="*/ 933136 w 1478629"/>
                <a:gd name="connsiteY826" fmla="*/ 140155 h 1302505"/>
                <a:gd name="connsiteX827" fmla="*/ 931714 w 1478629"/>
                <a:gd name="connsiteY827" fmla="*/ 139489 h 1302505"/>
                <a:gd name="connsiteX828" fmla="*/ 931956 w 1478629"/>
                <a:gd name="connsiteY828" fmla="*/ 136888 h 1302505"/>
                <a:gd name="connsiteX829" fmla="*/ 933892 w 1478629"/>
                <a:gd name="connsiteY829" fmla="*/ 131110 h 1302505"/>
                <a:gd name="connsiteX830" fmla="*/ 934437 w 1478629"/>
                <a:gd name="connsiteY830" fmla="*/ 128478 h 1302505"/>
                <a:gd name="connsiteX831" fmla="*/ 934890 w 1478629"/>
                <a:gd name="connsiteY831" fmla="*/ 127298 h 1302505"/>
                <a:gd name="connsiteX832" fmla="*/ 935949 w 1478629"/>
                <a:gd name="connsiteY832" fmla="*/ 125906 h 1302505"/>
                <a:gd name="connsiteX833" fmla="*/ 938308 w 1478629"/>
                <a:gd name="connsiteY833" fmla="*/ 124213 h 1302505"/>
                <a:gd name="connsiteX834" fmla="*/ 939307 w 1478629"/>
                <a:gd name="connsiteY834" fmla="*/ 123154 h 1302505"/>
                <a:gd name="connsiteX835" fmla="*/ 939549 w 1478629"/>
                <a:gd name="connsiteY835" fmla="*/ 121641 h 1302505"/>
                <a:gd name="connsiteX836" fmla="*/ 938914 w 1478629"/>
                <a:gd name="connsiteY836" fmla="*/ 120703 h 1302505"/>
                <a:gd name="connsiteX837" fmla="*/ 937673 w 1478629"/>
                <a:gd name="connsiteY837" fmla="*/ 119705 h 1302505"/>
                <a:gd name="connsiteX838" fmla="*/ 936312 w 1478629"/>
                <a:gd name="connsiteY838" fmla="*/ 118919 h 1302505"/>
                <a:gd name="connsiteX839" fmla="*/ 935404 w 1478629"/>
                <a:gd name="connsiteY839" fmla="*/ 118616 h 1302505"/>
                <a:gd name="connsiteX840" fmla="*/ 934164 w 1478629"/>
                <a:gd name="connsiteY840" fmla="*/ 119130 h 1302505"/>
                <a:gd name="connsiteX841" fmla="*/ 934104 w 1478629"/>
                <a:gd name="connsiteY841" fmla="*/ 120068 h 1302505"/>
                <a:gd name="connsiteX842" fmla="*/ 934225 w 1478629"/>
                <a:gd name="connsiteY842" fmla="*/ 121066 h 1302505"/>
                <a:gd name="connsiteX843" fmla="*/ 933499 w 1478629"/>
                <a:gd name="connsiteY843" fmla="*/ 121732 h 1302505"/>
                <a:gd name="connsiteX844" fmla="*/ 931653 w 1478629"/>
                <a:gd name="connsiteY844" fmla="*/ 120945 h 1302505"/>
                <a:gd name="connsiteX845" fmla="*/ 928900 w 1478629"/>
                <a:gd name="connsiteY845" fmla="*/ 115500 h 1302505"/>
                <a:gd name="connsiteX846" fmla="*/ 926813 w 1478629"/>
                <a:gd name="connsiteY846" fmla="*/ 113776 h 1302505"/>
                <a:gd name="connsiteX847" fmla="*/ 924665 w 1478629"/>
                <a:gd name="connsiteY847" fmla="*/ 112626 h 1302505"/>
                <a:gd name="connsiteX848" fmla="*/ 921337 w 1478629"/>
                <a:gd name="connsiteY848" fmla="*/ 109238 h 1302505"/>
                <a:gd name="connsiteX849" fmla="*/ 919401 w 1478629"/>
                <a:gd name="connsiteY849" fmla="*/ 108361 h 1302505"/>
                <a:gd name="connsiteX850" fmla="*/ 917254 w 1478629"/>
                <a:gd name="connsiteY850" fmla="*/ 108572 h 1302505"/>
                <a:gd name="connsiteX851" fmla="*/ 910871 w 1478629"/>
                <a:gd name="connsiteY851" fmla="*/ 111053 h 1302505"/>
                <a:gd name="connsiteX852" fmla="*/ 908602 w 1478629"/>
                <a:gd name="connsiteY852" fmla="*/ 111053 h 1302505"/>
                <a:gd name="connsiteX853" fmla="*/ 906787 w 1478629"/>
                <a:gd name="connsiteY853" fmla="*/ 110267 h 1302505"/>
                <a:gd name="connsiteX854" fmla="*/ 905062 w 1478629"/>
                <a:gd name="connsiteY854" fmla="*/ 109147 h 1302505"/>
                <a:gd name="connsiteX855" fmla="*/ 902975 w 1478629"/>
                <a:gd name="connsiteY855" fmla="*/ 108179 h 1302505"/>
                <a:gd name="connsiteX856" fmla="*/ 898800 w 1478629"/>
                <a:gd name="connsiteY856" fmla="*/ 107725 h 1302505"/>
                <a:gd name="connsiteX857" fmla="*/ 894414 w 1478629"/>
                <a:gd name="connsiteY857" fmla="*/ 108028 h 1302505"/>
                <a:gd name="connsiteX858" fmla="*/ 893052 w 1478629"/>
                <a:gd name="connsiteY858" fmla="*/ 108482 h 1302505"/>
                <a:gd name="connsiteX859" fmla="*/ 892236 w 1478629"/>
                <a:gd name="connsiteY859" fmla="*/ 109329 h 1302505"/>
                <a:gd name="connsiteX860" fmla="*/ 890421 w 1478629"/>
                <a:gd name="connsiteY860" fmla="*/ 112173 h 1302505"/>
                <a:gd name="connsiteX861" fmla="*/ 889967 w 1478629"/>
                <a:gd name="connsiteY861" fmla="*/ 113382 h 1302505"/>
                <a:gd name="connsiteX862" fmla="*/ 889695 w 1478629"/>
                <a:gd name="connsiteY862" fmla="*/ 113806 h 1302505"/>
                <a:gd name="connsiteX863" fmla="*/ 889241 w 1478629"/>
                <a:gd name="connsiteY863" fmla="*/ 114078 h 1302505"/>
                <a:gd name="connsiteX864" fmla="*/ 889059 w 1478629"/>
                <a:gd name="connsiteY864" fmla="*/ 113957 h 1302505"/>
                <a:gd name="connsiteX865" fmla="*/ 888908 w 1478629"/>
                <a:gd name="connsiteY865" fmla="*/ 114048 h 1302505"/>
                <a:gd name="connsiteX866" fmla="*/ 888515 w 1478629"/>
                <a:gd name="connsiteY866" fmla="*/ 114986 h 1302505"/>
                <a:gd name="connsiteX867" fmla="*/ 884976 w 1478629"/>
                <a:gd name="connsiteY867" fmla="*/ 111930 h 1302505"/>
                <a:gd name="connsiteX868" fmla="*/ 884098 w 1478629"/>
                <a:gd name="connsiteY868" fmla="*/ 106001 h 1302505"/>
                <a:gd name="connsiteX869" fmla="*/ 884098 w 1478629"/>
                <a:gd name="connsiteY869" fmla="*/ 99255 h 1302505"/>
                <a:gd name="connsiteX870" fmla="*/ 883221 w 1478629"/>
                <a:gd name="connsiteY870" fmla="*/ 93659 h 1302505"/>
                <a:gd name="connsiteX871" fmla="*/ 881587 w 1478629"/>
                <a:gd name="connsiteY871" fmla="*/ 90906 h 1302505"/>
                <a:gd name="connsiteX872" fmla="*/ 879591 w 1478629"/>
                <a:gd name="connsiteY872" fmla="*/ 89151 h 1302505"/>
                <a:gd name="connsiteX873" fmla="*/ 877382 w 1478629"/>
                <a:gd name="connsiteY873" fmla="*/ 88153 h 1302505"/>
                <a:gd name="connsiteX874" fmla="*/ 875114 w 1478629"/>
                <a:gd name="connsiteY874" fmla="*/ 87699 h 1302505"/>
                <a:gd name="connsiteX875" fmla="*/ 868609 w 1478629"/>
                <a:gd name="connsiteY875" fmla="*/ 87699 h 1302505"/>
                <a:gd name="connsiteX876" fmla="*/ 867369 w 1478629"/>
                <a:gd name="connsiteY876" fmla="*/ 86792 h 1302505"/>
                <a:gd name="connsiteX877" fmla="*/ 868337 w 1478629"/>
                <a:gd name="connsiteY877" fmla="*/ 85188 h 1302505"/>
                <a:gd name="connsiteX878" fmla="*/ 868488 w 1478629"/>
                <a:gd name="connsiteY878" fmla="*/ 84008 h 1302505"/>
                <a:gd name="connsiteX879" fmla="*/ 867823 w 1478629"/>
                <a:gd name="connsiteY879" fmla="*/ 83252 h 1302505"/>
                <a:gd name="connsiteX880" fmla="*/ 866371 w 1478629"/>
                <a:gd name="connsiteY880" fmla="*/ 82859 h 1302505"/>
                <a:gd name="connsiteX881" fmla="*/ 864949 w 1478629"/>
                <a:gd name="connsiteY881" fmla="*/ 82950 h 1302505"/>
                <a:gd name="connsiteX882" fmla="*/ 863920 w 1478629"/>
                <a:gd name="connsiteY882" fmla="*/ 83585 h 1302505"/>
                <a:gd name="connsiteX883" fmla="*/ 862922 w 1478629"/>
                <a:gd name="connsiteY883" fmla="*/ 84492 h 1302505"/>
                <a:gd name="connsiteX884" fmla="*/ 861561 w 1478629"/>
                <a:gd name="connsiteY884" fmla="*/ 85460 h 1302505"/>
                <a:gd name="connsiteX885" fmla="*/ 857144 w 1478629"/>
                <a:gd name="connsiteY885" fmla="*/ 86943 h 1302505"/>
                <a:gd name="connsiteX886" fmla="*/ 854694 w 1478629"/>
                <a:gd name="connsiteY886" fmla="*/ 87215 h 1302505"/>
                <a:gd name="connsiteX887" fmla="*/ 852939 w 1478629"/>
                <a:gd name="connsiteY887" fmla="*/ 86761 h 1302505"/>
                <a:gd name="connsiteX888" fmla="*/ 848553 w 1478629"/>
                <a:gd name="connsiteY888" fmla="*/ 84674 h 1302505"/>
                <a:gd name="connsiteX889" fmla="*/ 847221 w 1478629"/>
                <a:gd name="connsiteY889" fmla="*/ 83706 h 1302505"/>
                <a:gd name="connsiteX890" fmla="*/ 845649 w 1478629"/>
                <a:gd name="connsiteY890" fmla="*/ 81830 h 1302505"/>
                <a:gd name="connsiteX891" fmla="*/ 845134 w 1478629"/>
                <a:gd name="connsiteY891" fmla="*/ 80166 h 1302505"/>
                <a:gd name="connsiteX892" fmla="*/ 844983 w 1478629"/>
                <a:gd name="connsiteY892" fmla="*/ 75538 h 1302505"/>
                <a:gd name="connsiteX893" fmla="*/ 842321 w 1478629"/>
                <a:gd name="connsiteY893" fmla="*/ 67370 h 1302505"/>
                <a:gd name="connsiteX894" fmla="*/ 841504 w 1478629"/>
                <a:gd name="connsiteY894" fmla="*/ 63165 h 1302505"/>
                <a:gd name="connsiteX895" fmla="*/ 842896 w 1478629"/>
                <a:gd name="connsiteY895" fmla="*/ 60745 h 1302505"/>
                <a:gd name="connsiteX896" fmla="*/ 841746 w 1478629"/>
                <a:gd name="connsiteY896" fmla="*/ 57266 h 1302505"/>
                <a:gd name="connsiteX897" fmla="*/ 840960 w 1478629"/>
                <a:gd name="connsiteY897" fmla="*/ 55905 h 1302505"/>
                <a:gd name="connsiteX898" fmla="*/ 839598 w 1478629"/>
                <a:gd name="connsiteY898" fmla="*/ 55512 h 1302505"/>
                <a:gd name="connsiteX899" fmla="*/ 838176 w 1478629"/>
                <a:gd name="connsiteY899" fmla="*/ 55330 h 1302505"/>
                <a:gd name="connsiteX900" fmla="*/ 837390 w 1478629"/>
                <a:gd name="connsiteY900" fmla="*/ 54453 h 1302505"/>
                <a:gd name="connsiteX901" fmla="*/ 836150 w 1478629"/>
                <a:gd name="connsiteY901" fmla="*/ 51700 h 1302505"/>
                <a:gd name="connsiteX902" fmla="*/ 834758 w 1478629"/>
                <a:gd name="connsiteY902" fmla="*/ 49401 h 1302505"/>
                <a:gd name="connsiteX903" fmla="*/ 834758 w 1478629"/>
                <a:gd name="connsiteY903" fmla="*/ 49401 h 1302505"/>
                <a:gd name="connsiteX904" fmla="*/ 833094 w 1478629"/>
                <a:gd name="connsiteY904" fmla="*/ 46648 h 1302505"/>
                <a:gd name="connsiteX905" fmla="*/ 831370 w 1478629"/>
                <a:gd name="connsiteY905" fmla="*/ 45166 h 1302505"/>
                <a:gd name="connsiteX906" fmla="*/ 828768 w 1478629"/>
                <a:gd name="connsiteY906" fmla="*/ 44440 h 1302505"/>
                <a:gd name="connsiteX907" fmla="*/ 820782 w 1478629"/>
                <a:gd name="connsiteY907" fmla="*/ 46739 h 1302505"/>
                <a:gd name="connsiteX908" fmla="*/ 815518 w 1478629"/>
                <a:gd name="connsiteY908" fmla="*/ 48251 h 1302505"/>
                <a:gd name="connsiteX909" fmla="*/ 813189 w 1478629"/>
                <a:gd name="connsiteY909" fmla="*/ 49582 h 1302505"/>
                <a:gd name="connsiteX910" fmla="*/ 811343 w 1478629"/>
                <a:gd name="connsiteY910" fmla="*/ 51397 h 1302505"/>
                <a:gd name="connsiteX911" fmla="*/ 808318 w 1478629"/>
                <a:gd name="connsiteY911" fmla="*/ 56238 h 1302505"/>
                <a:gd name="connsiteX912" fmla="*/ 806987 w 1478629"/>
                <a:gd name="connsiteY912" fmla="*/ 57206 h 1302505"/>
                <a:gd name="connsiteX913" fmla="*/ 805414 w 1478629"/>
                <a:gd name="connsiteY913" fmla="*/ 56903 h 1302505"/>
                <a:gd name="connsiteX914" fmla="*/ 804960 w 1478629"/>
                <a:gd name="connsiteY914" fmla="*/ 56691 h 1302505"/>
                <a:gd name="connsiteX915" fmla="*/ 796913 w 1478629"/>
                <a:gd name="connsiteY915" fmla="*/ 53303 h 1302505"/>
                <a:gd name="connsiteX916" fmla="*/ 795038 w 1478629"/>
                <a:gd name="connsiteY916" fmla="*/ 51881 h 1302505"/>
                <a:gd name="connsiteX917" fmla="*/ 794493 w 1478629"/>
                <a:gd name="connsiteY917" fmla="*/ 50974 h 1302505"/>
                <a:gd name="connsiteX918" fmla="*/ 793132 w 1478629"/>
                <a:gd name="connsiteY918" fmla="*/ 48009 h 1302505"/>
                <a:gd name="connsiteX919" fmla="*/ 792557 w 1478629"/>
                <a:gd name="connsiteY919" fmla="*/ 47041 h 1302505"/>
                <a:gd name="connsiteX920" fmla="*/ 788806 w 1478629"/>
                <a:gd name="connsiteY920" fmla="*/ 43744 h 1302505"/>
                <a:gd name="connsiteX921" fmla="*/ 788141 w 1478629"/>
                <a:gd name="connsiteY921" fmla="*/ 42655 h 1302505"/>
                <a:gd name="connsiteX922" fmla="*/ 787838 w 1478629"/>
                <a:gd name="connsiteY922" fmla="*/ 41656 h 1302505"/>
                <a:gd name="connsiteX923" fmla="*/ 787324 w 1478629"/>
                <a:gd name="connsiteY923" fmla="*/ 40809 h 1302505"/>
                <a:gd name="connsiteX924" fmla="*/ 785993 w 1478629"/>
                <a:gd name="connsiteY924" fmla="*/ 40174 h 1302505"/>
                <a:gd name="connsiteX925" fmla="*/ 785025 w 1478629"/>
                <a:gd name="connsiteY925" fmla="*/ 40083 h 1302505"/>
                <a:gd name="connsiteX926" fmla="*/ 783149 w 1478629"/>
                <a:gd name="connsiteY926" fmla="*/ 40325 h 1302505"/>
                <a:gd name="connsiteX927" fmla="*/ 782332 w 1478629"/>
                <a:gd name="connsiteY927" fmla="*/ 40325 h 1302505"/>
                <a:gd name="connsiteX928" fmla="*/ 780850 w 1478629"/>
                <a:gd name="connsiteY928" fmla="*/ 40023 h 1302505"/>
                <a:gd name="connsiteX929" fmla="*/ 780094 w 1478629"/>
                <a:gd name="connsiteY929" fmla="*/ 39720 h 1302505"/>
                <a:gd name="connsiteX930" fmla="*/ 779579 w 1478629"/>
                <a:gd name="connsiteY930" fmla="*/ 38903 h 1302505"/>
                <a:gd name="connsiteX931" fmla="*/ 778702 w 1478629"/>
                <a:gd name="connsiteY931" fmla="*/ 37028 h 1302505"/>
                <a:gd name="connsiteX932" fmla="*/ 778248 w 1478629"/>
                <a:gd name="connsiteY932" fmla="*/ 36574 h 1302505"/>
                <a:gd name="connsiteX933" fmla="*/ 777038 w 1478629"/>
                <a:gd name="connsiteY933" fmla="*/ 35999 h 1302505"/>
                <a:gd name="connsiteX934" fmla="*/ 776706 w 1478629"/>
                <a:gd name="connsiteY934" fmla="*/ 35485 h 1302505"/>
                <a:gd name="connsiteX935" fmla="*/ 776827 w 1478629"/>
                <a:gd name="connsiteY935" fmla="*/ 34819 h 1302505"/>
                <a:gd name="connsiteX936" fmla="*/ 777613 w 1478629"/>
                <a:gd name="connsiteY936" fmla="*/ 33186 h 1302505"/>
                <a:gd name="connsiteX937" fmla="*/ 777734 w 1478629"/>
                <a:gd name="connsiteY937" fmla="*/ 32218 h 1302505"/>
                <a:gd name="connsiteX938" fmla="*/ 775737 w 1478629"/>
                <a:gd name="connsiteY938" fmla="*/ 25805 h 1302505"/>
                <a:gd name="connsiteX939" fmla="*/ 776312 w 1478629"/>
                <a:gd name="connsiteY939" fmla="*/ 24474 h 1302505"/>
                <a:gd name="connsiteX940" fmla="*/ 778642 w 1478629"/>
                <a:gd name="connsiteY940" fmla="*/ 22326 h 1302505"/>
                <a:gd name="connsiteX941" fmla="*/ 779247 w 1478629"/>
                <a:gd name="connsiteY941" fmla="*/ 21449 h 1302505"/>
                <a:gd name="connsiteX942" fmla="*/ 778914 w 1478629"/>
                <a:gd name="connsiteY942" fmla="*/ 18544 h 1302505"/>
                <a:gd name="connsiteX943" fmla="*/ 777341 w 1478629"/>
                <a:gd name="connsiteY943" fmla="*/ 16336 h 1302505"/>
                <a:gd name="connsiteX944" fmla="*/ 773741 w 1478629"/>
                <a:gd name="connsiteY944" fmla="*/ 12676 h 1302505"/>
                <a:gd name="connsiteX945" fmla="*/ 772742 w 1478629"/>
                <a:gd name="connsiteY945" fmla="*/ 9832 h 1302505"/>
                <a:gd name="connsiteX946" fmla="*/ 771744 w 1478629"/>
                <a:gd name="connsiteY946" fmla="*/ 3358 h 1302505"/>
                <a:gd name="connsiteX947" fmla="*/ 770201 w 1478629"/>
                <a:gd name="connsiteY947" fmla="*/ 0 h 1302505"/>
                <a:gd name="connsiteX948" fmla="*/ 770171 w 1478629"/>
                <a:gd name="connsiteY948" fmla="*/ 0 h 1302505"/>
                <a:gd name="connsiteX949" fmla="*/ 768689 w 1478629"/>
                <a:gd name="connsiteY949" fmla="*/ 999 h 1302505"/>
                <a:gd name="connsiteX950" fmla="*/ 764605 w 1478629"/>
                <a:gd name="connsiteY950" fmla="*/ 2753 h 1302505"/>
                <a:gd name="connsiteX951" fmla="*/ 756377 w 1478629"/>
                <a:gd name="connsiteY951" fmla="*/ 4719 h 1302505"/>
                <a:gd name="connsiteX952" fmla="*/ 750357 w 1478629"/>
                <a:gd name="connsiteY952" fmla="*/ 4054 h 1302505"/>
                <a:gd name="connsiteX953" fmla="*/ 749510 w 1478629"/>
                <a:gd name="connsiteY953" fmla="*/ 4175 h 1302505"/>
                <a:gd name="connsiteX954" fmla="*/ 748451 w 1478629"/>
                <a:gd name="connsiteY954" fmla="*/ 4719 h 1302505"/>
                <a:gd name="connsiteX955" fmla="*/ 731207 w 1478629"/>
                <a:gd name="connsiteY955" fmla="*/ 9923 h 1302505"/>
                <a:gd name="connsiteX956" fmla="*/ 715053 w 1478629"/>
                <a:gd name="connsiteY956" fmla="*/ 11798 h 1302505"/>
                <a:gd name="connsiteX957" fmla="*/ 711604 w 1478629"/>
                <a:gd name="connsiteY957" fmla="*/ 13674 h 1302505"/>
                <a:gd name="connsiteX958" fmla="*/ 709789 w 1478629"/>
                <a:gd name="connsiteY958" fmla="*/ 13341 h 1302505"/>
                <a:gd name="connsiteX959" fmla="*/ 690519 w 1478629"/>
                <a:gd name="connsiteY959" fmla="*/ 21086 h 1302505"/>
                <a:gd name="connsiteX960" fmla="*/ 687403 w 1478629"/>
                <a:gd name="connsiteY960" fmla="*/ 23748 h 1302505"/>
                <a:gd name="connsiteX961" fmla="*/ 684499 w 1478629"/>
                <a:gd name="connsiteY961" fmla="*/ 27499 h 1302505"/>
                <a:gd name="connsiteX962" fmla="*/ 682805 w 1478629"/>
                <a:gd name="connsiteY962" fmla="*/ 29102 h 1302505"/>
                <a:gd name="connsiteX963" fmla="*/ 680899 w 1478629"/>
                <a:gd name="connsiteY963" fmla="*/ 29737 h 1302505"/>
                <a:gd name="connsiteX964" fmla="*/ 678812 w 1478629"/>
                <a:gd name="connsiteY964" fmla="*/ 29919 h 1302505"/>
                <a:gd name="connsiteX965" fmla="*/ 677935 w 1478629"/>
                <a:gd name="connsiteY965" fmla="*/ 30251 h 1302505"/>
                <a:gd name="connsiteX966" fmla="*/ 675484 w 1478629"/>
                <a:gd name="connsiteY966" fmla="*/ 32037 h 1302505"/>
                <a:gd name="connsiteX967" fmla="*/ 675484 w 1478629"/>
                <a:gd name="connsiteY967" fmla="*/ 32793 h 1302505"/>
                <a:gd name="connsiteX968" fmla="*/ 675757 w 1478629"/>
                <a:gd name="connsiteY968" fmla="*/ 34819 h 1302505"/>
                <a:gd name="connsiteX969" fmla="*/ 677360 w 1478629"/>
                <a:gd name="connsiteY969" fmla="*/ 40204 h 1302505"/>
                <a:gd name="connsiteX970" fmla="*/ 677995 w 1478629"/>
                <a:gd name="connsiteY970" fmla="*/ 43532 h 1302505"/>
                <a:gd name="connsiteX971" fmla="*/ 677420 w 1478629"/>
                <a:gd name="connsiteY971" fmla="*/ 46315 h 1302505"/>
                <a:gd name="connsiteX972" fmla="*/ 676271 w 1478629"/>
                <a:gd name="connsiteY972" fmla="*/ 48463 h 1302505"/>
                <a:gd name="connsiteX973" fmla="*/ 674153 w 1478629"/>
                <a:gd name="connsiteY973" fmla="*/ 54241 h 1302505"/>
                <a:gd name="connsiteX974" fmla="*/ 673639 w 1478629"/>
                <a:gd name="connsiteY974" fmla="*/ 56843 h 1302505"/>
                <a:gd name="connsiteX975" fmla="*/ 673699 w 1478629"/>
                <a:gd name="connsiteY975" fmla="*/ 59868 h 1302505"/>
                <a:gd name="connsiteX976" fmla="*/ 674758 w 1478629"/>
                <a:gd name="connsiteY976" fmla="*/ 66069 h 1302505"/>
                <a:gd name="connsiteX977" fmla="*/ 675182 w 1478629"/>
                <a:gd name="connsiteY977" fmla="*/ 72906 h 1302505"/>
                <a:gd name="connsiteX978" fmla="*/ 675726 w 1478629"/>
                <a:gd name="connsiteY978" fmla="*/ 74933 h 1302505"/>
                <a:gd name="connsiteX979" fmla="*/ 678449 w 1478629"/>
                <a:gd name="connsiteY979" fmla="*/ 78805 h 1302505"/>
                <a:gd name="connsiteX980" fmla="*/ 675333 w 1478629"/>
                <a:gd name="connsiteY980" fmla="*/ 80983 h 1302505"/>
                <a:gd name="connsiteX981" fmla="*/ 674819 w 1478629"/>
                <a:gd name="connsiteY981" fmla="*/ 86912 h 1302505"/>
                <a:gd name="connsiteX982" fmla="*/ 674728 w 1478629"/>
                <a:gd name="connsiteY982" fmla="*/ 93719 h 1302505"/>
                <a:gd name="connsiteX983" fmla="*/ 672882 w 1478629"/>
                <a:gd name="connsiteY983" fmla="*/ 98620 h 1302505"/>
                <a:gd name="connsiteX984" fmla="*/ 672882 w 1478629"/>
                <a:gd name="connsiteY984" fmla="*/ 99588 h 1302505"/>
                <a:gd name="connsiteX985" fmla="*/ 678419 w 1478629"/>
                <a:gd name="connsiteY985" fmla="*/ 103641 h 1302505"/>
                <a:gd name="connsiteX986" fmla="*/ 678419 w 1478629"/>
                <a:gd name="connsiteY986" fmla="*/ 104549 h 1302505"/>
                <a:gd name="connsiteX987" fmla="*/ 676876 w 1478629"/>
                <a:gd name="connsiteY987" fmla="*/ 104277 h 1302505"/>
                <a:gd name="connsiteX988" fmla="*/ 674577 w 1478629"/>
                <a:gd name="connsiteY988" fmla="*/ 103823 h 1302505"/>
                <a:gd name="connsiteX989" fmla="*/ 672519 w 1478629"/>
                <a:gd name="connsiteY989" fmla="*/ 107665 h 1302505"/>
                <a:gd name="connsiteX990" fmla="*/ 671673 w 1478629"/>
                <a:gd name="connsiteY990" fmla="*/ 113322 h 1302505"/>
                <a:gd name="connsiteX991" fmla="*/ 671521 w 1478629"/>
                <a:gd name="connsiteY991" fmla="*/ 117981 h 1302505"/>
                <a:gd name="connsiteX992" fmla="*/ 672489 w 1478629"/>
                <a:gd name="connsiteY992" fmla="*/ 119160 h 1302505"/>
                <a:gd name="connsiteX993" fmla="*/ 676785 w 1478629"/>
                <a:gd name="connsiteY993" fmla="*/ 121097 h 1302505"/>
                <a:gd name="connsiteX994" fmla="*/ 677753 w 1478629"/>
                <a:gd name="connsiteY994" fmla="*/ 122942 h 1302505"/>
                <a:gd name="connsiteX995" fmla="*/ 678419 w 1478629"/>
                <a:gd name="connsiteY995" fmla="*/ 124576 h 1302505"/>
                <a:gd name="connsiteX996" fmla="*/ 679962 w 1478629"/>
                <a:gd name="connsiteY996" fmla="*/ 125725 h 1302505"/>
                <a:gd name="connsiteX997" fmla="*/ 681988 w 1478629"/>
                <a:gd name="connsiteY997" fmla="*/ 126330 h 1302505"/>
                <a:gd name="connsiteX998" fmla="*/ 683955 w 1478629"/>
                <a:gd name="connsiteY998" fmla="*/ 126330 h 1302505"/>
                <a:gd name="connsiteX999" fmla="*/ 683955 w 1478629"/>
                <a:gd name="connsiteY999" fmla="*/ 127449 h 1302505"/>
                <a:gd name="connsiteX1000" fmla="*/ 681898 w 1478629"/>
                <a:gd name="connsiteY1000" fmla="*/ 127449 h 1302505"/>
                <a:gd name="connsiteX1001" fmla="*/ 682442 w 1478629"/>
                <a:gd name="connsiteY1001" fmla="*/ 128538 h 1302505"/>
                <a:gd name="connsiteX1002" fmla="*/ 682956 w 1478629"/>
                <a:gd name="connsiteY1002" fmla="*/ 129144 h 1302505"/>
                <a:gd name="connsiteX1003" fmla="*/ 683622 w 1478629"/>
                <a:gd name="connsiteY1003" fmla="*/ 129385 h 1302505"/>
                <a:gd name="connsiteX1004" fmla="*/ 684681 w 1478629"/>
                <a:gd name="connsiteY1004" fmla="*/ 129325 h 1302505"/>
                <a:gd name="connsiteX1005" fmla="*/ 684681 w 1478629"/>
                <a:gd name="connsiteY1005" fmla="*/ 130323 h 1302505"/>
                <a:gd name="connsiteX1006" fmla="*/ 683833 w 1478629"/>
                <a:gd name="connsiteY1006" fmla="*/ 131110 h 1302505"/>
                <a:gd name="connsiteX1007" fmla="*/ 682866 w 1478629"/>
                <a:gd name="connsiteY1007" fmla="*/ 131170 h 1302505"/>
                <a:gd name="connsiteX1008" fmla="*/ 672913 w 1478629"/>
                <a:gd name="connsiteY1008" fmla="*/ 126693 h 1302505"/>
                <a:gd name="connsiteX1009" fmla="*/ 669464 w 1478629"/>
                <a:gd name="connsiteY1009" fmla="*/ 127147 h 1302505"/>
                <a:gd name="connsiteX1010" fmla="*/ 666046 w 1478629"/>
                <a:gd name="connsiteY1010" fmla="*/ 131412 h 1302505"/>
                <a:gd name="connsiteX1011" fmla="*/ 663807 w 1478629"/>
                <a:gd name="connsiteY1011" fmla="*/ 139036 h 1302505"/>
                <a:gd name="connsiteX1012" fmla="*/ 662930 w 1478629"/>
                <a:gd name="connsiteY1012" fmla="*/ 140276 h 1302505"/>
                <a:gd name="connsiteX1013" fmla="*/ 661750 w 1478629"/>
                <a:gd name="connsiteY1013" fmla="*/ 141184 h 1302505"/>
                <a:gd name="connsiteX1014" fmla="*/ 656426 w 1478629"/>
                <a:gd name="connsiteY1014" fmla="*/ 147234 h 1302505"/>
                <a:gd name="connsiteX1015" fmla="*/ 643327 w 1478629"/>
                <a:gd name="connsiteY1015" fmla="*/ 156975 h 1302505"/>
                <a:gd name="connsiteX1016" fmla="*/ 639334 w 1478629"/>
                <a:gd name="connsiteY1016" fmla="*/ 161059 h 1302505"/>
                <a:gd name="connsiteX1017" fmla="*/ 636884 w 1478629"/>
                <a:gd name="connsiteY1017" fmla="*/ 161815 h 1302505"/>
                <a:gd name="connsiteX1018" fmla="*/ 634433 w 1478629"/>
                <a:gd name="connsiteY1018" fmla="*/ 163600 h 1302505"/>
                <a:gd name="connsiteX1019" fmla="*/ 592989 w 1478629"/>
                <a:gd name="connsiteY1019" fmla="*/ 175942 h 1302505"/>
                <a:gd name="connsiteX1020" fmla="*/ 584337 w 1478629"/>
                <a:gd name="connsiteY1020" fmla="*/ 175852 h 1302505"/>
                <a:gd name="connsiteX1021" fmla="*/ 576471 w 1478629"/>
                <a:gd name="connsiteY1021" fmla="*/ 178514 h 1302505"/>
                <a:gd name="connsiteX1022" fmla="*/ 572508 w 1478629"/>
                <a:gd name="connsiteY1022" fmla="*/ 181025 h 1302505"/>
                <a:gd name="connsiteX1023" fmla="*/ 569029 w 1478629"/>
                <a:gd name="connsiteY1023" fmla="*/ 181993 h 1302505"/>
                <a:gd name="connsiteX1024" fmla="*/ 556445 w 1478629"/>
                <a:gd name="connsiteY1024" fmla="*/ 188951 h 1302505"/>
                <a:gd name="connsiteX1025" fmla="*/ 555416 w 1478629"/>
                <a:gd name="connsiteY1025" fmla="*/ 190282 h 1302505"/>
                <a:gd name="connsiteX1026" fmla="*/ 542257 w 1478629"/>
                <a:gd name="connsiteY1026" fmla="*/ 195878 h 1302505"/>
                <a:gd name="connsiteX1027" fmla="*/ 541229 w 1478629"/>
                <a:gd name="connsiteY1027" fmla="*/ 196786 h 1302505"/>
                <a:gd name="connsiteX1028" fmla="*/ 540139 w 1478629"/>
                <a:gd name="connsiteY1028" fmla="*/ 196786 h 1302505"/>
                <a:gd name="connsiteX1029" fmla="*/ 535118 w 1478629"/>
                <a:gd name="connsiteY1029" fmla="*/ 200537 h 1302505"/>
                <a:gd name="connsiteX1030" fmla="*/ 533605 w 1478629"/>
                <a:gd name="connsiteY1030" fmla="*/ 202171 h 1302505"/>
                <a:gd name="connsiteX1031" fmla="*/ 529581 w 1478629"/>
                <a:gd name="connsiteY1031" fmla="*/ 214725 h 1302505"/>
                <a:gd name="connsiteX1032" fmla="*/ 524439 w 1478629"/>
                <a:gd name="connsiteY1032" fmla="*/ 223467 h 1302505"/>
                <a:gd name="connsiteX1033" fmla="*/ 524136 w 1478629"/>
                <a:gd name="connsiteY1033" fmla="*/ 224496 h 1302505"/>
                <a:gd name="connsiteX1034" fmla="*/ 524015 w 1478629"/>
                <a:gd name="connsiteY1034" fmla="*/ 226039 h 1302505"/>
                <a:gd name="connsiteX1035" fmla="*/ 524348 w 1478629"/>
                <a:gd name="connsiteY1035" fmla="*/ 227249 h 1302505"/>
                <a:gd name="connsiteX1036" fmla="*/ 525770 w 1478629"/>
                <a:gd name="connsiteY1036" fmla="*/ 228156 h 1302505"/>
                <a:gd name="connsiteX1037" fmla="*/ 526073 w 1478629"/>
                <a:gd name="connsiteY1037" fmla="*/ 229004 h 1302505"/>
                <a:gd name="connsiteX1038" fmla="*/ 526919 w 1478629"/>
                <a:gd name="connsiteY1038" fmla="*/ 230365 h 1302505"/>
                <a:gd name="connsiteX1039" fmla="*/ 528916 w 1478629"/>
                <a:gd name="connsiteY1039" fmla="*/ 231484 h 1302505"/>
                <a:gd name="connsiteX1040" fmla="*/ 531215 w 1478629"/>
                <a:gd name="connsiteY1040" fmla="*/ 232180 h 1302505"/>
                <a:gd name="connsiteX1041" fmla="*/ 532970 w 1478629"/>
                <a:gd name="connsiteY1041" fmla="*/ 232301 h 1302505"/>
                <a:gd name="connsiteX1042" fmla="*/ 535027 w 1478629"/>
                <a:gd name="connsiteY1042" fmla="*/ 232301 h 1302505"/>
                <a:gd name="connsiteX1043" fmla="*/ 542227 w 1478629"/>
                <a:gd name="connsiteY1043" fmla="*/ 234570 h 1302505"/>
                <a:gd name="connsiteX1044" fmla="*/ 550546 w 1478629"/>
                <a:gd name="connsiteY1044" fmla="*/ 235598 h 1302505"/>
                <a:gd name="connsiteX1045" fmla="*/ 558835 w 1478629"/>
                <a:gd name="connsiteY1045" fmla="*/ 234509 h 1302505"/>
                <a:gd name="connsiteX1046" fmla="*/ 565974 w 1478629"/>
                <a:gd name="connsiteY1046" fmla="*/ 230365 h 1302505"/>
                <a:gd name="connsiteX1047" fmla="*/ 564310 w 1478629"/>
                <a:gd name="connsiteY1047" fmla="*/ 232512 h 1302505"/>
                <a:gd name="connsiteX1048" fmla="*/ 562374 w 1478629"/>
                <a:gd name="connsiteY1048" fmla="*/ 234116 h 1302505"/>
                <a:gd name="connsiteX1049" fmla="*/ 557746 w 1478629"/>
                <a:gd name="connsiteY1049" fmla="*/ 236294 h 1302505"/>
                <a:gd name="connsiteX1050" fmla="*/ 545222 w 1478629"/>
                <a:gd name="connsiteY1050" fmla="*/ 238926 h 1302505"/>
                <a:gd name="connsiteX1051" fmla="*/ 532697 w 1478629"/>
                <a:gd name="connsiteY1051" fmla="*/ 241528 h 1302505"/>
                <a:gd name="connsiteX1052" fmla="*/ 526012 w 1478629"/>
                <a:gd name="connsiteY1052" fmla="*/ 246005 h 1302505"/>
                <a:gd name="connsiteX1053" fmla="*/ 523592 w 1478629"/>
                <a:gd name="connsiteY1053" fmla="*/ 249484 h 1302505"/>
                <a:gd name="connsiteX1054" fmla="*/ 522684 w 1478629"/>
                <a:gd name="connsiteY1054" fmla="*/ 250149 h 1302505"/>
                <a:gd name="connsiteX1055" fmla="*/ 520385 w 1478629"/>
                <a:gd name="connsiteY1055" fmla="*/ 250724 h 1302505"/>
                <a:gd name="connsiteX1056" fmla="*/ 517632 w 1478629"/>
                <a:gd name="connsiteY1056" fmla="*/ 252962 h 1302505"/>
                <a:gd name="connsiteX1057" fmla="*/ 512943 w 1478629"/>
                <a:gd name="connsiteY1057" fmla="*/ 255020 h 1302505"/>
                <a:gd name="connsiteX1058" fmla="*/ 496819 w 1478629"/>
                <a:gd name="connsiteY1058" fmla="*/ 258529 h 1302505"/>
                <a:gd name="connsiteX1059" fmla="*/ 494248 w 1478629"/>
                <a:gd name="connsiteY1059" fmla="*/ 260677 h 1302505"/>
                <a:gd name="connsiteX1060" fmla="*/ 484840 w 1478629"/>
                <a:gd name="connsiteY1060" fmla="*/ 255413 h 1302505"/>
                <a:gd name="connsiteX1061" fmla="*/ 479757 w 1478629"/>
                <a:gd name="connsiteY1061" fmla="*/ 254324 h 1302505"/>
                <a:gd name="connsiteX1062" fmla="*/ 476732 w 1478629"/>
                <a:gd name="connsiteY1062" fmla="*/ 252479 h 1302505"/>
                <a:gd name="connsiteX1063" fmla="*/ 474978 w 1478629"/>
                <a:gd name="connsiteY1063" fmla="*/ 251813 h 1302505"/>
                <a:gd name="connsiteX1064" fmla="*/ 468080 w 1478629"/>
                <a:gd name="connsiteY1064" fmla="*/ 251813 h 1302505"/>
                <a:gd name="connsiteX1065" fmla="*/ 463754 w 1478629"/>
                <a:gd name="connsiteY1065" fmla="*/ 250028 h 1302505"/>
                <a:gd name="connsiteX1066" fmla="*/ 461304 w 1478629"/>
                <a:gd name="connsiteY1066" fmla="*/ 249514 h 1302505"/>
                <a:gd name="connsiteX1067" fmla="*/ 457644 w 1478629"/>
                <a:gd name="connsiteY1067" fmla="*/ 251359 h 1302505"/>
                <a:gd name="connsiteX1068" fmla="*/ 455163 w 1478629"/>
                <a:gd name="connsiteY1068" fmla="*/ 251147 h 1302505"/>
                <a:gd name="connsiteX1069" fmla="*/ 450867 w 1478629"/>
                <a:gd name="connsiteY1069" fmla="*/ 249937 h 1302505"/>
                <a:gd name="connsiteX1070" fmla="*/ 433624 w 1478629"/>
                <a:gd name="connsiteY1070" fmla="*/ 248969 h 1302505"/>
                <a:gd name="connsiteX1071" fmla="*/ 421705 w 1478629"/>
                <a:gd name="connsiteY1071" fmla="*/ 244764 h 1302505"/>
                <a:gd name="connsiteX1072" fmla="*/ 408455 w 1478629"/>
                <a:gd name="connsiteY1072" fmla="*/ 244129 h 1302505"/>
                <a:gd name="connsiteX1073" fmla="*/ 406700 w 1478629"/>
                <a:gd name="connsiteY1073" fmla="*/ 244886 h 1302505"/>
                <a:gd name="connsiteX1074" fmla="*/ 405006 w 1478629"/>
                <a:gd name="connsiteY1074" fmla="*/ 246610 h 1302505"/>
                <a:gd name="connsiteX1075" fmla="*/ 404250 w 1478629"/>
                <a:gd name="connsiteY1075" fmla="*/ 248546 h 1302505"/>
                <a:gd name="connsiteX1076" fmla="*/ 405278 w 1478629"/>
                <a:gd name="connsiteY1076" fmla="*/ 249968 h 1302505"/>
                <a:gd name="connsiteX1077" fmla="*/ 405278 w 1478629"/>
                <a:gd name="connsiteY1077" fmla="*/ 250936 h 1302505"/>
                <a:gd name="connsiteX1078" fmla="*/ 403342 w 1478629"/>
                <a:gd name="connsiteY1078" fmla="*/ 251420 h 1302505"/>
                <a:gd name="connsiteX1079" fmla="*/ 402284 w 1478629"/>
                <a:gd name="connsiteY1079" fmla="*/ 250845 h 1302505"/>
                <a:gd name="connsiteX1080" fmla="*/ 401527 w 1478629"/>
                <a:gd name="connsiteY1080" fmla="*/ 249817 h 1302505"/>
                <a:gd name="connsiteX1081" fmla="*/ 400438 w 1478629"/>
                <a:gd name="connsiteY1081" fmla="*/ 248969 h 1302505"/>
                <a:gd name="connsiteX1082" fmla="*/ 399289 w 1478629"/>
                <a:gd name="connsiteY1082" fmla="*/ 249151 h 1302505"/>
                <a:gd name="connsiteX1083" fmla="*/ 398200 w 1478629"/>
                <a:gd name="connsiteY1083" fmla="*/ 249786 h 1302505"/>
                <a:gd name="connsiteX1084" fmla="*/ 397383 w 1478629"/>
                <a:gd name="connsiteY1084" fmla="*/ 249907 h 1302505"/>
                <a:gd name="connsiteX1085" fmla="*/ 397050 w 1478629"/>
                <a:gd name="connsiteY1085" fmla="*/ 248455 h 1302505"/>
                <a:gd name="connsiteX1086" fmla="*/ 397232 w 1478629"/>
                <a:gd name="connsiteY1086" fmla="*/ 248031 h 1302505"/>
                <a:gd name="connsiteX1087" fmla="*/ 397685 w 1478629"/>
                <a:gd name="connsiteY1087" fmla="*/ 247305 h 1302505"/>
                <a:gd name="connsiteX1088" fmla="*/ 398139 w 1478629"/>
                <a:gd name="connsiteY1088" fmla="*/ 246186 h 1302505"/>
                <a:gd name="connsiteX1089" fmla="*/ 398351 w 1478629"/>
                <a:gd name="connsiteY1089" fmla="*/ 244643 h 1302505"/>
                <a:gd name="connsiteX1090" fmla="*/ 397988 w 1478629"/>
                <a:gd name="connsiteY1090" fmla="*/ 241528 h 1302505"/>
                <a:gd name="connsiteX1091" fmla="*/ 397020 w 1478629"/>
                <a:gd name="connsiteY1091" fmla="*/ 239380 h 1302505"/>
                <a:gd name="connsiteX1092" fmla="*/ 389336 w 1478629"/>
                <a:gd name="connsiteY1092" fmla="*/ 230486 h 1302505"/>
                <a:gd name="connsiteX1093" fmla="*/ 387823 w 1478629"/>
                <a:gd name="connsiteY1093" fmla="*/ 226553 h 1302505"/>
                <a:gd name="connsiteX1094" fmla="*/ 386099 w 1478629"/>
                <a:gd name="connsiteY1094" fmla="*/ 224042 h 1302505"/>
                <a:gd name="connsiteX1095" fmla="*/ 384828 w 1478629"/>
                <a:gd name="connsiteY1095" fmla="*/ 221229 h 1302505"/>
                <a:gd name="connsiteX1096" fmla="*/ 385312 w 1478629"/>
                <a:gd name="connsiteY1096" fmla="*/ 217871 h 1302505"/>
                <a:gd name="connsiteX1097" fmla="*/ 385948 w 1478629"/>
                <a:gd name="connsiteY1097" fmla="*/ 217145 h 1302505"/>
                <a:gd name="connsiteX1098" fmla="*/ 386825 w 1478629"/>
                <a:gd name="connsiteY1098" fmla="*/ 216842 h 1302505"/>
                <a:gd name="connsiteX1099" fmla="*/ 389064 w 1478629"/>
                <a:gd name="connsiteY1099" fmla="*/ 216842 h 1302505"/>
                <a:gd name="connsiteX1100" fmla="*/ 389457 w 1478629"/>
                <a:gd name="connsiteY1100" fmla="*/ 216207 h 1302505"/>
                <a:gd name="connsiteX1101" fmla="*/ 389699 w 1478629"/>
                <a:gd name="connsiteY1101" fmla="*/ 214876 h 1302505"/>
                <a:gd name="connsiteX1102" fmla="*/ 390122 w 1478629"/>
                <a:gd name="connsiteY1102" fmla="*/ 213545 h 1302505"/>
                <a:gd name="connsiteX1103" fmla="*/ 392694 w 1478629"/>
                <a:gd name="connsiteY1103" fmla="*/ 211851 h 1302505"/>
                <a:gd name="connsiteX1104" fmla="*/ 392240 w 1478629"/>
                <a:gd name="connsiteY1104" fmla="*/ 209370 h 1302505"/>
                <a:gd name="connsiteX1105" fmla="*/ 390032 w 1478629"/>
                <a:gd name="connsiteY1105" fmla="*/ 205044 h 1302505"/>
                <a:gd name="connsiteX1106" fmla="*/ 389517 w 1478629"/>
                <a:gd name="connsiteY1106" fmla="*/ 202685 h 1302505"/>
                <a:gd name="connsiteX1107" fmla="*/ 389124 w 1478629"/>
                <a:gd name="connsiteY1107" fmla="*/ 201656 h 1302505"/>
                <a:gd name="connsiteX1108" fmla="*/ 388307 w 1478629"/>
                <a:gd name="connsiteY1108" fmla="*/ 201233 h 1302505"/>
                <a:gd name="connsiteX1109" fmla="*/ 376207 w 1478629"/>
                <a:gd name="connsiteY1109" fmla="*/ 199176 h 1302505"/>
                <a:gd name="connsiteX1110" fmla="*/ 374392 w 1478629"/>
                <a:gd name="connsiteY1110" fmla="*/ 199357 h 1302505"/>
                <a:gd name="connsiteX1111" fmla="*/ 369733 w 1478629"/>
                <a:gd name="connsiteY1111" fmla="*/ 200688 h 1302505"/>
                <a:gd name="connsiteX1112" fmla="*/ 368281 w 1478629"/>
                <a:gd name="connsiteY1112" fmla="*/ 201717 h 1302505"/>
                <a:gd name="connsiteX1113" fmla="*/ 365679 w 1478629"/>
                <a:gd name="connsiteY1113" fmla="*/ 204984 h 1302505"/>
                <a:gd name="connsiteX1114" fmla="*/ 364106 w 1478629"/>
                <a:gd name="connsiteY1114" fmla="*/ 206345 h 1302505"/>
                <a:gd name="connsiteX1115" fmla="*/ 362412 w 1478629"/>
                <a:gd name="connsiteY1115" fmla="*/ 207071 h 1302505"/>
                <a:gd name="connsiteX1116" fmla="*/ 361202 w 1478629"/>
                <a:gd name="connsiteY1116" fmla="*/ 207011 h 1302505"/>
                <a:gd name="connsiteX1117" fmla="*/ 359115 w 1478629"/>
                <a:gd name="connsiteY1117" fmla="*/ 206254 h 1302505"/>
                <a:gd name="connsiteX1118" fmla="*/ 357935 w 1478629"/>
                <a:gd name="connsiteY1118" fmla="*/ 206073 h 1302505"/>
                <a:gd name="connsiteX1119" fmla="*/ 356846 w 1478629"/>
                <a:gd name="connsiteY1119" fmla="*/ 206405 h 1302505"/>
                <a:gd name="connsiteX1120" fmla="*/ 355485 w 1478629"/>
                <a:gd name="connsiteY1120" fmla="*/ 207797 h 1302505"/>
                <a:gd name="connsiteX1121" fmla="*/ 354547 w 1478629"/>
                <a:gd name="connsiteY1121" fmla="*/ 208130 h 1302505"/>
                <a:gd name="connsiteX1122" fmla="*/ 353821 w 1478629"/>
                <a:gd name="connsiteY1122" fmla="*/ 207797 h 1302505"/>
                <a:gd name="connsiteX1123" fmla="*/ 353579 w 1478629"/>
                <a:gd name="connsiteY1123" fmla="*/ 207102 h 1302505"/>
                <a:gd name="connsiteX1124" fmla="*/ 353579 w 1478629"/>
                <a:gd name="connsiteY1124" fmla="*/ 206405 h 1302505"/>
                <a:gd name="connsiteX1125" fmla="*/ 353488 w 1478629"/>
                <a:gd name="connsiteY1125" fmla="*/ 206073 h 1302505"/>
                <a:gd name="connsiteX1126" fmla="*/ 351885 w 1478629"/>
                <a:gd name="connsiteY1126" fmla="*/ 206194 h 1302505"/>
                <a:gd name="connsiteX1127" fmla="*/ 344382 w 1478629"/>
                <a:gd name="connsiteY1127" fmla="*/ 203804 h 1302505"/>
                <a:gd name="connsiteX1128" fmla="*/ 337727 w 1478629"/>
                <a:gd name="connsiteY1128" fmla="*/ 202866 h 1302505"/>
                <a:gd name="connsiteX1129" fmla="*/ 335519 w 1478629"/>
                <a:gd name="connsiteY1129" fmla="*/ 202171 h 1302505"/>
                <a:gd name="connsiteX1130" fmla="*/ 335035 w 1478629"/>
                <a:gd name="connsiteY1130" fmla="*/ 202110 h 1302505"/>
                <a:gd name="connsiteX1131" fmla="*/ 333945 w 1478629"/>
                <a:gd name="connsiteY1131" fmla="*/ 202291 h 1302505"/>
                <a:gd name="connsiteX1132" fmla="*/ 333492 w 1478629"/>
                <a:gd name="connsiteY1132" fmla="*/ 202171 h 1302505"/>
                <a:gd name="connsiteX1133" fmla="*/ 333038 w 1478629"/>
                <a:gd name="connsiteY1133" fmla="*/ 201505 h 1302505"/>
                <a:gd name="connsiteX1134" fmla="*/ 332675 w 1478629"/>
                <a:gd name="connsiteY1134" fmla="*/ 199781 h 1302505"/>
                <a:gd name="connsiteX1135" fmla="*/ 332191 w 1478629"/>
                <a:gd name="connsiteY1135" fmla="*/ 199176 h 1302505"/>
                <a:gd name="connsiteX1136" fmla="*/ 331193 w 1478629"/>
                <a:gd name="connsiteY1136" fmla="*/ 198813 h 1302505"/>
                <a:gd name="connsiteX1137" fmla="*/ 328410 w 1478629"/>
                <a:gd name="connsiteY1137" fmla="*/ 199176 h 1302505"/>
                <a:gd name="connsiteX1138" fmla="*/ 327230 w 1478629"/>
                <a:gd name="connsiteY1138" fmla="*/ 198873 h 1302505"/>
                <a:gd name="connsiteX1139" fmla="*/ 325233 w 1478629"/>
                <a:gd name="connsiteY1139" fmla="*/ 197542 h 1302505"/>
                <a:gd name="connsiteX1140" fmla="*/ 324295 w 1478629"/>
                <a:gd name="connsiteY1140" fmla="*/ 197240 h 1302505"/>
                <a:gd name="connsiteX1141" fmla="*/ 321603 w 1478629"/>
                <a:gd name="connsiteY1141" fmla="*/ 197572 h 1302505"/>
                <a:gd name="connsiteX1142" fmla="*/ 321149 w 1478629"/>
                <a:gd name="connsiteY1142" fmla="*/ 198661 h 1302505"/>
                <a:gd name="connsiteX1143" fmla="*/ 321331 w 1478629"/>
                <a:gd name="connsiteY1143" fmla="*/ 200779 h 1302505"/>
                <a:gd name="connsiteX1144" fmla="*/ 320544 w 1478629"/>
                <a:gd name="connsiteY1144" fmla="*/ 204137 h 1302505"/>
                <a:gd name="connsiteX1145" fmla="*/ 324961 w 1478629"/>
                <a:gd name="connsiteY1145" fmla="*/ 205861 h 1302505"/>
                <a:gd name="connsiteX1146" fmla="*/ 328198 w 1478629"/>
                <a:gd name="connsiteY1146" fmla="*/ 206466 h 1302505"/>
                <a:gd name="connsiteX1147" fmla="*/ 329105 w 1478629"/>
                <a:gd name="connsiteY1147" fmla="*/ 207465 h 1302505"/>
                <a:gd name="connsiteX1148" fmla="*/ 329650 w 1478629"/>
                <a:gd name="connsiteY1148" fmla="*/ 208856 h 1302505"/>
                <a:gd name="connsiteX1149" fmla="*/ 330467 w 1478629"/>
                <a:gd name="connsiteY1149" fmla="*/ 210459 h 1302505"/>
                <a:gd name="connsiteX1150" fmla="*/ 331223 w 1478629"/>
                <a:gd name="connsiteY1150" fmla="*/ 212486 h 1302505"/>
                <a:gd name="connsiteX1151" fmla="*/ 331223 w 1478629"/>
                <a:gd name="connsiteY1151" fmla="*/ 214846 h 1302505"/>
                <a:gd name="connsiteX1152" fmla="*/ 330799 w 1478629"/>
                <a:gd name="connsiteY1152" fmla="*/ 219323 h 1302505"/>
                <a:gd name="connsiteX1153" fmla="*/ 330164 w 1478629"/>
                <a:gd name="connsiteY1153" fmla="*/ 220745 h 1302505"/>
                <a:gd name="connsiteX1154" fmla="*/ 327320 w 1478629"/>
                <a:gd name="connsiteY1154" fmla="*/ 223135 h 1302505"/>
                <a:gd name="connsiteX1155" fmla="*/ 326685 w 1478629"/>
                <a:gd name="connsiteY1155" fmla="*/ 225131 h 1302505"/>
                <a:gd name="connsiteX1156" fmla="*/ 327199 w 1478629"/>
                <a:gd name="connsiteY1156" fmla="*/ 225978 h 1302505"/>
                <a:gd name="connsiteX1157" fmla="*/ 329801 w 1478629"/>
                <a:gd name="connsiteY1157" fmla="*/ 228913 h 1302505"/>
                <a:gd name="connsiteX1158" fmla="*/ 330799 w 1478629"/>
                <a:gd name="connsiteY1158" fmla="*/ 230425 h 1302505"/>
                <a:gd name="connsiteX1159" fmla="*/ 331162 w 1478629"/>
                <a:gd name="connsiteY1159" fmla="*/ 231545 h 1302505"/>
                <a:gd name="connsiteX1160" fmla="*/ 331223 w 1478629"/>
                <a:gd name="connsiteY1160" fmla="*/ 232271 h 1302505"/>
                <a:gd name="connsiteX1161" fmla="*/ 331344 w 1478629"/>
                <a:gd name="connsiteY1161" fmla="*/ 232966 h 1302505"/>
                <a:gd name="connsiteX1162" fmla="*/ 332826 w 1478629"/>
                <a:gd name="connsiteY1162" fmla="*/ 235417 h 1302505"/>
                <a:gd name="connsiteX1163" fmla="*/ 333250 w 1478629"/>
                <a:gd name="connsiteY1163" fmla="*/ 236324 h 1302505"/>
                <a:gd name="connsiteX1164" fmla="*/ 333552 w 1478629"/>
                <a:gd name="connsiteY1164" fmla="*/ 237292 h 1302505"/>
                <a:gd name="connsiteX1165" fmla="*/ 333613 w 1478629"/>
                <a:gd name="connsiteY1165" fmla="*/ 239319 h 1302505"/>
                <a:gd name="connsiteX1166" fmla="*/ 333219 w 1478629"/>
                <a:gd name="connsiteY1166" fmla="*/ 244160 h 1302505"/>
                <a:gd name="connsiteX1167" fmla="*/ 333522 w 1478629"/>
                <a:gd name="connsiteY1167" fmla="*/ 246005 h 1302505"/>
                <a:gd name="connsiteX1168" fmla="*/ 334490 w 1478629"/>
                <a:gd name="connsiteY1168" fmla="*/ 246973 h 1302505"/>
                <a:gd name="connsiteX1169" fmla="*/ 335670 w 1478629"/>
                <a:gd name="connsiteY1169" fmla="*/ 246852 h 1302505"/>
                <a:gd name="connsiteX1170" fmla="*/ 337001 w 1478629"/>
                <a:gd name="connsiteY1170" fmla="*/ 246307 h 1302505"/>
                <a:gd name="connsiteX1171" fmla="*/ 338392 w 1478629"/>
                <a:gd name="connsiteY1171" fmla="*/ 246005 h 1302505"/>
                <a:gd name="connsiteX1172" fmla="*/ 338090 w 1478629"/>
                <a:gd name="connsiteY1172" fmla="*/ 246549 h 1302505"/>
                <a:gd name="connsiteX1173" fmla="*/ 337908 w 1478629"/>
                <a:gd name="connsiteY1173" fmla="*/ 246942 h 1302505"/>
                <a:gd name="connsiteX1174" fmla="*/ 337636 w 1478629"/>
                <a:gd name="connsiteY1174" fmla="*/ 247941 h 1302505"/>
                <a:gd name="connsiteX1175" fmla="*/ 339633 w 1478629"/>
                <a:gd name="connsiteY1175" fmla="*/ 249030 h 1302505"/>
                <a:gd name="connsiteX1176" fmla="*/ 341902 w 1478629"/>
                <a:gd name="connsiteY1176" fmla="*/ 251329 h 1302505"/>
                <a:gd name="connsiteX1177" fmla="*/ 343747 w 1478629"/>
                <a:gd name="connsiteY1177" fmla="*/ 252418 h 1302505"/>
                <a:gd name="connsiteX1178" fmla="*/ 344564 w 1478629"/>
                <a:gd name="connsiteY1178" fmla="*/ 249968 h 1302505"/>
                <a:gd name="connsiteX1179" fmla="*/ 345320 w 1478629"/>
                <a:gd name="connsiteY1179" fmla="*/ 249968 h 1302505"/>
                <a:gd name="connsiteX1180" fmla="*/ 346621 w 1478629"/>
                <a:gd name="connsiteY1180" fmla="*/ 252872 h 1302505"/>
                <a:gd name="connsiteX1181" fmla="*/ 346621 w 1478629"/>
                <a:gd name="connsiteY1181" fmla="*/ 253749 h 1302505"/>
                <a:gd name="connsiteX1182" fmla="*/ 344564 w 1478629"/>
                <a:gd name="connsiteY1182" fmla="*/ 253749 h 1302505"/>
                <a:gd name="connsiteX1183" fmla="*/ 345320 w 1478629"/>
                <a:gd name="connsiteY1183" fmla="*/ 255988 h 1302505"/>
                <a:gd name="connsiteX1184" fmla="*/ 346530 w 1478629"/>
                <a:gd name="connsiteY1184" fmla="*/ 257561 h 1302505"/>
                <a:gd name="connsiteX1185" fmla="*/ 349434 w 1478629"/>
                <a:gd name="connsiteY1185" fmla="*/ 259679 h 1302505"/>
                <a:gd name="connsiteX1186" fmla="*/ 348980 w 1478629"/>
                <a:gd name="connsiteY1186" fmla="*/ 259890 h 1302505"/>
                <a:gd name="connsiteX1187" fmla="*/ 348708 w 1478629"/>
                <a:gd name="connsiteY1187" fmla="*/ 260102 h 1302505"/>
                <a:gd name="connsiteX1188" fmla="*/ 348043 w 1478629"/>
                <a:gd name="connsiteY1188" fmla="*/ 260737 h 1302505"/>
                <a:gd name="connsiteX1189" fmla="*/ 349525 w 1478629"/>
                <a:gd name="connsiteY1189" fmla="*/ 262401 h 1302505"/>
                <a:gd name="connsiteX1190" fmla="*/ 351189 w 1478629"/>
                <a:gd name="connsiteY1190" fmla="*/ 267604 h 1302505"/>
                <a:gd name="connsiteX1191" fmla="*/ 352792 w 1478629"/>
                <a:gd name="connsiteY1191" fmla="*/ 269329 h 1302505"/>
                <a:gd name="connsiteX1192" fmla="*/ 353579 w 1478629"/>
                <a:gd name="connsiteY1192" fmla="*/ 266666 h 1302505"/>
                <a:gd name="connsiteX1193" fmla="*/ 355757 w 1478629"/>
                <a:gd name="connsiteY1193" fmla="*/ 266727 h 1302505"/>
                <a:gd name="connsiteX1194" fmla="*/ 358358 w 1478629"/>
                <a:gd name="connsiteY1194" fmla="*/ 267877 h 1302505"/>
                <a:gd name="connsiteX1195" fmla="*/ 360476 w 1478629"/>
                <a:gd name="connsiteY1195" fmla="*/ 268481 h 1302505"/>
                <a:gd name="connsiteX1196" fmla="*/ 360476 w 1478629"/>
                <a:gd name="connsiteY1196" fmla="*/ 269359 h 1302505"/>
                <a:gd name="connsiteX1197" fmla="*/ 356846 w 1478629"/>
                <a:gd name="connsiteY1197" fmla="*/ 268361 h 1302505"/>
                <a:gd name="connsiteX1198" fmla="*/ 355031 w 1478629"/>
                <a:gd name="connsiteY1198" fmla="*/ 268481 h 1302505"/>
                <a:gd name="connsiteX1199" fmla="*/ 354244 w 1478629"/>
                <a:gd name="connsiteY1199" fmla="*/ 269843 h 1302505"/>
                <a:gd name="connsiteX1200" fmla="*/ 354395 w 1478629"/>
                <a:gd name="connsiteY1200" fmla="*/ 272384 h 1302505"/>
                <a:gd name="connsiteX1201" fmla="*/ 354849 w 1478629"/>
                <a:gd name="connsiteY1201" fmla="*/ 275167 h 1302505"/>
                <a:gd name="connsiteX1202" fmla="*/ 355515 w 1478629"/>
                <a:gd name="connsiteY1202" fmla="*/ 277829 h 1302505"/>
                <a:gd name="connsiteX1203" fmla="*/ 356362 w 1478629"/>
                <a:gd name="connsiteY1203" fmla="*/ 280068 h 1302505"/>
                <a:gd name="connsiteX1204" fmla="*/ 356876 w 1478629"/>
                <a:gd name="connsiteY1204" fmla="*/ 279372 h 1302505"/>
                <a:gd name="connsiteX1205" fmla="*/ 357118 w 1478629"/>
                <a:gd name="connsiteY1205" fmla="*/ 279160 h 1302505"/>
                <a:gd name="connsiteX1206" fmla="*/ 358358 w 1478629"/>
                <a:gd name="connsiteY1206" fmla="*/ 280068 h 1302505"/>
                <a:gd name="connsiteX1207" fmla="*/ 356392 w 1478629"/>
                <a:gd name="connsiteY1207" fmla="*/ 281308 h 1302505"/>
                <a:gd name="connsiteX1208" fmla="*/ 355696 w 1478629"/>
                <a:gd name="connsiteY1208" fmla="*/ 282185 h 1302505"/>
                <a:gd name="connsiteX1209" fmla="*/ 355000 w 1478629"/>
                <a:gd name="connsiteY1209" fmla="*/ 284000 h 1302505"/>
                <a:gd name="connsiteX1210" fmla="*/ 354517 w 1478629"/>
                <a:gd name="connsiteY1210" fmla="*/ 285816 h 1302505"/>
                <a:gd name="connsiteX1211" fmla="*/ 354426 w 1478629"/>
                <a:gd name="connsiteY1211" fmla="*/ 287389 h 1302505"/>
                <a:gd name="connsiteX1212" fmla="*/ 354970 w 1478629"/>
                <a:gd name="connsiteY1212" fmla="*/ 288448 h 1302505"/>
                <a:gd name="connsiteX1213" fmla="*/ 356392 w 1478629"/>
                <a:gd name="connsiteY1213" fmla="*/ 288720 h 1302505"/>
                <a:gd name="connsiteX1214" fmla="*/ 355938 w 1478629"/>
                <a:gd name="connsiteY1214" fmla="*/ 290142 h 1302505"/>
                <a:gd name="connsiteX1215" fmla="*/ 355727 w 1478629"/>
                <a:gd name="connsiteY1215" fmla="*/ 291654 h 1302505"/>
                <a:gd name="connsiteX1216" fmla="*/ 355636 w 1478629"/>
                <a:gd name="connsiteY1216" fmla="*/ 295012 h 1302505"/>
                <a:gd name="connsiteX1217" fmla="*/ 355938 w 1478629"/>
                <a:gd name="connsiteY1217" fmla="*/ 296192 h 1302505"/>
                <a:gd name="connsiteX1218" fmla="*/ 356664 w 1478629"/>
                <a:gd name="connsiteY1218" fmla="*/ 297614 h 1302505"/>
                <a:gd name="connsiteX1219" fmla="*/ 357390 w 1478629"/>
                <a:gd name="connsiteY1219" fmla="*/ 298430 h 1302505"/>
                <a:gd name="connsiteX1220" fmla="*/ 357693 w 1478629"/>
                <a:gd name="connsiteY1220" fmla="*/ 297856 h 1302505"/>
                <a:gd name="connsiteX1221" fmla="*/ 358479 w 1478629"/>
                <a:gd name="connsiteY1221" fmla="*/ 295677 h 1302505"/>
                <a:gd name="connsiteX1222" fmla="*/ 360355 w 1478629"/>
                <a:gd name="connsiteY1222" fmla="*/ 294679 h 1302505"/>
                <a:gd name="connsiteX1223" fmla="*/ 362624 w 1478629"/>
                <a:gd name="connsiteY1223" fmla="*/ 294679 h 1302505"/>
                <a:gd name="connsiteX1224" fmla="*/ 364560 w 1478629"/>
                <a:gd name="connsiteY1224" fmla="*/ 295526 h 1302505"/>
                <a:gd name="connsiteX1225" fmla="*/ 364560 w 1478629"/>
                <a:gd name="connsiteY1225" fmla="*/ 296404 h 1302505"/>
                <a:gd name="connsiteX1226" fmla="*/ 362110 w 1478629"/>
                <a:gd name="connsiteY1226" fmla="*/ 295345 h 1302505"/>
                <a:gd name="connsiteX1227" fmla="*/ 360748 w 1478629"/>
                <a:gd name="connsiteY1227" fmla="*/ 296011 h 1302505"/>
                <a:gd name="connsiteX1228" fmla="*/ 360113 w 1478629"/>
                <a:gd name="connsiteY1228" fmla="*/ 298098 h 1302505"/>
                <a:gd name="connsiteX1229" fmla="*/ 359024 w 1478629"/>
                <a:gd name="connsiteY1229" fmla="*/ 306235 h 1302505"/>
                <a:gd name="connsiteX1230" fmla="*/ 359448 w 1478629"/>
                <a:gd name="connsiteY1230" fmla="*/ 307052 h 1302505"/>
                <a:gd name="connsiteX1231" fmla="*/ 360658 w 1478629"/>
                <a:gd name="connsiteY1231" fmla="*/ 307355 h 1302505"/>
                <a:gd name="connsiteX1232" fmla="*/ 361172 w 1478629"/>
                <a:gd name="connsiteY1232" fmla="*/ 308141 h 1302505"/>
                <a:gd name="connsiteX1233" fmla="*/ 361081 w 1478629"/>
                <a:gd name="connsiteY1233" fmla="*/ 309381 h 1302505"/>
                <a:gd name="connsiteX1234" fmla="*/ 360506 w 1478629"/>
                <a:gd name="connsiteY1234" fmla="*/ 310985 h 1302505"/>
                <a:gd name="connsiteX1235" fmla="*/ 359629 w 1478629"/>
                <a:gd name="connsiteY1235" fmla="*/ 309775 h 1302505"/>
                <a:gd name="connsiteX1236" fmla="*/ 358963 w 1478629"/>
                <a:gd name="connsiteY1236" fmla="*/ 311196 h 1302505"/>
                <a:gd name="connsiteX1237" fmla="*/ 358147 w 1478629"/>
                <a:gd name="connsiteY1237" fmla="*/ 317943 h 1302505"/>
                <a:gd name="connsiteX1238" fmla="*/ 357481 w 1478629"/>
                <a:gd name="connsiteY1238" fmla="*/ 319576 h 1302505"/>
                <a:gd name="connsiteX1239" fmla="*/ 356422 w 1478629"/>
                <a:gd name="connsiteY1239" fmla="*/ 320847 h 1302505"/>
                <a:gd name="connsiteX1240" fmla="*/ 355031 w 1478629"/>
                <a:gd name="connsiteY1240" fmla="*/ 321452 h 1302505"/>
                <a:gd name="connsiteX1241" fmla="*/ 355031 w 1478629"/>
                <a:gd name="connsiteY1241" fmla="*/ 322481 h 1302505"/>
                <a:gd name="connsiteX1242" fmla="*/ 357451 w 1478629"/>
                <a:gd name="connsiteY1242" fmla="*/ 323055 h 1302505"/>
                <a:gd name="connsiteX1243" fmla="*/ 358661 w 1478629"/>
                <a:gd name="connsiteY1243" fmla="*/ 325233 h 1302505"/>
                <a:gd name="connsiteX1244" fmla="*/ 359084 w 1478629"/>
                <a:gd name="connsiteY1244" fmla="*/ 328561 h 1302505"/>
                <a:gd name="connsiteX1245" fmla="*/ 359145 w 1478629"/>
                <a:gd name="connsiteY1245" fmla="*/ 332433 h 1302505"/>
                <a:gd name="connsiteX1246" fmla="*/ 359992 w 1478629"/>
                <a:gd name="connsiteY1246" fmla="*/ 335761 h 1302505"/>
                <a:gd name="connsiteX1247" fmla="*/ 363743 w 1478629"/>
                <a:gd name="connsiteY1247" fmla="*/ 338846 h 1302505"/>
                <a:gd name="connsiteX1248" fmla="*/ 364590 w 1478629"/>
                <a:gd name="connsiteY1248" fmla="*/ 342144 h 1302505"/>
                <a:gd name="connsiteX1249" fmla="*/ 365135 w 1478629"/>
                <a:gd name="connsiteY1249" fmla="*/ 342991 h 1302505"/>
                <a:gd name="connsiteX1250" fmla="*/ 366375 w 1478629"/>
                <a:gd name="connsiteY1250" fmla="*/ 343747 h 1302505"/>
                <a:gd name="connsiteX1251" fmla="*/ 369854 w 1478629"/>
                <a:gd name="connsiteY1251" fmla="*/ 344685 h 1302505"/>
                <a:gd name="connsiteX1252" fmla="*/ 370399 w 1478629"/>
                <a:gd name="connsiteY1252" fmla="*/ 345229 h 1302505"/>
                <a:gd name="connsiteX1253" fmla="*/ 370731 w 1478629"/>
                <a:gd name="connsiteY1253" fmla="*/ 346016 h 1302505"/>
                <a:gd name="connsiteX1254" fmla="*/ 370852 w 1478629"/>
                <a:gd name="connsiteY1254" fmla="*/ 346893 h 1302505"/>
                <a:gd name="connsiteX1255" fmla="*/ 371125 w 1478629"/>
                <a:gd name="connsiteY1255" fmla="*/ 347559 h 1302505"/>
                <a:gd name="connsiteX1256" fmla="*/ 371699 w 1478629"/>
                <a:gd name="connsiteY1256" fmla="*/ 347347 h 1302505"/>
                <a:gd name="connsiteX1257" fmla="*/ 372183 w 1478629"/>
                <a:gd name="connsiteY1257" fmla="*/ 346802 h 1302505"/>
                <a:gd name="connsiteX1258" fmla="*/ 372183 w 1478629"/>
                <a:gd name="connsiteY1258" fmla="*/ 346470 h 1302505"/>
                <a:gd name="connsiteX1259" fmla="*/ 376056 w 1478629"/>
                <a:gd name="connsiteY1259" fmla="*/ 346802 h 1302505"/>
                <a:gd name="connsiteX1260" fmla="*/ 378294 w 1478629"/>
                <a:gd name="connsiteY1260" fmla="*/ 347861 h 1302505"/>
                <a:gd name="connsiteX1261" fmla="*/ 379867 w 1478629"/>
                <a:gd name="connsiteY1261" fmla="*/ 350281 h 1302505"/>
                <a:gd name="connsiteX1262" fmla="*/ 376177 w 1478629"/>
                <a:gd name="connsiteY1262" fmla="*/ 349011 h 1302505"/>
                <a:gd name="connsiteX1263" fmla="*/ 365377 w 1478629"/>
                <a:gd name="connsiteY1263" fmla="*/ 351219 h 1302505"/>
                <a:gd name="connsiteX1264" fmla="*/ 357421 w 1478629"/>
                <a:gd name="connsiteY1264" fmla="*/ 350281 h 1302505"/>
                <a:gd name="connsiteX1265" fmla="*/ 356422 w 1478629"/>
                <a:gd name="connsiteY1265" fmla="*/ 350493 h 1302505"/>
                <a:gd name="connsiteX1266" fmla="*/ 355817 w 1478629"/>
                <a:gd name="connsiteY1266" fmla="*/ 350614 h 1302505"/>
                <a:gd name="connsiteX1267" fmla="*/ 350947 w 1478629"/>
                <a:gd name="connsiteY1267" fmla="*/ 353065 h 1302505"/>
                <a:gd name="connsiteX1268" fmla="*/ 343021 w 1478629"/>
                <a:gd name="connsiteY1268" fmla="*/ 354214 h 1302505"/>
                <a:gd name="connsiteX1269" fmla="*/ 335640 w 1478629"/>
                <a:gd name="connsiteY1269" fmla="*/ 354123 h 1302505"/>
                <a:gd name="connsiteX1270" fmla="*/ 331404 w 1478629"/>
                <a:gd name="connsiteY1270" fmla="*/ 353034 h 1302505"/>
                <a:gd name="connsiteX1271" fmla="*/ 329136 w 1478629"/>
                <a:gd name="connsiteY1271" fmla="*/ 350644 h 1302505"/>
                <a:gd name="connsiteX1272" fmla="*/ 329136 w 1478629"/>
                <a:gd name="connsiteY1272" fmla="*/ 347377 h 1302505"/>
                <a:gd name="connsiteX1273" fmla="*/ 331616 w 1478629"/>
                <a:gd name="connsiteY1273" fmla="*/ 343596 h 1302505"/>
                <a:gd name="connsiteX1274" fmla="*/ 330890 w 1478629"/>
                <a:gd name="connsiteY1274" fmla="*/ 342628 h 1302505"/>
                <a:gd name="connsiteX1275" fmla="*/ 330557 w 1478629"/>
                <a:gd name="connsiteY1275" fmla="*/ 341902 h 1302505"/>
                <a:gd name="connsiteX1276" fmla="*/ 330557 w 1478629"/>
                <a:gd name="connsiteY1276" fmla="*/ 341297 h 1302505"/>
                <a:gd name="connsiteX1277" fmla="*/ 330890 w 1478629"/>
                <a:gd name="connsiteY1277" fmla="*/ 340692 h 1302505"/>
                <a:gd name="connsiteX1278" fmla="*/ 320635 w 1478629"/>
                <a:gd name="connsiteY1278" fmla="*/ 342567 h 1302505"/>
                <a:gd name="connsiteX1279" fmla="*/ 321270 w 1478629"/>
                <a:gd name="connsiteY1279" fmla="*/ 343596 h 1302505"/>
                <a:gd name="connsiteX1280" fmla="*/ 317489 w 1478629"/>
                <a:gd name="connsiteY1280" fmla="*/ 343596 h 1302505"/>
                <a:gd name="connsiteX1281" fmla="*/ 316581 w 1478629"/>
                <a:gd name="connsiteY1281" fmla="*/ 344050 h 1302505"/>
                <a:gd name="connsiteX1282" fmla="*/ 316400 w 1478629"/>
                <a:gd name="connsiteY1282" fmla="*/ 345018 h 1302505"/>
                <a:gd name="connsiteX1283" fmla="*/ 316400 w 1478629"/>
                <a:gd name="connsiteY1283" fmla="*/ 346016 h 1302505"/>
                <a:gd name="connsiteX1284" fmla="*/ 316067 w 1478629"/>
                <a:gd name="connsiteY1284" fmla="*/ 346470 h 1302505"/>
                <a:gd name="connsiteX1285" fmla="*/ 314524 w 1478629"/>
                <a:gd name="connsiteY1285" fmla="*/ 346893 h 1302505"/>
                <a:gd name="connsiteX1286" fmla="*/ 313374 w 1478629"/>
                <a:gd name="connsiteY1286" fmla="*/ 347922 h 1302505"/>
                <a:gd name="connsiteX1287" fmla="*/ 312618 w 1478629"/>
                <a:gd name="connsiteY1287" fmla="*/ 349162 h 1302505"/>
                <a:gd name="connsiteX1288" fmla="*/ 312285 w 1478629"/>
                <a:gd name="connsiteY1288" fmla="*/ 350312 h 1302505"/>
                <a:gd name="connsiteX1289" fmla="*/ 313254 w 1478629"/>
                <a:gd name="connsiteY1289" fmla="*/ 352006 h 1302505"/>
                <a:gd name="connsiteX1290" fmla="*/ 315129 w 1478629"/>
                <a:gd name="connsiteY1290" fmla="*/ 356180 h 1302505"/>
                <a:gd name="connsiteX1291" fmla="*/ 316067 w 1478629"/>
                <a:gd name="connsiteY1291" fmla="*/ 356997 h 1302505"/>
                <a:gd name="connsiteX1292" fmla="*/ 317216 w 1478629"/>
                <a:gd name="connsiteY1292" fmla="*/ 357058 h 1302505"/>
                <a:gd name="connsiteX1293" fmla="*/ 318275 w 1478629"/>
                <a:gd name="connsiteY1293" fmla="*/ 357390 h 1302505"/>
                <a:gd name="connsiteX1294" fmla="*/ 319183 w 1478629"/>
                <a:gd name="connsiteY1294" fmla="*/ 358268 h 1302505"/>
                <a:gd name="connsiteX1295" fmla="*/ 319939 w 1478629"/>
                <a:gd name="connsiteY1295" fmla="*/ 359871 h 1302505"/>
                <a:gd name="connsiteX1296" fmla="*/ 318699 w 1478629"/>
                <a:gd name="connsiteY1296" fmla="*/ 359024 h 1302505"/>
                <a:gd name="connsiteX1297" fmla="*/ 318275 w 1478629"/>
                <a:gd name="connsiteY1297" fmla="*/ 358601 h 1302505"/>
                <a:gd name="connsiteX1298" fmla="*/ 317852 w 1478629"/>
                <a:gd name="connsiteY1298" fmla="*/ 357965 h 1302505"/>
                <a:gd name="connsiteX1299" fmla="*/ 317186 w 1478629"/>
                <a:gd name="connsiteY1299" fmla="*/ 357965 h 1302505"/>
                <a:gd name="connsiteX1300" fmla="*/ 317549 w 1478629"/>
                <a:gd name="connsiteY1300" fmla="*/ 360204 h 1302505"/>
                <a:gd name="connsiteX1301" fmla="*/ 319032 w 1478629"/>
                <a:gd name="connsiteY1301" fmla="*/ 362684 h 1302505"/>
                <a:gd name="connsiteX1302" fmla="*/ 318487 w 1478629"/>
                <a:gd name="connsiteY1302" fmla="*/ 363774 h 1302505"/>
                <a:gd name="connsiteX1303" fmla="*/ 321300 w 1478629"/>
                <a:gd name="connsiteY1303" fmla="*/ 365589 h 1302505"/>
                <a:gd name="connsiteX1304" fmla="*/ 318185 w 1478629"/>
                <a:gd name="connsiteY1304" fmla="*/ 367434 h 1302505"/>
                <a:gd name="connsiteX1305" fmla="*/ 317186 w 1478629"/>
                <a:gd name="connsiteY1305" fmla="*/ 368432 h 1302505"/>
                <a:gd name="connsiteX1306" fmla="*/ 317579 w 1478629"/>
                <a:gd name="connsiteY1306" fmla="*/ 365377 h 1302505"/>
                <a:gd name="connsiteX1307" fmla="*/ 316974 w 1478629"/>
                <a:gd name="connsiteY1307" fmla="*/ 363501 h 1302505"/>
                <a:gd name="connsiteX1308" fmla="*/ 314373 w 1478629"/>
                <a:gd name="connsiteY1308" fmla="*/ 359871 h 1302505"/>
                <a:gd name="connsiteX1309" fmla="*/ 314706 w 1478629"/>
                <a:gd name="connsiteY1309" fmla="*/ 359327 h 1302505"/>
                <a:gd name="connsiteX1310" fmla="*/ 315129 w 1478629"/>
                <a:gd name="connsiteY1310" fmla="*/ 357965 h 1302505"/>
                <a:gd name="connsiteX1311" fmla="*/ 313889 w 1478629"/>
                <a:gd name="connsiteY1311" fmla="*/ 357542 h 1302505"/>
                <a:gd name="connsiteX1312" fmla="*/ 313011 w 1478629"/>
                <a:gd name="connsiteY1312" fmla="*/ 356513 h 1302505"/>
                <a:gd name="connsiteX1313" fmla="*/ 312497 w 1478629"/>
                <a:gd name="connsiteY1313" fmla="*/ 355122 h 1302505"/>
                <a:gd name="connsiteX1314" fmla="*/ 312346 w 1478629"/>
                <a:gd name="connsiteY1314" fmla="*/ 353609 h 1302505"/>
                <a:gd name="connsiteX1315" fmla="*/ 310228 w 1478629"/>
                <a:gd name="connsiteY1315" fmla="*/ 350009 h 1302505"/>
                <a:gd name="connsiteX1316" fmla="*/ 309956 w 1478629"/>
                <a:gd name="connsiteY1316" fmla="*/ 349374 h 1302505"/>
                <a:gd name="connsiteX1317" fmla="*/ 305146 w 1478629"/>
                <a:gd name="connsiteY1317" fmla="*/ 349828 h 1302505"/>
                <a:gd name="connsiteX1318" fmla="*/ 300669 w 1478629"/>
                <a:gd name="connsiteY1318" fmla="*/ 351280 h 1302505"/>
                <a:gd name="connsiteX1319" fmla="*/ 301486 w 1478629"/>
                <a:gd name="connsiteY1319" fmla="*/ 353276 h 1302505"/>
                <a:gd name="connsiteX1320" fmla="*/ 302030 w 1478629"/>
                <a:gd name="connsiteY1320" fmla="*/ 354245 h 1302505"/>
                <a:gd name="connsiteX1321" fmla="*/ 302726 w 1478629"/>
                <a:gd name="connsiteY1321" fmla="*/ 355122 h 1302505"/>
                <a:gd name="connsiteX1322" fmla="*/ 301455 w 1478629"/>
                <a:gd name="connsiteY1322" fmla="*/ 353881 h 1302505"/>
                <a:gd name="connsiteX1323" fmla="*/ 300215 w 1478629"/>
                <a:gd name="connsiteY1323" fmla="*/ 353760 h 1302505"/>
                <a:gd name="connsiteX1324" fmla="*/ 299035 w 1478629"/>
                <a:gd name="connsiteY1324" fmla="*/ 354577 h 1302505"/>
                <a:gd name="connsiteX1325" fmla="*/ 297916 w 1478629"/>
                <a:gd name="connsiteY1325" fmla="*/ 356150 h 1302505"/>
                <a:gd name="connsiteX1326" fmla="*/ 298793 w 1478629"/>
                <a:gd name="connsiteY1326" fmla="*/ 356876 h 1302505"/>
                <a:gd name="connsiteX1327" fmla="*/ 299217 w 1478629"/>
                <a:gd name="connsiteY1327" fmla="*/ 357027 h 1302505"/>
                <a:gd name="connsiteX1328" fmla="*/ 299217 w 1478629"/>
                <a:gd name="connsiteY1328" fmla="*/ 357996 h 1302505"/>
                <a:gd name="connsiteX1329" fmla="*/ 297704 w 1478629"/>
                <a:gd name="connsiteY1329" fmla="*/ 358782 h 1302505"/>
                <a:gd name="connsiteX1330" fmla="*/ 296827 w 1478629"/>
                <a:gd name="connsiteY1330" fmla="*/ 357965 h 1302505"/>
                <a:gd name="connsiteX1331" fmla="*/ 296283 w 1478629"/>
                <a:gd name="connsiteY1331" fmla="*/ 356211 h 1302505"/>
                <a:gd name="connsiteX1332" fmla="*/ 295859 w 1478629"/>
                <a:gd name="connsiteY1332" fmla="*/ 354154 h 1302505"/>
                <a:gd name="connsiteX1333" fmla="*/ 295920 w 1478629"/>
                <a:gd name="connsiteY1333" fmla="*/ 355878 h 1302505"/>
                <a:gd name="connsiteX1334" fmla="*/ 295587 w 1478629"/>
                <a:gd name="connsiteY1334" fmla="*/ 357300 h 1302505"/>
                <a:gd name="connsiteX1335" fmla="*/ 294861 w 1478629"/>
                <a:gd name="connsiteY1335" fmla="*/ 358359 h 1302505"/>
                <a:gd name="connsiteX1336" fmla="*/ 293772 w 1478629"/>
                <a:gd name="connsiteY1336" fmla="*/ 358933 h 1302505"/>
                <a:gd name="connsiteX1337" fmla="*/ 293560 w 1478629"/>
                <a:gd name="connsiteY1337" fmla="*/ 357451 h 1302505"/>
                <a:gd name="connsiteX1338" fmla="*/ 293197 w 1478629"/>
                <a:gd name="connsiteY1338" fmla="*/ 355878 h 1302505"/>
                <a:gd name="connsiteX1339" fmla="*/ 292531 w 1478629"/>
                <a:gd name="connsiteY1339" fmla="*/ 354668 h 1302505"/>
                <a:gd name="connsiteX1340" fmla="*/ 291382 w 1478629"/>
                <a:gd name="connsiteY1340" fmla="*/ 354184 h 1302505"/>
                <a:gd name="connsiteX1341" fmla="*/ 291049 w 1478629"/>
                <a:gd name="connsiteY1341" fmla="*/ 353428 h 1302505"/>
                <a:gd name="connsiteX1342" fmla="*/ 290504 w 1478629"/>
                <a:gd name="connsiteY1342" fmla="*/ 350160 h 1302505"/>
                <a:gd name="connsiteX1343" fmla="*/ 290020 w 1478629"/>
                <a:gd name="connsiteY1343" fmla="*/ 349404 h 1302505"/>
                <a:gd name="connsiteX1344" fmla="*/ 287752 w 1478629"/>
                <a:gd name="connsiteY1344" fmla="*/ 350433 h 1302505"/>
                <a:gd name="connsiteX1345" fmla="*/ 285695 w 1478629"/>
                <a:gd name="connsiteY1345" fmla="*/ 352399 h 1302505"/>
                <a:gd name="connsiteX1346" fmla="*/ 283819 w 1478629"/>
                <a:gd name="connsiteY1346" fmla="*/ 353579 h 1302505"/>
                <a:gd name="connsiteX1347" fmla="*/ 282034 w 1478629"/>
                <a:gd name="connsiteY1347" fmla="*/ 352248 h 1302505"/>
                <a:gd name="connsiteX1348" fmla="*/ 284847 w 1478629"/>
                <a:gd name="connsiteY1348" fmla="*/ 349374 h 1302505"/>
                <a:gd name="connsiteX1349" fmla="*/ 285362 w 1478629"/>
                <a:gd name="connsiteY1349" fmla="*/ 348587 h 1302505"/>
                <a:gd name="connsiteX1350" fmla="*/ 285725 w 1478629"/>
                <a:gd name="connsiteY1350" fmla="*/ 347801 h 1302505"/>
                <a:gd name="connsiteX1351" fmla="*/ 286178 w 1478629"/>
                <a:gd name="connsiteY1351" fmla="*/ 347075 h 1302505"/>
                <a:gd name="connsiteX1352" fmla="*/ 286935 w 1478629"/>
                <a:gd name="connsiteY1352" fmla="*/ 346500 h 1302505"/>
                <a:gd name="connsiteX1353" fmla="*/ 286935 w 1478629"/>
                <a:gd name="connsiteY1353" fmla="*/ 345441 h 1302505"/>
                <a:gd name="connsiteX1354" fmla="*/ 285604 w 1478629"/>
                <a:gd name="connsiteY1354" fmla="*/ 345653 h 1302505"/>
                <a:gd name="connsiteX1355" fmla="*/ 284605 w 1478629"/>
                <a:gd name="connsiteY1355" fmla="*/ 345229 h 1302505"/>
                <a:gd name="connsiteX1356" fmla="*/ 283879 w 1478629"/>
                <a:gd name="connsiteY1356" fmla="*/ 344201 h 1302505"/>
                <a:gd name="connsiteX1357" fmla="*/ 283516 w 1478629"/>
                <a:gd name="connsiteY1357" fmla="*/ 342567 h 1302505"/>
                <a:gd name="connsiteX1358" fmla="*/ 282125 w 1478629"/>
                <a:gd name="connsiteY1358" fmla="*/ 345109 h 1302505"/>
                <a:gd name="connsiteX1359" fmla="*/ 279493 w 1478629"/>
                <a:gd name="connsiteY1359" fmla="*/ 347498 h 1302505"/>
                <a:gd name="connsiteX1360" fmla="*/ 276468 w 1478629"/>
                <a:gd name="connsiteY1360" fmla="*/ 349344 h 1302505"/>
                <a:gd name="connsiteX1361" fmla="*/ 273836 w 1478629"/>
                <a:gd name="connsiteY1361" fmla="*/ 350312 h 1302505"/>
                <a:gd name="connsiteX1362" fmla="*/ 272959 w 1478629"/>
                <a:gd name="connsiteY1362" fmla="*/ 348406 h 1302505"/>
                <a:gd name="connsiteX1363" fmla="*/ 270750 w 1478629"/>
                <a:gd name="connsiteY1363" fmla="*/ 348103 h 1302505"/>
                <a:gd name="connsiteX1364" fmla="*/ 266273 w 1478629"/>
                <a:gd name="connsiteY1364" fmla="*/ 349344 h 1302505"/>
                <a:gd name="connsiteX1365" fmla="*/ 268239 w 1478629"/>
                <a:gd name="connsiteY1365" fmla="*/ 350191 h 1302505"/>
                <a:gd name="connsiteX1366" fmla="*/ 269086 w 1478629"/>
                <a:gd name="connsiteY1366" fmla="*/ 350312 h 1302505"/>
                <a:gd name="connsiteX1367" fmla="*/ 269086 w 1478629"/>
                <a:gd name="connsiteY1367" fmla="*/ 351249 h 1302505"/>
                <a:gd name="connsiteX1368" fmla="*/ 267665 w 1478629"/>
                <a:gd name="connsiteY1368" fmla="*/ 352732 h 1302505"/>
                <a:gd name="connsiteX1369" fmla="*/ 260858 w 1478629"/>
                <a:gd name="connsiteY1369" fmla="*/ 356634 h 1302505"/>
                <a:gd name="connsiteX1370" fmla="*/ 259073 w 1478629"/>
                <a:gd name="connsiteY1370" fmla="*/ 357179 h 1302505"/>
                <a:gd name="connsiteX1371" fmla="*/ 258014 w 1478629"/>
                <a:gd name="connsiteY1371" fmla="*/ 357935 h 1302505"/>
                <a:gd name="connsiteX1372" fmla="*/ 257258 w 1478629"/>
                <a:gd name="connsiteY1372" fmla="*/ 358782 h 1302505"/>
                <a:gd name="connsiteX1373" fmla="*/ 254868 w 1478629"/>
                <a:gd name="connsiteY1373" fmla="*/ 362261 h 1302505"/>
                <a:gd name="connsiteX1374" fmla="*/ 252932 w 1478629"/>
                <a:gd name="connsiteY1374" fmla="*/ 364227 h 1302505"/>
                <a:gd name="connsiteX1375" fmla="*/ 251299 w 1478629"/>
                <a:gd name="connsiteY1375" fmla="*/ 364893 h 1302505"/>
                <a:gd name="connsiteX1376" fmla="*/ 247305 w 1478629"/>
                <a:gd name="connsiteY1376" fmla="*/ 364711 h 1302505"/>
                <a:gd name="connsiteX1377" fmla="*/ 246882 w 1478629"/>
                <a:gd name="connsiteY1377" fmla="*/ 365740 h 1302505"/>
                <a:gd name="connsiteX1378" fmla="*/ 246942 w 1478629"/>
                <a:gd name="connsiteY1378" fmla="*/ 367737 h 1302505"/>
                <a:gd name="connsiteX1379" fmla="*/ 246670 w 1478629"/>
                <a:gd name="connsiteY1379" fmla="*/ 369037 h 1302505"/>
                <a:gd name="connsiteX1380" fmla="*/ 245278 w 1478629"/>
                <a:gd name="connsiteY1380" fmla="*/ 367978 h 1302505"/>
                <a:gd name="connsiteX1381" fmla="*/ 244432 w 1478629"/>
                <a:gd name="connsiteY1381" fmla="*/ 366950 h 1302505"/>
                <a:gd name="connsiteX1382" fmla="*/ 243584 w 1478629"/>
                <a:gd name="connsiteY1382" fmla="*/ 366133 h 1302505"/>
                <a:gd name="connsiteX1383" fmla="*/ 242616 w 1478629"/>
                <a:gd name="connsiteY1383" fmla="*/ 365649 h 1302505"/>
                <a:gd name="connsiteX1384" fmla="*/ 241437 w 1478629"/>
                <a:gd name="connsiteY1384" fmla="*/ 365589 h 1302505"/>
                <a:gd name="connsiteX1385" fmla="*/ 242223 w 1478629"/>
                <a:gd name="connsiteY1385" fmla="*/ 364893 h 1302505"/>
                <a:gd name="connsiteX1386" fmla="*/ 242798 w 1478629"/>
                <a:gd name="connsiteY1386" fmla="*/ 364106 h 1302505"/>
                <a:gd name="connsiteX1387" fmla="*/ 243191 w 1478629"/>
                <a:gd name="connsiteY1387" fmla="*/ 363108 h 1302505"/>
                <a:gd name="connsiteX1388" fmla="*/ 243494 w 1478629"/>
                <a:gd name="connsiteY1388" fmla="*/ 361837 h 1302505"/>
                <a:gd name="connsiteX1389" fmla="*/ 237746 w 1478629"/>
                <a:gd name="connsiteY1389" fmla="*/ 359266 h 1302505"/>
                <a:gd name="connsiteX1390" fmla="*/ 235326 w 1478629"/>
                <a:gd name="connsiteY1390" fmla="*/ 357572 h 1302505"/>
                <a:gd name="connsiteX1391" fmla="*/ 234025 w 1478629"/>
                <a:gd name="connsiteY1391" fmla="*/ 356967 h 1302505"/>
                <a:gd name="connsiteX1392" fmla="*/ 233541 w 1478629"/>
                <a:gd name="connsiteY1392" fmla="*/ 356543 h 1302505"/>
                <a:gd name="connsiteX1393" fmla="*/ 233208 w 1478629"/>
                <a:gd name="connsiteY1393" fmla="*/ 355666 h 1302505"/>
                <a:gd name="connsiteX1394" fmla="*/ 233420 w 1478629"/>
                <a:gd name="connsiteY1394" fmla="*/ 354971 h 1302505"/>
                <a:gd name="connsiteX1395" fmla="*/ 233723 w 1478629"/>
                <a:gd name="connsiteY1395" fmla="*/ 354335 h 1302505"/>
                <a:gd name="connsiteX1396" fmla="*/ 233571 w 1478629"/>
                <a:gd name="connsiteY1396" fmla="*/ 353609 h 1302505"/>
                <a:gd name="connsiteX1397" fmla="*/ 233148 w 1478629"/>
                <a:gd name="connsiteY1397" fmla="*/ 352490 h 1302505"/>
                <a:gd name="connsiteX1398" fmla="*/ 232149 w 1478629"/>
                <a:gd name="connsiteY1398" fmla="*/ 348315 h 1302505"/>
                <a:gd name="connsiteX1399" fmla="*/ 225615 w 1478629"/>
                <a:gd name="connsiteY1399" fmla="*/ 343112 h 1302505"/>
                <a:gd name="connsiteX1400" fmla="*/ 224950 w 1478629"/>
                <a:gd name="connsiteY1400" fmla="*/ 341720 h 1302505"/>
                <a:gd name="connsiteX1401" fmla="*/ 223407 w 1478629"/>
                <a:gd name="connsiteY1401" fmla="*/ 340087 h 1302505"/>
                <a:gd name="connsiteX1402" fmla="*/ 221592 w 1478629"/>
                <a:gd name="connsiteY1402" fmla="*/ 338635 h 1302505"/>
                <a:gd name="connsiteX1403" fmla="*/ 220109 w 1478629"/>
                <a:gd name="connsiteY1403" fmla="*/ 337757 h 1302505"/>
                <a:gd name="connsiteX1404" fmla="*/ 220109 w 1478629"/>
                <a:gd name="connsiteY1404" fmla="*/ 336880 h 1302505"/>
                <a:gd name="connsiteX1405" fmla="*/ 220503 w 1478629"/>
                <a:gd name="connsiteY1405" fmla="*/ 336668 h 1302505"/>
                <a:gd name="connsiteX1406" fmla="*/ 221471 w 1478629"/>
                <a:gd name="connsiteY1406" fmla="*/ 335912 h 1302505"/>
                <a:gd name="connsiteX1407" fmla="*/ 221350 w 1478629"/>
                <a:gd name="connsiteY1407" fmla="*/ 334944 h 1302505"/>
                <a:gd name="connsiteX1408" fmla="*/ 221350 w 1478629"/>
                <a:gd name="connsiteY1408" fmla="*/ 334097 h 1302505"/>
                <a:gd name="connsiteX1409" fmla="*/ 221471 w 1478629"/>
                <a:gd name="connsiteY1409" fmla="*/ 332947 h 1302505"/>
                <a:gd name="connsiteX1410" fmla="*/ 219474 w 1478629"/>
                <a:gd name="connsiteY1410" fmla="*/ 332252 h 1302505"/>
                <a:gd name="connsiteX1411" fmla="*/ 214362 w 1478629"/>
                <a:gd name="connsiteY1411" fmla="*/ 332040 h 1302505"/>
                <a:gd name="connsiteX1412" fmla="*/ 211790 w 1478629"/>
                <a:gd name="connsiteY1412" fmla="*/ 331132 h 1302505"/>
                <a:gd name="connsiteX1413" fmla="*/ 210459 w 1478629"/>
                <a:gd name="connsiteY1413" fmla="*/ 330073 h 1302505"/>
                <a:gd name="connsiteX1414" fmla="*/ 210459 w 1478629"/>
                <a:gd name="connsiteY1414" fmla="*/ 329196 h 1302505"/>
                <a:gd name="connsiteX1415" fmla="*/ 212153 w 1478629"/>
                <a:gd name="connsiteY1415" fmla="*/ 327956 h 1302505"/>
                <a:gd name="connsiteX1416" fmla="*/ 212940 w 1478629"/>
                <a:gd name="connsiteY1416" fmla="*/ 327563 h 1302505"/>
                <a:gd name="connsiteX1417" fmla="*/ 213908 w 1478629"/>
                <a:gd name="connsiteY1417" fmla="*/ 327290 h 1302505"/>
                <a:gd name="connsiteX1418" fmla="*/ 213908 w 1478629"/>
                <a:gd name="connsiteY1418" fmla="*/ 326625 h 1302505"/>
                <a:gd name="connsiteX1419" fmla="*/ 213787 w 1478629"/>
                <a:gd name="connsiteY1419" fmla="*/ 326443 h 1302505"/>
                <a:gd name="connsiteX1420" fmla="*/ 213545 w 1478629"/>
                <a:gd name="connsiteY1420" fmla="*/ 326443 h 1302505"/>
                <a:gd name="connsiteX1421" fmla="*/ 213151 w 1478629"/>
                <a:gd name="connsiteY1421" fmla="*/ 326322 h 1302505"/>
                <a:gd name="connsiteX1422" fmla="*/ 213908 w 1478629"/>
                <a:gd name="connsiteY1422" fmla="*/ 325354 h 1302505"/>
                <a:gd name="connsiteX1423" fmla="*/ 212910 w 1478629"/>
                <a:gd name="connsiteY1423" fmla="*/ 324568 h 1302505"/>
                <a:gd name="connsiteX1424" fmla="*/ 211851 w 1478629"/>
                <a:gd name="connsiteY1424" fmla="*/ 324296 h 1302505"/>
                <a:gd name="connsiteX1425" fmla="*/ 210792 w 1478629"/>
                <a:gd name="connsiteY1425" fmla="*/ 324568 h 1302505"/>
                <a:gd name="connsiteX1426" fmla="*/ 209794 w 1478629"/>
                <a:gd name="connsiteY1426" fmla="*/ 325354 h 1302505"/>
                <a:gd name="connsiteX1427" fmla="*/ 208160 w 1478629"/>
                <a:gd name="connsiteY1427" fmla="*/ 324991 h 1302505"/>
                <a:gd name="connsiteX1428" fmla="*/ 206194 w 1478629"/>
                <a:gd name="connsiteY1428" fmla="*/ 327653 h 1302505"/>
                <a:gd name="connsiteX1429" fmla="*/ 202866 w 1478629"/>
                <a:gd name="connsiteY1429" fmla="*/ 333976 h 1302505"/>
                <a:gd name="connsiteX1430" fmla="*/ 202110 w 1478629"/>
                <a:gd name="connsiteY1430" fmla="*/ 333976 h 1302505"/>
                <a:gd name="connsiteX1431" fmla="*/ 202110 w 1478629"/>
                <a:gd name="connsiteY1431" fmla="*/ 332947 h 1302505"/>
                <a:gd name="connsiteX1432" fmla="*/ 204258 w 1478629"/>
                <a:gd name="connsiteY1432" fmla="*/ 330316 h 1302505"/>
                <a:gd name="connsiteX1433" fmla="*/ 204923 w 1478629"/>
                <a:gd name="connsiteY1433" fmla="*/ 329196 h 1302505"/>
                <a:gd name="connsiteX1434" fmla="*/ 206224 w 1478629"/>
                <a:gd name="connsiteY1434" fmla="*/ 325536 h 1302505"/>
                <a:gd name="connsiteX1435" fmla="*/ 206980 w 1478629"/>
                <a:gd name="connsiteY1435" fmla="*/ 324386 h 1302505"/>
                <a:gd name="connsiteX1436" fmla="*/ 205619 w 1478629"/>
                <a:gd name="connsiteY1436" fmla="*/ 323358 h 1302505"/>
                <a:gd name="connsiteX1437" fmla="*/ 205619 w 1478629"/>
                <a:gd name="connsiteY1437" fmla="*/ 322481 h 1302505"/>
                <a:gd name="connsiteX1438" fmla="*/ 206315 w 1478629"/>
                <a:gd name="connsiteY1438" fmla="*/ 321119 h 1302505"/>
                <a:gd name="connsiteX1439" fmla="*/ 206254 w 1478629"/>
                <a:gd name="connsiteY1439" fmla="*/ 319637 h 1302505"/>
                <a:gd name="connsiteX1440" fmla="*/ 205558 w 1478629"/>
                <a:gd name="connsiteY1440" fmla="*/ 318366 h 1302505"/>
                <a:gd name="connsiteX1441" fmla="*/ 204318 w 1478629"/>
                <a:gd name="connsiteY1441" fmla="*/ 317610 h 1302505"/>
                <a:gd name="connsiteX1442" fmla="*/ 203048 w 1478629"/>
                <a:gd name="connsiteY1442" fmla="*/ 317973 h 1302505"/>
                <a:gd name="connsiteX1443" fmla="*/ 201172 w 1478629"/>
                <a:gd name="connsiteY1443" fmla="*/ 320060 h 1302505"/>
                <a:gd name="connsiteX1444" fmla="*/ 200143 w 1478629"/>
                <a:gd name="connsiteY1444" fmla="*/ 319606 h 1302505"/>
                <a:gd name="connsiteX1445" fmla="*/ 199266 w 1478629"/>
                <a:gd name="connsiteY1445" fmla="*/ 320665 h 1302505"/>
                <a:gd name="connsiteX1446" fmla="*/ 196786 w 1478629"/>
                <a:gd name="connsiteY1446" fmla="*/ 322632 h 1302505"/>
                <a:gd name="connsiteX1447" fmla="*/ 193791 w 1478629"/>
                <a:gd name="connsiteY1447" fmla="*/ 326080 h 1302505"/>
                <a:gd name="connsiteX1448" fmla="*/ 192974 w 1478629"/>
                <a:gd name="connsiteY1448" fmla="*/ 327411 h 1302505"/>
                <a:gd name="connsiteX1449" fmla="*/ 192611 w 1478629"/>
                <a:gd name="connsiteY1449" fmla="*/ 329196 h 1302505"/>
                <a:gd name="connsiteX1450" fmla="*/ 192097 w 1478629"/>
                <a:gd name="connsiteY1450" fmla="*/ 328289 h 1302505"/>
                <a:gd name="connsiteX1451" fmla="*/ 191975 w 1478629"/>
                <a:gd name="connsiteY1451" fmla="*/ 327895 h 1302505"/>
                <a:gd name="connsiteX1452" fmla="*/ 191855 w 1478629"/>
                <a:gd name="connsiteY1452" fmla="*/ 327260 h 1302505"/>
                <a:gd name="connsiteX1453" fmla="*/ 193155 w 1478629"/>
                <a:gd name="connsiteY1453" fmla="*/ 325838 h 1302505"/>
                <a:gd name="connsiteX1454" fmla="*/ 193881 w 1478629"/>
                <a:gd name="connsiteY1454" fmla="*/ 323297 h 1302505"/>
                <a:gd name="connsiteX1455" fmla="*/ 193942 w 1478629"/>
                <a:gd name="connsiteY1455" fmla="*/ 320544 h 1302505"/>
                <a:gd name="connsiteX1456" fmla="*/ 193276 w 1478629"/>
                <a:gd name="connsiteY1456" fmla="*/ 318517 h 1302505"/>
                <a:gd name="connsiteX1457" fmla="*/ 191643 w 1478629"/>
                <a:gd name="connsiteY1457" fmla="*/ 318185 h 1302505"/>
                <a:gd name="connsiteX1458" fmla="*/ 188648 w 1478629"/>
                <a:gd name="connsiteY1458" fmla="*/ 321633 h 1302505"/>
                <a:gd name="connsiteX1459" fmla="*/ 187710 w 1478629"/>
                <a:gd name="connsiteY1459" fmla="*/ 321391 h 1302505"/>
                <a:gd name="connsiteX1460" fmla="*/ 187014 w 1478629"/>
                <a:gd name="connsiteY1460" fmla="*/ 321391 h 1302505"/>
                <a:gd name="connsiteX1461" fmla="*/ 185835 w 1478629"/>
                <a:gd name="connsiteY1461" fmla="*/ 322238 h 1302505"/>
                <a:gd name="connsiteX1462" fmla="*/ 177334 w 1478629"/>
                <a:gd name="connsiteY1462" fmla="*/ 325173 h 1302505"/>
                <a:gd name="connsiteX1463" fmla="*/ 176638 w 1478629"/>
                <a:gd name="connsiteY1463" fmla="*/ 325626 h 1302505"/>
                <a:gd name="connsiteX1464" fmla="*/ 175640 w 1478629"/>
                <a:gd name="connsiteY1464" fmla="*/ 326746 h 1302505"/>
                <a:gd name="connsiteX1465" fmla="*/ 174732 w 1478629"/>
                <a:gd name="connsiteY1465" fmla="*/ 327290 h 1302505"/>
                <a:gd name="connsiteX1466" fmla="*/ 173492 w 1478629"/>
                <a:gd name="connsiteY1466" fmla="*/ 327381 h 1302505"/>
                <a:gd name="connsiteX1467" fmla="*/ 171132 w 1478629"/>
                <a:gd name="connsiteY1467" fmla="*/ 327200 h 1302505"/>
                <a:gd name="connsiteX1468" fmla="*/ 171465 w 1478629"/>
                <a:gd name="connsiteY1468" fmla="*/ 326534 h 1302505"/>
                <a:gd name="connsiteX1469" fmla="*/ 171647 w 1478629"/>
                <a:gd name="connsiteY1469" fmla="*/ 326080 h 1302505"/>
                <a:gd name="connsiteX1470" fmla="*/ 171919 w 1478629"/>
                <a:gd name="connsiteY1470" fmla="*/ 325717 h 1302505"/>
                <a:gd name="connsiteX1471" fmla="*/ 172494 w 1478629"/>
                <a:gd name="connsiteY1471" fmla="*/ 325294 h 1302505"/>
                <a:gd name="connsiteX1472" fmla="*/ 171102 w 1478629"/>
                <a:gd name="connsiteY1472" fmla="*/ 325173 h 1302505"/>
                <a:gd name="connsiteX1473" fmla="*/ 167623 w 1478629"/>
                <a:gd name="connsiteY1473" fmla="*/ 323297 h 1302505"/>
                <a:gd name="connsiteX1474" fmla="*/ 164447 w 1478629"/>
                <a:gd name="connsiteY1474" fmla="*/ 323116 h 1302505"/>
                <a:gd name="connsiteX1475" fmla="*/ 163509 w 1478629"/>
                <a:gd name="connsiteY1475" fmla="*/ 322420 h 1302505"/>
                <a:gd name="connsiteX1476" fmla="*/ 162904 w 1478629"/>
                <a:gd name="connsiteY1476" fmla="*/ 322420 h 1302505"/>
                <a:gd name="connsiteX1477" fmla="*/ 162359 w 1478629"/>
                <a:gd name="connsiteY1477" fmla="*/ 323570 h 1302505"/>
                <a:gd name="connsiteX1478" fmla="*/ 160181 w 1478629"/>
                <a:gd name="connsiteY1478" fmla="*/ 327200 h 1302505"/>
                <a:gd name="connsiteX1479" fmla="*/ 157277 w 1478629"/>
                <a:gd name="connsiteY1479" fmla="*/ 328440 h 1302505"/>
                <a:gd name="connsiteX1480" fmla="*/ 156249 w 1478629"/>
                <a:gd name="connsiteY1480" fmla="*/ 329620 h 1302505"/>
                <a:gd name="connsiteX1481" fmla="*/ 156672 w 1478629"/>
                <a:gd name="connsiteY1481" fmla="*/ 331919 h 1302505"/>
                <a:gd name="connsiteX1482" fmla="*/ 160151 w 1478629"/>
                <a:gd name="connsiteY1482" fmla="*/ 335912 h 1302505"/>
                <a:gd name="connsiteX1483" fmla="*/ 161603 w 1478629"/>
                <a:gd name="connsiteY1483" fmla="*/ 336789 h 1302505"/>
                <a:gd name="connsiteX1484" fmla="*/ 156339 w 1478629"/>
                <a:gd name="connsiteY1484" fmla="*/ 337667 h 1302505"/>
                <a:gd name="connsiteX1485" fmla="*/ 155916 w 1478629"/>
                <a:gd name="connsiteY1485" fmla="*/ 338635 h 1302505"/>
                <a:gd name="connsiteX1486" fmla="*/ 156339 w 1478629"/>
                <a:gd name="connsiteY1486" fmla="*/ 340782 h 1302505"/>
                <a:gd name="connsiteX1487" fmla="*/ 157338 w 1478629"/>
                <a:gd name="connsiteY1487" fmla="*/ 344020 h 1302505"/>
                <a:gd name="connsiteX1488" fmla="*/ 155916 w 1478629"/>
                <a:gd name="connsiteY1488" fmla="*/ 344746 h 1302505"/>
                <a:gd name="connsiteX1489" fmla="*/ 152982 w 1478629"/>
                <a:gd name="connsiteY1489" fmla="*/ 344746 h 1302505"/>
                <a:gd name="connsiteX1490" fmla="*/ 150501 w 1478629"/>
                <a:gd name="connsiteY1490" fmla="*/ 344050 h 1302505"/>
                <a:gd name="connsiteX1491" fmla="*/ 150501 w 1478629"/>
                <a:gd name="connsiteY1491" fmla="*/ 341690 h 1302505"/>
                <a:gd name="connsiteX1492" fmla="*/ 146961 w 1478629"/>
                <a:gd name="connsiteY1492" fmla="*/ 342598 h 1302505"/>
                <a:gd name="connsiteX1493" fmla="*/ 145661 w 1478629"/>
                <a:gd name="connsiteY1493" fmla="*/ 342537 h 1302505"/>
                <a:gd name="connsiteX1494" fmla="*/ 144541 w 1478629"/>
                <a:gd name="connsiteY1494" fmla="*/ 342023 h 1302505"/>
                <a:gd name="connsiteX1495" fmla="*/ 142212 w 1478629"/>
                <a:gd name="connsiteY1495" fmla="*/ 340117 h 1302505"/>
                <a:gd name="connsiteX1496" fmla="*/ 141093 w 1478629"/>
                <a:gd name="connsiteY1496" fmla="*/ 339693 h 1302505"/>
                <a:gd name="connsiteX1497" fmla="*/ 136404 w 1478629"/>
                <a:gd name="connsiteY1497" fmla="*/ 339935 h 1302505"/>
                <a:gd name="connsiteX1498" fmla="*/ 134528 w 1478629"/>
                <a:gd name="connsiteY1498" fmla="*/ 339391 h 1302505"/>
                <a:gd name="connsiteX1499" fmla="*/ 133227 w 1478629"/>
                <a:gd name="connsiteY1499" fmla="*/ 337697 h 1302505"/>
                <a:gd name="connsiteX1500" fmla="*/ 133227 w 1478629"/>
                <a:gd name="connsiteY1500" fmla="*/ 339330 h 1302505"/>
                <a:gd name="connsiteX1501" fmla="*/ 132985 w 1478629"/>
                <a:gd name="connsiteY1501" fmla="*/ 339996 h 1302505"/>
                <a:gd name="connsiteX1502" fmla="*/ 132562 w 1478629"/>
                <a:gd name="connsiteY1502" fmla="*/ 340661 h 1302505"/>
                <a:gd name="connsiteX1503" fmla="*/ 131321 w 1478629"/>
                <a:gd name="connsiteY1503" fmla="*/ 339784 h 1302505"/>
                <a:gd name="connsiteX1504" fmla="*/ 130535 w 1478629"/>
                <a:gd name="connsiteY1504" fmla="*/ 341357 h 1302505"/>
                <a:gd name="connsiteX1505" fmla="*/ 130232 w 1478629"/>
                <a:gd name="connsiteY1505" fmla="*/ 344050 h 1302505"/>
                <a:gd name="connsiteX1506" fmla="*/ 130474 w 1478629"/>
                <a:gd name="connsiteY1506" fmla="*/ 346500 h 1302505"/>
                <a:gd name="connsiteX1507" fmla="*/ 129688 w 1478629"/>
                <a:gd name="connsiteY1507" fmla="*/ 345744 h 1302505"/>
                <a:gd name="connsiteX1508" fmla="*/ 129385 w 1478629"/>
                <a:gd name="connsiteY1508" fmla="*/ 345320 h 1302505"/>
                <a:gd name="connsiteX1509" fmla="*/ 129053 w 1478629"/>
                <a:gd name="connsiteY1509" fmla="*/ 344503 h 1302505"/>
                <a:gd name="connsiteX1510" fmla="*/ 128417 w 1478629"/>
                <a:gd name="connsiteY1510" fmla="*/ 344503 h 1302505"/>
                <a:gd name="connsiteX1511" fmla="*/ 128962 w 1478629"/>
                <a:gd name="connsiteY1511" fmla="*/ 347347 h 1302505"/>
                <a:gd name="connsiteX1512" fmla="*/ 129325 w 1478629"/>
                <a:gd name="connsiteY1512" fmla="*/ 348497 h 1302505"/>
                <a:gd name="connsiteX1513" fmla="*/ 129809 w 1478629"/>
                <a:gd name="connsiteY1513" fmla="*/ 349344 h 1302505"/>
                <a:gd name="connsiteX1514" fmla="*/ 129053 w 1478629"/>
                <a:gd name="connsiteY1514" fmla="*/ 350312 h 1302505"/>
                <a:gd name="connsiteX1515" fmla="*/ 129809 w 1478629"/>
                <a:gd name="connsiteY1515" fmla="*/ 351249 h 1302505"/>
                <a:gd name="connsiteX1516" fmla="*/ 129053 w 1478629"/>
                <a:gd name="connsiteY1516" fmla="*/ 352218 h 1302505"/>
                <a:gd name="connsiteX1517" fmla="*/ 127752 w 1478629"/>
                <a:gd name="connsiteY1517" fmla="*/ 350614 h 1302505"/>
                <a:gd name="connsiteX1518" fmla="*/ 124787 w 1478629"/>
                <a:gd name="connsiteY1518" fmla="*/ 348860 h 1302505"/>
                <a:gd name="connsiteX1519" fmla="*/ 123577 w 1478629"/>
                <a:gd name="connsiteY1519" fmla="*/ 347347 h 1302505"/>
                <a:gd name="connsiteX1520" fmla="*/ 123577 w 1478629"/>
                <a:gd name="connsiteY1520" fmla="*/ 346470 h 1302505"/>
                <a:gd name="connsiteX1521" fmla="*/ 124001 w 1478629"/>
                <a:gd name="connsiteY1521" fmla="*/ 346258 h 1302505"/>
                <a:gd name="connsiteX1522" fmla="*/ 124999 w 1478629"/>
                <a:gd name="connsiteY1522" fmla="*/ 345411 h 1302505"/>
                <a:gd name="connsiteX1523" fmla="*/ 123002 w 1478629"/>
                <a:gd name="connsiteY1523" fmla="*/ 344957 h 1302505"/>
                <a:gd name="connsiteX1524" fmla="*/ 121520 w 1478629"/>
                <a:gd name="connsiteY1524" fmla="*/ 345653 h 1302505"/>
                <a:gd name="connsiteX1525" fmla="*/ 118707 w 1478629"/>
                <a:gd name="connsiteY1525" fmla="*/ 348255 h 1302505"/>
                <a:gd name="connsiteX1526" fmla="*/ 119221 w 1478629"/>
                <a:gd name="connsiteY1526" fmla="*/ 346591 h 1302505"/>
                <a:gd name="connsiteX1527" fmla="*/ 119070 w 1478629"/>
                <a:gd name="connsiteY1527" fmla="*/ 345199 h 1302505"/>
                <a:gd name="connsiteX1528" fmla="*/ 118404 w 1478629"/>
                <a:gd name="connsiteY1528" fmla="*/ 344140 h 1302505"/>
                <a:gd name="connsiteX1529" fmla="*/ 117406 w 1478629"/>
                <a:gd name="connsiteY1529" fmla="*/ 343535 h 1302505"/>
                <a:gd name="connsiteX1530" fmla="*/ 117406 w 1478629"/>
                <a:gd name="connsiteY1530" fmla="*/ 342507 h 1302505"/>
                <a:gd name="connsiteX1531" fmla="*/ 118102 w 1478629"/>
                <a:gd name="connsiteY1531" fmla="*/ 342507 h 1302505"/>
                <a:gd name="connsiteX1532" fmla="*/ 118102 w 1478629"/>
                <a:gd name="connsiteY1532" fmla="*/ 341630 h 1302505"/>
                <a:gd name="connsiteX1533" fmla="*/ 116922 w 1478629"/>
                <a:gd name="connsiteY1533" fmla="*/ 341206 h 1302505"/>
                <a:gd name="connsiteX1534" fmla="*/ 116801 w 1478629"/>
                <a:gd name="connsiteY1534" fmla="*/ 340480 h 1302505"/>
                <a:gd name="connsiteX1535" fmla="*/ 117164 w 1478629"/>
                <a:gd name="connsiteY1535" fmla="*/ 339482 h 1302505"/>
                <a:gd name="connsiteX1536" fmla="*/ 117406 w 1478629"/>
                <a:gd name="connsiteY1536" fmla="*/ 338151 h 1302505"/>
                <a:gd name="connsiteX1537" fmla="*/ 116770 w 1478629"/>
                <a:gd name="connsiteY1537" fmla="*/ 337697 h 1302505"/>
                <a:gd name="connsiteX1538" fmla="*/ 113201 w 1478629"/>
                <a:gd name="connsiteY1538" fmla="*/ 338665 h 1302505"/>
                <a:gd name="connsiteX1539" fmla="*/ 111053 w 1478629"/>
                <a:gd name="connsiteY1539" fmla="*/ 339875 h 1302505"/>
                <a:gd name="connsiteX1540" fmla="*/ 109813 w 1478629"/>
                <a:gd name="connsiteY1540" fmla="*/ 340298 h 1302505"/>
                <a:gd name="connsiteX1541" fmla="*/ 108421 w 1478629"/>
                <a:gd name="connsiteY1541" fmla="*/ 340571 h 1302505"/>
                <a:gd name="connsiteX1542" fmla="*/ 108814 w 1478629"/>
                <a:gd name="connsiteY1542" fmla="*/ 341841 h 1302505"/>
                <a:gd name="connsiteX1543" fmla="*/ 108754 w 1478629"/>
                <a:gd name="connsiteY1543" fmla="*/ 342870 h 1302505"/>
                <a:gd name="connsiteX1544" fmla="*/ 108330 w 1478629"/>
                <a:gd name="connsiteY1544" fmla="*/ 343717 h 1302505"/>
                <a:gd name="connsiteX1545" fmla="*/ 107665 w 1478629"/>
                <a:gd name="connsiteY1545" fmla="*/ 344383 h 1302505"/>
                <a:gd name="connsiteX1546" fmla="*/ 107030 w 1478629"/>
                <a:gd name="connsiteY1546" fmla="*/ 344383 h 1302505"/>
                <a:gd name="connsiteX1547" fmla="*/ 106606 w 1478629"/>
                <a:gd name="connsiteY1547" fmla="*/ 343354 h 1302505"/>
                <a:gd name="connsiteX1548" fmla="*/ 106122 w 1478629"/>
                <a:gd name="connsiteY1548" fmla="*/ 342719 h 1302505"/>
                <a:gd name="connsiteX1549" fmla="*/ 105547 w 1478629"/>
                <a:gd name="connsiteY1549" fmla="*/ 342719 h 1302505"/>
                <a:gd name="connsiteX1550" fmla="*/ 104942 w 1478629"/>
                <a:gd name="connsiteY1550" fmla="*/ 343535 h 1302505"/>
                <a:gd name="connsiteX1551" fmla="*/ 103127 w 1478629"/>
                <a:gd name="connsiteY1551" fmla="*/ 342567 h 1302505"/>
                <a:gd name="connsiteX1552" fmla="*/ 100828 w 1478629"/>
                <a:gd name="connsiteY1552" fmla="*/ 342416 h 1302505"/>
                <a:gd name="connsiteX1553" fmla="*/ 98499 w 1478629"/>
                <a:gd name="connsiteY1553" fmla="*/ 342809 h 1302505"/>
                <a:gd name="connsiteX1554" fmla="*/ 96563 w 1478629"/>
                <a:gd name="connsiteY1554" fmla="*/ 343535 h 1302505"/>
                <a:gd name="connsiteX1555" fmla="*/ 94899 w 1478629"/>
                <a:gd name="connsiteY1555" fmla="*/ 344655 h 1302505"/>
                <a:gd name="connsiteX1556" fmla="*/ 93174 w 1478629"/>
                <a:gd name="connsiteY1556" fmla="*/ 346318 h 1302505"/>
                <a:gd name="connsiteX1557" fmla="*/ 92660 w 1478629"/>
                <a:gd name="connsiteY1557" fmla="*/ 347740 h 1302505"/>
                <a:gd name="connsiteX1558" fmla="*/ 94596 w 1478629"/>
                <a:gd name="connsiteY1558" fmla="*/ 348255 h 1302505"/>
                <a:gd name="connsiteX1559" fmla="*/ 94596 w 1478629"/>
                <a:gd name="connsiteY1559" fmla="*/ 349283 h 1302505"/>
                <a:gd name="connsiteX1560" fmla="*/ 93235 w 1478629"/>
                <a:gd name="connsiteY1560" fmla="*/ 349283 h 1302505"/>
                <a:gd name="connsiteX1561" fmla="*/ 90966 w 1478629"/>
                <a:gd name="connsiteY1561" fmla="*/ 348466 h 1302505"/>
                <a:gd name="connsiteX1562" fmla="*/ 89726 w 1478629"/>
                <a:gd name="connsiteY1562" fmla="*/ 348255 h 1302505"/>
                <a:gd name="connsiteX1563" fmla="*/ 88667 w 1478629"/>
                <a:gd name="connsiteY1563" fmla="*/ 348527 h 1302505"/>
                <a:gd name="connsiteX1564" fmla="*/ 85612 w 1478629"/>
                <a:gd name="connsiteY1564" fmla="*/ 350251 h 1302505"/>
                <a:gd name="connsiteX1565" fmla="*/ 83252 w 1478629"/>
                <a:gd name="connsiteY1565" fmla="*/ 350493 h 1302505"/>
                <a:gd name="connsiteX1566" fmla="*/ 83978 w 1478629"/>
                <a:gd name="connsiteY1566" fmla="*/ 347408 h 1302505"/>
                <a:gd name="connsiteX1567" fmla="*/ 82133 w 1478629"/>
                <a:gd name="connsiteY1567" fmla="*/ 345411 h 1302505"/>
                <a:gd name="connsiteX1568" fmla="*/ 79531 w 1478629"/>
                <a:gd name="connsiteY1568" fmla="*/ 345290 h 1302505"/>
                <a:gd name="connsiteX1569" fmla="*/ 76808 w 1478629"/>
                <a:gd name="connsiteY1569" fmla="*/ 346288 h 1302505"/>
                <a:gd name="connsiteX1570" fmla="*/ 73995 w 1478629"/>
                <a:gd name="connsiteY1570" fmla="*/ 347801 h 1302505"/>
                <a:gd name="connsiteX1571" fmla="*/ 71121 w 1478629"/>
                <a:gd name="connsiteY1571" fmla="*/ 348285 h 1302505"/>
                <a:gd name="connsiteX1572" fmla="*/ 71121 w 1478629"/>
                <a:gd name="connsiteY1572" fmla="*/ 349314 h 1302505"/>
                <a:gd name="connsiteX1573" fmla="*/ 71726 w 1478629"/>
                <a:gd name="connsiteY1573" fmla="*/ 349495 h 1302505"/>
                <a:gd name="connsiteX1574" fmla="*/ 73118 w 1478629"/>
                <a:gd name="connsiteY1574" fmla="*/ 350281 h 1302505"/>
                <a:gd name="connsiteX1575" fmla="*/ 70788 w 1478629"/>
                <a:gd name="connsiteY1575" fmla="*/ 350342 h 1302505"/>
                <a:gd name="connsiteX1576" fmla="*/ 67461 w 1478629"/>
                <a:gd name="connsiteY1576" fmla="*/ 351824 h 1302505"/>
                <a:gd name="connsiteX1577" fmla="*/ 65192 w 1478629"/>
                <a:gd name="connsiteY1577" fmla="*/ 352187 h 1302505"/>
                <a:gd name="connsiteX1578" fmla="*/ 57326 w 1478629"/>
                <a:gd name="connsiteY1578" fmla="*/ 352187 h 1302505"/>
                <a:gd name="connsiteX1579" fmla="*/ 57326 w 1478629"/>
                <a:gd name="connsiteY1579" fmla="*/ 353065 h 1302505"/>
                <a:gd name="connsiteX1580" fmla="*/ 58204 w 1478629"/>
                <a:gd name="connsiteY1580" fmla="*/ 353579 h 1302505"/>
                <a:gd name="connsiteX1581" fmla="*/ 58416 w 1478629"/>
                <a:gd name="connsiteY1581" fmla="*/ 354033 h 1302505"/>
                <a:gd name="connsiteX1582" fmla="*/ 58234 w 1478629"/>
                <a:gd name="connsiteY1582" fmla="*/ 354486 h 1302505"/>
                <a:gd name="connsiteX1583" fmla="*/ 57931 w 1478629"/>
                <a:gd name="connsiteY1583" fmla="*/ 355061 h 1302505"/>
                <a:gd name="connsiteX1584" fmla="*/ 60684 w 1478629"/>
                <a:gd name="connsiteY1584" fmla="*/ 356090 h 1302505"/>
                <a:gd name="connsiteX1585" fmla="*/ 58809 w 1478629"/>
                <a:gd name="connsiteY1585" fmla="*/ 356150 h 1302505"/>
                <a:gd name="connsiteX1586" fmla="*/ 54180 w 1478629"/>
                <a:gd name="connsiteY1586" fmla="*/ 355031 h 1302505"/>
                <a:gd name="connsiteX1587" fmla="*/ 52879 w 1478629"/>
                <a:gd name="connsiteY1587" fmla="*/ 355878 h 1302505"/>
                <a:gd name="connsiteX1588" fmla="*/ 53605 w 1478629"/>
                <a:gd name="connsiteY1588" fmla="*/ 357784 h 1302505"/>
                <a:gd name="connsiteX1589" fmla="*/ 55935 w 1478629"/>
                <a:gd name="connsiteY1589" fmla="*/ 360718 h 1302505"/>
                <a:gd name="connsiteX1590" fmla="*/ 54664 w 1478629"/>
                <a:gd name="connsiteY1590" fmla="*/ 361051 h 1302505"/>
                <a:gd name="connsiteX1591" fmla="*/ 51306 w 1478629"/>
                <a:gd name="connsiteY1591" fmla="*/ 359296 h 1302505"/>
                <a:gd name="connsiteX1592" fmla="*/ 49340 w 1478629"/>
                <a:gd name="connsiteY1592" fmla="*/ 358782 h 1302505"/>
                <a:gd name="connsiteX1593" fmla="*/ 46224 w 1478629"/>
                <a:gd name="connsiteY1593" fmla="*/ 359085 h 1302505"/>
                <a:gd name="connsiteX1594" fmla="*/ 44318 w 1478629"/>
                <a:gd name="connsiteY1594" fmla="*/ 359659 h 1302505"/>
                <a:gd name="connsiteX1595" fmla="*/ 42715 w 1478629"/>
                <a:gd name="connsiteY1595" fmla="*/ 360688 h 1302505"/>
                <a:gd name="connsiteX1596" fmla="*/ 43471 w 1478629"/>
                <a:gd name="connsiteY1596" fmla="*/ 361717 h 1302505"/>
                <a:gd name="connsiteX1597" fmla="*/ 42382 w 1478629"/>
                <a:gd name="connsiteY1597" fmla="*/ 361293 h 1302505"/>
                <a:gd name="connsiteX1598" fmla="*/ 41323 w 1478629"/>
                <a:gd name="connsiteY1598" fmla="*/ 360658 h 1302505"/>
                <a:gd name="connsiteX1599" fmla="*/ 39508 w 1478629"/>
                <a:gd name="connsiteY1599" fmla="*/ 363108 h 1302505"/>
                <a:gd name="connsiteX1600" fmla="*/ 37028 w 1478629"/>
                <a:gd name="connsiteY1600" fmla="*/ 367374 h 1302505"/>
                <a:gd name="connsiteX1601" fmla="*/ 35999 w 1478629"/>
                <a:gd name="connsiteY1601" fmla="*/ 371397 h 1302505"/>
                <a:gd name="connsiteX1602" fmla="*/ 38540 w 1478629"/>
                <a:gd name="connsiteY1602" fmla="*/ 373121 h 1302505"/>
                <a:gd name="connsiteX1603" fmla="*/ 38540 w 1478629"/>
                <a:gd name="connsiteY1603" fmla="*/ 373999 h 1302505"/>
                <a:gd name="connsiteX1604" fmla="*/ 36634 w 1478629"/>
                <a:gd name="connsiteY1604" fmla="*/ 374543 h 1302505"/>
                <a:gd name="connsiteX1605" fmla="*/ 35455 w 1478629"/>
                <a:gd name="connsiteY1605" fmla="*/ 376449 h 1302505"/>
                <a:gd name="connsiteX1606" fmla="*/ 34940 w 1478629"/>
                <a:gd name="connsiteY1606" fmla="*/ 379051 h 1302505"/>
                <a:gd name="connsiteX1607" fmla="*/ 35092 w 1478629"/>
                <a:gd name="connsiteY1607" fmla="*/ 381682 h 1302505"/>
                <a:gd name="connsiteX1608" fmla="*/ 36816 w 1478629"/>
                <a:gd name="connsiteY1608" fmla="*/ 385434 h 1302505"/>
                <a:gd name="connsiteX1609" fmla="*/ 36967 w 1478629"/>
                <a:gd name="connsiteY1609" fmla="*/ 387218 h 1302505"/>
                <a:gd name="connsiteX1610" fmla="*/ 35092 w 1478629"/>
                <a:gd name="connsiteY1610" fmla="*/ 387400 h 1302505"/>
                <a:gd name="connsiteX1611" fmla="*/ 35727 w 1478629"/>
                <a:gd name="connsiteY1611" fmla="*/ 390304 h 1302505"/>
                <a:gd name="connsiteX1612" fmla="*/ 36604 w 1478629"/>
                <a:gd name="connsiteY1612" fmla="*/ 391726 h 1302505"/>
                <a:gd name="connsiteX1613" fmla="*/ 37935 w 1478629"/>
                <a:gd name="connsiteY1613" fmla="*/ 392180 h 1302505"/>
                <a:gd name="connsiteX1614" fmla="*/ 43017 w 1478629"/>
                <a:gd name="connsiteY1614" fmla="*/ 392240 h 1302505"/>
                <a:gd name="connsiteX1615" fmla="*/ 43895 w 1478629"/>
                <a:gd name="connsiteY1615" fmla="*/ 391756 h 1302505"/>
                <a:gd name="connsiteX1616" fmla="*/ 44046 w 1478629"/>
                <a:gd name="connsiteY1616" fmla="*/ 390758 h 1302505"/>
                <a:gd name="connsiteX1617" fmla="*/ 44046 w 1478629"/>
                <a:gd name="connsiteY1617" fmla="*/ 389760 h 1302505"/>
                <a:gd name="connsiteX1618" fmla="*/ 44409 w 1478629"/>
                <a:gd name="connsiteY1618" fmla="*/ 389306 h 1302505"/>
                <a:gd name="connsiteX1619" fmla="*/ 46375 w 1478629"/>
                <a:gd name="connsiteY1619" fmla="*/ 389608 h 1302505"/>
                <a:gd name="connsiteX1620" fmla="*/ 49885 w 1478629"/>
                <a:gd name="connsiteY1620" fmla="*/ 390909 h 1302505"/>
                <a:gd name="connsiteX1621" fmla="*/ 51639 w 1478629"/>
                <a:gd name="connsiteY1621" fmla="*/ 391272 h 1302505"/>
                <a:gd name="connsiteX1622" fmla="*/ 53605 w 1478629"/>
                <a:gd name="connsiteY1622" fmla="*/ 391030 h 1302505"/>
                <a:gd name="connsiteX1623" fmla="*/ 56600 w 1478629"/>
                <a:gd name="connsiteY1623" fmla="*/ 389608 h 1302505"/>
                <a:gd name="connsiteX1624" fmla="*/ 61531 w 1478629"/>
                <a:gd name="connsiteY1624" fmla="*/ 388489 h 1302505"/>
                <a:gd name="connsiteX1625" fmla="*/ 67884 w 1478629"/>
                <a:gd name="connsiteY1625" fmla="*/ 384798 h 1302505"/>
                <a:gd name="connsiteX1626" fmla="*/ 71000 w 1478629"/>
                <a:gd name="connsiteY1626" fmla="*/ 383558 h 1302505"/>
                <a:gd name="connsiteX1627" fmla="*/ 77807 w 1478629"/>
                <a:gd name="connsiteY1627" fmla="*/ 382530 h 1302505"/>
                <a:gd name="connsiteX1628" fmla="*/ 79803 w 1478629"/>
                <a:gd name="connsiteY1628" fmla="*/ 381834 h 1302505"/>
                <a:gd name="connsiteX1629" fmla="*/ 82949 w 1478629"/>
                <a:gd name="connsiteY1629" fmla="*/ 380170 h 1302505"/>
                <a:gd name="connsiteX1630" fmla="*/ 84734 w 1478629"/>
                <a:gd name="connsiteY1630" fmla="*/ 379686 h 1302505"/>
                <a:gd name="connsiteX1631" fmla="*/ 75114 w 1478629"/>
                <a:gd name="connsiteY1631" fmla="*/ 384950 h 1302505"/>
                <a:gd name="connsiteX1632" fmla="*/ 74025 w 1478629"/>
                <a:gd name="connsiteY1632" fmla="*/ 385766 h 1302505"/>
                <a:gd name="connsiteX1633" fmla="*/ 68278 w 1478629"/>
                <a:gd name="connsiteY1633" fmla="*/ 392180 h 1302505"/>
                <a:gd name="connsiteX1634" fmla="*/ 68278 w 1478629"/>
                <a:gd name="connsiteY1634" fmla="*/ 393027 h 1302505"/>
                <a:gd name="connsiteX1635" fmla="*/ 69669 w 1478629"/>
                <a:gd name="connsiteY1635" fmla="*/ 392906 h 1302505"/>
                <a:gd name="connsiteX1636" fmla="*/ 71030 w 1478629"/>
                <a:gd name="connsiteY1636" fmla="*/ 392573 h 1302505"/>
                <a:gd name="connsiteX1637" fmla="*/ 72180 w 1478629"/>
                <a:gd name="connsiteY1637" fmla="*/ 391998 h 1302505"/>
                <a:gd name="connsiteX1638" fmla="*/ 73027 w 1478629"/>
                <a:gd name="connsiteY1638" fmla="*/ 391212 h 1302505"/>
                <a:gd name="connsiteX1639" fmla="*/ 73783 w 1478629"/>
                <a:gd name="connsiteY1639" fmla="*/ 392180 h 1302505"/>
                <a:gd name="connsiteX1640" fmla="*/ 73420 w 1478629"/>
                <a:gd name="connsiteY1640" fmla="*/ 392452 h 1302505"/>
                <a:gd name="connsiteX1641" fmla="*/ 73329 w 1478629"/>
                <a:gd name="connsiteY1641" fmla="*/ 392512 h 1302505"/>
                <a:gd name="connsiteX1642" fmla="*/ 73057 w 1478629"/>
                <a:gd name="connsiteY1642" fmla="*/ 393027 h 1302505"/>
                <a:gd name="connsiteX1643" fmla="*/ 75326 w 1478629"/>
                <a:gd name="connsiteY1643" fmla="*/ 392664 h 1302505"/>
                <a:gd name="connsiteX1644" fmla="*/ 78502 w 1478629"/>
                <a:gd name="connsiteY1644" fmla="*/ 390637 h 1302505"/>
                <a:gd name="connsiteX1645" fmla="*/ 80015 w 1478629"/>
                <a:gd name="connsiteY1645" fmla="*/ 391212 h 1302505"/>
                <a:gd name="connsiteX1646" fmla="*/ 80378 w 1478629"/>
                <a:gd name="connsiteY1646" fmla="*/ 390637 h 1302505"/>
                <a:gd name="connsiteX1647" fmla="*/ 81013 w 1478629"/>
                <a:gd name="connsiteY1647" fmla="*/ 389911 h 1302505"/>
                <a:gd name="connsiteX1648" fmla="*/ 81316 w 1478629"/>
                <a:gd name="connsiteY1648" fmla="*/ 389245 h 1302505"/>
                <a:gd name="connsiteX1649" fmla="*/ 82072 w 1478629"/>
                <a:gd name="connsiteY1649" fmla="*/ 389245 h 1302505"/>
                <a:gd name="connsiteX1650" fmla="*/ 82072 w 1478629"/>
                <a:gd name="connsiteY1650" fmla="*/ 390274 h 1302505"/>
                <a:gd name="connsiteX1651" fmla="*/ 81316 w 1478629"/>
                <a:gd name="connsiteY1651" fmla="*/ 390274 h 1302505"/>
                <a:gd name="connsiteX1652" fmla="*/ 81316 w 1478629"/>
                <a:gd name="connsiteY1652" fmla="*/ 391212 h 1302505"/>
                <a:gd name="connsiteX1653" fmla="*/ 82889 w 1478629"/>
                <a:gd name="connsiteY1653" fmla="*/ 390788 h 1302505"/>
                <a:gd name="connsiteX1654" fmla="*/ 85188 w 1478629"/>
                <a:gd name="connsiteY1654" fmla="*/ 389276 h 1302505"/>
                <a:gd name="connsiteX1655" fmla="*/ 86882 w 1478629"/>
                <a:gd name="connsiteY1655" fmla="*/ 389276 h 1302505"/>
                <a:gd name="connsiteX1656" fmla="*/ 84946 w 1478629"/>
                <a:gd name="connsiteY1656" fmla="*/ 391212 h 1302505"/>
                <a:gd name="connsiteX1657" fmla="*/ 83948 w 1478629"/>
                <a:gd name="connsiteY1657" fmla="*/ 391877 h 1302505"/>
                <a:gd name="connsiteX1658" fmla="*/ 83494 w 1478629"/>
                <a:gd name="connsiteY1658" fmla="*/ 392452 h 1302505"/>
                <a:gd name="connsiteX1659" fmla="*/ 83433 w 1478629"/>
                <a:gd name="connsiteY1659" fmla="*/ 393027 h 1302505"/>
                <a:gd name="connsiteX1660" fmla="*/ 82586 w 1478629"/>
                <a:gd name="connsiteY1660" fmla="*/ 393359 h 1302505"/>
                <a:gd name="connsiteX1661" fmla="*/ 82163 w 1478629"/>
                <a:gd name="connsiteY1661" fmla="*/ 393692 h 1302505"/>
                <a:gd name="connsiteX1662" fmla="*/ 81316 w 1478629"/>
                <a:gd name="connsiteY1662" fmla="*/ 394963 h 1302505"/>
                <a:gd name="connsiteX1663" fmla="*/ 85612 w 1478629"/>
                <a:gd name="connsiteY1663" fmla="*/ 394691 h 1302505"/>
                <a:gd name="connsiteX1664" fmla="*/ 86247 w 1478629"/>
                <a:gd name="connsiteY1664" fmla="*/ 394539 h 1302505"/>
                <a:gd name="connsiteX1665" fmla="*/ 86791 w 1478629"/>
                <a:gd name="connsiteY1665" fmla="*/ 395961 h 1302505"/>
                <a:gd name="connsiteX1666" fmla="*/ 88032 w 1478629"/>
                <a:gd name="connsiteY1666" fmla="*/ 396415 h 1302505"/>
                <a:gd name="connsiteX1667" fmla="*/ 89423 w 1478629"/>
                <a:gd name="connsiteY1667" fmla="*/ 396052 h 1302505"/>
                <a:gd name="connsiteX1668" fmla="*/ 90361 w 1478629"/>
                <a:gd name="connsiteY1668" fmla="*/ 394963 h 1302505"/>
                <a:gd name="connsiteX1669" fmla="*/ 90785 w 1478629"/>
                <a:gd name="connsiteY1669" fmla="*/ 396627 h 1302505"/>
                <a:gd name="connsiteX1670" fmla="*/ 91964 w 1478629"/>
                <a:gd name="connsiteY1670" fmla="*/ 397141 h 1302505"/>
                <a:gd name="connsiteX1671" fmla="*/ 95111 w 1478629"/>
                <a:gd name="connsiteY1671" fmla="*/ 396929 h 1302505"/>
                <a:gd name="connsiteX1672" fmla="*/ 95111 w 1478629"/>
                <a:gd name="connsiteY1672" fmla="*/ 397958 h 1302505"/>
                <a:gd name="connsiteX1673" fmla="*/ 86882 w 1478629"/>
                <a:gd name="connsiteY1673" fmla="*/ 399591 h 1302505"/>
                <a:gd name="connsiteX1674" fmla="*/ 84825 w 1478629"/>
                <a:gd name="connsiteY1674" fmla="*/ 398835 h 1302505"/>
                <a:gd name="connsiteX1675" fmla="*/ 86307 w 1478629"/>
                <a:gd name="connsiteY1675" fmla="*/ 398835 h 1302505"/>
                <a:gd name="connsiteX1676" fmla="*/ 86943 w 1478629"/>
                <a:gd name="connsiteY1676" fmla="*/ 398563 h 1302505"/>
                <a:gd name="connsiteX1677" fmla="*/ 87578 w 1478629"/>
                <a:gd name="connsiteY1677" fmla="*/ 397988 h 1302505"/>
                <a:gd name="connsiteX1678" fmla="*/ 80832 w 1478629"/>
                <a:gd name="connsiteY1678" fmla="*/ 398412 h 1302505"/>
                <a:gd name="connsiteX1679" fmla="*/ 76082 w 1478629"/>
                <a:gd name="connsiteY1679" fmla="*/ 399682 h 1302505"/>
                <a:gd name="connsiteX1680" fmla="*/ 74872 w 1478629"/>
                <a:gd name="connsiteY1680" fmla="*/ 399773 h 1302505"/>
                <a:gd name="connsiteX1681" fmla="*/ 73572 w 1478629"/>
                <a:gd name="connsiteY1681" fmla="*/ 399561 h 1302505"/>
                <a:gd name="connsiteX1682" fmla="*/ 72785 w 1478629"/>
                <a:gd name="connsiteY1682" fmla="*/ 399047 h 1302505"/>
                <a:gd name="connsiteX1683" fmla="*/ 72119 w 1478629"/>
                <a:gd name="connsiteY1683" fmla="*/ 398442 h 1302505"/>
                <a:gd name="connsiteX1684" fmla="*/ 71091 w 1478629"/>
                <a:gd name="connsiteY1684" fmla="*/ 397958 h 1302505"/>
                <a:gd name="connsiteX1685" fmla="*/ 62136 w 1478629"/>
                <a:gd name="connsiteY1685" fmla="*/ 398532 h 1302505"/>
                <a:gd name="connsiteX1686" fmla="*/ 59353 w 1478629"/>
                <a:gd name="connsiteY1686" fmla="*/ 397323 h 1302505"/>
                <a:gd name="connsiteX1687" fmla="*/ 60684 w 1478629"/>
                <a:gd name="connsiteY1687" fmla="*/ 392180 h 1302505"/>
                <a:gd name="connsiteX1688" fmla="*/ 59021 w 1478629"/>
                <a:gd name="connsiteY1688" fmla="*/ 391454 h 1302505"/>
                <a:gd name="connsiteX1689" fmla="*/ 57720 w 1478629"/>
                <a:gd name="connsiteY1689" fmla="*/ 392603 h 1302505"/>
                <a:gd name="connsiteX1690" fmla="*/ 55935 w 1478629"/>
                <a:gd name="connsiteY1690" fmla="*/ 396929 h 1302505"/>
                <a:gd name="connsiteX1691" fmla="*/ 56116 w 1478629"/>
                <a:gd name="connsiteY1691" fmla="*/ 397443 h 1302505"/>
                <a:gd name="connsiteX1692" fmla="*/ 56389 w 1478629"/>
                <a:gd name="connsiteY1692" fmla="*/ 398412 h 1302505"/>
                <a:gd name="connsiteX1693" fmla="*/ 56147 w 1478629"/>
                <a:gd name="connsiteY1693" fmla="*/ 399349 h 1302505"/>
                <a:gd name="connsiteX1694" fmla="*/ 54876 w 1478629"/>
                <a:gd name="connsiteY1694" fmla="*/ 399743 h 1302505"/>
                <a:gd name="connsiteX1695" fmla="*/ 53787 w 1478629"/>
                <a:gd name="connsiteY1695" fmla="*/ 399561 h 1302505"/>
                <a:gd name="connsiteX1696" fmla="*/ 52940 w 1478629"/>
                <a:gd name="connsiteY1696" fmla="*/ 399258 h 1302505"/>
                <a:gd name="connsiteX1697" fmla="*/ 52123 w 1478629"/>
                <a:gd name="connsiteY1697" fmla="*/ 399198 h 1302505"/>
                <a:gd name="connsiteX1698" fmla="*/ 51004 w 1478629"/>
                <a:gd name="connsiteY1698" fmla="*/ 399743 h 1302505"/>
                <a:gd name="connsiteX1699" fmla="*/ 51276 w 1478629"/>
                <a:gd name="connsiteY1699" fmla="*/ 401134 h 1302505"/>
                <a:gd name="connsiteX1700" fmla="*/ 51004 w 1478629"/>
                <a:gd name="connsiteY1700" fmla="*/ 402586 h 1302505"/>
                <a:gd name="connsiteX1701" fmla="*/ 57054 w 1478629"/>
                <a:gd name="connsiteY1701" fmla="*/ 402828 h 1302505"/>
                <a:gd name="connsiteX1702" fmla="*/ 58294 w 1478629"/>
                <a:gd name="connsiteY1702" fmla="*/ 403131 h 1302505"/>
                <a:gd name="connsiteX1703" fmla="*/ 58990 w 1478629"/>
                <a:gd name="connsiteY1703" fmla="*/ 404522 h 1302505"/>
                <a:gd name="connsiteX1704" fmla="*/ 58627 w 1478629"/>
                <a:gd name="connsiteY1704" fmla="*/ 405067 h 1302505"/>
                <a:gd name="connsiteX1705" fmla="*/ 57841 w 1478629"/>
                <a:gd name="connsiteY1705" fmla="*/ 405672 h 1302505"/>
                <a:gd name="connsiteX1706" fmla="*/ 57326 w 1478629"/>
                <a:gd name="connsiteY1706" fmla="*/ 407305 h 1302505"/>
                <a:gd name="connsiteX1707" fmla="*/ 57568 w 1478629"/>
                <a:gd name="connsiteY1707" fmla="*/ 408304 h 1302505"/>
                <a:gd name="connsiteX1708" fmla="*/ 58173 w 1478629"/>
                <a:gd name="connsiteY1708" fmla="*/ 409483 h 1302505"/>
                <a:gd name="connsiteX1709" fmla="*/ 59323 w 1478629"/>
                <a:gd name="connsiteY1709" fmla="*/ 411057 h 1302505"/>
                <a:gd name="connsiteX1710" fmla="*/ 58839 w 1478629"/>
                <a:gd name="connsiteY1710" fmla="*/ 411994 h 1302505"/>
                <a:gd name="connsiteX1711" fmla="*/ 57962 w 1478629"/>
                <a:gd name="connsiteY1711" fmla="*/ 414929 h 1302505"/>
                <a:gd name="connsiteX1712" fmla="*/ 60563 w 1478629"/>
                <a:gd name="connsiteY1712" fmla="*/ 414112 h 1302505"/>
                <a:gd name="connsiteX1713" fmla="*/ 62348 w 1478629"/>
                <a:gd name="connsiteY1713" fmla="*/ 411480 h 1302505"/>
                <a:gd name="connsiteX1714" fmla="*/ 63740 w 1478629"/>
                <a:gd name="connsiteY1714" fmla="*/ 408334 h 1302505"/>
                <a:gd name="connsiteX1715" fmla="*/ 65222 w 1478629"/>
                <a:gd name="connsiteY1715" fmla="*/ 405884 h 1302505"/>
                <a:gd name="connsiteX1716" fmla="*/ 68035 w 1478629"/>
                <a:gd name="connsiteY1716" fmla="*/ 405006 h 1302505"/>
                <a:gd name="connsiteX1717" fmla="*/ 73390 w 1478629"/>
                <a:gd name="connsiteY1717" fmla="*/ 408183 h 1302505"/>
                <a:gd name="connsiteX1718" fmla="*/ 75901 w 1478629"/>
                <a:gd name="connsiteY1718" fmla="*/ 407305 h 1302505"/>
                <a:gd name="connsiteX1719" fmla="*/ 76143 w 1478629"/>
                <a:gd name="connsiteY1719" fmla="*/ 408183 h 1302505"/>
                <a:gd name="connsiteX1720" fmla="*/ 76597 w 1478629"/>
                <a:gd name="connsiteY1720" fmla="*/ 409000 h 1302505"/>
                <a:gd name="connsiteX1721" fmla="*/ 77232 w 1478629"/>
                <a:gd name="connsiteY1721" fmla="*/ 409665 h 1302505"/>
                <a:gd name="connsiteX1722" fmla="*/ 78018 w 1478629"/>
                <a:gd name="connsiteY1722" fmla="*/ 410119 h 1302505"/>
                <a:gd name="connsiteX1723" fmla="*/ 82284 w 1478629"/>
                <a:gd name="connsiteY1723" fmla="*/ 410996 h 1302505"/>
                <a:gd name="connsiteX1724" fmla="*/ 83645 w 1478629"/>
                <a:gd name="connsiteY1724" fmla="*/ 412267 h 1302505"/>
                <a:gd name="connsiteX1725" fmla="*/ 84160 w 1478629"/>
                <a:gd name="connsiteY1725" fmla="*/ 415352 h 1302505"/>
                <a:gd name="connsiteX1726" fmla="*/ 84462 w 1478629"/>
                <a:gd name="connsiteY1726" fmla="*/ 416320 h 1302505"/>
                <a:gd name="connsiteX1727" fmla="*/ 85884 w 1478629"/>
                <a:gd name="connsiteY1727" fmla="*/ 417984 h 1302505"/>
                <a:gd name="connsiteX1728" fmla="*/ 86338 w 1478629"/>
                <a:gd name="connsiteY1728" fmla="*/ 419557 h 1302505"/>
                <a:gd name="connsiteX1729" fmla="*/ 85369 w 1478629"/>
                <a:gd name="connsiteY1729" fmla="*/ 423460 h 1302505"/>
                <a:gd name="connsiteX1730" fmla="*/ 84916 w 1478629"/>
                <a:gd name="connsiteY1730" fmla="*/ 424428 h 1302505"/>
                <a:gd name="connsiteX1731" fmla="*/ 83433 w 1478629"/>
                <a:gd name="connsiteY1731" fmla="*/ 425002 h 1302505"/>
                <a:gd name="connsiteX1732" fmla="*/ 77686 w 1478629"/>
                <a:gd name="connsiteY1732" fmla="*/ 423399 h 1302505"/>
                <a:gd name="connsiteX1733" fmla="*/ 45286 w 1478629"/>
                <a:gd name="connsiteY1733" fmla="*/ 430085 h 1302505"/>
                <a:gd name="connsiteX1734" fmla="*/ 44712 w 1478629"/>
                <a:gd name="connsiteY1734" fmla="*/ 429873 h 1302505"/>
                <a:gd name="connsiteX1735" fmla="*/ 43925 w 1478629"/>
                <a:gd name="connsiteY1735" fmla="*/ 429026 h 1302505"/>
                <a:gd name="connsiteX1736" fmla="*/ 43592 w 1478629"/>
                <a:gd name="connsiteY1736" fmla="*/ 429026 h 1302505"/>
                <a:gd name="connsiteX1737" fmla="*/ 43260 w 1478629"/>
                <a:gd name="connsiteY1737" fmla="*/ 429540 h 1302505"/>
                <a:gd name="connsiteX1738" fmla="*/ 43108 w 1478629"/>
                <a:gd name="connsiteY1738" fmla="*/ 430054 h 1302505"/>
                <a:gd name="connsiteX1739" fmla="*/ 43048 w 1478629"/>
                <a:gd name="connsiteY1739" fmla="*/ 430539 h 1302505"/>
                <a:gd name="connsiteX1740" fmla="*/ 42443 w 1478629"/>
                <a:gd name="connsiteY1740" fmla="*/ 431537 h 1302505"/>
                <a:gd name="connsiteX1741" fmla="*/ 42019 w 1478629"/>
                <a:gd name="connsiteY1741" fmla="*/ 432414 h 1302505"/>
                <a:gd name="connsiteX1742" fmla="*/ 41505 w 1478629"/>
                <a:gd name="connsiteY1742" fmla="*/ 433261 h 1302505"/>
                <a:gd name="connsiteX1743" fmla="*/ 40839 w 1478629"/>
                <a:gd name="connsiteY1743" fmla="*/ 433745 h 1302505"/>
                <a:gd name="connsiteX1744" fmla="*/ 48402 w 1478629"/>
                <a:gd name="connsiteY1744" fmla="*/ 435712 h 1302505"/>
                <a:gd name="connsiteX1745" fmla="*/ 51790 w 1478629"/>
                <a:gd name="connsiteY1745" fmla="*/ 435530 h 1302505"/>
                <a:gd name="connsiteX1746" fmla="*/ 53545 w 1478629"/>
                <a:gd name="connsiteY1746" fmla="*/ 435802 h 1302505"/>
                <a:gd name="connsiteX1747" fmla="*/ 56540 w 1478629"/>
                <a:gd name="connsiteY1747" fmla="*/ 438525 h 1302505"/>
                <a:gd name="connsiteX1748" fmla="*/ 57841 w 1478629"/>
                <a:gd name="connsiteY1748" fmla="*/ 437890 h 1302505"/>
                <a:gd name="connsiteX1749" fmla="*/ 59081 w 1478629"/>
                <a:gd name="connsiteY1749" fmla="*/ 436498 h 1302505"/>
                <a:gd name="connsiteX1750" fmla="*/ 60412 w 1478629"/>
                <a:gd name="connsiteY1750" fmla="*/ 435742 h 1302505"/>
                <a:gd name="connsiteX1751" fmla="*/ 61410 w 1478629"/>
                <a:gd name="connsiteY1751" fmla="*/ 436226 h 1302505"/>
                <a:gd name="connsiteX1752" fmla="*/ 70335 w 1478629"/>
                <a:gd name="connsiteY1752" fmla="*/ 442700 h 1302505"/>
                <a:gd name="connsiteX1753" fmla="*/ 75144 w 1478629"/>
                <a:gd name="connsiteY1753" fmla="*/ 448447 h 1302505"/>
                <a:gd name="connsiteX1754" fmla="*/ 76657 w 1478629"/>
                <a:gd name="connsiteY1754" fmla="*/ 450958 h 1302505"/>
                <a:gd name="connsiteX1755" fmla="*/ 77655 w 1478629"/>
                <a:gd name="connsiteY1755" fmla="*/ 454709 h 1302505"/>
                <a:gd name="connsiteX1756" fmla="*/ 79138 w 1478629"/>
                <a:gd name="connsiteY1756" fmla="*/ 458249 h 1302505"/>
                <a:gd name="connsiteX1757" fmla="*/ 79501 w 1478629"/>
                <a:gd name="connsiteY1757" fmla="*/ 460699 h 1302505"/>
                <a:gd name="connsiteX1758" fmla="*/ 79138 w 1478629"/>
                <a:gd name="connsiteY1758" fmla="*/ 461637 h 1302505"/>
                <a:gd name="connsiteX1759" fmla="*/ 78291 w 1478629"/>
                <a:gd name="connsiteY1759" fmla="*/ 461788 h 1302505"/>
                <a:gd name="connsiteX1760" fmla="*/ 77353 w 1478629"/>
                <a:gd name="connsiteY1760" fmla="*/ 461788 h 1302505"/>
                <a:gd name="connsiteX1761" fmla="*/ 76718 w 1478629"/>
                <a:gd name="connsiteY1761" fmla="*/ 462151 h 1302505"/>
                <a:gd name="connsiteX1762" fmla="*/ 76536 w 1478629"/>
                <a:gd name="connsiteY1762" fmla="*/ 462938 h 1302505"/>
                <a:gd name="connsiteX1763" fmla="*/ 76748 w 1478629"/>
                <a:gd name="connsiteY1763" fmla="*/ 464844 h 1302505"/>
                <a:gd name="connsiteX1764" fmla="*/ 76687 w 1478629"/>
                <a:gd name="connsiteY1764" fmla="*/ 465902 h 1302505"/>
                <a:gd name="connsiteX1765" fmla="*/ 91450 w 1478629"/>
                <a:gd name="connsiteY1765" fmla="*/ 466538 h 1302505"/>
                <a:gd name="connsiteX1766" fmla="*/ 93931 w 1478629"/>
                <a:gd name="connsiteY1766" fmla="*/ 465902 h 1302505"/>
                <a:gd name="connsiteX1767" fmla="*/ 95474 w 1478629"/>
                <a:gd name="connsiteY1767" fmla="*/ 465055 h 1302505"/>
                <a:gd name="connsiteX1768" fmla="*/ 98741 w 1478629"/>
                <a:gd name="connsiteY1768" fmla="*/ 462151 h 1302505"/>
                <a:gd name="connsiteX1769" fmla="*/ 98741 w 1478629"/>
                <a:gd name="connsiteY1769" fmla="*/ 461123 h 1302505"/>
                <a:gd name="connsiteX1770" fmla="*/ 95988 w 1478629"/>
                <a:gd name="connsiteY1770" fmla="*/ 461123 h 1302505"/>
                <a:gd name="connsiteX1771" fmla="*/ 95988 w 1478629"/>
                <a:gd name="connsiteY1771" fmla="*/ 460276 h 1302505"/>
                <a:gd name="connsiteX1772" fmla="*/ 96320 w 1478629"/>
                <a:gd name="connsiteY1772" fmla="*/ 459852 h 1302505"/>
                <a:gd name="connsiteX1773" fmla="*/ 96593 w 1478629"/>
                <a:gd name="connsiteY1773" fmla="*/ 459338 h 1302505"/>
                <a:gd name="connsiteX1774" fmla="*/ 95141 w 1478629"/>
                <a:gd name="connsiteY1774" fmla="*/ 458370 h 1302505"/>
                <a:gd name="connsiteX1775" fmla="*/ 95413 w 1478629"/>
                <a:gd name="connsiteY1775" fmla="*/ 456676 h 1302505"/>
                <a:gd name="connsiteX1776" fmla="*/ 96835 w 1478629"/>
                <a:gd name="connsiteY1776" fmla="*/ 456313 h 1302505"/>
                <a:gd name="connsiteX1777" fmla="*/ 98741 w 1478629"/>
                <a:gd name="connsiteY1777" fmla="*/ 459338 h 1302505"/>
                <a:gd name="connsiteX1778" fmla="*/ 99769 w 1478629"/>
                <a:gd name="connsiteY1778" fmla="*/ 458430 h 1302505"/>
                <a:gd name="connsiteX1779" fmla="*/ 100677 w 1478629"/>
                <a:gd name="connsiteY1779" fmla="*/ 457825 h 1302505"/>
                <a:gd name="connsiteX1780" fmla="*/ 101675 w 1478629"/>
                <a:gd name="connsiteY1780" fmla="*/ 457492 h 1302505"/>
                <a:gd name="connsiteX1781" fmla="*/ 102946 w 1478629"/>
                <a:gd name="connsiteY1781" fmla="*/ 457402 h 1302505"/>
                <a:gd name="connsiteX1782" fmla="*/ 102946 w 1478629"/>
                <a:gd name="connsiteY1782" fmla="*/ 456555 h 1302505"/>
                <a:gd name="connsiteX1783" fmla="*/ 101736 w 1478629"/>
                <a:gd name="connsiteY1783" fmla="*/ 455496 h 1302505"/>
                <a:gd name="connsiteX1784" fmla="*/ 100374 w 1478629"/>
                <a:gd name="connsiteY1784" fmla="*/ 453620 h 1302505"/>
                <a:gd name="connsiteX1785" fmla="*/ 99799 w 1478629"/>
                <a:gd name="connsiteY1785" fmla="*/ 451533 h 1302505"/>
                <a:gd name="connsiteX1786" fmla="*/ 100858 w 1478629"/>
                <a:gd name="connsiteY1786" fmla="*/ 449900 h 1302505"/>
                <a:gd name="connsiteX1787" fmla="*/ 101161 w 1478629"/>
                <a:gd name="connsiteY1787" fmla="*/ 452138 h 1302505"/>
                <a:gd name="connsiteX1788" fmla="*/ 102159 w 1478629"/>
                <a:gd name="connsiteY1788" fmla="*/ 454286 h 1302505"/>
                <a:gd name="connsiteX1789" fmla="*/ 103430 w 1478629"/>
                <a:gd name="connsiteY1789" fmla="*/ 455920 h 1302505"/>
                <a:gd name="connsiteX1790" fmla="*/ 104670 w 1478629"/>
                <a:gd name="connsiteY1790" fmla="*/ 456555 h 1302505"/>
                <a:gd name="connsiteX1791" fmla="*/ 106303 w 1478629"/>
                <a:gd name="connsiteY1791" fmla="*/ 456706 h 1302505"/>
                <a:gd name="connsiteX1792" fmla="*/ 107634 w 1478629"/>
                <a:gd name="connsiteY1792" fmla="*/ 457190 h 1302505"/>
                <a:gd name="connsiteX1793" fmla="*/ 110478 w 1478629"/>
                <a:gd name="connsiteY1793" fmla="*/ 459368 h 1302505"/>
                <a:gd name="connsiteX1794" fmla="*/ 110993 w 1478629"/>
                <a:gd name="connsiteY1794" fmla="*/ 458188 h 1302505"/>
                <a:gd name="connsiteX1795" fmla="*/ 111749 w 1478629"/>
                <a:gd name="connsiteY1795" fmla="*/ 457886 h 1302505"/>
                <a:gd name="connsiteX1796" fmla="*/ 112747 w 1478629"/>
                <a:gd name="connsiteY1796" fmla="*/ 457886 h 1302505"/>
                <a:gd name="connsiteX1797" fmla="*/ 113957 w 1478629"/>
                <a:gd name="connsiteY1797" fmla="*/ 457432 h 1302505"/>
                <a:gd name="connsiteX1798" fmla="*/ 113594 w 1478629"/>
                <a:gd name="connsiteY1798" fmla="*/ 458642 h 1302505"/>
                <a:gd name="connsiteX1799" fmla="*/ 113019 w 1478629"/>
                <a:gd name="connsiteY1799" fmla="*/ 459277 h 1302505"/>
                <a:gd name="connsiteX1800" fmla="*/ 112233 w 1478629"/>
                <a:gd name="connsiteY1800" fmla="*/ 459489 h 1302505"/>
                <a:gd name="connsiteX1801" fmla="*/ 111234 w 1478629"/>
                <a:gd name="connsiteY1801" fmla="*/ 459398 h 1302505"/>
                <a:gd name="connsiteX1802" fmla="*/ 113291 w 1478629"/>
                <a:gd name="connsiteY1802" fmla="*/ 459913 h 1302505"/>
                <a:gd name="connsiteX1803" fmla="*/ 115530 w 1478629"/>
                <a:gd name="connsiteY1803" fmla="*/ 457644 h 1302505"/>
                <a:gd name="connsiteX1804" fmla="*/ 116256 w 1478629"/>
                <a:gd name="connsiteY1804" fmla="*/ 455557 h 1302505"/>
                <a:gd name="connsiteX1805" fmla="*/ 115349 w 1478629"/>
                <a:gd name="connsiteY1805" fmla="*/ 452743 h 1302505"/>
                <a:gd name="connsiteX1806" fmla="*/ 118011 w 1478629"/>
                <a:gd name="connsiteY1806" fmla="*/ 453227 h 1302505"/>
                <a:gd name="connsiteX1807" fmla="*/ 120703 w 1478629"/>
                <a:gd name="connsiteY1807" fmla="*/ 454891 h 1302505"/>
                <a:gd name="connsiteX1808" fmla="*/ 122609 w 1478629"/>
                <a:gd name="connsiteY1808" fmla="*/ 456888 h 1302505"/>
                <a:gd name="connsiteX1809" fmla="*/ 122912 w 1478629"/>
                <a:gd name="connsiteY1809" fmla="*/ 458400 h 1302505"/>
                <a:gd name="connsiteX1810" fmla="*/ 124152 w 1478629"/>
                <a:gd name="connsiteY1810" fmla="*/ 459126 h 1302505"/>
                <a:gd name="connsiteX1811" fmla="*/ 124787 w 1478629"/>
                <a:gd name="connsiteY1811" fmla="*/ 459398 h 1302505"/>
                <a:gd name="connsiteX1812" fmla="*/ 125664 w 1478629"/>
                <a:gd name="connsiteY1812" fmla="*/ 459398 h 1302505"/>
                <a:gd name="connsiteX1813" fmla="*/ 125241 w 1478629"/>
                <a:gd name="connsiteY1813" fmla="*/ 461032 h 1302505"/>
                <a:gd name="connsiteX1814" fmla="*/ 125604 w 1478629"/>
                <a:gd name="connsiteY1814" fmla="*/ 461849 h 1302505"/>
                <a:gd name="connsiteX1815" fmla="*/ 126330 w 1478629"/>
                <a:gd name="connsiteY1815" fmla="*/ 462393 h 1302505"/>
                <a:gd name="connsiteX1816" fmla="*/ 127026 w 1478629"/>
                <a:gd name="connsiteY1816" fmla="*/ 463119 h 1302505"/>
                <a:gd name="connsiteX1817" fmla="*/ 128962 w 1478629"/>
                <a:gd name="connsiteY1817" fmla="*/ 466417 h 1302505"/>
                <a:gd name="connsiteX1818" fmla="*/ 129113 w 1478629"/>
                <a:gd name="connsiteY1818" fmla="*/ 466871 h 1302505"/>
                <a:gd name="connsiteX1819" fmla="*/ 130928 w 1478629"/>
                <a:gd name="connsiteY1819" fmla="*/ 467022 h 1302505"/>
                <a:gd name="connsiteX1820" fmla="*/ 133197 w 1478629"/>
                <a:gd name="connsiteY1820" fmla="*/ 466598 h 1302505"/>
                <a:gd name="connsiteX1821" fmla="*/ 135345 w 1478629"/>
                <a:gd name="connsiteY1821" fmla="*/ 466598 h 1302505"/>
                <a:gd name="connsiteX1822" fmla="*/ 136797 w 1478629"/>
                <a:gd name="connsiteY1822" fmla="*/ 467869 h 1302505"/>
                <a:gd name="connsiteX1823" fmla="*/ 142030 w 1478629"/>
                <a:gd name="connsiteY1823" fmla="*/ 465146 h 1302505"/>
                <a:gd name="connsiteX1824" fmla="*/ 142908 w 1478629"/>
                <a:gd name="connsiteY1824" fmla="*/ 465539 h 1302505"/>
                <a:gd name="connsiteX1825" fmla="*/ 143755 w 1478629"/>
                <a:gd name="connsiteY1825" fmla="*/ 467415 h 1302505"/>
                <a:gd name="connsiteX1826" fmla="*/ 145691 w 1478629"/>
                <a:gd name="connsiteY1826" fmla="*/ 468050 h 1302505"/>
                <a:gd name="connsiteX1827" fmla="*/ 149503 w 1478629"/>
                <a:gd name="connsiteY1827" fmla="*/ 467869 h 1302505"/>
                <a:gd name="connsiteX1828" fmla="*/ 149956 w 1478629"/>
                <a:gd name="connsiteY1828" fmla="*/ 468111 h 1302505"/>
                <a:gd name="connsiteX1829" fmla="*/ 151106 w 1478629"/>
                <a:gd name="connsiteY1829" fmla="*/ 469321 h 1302505"/>
                <a:gd name="connsiteX1830" fmla="*/ 151892 w 1478629"/>
                <a:gd name="connsiteY1830" fmla="*/ 469744 h 1302505"/>
                <a:gd name="connsiteX1831" fmla="*/ 152739 w 1478629"/>
                <a:gd name="connsiteY1831" fmla="*/ 469865 h 1302505"/>
                <a:gd name="connsiteX1832" fmla="*/ 155341 w 1478629"/>
                <a:gd name="connsiteY1832" fmla="*/ 469744 h 1302505"/>
                <a:gd name="connsiteX1833" fmla="*/ 158911 w 1478629"/>
                <a:gd name="connsiteY1833" fmla="*/ 470561 h 1302505"/>
                <a:gd name="connsiteX1834" fmla="*/ 160544 w 1478629"/>
                <a:gd name="connsiteY1834" fmla="*/ 470561 h 1302505"/>
                <a:gd name="connsiteX1835" fmla="*/ 161633 w 1478629"/>
                <a:gd name="connsiteY1835" fmla="*/ 469744 h 1302505"/>
                <a:gd name="connsiteX1836" fmla="*/ 162027 w 1478629"/>
                <a:gd name="connsiteY1836" fmla="*/ 470773 h 1302505"/>
                <a:gd name="connsiteX1837" fmla="*/ 162450 w 1478629"/>
                <a:gd name="connsiteY1837" fmla="*/ 471378 h 1302505"/>
                <a:gd name="connsiteX1838" fmla="*/ 163570 w 1478629"/>
                <a:gd name="connsiteY1838" fmla="*/ 472558 h 1302505"/>
                <a:gd name="connsiteX1839" fmla="*/ 165022 w 1478629"/>
                <a:gd name="connsiteY1839" fmla="*/ 475371 h 1302505"/>
                <a:gd name="connsiteX1840" fmla="*/ 168016 w 1478629"/>
                <a:gd name="connsiteY1840" fmla="*/ 478911 h 1302505"/>
                <a:gd name="connsiteX1841" fmla="*/ 168440 w 1478629"/>
                <a:gd name="connsiteY1841" fmla="*/ 479667 h 1302505"/>
                <a:gd name="connsiteX1842" fmla="*/ 169862 w 1478629"/>
                <a:gd name="connsiteY1842" fmla="*/ 480060 h 1302505"/>
                <a:gd name="connsiteX1843" fmla="*/ 178120 w 1478629"/>
                <a:gd name="connsiteY1843" fmla="*/ 478154 h 1302505"/>
                <a:gd name="connsiteX1844" fmla="*/ 178120 w 1478629"/>
                <a:gd name="connsiteY1844" fmla="*/ 477277 h 1302505"/>
                <a:gd name="connsiteX1845" fmla="*/ 177636 w 1478629"/>
                <a:gd name="connsiteY1845" fmla="*/ 476581 h 1302505"/>
                <a:gd name="connsiteX1846" fmla="*/ 177001 w 1478629"/>
                <a:gd name="connsiteY1846" fmla="*/ 476007 h 1302505"/>
                <a:gd name="connsiteX1847" fmla="*/ 176215 w 1478629"/>
                <a:gd name="connsiteY1847" fmla="*/ 475583 h 1302505"/>
                <a:gd name="connsiteX1848" fmla="*/ 178332 w 1478629"/>
                <a:gd name="connsiteY1848" fmla="*/ 475129 h 1302505"/>
                <a:gd name="connsiteX1849" fmla="*/ 181387 w 1478629"/>
                <a:gd name="connsiteY1849" fmla="*/ 473465 h 1302505"/>
                <a:gd name="connsiteX1850" fmla="*/ 184140 w 1478629"/>
                <a:gd name="connsiteY1850" fmla="*/ 471045 h 1302505"/>
                <a:gd name="connsiteX1851" fmla="*/ 186318 w 1478629"/>
                <a:gd name="connsiteY1851" fmla="*/ 468686 h 1302505"/>
                <a:gd name="connsiteX1852" fmla="*/ 186318 w 1478629"/>
                <a:gd name="connsiteY1852" fmla="*/ 469714 h 1302505"/>
                <a:gd name="connsiteX1853" fmla="*/ 185048 w 1478629"/>
                <a:gd name="connsiteY1853" fmla="*/ 470682 h 1302505"/>
                <a:gd name="connsiteX1854" fmla="*/ 184140 w 1478629"/>
                <a:gd name="connsiteY1854" fmla="*/ 472285 h 1302505"/>
                <a:gd name="connsiteX1855" fmla="*/ 182840 w 1478629"/>
                <a:gd name="connsiteY1855" fmla="*/ 475341 h 1302505"/>
                <a:gd name="connsiteX1856" fmla="*/ 182204 w 1478629"/>
                <a:gd name="connsiteY1856" fmla="*/ 475522 h 1302505"/>
                <a:gd name="connsiteX1857" fmla="*/ 180480 w 1478629"/>
                <a:gd name="connsiteY1857" fmla="*/ 475280 h 1302505"/>
                <a:gd name="connsiteX1858" fmla="*/ 180147 w 1478629"/>
                <a:gd name="connsiteY1858" fmla="*/ 475825 h 1302505"/>
                <a:gd name="connsiteX1859" fmla="*/ 180147 w 1478629"/>
                <a:gd name="connsiteY1859" fmla="*/ 477096 h 1302505"/>
                <a:gd name="connsiteX1860" fmla="*/ 180026 w 1478629"/>
                <a:gd name="connsiteY1860" fmla="*/ 477791 h 1302505"/>
                <a:gd name="connsiteX1861" fmla="*/ 179603 w 1478629"/>
                <a:gd name="connsiteY1861" fmla="*/ 478094 h 1302505"/>
                <a:gd name="connsiteX1862" fmla="*/ 178725 w 1478629"/>
                <a:gd name="connsiteY1862" fmla="*/ 478185 h 1302505"/>
                <a:gd name="connsiteX1863" fmla="*/ 178725 w 1478629"/>
                <a:gd name="connsiteY1863" fmla="*/ 479213 h 1302505"/>
                <a:gd name="connsiteX1864" fmla="*/ 182961 w 1478629"/>
                <a:gd name="connsiteY1864" fmla="*/ 479606 h 1302505"/>
                <a:gd name="connsiteX1865" fmla="*/ 184746 w 1478629"/>
                <a:gd name="connsiteY1865" fmla="*/ 480181 h 1302505"/>
                <a:gd name="connsiteX1866" fmla="*/ 186349 w 1478629"/>
                <a:gd name="connsiteY1866" fmla="*/ 481089 h 1302505"/>
                <a:gd name="connsiteX1867" fmla="*/ 186349 w 1478629"/>
                <a:gd name="connsiteY1867" fmla="*/ 481936 h 1302505"/>
                <a:gd name="connsiteX1868" fmla="*/ 182356 w 1478629"/>
                <a:gd name="connsiteY1868" fmla="*/ 480574 h 1302505"/>
                <a:gd name="connsiteX1869" fmla="*/ 180571 w 1478629"/>
                <a:gd name="connsiteY1869" fmla="*/ 480393 h 1302505"/>
                <a:gd name="connsiteX1870" fmla="*/ 178756 w 1478629"/>
                <a:gd name="connsiteY1870" fmla="*/ 481089 h 1302505"/>
                <a:gd name="connsiteX1871" fmla="*/ 181448 w 1478629"/>
                <a:gd name="connsiteY1871" fmla="*/ 481179 h 1302505"/>
                <a:gd name="connsiteX1872" fmla="*/ 185865 w 1478629"/>
                <a:gd name="connsiteY1872" fmla="*/ 482299 h 1302505"/>
                <a:gd name="connsiteX1873" fmla="*/ 188436 w 1478629"/>
                <a:gd name="connsiteY1873" fmla="*/ 482964 h 1302505"/>
                <a:gd name="connsiteX1874" fmla="*/ 191522 w 1478629"/>
                <a:gd name="connsiteY1874" fmla="*/ 486171 h 1302505"/>
                <a:gd name="connsiteX1875" fmla="*/ 192278 w 1478629"/>
                <a:gd name="connsiteY1875" fmla="*/ 486715 h 1302505"/>
                <a:gd name="connsiteX1876" fmla="*/ 193186 w 1478629"/>
                <a:gd name="connsiteY1876" fmla="*/ 486141 h 1302505"/>
                <a:gd name="connsiteX1877" fmla="*/ 193518 w 1478629"/>
                <a:gd name="connsiteY1877" fmla="*/ 484870 h 1302505"/>
                <a:gd name="connsiteX1878" fmla="*/ 194002 w 1478629"/>
                <a:gd name="connsiteY1878" fmla="*/ 483599 h 1302505"/>
                <a:gd name="connsiteX1879" fmla="*/ 195394 w 1478629"/>
                <a:gd name="connsiteY1879" fmla="*/ 482964 h 1302505"/>
                <a:gd name="connsiteX1880" fmla="*/ 194365 w 1478629"/>
                <a:gd name="connsiteY1880" fmla="*/ 481512 h 1302505"/>
                <a:gd name="connsiteX1881" fmla="*/ 193972 w 1478629"/>
                <a:gd name="connsiteY1881" fmla="*/ 481119 h 1302505"/>
                <a:gd name="connsiteX1882" fmla="*/ 195394 w 1478629"/>
                <a:gd name="connsiteY1882" fmla="*/ 480756 h 1302505"/>
                <a:gd name="connsiteX1883" fmla="*/ 196180 w 1478629"/>
                <a:gd name="connsiteY1883" fmla="*/ 479879 h 1302505"/>
                <a:gd name="connsiteX1884" fmla="*/ 196876 w 1478629"/>
                <a:gd name="connsiteY1884" fmla="*/ 479364 h 1302505"/>
                <a:gd name="connsiteX1885" fmla="*/ 198086 w 1478629"/>
                <a:gd name="connsiteY1885" fmla="*/ 480181 h 1302505"/>
                <a:gd name="connsiteX1886" fmla="*/ 198238 w 1478629"/>
                <a:gd name="connsiteY1886" fmla="*/ 479667 h 1302505"/>
                <a:gd name="connsiteX1887" fmla="*/ 198238 w 1478629"/>
                <a:gd name="connsiteY1887" fmla="*/ 479455 h 1302505"/>
                <a:gd name="connsiteX1888" fmla="*/ 198328 w 1478629"/>
                <a:gd name="connsiteY1888" fmla="*/ 479364 h 1302505"/>
                <a:gd name="connsiteX1889" fmla="*/ 198843 w 1478629"/>
                <a:gd name="connsiteY1889" fmla="*/ 479274 h 1302505"/>
                <a:gd name="connsiteX1890" fmla="*/ 198419 w 1478629"/>
                <a:gd name="connsiteY1890" fmla="*/ 477398 h 1302505"/>
                <a:gd name="connsiteX1891" fmla="*/ 197784 w 1478629"/>
                <a:gd name="connsiteY1891" fmla="*/ 475946 h 1302505"/>
                <a:gd name="connsiteX1892" fmla="*/ 196816 w 1478629"/>
                <a:gd name="connsiteY1892" fmla="*/ 474948 h 1302505"/>
                <a:gd name="connsiteX1893" fmla="*/ 195394 w 1478629"/>
                <a:gd name="connsiteY1893" fmla="*/ 474433 h 1302505"/>
                <a:gd name="connsiteX1894" fmla="*/ 196997 w 1478629"/>
                <a:gd name="connsiteY1894" fmla="*/ 474161 h 1302505"/>
                <a:gd name="connsiteX1895" fmla="*/ 198359 w 1478629"/>
                <a:gd name="connsiteY1895" fmla="*/ 474796 h 1302505"/>
                <a:gd name="connsiteX1896" fmla="*/ 199448 w 1478629"/>
                <a:gd name="connsiteY1896" fmla="*/ 475069 h 1302505"/>
                <a:gd name="connsiteX1897" fmla="*/ 200234 w 1478629"/>
                <a:gd name="connsiteY1897" fmla="*/ 473617 h 1302505"/>
                <a:gd name="connsiteX1898" fmla="*/ 200869 w 1478629"/>
                <a:gd name="connsiteY1898" fmla="*/ 473617 h 1302505"/>
                <a:gd name="connsiteX1899" fmla="*/ 200809 w 1478629"/>
                <a:gd name="connsiteY1899" fmla="*/ 474554 h 1302505"/>
                <a:gd name="connsiteX1900" fmla="*/ 200869 w 1478629"/>
                <a:gd name="connsiteY1900" fmla="*/ 477459 h 1302505"/>
                <a:gd name="connsiteX1901" fmla="*/ 201323 w 1478629"/>
                <a:gd name="connsiteY1901" fmla="*/ 477186 h 1302505"/>
                <a:gd name="connsiteX1902" fmla="*/ 202503 w 1478629"/>
                <a:gd name="connsiteY1902" fmla="*/ 476763 h 1302505"/>
                <a:gd name="connsiteX1903" fmla="*/ 202987 w 1478629"/>
                <a:gd name="connsiteY1903" fmla="*/ 476460 h 1302505"/>
                <a:gd name="connsiteX1904" fmla="*/ 202987 w 1478629"/>
                <a:gd name="connsiteY1904" fmla="*/ 477822 h 1302505"/>
                <a:gd name="connsiteX1905" fmla="*/ 203078 w 1478629"/>
                <a:gd name="connsiteY1905" fmla="*/ 478790 h 1302505"/>
                <a:gd name="connsiteX1906" fmla="*/ 203289 w 1478629"/>
                <a:gd name="connsiteY1906" fmla="*/ 479576 h 1302505"/>
                <a:gd name="connsiteX1907" fmla="*/ 203683 w 1478629"/>
                <a:gd name="connsiteY1907" fmla="*/ 480302 h 1302505"/>
                <a:gd name="connsiteX1908" fmla="*/ 196120 w 1478629"/>
                <a:gd name="connsiteY1908" fmla="*/ 483539 h 1302505"/>
                <a:gd name="connsiteX1909" fmla="*/ 194910 w 1478629"/>
                <a:gd name="connsiteY1909" fmla="*/ 487381 h 1302505"/>
                <a:gd name="connsiteX1910" fmla="*/ 194668 w 1478629"/>
                <a:gd name="connsiteY1910" fmla="*/ 489166 h 1302505"/>
                <a:gd name="connsiteX1911" fmla="*/ 195061 w 1478629"/>
                <a:gd name="connsiteY1911" fmla="*/ 490013 h 1302505"/>
                <a:gd name="connsiteX1912" fmla="*/ 195999 w 1478629"/>
                <a:gd name="connsiteY1912" fmla="*/ 490557 h 1302505"/>
                <a:gd name="connsiteX1913" fmla="*/ 197118 w 1478629"/>
                <a:gd name="connsiteY1913" fmla="*/ 491011 h 1302505"/>
                <a:gd name="connsiteX1914" fmla="*/ 198086 w 1478629"/>
                <a:gd name="connsiteY1914" fmla="*/ 491586 h 1302505"/>
                <a:gd name="connsiteX1915" fmla="*/ 199508 w 1478629"/>
                <a:gd name="connsiteY1915" fmla="*/ 493098 h 1302505"/>
                <a:gd name="connsiteX1916" fmla="*/ 200628 w 1478629"/>
                <a:gd name="connsiteY1916" fmla="*/ 494883 h 1302505"/>
                <a:gd name="connsiteX1917" fmla="*/ 201323 w 1478629"/>
                <a:gd name="connsiteY1917" fmla="*/ 497273 h 1302505"/>
                <a:gd name="connsiteX1918" fmla="*/ 201565 w 1478629"/>
                <a:gd name="connsiteY1918" fmla="*/ 500450 h 1302505"/>
                <a:gd name="connsiteX1919" fmla="*/ 201354 w 1478629"/>
                <a:gd name="connsiteY1919" fmla="*/ 502295 h 1302505"/>
                <a:gd name="connsiteX1920" fmla="*/ 200416 w 1478629"/>
                <a:gd name="connsiteY1920" fmla="*/ 504594 h 1302505"/>
                <a:gd name="connsiteX1921" fmla="*/ 200204 w 1478629"/>
                <a:gd name="connsiteY1921" fmla="*/ 506107 h 1302505"/>
                <a:gd name="connsiteX1922" fmla="*/ 200355 w 1478629"/>
                <a:gd name="connsiteY1922" fmla="*/ 507347 h 1302505"/>
                <a:gd name="connsiteX1923" fmla="*/ 201565 w 1478629"/>
                <a:gd name="connsiteY1923" fmla="*/ 511280 h 1302505"/>
                <a:gd name="connsiteX1924" fmla="*/ 202200 w 1478629"/>
                <a:gd name="connsiteY1924" fmla="*/ 511280 h 1302505"/>
                <a:gd name="connsiteX1925" fmla="*/ 202836 w 1478629"/>
                <a:gd name="connsiteY1925" fmla="*/ 510675 h 1302505"/>
                <a:gd name="connsiteX1926" fmla="*/ 204953 w 1478629"/>
                <a:gd name="connsiteY1926" fmla="*/ 511219 h 1302505"/>
                <a:gd name="connsiteX1927" fmla="*/ 206315 w 1478629"/>
                <a:gd name="connsiteY1927" fmla="*/ 511280 h 1302505"/>
                <a:gd name="connsiteX1928" fmla="*/ 204076 w 1478629"/>
                <a:gd name="connsiteY1928" fmla="*/ 508890 h 1302505"/>
                <a:gd name="connsiteX1929" fmla="*/ 202412 w 1478629"/>
                <a:gd name="connsiteY1929" fmla="*/ 505713 h 1302505"/>
                <a:gd name="connsiteX1930" fmla="*/ 201837 w 1478629"/>
                <a:gd name="connsiteY1930" fmla="*/ 501781 h 1302505"/>
                <a:gd name="connsiteX1931" fmla="*/ 202926 w 1478629"/>
                <a:gd name="connsiteY1931" fmla="*/ 497183 h 1302505"/>
                <a:gd name="connsiteX1932" fmla="*/ 202443 w 1478629"/>
                <a:gd name="connsiteY1932" fmla="*/ 496910 h 1302505"/>
                <a:gd name="connsiteX1933" fmla="*/ 202019 w 1478629"/>
                <a:gd name="connsiteY1933" fmla="*/ 496456 h 1302505"/>
                <a:gd name="connsiteX1934" fmla="*/ 201565 w 1478629"/>
                <a:gd name="connsiteY1934" fmla="*/ 496245 h 1302505"/>
                <a:gd name="connsiteX1935" fmla="*/ 202412 w 1478629"/>
                <a:gd name="connsiteY1935" fmla="*/ 494793 h 1302505"/>
                <a:gd name="connsiteX1936" fmla="*/ 203532 w 1478629"/>
                <a:gd name="connsiteY1936" fmla="*/ 494732 h 1302505"/>
                <a:gd name="connsiteX1937" fmla="*/ 204711 w 1478629"/>
                <a:gd name="connsiteY1937" fmla="*/ 495428 h 1302505"/>
                <a:gd name="connsiteX1938" fmla="*/ 205679 w 1478629"/>
                <a:gd name="connsiteY1938" fmla="*/ 496245 h 1302505"/>
                <a:gd name="connsiteX1939" fmla="*/ 205014 w 1478629"/>
                <a:gd name="connsiteY1939" fmla="*/ 496789 h 1302505"/>
                <a:gd name="connsiteX1940" fmla="*/ 204379 w 1478629"/>
                <a:gd name="connsiteY1940" fmla="*/ 497152 h 1302505"/>
                <a:gd name="connsiteX1941" fmla="*/ 205800 w 1478629"/>
                <a:gd name="connsiteY1941" fmla="*/ 497939 h 1302505"/>
                <a:gd name="connsiteX1942" fmla="*/ 207404 w 1478629"/>
                <a:gd name="connsiteY1942" fmla="*/ 497788 h 1302505"/>
                <a:gd name="connsiteX1943" fmla="*/ 210580 w 1478629"/>
                <a:gd name="connsiteY1943" fmla="*/ 496214 h 1302505"/>
                <a:gd name="connsiteX1944" fmla="*/ 211246 w 1478629"/>
                <a:gd name="connsiteY1944" fmla="*/ 496880 h 1302505"/>
                <a:gd name="connsiteX1945" fmla="*/ 211820 w 1478629"/>
                <a:gd name="connsiteY1945" fmla="*/ 497061 h 1302505"/>
                <a:gd name="connsiteX1946" fmla="*/ 213273 w 1478629"/>
                <a:gd name="connsiteY1946" fmla="*/ 497152 h 1302505"/>
                <a:gd name="connsiteX1947" fmla="*/ 212668 w 1478629"/>
                <a:gd name="connsiteY1947" fmla="*/ 495337 h 1302505"/>
                <a:gd name="connsiteX1948" fmla="*/ 213031 w 1478629"/>
                <a:gd name="connsiteY1948" fmla="*/ 493824 h 1302505"/>
                <a:gd name="connsiteX1949" fmla="*/ 213666 w 1478629"/>
                <a:gd name="connsiteY1949" fmla="*/ 493613 h 1302505"/>
                <a:gd name="connsiteX1950" fmla="*/ 214029 w 1478629"/>
                <a:gd name="connsiteY1950" fmla="*/ 495730 h 1302505"/>
                <a:gd name="connsiteX1951" fmla="*/ 214513 w 1478629"/>
                <a:gd name="connsiteY1951" fmla="*/ 497515 h 1302505"/>
                <a:gd name="connsiteX1952" fmla="*/ 215451 w 1478629"/>
                <a:gd name="connsiteY1952" fmla="*/ 497878 h 1302505"/>
                <a:gd name="connsiteX1953" fmla="*/ 216025 w 1478629"/>
                <a:gd name="connsiteY1953" fmla="*/ 497031 h 1302505"/>
                <a:gd name="connsiteX1954" fmla="*/ 215420 w 1478629"/>
                <a:gd name="connsiteY1954" fmla="*/ 495216 h 1302505"/>
                <a:gd name="connsiteX1955" fmla="*/ 216782 w 1478629"/>
                <a:gd name="connsiteY1955" fmla="*/ 496335 h 1302505"/>
                <a:gd name="connsiteX1956" fmla="*/ 217841 w 1478629"/>
                <a:gd name="connsiteY1956" fmla="*/ 497757 h 1302505"/>
                <a:gd name="connsiteX1957" fmla="*/ 218748 w 1478629"/>
                <a:gd name="connsiteY1957" fmla="*/ 498635 h 1302505"/>
                <a:gd name="connsiteX1958" fmla="*/ 219595 w 1478629"/>
                <a:gd name="connsiteY1958" fmla="*/ 498090 h 1302505"/>
                <a:gd name="connsiteX1959" fmla="*/ 220654 w 1478629"/>
                <a:gd name="connsiteY1959" fmla="*/ 499451 h 1302505"/>
                <a:gd name="connsiteX1960" fmla="*/ 220926 w 1478629"/>
                <a:gd name="connsiteY1960" fmla="*/ 499935 h 1302505"/>
                <a:gd name="connsiteX1961" fmla="*/ 221198 w 1478629"/>
                <a:gd name="connsiteY1961" fmla="*/ 499391 h 1302505"/>
                <a:gd name="connsiteX1962" fmla="*/ 221350 w 1478629"/>
                <a:gd name="connsiteY1962" fmla="*/ 498998 h 1302505"/>
                <a:gd name="connsiteX1963" fmla="*/ 221622 w 1478629"/>
                <a:gd name="connsiteY1963" fmla="*/ 498060 h 1302505"/>
                <a:gd name="connsiteX1964" fmla="*/ 220563 w 1478629"/>
                <a:gd name="connsiteY1964" fmla="*/ 497092 h 1302505"/>
                <a:gd name="connsiteX1965" fmla="*/ 219444 w 1478629"/>
                <a:gd name="connsiteY1965" fmla="*/ 495700 h 1302505"/>
                <a:gd name="connsiteX1966" fmla="*/ 218567 w 1478629"/>
                <a:gd name="connsiteY1966" fmla="*/ 494187 h 1302505"/>
                <a:gd name="connsiteX1967" fmla="*/ 218204 w 1478629"/>
                <a:gd name="connsiteY1967" fmla="*/ 492826 h 1302505"/>
                <a:gd name="connsiteX1968" fmla="*/ 218204 w 1478629"/>
                <a:gd name="connsiteY1968" fmla="*/ 489559 h 1302505"/>
                <a:gd name="connsiteX1969" fmla="*/ 218052 w 1478629"/>
                <a:gd name="connsiteY1969" fmla="*/ 488621 h 1302505"/>
                <a:gd name="connsiteX1970" fmla="*/ 217568 w 1478629"/>
                <a:gd name="connsiteY1970" fmla="*/ 486897 h 1302505"/>
                <a:gd name="connsiteX1971" fmla="*/ 217447 w 1478629"/>
                <a:gd name="connsiteY1971" fmla="*/ 485838 h 1302505"/>
                <a:gd name="connsiteX1972" fmla="*/ 218204 w 1478629"/>
                <a:gd name="connsiteY1972" fmla="*/ 485838 h 1302505"/>
                <a:gd name="connsiteX1973" fmla="*/ 218476 w 1478629"/>
                <a:gd name="connsiteY1973" fmla="*/ 487532 h 1302505"/>
                <a:gd name="connsiteX1974" fmla="*/ 219141 w 1478629"/>
                <a:gd name="connsiteY1974" fmla="*/ 488803 h 1302505"/>
                <a:gd name="connsiteX1975" fmla="*/ 220200 w 1478629"/>
                <a:gd name="connsiteY1975" fmla="*/ 489529 h 1302505"/>
                <a:gd name="connsiteX1976" fmla="*/ 221652 w 1478629"/>
                <a:gd name="connsiteY1976" fmla="*/ 489589 h 1302505"/>
                <a:gd name="connsiteX1977" fmla="*/ 220805 w 1478629"/>
                <a:gd name="connsiteY1977" fmla="*/ 490255 h 1302505"/>
                <a:gd name="connsiteX1978" fmla="*/ 220472 w 1478629"/>
                <a:gd name="connsiteY1978" fmla="*/ 491314 h 1302505"/>
                <a:gd name="connsiteX1979" fmla="*/ 220593 w 1478629"/>
                <a:gd name="connsiteY1979" fmla="*/ 492705 h 1302505"/>
                <a:gd name="connsiteX1980" fmla="*/ 220987 w 1478629"/>
                <a:gd name="connsiteY1980" fmla="*/ 494369 h 1302505"/>
                <a:gd name="connsiteX1981" fmla="*/ 221682 w 1478629"/>
                <a:gd name="connsiteY1981" fmla="*/ 494369 h 1302505"/>
                <a:gd name="connsiteX1982" fmla="*/ 222106 w 1478629"/>
                <a:gd name="connsiteY1982" fmla="*/ 493794 h 1302505"/>
                <a:gd name="connsiteX1983" fmla="*/ 222439 w 1478629"/>
                <a:gd name="connsiteY1983" fmla="*/ 493552 h 1302505"/>
                <a:gd name="connsiteX1984" fmla="*/ 223739 w 1478629"/>
                <a:gd name="connsiteY1984" fmla="*/ 493341 h 1302505"/>
                <a:gd name="connsiteX1985" fmla="*/ 223739 w 1478629"/>
                <a:gd name="connsiteY1985" fmla="*/ 494339 h 1302505"/>
                <a:gd name="connsiteX1986" fmla="*/ 223074 w 1478629"/>
                <a:gd name="connsiteY1986" fmla="*/ 494339 h 1302505"/>
                <a:gd name="connsiteX1987" fmla="*/ 223074 w 1478629"/>
                <a:gd name="connsiteY1987" fmla="*/ 495216 h 1302505"/>
                <a:gd name="connsiteX1988" fmla="*/ 226402 w 1478629"/>
                <a:gd name="connsiteY1988" fmla="*/ 494460 h 1302505"/>
                <a:gd name="connsiteX1989" fmla="*/ 228368 w 1478629"/>
                <a:gd name="connsiteY1989" fmla="*/ 493613 h 1302505"/>
                <a:gd name="connsiteX1990" fmla="*/ 229245 w 1478629"/>
                <a:gd name="connsiteY1990" fmla="*/ 491979 h 1302505"/>
                <a:gd name="connsiteX1991" fmla="*/ 230274 w 1478629"/>
                <a:gd name="connsiteY1991" fmla="*/ 491011 h 1302505"/>
                <a:gd name="connsiteX1992" fmla="*/ 235477 w 1478629"/>
                <a:gd name="connsiteY1992" fmla="*/ 490497 h 1302505"/>
                <a:gd name="connsiteX1993" fmla="*/ 237564 w 1478629"/>
                <a:gd name="connsiteY1993" fmla="*/ 489589 h 1302505"/>
                <a:gd name="connsiteX1994" fmla="*/ 236173 w 1478629"/>
                <a:gd name="connsiteY1994" fmla="*/ 488742 h 1302505"/>
                <a:gd name="connsiteX1995" fmla="*/ 239289 w 1478629"/>
                <a:gd name="connsiteY1995" fmla="*/ 489256 h 1302505"/>
                <a:gd name="connsiteX1996" fmla="*/ 240499 w 1478629"/>
                <a:gd name="connsiteY1996" fmla="*/ 489952 h 1302505"/>
                <a:gd name="connsiteX1997" fmla="*/ 241679 w 1478629"/>
                <a:gd name="connsiteY1997" fmla="*/ 491556 h 1302505"/>
                <a:gd name="connsiteX1998" fmla="*/ 239682 w 1478629"/>
                <a:gd name="connsiteY1998" fmla="*/ 490890 h 1302505"/>
                <a:gd name="connsiteX1999" fmla="*/ 237564 w 1478629"/>
                <a:gd name="connsiteY1999" fmla="*/ 490618 h 1302505"/>
                <a:gd name="connsiteX2000" fmla="*/ 242586 w 1478629"/>
                <a:gd name="connsiteY2000" fmla="*/ 493583 h 1302505"/>
                <a:gd name="connsiteX2001" fmla="*/ 243100 w 1478629"/>
                <a:gd name="connsiteY2001" fmla="*/ 494339 h 1302505"/>
                <a:gd name="connsiteX2002" fmla="*/ 244280 w 1478629"/>
                <a:gd name="connsiteY2002" fmla="*/ 494278 h 1302505"/>
                <a:gd name="connsiteX2003" fmla="*/ 244704 w 1478629"/>
                <a:gd name="connsiteY2003" fmla="*/ 493976 h 1302505"/>
                <a:gd name="connsiteX2004" fmla="*/ 245158 w 1478629"/>
                <a:gd name="connsiteY2004" fmla="*/ 493310 h 1302505"/>
                <a:gd name="connsiteX2005" fmla="*/ 243736 w 1478629"/>
                <a:gd name="connsiteY2005" fmla="*/ 492372 h 1302505"/>
                <a:gd name="connsiteX2006" fmla="*/ 244976 w 1478629"/>
                <a:gd name="connsiteY2006" fmla="*/ 492070 h 1302505"/>
                <a:gd name="connsiteX2007" fmla="*/ 245581 w 1478629"/>
                <a:gd name="connsiteY2007" fmla="*/ 491404 h 1302505"/>
                <a:gd name="connsiteX2008" fmla="*/ 245460 w 1478629"/>
                <a:gd name="connsiteY2008" fmla="*/ 490527 h 1302505"/>
                <a:gd name="connsiteX2009" fmla="*/ 244492 w 1478629"/>
                <a:gd name="connsiteY2009" fmla="*/ 489589 h 1302505"/>
                <a:gd name="connsiteX2010" fmla="*/ 244492 w 1478629"/>
                <a:gd name="connsiteY2010" fmla="*/ 488742 h 1302505"/>
                <a:gd name="connsiteX2011" fmla="*/ 246761 w 1478629"/>
                <a:gd name="connsiteY2011" fmla="*/ 491435 h 1302505"/>
                <a:gd name="connsiteX2012" fmla="*/ 246307 w 1478629"/>
                <a:gd name="connsiteY2012" fmla="*/ 494006 h 1302505"/>
                <a:gd name="connsiteX2013" fmla="*/ 242374 w 1478629"/>
                <a:gd name="connsiteY2013" fmla="*/ 499028 h 1302505"/>
                <a:gd name="connsiteX2014" fmla="*/ 243131 w 1478629"/>
                <a:gd name="connsiteY2014" fmla="*/ 499966 h 1302505"/>
                <a:gd name="connsiteX2015" fmla="*/ 240983 w 1478629"/>
                <a:gd name="connsiteY2015" fmla="*/ 501266 h 1302505"/>
                <a:gd name="connsiteX2016" fmla="*/ 238230 w 1478629"/>
                <a:gd name="connsiteY2016" fmla="*/ 501508 h 1302505"/>
                <a:gd name="connsiteX2017" fmla="*/ 235689 w 1478629"/>
                <a:gd name="connsiteY2017" fmla="*/ 500752 h 1302505"/>
                <a:gd name="connsiteX2018" fmla="*/ 234116 w 1478629"/>
                <a:gd name="connsiteY2018" fmla="*/ 499058 h 1302505"/>
                <a:gd name="connsiteX2019" fmla="*/ 233541 w 1478629"/>
                <a:gd name="connsiteY2019" fmla="*/ 501055 h 1302505"/>
                <a:gd name="connsiteX2020" fmla="*/ 233420 w 1478629"/>
                <a:gd name="connsiteY2020" fmla="*/ 501932 h 1302505"/>
                <a:gd name="connsiteX2021" fmla="*/ 232512 w 1478629"/>
                <a:gd name="connsiteY2021" fmla="*/ 501115 h 1302505"/>
                <a:gd name="connsiteX2022" fmla="*/ 231817 w 1478629"/>
                <a:gd name="connsiteY2022" fmla="*/ 500903 h 1302505"/>
                <a:gd name="connsiteX2023" fmla="*/ 231242 w 1478629"/>
                <a:gd name="connsiteY2023" fmla="*/ 501206 h 1302505"/>
                <a:gd name="connsiteX2024" fmla="*/ 230667 w 1478629"/>
                <a:gd name="connsiteY2024" fmla="*/ 501932 h 1302505"/>
                <a:gd name="connsiteX2025" fmla="*/ 229971 w 1478629"/>
                <a:gd name="connsiteY2025" fmla="*/ 501932 h 1302505"/>
                <a:gd name="connsiteX2026" fmla="*/ 228489 w 1478629"/>
                <a:gd name="connsiteY2026" fmla="*/ 499179 h 1302505"/>
                <a:gd name="connsiteX2027" fmla="*/ 225736 w 1478629"/>
                <a:gd name="connsiteY2027" fmla="*/ 499179 h 1302505"/>
                <a:gd name="connsiteX2028" fmla="*/ 224042 w 1478629"/>
                <a:gd name="connsiteY2028" fmla="*/ 500298 h 1302505"/>
                <a:gd name="connsiteX2029" fmla="*/ 225766 w 1478629"/>
                <a:gd name="connsiteY2029" fmla="*/ 500903 h 1302505"/>
                <a:gd name="connsiteX2030" fmla="*/ 225827 w 1478629"/>
                <a:gd name="connsiteY2030" fmla="*/ 501569 h 1302505"/>
                <a:gd name="connsiteX2031" fmla="*/ 225676 w 1478629"/>
                <a:gd name="connsiteY2031" fmla="*/ 501750 h 1302505"/>
                <a:gd name="connsiteX2032" fmla="*/ 225978 w 1478629"/>
                <a:gd name="connsiteY2032" fmla="*/ 501902 h 1302505"/>
                <a:gd name="connsiteX2033" fmla="*/ 227128 w 1478629"/>
                <a:gd name="connsiteY2033" fmla="*/ 502083 h 1302505"/>
                <a:gd name="connsiteX2034" fmla="*/ 228096 w 1478629"/>
                <a:gd name="connsiteY2034" fmla="*/ 502507 h 1302505"/>
                <a:gd name="connsiteX2035" fmla="*/ 228519 w 1478629"/>
                <a:gd name="connsiteY2035" fmla="*/ 503233 h 1302505"/>
                <a:gd name="connsiteX2036" fmla="*/ 228882 w 1478629"/>
                <a:gd name="connsiteY2036" fmla="*/ 503354 h 1302505"/>
                <a:gd name="connsiteX2037" fmla="*/ 230425 w 1478629"/>
                <a:gd name="connsiteY2037" fmla="*/ 506046 h 1302505"/>
                <a:gd name="connsiteX2038" fmla="*/ 230637 w 1478629"/>
                <a:gd name="connsiteY2038" fmla="*/ 506560 h 1302505"/>
                <a:gd name="connsiteX2039" fmla="*/ 231998 w 1478629"/>
                <a:gd name="connsiteY2039" fmla="*/ 507771 h 1302505"/>
                <a:gd name="connsiteX2040" fmla="*/ 233329 w 1478629"/>
                <a:gd name="connsiteY2040" fmla="*/ 508376 h 1302505"/>
                <a:gd name="connsiteX2041" fmla="*/ 234842 w 1478629"/>
                <a:gd name="connsiteY2041" fmla="*/ 508527 h 1302505"/>
                <a:gd name="connsiteX2042" fmla="*/ 236778 w 1478629"/>
                <a:gd name="connsiteY2042" fmla="*/ 508345 h 1302505"/>
                <a:gd name="connsiteX2043" fmla="*/ 242011 w 1478629"/>
                <a:gd name="connsiteY2043" fmla="*/ 506681 h 1302505"/>
                <a:gd name="connsiteX2044" fmla="*/ 243706 w 1478629"/>
                <a:gd name="connsiteY2044" fmla="*/ 506560 h 1302505"/>
                <a:gd name="connsiteX2045" fmla="*/ 247063 w 1478629"/>
                <a:gd name="connsiteY2045" fmla="*/ 507680 h 1302505"/>
                <a:gd name="connsiteX2046" fmla="*/ 248455 w 1478629"/>
                <a:gd name="connsiteY2046" fmla="*/ 506923 h 1302505"/>
                <a:gd name="connsiteX2047" fmla="*/ 248606 w 1478629"/>
                <a:gd name="connsiteY2047" fmla="*/ 503656 h 1302505"/>
                <a:gd name="connsiteX2048" fmla="*/ 249695 w 1478629"/>
                <a:gd name="connsiteY2048" fmla="*/ 504352 h 1302505"/>
                <a:gd name="connsiteX2049" fmla="*/ 250875 w 1478629"/>
                <a:gd name="connsiteY2049" fmla="*/ 504594 h 1302505"/>
                <a:gd name="connsiteX2050" fmla="*/ 253416 w 1478629"/>
                <a:gd name="connsiteY2050" fmla="*/ 504594 h 1302505"/>
                <a:gd name="connsiteX2051" fmla="*/ 253204 w 1478629"/>
                <a:gd name="connsiteY2051" fmla="*/ 503626 h 1302505"/>
                <a:gd name="connsiteX2052" fmla="*/ 252811 w 1478629"/>
                <a:gd name="connsiteY2052" fmla="*/ 503112 h 1302505"/>
                <a:gd name="connsiteX2053" fmla="*/ 252176 w 1478629"/>
                <a:gd name="connsiteY2053" fmla="*/ 502840 h 1302505"/>
                <a:gd name="connsiteX2054" fmla="*/ 251359 w 1478629"/>
                <a:gd name="connsiteY2054" fmla="*/ 502688 h 1302505"/>
                <a:gd name="connsiteX2055" fmla="*/ 253083 w 1478629"/>
                <a:gd name="connsiteY2055" fmla="*/ 502325 h 1302505"/>
                <a:gd name="connsiteX2056" fmla="*/ 254566 w 1478629"/>
                <a:gd name="connsiteY2056" fmla="*/ 502446 h 1302505"/>
                <a:gd name="connsiteX2057" fmla="*/ 255988 w 1478629"/>
                <a:gd name="connsiteY2057" fmla="*/ 502234 h 1302505"/>
                <a:gd name="connsiteX2058" fmla="*/ 257530 w 1478629"/>
                <a:gd name="connsiteY2058" fmla="*/ 500813 h 1302505"/>
                <a:gd name="connsiteX2059" fmla="*/ 256774 w 1478629"/>
                <a:gd name="connsiteY2059" fmla="*/ 502658 h 1302505"/>
                <a:gd name="connsiteX2060" fmla="*/ 255262 w 1478629"/>
                <a:gd name="connsiteY2060" fmla="*/ 504201 h 1302505"/>
                <a:gd name="connsiteX2061" fmla="*/ 253477 w 1478629"/>
                <a:gd name="connsiteY2061" fmla="*/ 505199 h 1302505"/>
                <a:gd name="connsiteX2062" fmla="*/ 251964 w 1478629"/>
                <a:gd name="connsiteY2062" fmla="*/ 505471 h 1302505"/>
                <a:gd name="connsiteX2063" fmla="*/ 252993 w 1478629"/>
                <a:gd name="connsiteY2063" fmla="*/ 506349 h 1302505"/>
                <a:gd name="connsiteX2064" fmla="*/ 253598 w 1478629"/>
                <a:gd name="connsiteY2064" fmla="*/ 506258 h 1302505"/>
                <a:gd name="connsiteX2065" fmla="*/ 254172 w 1478629"/>
                <a:gd name="connsiteY2065" fmla="*/ 505744 h 1302505"/>
                <a:gd name="connsiteX2066" fmla="*/ 255080 w 1478629"/>
                <a:gd name="connsiteY2066" fmla="*/ 505471 h 1302505"/>
                <a:gd name="connsiteX2067" fmla="*/ 258862 w 1478629"/>
                <a:gd name="connsiteY2067" fmla="*/ 505471 h 1302505"/>
                <a:gd name="connsiteX2068" fmla="*/ 262159 w 1478629"/>
                <a:gd name="connsiteY2068" fmla="*/ 504443 h 1302505"/>
                <a:gd name="connsiteX2069" fmla="*/ 263460 w 1478629"/>
                <a:gd name="connsiteY2069" fmla="*/ 504292 h 1302505"/>
                <a:gd name="connsiteX2070" fmla="*/ 265033 w 1478629"/>
                <a:gd name="connsiteY2070" fmla="*/ 504534 h 1302505"/>
                <a:gd name="connsiteX2071" fmla="*/ 272717 w 1478629"/>
                <a:gd name="connsiteY2071" fmla="*/ 507347 h 1302505"/>
                <a:gd name="connsiteX2072" fmla="*/ 274562 w 1478629"/>
                <a:gd name="connsiteY2072" fmla="*/ 507347 h 1302505"/>
                <a:gd name="connsiteX2073" fmla="*/ 277285 w 1478629"/>
                <a:gd name="connsiteY2073" fmla="*/ 506923 h 1302505"/>
                <a:gd name="connsiteX2074" fmla="*/ 278918 w 1478629"/>
                <a:gd name="connsiteY2074" fmla="*/ 507347 h 1302505"/>
                <a:gd name="connsiteX2075" fmla="*/ 276831 w 1478629"/>
                <a:gd name="connsiteY2075" fmla="*/ 507226 h 1302505"/>
                <a:gd name="connsiteX2076" fmla="*/ 273140 w 1478629"/>
                <a:gd name="connsiteY2076" fmla="*/ 508164 h 1302505"/>
                <a:gd name="connsiteX2077" fmla="*/ 266878 w 1478629"/>
                <a:gd name="connsiteY2077" fmla="*/ 508466 h 1302505"/>
                <a:gd name="connsiteX2078" fmla="*/ 265759 w 1478629"/>
                <a:gd name="connsiteY2078" fmla="*/ 509404 h 1302505"/>
                <a:gd name="connsiteX2079" fmla="*/ 267181 w 1478629"/>
                <a:gd name="connsiteY2079" fmla="*/ 511189 h 1302505"/>
                <a:gd name="connsiteX2080" fmla="*/ 266364 w 1478629"/>
                <a:gd name="connsiteY2080" fmla="*/ 513791 h 1302505"/>
                <a:gd name="connsiteX2081" fmla="*/ 267634 w 1478629"/>
                <a:gd name="connsiteY2081" fmla="*/ 514547 h 1302505"/>
                <a:gd name="connsiteX2082" fmla="*/ 269752 w 1478629"/>
                <a:gd name="connsiteY2082" fmla="*/ 514759 h 1302505"/>
                <a:gd name="connsiteX2083" fmla="*/ 271385 w 1478629"/>
                <a:gd name="connsiteY2083" fmla="*/ 515787 h 1302505"/>
                <a:gd name="connsiteX2084" fmla="*/ 270478 w 1478629"/>
                <a:gd name="connsiteY2084" fmla="*/ 517723 h 1302505"/>
                <a:gd name="connsiteX2085" fmla="*/ 272142 w 1478629"/>
                <a:gd name="connsiteY2085" fmla="*/ 518328 h 1302505"/>
                <a:gd name="connsiteX2086" fmla="*/ 274622 w 1478629"/>
                <a:gd name="connsiteY2086" fmla="*/ 518389 h 1302505"/>
                <a:gd name="connsiteX2087" fmla="*/ 276165 w 1478629"/>
                <a:gd name="connsiteY2087" fmla="*/ 518661 h 1302505"/>
                <a:gd name="connsiteX2088" fmla="*/ 275833 w 1478629"/>
                <a:gd name="connsiteY2088" fmla="*/ 519568 h 1302505"/>
                <a:gd name="connsiteX2089" fmla="*/ 272384 w 1478629"/>
                <a:gd name="connsiteY2089" fmla="*/ 521353 h 1302505"/>
                <a:gd name="connsiteX2090" fmla="*/ 271416 w 1478629"/>
                <a:gd name="connsiteY2090" fmla="*/ 522412 h 1302505"/>
                <a:gd name="connsiteX2091" fmla="*/ 270659 w 1478629"/>
                <a:gd name="connsiteY2091" fmla="*/ 521535 h 1302505"/>
                <a:gd name="connsiteX2092" fmla="*/ 271083 w 1478629"/>
                <a:gd name="connsiteY2092" fmla="*/ 521293 h 1302505"/>
                <a:gd name="connsiteX2093" fmla="*/ 271204 w 1478629"/>
                <a:gd name="connsiteY2093" fmla="*/ 521293 h 1302505"/>
                <a:gd name="connsiteX2094" fmla="*/ 271416 w 1478629"/>
                <a:gd name="connsiteY2094" fmla="*/ 520537 h 1302505"/>
                <a:gd name="connsiteX2095" fmla="*/ 269722 w 1478629"/>
                <a:gd name="connsiteY2095" fmla="*/ 520234 h 1302505"/>
                <a:gd name="connsiteX2096" fmla="*/ 268693 w 1478629"/>
                <a:gd name="connsiteY2096" fmla="*/ 519811 h 1302505"/>
                <a:gd name="connsiteX2097" fmla="*/ 267634 w 1478629"/>
                <a:gd name="connsiteY2097" fmla="*/ 519750 h 1302505"/>
                <a:gd name="connsiteX2098" fmla="*/ 259618 w 1478629"/>
                <a:gd name="connsiteY2098" fmla="*/ 524167 h 1302505"/>
                <a:gd name="connsiteX2099" fmla="*/ 263792 w 1478629"/>
                <a:gd name="connsiteY2099" fmla="*/ 526648 h 1302505"/>
                <a:gd name="connsiteX2100" fmla="*/ 264942 w 1478629"/>
                <a:gd name="connsiteY2100" fmla="*/ 528735 h 1302505"/>
                <a:gd name="connsiteX2101" fmla="*/ 265093 w 1478629"/>
                <a:gd name="connsiteY2101" fmla="*/ 532698 h 1302505"/>
                <a:gd name="connsiteX2102" fmla="*/ 265850 w 1478629"/>
                <a:gd name="connsiteY2102" fmla="*/ 532698 h 1302505"/>
                <a:gd name="connsiteX2103" fmla="*/ 266394 w 1478629"/>
                <a:gd name="connsiteY2103" fmla="*/ 531367 h 1302505"/>
                <a:gd name="connsiteX2104" fmla="*/ 266334 w 1478629"/>
                <a:gd name="connsiteY2104" fmla="*/ 530822 h 1302505"/>
                <a:gd name="connsiteX2105" fmla="*/ 265850 w 1478629"/>
                <a:gd name="connsiteY2105" fmla="*/ 529824 h 1302505"/>
                <a:gd name="connsiteX2106" fmla="*/ 266152 w 1478629"/>
                <a:gd name="connsiteY2106" fmla="*/ 529552 h 1302505"/>
                <a:gd name="connsiteX2107" fmla="*/ 266485 w 1478629"/>
                <a:gd name="connsiteY2107" fmla="*/ 529340 h 1302505"/>
                <a:gd name="connsiteX2108" fmla="*/ 267211 w 1478629"/>
                <a:gd name="connsiteY2108" fmla="*/ 529007 h 1302505"/>
                <a:gd name="connsiteX2109" fmla="*/ 268754 w 1478629"/>
                <a:gd name="connsiteY2109" fmla="*/ 530913 h 1302505"/>
                <a:gd name="connsiteX2110" fmla="*/ 270781 w 1478629"/>
                <a:gd name="connsiteY2110" fmla="*/ 532728 h 1302505"/>
                <a:gd name="connsiteX2111" fmla="*/ 271718 w 1478629"/>
                <a:gd name="connsiteY2111" fmla="*/ 534543 h 1302505"/>
                <a:gd name="connsiteX2112" fmla="*/ 269994 w 1478629"/>
                <a:gd name="connsiteY2112" fmla="*/ 536419 h 1302505"/>
                <a:gd name="connsiteX2113" fmla="*/ 267725 w 1478629"/>
                <a:gd name="connsiteY2113" fmla="*/ 536782 h 1302505"/>
                <a:gd name="connsiteX2114" fmla="*/ 263399 w 1478629"/>
                <a:gd name="connsiteY2114" fmla="*/ 534876 h 1302505"/>
                <a:gd name="connsiteX2115" fmla="*/ 261100 w 1478629"/>
                <a:gd name="connsiteY2115" fmla="*/ 534573 h 1302505"/>
                <a:gd name="connsiteX2116" fmla="*/ 261100 w 1478629"/>
                <a:gd name="connsiteY2116" fmla="*/ 535511 h 1302505"/>
                <a:gd name="connsiteX2117" fmla="*/ 270508 w 1478629"/>
                <a:gd name="connsiteY2117" fmla="*/ 540079 h 1302505"/>
                <a:gd name="connsiteX2118" fmla="*/ 273443 w 1478629"/>
                <a:gd name="connsiteY2118" fmla="*/ 540170 h 1302505"/>
                <a:gd name="connsiteX2119" fmla="*/ 273533 w 1478629"/>
                <a:gd name="connsiteY2119" fmla="*/ 539807 h 1302505"/>
                <a:gd name="connsiteX2120" fmla="*/ 273685 w 1478629"/>
                <a:gd name="connsiteY2120" fmla="*/ 538960 h 1302505"/>
                <a:gd name="connsiteX2121" fmla="*/ 274048 w 1478629"/>
                <a:gd name="connsiteY2121" fmla="*/ 538052 h 1302505"/>
                <a:gd name="connsiteX2122" fmla="*/ 274864 w 1478629"/>
                <a:gd name="connsiteY2122" fmla="*/ 537387 h 1302505"/>
                <a:gd name="connsiteX2123" fmla="*/ 275621 w 1478629"/>
                <a:gd name="connsiteY2123" fmla="*/ 537236 h 1302505"/>
                <a:gd name="connsiteX2124" fmla="*/ 276559 w 1478629"/>
                <a:gd name="connsiteY2124" fmla="*/ 537175 h 1302505"/>
                <a:gd name="connsiteX2125" fmla="*/ 278222 w 1478629"/>
                <a:gd name="connsiteY2125" fmla="*/ 537356 h 1302505"/>
                <a:gd name="connsiteX2126" fmla="*/ 279856 w 1478629"/>
                <a:gd name="connsiteY2126" fmla="*/ 538234 h 1302505"/>
                <a:gd name="connsiteX2127" fmla="*/ 282306 w 1478629"/>
                <a:gd name="connsiteY2127" fmla="*/ 540866 h 1302505"/>
                <a:gd name="connsiteX2128" fmla="*/ 283819 w 1478629"/>
                <a:gd name="connsiteY2128" fmla="*/ 542106 h 1302505"/>
                <a:gd name="connsiteX2129" fmla="*/ 285634 w 1478629"/>
                <a:gd name="connsiteY2129" fmla="*/ 542771 h 1302505"/>
                <a:gd name="connsiteX2130" fmla="*/ 287600 w 1478629"/>
                <a:gd name="connsiteY2130" fmla="*/ 542771 h 1302505"/>
                <a:gd name="connsiteX2131" fmla="*/ 289506 w 1478629"/>
                <a:gd name="connsiteY2131" fmla="*/ 542106 h 1302505"/>
                <a:gd name="connsiteX2132" fmla="*/ 291866 w 1478629"/>
                <a:gd name="connsiteY2132" fmla="*/ 539928 h 1302505"/>
                <a:gd name="connsiteX2133" fmla="*/ 294861 w 1478629"/>
                <a:gd name="connsiteY2133" fmla="*/ 539111 h 1302505"/>
                <a:gd name="connsiteX2134" fmla="*/ 295889 w 1478629"/>
                <a:gd name="connsiteY2134" fmla="*/ 538234 h 1302505"/>
                <a:gd name="connsiteX2135" fmla="*/ 296434 w 1478629"/>
                <a:gd name="connsiteY2135" fmla="*/ 537387 h 1302505"/>
                <a:gd name="connsiteX2136" fmla="*/ 296827 w 1478629"/>
                <a:gd name="connsiteY2136" fmla="*/ 536510 h 1302505"/>
                <a:gd name="connsiteX2137" fmla="*/ 297523 w 1478629"/>
                <a:gd name="connsiteY2137" fmla="*/ 535511 h 1302505"/>
                <a:gd name="connsiteX2138" fmla="*/ 300699 w 1478629"/>
                <a:gd name="connsiteY2138" fmla="*/ 533726 h 1302505"/>
                <a:gd name="connsiteX2139" fmla="*/ 314585 w 1478629"/>
                <a:gd name="connsiteY2139" fmla="*/ 532849 h 1302505"/>
                <a:gd name="connsiteX2140" fmla="*/ 318396 w 1478629"/>
                <a:gd name="connsiteY2140" fmla="*/ 533877 h 1302505"/>
                <a:gd name="connsiteX2141" fmla="*/ 319818 w 1478629"/>
                <a:gd name="connsiteY2141" fmla="*/ 535209 h 1302505"/>
                <a:gd name="connsiteX2142" fmla="*/ 320726 w 1478629"/>
                <a:gd name="connsiteY2142" fmla="*/ 535511 h 1302505"/>
                <a:gd name="connsiteX2143" fmla="*/ 323085 w 1478629"/>
                <a:gd name="connsiteY2143" fmla="*/ 535723 h 1302505"/>
                <a:gd name="connsiteX2144" fmla="*/ 325112 w 1478629"/>
                <a:gd name="connsiteY2144" fmla="*/ 536328 h 1302505"/>
                <a:gd name="connsiteX2145" fmla="*/ 328561 w 1478629"/>
                <a:gd name="connsiteY2145" fmla="*/ 538264 h 1302505"/>
                <a:gd name="connsiteX2146" fmla="*/ 332100 w 1478629"/>
                <a:gd name="connsiteY2146" fmla="*/ 540987 h 1302505"/>
                <a:gd name="connsiteX2147" fmla="*/ 335125 w 1478629"/>
                <a:gd name="connsiteY2147" fmla="*/ 544314 h 1302505"/>
                <a:gd name="connsiteX2148" fmla="*/ 336880 w 1478629"/>
                <a:gd name="connsiteY2148" fmla="*/ 545615 h 1302505"/>
                <a:gd name="connsiteX2149" fmla="*/ 340994 w 1478629"/>
                <a:gd name="connsiteY2149" fmla="*/ 546401 h 1302505"/>
                <a:gd name="connsiteX2150" fmla="*/ 343021 w 1478629"/>
                <a:gd name="connsiteY2150" fmla="*/ 547642 h 1302505"/>
                <a:gd name="connsiteX2151" fmla="*/ 337576 w 1478629"/>
                <a:gd name="connsiteY2151" fmla="*/ 547490 h 1302505"/>
                <a:gd name="connsiteX2152" fmla="*/ 335277 w 1478629"/>
                <a:gd name="connsiteY2152" fmla="*/ 546553 h 1302505"/>
                <a:gd name="connsiteX2153" fmla="*/ 333038 w 1478629"/>
                <a:gd name="connsiteY2153" fmla="*/ 544345 h 1302505"/>
                <a:gd name="connsiteX2154" fmla="*/ 332009 w 1478629"/>
                <a:gd name="connsiteY2154" fmla="*/ 543709 h 1302505"/>
                <a:gd name="connsiteX2155" fmla="*/ 327835 w 1478629"/>
                <a:gd name="connsiteY2155" fmla="*/ 542953 h 1302505"/>
                <a:gd name="connsiteX2156" fmla="*/ 323721 w 1478629"/>
                <a:gd name="connsiteY2156" fmla="*/ 540170 h 1302505"/>
                <a:gd name="connsiteX2157" fmla="*/ 323721 w 1478629"/>
                <a:gd name="connsiteY2157" fmla="*/ 539171 h 1302505"/>
                <a:gd name="connsiteX2158" fmla="*/ 325778 w 1478629"/>
                <a:gd name="connsiteY2158" fmla="*/ 539171 h 1302505"/>
                <a:gd name="connsiteX2159" fmla="*/ 324870 w 1478629"/>
                <a:gd name="connsiteY2159" fmla="*/ 538294 h 1302505"/>
                <a:gd name="connsiteX2160" fmla="*/ 323902 w 1478629"/>
                <a:gd name="connsiteY2160" fmla="*/ 537719 h 1302505"/>
                <a:gd name="connsiteX2161" fmla="*/ 322813 w 1478629"/>
                <a:gd name="connsiteY2161" fmla="*/ 537447 h 1302505"/>
                <a:gd name="connsiteX2162" fmla="*/ 321663 w 1478629"/>
                <a:gd name="connsiteY2162" fmla="*/ 537447 h 1302505"/>
                <a:gd name="connsiteX2163" fmla="*/ 322359 w 1478629"/>
                <a:gd name="connsiteY2163" fmla="*/ 538355 h 1302505"/>
                <a:gd name="connsiteX2164" fmla="*/ 320816 w 1478629"/>
                <a:gd name="connsiteY2164" fmla="*/ 538355 h 1302505"/>
                <a:gd name="connsiteX2165" fmla="*/ 315674 w 1478629"/>
                <a:gd name="connsiteY2165" fmla="*/ 537145 h 1302505"/>
                <a:gd name="connsiteX2166" fmla="*/ 314917 w 1478629"/>
                <a:gd name="connsiteY2166" fmla="*/ 536510 h 1302505"/>
                <a:gd name="connsiteX2167" fmla="*/ 314101 w 1478629"/>
                <a:gd name="connsiteY2167" fmla="*/ 535572 h 1302505"/>
                <a:gd name="connsiteX2168" fmla="*/ 313344 w 1478629"/>
                <a:gd name="connsiteY2168" fmla="*/ 535693 h 1302505"/>
                <a:gd name="connsiteX2169" fmla="*/ 312679 w 1478629"/>
                <a:gd name="connsiteY2169" fmla="*/ 535995 h 1302505"/>
                <a:gd name="connsiteX2170" fmla="*/ 311983 w 1478629"/>
                <a:gd name="connsiteY2170" fmla="*/ 536479 h 1302505"/>
                <a:gd name="connsiteX2171" fmla="*/ 302726 w 1478629"/>
                <a:gd name="connsiteY2171" fmla="*/ 537356 h 1302505"/>
                <a:gd name="connsiteX2172" fmla="*/ 300306 w 1478629"/>
                <a:gd name="connsiteY2172" fmla="*/ 538325 h 1302505"/>
                <a:gd name="connsiteX2173" fmla="*/ 299429 w 1478629"/>
                <a:gd name="connsiteY2173" fmla="*/ 539474 h 1302505"/>
                <a:gd name="connsiteX2174" fmla="*/ 298763 w 1478629"/>
                <a:gd name="connsiteY2174" fmla="*/ 541107 h 1302505"/>
                <a:gd name="connsiteX2175" fmla="*/ 298370 w 1478629"/>
                <a:gd name="connsiteY2175" fmla="*/ 542862 h 1302505"/>
                <a:gd name="connsiteX2176" fmla="*/ 298249 w 1478629"/>
                <a:gd name="connsiteY2176" fmla="*/ 544375 h 1302505"/>
                <a:gd name="connsiteX2177" fmla="*/ 298521 w 1478629"/>
                <a:gd name="connsiteY2177" fmla="*/ 546432 h 1302505"/>
                <a:gd name="connsiteX2178" fmla="*/ 299580 w 1478629"/>
                <a:gd name="connsiteY2178" fmla="*/ 548550 h 1302505"/>
                <a:gd name="connsiteX2179" fmla="*/ 299580 w 1478629"/>
                <a:gd name="connsiteY2179" fmla="*/ 550395 h 1302505"/>
                <a:gd name="connsiteX2180" fmla="*/ 299247 w 1478629"/>
                <a:gd name="connsiteY2180" fmla="*/ 552421 h 1302505"/>
                <a:gd name="connsiteX2181" fmla="*/ 298945 w 1478629"/>
                <a:gd name="connsiteY2181" fmla="*/ 553541 h 1302505"/>
                <a:gd name="connsiteX2182" fmla="*/ 298158 w 1478629"/>
                <a:gd name="connsiteY2182" fmla="*/ 554025 h 1302505"/>
                <a:gd name="connsiteX2183" fmla="*/ 294891 w 1478629"/>
                <a:gd name="connsiteY2183" fmla="*/ 554448 h 1302505"/>
                <a:gd name="connsiteX2184" fmla="*/ 293711 w 1478629"/>
                <a:gd name="connsiteY2184" fmla="*/ 555205 h 1302505"/>
                <a:gd name="connsiteX2185" fmla="*/ 292622 w 1478629"/>
                <a:gd name="connsiteY2185" fmla="*/ 556143 h 1302505"/>
                <a:gd name="connsiteX2186" fmla="*/ 291291 w 1478629"/>
                <a:gd name="connsiteY2186" fmla="*/ 556989 h 1302505"/>
                <a:gd name="connsiteX2187" fmla="*/ 294891 w 1478629"/>
                <a:gd name="connsiteY2187" fmla="*/ 558805 h 1302505"/>
                <a:gd name="connsiteX2188" fmla="*/ 306508 w 1478629"/>
                <a:gd name="connsiteY2188" fmla="*/ 560711 h 1302505"/>
                <a:gd name="connsiteX2189" fmla="*/ 312558 w 1478629"/>
                <a:gd name="connsiteY2189" fmla="*/ 563826 h 1302505"/>
                <a:gd name="connsiteX2190" fmla="*/ 314131 w 1478629"/>
                <a:gd name="connsiteY2190" fmla="*/ 565248 h 1302505"/>
                <a:gd name="connsiteX2191" fmla="*/ 315220 w 1478629"/>
                <a:gd name="connsiteY2191" fmla="*/ 566821 h 1302505"/>
                <a:gd name="connsiteX2192" fmla="*/ 316339 w 1478629"/>
                <a:gd name="connsiteY2192" fmla="*/ 569211 h 1302505"/>
                <a:gd name="connsiteX2193" fmla="*/ 316521 w 1478629"/>
                <a:gd name="connsiteY2193" fmla="*/ 571480 h 1302505"/>
                <a:gd name="connsiteX2194" fmla="*/ 314766 w 1478629"/>
                <a:gd name="connsiteY2194" fmla="*/ 572720 h 1302505"/>
                <a:gd name="connsiteX2195" fmla="*/ 313556 w 1478629"/>
                <a:gd name="connsiteY2195" fmla="*/ 575110 h 1302505"/>
                <a:gd name="connsiteX2196" fmla="*/ 311862 w 1478629"/>
                <a:gd name="connsiteY2196" fmla="*/ 579981 h 1302505"/>
                <a:gd name="connsiteX2197" fmla="*/ 310652 w 1478629"/>
                <a:gd name="connsiteY2197" fmla="*/ 582007 h 1302505"/>
                <a:gd name="connsiteX2198" fmla="*/ 306810 w 1478629"/>
                <a:gd name="connsiteY2198" fmla="*/ 584216 h 1302505"/>
                <a:gd name="connsiteX2199" fmla="*/ 305328 w 1478629"/>
                <a:gd name="connsiteY2199" fmla="*/ 585638 h 1302505"/>
                <a:gd name="connsiteX2200" fmla="*/ 305902 w 1478629"/>
                <a:gd name="connsiteY2200" fmla="*/ 587544 h 1302505"/>
                <a:gd name="connsiteX2201" fmla="*/ 303331 w 1478629"/>
                <a:gd name="connsiteY2201" fmla="*/ 589268 h 1302505"/>
                <a:gd name="connsiteX2202" fmla="*/ 302635 w 1478629"/>
                <a:gd name="connsiteY2202" fmla="*/ 590659 h 1302505"/>
                <a:gd name="connsiteX2203" fmla="*/ 302393 w 1478629"/>
                <a:gd name="connsiteY2203" fmla="*/ 593594 h 1302505"/>
                <a:gd name="connsiteX2204" fmla="*/ 302514 w 1478629"/>
                <a:gd name="connsiteY2204" fmla="*/ 595893 h 1302505"/>
                <a:gd name="connsiteX2205" fmla="*/ 302908 w 1478629"/>
                <a:gd name="connsiteY2205" fmla="*/ 598464 h 1302505"/>
                <a:gd name="connsiteX2206" fmla="*/ 303634 w 1478629"/>
                <a:gd name="connsiteY2206" fmla="*/ 600582 h 1302505"/>
                <a:gd name="connsiteX2207" fmla="*/ 304783 w 1478629"/>
                <a:gd name="connsiteY2207" fmla="*/ 601459 h 1302505"/>
                <a:gd name="connsiteX2208" fmla="*/ 307385 w 1478629"/>
                <a:gd name="connsiteY2208" fmla="*/ 602276 h 1302505"/>
                <a:gd name="connsiteX2209" fmla="*/ 310501 w 1478629"/>
                <a:gd name="connsiteY2209" fmla="*/ 604333 h 1302505"/>
                <a:gd name="connsiteX2210" fmla="*/ 316097 w 1478629"/>
                <a:gd name="connsiteY2210" fmla="*/ 609748 h 1302505"/>
                <a:gd name="connsiteX2211" fmla="*/ 319062 w 1478629"/>
                <a:gd name="connsiteY2211" fmla="*/ 615345 h 1302505"/>
                <a:gd name="connsiteX2212" fmla="*/ 319909 w 1478629"/>
                <a:gd name="connsiteY2212" fmla="*/ 616161 h 1302505"/>
                <a:gd name="connsiteX2213" fmla="*/ 321573 w 1478629"/>
                <a:gd name="connsiteY2213" fmla="*/ 616312 h 1302505"/>
                <a:gd name="connsiteX2214" fmla="*/ 323267 w 1478629"/>
                <a:gd name="connsiteY2214" fmla="*/ 616827 h 1302505"/>
                <a:gd name="connsiteX2215" fmla="*/ 324598 w 1478629"/>
                <a:gd name="connsiteY2215" fmla="*/ 617825 h 1302505"/>
                <a:gd name="connsiteX2216" fmla="*/ 325626 w 1478629"/>
                <a:gd name="connsiteY2216" fmla="*/ 621274 h 1302505"/>
                <a:gd name="connsiteX2217" fmla="*/ 326836 w 1478629"/>
                <a:gd name="connsiteY2217" fmla="*/ 622575 h 1302505"/>
                <a:gd name="connsiteX2218" fmla="*/ 328379 w 1478629"/>
                <a:gd name="connsiteY2218" fmla="*/ 623815 h 1302505"/>
                <a:gd name="connsiteX2219" fmla="*/ 329892 w 1478629"/>
                <a:gd name="connsiteY2219" fmla="*/ 625418 h 1302505"/>
                <a:gd name="connsiteX2220" fmla="*/ 330527 w 1478629"/>
                <a:gd name="connsiteY2220" fmla="*/ 626991 h 1302505"/>
                <a:gd name="connsiteX2221" fmla="*/ 330981 w 1478629"/>
                <a:gd name="connsiteY2221" fmla="*/ 628806 h 1302505"/>
                <a:gd name="connsiteX2222" fmla="*/ 331767 w 1478629"/>
                <a:gd name="connsiteY2222" fmla="*/ 630319 h 1302505"/>
                <a:gd name="connsiteX2223" fmla="*/ 333371 w 1478629"/>
                <a:gd name="connsiteY2223" fmla="*/ 630954 h 1302505"/>
                <a:gd name="connsiteX2224" fmla="*/ 332947 w 1478629"/>
                <a:gd name="connsiteY2224" fmla="*/ 633284 h 1302505"/>
                <a:gd name="connsiteX2225" fmla="*/ 335186 w 1478629"/>
                <a:gd name="connsiteY2225" fmla="*/ 643116 h 1302505"/>
                <a:gd name="connsiteX2226" fmla="*/ 336124 w 1478629"/>
                <a:gd name="connsiteY2226" fmla="*/ 644356 h 1302505"/>
                <a:gd name="connsiteX2227" fmla="*/ 337061 w 1478629"/>
                <a:gd name="connsiteY2227" fmla="*/ 644840 h 1302505"/>
                <a:gd name="connsiteX2228" fmla="*/ 337485 w 1478629"/>
                <a:gd name="connsiteY2228" fmla="*/ 644235 h 1302505"/>
                <a:gd name="connsiteX2229" fmla="*/ 337364 w 1478629"/>
                <a:gd name="connsiteY2229" fmla="*/ 643085 h 1302505"/>
                <a:gd name="connsiteX2230" fmla="*/ 336789 w 1478629"/>
                <a:gd name="connsiteY2230" fmla="*/ 640907 h 1302505"/>
                <a:gd name="connsiteX2231" fmla="*/ 336789 w 1478629"/>
                <a:gd name="connsiteY2231" fmla="*/ 639243 h 1302505"/>
                <a:gd name="connsiteX2232" fmla="*/ 337727 w 1478629"/>
                <a:gd name="connsiteY2232" fmla="*/ 640695 h 1302505"/>
                <a:gd name="connsiteX2233" fmla="*/ 338846 w 1478629"/>
                <a:gd name="connsiteY2233" fmla="*/ 643630 h 1302505"/>
                <a:gd name="connsiteX2234" fmla="*/ 339572 w 1478629"/>
                <a:gd name="connsiteY2234" fmla="*/ 644749 h 1302505"/>
                <a:gd name="connsiteX2235" fmla="*/ 340843 w 1478629"/>
                <a:gd name="connsiteY2235" fmla="*/ 645475 h 1302505"/>
                <a:gd name="connsiteX2236" fmla="*/ 343686 w 1478629"/>
                <a:gd name="connsiteY2236" fmla="*/ 646201 h 1302505"/>
                <a:gd name="connsiteX2237" fmla="*/ 347075 w 1478629"/>
                <a:gd name="connsiteY2237" fmla="*/ 648924 h 1302505"/>
                <a:gd name="connsiteX2238" fmla="*/ 352429 w 1478629"/>
                <a:gd name="connsiteY2238" fmla="*/ 649801 h 1302505"/>
                <a:gd name="connsiteX2239" fmla="*/ 354063 w 1478629"/>
                <a:gd name="connsiteY2239" fmla="*/ 651253 h 1302505"/>
                <a:gd name="connsiteX2240" fmla="*/ 353216 w 1478629"/>
                <a:gd name="connsiteY2240" fmla="*/ 652917 h 1302505"/>
                <a:gd name="connsiteX2241" fmla="*/ 355908 w 1478629"/>
                <a:gd name="connsiteY2241" fmla="*/ 653704 h 1302505"/>
                <a:gd name="connsiteX2242" fmla="*/ 362654 w 1478629"/>
                <a:gd name="connsiteY2242" fmla="*/ 653976 h 1302505"/>
                <a:gd name="connsiteX2243" fmla="*/ 365407 w 1478629"/>
                <a:gd name="connsiteY2243" fmla="*/ 654490 h 1302505"/>
                <a:gd name="connsiteX2244" fmla="*/ 367736 w 1478629"/>
                <a:gd name="connsiteY2244" fmla="*/ 655972 h 1302505"/>
                <a:gd name="connsiteX2245" fmla="*/ 369340 w 1478629"/>
                <a:gd name="connsiteY2245" fmla="*/ 658423 h 1302505"/>
                <a:gd name="connsiteX2246" fmla="*/ 369945 w 1478629"/>
                <a:gd name="connsiteY2246" fmla="*/ 661811 h 1302505"/>
                <a:gd name="connsiteX2247" fmla="*/ 371034 w 1478629"/>
                <a:gd name="connsiteY2247" fmla="*/ 664655 h 1302505"/>
                <a:gd name="connsiteX2248" fmla="*/ 373575 w 1478629"/>
                <a:gd name="connsiteY2248" fmla="*/ 664775 h 1302505"/>
                <a:gd name="connsiteX2249" fmla="*/ 378929 w 1478629"/>
                <a:gd name="connsiteY2249" fmla="*/ 663202 h 1302505"/>
                <a:gd name="connsiteX2250" fmla="*/ 380291 w 1478629"/>
                <a:gd name="connsiteY2250" fmla="*/ 663717 h 1302505"/>
                <a:gd name="connsiteX2251" fmla="*/ 382560 w 1478629"/>
                <a:gd name="connsiteY2251" fmla="*/ 665532 h 1302505"/>
                <a:gd name="connsiteX2252" fmla="*/ 385645 w 1478629"/>
                <a:gd name="connsiteY2252" fmla="*/ 667256 h 1302505"/>
                <a:gd name="connsiteX2253" fmla="*/ 386644 w 1478629"/>
                <a:gd name="connsiteY2253" fmla="*/ 667437 h 1302505"/>
                <a:gd name="connsiteX2254" fmla="*/ 388247 w 1478629"/>
                <a:gd name="connsiteY2254" fmla="*/ 667861 h 1302505"/>
                <a:gd name="connsiteX2255" fmla="*/ 390092 w 1478629"/>
                <a:gd name="connsiteY2255" fmla="*/ 670402 h 1302505"/>
                <a:gd name="connsiteX2256" fmla="*/ 391998 w 1478629"/>
                <a:gd name="connsiteY2256" fmla="*/ 672580 h 1302505"/>
                <a:gd name="connsiteX2257" fmla="*/ 394690 w 1478629"/>
                <a:gd name="connsiteY2257" fmla="*/ 673276 h 1302505"/>
                <a:gd name="connsiteX2258" fmla="*/ 394569 w 1478629"/>
                <a:gd name="connsiteY2258" fmla="*/ 669041 h 1302505"/>
                <a:gd name="connsiteX2259" fmla="*/ 398290 w 1478629"/>
                <a:gd name="connsiteY2259" fmla="*/ 666984 h 1302505"/>
                <a:gd name="connsiteX2260" fmla="*/ 402798 w 1478629"/>
                <a:gd name="connsiteY2260" fmla="*/ 667256 h 1302505"/>
                <a:gd name="connsiteX2261" fmla="*/ 404976 w 1478629"/>
                <a:gd name="connsiteY2261" fmla="*/ 670100 h 1302505"/>
                <a:gd name="connsiteX2262" fmla="*/ 405248 w 1478629"/>
                <a:gd name="connsiteY2262" fmla="*/ 672005 h 1302505"/>
                <a:gd name="connsiteX2263" fmla="*/ 405702 w 1478629"/>
                <a:gd name="connsiteY2263" fmla="*/ 673155 h 1302505"/>
                <a:gd name="connsiteX2264" fmla="*/ 405793 w 1478629"/>
                <a:gd name="connsiteY2264" fmla="*/ 674244 h 1302505"/>
                <a:gd name="connsiteX2265" fmla="*/ 404976 w 1478629"/>
                <a:gd name="connsiteY2265" fmla="*/ 675938 h 1302505"/>
                <a:gd name="connsiteX2266" fmla="*/ 398048 w 1478629"/>
                <a:gd name="connsiteY2266" fmla="*/ 679901 h 1302505"/>
                <a:gd name="connsiteX2267" fmla="*/ 396959 w 1478629"/>
                <a:gd name="connsiteY2267" fmla="*/ 681656 h 1302505"/>
                <a:gd name="connsiteX2268" fmla="*/ 397504 w 1478629"/>
                <a:gd name="connsiteY2268" fmla="*/ 684227 h 1302505"/>
                <a:gd name="connsiteX2269" fmla="*/ 396566 w 1478629"/>
                <a:gd name="connsiteY2269" fmla="*/ 684802 h 1302505"/>
                <a:gd name="connsiteX2270" fmla="*/ 395568 w 1478629"/>
                <a:gd name="connsiteY2270" fmla="*/ 685951 h 1302505"/>
                <a:gd name="connsiteX2271" fmla="*/ 394932 w 1478629"/>
                <a:gd name="connsiteY2271" fmla="*/ 687252 h 1302505"/>
                <a:gd name="connsiteX2272" fmla="*/ 395053 w 1478629"/>
                <a:gd name="connsiteY2272" fmla="*/ 688372 h 1302505"/>
                <a:gd name="connsiteX2273" fmla="*/ 396021 w 1478629"/>
                <a:gd name="connsiteY2273" fmla="*/ 689309 h 1302505"/>
                <a:gd name="connsiteX2274" fmla="*/ 396869 w 1478629"/>
                <a:gd name="connsiteY2274" fmla="*/ 689461 h 1302505"/>
                <a:gd name="connsiteX2275" fmla="*/ 397776 w 1478629"/>
                <a:gd name="connsiteY2275" fmla="*/ 689400 h 1302505"/>
                <a:gd name="connsiteX2276" fmla="*/ 398805 w 1478629"/>
                <a:gd name="connsiteY2276" fmla="*/ 689672 h 1302505"/>
                <a:gd name="connsiteX2277" fmla="*/ 400317 w 1478629"/>
                <a:gd name="connsiteY2277" fmla="*/ 689582 h 1302505"/>
                <a:gd name="connsiteX2278" fmla="*/ 400862 w 1478629"/>
                <a:gd name="connsiteY2278" fmla="*/ 689672 h 1302505"/>
                <a:gd name="connsiteX2279" fmla="*/ 400983 w 1478629"/>
                <a:gd name="connsiteY2279" fmla="*/ 690065 h 1302505"/>
                <a:gd name="connsiteX2280" fmla="*/ 400862 w 1478629"/>
                <a:gd name="connsiteY2280" fmla="*/ 690701 h 1302505"/>
                <a:gd name="connsiteX2281" fmla="*/ 400862 w 1478629"/>
                <a:gd name="connsiteY2281" fmla="*/ 691306 h 1302505"/>
                <a:gd name="connsiteX2282" fmla="*/ 401255 w 1478629"/>
                <a:gd name="connsiteY2282" fmla="*/ 691578 h 1302505"/>
                <a:gd name="connsiteX2283" fmla="*/ 402011 w 1478629"/>
                <a:gd name="connsiteY2283" fmla="*/ 691760 h 1302505"/>
                <a:gd name="connsiteX2284" fmla="*/ 404371 w 1478629"/>
                <a:gd name="connsiteY2284" fmla="*/ 693393 h 1302505"/>
                <a:gd name="connsiteX2285" fmla="*/ 403161 w 1478629"/>
                <a:gd name="connsiteY2285" fmla="*/ 694482 h 1302505"/>
                <a:gd name="connsiteX2286" fmla="*/ 403161 w 1478629"/>
                <a:gd name="connsiteY2286" fmla="*/ 695057 h 1302505"/>
                <a:gd name="connsiteX2287" fmla="*/ 403766 w 1478629"/>
                <a:gd name="connsiteY2287" fmla="*/ 695481 h 1302505"/>
                <a:gd name="connsiteX2288" fmla="*/ 404371 w 1478629"/>
                <a:gd name="connsiteY2288" fmla="*/ 696116 h 1302505"/>
                <a:gd name="connsiteX2289" fmla="*/ 404704 w 1478629"/>
                <a:gd name="connsiteY2289" fmla="*/ 696328 h 1302505"/>
                <a:gd name="connsiteX2290" fmla="*/ 406004 w 1478629"/>
                <a:gd name="connsiteY2290" fmla="*/ 696721 h 1302505"/>
                <a:gd name="connsiteX2291" fmla="*/ 406367 w 1478629"/>
                <a:gd name="connsiteY2291" fmla="*/ 696933 h 1302505"/>
                <a:gd name="connsiteX2292" fmla="*/ 406488 w 1478629"/>
                <a:gd name="connsiteY2292" fmla="*/ 697447 h 1302505"/>
                <a:gd name="connsiteX2293" fmla="*/ 406488 w 1478629"/>
                <a:gd name="connsiteY2293" fmla="*/ 698687 h 1302505"/>
                <a:gd name="connsiteX2294" fmla="*/ 407184 w 1478629"/>
                <a:gd name="connsiteY2294" fmla="*/ 700502 h 1302505"/>
                <a:gd name="connsiteX2295" fmla="*/ 407275 w 1478629"/>
                <a:gd name="connsiteY2295" fmla="*/ 701864 h 1302505"/>
                <a:gd name="connsiteX2296" fmla="*/ 407638 w 1478629"/>
                <a:gd name="connsiteY2296" fmla="*/ 702953 h 1302505"/>
                <a:gd name="connsiteX2297" fmla="*/ 409544 w 1478629"/>
                <a:gd name="connsiteY2297" fmla="*/ 703588 h 1302505"/>
                <a:gd name="connsiteX2298" fmla="*/ 410209 w 1478629"/>
                <a:gd name="connsiteY2298" fmla="*/ 704072 h 1302505"/>
                <a:gd name="connsiteX2299" fmla="*/ 410784 w 1478629"/>
                <a:gd name="connsiteY2299" fmla="*/ 704677 h 1302505"/>
                <a:gd name="connsiteX2300" fmla="*/ 411208 w 1478629"/>
                <a:gd name="connsiteY2300" fmla="*/ 705282 h 1302505"/>
                <a:gd name="connsiteX2301" fmla="*/ 411208 w 1478629"/>
                <a:gd name="connsiteY2301" fmla="*/ 706099 h 1302505"/>
                <a:gd name="connsiteX2302" fmla="*/ 410088 w 1478629"/>
                <a:gd name="connsiteY2302" fmla="*/ 708337 h 1302505"/>
                <a:gd name="connsiteX2303" fmla="*/ 408757 w 1478629"/>
                <a:gd name="connsiteY2303" fmla="*/ 709457 h 1302505"/>
                <a:gd name="connsiteX2304" fmla="*/ 407063 w 1478629"/>
                <a:gd name="connsiteY2304" fmla="*/ 709366 h 1302505"/>
                <a:gd name="connsiteX2305" fmla="*/ 404946 w 1478629"/>
                <a:gd name="connsiteY2305" fmla="*/ 708035 h 1302505"/>
                <a:gd name="connsiteX2306" fmla="*/ 406367 w 1478629"/>
                <a:gd name="connsiteY2306" fmla="*/ 712391 h 1302505"/>
                <a:gd name="connsiteX2307" fmla="*/ 407487 w 1478629"/>
                <a:gd name="connsiteY2307" fmla="*/ 714176 h 1302505"/>
                <a:gd name="connsiteX2308" fmla="*/ 409151 w 1478629"/>
                <a:gd name="connsiteY2308" fmla="*/ 715205 h 1302505"/>
                <a:gd name="connsiteX2309" fmla="*/ 408636 w 1478629"/>
                <a:gd name="connsiteY2309" fmla="*/ 715568 h 1302505"/>
                <a:gd name="connsiteX2310" fmla="*/ 407638 w 1478629"/>
                <a:gd name="connsiteY2310" fmla="*/ 716566 h 1302505"/>
                <a:gd name="connsiteX2311" fmla="*/ 407094 w 1478629"/>
                <a:gd name="connsiteY2311" fmla="*/ 716989 h 1302505"/>
                <a:gd name="connsiteX2312" fmla="*/ 407729 w 1478629"/>
                <a:gd name="connsiteY2312" fmla="*/ 717715 h 1302505"/>
                <a:gd name="connsiteX2313" fmla="*/ 408455 w 1478629"/>
                <a:gd name="connsiteY2313" fmla="*/ 718865 h 1302505"/>
                <a:gd name="connsiteX2314" fmla="*/ 409060 w 1478629"/>
                <a:gd name="connsiteY2314" fmla="*/ 720226 h 1302505"/>
                <a:gd name="connsiteX2315" fmla="*/ 409181 w 1478629"/>
                <a:gd name="connsiteY2315" fmla="*/ 721618 h 1302505"/>
                <a:gd name="connsiteX2316" fmla="*/ 408757 w 1478629"/>
                <a:gd name="connsiteY2316" fmla="*/ 723161 h 1302505"/>
                <a:gd name="connsiteX2317" fmla="*/ 408122 w 1478629"/>
                <a:gd name="connsiteY2317" fmla="*/ 723493 h 1302505"/>
                <a:gd name="connsiteX2318" fmla="*/ 407305 w 1478629"/>
                <a:gd name="connsiteY2318" fmla="*/ 723312 h 1302505"/>
                <a:gd name="connsiteX2319" fmla="*/ 406367 w 1478629"/>
                <a:gd name="connsiteY2319" fmla="*/ 723433 h 1302505"/>
                <a:gd name="connsiteX2320" fmla="*/ 404794 w 1478629"/>
                <a:gd name="connsiteY2320" fmla="*/ 724310 h 1302505"/>
                <a:gd name="connsiteX2321" fmla="*/ 403675 w 1478629"/>
                <a:gd name="connsiteY2321" fmla="*/ 725248 h 1302505"/>
                <a:gd name="connsiteX2322" fmla="*/ 403191 w 1478629"/>
                <a:gd name="connsiteY2322" fmla="*/ 725823 h 1302505"/>
                <a:gd name="connsiteX2323" fmla="*/ 402677 w 1478629"/>
                <a:gd name="connsiteY2323" fmla="*/ 726609 h 1302505"/>
                <a:gd name="connsiteX2324" fmla="*/ 401981 w 1478629"/>
                <a:gd name="connsiteY2324" fmla="*/ 727396 h 1302505"/>
                <a:gd name="connsiteX2325" fmla="*/ 400862 w 1478629"/>
                <a:gd name="connsiteY2325" fmla="*/ 727940 h 1302505"/>
                <a:gd name="connsiteX2326" fmla="*/ 401709 w 1478629"/>
                <a:gd name="connsiteY2326" fmla="*/ 729302 h 1302505"/>
                <a:gd name="connsiteX2327" fmla="*/ 402374 w 1478629"/>
                <a:gd name="connsiteY2327" fmla="*/ 731238 h 1302505"/>
                <a:gd name="connsiteX2328" fmla="*/ 402828 w 1478629"/>
                <a:gd name="connsiteY2328" fmla="*/ 733204 h 1302505"/>
                <a:gd name="connsiteX2329" fmla="*/ 402979 w 1478629"/>
                <a:gd name="connsiteY2329" fmla="*/ 734747 h 1302505"/>
                <a:gd name="connsiteX2330" fmla="*/ 403524 w 1478629"/>
                <a:gd name="connsiteY2330" fmla="*/ 735927 h 1302505"/>
                <a:gd name="connsiteX2331" fmla="*/ 406125 w 1478629"/>
                <a:gd name="connsiteY2331" fmla="*/ 738801 h 1302505"/>
                <a:gd name="connsiteX2332" fmla="*/ 415171 w 1478629"/>
                <a:gd name="connsiteY2332" fmla="*/ 745547 h 1302505"/>
                <a:gd name="connsiteX2333" fmla="*/ 417439 w 1478629"/>
                <a:gd name="connsiteY2333" fmla="*/ 747906 h 1302505"/>
                <a:gd name="connsiteX2334" fmla="*/ 410391 w 1478629"/>
                <a:gd name="connsiteY2334" fmla="*/ 744881 h 1302505"/>
                <a:gd name="connsiteX2335" fmla="*/ 409181 w 1478629"/>
                <a:gd name="connsiteY2335" fmla="*/ 743822 h 1302505"/>
                <a:gd name="connsiteX2336" fmla="*/ 408031 w 1478629"/>
                <a:gd name="connsiteY2336" fmla="*/ 743127 h 1302505"/>
                <a:gd name="connsiteX2337" fmla="*/ 401618 w 1478629"/>
                <a:gd name="connsiteY2337" fmla="*/ 736169 h 1302505"/>
                <a:gd name="connsiteX2338" fmla="*/ 399652 w 1478629"/>
                <a:gd name="connsiteY2338" fmla="*/ 736078 h 1302505"/>
                <a:gd name="connsiteX2339" fmla="*/ 392966 w 1478629"/>
                <a:gd name="connsiteY2339" fmla="*/ 737984 h 1302505"/>
                <a:gd name="connsiteX2340" fmla="*/ 392966 w 1478629"/>
                <a:gd name="connsiteY2340" fmla="*/ 739678 h 1302505"/>
                <a:gd name="connsiteX2341" fmla="*/ 391272 w 1478629"/>
                <a:gd name="connsiteY2341" fmla="*/ 748905 h 1302505"/>
                <a:gd name="connsiteX2342" fmla="*/ 393057 w 1478629"/>
                <a:gd name="connsiteY2342" fmla="*/ 749570 h 1302505"/>
                <a:gd name="connsiteX2343" fmla="*/ 396596 w 1478629"/>
                <a:gd name="connsiteY2343" fmla="*/ 748844 h 1302505"/>
                <a:gd name="connsiteX2344" fmla="*/ 398472 w 1478629"/>
                <a:gd name="connsiteY2344" fmla="*/ 750145 h 1302505"/>
                <a:gd name="connsiteX2345" fmla="*/ 399712 w 1478629"/>
                <a:gd name="connsiteY2345" fmla="*/ 751658 h 1302505"/>
                <a:gd name="connsiteX2346" fmla="*/ 401134 w 1478629"/>
                <a:gd name="connsiteY2346" fmla="*/ 752989 h 1302505"/>
                <a:gd name="connsiteX2347" fmla="*/ 402798 w 1478629"/>
                <a:gd name="connsiteY2347" fmla="*/ 753927 h 1302505"/>
                <a:gd name="connsiteX2348" fmla="*/ 404704 w 1478629"/>
                <a:gd name="connsiteY2348" fmla="*/ 754290 h 1302505"/>
                <a:gd name="connsiteX2349" fmla="*/ 407729 w 1478629"/>
                <a:gd name="connsiteY2349" fmla="*/ 755409 h 1302505"/>
                <a:gd name="connsiteX2350" fmla="*/ 413114 w 1478629"/>
                <a:gd name="connsiteY2350" fmla="*/ 760370 h 1302505"/>
                <a:gd name="connsiteX2351" fmla="*/ 416441 w 1478629"/>
                <a:gd name="connsiteY2351" fmla="*/ 761489 h 1302505"/>
                <a:gd name="connsiteX2352" fmla="*/ 417076 w 1478629"/>
                <a:gd name="connsiteY2352" fmla="*/ 762064 h 1302505"/>
                <a:gd name="connsiteX2353" fmla="*/ 417470 w 1478629"/>
                <a:gd name="connsiteY2353" fmla="*/ 764544 h 1302505"/>
                <a:gd name="connsiteX2354" fmla="*/ 417803 w 1478629"/>
                <a:gd name="connsiteY2354" fmla="*/ 765089 h 1302505"/>
                <a:gd name="connsiteX2355" fmla="*/ 432051 w 1478629"/>
                <a:gd name="connsiteY2355" fmla="*/ 774649 h 1302505"/>
                <a:gd name="connsiteX2356" fmla="*/ 436710 w 1478629"/>
                <a:gd name="connsiteY2356" fmla="*/ 779580 h 1302505"/>
                <a:gd name="connsiteX2357" fmla="*/ 438948 w 1478629"/>
                <a:gd name="connsiteY2357" fmla="*/ 782877 h 1302505"/>
                <a:gd name="connsiteX2358" fmla="*/ 440975 w 1478629"/>
                <a:gd name="connsiteY2358" fmla="*/ 786568 h 1302505"/>
                <a:gd name="connsiteX2359" fmla="*/ 444333 w 1478629"/>
                <a:gd name="connsiteY2359" fmla="*/ 794856 h 1302505"/>
                <a:gd name="connsiteX2360" fmla="*/ 445664 w 1478629"/>
                <a:gd name="connsiteY2360" fmla="*/ 799939 h 1302505"/>
                <a:gd name="connsiteX2361" fmla="*/ 449476 w 1478629"/>
                <a:gd name="connsiteY2361" fmla="*/ 825047 h 1302505"/>
                <a:gd name="connsiteX2362" fmla="*/ 450746 w 1478629"/>
                <a:gd name="connsiteY2362" fmla="*/ 829192 h 1302505"/>
                <a:gd name="connsiteX2363" fmla="*/ 452592 w 1478629"/>
                <a:gd name="connsiteY2363" fmla="*/ 832580 h 1302505"/>
                <a:gd name="connsiteX2364" fmla="*/ 456192 w 1478629"/>
                <a:gd name="connsiteY2364" fmla="*/ 835152 h 1302505"/>
                <a:gd name="connsiteX2365" fmla="*/ 460578 w 1478629"/>
                <a:gd name="connsiteY2365" fmla="*/ 836452 h 1302505"/>
                <a:gd name="connsiteX2366" fmla="*/ 464571 w 1478629"/>
                <a:gd name="connsiteY2366" fmla="*/ 838268 h 1302505"/>
                <a:gd name="connsiteX2367" fmla="*/ 467112 w 1478629"/>
                <a:gd name="connsiteY2367" fmla="*/ 842382 h 1302505"/>
                <a:gd name="connsiteX2368" fmla="*/ 464844 w 1478629"/>
                <a:gd name="connsiteY2368" fmla="*/ 840627 h 1302505"/>
                <a:gd name="connsiteX2369" fmla="*/ 462544 w 1478629"/>
                <a:gd name="connsiteY2369" fmla="*/ 839568 h 1302505"/>
                <a:gd name="connsiteX2370" fmla="*/ 459943 w 1478629"/>
                <a:gd name="connsiteY2370" fmla="*/ 839054 h 1302505"/>
                <a:gd name="connsiteX2371" fmla="*/ 456827 w 1478629"/>
                <a:gd name="connsiteY2371" fmla="*/ 838903 h 1302505"/>
                <a:gd name="connsiteX2372" fmla="*/ 459217 w 1478629"/>
                <a:gd name="connsiteY2372" fmla="*/ 840264 h 1302505"/>
                <a:gd name="connsiteX2373" fmla="*/ 461455 w 1478629"/>
                <a:gd name="connsiteY2373" fmla="*/ 842382 h 1302505"/>
                <a:gd name="connsiteX2374" fmla="*/ 462605 w 1478629"/>
                <a:gd name="connsiteY2374" fmla="*/ 845225 h 1302505"/>
                <a:gd name="connsiteX2375" fmla="*/ 461667 w 1478629"/>
                <a:gd name="connsiteY2375" fmla="*/ 848734 h 1302505"/>
                <a:gd name="connsiteX2376" fmla="*/ 462272 w 1478629"/>
                <a:gd name="connsiteY2376" fmla="*/ 850338 h 1302505"/>
                <a:gd name="connsiteX2377" fmla="*/ 462635 w 1478629"/>
                <a:gd name="connsiteY2377" fmla="*/ 854028 h 1302505"/>
                <a:gd name="connsiteX2378" fmla="*/ 463028 w 1478629"/>
                <a:gd name="connsiteY2378" fmla="*/ 855843 h 1302505"/>
                <a:gd name="connsiteX2379" fmla="*/ 461667 w 1478629"/>
                <a:gd name="connsiteY2379" fmla="*/ 854876 h 1302505"/>
                <a:gd name="connsiteX2380" fmla="*/ 460820 w 1478629"/>
                <a:gd name="connsiteY2380" fmla="*/ 852758 h 1302505"/>
                <a:gd name="connsiteX2381" fmla="*/ 460397 w 1478629"/>
                <a:gd name="connsiteY2381" fmla="*/ 850065 h 1302505"/>
                <a:gd name="connsiteX2382" fmla="*/ 460275 w 1478629"/>
                <a:gd name="connsiteY2382" fmla="*/ 847343 h 1302505"/>
                <a:gd name="connsiteX2383" fmla="*/ 460578 w 1478629"/>
                <a:gd name="connsiteY2383" fmla="*/ 845255 h 1302505"/>
                <a:gd name="connsiteX2384" fmla="*/ 460427 w 1478629"/>
                <a:gd name="connsiteY2384" fmla="*/ 844045 h 1302505"/>
                <a:gd name="connsiteX2385" fmla="*/ 459610 w 1478629"/>
                <a:gd name="connsiteY2385" fmla="*/ 842412 h 1302505"/>
                <a:gd name="connsiteX2386" fmla="*/ 458702 w 1478629"/>
                <a:gd name="connsiteY2386" fmla="*/ 841474 h 1302505"/>
                <a:gd name="connsiteX2387" fmla="*/ 455466 w 1478629"/>
                <a:gd name="connsiteY2387" fmla="*/ 839720 h 1302505"/>
                <a:gd name="connsiteX2388" fmla="*/ 451624 w 1478629"/>
                <a:gd name="connsiteY2388" fmla="*/ 836271 h 1302505"/>
                <a:gd name="connsiteX2389" fmla="*/ 448205 w 1478629"/>
                <a:gd name="connsiteY2389" fmla="*/ 832157 h 1302505"/>
                <a:gd name="connsiteX2390" fmla="*/ 444817 w 1478629"/>
                <a:gd name="connsiteY2390" fmla="*/ 824594 h 1302505"/>
                <a:gd name="connsiteX2391" fmla="*/ 444424 w 1478629"/>
                <a:gd name="connsiteY2391" fmla="*/ 823081 h 1302505"/>
                <a:gd name="connsiteX2392" fmla="*/ 442548 w 1478629"/>
                <a:gd name="connsiteY2392" fmla="*/ 810920 h 1302505"/>
                <a:gd name="connsiteX2393" fmla="*/ 441217 w 1478629"/>
                <a:gd name="connsiteY2393" fmla="*/ 806050 h 1302505"/>
                <a:gd name="connsiteX2394" fmla="*/ 440945 w 1478629"/>
                <a:gd name="connsiteY2394" fmla="*/ 803418 h 1302505"/>
                <a:gd name="connsiteX2395" fmla="*/ 439765 w 1478629"/>
                <a:gd name="connsiteY2395" fmla="*/ 799455 h 1302505"/>
                <a:gd name="connsiteX2396" fmla="*/ 436952 w 1478629"/>
                <a:gd name="connsiteY2396" fmla="*/ 795613 h 1302505"/>
                <a:gd name="connsiteX2397" fmla="*/ 424760 w 1478629"/>
                <a:gd name="connsiteY2397" fmla="*/ 783119 h 1302505"/>
                <a:gd name="connsiteX2398" fmla="*/ 423217 w 1478629"/>
                <a:gd name="connsiteY2398" fmla="*/ 782695 h 1302505"/>
                <a:gd name="connsiteX2399" fmla="*/ 418982 w 1478629"/>
                <a:gd name="connsiteY2399" fmla="*/ 780487 h 1302505"/>
                <a:gd name="connsiteX2400" fmla="*/ 412236 w 1478629"/>
                <a:gd name="connsiteY2400" fmla="*/ 775647 h 1302505"/>
                <a:gd name="connsiteX2401" fmla="*/ 411359 w 1478629"/>
                <a:gd name="connsiteY2401" fmla="*/ 774618 h 1302505"/>
                <a:gd name="connsiteX2402" fmla="*/ 410300 w 1478629"/>
                <a:gd name="connsiteY2402" fmla="*/ 773045 h 1302505"/>
                <a:gd name="connsiteX2403" fmla="*/ 409998 w 1478629"/>
                <a:gd name="connsiteY2403" fmla="*/ 772350 h 1302505"/>
                <a:gd name="connsiteX2404" fmla="*/ 409998 w 1478629"/>
                <a:gd name="connsiteY2404" fmla="*/ 771654 h 1302505"/>
                <a:gd name="connsiteX2405" fmla="*/ 410209 w 1478629"/>
                <a:gd name="connsiteY2405" fmla="*/ 770958 h 1302505"/>
                <a:gd name="connsiteX2406" fmla="*/ 410482 w 1478629"/>
                <a:gd name="connsiteY2406" fmla="*/ 770535 h 1302505"/>
                <a:gd name="connsiteX2407" fmla="*/ 410542 w 1478629"/>
                <a:gd name="connsiteY2407" fmla="*/ 769052 h 1302505"/>
                <a:gd name="connsiteX2408" fmla="*/ 410603 w 1478629"/>
                <a:gd name="connsiteY2408" fmla="*/ 768054 h 1302505"/>
                <a:gd name="connsiteX2409" fmla="*/ 410361 w 1478629"/>
                <a:gd name="connsiteY2409" fmla="*/ 767479 h 1302505"/>
                <a:gd name="connsiteX2410" fmla="*/ 409302 w 1478629"/>
                <a:gd name="connsiteY2410" fmla="*/ 766995 h 1302505"/>
                <a:gd name="connsiteX2411" fmla="*/ 407668 w 1478629"/>
                <a:gd name="connsiteY2411" fmla="*/ 767540 h 1302505"/>
                <a:gd name="connsiteX2412" fmla="*/ 406216 w 1478629"/>
                <a:gd name="connsiteY2412" fmla="*/ 769597 h 1302505"/>
                <a:gd name="connsiteX2413" fmla="*/ 402798 w 1478629"/>
                <a:gd name="connsiteY2413" fmla="*/ 776010 h 1302505"/>
                <a:gd name="connsiteX2414" fmla="*/ 402163 w 1478629"/>
                <a:gd name="connsiteY2414" fmla="*/ 777946 h 1302505"/>
                <a:gd name="connsiteX2415" fmla="*/ 400347 w 1478629"/>
                <a:gd name="connsiteY2415" fmla="*/ 805687 h 1302505"/>
                <a:gd name="connsiteX2416" fmla="*/ 396173 w 1478629"/>
                <a:gd name="connsiteY2416" fmla="*/ 826409 h 1302505"/>
                <a:gd name="connsiteX2417" fmla="*/ 390032 w 1478629"/>
                <a:gd name="connsiteY2417" fmla="*/ 890663 h 1302505"/>
                <a:gd name="connsiteX2418" fmla="*/ 390697 w 1478629"/>
                <a:gd name="connsiteY2418" fmla="*/ 889211 h 1302505"/>
                <a:gd name="connsiteX2419" fmla="*/ 391605 w 1478629"/>
                <a:gd name="connsiteY2419" fmla="*/ 886095 h 1302505"/>
                <a:gd name="connsiteX2420" fmla="*/ 392754 w 1478629"/>
                <a:gd name="connsiteY2420" fmla="*/ 880377 h 1302505"/>
                <a:gd name="connsiteX2421" fmla="*/ 397292 w 1478629"/>
                <a:gd name="connsiteY2421" fmla="*/ 874025 h 1302505"/>
                <a:gd name="connsiteX2422" fmla="*/ 397958 w 1478629"/>
                <a:gd name="connsiteY2422" fmla="*/ 872814 h 1302505"/>
                <a:gd name="connsiteX2423" fmla="*/ 398200 w 1478629"/>
                <a:gd name="connsiteY2423" fmla="*/ 872603 h 1302505"/>
                <a:gd name="connsiteX2424" fmla="*/ 398351 w 1478629"/>
                <a:gd name="connsiteY2424" fmla="*/ 872088 h 1302505"/>
                <a:gd name="connsiteX2425" fmla="*/ 398532 w 1478629"/>
                <a:gd name="connsiteY2425" fmla="*/ 871544 h 1302505"/>
                <a:gd name="connsiteX2426" fmla="*/ 398956 w 1478629"/>
                <a:gd name="connsiteY2426" fmla="*/ 871151 h 1302505"/>
                <a:gd name="connsiteX2427" fmla="*/ 399652 w 1478629"/>
                <a:gd name="connsiteY2427" fmla="*/ 871090 h 1302505"/>
                <a:gd name="connsiteX2428" fmla="*/ 400136 w 1478629"/>
                <a:gd name="connsiteY2428" fmla="*/ 871362 h 1302505"/>
                <a:gd name="connsiteX2429" fmla="*/ 400559 w 1478629"/>
                <a:gd name="connsiteY2429" fmla="*/ 871756 h 1302505"/>
                <a:gd name="connsiteX2430" fmla="*/ 401013 w 1478629"/>
                <a:gd name="connsiteY2430" fmla="*/ 872028 h 1302505"/>
                <a:gd name="connsiteX2431" fmla="*/ 402102 w 1478629"/>
                <a:gd name="connsiteY2431" fmla="*/ 872451 h 1302505"/>
                <a:gd name="connsiteX2432" fmla="*/ 409695 w 1478629"/>
                <a:gd name="connsiteY2432" fmla="*/ 879016 h 1302505"/>
                <a:gd name="connsiteX2433" fmla="*/ 410693 w 1478629"/>
                <a:gd name="connsiteY2433" fmla="*/ 880892 h 1302505"/>
                <a:gd name="connsiteX2434" fmla="*/ 409332 w 1478629"/>
                <a:gd name="connsiteY2434" fmla="*/ 880892 h 1302505"/>
                <a:gd name="connsiteX2435" fmla="*/ 411813 w 1478629"/>
                <a:gd name="connsiteY2435" fmla="*/ 883281 h 1302505"/>
                <a:gd name="connsiteX2436" fmla="*/ 411813 w 1478629"/>
                <a:gd name="connsiteY2436" fmla="*/ 885248 h 1302505"/>
                <a:gd name="connsiteX2437" fmla="*/ 409756 w 1478629"/>
                <a:gd name="connsiteY2437" fmla="*/ 886579 h 1302505"/>
                <a:gd name="connsiteX2438" fmla="*/ 406216 w 1478629"/>
                <a:gd name="connsiteY2438" fmla="*/ 887063 h 1302505"/>
                <a:gd name="connsiteX2439" fmla="*/ 400045 w 1478629"/>
                <a:gd name="connsiteY2439" fmla="*/ 885671 h 1302505"/>
                <a:gd name="connsiteX2440" fmla="*/ 397504 w 1478629"/>
                <a:gd name="connsiteY2440" fmla="*/ 885762 h 1302505"/>
                <a:gd name="connsiteX2441" fmla="*/ 395507 w 1478629"/>
                <a:gd name="connsiteY2441" fmla="*/ 888031 h 1302505"/>
                <a:gd name="connsiteX2442" fmla="*/ 393722 w 1478629"/>
                <a:gd name="connsiteY2442" fmla="*/ 893990 h 1302505"/>
                <a:gd name="connsiteX2443" fmla="*/ 393450 w 1478629"/>
                <a:gd name="connsiteY2443" fmla="*/ 895564 h 1302505"/>
                <a:gd name="connsiteX2444" fmla="*/ 393057 w 1478629"/>
                <a:gd name="connsiteY2444" fmla="*/ 896411 h 1302505"/>
                <a:gd name="connsiteX2445" fmla="*/ 390395 w 1478629"/>
                <a:gd name="connsiteY2445" fmla="*/ 899980 h 1302505"/>
                <a:gd name="connsiteX2446" fmla="*/ 390274 w 1478629"/>
                <a:gd name="connsiteY2446" fmla="*/ 901069 h 1302505"/>
                <a:gd name="connsiteX2447" fmla="*/ 391121 w 1478629"/>
                <a:gd name="connsiteY2447" fmla="*/ 904730 h 1302505"/>
                <a:gd name="connsiteX2448" fmla="*/ 391363 w 1478629"/>
                <a:gd name="connsiteY2448" fmla="*/ 906636 h 1302505"/>
                <a:gd name="connsiteX2449" fmla="*/ 390667 w 1478629"/>
                <a:gd name="connsiteY2449" fmla="*/ 914652 h 1302505"/>
                <a:gd name="connsiteX2450" fmla="*/ 387914 w 1478629"/>
                <a:gd name="connsiteY2450" fmla="*/ 932773 h 1302505"/>
                <a:gd name="connsiteX2451" fmla="*/ 381410 w 1478629"/>
                <a:gd name="connsiteY2451" fmla="*/ 969165 h 1302505"/>
                <a:gd name="connsiteX2452" fmla="*/ 377871 w 1478629"/>
                <a:gd name="connsiteY2452" fmla="*/ 985773 h 1302505"/>
                <a:gd name="connsiteX2453" fmla="*/ 375481 w 1478629"/>
                <a:gd name="connsiteY2453" fmla="*/ 993094 h 1302505"/>
                <a:gd name="connsiteX2454" fmla="*/ 371367 w 1478629"/>
                <a:gd name="connsiteY2454" fmla="*/ 1014028 h 1302505"/>
                <a:gd name="connsiteX2455" fmla="*/ 368946 w 1478629"/>
                <a:gd name="connsiteY2455" fmla="*/ 1021289 h 1302505"/>
                <a:gd name="connsiteX2456" fmla="*/ 368251 w 1478629"/>
                <a:gd name="connsiteY2456" fmla="*/ 1025312 h 1302505"/>
                <a:gd name="connsiteX2457" fmla="*/ 365286 w 1478629"/>
                <a:gd name="connsiteY2457" fmla="*/ 1029124 h 1302505"/>
                <a:gd name="connsiteX2458" fmla="*/ 364530 w 1478629"/>
                <a:gd name="connsiteY2458" fmla="*/ 1030576 h 1302505"/>
                <a:gd name="connsiteX2459" fmla="*/ 360567 w 1478629"/>
                <a:gd name="connsiteY2459" fmla="*/ 1035325 h 1302505"/>
                <a:gd name="connsiteX2460" fmla="*/ 359689 w 1478629"/>
                <a:gd name="connsiteY2460" fmla="*/ 1036324 h 1302505"/>
                <a:gd name="connsiteX2461" fmla="*/ 359266 w 1478629"/>
                <a:gd name="connsiteY2461" fmla="*/ 1037745 h 1302505"/>
                <a:gd name="connsiteX2462" fmla="*/ 357088 w 1478629"/>
                <a:gd name="connsiteY2462" fmla="*/ 1041678 h 1302505"/>
                <a:gd name="connsiteX2463" fmla="*/ 356211 w 1478629"/>
                <a:gd name="connsiteY2463" fmla="*/ 1042767 h 1302505"/>
                <a:gd name="connsiteX2464" fmla="*/ 354335 w 1478629"/>
                <a:gd name="connsiteY2464" fmla="*/ 1044037 h 1302505"/>
                <a:gd name="connsiteX2465" fmla="*/ 352066 w 1478629"/>
                <a:gd name="connsiteY2465" fmla="*/ 1045157 h 1302505"/>
                <a:gd name="connsiteX2466" fmla="*/ 349737 w 1478629"/>
                <a:gd name="connsiteY2466" fmla="*/ 1048212 h 1302505"/>
                <a:gd name="connsiteX2467" fmla="*/ 340813 w 1478629"/>
                <a:gd name="connsiteY2467" fmla="*/ 1049543 h 1302505"/>
                <a:gd name="connsiteX2468" fmla="*/ 338967 w 1478629"/>
                <a:gd name="connsiteY2468" fmla="*/ 1050269 h 1302505"/>
                <a:gd name="connsiteX2469" fmla="*/ 338211 w 1478629"/>
                <a:gd name="connsiteY2469" fmla="*/ 1051207 h 1302505"/>
                <a:gd name="connsiteX2470" fmla="*/ 336668 w 1478629"/>
                <a:gd name="connsiteY2470" fmla="*/ 1050179 h 1302505"/>
                <a:gd name="connsiteX2471" fmla="*/ 336608 w 1478629"/>
                <a:gd name="connsiteY2471" fmla="*/ 1050179 h 1302505"/>
                <a:gd name="connsiteX2472" fmla="*/ 336335 w 1478629"/>
                <a:gd name="connsiteY2472" fmla="*/ 1049967 h 1302505"/>
                <a:gd name="connsiteX2473" fmla="*/ 336093 w 1478629"/>
                <a:gd name="connsiteY2473" fmla="*/ 1051449 h 1302505"/>
                <a:gd name="connsiteX2474" fmla="*/ 336033 w 1478629"/>
                <a:gd name="connsiteY2474" fmla="*/ 1054111 h 1302505"/>
                <a:gd name="connsiteX2475" fmla="*/ 336033 w 1478629"/>
                <a:gd name="connsiteY2475" fmla="*/ 1055654 h 1302505"/>
                <a:gd name="connsiteX2476" fmla="*/ 338937 w 1478629"/>
                <a:gd name="connsiteY2476" fmla="*/ 1056955 h 1302505"/>
                <a:gd name="connsiteX2477" fmla="*/ 340177 w 1478629"/>
                <a:gd name="connsiteY2477" fmla="*/ 1058528 h 1302505"/>
                <a:gd name="connsiteX2478" fmla="*/ 340510 w 1478629"/>
                <a:gd name="connsiteY2478" fmla="*/ 1061009 h 1302505"/>
                <a:gd name="connsiteX2479" fmla="*/ 340782 w 1478629"/>
                <a:gd name="connsiteY2479" fmla="*/ 1061553 h 1302505"/>
                <a:gd name="connsiteX2480" fmla="*/ 341024 w 1478629"/>
                <a:gd name="connsiteY2480" fmla="*/ 1062037 h 1302505"/>
                <a:gd name="connsiteX2481" fmla="*/ 342113 w 1478629"/>
                <a:gd name="connsiteY2481" fmla="*/ 1061886 h 1302505"/>
                <a:gd name="connsiteX2482" fmla="*/ 343293 w 1478629"/>
                <a:gd name="connsiteY2482" fmla="*/ 1061342 h 1302505"/>
                <a:gd name="connsiteX2483" fmla="*/ 345471 w 1478629"/>
                <a:gd name="connsiteY2483" fmla="*/ 1061069 h 1302505"/>
                <a:gd name="connsiteX2484" fmla="*/ 347498 w 1478629"/>
                <a:gd name="connsiteY2484" fmla="*/ 1060283 h 1302505"/>
                <a:gd name="connsiteX2485" fmla="*/ 348436 w 1478629"/>
                <a:gd name="connsiteY2485" fmla="*/ 1060373 h 1302505"/>
                <a:gd name="connsiteX2486" fmla="*/ 350342 w 1478629"/>
                <a:gd name="connsiteY2486" fmla="*/ 1061221 h 1302505"/>
                <a:gd name="connsiteX2487" fmla="*/ 351340 w 1478629"/>
                <a:gd name="connsiteY2487" fmla="*/ 1061886 h 1302505"/>
                <a:gd name="connsiteX2488" fmla="*/ 351340 w 1478629"/>
                <a:gd name="connsiteY2488" fmla="*/ 1062491 h 1302505"/>
                <a:gd name="connsiteX2489" fmla="*/ 351038 w 1478629"/>
                <a:gd name="connsiteY2489" fmla="*/ 1063247 h 1302505"/>
                <a:gd name="connsiteX2490" fmla="*/ 351219 w 1478629"/>
                <a:gd name="connsiteY2490" fmla="*/ 1064367 h 1302505"/>
                <a:gd name="connsiteX2491" fmla="*/ 351945 w 1478629"/>
                <a:gd name="connsiteY2491" fmla="*/ 1066545 h 1302505"/>
                <a:gd name="connsiteX2492" fmla="*/ 352459 w 1478629"/>
                <a:gd name="connsiteY2492" fmla="*/ 1067119 h 1302505"/>
                <a:gd name="connsiteX2493" fmla="*/ 353700 w 1478629"/>
                <a:gd name="connsiteY2493" fmla="*/ 1067634 h 1302505"/>
                <a:gd name="connsiteX2494" fmla="*/ 354789 w 1478629"/>
                <a:gd name="connsiteY2494" fmla="*/ 1067785 h 1302505"/>
                <a:gd name="connsiteX2495" fmla="*/ 356059 w 1478629"/>
                <a:gd name="connsiteY2495" fmla="*/ 1067634 h 1302505"/>
                <a:gd name="connsiteX2496" fmla="*/ 357148 w 1478629"/>
                <a:gd name="connsiteY2496" fmla="*/ 1067059 h 1302505"/>
                <a:gd name="connsiteX2497" fmla="*/ 357723 w 1478629"/>
                <a:gd name="connsiteY2497" fmla="*/ 1065940 h 1302505"/>
                <a:gd name="connsiteX2498" fmla="*/ 358510 w 1478629"/>
                <a:gd name="connsiteY2498" fmla="*/ 1063762 h 1302505"/>
                <a:gd name="connsiteX2499" fmla="*/ 360022 w 1478629"/>
                <a:gd name="connsiteY2499" fmla="*/ 1062914 h 1302505"/>
                <a:gd name="connsiteX2500" fmla="*/ 362019 w 1478629"/>
                <a:gd name="connsiteY2500" fmla="*/ 1062975 h 1302505"/>
                <a:gd name="connsiteX2501" fmla="*/ 365135 w 1478629"/>
                <a:gd name="connsiteY2501" fmla="*/ 1063852 h 1302505"/>
                <a:gd name="connsiteX2502" fmla="*/ 369340 w 1478629"/>
                <a:gd name="connsiteY2502" fmla="*/ 1065879 h 1302505"/>
                <a:gd name="connsiteX2503" fmla="*/ 370459 w 1478629"/>
                <a:gd name="connsiteY2503" fmla="*/ 1065698 h 1302505"/>
                <a:gd name="connsiteX2504" fmla="*/ 371578 w 1478629"/>
                <a:gd name="connsiteY2504" fmla="*/ 1065335 h 1302505"/>
                <a:gd name="connsiteX2505" fmla="*/ 372788 w 1478629"/>
                <a:gd name="connsiteY2505" fmla="*/ 1065335 h 1302505"/>
                <a:gd name="connsiteX2506" fmla="*/ 375693 w 1478629"/>
                <a:gd name="connsiteY2506" fmla="*/ 1068088 h 1302505"/>
                <a:gd name="connsiteX2507" fmla="*/ 376086 w 1478629"/>
                <a:gd name="connsiteY2507" fmla="*/ 1072716 h 1302505"/>
                <a:gd name="connsiteX2508" fmla="*/ 374997 w 1478629"/>
                <a:gd name="connsiteY2508" fmla="*/ 1077768 h 1302505"/>
                <a:gd name="connsiteX2509" fmla="*/ 373454 w 1478629"/>
                <a:gd name="connsiteY2509" fmla="*/ 1081792 h 1302505"/>
                <a:gd name="connsiteX2510" fmla="*/ 372183 w 1478629"/>
                <a:gd name="connsiteY2510" fmla="*/ 1083364 h 1302505"/>
                <a:gd name="connsiteX2511" fmla="*/ 368039 w 1478629"/>
                <a:gd name="connsiteY2511" fmla="*/ 1087479 h 1302505"/>
                <a:gd name="connsiteX2512" fmla="*/ 367222 w 1478629"/>
                <a:gd name="connsiteY2512" fmla="*/ 1088538 h 1302505"/>
                <a:gd name="connsiteX2513" fmla="*/ 368493 w 1478629"/>
                <a:gd name="connsiteY2513" fmla="*/ 1091290 h 1302505"/>
                <a:gd name="connsiteX2514" fmla="*/ 370338 w 1478629"/>
                <a:gd name="connsiteY2514" fmla="*/ 1093196 h 1302505"/>
                <a:gd name="connsiteX2515" fmla="*/ 372546 w 1478629"/>
                <a:gd name="connsiteY2515" fmla="*/ 1094376 h 1302505"/>
                <a:gd name="connsiteX2516" fmla="*/ 375027 w 1478629"/>
                <a:gd name="connsiteY2516" fmla="*/ 1094981 h 1302505"/>
                <a:gd name="connsiteX2517" fmla="*/ 377780 w 1478629"/>
                <a:gd name="connsiteY2517" fmla="*/ 1095223 h 1302505"/>
                <a:gd name="connsiteX2518" fmla="*/ 379474 w 1478629"/>
                <a:gd name="connsiteY2518" fmla="*/ 1094709 h 1302505"/>
                <a:gd name="connsiteX2519" fmla="*/ 380321 w 1478629"/>
                <a:gd name="connsiteY2519" fmla="*/ 1092985 h 1302505"/>
                <a:gd name="connsiteX2520" fmla="*/ 380563 w 1478629"/>
                <a:gd name="connsiteY2520" fmla="*/ 1089687 h 1302505"/>
                <a:gd name="connsiteX2521" fmla="*/ 381259 w 1478629"/>
                <a:gd name="connsiteY2521" fmla="*/ 1087146 h 1302505"/>
                <a:gd name="connsiteX2522" fmla="*/ 382983 w 1478629"/>
                <a:gd name="connsiteY2522" fmla="*/ 1085331 h 1302505"/>
                <a:gd name="connsiteX2523" fmla="*/ 385252 w 1478629"/>
                <a:gd name="connsiteY2523" fmla="*/ 1084544 h 1302505"/>
                <a:gd name="connsiteX2524" fmla="*/ 387521 w 1478629"/>
                <a:gd name="connsiteY2524" fmla="*/ 1085089 h 1302505"/>
                <a:gd name="connsiteX2525" fmla="*/ 385403 w 1478629"/>
                <a:gd name="connsiteY2525" fmla="*/ 1086753 h 1302505"/>
                <a:gd name="connsiteX2526" fmla="*/ 384586 w 1478629"/>
                <a:gd name="connsiteY2526" fmla="*/ 1088386 h 1302505"/>
                <a:gd name="connsiteX2527" fmla="*/ 385040 w 1478629"/>
                <a:gd name="connsiteY2527" fmla="*/ 1090080 h 1302505"/>
                <a:gd name="connsiteX2528" fmla="*/ 386734 w 1478629"/>
                <a:gd name="connsiteY2528" fmla="*/ 1091895 h 1302505"/>
                <a:gd name="connsiteX2529" fmla="*/ 388610 w 1478629"/>
                <a:gd name="connsiteY2529" fmla="*/ 1092954 h 1302505"/>
                <a:gd name="connsiteX2530" fmla="*/ 394448 w 1478629"/>
                <a:gd name="connsiteY2530" fmla="*/ 1093892 h 1302505"/>
                <a:gd name="connsiteX2531" fmla="*/ 397897 w 1478629"/>
                <a:gd name="connsiteY2531" fmla="*/ 1095677 h 1302505"/>
                <a:gd name="connsiteX2532" fmla="*/ 401164 w 1478629"/>
                <a:gd name="connsiteY2532" fmla="*/ 1098157 h 1302505"/>
                <a:gd name="connsiteX2533" fmla="*/ 404946 w 1478629"/>
                <a:gd name="connsiteY2533" fmla="*/ 1097825 h 1302505"/>
                <a:gd name="connsiteX2534" fmla="*/ 405823 w 1478629"/>
                <a:gd name="connsiteY2534" fmla="*/ 1098157 h 1302505"/>
                <a:gd name="connsiteX2535" fmla="*/ 407487 w 1478629"/>
                <a:gd name="connsiteY2535" fmla="*/ 1099126 h 1302505"/>
                <a:gd name="connsiteX2536" fmla="*/ 408243 w 1478629"/>
                <a:gd name="connsiteY2536" fmla="*/ 1099700 h 1302505"/>
                <a:gd name="connsiteX2537" fmla="*/ 411722 w 1478629"/>
                <a:gd name="connsiteY2537" fmla="*/ 1100094 h 1302505"/>
                <a:gd name="connsiteX2538" fmla="*/ 413386 w 1478629"/>
                <a:gd name="connsiteY2538" fmla="*/ 1100547 h 1302505"/>
                <a:gd name="connsiteX2539" fmla="*/ 414626 w 1478629"/>
                <a:gd name="connsiteY2539" fmla="*/ 1101878 h 1302505"/>
                <a:gd name="connsiteX2540" fmla="*/ 418135 w 1478629"/>
                <a:gd name="connsiteY2540" fmla="*/ 1104299 h 1302505"/>
                <a:gd name="connsiteX2541" fmla="*/ 421977 w 1478629"/>
                <a:gd name="connsiteY2541" fmla="*/ 1105448 h 1302505"/>
                <a:gd name="connsiteX2542" fmla="*/ 429994 w 1478629"/>
                <a:gd name="connsiteY2542" fmla="*/ 1106053 h 1302505"/>
                <a:gd name="connsiteX2543" fmla="*/ 437738 w 1478629"/>
                <a:gd name="connsiteY2543" fmla="*/ 1104783 h 1302505"/>
                <a:gd name="connsiteX2544" fmla="*/ 440431 w 1478629"/>
                <a:gd name="connsiteY2544" fmla="*/ 1105629 h 1302505"/>
                <a:gd name="connsiteX2545" fmla="*/ 441913 w 1478629"/>
                <a:gd name="connsiteY2545" fmla="*/ 1109139 h 1302505"/>
                <a:gd name="connsiteX2546" fmla="*/ 442336 w 1478629"/>
                <a:gd name="connsiteY2546" fmla="*/ 1110137 h 1302505"/>
                <a:gd name="connsiteX2547" fmla="*/ 442276 w 1478629"/>
                <a:gd name="connsiteY2547" fmla="*/ 1111014 h 1302505"/>
                <a:gd name="connsiteX2548" fmla="*/ 441943 w 1478629"/>
                <a:gd name="connsiteY2548" fmla="*/ 1111589 h 1302505"/>
                <a:gd name="connsiteX2549" fmla="*/ 441822 w 1478629"/>
                <a:gd name="connsiteY2549" fmla="*/ 1112255 h 1302505"/>
                <a:gd name="connsiteX2550" fmla="*/ 442397 w 1478629"/>
                <a:gd name="connsiteY2550" fmla="*/ 1113404 h 1302505"/>
                <a:gd name="connsiteX2551" fmla="*/ 443425 w 1478629"/>
                <a:gd name="connsiteY2551" fmla="*/ 1114312 h 1302505"/>
                <a:gd name="connsiteX2552" fmla="*/ 444424 w 1478629"/>
                <a:gd name="connsiteY2552" fmla="*/ 1114433 h 1302505"/>
                <a:gd name="connsiteX2553" fmla="*/ 445422 w 1478629"/>
                <a:gd name="connsiteY2553" fmla="*/ 1114312 h 1302505"/>
                <a:gd name="connsiteX2554" fmla="*/ 446420 w 1478629"/>
                <a:gd name="connsiteY2554" fmla="*/ 1114463 h 1302505"/>
                <a:gd name="connsiteX2555" fmla="*/ 449869 w 1478629"/>
                <a:gd name="connsiteY2555" fmla="*/ 1116429 h 1302505"/>
                <a:gd name="connsiteX2556" fmla="*/ 451654 w 1478629"/>
                <a:gd name="connsiteY2556" fmla="*/ 1117821 h 1302505"/>
                <a:gd name="connsiteX2557" fmla="*/ 455556 w 1478629"/>
                <a:gd name="connsiteY2557" fmla="*/ 1122631 h 1302505"/>
                <a:gd name="connsiteX2558" fmla="*/ 455707 w 1478629"/>
                <a:gd name="connsiteY2558" fmla="*/ 1123175 h 1302505"/>
                <a:gd name="connsiteX2559" fmla="*/ 455526 w 1478629"/>
                <a:gd name="connsiteY2559" fmla="*/ 1123720 h 1302505"/>
                <a:gd name="connsiteX2560" fmla="*/ 455526 w 1478629"/>
                <a:gd name="connsiteY2560" fmla="*/ 1124174 h 1302505"/>
                <a:gd name="connsiteX2561" fmla="*/ 456161 w 1478629"/>
                <a:gd name="connsiteY2561" fmla="*/ 1124446 h 1302505"/>
                <a:gd name="connsiteX2562" fmla="*/ 457795 w 1478629"/>
                <a:gd name="connsiteY2562" fmla="*/ 1124446 h 1302505"/>
                <a:gd name="connsiteX2563" fmla="*/ 458218 w 1478629"/>
                <a:gd name="connsiteY2563" fmla="*/ 1124567 h 1302505"/>
                <a:gd name="connsiteX2564" fmla="*/ 458793 w 1478629"/>
                <a:gd name="connsiteY2564" fmla="*/ 1125323 h 1302505"/>
                <a:gd name="connsiteX2565" fmla="*/ 458672 w 1478629"/>
                <a:gd name="connsiteY2565" fmla="*/ 1126140 h 1302505"/>
                <a:gd name="connsiteX2566" fmla="*/ 458672 w 1478629"/>
                <a:gd name="connsiteY2566" fmla="*/ 1126896 h 1302505"/>
                <a:gd name="connsiteX2567" fmla="*/ 459640 w 1478629"/>
                <a:gd name="connsiteY2567" fmla="*/ 1127471 h 1302505"/>
                <a:gd name="connsiteX2568" fmla="*/ 460427 w 1478629"/>
                <a:gd name="connsiteY2568" fmla="*/ 1127350 h 1302505"/>
                <a:gd name="connsiteX2569" fmla="*/ 462121 w 1478629"/>
                <a:gd name="connsiteY2569" fmla="*/ 1126291 h 1302505"/>
                <a:gd name="connsiteX2570" fmla="*/ 462998 w 1478629"/>
                <a:gd name="connsiteY2570" fmla="*/ 1126019 h 1302505"/>
                <a:gd name="connsiteX2571" fmla="*/ 463180 w 1478629"/>
                <a:gd name="connsiteY2571" fmla="*/ 1123024 h 1302505"/>
                <a:gd name="connsiteX2572" fmla="*/ 465751 w 1478629"/>
                <a:gd name="connsiteY2572" fmla="*/ 1123085 h 1302505"/>
                <a:gd name="connsiteX2573" fmla="*/ 471166 w 1478629"/>
                <a:gd name="connsiteY2573" fmla="*/ 1125414 h 1302505"/>
                <a:gd name="connsiteX2574" fmla="*/ 474252 w 1478629"/>
                <a:gd name="connsiteY2574" fmla="*/ 1125202 h 1302505"/>
                <a:gd name="connsiteX2575" fmla="*/ 476672 w 1478629"/>
                <a:gd name="connsiteY2575" fmla="*/ 1123871 h 1302505"/>
                <a:gd name="connsiteX2576" fmla="*/ 481512 w 1478629"/>
                <a:gd name="connsiteY2576" fmla="*/ 1120362 h 1302505"/>
                <a:gd name="connsiteX2577" fmla="*/ 482389 w 1478629"/>
                <a:gd name="connsiteY2577" fmla="*/ 1121179 h 1302505"/>
                <a:gd name="connsiteX2578" fmla="*/ 483176 w 1478629"/>
                <a:gd name="connsiteY2578" fmla="*/ 1120907 h 1302505"/>
                <a:gd name="connsiteX2579" fmla="*/ 483872 w 1478629"/>
                <a:gd name="connsiteY2579" fmla="*/ 1119939 h 1302505"/>
                <a:gd name="connsiteX2580" fmla="*/ 484416 w 1478629"/>
                <a:gd name="connsiteY2580" fmla="*/ 1118698 h 1302505"/>
                <a:gd name="connsiteX2581" fmla="*/ 485959 w 1478629"/>
                <a:gd name="connsiteY2581" fmla="*/ 1120059 h 1302505"/>
                <a:gd name="connsiteX2582" fmla="*/ 486201 w 1478629"/>
                <a:gd name="connsiteY2582" fmla="*/ 1120181 h 1302505"/>
                <a:gd name="connsiteX2583" fmla="*/ 492040 w 1478629"/>
                <a:gd name="connsiteY2583" fmla="*/ 1123448 h 1302505"/>
                <a:gd name="connsiteX2584" fmla="*/ 493249 w 1478629"/>
                <a:gd name="connsiteY2584" fmla="*/ 1125777 h 1302505"/>
                <a:gd name="connsiteX2585" fmla="*/ 495942 w 1478629"/>
                <a:gd name="connsiteY2585" fmla="*/ 1126079 h 1302505"/>
                <a:gd name="connsiteX2586" fmla="*/ 498846 w 1478629"/>
                <a:gd name="connsiteY2586" fmla="*/ 1125323 h 1302505"/>
                <a:gd name="connsiteX2587" fmla="*/ 500661 w 1478629"/>
                <a:gd name="connsiteY2587" fmla="*/ 1124627 h 1302505"/>
                <a:gd name="connsiteX2588" fmla="*/ 500419 w 1478629"/>
                <a:gd name="connsiteY2588" fmla="*/ 1126836 h 1302505"/>
                <a:gd name="connsiteX2589" fmla="*/ 500994 w 1478629"/>
                <a:gd name="connsiteY2589" fmla="*/ 1129014 h 1302505"/>
                <a:gd name="connsiteX2590" fmla="*/ 502204 w 1478629"/>
                <a:gd name="connsiteY2590" fmla="*/ 1130890 h 1302505"/>
                <a:gd name="connsiteX2591" fmla="*/ 503868 w 1478629"/>
                <a:gd name="connsiteY2591" fmla="*/ 1132130 h 1302505"/>
                <a:gd name="connsiteX2592" fmla="*/ 504473 w 1478629"/>
                <a:gd name="connsiteY2592" fmla="*/ 1132826 h 1302505"/>
                <a:gd name="connsiteX2593" fmla="*/ 504594 w 1478629"/>
                <a:gd name="connsiteY2593" fmla="*/ 1133703 h 1302505"/>
                <a:gd name="connsiteX2594" fmla="*/ 504866 w 1478629"/>
                <a:gd name="connsiteY2594" fmla="*/ 1134520 h 1302505"/>
                <a:gd name="connsiteX2595" fmla="*/ 505925 w 1478629"/>
                <a:gd name="connsiteY2595" fmla="*/ 1134974 h 1302505"/>
                <a:gd name="connsiteX2596" fmla="*/ 507196 w 1478629"/>
                <a:gd name="connsiteY2596" fmla="*/ 1135306 h 1302505"/>
                <a:gd name="connsiteX2597" fmla="*/ 507891 w 1478629"/>
                <a:gd name="connsiteY2597" fmla="*/ 1135881 h 1302505"/>
                <a:gd name="connsiteX2598" fmla="*/ 508345 w 1478629"/>
                <a:gd name="connsiteY2598" fmla="*/ 1136516 h 1302505"/>
                <a:gd name="connsiteX2599" fmla="*/ 508920 w 1478629"/>
                <a:gd name="connsiteY2599" fmla="*/ 1137061 h 1302505"/>
                <a:gd name="connsiteX2600" fmla="*/ 512913 w 1478629"/>
                <a:gd name="connsiteY2600" fmla="*/ 1138513 h 1302505"/>
                <a:gd name="connsiteX2601" fmla="*/ 516392 w 1478629"/>
                <a:gd name="connsiteY2601" fmla="*/ 1138210 h 1302505"/>
                <a:gd name="connsiteX2602" fmla="*/ 524167 w 1478629"/>
                <a:gd name="connsiteY2602" fmla="*/ 1135578 h 1302505"/>
                <a:gd name="connsiteX2603" fmla="*/ 530338 w 1478629"/>
                <a:gd name="connsiteY2603" fmla="*/ 1134732 h 1302505"/>
                <a:gd name="connsiteX2604" fmla="*/ 532213 w 1478629"/>
                <a:gd name="connsiteY2604" fmla="*/ 1133552 h 1302505"/>
                <a:gd name="connsiteX2605" fmla="*/ 533847 w 1478629"/>
                <a:gd name="connsiteY2605" fmla="*/ 1133310 h 1302505"/>
                <a:gd name="connsiteX2606" fmla="*/ 539202 w 1478629"/>
                <a:gd name="connsiteY2606" fmla="*/ 1134580 h 1302505"/>
                <a:gd name="connsiteX2607" fmla="*/ 540805 w 1478629"/>
                <a:gd name="connsiteY2607" fmla="*/ 1135306 h 1302505"/>
                <a:gd name="connsiteX2608" fmla="*/ 542953 w 1478629"/>
                <a:gd name="connsiteY2608" fmla="*/ 1138816 h 1302505"/>
                <a:gd name="connsiteX2609" fmla="*/ 544526 w 1478629"/>
                <a:gd name="connsiteY2609" fmla="*/ 1140540 h 1302505"/>
                <a:gd name="connsiteX2610" fmla="*/ 546008 w 1478629"/>
                <a:gd name="connsiteY2610" fmla="*/ 1140328 h 1302505"/>
                <a:gd name="connsiteX2611" fmla="*/ 548821 w 1478629"/>
                <a:gd name="connsiteY2611" fmla="*/ 1136667 h 1302505"/>
                <a:gd name="connsiteX2612" fmla="*/ 550606 w 1478629"/>
                <a:gd name="connsiteY2612" fmla="*/ 1135004 h 1302505"/>
                <a:gd name="connsiteX2613" fmla="*/ 552421 w 1478629"/>
                <a:gd name="connsiteY2613" fmla="*/ 1134399 h 1302505"/>
                <a:gd name="connsiteX2614" fmla="*/ 555205 w 1478629"/>
                <a:gd name="connsiteY2614" fmla="*/ 1136577 h 1302505"/>
                <a:gd name="connsiteX2615" fmla="*/ 555416 w 1478629"/>
                <a:gd name="connsiteY2615" fmla="*/ 1137000 h 1302505"/>
                <a:gd name="connsiteX2616" fmla="*/ 555416 w 1478629"/>
                <a:gd name="connsiteY2616" fmla="*/ 1138029 h 1302505"/>
                <a:gd name="connsiteX2617" fmla="*/ 555961 w 1478629"/>
                <a:gd name="connsiteY2617" fmla="*/ 1138452 h 1302505"/>
                <a:gd name="connsiteX2618" fmla="*/ 557988 w 1478629"/>
                <a:gd name="connsiteY2618" fmla="*/ 1138816 h 1302505"/>
                <a:gd name="connsiteX2619" fmla="*/ 559954 w 1478629"/>
                <a:gd name="connsiteY2619" fmla="*/ 1138725 h 1302505"/>
                <a:gd name="connsiteX2620" fmla="*/ 563796 w 1478629"/>
                <a:gd name="connsiteY2620" fmla="*/ 1137787 h 1302505"/>
                <a:gd name="connsiteX2621" fmla="*/ 565460 w 1478629"/>
                <a:gd name="connsiteY2621" fmla="*/ 1138452 h 1302505"/>
                <a:gd name="connsiteX2622" fmla="*/ 578014 w 1478629"/>
                <a:gd name="connsiteY2622" fmla="*/ 1138120 h 1302505"/>
                <a:gd name="connsiteX2623" fmla="*/ 581584 w 1478629"/>
                <a:gd name="connsiteY2623" fmla="*/ 1138573 h 1302505"/>
                <a:gd name="connsiteX2624" fmla="*/ 582915 w 1478629"/>
                <a:gd name="connsiteY2624" fmla="*/ 1138120 h 1302505"/>
                <a:gd name="connsiteX2625" fmla="*/ 583581 w 1478629"/>
                <a:gd name="connsiteY2625" fmla="*/ 1137091 h 1302505"/>
                <a:gd name="connsiteX2626" fmla="*/ 583792 w 1478629"/>
                <a:gd name="connsiteY2626" fmla="*/ 1136789 h 1302505"/>
                <a:gd name="connsiteX2627" fmla="*/ 583883 w 1478629"/>
                <a:gd name="connsiteY2627" fmla="*/ 1134762 h 1302505"/>
                <a:gd name="connsiteX2628" fmla="*/ 583218 w 1478629"/>
                <a:gd name="connsiteY2628" fmla="*/ 1132886 h 1302505"/>
                <a:gd name="connsiteX2629" fmla="*/ 582007 w 1478629"/>
                <a:gd name="connsiteY2629" fmla="*/ 1131495 h 1302505"/>
                <a:gd name="connsiteX2630" fmla="*/ 580585 w 1478629"/>
                <a:gd name="connsiteY2630" fmla="*/ 1131010 h 1302505"/>
                <a:gd name="connsiteX2631" fmla="*/ 581191 w 1478629"/>
                <a:gd name="connsiteY2631" fmla="*/ 1129770 h 1302505"/>
                <a:gd name="connsiteX2632" fmla="*/ 581584 w 1478629"/>
                <a:gd name="connsiteY2632" fmla="*/ 1129226 h 1302505"/>
                <a:gd name="connsiteX2633" fmla="*/ 582340 w 1478629"/>
                <a:gd name="connsiteY2633" fmla="*/ 1128681 h 1302505"/>
                <a:gd name="connsiteX2634" fmla="*/ 581221 w 1478629"/>
                <a:gd name="connsiteY2634" fmla="*/ 1127290 h 1302505"/>
                <a:gd name="connsiteX2635" fmla="*/ 582643 w 1478629"/>
                <a:gd name="connsiteY2635" fmla="*/ 1123780 h 1302505"/>
                <a:gd name="connsiteX2636" fmla="*/ 582431 w 1478629"/>
                <a:gd name="connsiteY2636" fmla="*/ 1121088 h 1302505"/>
                <a:gd name="connsiteX2637" fmla="*/ 582915 w 1478629"/>
                <a:gd name="connsiteY2637" fmla="*/ 1119273 h 1302505"/>
                <a:gd name="connsiteX2638" fmla="*/ 585244 w 1478629"/>
                <a:gd name="connsiteY2638" fmla="*/ 1118426 h 1302505"/>
                <a:gd name="connsiteX2639" fmla="*/ 587997 w 1478629"/>
                <a:gd name="connsiteY2639" fmla="*/ 1118244 h 1302505"/>
                <a:gd name="connsiteX2640" fmla="*/ 589752 w 1478629"/>
                <a:gd name="connsiteY2640" fmla="*/ 1118426 h 1302505"/>
                <a:gd name="connsiteX2641" fmla="*/ 593231 w 1478629"/>
                <a:gd name="connsiteY2641" fmla="*/ 1119696 h 1302505"/>
                <a:gd name="connsiteX2642" fmla="*/ 594985 w 1478629"/>
                <a:gd name="connsiteY2642" fmla="*/ 1120059 h 1302505"/>
                <a:gd name="connsiteX2643" fmla="*/ 596951 w 1478629"/>
                <a:gd name="connsiteY2643" fmla="*/ 1119878 h 1302505"/>
                <a:gd name="connsiteX2644" fmla="*/ 598676 w 1478629"/>
                <a:gd name="connsiteY2644" fmla="*/ 1120150 h 1302505"/>
                <a:gd name="connsiteX2645" fmla="*/ 603032 w 1478629"/>
                <a:gd name="connsiteY2645" fmla="*/ 1122510 h 1302505"/>
                <a:gd name="connsiteX2646" fmla="*/ 606027 w 1478629"/>
                <a:gd name="connsiteY2646" fmla="*/ 1123569 h 1302505"/>
                <a:gd name="connsiteX2647" fmla="*/ 606904 w 1478629"/>
                <a:gd name="connsiteY2647" fmla="*/ 1124174 h 1302505"/>
                <a:gd name="connsiteX2648" fmla="*/ 608508 w 1478629"/>
                <a:gd name="connsiteY2648" fmla="*/ 1125626 h 1302505"/>
                <a:gd name="connsiteX2649" fmla="*/ 609597 w 1478629"/>
                <a:gd name="connsiteY2649" fmla="*/ 1126049 h 1302505"/>
                <a:gd name="connsiteX2650" fmla="*/ 610565 w 1478629"/>
                <a:gd name="connsiteY2650" fmla="*/ 1125596 h 1302505"/>
                <a:gd name="connsiteX2651" fmla="*/ 611503 w 1478629"/>
                <a:gd name="connsiteY2651" fmla="*/ 1124900 h 1302505"/>
                <a:gd name="connsiteX2652" fmla="*/ 612531 w 1478629"/>
                <a:gd name="connsiteY2652" fmla="*/ 1124597 h 1302505"/>
                <a:gd name="connsiteX2653" fmla="*/ 613378 w 1478629"/>
                <a:gd name="connsiteY2653" fmla="*/ 1124900 h 1302505"/>
                <a:gd name="connsiteX2654" fmla="*/ 615042 w 1478629"/>
                <a:gd name="connsiteY2654" fmla="*/ 1126170 h 1302505"/>
                <a:gd name="connsiteX2655" fmla="*/ 615828 w 1478629"/>
                <a:gd name="connsiteY2655" fmla="*/ 1126594 h 1302505"/>
                <a:gd name="connsiteX2656" fmla="*/ 624390 w 1478629"/>
                <a:gd name="connsiteY2656" fmla="*/ 1127138 h 1302505"/>
                <a:gd name="connsiteX2657" fmla="*/ 626477 w 1478629"/>
                <a:gd name="connsiteY2657" fmla="*/ 1127743 h 1302505"/>
                <a:gd name="connsiteX2658" fmla="*/ 628262 w 1478629"/>
                <a:gd name="connsiteY2658" fmla="*/ 1129226 h 1302505"/>
                <a:gd name="connsiteX2659" fmla="*/ 629260 w 1478629"/>
                <a:gd name="connsiteY2659" fmla="*/ 1131041 h 1302505"/>
                <a:gd name="connsiteX2660" fmla="*/ 630016 w 1478629"/>
                <a:gd name="connsiteY2660" fmla="*/ 1132977 h 1302505"/>
                <a:gd name="connsiteX2661" fmla="*/ 631045 w 1478629"/>
                <a:gd name="connsiteY2661" fmla="*/ 1134701 h 1302505"/>
                <a:gd name="connsiteX2662" fmla="*/ 632769 w 1478629"/>
                <a:gd name="connsiteY2662" fmla="*/ 1135851 h 1302505"/>
                <a:gd name="connsiteX2663" fmla="*/ 633889 w 1478629"/>
                <a:gd name="connsiteY2663" fmla="*/ 1135972 h 1302505"/>
                <a:gd name="connsiteX2664" fmla="*/ 637247 w 1478629"/>
                <a:gd name="connsiteY2664" fmla="*/ 1134974 h 1302505"/>
                <a:gd name="connsiteX2665" fmla="*/ 649650 w 1478629"/>
                <a:gd name="connsiteY2665" fmla="*/ 1134974 h 1302505"/>
                <a:gd name="connsiteX2666" fmla="*/ 652009 w 1478629"/>
                <a:gd name="connsiteY2666" fmla="*/ 1135609 h 1302505"/>
                <a:gd name="connsiteX2667" fmla="*/ 651586 w 1478629"/>
                <a:gd name="connsiteY2667" fmla="*/ 1137393 h 1302505"/>
                <a:gd name="connsiteX2668" fmla="*/ 652100 w 1478629"/>
                <a:gd name="connsiteY2668" fmla="*/ 1137878 h 1302505"/>
                <a:gd name="connsiteX2669" fmla="*/ 653038 w 1478629"/>
                <a:gd name="connsiteY2669" fmla="*/ 1137938 h 1302505"/>
                <a:gd name="connsiteX2670" fmla="*/ 653885 w 1478629"/>
                <a:gd name="connsiteY2670" fmla="*/ 1138362 h 1302505"/>
                <a:gd name="connsiteX2671" fmla="*/ 655670 w 1478629"/>
                <a:gd name="connsiteY2671" fmla="*/ 1141296 h 1302505"/>
                <a:gd name="connsiteX2672" fmla="*/ 657606 w 1478629"/>
                <a:gd name="connsiteY2672" fmla="*/ 1143747 h 1302505"/>
                <a:gd name="connsiteX2673" fmla="*/ 659300 w 1478629"/>
                <a:gd name="connsiteY2673" fmla="*/ 1148072 h 1302505"/>
                <a:gd name="connsiteX2674" fmla="*/ 660752 w 1478629"/>
                <a:gd name="connsiteY2674" fmla="*/ 1149827 h 1302505"/>
                <a:gd name="connsiteX2675" fmla="*/ 662960 w 1478629"/>
                <a:gd name="connsiteY2675" fmla="*/ 1148980 h 1302505"/>
                <a:gd name="connsiteX2676" fmla="*/ 664503 w 1478629"/>
                <a:gd name="connsiteY2676" fmla="*/ 1144049 h 1302505"/>
                <a:gd name="connsiteX2677" fmla="*/ 667679 w 1478629"/>
                <a:gd name="connsiteY2677" fmla="*/ 1144200 h 1302505"/>
                <a:gd name="connsiteX2678" fmla="*/ 670644 w 1478629"/>
                <a:gd name="connsiteY2678" fmla="*/ 1143141 h 1302505"/>
                <a:gd name="connsiteX2679" fmla="*/ 672187 w 1478629"/>
                <a:gd name="connsiteY2679" fmla="*/ 1143051 h 1302505"/>
                <a:gd name="connsiteX2680" fmla="*/ 677632 w 1478629"/>
                <a:gd name="connsiteY2680" fmla="*/ 1146499 h 1302505"/>
                <a:gd name="connsiteX2681" fmla="*/ 678721 w 1478629"/>
                <a:gd name="connsiteY2681" fmla="*/ 1146983 h 1302505"/>
                <a:gd name="connsiteX2682" fmla="*/ 690156 w 1478629"/>
                <a:gd name="connsiteY2682" fmla="*/ 1148012 h 1302505"/>
                <a:gd name="connsiteX2683" fmla="*/ 689279 w 1478629"/>
                <a:gd name="connsiteY2683" fmla="*/ 1150553 h 1302505"/>
                <a:gd name="connsiteX2684" fmla="*/ 690913 w 1478629"/>
                <a:gd name="connsiteY2684" fmla="*/ 1151521 h 1302505"/>
                <a:gd name="connsiteX2685" fmla="*/ 693242 w 1478629"/>
                <a:gd name="connsiteY2685" fmla="*/ 1152186 h 1302505"/>
                <a:gd name="connsiteX2686" fmla="*/ 694089 w 1478629"/>
                <a:gd name="connsiteY2686" fmla="*/ 1153306 h 1302505"/>
                <a:gd name="connsiteX2687" fmla="*/ 694482 w 1478629"/>
                <a:gd name="connsiteY2687" fmla="*/ 1153850 h 1302505"/>
                <a:gd name="connsiteX2688" fmla="*/ 691971 w 1478629"/>
                <a:gd name="connsiteY2688" fmla="*/ 1154062 h 1302505"/>
                <a:gd name="connsiteX2689" fmla="*/ 690126 w 1478629"/>
                <a:gd name="connsiteY2689" fmla="*/ 1155696 h 1302505"/>
                <a:gd name="connsiteX2690" fmla="*/ 689007 w 1478629"/>
                <a:gd name="connsiteY2690" fmla="*/ 1158297 h 1302505"/>
                <a:gd name="connsiteX2691" fmla="*/ 688644 w 1478629"/>
                <a:gd name="connsiteY2691" fmla="*/ 1161413 h 1302505"/>
                <a:gd name="connsiteX2692" fmla="*/ 688946 w 1478629"/>
                <a:gd name="connsiteY2692" fmla="*/ 1161595 h 1302505"/>
                <a:gd name="connsiteX2693" fmla="*/ 689127 w 1478629"/>
                <a:gd name="connsiteY2693" fmla="*/ 1161837 h 1302505"/>
                <a:gd name="connsiteX2694" fmla="*/ 689188 w 1478629"/>
                <a:gd name="connsiteY2694" fmla="*/ 1162139 h 1302505"/>
                <a:gd name="connsiteX2695" fmla="*/ 689127 w 1478629"/>
                <a:gd name="connsiteY2695" fmla="*/ 1162533 h 1302505"/>
                <a:gd name="connsiteX2696" fmla="*/ 690973 w 1478629"/>
                <a:gd name="connsiteY2696" fmla="*/ 1163228 h 1302505"/>
                <a:gd name="connsiteX2697" fmla="*/ 697235 w 1478629"/>
                <a:gd name="connsiteY2697" fmla="*/ 1164015 h 1302505"/>
                <a:gd name="connsiteX2698" fmla="*/ 699352 w 1478629"/>
                <a:gd name="connsiteY2698" fmla="*/ 1164832 h 1302505"/>
                <a:gd name="connsiteX2699" fmla="*/ 705009 w 1478629"/>
                <a:gd name="connsiteY2699" fmla="*/ 1168371 h 1302505"/>
                <a:gd name="connsiteX2700" fmla="*/ 707369 w 1478629"/>
                <a:gd name="connsiteY2700" fmla="*/ 1168885 h 1302505"/>
                <a:gd name="connsiteX2701" fmla="*/ 709245 w 1478629"/>
                <a:gd name="connsiteY2701" fmla="*/ 1169006 h 1302505"/>
                <a:gd name="connsiteX2702" fmla="*/ 710818 w 1478629"/>
                <a:gd name="connsiteY2702" fmla="*/ 1169642 h 1302505"/>
                <a:gd name="connsiteX2703" fmla="*/ 712179 w 1478629"/>
                <a:gd name="connsiteY2703" fmla="*/ 1171729 h 1302505"/>
                <a:gd name="connsiteX2704" fmla="*/ 713510 w 1478629"/>
                <a:gd name="connsiteY2704" fmla="*/ 1176388 h 1302505"/>
                <a:gd name="connsiteX2705" fmla="*/ 714448 w 1478629"/>
                <a:gd name="connsiteY2705" fmla="*/ 1178324 h 1302505"/>
                <a:gd name="connsiteX2706" fmla="*/ 716414 w 1478629"/>
                <a:gd name="connsiteY2706" fmla="*/ 1179927 h 1302505"/>
                <a:gd name="connsiteX2707" fmla="*/ 717655 w 1478629"/>
                <a:gd name="connsiteY2707" fmla="*/ 1180653 h 1302505"/>
                <a:gd name="connsiteX2708" fmla="*/ 719016 w 1478629"/>
                <a:gd name="connsiteY2708" fmla="*/ 1180835 h 1302505"/>
                <a:gd name="connsiteX2709" fmla="*/ 721648 w 1478629"/>
                <a:gd name="connsiteY2709" fmla="*/ 1180562 h 1302505"/>
                <a:gd name="connsiteX2710" fmla="*/ 723312 w 1478629"/>
                <a:gd name="connsiteY2710" fmla="*/ 1180199 h 1302505"/>
                <a:gd name="connsiteX2711" fmla="*/ 724461 w 1478629"/>
                <a:gd name="connsiteY2711" fmla="*/ 1179504 h 1302505"/>
                <a:gd name="connsiteX2712" fmla="*/ 726156 w 1478629"/>
                <a:gd name="connsiteY2712" fmla="*/ 1177840 h 1302505"/>
                <a:gd name="connsiteX2713" fmla="*/ 728545 w 1478629"/>
                <a:gd name="connsiteY2713" fmla="*/ 1176146 h 1302505"/>
                <a:gd name="connsiteX2714" fmla="*/ 729029 w 1478629"/>
                <a:gd name="connsiteY2714" fmla="*/ 1175420 h 1302505"/>
                <a:gd name="connsiteX2715" fmla="*/ 729786 w 1478629"/>
                <a:gd name="connsiteY2715" fmla="*/ 1173574 h 1302505"/>
                <a:gd name="connsiteX2716" fmla="*/ 730270 w 1478629"/>
                <a:gd name="connsiteY2716" fmla="*/ 1172909 h 1302505"/>
                <a:gd name="connsiteX2717" fmla="*/ 731873 w 1478629"/>
                <a:gd name="connsiteY2717" fmla="*/ 1172213 h 1302505"/>
                <a:gd name="connsiteX2718" fmla="*/ 736622 w 1478629"/>
                <a:gd name="connsiteY2718" fmla="*/ 1172758 h 1302505"/>
                <a:gd name="connsiteX2719" fmla="*/ 742824 w 1478629"/>
                <a:gd name="connsiteY2719" fmla="*/ 1170973 h 1302505"/>
                <a:gd name="connsiteX2720" fmla="*/ 746000 w 1478629"/>
                <a:gd name="connsiteY2720" fmla="*/ 1170670 h 1302505"/>
                <a:gd name="connsiteX2721" fmla="*/ 748814 w 1478629"/>
                <a:gd name="connsiteY2721" fmla="*/ 1172122 h 1302505"/>
                <a:gd name="connsiteX2722" fmla="*/ 750024 w 1478629"/>
                <a:gd name="connsiteY2722" fmla="*/ 1173030 h 1302505"/>
                <a:gd name="connsiteX2723" fmla="*/ 755893 w 1478629"/>
                <a:gd name="connsiteY2723" fmla="*/ 1175571 h 1302505"/>
                <a:gd name="connsiteX2724" fmla="*/ 759009 w 1478629"/>
                <a:gd name="connsiteY2724" fmla="*/ 1176206 h 1302505"/>
                <a:gd name="connsiteX2725" fmla="*/ 760612 w 1478629"/>
                <a:gd name="connsiteY2725" fmla="*/ 1176297 h 1302505"/>
                <a:gd name="connsiteX2726" fmla="*/ 761368 w 1478629"/>
                <a:gd name="connsiteY2726" fmla="*/ 1178324 h 1302505"/>
                <a:gd name="connsiteX2727" fmla="*/ 762941 w 1478629"/>
                <a:gd name="connsiteY2727" fmla="*/ 1180260 h 1302505"/>
                <a:gd name="connsiteX2728" fmla="*/ 764877 w 1478629"/>
                <a:gd name="connsiteY2728" fmla="*/ 1181682 h 1302505"/>
                <a:gd name="connsiteX2729" fmla="*/ 766722 w 1478629"/>
                <a:gd name="connsiteY2729" fmla="*/ 1182135 h 1302505"/>
                <a:gd name="connsiteX2730" fmla="*/ 768780 w 1478629"/>
                <a:gd name="connsiteY2730" fmla="*/ 1183194 h 1302505"/>
                <a:gd name="connsiteX2731" fmla="*/ 769899 w 1478629"/>
                <a:gd name="connsiteY2731" fmla="*/ 1183557 h 1302505"/>
                <a:gd name="connsiteX2732" fmla="*/ 770958 w 1478629"/>
                <a:gd name="connsiteY2732" fmla="*/ 1183557 h 1302505"/>
                <a:gd name="connsiteX2733" fmla="*/ 771623 w 1478629"/>
                <a:gd name="connsiteY2733" fmla="*/ 1182922 h 1302505"/>
                <a:gd name="connsiteX2734" fmla="*/ 772470 w 1478629"/>
                <a:gd name="connsiteY2734" fmla="*/ 1180895 h 1302505"/>
                <a:gd name="connsiteX2735" fmla="*/ 773257 w 1478629"/>
                <a:gd name="connsiteY2735" fmla="*/ 1180230 h 1302505"/>
                <a:gd name="connsiteX2736" fmla="*/ 775193 w 1478629"/>
                <a:gd name="connsiteY2736" fmla="*/ 1180230 h 1302505"/>
                <a:gd name="connsiteX2737" fmla="*/ 779822 w 1478629"/>
                <a:gd name="connsiteY2737" fmla="*/ 1181651 h 1302505"/>
                <a:gd name="connsiteX2738" fmla="*/ 782030 w 1478629"/>
                <a:gd name="connsiteY2738" fmla="*/ 1182014 h 1302505"/>
                <a:gd name="connsiteX2739" fmla="*/ 784722 w 1478629"/>
                <a:gd name="connsiteY2739" fmla="*/ 1181863 h 1302505"/>
                <a:gd name="connsiteX2740" fmla="*/ 784722 w 1478629"/>
                <a:gd name="connsiteY2740" fmla="*/ 1181319 h 1302505"/>
                <a:gd name="connsiteX2741" fmla="*/ 783421 w 1478629"/>
                <a:gd name="connsiteY2741" fmla="*/ 1180018 h 1302505"/>
                <a:gd name="connsiteX2742" fmla="*/ 782514 w 1478629"/>
                <a:gd name="connsiteY2742" fmla="*/ 1177628 h 1302505"/>
                <a:gd name="connsiteX2743" fmla="*/ 783330 w 1478629"/>
                <a:gd name="connsiteY2743" fmla="*/ 1176569 h 1302505"/>
                <a:gd name="connsiteX2744" fmla="*/ 787566 w 1478629"/>
                <a:gd name="connsiteY2744" fmla="*/ 1173484 h 1302505"/>
                <a:gd name="connsiteX2745" fmla="*/ 789350 w 1478629"/>
                <a:gd name="connsiteY2745" fmla="*/ 1172636 h 1302505"/>
                <a:gd name="connsiteX2746" fmla="*/ 791408 w 1478629"/>
                <a:gd name="connsiteY2746" fmla="*/ 1172485 h 1302505"/>
                <a:gd name="connsiteX2747" fmla="*/ 795341 w 1478629"/>
                <a:gd name="connsiteY2747" fmla="*/ 1173030 h 1302505"/>
                <a:gd name="connsiteX2748" fmla="*/ 797428 w 1478629"/>
                <a:gd name="connsiteY2748" fmla="*/ 1172727 h 1302505"/>
                <a:gd name="connsiteX2749" fmla="*/ 799031 w 1478629"/>
                <a:gd name="connsiteY2749" fmla="*/ 1171790 h 1302505"/>
                <a:gd name="connsiteX2750" fmla="*/ 802056 w 1478629"/>
                <a:gd name="connsiteY2750" fmla="*/ 1169067 h 1302505"/>
                <a:gd name="connsiteX2751" fmla="*/ 803660 w 1478629"/>
                <a:gd name="connsiteY2751" fmla="*/ 1168190 h 1302505"/>
                <a:gd name="connsiteX2752" fmla="*/ 805293 w 1478629"/>
                <a:gd name="connsiteY2752" fmla="*/ 1168038 h 1302505"/>
                <a:gd name="connsiteX2753" fmla="*/ 807018 w 1478629"/>
                <a:gd name="connsiteY2753" fmla="*/ 1168099 h 1302505"/>
                <a:gd name="connsiteX2754" fmla="*/ 808711 w 1478629"/>
                <a:gd name="connsiteY2754" fmla="*/ 1167857 h 1302505"/>
                <a:gd name="connsiteX2755" fmla="*/ 812009 w 1478629"/>
                <a:gd name="connsiteY2755" fmla="*/ 1165467 h 1302505"/>
                <a:gd name="connsiteX2756" fmla="*/ 815246 w 1478629"/>
                <a:gd name="connsiteY2756" fmla="*/ 1166616 h 1302505"/>
                <a:gd name="connsiteX2757" fmla="*/ 816970 w 1478629"/>
                <a:gd name="connsiteY2757" fmla="*/ 1165588 h 1302505"/>
                <a:gd name="connsiteX2758" fmla="*/ 818029 w 1478629"/>
                <a:gd name="connsiteY2758" fmla="*/ 1165800 h 1302505"/>
                <a:gd name="connsiteX2759" fmla="*/ 820994 w 1478629"/>
                <a:gd name="connsiteY2759" fmla="*/ 1165860 h 1302505"/>
                <a:gd name="connsiteX2760" fmla="*/ 821659 w 1478629"/>
                <a:gd name="connsiteY2760" fmla="*/ 1166042 h 1302505"/>
                <a:gd name="connsiteX2761" fmla="*/ 822294 w 1478629"/>
                <a:gd name="connsiteY2761" fmla="*/ 1167403 h 1302505"/>
                <a:gd name="connsiteX2762" fmla="*/ 823081 w 1478629"/>
                <a:gd name="connsiteY2762" fmla="*/ 1168583 h 1302505"/>
                <a:gd name="connsiteX2763" fmla="*/ 824049 w 1478629"/>
                <a:gd name="connsiteY2763" fmla="*/ 1169521 h 1302505"/>
                <a:gd name="connsiteX2764" fmla="*/ 825259 w 1478629"/>
                <a:gd name="connsiteY2764" fmla="*/ 1170217 h 1302505"/>
                <a:gd name="connsiteX2765" fmla="*/ 827316 w 1478629"/>
                <a:gd name="connsiteY2765" fmla="*/ 1170821 h 1302505"/>
                <a:gd name="connsiteX2766" fmla="*/ 829887 w 1478629"/>
                <a:gd name="connsiteY2766" fmla="*/ 1171094 h 1302505"/>
                <a:gd name="connsiteX2767" fmla="*/ 832519 w 1478629"/>
                <a:gd name="connsiteY2767" fmla="*/ 1170973 h 1302505"/>
                <a:gd name="connsiteX2768" fmla="*/ 836845 w 1478629"/>
                <a:gd name="connsiteY2768" fmla="*/ 1170277 h 1302505"/>
                <a:gd name="connsiteX2769" fmla="*/ 836906 w 1478629"/>
                <a:gd name="connsiteY2769" fmla="*/ 1169823 h 1302505"/>
                <a:gd name="connsiteX2770" fmla="*/ 836331 w 1478629"/>
                <a:gd name="connsiteY2770" fmla="*/ 1167131 h 1302505"/>
                <a:gd name="connsiteX2771" fmla="*/ 834758 w 1478629"/>
                <a:gd name="connsiteY2771" fmla="*/ 1164832 h 1302505"/>
                <a:gd name="connsiteX2772" fmla="*/ 833760 w 1478629"/>
                <a:gd name="connsiteY2772" fmla="*/ 1163924 h 1302505"/>
                <a:gd name="connsiteX2773" fmla="*/ 833034 w 1478629"/>
                <a:gd name="connsiteY2773" fmla="*/ 1162684 h 1302505"/>
                <a:gd name="connsiteX2774" fmla="*/ 833306 w 1478629"/>
                <a:gd name="connsiteY2774" fmla="*/ 1161262 h 1302505"/>
                <a:gd name="connsiteX2775" fmla="*/ 833306 w 1478629"/>
                <a:gd name="connsiteY2775" fmla="*/ 1159840 h 1302505"/>
                <a:gd name="connsiteX2776" fmla="*/ 832459 w 1478629"/>
                <a:gd name="connsiteY2776" fmla="*/ 1158600 h 1302505"/>
                <a:gd name="connsiteX2777" fmla="*/ 830160 w 1478629"/>
                <a:gd name="connsiteY2777" fmla="*/ 1157904 h 1302505"/>
                <a:gd name="connsiteX2778" fmla="*/ 827437 w 1478629"/>
                <a:gd name="connsiteY2778" fmla="*/ 1157360 h 1302505"/>
                <a:gd name="connsiteX2779" fmla="*/ 825289 w 1478629"/>
                <a:gd name="connsiteY2779" fmla="*/ 1156482 h 1302505"/>
                <a:gd name="connsiteX2780" fmla="*/ 823867 w 1478629"/>
                <a:gd name="connsiteY2780" fmla="*/ 1154879 h 1302505"/>
                <a:gd name="connsiteX2781" fmla="*/ 823293 w 1478629"/>
                <a:gd name="connsiteY2781" fmla="*/ 1150765 h 1302505"/>
                <a:gd name="connsiteX2782" fmla="*/ 822869 w 1478629"/>
                <a:gd name="connsiteY2782" fmla="*/ 1145562 h 1302505"/>
                <a:gd name="connsiteX2783" fmla="*/ 822446 w 1478629"/>
                <a:gd name="connsiteY2783" fmla="*/ 1138785 h 1302505"/>
                <a:gd name="connsiteX2784" fmla="*/ 823020 w 1478629"/>
                <a:gd name="connsiteY2784" fmla="*/ 1133582 h 1302505"/>
                <a:gd name="connsiteX2785" fmla="*/ 822597 w 1478629"/>
                <a:gd name="connsiteY2785" fmla="*/ 1130375 h 1302505"/>
                <a:gd name="connsiteX2786" fmla="*/ 822748 w 1478629"/>
                <a:gd name="connsiteY2786" fmla="*/ 1125353 h 1302505"/>
                <a:gd name="connsiteX2787" fmla="*/ 823474 w 1478629"/>
                <a:gd name="connsiteY2787" fmla="*/ 1118184 h 1302505"/>
                <a:gd name="connsiteX2788" fmla="*/ 824321 w 1478629"/>
                <a:gd name="connsiteY2788" fmla="*/ 1110651 h 1302505"/>
                <a:gd name="connsiteX2789" fmla="*/ 824170 w 1478629"/>
                <a:gd name="connsiteY2789" fmla="*/ 1108141 h 1302505"/>
                <a:gd name="connsiteX2790" fmla="*/ 822869 w 1478629"/>
                <a:gd name="connsiteY2790" fmla="*/ 1107414 h 1302505"/>
                <a:gd name="connsiteX2791" fmla="*/ 822597 w 1478629"/>
                <a:gd name="connsiteY2791" fmla="*/ 1106174 h 1302505"/>
                <a:gd name="connsiteX2792" fmla="*/ 823323 w 1478629"/>
                <a:gd name="connsiteY2792" fmla="*/ 1103482 h 1302505"/>
                <a:gd name="connsiteX2793" fmla="*/ 824321 w 1478629"/>
                <a:gd name="connsiteY2793" fmla="*/ 1099882 h 1302505"/>
                <a:gd name="connsiteX2794" fmla="*/ 825047 w 1478629"/>
                <a:gd name="connsiteY2794" fmla="*/ 1097885 h 1302505"/>
                <a:gd name="connsiteX2795" fmla="*/ 825743 w 1478629"/>
                <a:gd name="connsiteY2795" fmla="*/ 1095556 h 1302505"/>
                <a:gd name="connsiteX2796" fmla="*/ 827316 w 1478629"/>
                <a:gd name="connsiteY2796" fmla="*/ 1092137 h 1302505"/>
                <a:gd name="connsiteX2797" fmla="*/ 828314 w 1478629"/>
                <a:gd name="connsiteY2797" fmla="*/ 1089808 h 1302505"/>
                <a:gd name="connsiteX2798" fmla="*/ 829131 w 1478629"/>
                <a:gd name="connsiteY2798" fmla="*/ 1087902 h 1302505"/>
                <a:gd name="connsiteX2799" fmla="*/ 830099 w 1478629"/>
                <a:gd name="connsiteY2799" fmla="*/ 1085573 h 1302505"/>
                <a:gd name="connsiteX2800" fmla="*/ 832308 w 1478629"/>
                <a:gd name="connsiteY2800" fmla="*/ 1083697 h 1302505"/>
                <a:gd name="connsiteX2801" fmla="*/ 834153 w 1478629"/>
                <a:gd name="connsiteY2801" fmla="*/ 1081912 h 1302505"/>
                <a:gd name="connsiteX2802" fmla="*/ 835303 w 1478629"/>
                <a:gd name="connsiteY2802" fmla="*/ 1079734 h 1302505"/>
                <a:gd name="connsiteX2803" fmla="*/ 836603 w 1478629"/>
                <a:gd name="connsiteY2803" fmla="*/ 1078131 h 1302505"/>
                <a:gd name="connsiteX2804" fmla="*/ 838328 w 1478629"/>
                <a:gd name="connsiteY2804" fmla="*/ 1076679 h 1302505"/>
                <a:gd name="connsiteX2805" fmla="*/ 839477 w 1478629"/>
                <a:gd name="connsiteY2805" fmla="*/ 1075408 h 1302505"/>
                <a:gd name="connsiteX2806" fmla="*/ 840838 w 1478629"/>
                <a:gd name="connsiteY2806" fmla="*/ 1074319 h 1302505"/>
                <a:gd name="connsiteX2807" fmla="*/ 841504 w 1478629"/>
                <a:gd name="connsiteY2807" fmla="*/ 1073170 h 1302505"/>
                <a:gd name="connsiteX2808" fmla="*/ 843198 w 1478629"/>
                <a:gd name="connsiteY2808" fmla="*/ 1071264 h 1302505"/>
                <a:gd name="connsiteX2809" fmla="*/ 850579 w 1478629"/>
                <a:gd name="connsiteY2809" fmla="*/ 1065728 h 1302505"/>
                <a:gd name="connsiteX2810" fmla="*/ 857386 w 1478629"/>
                <a:gd name="connsiteY2810" fmla="*/ 1063096 h 1302505"/>
                <a:gd name="connsiteX2811" fmla="*/ 861712 w 1478629"/>
                <a:gd name="connsiteY2811" fmla="*/ 1062914 h 1302505"/>
                <a:gd name="connsiteX2812" fmla="*/ 864132 w 1478629"/>
                <a:gd name="connsiteY2812" fmla="*/ 1062491 h 1302505"/>
                <a:gd name="connsiteX2813" fmla="*/ 868156 w 1478629"/>
                <a:gd name="connsiteY2813" fmla="*/ 1064306 h 1302505"/>
                <a:gd name="connsiteX2814" fmla="*/ 870273 w 1478629"/>
                <a:gd name="connsiteY2814" fmla="*/ 1063459 h 1302505"/>
                <a:gd name="connsiteX2815" fmla="*/ 877957 w 1478629"/>
                <a:gd name="connsiteY2815" fmla="*/ 1054081 h 1302505"/>
                <a:gd name="connsiteX2816" fmla="*/ 881224 w 1478629"/>
                <a:gd name="connsiteY2816" fmla="*/ 1051540 h 1302505"/>
                <a:gd name="connsiteX2817" fmla="*/ 893083 w 1478629"/>
                <a:gd name="connsiteY2817" fmla="*/ 1046730 h 1302505"/>
                <a:gd name="connsiteX2818" fmla="*/ 913139 w 1478629"/>
                <a:gd name="connsiteY2818" fmla="*/ 1031513 h 1302505"/>
                <a:gd name="connsiteX2819" fmla="*/ 914501 w 1478629"/>
                <a:gd name="connsiteY2819" fmla="*/ 1030576 h 1302505"/>
                <a:gd name="connsiteX2820" fmla="*/ 918312 w 1478629"/>
                <a:gd name="connsiteY2820" fmla="*/ 1029184 h 1302505"/>
                <a:gd name="connsiteX2821" fmla="*/ 924000 w 1478629"/>
                <a:gd name="connsiteY2821" fmla="*/ 1028518 h 1302505"/>
                <a:gd name="connsiteX2822" fmla="*/ 929808 w 1478629"/>
                <a:gd name="connsiteY2822" fmla="*/ 1029063 h 1302505"/>
                <a:gd name="connsiteX2823" fmla="*/ 932410 w 1478629"/>
                <a:gd name="connsiteY2823" fmla="*/ 1031060 h 1302505"/>
                <a:gd name="connsiteX2824" fmla="*/ 932591 w 1478629"/>
                <a:gd name="connsiteY2824" fmla="*/ 1031513 h 1302505"/>
                <a:gd name="connsiteX2825" fmla="*/ 931018 w 1478629"/>
                <a:gd name="connsiteY2825" fmla="*/ 1034357 h 1302505"/>
                <a:gd name="connsiteX2826" fmla="*/ 932591 w 1478629"/>
                <a:gd name="connsiteY2826" fmla="*/ 1037352 h 1302505"/>
                <a:gd name="connsiteX2827" fmla="*/ 935374 w 1478629"/>
                <a:gd name="connsiteY2827" fmla="*/ 1039318 h 1302505"/>
                <a:gd name="connsiteX2828" fmla="*/ 937522 w 1478629"/>
                <a:gd name="connsiteY2828" fmla="*/ 1040317 h 1302505"/>
                <a:gd name="connsiteX2829" fmla="*/ 939972 w 1478629"/>
                <a:gd name="connsiteY2829" fmla="*/ 1040801 h 1302505"/>
                <a:gd name="connsiteX2830" fmla="*/ 960453 w 1478629"/>
                <a:gd name="connsiteY2830" fmla="*/ 1042344 h 1302505"/>
                <a:gd name="connsiteX2831" fmla="*/ 970889 w 1478629"/>
                <a:gd name="connsiteY2831" fmla="*/ 1041315 h 1302505"/>
                <a:gd name="connsiteX2832" fmla="*/ 975125 w 1478629"/>
                <a:gd name="connsiteY2832" fmla="*/ 1042888 h 1302505"/>
                <a:gd name="connsiteX2833" fmla="*/ 977575 w 1478629"/>
                <a:gd name="connsiteY2833" fmla="*/ 1044582 h 1302505"/>
                <a:gd name="connsiteX2834" fmla="*/ 978422 w 1478629"/>
                <a:gd name="connsiteY2834" fmla="*/ 1046246 h 1302505"/>
                <a:gd name="connsiteX2835" fmla="*/ 978180 w 1478629"/>
                <a:gd name="connsiteY2835" fmla="*/ 1047849 h 1302505"/>
                <a:gd name="connsiteX2836" fmla="*/ 976153 w 1478629"/>
                <a:gd name="connsiteY2836" fmla="*/ 1049937 h 1302505"/>
                <a:gd name="connsiteX2837" fmla="*/ 976244 w 1478629"/>
                <a:gd name="connsiteY2837" fmla="*/ 1052085 h 1302505"/>
                <a:gd name="connsiteX2838" fmla="*/ 978876 w 1478629"/>
                <a:gd name="connsiteY2838" fmla="*/ 1053506 h 1302505"/>
                <a:gd name="connsiteX2839" fmla="*/ 986257 w 1478629"/>
                <a:gd name="connsiteY2839" fmla="*/ 1055079 h 1302505"/>
                <a:gd name="connsiteX2840" fmla="*/ 998872 w 1478629"/>
                <a:gd name="connsiteY2840" fmla="*/ 1055382 h 1302505"/>
                <a:gd name="connsiteX2841" fmla="*/ 1001807 w 1478629"/>
                <a:gd name="connsiteY2841" fmla="*/ 1055231 h 1302505"/>
                <a:gd name="connsiteX2842" fmla="*/ 1002079 w 1478629"/>
                <a:gd name="connsiteY2842" fmla="*/ 1052599 h 1302505"/>
                <a:gd name="connsiteX2843" fmla="*/ 999780 w 1478629"/>
                <a:gd name="connsiteY2843" fmla="*/ 1050179 h 1302505"/>
                <a:gd name="connsiteX2844" fmla="*/ 996724 w 1478629"/>
                <a:gd name="connsiteY2844" fmla="*/ 1048182 h 1302505"/>
                <a:gd name="connsiteX2845" fmla="*/ 993971 w 1478629"/>
                <a:gd name="connsiteY2845" fmla="*/ 1045550 h 1302505"/>
                <a:gd name="connsiteX2846" fmla="*/ 992580 w 1478629"/>
                <a:gd name="connsiteY2846" fmla="*/ 1041255 h 1302505"/>
                <a:gd name="connsiteX2847" fmla="*/ 992580 w 1478629"/>
                <a:gd name="connsiteY2847" fmla="*/ 1032119 h 1302505"/>
                <a:gd name="connsiteX2848" fmla="*/ 992126 w 1478629"/>
                <a:gd name="connsiteY2848" fmla="*/ 1030787 h 1302505"/>
                <a:gd name="connsiteX2849" fmla="*/ 989131 w 1478629"/>
                <a:gd name="connsiteY2849" fmla="*/ 1026401 h 1302505"/>
                <a:gd name="connsiteX2850" fmla="*/ 989131 w 1478629"/>
                <a:gd name="connsiteY2850" fmla="*/ 1025614 h 1302505"/>
                <a:gd name="connsiteX2851" fmla="*/ 990885 w 1478629"/>
                <a:gd name="connsiteY2851" fmla="*/ 1026583 h 1302505"/>
                <a:gd name="connsiteX2852" fmla="*/ 992277 w 1478629"/>
                <a:gd name="connsiteY2852" fmla="*/ 1028458 h 1302505"/>
                <a:gd name="connsiteX2853" fmla="*/ 993306 w 1478629"/>
                <a:gd name="connsiteY2853" fmla="*/ 1030636 h 1302505"/>
                <a:gd name="connsiteX2854" fmla="*/ 993941 w 1478629"/>
                <a:gd name="connsiteY2854" fmla="*/ 1032542 h 1302505"/>
                <a:gd name="connsiteX2855" fmla="*/ 994183 w 1478629"/>
                <a:gd name="connsiteY2855" fmla="*/ 1034720 h 1302505"/>
                <a:gd name="connsiteX2856" fmla="*/ 993941 w 1478629"/>
                <a:gd name="connsiteY2856" fmla="*/ 1042192 h 1302505"/>
                <a:gd name="connsiteX2857" fmla="*/ 995484 w 1478629"/>
                <a:gd name="connsiteY2857" fmla="*/ 1045550 h 1302505"/>
                <a:gd name="connsiteX2858" fmla="*/ 998902 w 1478629"/>
                <a:gd name="connsiteY2858" fmla="*/ 1048515 h 1302505"/>
                <a:gd name="connsiteX2859" fmla="*/ 1003077 w 1478629"/>
                <a:gd name="connsiteY2859" fmla="*/ 1050693 h 1302505"/>
                <a:gd name="connsiteX2860" fmla="*/ 1004832 w 1478629"/>
                <a:gd name="connsiteY2860" fmla="*/ 1053627 h 1302505"/>
                <a:gd name="connsiteX2861" fmla="*/ 1005315 w 1478629"/>
                <a:gd name="connsiteY2861" fmla="*/ 1055805 h 1302505"/>
                <a:gd name="connsiteX2862" fmla="*/ 1007464 w 1478629"/>
                <a:gd name="connsiteY2862" fmla="*/ 1054656 h 1302505"/>
                <a:gd name="connsiteX2863" fmla="*/ 1009853 w 1478629"/>
                <a:gd name="connsiteY2863" fmla="*/ 1052599 h 1302505"/>
                <a:gd name="connsiteX2864" fmla="*/ 1006495 w 1478629"/>
                <a:gd name="connsiteY2864" fmla="*/ 1052841 h 1302505"/>
                <a:gd name="connsiteX2865" fmla="*/ 1006223 w 1478629"/>
                <a:gd name="connsiteY2865" fmla="*/ 1051207 h 1302505"/>
                <a:gd name="connsiteX2866" fmla="*/ 1005225 w 1478629"/>
                <a:gd name="connsiteY2866" fmla="*/ 1048878 h 1302505"/>
                <a:gd name="connsiteX2867" fmla="*/ 1004741 w 1478629"/>
                <a:gd name="connsiteY2867" fmla="*/ 1048212 h 1302505"/>
                <a:gd name="connsiteX2868" fmla="*/ 1005558 w 1478629"/>
                <a:gd name="connsiteY2868" fmla="*/ 1046458 h 1302505"/>
                <a:gd name="connsiteX2869" fmla="*/ 1006526 w 1478629"/>
                <a:gd name="connsiteY2869" fmla="*/ 1045671 h 1302505"/>
                <a:gd name="connsiteX2870" fmla="*/ 1008976 w 1478629"/>
                <a:gd name="connsiteY2870" fmla="*/ 1045157 h 1302505"/>
                <a:gd name="connsiteX2871" fmla="*/ 1010035 w 1478629"/>
                <a:gd name="connsiteY2871" fmla="*/ 1044370 h 1302505"/>
                <a:gd name="connsiteX2872" fmla="*/ 1012576 w 1478629"/>
                <a:gd name="connsiteY2872" fmla="*/ 1043311 h 1302505"/>
                <a:gd name="connsiteX2873" fmla="*/ 1018082 w 1478629"/>
                <a:gd name="connsiteY2873" fmla="*/ 1046246 h 1302505"/>
                <a:gd name="connsiteX2874" fmla="*/ 1019624 w 1478629"/>
                <a:gd name="connsiteY2874" fmla="*/ 1046549 h 1302505"/>
                <a:gd name="connsiteX2875" fmla="*/ 1022559 w 1478629"/>
                <a:gd name="connsiteY2875" fmla="*/ 1046276 h 1302505"/>
                <a:gd name="connsiteX2876" fmla="*/ 1024918 w 1478629"/>
                <a:gd name="connsiteY2876" fmla="*/ 1044703 h 1302505"/>
                <a:gd name="connsiteX2877" fmla="*/ 1026038 w 1478629"/>
                <a:gd name="connsiteY2877" fmla="*/ 1041890 h 1302505"/>
                <a:gd name="connsiteX2878" fmla="*/ 1024828 w 1478629"/>
                <a:gd name="connsiteY2878" fmla="*/ 1038683 h 1302505"/>
                <a:gd name="connsiteX2879" fmla="*/ 1023376 w 1478629"/>
                <a:gd name="connsiteY2879" fmla="*/ 1037564 h 1302505"/>
                <a:gd name="connsiteX2880" fmla="*/ 1022166 w 1478629"/>
                <a:gd name="connsiteY2880" fmla="*/ 1036928 h 1302505"/>
                <a:gd name="connsiteX2881" fmla="*/ 1021258 w 1478629"/>
                <a:gd name="connsiteY2881" fmla="*/ 1035900 h 1302505"/>
                <a:gd name="connsiteX2882" fmla="*/ 1020714 w 1478629"/>
                <a:gd name="connsiteY2882" fmla="*/ 1033480 h 1302505"/>
                <a:gd name="connsiteX2883" fmla="*/ 1020895 w 1478629"/>
                <a:gd name="connsiteY2883" fmla="*/ 1032542 h 1302505"/>
                <a:gd name="connsiteX2884" fmla="*/ 1021379 w 1478629"/>
                <a:gd name="connsiteY2884" fmla="*/ 1030787 h 1302505"/>
                <a:gd name="connsiteX2885" fmla="*/ 1022045 w 1478629"/>
                <a:gd name="connsiteY2885" fmla="*/ 1029063 h 1302505"/>
                <a:gd name="connsiteX2886" fmla="*/ 1022740 w 1478629"/>
                <a:gd name="connsiteY2886" fmla="*/ 1028246 h 1302505"/>
                <a:gd name="connsiteX2887" fmla="*/ 1023346 w 1478629"/>
                <a:gd name="connsiteY2887" fmla="*/ 1028609 h 1302505"/>
                <a:gd name="connsiteX2888" fmla="*/ 1024798 w 1478629"/>
                <a:gd name="connsiteY2888" fmla="*/ 1030424 h 1302505"/>
                <a:gd name="connsiteX2889" fmla="*/ 1025221 w 1478629"/>
                <a:gd name="connsiteY2889" fmla="*/ 1030848 h 1302505"/>
                <a:gd name="connsiteX2890" fmla="*/ 1027611 w 1478629"/>
                <a:gd name="connsiteY2890" fmla="*/ 1030757 h 1302505"/>
                <a:gd name="connsiteX2891" fmla="*/ 1028367 w 1478629"/>
                <a:gd name="connsiteY2891" fmla="*/ 1030848 h 1302505"/>
                <a:gd name="connsiteX2892" fmla="*/ 1030455 w 1478629"/>
                <a:gd name="connsiteY2892" fmla="*/ 1031483 h 1302505"/>
                <a:gd name="connsiteX2893" fmla="*/ 1030969 w 1478629"/>
                <a:gd name="connsiteY2893" fmla="*/ 1032149 h 1302505"/>
                <a:gd name="connsiteX2894" fmla="*/ 1031029 w 1478629"/>
                <a:gd name="connsiteY2894" fmla="*/ 1033238 h 1302505"/>
                <a:gd name="connsiteX2895" fmla="*/ 1031725 w 1478629"/>
                <a:gd name="connsiteY2895" fmla="*/ 1035204 h 1302505"/>
                <a:gd name="connsiteX2896" fmla="*/ 1033903 w 1478629"/>
                <a:gd name="connsiteY2896" fmla="*/ 1037503 h 1302505"/>
                <a:gd name="connsiteX2897" fmla="*/ 1036475 w 1478629"/>
                <a:gd name="connsiteY2897" fmla="*/ 1037927 h 1302505"/>
                <a:gd name="connsiteX2898" fmla="*/ 1039318 w 1478629"/>
                <a:gd name="connsiteY2898" fmla="*/ 1036989 h 1302505"/>
                <a:gd name="connsiteX2899" fmla="*/ 1042253 w 1478629"/>
                <a:gd name="connsiteY2899" fmla="*/ 1035204 h 1302505"/>
                <a:gd name="connsiteX2900" fmla="*/ 1042616 w 1478629"/>
                <a:gd name="connsiteY2900" fmla="*/ 1038199 h 1302505"/>
                <a:gd name="connsiteX2901" fmla="*/ 1041345 w 1478629"/>
                <a:gd name="connsiteY2901" fmla="*/ 1041043 h 1302505"/>
                <a:gd name="connsiteX2902" fmla="*/ 1039258 w 1478629"/>
                <a:gd name="connsiteY2902" fmla="*/ 1043372 h 1302505"/>
                <a:gd name="connsiteX2903" fmla="*/ 1037352 w 1478629"/>
                <a:gd name="connsiteY2903" fmla="*/ 1044794 h 1302505"/>
                <a:gd name="connsiteX2904" fmla="*/ 1034569 w 1478629"/>
                <a:gd name="connsiteY2904" fmla="*/ 1045580 h 1302505"/>
                <a:gd name="connsiteX2905" fmla="*/ 1025614 w 1478629"/>
                <a:gd name="connsiteY2905" fmla="*/ 1045580 h 1302505"/>
                <a:gd name="connsiteX2906" fmla="*/ 1022498 w 1478629"/>
                <a:gd name="connsiteY2906" fmla="*/ 1047214 h 1302505"/>
                <a:gd name="connsiteX2907" fmla="*/ 1020411 w 1478629"/>
                <a:gd name="connsiteY2907" fmla="*/ 1050723 h 1302505"/>
                <a:gd name="connsiteX2908" fmla="*/ 1021258 w 1478629"/>
                <a:gd name="connsiteY2908" fmla="*/ 1053748 h 1302505"/>
                <a:gd name="connsiteX2909" fmla="*/ 1023285 w 1478629"/>
                <a:gd name="connsiteY2909" fmla="*/ 1056592 h 1302505"/>
                <a:gd name="connsiteX2910" fmla="*/ 1026371 w 1478629"/>
                <a:gd name="connsiteY2910" fmla="*/ 1057530 h 1302505"/>
                <a:gd name="connsiteX2911" fmla="*/ 1032451 w 1478629"/>
                <a:gd name="connsiteY2911" fmla="*/ 1057802 h 1302505"/>
                <a:gd name="connsiteX2912" fmla="*/ 1036293 w 1478629"/>
                <a:gd name="connsiteY2912" fmla="*/ 1057348 h 1302505"/>
                <a:gd name="connsiteX2913" fmla="*/ 1043856 w 1478629"/>
                <a:gd name="connsiteY2913" fmla="*/ 1057500 h 1302505"/>
                <a:gd name="connsiteX2914" fmla="*/ 1049483 w 1478629"/>
                <a:gd name="connsiteY2914" fmla="*/ 1054021 h 1302505"/>
                <a:gd name="connsiteX2915" fmla="*/ 1053990 w 1478629"/>
                <a:gd name="connsiteY2915" fmla="*/ 1056713 h 1302505"/>
                <a:gd name="connsiteX2916" fmla="*/ 1055291 w 1478629"/>
                <a:gd name="connsiteY2916" fmla="*/ 1061342 h 1302505"/>
                <a:gd name="connsiteX2917" fmla="*/ 1055714 w 1478629"/>
                <a:gd name="connsiteY2917" fmla="*/ 1062098 h 1302505"/>
                <a:gd name="connsiteX2918" fmla="*/ 1055866 w 1478629"/>
                <a:gd name="connsiteY2918" fmla="*/ 1063580 h 1302505"/>
                <a:gd name="connsiteX2919" fmla="*/ 1057045 w 1478629"/>
                <a:gd name="connsiteY2919" fmla="*/ 1064820 h 1302505"/>
                <a:gd name="connsiteX2920" fmla="*/ 1056199 w 1478629"/>
                <a:gd name="connsiteY2920" fmla="*/ 1066908 h 1302505"/>
                <a:gd name="connsiteX2921" fmla="*/ 1055503 w 1478629"/>
                <a:gd name="connsiteY2921" fmla="*/ 1068178 h 1302505"/>
                <a:gd name="connsiteX2922" fmla="*/ 1055170 w 1478629"/>
                <a:gd name="connsiteY2922" fmla="*/ 1069479 h 1302505"/>
                <a:gd name="connsiteX2923" fmla="*/ 1054807 w 1478629"/>
                <a:gd name="connsiteY2923" fmla="*/ 1071718 h 1302505"/>
                <a:gd name="connsiteX2924" fmla="*/ 1057166 w 1478629"/>
                <a:gd name="connsiteY2924" fmla="*/ 1072746 h 1302505"/>
                <a:gd name="connsiteX2925" fmla="*/ 1059678 w 1478629"/>
                <a:gd name="connsiteY2925" fmla="*/ 1072172 h 1302505"/>
                <a:gd name="connsiteX2926" fmla="*/ 1061099 w 1478629"/>
                <a:gd name="connsiteY2926" fmla="*/ 1072293 h 1302505"/>
                <a:gd name="connsiteX2927" fmla="*/ 1064155 w 1478629"/>
                <a:gd name="connsiteY2927" fmla="*/ 1072746 h 1302505"/>
                <a:gd name="connsiteX2928" fmla="*/ 1066181 w 1478629"/>
                <a:gd name="connsiteY2928" fmla="*/ 1072625 h 1302505"/>
                <a:gd name="connsiteX2929" fmla="*/ 1070629 w 1478629"/>
                <a:gd name="connsiteY2929" fmla="*/ 1072988 h 1302505"/>
                <a:gd name="connsiteX2930" fmla="*/ 1071657 w 1478629"/>
                <a:gd name="connsiteY2930" fmla="*/ 1072716 h 1302505"/>
                <a:gd name="connsiteX2931" fmla="*/ 1072716 w 1478629"/>
                <a:gd name="connsiteY2931" fmla="*/ 1072111 h 1302505"/>
                <a:gd name="connsiteX2932" fmla="*/ 1074017 w 1478629"/>
                <a:gd name="connsiteY2932" fmla="*/ 1072776 h 1302505"/>
                <a:gd name="connsiteX2933" fmla="*/ 1074954 w 1478629"/>
                <a:gd name="connsiteY2933" fmla="*/ 1074501 h 1302505"/>
                <a:gd name="connsiteX2934" fmla="*/ 1076134 w 1478629"/>
                <a:gd name="connsiteY2934" fmla="*/ 1076044 h 1302505"/>
                <a:gd name="connsiteX2935" fmla="*/ 1077526 w 1478629"/>
                <a:gd name="connsiteY2935" fmla="*/ 1077617 h 1302505"/>
                <a:gd name="connsiteX2936" fmla="*/ 1079099 w 1478629"/>
                <a:gd name="connsiteY2936" fmla="*/ 1077768 h 1302505"/>
                <a:gd name="connsiteX2937" fmla="*/ 1081519 w 1478629"/>
                <a:gd name="connsiteY2937" fmla="*/ 1078706 h 1302505"/>
                <a:gd name="connsiteX2938" fmla="*/ 1082578 w 1478629"/>
                <a:gd name="connsiteY2938" fmla="*/ 1076649 h 1302505"/>
                <a:gd name="connsiteX2939" fmla="*/ 1083727 w 1478629"/>
                <a:gd name="connsiteY2939" fmla="*/ 1075318 h 1302505"/>
                <a:gd name="connsiteX2940" fmla="*/ 1085845 w 1478629"/>
                <a:gd name="connsiteY2940" fmla="*/ 1075529 h 1302505"/>
                <a:gd name="connsiteX2941" fmla="*/ 1087720 w 1478629"/>
                <a:gd name="connsiteY2941" fmla="*/ 1076255 h 1302505"/>
                <a:gd name="connsiteX2942" fmla="*/ 1089112 w 1478629"/>
                <a:gd name="connsiteY2942" fmla="*/ 1077677 h 1302505"/>
                <a:gd name="connsiteX2943" fmla="*/ 1089989 w 1478629"/>
                <a:gd name="connsiteY2943" fmla="*/ 1080460 h 1302505"/>
                <a:gd name="connsiteX2944" fmla="*/ 1094497 w 1478629"/>
                <a:gd name="connsiteY2944" fmla="*/ 1082336 h 1302505"/>
                <a:gd name="connsiteX2945" fmla="*/ 1096463 w 1478629"/>
                <a:gd name="connsiteY2945" fmla="*/ 1082336 h 1302505"/>
                <a:gd name="connsiteX2946" fmla="*/ 1098036 w 1478629"/>
                <a:gd name="connsiteY2946" fmla="*/ 1082487 h 1302505"/>
                <a:gd name="connsiteX2947" fmla="*/ 1098520 w 1478629"/>
                <a:gd name="connsiteY2947" fmla="*/ 1083425 h 1302505"/>
                <a:gd name="connsiteX2948" fmla="*/ 1098762 w 1478629"/>
                <a:gd name="connsiteY2948" fmla="*/ 1084514 h 1302505"/>
                <a:gd name="connsiteX2949" fmla="*/ 1100487 w 1478629"/>
                <a:gd name="connsiteY2949" fmla="*/ 1084877 h 1302505"/>
                <a:gd name="connsiteX2950" fmla="*/ 1101576 w 1478629"/>
                <a:gd name="connsiteY2950" fmla="*/ 1085512 h 1302505"/>
                <a:gd name="connsiteX2951" fmla="*/ 1102241 w 1478629"/>
                <a:gd name="connsiteY2951" fmla="*/ 1086480 h 1302505"/>
                <a:gd name="connsiteX2952" fmla="*/ 1100729 w 1478629"/>
                <a:gd name="connsiteY2952" fmla="*/ 1087781 h 1302505"/>
                <a:gd name="connsiteX2953" fmla="*/ 1098611 w 1478629"/>
                <a:gd name="connsiteY2953" fmla="*/ 1089021 h 1302505"/>
                <a:gd name="connsiteX2954" fmla="*/ 1099458 w 1478629"/>
                <a:gd name="connsiteY2954" fmla="*/ 1090171 h 1302505"/>
                <a:gd name="connsiteX2955" fmla="*/ 1102362 w 1478629"/>
                <a:gd name="connsiteY2955" fmla="*/ 1092259 h 1302505"/>
                <a:gd name="connsiteX2956" fmla="*/ 1106144 w 1478629"/>
                <a:gd name="connsiteY2956" fmla="*/ 1093348 h 1302505"/>
                <a:gd name="connsiteX2957" fmla="*/ 1108019 w 1478629"/>
                <a:gd name="connsiteY2957" fmla="*/ 1090322 h 1302505"/>
                <a:gd name="connsiteX2958" fmla="*/ 1109290 w 1478629"/>
                <a:gd name="connsiteY2958" fmla="*/ 1089869 h 1302505"/>
                <a:gd name="connsiteX2959" fmla="*/ 1112224 w 1478629"/>
                <a:gd name="connsiteY2959" fmla="*/ 1089808 h 1302505"/>
                <a:gd name="connsiteX2960" fmla="*/ 1114553 w 1478629"/>
                <a:gd name="connsiteY2960" fmla="*/ 1090050 h 1302505"/>
                <a:gd name="connsiteX2961" fmla="*/ 1115673 w 1478629"/>
                <a:gd name="connsiteY2961" fmla="*/ 1088901 h 1302505"/>
                <a:gd name="connsiteX2962" fmla="*/ 1113253 w 1478629"/>
                <a:gd name="connsiteY2962" fmla="*/ 1087963 h 1302505"/>
                <a:gd name="connsiteX2963" fmla="*/ 1111559 w 1478629"/>
                <a:gd name="connsiteY2963" fmla="*/ 1087237 h 1302505"/>
                <a:gd name="connsiteX2964" fmla="*/ 1110107 w 1478629"/>
                <a:gd name="connsiteY2964" fmla="*/ 1084423 h 1302505"/>
                <a:gd name="connsiteX2965" fmla="*/ 1108413 w 1478629"/>
                <a:gd name="connsiteY2965" fmla="*/ 1083788 h 1302505"/>
                <a:gd name="connsiteX2966" fmla="*/ 1111347 w 1478629"/>
                <a:gd name="connsiteY2966" fmla="*/ 1082397 h 1302505"/>
                <a:gd name="connsiteX2967" fmla="*/ 1112950 w 1478629"/>
                <a:gd name="connsiteY2967" fmla="*/ 1082034 h 1302505"/>
                <a:gd name="connsiteX2968" fmla="*/ 1114614 w 1478629"/>
                <a:gd name="connsiteY2968" fmla="*/ 1082034 h 1302505"/>
                <a:gd name="connsiteX2969" fmla="*/ 1114342 w 1478629"/>
                <a:gd name="connsiteY2969" fmla="*/ 1082699 h 1302505"/>
                <a:gd name="connsiteX2970" fmla="*/ 1114160 w 1478629"/>
                <a:gd name="connsiteY2970" fmla="*/ 1083909 h 1302505"/>
                <a:gd name="connsiteX2971" fmla="*/ 1113918 w 1478629"/>
                <a:gd name="connsiteY2971" fmla="*/ 1084665 h 1302505"/>
                <a:gd name="connsiteX2972" fmla="*/ 1116399 w 1478629"/>
                <a:gd name="connsiteY2972" fmla="*/ 1086117 h 1302505"/>
                <a:gd name="connsiteX2973" fmla="*/ 1119727 w 1478629"/>
                <a:gd name="connsiteY2973" fmla="*/ 1086117 h 1302505"/>
                <a:gd name="connsiteX2974" fmla="*/ 1122207 w 1478629"/>
                <a:gd name="connsiteY2974" fmla="*/ 1086511 h 1302505"/>
                <a:gd name="connsiteX2975" fmla="*/ 1123266 w 1478629"/>
                <a:gd name="connsiteY2975" fmla="*/ 1089143 h 1302505"/>
                <a:gd name="connsiteX2976" fmla="*/ 1125021 w 1478629"/>
                <a:gd name="connsiteY2976" fmla="*/ 1089143 h 1302505"/>
                <a:gd name="connsiteX2977" fmla="*/ 1129800 w 1478629"/>
                <a:gd name="connsiteY2977" fmla="*/ 1088538 h 1302505"/>
                <a:gd name="connsiteX2978" fmla="*/ 1131585 w 1478629"/>
                <a:gd name="connsiteY2978" fmla="*/ 1088356 h 1302505"/>
                <a:gd name="connsiteX2979" fmla="*/ 1133551 w 1478629"/>
                <a:gd name="connsiteY2979" fmla="*/ 1089990 h 1302505"/>
                <a:gd name="connsiteX2980" fmla="*/ 1133854 w 1478629"/>
                <a:gd name="connsiteY2980" fmla="*/ 1092349 h 1302505"/>
                <a:gd name="connsiteX2981" fmla="*/ 1132553 w 1478629"/>
                <a:gd name="connsiteY2981" fmla="*/ 1093287 h 1302505"/>
                <a:gd name="connsiteX2982" fmla="*/ 1130920 w 1478629"/>
                <a:gd name="connsiteY2982" fmla="*/ 1093832 h 1302505"/>
                <a:gd name="connsiteX2983" fmla="*/ 1129467 w 1478629"/>
                <a:gd name="connsiteY2983" fmla="*/ 1094558 h 1302505"/>
                <a:gd name="connsiteX2984" fmla="*/ 1130375 w 1478629"/>
                <a:gd name="connsiteY2984" fmla="*/ 1095011 h 1302505"/>
                <a:gd name="connsiteX2985" fmla="*/ 1136092 w 1478629"/>
                <a:gd name="connsiteY2985" fmla="*/ 1094709 h 1302505"/>
                <a:gd name="connsiteX2986" fmla="*/ 1138664 w 1478629"/>
                <a:gd name="connsiteY2986" fmla="*/ 1094437 h 1302505"/>
                <a:gd name="connsiteX2987" fmla="*/ 1139208 w 1478629"/>
                <a:gd name="connsiteY2987" fmla="*/ 1093226 h 1302505"/>
                <a:gd name="connsiteX2988" fmla="*/ 1137787 w 1478629"/>
                <a:gd name="connsiteY2988" fmla="*/ 1093620 h 1302505"/>
                <a:gd name="connsiteX2989" fmla="*/ 1135911 w 1478629"/>
                <a:gd name="connsiteY2989" fmla="*/ 1092894 h 1302505"/>
                <a:gd name="connsiteX2990" fmla="*/ 1135911 w 1478629"/>
                <a:gd name="connsiteY2990" fmla="*/ 1089869 h 1302505"/>
                <a:gd name="connsiteX2991" fmla="*/ 1136940 w 1478629"/>
                <a:gd name="connsiteY2991" fmla="*/ 1087267 h 1302505"/>
                <a:gd name="connsiteX2992" fmla="*/ 1138513 w 1478629"/>
                <a:gd name="connsiteY2992" fmla="*/ 1085966 h 1302505"/>
                <a:gd name="connsiteX2993" fmla="*/ 1139965 w 1478629"/>
                <a:gd name="connsiteY2993" fmla="*/ 1085210 h 1302505"/>
                <a:gd name="connsiteX2994" fmla="*/ 1142627 w 1478629"/>
                <a:gd name="connsiteY2994" fmla="*/ 1084212 h 1302505"/>
                <a:gd name="connsiteX2995" fmla="*/ 1146015 w 1478629"/>
                <a:gd name="connsiteY2995" fmla="*/ 1083667 h 1302505"/>
                <a:gd name="connsiteX2996" fmla="*/ 1148738 w 1478629"/>
                <a:gd name="connsiteY2996" fmla="*/ 1083939 h 1302505"/>
                <a:gd name="connsiteX2997" fmla="*/ 1151339 w 1478629"/>
                <a:gd name="connsiteY2997" fmla="*/ 1085089 h 1302505"/>
                <a:gd name="connsiteX2998" fmla="*/ 1153306 w 1478629"/>
                <a:gd name="connsiteY2998" fmla="*/ 1085754 h 1302505"/>
                <a:gd name="connsiteX2999" fmla="*/ 1153608 w 1478629"/>
                <a:gd name="connsiteY2999" fmla="*/ 1086299 h 1302505"/>
                <a:gd name="connsiteX3000" fmla="*/ 1154970 w 1478629"/>
                <a:gd name="connsiteY3000" fmla="*/ 1087449 h 1302505"/>
                <a:gd name="connsiteX3001" fmla="*/ 1158297 w 1478629"/>
                <a:gd name="connsiteY3001" fmla="*/ 1087449 h 1302505"/>
                <a:gd name="connsiteX3002" fmla="*/ 1157753 w 1478629"/>
                <a:gd name="connsiteY3002" fmla="*/ 1085573 h 1302505"/>
                <a:gd name="connsiteX3003" fmla="*/ 1157359 w 1478629"/>
                <a:gd name="connsiteY3003" fmla="*/ 1083909 h 1302505"/>
                <a:gd name="connsiteX3004" fmla="*/ 1158600 w 1478629"/>
                <a:gd name="connsiteY3004" fmla="*/ 1081701 h 1302505"/>
                <a:gd name="connsiteX3005" fmla="*/ 1160929 w 1478629"/>
                <a:gd name="connsiteY3005" fmla="*/ 1080339 h 1302505"/>
                <a:gd name="connsiteX3006" fmla="*/ 1162956 w 1478629"/>
                <a:gd name="connsiteY3006" fmla="*/ 1079674 h 1302505"/>
                <a:gd name="connsiteX3007" fmla="*/ 1165890 w 1478629"/>
                <a:gd name="connsiteY3007" fmla="*/ 1079613 h 1302505"/>
                <a:gd name="connsiteX3008" fmla="*/ 1168704 w 1478629"/>
                <a:gd name="connsiteY3008" fmla="*/ 1079190 h 1302505"/>
                <a:gd name="connsiteX3009" fmla="*/ 1171366 w 1478629"/>
                <a:gd name="connsiteY3009" fmla="*/ 1079855 h 1302505"/>
                <a:gd name="connsiteX3010" fmla="*/ 1173483 w 1478629"/>
                <a:gd name="connsiteY3010" fmla="*/ 1078645 h 1302505"/>
                <a:gd name="connsiteX3011" fmla="*/ 1174451 w 1478629"/>
                <a:gd name="connsiteY3011" fmla="*/ 1077133 h 1302505"/>
                <a:gd name="connsiteX3012" fmla="*/ 1174814 w 1478629"/>
                <a:gd name="connsiteY3012" fmla="*/ 1075892 h 1302505"/>
                <a:gd name="connsiteX3013" fmla="*/ 1177204 w 1478629"/>
                <a:gd name="connsiteY3013" fmla="*/ 1075620 h 1302505"/>
                <a:gd name="connsiteX3014" fmla="*/ 1178989 w 1478629"/>
                <a:gd name="connsiteY3014" fmla="*/ 1075620 h 1302505"/>
                <a:gd name="connsiteX3015" fmla="*/ 1180199 w 1478629"/>
                <a:gd name="connsiteY3015" fmla="*/ 1075197 h 1302505"/>
                <a:gd name="connsiteX3016" fmla="*/ 1180411 w 1478629"/>
                <a:gd name="connsiteY3016" fmla="*/ 1076195 h 1302505"/>
                <a:gd name="connsiteX3017" fmla="*/ 1180804 w 1478629"/>
                <a:gd name="connsiteY3017" fmla="*/ 1076800 h 1302505"/>
                <a:gd name="connsiteX3018" fmla="*/ 1181833 w 1478629"/>
                <a:gd name="connsiteY3018" fmla="*/ 1077012 h 1302505"/>
                <a:gd name="connsiteX3019" fmla="*/ 1183769 w 1478629"/>
                <a:gd name="connsiteY3019" fmla="*/ 1076195 h 1302505"/>
                <a:gd name="connsiteX3020" fmla="*/ 1184888 w 1478629"/>
                <a:gd name="connsiteY3020" fmla="*/ 1075953 h 1302505"/>
                <a:gd name="connsiteX3021" fmla="*/ 1186885 w 1478629"/>
                <a:gd name="connsiteY3021" fmla="*/ 1074864 h 1302505"/>
                <a:gd name="connsiteX3022" fmla="*/ 1188851 w 1478629"/>
                <a:gd name="connsiteY3022" fmla="*/ 1073442 h 1302505"/>
                <a:gd name="connsiteX3023" fmla="*/ 1188065 w 1478629"/>
                <a:gd name="connsiteY3023" fmla="*/ 1071899 h 1302505"/>
                <a:gd name="connsiteX3024" fmla="*/ 1187399 w 1478629"/>
                <a:gd name="connsiteY3024" fmla="*/ 1070931 h 1302505"/>
                <a:gd name="connsiteX3025" fmla="*/ 1187701 w 1478629"/>
                <a:gd name="connsiteY3025" fmla="*/ 1068632 h 1302505"/>
                <a:gd name="connsiteX3026" fmla="*/ 1189426 w 1478629"/>
                <a:gd name="connsiteY3026" fmla="*/ 1067543 h 1302505"/>
                <a:gd name="connsiteX3027" fmla="*/ 1190696 w 1478629"/>
                <a:gd name="connsiteY3027" fmla="*/ 1065335 h 1302505"/>
                <a:gd name="connsiteX3028" fmla="*/ 1190212 w 1478629"/>
                <a:gd name="connsiteY3028" fmla="*/ 1064367 h 1302505"/>
                <a:gd name="connsiteX3029" fmla="*/ 1188095 w 1478629"/>
                <a:gd name="connsiteY3029" fmla="*/ 1063973 h 1302505"/>
                <a:gd name="connsiteX3030" fmla="*/ 1181984 w 1478629"/>
                <a:gd name="connsiteY3030" fmla="*/ 1065486 h 1302505"/>
                <a:gd name="connsiteX3031" fmla="*/ 1179897 w 1478629"/>
                <a:gd name="connsiteY3031" fmla="*/ 1064911 h 1302505"/>
                <a:gd name="connsiteX3032" fmla="*/ 1180532 w 1478629"/>
                <a:gd name="connsiteY3032" fmla="*/ 1063005 h 1302505"/>
                <a:gd name="connsiteX3033" fmla="*/ 1183285 w 1478629"/>
                <a:gd name="connsiteY3033" fmla="*/ 1061493 h 1302505"/>
                <a:gd name="connsiteX3034" fmla="*/ 1186038 w 1478629"/>
                <a:gd name="connsiteY3034" fmla="*/ 1059103 h 1302505"/>
                <a:gd name="connsiteX3035" fmla="*/ 1186975 w 1478629"/>
                <a:gd name="connsiteY3035" fmla="*/ 1058165 h 1302505"/>
                <a:gd name="connsiteX3036" fmla="*/ 1187460 w 1478629"/>
                <a:gd name="connsiteY3036" fmla="*/ 1056774 h 1302505"/>
                <a:gd name="connsiteX3037" fmla="*/ 1188337 w 1478629"/>
                <a:gd name="connsiteY3037" fmla="*/ 1055110 h 1302505"/>
                <a:gd name="connsiteX3038" fmla="*/ 1190273 w 1478629"/>
                <a:gd name="connsiteY3038" fmla="*/ 1054837 h 1302505"/>
                <a:gd name="connsiteX3039" fmla="*/ 1192693 w 1478629"/>
                <a:gd name="connsiteY3039" fmla="*/ 1054565 h 1302505"/>
                <a:gd name="connsiteX3040" fmla="*/ 1192693 w 1478629"/>
                <a:gd name="connsiteY3040" fmla="*/ 1052508 h 1302505"/>
                <a:gd name="connsiteX3041" fmla="*/ 1194206 w 1478629"/>
                <a:gd name="connsiteY3041" fmla="*/ 1050572 h 1302505"/>
                <a:gd name="connsiteX3042" fmla="*/ 1194054 w 1478629"/>
                <a:gd name="connsiteY3042" fmla="*/ 1047305 h 1302505"/>
                <a:gd name="connsiteX3043" fmla="*/ 1195597 w 1478629"/>
                <a:gd name="connsiteY3043" fmla="*/ 1046034 h 1302505"/>
                <a:gd name="connsiteX3044" fmla="*/ 1196656 w 1478629"/>
                <a:gd name="connsiteY3044" fmla="*/ 1045429 h 1302505"/>
                <a:gd name="connsiteX3045" fmla="*/ 1198259 w 1478629"/>
                <a:gd name="connsiteY3045" fmla="*/ 1045974 h 1302505"/>
                <a:gd name="connsiteX3046" fmla="*/ 1199288 w 1478629"/>
                <a:gd name="connsiteY3046" fmla="*/ 1047214 h 1302505"/>
                <a:gd name="connsiteX3047" fmla="*/ 1202888 w 1478629"/>
                <a:gd name="connsiteY3047" fmla="*/ 1046276 h 1302505"/>
                <a:gd name="connsiteX3048" fmla="*/ 1204491 w 1478629"/>
                <a:gd name="connsiteY3048" fmla="*/ 1046276 h 1302505"/>
                <a:gd name="connsiteX3049" fmla="*/ 1205701 w 1478629"/>
                <a:gd name="connsiteY3049" fmla="*/ 1046730 h 1302505"/>
                <a:gd name="connsiteX3050" fmla="*/ 1207062 w 1478629"/>
                <a:gd name="connsiteY3050" fmla="*/ 1046306 h 1302505"/>
                <a:gd name="connsiteX3051" fmla="*/ 1206669 w 1478629"/>
                <a:gd name="connsiteY3051" fmla="*/ 1044673 h 1302505"/>
                <a:gd name="connsiteX3052" fmla="*/ 1206851 w 1478629"/>
                <a:gd name="connsiteY3052" fmla="*/ 1043735 h 1302505"/>
                <a:gd name="connsiteX3053" fmla="*/ 1207335 w 1478629"/>
                <a:gd name="connsiteY3053" fmla="*/ 1043342 h 1302505"/>
                <a:gd name="connsiteX3054" fmla="*/ 1207698 w 1478629"/>
                <a:gd name="connsiteY3054" fmla="*/ 1043826 h 1302505"/>
                <a:gd name="connsiteX3055" fmla="*/ 1208000 w 1478629"/>
                <a:gd name="connsiteY3055" fmla="*/ 1044249 h 1302505"/>
                <a:gd name="connsiteX3056" fmla="*/ 1208151 w 1478629"/>
                <a:gd name="connsiteY3056" fmla="*/ 1045006 h 1302505"/>
                <a:gd name="connsiteX3057" fmla="*/ 1210481 w 1478629"/>
                <a:gd name="connsiteY3057" fmla="*/ 1044794 h 1302505"/>
                <a:gd name="connsiteX3058" fmla="*/ 1210904 w 1478629"/>
                <a:gd name="connsiteY3058" fmla="*/ 1043463 h 1302505"/>
                <a:gd name="connsiteX3059" fmla="*/ 1213143 w 1478629"/>
                <a:gd name="connsiteY3059" fmla="*/ 1042071 h 1302505"/>
                <a:gd name="connsiteX3060" fmla="*/ 1213627 w 1478629"/>
                <a:gd name="connsiteY3060" fmla="*/ 1039046 h 1302505"/>
                <a:gd name="connsiteX3061" fmla="*/ 1216561 w 1478629"/>
                <a:gd name="connsiteY3061" fmla="*/ 1035567 h 1302505"/>
                <a:gd name="connsiteX3062" fmla="*/ 1216501 w 1478629"/>
                <a:gd name="connsiteY3062" fmla="*/ 1034992 h 1302505"/>
                <a:gd name="connsiteX3063" fmla="*/ 1216017 w 1478629"/>
                <a:gd name="connsiteY3063" fmla="*/ 1034660 h 1302505"/>
                <a:gd name="connsiteX3064" fmla="*/ 1216077 w 1478629"/>
                <a:gd name="connsiteY3064" fmla="*/ 1034599 h 1302505"/>
                <a:gd name="connsiteX3065" fmla="*/ 1215200 w 1478629"/>
                <a:gd name="connsiteY3065" fmla="*/ 1033994 h 1302505"/>
                <a:gd name="connsiteX3066" fmla="*/ 1215624 w 1478629"/>
                <a:gd name="connsiteY3066" fmla="*/ 1032119 h 1302505"/>
                <a:gd name="connsiteX3067" fmla="*/ 1217318 w 1478629"/>
                <a:gd name="connsiteY3067" fmla="*/ 1030485 h 1302505"/>
                <a:gd name="connsiteX3068" fmla="*/ 1218679 w 1478629"/>
                <a:gd name="connsiteY3068" fmla="*/ 1029608 h 1302505"/>
                <a:gd name="connsiteX3069" fmla="*/ 1220524 w 1478629"/>
                <a:gd name="connsiteY3069" fmla="*/ 1029366 h 1302505"/>
                <a:gd name="connsiteX3070" fmla="*/ 1222612 w 1478629"/>
                <a:gd name="connsiteY3070" fmla="*/ 1029608 h 1302505"/>
                <a:gd name="connsiteX3071" fmla="*/ 1224245 w 1478629"/>
                <a:gd name="connsiteY3071" fmla="*/ 1029487 h 1302505"/>
                <a:gd name="connsiteX3072" fmla="*/ 1224911 w 1478629"/>
                <a:gd name="connsiteY3072" fmla="*/ 1030969 h 1302505"/>
                <a:gd name="connsiteX3073" fmla="*/ 1225697 w 1478629"/>
                <a:gd name="connsiteY3073" fmla="*/ 1030213 h 1302505"/>
                <a:gd name="connsiteX3074" fmla="*/ 1226998 w 1478629"/>
                <a:gd name="connsiteY3074" fmla="*/ 1029244 h 1302505"/>
                <a:gd name="connsiteX3075" fmla="*/ 1228299 w 1478629"/>
                <a:gd name="connsiteY3075" fmla="*/ 1027853 h 1302505"/>
                <a:gd name="connsiteX3076" fmla="*/ 1230054 w 1478629"/>
                <a:gd name="connsiteY3076" fmla="*/ 1026855 h 1302505"/>
                <a:gd name="connsiteX3077" fmla="*/ 1231657 w 1478629"/>
                <a:gd name="connsiteY3077" fmla="*/ 1026915 h 1302505"/>
                <a:gd name="connsiteX3078" fmla="*/ 1232534 w 1478629"/>
                <a:gd name="connsiteY3078" fmla="*/ 1027399 h 1302505"/>
                <a:gd name="connsiteX3079" fmla="*/ 1233805 w 1478629"/>
                <a:gd name="connsiteY3079" fmla="*/ 1029517 h 1302505"/>
                <a:gd name="connsiteX3080" fmla="*/ 1235136 w 1478629"/>
                <a:gd name="connsiteY3080" fmla="*/ 1028730 h 1302505"/>
                <a:gd name="connsiteX3081" fmla="*/ 1234863 w 1478629"/>
                <a:gd name="connsiteY3081" fmla="*/ 1027641 h 1302505"/>
                <a:gd name="connsiteX3082" fmla="*/ 1234500 w 1478629"/>
                <a:gd name="connsiteY3082" fmla="*/ 1026219 h 1302505"/>
                <a:gd name="connsiteX3083" fmla="*/ 1234440 w 1478629"/>
                <a:gd name="connsiteY3083" fmla="*/ 1025554 h 1302505"/>
                <a:gd name="connsiteX3084" fmla="*/ 1233835 w 1478629"/>
                <a:gd name="connsiteY3084" fmla="*/ 1022105 h 1302505"/>
                <a:gd name="connsiteX3085" fmla="*/ 1234531 w 1478629"/>
                <a:gd name="connsiteY3085" fmla="*/ 1018536 h 1302505"/>
                <a:gd name="connsiteX3086" fmla="*/ 1234894 w 1478629"/>
                <a:gd name="connsiteY3086" fmla="*/ 1017598 h 1302505"/>
                <a:gd name="connsiteX3087" fmla="*/ 1235650 w 1478629"/>
                <a:gd name="connsiteY3087" fmla="*/ 1017053 h 1302505"/>
                <a:gd name="connsiteX3088" fmla="*/ 1236406 w 1478629"/>
                <a:gd name="connsiteY3088" fmla="*/ 1015874 h 1302505"/>
                <a:gd name="connsiteX3089" fmla="*/ 1237707 w 1478629"/>
                <a:gd name="connsiteY3089" fmla="*/ 1015692 h 1302505"/>
                <a:gd name="connsiteX3090" fmla="*/ 1239038 w 1478629"/>
                <a:gd name="connsiteY3090" fmla="*/ 1015178 h 1302505"/>
                <a:gd name="connsiteX3091" fmla="*/ 1240944 w 1478629"/>
                <a:gd name="connsiteY3091" fmla="*/ 1015601 h 1302505"/>
                <a:gd name="connsiteX3092" fmla="*/ 1241670 w 1478629"/>
                <a:gd name="connsiteY3092" fmla="*/ 1017204 h 1302505"/>
                <a:gd name="connsiteX3093" fmla="*/ 1242668 w 1478629"/>
                <a:gd name="connsiteY3093" fmla="*/ 1016660 h 1302505"/>
                <a:gd name="connsiteX3094" fmla="*/ 1244483 w 1478629"/>
                <a:gd name="connsiteY3094" fmla="*/ 1014785 h 1302505"/>
                <a:gd name="connsiteX3095" fmla="*/ 1244151 w 1478629"/>
                <a:gd name="connsiteY3095" fmla="*/ 1013393 h 1302505"/>
                <a:gd name="connsiteX3096" fmla="*/ 1245482 w 1478629"/>
                <a:gd name="connsiteY3096" fmla="*/ 1012032 h 1302505"/>
                <a:gd name="connsiteX3097" fmla="*/ 1247055 w 1478629"/>
                <a:gd name="connsiteY3097" fmla="*/ 1011154 h 1302505"/>
                <a:gd name="connsiteX3098" fmla="*/ 1249354 w 1478629"/>
                <a:gd name="connsiteY3098" fmla="*/ 1010943 h 1302505"/>
                <a:gd name="connsiteX3099" fmla="*/ 1251441 w 1478629"/>
                <a:gd name="connsiteY3099" fmla="*/ 1011669 h 1302505"/>
                <a:gd name="connsiteX3100" fmla="*/ 1253256 w 1478629"/>
                <a:gd name="connsiteY3100" fmla="*/ 1011971 h 1302505"/>
                <a:gd name="connsiteX3101" fmla="*/ 1254436 w 1478629"/>
                <a:gd name="connsiteY3101" fmla="*/ 1011820 h 1302505"/>
                <a:gd name="connsiteX3102" fmla="*/ 1255192 w 1478629"/>
                <a:gd name="connsiteY3102" fmla="*/ 1010307 h 1302505"/>
                <a:gd name="connsiteX3103" fmla="*/ 1255616 w 1478629"/>
                <a:gd name="connsiteY3103" fmla="*/ 1009097 h 1302505"/>
                <a:gd name="connsiteX3104" fmla="*/ 1256705 w 1478629"/>
                <a:gd name="connsiteY3104" fmla="*/ 1008099 h 1302505"/>
                <a:gd name="connsiteX3105" fmla="*/ 1257976 w 1478629"/>
                <a:gd name="connsiteY3105" fmla="*/ 1007191 h 1302505"/>
                <a:gd name="connsiteX3106" fmla="*/ 1258127 w 1478629"/>
                <a:gd name="connsiteY3106" fmla="*/ 1005739 h 1302505"/>
                <a:gd name="connsiteX3107" fmla="*/ 1258671 w 1478629"/>
                <a:gd name="connsiteY3107" fmla="*/ 1004227 h 1302505"/>
                <a:gd name="connsiteX3108" fmla="*/ 1260154 w 1478629"/>
                <a:gd name="connsiteY3108" fmla="*/ 1002684 h 1302505"/>
                <a:gd name="connsiteX3109" fmla="*/ 1262120 w 1478629"/>
                <a:gd name="connsiteY3109" fmla="*/ 1001958 h 1302505"/>
                <a:gd name="connsiteX3110" fmla="*/ 1264056 w 1478629"/>
                <a:gd name="connsiteY3110" fmla="*/ 1002986 h 1302505"/>
                <a:gd name="connsiteX3111" fmla="*/ 1265175 w 1478629"/>
                <a:gd name="connsiteY3111" fmla="*/ 1004529 h 1302505"/>
                <a:gd name="connsiteX3112" fmla="*/ 1266022 w 1478629"/>
                <a:gd name="connsiteY3112" fmla="*/ 1003712 h 1302505"/>
                <a:gd name="connsiteX3113" fmla="*/ 1266870 w 1478629"/>
                <a:gd name="connsiteY3113" fmla="*/ 1002774 h 1302505"/>
                <a:gd name="connsiteX3114" fmla="*/ 1267716 w 1478629"/>
                <a:gd name="connsiteY3114" fmla="*/ 1002139 h 1302505"/>
                <a:gd name="connsiteX3115" fmla="*/ 1268291 w 1478629"/>
                <a:gd name="connsiteY3115" fmla="*/ 1002200 h 1302505"/>
                <a:gd name="connsiteX3116" fmla="*/ 1269108 w 1478629"/>
                <a:gd name="connsiteY3116" fmla="*/ 1001807 h 1302505"/>
                <a:gd name="connsiteX3117" fmla="*/ 1269199 w 1478629"/>
                <a:gd name="connsiteY3117" fmla="*/ 1001383 h 1302505"/>
                <a:gd name="connsiteX3118" fmla="*/ 1269048 w 1478629"/>
                <a:gd name="connsiteY3118" fmla="*/ 999749 h 1302505"/>
                <a:gd name="connsiteX3119" fmla="*/ 1269108 w 1478629"/>
                <a:gd name="connsiteY3119" fmla="*/ 999296 h 1302505"/>
                <a:gd name="connsiteX3120" fmla="*/ 1269532 w 1478629"/>
                <a:gd name="connsiteY3120" fmla="*/ 999114 h 1302505"/>
                <a:gd name="connsiteX3121" fmla="*/ 1269955 w 1478629"/>
                <a:gd name="connsiteY3121" fmla="*/ 999175 h 1302505"/>
                <a:gd name="connsiteX3122" fmla="*/ 1270379 w 1478629"/>
                <a:gd name="connsiteY3122" fmla="*/ 999175 h 1302505"/>
                <a:gd name="connsiteX3123" fmla="*/ 1271710 w 1478629"/>
                <a:gd name="connsiteY3123" fmla="*/ 998297 h 1302505"/>
                <a:gd name="connsiteX3124" fmla="*/ 1269743 w 1478629"/>
                <a:gd name="connsiteY3124" fmla="*/ 992157 h 1302505"/>
                <a:gd name="connsiteX3125" fmla="*/ 1269259 w 1478629"/>
                <a:gd name="connsiteY3125" fmla="*/ 988919 h 1302505"/>
                <a:gd name="connsiteX3126" fmla="*/ 1270832 w 1478629"/>
                <a:gd name="connsiteY3126" fmla="*/ 986257 h 1302505"/>
                <a:gd name="connsiteX3127" fmla="*/ 1275189 w 1478629"/>
                <a:gd name="connsiteY3127" fmla="*/ 981841 h 1302505"/>
                <a:gd name="connsiteX3128" fmla="*/ 1277215 w 1478629"/>
                <a:gd name="connsiteY3128" fmla="*/ 978846 h 1302505"/>
                <a:gd name="connsiteX3129" fmla="*/ 1282419 w 1478629"/>
                <a:gd name="connsiteY3129" fmla="*/ 974822 h 1302505"/>
                <a:gd name="connsiteX3130" fmla="*/ 1284657 w 1478629"/>
                <a:gd name="connsiteY3130" fmla="*/ 972523 h 1302505"/>
                <a:gd name="connsiteX3131" fmla="*/ 1285444 w 1478629"/>
                <a:gd name="connsiteY3131" fmla="*/ 971041 h 1302505"/>
                <a:gd name="connsiteX3132" fmla="*/ 1286291 w 1478629"/>
                <a:gd name="connsiteY3132" fmla="*/ 968167 h 1302505"/>
                <a:gd name="connsiteX3133" fmla="*/ 1286926 w 1478629"/>
                <a:gd name="connsiteY3133" fmla="*/ 966594 h 1302505"/>
                <a:gd name="connsiteX3134" fmla="*/ 1288015 w 1478629"/>
                <a:gd name="connsiteY3134" fmla="*/ 965444 h 1302505"/>
                <a:gd name="connsiteX3135" fmla="*/ 1289467 w 1478629"/>
                <a:gd name="connsiteY3135" fmla="*/ 964416 h 1302505"/>
                <a:gd name="connsiteX3136" fmla="*/ 1290587 w 1478629"/>
                <a:gd name="connsiteY3136" fmla="*/ 963024 h 1302505"/>
                <a:gd name="connsiteX3137" fmla="*/ 1290798 w 1478629"/>
                <a:gd name="connsiteY3137" fmla="*/ 960786 h 1302505"/>
                <a:gd name="connsiteX3138" fmla="*/ 1290405 w 1478629"/>
                <a:gd name="connsiteY3138" fmla="*/ 959999 h 1302505"/>
                <a:gd name="connsiteX3139" fmla="*/ 1289225 w 1478629"/>
                <a:gd name="connsiteY3139" fmla="*/ 957670 h 1302505"/>
                <a:gd name="connsiteX3140" fmla="*/ 1287017 w 1478629"/>
                <a:gd name="connsiteY3140" fmla="*/ 955613 h 1302505"/>
                <a:gd name="connsiteX3141" fmla="*/ 1285777 w 1478629"/>
                <a:gd name="connsiteY3141" fmla="*/ 953223 h 1302505"/>
                <a:gd name="connsiteX3142" fmla="*/ 1287168 w 1478629"/>
                <a:gd name="connsiteY3142" fmla="*/ 949018 h 1302505"/>
                <a:gd name="connsiteX3143" fmla="*/ 1284052 w 1478629"/>
                <a:gd name="connsiteY3143" fmla="*/ 948504 h 1302505"/>
                <a:gd name="connsiteX3144" fmla="*/ 1279908 w 1478629"/>
                <a:gd name="connsiteY3144" fmla="*/ 951014 h 1302505"/>
                <a:gd name="connsiteX3145" fmla="*/ 1277004 w 1478629"/>
                <a:gd name="connsiteY3145" fmla="*/ 951226 h 1302505"/>
                <a:gd name="connsiteX3146" fmla="*/ 1259518 w 1478629"/>
                <a:gd name="connsiteY3146" fmla="*/ 955885 h 1302505"/>
                <a:gd name="connsiteX3147" fmla="*/ 1255465 w 1478629"/>
                <a:gd name="connsiteY3147" fmla="*/ 955794 h 1302505"/>
                <a:gd name="connsiteX3148" fmla="*/ 1254497 w 1478629"/>
                <a:gd name="connsiteY3148" fmla="*/ 955582 h 1302505"/>
                <a:gd name="connsiteX3149" fmla="*/ 1253559 w 1478629"/>
                <a:gd name="connsiteY3149" fmla="*/ 954736 h 1302505"/>
                <a:gd name="connsiteX3150" fmla="*/ 1253014 w 1478629"/>
                <a:gd name="connsiteY3150" fmla="*/ 953676 h 1302505"/>
                <a:gd name="connsiteX3151" fmla="*/ 1252319 w 1478629"/>
                <a:gd name="connsiteY3151" fmla="*/ 952739 h 1302505"/>
                <a:gd name="connsiteX3152" fmla="*/ 1250988 w 1478629"/>
                <a:gd name="connsiteY3152" fmla="*/ 952255 h 1302505"/>
                <a:gd name="connsiteX3153" fmla="*/ 1248356 w 1478629"/>
                <a:gd name="connsiteY3153" fmla="*/ 951861 h 1302505"/>
                <a:gd name="connsiteX3154" fmla="*/ 1246480 w 1478629"/>
                <a:gd name="connsiteY3154" fmla="*/ 951105 h 1302505"/>
                <a:gd name="connsiteX3155" fmla="*/ 1235771 w 1478629"/>
                <a:gd name="connsiteY3155" fmla="*/ 945055 h 1302505"/>
                <a:gd name="connsiteX3156" fmla="*/ 1231747 w 1478629"/>
                <a:gd name="connsiteY3156" fmla="*/ 943694 h 1302505"/>
                <a:gd name="connsiteX3157" fmla="*/ 1225849 w 1478629"/>
                <a:gd name="connsiteY3157" fmla="*/ 940789 h 1302505"/>
                <a:gd name="connsiteX3158" fmla="*/ 1224578 w 1478629"/>
                <a:gd name="connsiteY3158" fmla="*/ 940457 h 1302505"/>
                <a:gd name="connsiteX3159" fmla="*/ 1223247 w 1478629"/>
                <a:gd name="connsiteY3159" fmla="*/ 940578 h 1302505"/>
                <a:gd name="connsiteX3160" fmla="*/ 1222037 w 1478629"/>
                <a:gd name="connsiteY3160" fmla="*/ 940941 h 1302505"/>
                <a:gd name="connsiteX3161" fmla="*/ 1220827 w 1478629"/>
                <a:gd name="connsiteY3161" fmla="*/ 941122 h 1302505"/>
                <a:gd name="connsiteX3162" fmla="*/ 1219496 w 1478629"/>
                <a:gd name="connsiteY3162" fmla="*/ 940638 h 1302505"/>
                <a:gd name="connsiteX3163" fmla="*/ 1218558 w 1478629"/>
                <a:gd name="connsiteY3163" fmla="*/ 939640 h 1302505"/>
                <a:gd name="connsiteX3164" fmla="*/ 1218104 w 1478629"/>
                <a:gd name="connsiteY3164" fmla="*/ 938490 h 1302505"/>
                <a:gd name="connsiteX3165" fmla="*/ 1217771 w 1478629"/>
                <a:gd name="connsiteY3165" fmla="*/ 937280 h 1302505"/>
                <a:gd name="connsiteX3166" fmla="*/ 1217136 w 1478629"/>
                <a:gd name="connsiteY3166" fmla="*/ 936010 h 1302505"/>
                <a:gd name="connsiteX3167" fmla="*/ 1216198 w 1478629"/>
                <a:gd name="connsiteY3167" fmla="*/ 935012 h 1302505"/>
                <a:gd name="connsiteX3168" fmla="*/ 1214202 w 1478629"/>
                <a:gd name="connsiteY3168" fmla="*/ 933680 h 1302505"/>
                <a:gd name="connsiteX3169" fmla="*/ 1213294 w 1478629"/>
                <a:gd name="connsiteY3169" fmla="*/ 932803 h 1302505"/>
                <a:gd name="connsiteX3170" fmla="*/ 1212719 w 1478629"/>
                <a:gd name="connsiteY3170" fmla="*/ 931835 h 1302505"/>
                <a:gd name="connsiteX3171" fmla="*/ 1211540 w 1478629"/>
                <a:gd name="connsiteY3171" fmla="*/ 929233 h 1302505"/>
                <a:gd name="connsiteX3172" fmla="*/ 1210753 w 1478629"/>
                <a:gd name="connsiteY3172" fmla="*/ 927963 h 1302505"/>
                <a:gd name="connsiteX3173" fmla="*/ 1208545 w 1478629"/>
                <a:gd name="connsiteY3173" fmla="*/ 925573 h 1302505"/>
                <a:gd name="connsiteX3174" fmla="*/ 1208121 w 1478629"/>
                <a:gd name="connsiteY3174" fmla="*/ 924968 h 1302505"/>
                <a:gd name="connsiteX3175" fmla="*/ 1207758 w 1478629"/>
                <a:gd name="connsiteY3175" fmla="*/ 923788 h 1302505"/>
                <a:gd name="connsiteX3176" fmla="*/ 1207758 w 1478629"/>
                <a:gd name="connsiteY3176" fmla="*/ 923123 h 1302505"/>
                <a:gd name="connsiteX3177" fmla="*/ 1208030 w 1478629"/>
                <a:gd name="connsiteY3177" fmla="*/ 922336 h 1302505"/>
                <a:gd name="connsiteX3178" fmla="*/ 1208878 w 1478629"/>
                <a:gd name="connsiteY3178" fmla="*/ 918313 h 1302505"/>
                <a:gd name="connsiteX3179" fmla="*/ 1209604 w 1478629"/>
                <a:gd name="connsiteY3179" fmla="*/ 917193 h 1302505"/>
                <a:gd name="connsiteX3180" fmla="*/ 1212992 w 1478629"/>
                <a:gd name="connsiteY3180" fmla="*/ 915469 h 1302505"/>
                <a:gd name="connsiteX3181" fmla="*/ 1210360 w 1478629"/>
                <a:gd name="connsiteY3181" fmla="*/ 913442 h 1302505"/>
                <a:gd name="connsiteX3182" fmla="*/ 1207304 w 1478629"/>
                <a:gd name="connsiteY3182" fmla="*/ 910478 h 1302505"/>
                <a:gd name="connsiteX3183" fmla="*/ 1205036 w 1478629"/>
                <a:gd name="connsiteY3183" fmla="*/ 906878 h 1302505"/>
                <a:gd name="connsiteX3184" fmla="*/ 1204733 w 1478629"/>
                <a:gd name="connsiteY3184" fmla="*/ 902854 h 1302505"/>
                <a:gd name="connsiteX3185" fmla="*/ 1205792 w 1478629"/>
                <a:gd name="connsiteY3185" fmla="*/ 901099 h 1302505"/>
                <a:gd name="connsiteX3186" fmla="*/ 1210904 w 1478629"/>
                <a:gd name="connsiteY3186" fmla="*/ 897469 h 1302505"/>
                <a:gd name="connsiteX3187" fmla="*/ 1214353 w 1478629"/>
                <a:gd name="connsiteY3187" fmla="*/ 891964 h 1302505"/>
                <a:gd name="connsiteX3188" fmla="*/ 1215775 w 1478629"/>
                <a:gd name="connsiteY3188" fmla="*/ 890996 h 1302505"/>
                <a:gd name="connsiteX3189" fmla="*/ 1214625 w 1478629"/>
                <a:gd name="connsiteY3189" fmla="*/ 888243 h 1302505"/>
                <a:gd name="connsiteX3190" fmla="*/ 1215351 w 1478629"/>
                <a:gd name="connsiteY3190" fmla="*/ 885611 h 1302505"/>
                <a:gd name="connsiteX3191" fmla="*/ 1217197 w 1478629"/>
                <a:gd name="connsiteY3191" fmla="*/ 883493 h 1302505"/>
                <a:gd name="connsiteX3192" fmla="*/ 1219496 w 1478629"/>
                <a:gd name="connsiteY3192" fmla="*/ 882313 h 1302505"/>
                <a:gd name="connsiteX3193" fmla="*/ 1221341 w 1478629"/>
                <a:gd name="connsiteY3193" fmla="*/ 882313 h 1302505"/>
                <a:gd name="connsiteX3194" fmla="*/ 1224971 w 1478629"/>
                <a:gd name="connsiteY3194" fmla="*/ 883281 h 1302505"/>
                <a:gd name="connsiteX3195" fmla="*/ 1226756 w 1478629"/>
                <a:gd name="connsiteY3195" fmla="*/ 883281 h 1302505"/>
                <a:gd name="connsiteX3196" fmla="*/ 1226181 w 1478629"/>
                <a:gd name="connsiteY3196" fmla="*/ 881557 h 1302505"/>
                <a:gd name="connsiteX3197" fmla="*/ 1223126 w 1478629"/>
                <a:gd name="connsiteY3197" fmla="*/ 876233 h 1302505"/>
                <a:gd name="connsiteX3198" fmla="*/ 1222763 w 1478629"/>
                <a:gd name="connsiteY3198" fmla="*/ 875114 h 1302505"/>
                <a:gd name="connsiteX3199" fmla="*/ 1222218 w 1478629"/>
                <a:gd name="connsiteY3199" fmla="*/ 871907 h 1302505"/>
                <a:gd name="connsiteX3200" fmla="*/ 1221069 w 1478629"/>
                <a:gd name="connsiteY3200" fmla="*/ 869094 h 1302505"/>
                <a:gd name="connsiteX3201" fmla="*/ 1221159 w 1478629"/>
                <a:gd name="connsiteY3201" fmla="*/ 868912 h 1302505"/>
                <a:gd name="connsiteX3202" fmla="*/ 1221644 w 1478629"/>
                <a:gd name="connsiteY3202" fmla="*/ 866885 h 1302505"/>
                <a:gd name="connsiteX3203" fmla="*/ 1221825 w 1478629"/>
                <a:gd name="connsiteY3203" fmla="*/ 866794 h 1302505"/>
                <a:gd name="connsiteX3204" fmla="*/ 1221825 w 1478629"/>
                <a:gd name="connsiteY3204" fmla="*/ 866159 h 1302505"/>
                <a:gd name="connsiteX3205" fmla="*/ 1221916 w 1478629"/>
                <a:gd name="connsiteY3205" fmla="*/ 865796 h 1302505"/>
                <a:gd name="connsiteX3206" fmla="*/ 1221916 w 1478629"/>
                <a:gd name="connsiteY3206" fmla="*/ 865403 h 1302505"/>
                <a:gd name="connsiteX3207" fmla="*/ 1221734 w 1478629"/>
                <a:gd name="connsiteY3207" fmla="*/ 864647 h 1302505"/>
                <a:gd name="connsiteX3208" fmla="*/ 1221311 w 1478629"/>
                <a:gd name="connsiteY3208" fmla="*/ 863981 h 1302505"/>
                <a:gd name="connsiteX3209" fmla="*/ 1219496 w 1478629"/>
                <a:gd name="connsiteY3209" fmla="*/ 862166 h 1302505"/>
                <a:gd name="connsiteX3210" fmla="*/ 1214444 w 1478629"/>
                <a:gd name="connsiteY3210" fmla="*/ 860260 h 1302505"/>
                <a:gd name="connsiteX3211" fmla="*/ 1212689 w 1478629"/>
                <a:gd name="connsiteY3211" fmla="*/ 860109 h 1302505"/>
                <a:gd name="connsiteX3212" fmla="*/ 1207728 w 1478629"/>
                <a:gd name="connsiteY3212" fmla="*/ 861016 h 1302505"/>
                <a:gd name="connsiteX3213" fmla="*/ 1205822 w 1478629"/>
                <a:gd name="connsiteY3213" fmla="*/ 860563 h 1302505"/>
                <a:gd name="connsiteX3214" fmla="*/ 1198894 w 1478629"/>
                <a:gd name="connsiteY3214" fmla="*/ 856842 h 1302505"/>
                <a:gd name="connsiteX3215" fmla="*/ 1195597 w 1478629"/>
                <a:gd name="connsiteY3215" fmla="*/ 854210 h 1302505"/>
                <a:gd name="connsiteX3216" fmla="*/ 1193843 w 1478629"/>
                <a:gd name="connsiteY3216" fmla="*/ 851487 h 1302505"/>
                <a:gd name="connsiteX3217" fmla="*/ 1194054 w 1478629"/>
                <a:gd name="connsiteY3217" fmla="*/ 844197 h 1302505"/>
                <a:gd name="connsiteX3218" fmla="*/ 1193419 w 1478629"/>
                <a:gd name="connsiteY3218" fmla="*/ 840446 h 1302505"/>
                <a:gd name="connsiteX3219" fmla="*/ 1190757 w 1478629"/>
                <a:gd name="connsiteY3219" fmla="*/ 838660 h 1302505"/>
                <a:gd name="connsiteX3220" fmla="*/ 1187248 w 1478629"/>
                <a:gd name="connsiteY3220" fmla="*/ 838358 h 1302505"/>
                <a:gd name="connsiteX3221" fmla="*/ 1186189 w 1478629"/>
                <a:gd name="connsiteY3221" fmla="*/ 837511 h 1302505"/>
                <a:gd name="connsiteX3222" fmla="*/ 1184979 w 1478629"/>
                <a:gd name="connsiteY3222" fmla="*/ 835575 h 1302505"/>
                <a:gd name="connsiteX3223" fmla="*/ 1184707 w 1478629"/>
                <a:gd name="connsiteY3223" fmla="*/ 834395 h 1302505"/>
                <a:gd name="connsiteX3224" fmla="*/ 1184828 w 1478629"/>
                <a:gd name="connsiteY3224" fmla="*/ 833366 h 1302505"/>
                <a:gd name="connsiteX3225" fmla="*/ 1184676 w 1478629"/>
                <a:gd name="connsiteY3225" fmla="*/ 832459 h 1302505"/>
                <a:gd name="connsiteX3226" fmla="*/ 1183043 w 1478629"/>
                <a:gd name="connsiteY3226" fmla="*/ 831158 h 1302505"/>
                <a:gd name="connsiteX3227" fmla="*/ 1181288 w 1478629"/>
                <a:gd name="connsiteY3227" fmla="*/ 828678 h 1302505"/>
                <a:gd name="connsiteX3228" fmla="*/ 1182498 w 1478629"/>
                <a:gd name="connsiteY3228" fmla="*/ 827195 h 1302505"/>
                <a:gd name="connsiteX3229" fmla="*/ 1183981 w 1478629"/>
                <a:gd name="connsiteY3229" fmla="*/ 826046 h 1302505"/>
                <a:gd name="connsiteX3230" fmla="*/ 1184313 w 1478629"/>
                <a:gd name="connsiteY3230" fmla="*/ 825774 h 1302505"/>
                <a:gd name="connsiteX3231" fmla="*/ 1187792 w 1478629"/>
                <a:gd name="connsiteY3231" fmla="*/ 823928 h 1302505"/>
                <a:gd name="connsiteX3232" fmla="*/ 1188700 w 1478629"/>
                <a:gd name="connsiteY3232" fmla="*/ 823777 h 1302505"/>
                <a:gd name="connsiteX3233" fmla="*/ 1190515 w 1478629"/>
                <a:gd name="connsiteY3233" fmla="*/ 823838 h 1302505"/>
                <a:gd name="connsiteX3234" fmla="*/ 1191301 w 1478629"/>
                <a:gd name="connsiteY3234" fmla="*/ 823716 h 1302505"/>
                <a:gd name="connsiteX3235" fmla="*/ 1192179 w 1478629"/>
                <a:gd name="connsiteY3235" fmla="*/ 823263 h 1302505"/>
                <a:gd name="connsiteX3236" fmla="*/ 1193994 w 1478629"/>
                <a:gd name="connsiteY3236" fmla="*/ 821962 h 1302505"/>
                <a:gd name="connsiteX3237" fmla="*/ 1194750 w 1478629"/>
                <a:gd name="connsiteY3237" fmla="*/ 821599 h 1302505"/>
                <a:gd name="connsiteX3238" fmla="*/ 1198289 w 1478629"/>
                <a:gd name="connsiteY3238" fmla="*/ 822143 h 1302505"/>
                <a:gd name="connsiteX3239" fmla="*/ 1201980 w 1478629"/>
                <a:gd name="connsiteY3239" fmla="*/ 823989 h 1302505"/>
                <a:gd name="connsiteX3240" fmla="*/ 1205610 w 1478629"/>
                <a:gd name="connsiteY3240" fmla="*/ 825168 h 1302505"/>
                <a:gd name="connsiteX3241" fmla="*/ 1208878 w 1478629"/>
                <a:gd name="connsiteY3241" fmla="*/ 823716 h 1302505"/>
                <a:gd name="connsiteX3242" fmla="*/ 1209059 w 1478629"/>
                <a:gd name="connsiteY3242" fmla="*/ 822900 h 1302505"/>
                <a:gd name="connsiteX3243" fmla="*/ 1208484 w 1478629"/>
                <a:gd name="connsiteY3243" fmla="*/ 822295 h 1302505"/>
                <a:gd name="connsiteX3244" fmla="*/ 1208000 w 1478629"/>
                <a:gd name="connsiteY3244" fmla="*/ 821599 h 1302505"/>
                <a:gd name="connsiteX3245" fmla="*/ 1208545 w 1478629"/>
                <a:gd name="connsiteY3245" fmla="*/ 820480 h 1302505"/>
                <a:gd name="connsiteX3246" fmla="*/ 1209331 w 1478629"/>
                <a:gd name="connsiteY3246" fmla="*/ 820147 h 1302505"/>
                <a:gd name="connsiteX3247" fmla="*/ 1211661 w 1478629"/>
                <a:gd name="connsiteY3247" fmla="*/ 820147 h 1302505"/>
                <a:gd name="connsiteX3248" fmla="*/ 1212568 w 1478629"/>
                <a:gd name="connsiteY3248" fmla="*/ 819905 h 1302505"/>
                <a:gd name="connsiteX3249" fmla="*/ 1214050 w 1478629"/>
                <a:gd name="connsiteY3249" fmla="*/ 818695 h 1302505"/>
                <a:gd name="connsiteX3250" fmla="*/ 1215805 w 1478629"/>
                <a:gd name="connsiteY3250" fmla="*/ 815881 h 1302505"/>
                <a:gd name="connsiteX3251" fmla="*/ 1217106 w 1478629"/>
                <a:gd name="connsiteY3251" fmla="*/ 814762 h 1302505"/>
                <a:gd name="connsiteX3252" fmla="*/ 1220706 w 1478629"/>
                <a:gd name="connsiteY3252" fmla="*/ 813250 h 1302505"/>
                <a:gd name="connsiteX3253" fmla="*/ 1224245 w 1478629"/>
                <a:gd name="connsiteY3253" fmla="*/ 812342 h 1302505"/>
                <a:gd name="connsiteX3254" fmla="*/ 1225032 w 1478629"/>
                <a:gd name="connsiteY3254" fmla="*/ 812644 h 1302505"/>
                <a:gd name="connsiteX3255" fmla="*/ 1226272 w 1478629"/>
                <a:gd name="connsiteY3255" fmla="*/ 814036 h 1302505"/>
                <a:gd name="connsiteX3256" fmla="*/ 1226786 w 1478629"/>
                <a:gd name="connsiteY3256" fmla="*/ 814217 h 1302505"/>
                <a:gd name="connsiteX3257" fmla="*/ 1227452 w 1478629"/>
                <a:gd name="connsiteY3257" fmla="*/ 813582 h 1302505"/>
                <a:gd name="connsiteX3258" fmla="*/ 1229358 w 1478629"/>
                <a:gd name="connsiteY3258" fmla="*/ 810345 h 1302505"/>
                <a:gd name="connsiteX3259" fmla="*/ 1232080 w 1478629"/>
                <a:gd name="connsiteY3259" fmla="*/ 808228 h 1302505"/>
                <a:gd name="connsiteX3260" fmla="*/ 1232080 w 1478629"/>
                <a:gd name="connsiteY3260" fmla="*/ 806170 h 1302505"/>
                <a:gd name="connsiteX3261" fmla="*/ 1230991 w 1478629"/>
                <a:gd name="connsiteY3261" fmla="*/ 803539 h 1302505"/>
                <a:gd name="connsiteX3262" fmla="*/ 1230477 w 1478629"/>
                <a:gd name="connsiteY3262" fmla="*/ 799727 h 1302505"/>
                <a:gd name="connsiteX3263" fmla="*/ 1230991 w 1478629"/>
                <a:gd name="connsiteY3263" fmla="*/ 798941 h 1302505"/>
                <a:gd name="connsiteX3264" fmla="*/ 1234258 w 1478629"/>
                <a:gd name="connsiteY3264" fmla="*/ 795371 h 1302505"/>
                <a:gd name="connsiteX3265" fmla="*/ 1236346 w 1478629"/>
                <a:gd name="connsiteY3265" fmla="*/ 791952 h 1302505"/>
                <a:gd name="connsiteX3266" fmla="*/ 1237253 w 1478629"/>
                <a:gd name="connsiteY3266" fmla="*/ 789956 h 1302505"/>
                <a:gd name="connsiteX3267" fmla="*/ 1237344 w 1478629"/>
                <a:gd name="connsiteY3267" fmla="*/ 788322 h 1302505"/>
                <a:gd name="connsiteX3268" fmla="*/ 1236558 w 1478629"/>
                <a:gd name="connsiteY3268" fmla="*/ 787778 h 1302505"/>
                <a:gd name="connsiteX3269" fmla="*/ 1232262 w 1478629"/>
                <a:gd name="connsiteY3269" fmla="*/ 786023 h 1302505"/>
                <a:gd name="connsiteX3270" fmla="*/ 1230931 w 1478629"/>
                <a:gd name="connsiteY3270" fmla="*/ 785085 h 1302505"/>
                <a:gd name="connsiteX3271" fmla="*/ 1230114 w 1478629"/>
                <a:gd name="connsiteY3271" fmla="*/ 783603 h 1302505"/>
                <a:gd name="connsiteX3272" fmla="*/ 1229418 w 1478629"/>
                <a:gd name="connsiteY3272" fmla="*/ 781969 h 1302505"/>
                <a:gd name="connsiteX3273" fmla="*/ 1228753 w 1478629"/>
                <a:gd name="connsiteY3273" fmla="*/ 781001 h 1302505"/>
                <a:gd name="connsiteX3274" fmla="*/ 1228420 w 1478629"/>
                <a:gd name="connsiteY3274" fmla="*/ 780517 h 1302505"/>
                <a:gd name="connsiteX3275" fmla="*/ 1224033 w 1478629"/>
                <a:gd name="connsiteY3275" fmla="*/ 777492 h 1302505"/>
                <a:gd name="connsiteX3276" fmla="*/ 1219435 w 1478629"/>
                <a:gd name="connsiteY3276" fmla="*/ 775132 h 1302505"/>
                <a:gd name="connsiteX3277" fmla="*/ 1218679 w 1478629"/>
                <a:gd name="connsiteY3277" fmla="*/ 773227 h 1302505"/>
                <a:gd name="connsiteX3278" fmla="*/ 1218134 w 1478629"/>
                <a:gd name="connsiteY3278" fmla="*/ 767782 h 1302505"/>
                <a:gd name="connsiteX3279" fmla="*/ 1217741 w 1478629"/>
                <a:gd name="connsiteY3279" fmla="*/ 766813 h 1302505"/>
                <a:gd name="connsiteX3280" fmla="*/ 1216652 w 1478629"/>
                <a:gd name="connsiteY3280" fmla="*/ 765271 h 1302505"/>
                <a:gd name="connsiteX3281" fmla="*/ 1216440 w 1478629"/>
                <a:gd name="connsiteY3281" fmla="*/ 764212 h 1302505"/>
                <a:gd name="connsiteX3282" fmla="*/ 1216713 w 1478629"/>
                <a:gd name="connsiteY3282" fmla="*/ 763123 h 1302505"/>
                <a:gd name="connsiteX3283" fmla="*/ 1217862 w 1478629"/>
                <a:gd name="connsiteY3283" fmla="*/ 760793 h 1302505"/>
                <a:gd name="connsiteX3284" fmla="*/ 1218104 w 1478629"/>
                <a:gd name="connsiteY3284" fmla="*/ 760037 h 1302505"/>
                <a:gd name="connsiteX3285" fmla="*/ 1217499 w 1478629"/>
                <a:gd name="connsiteY3285" fmla="*/ 758071 h 1302505"/>
                <a:gd name="connsiteX3286" fmla="*/ 1216259 w 1478629"/>
                <a:gd name="connsiteY3286" fmla="*/ 757284 h 1302505"/>
                <a:gd name="connsiteX3287" fmla="*/ 1212992 w 1478629"/>
                <a:gd name="connsiteY3287" fmla="*/ 756498 h 1302505"/>
                <a:gd name="connsiteX3288" fmla="*/ 1211661 w 1478629"/>
                <a:gd name="connsiteY3288" fmla="*/ 755560 h 1302505"/>
                <a:gd name="connsiteX3289" fmla="*/ 1209362 w 1478629"/>
                <a:gd name="connsiteY3289" fmla="*/ 753473 h 1302505"/>
                <a:gd name="connsiteX3290" fmla="*/ 1208030 w 1478629"/>
                <a:gd name="connsiteY3290" fmla="*/ 752989 h 1302505"/>
                <a:gd name="connsiteX3291" fmla="*/ 1205399 w 1478629"/>
                <a:gd name="connsiteY3291" fmla="*/ 752504 h 1302505"/>
                <a:gd name="connsiteX3292" fmla="*/ 1202676 w 1478629"/>
                <a:gd name="connsiteY3292" fmla="*/ 750629 h 1302505"/>
                <a:gd name="connsiteX3293" fmla="*/ 1200649 w 1478629"/>
                <a:gd name="connsiteY3293" fmla="*/ 747816 h 1302505"/>
                <a:gd name="connsiteX3294" fmla="*/ 1199530 w 1478629"/>
                <a:gd name="connsiteY3294" fmla="*/ 742340 h 1302505"/>
                <a:gd name="connsiteX3295" fmla="*/ 1199257 w 1478629"/>
                <a:gd name="connsiteY3295" fmla="*/ 739980 h 1302505"/>
                <a:gd name="connsiteX3296" fmla="*/ 1199318 w 1478629"/>
                <a:gd name="connsiteY3296" fmla="*/ 737621 h 1302505"/>
                <a:gd name="connsiteX3297" fmla="*/ 1199863 w 1478629"/>
                <a:gd name="connsiteY3297" fmla="*/ 735443 h 1302505"/>
                <a:gd name="connsiteX3298" fmla="*/ 1201133 w 1478629"/>
                <a:gd name="connsiteY3298" fmla="*/ 733507 h 1302505"/>
                <a:gd name="connsiteX3299" fmla="*/ 1202676 w 1478629"/>
                <a:gd name="connsiteY3299" fmla="*/ 732660 h 1302505"/>
                <a:gd name="connsiteX3300" fmla="*/ 1205671 w 1478629"/>
                <a:gd name="connsiteY3300" fmla="*/ 732266 h 1302505"/>
                <a:gd name="connsiteX3301" fmla="*/ 1205671 w 1478629"/>
                <a:gd name="connsiteY3301" fmla="*/ 732024 h 1302505"/>
                <a:gd name="connsiteX3302" fmla="*/ 1205973 w 1478629"/>
                <a:gd name="connsiteY3302" fmla="*/ 731450 h 1302505"/>
                <a:gd name="connsiteX3303" fmla="*/ 1206397 w 1478629"/>
                <a:gd name="connsiteY3303" fmla="*/ 730845 h 1302505"/>
                <a:gd name="connsiteX3304" fmla="*/ 1206881 w 1478629"/>
                <a:gd name="connsiteY3304" fmla="*/ 730482 h 1302505"/>
                <a:gd name="connsiteX3305" fmla="*/ 1207274 w 1478629"/>
                <a:gd name="connsiteY3305" fmla="*/ 730482 h 1302505"/>
                <a:gd name="connsiteX3306" fmla="*/ 1208091 w 1478629"/>
                <a:gd name="connsiteY3306" fmla="*/ 731026 h 1302505"/>
                <a:gd name="connsiteX3307" fmla="*/ 1208454 w 1478629"/>
                <a:gd name="connsiteY3307" fmla="*/ 731087 h 1302505"/>
                <a:gd name="connsiteX3308" fmla="*/ 1209150 w 1478629"/>
                <a:gd name="connsiteY3308" fmla="*/ 730996 h 1302505"/>
                <a:gd name="connsiteX3309" fmla="*/ 1211630 w 1478629"/>
                <a:gd name="connsiteY3309" fmla="*/ 730996 h 1302505"/>
                <a:gd name="connsiteX3310" fmla="*/ 1213778 w 1478629"/>
                <a:gd name="connsiteY3310" fmla="*/ 730451 h 1302505"/>
                <a:gd name="connsiteX3311" fmla="*/ 1216047 w 1478629"/>
                <a:gd name="connsiteY3311" fmla="*/ 729392 h 1302505"/>
                <a:gd name="connsiteX3312" fmla="*/ 1218074 w 1478629"/>
                <a:gd name="connsiteY3312" fmla="*/ 727820 h 1302505"/>
                <a:gd name="connsiteX3313" fmla="*/ 1219435 w 1478629"/>
                <a:gd name="connsiteY3313" fmla="*/ 725702 h 1302505"/>
                <a:gd name="connsiteX3314" fmla="*/ 1220070 w 1478629"/>
                <a:gd name="connsiteY3314" fmla="*/ 723917 h 1302505"/>
                <a:gd name="connsiteX3315" fmla="*/ 1220887 w 1478629"/>
                <a:gd name="connsiteY3315" fmla="*/ 722314 h 1302505"/>
                <a:gd name="connsiteX3316" fmla="*/ 1221946 w 1478629"/>
                <a:gd name="connsiteY3316" fmla="*/ 721103 h 1302505"/>
                <a:gd name="connsiteX3317" fmla="*/ 1223398 w 1478629"/>
                <a:gd name="connsiteY3317" fmla="*/ 720468 h 1302505"/>
                <a:gd name="connsiteX3318" fmla="*/ 1222702 w 1478629"/>
                <a:gd name="connsiteY3318" fmla="*/ 719410 h 1302505"/>
                <a:gd name="connsiteX3319" fmla="*/ 1222158 w 1478629"/>
                <a:gd name="connsiteY3319" fmla="*/ 718078 h 1302505"/>
                <a:gd name="connsiteX3320" fmla="*/ 1221462 w 1478629"/>
                <a:gd name="connsiteY3320" fmla="*/ 715658 h 1302505"/>
                <a:gd name="connsiteX3321" fmla="*/ 1220313 w 1478629"/>
                <a:gd name="connsiteY3321" fmla="*/ 712875 h 1302505"/>
                <a:gd name="connsiteX3322" fmla="*/ 1219950 w 1478629"/>
                <a:gd name="connsiteY3322" fmla="*/ 711484 h 1302505"/>
                <a:gd name="connsiteX3323" fmla="*/ 1219466 w 1478629"/>
                <a:gd name="connsiteY3323" fmla="*/ 711181 h 1302505"/>
                <a:gd name="connsiteX3324" fmla="*/ 1212659 w 1478629"/>
                <a:gd name="connsiteY3324" fmla="*/ 704102 h 1302505"/>
                <a:gd name="connsiteX3325" fmla="*/ 1210360 w 1478629"/>
                <a:gd name="connsiteY3325" fmla="*/ 703165 h 1302505"/>
                <a:gd name="connsiteX3326" fmla="*/ 1209513 w 1478629"/>
                <a:gd name="connsiteY3326" fmla="*/ 703467 h 1302505"/>
                <a:gd name="connsiteX3327" fmla="*/ 1208787 w 1478629"/>
                <a:gd name="connsiteY3327" fmla="*/ 704132 h 1302505"/>
                <a:gd name="connsiteX3328" fmla="*/ 1208000 w 1478629"/>
                <a:gd name="connsiteY3328" fmla="*/ 704677 h 1302505"/>
                <a:gd name="connsiteX3329" fmla="*/ 1207032 w 1478629"/>
                <a:gd name="connsiteY3329" fmla="*/ 704556 h 1302505"/>
                <a:gd name="connsiteX3330" fmla="*/ 1206155 w 1478629"/>
                <a:gd name="connsiteY3330" fmla="*/ 703951 h 1302505"/>
                <a:gd name="connsiteX3331" fmla="*/ 1206094 w 1478629"/>
                <a:gd name="connsiteY3331" fmla="*/ 703528 h 1302505"/>
                <a:gd name="connsiteX3332" fmla="*/ 1206306 w 1478629"/>
                <a:gd name="connsiteY3332" fmla="*/ 702983 h 1302505"/>
                <a:gd name="connsiteX3333" fmla="*/ 1206306 w 1478629"/>
                <a:gd name="connsiteY3333" fmla="*/ 701954 h 1302505"/>
                <a:gd name="connsiteX3334" fmla="*/ 1206397 w 1478629"/>
                <a:gd name="connsiteY3334" fmla="*/ 701833 h 1302505"/>
                <a:gd name="connsiteX3335" fmla="*/ 1206397 w 1478629"/>
                <a:gd name="connsiteY3335" fmla="*/ 700442 h 1302505"/>
                <a:gd name="connsiteX3336" fmla="*/ 1206185 w 1478629"/>
                <a:gd name="connsiteY3336" fmla="*/ 699111 h 1302505"/>
                <a:gd name="connsiteX3337" fmla="*/ 1205913 w 1478629"/>
                <a:gd name="connsiteY3337" fmla="*/ 699232 h 1302505"/>
                <a:gd name="connsiteX3338" fmla="*/ 1206367 w 1478629"/>
                <a:gd name="connsiteY3338" fmla="*/ 698536 h 1302505"/>
                <a:gd name="connsiteX3339" fmla="*/ 1207183 w 1478629"/>
                <a:gd name="connsiteY3339" fmla="*/ 697628 h 1302505"/>
                <a:gd name="connsiteX3340" fmla="*/ 1207879 w 1478629"/>
                <a:gd name="connsiteY3340" fmla="*/ 696600 h 1302505"/>
                <a:gd name="connsiteX3341" fmla="*/ 1208000 w 1478629"/>
                <a:gd name="connsiteY3341" fmla="*/ 695571 h 1302505"/>
                <a:gd name="connsiteX3342" fmla="*/ 1206457 w 1478629"/>
                <a:gd name="connsiteY3342" fmla="*/ 694210 h 1302505"/>
                <a:gd name="connsiteX3343" fmla="*/ 1198441 w 1478629"/>
                <a:gd name="connsiteY3343" fmla="*/ 692577 h 1302505"/>
                <a:gd name="connsiteX3344" fmla="*/ 1197563 w 1478629"/>
                <a:gd name="connsiteY3344" fmla="*/ 690338 h 1302505"/>
                <a:gd name="connsiteX3345" fmla="*/ 1198501 w 1478629"/>
                <a:gd name="connsiteY3345" fmla="*/ 685770 h 1302505"/>
                <a:gd name="connsiteX3346" fmla="*/ 1200256 w 1478629"/>
                <a:gd name="connsiteY3346" fmla="*/ 680990 h 1302505"/>
                <a:gd name="connsiteX3347" fmla="*/ 1203825 w 1478629"/>
                <a:gd name="connsiteY3347" fmla="*/ 674607 h 1302505"/>
                <a:gd name="connsiteX3348" fmla="*/ 1201526 w 1478629"/>
                <a:gd name="connsiteY3348" fmla="*/ 670977 h 1302505"/>
                <a:gd name="connsiteX3349" fmla="*/ 1197957 w 1478629"/>
                <a:gd name="connsiteY3349" fmla="*/ 667498 h 1302505"/>
                <a:gd name="connsiteX3350" fmla="*/ 1196021 w 1478629"/>
                <a:gd name="connsiteY3350" fmla="*/ 664443 h 1302505"/>
                <a:gd name="connsiteX3351" fmla="*/ 1196565 w 1478629"/>
                <a:gd name="connsiteY3351" fmla="*/ 662900 h 1302505"/>
                <a:gd name="connsiteX3352" fmla="*/ 1199227 w 1478629"/>
                <a:gd name="connsiteY3352" fmla="*/ 660056 h 1302505"/>
                <a:gd name="connsiteX3353" fmla="*/ 1199953 w 1478629"/>
                <a:gd name="connsiteY3353" fmla="*/ 657818 h 1302505"/>
                <a:gd name="connsiteX3354" fmla="*/ 1199832 w 1478629"/>
                <a:gd name="connsiteY3354" fmla="*/ 656517 h 1302505"/>
                <a:gd name="connsiteX3355" fmla="*/ 1199711 w 1478629"/>
                <a:gd name="connsiteY3355" fmla="*/ 655276 h 1302505"/>
                <a:gd name="connsiteX3356" fmla="*/ 1198774 w 1478629"/>
                <a:gd name="connsiteY3356" fmla="*/ 653945 h 1302505"/>
                <a:gd name="connsiteX3357" fmla="*/ 1198774 w 1478629"/>
                <a:gd name="connsiteY3357" fmla="*/ 653945 h 1302505"/>
                <a:gd name="connsiteX3358" fmla="*/ 1197261 w 1478629"/>
                <a:gd name="connsiteY3358" fmla="*/ 653250 h 1302505"/>
                <a:gd name="connsiteX3359" fmla="*/ 1182256 w 1478629"/>
                <a:gd name="connsiteY3359" fmla="*/ 649680 h 1302505"/>
                <a:gd name="connsiteX3360" fmla="*/ 1175540 w 1478629"/>
                <a:gd name="connsiteY3360" fmla="*/ 649499 h 1302505"/>
                <a:gd name="connsiteX3361" fmla="*/ 1169097 w 1478629"/>
                <a:gd name="connsiteY3361" fmla="*/ 650678 h 1302505"/>
                <a:gd name="connsiteX3362" fmla="*/ 1160505 w 1478629"/>
                <a:gd name="connsiteY3362" fmla="*/ 656093 h 1302505"/>
                <a:gd name="connsiteX3363" fmla="*/ 1157238 w 1478629"/>
                <a:gd name="connsiteY3363" fmla="*/ 656849 h 1302505"/>
                <a:gd name="connsiteX3364" fmla="*/ 1153941 w 1478629"/>
                <a:gd name="connsiteY3364" fmla="*/ 657001 h 1302505"/>
                <a:gd name="connsiteX3365" fmla="*/ 1150855 w 1478629"/>
                <a:gd name="connsiteY3365" fmla="*/ 657908 h 1302505"/>
                <a:gd name="connsiteX3366" fmla="*/ 1147588 w 1478629"/>
                <a:gd name="connsiteY3366" fmla="*/ 660510 h 1302505"/>
                <a:gd name="connsiteX3367" fmla="*/ 1144714 w 1478629"/>
                <a:gd name="connsiteY3367" fmla="*/ 663989 h 1302505"/>
                <a:gd name="connsiteX3368" fmla="*/ 1142597 w 1478629"/>
                <a:gd name="connsiteY3368" fmla="*/ 666651 h 1302505"/>
                <a:gd name="connsiteX3369" fmla="*/ 1142052 w 1478629"/>
                <a:gd name="connsiteY3369" fmla="*/ 668466 h 1302505"/>
                <a:gd name="connsiteX3370" fmla="*/ 1142476 w 1478629"/>
                <a:gd name="connsiteY3370" fmla="*/ 669797 h 1302505"/>
                <a:gd name="connsiteX3371" fmla="*/ 1143383 w 1478629"/>
                <a:gd name="connsiteY3371" fmla="*/ 672066 h 1302505"/>
                <a:gd name="connsiteX3372" fmla="*/ 1143444 w 1478629"/>
                <a:gd name="connsiteY3372" fmla="*/ 672611 h 1302505"/>
                <a:gd name="connsiteX3373" fmla="*/ 1144412 w 1478629"/>
                <a:gd name="connsiteY3373" fmla="*/ 674819 h 1302505"/>
                <a:gd name="connsiteX3374" fmla="*/ 1144835 w 1478629"/>
                <a:gd name="connsiteY3374" fmla="*/ 675363 h 1302505"/>
                <a:gd name="connsiteX3375" fmla="*/ 1145894 w 1478629"/>
                <a:gd name="connsiteY3375" fmla="*/ 675878 h 1302505"/>
                <a:gd name="connsiteX3376" fmla="*/ 1147588 w 1478629"/>
                <a:gd name="connsiteY3376" fmla="*/ 675182 h 1302505"/>
                <a:gd name="connsiteX3377" fmla="*/ 1148284 w 1478629"/>
                <a:gd name="connsiteY3377" fmla="*/ 675454 h 1302505"/>
                <a:gd name="connsiteX3378" fmla="*/ 1148798 w 1478629"/>
                <a:gd name="connsiteY3378" fmla="*/ 678540 h 1302505"/>
                <a:gd name="connsiteX3379" fmla="*/ 1146197 w 1478629"/>
                <a:gd name="connsiteY3379" fmla="*/ 681081 h 1302505"/>
                <a:gd name="connsiteX3380" fmla="*/ 1139753 w 1478629"/>
                <a:gd name="connsiteY3380" fmla="*/ 684983 h 1302505"/>
                <a:gd name="connsiteX3381" fmla="*/ 1134610 w 1478629"/>
                <a:gd name="connsiteY3381" fmla="*/ 690519 h 1302505"/>
                <a:gd name="connsiteX3382" fmla="*/ 1131343 w 1478629"/>
                <a:gd name="connsiteY3382" fmla="*/ 692062 h 1302505"/>
                <a:gd name="connsiteX3383" fmla="*/ 1127925 w 1478629"/>
                <a:gd name="connsiteY3383" fmla="*/ 690671 h 1302505"/>
                <a:gd name="connsiteX3384" fmla="*/ 1123326 w 1478629"/>
                <a:gd name="connsiteY3384" fmla="*/ 690852 h 1302505"/>
                <a:gd name="connsiteX3385" fmla="*/ 1118758 w 1478629"/>
                <a:gd name="connsiteY3385" fmla="*/ 691851 h 1302505"/>
                <a:gd name="connsiteX3386" fmla="*/ 1116338 w 1478629"/>
                <a:gd name="connsiteY3386" fmla="*/ 693181 h 1302505"/>
                <a:gd name="connsiteX3387" fmla="*/ 1117669 w 1478629"/>
                <a:gd name="connsiteY3387" fmla="*/ 690277 h 1302505"/>
                <a:gd name="connsiteX3388" fmla="*/ 1118456 w 1478629"/>
                <a:gd name="connsiteY3388" fmla="*/ 688916 h 1302505"/>
                <a:gd name="connsiteX3389" fmla="*/ 1118758 w 1478629"/>
                <a:gd name="connsiteY3389" fmla="*/ 687767 h 1302505"/>
                <a:gd name="connsiteX3390" fmla="*/ 1116974 w 1478629"/>
                <a:gd name="connsiteY3390" fmla="*/ 685709 h 1302505"/>
                <a:gd name="connsiteX3391" fmla="*/ 1115915 w 1478629"/>
                <a:gd name="connsiteY3391" fmla="*/ 683864 h 1302505"/>
                <a:gd name="connsiteX3392" fmla="*/ 1116278 w 1478629"/>
                <a:gd name="connsiteY3392" fmla="*/ 682261 h 1302505"/>
                <a:gd name="connsiteX3393" fmla="*/ 1118728 w 1478629"/>
                <a:gd name="connsiteY3393" fmla="*/ 680839 h 1302505"/>
                <a:gd name="connsiteX3394" fmla="*/ 1124748 w 1478629"/>
                <a:gd name="connsiteY3394" fmla="*/ 678116 h 1302505"/>
                <a:gd name="connsiteX3395" fmla="*/ 1124930 w 1478629"/>
                <a:gd name="connsiteY3395" fmla="*/ 678116 h 1302505"/>
                <a:gd name="connsiteX3396" fmla="*/ 1125081 w 1478629"/>
                <a:gd name="connsiteY3396" fmla="*/ 678056 h 1302505"/>
                <a:gd name="connsiteX3397" fmla="*/ 1125262 w 1478629"/>
                <a:gd name="connsiteY3397" fmla="*/ 678056 h 1302505"/>
                <a:gd name="connsiteX3398" fmla="*/ 1126049 w 1478629"/>
                <a:gd name="connsiteY3398" fmla="*/ 678298 h 1302505"/>
                <a:gd name="connsiteX3399" fmla="*/ 1126654 w 1478629"/>
                <a:gd name="connsiteY3399" fmla="*/ 678358 h 1302505"/>
                <a:gd name="connsiteX3400" fmla="*/ 1127229 w 1478629"/>
                <a:gd name="connsiteY3400" fmla="*/ 678298 h 1302505"/>
                <a:gd name="connsiteX3401" fmla="*/ 1129437 w 1478629"/>
                <a:gd name="connsiteY3401" fmla="*/ 677662 h 1302505"/>
                <a:gd name="connsiteX3402" fmla="*/ 1129861 w 1478629"/>
                <a:gd name="connsiteY3402" fmla="*/ 676785 h 1302505"/>
                <a:gd name="connsiteX3403" fmla="*/ 1129770 w 1478629"/>
                <a:gd name="connsiteY3403" fmla="*/ 675575 h 1302505"/>
                <a:gd name="connsiteX3404" fmla="*/ 1129830 w 1478629"/>
                <a:gd name="connsiteY3404" fmla="*/ 674123 h 1302505"/>
                <a:gd name="connsiteX3405" fmla="*/ 1130556 w 1478629"/>
                <a:gd name="connsiteY3405" fmla="*/ 670342 h 1302505"/>
                <a:gd name="connsiteX3406" fmla="*/ 1130889 w 1478629"/>
                <a:gd name="connsiteY3406" fmla="*/ 669313 h 1302505"/>
                <a:gd name="connsiteX3407" fmla="*/ 1132341 w 1478629"/>
                <a:gd name="connsiteY3407" fmla="*/ 666288 h 1302505"/>
                <a:gd name="connsiteX3408" fmla="*/ 1134126 w 1478629"/>
                <a:gd name="connsiteY3408" fmla="*/ 662597 h 1302505"/>
                <a:gd name="connsiteX3409" fmla="*/ 1133975 w 1478629"/>
                <a:gd name="connsiteY3409" fmla="*/ 661115 h 1302505"/>
                <a:gd name="connsiteX3410" fmla="*/ 1132765 w 1478629"/>
                <a:gd name="connsiteY3410" fmla="*/ 659088 h 1302505"/>
                <a:gd name="connsiteX3411" fmla="*/ 1131283 w 1478629"/>
                <a:gd name="connsiteY3411" fmla="*/ 657636 h 1302505"/>
                <a:gd name="connsiteX3412" fmla="*/ 1126352 w 1478629"/>
                <a:gd name="connsiteY3412" fmla="*/ 654853 h 1302505"/>
                <a:gd name="connsiteX3413" fmla="*/ 1125867 w 1478629"/>
                <a:gd name="connsiteY3413" fmla="*/ 654581 h 1302505"/>
                <a:gd name="connsiteX3414" fmla="*/ 1127017 w 1478629"/>
                <a:gd name="connsiteY3414" fmla="*/ 653552 h 1302505"/>
                <a:gd name="connsiteX3415" fmla="*/ 1127199 w 1478629"/>
                <a:gd name="connsiteY3415" fmla="*/ 652675 h 1302505"/>
                <a:gd name="connsiteX3416" fmla="*/ 1126987 w 1478629"/>
                <a:gd name="connsiteY3416" fmla="*/ 651767 h 1302505"/>
                <a:gd name="connsiteX3417" fmla="*/ 1126987 w 1478629"/>
                <a:gd name="connsiteY3417" fmla="*/ 650739 h 1302505"/>
                <a:gd name="connsiteX3418" fmla="*/ 1126896 w 1478629"/>
                <a:gd name="connsiteY3418" fmla="*/ 650315 h 1302505"/>
                <a:gd name="connsiteX3419" fmla="*/ 1126654 w 1478629"/>
                <a:gd name="connsiteY3419" fmla="*/ 649771 h 1302505"/>
                <a:gd name="connsiteX3420" fmla="*/ 1126442 w 1478629"/>
                <a:gd name="connsiteY3420" fmla="*/ 649136 h 1302505"/>
                <a:gd name="connsiteX3421" fmla="*/ 1126442 w 1478629"/>
                <a:gd name="connsiteY3421" fmla="*/ 648470 h 1302505"/>
                <a:gd name="connsiteX3422" fmla="*/ 1126836 w 1478629"/>
                <a:gd name="connsiteY3422" fmla="*/ 647653 h 1302505"/>
                <a:gd name="connsiteX3423" fmla="*/ 1127985 w 1478629"/>
                <a:gd name="connsiteY3423" fmla="*/ 646534 h 1302505"/>
                <a:gd name="connsiteX3424" fmla="*/ 1131494 w 1478629"/>
                <a:gd name="connsiteY3424" fmla="*/ 640998 h 1302505"/>
                <a:gd name="connsiteX3425" fmla="*/ 1135064 w 1478629"/>
                <a:gd name="connsiteY3425" fmla="*/ 636884 h 1302505"/>
                <a:gd name="connsiteX3426" fmla="*/ 1132644 w 1478629"/>
                <a:gd name="connsiteY3426" fmla="*/ 634373 h 1302505"/>
                <a:gd name="connsiteX3427" fmla="*/ 1132341 w 1478629"/>
                <a:gd name="connsiteY3427" fmla="*/ 632588 h 1302505"/>
                <a:gd name="connsiteX3428" fmla="*/ 1133672 w 1478629"/>
                <a:gd name="connsiteY3428" fmla="*/ 630954 h 1302505"/>
                <a:gd name="connsiteX3429" fmla="*/ 1147225 w 1478629"/>
                <a:gd name="connsiteY3429" fmla="*/ 619550 h 1302505"/>
                <a:gd name="connsiteX3430" fmla="*/ 1154425 w 1478629"/>
                <a:gd name="connsiteY3430" fmla="*/ 615920 h 1302505"/>
                <a:gd name="connsiteX3431" fmla="*/ 1155423 w 1478629"/>
                <a:gd name="connsiteY3431" fmla="*/ 615163 h 1302505"/>
                <a:gd name="connsiteX3432" fmla="*/ 1158085 w 1478629"/>
                <a:gd name="connsiteY3432" fmla="*/ 612410 h 1302505"/>
                <a:gd name="connsiteX3433" fmla="*/ 1161413 w 1478629"/>
                <a:gd name="connsiteY3433" fmla="*/ 610777 h 1302505"/>
                <a:gd name="connsiteX3434" fmla="*/ 1162472 w 1478629"/>
                <a:gd name="connsiteY3434" fmla="*/ 610051 h 1302505"/>
                <a:gd name="connsiteX3435" fmla="*/ 1163621 w 1478629"/>
                <a:gd name="connsiteY3435" fmla="*/ 608750 h 1302505"/>
                <a:gd name="connsiteX3436" fmla="*/ 1164015 w 1478629"/>
                <a:gd name="connsiteY3436" fmla="*/ 607630 h 1302505"/>
                <a:gd name="connsiteX3437" fmla="*/ 1164015 w 1478629"/>
                <a:gd name="connsiteY3437" fmla="*/ 605361 h 1302505"/>
                <a:gd name="connsiteX3438" fmla="*/ 1163228 w 1478629"/>
                <a:gd name="connsiteY3438" fmla="*/ 604605 h 1302505"/>
                <a:gd name="connsiteX3439" fmla="*/ 1162684 w 1478629"/>
                <a:gd name="connsiteY3439" fmla="*/ 603940 h 1302505"/>
                <a:gd name="connsiteX3440" fmla="*/ 1162411 w 1478629"/>
                <a:gd name="connsiteY3440" fmla="*/ 603183 h 1302505"/>
                <a:gd name="connsiteX3441" fmla="*/ 1162562 w 1478629"/>
                <a:gd name="connsiteY3441" fmla="*/ 602518 h 1302505"/>
                <a:gd name="connsiteX3442" fmla="*/ 1164136 w 1478629"/>
                <a:gd name="connsiteY3442" fmla="*/ 598101 h 1302505"/>
                <a:gd name="connsiteX3443" fmla="*/ 1164831 w 1478629"/>
                <a:gd name="connsiteY3443" fmla="*/ 596952 h 1302505"/>
                <a:gd name="connsiteX3444" fmla="*/ 1165043 w 1478629"/>
                <a:gd name="connsiteY3444" fmla="*/ 596498 h 1302505"/>
                <a:gd name="connsiteX3445" fmla="*/ 1165406 w 1478629"/>
                <a:gd name="connsiteY3445" fmla="*/ 595651 h 1302505"/>
                <a:gd name="connsiteX3446" fmla="*/ 1165558 w 1478629"/>
                <a:gd name="connsiteY3446" fmla="*/ 593775 h 1302505"/>
                <a:gd name="connsiteX3447" fmla="*/ 1165225 w 1478629"/>
                <a:gd name="connsiteY3447" fmla="*/ 592293 h 1302505"/>
                <a:gd name="connsiteX3448" fmla="*/ 1163894 w 1478629"/>
                <a:gd name="connsiteY3448" fmla="*/ 589933 h 1302505"/>
                <a:gd name="connsiteX3449" fmla="*/ 1163470 w 1478629"/>
                <a:gd name="connsiteY3449" fmla="*/ 588723 h 1302505"/>
                <a:gd name="connsiteX3450" fmla="*/ 1164952 w 1478629"/>
                <a:gd name="connsiteY3450" fmla="*/ 583974 h 1302505"/>
                <a:gd name="connsiteX3451" fmla="*/ 1169823 w 1478629"/>
                <a:gd name="connsiteY3451" fmla="*/ 581372 h 1302505"/>
                <a:gd name="connsiteX3452" fmla="*/ 1180653 w 1478629"/>
                <a:gd name="connsiteY3452" fmla="*/ 578226 h 1302505"/>
                <a:gd name="connsiteX3453" fmla="*/ 1187369 w 1478629"/>
                <a:gd name="connsiteY3453" fmla="*/ 573537 h 1302505"/>
                <a:gd name="connsiteX3454" fmla="*/ 1189668 w 1478629"/>
                <a:gd name="connsiteY3454" fmla="*/ 570482 h 1302505"/>
                <a:gd name="connsiteX3455" fmla="*/ 1188458 w 1478629"/>
                <a:gd name="connsiteY3455" fmla="*/ 567971 h 1302505"/>
                <a:gd name="connsiteX3456" fmla="*/ 1189819 w 1478629"/>
                <a:gd name="connsiteY3456" fmla="*/ 565823 h 1302505"/>
                <a:gd name="connsiteX3457" fmla="*/ 1190757 w 1478629"/>
                <a:gd name="connsiteY3457" fmla="*/ 564946 h 1302505"/>
                <a:gd name="connsiteX3458" fmla="*/ 1193298 w 1478629"/>
                <a:gd name="connsiteY3458" fmla="*/ 564129 h 1302505"/>
                <a:gd name="connsiteX3459" fmla="*/ 1193661 w 1478629"/>
                <a:gd name="connsiteY3459" fmla="*/ 563252 h 1302505"/>
                <a:gd name="connsiteX3460" fmla="*/ 1194024 w 1478629"/>
                <a:gd name="connsiteY3460" fmla="*/ 563009 h 1302505"/>
                <a:gd name="connsiteX3461" fmla="*/ 1195476 w 1478629"/>
                <a:gd name="connsiteY3461" fmla="*/ 562314 h 1302505"/>
                <a:gd name="connsiteX3462" fmla="*/ 1195355 w 1478629"/>
                <a:gd name="connsiteY3462" fmla="*/ 559984 h 1302505"/>
                <a:gd name="connsiteX3463" fmla="*/ 1198380 w 1478629"/>
                <a:gd name="connsiteY3463" fmla="*/ 559016 h 1302505"/>
                <a:gd name="connsiteX3464" fmla="*/ 1204763 w 1478629"/>
                <a:gd name="connsiteY3464" fmla="*/ 553601 h 1302505"/>
                <a:gd name="connsiteX3465" fmla="*/ 1204975 w 1478629"/>
                <a:gd name="connsiteY3465" fmla="*/ 553420 h 1302505"/>
                <a:gd name="connsiteX3466" fmla="*/ 1206881 w 1478629"/>
                <a:gd name="connsiteY3466" fmla="*/ 550516 h 1302505"/>
                <a:gd name="connsiteX3467" fmla="*/ 1209815 w 1478629"/>
                <a:gd name="connsiteY3467" fmla="*/ 547733 h 1302505"/>
                <a:gd name="connsiteX3468" fmla="*/ 1216652 w 1478629"/>
                <a:gd name="connsiteY3468" fmla="*/ 543134 h 1302505"/>
                <a:gd name="connsiteX3469" fmla="*/ 1216259 w 1478629"/>
                <a:gd name="connsiteY3469" fmla="*/ 539777 h 1302505"/>
                <a:gd name="connsiteX3470" fmla="*/ 1216894 w 1478629"/>
                <a:gd name="connsiteY3470" fmla="*/ 536993 h 1302505"/>
                <a:gd name="connsiteX3471" fmla="*/ 1218800 w 1478629"/>
                <a:gd name="connsiteY3471" fmla="*/ 535178 h 1302505"/>
                <a:gd name="connsiteX3472" fmla="*/ 1219707 w 1478629"/>
                <a:gd name="connsiteY3472" fmla="*/ 535087 h 1302505"/>
                <a:gd name="connsiteX3473" fmla="*/ 1220252 w 1478629"/>
                <a:gd name="connsiteY3473" fmla="*/ 534906 h 1302505"/>
                <a:gd name="connsiteX3474" fmla="*/ 1221734 w 1478629"/>
                <a:gd name="connsiteY3474" fmla="*/ 533091 h 1302505"/>
                <a:gd name="connsiteX3475" fmla="*/ 1222793 w 1478629"/>
                <a:gd name="connsiteY3475" fmla="*/ 532516 h 1302505"/>
                <a:gd name="connsiteX3476" fmla="*/ 1223822 w 1478629"/>
                <a:gd name="connsiteY3476" fmla="*/ 532244 h 1302505"/>
                <a:gd name="connsiteX3477" fmla="*/ 1224760 w 1478629"/>
                <a:gd name="connsiteY3477" fmla="*/ 531669 h 1302505"/>
                <a:gd name="connsiteX3478" fmla="*/ 1225546 w 1478629"/>
                <a:gd name="connsiteY3478" fmla="*/ 530156 h 1302505"/>
                <a:gd name="connsiteX3479" fmla="*/ 1224487 w 1478629"/>
                <a:gd name="connsiteY3479" fmla="*/ 528765 h 1302505"/>
                <a:gd name="connsiteX3480" fmla="*/ 1222975 w 1478629"/>
                <a:gd name="connsiteY3480" fmla="*/ 527525 h 1302505"/>
                <a:gd name="connsiteX3481" fmla="*/ 1221492 w 1478629"/>
                <a:gd name="connsiteY3481" fmla="*/ 526405 h 1302505"/>
                <a:gd name="connsiteX3482" fmla="*/ 1219647 w 1478629"/>
                <a:gd name="connsiteY3482" fmla="*/ 527222 h 1302505"/>
                <a:gd name="connsiteX3483" fmla="*/ 1207667 w 1478629"/>
                <a:gd name="connsiteY3483" fmla="*/ 528311 h 1302505"/>
                <a:gd name="connsiteX3484" fmla="*/ 1208182 w 1478629"/>
                <a:gd name="connsiteY3484" fmla="*/ 526557 h 1302505"/>
                <a:gd name="connsiteX3485" fmla="*/ 1209422 w 1478629"/>
                <a:gd name="connsiteY3485" fmla="*/ 524439 h 1302505"/>
                <a:gd name="connsiteX3486" fmla="*/ 1210904 w 1478629"/>
                <a:gd name="connsiteY3486" fmla="*/ 522654 h 1302505"/>
                <a:gd name="connsiteX3487" fmla="*/ 1213506 w 1478629"/>
                <a:gd name="connsiteY3487" fmla="*/ 521232 h 1302505"/>
                <a:gd name="connsiteX3488" fmla="*/ 1213657 w 1478629"/>
                <a:gd name="connsiteY3488" fmla="*/ 518661 h 1302505"/>
                <a:gd name="connsiteX3489" fmla="*/ 1216289 w 1478629"/>
                <a:gd name="connsiteY3489" fmla="*/ 518116 h 1302505"/>
                <a:gd name="connsiteX3490" fmla="*/ 1217923 w 1478629"/>
                <a:gd name="connsiteY3490" fmla="*/ 517239 h 1302505"/>
                <a:gd name="connsiteX3491" fmla="*/ 1219405 w 1478629"/>
                <a:gd name="connsiteY3491" fmla="*/ 516059 h 1302505"/>
                <a:gd name="connsiteX3492" fmla="*/ 1220161 w 1478629"/>
                <a:gd name="connsiteY3492" fmla="*/ 514910 h 1302505"/>
                <a:gd name="connsiteX3493" fmla="*/ 1219677 w 1478629"/>
                <a:gd name="connsiteY3493" fmla="*/ 513276 h 1302505"/>
                <a:gd name="connsiteX3494" fmla="*/ 1218649 w 1478629"/>
                <a:gd name="connsiteY3494" fmla="*/ 511401 h 1302505"/>
                <a:gd name="connsiteX3495" fmla="*/ 1218407 w 1478629"/>
                <a:gd name="connsiteY3495" fmla="*/ 509888 h 1302505"/>
                <a:gd name="connsiteX3496" fmla="*/ 1220282 w 1478629"/>
                <a:gd name="connsiteY3496" fmla="*/ 509374 h 1302505"/>
                <a:gd name="connsiteX3497" fmla="*/ 1221159 w 1478629"/>
                <a:gd name="connsiteY3497" fmla="*/ 508708 h 1302505"/>
                <a:gd name="connsiteX3498" fmla="*/ 1222067 w 1478629"/>
                <a:gd name="connsiteY3498" fmla="*/ 508497 h 1302505"/>
                <a:gd name="connsiteX3499" fmla="*/ 1222975 w 1478629"/>
                <a:gd name="connsiteY3499" fmla="*/ 508708 h 1302505"/>
                <a:gd name="connsiteX3500" fmla="*/ 1223882 w 1478629"/>
                <a:gd name="connsiteY3500" fmla="*/ 509374 h 1302505"/>
                <a:gd name="connsiteX3501" fmla="*/ 1226484 w 1478629"/>
                <a:gd name="connsiteY3501" fmla="*/ 509706 h 1302505"/>
                <a:gd name="connsiteX3502" fmla="*/ 1231506 w 1478629"/>
                <a:gd name="connsiteY3502" fmla="*/ 508920 h 1302505"/>
                <a:gd name="connsiteX3503" fmla="*/ 1233895 w 1478629"/>
                <a:gd name="connsiteY3503" fmla="*/ 509374 h 1302505"/>
                <a:gd name="connsiteX3504" fmla="*/ 1235196 w 1478629"/>
                <a:gd name="connsiteY3504" fmla="*/ 510069 h 1302505"/>
                <a:gd name="connsiteX3505" fmla="*/ 1235378 w 1478629"/>
                <a:gd name="connsiteY3505" fmla="*/ 510069 h 1302505"/>
                <a:gd name="connsiteX3506" fmla="*/ 1236527 w 1478629"/>
                <a:gd name="connsiteY3506" fmla="*/ 510281 h 1302505"/>
                <a:gd name="connsiteX3507" fmla="*/ 1239250 w 1478629"/>
                <a:gd name="connsiteY3507" fmla="*/ 510039 h 1302505"/>
                <a:gd name="connsiteX3508" fmla="*/ 1237435 w 1478629"/>
                <a:gd name="connsiteY3508" fmla="*/ 513911 h 1302505"/>
                <a:gd name="connsiteX3509" fmla="*/ 1238010 w 1478629"/>
                <a:gd name="connsiteY3509" fmla="*/ 516120 h 1302505"/>
                <a:gd name="connsiteX3510" fmla="*/ 1240188 w 1478629"/>
                <a:gd name="connsiteY3510" fmla="*/ 517330 h 1302505"/>
                <a:gd name="connsiteX3511" fmla="*/ 1243152 w 1478629"/>
                <a:gd name="connsiteY3511" fmla="*/ 518177 h 1302505"/>
                <a:gd name="connsiteX3512" fmla="*/ 1243576 w 1478629"/>
                <a:gd name="connsiteY3512" fmla="*/ 518479 h 1302505"/>
                <a:gd name="connsiteX3513" fmla="*/ 1243848 w 1478629"/>
                <a:gd name="connsiteY3513" fmla="*/ 518964 h 1302505"/>
                <a:gd name="connsiteX3514" fmla="*/ 1244241 w 1478629"/>
                <a:gd name="connsiteY3514" fmla="*/ 519478 h 1302505"/>
                <a:gd name="connsiteX3515" fmla="*/ 1245028 w 1478629"/>
                <a:gd name="connsiteY3515" fmla="*/ 519780 h 1302505"/>
                <a:gd name="connsiteX3516" fmla="*/ 1245694 w 1478629"/>
                <a:gd name="connsiteY3516" fmla="*/ 519659 h 1302505"/>
                <a:gd name="connsiteX3517" fmla="*/ 1249505 w 1478629"/>
                <a:gd name="connsiteY3517" fmla="*/ 518147 h 1302505"/>
                <a:gd name="connsiteX3518" fmla="*/ 1252167 w 1478629"/>
                <a:gd name="connsiteY3518" fmla="*/ 517632 h 1302505"/>
                <a:gd name="connsiteX3519" fmla="*/ 1254981 w 1478629"/>
                <a:gd name="connsiteY3519" fmla="*/ 517753 h 1302505"/>
                <a:gd name="connsiteX3520" fmla="*/ 1259155 w 1478629"/>
                <a:gd name="connsiteY3520" fmla="*/ 517935 h 1302505"/>
                <a:gd name="connsiteX3521" fmla="*/ 1260123 w 1478629"/>
                <a:gd name="connsiteY3521" fmla="*/ 517572 h 1302505"/>
                <a:gd name="connsiteX3522" fmla="*/ 1261939 w 1478629"/>
                <a:gd name="connsiteY3522" fmla="*/ 516876 h 1302505"/>
                <a:gd name="connsiteX3523" fmla="*/ 1263360 w 1478629"/>
                <a:gd name="connsiteY3523" fmla="*/ 515152 h 1302505"/>
                <a:gd name="connsiteX3524" fmla="*/ 1263905 w 1478629"/>
                <a:gd name="connsiteY3524" fmla="*/ 514486 h 1302505"/>
                <a:gd name="connsiteX3525" fmla="*/ 1264238 w 1478629"/>
                <a:gd name="connsiteY3525" fmla="*/ 513216 h 1302505"/>
                <a:gd name="connsiteX3526" fmla="*/ 1264086 w 1478629"/>
                <a:gd name="connsiteY3526" fmla="*/ 512459 h 1302505"/>
                <a:gd name="connsiteX3527" fmla="*/ 1263602 w 1478629"/>
                <a:gd name="connsiteY3527" fmla="*/ 511824 h 1302505"/>
                <a:gd name="connsiteX3528" fmla="*/ 1263270 w 1478629"/>
                <a:gd name="connsiteY3528" fmla="*/ 511491 h 1302505"/>
                <a:gd name="connsiteX3529" fmla="*/ 1262755 w 1478629"/>
                <a:gd name="connsiteY3529" fmla="*/ 510644 h 1302505"/>
                <a:gd name="connsiteX3530" fmla="*/ 1262755 w 1478629"/>
                <a:gd name="connsiteY3530" fmla="*/ 509828 h 1302505"/>
                <a:gd name="connsiteX3531" fmla="*/ 1263935 w 1478629"/>
                <a:gd name="connsiteY3531" fmla="*/ 509495 h 1302505"/>
                <a:gd name="connsiteX3532" fmla="*/ 1265508 w 1478629"/>
                <a:gd name="connsiteY3532" fmla="*/ 510009 h 1302505"/>
                <a:gd name="connsiteX3533" fmla="*/ 1265962 w 1478629"/>
                <a:gd name="connsiteY3533" fmla="*/ 510281 h 1302505"/>
                <a:gd name="connsiteX3534" fmla="*/ 1266809 w 1478629"/>
                <a:gd name="connsiteY3534" fmla="*/ 510796 h 1302505"/>
                <a:gd name="connsiteX3535" fmla="*/ 1268110 w 1478629"/>
                <a:gd name="connsiteY3535" fmla="*/ 510977 h 1302505"/>
                <a:gd name="connsiteX3536" fmla="*/ 1269653 w 1478629"/>
                <a:gd name="connsiteY3536" fmla="*/ 509706 h 1302505"/>
                <a:gd name="connsiteX3537" fmla="*/ 1269834 w 1478629"/>
                <a:gd name="connsiteY3537" fmla="*/ 509495 h 1302505"/>
                <a:gd name="connsiteX3538" fmla="*/ 1269955 w 1478629"/>
                <a:gd name="connsiteY3538" fmla="*/ 509102 h 1302505"/>
                <a:gd name="connsiteX3539" fmla="*/ 1269955 w 1478629"/>
                <a:gd name="connsiteY3539" fmla="*/ 508708 h 1302505"/>
                <a:gd name="connsiteX3540" fmla="*/ 1269864 w 1478629"/>
                <a:gd name="connsiteY3540" fmla="*/ 508406 h 1302505"/>
                <a:gd name="connsiteX3541" fmla="*/ 1269138 w 1478629"/>
                <a:gd name="connsiteY3541" fmla="*/ 507468 h 1302505"/>
                <a:gd name="connsiteX3542" fmla="*/ 1268927 w 1478629"/>
                <a:gd name="connsiteY3542" fmla="*/ 506923 h 1302505"/>
                <a:gd name="connsiteX3543" fmla="*/ 1269048 w 1478629"/>
                <a:gd name="connsiteY3543" fmla="*/ 506500 h 1302505"/>
                <a:gd name="connsiteX3544" fmla="*/ 1269622 w 1478629"/>
                <a:gd name="connsiteY3544" fmla="*/ 506228 h 1302505"/>
                <a:gd name="connsiteX3545" fmla="*/ 1270651 w 1478629"/>
                <a:gd name="connsiteY3545" fmla="*/ 506439 h 1302505"/>
                <a:gd name="connsiteX3546" fmla="*/ 1271468 w 1478629"/>
                <a:gd name="connsiteY3546" fmla="*/ 506197 h 1302505"/>
                <a:gd name="connsiteX3547" fmla="*/ 1271891 w 1478629"/>
                <a:gd name="connsiteY3547" fmla="*/ 505411 h 1302505"/>
                <a:gd name="connsiteX3548" fmla="*/ 1271891 w 1478629"/>
                <a:gd name="connsiteY3548" fmla="*/ 504049 h 1302505"/>
                <a:gd name="connsiteX3549" fmla="*/ 1271528 w 1478629"/>
                <a:gd name="connsiteY3549" fmla="*/ 504049 h 1302505"/>
                <a:gd name="connsiteX3550" fmla="*/ 1269864 w 1478629"/>
                <a:gd name="connsiteY3550" fmla="*/ 502870 h 1302505"/>
                <a:gd name="connsiteX3551" fmla="*/ 1269622 w 1478629"/>
                <a:gd name="connsiteY3551" fmla="*/ 502779 h 1302505"/>
                <a:gd name="connsiteX3552" fmla="*/ 1273464 w 1478629"/>
                <a:gd name="connsiteY3552" fmla="*/ 499875 h 1302505"/>
                <a:gd name="connsiteX3553" fmla="*/ 1274009 w 1478629"/>
                <a:gd name="connsiteY3553" fmla="*/ 499451 h 1302505"/>
                <a:gd name="connsiteX3554" fmla="*/ 1276429 w 1478629"/>
                <a:gd name="connsiteY3554" fmla="*/ 498211 h 1302505"/>
                <a:gd name="connsiteX3555" fmla="*/ 1279968 w 1478629"/>
                <a:gd name="connsiteY3555" fmla="*/ 496971 h 1302505"/>
                <a:gd name="connsiteX3556" fmla="*/ 1280029 w 1478629"/>
                <a:gd name="connsiteY3556" fmla="*/ 496971 h 1302505"/>
                <a:gd name="connsiteX3557" fmla="*/ 1280452 w 1478629"/>
                <a:gd name="connsiteY3557" fmla="*/ 495549 h 1302505"/>
                <a:gd name="connsiteX3558" fmla="*/ 1280694 w 1478629"/>
                <a:gd name="connsiteY3558" fmla="*/ 495065 h 1302505"/>
                <a:gd name="connsiteX3559" fmla="*/ 1280483 w 1478629"/>
                <a:gd name="connsiteY3559" fmla="*/ 493764 h 1302505"/>
                <a:gd name="connsiteX3560" fmla="*/ 1279938 w 1478629"/>
                <a:gd name="connsiteY3560" fmla="*/ 493068 h 1302505"/>
                <a:gd name="connsiteX3561" fmla="*/ 1279303 w 1478629"/>
                <a:gd name="connsiteY3561" fmla="*/ 492554 h 1302505"/>
                <a:gd name="connsiteX3562" fmla="*/ 1278698 w 1478629"/>
                <a:gd name="connsiteY3562" fmla="*/ 491858 h 1302505"/>
                <a:gd name="connsiteX3563" fmla="*/ 1276429 w 1478629"/>
                <a:gd name="connsiteY3563" fmla="*/ 487684 h 1302505"/>
                <a:gd name="connsiteX3564" fmla="*/ 1275068 w 1478629"/>
                <a:gd name="connsiteY3564" fmla="*/ 485929 h 1302505"/>
                <a:gd name="connsiteX3565" fmla="*/ 1273585 w 1478629"/>
                <a:gd name="connsiteY3565" fmla="*/ 485203 h 1302505"/>
                <a:gd name="connsiteX3566" fmla="*/ 1273192 w 1478629"/>
                <a:gd name="connsiteY3566" fmla="*/ 484568 h 1302505"/>
                <a:gd name="connsiteX3567" fmla="*/ 1272890 w 1478629"/>
                <a:gd name="connsiteY3567" fmla="*/ 483085 h 1302505"/>
                <a:gd name="connsiteX3568" fmla="*/ 1272617 w 1478629"/>
                <a:gd name="connsiteY3568" fmla="*/ 480151 h 1302505"/>
                <a:gd name="connsiteX3569" fmla="*/ 1272980 w 1478629"/>
                <a:gd name="connsiteY3569" fmla="*/ 479304 h 1302505"/>
                <a:gd name="connsiteX3570" fmla="*/ 1274644 w 1478629"/>
                <a:gd name="connsiteY3570" fmla="*/ 477701 h 1302505"/>
                <a:gd name="connsiteX3571" fmla="*/ 1275249 w 1478629"/>
                <a:gd name="connsiteY3571" fmla="*/ 476793 h 1302505"/>
                <a:gd name="connsiteX3572" fmla="*/ 1275310 w 1478629"/>
                <a:gd name="connsiteY3572" fmla="*/ 474554 h 1302505"/>
                <a:gd name="connsiteX3573" fmla="*/ 1274069 w 1478629"/>
                <a:gd name="connsiteY3573" fmla="*/ 469744 h 1302505"/>
                <a:gd name="connsiteX3574" fmla="*/ 1274342 w 1478629"/>
                <a:gd name="connsiteY3574" fmla="*/ 467839 h 1302505"/>
                <a:gd name="connsiteX3575" fmla="*/ 1275794 w 1478629"/>
                <a:gd name="connsiteY3575" fmla="*/ 463361 h 1302505"/>
                <a:gd name="connsiteX3576" fmla="*/ 1276338 w 1478629"/>
                <a:gd name="connsiteY3576" fmla="*/ 462726 h 1302505"/>
                <a:gd name="connsiteX3577" fmla="*/ 1277700 w 1478629"/>
                <a:gd name="connsiteY3577" fmla="*/ 462030 h 1302505"/>
                <a:gd name="connsiteX3578" fmla="*/ 1277911 w 1478629"/>
                <a:gd name="connsiteY3578" fmla="*/ 460488 h 1302505"/>
                <a:gd name="connsiteX3579" fmla="*/ 1277397 w 1478629"/>
                <a:gd name="connsiteY3579" fmla="*/ 457916 h 1302505"/>
                <a:gd name="connsiteX3580" fmla="*/ 1277397 w 1478629"/>
                <a:gd name="connsiteY3580" fmla="*/ 457311 h 1302505"/>
                <a:gd name="connsiteX3581" fmla="*/ 1277337 w 1478629"/>
                <a:gd name="connsiteY3581" fmla="*/ 456948 h 1302505"/>
                <a:gd name="connsiteX3582" fmla="*/ 1277276 w 1478629"/>
                <a:gd name="connsiteY3582" fmla="*/ 456615 h 1302505"/>
                <a:gd name="connsiteX3583" fmla="*/ 1277397 w 1478629"/>
                <a:gd name="connsiteY3583" fmla="*/ 456040 h 1302505"/>
                <a:gd name="connsiteX3584" fmla="*/ 1277700 w 1478629"/>
                <a:gd name="connsiteY3584" fmla="*/ 455435 h 1302505"/>
                <a:gd name="connsiteX3585" fmla="*/ 1278365 w 1478629"/>
                <a:gd name="connsiteY3585" fmla="*/ 454831 h 1302505"/>
                <a:gd name="connsiteX3586" fmla="*/ 1278758 w 1478629"/>
                <a:gd name="connsiteY3586" fmla="*/ 454135 h 1302505"/>
                <a:gd name="connsiteX3587" fmla="*/ 1279393 w 1478629"/>
                <a:gd name="connsiteY3587" fmla="*/ 452743 h 1302505"/>
                <a:gd name="connsiteX3588" fmla="*/ 1279575 w 1478629"/>
                <a:gd name="connsiteY3588" fmla="*/ 452108 h 1302505"/>
                <a:gd name="connsiteX3589" fmla="*/ 1279454 w 1478629"/>
                <a:gd name="connsiteY3589" fmla="*/ 449869 h 1302505"/>
                <a:gd name="connsiteX3590" fmla="*/ 1279999 w 1478629"/>
                <a:gd name="connsiteY3590" fmla="*/ 448024 h 1302505"/>
                <a:gd name="connsiteX3591" fmla="*/ 1282691 w 1478629"/>
                <a:gd name="connsiteY3591" fmla="*/ 445392 h 1302505"/>
                <a:gd name="connsiteX3592" fmla="*/ 1283659 w 1478629"/>
                <a:gd name="connsiteY3592" fmla="*/ 443728 h 1302505"/>
                <a:gd name="connsiteX3593" fmla="*/ 1283447 w 1478629"/>
                <a:gd name="connsiteY3593" fmla="*/ 439432 h 1302505"/>
                <a:gd name="connsiteX3594" fmla="*/ 1279091 w 1478629"/>
                <a:gd name="connsiteY3594" fmla="*/ 432384 h 1302505"/>
                <a:gd name="connsiteX3595" fmla="*/ 1278789 w 1478629"/>
                <a:gd name="connsiteY3595" fmla="*/ 426697 h 1302505"/>
                <a:gd name="connsiteX3596" fmla="*/ 1279424 w 1478629"/>
                <a:gd name="connsiteY3596" fmla="*/ 424004 h 1302505"/>
                <a:gd name="connsiteX3597" fmla="*/ 1280120 w 1478629"/>
                <a:gd name="connsiteY3597" fmla="*/ 421887 h 1302505"/>
                <a:gd name="connsiteX3598" fmla="*/ 1280846 w 1478629"/>
                <a:gd name="connsiteY3598" fmla="*/ 420646 h 1302505"/>
                <a:gd name="connsiteX3599" fmla="*/ 1281541 w 1478629"/>
                <a:gd name="connsiteY3599" fmla="*/ 419799 h 1302505"/>
                <a:gd name="connsiteX3600" fmla="*/ 1282056 w 1478629"/>
                <a:gd name="connsiteY3600" fmla="*/ 418710 h 1302505"/>
                <a:gd name="connsiteX3601" fmla="*/ 1282268 w 1478629"/>
                <a:gd name="connsiteY3601" fmla="*/ 416714 h 1302505"/>
                <a:gd name="connsiteX3602" fmla="*/ 1282933 w 1478629"/>
                <a:gd name="connsiteY3602" fmla="*/ 415050 h 1302505"/>
                <a:gd name="connsiteX3603" fmla="*/ 1289286 w 1478629"/>
                <a:gd name="connsiteY3603" fmla="*/ 406852 h 1302505"/>
                <a:gd name="connsiteX3604" fmla="*/ 1290345 w 1478629"/>
                <a:gd name="connsiteY3604" fmla="*/ 404825 h 1302505"/>
                <a:gd name="connsiteX3605" fmla="*/ 1290980 w 1478629"/>
                <a:gd name="connsiteY3605" fmla="*/ 402465 h 1302505"/>
                <a:gd name="connsiteX3606" fmla="*/ 1291192 w 1478629"/>
                <a:gd name="connsiteY3606" fmla="*/ 399652 h 1302505"/>
                <a:gd name="connsiteX3607" fmla="*/ 1291887 w 1478629"/>
                <a:gd name="connsiteY3607" fmla="*/ 396748 h 1302505"/>
                <a:gd name="connsiteX3608" fmla="*/ 1293521 w 1478629"/>
                <a:gd name="connsiteY3608" fmla="*/ 395507 h 1302505"/>
                <a:gd name="connsiteX3609" fmla="*/ 1295366 w 1478629"/>
                <a:gd name="connsiteY3609" fmla="*/ 394600 h 1302505"/>
                <a:gd name="connsiteX3610" fmla="*/ 1296758 w 1478629"/>
                <a:gd name="connsiteY3610" fmla="*/ 392573 h 1302505"/>
                <a:gd name="connsiteX3611" fmla="*/ 1296879 w 1478629"/>
                <a:gd name="connsiteY3611" fmla="*/ 390637 h 1302505"/>
                <a:gd name="connsiteX3612" fmla="*/ 1296365 w 1478629"/>
                <a:gd name="connsiteY3612" fmla="*/ 388791 h 1302505"/>
                <a:gd name="connsiteX3613" fmla="*/ 1295699 w 1478629"/>
                <a:gd name="connsiteY3613" fmla="*/ 387007 h 1302505"/>
                <a:gd name="connsiteX3614" fmla="*/ 1295366 w 1478629"/>
                <a:gd name="connsiteY3614" fmla="*/ 385343 h 1302505"/>
                <a:gd name="connsiteX3615" fmla="*/ 1295487 w 1478629"/>
                <a:gd name="connsiteY3615" fmla="*/ 383497 h 1302505"/>
                <a:gd name="connsiteX3616" fmla="*/ 1296244 w 1478629"/>
                <a:gd name="connsiteY3616" fmla="*/ 379807 h 1302505"/>
                <a:gd name="connsiteX3617" fmla="*/ 1296758 w 1478629"/>
                <a:gd name="connsiteY3617" fmla="*/ 378234 h 1302505"/>
                <a:gd name="connsiteX3618" fmla="*/ 1297454 w 1478629"/>
                <a:gd name="connsiteY3618" fmla="*/ 376933 h 1302505"/>
                <a:gd name="connsiteX3619" fmla="*/ 1298119 w 1478629"/>
                <a:gd name="connsiteY3619" fmla="*/ 376025 h 1302505"/>
                <a:gd name="connsiteX3620" fmla="*/ 1298634 w 1478629"/>
                <a:gd name="connsiteY3620" fmla="*/ 374664 h 1302505"/>
                <a:gd name="connsiteX3621" fmla="*/ 1298845 w 1478629"/>
                <a:gd name="connsiteY3621" fmla="*/ 372002 h 1302505"/>
                <a:gd name="connsiteX3622" fmla="*/ 1299360 w 1478629"/>
                <a:gd name="connsiteY3622" fmla="*/ 370731 h 1302505"/>
                <a:gd name="connsiteX3623" fmla="*/ 1300569 w 1478629"/>
                <a:gd name="connsiteY3623" fmla="*/ 369582 h 1302505"/>
                <a:gd name="connsiteX3624" fmla="*/ 1303081 w 1478629"/>
                <a:gd name="connsiteY3624" fmla="*/ 367767 h 1302505"/>
                <a:gd name="connsiteX3625" fmla="*/ 1303081 w 1478629"/>
                <a:gd name="connsiteY3625" fmla="*/ 366799 h 1302505"/>
                <a:gd name="connsiteX3626" fmla="*/ 1301901 w 1478629"/>
                <a:gd name="connsiteY3626" fmla="*/ 363834 h 1302505"/>
                <a:gd name="connsiteX3627" fmla="*/ 1301901 w 1478629"/>
                <a:gd name="connsiteY3627" fmla="*/ 358994 h 1302505"/>
                <a:gd name="connsiteX3628" fmla="*/ 1302778 w 1478629"/>
                <a:gd name="connsiteY3628" fmla="*/ 354426 h 1302505"/>
                <a:gd name="connsiteX3629" fmla="*/ 1307013 w 1478629"/>
                <a:gd name="connsiteY3629" fmla="*/ 348315 h 1302505"/>
                <a:gd name="connsiteX3630" fmla="*/ 1308193 w 1478629"/>
                <a:gd name="connsiteY3630" fmla="*/ 347559 h 1302505"/>
                <a:gd name="connsiteX3631" fmla="*/ 1309857 w 1478629"/>
                <a:gd name="connsiteY3631" fmla="*/ 347045 h 1302505"/>
                <a:gd name="connsiteX3632" fmla="*/ 1311400 w 1478629"/>
                <a:gd name="connsiteY3632" fmla="*/ 345804 h 1302505"/>
                <a:gd name="connsiteX3633" fmla="*/ 1314153 w 1478629"/>
                <a:gd name="connsiteY3633" fmla="*/ 342779 h 1302505"/>
                <a:gd name="connsiteX3634" fmla="*/ 1315332 w 1478629"/>
                <a:gd name="connsiteY3634" fmla="*/ 342053 h 1302505"/>
                <a:gd name="connsiteX3635" fmla="*/ 1316663 w 1478629"/>
                <a:gd name="connsiteY3635" fmla="*/ 340873 h 1302505"/>
                <a:gd name="connsiteX3636" fmla="*/ 1317752 w 1478629"/>
                <a:gd name="connsiteY3636" fmla="*/ 339542 h 1302505"/>
                <a:gd name="connsiteX3637" fmla="*/ 1318206 w 1478629"/>
                <a:gd name="connsiteY3637" fmla="*/ 338423 h 1302505"/>
                <a:gd name="connsiteX3638" fmla="*/ 1318327 w 1478629"/>
                <a:gd name="connsiteY3638" fmla="*/ 335761 h 1302505"/>
                <a:gd name="connsiteX3639" fmla="*/ 1318872 w 1478629"/>
                <a:gd name="connsiteY3639" fmla="*/ 334490 h 1302505"/>
                <a:gd name="connsiteX3640" fmla="*/ 1320021 w 1478629"/>
                <a:gd name="connsiteY3640" fmla="*/ 334158 h 1302505"/>
                <a:gd name="connsiteX3641" fmla="*/ 1322835 w 1478629"/>
                <a:gd name="connsiteY3641" fmla="*/ 334097 h 1302505"/>
                <a:gd name="connsiteX3642" fmla="*/ 1323621 w 1478629"/>
                <a:gd name="connsiteY3642" fmla="*/ 333855 h 1302505"/>
                <a:gd name="connsiteX3643" fmla="*/ 1324196 w 1478629"/>
                <a:gd name="connsiteY3643" fmla="*/ 333401 h 1302505"/>
                <a:gd name="connsiteX3644" fmla="*/ 1324408 w 1478629"/>
                <a:gd name="connsiteY3644" fmla="*/ 332615 h 1302505"/>
                <a:gd name="connsiteX3645" fmla="*/ 1324620 w 1478629"/>
                <a:gd name="connsiteY3645" fmla="*/ 331314 h 1302505"/>
                <a:gd name="connsiteX3646" fmla="*/ 1325104 w 1478629"/>
                <a:gd name="connsiteY3646" fmla="*/ 330557 h 1302505"/>
                <a:gd name="connsiteX3647" fmla="*/ 1325557 w 1478629"/>
                <a:gd name="connsiteY3647" fmla="*/ 330134 h 1302505"/>
                <a:gd name="connsiteX3648" fmla="*/ 1325769 w 1478629"/>
                <a:gd name="connsiteY3648" fmla="*/ 329801 h 1302505"/>
                <a:gd name="connsiteX3649" fmla="*/ 1326646 w 1478629"/>
                <a:gd name="connsiteY3649" fmla="*/ 329801 h 1302505"/>
                <a:gd name="connsiteX3650" fmla="*/ 1330337 w 1478629"/>
                <a:gd name="connsiteY3650" fmla="*/ 327926 h 1302505"/>
                <a:gd name="connsiteX3651" fmla="*/ 1330942 w 1478629"/>
                <a:gd name="connsiteY3651" fmla="*/ 327442 h 1302505"/>
                <a:gd name="connsiteX3652" fmla="*/ 1332182 w 1478629"/>
                <a:gd name="connsiteY3652" fmla="*/ 325506 h 1302505"/>
                <a:gd name="connsiteX3653" fmla="*/ 1336750 w 1478629"/>
                <a:gd name="connsiteY3653" fmla="*/ 313919 h 1302505"/>
                <a:gd name="connsiteX3654" fmla="*/ 1339896 w 1478629"/>
                <a:gd name="connsiteY3654" fmla="*/ 308444 h 1302505"/>
                <a:gd name="connsiteX3655" fmla="*/ 1341984 w 1478629"/>
                <a:gd name="connsiteY3655" fmla="*/ 306265 h 1302505"/>
                <a:gd name="connsiteX3656" fmla="*/ 1342014 w 1478629"/>
                <a:gd name="connsiteY3656" fmla="*/ 306265 h 1302505"/>
                <a:gd name="connsiteX3657" fmla="*/ 1340834 w 1478629"/>
                <a:gd name="connsiteY3657" fmla="*/ 305207 h 1302505"/>
                <a:gd name="connsiteX3658" fmla="*/ 1330942 w 1478629"/>
                <a:gd name="connsiteY3658" fmla="*/ 303331 h 1302505"/>
                <a:gd name="connsiteX3659" fmla="*/ 717352 w 1478629"/>
                <a:gd name="connsiteY3659" fmla="*/ 1168704 h 1302505"/>
                <a:gd name="connsiteX3660" fmla="*/ 716354 w 1478629"/>
                <a:gd name="connsiteY3660" fmla="*/ 1168885 h 1302505"/>
                <a:gd name="connsiteX3661" fmla="*/ 716082 w 1478629"/>
                <a:gd name="connsiteY3661" fmla="*/ 1168885 h 1302505"/>
                <a:gd name="connsiteX3662" fmla="*/ 713782 w 1478629"/>
                <a:gd name="connsiteY3662" fmla="*/ 1168583 h 1302505"/>
                <a:gd name="connsiteX3663" fmla="*/ 712452 w 1478629"/>
                <a:gd name="connsiteY3663" fmla="*/ 1167645 h 1302505"/>
                <a:gd name="connsiteX3664" fmla="*/ 712270 w 1478629"/>
                <a:gd name="connsiteY3664" fmla="*/ 1166072 h 1302505"/>
                <a:gd name="connsiteX3665" fmla="*/ 713359 w 1478629"/>
                <a:gd name="connsiteY3665" fmla="*/ 1163833 h 1302505"/>
                <a:gd name="connsiteX3666" fmla="*/ 714508 w 1478629"/>
                <a:gd name="connsiteY3666" fmla="*/ 1163349 h 1302505"/>
                <a:gd name="connsiteX3667" fmla="*/ 715537 w 1478629"/>
                <a:gd name="connsiteY3667" fmla="*/ 1164680 h 1302505"/>
                <a:gd name="connsiteX3668" fmla="*/ 716566 w 1478629"/>
                <a:gd name="connsiteY3668" fmla="*/ 1166798 h 1302505"/>
                <a:gd name="connsiteX3669" fmla="*/ 717685 w 1478629"/>
                <a:gd name="connsiteY3669" fmla="*/ 1168583 h 1302505"/>
                <a:gd name="connsiteX3670" fmla="*/ 717352 w 1478629"/>
                <a:gd name="connsiteY3670" fmla="*/ 1168704 h 130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Lst>
              <a:rect l="l" t="t" r="r" b="b"/>
              <a:pathLst>
                <a:path w="1478629" h="1302505">
                  <a:moveTo>
                    <a:pt x="1470129" y="1146469"/>
                  </a:moveTo>
                  <a:lnTo>
                    <a:pt x="1470643" y="1146469"/>
                  </a:lnTo>
                  <a:lnTo>
                    <a:pt x="1468072" y="1143051"/>
                  </a:lnTo>
                  <a:lnTo>
                    <a:pt x="1470129" y="1146590"/>
                  </a:lnTo>
                  <a:lnTo>
                    <a:pt x="1470129" y="1146469"/>
                  </a:lnTo>
                  <a:close/>
                  <a:moveTo>
                    <a:pt x="1478448" y="1187188"/>
                  </a:moveTo>
                  <a:lnTo>
                    <a:pt x="1478024" y="1184737"/>
                  </a:lnTo>
                  <a:lnTo>
                    <a:pt x="1476179" y="1179897"/>
                  </a:lnTo>
                  <a:lnTo>
                    <a:pt x="1475725" y="1177326"/>
                  </a:lnTo>
                  <a:lnTo>
                    <a:pt x="1475725" y="1174996"/>
                  </a:lnTo>
                  <a:lnTo>
                    <a:pt x="1476028" y="1173030"/>
                  </a:lnTo>
                  <a:lnTo>
                    <a:pt x="1476482" y="1171306"/>
                  </a:lnTo>
                  <a:lnTo>
                    <a:pt x="1477087" y="1169672"/>
                  </a:lnTo>
                  <a:lnTo>
                    <a:pt x="1475846" y="1167040"/>
                  </a:lnTo>
                  <a:lnTo>
                    <a:pt x="1475514" y="1163289"/>
                  </a:lnTo>
                  <a:lnTo>
                    <a:pt x="1475756" y="1156028"/>
                  </a:lnTo>
                  <a:lnTo>
                    <a:pt x="1475332" y="1153639"/>
                  </a:lnTo>
                  <a:lnTo>
                    <a:pt x="1474364" y="1151460"/>
                  </a:lnTo>
                  <a:lnTo>
                    <a:pt x="1471460" y="1147498"/>
                  </a:lnTo>
                  <a:lnTo>
                    <a:pt x="1472973" y="1150765"/>
                  </a:lnTo>
                  <a:lnTo>
                    <a:pt x="1473396" y="1151612"/>
                  </a:lnTo>
                  <a:lnTo>
                    <a:pt x="1473668" y="1153427"/>
                  </a:lnTo>
                  <a:lnTo>
                    <a:pt x="1470946" y="1152308"/>
                  </a:lnTo>
                  <a:lnTo>
                    <a:pt x="1470159" y="1151733"/>
                  </a:lnTo>
                  <a:lnTo>
                    <a:pt x="1469524" y="1150704"/>
                  </a:lnTo>
                  <a:lnTo>
                    <a:pt x="1469251" y="1149736"/>
                  </a:lnTo>
                  <a:lnTo>
                    <a:pt x="1468919" y="1148889"/>
                  </a:lnTo>
                  <a:lnTo>
                    <a:pt x="1468102" y="1148284"/>
                  </a:lnTo>
                  <a:lnTo>
                    <a:pt x="1468586" y="1147255"/>
                  </a:lnTo>
                  <a:lnTo>
                    <a:pt x="1468586" y="1146590"/>
                  </a:lnTo>
                  <a:lnTo>
                    <a:pt x="1468374" y="1145894"/>
                  </a:lnTo>
                  <a:lnTo>
                    <a:pt x="1468102" y="1144775"/>
                  </a:lnTo>
                  <a:lnTo>
                    <a:pt x="1467921" y="1144775"/>
                  </a:lnTo>
                  <a:lnTo>
                    <a:pt x="1467467" y="1144593"/>
                  </a:lnTo>
                  <a:lnTo>
                    <a:pt x="1466983" y="1144321"/>
                  </a:lnTo>
                  <a:lnTo>
                    <a:pt x="1466741" y="1143988"/>
                  </a:lnTo>
                  <a:lnTo>
                    <a:pt x="1466801" y="1143414"/>
                  </a:lnTo>
                  <a:lnTo>
                    <a:pt x="1467073" y="1142990"/>
                  </a:lnTo>
                  <a:lnTo>
                    <a:pt x="1467376" y="1142687"/>
                  </a:lnTo>
                  <a:lnTo>
                    <a:pt x="1467497" y="1142355"/>
                  </a:lnTo>
                  <a:lnTo>
                    <a:pt x="1467406" y="1138725"/>
                  </a:lnTo>
                  <a:lnTo>
                    <a:pt x="1467618" y="1136940"/>
                  </a:lnTo>
                  <a:lnTo>
                    <a:pt x="1467527" y="1135427"/>
                  </a:lnTo>
                  <a:lnTo>
                    <a:pt x="1470794" y="1123690"/>
                  </a:lnTo>
                  <a:lnTo>
                    <a:pt x="1470946" y="1119908"/>
                  </a:lnTo>
                  <a:lnTo>
                    <a:pt x="1469040" y="1108443"/>
                  </a:lnTo>
                  <a:lnTo>
                    <a:pt x="1469494" y="1106083"/>
                  </a:lnTo>
                  <a:lnTo>
                    <a:pt x="1468344" y="1104813"/>
                  </a:lnTo>
                  <a:lnTo>
                    <a:pt x="1467860" y="1103361"/>
                  </a:lnTo>
                  <a:lnTo>
                    <a:pt x="1468042" y="1101999"/>
                  </a:lnTo>
                  <a:lnTo>
                    <a:pt x="1468888" y="1100971"/>
                  </a:lnTo>
                  <a:lnTo>
                    <a:pt x="1468888" y="1100033"/>
                  </a:lnTo>
                  <a:lnTo>
                    <a:pt x="1466922" y="1099035"/>
                  </a:lnTo>
                  <a:lnTo>
                    <a:pt x="1466015" y="1098309"/>
                  </a:lnTo>
                  <a:lnTo>
                    <a:pt x="1464683" y="1096584"/>
                  </a:lnTo>
                  <a:lnTo>
                    <a:pt x="1462868" y="1097310"/>
                  </a:lnTo>
                  <a:lnTo>
                    <a:pt x="1458724" y="1097310"/>
                  </a:lnTo>
                  <a:lnTo>
                    <a:pt x="1457091" y="1098309"/>
                  </a:lnTo>
                  <a:lnTo>
                    <a:pt x="1456607" y="1099942"/>
                  </a:lnTo>
                  <a:lnTo>
                    <a:pt x="1456758" y="1102151"/>
                  </a:lnTo>
                  <a:lnTo>
                    <a:pt x="1457423" y="1104147"/>
                  </a:lnTo>
                  <a:lnTo>
                    <a:pt x="1458452" y="1105176"/>
                  </a:lnTo>
                  <a:lnTo>
                    <a:pt x="1458119" y="1106265"/>
                  </a:lnTo>
                  <a:lnTo>
                    <a:pt x="1457998" y="1106779"/>
                  </a:lnTo>
                  <a:lnTo>
                    <a:pt x="1458119" y="1107142"/>
                  </a:lnTo>
                  <a:lnTo>
                    <a:pt x="1458482" y="1107778"/>
                  </a:lnTo>
                  <a:lnTo>
                    <a:pt x="1456122" y="1110077"/>
                  </a:lnTo>
                  <a:lnTo>
                    <a:pt x="1455457" y="1110923"/>
                  </a:lnTo>
                  <a:lnTo>
                    <a:pt x="1455033" y="1112164"/>
                  </a:lnTo>
                  <a:lnTo>
                    <a:pt x="1455033" y="1113223"/>
                  </a:lnTo>
                  <a:lnTo>
                    <a:pt x="1455699" y="1114433"/>
                  </a:lnTo>
                  <a:lnTo>
                    <a:pt x="1455699" y="1115522"/>
                  </a:lnTo>
                  <a:lnTo>
                    <a:pt x="1452976" y="1119031"/>
                  </a:lnTo>
                  <a:lnTo>
                    <a:pt x="1454610" y="1120967"/>
                  </a:lnTo>
                  <a:lnTo>
                    <a:pt x="1456001" y="1123024"/>
                  </a:lnTo>
                  <a:lnTo>
                    <a:pt x="1456546" y="1125233"/>
                  </a:lnTo>
                  <a:lnTo>
                    <a:pt x="1455729" y="1127622"/>
                  </a:lnTo>
                  <a:lnTo>
                    <a:pt x="1456697" y="1130375"/>
                  </a:lnTo>
                  <a:lnTo>
                    <a:pt x="1455215" y="1134036"/>
                  </a:lnTo>
                  <a:lnTo>
                    <a:pt x="1451615" y="1139723"/>
                  </a:lnTo>
                  <a:lnTo>
                    <a:pt x="1450919" y="1139723"/>
                  </a:lnTo>
                  <a:lnTo>
                    <a:pt x="1450012" y="1137303"/>
                  </a:lnTo>
                  <a:lnTo>
                    <a:pt x="1449467" y="1136274"/>
                  </a:lnTo>
                  <a:lnTo>
                    <a:pt x="1448832" y="1135427"/>
                  </a:lnTo>
                  <a:lnTo>
                    <a:pt x="1448136" y="1134792"/>
                  </a:lnTo>
                  <a:lnTo>
                    <a:pt x="1446019" y="1133703"/>
                  </a:lnTo>
                  <a:lnTo>
                    <a:pt x="1440815" y="1132342"/>
                  </a:lnTo>
                  <a:lnTo>
                    <a:pt x="1439908" y="1132402"/>
                  </a:lnTo>
                  <a:lnTo>
                    <a:pt x="1438819" y="1132099"/>
                  </a:lnTo>
                  <a:lnTo>
                    <a:pt x="1436429" y="1132099"/>
                  </a:lnTo>
                  <a:lnTo>
                    <a:pt x="1434069" y="1132493"/>
                  </a:lnTo>
                  <a:lnTo>
                    <a:pt x="1432980" y="1133249"/>
                  </a:lnTo>
                  <a:lnTo>
                    <a:pt x="1427535" y="1138816"/>
                  </a:lnTo>
                  <a:lnTo>
                    <a:pt x="1427233" y="1141266"/>
                  </a:lnTo>
                  <a:lnTo>
                    <a:pt x="1424056" y="1142778"/>
                  </a:lnTo>
                  <a:lnTo>
                    <a:pt x="1412803" y="1144987"/>
                  </a:lnTo>
                  <a:lnTo>
                    <a:pt x="1406420" y="1148042"/>
                  </a:lnTo>
                  <a:lnTo>
                    <a:pt x="1402638" y="1148254"/>
                  </a:lnTo>
                  <a:lnTo>
                    <a:pt x="1403394" y="1149101"/>
                  </a:lnTo>
                  <a:lnTo>
                    <a:pt x="1402850" y="1150916"/>
                  </a:lnTo>
                  <a:lnTo>
                    <a:pt x="1401972" y="1152580"/>
                  </a:lnTo>
                  <a:lnTo>
                    <a:pt x="1400762" y="1153820"/>
                  </a:lnTo>
                  <a:lnTo>
                    <a:pt x="1399189" y="1154304"/>
                  </a:lnTo>
                  <a:lnTo>
                    <a:pt x="1398010" y="1153850"/>
                  </a:lnTo>
                  <a:lnTo>
                    <a:pt x="1397102" y="1152973"/>
                  </a:lnTo>
                  <a:lnTo>
                    <a:pt x="1396043" y="1152519"/>
                  </a:lnTo>
                  <a:lnTo>
                    <a:pt x="1394379" y="1153397"/>
                  </a:lnTo>
                  <a:lnTo>
                    <a:pt x="1394137" y="1152308"/>
                  </a:lnTo>
                  <a:lnTo>
                    <a:pt x="1394016" y="1152066"/>
                  </a:lnTo>
                  <a:lnTo>
                    <a:pt x="1393744" y="1152066"/>
                  </a:lnTo>
                  <a:lnTo>
                    <a:pt x="1392957" y="1151672"/>
                  </a:lnTo>
                  <a:lnTo>
                    <a:pt x="1392957" y="1152580"/>
                  </a:lnTo>
                  <a:lnTo>
                    <a:pt x="1393683" y="1153820"/>
                  </a:lnTo>
                  <a:lnTo>
                    <a:pt x="1393109" y="1156573"/>
                  </a:lnTo>
                  <a:lnTo>
                    <a:pt x="1393683" y="1157753"/>
                  </a:lnTo>
                  <a:lnTo>
                    <a:pt x="1391778" y="1158206"/>
                  </a:lnTo>
                  <a:lnTo>
                    <a:pt x="1390053" y="1158963"/>
                  </a:lnTo>
                  <a:lnTo>
                    <a:pt x="1388752" y="1160385"/>
                  </a:lnTo>
                  <a:lnTo>
                    <a:pt x="1387936" y="1163561"/>
                  </a:lnTo>
                  <a:lnTo>
                    <a:pt x="1387694" y="1164106"/>
                  </a:lnTo>
                  <a:lnTo>
                    <a:pt x="1387966" y="1164469"/>
                  </a:lnTo>
                  <a:lnTo>
                    <a:pt x="1389206" y="1164590"/>
                  </a:lnTo>
                  <a:lnTo>
                    <a:pt x="1389660" y="1165043"/>
                  </a:lnTo>
                  <a:lnTo>
                    <a:pt x="1389206" y="1166042"/>
                  </a:lnTo>
                  <a:lnTo>
                    <a:pt x="1388117" y="1167615"/>
                  </a:lnTo>
                  <a:lnTo>
                    <a:pt x="1388117" y="1169127"/>
                  </a:lnTo>
                  <a:lnTo>
                    <a:pt x="1387936" y="1170368"/>
                  </a:lnTo>
                  <a:lnTo>
                    <a:pt x="1387059" y="1171215"/>
                  </a:lnTo>
                  <a:lnTo>
                    <a:pt x="1383821" y="1171669"/>
                  </a:lnTo>
                  <a:lnTo>
                    <a:pt x="1383368" y="1172092"/>
                  </a:lnTo>
                  <a:lnTo>
                    <a:pt x="1383156" y="1172636"/>
                  </a:lnTo>
                  <a:lnTo>
                    <a:pt x="1382672" y="1173211"/>
                  </a:lnTo>
                  <a:lnTo>
                    <a:pt x="1382279" y="1174088"/>
                  </a:lnTo>
                  <a:lnTo>
                    <a:pt x="1382158" y="1175148"/>
                  </a:lnTo>
                  <a:lnTo>
                    <a:pt x="1381795" y="1175692"/>
                  </a:lnTo>
                  <a:lnTo>
                    <a:pt x="1380554" y="1175026"/>
                  </a:lnTo>
                  <a:lnTo>
                    <a:pt x="1379889" y="1175904"/>
                  </a:lnTo>
                  <a:lnTo>
                    <a:pt x="1378981" y="1176418"/>
                  </a:lnTo>
                  <a:lnTo>
                    <a:pt x="1378013" y="1176418"/>
                  </a:lnTo>
                  <a:lnTo>
                    <a:pt x="1377136" y="1175813"/>
                  </a:lnTo>
                  <a:lnTo>
                    <a:pt x="1376834" y="1177023"/>
                  </a:lnTo>
                  <a:lnTo>
                    <a:pt x="1376894" y="1178445"/>
                  </a:lnTo>
                  <a:lnTo>
                    <a:pt x="1377287" y="1179806"/>
                  </a:lnTo>
                  <a:lnTo>
                    <a:pt x="1377892" y="1180865"/>
                  </a:lnTo>
                  <a:lnTo>
                    <a:pt x="1377136" y="1181803"/>
                  </a:lnTo>
                  <a:lnTo>
                    <a:pt x="1381099" y="1180290"/>
                  </a:lnTo>
                  <a:lnTo>
                    <a:pt x="1383247" y="1180139"/>
                  </a:lnTo>
                  <a:lnTo>
                    <a:pt x="1385455" y="1181833"/>
                  </a:lnTo>
                  <a:lnTo>
                    <a:pt x="1382430" y="1183497"/>
                  </a:lnTo>
                  <a:lnTo>
                    <a:pt x="1381946" y="1183950"/>
                  </a:lnTo>
                  <a:lnTo>
                    <a:pt x="1382097" y="1184828"/>
                  </a:lnTo>
                  <a:lnTo>
                    <a:pt x="1382491" y="1185373"/>
                  </a:lnTo>
                  <a:lnTo>
                    <a:pt x="1383065" y="1185433"/>
                  </a:lnTo>
                  <a:lnTo>
                    <a:pt x="1384487" y="1184283"/>
                  </a:lnTo>
                  <a:lnTo>
                    <a:pt x="1384941" y="1184767"/>
                  </a:lnTo>
                  <a:lnTo>
                    <a:pt x="1385213" y="1185584"/>
                  </a:lnTo>
                  <a:lnTo>
                    <a:pt x="1385455" y="1186068"/>
                  </a:lnTo>
                  <a:lnTo>
                    <a:pt x="1389206" y="1187762"/>
                  </a:lnTo>
                  <a:lnTo>
                    <a:pt x="1389388" y="1187974"/>
                  </a:lnTo>
                  <a:lnTo>
                    <a:pt x="1390870" y="1189033"/>
                  </a:lnTo>
                  <a:lnTo>
                    <a:pt x="1390779" y="1190031"/>
                  </a:lnTo>
                  <a:lnTo>
                    <a:pt x="1390537" y="1190152"/>
                  </a:lnTo>
                  <a:lnTo>
                    <a:pt x="1390084" y="1190031"/>
                  </a:lnTo>
                  <a:lnTo>
                    <a:pt x="1389509" y="1190304"/>
                  </a:lnTo>
                  <a:lnTo>
                    <a:pt x="1388480" y="1191030"/>
                  </a:lnTo>
                  <a:lnTo>
                    <a:pt x="1387119" y="1191604"/>
                  </a:lnTo>
                  <a:lnTo>
                    <a:pt x="1383065" y="1192330"/>
                  </a:lnTo>
                  <a:lnTo>
                    <a:pt x="1382097" y="1192814"/>
                  </a:lnTo>
                  <a:lnTo>
                    <a:pt x="1381341" y="1193359"/>
                  </a:lnTo>
                  <a:lnTo>
                    <a:pt x="1380585" y="1193722"/>
                  </a:lnTo>
                  <a:lnTo>
                    <a:pt x="1377923" y="1193601"/>
                  </a:lnTo>
                  <a:lnTo>
                    <a:pt x="1376864" y="1193873"/>
                  </a:lnTo>
                  <a:lnTo>
                    <a:pt x="1376440" y="1195053"/>
                  </a:lnTo>
                  <a:lnTo>
                    <a:pt x="1377166" y="1195537"/>
                  </a:lnTo>
                  <a:lnTo>
                    <a:pt x="1378497" y="1195930"/>
                  </a:lnTo>
                  <a:lnTo>
                    <a:pt x="1379344" y="1196656"/>
                  </a:lnTo>
                  <a:lnTo>
                    <a:pt x="1378497" y="1198078"/>
                  </a:lnTo>
                  <a:lnTo>
                    <a:pt x="1379707" y="1198592"/>
                  </a:lnTo>
                  <a:lnTo>
                    <a:pt x="1380101" y="1199832"/>
                  </a:lnTo>
                  <a:lnTo>
                    <a:pt x="1379677" y="1201043"/>
                  </a:lnTo>
                  <a:lnTo>
                    <a:pt x="1378467" y="1201496"/>
                  </a:lnTo>
                  <a:lnTo>
                    <a:pt x="1378467" y="1202313"/>
                  </a:lnTo>
                  <a:lnTo>
                    <a:pt x="1381280" y="1202313"/>
                  </a:lnTo>
                  <a:lnTo>
                    <a:pt x="1381280" y="1203251"/>
                  </a:lnTo>
                  <a:lnTo>
                    <a:pt x="1379677" y="1204280"/>
                  </a:lnTo>
                  <a:lnTo>
                    <a:pt x="1378860" y="1204673"/>
                  </a:lnTo>
                  <a:lnTo>
                    <a:pt x="1377832" y="1204885"/>
                  </a:lnTo>
                  <a:lnTo>
                    <a:pt x="1378800" y="1204763"/>
                  </a:lnTo>
                  <a:lnTo>
                    <a:pt x="1379707" y="1204854"/>
                  </a:lnTo>
                  <a:lnTo>
                    <a:pt x="1380524" y="1205217"/>
                  </a:lnTo>
                  <a:lnTo>
                    <a:pt x="1381280" y="1205823"/>
                  </a:lnTo>
                  <a:lnTo>
                    <a:pt x="1381008" y="1206276"/>
                  </a:lnTo>
                  <a:lnTo>
                    <a:pt x="1380524" y="1207456"/>
                  </a:lnTo>
                  <a:lnTo>
                    <a:pt x="1382581" y="1207456"/>
                  </a:lnTo>
                  <a:lnTo>
                    <a:pt x="1384880" y="1207879"/>
                  </a:lnTo>
                  <a:lnTo>
                    <a:pt x="1386696" y="1208878"/>
                  </a:lnTo>
                  <a:lnTo>
                    <a:pt x="1387452" y="1210451"/>
                  </a:lnTo>
                  <a:lnTo>
                    <a:pt x="1388057" y="1210935"/>
                  </a:lnTo>
                  <a:lnTo>
                    <a:pt x="1390870" y="1210239"/>
                  </a:lnTo>
                  <a:lnTo>
                    <a:pt x="1391929" y="1210451"/>
                  </a:lnTo>
                  <a:lnTo>
                    <a:pt x="1392625" y="1211540"/>
                  </a:lnTo>
                  <a:lnTo>
                    <a:pt x="1394349" y="1215079"/>
                  </a:lnTo>
                  <a:lnTo>
                    <a:pt x="1395922" y="1216138"/>
                  </a:lnTo>
                  <a:lnTo>
                    <a:pt x="1396497" y="1216985"/>
                  </a:lnTo>
                  <a:lnTo>
                    <a:pt x="1396346" y="1218528"/>
                  </a:lnTo>
                  <a:lnTo>
                    <a:pt x="1395801" y="1218528"/>
                  </a:lnTo>
                  <a:lnTo>
                    <a:pt x="1393109" y="1219889"/>
                  </a:lnTo>
                  <a:lnTo>
                    <a:pt x="1392594" y="1220252"/>
                  </a:lnTo>
                  <a:lnTo>
                    <a:pt x="1390416" y="1220857"/>
                  </a:lnTo>
                  <a:lnTo>
                    <a:pt x="1388420" y="1222249"/>
                  </a:lnTo>
                  <a:lnTo>
                    <a:pt x="1387573" y="1223701"/>
                  </a:lnTo>
                  <a:lnTo>
                    <a:pt x="1388874" y="1224518"/>
                  </a:lnTo>
                  <a:lnTo>
                    <a:pt x="1387482" y="1226696"/>
                  </a:lnTo>
                  <a:lnTo>
                    <a:pt x="1385516" y="1227452"/>
                  </a:lnTo>
                  <a:lnTo>
                    <a:pt x="1380554" y="1227906"/>
                  </a:lnTo>
                  <a:lnTo>
                    <a:pt x="1383398" y="1230992"/>
                  </a:lnTo>
                  <a:lnTo>
                    <a:pt x="1383821" y="1232685"/>
                  </a:lnTo>
                  <a:lnTo>
                    <a:pt x="1382672" y="1234743"/>
                  </a:lnTo>
                  <a:lnTo>
                    <a:pt x="1383368" y="1236346"/>
                  </a:lnTo>
                  <a:lnTo>
                    <a:pt x="1384941" y="1235378"/>
                  </a:lnTo>
                  <a:lnTo>
                    <a:pt x="1386726" y="1234985"/>
                  </a:lnTo>
                  <a:lnTo>
                    <a:pt x="1390870" y="1234743"/>
                  </a:lnTo>
                  <a:lnTo>
                    <a:pt x="1393048" y="1234108"/>
                  </a:lnTo>
                  <a:lnTo>
                    <a:pt x="1396497" y="1232383"/>
                  </a:lnTo>
                  <a:lnTo>
                    <a:pt x="1398524" y="1232202"/>
                  </a:lnTo>
                  <a:lnTo>
                    <a:pt x="1399613" y="1232444"/>
                  </a:lnTo>
                  <a:lnTo>
                    <a:pt x="1400248" y="1232897"/>
                  </a:lnTo>
                  <a:lnTo>
                    <a:pt x="1400702" y="1233654"/>
                  </a:lnTo>
                  <a:lnTo>
                    <a:pt x="1401277" y="1234773"/>
                  </a:lnTo>
                  <a:lnTo>
                    <a:pt x="1402426" y="1235560"/>
                  </a:lnTo>
                  <a:lnTo>
                    <a:pt x="1402668" y="1235620"/>
                  </a:lnTo>
                  <a:lnTo>
                    <a:pt x="1402456" y="1236407"/>
                  </a:lnTo>
                  <a:lnTo>
                    <a:pt x="1401579" y="1237465"/>
                  </a:lnTo>
                  <a:lnTo>
                    <a:pt x="1401307" y="1238101"/>
                  </a:lnTo>
                  <a:lnTo>
                    <a:pt x="1401125" y="1238101"/>
                  </a:lnTo>
                  <a:lnTo>
                    <a:pt x="1399915" y="1239885"/>
                  </a:lnTo>
                  <a:lnTo>
                    <a:pt x="1400278" y="1239765"/>
                  </a:lnTo>
                  <a:lnTo>
                    <a:pt x="1400702" y="1240491"/>
                  </a:lnTo>
                  <a:lnTo>
                    <a:pt x="1401065" y="1241307"/>
                  </a:lnTo>
                  <a:lnTo>
                    <a:pt x="1401307" y="1241580"/>
                  </a:lnTo>
                  <a:lnTo>
                    <a:pt x="1400490" y="1242245"/>
                  </a:lnTo>
                  <a:lnTo>
                    <a:pt x="1397193" y="1243244"/>
                  </a:lnTo>
                  <a:lnTo>
                    <a:pt x="1398373" y="1243395"/>
                  </a:lnTo>
                  <a:lnTo>
                    <a:pt x="1399371" y="1243848"/>
                  </a:lnTo>
                  <a:lnTo>
                    <a:pt x="1400157" y="1244665"/>
                  </a:lnTo>
                  <a:lnTo>
                    <a:pt x="1400641" y="1245845"/>
                  </a:lnTo>
                  <a:lnTo>
                    <a:pt x="1397344" y="1247660"/>
                  </a:lnTo>
                  <a:lnTo>
                    <a:pt x="1395317" y="1248295"/>
                  </a:lnTo>
                  <a:lnTo>
                    <a:pt x="1393018" y="1248295"/>
                  </a:lnTo>
                  <a:lnTo>
                    <a:pt x="1393018" y="1249233"/>
                  </a:lnTo>
                  <a:lnTo>
                    <a:pt x="1394137" y="1249899"/>
                  </a:lnTo>
                  <a:lnTo>
                    <a:pt x="1394319" y="1251048"/>
                  </a:lnTo>
                  <a:lnTo>
                    <a:pt x="1393865" y="1252349"/>
                  </a:lnTo>
                  <a:lnTo>
                    <a:pt x="1393018" y="1253378"/>
                  </a:lnTo>
                  <a:lnTo>
                    <a:pt x="1391717" y="1254043"/>
                  </a:lnTo>
                  <a:lnTo>
                    <a:pt x="1388874" y="1254436"/>
                  </a:lnTo>
                  <a:lnTo>
                    <a:pt x="1387542" y="1255041"/>
                  </a:lnTo>
                  <a:lnTo>
                    <a:pt x="1388843" y="1255344"/>
                  </a:lnTo>
                  <a:lnTo>
                    <a:pt x="1389841" y="1255767"/>
                  </a:lnTo>
                  <a:lnTo>
                    <a:pt x="1390931" y="1256070"/>
                  </a:lnTo>
                  <a:lnTo>
                    <a:pt x="1392353" y="1255949"/>
                  </a:lnTo>
                  <a:lnTo>
                    <a:pt x="1391868" y="1257129"/>
                  </a:lnTo>
                  <a:lnTo>
                    <a:pt x="1391627" y="1257583"/>
                  </a:lnTo>
                  <a:lnTo>
                    <a:pt x="1393986" y="1257431"/>
                  </a:lnTo>
                  <a:lnTo>
                    <a:pt x="1398100" y="1255949"/>
                  </a:lnTo>
                  <a:lnTo>
                    <a:pt x="1400611" y="1255949"/>
                  </a:lnTo>
                  <a:lnTo>
                    <a:pt x="1399734" y="1258460"/>
                  </a:lnTo>
                  <a:lnTo>
                    <a:pt x="1401004" y="1259670"/>
                  </a:lnTo>
                  <a:lnTo>
                    <a:pt x="1403364" y="1260063"/>
                  </a:lnTo>
                  <a:lnTo>
                    <a:pt x="1405784" y="1260124"/>
                  </a:lnTo>
                  <a:lnTo>
                    <a:pt x="1412107" y="1261788"/>
                  </a:lnTo>
                  <a:lnTo>
                    <a:pt x="1414466" y="1261878"/>
                  </a:lnTo>
                  <a:lnTo>
                    <a:pt x="1413256" y="1263209"/>
                  </a:lnTo>
                  <a:lnTo>
                    <a:pt x="1411865" y="1263935"/>
                  </a:lnTo>
                  <a:lnTo>
                    <a:pt x="1410745" y="1264813"/>
                  </a:lnTo>
                  <a:lnTo>
                    <a:pt x="1410261" y="1266507"/>
                  </a:lnTo>
                  <a:lnTo>
                    <a:pt x="1409384" y="1267263"/>
                  </a:lnTo>
                  <a:lnTo>
                    <a:pt x="1403999" y="1269562"/>
                  </a:lnTo>
                  <a:lnTo>
                    <a:pt x="1402275" y="1268776"/>
                  </a:lnTo>
                  <a:lnTo>
                    <a:pt x="1401307" y="1270500"/>
                  </a:lnTo>
                  <a:lnTo>
                    <a:pt x="1400641" y="1273011"/>
                  </a:lnTo>
                  <a:lnTo>
                    <a:pt x="1399915" y="1274614"/>
                  </a:lnTo>
                  <a:lnTo>
                    <a:pt x="1401428" y="1275159"/>
                  </a:lnTo>
                  <a:lnTo>
                    <a:pt x="1401761" y="1276006"/>
                  </a:lnTo>
                  <a:lnTo>
                    <a:pt x="1401307" y="1278396"/>
                  </a:lnTo>
                  <a:lnTo>
                    <a:pt x="1401852" y="1278910"/>
                  </a:lnTo>
                  <a:lnTo>
                    <a:pt x="1403122" y="1279454"/>
                  </a:lnTo>
                  <a:lnTo>
                    <a:pt x="1404544" y="1279787"/>
                  </a:lnTo>
                  <a:lnTo>
                    <a:pt x="1405482" y="1279696"/>
                  </a:lnTo>
                  <a:lnTo>
                    <a:pt x="1406208" y="1280120"/>
                  </a:lnTo>
                  <a:lnTo>
                    <a:pt x="1407478" y="1280543"/>
                  </a:lnTo>
                  <a:lnTo>
                    <a:pt x="1407478" y="1281300"/>
                  </a:lnTo>
                  <a:lnTo>
                    <a:pt x="1406117" y="1282147"/>
                  </a:lnTo>
                  <a:lnTo>
                    <a:pt x="1406994" y="1282721"/>
                  </a:lnTo>
                  <a:lnTo>
                    <a:pt x="1407781" y="1282843"/>
                  </a:lnTo>
                  <a:lnTo>
                    <a:pt x="1408598" y="1282843"/>
                  </a:lnTo>
                  <a:lnTo>
                    <a:pt x="1409565" y="1283084"/>
                  </a:lnTo>
                  <a:lnTo>
                    <a:pt x="1410110" y="1283599"/>
                  </a:lnTo>
                  <a:lnTo>
                    <a:pt x="1410322" y="1284143"/>
                  </a:lnTo>
                  <a:lnTo>
                    <a:pt x="1410564" y="1284597"/>
                  </a:lnTo>
                  <a:lnTo>
                    <a:pt x="1412893" y="1285081"/>
                  </a:lnTo>
                  <a:lnTo>
                    <a:pt x="1413892" y="1285777"/>
                  </a:lnTo>
                  <a:lnTo>
                    <a:pt x="1414708" y="1286624"/>
                  </a:lnTo>
                  <a:lnTo>
                    <a:pt x="1415797" y="1287320"/>
                  </a:lnTo>
                  <a:lnTo>
                    <a:pt x="1417340" y="1286987"/>
                  </a:lnTo>
                  <a:lnTo>
                    <a:pt x="1419821" y="1287350"/>
                  </a:lnTo>
                  <a:lnTo>
                    <a:pt x="1422362" y="1288106"/>
                  </a:lnTo>
                  <a:lnTo>
                    <a:pt x="1423421" y="1288953"/>
                  </a:lnTo>
                  <a:lnTo>
                    <a:pt x="1424117" y="1289861"/>
                  </a:lnTo>
                  <a:lnTo>
                    <a:pt x="1424691" y="1289437"/>
                  </a:lnTo>
                  <a:lnTo>
                    <a:pt x="1425084" y="1289226"/>
                  </a:lnTo>
                  <a:lnTo>
                    <a:pt x="1426173" y="1288953"/>
                  </a:lnTo>
                  <a:lnTo>
                    <a:pt x="1425962" y="1289347"/>
                  </a:lnTo>
                  <a:lnTo>
                    <a:pt x="1425841" y="1289498"/>
                  </a:lnTo>
                  <a:lnTo>
                    <a:pt x="1425720" y="1289589"/>
                  </a:lnTo>
                  <a:lnTo>
                    <a:pt x="1425508" y="1289861"/>
                  </a:lnTo>
                  <a:lnTo>
                    <a:pt x="1426204" y="1290678"/>
                  </a:lnTo>
                  <a:lnTo>
                    <a:pt x="1429168" y="1288530"/>
                  </a:lnTo>
                  <a:lnTo>
                    <a:pt x="1430348" y="1288167"/>
                  </a:lnTo>
                  <a:lnTo>
                    <a:pt x="1430348" y="1288923"/>
                  </a:lnTo>
                  <a:lnTo>
                    <a:pt x="1429017" y="1290678"/>
                  </a:lnTo>
                  <a:lnTo>
                    <a:pt x="1430469" y="1291767"/>
                  </a:lnTo>
                  <a:lnTo>
                    <a:pt x="1432919" y="1292705"/>
                  </a:lnTo>
                  <a:lnTo>
                    <a:pt x="1434553" y="1294035"/>
                  </a:lnTo>
                  <a:lnTo>
                    <a:pt x="1433616" y="1294308"/>
                  </a:lnTo>
                  <a:lnTo>
                    <a:pt x="1433101" y="1294701"/>
                  </a:lnTo>
                  <a:lnTo>
                    <a:pt x="1432012" y="1297877"/>
                  </a:lnTo>
                  <a:lnTo>
                    <a:pt x="1434614" y="1298906"/>
                  </a:lnTo>
                  <a:lnTo>
                    <a:pt x="1437760" y="1299360"/>
                  </a:lnTo>
                  <a:lnTo>
                    <a:pt x="1439333" y="1299995"/>
                  </a:lnTo>
                  <a:lnTo>
                    <a:pt x="1441814" y="1302113"/>
                  </a:lnTo>
                  <a:lnTo>
                    <a:pt x="1443115" y="1302506"/>
                  </a:lnTo>
                  <a:lnTo>
                    <a:pt x="1444778" y="1301689"/>
                  </a:lnTo>
                  <a:lnTo>
                    <a:pt x="1445474" y="1300661"/>
                  </a:lnTo>
                  <a:lnTo>
                    <a:pt x="1446351" y="1298815"/>
                  </a:lnTo>
                  <a:lnTo>
                    <a:pt x="1447138" y="1296698"/>
                  </a:lnTo>
                  <a:lnTo>
                    <a:pt x="1447501" y="1294883"/>
                  </a:lnTo>
                  <a:lnTo>
                    <a:pt x="1446260" y="1295548"/>
                  </a:lnTo>
                  <a:lnTo>
                    <a:pt x="1444657" y="1296940"/>
                  </a:lnTo>
                  <a:lnTo>
                    <a:pt x="1443507" y="1297393"/>
                  </a:lnTo>
                  <a:lnTo>
                    <a:pt x="1443507" y="1296637"/>
                  </a:lnTo>
                  <a:lnTo>
                    <a:pt x="1444445" y="1295881"/>
                  </a:lnTo>
                  <a:lnTo>
                    <a:pt x="1444778" y="1294943"/>
                  </a:lnTo>
                  <a:lnTo>
                    <a:pt x="1444445" y="1294005"/>
                  </a:lnTo>
                  <a:lnTo>
                    <a:pt x="1443507" y="1293279"/>
                  </a:lnTo>
                  <a:lnTo>
                    <a:pt x="1443507" y="1292372"/>
                  </a:lnTo>
                  <a:lnTo>
                    <a:pt x="1445262" y="1292160"/>
                  </a:lnTo>
                  <a:lnTo>
                    <a:pt x="1447985" y="1290496"/>
                  </a:lnTo>
                  <a:lnTo>
                    <a:pt x="1449558" y="1289861"/>
                  </a:lnTo>
                  <a:lnTo>
                    <a:pt x="1448923" y="1288953"/>
                  </a:lnTo>
                  <a:lnTo>
                    <a:pt x="1449951" y="1288137"/>
                  </a:lnTo>
                  <a:lnTo>
                    <a:pt x="1450405" y="1287048"/>
                  </a:lnTo>
                  <a:lnTo>
                    <a:pt x="1450102" y="1286079"/>
                  </a:lnTo>
                  <a:lnTo>
                    <a:pt x="1448923" y="1285656"/>
                  </a:lnTo>
                  <a:lnTo>
                    <a:pt x="1449346" y="1284779"/>
                  </a:lnTo>
                  <a:lnTo>
                    <a:pt x="1449467" y="1283932"/>
                  </a:lnTo>
                  <a:lnTo>
                    <a:pt x="1449346" y="1283084"/>
                  </a:lnTo>
                  <a:lnTo>
                    <a:pt x="1448923" y="1282207"/>
                  </a:lnTo>
                  <a:lnTo>
                    <a:pt x="1450677" y="1281905"/>
                  </a:lnTo>
                  <a:lnTo>
                    <a:pt x="1451706" y="1280725"/>
                  </a:lnTo>
                  <a:lnTo>
                    <a:pt x="1452462" y="1279454"/>
                  </a:lnTo>
                  <a:lnTo>
                    <a:pt x="1453400" y="1278849"/>
                  </a:lnTo>
                  <a:lnTo>
                    <a:pt x="1455185" y="1278486"/>
                  </a:lnTo>
                  <a:lnTo>
                    <a:pt x="1456637" y="1277488"/>
                  </a:lnTo>
                  <a:lnTo>
                    <a:pt x="1457605" y="1276006"/>
                  </a:lnTo>
                  <a:lnTo>
                    <a:pt x="1457968" y="1274251"/>
                  </a:lnTo>
                  <a:lnTo>
                    <a:pt x="1457060" y="1273132"/>
                  </a:lnTo>
                  <a:lnTo>
                    <a:pt x="1455033" y="1273434"/>
                  </a:lnTo>
                  <a:lnTo>
                    <a:pt x="1451736" y="1274705"/>
                  </a:lnTo>
                  <a:lnTo>
                    <a:pt x="1450375" y="1273888"/>
                  </a:lnTo>
                  <a:lnTo>
                    <a:pt x="1450980" y="1272739"/>
                  </a:lnTo>
                  <a:lnTo>
                    <a:pt x="1451917" y="1271498"/>
                  </a:lnTo>
                  <a:lnTo>
                    <a:pt x="1451736" y="1270409"/>
                  </a:lnTo>
                  <a:lnTo>
                    <a:pt x="1452886" y="1270228"/>
                  </a:lnTo>
                  <a:lnTo>
                    <a:pt x="1454338" y="1270318"/>
                  </a:lnTo>
                  <a:lnTo>
                    <a:pt x="1455850" y="1270651"/>
                  </a:lnTo>
                  <a:lnTo>
                    <a:pt x="1457211" y="1271256"/>
                  </a:lnTo>
                  <a:lnTo>
                    <a:pt x="1456758" y="1269380"/>
                  </a:lnTo>
                  <a:lnTo>
                    <a:pt x="1457060" y="1268685"/>
                  </a:lnTo>
                  <a:lnTo>
                    <a:pt x="1457847" y="1268624"/>
                  </a:lnTo>
                  <a:lnTo>
                    <a:pt x="1458906" y="1268715"/>
                  </a:lnTo>
                  <a:lnTo>
                    <a:pt x="1459843" y="1268080"/>
                  </a:lnTo>
                  <a:lnTo>
                    <a:pt x="1460358" y="1266688"/>
                  </a:lnTo>
                  <a:lnTo>
                    <a:pt x="1460630" y="1264480"/>
                  </a:lnTo>
                  <a:lnTo>
                    <a:pt x="1459238" y="1264480"/>
                  </a:lnTo>
                  <a:lnTo>
                    <a:pt x="1459753" y="1263300"/>
                  </a:lnTo>
                  <a:lnTo>
                    <a:pt x="1460660" y="1262211"/>
                  </a:lnTo>
                  <a:lnTo>
                    <a:pt x="1461658" y="1261424"/>
                  </a:lnTo>
                  <a:lnTo>
                    <a:pt x="1462415" y="1261122"/>
                  </a:lnTo>
                  <a:lnTo>
                    <a:pt x="1462717" y="1260517"/>
                  </a:lnTo>
                  <a:lnTo>
                    <a:pt x="1462868" y="1251442"/>
                  </a:lnTo>
                  <a:lnTo>
                    <a:pt x="1461991" y="1243001"/>
                  </a:lnTo>
                  <a:lnTo>
                    <a:pt x="1462838" y="1234410"/>
                  </a:lnTo>
                  <a:lnTo>
                    <a:pt x="1462838" y="1229993"/>
                  </a:lnTo>
                  <a:lnTo>
                    <a:pt x="1463443" y="1228844"/>
                  </a:lnTo>
                  <a:lnTo>
                    <a:pt x="1464956" y="1227452"/>
                  </a:lnTo>
                  <a:lnTo>
                    <a:pt x="1471853" y="1218226"/>
                  </a:lnTo>
                  <a:lnTo>
                    <a:pt x="1473396" y="1215200"/>
                  </a:lnTo>
                  <a:lnTo>
                    <a:pt x="1474485" y="1213597"/>
                  </a:lnTo>
                  <a:lnTo>
                    <a:pt x="1477208" y="1211237"/>
                  </a:lnTo>
                  <a:lnTo>
                    <a:pt x="1477934" y="1210118"/>
                  </a:lnTo>
                  <a:lnTo>
                    <a:pt x="1478176" y="1209120"/>
                  </a:lnTo>
                  <a:lnTo>
                    <a:pt x="1478357" y="1206972"/>
                  </a:lnTo>
                  <a:lnTo>
                    <a:pt x="1478630" y="1205943"/>
                  </a:lnTo>
                  <a:lnTo>
                    <a:pt x="1477904" y="1203009"/>
                  </a:lnTo>
                  <a:lnTo>
                    <a:pt x="1478630" y="1187520"/>
                  </a:lnTo>
                  <a:close/>
                  <a:moveTo>
                    <a:pt x="1144593" y="1095465"/>
                  </a:moveTo>
                  <a:lnTo>
                    <a:pt x="1143897" y="1095858"/>
                  </a:lnTo>
                  <a:lnTo>
                    <a:pt x="1143716" y="1096736"/>
                  </a:lnTo>
                  <a:lnTo>
                    <a:pt x="1142476" y="1096826"/>
                  </a:lnTo>
                  <a:lnTo>
                    <a:pt x="1142203" y="1096766"/>
                  </a:lnTo>
                  <a:lnTo>
                    <a:pt x="1141871" y="1096857"/>
                  </a:lnTo>
                  <a:lnTo>
                    <a:pt x="1141508" y="1097250"/>
                  </a:lnTo>
                  <a:lnTo>
                    <a:pt x="1140630" y="1097704"/>
                  </a:lnTo>
                  <a:lnTo>
                    <a:pt x="1137817" y="1097583"/>
                  </a:lnTo>
                  <a:lnTo>
                    <a:pt x="1136758" y="1098067"/>
                  </a:lnTo>
                  <a:lnTo>
                    <a:pt x="1136909" y="1098732"/>
                  </a:lnTo>
                  <a:lnTo>
                    <a:pt x="1139299" y="1099912"/>
                  </a:lnTo>
                  <a:lnTo>
                    <a:pt x="1140540" y="1100305"/>
                  </a:lnTo>
                  <a:lnTo>
                    <a:pt x="1141931" y="1099882"/>
                  </a:lnTo>
                  <a:lnTo>
                    <a:pt x="1143323" y="1099246"/>
                  </a:lnTo>
                  <a:lnTo>
                    <a:pt x="1145531" y="1098339"/>
                  </a:lnTo>
                  <a:lnTo>
                    <a:pt x="1145410" y="1096494"/>
                  </a:lnTo>
                  <a:lnTo>
                    <a:pt x="1144502" y="1095435"/>
                  </a:lnTo>
                  <a:close/>
                  <a:moveTo>
                    <a:pt x="392331" y="711453"/>
                  </a:moveTo>
                  <a:lnTo>
                    <a:pt x="390939" y="710122"/>
                  </a:lnTo>
                  <a:lnTo>
                    <a:pt x="389578" y="710274"/>
                  </a:lnTo>
                  <a:lnTo>
                    <a:pt x="388307" y="710667"/>
                  </a:lnTo>
                  <a:lnTo>
                    <a:pt x="387188" y="710122"/>
                  </a:lnTo>
                  <a:lnTo>
                    <a:pt x="384828" y="707642"/>
                  </a:lnTo>
                  <a:lnTo>
                    <a:pt x="381682" y="705282"/>
                  </a:lnTo>
                  <a:lnTo>
                    <a:pt x="378264" y="703618"/>
                  </a:lnTo>
                  <a:lnTo>
                    <a:pt x="375148" y="703225"/>
                  </a:lnTo>
                  <a:lnTo>
                    <a:pt x="377356" y="707823"/>
                  </a:lnTo>
                  <a:lnTo>
                    <a:pt x="378476" y="710909"/>
                  </a:lnTo>
                  <a:lnTo>
                    <a:pt x="378234" y="712270"/>
                  </a:lnTo>
                  <a:lnTo>
                    <a:pt x="377780" y="713450"/>
                  </a:lnTo>
                  <a:lnTo>
                    <a:pt x="379444" y="716021"/>
                  </a:lnTo>
                  <a:lnTo>
                    <a:pt x="381622" y="718411"/>
                  </a:lnTo>
                  <a:lnTo>
                    <a:pt x="383739" y="719803"/>
                  </a:lnTo>
                  <a:lnTo>
                    <a:pt x="389638" y="725944"/>
                  </a:lnTo>
                  <a:lnTo>
                    <a:pt x="390727" y="727820"/>
                  </a:lnTo>
                  <a:lnTo>
                    <a:pt x="391575" y="729574"/>
                  </a:lnTo>
                  <a:lnTo>
                    <a:pt x="392996" y="734172"/>
                  </a:lnTo>
                  <a:lnTo>
                    <a:pt x="394781" y="734929"/>
                  </a:lnTo>
                  <a:lnTo>
                    <a:pt x="396263" y="732811"/>
                  </a:lnTo>
                  <a:lnTo>
                    <a:pt x="397292" y="729332"/>
                  </a:lnTo>
                  <a:lnTo>
                    <a:pt x="398109" y="723705"/>
                  </a:lnTo>
                  <a:lnTo>
                    <a:pt x="397958" y="722616"/>
                  </a:lnTo>
                  <a:lnTo>
                    <a:pt x="397201" y="721406"/>
                  </a:lnTo>
                  <a:lnTo>
                    <a:pt x="394297" y="719803"/>
                  </a:lnTo>
                  <a:lnTo>
                    <a:pt x="393238" y="718865"/>
                  </a:lnTo>
                  <a:lnTo>
                    <a:pt x="393753" y="717685"/>
                  </a:lnTo>
                  <a:lnTo>
                    <a:pt x="393753" y="716778"/>
                  </a:lnTo>
                  <a:lnTo>
                    <a:pt x="392633" y="715779"/>
                  </a:lnTo>
                  <a:lnTo>
                    <a:pt x="392543" y="714479"/>
                  </a:lnTo>
                  <a:lnTo>
                    <a:pt x="392724" y="712966"/>
                  </a:lnTo>
                  <a:lnTo>
                    <a:pt x="392301" y="711302"/>
                  </a:lnTo>
                  <a:close/>
                  <a:moveTo>
                    <a:pt x="368160" y="678661"/>
                  </a:moveTo>
                  <a:lnTo>
                    <a:pt x="368795" y="677874"/>
                  </a:lnTo>
                  <a:lnTo>
                    <a:pt x="368735" y="677088"/>
                  </a:lnTo>
                  <a:lnTo>
                    <a:pt x="368251" y="676392"/>
                  </a:lnTo>
                  <a:lnTo>
                    <a:pt x="367525" y="675847"/>
                  </a:lnTo>
                  <a:lnTo>
                    <a:pt x="365709" y="675484"/>
                  </a:lnTo>
                  <a:lnTo>
                    <a:pt x="359901" y="676846"/>
                  </a:lnTo>
                  <a:lnTo>
                    <a:pt x="359901" y="677662"/>
                  </a:lnTo>
                  <a:lnTo>
                    <a:pt x="361021" y="678419"/>
                  </a:lnTo>
                  <a:lnTo>
                    <a:pt x="365105" y="682715"/>
                  </a:lnTo>
                  <a:lnTo>
                    <a:pt x="366647" y="683289"/>
                  </a:lnTo>
                  <a:lnTo>
                    <a:pt x="372274" y="682291"/>
                  </a:lnTo>
                  <a:lnTo>
                    <a:pt x="382015" y="688099"/>
                  </a:lnTo>
                  <a:lnTo>
                    <a:pt x="386583" y="688886"/>
                  </a:lnTo>
                  <a:lnTo>
                    <a:pt x="387037" y="689037"/>
                  </a:lnTo>
                  <a:lnTo>
                    <a:pt x="387521" y="689551"/>
                  </a:lnTo>
                  <a:lnTo>
                    <a:pt x="388580" y="689007"/>
                  </a:lnTo>
                  <a:lnTo>
                    <a:pt x="389336" y="688795"/>
                  </a:lnTo>
                  <a:lnTo>
                    <a:pt x="390274" y="688704"/>
                  </a:lnTo>
                  <a:lnTo>
                    <a:pt x="389124" y="686254"/>
                  </a:lnTo>
                  <a:lnTo>
                    <a:pt x="387218" y="684197"/>
                  </a:lnTo>
                  <a:lnTo>
                    <a:pt x="384859" y="682805"/>
                  </a:lnTo>
                  <a:lnTo>
                    <a:pt x="374724" y="681293"/>
                  </a:lnTo>
                  <a:lnTo>
                    <a:pt x="373061" y="680537"/>
                  </a:lnTo>
                  <a:lnTo>
                    <a:pt x="373061" y="679538"/>
                  </a:lnTo>
                  <a:lnTo>
                    <a:pt x="374482" y="679538"/>
                  </a:lnTo>
                  <a:lnTo>
                    <a:pt x="374482" y="678631"/>
                  </a:lnTo>
                  <a:lnTo>
                    <a:pt x="372032" y="679205"/>
                  </a:lnTo>
                  <a:lnTo>
                    <a:pt x="369158" y="680385"/>
                  </a:lnTo>
                  <a:lnTo>
                    <a:pt x="366496" y="680446"/>
                  </a:lnTo>
                  <a:lnTo>
                    <a:pt x="364742" y="677632"/>
                  </a:lnTo>
                  <a:lnTo>
                    <a:pt x="365770" y="677693"/>
                  </a:lnTo>
                  <a:lnTo>
                    <a:pt x="368160" y="678631"/>
                  </a:lnTo>
                  <a:close/>
                  <a:moveTo>
                    <a:pt x="285210" y="614044"/>
                  </a:moveTo>
                  <a:lnTo>
                    <a:pt x="281278" y="612501"/>
                  </a:lnTo>
                  <a:lnTo>
                    <a:pt x="279311" y="612198"/>
                  </a:lnTo>
                  <a:lnTo>
                    <a:pt x="277466" y="612501"/>
                  </a:lnTo>
                  <a:lnTo>
                    <a:pt x="276679" y="613711"/>
                  </a:lnTo>
                  <a:lnTo>
                    <a:pt x="277829" y="616192"/>
                  </a:lnTo>
                  <a:lnTo>
                    <a:pt x="285876" y="616283"/>
                  </a:lnTo>
                  <a:lnTo>
                    <a:pt x="288145" y="617129"/>
                  </a:lnTo>
                  <a:lnTo>
                    <a:pt x="287056" y="615405"/>
                  </a:lnTo>
                  <a:lnTo>
                    <a:pt x="285180" y="614074"/>
                  </a:lnTo>
                  <a:close/>
                  <a:moveTo>
                    <a:pt x="300639" y="582007"/>
                  </a:moveTo>
                  <a:lnTo>
                    <a:pt x="299550" y="581009"/>
                  </a:lnTo>
                  <a:lnTo>
                    <a:pt x="296131" y="579345"/>
                  </a:lnTo>
                  <a:lnTo>
                    <a:pt x="295103" y="578226"/>
                  </a:lnTo>
                  <a:lnTo>
                    <a:pt x="294982" y="576290"/>
                  </a:lnTo>
                  <a:lnTo>
                    <a:pt x="295375" y="574505"/>
                  </a:lnTo>
                  <a:lnTo>
                    <a:pt x="295133" y="572962"/>
                  </a:lnTo>
                  <a:lnTo>
                    <a:pt x="293076" y="571752"/>
                  </a:lnTo>
                  <a:lnTo>
                    <a:pt x="291261" y="571480"/>
                  </a:lnTo>
                  <a:lnTo>
                    <a:pt x="285513" y="571752"/>
                  </a:lnTo>
                  <a:lnTo>
                    <a:pt x="287207" y="573779"/>
                  </a:lnTo>
                  <a:lnTo>
                    <a:pt x="288750" y="578982"/>
                  </a:lnTo>
                  <a:lnTo>
                    <a:pt x="290353" y="581100"/>
                  </a:lnTo>
                  <a:lnTo>
                    <a:pt x="293076" y="579799"/>
                  </a:lnTo>
                  <a:lnTo>
                    <a:pt x="295647" y="581433"/>
                  </a:lnTo>
                  <a:lnTo>
                    <a:pt x="297765" y="584488"/>
                  </a:lnTo>
                  <a:lnTo>
                    <a:pt x="299247" y="587544"/>
                  </a:lnTo>
                  <a:lnTo>
                    <a:pt x="300911" y="588451"/>
                  </a:lnTo>
                  <a:lnTo>
                    <a:pt x="301395" y="586666"/>
                  </a:lnTo>
                  <a:lnTo>
                    <a:pt x="301153" y="583913"/>
                  </a:lnTo>
                  <a:lnTo>
                    <a:pt x="300669" y="582007"/>
                  </a:lnTo>
                  <a:close/>
                  <a:moveTo>
                    <a:pt x="204258" y="531820"/>
                  </a:moveTo>
                  <a:lnTo>
                    <a:pt x="203048" y="531245"/>
                  </a:lnTo>
                  <a:lnTo>
                    <a:pt x="199629" y="528009"/>
                  </a:lnTo>
                  <a:lnTo>
                    <a:pt x="199357" y="527646"/>
                  </a:lnTo>
                  <a:lnTo>
                    <a:pt x="196846" y="525831"/>
                  </a:lnTo>
                  <a:lnTo>
                    <a:pt x="192308" y="523622"/>
                  </a:lnTo>
                  <a:lnTo>
                    <a:pt x="191038" y="523350"/>
                  </a:lnTo>
                  <a:lnTo>
                    <a:pt x="190130" y="522563"/>
                  </a:lnTo>
                  <a:lnTo>
                    <a:pt x="189465" y="522563"/>
                  </a:lnTo>
                  <a:lnTo>
                    <a:pt x="189071" y="523441"/>
                  </a:lnTo>
                  <a:lnTo>
                    <a:pt x="188224" y="524227"/>
                  </a:lnTo>
                  <a:lnTo>
                    <a:pt x="188829" y="526194"/>
                  </a:lnTo>
                  <a:lnTo>
                    <a:pt x="189918" y="528372"/>
                  </a:lnTo>
                  <a:lnTo>
                    <a:pt x="190705" y="530641"/>
                  </a:lnTo>
                  <a:lnTo>
                    <a:pt x="190372" y="532788"/>
                  </a:lnTo>
                  <a:lnTo>
                    <a:pt x="192127" y="533938"/>
                  </a:lnTo>
                  <a:lnTo>
                    <a:pt x="197330" y="535390"/>
                  </a:lnTo>
                  <a:lnTo>
                    <a:pt x="205195" y="536056"/>
                  </a:lnTo>
                  <a:lnTo>
                    <a:pt x="207857" y="535330"/>
                  </a:lnTo>
                  <a:lnTo>
                    <a:pt x="208281" y="532788"/>
                  </a:lnTo>
                  <a:lnTo>
                    <a:pt x="207283" y="531760"/>
                  </a:lnTo>
                  <a:lnTo>
                    <a:pt x="204258" y="531881"/>
                  </a:lnTo>
                  <a:close/>
                  <a:moveTo>
                    <a:pt x="8682" y="373908"/>
                  </a:moveTo>
                  <a:lnTo>
                    <a:pt x="8501" y="373515"/>
                  </a:lnTo>
                  <a:lnTo>
                    <a:pt x="8289" y="373182"/>
                  </a:lnTo>
                  <a:lnTo>
                    <a:pt x="6413" y="372335"/>
                  </a:lnTo>
                  <a:lnTo>
                    <a:pt x="4114" y="372940"/>
                  </a:lnTo>
                  <a:lnTo>
                    <a:pt x="0" y="375118"/>
                  </a:lnTo>
                  <a:lnTo>
                    <a:pt x="0" y="376056"/>
                  </a:lnTo>
                  <a:lnTo>
                    <a:pt x="2541" y="375360"/>
                  </a:lnTo>
                  <a:lnTo>
                    <a:pt x="3509" y="375632"/>
                  </a:lnTo>
                  <a:lnTo>
                    <a:pt x="4114" y="376993"/>
                  </a:lnTo>
                  <a:lnTo>
                    <a:pt x="3781" y="377054"/>
                  </a:lnTo>
                  <a:lnTo>
                    <a:pt x="3055" y="376933"/>
                  </a:lnTo>
                  <a:lnTo>
                    <a:pt x="2723" y="376993"/>
                  </a:lnTo>
                  <a:lnTo>
                    <a:pt x="2723" y="377931"/>
                  </a:lnTo>
                  <a:lnTo>
                    <a:pt x="4477" y="377568"/>
                  </a:lnTo>
                  <a:lnTo>
                    <a:pt x="9650" y="375057"/>
                  </a:lnTo>
                  <a:lnTo>
                    <a:pt x="9650" y="374029"/>
                  </a:lnTo>
                  <a:lnTo>
                    <a:pt x="9015" y="374120"/>
                  </a:lnTo>
                  <a:lnTo>
                    <a:pt x="8682" y="373878"/>
                  </a:lnTo>
                  <a:close/>
                  <a:moveTo>
                    <a:pt x="1330609" y="303180"/>
                  </a:moveTo>
                  <a:lnTo>
                    <a:pt x="1314667" y="295345"/>
                  </a:lnTo>
                  <a:lnTo>
                    <a:pt x="1312852" y="295163"/>
                  </a:lnTo>
                  <a:lnTo>
                    <a:pt x="1307104" y="295708"/>
                  </a:lnTo>
                  <a:lnTo>
                    <a:pt x="1298724" y="293469"/>
                  </a:lnTo>
                  <a:lnTo>
                    <a:pt x="1297605" y="293742"/>
                  </a:lnTo>
                  <a:lnTo>
                    <a:pt x="1295245" y="294921"/>
                  </a:lnTo>
                  <a:lnTo>
                    <a:pt x="1294035" y="295194"/>
                  </a:lnTo>
                  <a:lnTo>
                    <a:pt x="1293067" y="295073"/>
                  </a:lnTo>
                  <a:lnTo>
                    <a:pt x="1290950" y="294377"/>
                  </a:lnTo>
                  <a:lnTo>
                    <a:pt x="1289830" y="294195"/>
                  </a:lnTo>
                  <a:lnTo>
                    <a:pt x="1288560" y="294437"/>
                  </a:lnTo>
                  <a:lnTo>
                    <a:pt x="1287380" y="294921"/>
                  </a:lnTo>
                  <a:lnTo>
                    <a:pt x="1286170" y="295194"/>
                  </a:lnTo>
                  <a:lnTo>
                    <a:pt x="1285777" y="295103"/>
                  </a:lnTo>
                  <a:lnTo>
                    <a:pt x="1284778" y="294891"/>
                  </a:lnTo>
                  <a:lnTo>
                    <a:pt x="1283841" y="294165"/>
                  </a:lnTo>
                  <a:lnTo>
                    <a:pt x="1282872" y="292350"/>
                  </a:lnTo>
                  <a:lnTo>
                    <a:pt x="1282146" y="291503"/>
                  </a:lnTo>
                  <a:lnTo>
                    <a:pt x="1279908" y="290444"/>
                  </a:lnTo>
                  <a:lnTo>
                    <a:pt x="1275521" y="289748"/>
                  </a:lnTo>
                  <a:lnTo>
                    <a:pt x="1273313" y="288478"/>
                  </a:lnTo>
                  <a:lnTo>
                    <a:pt x="1271982" y="286935"/>
                  </a:lnTo>
                  <a:lnTo>
                    <a:pt x="1269713" y="283517"/>
                  </a:lnTo>
                  <a:lnTo>
                    <a:pt x="1268291" y="282155"/>
                  </a:lnTo>
                  <a:lnTo>
                    <a:pt x="1268473" y="281701"/>
                  </a:lnTo>
                  <a:lnTo>
                    <a:pt x="1268715" y="281369"/>
                  </a:lnTo>
                  <a:lnTo>
                    <a:pt x="1269471" y="280915"/>
                  </a:lnTo>
                  <a:lnTo>
                    <a:pt x="1268805" y="278858"/>
                  </a:lnTo>
                  <a:lnTo>
                    <a:pt x="1266990" y="278253"/>
                  </a:lnTo>
                  <a:lnTo>
                    <a:pt x="1262634" y="277980"/>
                  </a:lnTo>
                  <a:lnTo>
                    <a:pt x="1262211" y="276407"/>
                  </a:lnTo>
                  <a:lnTo>
                    <a:pt x="1260244" y="276256"/>
                  </a:lnTo>
                  <a:lnTo>
                    <a:pt x="1258278" y="276801"/>
                  </a:lnTo>
                  <a:lnTo>
                    <a:pt x="1257885" y="276922"/>
                  </a:lnTo>
                  <a:lnTo>
                    <a:pt x="1256191" y="277799"/>
                  </a:lnTo>
                  <a:lnTo>
                    <a:pt x="1255737" y="278495"/>
                  </a:lnTo>
                  <a:lnTo>
                    <a:pt x="1255011" y="280552"/>
                  </a:lnTo>
                  <a:lnTo>
                    <a:pt x="1254497" y="281338"/>
                  </a:lnTo>
                  <a:lnTo>
                    <a:pt x="1253740" y="281671"/>
                  </a:lnTo>
                  <a:lnTo>
                    <a:pt x="1251683" y="281913"/>
                  </a:lnTo>
                  <a:lnTo>
                    <a:pt x="1250776" y="282216"/>
                  </a:lnTo>
                  <a:lnTo>
                    <a:pt x="1250140" y="282911"/>
                  </a:lnTo>
                  <a:lnTo>
                    <a:pt x="1249082" y="284908"/>
                  </a:lnTo>
                  <a:lnTo>
                    <a:pt x="1248507" y="285483"/>
                  </a:lnTo>
                  <a:lnTo>
                    <a:pt x="1247872" y="285423"/>
                  </a:lnTo>
                  <a:lnTo>
                    <a:pt x="1245179" y="284243"/>
                  </a:lnTo>
                  <a:lnTo>
                    <a:pt x="1236497" y="284182"/>
                  </a:lnTo>
                  <a:lnTo>
                    <a:pt x="1234924" y="283698"/>
                  </a:lnTo>
                  <a:lnTo>
                    <a:pt x="1233351" y="282942"/>
                  </a:lnTo>
                  <a:lnTo>
                    <a:pt x="1229509" y="280370"/>
                  </a:lnTo>
                  <a:lnTo>
                    <a:pt x="1228964" y="280310"/>
                  </a:lnTo>
                  <a:lnTo>
                    <a:pt x="1228057" y="281127"/>
                  </a:lnTo>
                  <a:lnTo>
                    <a:pt x="1228148" y="281913"/>
                  </a:lnTo>
                  <a:lnTo>
                    <a:pt x="1228450" y="282639"/>
                  </a:lnTo>
                  <a:lnTo>
                    <a:pt x="1228299" y="283365"/>
                  </a:lnTo>
                  <a:lnTo>
                    <a:pt x="1225213" y="285150"/>
                  </a:lnTo>
                  <a:lnTo>
                    <a:pt x="1222975" y="283547"/>
                  </a:lnTo>
                  <a:lnTo>
                    <a:pt x="1221825" y="279675"/>
                  </a:lnTo>
                  <a:lnTo>
                    <a:pt x="1221886" y="274683"/>
                  </a:lnTo>
                  <a:lnTo>
                    <a:pt x="1219707" y="274592"/>
                  </a:lnTo>
                  <a:lnTo>
                    <a:pt x="1213415" y="271325"/>
                  </a:lnTo>
                  <a:lnTo>
                    <a:pt x="1212296" y="271174"/>
                  </a:lnTo>
                  <a:lnTo>
                    <a:pt x="1209362" y="271416"/>
                  </a:lnTo>
                  <a:lnTo>
                    <a:pt x="1205157" y="270539"/>
                  </a:lnTo>
                  <a:lnTo>
                    <a:pt x="1204158" y="270781"/>
                  </a:lnTo>
                  <a:lnTo>
                    <a:pt x="1203583" y="272747"/>
                  </a:lnTo>
                  <a:lnTo>
                    <a:pt x="1204340" y="275016"/>
                  </a:lnTo>
                  <a:lnTo>
                    <a:pt x="1204733" y="277376"/>
                  </a:lnTo>
                  <a:lnTo>
                    <a:pt x="1203009" y="279493"/>
                  </a:lnTo>
                  <a:lnTo>
                    <a:pt x="1201738" y="279765"/>
                  </a:lnTo>
                  <a:lnTo>
                    <a:pt x="1197805" y="278434"/>
                  </a:lnTo>
                  <a:lnTo>
                    <a:pt x="1193328" y="278434"/>
                  </a:lnTo>
                  <a:lnTo>
                    <a:pt x="1192148" y="277920"/>
                  </a:lnTo>
                  <a:lnTo>
                    <a:pt x="1190848" y="275924"/>
                  </a:lnTo>
                  <a:lnTo>
                    <a:pt x="1191120" y="274199"/>
                  </a:lnTo>
                  <a:lnTo>
                    <a:pt x="1191634" y="272414"/>
                  </a:lnTo>
                  <a:lnTo>
                    <a:pt x="1190999" y="270176"/>
                  </a:lnTo>
                  <a:lnTo>
                    <a:pt x="1190606" y="270176"/>
                  </a:lnTo>
                  <a:lnTo>
                    <a:pt x="1189244" y="270993"/>
                  </a:lnTo>
                  <a:lnTo>
                    <a:pt x="1188791" y="271053"/>
                  </a:lnTo>
                  <a:lnTo>
                    <a:pt x="1188518" y="270539"/>
                  </a:lnTo>
                  <a:lnTo>
                    <a:pt x="1188337" y="269419"/>
                  </a:lnTo>
                  <a:lnTo>
                    <a:pt x="1188216" y="269117"/>
                  </a:lnTo>
                  <a:lnTo>
                    <a:pt x="1187883" y="268512"/>
                  </a:lnTo>
                  <a:lnTo>
                    <a:pt x="1187097" y="265880"/>
                  </a:lnTo>
                  <a:lnTo>
                    <a:pt x="1186673" y="265487"/>
                  </a:lnTo>
                  <a:lnTo>
                    <a:pt x="1185281" y="265033"/>
                  </a:lnTo>
                  <a:lnTo>
                    <a:pt x="1184737" y="264639"/>
                  </a:lnTo>
                  <a:lnTo>
                    <a:pt x="1184616" y="264065"/>
                  </a:lnTo>
                  <a:lnTo>
                    <a:pt x="1184828" y="262643"/>
                  </a:lnTo>
                  <a:lnTo>
                    <a:pt x="1184676" y="262038"/>
                  </a:lnTo>
                  <a:lnTo>
                    <a:pt x="1177991" y="256109"/>
                  </a:lnTo>
                  <a:lnTo>
                    <a:pt x="1176327" y="254233"/>
                  </a:lnTo>
                  <a:lnTo>
                    <a:pt x="1175692" y="252599"/>
                  </a:lnTo>
                  <a:lnTo>
                    <a:pt x="1176236" y="251299"/>
                  </a:lnTo>
                  <a:lnTo>
                    <a:pt x="1178021" y="251208"/>
                  </a:lnTo>
                  <a:lnTo>
                    <a:pt x="1178444" y="250058"/>
                  </a:lnTo>
                  <a:lnTo>
                    <a:pt x="1178081" y="249211"/>
                  </a:lnTo>
                  <a:lnTo>
                    <a:pt x="1173181" y="244432"/>
                  </a:lnTo>
                  <a:lnTo>
                    <a:pt x="1172485" y="243463"/>
                  </a:lnTo>
                  <a:lnTo>
                    <a:pt x="1172667" y="243403"/>
                  </a:lnTo>
                  <a:lnTo>
                    <a:pt x="1172667" y="242617"/>
                  </a:lnTo>
                  <a:lnTo>
                    <a:pt x="1172364" y="241437"/>
                  </a:lnTo>
                  <a:lnTo>
                    <a:pt x="1171729" y="240257"/>
                  </a:lnTo>
                  <a:lnTo>
                    <a:pt x="1170004" y="238714"/>
                  </a:lnTo>
                  <a:lnTo>
                    <a:pt x="1160778" y="234449"/>
                  </a:lnTo>
                  <a:lnTo>
                    <a:pt x="1159658" y="234267"/>
                  </a:lnTo>
                  <a:lnTo>
                    <a:pt x="1158842" y="234539"/>
                  </a:lnTo>
                  <a:lnTo>
                    <a:pt x="1156936" y="235750"/>
                  </a:lnTo>
                  <a:lnTo>
                    <a:pt x="1155877" y="235931"/>
                  </a:lnTo>
                  <a:lnTo>
                    <a:pt x="1155030" y="235840"/>
                  </a:lnTo>
                  <a:lnTo>
                    <a:pt x="1153003" y="235628"/>
                  </a:lnTo>
                  <a:lnTo>
                    <a:pt x="1150341" y="234267"/>
                  </a:lnTo>
                  <a:lnTo>
                    <a:pt x="1145561" y="230970"/>
                  </a:lnTo>
                  <a:lnTo>
                    <a:pt x="1145380" y="230849"/>
                  </a:lnTo>
                  <a:lnTo>
                    <a:pt x="1142627" y="229820"/>
                  </a:lnTo>
                  <a:lnTo>
                    <a:pt x="1139783" y="229548"/>
                  </a:lnTo>
                  <a:lnTo>
                    <a:pt x="1134005" y="230123"/>
                  </a:lnTo>
                  <a:lnTo>
                    <a:pt x="1134671" y="231423"/>
                  </a:lnTo>
                  <a:lnTo>
                    <a:pt x="1131827" y="231666"/>
                  </a:lnTo>
                  <a:lnTo>
                    <a:pt x="1131101" y="231938"/>
                  </a:lnTo>
                  <a:lnTo>
                    <a:pt x="1130556" y="232785"/>
                  </a:lnTo>
                  <a:lnTo>
                    <a:pt x="1130556" y="233692"/>
                  </a:lnTo>
                  <a:lnTo>
                    <a:pt x="1130345" y="234449"/>
                  </a:lnTo>
                  <a:lnTo>
                    <a:pt x="1129135" y="234872"/>
                  </a:lnTo>
                  <a:lnTo>
                    <a:pt x="1128167" y="236234"/>
                  </a:lnTo>
                  <a:lnTo>
                    <a:pt x="1126684" y="236748"/>
                  </a:lnTo>
                  <a:lnTo>
                    <a:pt x="1118093" y="237232"/>
                  </a:lnTo>
                  <a:lnTo>
                    <a:pt x="1116338" y="237777"/>
                  </a:lnTo>
                  <a:lnTo>
                    <a:pt x="1114947" y="233692"/>
                  </a:lnTo>
                  <a:lnTo>
                    <a:pt x="1113041" y="231938"/>
                  </a:lnTo>
                  <a:lnTo>
                    <a:pt x="1106658" y="230516"/>
                  </a:lnTo>
                  <a:lnTo>
                    <a:pt x="1104117" y="229427"/>
                  </a:lnTo>
                  <a:lnTo>
                    <a:pt x="1102362" y="227915"/>
                  </a:lnTo>
                  <a:lnTo>
                    <a:pt x="1099216" y="224042"/>
                  </a:lnTo>
                  <a:lnTo>
                    <a:pt x="1098036" y="223770"/>
                  </a:lnTo>
                  <a:lnTo>
                    <a:pt x="1095828" y="222530"/>
                  </a:lnTo>
                  <a:lnTo>
                    <a:pt x="1094739" y="222378"/>
                  </a:lnTo>
                  <a:lnTo>
                    <a:pt x="1093650" y="222923"/>
                  </a:lnTo>
                  <a:lnTo>
                    <a:pt x="1092349" y="224496"/>
                  </a:lnTo>
                  <a:lnTo>
                    <a:pt x="1091109" y="224980"/>
                  </a:lnTo>
                  <a:lnTo>
                    <a:pt x="1088930" y="224647"/>
                  </a:lnTo>
                  <a:lnTo>
                    <a:pt x="1086783" y="223649"/>
                  </a:lnTo>
                  <a:lnTo>
                    <a:pt x="1084514" y="223195"/>
                  </a:lnTo>
                  <a:lnTo>
                    <a:pt x="1082003" y="224375"/>
                  </a:lnTo>
                  <a:lnTo>
                    <a:pt x="1080823" y="225857"/>
                  </a:lnTo>
                  <a:lnTo>
                    <a:pt x="1080581" y="226886"/>
                  </a:lnTo>
                  <a:lnTo>
                    <a:pt x="1080248" y="227461"/>
                  </a:lnTo>
                  <a:lnTo>
                    <a:pt x="1078766" y="227642"/>
                  </a:lnTo>
                  <a:lnTo>
                    <a:pt x="1077889" y="227430"/>
                  </a:lnTo>
                  <a:lnTo>
                    <a:pt x="1074743" y="226069"/>
                  </a:lnTo>
                  <a:lnTo>
                    <a:pt x="1072867" y="226855"/>
                  </a:lnTo>
                  <a:lnTo>
                    <a:pt x="1070326" y="228701"/>
                  </a:lnTo>
                  <a:lnTo>
                    <a:pt x="1067724" y="230093"/>
                  </a:lnTo>
                  <a:lnTo>
                    <a:pt x="1065546" y="229578"/>
                  </a:lnTo>
                  <a:lnTo>
                    <a:pt x="1064911" y="228308"/>
                  </a:lnTo>
                  <a:lnTo>
                    <a:pt x="1065002" y="227037"/>
                  </a:lnTo>
                  <a:lnTo>
                    <a:pt x="1065335" y="225706"/>
                  </a:lnTo>
                  <a:lnTo>
                    <a:pt x="1065335" y="224224"/>
                  </a:lnTo>
                  <a:lnTo>
                    <a:pt x="1064941" y="222923"/>
                  </a:lnTo>
                  <a:lnTo>
                    <a:pt x="1060101" y="214846"/>
                  </a:lnTo>
                  <a:lnTo>
                    <a:pt x="1059012" y="213938"/>
                  </a:lnTo>
                  <a:lnTo>
                    <a:pt x="1058225" y="213303"/>
                  </a:lnTo>
                  <a:lnTo>
                    <a:pt x="1055110" y="212274"/>
                  </a:lnTo>
                  <a:lnTo>
                    <a:pt x="1053960" y="211639"/>
                  </a:lnTo>
                  <a:lnTo>
                    <a:pt x="1053325" y="211548"/>
                  </a:lnTo>
                  <a:lnTo>
                    <a:pt x="1052962" y="211911"/>
                  </a:lnTo>
                  <a:lnTo>
                    <a:pt x="1052538" y="212698"/>
                  </a:lnTo>
                  <a:lnTo>
                    <a:pt x="1052024" y="213424"/>
                  </a:lnTo>
                  <a:lnTo>
                    <a:pt x="1051298" y="213636"/>
                  </a:lnTo>
                  <a:lnTo>
                    <a:pt x="1049634" y="213333"/>
                  </a:lnTo>
                  <a:lnTo>
                    <a:pt x="1049150" y="212759"/>
                  </a:lnTo>
                  <a:lnTo>
                    <a:pt x="1048908" y="211427"/>
                  </a:lnTo>
                  <a:lnTo>
                    <a:pt x="1049210" y="209401"/>
                  </a:lnTo>
                  <a:lnTo>
                    <a:pt x="1050027" y="208917"/>
                  </a:lnTo>
                  <a:lnTo>
                    <a:pt x="1050481" y="208402"/>
                  </a:lnTo>
                  <a:lnTo>
                    <a:pt x="1049785" y="206285"/>
                  </a:lnTo>
                  <a:lnTo>
                    <a:pt x="1047849" y="204076"/>
                  </a:lnTo>
                  <a:lnTo>
                    <a:pt x="1045731" y="202171"/>
                  </a:lnTo>
                  <a:lnTo>
                    <a:pt x="1043553" y="202231"/>
                  </a:lnTo>
                  <a:lnTo>
                    <a:pt x="1039016" y="203411"/>
                  </a:lnTo>
                  <a:lnTo>
                    <a:pt x="1036686" y="202775"/>
                  </a:lnTo>
                  <a:lnTo>
                    <a:pt x="1034841" y="201505"/>
                  </a:lnTo>
                  <a:lnTo>
                    <a:pt x="1033359" y="200174"/>
                  </a:lnTo>
                  <a:lnTo>
                    <a:pt x="1029063" y="194456"/>
                  </a:lnTo>
                  <a:lnTo>
                    <a:pt x="1027853" y="193398"/>
                  </a:lnTo>
                  <a:lnTo>
                    <a:pt x="1024253" y="192429"/>
                  </a:lnTo>
                  <a:lnTo>
                    <a:pt x="1022256" y="191371"/>
                  </a:lnTo>
                  <a:lnTo>
                    <a:pt x="1018505" y="187982"/>
                  </a:lnTo>
                  <a:lnTo>
                    <a:pt x="1016690" y="187045"/>
                  </a:lnTo>
                  <a:lnTo>
                    <a:pt x="1016418" y="187045"/>
                  </a:lnTo>
                  <a:lnTo>
                    <a:pt x="1014573" y="187135"/>
                  </a:lnTo>
                  <a:lnTo>
                    <a:pt x="1010216" y="188557"/>
                  </a:lnTo>
                  <a:lnTo>
                    <a:pt x="1007947" y="188890"/>
                  </a:lnTo>
                  <a:lnTo>
                    <a:pt x="1005315" y="188557"/>
                  </a:lnTo>
                  <a:lnTo>
                    <a:pt x="1004408" y="187468"/>
                  </a:lnTo>
                  <a:lnTo>
                    <a:pt x="1004408" y="182114"/>
                  </a:lnTo>
                  <a:lnTo>
                    <a:pt x="1004166" y="181267"/>
                  </a:lnTo>
                  <a:lnTo>
                    <a:pt x="1003168" y="179754"/>
                  </a:lnTo>
                  <a:lnTo>
                    <a:pt x="1002956" y="179028"/>
                  </a:lnTo>
                  <a:lnTo>
                    <a:pt x="1003137" y="178151"/>
                  </a:lnTo>
                  <a:lnTo>
                    <a:pt x="1004045" y="177183"/>
                  </a:lnTo>
                  <a:lnTo>
                    <a:pt x="1004378" y="176427"/>
                  </a:lnTo>
                  <a:lnTo>
                    <a:pt x="1004922" y="174672"/>
                  </a:lnTo>
                  <a:lnTo>
                    <a:pt x="1005437" y="173462"/>
                  </a:lnTo>
                  <a:lnTo>
                    <a:pt x="1005709" y="172222"/>
                  </a:lnTo>
                  <a:lnTo>
                    <a:pt x="1005527" y="170346"/>
                  </a:lnTo>
                  <a:lnTo>
                    <a:pt x="1003954" y="167684"/>
                  </a:lnTo>
                  <a:lnTo>
                    <a:pt x="999205" y="165899"/>
                  </a:lnTo>
                  <a:lnTo>
                    <a:pt x="997874" y="163872"/>
                  </a:lnTo>
                  <a:lnTo>
                    <a:pt x="998297" y="161603"/>
                  </a:lnTo>
                  <a:lnTo>
                    <a:pt x="1002170" y="152709"/>
                  </a:lnTo>
                  <a:lnTo>
                    <a:pt x="1002260" y="151167"/>
                  </a:lnTo>
                  <a:lnTo>
                    <a:pt x="1002109" y="149957"/>
                  </a:lnTo>
                  <a:lnTo>
                    <a:pt x="1002230" y="148656"/>
                  </a:lnTo>
                  <a:lnTo>
                    <a:pt x="1004136" y="144844"/>
                  </a:lnTo>
                  <a:lnTo>
                    <a:pt x="1004741" y="144723"/>
                  </a:lnTo>
                  <a:lnTo>
                    <a:pt x="1005830" y="145812"/>
                  </a:lnTo>
                  <a:lnTo>
                    <a:pt x="1006072" y="143301"/>
                  </a:lnTo>
                  <a:lnTo>
                    <a:pt x="1006616" y="140336"/>
                  </a:lnTo>
                  <a:lnTo>
                    <a:pt x="1006767" y="137795"/>
                  </a:lnTo>
                  <a:lnTo>
                    <a:pt x="1005830" y="136676"/>
                  </a:lnTo>
                  <a:lnTo>
                    <a:pt x="1002684" y="137281"/>
                  </a:lnTo>
                  <a:lnTo>
                    <a:pt x="1001564" y="136857"/>
                  </a:lnTo>
                  <a:lnTo>
                    <a:pt x="1001110" y="134710"/>
                  </a:lnTo>
                  <a:lnTo>
                    <a:pt x="998388" y="135859"/>
                  </a:lnTo>
                  <a:lnTo>
                    <a:pt x="987649" y="145873"/>
                  </a:lnTo>
                  <a:lnTo>
                    <a:pt x="987074" y="146992"/>
                  </a:lnTo>
                  <a:lnTo>
                    <a:pt x="986802" y="148414"/>
                  </a:lnTo>
                  <a:lnTo>
                    <a:pt x="987044" y="149291"/>
                  </a:lnTo>
                  <a:lnTo>
                    <a:pt x="987437" y="150017"/>
                  </a:lnTo>
                  <a:lnTo>
                    <a:pt x="987528" y="151015"/>
                  </a:lnTo>
                  <a:lnTo>
                    <a:pt x="986771" y="155614"/>
                  </a:lnTo>
                  <a:lnTo>
                    <a:pt x="986076" y="157882"/>
                  </a:lnTo>
                  <a:lnTo>
                    <a:pt x="985168" y="159516"/>
                  </a:lnTo>
                  <a:lnTo>
                    <a:pt x="984079" y="160182"/>
                  </a:lnTo>
                  <a:lnTo>
                    <a:pt x="979874" y="160786"/>
                  </a:lnTo>
                  <a:lnTo>
                    <a:pt x="965838" y="167200"/>
                  </a:lnTo>
                  <a:lnTo>
                    <a:pt x="962843" y="167684"/>
                  </a:lnTo>
                  <a:lnTo>
                    <a:pt x="962086" y="167472"/>
                  </a:lnTo>
                  <a:lnTo>
                    <a:pt x="946991" y="163661"/>
                  </a:lnTo>
                  <a:lnTo>
                    <a:pt x="940789" y="164477"/>
                  </a:lnTo>
                  <a:lnTo>
                    <a:pt x="939307" y="164689"/>
                  </a:lnTo>
                  <a:lnTo>
                    <a:pt x="937945" y="164326"/>
                  </a:lnTo>
                  <a:lnTo>
                    <a:pt x="932288" y="161543"/>
                  </a:lnTo>
                  <a:lnTo>
                    <a:pt x="932379" y="161543"/>
                  </a:lnTo>
                  <a:lnTo>
                    <a:pt x="933105" y="161603"/>
                  </a:lnTo>
                  <a:lnTo>
                    <a:pt x="932985" y="159486"/>
                  </a:lnTo>
                  <a:lnTo>
                    <a:pt x="932440" y="157277"/>
                  </a:lnTo>
                  <a:lnTo>
                    <a:pt x="931956" y="157096"/>
                  </a:lnTo>
                  <a:lnTo>
                    <a:pt x="932379" y="155402"/>
                  </a:lnTo>
                  <a:lnTo>
                    <a:pt x="932863" y="154313"/>
                  </a:lnTo>
                  <a:lnTo>
                    <a:pt x="933589" y="153496"/>
                  </a:lnTo>
                  <a:lnTo>
                    <a:pt x="935435" y="151923"/>
                  </a:lnTo>
                  <a:lnTo>
                    <a:pt x="937764" y="150380"/>
                  </a:lnTo>
                  <a:lnTo>
                    <a:pt x="940184" y="149261"/>
                  </a:lnTo>
                  <a:lnTo>
                    <a:pt x="940184" y="148323"/>
                  </a:lnTo>
                  <a:lnTo>
                    <a:pt x="939519" y="147173"/>
                  </a:lnTo>
                  <a:lnTo>
                    <a:pt x="938914" y="145812"/>
                  </a:lnTo>
                  <a:lnTo>
                    <a:pt x="937219" y="139610"/>
                  </a:lnTo>
                  <a:lnTo>
                    <a:pt x="936221" y="139157"/>
                  </a:lnTo>
                  <a:lnTo>
                    <a:pt x="935132" y="139308"/>
                  </a:lnTo>
                  <a:lnTo>
                    <a:pt x="933136" y="140155"/>
                  </a:lnTo>
                  <a:lnTo>
                    <a:pt x="931714" y="139489"/>
                  </a:lnTo>
                  <a:lnTo>
                    <a:pt x="931956" y="136888"/>
                  </a:lnTo>
                  <a:lnTo>
                    <a:pt x="933892" y="131110"/>
                  </a:lnTo>
                  <a:lnTo>
                    <a:pt x="934437" y="128478"/>
                  </a:lnTo>
                  <a:lnTo>
                    <a:pt x="934890" y="127298"/>
                  </a:lnTo>
                  <a:lnTo>
                    <a:pt x="935949" y="125906"/>
                  </a:lnTo>
                  <a:lnTo>
                    <a:pt x="938308" y="124213"/>
                  </a:lnTo>
                  <a:lnTo>
                    <a:pt x="939307" y="123154"/>
                  </a:lnTo>
                  <a:lnTo>
                    <a:pt x="939549" y="121641"/>
                  </a:lnTo>
                  <a:lnTo>
                    <a:pt x="938914" y="120703"/>
                  </a:lnTo>
                  <a:lnTo>
                    <a:pt x="937673" y="119705"/>
                  </a:lnTo>
                  <a:lnTo>
                    <a:pt x="936312" y="118919"/>
                  </a:lnTo>
                  <a:lnTo>
                    <a:pt x="935404" y="118616"/>
                  </a:lnTo>
                  <a:lnTo>
                    <a:pt x="934164" y="119130"/>
                  </a:lnTo>
                  <a:lnTo>
                    <a:pt x="934104" y="120068"/>
                  </a:lnTo>
                  <a:lnTo>
                    <a:pt x="934225" y="121066"/>
                  </a:lnTo>
                  <a:lnTo>
                    <a:pt x="933499" y="121732"/>
                  </a:lnTo>
                  <a:lnTo>
                    <a:pt x="931653" y="120945"/>
                  </a:lnTo>
                  <a:lnTo>
                    <a:pt x="928900" y="115500"/>
                  </a:lnTo>
                  <a:lnTo>
                    <a:pt x="926813" y="113776"/>
                  </a:lnTo>
                  <a:lnTo>
                    <a:pt x="924665" y="112626"/>
                  </a:lnTo>
                  <a:lnTo>
                    <a:pt x="921337" y="109238"/>
                  </a:lnTo>
                  <a:lnTo>
                    <a:pt x="919401" y="108361"/>
                  </a:lnTo>
                  <a:lnTo>
                    <a:pt x="917254" y="108572"/>
                  </a:lnTo>
                  <a:lnTo>
                    <a:pt x="910871" y="111053"/>
                  </a:lnTo>
                  <a:lnTo>
                    <a:pt x="908602" y="111053"/>
                  </a:lnTo>
                  <a:lnTo>
                    <a:pt x="906787" y="110267"/>
                  </a:lnTo>
                  <a:lnTo>
                    <a:pt x="905062" y="109147"/>
                  </a:lnTo>
                  <a:lnTo>
                    <a:pt x="902975" y="108179"/>
                  </a:lnTo>
                  <a:lnTo>
                    <a:pt x="898800" y="107725"/>
                  </a:lnTo>
                  <a:lnTo>
                    <a:pt x="894414" y="108028"/>
                  </a:lnTo>
                  <a:lnTo>
                    <a:pt x="893052" y="108482"/>
                  </a:lnTo>
                  <a:lnTo>
                    <a:pt x="892236" y="109329"/>
                  </a:lnTo>
                  <a:lnTo>
                    <a:pt x="890421" y="112173"/>
                  </a:lnTo>
                  <a:lnTo>
                    <a:pt x="889967" y="113382"/>
                  </a:lnTo>
                  <a:lnTo>
                    <a:pt x="889695" y="113806"/>
                  </a:lnTo>
                  <a:lnTo>
                    <a:pt x="889241" y="114078"/>
                  </a:lnTo>
                  <a:lnTo>
                    <a:pt x="889059" y="113957"/>
                  </a:lnTo>
                  <a:lnTo>
                    <a:pt x="888908" y="114048"/>
                  </a:lnTo>
                  <a:lnTo>
                    <a:pt x="888515" y="114986"/>
                  </a:lnTo>
                  <a:lnTo>
                    <a:pt x="884976" y="111930"/>
                  </a:lnTo>
                  <a:lnTo>
                    <a:pt x="884098" y="106001"/>
                  </a:lnTo>
                  <a:lnTo>
                    <a:pt x="884098" y="99255"/>
                  </a:lnTo>
                  <a:lnTo>
                    <a:pt x="883221" y="93659"/>
                  </a:lnTo>
                  <a:lnTo>
                    <a:pt x="881587" y="90906"/>
                  </a:lnTo>
                  <a:lnTo>
                    <a:pt x="879591" y="89151"/>
                  </a:lnTo>
                  <a:lnTo>
                    <a:pt x="877382" y="88153"/>
                  </a:lnTo>
                  <a:lnTo>
                    <a:pt x="875114" y="87699"/>
                  </a:lnTo>
                  <a:lnTo>
                    <a:pt x="868609" y="87699"/>
                  </a:lnTo>
                  <a:lnTo>
                    <a:pt x="867369" y="86792"/>
                  </a:lnTo>
                  <a:lnTo>
                    <a:pt x="868337" y="85188"/>
                  </a:lnTo>
                  <a:lnTo>
                    <a:pt x="868488" y="84008"/>
                  </a:lnTo>
                  <a:lnTo>
                    <a:pt x="867823" y="83252"/>
                  </a:lnTo>
                  <a:lnTo>
                    <a:pt x="866371" y="82859"/>
                  </a:lnTo>
                  <a:lnTo>
                    <a:pt x="864949" y="82950"/>
                  </a:lnTo>
                  <a:lnTo>
                    <a:pt x="863920" y="83585"/>
                  </a:lnTo>
                  <a:lnTo>
                    <a:pt x="862922" y="84492"/>
                  </a:lnTo>
                  <a:lnTo>
                    <a:pt x="861561" y="85460"/>
                  </a:lnTo>
                  <a:lnTo>
                    <a:pt x="857144" y="86943"/>
                  </a:lnTo>
                  <a:lnTo>
                    <a:pt x="854694" y="87215"/>
                  </a:lnTo>
                  <a:lnTo>
                    <a:pt x="852939" y="86761"/>
                  </a:lnTo>
                  <a:lnTo>
                    <a:pt x="848553" y="84674"/>
                  </a:lnTo>
                  <a:lnTo>
                    <a:pt x="847221" y="83706"/>
                  </a:lnTo>
                  <a:lnTo>
                    <a:pt x="845649" y="81830"/>
                  </a:lnTo>
                  <a:lnTo>
                    <a:pt x="845134" y="80166"/>
                  </a:lnTo>
                  <a:lnTo>
                    <a:pt x="844983" y="75538"/>
                  </a:lnTo>
                  <a:lnTo>
                    <a:pt x="842321" y="67370"/>
                  </a:lnTo>
                  <a:lnTo>
                    <a:pt x="841504" y="63165"/>
                  </a:lnTo>
                  <a:lnTo>
                    <a:pt x="842896" y="60745"/>
                  </a:lnTo>
                  <a:lnTo>
                    <a:pt x="841746" y="57266"/>
                  </a:lnTo>
                  <a:lnTo>
                    <a:pt x="840960" y="55905"/>
                  </a:lnTo>
                  <a:lnTo>
                    <a:pt x="839598" y="55512"/>
                  </a:lnTo>
                  <a:lnTo>
                    <a:pt x="838176" y="55330"/>
                  </a:lnTo>
                  <a:lnTo>
                    <a:pt x="837390" y="54453"/>
                  </a:lnTo>
                  <a:lnTo>
                    <a:pt x="836150" y="51700"/>
                  </a:lnTo>
                  <a:lnTo>
                    <a:pt x="834758" y="49401"/>
                  </a:lnTo>
                  <a:lnTo>
                    <a:pt x="834758" y="49401"/>
                  </a:lnTo>
                  <a:lnTo>
                    <a:pt x="833094" y="46648"/>
                  </a:lnTo>
                  <a:lnTo>
                    <a:pt x="831370" y="45166"/>
                  </a:lnTo>
                  <a:lnTo>
                    <a:pt x="828768" y="44440"/>
                  </a:lnTo>
                  <a:lnTo>
                    <a:pt x="820782" y="46739"/>
                  </a:lnTo>
                  <a:lnTo>
                    <a:pt x="815518" y="48251"/>
                  </a:lnTo>
                  <a:lnTo>
                    <a:pt x="813189" y="49582"/>
                  </a:lnTo>
                  <a:lnTo>
                    <a:pt x="811343" y="51397"/>
                  </a:lnTo>
                  <a:lnTo>
                    <a:pt x="808318" y="56238"/>
                  </a:lnTo>
                  <a:lnTo>
                    <a:pt x="806987" y="57206"/>
                  </a:lnTo>
                  <a:lnTo>
                    <a:pt x="805414" y="56903"/>
                  </a:lnTo>
                  <a:lnTo>
                    <a:pt x="804960" y="56691"/>
                  </a:lnTo>
                  <a:lnTo>
                    <a:pt x="796913" y="53303"/>
                  </a:lnTo>
                  <a:lnTo>
                    <a:pt x="795038" y="51881"/>
                  </a:lnTo>
                  <a:lnTo>
                    <a:pt x="794493" y="50974"/>
                  </a:lnTo>
                  <a:lnTo>
                    <a:pt x="793132" y="48009"/>
                  </a:lnTo>
                  <a:lnTo>
                    <a:pt x="792557" y="47041"/>
                  </a:lnTo>
                  <a:lnTo>
                    <a:pt x="788806" y="43744"/>
                  </a:lnTo>
                  <a:lnTo>
                    <a:pt x="788141" y="42655"/>
                  </a:lnTo>
                  <a:lnTo>
                    <a:pt x="787838" y="41656"/>
                  </a:lnTo>
                  <a:lnTo>
                    <a:pt x="787324" y="40809"/>
                  </a:lnTo>
                  <a:lnTo>
                    <a:pt x="785993" y="40174"/>
                  </a:lnTo>
                  <a:lnTo>
                    <a:pt x="785025" y="40083"/>
                  </a:lnTo>
                  <a:lnTo>
                    <a:pt x="783149" y="40325"/>
                  </a:lnTo>
                  <a:lnTo>
                    <a:pt x="782332" y="40325"/>
                  </a:lnTo>
                  <a:lnTo>
                    <a:pt x="780850" y="40023"/>
                  </a:lnTo>
                  <a:lnTo>
                    <a:pt x="780094" y="39720"/>
                  </a:lnTo>
                  <a:lnTo>
                    <a:pt x="779579" y="38903"/>
                  </a:lnTo>
                  <a:lnTo>
                    <a:pt x="778702" y="37028"/>
                  </a:lnTo>
                  <a:lnTo>
                    <a:pt x="778248" y="36574"/>
                  </a:lnTo>
                  <a:lnTo>
                    <a:pt x="777038" y="35999"/>
                  </a:lnTo>
                  <a:lnTo>
                    <a:pt x="776706" y="35485"/>
                  </a:lnTo>
                  <a:lnTo>
                    <a:pt x="776827" y="34819"/>
                  </a:lnTo>
                  <a:lnTo>
                    <a:pt x="777613" y="33186"/>
                  </a:lnTo>
                  <a:lnTo>
                    <a:pt x="777734" y="32218"/>
                  </a:lnTo>
                  <a:lnTo>
                    <a:pt x="775737" y="25805"/>
                  </a:lnTo>
                  <a:lnTo>
                    <a:pt x="776312" y="24474"/>
                  </a:lnTo>
                  <a:lnTo>
                    <a:pt x="778642" y="22326"/>
                  </a:lnTo>
                  <a:lnTo>
                    <a:pt x="779247" y="21449"/>
                  </a:lnTo>
                  <a:lnTo>
                    <a:pt x="778914" y="18544"/>
                  </a:lnTo>
                  <a:lnTo>
                    <a:pt x="777341" y="16336"/>
                  </a:lnTo>
                  <a:lnTo>
                    <a:pt x="773741" y="12676"/>
                  </a:lnTo>
                  <a:lnTo>
                    <a:pt x="772742" y="9832"/>
                  </a:lnTo>
                  <a:lnTo>
                    <a:pt x="771744" y="3358"/>
                  </a:lnTo>
                  <a:lnTo>
                    <a:pt x="770201" y="0"/>
                  </a:lnTo>
                  <a:lnTo>
                    <a:pt x="770171" y="0"/>
                  </a:lnTo>
                  <a:lnTo>
                    <a:pt x="768689" y="999"/>
                  </a:lnTo>
                  <a:lnTo>
                    <a:pt x="764605" y="2753"/>
                  </a:lnTo>
                  <a:lnTo>
                    <a:pt x="756377" y="4719"/>
                  </a:lnTo>
                  <a:lnTo>
                    <a:pt x="750357" y="4054"/>
                  </a:lnTo>
                  <a:lnTo>
                    <a:pt x="749510" y="4175"/>
                  </a:lnTo>
                  <a:lnTo>
                    <a:pt x="748451" y="4719"/>
                  </a:lnTo>
                  <a:lnTo>
                    <a:pt x="731207" y="9923"/>
                  </a:lnTo>
                  <a:lnTo>
                    <a:pt x="715053" y="11798"/>
                  </a:lnTo>
                  <a:lnTo>
                    <a:pt x="711604" y="13674"/>
                  </a:lnTo>
                  <a:lnTo>
                    <a:pt x="709789" y="13341"/>
                  </a:lnTo>
                  <a:lnTo>
                    <a:pt x="690519" y="21086"/>
                  </a:lnTo>
                  <a:lnTo>
                    <a:pt x="687403" y="23748"/>
                  </a:lnTo>
                  <a:lnTo>
                    <a:pt x="684499" y="27499"/>
                  </a:lnTo>
                  <a:lnTo>
                    <a:pt x="682805" y="29102"/>
                  </a:lnTo>
                  <a:lnTo>
                    <a:pt x="680899" y="29737"/>
                  </a:lnTo>
                  <a:lnTo>
                    <a:pt x="678812" y="29919"/>
                  </a:lnTo>
                  <a:lnTo>
                    <a:pt x="677935" y="30251"/>
                  </a:lnTo>
                  <a:lnTo>
                    <a:pt x="675484" y="32037"/>
                  </a:lnTo>
                  <a:lnTo>
                    <a:pt x="675484" y="32793"/>
                  </a:lnTo>
                  <a:lnTo>
                    <a:pt x="675757" y="34819"/>
                  </a:lnTo>
                  <a:lnTo>
                    <a:pt x="677360" y="40204"/>
                  </a:lnTo>
                  <a:lnTo>
                    <a:pt x="677995" y="43532"/>
                  </a:lnTo>
                  <a:lnTo>
                    <a:pt x="677420" y="46315"/>
                  </a:lnTo>
                  <a:lnTo>
                    <a:pt x="676271" y="48463"/>
                  </a:lnTo>
                  <a:lnTo>
                    <a:pt x="674153" y="54241"/>
                  </a:lnTo>
                  <a:lnTo>
                    <a:pt x="673639" y="56843"/>
                  </a:lnTo>
                  <a:lnTo>
                    <a:pt x="673699" y="59868"/>
                  </a:lnTo>
                  <a:lnTo>
                    <a:pt x="674758" y="66069"/>
                  </a:lnTo>
                  <a:lnTo>
                    <a:pt x="675182" y="72906"/>
                  </a:lnTo>
                  <a:lnTo>
                    <a:pt x="675726" y="74933"/>
                  </a:lnTo>
                  <a:lnTo>
                    <a:pt x="678449" y="78805"/>
                  </a:lnTo>
                  <a:lnTo>
                    <a:pt x="675333" y="80983"/>
                  </a:lnTo>
                  <a:lnTo>
                    <a:pt x="674819" y="86912"/>
                  </a:lnTo>
                  <a:lnTo>
                    <a:pt x="674728" y="93719"/>
                  </a:lnTo>
                  <a:lnTo>
                    <a:pt x="672882" y="98620"/>
                  </a:lnTo>
                  <a:lnTo>
                    <a:pt x="672882" y="99588"/>
                  </a:lnTo>
                  <a:lnTo>
                    <a:pt x="678419" y="103641"/>
                  </a:lnTo>
                  <a:lnTo>
                    <a:pt x="678419" y="104549"/>
                  </a:lnTo>
                  <a:lnTo>
                    <a:pt x="676876" y="104277"/>
                  </a:lnTo>
                  <a:lnTo>
                    <a:pt x="674577" y="103823"/>
                  </a:lnTo>
                  <a:lnTo>
                    <a:pt x="672519" y="107665"/>
                  </a:lnTo>
                  <a:lnTo>
                    <a:pt x="671673" y="113322"/>
                  </a:lnTo>
                  <a:lnTo>
                    <a:pt x="671521" y="117981"/>
                  </a:lnTo>
                  <a:lnTo>
                    <a:pt x="672489" y="119160"/>
                  </a:lnTo>
                  <a:lnTo>
                    <a:pt x="676785" y="121097"/>
                  </a:lnTo>
                  <a:lnTo>
                    <a:pt x="677753" y="122942"/>
                  </a:lnTo>
                  <a:lnTo>
                    <a:pt x="678419" y="124576"/>
                  </a:lnTo>
                  <a:lnTo>
                    <a:pt x="679962" y="125725"/>
                  </a:lnTo>
                  <a:lnTo>
                    <a:pt x="681988" y="126330"/>
                  </a:lnTo>
                  <a:lnTo>
                    <a:pt x="683955" y="126330"/>
                  </a:lnTo>
                  <a:lnTo>
                    <a:pt x="683955" y="127449"/>
                  </a:lnTo>
                  <a:lnTo>
                    <a:pt x="681898" y="127449"/>
                  </a:lnTo>
                  <a:lnTo>
                    <a:pt x="682442" y="128538"/>
                  </a:lnTo>
                  <a:lnTo>
                    <a:pt x="682956" y="129144"/>
                  </a:lnTo>
                  <a:lnTo>
                    <a:pt x="683622" y="129385"/>
                  </a:lnTo>
                  <a:lnTo>
                    <a:pt x="684681" y="129325"/>
                  </a:lnTo>
                  <a:lnTo>
                    <a:pt x="684681" y="130323"/>
                  </a:lnTo>
                  <a:lnTo>
                    <a:pt x="683833" y="131110"/>
                  </a:lnTo>
                  <a:lnTo>
                    <a:pt x="682866" y="131170"/>
                  </a:lnTo>
                  <a:lnTo>
                    <a:pt x="672913" y="126693"/>
                  </a:lnTo>
                  <a:lnTo>
                    <a:pt x="669464" y="127147"/>
                  </a:lnTo>
                  <a:lnTo>
                    <a:pt x="666046" y="131412"/>
                  </a:lnTo>
                  <a:lnTo>
                    <a:pt x="663807" y="139036"/>
                  </a:lnTo>
                  <a:lnTo>
                    <a:pt x="662930" y="140276"/>
                  </a:lnTo>
                  <a:lnTo>
                    <a:pt x="661750" y="141184"/>
                  </a:lnTo>
                  <a:lnTo>
                    <a:pt x="656426" y="147234"/>
                  </a:lnTo>
                  <a:lnTo>
                    <a:pt x="643327" y="156975"/>
                  </a:lnTo>
                  <a:lnTo>
                    <a:pt x="639334" y="161059"/>
                  </a:lnTo>
                  <a:lnTo>
                    <a:pt x="636884" y="161815"/>
                  </a:lnTo>
                  <a:lnTo>
                    <a:pt x="634433" y="163600"/>
                  </a:lnTo>
                  <a:lnTo>
                    <a:pt x="592989" y="175942"/>
                  </a:lnTo>
                  <a:lnTo>
                    <a:pt x="584337" y="175852"/>
                  </a:lnTo>
                  <a:lnTo>
                    <a:pt x="576471" y="178514"/>
                  </a:lnTo>
                  <a:lnTo>
                    <a:pt x="572508" y="181025"/>
                  </a:lnTo>
                  <a:lnTo>
                    <a:pt x="569029" y="181993"/>
                  </a:lnTo>
                  <a:lnTo>
                    <a:pt x="556445" y="188951"/>
                  </a:lnTo>
                  <a:lnTo>
                    <a:pt x="555416" y="190282"/>
                  </a:lnTo>
                  <a:lnTo>
                    <a:pt x="542257" y="195878"/>
                  </a:lnTo>
                  <a:lnTo>
                    <a:pt x="541229" y="196786"/>
                  </a:lnTo>
                  <a:lnTo>
                    <a:pt x="540139" y="196786"/>
                  </a:lnTo>
                  <a:lnTo>
                    <a:pt x="535118" y="200537"/>
                  </a:lnTo>
                  <a:lnTo>
                    <a:pt x="533605" y="202171"/>
                  </a:lnTo>
                  <a:lnTo>
                    <a:pt x="529581" y="214725"/>
                  </a:lnTo>
                  <a:lnTo>
                    <a:pt x="524439" y="223467"/>
                  </a:lnTo>
                  <a:lnTo>
                    <a:pt x="524136" y="224496"/>
                  </a:lnTo>
                  <a:lnTo>
                    <a:pt x="524015" y="226039"/>
                  </a:lnTo>
                  <a:lnTo>
                    <a:pt x="524348" y="227249"/>
                  </a:lnTo>
                  <a:lnTo>
                    <a:pt x="525770" y="228156"/>
                  </a:lnTo>
                  <a:lnTo>
                    <a:pt x="526073" y="229004"/>
                  </a:lnTo>
                  <a:lnTo>
                    <a:pt x="526919" y="230365"/>
                  </a:lnTo>
                  <a:lnTo>
                    <a:pt x="528916" y="231484"/>
                  </a:lnTo>
                  <a:lnTo>
                    <a:pt x="531215" y="232180"/>
                  </a:lnTo>
                  <a:lnTo>
                    <a:pt x="532970" y="232301"/>
                  </a:lnTo>
                  <a:lnTo>
                    <a:pt x="535027" y="232301"/>
                  </a:lnTo>
                  <a:lnTo>
                    <a:pt x="542227" y="234570"/>
                  </a:lnTo>
                  <a:lnTo>
                    <a:pt x="550546" y="235598"/>
                  </a:lnTo>
                  <a:lnTo>
                    <a:pt x="558835" y="234509"/>
                  </a:lnTo>
                  <a:lnTo>
                    <a:pt x="565974" y="230365"/>
                  </a:lnTo>
                  <a:lnTo>
                    <a:pt x="564310" y="232512"/>
                  </a:lnTo>
                  <a:lnTo>
                    <a:pt x="562374" y="234116"/>
                  </a:lnTo>
                  <a:lnTo>
                    <a:pt x="557746" y="236294"/>
                  </a:lnTo>
                  <a:lnTo>
                    <a:pt x="545222" y="238926"/>
                  </a:lnTo>
                  <a:lnTo>
                    <a:pt x="532697" y="241528"/>
                  </a:lnTo>
                  <a:lnTo>
                    <a:pt x="526012" y="246005"/>
                  </a:lnTo>
                  <a:lnTo>
                    <a:pt x="523592" y="249484"/>
                  </a:lnTo>
                  <a:lnTo>
                    <a:pt x="522684" y="250149"/>
                  </a:lnTo>
                  <a:lnTo>
                    <a:pt x="520385" y="250724"/>
                  </a:lnTo>
                  <a:lnTo>
                    <a:pt x="517632" y="252962"/>
                  </a:lnTo>
                  <a:lnTo>
                    <a:pt x="512943" y="255020"/>
                  </a:lnTo>
                  <a:lnTo>
                    <a:pt x="496819" y="258529"/>
                  </a:lnTo>
                  <a:lnTo>
                    <a:pt x="494248" y="260677"/>
                  </a:lnTo>
                  <a:lnTo>
                    <a:pt x="484840" y="255413"/>
                  </a:lnTo>
                  <a:lnTo>
                    <a:pt x="479757" y="254324"/>
                  </a:lnTo>
                  <a:lnTo>
                    <a:pt x="476732" y="252479"/>
                  </a:lnTo>
                  <a:lnTo>
                    <a:pt x="474978" y="251813"/>
                  </a:lnTo>
                  <a:lnTo>
                    <a:pt x="468080" y="251813"/>
                  </a:lnTo>
                  <a:lnTo>
                    <a:pt x="463754" y="250028"/>
                  </a:lnTo>
                  <a:lnTo>
                    <a:pt x="461304" y="249514"/>
                  </a:lnTo>
                  <a:lnTo>
                    <a:pt x="457644" y="251359"/>
                  </a:lnTo>
                  <a:lnTo>
                    <a:pt x="455163" y="251147"/>
                  </a:lnTo>
                  <a:lnTo>
                    <a:pt x="450867" y="249937"/>
                  </a:lnTo>
                  <a:lnTo>
                    <a:pt x="433624" y="248969"/>
                  </a:lnTo>
                  <a:lnTo>
                    <a:pt x="421705" y="244764"/>
                  </a:lnTo>
                  <a:lnTo>
                    <a:pt x="408455" y="244129"/>
                  </a:lnTo>
                  <a:lnTo>
                    <a:pt x="406700" y="244886"/>
                  </a:lnTo>
                  <a:lnTo>
                    <a:pt x="405006" y="246610"/>
                  </a:lnTo>
                  <a:lnTo>
                    <a:pt x="404250" y="248546"/>
                  </a:lnTo>
                  <a:lnTo>
                    <a:pt x="405278" y="249968"/>
                  </a:lnTo>
                  <a:lnTo>
                    <a:pt x="405278" y="250936"/>
                  </a:lnTo>
                  <a:lnTo>
                    <a:pt x="403342" y="251420"/>
                  </a:lnTo>
                  <a:lnTo>
                    <a:pt x="402284" y="250845"/>
                  </a:lnTo>
                  <a:lnTo>
                    <a:pt x="401527" y="249817"/>
                  </a:lnTo>
                  <a:lnTo>
                    <a:pt x="400438" y="248969"/>
                  </a:lnTo>
                  <a:lnTo>
                    <a:pt x="399289" y="249151"/>
                  </a:lnTo>
                  <a:lnTo>
                    <a:pt x="398200" y="249786"/>
                  </a:lnTo>
                  <a:lnTo>
                    <a:pt x="397383" y="249907"/>
                  </a:lnTo>
                  <a:lnTo>
                    <a:pt x="397050" y="248455"/>
                  </a:lnTo>
                  <a:lnTo>
                    <a:pt x="397232" y="248031"/>
                  </a:lnTo>
                  <a:lnTo>
                    <a:pt x="397685" y="247305"/>
                  </a:lnTo>
                  <a:lnTo>
                    <a:pt x="398139" y="246186"/>
                  </a:lnTo>
                  <a:lnTo>
                    <a:pt x="398351" y="244643"/>
                  </a:lnTo>
                  <a:lnTo>
                    <a:pt x="397988" y="241528"/>
                  </a:lnTo>
                  <a:lnTo>
                    <a:pt x="397020" y="239380"/>
                  </a:lnTo>
                  <a:lnTo>
                    <a:pt x="389336" y="230486"/>
                  </a:lnTo>
                  <a:lnTo>
                    <a:pt x="387823" y="226553"/>
                  </a:lnTo>
                  <a:lnTo>
                    <a:pt x="386099" y="224042"/>
                  </a:lnTo>
                  <a:lnTo>
                    <a:pt x="384828" y="221229"/>
                  </a:lnTo>
                  <a:lnTo>
                    <a:pt x="385312" y="217871"/>
                  </a:lnTo>
                  <a:lnTo>
                    <a:pt x="385948" y="217145"/>
                  </a:lnTo>
                  <a:lnTo>
                    <a:pt x="386825" y="216842"/>
                  </a:lnTo>
                  <a:lnTo>
                    <a:pt x="389064" y="216842"/>
                  </a:lnTo>
                  <a:lnTo>
                    <a:pt x="389457" y="216207"/>
                  </a:lnTo>
                  <a:lnTo>
                    <a:pt x="389699" y="214876"/>
                  </a:lnTo>
                  <a:lnTo>
                    <a:pt x="390122" y="213545"/>
                  </a:lnTo>
                  <a:lnTo>
                    <a:pt x="392694" y="211851"/>
                  </a:lnTo>
                  <a:lnTo>
                    <a:pt x="392240" y="209370"/>
                  </a:lnTo>
                  <a:lnTo>
                    <a:pt x="390032" y="205044"/>
                  </a:lnTo>
                  <a:lnTo>
                    <a:pt x="389517" y="202685"/>
                  </a:lnTo>
                  <a:lnTo>
                    <a:pt x="389124" y="201656"/>
                  </a:lnTo>
                  <a:lnTo>
                    <a:pt x="388307" y="201233"/>
                  </a:lnTo>
                  <a:lnTo>
                    <a:pt x="376207" y="199176"/>
                  </a:lnTo>
                  <a:lnTo>
                    <a:pt x="374392" y="199357"/>
                  </a:lnTo>
                  <a:lnTo>
                    <a:pt x="369733" y="200688"/>
                  </a:lnTo>
                  <a:lnTo>
                    <a:pt x="368281" y="201717"/>
                  </a:lnTo>
                  <a:lnTo>
                    <a:pt x="365679" y="204984"/>
                  </a:lnTo>
                  <a:lnTo>
                    <a:pt x="364106" y="206345"/>
                  </a:lnTo>
                  <a:lnTo>
                    <a:pt x="362412" y="207071"/>
                  </a:lnTo>
                  <a:lnTo>
                    <a:pt x="361202" y="207011"/>
                  </a:lnTo>
                  <a:lnTo>
                    <a:pt x="359115" y="206254"/>
                  </a:lnTo>
                  <a:lnTo>
                    <a:pt x="357935" y="206073"/>
                  </a:lnTo>
                  <a:lnTo>
                    <a:pt x="356846" y="206405"/>
                  </a:lnTo>
                  <a:lnTo>
                    <a:pt x="355485" y="207797"/>
                  </a:lnTo>
                  <a:lnTo>
                    <a:pt x="354547" y="208130"/>
                  </a:lnTo>
                  <a:lnTo>
                    <a:pt x="353821" y="207797"/>
                  </a:lnTo>
                  <a:lnTo>
                    <a:pt x="353579" y="207102"/>
                  </a:lnTo>
                  <a:lnTo>
                    <a:pt x="353579" y="206405"/>
                  </a:lnTo>
                  <a:lnTo>
                    <a:pt x="353488" y="206073"/>
                  </a:lnTo>
                  <a:lnTo>
                    <a:pt x="351885" y="206194"/>
                  </a:lnTo>
                  <a:lnTo>
                    <a:pt x="344382" y="203804"/>
                  </a:lnTo>
                  <a:lnTo>
                    <a:pt x="337727" y="202866"/>
                  </a:lnTo>
                  <a:lnTo>
                    <a:pt x="335519" y="202171"/>
                  </a:lnTo>
                  <a:lnTo>
                    <a:pt x="335035" y="202110"/>
                  </a:lnTo>
                  <a:lnTo>
                    <a:pt x="333945" y="202291"/>
                  </a:lnTo>
                  <a:lnTo>
                    <a:pt x="333492" y="202171"/>
                  </a:lnTo>
                  <a:lnTo>
                    <a:pt x="333038" y="201505"/>
                  </a:lnTo>
                  <a:lnTo>
                    <a:pt x="332675" y="199781"/>
                  </a:lnTo>
                  <a:lnTo>
                    <a:pt x="332191" y="199176"/>
                  </a:lnTo>
                  <a:lnTo>
                    <a:pt x="331193" y="198813"/>
                  </a:lnTo>
                  <a:lnTo>
                    <a:pt x="328410" y="199176"/>
                  </a:lnTo>
                  <a:lnTo>
                    <a:pt x="327230" y="198873"/>
                  </a:lnTo>
                  <a:lnTo>
                    <a:pt x="325233" y="197542"/>
                  </a:lnTo>
                  <a:lnTo>
                    <a:pt x="324295" y="197240"/>
                  </a:lnTo>
                  <a:lnTo>
                    <a:pt x="321603" y="197572"/>
                  </a:lnTo>
                  <a:lnTo>
                    <a:pt x="321149" y="198661"/>
                  </a:lnTo>
                  <a:lnTo>
                    <a:pt x="321331" y="200779"/>
                  </a:lnTo>
                  <a:lnTo>
                    <a:pt x="320544" y="204137"/>
                  </a:lnTo>
                  <a:lnTo>
                    <a:pt x="324961" y="205861"/>
                  </a:lnTo>
                  <a:lnTo>
                    <a:pt x="328198" y="206466"/>
                  </a:lnTo>
                  <a:lnTo>
                    <a:pt x="329105" y="207465"/>
                  </a:lnTo>
                  <a:lnTo>
                    <a:pt x="329650" y="208856"/>
                  </a:lnTo>
                  <a:lnTo>
                    <a:pt x="330467" y="210459"/>
                  </a:lnTo>
                  <a:lnTo>
                    <a:pt x="331223" y="212486"/>
                  </a:lnTo>
                  <a:lnTo>
                    <a:pt x="331223" y="214846"/>
                  </a:lnTo>
                  <a:lnTo>
                    <a:pt x="330799" y="219323"/>
                  </a:lnTo>
                  <a:lnTo>
                    <a:pt x="330164" y="220745"/>
                  </a:lnTo>
                  <a:lnTo>
                    <a:pt x="327320" y="223135"/>
                  </a:lnTo>
                  <a:lnTo>
                    <a:pt x="326685" y="225131"/>
                  </a:lnTo>
                  <a:lnTo>
                    <a:pt x="327199" y="225978"/>
                  </a:lnTo>
                  <a:lnTo>
                    <a:pt x="329801" y="228913"/>
                  </a:lnTo>
                  <a:lnTo>
                    <a:pt x="330799" y="230425"/>
                  </a:lnTo>
                  <a:lnTo>
                    <a:pt x="331162" y="231545"/>
                  </a:lnTo>
                  <a:lnTo>
                    <a:pt x="331223" y="232271"/>
                  </a:lnTo>
                  <a:lnTo>
                    <a:pt x="331344" y="232966"/>
                  </a:lnTo>
                  <a:lnTo>
                    <a:pt x="332826" y="235417"/>
                  </a:lnTo>
                  <a:lnTo>
                    <a:pt x="333250" y="236324"/>
                  </a:lnTo>
                  <a:lnTo>
                    <a:pt x="333552" y="237292"/>
                  </a:lnTo>
                  <a:lnTo>
                    <a:pt x="333613" y="239319"/>
                  </a:lnTo>
                  <a:lnTo>
                    <a:pt x="333219" y="244160"/>
                  </a:lnTo>
                  <a:lnTo>
                    <a:pt x="333522" y="246005"/>
                  </a:lnTo>
                  <a:lnTo>
                    <a:pt x="334490" y="246973"/>
                  </a:lnTo>
                  <a:lnTo>
                    <a:pt x="335670" y="246852"/>
                  </a:lnTo>
                  <a:lnTo>
                    <a:pt x="337001" y="246307"/>
                  </a:lnTo>
                  <a:lnTo>
                    <a:pt x="338392" y="246005"/>
                  </a:lnTo>
                  <a:lnTo>
                    <a:pt x="338090" y="246549"/>
                  </a:lnTo>
                  <a:lnTo>
                    <a:pt x="337908" y="246942"/>
                  </a:lnTo>
                  <a:lnTo>
                    <a:pt x="337636" y="247941"/>
                  </a:lnTo>
                  <a:lnTo>
                    <a:pt x="339633" y="249030"/>
                  </a:lnTo>
                  <a:lnTo>
                    <a:pt x="341902" y="251329"/>
                  </a:lnTo>
                  <a:lnTo>
                    <a:pt x="343747" y="252418"/>
                  </a:lnTo>
                  <a:lnTo>
                    <a:pt x="344564" y="249968"/>
                  </a:lnTo>
                  <a:lnTo>
                    <a:pt x="345320" y="249968"/>
                  </a:lnTo>
                  <a:lnTo>
                    <a:pt x="346621" y="252872"/>
                  </a:lnTo>
                  <a:lnTo>
                    <a:pt x="346621" y="253749"/>
                  </a:lnTo>
                  <a:lnTo>
                    <a:pt x="344564" y="253749"/>
                  </a:lnTo>
                  <a:lnTo>
                    <a:pt x="345320" y="255988"/>
                  </a:lnTo>
                  <a:lnTo>
                    <a:pt x="346530" y="257561"/>
                  </a:lnTo>
                  <a:lnTo>
                    <a:pt x="349434" y="259679"/>
                  </a:lnTo>
                  <a:lnTo>
                    <a:pt x="348980" y="259890"/>
                  </a:lnTo>
                  <a:lnTo>
                    <a:pt x="348708" y="260102"/>
                  </a:lnTo>
                  <a:lnTo>
                    <a:pt x="348043" y="260737"/>
                  </a:lnTo>
                  <a:lnTo>
                    <a:pt x="349525" y="262401"/>
                  </a:lnTo>
                  <a:lnTo>
                    <a:pt x="351189" y="267604"/>
                  </a:lnTo>
                  <a:lnTo>
                    <a:pt x="352792" y="269329"/>
                  </a:lnTo>
                  <a:lnTo>
                    <a:pt x="353579" y="266666"/>
                  </a:lnTo>
                  <a:lnTo>
                    <a:pt x="355757" y="266727"/>
                  </a:lnTo>
                  <a:lnTo>
                    <a:pt x="358358" y="267877"/>
                  </a:lnTo>
                  <a:lnTo>
                    <a:pt x="360476" y="268481"/>
                  </a:lnTo>
                  <a:lnTo>
                    <a:pt x="360476" y="269359"/>
                  </a:lnTo>
                  <a:lnTo>
                    <a:pt x="356846" y="268361"/>
                  </a:lnTo>
                  <a:lnTo>
                    <a:pt x="355031" y="268481"/>
                  </a:lnTo>
                  <a:lnTo>
                    <a:pt x="354244" y="269843"/>
                  </a:lnTo>
                  <a:lnTo>
                    <a:pt x="354395" y="272384"/>
                  </a:lnTo>
                  <a:lnTo>
                    <a:pt x="354849" y="275167"/>
                  </a:lnTo>
                  <a:lnTo>
                    <a:pt x="355515" y="277829"/>
                  </a:lnTo>
                  <a:lnTo>
                    <a:pt x="356362" y="280068"/>
                  </a:lnTo>
                  <a:lnTo>
                    <a:pt x="356876" y="279372"/>
                  </a:lnTo>
                  <a:lnTo>
                    <a:pt x="357118" y="279160"/>
                  </a:lnTo>
                  <a:lnTo>
                    <a:pt x="358358" y="280068"/>
                  </a:lnTo>
                  <a:lnTo>
                    <a:pt x="356392" y="281308"/>
                  </a:lnTo>
                  <a:lnTo>
                    <a:pt x="355696" y="282185"/>
                  </a:lnTo>
                  <a:lnTo>
                    <a:pt x="355000" y="284000"/>
                  </a:lnTo>
                  <a:lnTo>
                    <a:pt x="354517" y="285816"/>
                  </a:lnTo>
                  <a:lnTo>
                    <a:pt x="354426" y="287389"/>
                  </a:lnTo>
                  <a:lnTo>
                    <a:pt x="354970" y="288448"/>
                  </a:lnTo>
                  <a:lnTo>
                    <a:pt x="356392" y="288720"/>
                  </a:lnTo>
                  <a:lnTo>
                    <a:pt x="355938" y="290142"/>
                  </a:lnTo>
                  <a:lnTo>
                    <a:pt x="355727" y="291654"/>
                  </a:lnTo>
                  <a:lnTo>
                    <a:pt x="355636" y="295012"/>
                  </a:lnTo>
                  <a:lnTo>
                    <a:pt x="355938" y="296192"/>
                  </a:lnTo>
                  <a:lnTo>
                    <a:pt x="356664" y="297614"/>
                  </a:lnTo>
                  <a:lnTo>
                    <a:pt x="357390" y="298430"/>
                  </a:lnTo>
                  <a:lnTo>
                    <a:pt x="357693" y="297856"/>
                  </a:lnTo>
                  <a:lnTo>
                    <a:pt x="358479" y="295677"/>
                  </a:lnTo>
                  <a:lnTo>
                    <a:pt x="360355" y="294679"/>
                  </a:lnTo>
                  <a:lnTo>
                    <a:pt x="362624" y="294679"/>
                  </a:lnTo>
                  <a:lnTo>
                    <a:pt x="364560" y="295526"/>
                  </a:lnTo>
                  <a:lnTo>
                    <a:pt x="364560" y="296404"/>
                  </a:lnTo>
                  <a:lnTo>
                    <a:pt x="362110" y="295345"/>
                  </a:lnTo>
                  <a:lnTo>
                    <a:pt x="360748" y="296011"/>
                  </a:lnTo>
                  <a:lnTo>
                    <a:pt x="360113" y="298098"/>
                  </a:lnTo>
                  <a:lnTo>
                    <a:pt x="359024" y="306235"/>
                  </a:lnTo>
                  <a:lnTo>
                    <a:pt x="359448" y="307052"/>
                  </a:lnTo>
                  <a:lnTo>
                    <a:pt x="360658" y="307355"/>
                  </a:lnTo>
                  <a:lnTo>
                    <a:pt x="361172" y="308141"/>
                  </a:lnTo>
                  <a:lnTo>
                    <a:pt x="361081" y="309381"/>
                  </a:lnTo>
                  <a:lnTo>
                    <a:pt x="360506" y="310985"/>
                  </a:lnTo>
                  <a:lnTo>
                    <a:pt x="359629" y="309775"/>
                  </a:lnTo>
                  <a:lnTo>
                    <a:pt x="358963" y="311196"/>
                  </a:lnTo>
                  <a:lnTo>
                    <a:pt x="358147" y="317943"/>
                  </a:lnTo>
                  <a:lnTo>
                    <a:pt x="357481" y="319576"/>
                  </a:lnTo>
                  <a:lnTo>
                    <a:pt x="356422" y="320847"/>
                  </a:lnTo>
                  <a:lnTo>
                    <a:pt x="355031" y="321452"/>
                  </a:lnTo>
                  <a:lnTo>
                    <a:pt x="355031" y="322481"/>
                  </a:lnTo>
                  <a:lnTo>
                    <a:pt x="357451" y="323055"/>
                  </a:lnTo>
                  <a:lnTo>
                    <a:pt x="358661" y="325233"/>
                  </a:lnTo>
                  <a:lnTo>
                    <a:pt x="359084" y="328561"/>
                  </a:lnTo>
                  <a:lnTo>
                    <a:pt x="359145" y="332433"/>
                  </a:lnTo>
                  <a:lnTo>
                    <a:pt x="359992" y="335761"/>
                  </a:lnTo>
                  <a:lnTo>
                    <a:pt x="363743" y="338846"/>
                  </a:lnTo>
                  <a:lnTo>
                    <a:pt x="364590" y="342144"/>
                  </a:lnTo>
                  <a:lnTo>
                    <a:pt x="365135" y="342991"/>
                  </a:lnTo>
                  <a:lnTo>
                    <a:pt x="366375" y="343747"/>
                  </a:lnTo>
                  <a:lnTo>
                    <a:pt x="369854" y="344685"/>
                  </a:lnTo>
                  <a:lnTo>
                    <a:pt x="370399" y="345229"/>
                  </a:lnTo>
                  <a:lnTo>
                    <a:pt x="370731" y="346016"/>
                  </a:lnTo>
                  <a:lnTo>
                    <a:pt x="370852" y="346893"/>
                  </a:lnTo>
                  <a:lnTo>
                    <a:pt x="371125" y="347559"/>
                  </a:lnTo>
                  <a:lnTo>
                    <a:pt x="371699" y="347347"/>
                  </a:lnTo>
                  <a:lnTo>
                    <a:pt x="372183" y="346802"/>
                  </a:lnTo>
                  <a:lnTo>
                    <a:pt x="372183" y="346470"/>
                  </a:lnTo>
                  <a:lnTo>
                    <a:pt x="376056" y="346802"/>
                  </a:lnTo>
                  <a:lnTo>
                    <a:pt x="378294" y="347861"/>
                  </a:lnTo>
                  <a:lnTo>
                    <a:pt x="379867" y="350281"/>
                  </a:lnTo>
                  <a:lnTo>
                    <a:pt x="376177" y="349011"/>
                  </a:lnTo>
                  <a:lnTo>
                    <a:pt x="365377" y="351219"/>
                  </a:lnTo>
                  <a:lnTo>
                    <a:pt x="357421" y="350281"/>
                  </a:lnTo>
                  <a:lnTo>
                    <a:pt x="356422" y="350493"/>
                  </a:lnTo>
                  <a:lnTo>
                    <a:pt x="355817" y="350614"/>
                  </a:lnTo>
                  <a:lnTo>
                    <a:pt x="350947" y="353065"/>
                  </a:lnTo>
                  <a:lnTo>
                    <a:pt x="343021" y="354214"/>
                  </a:lnTo>
                  <a:lnTo>
                    <a:pt x="335640" y="354123"/>
                  </a:lnTo>
                  <a:lnTo>
                    <a:pt x="331404" y="353034"/>
                  </a:lnTo>
                  <a:lnTo>
                    <a:pt x="329136" y="350644"/>
                  </a:lnTo>
                  <a:lnTo>
                    <a:pt x="329136" y="347377"/>
                  </a:lnTo>
                  <a:lnTo>
                    <a:pt x="331616" y="343596"/>
                  </a:lnTo>
                  <a:lnTo>
                    <a:pt x="330890" y="342628"/>
                  </a:lnTo>
                  <a:lnTo>
                    <a:pt x="330557" y="341902"/>
                  </a:lnTo>
                  <a:lnTo>
                    <a:pt x="330557" y="341297"/>
                  </a:lnTo>
                  <a:lnTo>
                    <a:pt x="330890" y="340692"/>
                  </a:lnTo>
                  <a:lnTo>
                    <a:pt x="320635" y="342567"/>
                  </a:lnTo>
                  <a:lnTo>
                    <a:pt x="321270" y="343596"/>
                  </a:lnTo>
                  <a:lnTo>
                    <a:pt x="317489" y="343596"/>
                  </a:lnTo>
                  <a:lnTo>
                    <a:pt x="316581" y="344050"/>
                  </a:lnTo>
                  <a:lnTo>
                    <a:pt x="316400" y="345018"/>
                  </a:lnTo>
                  <a:lnTo>
                    <a:pt x="316400" y="346016"/>
                  </a:lnTo>
                  <a:lnTo>
                    <a:pt x="316067" y="346470"/>
                  </a:lnTo>
                  <a:lnTo>
                    <a:pt x="314524" y="346893"/>
                  </a:lnTo>
                  <a:lnTo>
                    <a:pt x="313374" y="347922"/>
                  </a:lnTo>
                  <a:lnTo>
                    <a:pt x="312618" y="349162"/>
                  </a:lnTo>
                  <a:lnTo>
                    <a:pt x="312285" y="350312"/>
                  </a:lnTo>
                  <a:lnTo>
                    <a:pt x="313254" y="352006"/>
                  </a:lnTo>
                  <a:lnTo>
                    <a:pt x="315129" y="356180"/>
                  </a:lnTo>
                  <a:lnTo>
                    <a:pt x="316067" y="356997"/>
                  </a:lnTo>
                  <a:lnTo>
                    <a:pt x="317216" y="357058"/>
                  </a:lnTo>
                  <a:lnTo>
                    <a:pt x="318275" y="357390"/>
                  </a:lnTo>
                  <a:lnTo>
                    <a:pt x="319183" y="358268"/>
                  </a:lnTo>
                  <a:lnTo>
                    <a:pt x="319939" y="359871"/>
                  </a:lnTo>
                  <a:lnTo>
                    <a:pt x="318699" y="359024"/>
                  </a:lnTo>
                  <a:lnTo>
                    <a:pt x="318275" y="358601"/>
                  </a:lnTo>
                  <a:lnTo>
                    <a:pt x="317852" y="357965"/>
                  </a:lnTo>
                  <a:lnTo>
                    <a:pt x="317186" y="357965"/>
                  </a:lnTo>
                  <a:lnTo>
                    <a:pt x="317549" y="360204"/>
                  </a:lnTo>
                  <a:lnTo>
                    <a:pt x="319032" y="362684"/>
                  </a:lnTo>
                  <a:lnTo>
                    <a:pt x="318487" y="363774"/>
                  </a:lnTo>
                  <a:lnTo>
                    <a:pt x="321300" y="365589"/>
                  </a:lnTo>
                  <a:lnTo>
                    <a:pt x="318185" y="367434"/>
                  </a:lnTo>
                  <a:lnTo>
                    <a:pt x="317186" y="368432"/>
                  </a:lnTo>
                  <a:lnTo>
                    <a:pt x="317579" y="365377"/>
                  </a:lnTo>
                  <a:lnTo>
                    <a:pt x="316974" y="363501"/>
                  </a:lnTo>
                  <a:lnTo>
                    <a:pt x="314373" y="359871"/>
                  </a:lnTo>
                  <a:lnTo>
                    <a:pt x="314706" y="359327"/>
                  </a:lnTo>
                  <a:lnTo>
                    <a:pt x="315129" y="357965"/>
                  </a:lnTo>
                  <a:lnTo>
                    <a:pt x="313889" y="357542"/>
                  </a:lnTo>
                  <a:lnTo>
                    <a:pt x="313011" y="356513"/>
                  </a:lnTo>
                  <a:lnTo>
                    <a:pt x="312497" y="355122"/>
                  </a:lnTo>
                  <a:lnTo>
                    <a:pt x="312346" y="353609"/>
                  </a:lnTo>
                  <a:lnTo>
                    <a:pt x="310228" y="350009"/>
                  </a:lnTo>
                  <a:lnTo>
                    <a:pt x="309956" y="349374"/>
                  </a:lnTo>
                  <a:lnTo>
                    <a:pt x="305146" y="349828"/>
                  </a:lnTo>
                  <a:lnTo>
                    <a:pt x="300669" y="351280"/>
                  </a:lnTo>
                  <a:lnTo>
                    <a:pt x="301486" y="353276"/>
                  </a:lnTo>
                  <a:lnTo>
                    <a:pt x="302030" y="354245"/>
                  </a:lnTo>
                  <a:lnTo>
                    <a:pt x="302726" y="355122"/>
                  </a:lnTo>
                  <a:lnTo>
                    <a:pt x="301455" y="353881"/>
                  </a:lnTo>
                  <a:lnTo>
                    <a:pt x="300215" y="353760"/>
                  </a:lnTo>
                  <a:lnTo>
                    <a:pt x="299035" y="354577"/>
                  </a:lnTo>
                  <a:lnTo>
                    <a:pt x="297916" y="356150"/>
                  </a:lnTo>
                  <a:lnTo>
                    <a:pt x="298793" y="356876"/>
                  </a:lnTo>
                  <a:lnTo>
                    <a:pt x="299217" y="357027"/>
                  </a:lnTo>
                  <a:lnTo>
                    <a:pt x="299217" y="357996"/>
                  </a:lnTo>
                  <a:lnTo>
                    <a:pt x="297704" y="358782"/>
                  </a:lnTo>
                  <a:lnTo>
                    <a:pt x="296827" y="357965"/>
                  </a:lnTo>
                  <a:lnTo>
                    <a:pt x="296283" y="356211"/>
                  </a:lnTo>
                  <a:lnTo>
                    <a:pt x="295859" y="354154"/>
                  </a:lnTo>
                  <a:lnTo>
                    <a:pt x="295920" y="355878"/>
                  </a:lnTo>
                  <a:lnTo>
                    <a:pt x="295587" y="357300"/>
                  </a:lnTo>
                  <a:lnTo>
                    <a:pt x="294861" y="358359"/>
                  </a:lnTo>
                  <a:lnTo>
                    <a:pt x="293772" y="358933"/>
                  </a:lnTo>
                  <a:lnTo>
                    <a:pt x="293560" y="357451"/>
                  </a:lnTo>
                  <a:lnTo>
                    <a:pt x="293197" y="355878"/>
                  </a:lnTo>
                  <a:lnTo>
                    <a:pt x="292531" y="354668"/>
                  </a:lnTo>
                  <a:lnTo>
                    <a:pt x="291382" y="354184"/>
                  </a:lnTo>
                  <a:lnTo>
                    <a:pt x="291049" y="353428"/>
                  </a:lnTo>
                  <a:lnTo>
                    <a:pt x="290504" y="350160"/>
                  </a:lnTo>
                  <a:lnTo>
                    <a:pt x="290020" y="349404"/>
                  </a:lnTo>
                  <a:lnTo>
                    <a:pt x="287752" y="350433"/>
                  </a:lnTo>
                  <a:lnTo>
                    <a:pt x="285695" y="352399"/>
                  </a:lnTo>
                  <a:lnTo>
                    <a:pt x="283819" y="353579"/>
                  </a:lnTo>
                  <a:lnTo>
                    <a:pt x="282034" y="352248"/>
                  </a:lnTo>
                  <a:lnTo>
                    <a:pt x="284847" y="349374"/>
                  </a:lnTo>
                  <a:lnTo>
                    <a:pt x="285362" y="348587"/>
                  </a:lnTo>
                  <a:lnTo>
                    <a:pt x="285725" y="347801"/>
                  </a:lnTo>
                  <a:lnTo>
                    <a:pt x="286178" y="347075"/>
                  </a:lnTo>
                  <a:lnTo>
                    <a:pt x="286935" y="346500"/>
                  </a:lnTo>
                  <a:lnTo>
                    <a:pt x="286935" y="345441"/>
                  </a:lnTo>
                  <a:lnTo>
                    <a:pt x="285604" y="345653"/>
                  </a:lnTo>
                  <a:lnTo>
                    <a:pt x="284605" y="345229"/>
                  </a:lnTo>
                  <a:lnTo>
                    <a:pt x="283879" y="344201"/>
                  </a:lnTo>
                  <a:lnTo>
                    <a:pt x="283516" y="342567"/>
                  </a:lnTo>
                  <a:lnTo>
                    <a:pt x="282125" y="345109"/>
                  </a:lnTo>
                  <a:lnTo>
                    <a:pt x="279493" y="347498"/>
                  </a:lnTo>
                  <a:lnTo>
                    <a:pt x="276468" y="349344"/>
                  </a:lnTo>
                  <a:lnTo>
                    <a:pt x="273836" y="350312"/>
                  </a:lnTo>
                  <a:lnTo>
                    <a:pt x="272959" y="348406"/>
                  </a:lnTo>
                  <a:lnTo>
                    <a:pt x="270750" y="348103"/>
                  </a:lnTo>
                  <a:lnTo>
                    <a:pt x="266273" y="349344"/>
                  </a:lnTo>
                  <a:lnTo>
                    <a:pt x="268239" y="350191"/>
                  </a:lnTo>
                  <a:lnTo>
                    <a:pt x="269086" y="350312"/>
                  </a:lnTo>
                  <a:lnTo>
                    <a:pt x="269086" y="351249"/>
                  </a:lnTo>
                  <a:lnTo>
                    <a:pt x="267665" y="352732"/>
                  </a:lnTo>
                  <a:lnTo>
                    <a:pt x="260858" y="356634"/>
                  </a:lnTo>
                  <a:lnTo>
                    <a:pt x="259073" y="357179"/>
                  </a:lnTo>
                  <a:lnTo>
                    <a:pt x="258014" y="357935"/>
                  </a:lnTo>
                  <a:lnTo>
                    <a:pt x="257258" y="358782"/>
                  </a:lnTo>
                  <a:lnTo>
                    <a:pt x="254868" y="362261"/>
                  </a:lnTo>
                  <a:lnTo>
                    <a:pt x="252932" y="364227"/>
                  </a:lnTo>
                  <a:lnTo>
                    <a:pt x="251299" y="364893"/>
                  </a:lnTo>
                  <a:lnTo>
                    <a:pt x="247305" y="364711"/>
                  </a:lnTo>
                  <a:lnTo>
                    <a:pt x="246882" y="365740"/>
                  </a:lnTo>
                  <a:lnTo>
                    <a:pt x="246942" y="367737"/>
                  </a:lnTo>
                  <a:lnTo>
                    <a:pt x="246670" y="369037"/>
                  </a:lnTo>
                  <a:lnTo>
                    <a:pt x="245278" y="367978"/>
                  </a:lnTo>
                  <a:lnTo>
                    <a:pt x="244432" y="366950"/>
                  </a:lnTo>
                  <a:lnTo>
                    <a:pt x="243584" y="366133"/>
                  </a:lnTo>
                  <a:lnTo>
                    <a:pt x="242616" y="365649"/>
                  </a:lnTo>
                  <a:lnTo>
                    <a:pt x="241437" y="365589"/>
                  </a:lnTo>
                  <a:lnTo>
                    <a:pt x="242223" y="364893"/>
                  </a:lnTo>
                  <a:lnTo>
                    <a:pt x="242798" y="364106"/>
                  </a:lnTo>
                  <a:lnTo>
                    <a:pt x="243191" y="363108"/>
                  </a:lnTo>
                  <a:lnTo>
                    <a:pt x="243494" y="361837"/>
                  </a:lnTo>
                  <a:lnTo>
                    <a:pt x="237746" y="359266"/>
                  </a:lnTo>
                  <a:lnTo>
                    <a:pt x="235326" y="357572"/>
                  </a:lnTo>
                  <a:lnTo>
                    <a:pt x="234025" y="356967"/>
                  </a:lnTo>
                  <a:lnTo>
                    <a:pt x="233541" y="356543"/>
                  </a:lnTo>
                  <a:lnTo>
                    <a:pt x="233208" y="355666"/>
                  </a:lnTo>
                  <a:lnTo>
                    <a:pt x="233420" y="354971"/>
                  </a:lnTo>
                  <a:lnTo>
                    <a:pt x="233723" y="354335"/>
                  </a:lnTo>
                  <a:lnTo>
                    <a:pt x="233571" y="353609"/>
                  </a:lnTo>
                  <a:lnTo>
                    <a:pt x="233148" y="352490"/>
                  </a:lnTo>
                  <a:lnTo>
                    <a:pt x="232149" y="348315"/>
                  </a:lnTo>
                  <a:lnTo>
                    <a:pt x="225615" y="343112"/>
                  </a:lnTo>
                  <a:lnTo>
                    <a:pt x="224950" y="341720"/>
                  </a:lnTo>
                  <a:lnTo>
                    <a:pt x="223407" y="340087"/>
                  </a:lnTo>
                  <a:lnTo>
                    <a:pt x="221592" y="338635"/>
                  </a:lnTo>
                  <a:lnTo>
                    <a:pt x="220109" y="337757"/>
                  </a:lnTo>
                  <a:lnTo>
                    <a:pt x="220109" y="336880"/>
                  </a:lnTo>
                  <a:lnTo>
                    <a:pt x="220503" y="336668"/>
                  </a:lnTo>
                  <a:lnTo>
                    <a:pt x="221471" y="335912"/>
                  </a:lnTo>
                  <a:lnTo>
                    <a:pt x="221350" y="334944"/>
                  </a:lnTo>
                  <a:lnTo>
                    <a:pt x="221350" y="334097"/>
                  </a:lnTo>
                  <a:lnTo>
                    <a:pt x="221471" y="332947"/>
                  </a:lnTo>
                  <a:lnTo>
                    <a:pt x="219474" y="332252"/>
                  </a:lnTo>
                  <a:lnTo>
                    <a:pt x="214362" y="332040"/>
                  </a:lnTo>
                  <a:lnTo>
                    <a:pt x="211790" y="331132"/>
                  </a:lnTo>
                  <a:lnTo>
                    <a:pt x="210459" y="330073"/>
                  </a:lnTo>
                  <a:lnTo>
                    <a:pt x="210459" y="329196"/>
                  </a:lnTo>
                  <a:lnTo>
                    <a:pt x="212153" y="327956"/>
                  </a:lnTo>
                  <a:lnTo>
                    <a:pt x="212940" y="327563"/>
                  </a:lnTo>
                  <a:lnTo>
                    <a:pt x="213908" y="327290"/>
                  </a:lnTo>
                  <a:lnTo>
                    <a:pt x="213908" y="326625"/>
                  </a:lnTo>
                  <a:lnTo>
                    <a:pt x="213787" y="326443"/>
                  </a:lnTo>
                  <a:lnTo>
                    <a:pt x="213545" y="326443"/>
                  </a:lnTo>
                  <a:lnTo>
                    <a:pt x="213151" y="326322"/>
                  </a:lnTo>
                  <a:lnTo>
                    <a:pt x="213908" y="325354"/>
                  </a:lnTo>
                  <a:lnTo>
                    <a:pt x="212910" y="324568"/>
                  </a:lnTo>
                  <a:lnTo>
                    <a:pt x="211851" y="324296"/>
                  </a:lnTo>
                  <a:lnTo>
                    <a:pt x="210792" y="324568"/>
                  </a:lnTo>
                  <a:lnTo>
                    <a:pt x="209794" y="325354"/>
                  </a:lnTo>
                  <a:lnTo>
                    <a:pt x="208160" y="324991"/>
                  </a:lnTo>
                  <a:lnTo>
                    <a:pt x="206194" y="327653"/>
                  </a:lnTo>
                  <a:lnTo>
                    <a:pt x="202866" y="333976"/>
                  </a:lnTo>
                  <a:lnTo>
                    <a:pt x="202110" y="333976"/>
                  </a:lnTo>
                  <a:lnTo>
                    <a:pt x="202110" y="332947"/>
                  </a:lnTo>
                  <a:lnTo>
                    <a:pt x="204258" y="330316"/>
                  </a:lnTo>
                  <a:lnTo>
                    <a:pt x="204923" y="329196"/>
                  </a:lnTo>
                  <a:lnTo>
                    <a:pt x="206224" y="325536"/>
                  </a:lnTo>
                  <a:lnTo>
                    <a:pt x="206980" y="324386"/>
                  </a:lnTo>
                  <a:lnTo>
                    <a:pt x="205619" y="323358"/>
                  </a:lnTo>
                  <a:lnTo>
                    <a:pt x="205619" y="322481"/>
                  </a:lnTo>
                  <a:lnTo>
                    <a:pt x="206315" y="321119"/>
                  </a:lnTo>
                  <a:lnTo>
                    <a:pt x="206254" y="319637"/>
                  </a:lnTo>
                  <a:lnTo>
                    <a:pt x="205558" y="318366"/>
                  </a:lnTo>
                  <a:lnTo>
                    <a:pt x="204318" y="317610"/>
                  </a:lnTo>
                  <a:lnTo>
                    <a:pt x="203048" y="317973"/>
                  </a:lnTo>
                  <a:lnTo>
                    <a:pt x="201172" y="320060"/>
                  </a:lnTo>
                  <a:lnTo>
                    <a:pt x="200143" y="319606"/>
                  </a:lnTo>
                  <a:lnTo>
                    <a:pt x="199266" y="320665"/>
                  </a:lnTo>
                  <a:lnTo>
                    <a:pt x="196786" y="322632"/>
                  </a:lnTo>
                  <a:lnTo>
                    <a:pt x="193791" y="326080"/>
                  </a:lnTo>
                  <a:lnTo>
                    <a:pt x="192974" y="327411"/>
                  </a:lnTo>
                  <a:lnTo>
                    <a:pt x="192611" y="329196"/>
                  </a:lnTo>
                  <a:lnTo>
                    <a:pt x="192097" y="328289"/>
                  </a:lnTo>
                  <a:lnTo>
                    <a:pt x="191975" y="327895"/>
                  </a:lnTo>
                  <a:lnTo>
                    <a:pt x="191855" y="327260"/>
                  </a:lnTo>
                  <a:lnTo>
                    <a:pt x="193155" y="325838"/>
                  </a:lnTo>
                  <a:lnTo>
                    <a:pt x="193881" y="323297"/>
                  </a:lnTo>
                  <a:lnTo>
                    <a:pt x="193942" y="320544"/>
                  </a:lnTo>
                  <a:lnTo>
                    <a:pt x="193276" y="318517"/>
                  </a:lnTo>
                  <a:lnTo>
                    <a:pt x="191643" y="318185"/>
                  </a:lnTo>
                  <a:lnTo>
                    <a:pt x="188648" y="321633"/>
                  </a:lnTo>
                  <a:lnTo>
                    <a:pt x="187710" y="321391"/>
                  </a:lnTo>
                  <a:lnTo>
                    <a:pt x="187014" y="321391"/>
                  </a:lnTo>
                  <a:lnTo>
                    <a:pt x="185835" y="322238"/>
                  </a:lnTo>
                  <a:lnTo>
                    <a:pt x="177334" y="325173"/>
                  </a:lnTo>
                  <a:lnTo>
                    <a:pt x="176638" y="325626"/>
                  </a:lnTo>
                  <a:lnTo>
                    <a:pt x="175640" y="326746"/>
                  </a:lnTo>
                  <a:lnTo>
                    <a:pt x="174732" y="327290"/>
                  </a:lnTo>
                  <a:lnTo>
                    <a:pt x="173492" y="327381"/>
                  </a:lnTo>
                  <a:lnTo>
                    <a:pt x="171132" y="327200"/>
                  </a:lnTo>
                  <a:lnTo>
                    <a:pt x="171465" y="326534"/>
                  </a:lnTo>
                  <a:lnTo>
                    <a:pt x="171647" y="326080"/>
                  </a:lnTo>
                  <a:lnTo>
                    <a:pt x="171919" y="325717"/>
                  </a:lnTo>
                  <a:lnTo>
                    <a:pt x="172494" y="325294"/>
                  </a:lnTo>
                  <a:lnTo>
                    <a:pt x="171102" y="325173"/>
                  </a:lnTo>
                  <a:lnTo>
                    <a:pt x="167623" y="323297"/>
                  </a:lnTo>
                  <a:lnTo>
                    <a:pt x="164447" y="323116"/>
                  </a:lnTo>
                  <a:lnTo>
                    <a:pt x="163509" y="322420"/>
                  </a:lnTo>
                  <a:lnTo>
                    <a:pt x="162904" y="322420"/>
                  </a:lnTo>
                  <a:lnTo>
                    <a:pt x="162359" y="323570"/>
                  </a:lnTo>
                  <a:lnTo>
                    <a:pt x="160181" y="327200"/>
                  </a:lnTo>
                  <a:lnTo>
                    <a:pt x="157277" y="328440"/>
                  </a:lnTo>
                  <a:lnTo>
                    <a:pt x="156249" y="329620"/>
                  </a:lnTo>
                  <a:lnTo>
                    <a:pt x="156672" y="331919"/>
                  </a:lnTo>
                  <a:lnTo>
                    <a:pt x="160151" y="335912"/>
                  </a:lnTo>
                  <a:lnTo>
                    <a:pt x="161603" y="336789"/>
                  </a:lnTo>
                  <a:lnTo>
                    <a:pt x="156339" y="337667"/>
                  </a:lnTo>
                  <a:lnTo>
                    <a:pt x="155916" y="338635"/>
                  </a:lnTo>
                  <a:lnTo>
                    <a:pt x="156339" y="340782"/>
                  </a:lnTo>
                  <a:lnTo>
                    <a:pt x="157338" y="344020"/>
                  </a:lnTo>
                  <a:lnTo>
                    <a:pt x="155916" y="344746"/>
                  </a:lnTo>
                  <a:lnTo>
                    <a:pt x="152982" y="344746"/>
                  </a:lnTo>
                  <a:lnTo>
                    <a:pt x="150501" y="344050"/>
                  </a:lnTo>
                  <a:lnTo>
                    <a:pt x="150501" y="341690"/>
                  </a:lnTo>
                  <a:lnTo>
                    <a:pt x="146961" y="342598"/>
                  </a:lnTo>
                  <a:lnTo>
                    <a:pt x="145661" y="342537"/>
                  </a:lnTo>
                  <a:lnTo>
                    <a:pt x="144541" y="342023"/>
                  </a:lnTo>
                  <a:lnTo>
                    <a:pt x="142212" y="340117"/>
                  </a:lnTo>
                  <a:lnTo>
                    <a:pt x="141093" y="339693"/>
                  </a:lnTo>
                  <a:lnTo>
                    <a:pt x="136404" y="339935"/>
                  </a:lnTo>
                  <a:lnTo>
                    <a:pt x="134528" y="339391"/>
                  </a:lnTo>
                  <a:lnTo>
                    <a:pt x="133227" y="337697"/>
                  </a:lnTo>
                  <a:lnTo>
                    <a:pt x="133227" y="339330"/>
                  </a:lnTo>
                  <a:lnTo>
                    <a:pt x="132985" y="339996"/>
                  </a:lnTo>
                  <a:lnTo>
                    <a:pt x="132562" y="340661"/>
                  </a:lnTo>
                  <a:lnTo>
                    <a:pt x="131321" y="339784"/>
                  </a:lnTo>
                  <a:lnTo>
                    <a:pt x="130535" y="341357"/>
                  </a:lnTo>
                  <a:lnTo>
                    <a:pt x="130232" y="344050"/>
                  </a:lnTo>
                  <a:lnTo>
                    <a:pt x="130474" y="346500"/>
                  </a:lnTo>
                  <a:lnTo>
                    <a:pt x="129688" y="345744"/>
                  </a:lnTo>
                  <a:lnTo>
                    <a:pt x="129385" y="345320"/>
                  </a:lnTo>
                  <a:lnTo>
                    <a:pt x="129053" y="344503"/>
                  </a:lnTo>
                  <a:lnTo>
                    <a:pt x="128417" y="344503"/>
                  </a:lnTo>
                  <a:lnTo>
                    <a:pt x="128962" y="347347"/>
                  </a:lnTo>
                  <a:lnTo>
                    <a:pt x="129325" y="348497"/>
                  </a:lnTo>
                  <a:lnTo>
                    <a:pt x="129809" y="349344"/>
                  </a:lnTo>
                  <a:lnTo>
                    <a:pt x="129053" y="350312"/>
                  </a:lnTo>
                  <a:lnTo>
                    <a:pt x="129809" y="351249"/>
                  </a:lnTo>
                  <a:lnTo>
                    <a:pt x="129053" y="352218"/>
                  </a:lnTo>
                  <a:lnTo>
                    <a:pt x="127752" y="350614"/>
                  </a:lnTo>
                  <a:lnTo>
                    <a:pt x="124787" y="348860"/>
                  </a:lnTo>
                  <a:lnTo>
                    <a:pt x="123577" y="347347"/>
                  </a:lnTo>
                  <a:lnTo>
                    <a:pt x="123577" y="346470"/>
                  </a:lnTo>
                  <a:lnTo>
                    <a:pt x="124001" y="346258"/>
                  </a:lnTo>
                  <a:lnTo>
                    <a:pt x="124999" y="345411"/>
                  </a:lnTo>
                  <a:lnTo>
                    <a:pt x="123002" y="344957"/>
                  </a:lnTo>
                  <a:lnTo>
                    <a:pt x="121520" y="345653"/>
                  </a:lnTo>
                  <a:lnTo>
                    <a:pt x="118707" y="348255"/>
                  </a:lnTo>
                  <a:lnTo>
                    <a:pt x="119221" y="346591"/>
                  </a:lnTo>
                  <a:lnTo>
                    <a:pt x="119070" y="345199"/>
                  </a:lnTo>
                  <a:lnTo>
                    <a:pt x="118404" y="344140"/>
                  </a:lnTo>
                  <a:lnTo>
                    <a:pt x="117406" y="343535"/>
                  </a:lnTo>
                  <a:lnTo>
                    <a:pt x="117406" y="342507"/>
                  </a:lnTo>
                  <a:lnTo>
                    <a:pt x="118102" y="342507"/>
                  </a:lnTo>
                  <a:lnTo>
                    <a:pt x="118102" y="341630"/>
                  </a:lnTo>
                  <a:lnTo>
                    <a:pt x="116922" y="341206"/>
                  </a:lnTo>
                  <a:lnTo>
                    <a:pt x="116801" y="340480"/>
                  </a:lnTo>
                  <a:lnTo>
                    <a:pt x="117164" y="339482"/>
                  </a:lnTo>
                  <a:lnTo>
                    <a:pt x="117406" y="338151"/>
                  </a:lnTo>
                  <a:lnTo>
                    <a:pt x="116770" y="337697"/>
                  </a:lnTo>
                  <a:lnTo>
                    <a:pt x="113201" y="338665"/>
                  </a:lnTo>
                  <a:lnTo>
                    <a:pt x="111053" y="339875"/>
                  </a:lnTo>
                  <a:lnTo>
                    <a:pt x="109813" y="340298"/>
                  </a:lnTo>
                  <a:lnTo>
                    <a:pt x="108421" y="340571"/>
                  </a:lnTo>
                  <a:lnTo>
                    <a:pt x="108814" y="341841"/>
                  </a:lnTo>
                  <a:lnTo>
                    <a:pt x="108754" y="342870"/>
                  </a:lnTo>
                  <a:lnTo>
                    <a:pt x="108330" y="343717"/>
                  </a:lnTo>
                  <a:lnTo>
                    <a:pt x="107665" y="344383"/>
                  </a:lnTo>
                  <a:lnTo>
                    <a:pt x="107030" y="344383"/>
                  </a:lnTo>
                  <a:lnTo>
                    <a:pt x="106606" y="343354"/>
                  </a:lnTo>
                  <a:lnTo>
                    <a:pt x="106122" y="342719"/>
                  </a:lnTo>
                  <a:lnTo>
                    <a:pt x="105547" y="342719"/>
                  </a:lnTo>
                  <a:lnTo>
                    <a:pt x="104942" y="343535"/>
                  </a:lnTo>
                  <a:lnTo>
                    <a:pt x="103127" y="342567"/>
                  </a:lnTo>
                  <a:lnTo>
                    <a:pt x="100828" y="342416"/>
                  </a:lnTo>
                  <a:lnTo>
                    <a:pt x="98499" y="342809"/>
                  </a:lnTo>
                  <a:lnTo>
                    <a:pt x="96563" y="343535"/>
                  </a:lnTo>
                  <a:lnTo>
                    <a:pt x="94899" y="344655"/>
                  </a:lnTo>
                  <a:lnTo>
                    <a:pt x="93174" y="346318"/>
                  </a:lnTo>
                  <a:lnTo>
                    <a:pt x="92660" y="347740"/>
                  </a:lnTo>
                  <a:lnTo>
                    <a:pt x="94596" y="348255"/>
                  </a:lnTo>
                  <a:lnTo>
                    <a:pt x="94596" y="349283"/>
                  </a:lnTo>
                  <a:lnTo>
                    <a:pt x="93235" y="349283"/>
                  </a:lnTo>
                  <a:lnTo>
                    <a:pt x="90966" y="348466"/>
                  </a:lnTo>
                  <a:lnTo>
                    <a:pt x="89726" y="348255"/>
                  </a:lnTo>
                  <a:lnTo>
                    <a:pt x="88667" y="348527"/>
                  </a:lnTo>
                  <a:lnTo>
                    <a:pt x="85612" y="350251"/>
                  </a:lnTo>
                  <a:lnTo>
                    <a:pt x="83252" y="350493"/>
                  </a:lnTo>
                  <a:lnTo>
                    <a:pt x="83978" y="347408"/>
                  </a:lnTo>
                  <a:lnTo>
                    <a:pt x="82133" y="345411"/>
                  </a:lnTo>
                  <a:lnTo>
                    <a:pt x="79531" y="345290"/>
                  </a:lnTo>
                  <a:lnTo>
                    <a:pt x="76808" y="346288"/>
                  </a:lnTo>
                  <a:lnTo>
                    <a:pt x="73995" y="347801"/>
                  </a:lnTo>
                  <a:lnTo>
                    <a:pt x="71121" y="348285"/>
                  </a:lnTo>
                  <a:lnTo>
                    <a:pt x="71121" y="349314"/>
                  </a:lnTo>
                  <a:lnTo>
                    <a:pt x="71726" y="349495"/>
                  </a:lnTo>
                  <a:lnTo>
                    <a:pt x="73118" y="350281"/>
                  </a:lnTo>
                  <a:lnTo>
                    <a:pt x="70788" y="350342"/>
                  </a:lnTo>
                  <a:lnTo>
                    <a:pt x="67461" y="351824"/>
                  </a:lnTo>
                  <a:lnTo>
                    <a:pt x="65192" y="352187"/>
                  </a:lnTo>
                  <a:lnTo>
                    <a:pt x="57326" y="352187"/>
                  </a:lnTo>
                  <a:lnTo>
                    <a:pt x="57326" y="353065"/>
                  </a:lnTo>
                  <a:lnTo>
                    <a:pt x="58204" y="353579"/>
                  </a:lnTo>
                  <a:lnTo>
                    <a:pt x="58416" y="354033"/>
                  </a:lnTo>
                  <a:lnTo>
                    <a:pt x="58234" y="354486"/>
                  </a:lnTo>
                  <a:lnTo>
                    <a:pt x="57931" y="355061"/>
                  </a:lnTo>
                  <a:lnTo>
                    <a:pt x="60684" y="356090"/>
                  </a:lnTo>
                  <a:lnTo>
                    <a:pt x="58809" y="356150"/>
                  </a:lnTo>
                  <a:lnTo>
                    <a:pt x="54180" y="355031"/>
                  </a:lnTo>
                  <a:lnTo>
                    <a:pt x="52879" y="355878"/>
                  </a:lnTo>
                  <a:lnTo>
                    <a:pt x="53605" y="357784"/>
                  </a:lnTo>
                  <a:lnTo>
                    <a:pt x="55935" y="360718"/>
                  </a:lnTo>
                  <a:lnTo>
                    <a:pt x="54664" y="361051"/>
                  </a:lnTo>
                  <a:lnTo>
                    <a:pt x="51306" y="359296"/>
                  </a:lnTo>
                  <a:lnTo>
                    <a:pt x="49340" y="358782"/>
                  </a:lnTo>
                  <a:lnTo>
                    <a:pt x="46224" y="359085"/>
                  </a:lnTo>
                  <a:lnTo>
                    <a:pt x="44318" y="359659"/>
                  </a:lnTo>
                  <a:lnTo>
                    <a:pt x="42715" y="360688"/>
                  </a:lnTo>
                  <a:lnTo>
                    <a:pt x="43471" y="361717"/>
                  </a:lnTo>
                  <a:lnTo>
                    <a:pt x="42382" y="361293"/>
                  </a:lnTo>
                  <a:lnTo>
                    <a:pt x="41323" y="360658"/>
                  </a:lnTo>
                  <a:lnTo>
                    <a:pt x="39508" y="363108"/>
                  </a:lnTo>
                  <a:lnTo>
                    <a:pt x="37028" y="367374"/>
                  </a:lnTo>
                  <a:lnTo>
                    <a:pt x="35999" y="371397"/>
                  </a:lnTo>
                  <a:lnTo>
                    <a:pt x="38540" y="373121"/>
                  </a:lnTo>
                  <a:lnTo>
                    <a:pt x="38540" y="373999"/>
                  </a:lnTo>
                  <a:lnTo>
                    <a:pt x="36634" y="374543"/>
                  </a:lnTo>
                  <a:lnTo>
                    <a:pt x="35455" y="376449"/>
                  </a:lnTo>
                  <a:lnTo>
                    <a:pt x="34940" y="379051"/>
                  </a:lnTo>
                  <a:lnTo>
                    <a:pt x="35092" y="381682"/>
                  </a:lnTo>
                  <a:lnTo>
                    <a:pt x="36816" y="385434"/>
                  </a:lnTo>
                  <a:lnTo>
                    <a:pt x="36967" y="387218"/>
                  </a:lnTo>
                  <a:lnTo>
                    <a:pt x="35092" y="387400"/>
                  </a:lnTo>
                  <a:lnTo>
                    <a:pt x="35727" y="390304"/>
                  </a:lnTo>
                  <a:lnTo>
                    <a:pt x="36604" y="391726"/>
                  </a:lnTo>
                  <a:lnTo>
                    <a:pt x="37935" y="392180"/>
                  </a:lnTo>
                  <a:lnTo>
                    <a:pt x="43017" y="392240"/>
                  </a:lnTo>
                  <a:lnTo>
                    <a:pt x="43895" y="391756"/>
                  </a:lnTo>
                  <a:lnTo>
                    <a:pt x="44046" y="390758"/>
                  </a:lnTo>
                  <a:lnTo>
                    <a:pt x="44046" y="389760"/>
                  </a:lnTo>
                  <a:lnTo>
                    <a:pt x="44409" y="389306"/>
                  </a:lnTo>
                  <a:lnTo>
                    <a:pt x="46375" y="389608"/>
                  </a:lnTo>
                  <a:lnTo>
                    <a:pt x="49885" y="390909"/>
                  </a:lnTo>
                  <a:lnTo>
                    <a:pt x="51639" y="391272"/>
                  </a:lnTo>
                  <a:lnTo>
                    <a:pt x="53605" y="391030"/>
                  </a:lnTo>
                  <a:lnTo>
                    <a:pt x="56600" y="389608"/>
                  </a:lnTo>
                  <a:lnTo>
                    <a:pt x="61531" y="388489"/>
                  </a:lnTo>
                  <a:lnTo>
                    <a:pt x="67884" y="384798"/>
                  </a:lnTo>
                  <a:lnTo>
                    <a:pt x="71000" y="383558"/>
                  </a:lnTo>
                  <a:lnTo>
                    <a:pt x="77807" y="382530"/>
                  </a:lnTo>
                  <a:lnTo>
                    <a:pt x="79803" y="381834"/>
                  </a:lnTo>
                  <a:lnTo>
                    <a:pt x="82949" y="380170"/>
                  </a:lnTo>
                  <a:lnTo>
                    <a:pt x="84734" y="379686"/>
                  </a:lnTo>
                  <a:lnTo>
                    <a:pt x="75114" y="384950"/>
                  </a:lnTo>
                  <a:lnTo>
                    <a:pt x="74025" y="385766"/>
                  </a:lnTo>
                  <a:lnTo>
                    <a:pt x="68278" y="392180"/>
                  </a:lnTo>
                  <a:lnTo>
                    <a:pt x="68278" y="393027"/>
                  </a:lnTo>
                  <a:lnTo>
                    <a:pt x="69669" y="392906"/>
                  </a:lnTo>
                  <a:lnTo>
                    <a:pt x="71030" y="392573"/>
                  </a:lnTo>
                  <a:lnTo>
                    <a:pt x="72180" y="391998"/>
                  </a:lnTo>
                  <a:lnTo>
                    <a:pt x="73027" y="391212"/>
                  </a:lnTo>
                  <a:lnTo>
                    <a:pt x="73783" y="392180"/>
                  </a:lnTo>
                  <a:lnTo>
                    <a:pt x="73420" y="392452"/>
                  </a:lnTo>
                  <a:lnTo>
                    <a:pt x="73329" y="392512"/>
                  </a:lnTo>
                  <a:lnTo>
                    <a:pt x="73057" y="393027"/>
                  </a:lnTo>
                  <a:lnTo>
                    <a:pt x="75326" y="392664"/>
                  </a:lnTo>
                  <a:lnTo>
                    <a:pt x="78502" y="390637"/>
                  </a:lnTo>
                  <a:lnTo>
                    <a:pt x="80015" y="391212"/>
                  </a:lnTo>
                  <a:lnTo>
                    <a:pt x="80378" y="390637"/>
                  </a:lnTo>
                  <a:lnTo>
                    <a:pt x="81013" y="389911"/>
                  </a:lnTo>
                  <a:lnTo>
                    <a:pt x="81316" y="389245"/>
                  </a:lnTo>
                  <a:lnTo>
                    <a:pt x="82072" y="389245"/>
                  </a:lnTo>
                  <a:lnTo>
                    <a:pt x="82072" y="390274"/>
                  </a:lnTo>
                  <a:lnTo>
                    <a:pt x="81316" y="390274"/>
                  </a:lnTo>
                  <a:lnTo>
                    <a:pt x="81316" y="391212"/>
                  </a:lnTo>
                  <a:lnTo>
                    <a:pt x="82889" y="390788"/>
                  </a:lnTo>
                  <a:lnTo>
                    <a:pt x="85188" y="389276"/>
                  </a:lnTo>
                  <a:lnTo>
                    <a:pt x="86882" y="389276"/>
                  </a:lnTo>
                  <a:lnTo>
                    <a:pt x="84946" y="391212"/>
                  </a:lnTo>
                  <a:lnTo>
                    <a:pt x="83948" y="391877"/>
                  </a:lnTo>
                  <a:lnTo>
                    <a:pt x="83494" y="392452"/>
                  </a:lnTo>
                  <a:lnTo>
                    <a:pt x="83433" y="393027"/>
                  </a:lnTo>
                  <a:lnTo>
                    <a:pt x="82586" y="393359"/>
                  </a:lnTo>
                  <a:lnTo>
                    <a:pt x="82163" y="393692"/>
                  </a:lnTo>
                  <a:lnTo>
                    <a:pt x="81316" y="394963"/>
                  </a:lnTo>
                  <a:lnTo>
                    <a:pt x="85612" y="394691"/>
                  </a:lnTo>
                  <a:lnTo>
                    <a:pt x="86247" y="394539"/>
                  </a:lnTo>
                  <a:lnTo>
                    <a:pt x="86791" y="395961"/>
                  </a:lnTo>
                  <a:lnTo>
                    <a:pt x="88032" y="396415"/>
                  </a:lnTo>
                  <a:lnTo>
                    <a:pt x="89423" y="396052"/>
                  </a:lnTo>
                  <a:lnTo>
                    <a:pt x="90361" y="394963"/>
                  </a:lnTo>
                  <a:lnTo>
                    <a:pt x="90785" y="396627"/>
                  </a:lnTo>
                  <a:lnTo>
                    <a:pt x="91964" y="397141"/>
                  </a:lnTo>
                  <a:lnTo>
                    <a:pt x="95111" y="396929"/>
                  </a:lnTo>
                  <a:lnTo>
                    <a:pt x="95111" y="397958"/>
                  </a:lnTo>
                  <a:lnTo>
                    <a:pt x="86882" y="399591"/>
                  </a:lnTo>
                  <a:lnTo>
                    <a:pt x="84825" y="398835"/>
                  </a:lnTo>
                  <a:lnTo>
                    <a:pt x="86307" y="398835"/>
                  </a:lnTo>
                  <a:lnTo>
                    <a:pt x="86943" y="398563"/>
                  </a:lnTo>
                  <a:lnTo>
                    <a:pt x="87578" y="397988"/>
                  </a:lnTo>
                  <a:lnTo>
                    <a:pt x="80832" y="398412"/>
                  </a:lnTo>
                  <a:lnTo>
                    <a:pt x="76082" y="399682"/>
                  </a:lnTo>
                  <a:lnTo>
                    <a:pt x="74872" y="399773"/>
                  </a:lnTo>
                  <a:lnTo>
                    <a:pt x="73572" y="399561"/>
                  </a:lnTo>
                  <a:lnTo>
                    <a:pt x="72785" y="399047"/>
                  </a:lnTo>
                  <a:lnTo>
                    <a:pt x="72119" y="398442"/>
                  </a:lnTo>
                  <a:lnTo>
                    <a:pt x="71091" y="397958"/>
                  </a:lnTo>
                  <a:lnTo>
                    <a:pt x="62136" y="398532"/>
                  </a:lnTo>
                  <a:lnTo>
                    <a:pt x="59353" y="397323"/>
                  </a:lnTo>
                  <a:lnTo>
                    <a:pt x="60684" y="392180"/>
                  </a:lnTo>
                  <a:lnTo>
                    <a:pt x="59021" y="391454"/>
                  </a:lnTo>
                  <a:lnTo>
                    <a:pt x="57720" y="392603"/>
                  </a:lnTo>
                  <a:lnTo>
                    <a:pt x="55935" y="396929"/>
                  </a:lnTo>
                  <a:lnTo>
                    <a:pt x="56116" y="397443"/>
                  </a:lnTo>
                  <a:lnTo>
                    <a:pt x="56389" y="398412"/>
                  </a:lnTo>
                  <a:lnTo>
                    <a:pt x="56147" y="399349"/>
                  </a:lnTo>
                  <a:lnTo>
                    <a:pt x="54876" y="399743"/>
                  </a:lnTo>
                  <a:lnTo>
                    <a:pt x="53787" y="399561"/>
                  </a:lnTo>
                  <a:lnTo>
                    <a:pt x="52940" y="399258"/>
                  </a:lnTo>
                  <a:lnTo>
                    <a:pt x="52123" y="399198"/>
                  </a:lnTo>
                  <a:lnTo>
                    <a:pt x="51004" y="399743"/>
                  </a:lnTo>
                  <a:lnTo>
                    <a:pt x="51276" y="401134"/>
                  </a:lnTo>
                  <a:lnTo>
                    <a:pt x="51004" y="402586"/>
                  </a:lnTo>
                  <a:lnTo>
                    <a:pt x="57054" y="402828"/>
                  </a:lnTo>
                  <a:lnTo>
                    <a:pt x="58294" y="403131"/>
                  </a:lnTo>
                  <a:lnTo>
                    <a:pt x="58990" y="404522"/>
                  </a:lnTo>
                  <a:lnTo>
                    <a:pt x="58627" y="405067"/>
                  </a:lnTo>
                  <a:lnTo>
                    <a:pt x="57841" y="405672"/>
                  </a:lnTo>
                  <a:lnTo>
                    <a:pt x="57326" y="407305"/>
                  </a:lnTo>
                  <a:lnTo>
                    <a:pt x="57568" y="408304"/>
                  </a:lnTo>
                  <a:lnTo>
                    <a:pt x="58173" y="409483"/>
                  </a:lnTo>
                  <a:lnTo>
                    <a:pt x="59323" y="411057"/>
                  </a:lnTo>
                  <a:lnTo>
                    <a:pt x="58839" y="411994"/>
                  </a:lnTo>
                  <a:lnTo>
                    <a:pt x="57962" y="414929"/>
                  </a:lnTo>
                  <a:lnTo>
                    <a:pt x="60563" y="414112"/>
                  </a:lnTo>
                  <a:lnTo>
                    <a:pt x="62348" y="411480"/>
                  </a:lnTo>
                  <a:lnTo>
                    <a:pt x="63740" y="408334"/>
                  </a:lnTo>
                  <a:lnTo>
                    <a:pt x="65222" y="405884"/>
                  </a:lnTo>
                  <a:lnTo>
                    <a:pt x="68035" y="405006"/>
                  </a:lnTo>
                  <a:lnTo>
                    <a:pt x="73390" y="408183"/>
                  </a:lnTo>
                  <a:lnTo>
                    <a:pt x="75901" y="407305"/>
                  </a:lnTo>
                  <a:lnTo>
                    <a:pt x="76143" y="408183"/>
                  </a:lnTo>
                  <a:lnTo>
                    <a:pt x="76597" y="409000"/>
                  </a:lnTo>
                  <a:lnTo>
                    <a:pt x="77232" y="409665"/>
                  </a:lnTo>
                  <a:lnTo>
                    <a:pt x="78018" y="410119"/>
                  </a:lnTo>
                  <a:lnTo>
                    <a:pt x="82284" y="410996"/>
                  </a:lnTo>
                  <a:lnTo>
                    <a:pt x="83645" y="412267"/>
                  </a:lnTo>
                  <a:lnTo>
                    <a:pt x="84160" y="415352"/>
                  </a:lnTo>
                  <a:lnTo>
                    <a:pt x="84462" y="416320"/>
                  </a:lnTo>
                  <a:lnTo>
                    <a:pt x="85884" y="417984"/>
                  </a:lnTo>
                  <a:lnTo>
                    <a:pt x="86338" y="419557"/>
                  </a:lnTo>
                  <a:lnTo>
                    <a:pt x="85369" y="423460"/>
                  </a:lnTo>
                  <a:lnTo>
                    <a:pt x="84916" y="424428"/>
                  </a:lnTo>
                  <a:lnTo>
                    <a:pt x="83433" y="425002"/>
                  </a:lnTo>
                  <a:lnTo>
                    <a:pt x="77686" y="423399"/>
                  </a:lnTo>
                  <a:lnTo>
                    <a:pt x="45286" y="430085"/>
                  </a:lnTo>
                  <a:lnTo>
                    <a:pt x="44712" y="429873"/>
                  </a:lnTo>
                  <a:lnTo>
                    <a:pt x="43925" y="429026"/>
                  </a:lnTo>
                  <a:lnTo>
                    <a:pt x="43592" y="429026"/>
                  </a:lnTo>
                  <a:lnTo>
                    <a:pt x="43260" y="429540"/>
                  </a:lnTo>
                  <a:lnTo>
                    <a:pt x="43108" y="430054"/>
                  </a:lnTo>
                  <a:lnTo>
                    <a:pt x="43048" y="430539"/>
                  </a:lnTo>
                  <a:lnTo>
                    <a:pt x="42443" y="431537"/>
                  </a:lnTo>
                  <a:lnTo>
                    <a:pt x="42019" y="432414"/>
                  </a:lnTo>
                  <a:lnTo>
                    <a:pt x="41505" y="433261"/>
                  </a:lnTo>
                  <a:lnTo>
                    <a:pt x="40839" y="433745"/>
                  </a:lnTo>
                  <a:lnTo>
                    <a:pt x="48402" y="435712"/>
                  </a:lnTo>
                  <a:lnTo>
                    <a:pt x="51790" y="435530"/>
                  </a:lnTo>
                  <a:lnTo>
                    <a:pt x="53545" y="435802"/>
                  </a:lnTo>
                  <a:lnTo>
                    <a:pt x="56540" y="438525"/>
                  </a:lnTo>
                  <a:lnTo>
                    <a:pt x="57841" y="437890"/>
                  </a:lnTo>
                  <a:lnTo>
                    <a:pt x="59081" y="436498"/>
                  </a:lnTo>
                  <a:lnTo>
                    <a:pt x="60412" y="435742"/>
                  </a:lnTo>
                  <a:lnTo>
                    <a:pt x="61410" y="436226"/>
                  </a:lnTo>
                  <a:lnTo>
                    <a:pt x="70335" y="442700"/>
                  </a:lnTo>
                  <a:lnTo>
                    <a:pt x="75144" y="448447"/>
                  </a:lnTo>
                  <a:lnTo>
                    <a:pt x="76657" y="450958"/>
                  </a:lnTo>
                  <a:lnTo>
                    <a:pt x="77655" y="454709"/>
                  </a:lnTo>
                  <a:lnTo>
                    <a:pt x="79138" y="458249"/>
                  </a:lnTo>
                  <a:lnTo>
                    <a:pt x="79501" y="460699"/>
                  </a:lnTo>
                  <a:lnTo>
                    <a:pt x="79138" y="461637"/>
                  </a:lnTo>
                  <a:lnTo>
                    <a:pt x="78291" y="461788"/>
                  </a:lnTo>
                  <a:lnTo>
                    <a:pt x="77353" y="461788"/>
                  </a:lnTo>
                  <a:lnTo>
                    <a:pt x="76718" y="462151"/>
                  </a:lnTo>
                  <a:lnTo>
                    <a:pt x="76536" y="462938"/>
                  </a:lnTo>
                  <a:lnTo>
                    <a:pt x="76748" y="464844"/>
                  </a:lnTo>
                  <a:lnTo>
                    <a:pt x="76687" y="465902"/>
                  </a:lnTo>
                  <a:lnTo>
                    <a:pt x="91450" y="466538"/>
                  </a:lnTo>
                  <a:lnTo>
                    <a:pt x="93931" y="465902"/>
                  </a:lnTo>
                  <a:lnTo>
                    <a:pt x="95474" y="465055"/>
                  </a:lnTo>
                  <a:lnTo>
                    <a:pt x="98741" y="462151"/>
                  </a:lnTo>
                  <a:lnTo>
                    <a:pt x="98741" y="461123"/>
                  </a:lnTo>
                  <a:lnTo>
                    <a:pt x="95988" y="461123"/>
                  </a:lnTo>
                  <a:lnTo>
                    <a:pt x="95988" y="460276"/>
                  </a:lnTo>
                  <a:lnTo>
                    <a:pt x="96320" y="459852"/>
                  </a:lnTo>
                  <a:lnTo>
                    <a:pt x="96593" y="459338"/>
                  </a:lnTo>
                  <a:lnTo>
                    <a:pt x="95141" y="458370"/>
                  </a:lnTo>
                  <a:lnTo>
                    <a:pt x="95413" y="456676"/>
                  </a:lnTo>
                  <a:lnTo>
                    <a:pt x="96835" y="456313"/>
                  </a:lnTo>
                  <a:lnTo>
                    <a:pt x="98741" y="459338"/>
                  </a:lnTo>
                  <a:lnTo>
                    <a:pt x="99769" y="458430"/>
                  </a:lnTo>
                  <a:lnTo>
                    <a:pt x="100677" y="457825"/>
                  </a:lnTo>
                  <a:lnTo>
                    <a:pt x="101675" y="457492"/>
                  </a:lnTo>
                  <a:lnTo>
                    <a:pt x="102946" y="457402"/>
                  </a:lnTo>
                  <a:lnTo>
                    <a:pt x="102946" y="456555"/>
                  </a:lnTo>
                  <a:lnTo>
                    <a:pt x="101736" y="455496"/>
                  </a:lnTo>
                  <a:lnTo>
                    <a:pt x="100374" y="453620"/>
                  </a:lnTo>
                  <a:lnTo>
                    <a:pt x="99799" y="451533"/>
                  </a:lnTo>
                  <a:lnTo>
                    <a:pt x="100858" y="449900"/>
                  </a:lnTo>
                  <a:lnTo>
                    <a:pt x="101161" y="452138"/>
                  </a:lnTo>
                  <a:lnTo>
                    <a:pt x="102159" y="454286"/>
                  </a:lnTo>
                  <a:lnTo>
                    <a:pt x="103430" y="455920"/>
                  </a:lnTo>
                  <a:lnTo>
                    <a:pt x="104670" y="456555"/>
                  </a:lnTo>
                  <a:lnTo>
                    <a:pt x="106303" y="456706"/>
                  </a:lnTo>
                  <a:lnTo>
                    <a:pt x="107634" y="457190"/>
                  </a:lnTo>
                  <a:lnTo>
                    <a:pt x="110478" y="459368"/>
                  </a:lnTo>
                  <a:lnTo>
                    <a:pt x="110993" y="458188"/>
                  </a:lnTo>
                  <a:lnTo>
                    <a:pt x="111749" y="457886"/>
                  </a:lnTo>
                  <a:lnTo>
                    <a:pt x="112747" y="457886"/>
                  </a:lnTo>
                  <a:lnTo>
                    <a:pt x="113957" y="457432"/>
                  </a:lnTo>
                  <a:lnTo>
                    <a:pt x="113594" y="458642"/>
                  </a:lnTo>
                  <a:lnTo>
                    <a:pt x="113019" y="459277"/>
                  </a:lnTo>
                  <a:lnTo>
                    <a:pt x="112233" y="459489"/>
                  </a:lnTo>
                  <a:lnTo>
                    <a:pt x="111234" y="459398"/>
                  </a:lnTo>
                  <a:lnTo>
                    <a:pt x="113291" y="459913"/>
                  </a:lnTo>
                  <a:lnTo>
                    <a:pt x="115530" y="457644"/>
                  </a:lnTo>
                  <a:lnTo>
                    <a:pt x="116256" y="455557"/>
                  </a:lnTo>
                  <a:lnTo>
                    <a:pt x="115349" y="452743"/>
                  </a:lnTo>
                  <a:lnTo>
                    <a:pt x="118011" y="453227"/>
                  </a:lnTo>
                  <a:lnTo>
                    <a:pt x="120703" y="454891"/>
                  </a:lnTo>
                  <a:lnTo>
                    <a:pt x="122609" y="456888"/>
                  </a:lnTo>
                  <a:lnTo>
                    <a:pt x="122912" y="458400"/>
                  </a:lnTo>
                  <a:lnTo>
                    <a:pt x="124152" y="459126"/>
                  </a:lnTo>
                  <a:lnTo>
                    <a:pt x="124787" y="459398"/>
                  </a:lnTo>
                  <a:lnTo>
                    <a:pt x="125664" y="459398"/>
                  </a:lnTo>
                  <a:lnTo>
                    <a:pt x="125241" y="461032"/>
                  </a:lnTo>
                  <a:lnTo>
                    <a:pt x="125604" y="461849"/>
                  </a:lnTo>
                  <a:lnTo>
                    <a:pt x="126330" y="462393"/>
                  </a:lnTo>
                  <a:lnTo>
                    <a:pt x="127026" y="463119"/>
                  </a:lnTo>
                  <a:lnTo>
                    <a:pt x="128962" y="466417"/>
                  </a:lnTo>
                  <a:lnTo>
                    <a:pt x="129113" y="466871"/>
                  </a:lnTo>
                  <a:lnTo>
                    <a:pt x="130928" y="467022"/>
                  </a:lnTo>
                  <a:lnTo>
                    <a:pt x="133197" y="466598"/>
                  </a:lnTo>
                  <a:lnTo>
                    <a:pt x="135345" y="466598"/>
                  </a:lnTo>
                  <a:lnTo>
                    <a:pt x="136797" y="467869"/>
                  </a:lnTo>
                  <a:lnTo>
                    <a:pt x="142030" y="465146"/>
                  </a:lnTo>
                  <a:lnTo>
                    <a:pt x="142908" y="465539"/>
                  </a:lnTo>
                  <a:lnTo>
                    <a:pt x="143755" y="467415"/>
                  </a:lnTo>
                  <a:lnTo>
                    <a:pt x="145691" y="468050"/>
                  </a:lnTo>
                  <a:lnTo>
                    <a:pt x="149503" y="467869"/>
                  </a:lnTo>
                  <a:lnTo>
                    <a:pt x="149956" y="468111"/>
                  </a:lnTo>
                  <a:lnTo>
                    <a:pt x="151106" y="469321"/>
                  </a:lnTo>
                  <a:lnTo>
                    <a:pt x="151892" y="469744"/>
                  </a:lnTo>
                  <a:lnTo>
                    <a:pt x="152739" y="469865"/>
                  </a:lnTo>
                  <a:lnTo>
                    <a:pt x="155341" y="469744"/>
                  </a:lnTo>
                  <a:lnTo>
                    <a:pt x="158911" y="470561"/>
                  </a:lnTo>
                  <a:lnTo>
                    <a:pt x="160544" y="470561"/>
                  </a:lnTo>
                  <a:lnTo>
                    <a:pt x="161633" y="469744"/>
                  </a:lnTo>
                  <a:lnTo>
                    <a:pt x="162027" y="470773"/>
                  </a:lnTo>
                  <a:lnTo>
                    <a:pt x="162450" y="471378"/>
                  </a:lnTo>
                  <a:lnTo>
                    <a:pt x="163570" y="472558"/>
                  </a:lnTo>
                  <a:lnTo>
                    <a:pt x="165022" y="475371"/>
                  </a:lnTo>
                  <a:lnTo>
                    <a:pt x="168016" y="478911"/>
                  </a:lnTo>
                  <a:lnTo>
                    <a:pt x="168440" y="479667"/>
                  </a:lnTo>
                  <a:lnTo>
                    <a:pt x="169862" y="480060"/>
                  </a:lnTo>
                  <a:lnTo>
                    <a:pt x="178120" y="478154"/>
                  </a:lnTo>
                  <a:lnTo>
                    <a:pt x="178120" y="477277"/>
                  </a:lnTo>
                  <a:lnTo>
                    <a:pt x="177636" y="476581"/>
                  </a:lnTo>
                  <a:lnTo>
                    <a:pt x="177001" y="476007"/>
                  </a:lnTo>
                  <a:lnTo>
                    <a:pt x="176215" y="475583"/>
                  </a:lnTo>
                  <a:lnTo>
                    <a:pt x="178332" y="475129"/>
                  </a:lnTo>
                  <a:lnTo>
                    <a:pt x="181387" y="473465"/>
                  </a:lnTo>
                  <a:lnTo>
                    <a:pt x="184140" y="471045"/>
                  </a:lnTo>
                  <a:lnTo>
                    <a:pt x="186318" y="468686"/>
                  </a:lnTo>
                  <a:lnTo>
                    <a:pt x="186318" y="469714"/>
                  </a:lnTo>
                  <a:lnTo>
                    <a:pt x="185048" y="470682"/>
                  </a:lnTo>
                  <a:lnTo>
                    <a:pt x="184140" y="472285"/>
                  </a:lnTo>
                  <a:lnTo>
                    <a:pt x="182840" y="475341"/>
                  </a:lnTo>
                  <a:lnTo>
                    <a:pt x="182204" y="475522"/>
                  </a:lnTo>
                  <a:lnTo>
                    <a:pt x="180480" y="475280"/>
                  </a:lnTo>
                  <a:lnTo>
                    <a:pt x="180147" y="475825"/>
                  </a:lnTo>
                  <a:lnTo>
                    <a:pt x="180147" y="477096"/>
                  </a:lnTo>
                  <a:lnTo>
                    <a:pt x="180026" y="477791"/>
                  </a:lnTo>
                  <a:lnTo>
                    <a:pt x="179603" y="478094"/>
                  </a:lnTo>
                  <a:lnTo>
                    <a:pt x="178725" y="478185"/>
                  </a:lnTo>
                  <a:lnTo>
                    <a:pt x="178725" y="479213"/>
                  </a:lnTo>
                  <a:lnTo>
                    <a:pt x="182961" y="479606"/>
                  </a:lnTo>
                  <a:lnTo>
                    <a:pt x="184746" y="480181"/>
                  </a:lnTo>
                  <a:lnTo>
                    <a:pt x="186349" y="481089"/>
                  </a:lnTo>
                  <a:lnTo>
                    <a:pt x="186349" y="481936"/>
                  </a:lnTo>
                  <a:lnTo>
                    <a:pt x="182356" y="480574"/>
                  </a:lnTo>
                  <a:lnTo>
                    <a:pt x="180571" y="480393"/>
                  </a:lnTo>
                  <a:lnTo>
                    <a:pt x="178756" y="481089"/>
                  </a:lnTo>
                  <a:lnTo>
                    <a:pt x="181448" y="481179"/>
                  </a:lnTo>
                  <a:lnTo>
                    <a:pt x="185865" y="482299"/>
                  </a:lnTo>
                  <a:lnTo>
                    <a:pt x="188436" y="482964"/>
                  </a:lnTo>
                  <a:lnTo>
                    <a:pt x="191522" y="486171"/>
                  </a:lnTo>
                  <a:lnTo>
                    <a:pt x="192278" y="486715"/>
                  </a:lnTo>
                  <a:lnTo>
                    <a:pt x="193186" y="486141"/>
                  </a:lnTo>
                  <a:lnTo>
                    <a:pt x="193518" y="484870"/>
                  </a:lnTo>
                  <a:lnTo>
                    <a:pt x="194002" y="483599"/>
                  </a:lnTo>
                  <a:lnTo>
                    <a:pt x="195394" y="482964"/>
                  </a:lnTo>
                  <a:lnTo>
                    <a:pt x="194365" y="481512"/>
                  </a:lnTo>
                  <a:lnTo>
                    <a:pt x="193972" y="481119"/>
                  </a:lnTo>
                  <a:lnTo>
                    <a:pt x="195394" y="480756"/>
                  </a:lnTo>
                  <a:lnTo>
                    <a:pt x="196180" y="479879"/>
                  </a:lnTo>
                  <a:lnTo>
                    <a:pt x="196876" y="479364"/>
                  </a:lnTo>
                  <a:lnTo>
                    <a:pt x="198086" y="480181"/>
                  </a:lnTo>
                  <a:lnTo>
                    <a:pt x="198238" y="479667"/>
                  </a:lnTo>
                  <a:lnTo>
                    <a:pt x="198238" y="479455"/>
                  </a:lnTo>
                  <a:lnTo>
                    <a:pt x="198328" y="479364"/>
                  </a:lnTo>
                  <a:lnTo>
                    <a:pt x="198843" y="479274"/>
                  </a:lnTo>
                  <a:lnTo>
                    <a:pt x="198419" y="477398"/>
                  </a:lnTo>
                  <a:lnTo>
                    <a:pt x="197784" y="475946"/>
                  </a:lnTo>
                  <a:lnTo>
                    <a:pt x="196816" y="474948"/>
                  </a:lnTo>
                  <a:lnTo>
                    <a:pt x="195394" y="474433"/>
                  </a:lnTo>
                  <a:lnTo>
                    <a:pt x="196997" y="474161"/>
                  </a:lnTo>
                  <a:lnTo>
                    <a:pt x="198359" y="474796"/>
                  </a:lnTo>
                  <a:lnTo>
                    <a:pt x="199448" y="475069"/>
                  </a:lnTo>
                  <a:lnTo>
                    <a:pt x="200234" y="473617"/>
                  </a:lnTo>
                  <a:lnTo>
                    <a:pt x="200869" y="473617"/>
                  </a:lnTo>
                  <a:lnTo>
                    <a:pt x="200809" y="474554"/>
                  </a:lnTo>
                  <a:lnTo>
                    <a:pt x="200869" y="477459"/>
                  </a:lnTo>
                  <a:lnTo>
                    <a:pt x="201323" y="477186"/>
                  </a:lnTo>
                  <a:lnTo>
                    <a:pt x="202503" y="476763"/>
                  </a:lnTo>
                  <a:lnTo>
                    <a:pt x="202987" y="476460"/>
                  </a:lnTo>
                  <a:lnTo>
                    <a:pt x="202987" y="477822"/>
                  </a:lnTo>
                  <a:lnTo>
                    <a:pt x="203078" y="478790"/>
                  </a:lnTo>
                  <a:lnTo>
                    <a:pt x="203289" y="479576"/>
                  </a:lnTo>
                  <a:lnTo>
                    <a:pt x="203683" y="480302"/>
                  </a:lnTo>
                  <a:lnTo>
                    <a:pt x="196120" y="483539"/>
                  </a:lnTo>
                  <a:lnTo>
                    <a:pt x="194910" y="487381"/>
                  </a:lnTo>
                  <a:lnTo>
                    <a:pt x="194668" y="489166"/>
                  </a:lnTo>
                  <a:lnTo>
                    <a:pt x="195061" y="490013"/>
                  </a:lnTo>
                  <a:lnTo>
                    <a:pt x="195999" y="490557"/>
                  </a:lnTo>
                  <a:lnTo>
                    <a:pt x="197118" y="491011"/>
                  </a:lnTo>
                  <a:lnTo>
                    <a:pt x="198086" y="491586"/>
                  </a:lnTo>
                  <a:lnTo>
                    <a:pt x="199508" y="493098"/>
                  </a:lnTo>
                  <a:lnTo>
                    <a:pt x="200628" y="494883"/>
                  </a:lnTo>
                  <a:lnTo>
                    <a:pt x="201323" y="497273"/>
                  </a:lnTo>
                  <a:lnTo>
                    <a:pt x="201565" y="500450"/>
                  </a:lnTo>
                  <a:lnTo>
                    <a:pt x="201354" y="502295"/>
                  </a:lnTo>
                  <a:lnTo>
                    <a:pt x="200416" y="504594"/>
                  </a:lnTo>
                  <a:lnTo>
                    <a:pt x="200204" y="506107"/>
                  </a:lnTo>
                  <a:lnTo>
                    <a:pt x="200355" y="507347"/>
                  </a:lnTo>
                  <a:lnTo>
                    <a:pt x="201565" y="511280"/>
                  </a:lnTo>
                  <a:lnTo>
                    <a:pt x="202200" y="511280"/>
                  </a:lnTo>
                  <a:lnTo>
                    <a:pt x="202836" y="510675"/>
                  </a:lnTo>
                  <a:lnTo>
                    <a:pt x="204953" y="511219"/>
                  </a:lnTo>
                  <a:lnTo>
                    <a:pt x="206315" y="511280"/>
                  </a:lnTo>
                  <a:lnTo>
                    <a:pt x="204076" y="508890"/>
                  </a:lnTo>
                  <a:lnTo>
                    <a:pt x="202412" y="505713"/>
                  </a:lnTo>
                  <a:lnTo>
                    <a:pt x="201837" y="501781"/>
                  </a:lnTo>
                  <a:lnTo>
                    <a:pt x="202926" y="497183"/>
                  </a:lnTo>
                  <a:lnTo>
                    <a:pt x="202443" y="496910"/>
                  </a:lnTo>
                  <a:lnTo>
                    <a:pt x="202019" y="496456"/>
                  </a:lnTo>
                  <a:lnTo>
                    <a:pt x="201565" y="496245"/>
                  </a:lnTo>
                  <a:lnTo>
                    <a:pt x="202412" y="494793"/>
                  </a:lnTo>
                  <a:lnTo>
                    <a:pt x="203532" y="494732"/>
                  </a:lnTo>
                  <a:lnTo>
                    <a:pt x="204711" y="495428"/>
                  </a:lnTo>
                  <a:lnTo>
                    <a:pt x="205679" y="496245"/>
                  </a:lnTo>
                  <a:lnTo>
                    <a:pt x="205014" y="496789"/>
                  </a:lnTo>
                  <a:lnTo>
                    <a:pt x="204379" y="497152"/>
                  </a:lnTo>
                  <a:lnTo>
                    <a:pt x="205800" y="497939"/>
                  </a:lnTo>
                  <a:lnTo>
                    <a:pt x="207404" y="497788"/>
                  </a:lnTo>
                  <a:lnTo>
                    <a:pt x="210580" y="496214"/>
                  </a:lnTo>
                  <a:lnTo>
                    <a:pt x="211246" y="496880"/>
                  </a:lnTo>
                  <a:lnTo>
                    <a:pt x="211820" y="497061"/>
                  </a:lnTo>
                  <a:lnTo>
                    <a:pt x="213273" y="497152"/>
                  </a:lnTo>
                  <a:lnTo>
                    <a:pt x="212668" y="495337"/>
                  </a:lnTo>
                  <a:lnTo>
                    <a:pt x="213031" y="493824"/>
                  </a:lnTo>
                  <a:lnTo>
                    <a:pt x="213666" y="493613"/>
                  </a:lnTo>
                  <a:lnTo>
                    <a:pt x="214029" y="495730"/>
                  </a:lnTo>
                  <a:lnTo>
                    <a:pt x="214513" y="497515"/>
                  </a:lnTo>
                  <a:lnTo>
                    <a:pt x="215451" y="497878"/>
                  </a:lnTo>
                  <a:lnTo>
                    <a:pt x="216025" y="497031"/>
                  </a:lnTo>
                  <a:lnTo>
                    <a:pt x="215420" y="495216"/>
                  </a:lnTo>
                  <a:lnTo>
                    <a:pt x="216782" y="496335"/>
                  </a:lnTo>
                  <a:lnTo>
                    <a:pt x="217841" y="497757"/>
                  </a:lnTo>
                  <a:lnTo>
                    <a:pt x="218748" y="498635"/>
                  </a:lnTo>
                  <a:lnTo>
                    <a:pt x="219595" y="498090"/>
                  </a:lnTo>
                  <a:lnTo>
                    <a:pt x="220654" y="499451"/>
                  </a:lnTo>
                  <a:lnTo>
                    <a:pt x="220926" y="499935"/>
                  </a:lnTo>
                  <a:lnTo>
                    <a:pt x="221198" y="499391"/>
                  </a:lnTo>
                  <a:lnTo>
                    <a:pt x="221350" y="498998"/>
                  </a:lnTo>
                  <a:lnTo>
                    <a:pt x="221622" y="498060"/>
                  </a:lnTo>
                  <a:lnTo>
                    <a:pt x="220563" y="497092"/>
                  </a:lnTo>
                  <a:lnTo>
                    <a:pt x="219444" y="495700"/>
                  </a:lnTo>
                  <a:lnTo>
                    <a:pt x="218567" y="494187"/>
                  </a:lnTo>
                  <a:lnTo>
                    <a:pt x="218204" y="492826"/>
                  </a:lnTo>
                  <a:lnTo>
                    <a:pt x="218204" y="489559"/>
                  </a:lnTo>
                  <a:lnTo>
                    <a:pt x="218052" y="488621"/>
                  </a:lnTo>
                  <a:lnTo>
                    <a:pt x="217568" y="486897"/>
                  </a:lnTo>
                  <a:lnTo>
                    <a:pt x="217447" y="485838"/>
                  </a:lnTo>
                  <a:lnTo>
                    <a:pt x="218204" y="485838"/>
                  </a:lnTo>
                  <a:lnTo>
                    <a:pt x="218476" y="487532"/>
                  </a:lnTo>
                  <a:lnTo>
                    <a:pt x="219141" y="488803"/>
                  </a:lnTo>
                  <a:lnTo>
                    <a:pt x="220200" y="489529"/>
                  </a:lnTo>
                  <a:lnTo>
                    <a:pt x="221652" y="489589"/>
                  </a:lnTo>
                  <a:lnTo>
                    <a:pt x="220805" y="490255"/>
                  </a:lnTo>
                  <a:lnTo>
                    <a:pt x="220472" y="491314"/>
                  </a:lnTo>
                  <a:lnTo>
                    <a:pt x="220593" y="492705"/>
                  </a:lnTo>
                  <a:lnTo>
                    <a:pt x="220987" y="494369"/>
                  </a:lnTo>
                  <a:lnTo>
                    <a:pt x="221682" y="494369"/>
                  </a:lnTo>
                  <a:lnTo>
                    <a:pt x="222106" y="493794"/>
                  </a:lnTo>
                  <a:lnTo>
                    <a:pt x="222439" y="493552"/>
                  </a:lnTo>
                  <a:lnTo>
                    <a:pt x="223739" y="493341"/>
                  </a:lnTo>
                  <a:lnTo>
                    <a:pt x="223739" y="494339"/>
                  </a:lnTo>
                  <a:lnTo>
                    <a:pt x="223074" y="494339"/>
                  </a:lnTo>
                  <a:lnTo>
                    <a:pt x="223074" y="495216"/>
                  </a:lnTo>
                  <a:lnTo>
                    <a:pt x="226402" y="494460"/>
                  </a:lnTo>
                  <a:lnTo>
                    <a:pt x="228368" y="493613"/>
                  </a:lnTo>
                  <a:lnTo>
                    <a:pt x="229245" y="491979"/>
                  </a:lnTo>
                  <a:lnTo>
                    <a:pt x="230274" y="491011"/>
                  </a:lnTo>
                  <a:lnTo>
                    <a:pt x="235477" y="490497"/>
                  </a:lnTo>
                  <a:lnTo>
                    <a:pt x="237564" y="489589"/>
                  </a:lnTo>
                  <a:lnTo>
                    <a:pt x="236173" y="488742"/>
                  </a:lnTo>
                  <a:lnTo>
                    <a:pt x="239289" y="489256"/>
                  </a:lnTo>
                  <a:lnTo>
                    <a:pt x="240499" y="489952"/>
                  </a:lnTo>
                  <a:lnTo>
                    <a:pt x="241679" y="491556"/>
                  </a:lnTo>
                  <a:lnTo>
                    <a:pt x="239682" y="490890"/>
                  </a:lnTo>
                  <a:lnTo>
                    <a:pt x="237564" y="490618"/>
                  </a:lnTo>
                  <a:lnTo>
                    <a:pt x="242586" y="493583"/>
                  </a:lnTo>
                  <a:lnTo>
                    <a:pt x="243100" y="494339"/>
                  </a:lnTo>
                  <a:lnTo>
                    <a:pt x="244280" y="494278"/>
                  </a:lnTo>
                  <a:lnTo>
                    <a:pt x="244704" y="493976"/>
                  </a:lnTo>
                  <a:lnTo>
                    <a:pt x="245158" y="493310"/>
                  </a:lnTo>
                  <a:lnTo>
                    <a:pt x="243736" y="492372"/>
                  </a:lnTo>
                  <a:lnTo>
                    <a:pt x="244976" y="492070"/>
                  </a:lnTo>
                  <a:lnTo>
                    <a:pt x="245581" y="491404"/>
                  </a:lnTo>
                  <a:lnTo>
                    <a:pt x="245460" y="490527"/>
                  </a:lnTo>
                  <a:lnTo>
                    <a:pt x="244492" y="489589"/>
                  </a:lnTo>
                  <a:lnTo>
                    <a:pt x="244492" y="488742"/>
                  </a:lnTo>
                  <a:lnTo>
                    <a:pt x="246761" y="491435"/>
                  </a:lnTo>
                  <a:lnTo>
                    <a:pt x="246307" y="494006"/>
                  </a:lnTo>
                  <a:lnTo>
                    <a:pt x="242374" y="499028"/>
                  </a:lnTo>
                  <a:lnTo>
                    <a:pt x="243131" y="499966"/>
                  </a:lnTo>
                  <a:lnTo>
                    <a:pt x="240983" y="501266"/>
                  </a:lnTo>
                  <a:lnTo>
                    <a:pt x="238230" y="501508"/>
                  </a:lnTo>
                  <a:lnTo>
                    <a:pt x="235689" y="500752"/>
                  </a:lnTo>
                  <a:lnTo>
                    <a:pt x="234116" y="499058"/>
                  </a:lnTo>
                  <a:lnTo>
                    <a:pt x="233541" y="501055"/>
                  </a:lnTo>
                  <a:lnTo>
                    <a:pt x="233420" y="501932"/>
                  </a:lnTo>
                  <a:lnTo>
                    <a:pt x="232512" y="501115"/>
                  </a:lnTo>
                  <a:lnTo>
                    <a:pt x="231817" y="500903"/>
                  </a:lnTo>
                  <a:lnTo>
                    <a:pt x="231242" y="501206"/>
                  </a:lnTo>
                  <a:lnTo>
                    <a:pt x="230667" y="501932"/>
                  </a:lnTo>
                  <a:lnTo>
                    <a:pt x="229971" y="501932"/>
                  </a:lnTo>
                  <a:lnTo>
                    <a:pt x="228489" y="499179"/>
                  </a:lnTo>
                  <a:lnTo>
                    <a:pt x="225736" y="499179"/>
                  </a:lnTo>
                  <a:lnTo>
                    <a:pt x="224042" y="500298"/>
                  </a:lnTo>
                  <a:lnTo>
                    <a:pt x="225766" y="500903"/>
                  </a:lnTo>
                  <a:lnTo>
                    <a:pt x="225827" y="501569"/>
                  </a:lnTo>
                  <a:lnTo>
                    <a:pt x="225676" y="501750"/>
                  </a:lnTo>
                  <a:lnTo>
                    <a:pt x="225978" y="501902"/>
                  </a:lnTo>
                  <a:lnTo>
                    <a:pt x="227128" y="502083"/>
                  </a:lnTo>
                  <a:lnTo>
                    <a:pt x="228096" y="502507"/>
                  </a:lnTo>
                  <a:lnTo>
                    <a:pt x="228519" y="503233"/>
                  </a:lnTo>
                  <a:lnTo>
                    <a:pt x="228882" y="503354"/>
                  </a:lnTo>
                  <a:lnTo>
                    <a:pt x="230425" y="506046"/>
                  </a:lnTo>
                  <a:lnTo>
                    <a:pt x="230637" y="506560"/>
                  </a:lnTo>
                  <a:lnTo>
                    <a:pt x="231998" y="507771"/>
                  </a:lnTo>
                  <a:lnTo>
                    <a:pt x="233329" y="508376"/>
                  </a:lnTo>
                  <a:lnTo>
                    <a:pt x="234842" y="508527"/>
                  </a:lnTo>
                  <a:lnTo>
                    <a:pt x="236778" y="508345"/>
                  </a:lnTo>
                  <a:lnTo>
                    <a:pt x="242011" y="506681"/>
                  </a:lnTo>
                  <a:lnTo>
                    <a:pt x="243706" y="506560"/>
                  </a:lnTo>
                  <a:lnTo>
                    <a:pt x="247063" y="507680"/>
                  </a:lnTo>
                  <a:lnTo>
                    <a:pt x="248455" y="506923"/>
                  </a:lnTo>
                  <a:lnTo>
                    <a:pt x="248606" y="503656"/>
                  </a:lnTo>
                  <a:lnTo>
                    <a:pt x="249695" y="504352"/>
                  </a:lnTo>
                  <a:lnTo>
                    <a:pt x="250875" y="504594"/>
                  </a:lnTo>
                  <a:lnTo>
                    <a:pt x="253416" y="504594"/>
                  </a:lnTo>
                  <a:lnTo>
                    <a:pt x="253204" y="503626"/>
                  </a:lnTo>
                  <a:lnTo>
                    <a:pt x="252811" y="503112"/>
                  </a:lnTo>
                  <a:lnTo>
                    <a:pt x="252176" y="502840"/>
                  </a:lnTo>
                  <a:lnTo>
                    <a:pt x="251359" y="502688"/>
                  </a:lnTo>
                  <a:lnTo>
                    <a:pt x="253083" y="502325"/>
                  </a:lnTo>
                  <a:lnTo>
                    <a:pt x="254566" y="502446"/>
                  </a:lnTo>
                  <a:lnTo>
                    <a:pt x="255988" y="502234"/>
                  </a:lnTo>
                  <a:lnTo>
                    <a:pt x="257530" y="500813"/>
                  </a:lnTo>
                  <a:lnTo>
                    <a:pt x="256774" y="502658"/>
                  </a:lnTo>
                  <a:lnTo>
                    <a:pt x="255262" y="504201"/>
                  </a:lnTo>
                  <a:lnTo>
                    <a:pt x="253477" y="505199"/>
                  </a:lnTo>
                  <a:lnTo>
                    <a:pt x="251964" y="505471"/>
                  </a:lnTo>
                  <a:lnTo>
                    <a:pt x="252993" y="506349"/>
                  </a:lnTo>
                  <a:lnTo>
                    <a:pt x="253598" y="506258"/>
                  </a:lnTo>
                  <a:lnTo>
                    <a:pt x="254172" y="505744"/>
                  </a:lnTo>
                  <a:lnTo>
                    <a:pt x="255080" y="505471"/>
                  </a:lnTo>
                  <a:lnTo>
                    <a:pt x="258862" y="505471"/>
                  </a:lnTo>
                  <a:lnTo>
                    <a:pt x="262159" y="504443"/>
                  </a:lnTo>
                  <a:lnTo>
                    <a:pt x="263460" y="504292"/>
                  </a:lnTo>
                  <a:lnTo>
                    <a:pt x="265033" y="504534"/>
                  </a:lnTo>
                  <a:lnTo>
                    <a:pt x="272717" y="507347"/>
                  </a:lnTo>
                  <a:lnTo>
                    <a:pt x="274562" y="507347"/>
                  </a:lnTo>
                  <a:lnTo>
                    <a:pt x="277285" y="506923"/>
                  </a:lnTo>
                  <a:lnTo>
                    <a:pt x="278918" y="507347"/>
                  </a:lnTo>
                  <a:lnTo>
                    <a:pt x="276831" y="507226"/>
                  </a:lnTo>
                  <a:lnTo>
                    <a:pt x="273140" y="508164"/>
                  </a:lnTo>
                  <a:lnTo>
                    <a:pt x="266878" y="508466"/>
                  </a:lnTo>
                  <a:lnTo>
                    <a:pt x="265759" y="509404"/>
                  </a:lnTo>
                  <a:lnTo>
                    <a:pt x="267181" y="511189"/>
                  </a:lnTo>
                  <a:lnTo>
                    <a:pt x="266364" y="513791"/>
                  </a:lnTo>
                  <a:lnTo>
                    <a:pt x="267634" y="514547"/>
                  </a:lnTo>
                  <a:lnTo>
                    <a:pt x="269752" y="514759"/>
                  </a:lnTo>
                  <a:lnTo>
                    <a:pt x="271385" y="515787"/>
                  </a:lnTo>
                  <a:lnTo>
                    <a:pt x="270478" y="517723"/>
                  </a:lnTo>
                  <a:lnTo>
                    <a:pt x="272142" y="518328"/>
                  </a:lnTo>
                  <a:lnTo>
                    <a:pt x="274622" y="518389"/>
                  </a:lnTo>
                  <a:lnTo>
                    <a:pt x="276165" y="518661"/>
                  </a:lnTo>
                  <a:lnTo>
                    <a:pt x="275833" y="519568"/>
                  </a:lnTo>
                  <a:lnTo>
                    <a:pt x="272384" y="521353"/>
                  </a:lnTo>
                  <a:lnTo>
                    <a:pt x="271416" y="522412"/>
                  </a:lnTo>
                  <a:lnTo>
                    <a:pt x="270659" y="521535"/>
                  </a:lnTo>
                  <a:lnTo>
                    <a:pt x="271083" y="521293"/>
                  </a:lnTo>
                  <a:lnTo>
                    <a:pt x="271204" y="521293"/>
                  </a:lnTo>
                  <a:lnTo>
                    <a:pt x="271416" y="520537"/>
                  </a:lnTo>
                  <a:lnTo>
                    <a:pt x="269722" y="520234"/>
                  </a:lnTo>
                  <a:lnTo>
                    <a:pt x="268693" y="519811"/>
                  </a:lnTo>
                  <a:lnTo>
                    <a:pt x="267634" y="519750"/>
                  </a:lnTo>
                  <a:lnTo>
                    <a:pt x="259618" y="524167"/>
                  </a:lnTo>
                  <a:lnTo>
                    <a:pt x="263792" y="526648"/>
                  </a:lnTo>
                  <a:lnTo>
                    <a:pt x="264942" y="528735"/>
                  </a:lnTo>
                  <a:lnTo>
                    <a:pt x="265093" y="532698"/>
                  </a:lnTo>
                  <a:lnTo>
                    <a:pt x="265850" y="532698"/>
                  </a:lnTo>
                  <a:lnTo>
                    <a:pt x="266394" y="531367"/>
                  </a:lnTo>
                  <a:lnTo>
                    <a:pt x="266334" y="530822"/>
                  </a:lnTo>
                  <a:lnTo>
                    <a:pt x="265850" y="529824"/>
                  </a:lnTo>
                  <a:lnTo>
                    <a:pt x="266152" y="529552"/>
                  </a:lnTo>
                  <a:lnTo>
                    <a:pt x="266485" y="529340"/>
                  </a:lnTo>
                  <a:lnTo>
                    <a:pt x="267211" y="529007"/>
                  </a:lnTo>
                  <a:lnTo>
                    <a:pt x="268754" y="530913"/>
                  </a:lnTo>
                  <a:lnTo>
                    <a:pt x="270781" y="532728"/>
                  </a:lnTo>
                  <a:lnTo>
                    <a:pt x="271718" y="534543"/>
                  </a:lnTo>
                  <a:lnTo>
                    <a:pt x="269994" y="536419"/>
                  </a:lnTo>
                  <a:lnTo>
                    <a:pt x="267725" y="536782"/>
                  </a:lnTo>
                  <a:lnTo>
                    <a:pt x="263399" y="534876"/>
                  </a:lnTo>
                  <a:lnTo>
                    <a:pt x="261100" y="534573"/>
                  </a:lnTo>
                  <a:lnTo>
                    <a:pt x="261100" y="535511"/>
                  </a:lnTo>
                  <a:lnTo>
                    <a:pt x="270508" y="540079"/>
                  </a:lnTo>
                  <a:lnTo>
                    <a:pt x="273443" y="540170"/>
                  </a:lnTo>
                  <a:lnTo>
                    <a:pt x="273533" y="539807"/>
                  </a:lnTo>
                  <a:lnTo>
                    <a:pt x="273685" y="538960"/>
                  </a:lnTo>
                  <a:lnTo>
                    <a:pt x="274048" y="538052"/>
                  </a:lnTo>
                  <a:lnTo>
                    <a:pt x="274864" y="537387"/>
                  </a:lnTo>
                  <a:lnTo>
                    <a:pt x="275621" y="537236"/>
                  </a:lnTo>
                  <a:lnTo>
                    <a:pt x="276559" y="537175"/>
                  </a:lnTo>
                  <a:lnTo>
                    <a:pt x="278222" y="537356"/>
                  </a:lnTo>
                  <a:lnTo>
                    <a:pt x="279856" y="538234"/>
                  </a:lnTo>
                  <a:lnTo>
                    <a:pt x="282306" y="540866"/>
                  </a:lnTo>
                  <a:lnTo>
                    <a:pt x="283819" y="542106"/>
                  </a:lnTo>
                  <a:lnTo>
                    <a:pt x="285634" y="542771"/>
                  </a:lnTo>
                  <a:lnTo>
                    <a:pt x="287600" y="542771"/>
                  </a:lnTo>
                  <a:lnTo>
                    <a:pt x="289506" y="542106"/>
                  </a:lnTo>
                  <a:lnTo>
                    <a:pt x="291866" y="539928"/>
                  </a:lnTo>
                  <a:lnTo>
                    <a:pt x="294861" y="539111"/>
                  </a:lnTo>
                  <a:lnTo>
                    <a:pt x="295889" y="538234"/>
                  </a:lnTo>
                  <a:lnTo>
                    <a:pt x="296434" y="537387"/>
                  </a:lnTo>
                  <a:lnTo>
                    <a:pt x="296827" y="536510"/>
                  </a:lnTo>
                  <a:lnTo>
                    <a:pt x="297523" y="535511"/>
                  </a:lnTo>
                  <a:lnTo>
                    <a:pt x="300699" y="533726"/>
                  </a:lnTo>
                  <a:lnTo>
                    <a:pt x="314585" y="532849"/>
                  </a:lnTo>
                  <a:lnTo>
                    <a:pt x="318396" y="533877"/>
                  </a:lnTo>
                  <a:lnTo>
                    <a:pt x="319818" y="535209"/>
                  </a:lnTo>
                  <a:lnTo>
                    <a:pt x="320726" y="535511"/>
                  </a:lnTo>
                  <a:lnTo>
                    <a:pt x="323085" y="535723"/>
                  </a:lnTo>
                  <a:lnTo>
                    <a:pt x="325112" y="536328"/>
                  </a:lnTo>
                  <a:lnTo>
                    <a:pt x="328561" y="538264"/>
                  </a:lnTo>
                  <a:lnTo>
                    <a:pt x="332100" y="540987"/>
                  </a:lnTo>
                  <a:lnTo>
                    <a:pt x="335125" y="544314"/>
                  </a:lnTo>
                  <a:lnTo>
                    <a:pt x="336880" y="545615"/>
                  </a:lnTo>
                  <a:lnTo>
                    <a:pt x="340994" y="546401"/>
                  </a:lnTo>
                  <a:lnTo>
                    <a:pt x="343021" y="547642"/>
                  </a:lnTo>
                  <a:lnTo>
                    <a:pt x="337576" y="547490"/>
                  </a:lnTo>
                  <a:lnTo>
                    <a:pt x="335277" y="546553"/>
                  </a:lnTo>
                  <a:lnTo>
                    <a:pt x="333038" y="544345"/>
                  </a:lnTo>
                  <a:lnTo>
                    <a:pt x="332009" y="543709"/>
                  </a:lnTo>
                  <a:lnTo>
                    <a:pt x="327835" y="542953"/>
                  </a:lnTo>
                  <a:lnTo>
                    <a:pt x="323721" y="540170"/>
                  </a:lnTo>
                  <a:lnTo>
                    <a:pt x="323721" y="539171"/>
                  </a:lnTo>
                  <a:lnTo>
                    <a:pt x="325778" y="539171"/>
                  </a:lnTo>
                  <a:lnTo>
                    <a:pt x="324870" y="538294"/>
                  </a:lnTo>
                  <a:lnTo>
                    <a:pt x="323902" y="537719"/>
                  </a:lnTo>
                  <a:lnTo>
                    <a:pt x="322813" y="537447"/>
                  </a:lnTo>
                  <a:lnTo>
                    <a:pt x="321663" y="537447"/>
                  </a:lnTo>
                  <a:lnTo>
                    <a:pt x="322359" y="538355"/>
                  </a:lnTo>
                  <a:lnTo>
                    <a:pt x="320816" y="538355"/>
                  </a:lnTo>
                  <a:lnTo>
                    <a:pt x="315674" y="537145"/>
                  </a:lnTo>
                  <a:lnTo>
                    <a:pt x="314917" y="536510"/>
                  </a:lnTo>
                  <a:lnTo>
                    <a:pt x="314101" y="535572"/>
                  </a:lnTo>
                  <a:lnTo>
                    <a:pt x="313344" y="535693"/>
                  </a:lnTo>
                  <a:lnTo>
                    <a:pt x="312679" y="535995"/>
                  </a:lnTo>
                  <a:lnTo>
                    <a:pt x="311983" y="536479"/>
                  </a:lnTo>
                  <a:lnTo>
                    <a:pt x="302726" y="537356"/>
                  </a:lnTo>
                  <a:lnTo>
                    <a:pt x="300306" y="538325"/>
                  </a:lnTo>
                  <a:lnTo>
                    <a:pt x="299429" y="539474"/>
                  </a:lnTo>
                  <a:lnTo>
                    <a:pt x="298763" y="541107"/>
                  </a:lnTo>
                  <a:lnTo>
                    <a:pt x="298370" y="542862"/>
                  </a:lnTo>
                  <a:lnTo>
                    <a:pt x="298249" y="544375"/>
                  </a:lnTo>
                  <a:lnTo>
                    <a:pt x="298521" y="546432"/>
                  </a:lnTo>
                  <a:lnTo>
                    <a:pt x="299580" y="548550"/>
                  </a:lnTo>
                  <a:lnTo>
                    <a:pt x="299580" y="550395"/>
                  </a:lnTo>
                  <a:lnTo>
                    <a:pt x="299247" y="552421"/>
                  </a:lnTo>
                  <a:lnTo>
                    <a:pt x="298945" y="553541"/>
                  </a:lnTo>
                  <a:lnTo>
                    <a:pt x="298158" y="554025"/>
                  </a:lnTo>
                  <a:lnTo>
                    <a:pt x="294891" y="554448"/>
                  </a:lnTo>
                  <a:lnTo>
                    <a:pt x="293711" y="555205"/>
                  </a:lnTo>
                  <a:lnTo>
                    <a:pt x="292622" y="556143"/>
                  </a:lnTo>
                  <a:lnTo>
                    <a:pt x="291291" y="556989"/>
                  </a:lnTo>
                  <a:lnTo>
                    <a:pt x="294891" y="558805"/>
                  </a:lnTo>
                  <a:lnTo>
                    <a:pt x="306508" y="560711"/>
                  </a:lnTo>
                  <a:lnTo>
                    <a:pt x="312558" y="563826"/>
                  </a:lnTo>
                  <a:lnTo>
                    <a:pt x="314131" y="565248"/>
                  </a:lnTo>
                  <a:lnTo>
                    <a:pt x="315220" y="566821"/>
                  </a:lnTo>
                  <a:lnTo>
                    <a:pt x="316339" y="569211"/>
                  </a:lnTo>
                  <a:lnTo>
                    <a:pt x="316521" y="571480"/>
                  </a:lnTo>
                  <a:lnTo>
                    <a:pt x="314766" y="572720"/>
                  </a:lnTo>
                  <a:lnTo>
                    <a:pt x="313556" y="575110"/>
                  </a:lnTo>
                  <a:lnTo>
                    <a:pt x="311862" y="579981"/>
                  </a:lnTo>
                  <a:lnTo>
                    <a:pt x="310652" y="582007"/>
                  </a:lnTo>
                  <a:lnTo>
                    <a:pt x="306810" y="584216"/>
                  </a:lnTo>
                  <a:lnTo>
                    <a:pt x="305328" y="585638"/>
                  </a:lnTo>
                  <a:lnTo>
                    <a:pt x="305902" y="587544"/>
                  </a:lnTo>
                  <a:lnTo>
                    <a:pt x="303331" y="589268"/>
                  </a:lnTo>
                  <a:lnTo>
                    <a:pt x="302635" y="590659"/>
                  </a:lnTo>
                  <a:lnTo>
                    <a:pt x="302393" y="593594"/>
                  </a:lnTo>
                  <a:lnTo>
                    <a:pt x="302514" y="595893"/>
                  </a:lnTo>
                  <a:lnTo>
                    <a:pt x="302908" y="598464"/>
                  </a:lnTo>
                  <a:lnTo>
                    <a:pt x="303634" y="600582"/>
                  </a:lnTo>
                  <a:lnTo>
                    <a:pt x="304783" y="601459"/>
                  </a:lnTo>
                  <a:lnTo>
                    <a:pt x="307385" y="602276"/>
                  </a:lnTo>
                  <a:lnTo>
                    <a:pt x="310501" y="604333"/>
                  </a:lnTo>
                  <a:lnTo>
                    <a:pt x="316097" y="609748"/>
                  </a:lnTo>
                  <a:lnTo>
                    <a:pt x="319062" y="615345"/>
                  </a:lnTo>
                  <a:lnTo>
                    <a:pt x="319909" y="616161"/>
                  </a:lnTo>
                  <a:lnTo>
                    <a:pt x="321573" y="616312"/>
                  </a:lnTo>
                  <a:lnTo>
                    <a:pt x="323267" y="616827"/>
                  </a:lnTo>
                  <a:lnTo>
                    <a:pt x="324598" y="617825"/>
                  </a:lnTo>
                  <a:lnTo>
                    <a:pt x="325626" y="621274"/>
                  </a:lnTo>
                  <a:lnTo>
                    <a:pt x="326836" y="622575"/>
                  </a:lnTo>
                  <a:lnTo>
                    <a:pt x="328379" y="623815"/>
                  </a:lnTo>
                  <a:lnTo>
                    <a:pt x="329892" y="625418"/>
                  </a:lnTo>
                  <a:lnTo>
                    <a:pt x="330527" y="626991"/>
                  </a:lnTo>
                  <a:lnTo>
                    <a:pt x="330981" y="628806"/>
                  </a:lnTo>
                  <a:lnTo>
                    <a:pt x="331767" y="630319"/>
                  </a:lnTo>
                  <a:lnTo>
                    <a:pt x="333371" y="630954"/>
                  </a:lnTo>
                  <a:lnTo>
                    <a:pt x="332947" y="633284"/>
                  </a:lnTo>
                  <a:lnTo>
                    <a:pt x="335186" y="643116"/>
                  </a:lnTo>
                  <a:lnTo>
                    <a:pt x="336124" y="644356"/>
                  </a:lnTo>
                  <a:lnTo>
                    <a:pt x="337061" y="644840"/>
                  </a:lnTo>
                  <a:lnTo>
                    <a:pt x="337485" y="644235"/>
                  </a:lnTo>
                  <a:lnTo>
                    <a:pt x="337364" y="643085"/>
                  </a:lnTo>
                  <a:lnTo>
                    <a:pt x="336789" y="640907"/>
                  </a:lnTo>
                  <a:lnTo>
                    <a:pt x="336789" y="639243"/>
                  </a:lnTo>
                  <a:lnTo>
                    <a:pt x="337727" y="640695"/>
                  </a:lnTo>
                  <a:lnTo>
                    <a:pt x="338846" y="643630"/>
                  </a:lnTo>
                  <a:lnTo>
                    <a:pt x="339572" y="644749"/>
                  </a:lnTo>
                  <a:lnTo>
                    <a:pt x="340843" y="645475"/>
                  </a:lnTo>
                  <a:lnTo>
                    <a:pt x="343686" y="646201"/>
                  </a:lnTo>
                  <a:lnTo>
                    <a:pt x="347075" y="648924"/>
                  </a:lnTo>
                  <a:lnTo>
                    <a:pt x="352429" y="649801"/>
                  </a:lnTo>
                  <a:lnTo>
                    <a:pt x="354063" y="651253"/>
                  </a:lnTo>
                  <a:lnTo>
                    <a:pt x="353216" y="652917"/>
                  </a:lnTo>
                  <a:lnTo>
                    <a:pt x="355908" y="653704"/>
                  </a:lnTo>
                  <a:lnTo>
                    <a:pt x="362654" y="653976"/>
                  </a:lnTo>
                  <a:lnTo>
                    <a:pt x="365407" y="654490"/>
                  </a:lnTo>
                  <a:lnTo>
                    <a:pt x="367736" y="655972"/>
                  </a:lnTo>
                  <a:lnTo>
                    <a:pt x="369340" y="658423"/>
                  </a:lnTo>
                  <a:lnTo>
                    <a:pt x="369945" y="661811"/>
                  </a:lnTo>
                  <a:lnTo>
                    <a:pt x="371034" y="664655"/>
                  </a:lnTo>
                  <a:lnTo>
                    <a:pt x="373575" y="664775"/>
                  </a:lnTo>
                  <a:lnTo>
                    <a:pt x="378929" y="663202"/>
                  </a:lnTo>
                  <a:lnTo>
                    <a:pt x="380291" y="663717"/>
                  </a:lnTo>
                  <a:lnTo>
                    <a:pt x="382560" y="665532"/>
                  </a:lnTo>
                  <a:lnTo>
                    <a:pt x="385645" y="667256"/>
                  </a:lnTo>
                  <a:lnTo>
                    <a:pt x="386644" y="667437"/>
                  </a:lnTo>
                  <a:lnTo>
                    <a:pt x="388247" y="667861"/>
                  </a:lnTo>
                  <a:lnTo>
                    <a:pt x="390092" y="670402"/>
                  </a:lnTo>
                  <a:lnTo>
                    <a:pt x="391998" y="672580"/>
                  </a:lnTo>
                  <a:lnTo>
                    <a:pt x="394690" y="673276"/>
                  </a:lnTo>
                  <a:lnTo>
                    <a:pt x="394569" y="669041"/>
                  </a:lnTo>
                  <a:lnTo>
                    <a:pt x="398290" y="666984"/>
                  </a:lnTo>
                  <a:lnTo>
                    <a:pt x="402798" y="667256"/>
                  </a:lnTo>
                  <a:lnTo>
                    <a:pt x="404976" y="670100"/>
                  </a:lnTo>
                  <a:lnTo>
                    <a:pt x="405248" y="672005"/>
                  </a:lnTo>
                  <a:lnTo>
                    <a:pt x="405702" y="673155"/>
                  </a:lnTo>
                  <a:lnTo>
                    <a:pt x="405793" y="674244"/>
                  </a:lnTo>
                  <a:lnTo>
                    <a:pt x="404976" y="675938"/>
                  </a:lnTo>
                  <a:lnTo>
                    <a:pt x="398048" y="679901"/>
                  </a:lnTo>
                  <a:lnTo>
                    <a:pt x="396959" y="681656"/>
                  </a:lnTo>
                  <a:lnTo>
                    <a:pt x="397504" y="684227"/>
                  </a:lnTo>
                  <a:lnTo>
                    <a:pt x="396566" y="684802"/>
                  </a:lnTo>
                  <a:lnTo>
                    <a:pt x="395568" y="685951"/>
                  </a:lnTo>
                  <a:lnTo>
                    <a:pt x="394932" y="687252"/>
                  </a:lnTo>
                  <a:lnTo>
                    <a:pt x="395053" y="688372"/>
                  </a:lnTo>
                  <a:lnTo>
                    <a:pt x="396021" y="689309"/>
                  </a:lnTo>
                  <a:lnTo>
                    <a:pt x="396869" y="689461"/>
                  </a:lnTo>
                  <a:lnTo>
                    <a:pt x="397776" y="689400"/>
                  </a:lnTo>
                  <a:lnTo>
                    <a:pt x="398805" y="689672"/>
                  </a:lnTo>
                  <a:lnTo>
                    <a:pt x="400317" y="689582"/>
                  </a:lnTo>
                  <a:lnTo>
                    <a:pt x="400862" y="689672"/>
                  </a:lnTo>
                  <a:lnTo>
                    <a:pt x="400983" y="690065"/>
                  </a:lnTo>
                  <a:lnTo>
                    <a:pt x="400862" y="690701"/>
                  </a:lnTo>
                  <a:lnTo>
                    <a:pt x="400862" y="691306"/>
                  </a:lnTo>
                  <a:lnTo>
                    <a:pt x="401255" y="691578"/>
                  </a:lnTo>
                  <a:lnTo>
                    <a:pt x="402011" y="691760"/>
                  </a:lnTo>
                  <a:lnTo>
                    <a:pt x="404371" y="693393"/>
                  </a:lnTo>
                  <a:lnTo>
                    <a:pt x="403161" y="694482"/>
                  </a:lnTo>
                  <a:lnTo>
                    <a:pt x="403161" y="695057"/>
                  </a:lnTo>
                  <a:lnTo>
                    <a:pt x="403766" y="695481"/>
                  </a:lnTo>
                  <a:lnTo>
                    <a:pt x="404371" y="696116"/>
                  </a:lnTo>
                  <a:lnTo>
                    <a:pt x="404704" y="696328"/>
                  </a:lnTo>
                  <a:lnTo>
                    <a:pt x="406004" y="696721"/>
                  </a:lnTo>
                  <a:lnTo>
                    <a:pt x="406367" y="696933"/>
                  </a:lnTo>
                  <a:lnTo>
                    <a:pt x="406488" y="697447"/>
                  </a:lnTo>
                  <a:lnTo>
                    <a:pt x="406488" y="698687"/>
                  </a:lnTo>
                  <a:lnTo>
                    <a:pt x="407184" y="700502"/>
                  </a:lnTo>
                  <a:lnTo>
                    <a:pt x="407275" y="701864"/>
                  </a:lnTo>
                  <a:lnTo>
                    <a:pt x="407638" y="702953"/>
                  </a:lnTo>
                  <a:lnTo>
                    <a:pt x="409544" y="703588"/>
                  </a:lnTo>
                  <a:lnTo>
                    <a:pt x="410209" y="704072"/>
                  </a:lnTo>
                  <a:lnTo>
                    <a:pt x="410784" y="704677"/>
                  </a:lnTo>
                  <a:lnTo>
                    <a:pt x="411208" y="705282"/>
                  </a:lnTo>
                  <a:lnTo>
                    <a:pt x="411208" y="706099"/>
                  </a:lnTo>
                  <a:lnTo>
                    <a:pt x="410088" y="708337"/>
                  </a:lnTo>
                  <a:lnTo>
                    <a:pt x="408757" y="709457"/>
                  </a:lnTo>
                  <a:lnTo>
                    <a:pt x="407063" y="709366"/>
                  </a:lnTo>
                  <a:lnTo>
                    <a:pt x="404946" y="708035"/>
                  </a:lnTo>
                  <a:lnTo>
                    <a:pt x="406367" y="712391"/>
                  </a:lnTo>
                  <a:lnTo>
                    <a:pt x="407487" y="714176"/>
                  </a:lnTo>
                  <a:lnTo>
                    <a:pt x="409151" y="715205"/>
                  </a:lnTo>
                  <a:lnTo>
                    <a:pt x="408636" y="715568"/>
                  </a:lnTo>
                  <a:lnTo>
                    <a:pt x="407638" y="716566"/>
                  </a:lnTo>
                  <a:lnTo>
                    <a:pt x="407094" y="716989"/>
                  </a:lnTo>
                  <a:lnTo>
                    <a:pt x="407729" y="717715"/>
                  </a:lnTo>
                  <a:lnTo>
                    <a:pt x="408455" y="718865"/>
                  </a:lnTo>
                  <a:lnTo>
                    <a:pt x="409060" y="720226"/>
                  </a:lnTo>
                  <a:lnTo>
                    <a:pt x="409181" y="721618"/>
                  </a:lnTo>
                  <a:lnTo>
                    <a:pt x="408757" y="723161"/>
                  </a:lnTo>
                  <a:lnTo>
                    <a:pt x="408122" y="723493"/>
                  </a:lnTo>
                  <a:lnTo>
                    <a:pt x="407305" y="723312"/>
                  </a:lnTo>
                  <a:lnTo>
                    <a:pt x="406367" y="723433"/>
                  </a:lnTo>
                  <a:lnTo>
                    <a:pt x="404794" y="724310"/>
                  </a:lnTo>
                  <a:lnTo>
                    <a:pt x="403675" y="725248"/>
                  </a:lnTo>
                  <a:lnTo>
                    <a:pt x="403191" y="725823"/>
                  </a:lnTo>
                  <a:lnTo>
                    <a:pt x="402677" y="726609"/>
                  </a:lnTo>
                  <a:lnTo>
                    <a:pt x="401981" y="727396"/>
                  </a:lnTo>
                  <a:lnTo>
                    <a:pt x="400862" y="727940"/>
                  </a:lnTo>
                  <a:lnTo>
                    <a:pt x="401709" y="729302"/>
                  </a:lnTo>
                  <a:lnTo>
                    <a:pt x="402374" y="731238"/>
                  </a:lnTo>
                  <a:lnTo>
                    <a:pt x="402828" y="733204"/>
                  </a:lnTo>
                  <a:lnTo>
                    <a:pt x="402979" y="734747"/>
                  </a:lnTo>
                  <a:lnTo>
                    <a:pt x="403524" y="735927"/>
                  </a:lnTo>
                  <a:lnTo>
                    <a:pt x="406125" y="738801"/>
                  </a:lnTo>
                  <a:lnTo>
                    <a:pt x="415171" y="745547"/>
                  </a:lnTo>
                  <a:lnTo>
                    <a:pt x="417439" y="747906"/>
                  </a:lnTo>
                  <a:lnTo>
                    <a:pt x="410391" y="744881"/>
                  </a:lnTo>
                  <a:lnTo>
                    <a:pt x="409181" y="743822"/>
                  </a:lnTo>
                  <a:lnTo>
                    <a:pt x="408031" y="743127"/>
                  </a:lnTo>
                  <a:lnTo>
                    <a:pt x="401618" y="736169"/>
                  </a:lnTo>
                  <a:lnTo>
                    <a:pt x="399652" y="736078"/>
                  </a:lnTo>
                  <a:lnTo>
                    <a:pt x="392966" y="737984"/>
                  </a:lnTo>
                  <a:lnTo>
                    <a:pt x="392966" y="739678"/>
                  </a:lnTo>
                  <a:lnTo>
                    <a:pt x="391272" y="748905"/>
                  </a:lnTo>
                  <a:lnTo>
                    <a:pt x="393057" y="749570"/>
                  </a:lnTo>
                  <a:lnTo>
                    <a:pt x="396596" y="748844"/>
                  </a:lnTo>
                  <a:lnTo>
                    <a:pt x="398472" y="750145"/>
                  </a:lnTo>
                  <a:lnTo>
                    <a:pt x="399712" y="751658"/>
                  </a:lnTo>
                  <a:lnTo>
                    <a:pt x="401134" y="752989"/>
                  </a:lnTo>
                  <a:lnTo>
                    <a:pt x="402798" y="753927"/>
                  </a:lnTo>
                  <a:lnTo>
                    <a:pt x="404704" y="754290"/>
                  </a:lnTo>
                  <a:lnTo>
                    <a:pt x="407729" y="755409"/>
                  </a:lnTo>
                  <a:lnTo>
                    <a:pt x="413114" y="760370"/>
                  </a:lnTo>
                  <a:lnTo>
                    <a:pt x="416441" y="761489"/>
                  </a:lnTo>
                  <a:lnTo>
                    <a:pt x="417076" y="762064"/>
                  </a:lnTo>
                  <a:lnTo>
                    <a:pt x="417470" y="764544"/>
                  </a:lnTo>
                  <a:lnTo>
                    <a:pt x="417803" y="765089"/>
                  </a:lnTo>
                  <a:lnTo>
                    <a:pt x="432051" y="774649"/>
                  </a:lnTo>
                  <a:lnTo>
                    <a:pt x="436710" y="779580"/>
                  </a:lnTo>
                  <a:lnTo>
                    <a:pt x="438948" y="782877"/>
                  </a:lnTo>
                  <a:lnTo>
                    <a:pt x="440975" y="786568"/>
                  </a:lnTo>
                  <a:lnTo>
                    <a:pt x="444333" y="794856"/>
                  </a:lnTo>
                  <a:lnTo>
                    <a:pt x="445664" y="799939"/>
                  </a:lnTo>
                  <a:lnTo>
                    <a:pt x="449476" y="825047"/>
                  </a:lnTo>
                  <a:lnTo>
                    <a:pt x="450746" y="829192"/>
                  </a:lnTo>
                  <a:lnTo>
                    <a:pt x="452592" y="832580"/>
                  </a:lnTo>
                  <a:lnTo>
                    <a:pt x="456192" y="835152"/>
                  </a:lnTo>
                  <a:lnTo>
                    <a:pt x="460578" y="836452"/>
                  </a:lnTo>
                  <a:lnTo>
                    <a:pt x="464571" y="838268"/>
                  </a:lnTo>
                  <a:lnTo>
                    <a:pt x="467112" y="842382"/>
                  </a:lnTo>
                  <a:lnTo>
                    <a:pt x="464844" y="840627"/>
                  </a:lnTo>
                  <a:lnTo>
                    <a:pt x="462544" y="839568"/>
                  </a:lnTo>
                  <a:lnTo>
                    <a:pt x="459943" y="839054"/>
                  </a:lnTo>
                  <a:lnTo>
                    <a:pt x="456827" y="838903"/>
                  </a:lnTo>
                  <a:lnTo>
                    <a:pt x="459217" y="840264"/>
                  </a:lnTo>
                  <a:lnTo>
                    <a:pt x="461455" y="842382"/>
                  </a:lnTo>
                  <a:lnTo>
                    <a:pt x="462605" y="845225"/>
                  </a:lnTo>
                  <a:lnTo>
                    <a:pt x="461667" y="848734"/>
                  </a:lnTo>
                  <a:lnTo>
                    <a:pt x="462272" y="850338"/>
                  </a:lnTo>
                  <a:lnTo>
                    <a:pt x="462635" y="854028"/>
                  </a:lnTo>
                  <a:lnTo>
                    <a:pt x="463028" y="855843"/>
                  </a:lnTo>
                  <a:lnTo>
                    <a:pt x="461667" y="854876"/>
                  </a:lnTo>
                  <a:lnTo>
                    <a:pt x="460820" y="852758"/>
                  </a:lnTo>
                  <a:lnTo>
                    <a:pt x="460397" y="850065"/>
                  </a:lnTo>
                  <a:lnTo>
                    <a:pt x="460275" y="847343"/>
                  </a:lnTo>
                  <a:lnTo>
                    <a:pt x="460578" y="845255"/>
                  </a:lnTo>
                  <a:lnTo>
                    <a:pt x="460427" y="844045"/>
                  </a:lnTo>
                  <a:lnTo>
                    <a:pt x="459610" y="842412"/>
                  </a:lnTo>
                  <a:lnTo>
                    <a:pt x="458702" y="841474"/>
                  </a:lnTo>
                  <a:lnTo>
                    <a:pt x="455466" y="839720"/>
                  </a:lnTo>
                  <a:lnTo>
                    <a:pt x="451624" y="836271"/>
                  </a:lnTo>
                  <a:lnTo>
                    <a:pt x="448205" y="832157"/>
                  </a:lnTo>
                  <a:lnTo>
                    <a:pt x="444817" y="824594"/>
                  </a:lnTo>
                  <a:lnTo>
                    <a:pt x="444424" y="823081"/>
                  </a:lnTo>
                  <a:lnTo>
                    <a:pt x="442548" y="810920"/>
                  </a:lnTo>
                  <a:lnTo>
                    <a:pt x="441217" y="806050"/>
                  </a:lnTo>
                  <a:lnTo>
                    <a:pt x="440945" y="803418"/>
                  </a:lnTo>
                  <a:lnTo>
                    <a:pt x="439765" y="799455"/>
                  </a:lnTo>
                  <a:lnTo>
                    <a:pt x="436952" y="795613"/>
                  </a:lnTo>
                  <a:lnTo>
                    <a:pt x="424760" y="783119"/>
                  </a:lnTo>
                  <a:lnTo>
                    <a:pt x="423217" y="782695"/>
                  </a:lnTo>
                  <a:lnTo>
                    <a:pt x="418982" y="780487"/>
                  </a:lnTo>
                  <a:lnTo>
                    <a:pt x="412236" y="775647"/>
                  </a:lnTo>
                  <a:lnTo>
                    <a:pt x="411359" y="774618"/>
                  </a:lnTo>
                  <a:lnTo>
                    <a:pt x="410300" y="773045"/>
                  </a:lnTo>
                  <a:lnTo>
                    <a:pt x="409998" y="772350"/>
                  </a:lnTo>
                  <a:lnTo>
                    <a:pt x="409998" y="771654"/>
                  </a:lnTo>
                  <a:lnTo>
                    <a:pt x="410209" y="770958"/>
                  </a:lnTo>
                  <a:lnTo>
                    <a:pt x="410482" y="770535"/>
                  </a:lnTo>
                  <a:lnTo>
                    <a:pt x="410542" y="769052"/>
                  </a:lnTo>
                  <a:lnTo>
                    <a:pt x="410603" y="768054"/>
                  </a:lnTo>
                  <a:lnTo>
                    <a:pt x="410361" y="767479"/>
                  </a:lnTo>
                  <a:lnTo>
                    <a:pt x="409302" y="766995"/>
                  </a:lnTo>
                  <a:lnTo>
                    <a:pt x="407668" y="767540"/>
                  </a:lnTo>
                  <a:lnTo>
                    <a:pt x="406216" y="769597"/>
                  </a:lnTo>
                  <a:lnTo>
                    <a:pt x="402798" y="776010"/>
                  </a:lnTo>
                  <a:lnTo>
                    <a:pt x="402163" y="777946"/>
                  </a:lnTo>
                  <a:lnTo>
                    <a:pt x="400347" y="805687"/>
                  </a:lnTo>
                  <a:lnTo>
                    <a:pt x="396173" y="826409"/>
                  </a:lnTo>
                  <a:lnTo>
                    <a:pt x="390032" y="890663"/>
                  </a:lnTo>
                  <a:lnTo>
                    <a:pt x="390697" y="889211"/>
                  </a:lnTo>
                  <a:lnTo>
                    <a:pt x="391605" y="886095"/>
                  </a:lnTo>
                  <a:lnTo>
                    <a:pt x="392754" y="880377"/>
                  </a:lnTo>
                  <a:lnTo>
                    <a:pt x="397292" y="874025"/>
                  </a:lnTo>
                  <a:lnTo>
                    <a:pt x="397958" y="872814"/>
                  </a:lnTo>
                  <a:lnTo>
                    <a:pt x="398200" y="872603"/>
                  </a:lnTo>
                  <a:lnTo>
                    <a:pt x="398351" y="872088"/>
                  </a:lnTo>
                  <a:lnTo>
                    <a:pt x="398532" y="871544"/>
                  </a:lnTo>
                  <a:lnTo>
                    <a:pt x="398956" y="871151"/>
                  </a:lnTo>
                  <a:lnTo>
                    <a:pt x="399652" y="871090"/>
                  </a:lnTo>
                  <a:lnTo>
                    <a:pt x="400136" y="871362"/>
                  </a:lnTo>
                  <a:lnTo>
                    <a:pt x="400559" y="871756"/>
                  </a:lnTo>
                  <a:lnTo>
                    <a:pt x="401013" y="872028"/>
                  </a:lnTo>
                  <a:lnTo>
                    <a:pt x="402102" y="872451"/>
                  </a:lnTo>
                  <a:lnTo>
                    <a:pt x="409695" y="879016"/>
                  </a:lnTo>
                  <a:lnTo>
                    <a:pt x="410693" y="880892"/>
                  </a:lnTo>
                  <a:lnTo>
                    <a:pt x="409332" y="880892"/>
                  </a:lnTo>
                  <a:lnTo>
                    <a:pt x="411813" y="883281"/>
                  </a:lnTo>
                  <a:lnTo>
                    <a:pt x="411813" y="885248"/>
                  </a:lnTo>
                  <a:lnTo>
                    <a:pt x="409756" y="886579"/>
                  </a:lnTo>
                  <a:lnTo>
                    <a:pt x="406216" y="887063"/>
                  </a:lnTo>
                  <a:lnTo>
                    <a:pt x="400045" y="885671"/>
                  </a:lnTo>
                  <a:lnTo>
                    <a:pt x="397504" y="885762"/>
                  </a:lnTo>
                  <a:lnTo>
                    <a:pt x="395507" y="888031"/>
                  </a:lnTo>
                  <a:lnTo>
                    <a:pt x="393722" y="893990"/>
                  </a:lnTo>
                  <a:lnTo>
                    <a:pt x="393450" y="895564"/>
                  </a:lnTo>
                  <a:lnTo>
                    <a:pt x="393057" y="896411"/>
                  </a:lnTo>
                  <a:lnTo>
                    <a:pt x="390395" y="899980"/>
                  </a:lnTo>
                  <a:lnTo>
                    <a:pt x="390274" y="901069"/>
                  </a:lnTo>
                  <a:lnTo>
                    <a:pt x="391121" y="904730"/>
                  </a:lnTo>
                  <a:lnTo>
                    <a:pt x="391363" y="906636"/>
                  </a:lnTo>
                  <a:lnTo>
                    <a:pt x="390667" y="914652"/>
                  </a:lnTo>
                  <a:lnTo>
                    <a:pt x="387914" y="932773"/>
                  </a:lnTo>
                  <a:lnTo>
                    <a:pt x="381410" y="969165"/>
                  </a:lnTo>
                  <a:lnTo>
                    <a:pt x="377871" y="985773"/>
                  </a:lnTo>
                  <a:lnTo>
                    <a:pt x="375481" y="993094"/>
                  </a:lnTo>
                  <a:lnTo>
                    <a:pt x="371367" y="1014028"/>
                  </a:lnTo>
                  <a:lnTo>
                    <a:pt x="368946" y="1021289"/>
                  </a:lnTo>
                  <a:lnTo>
                    <a:pt x="368251" y="1025312"/>
                  </a:lnTo>
                  <a:lnTo>
                    <a:pt x="365286" y="1029124"/>
                  </a:lnTo>
                  <a:lnTo>
                    <a:pt x="364530" y="1030576"/>
                  </a:lnTo>
                  <a:lnTo>
                    <a:pt x="360567" y="1035325"/>
                  </a:lnTo>
                  <a:lnTo>
                    <a:pt x="359689" y="1036324"/>
                  </a:lnTo>
                  <a:lnTo>
                    <a:pt x="359266" y="1037745"/>
                  </a:lnTo>
                  <a:lnTo>
                    <a:pt x="357088" y="1041678"/>
                  </a:lnTo>
                  <a:lnTo>
                    <a:pt x="356211" y="1042767"/>
                  </a:lnTo>
                  <a:lnTo>
                    <a:pt x="354335" y="1044037"/>
                  </a:lnTo>
                  <a:lnTo>
                    <a:pt x="352066" y="1045157"/>
                  </a:lnTo>
                  <a:lnTo>
                    <a:pt x="349737" y="1048212"/>
                  </a:lnTo>
                  <a:lnTo>
                    <a:pt x="340813" y="1049543"/>
                  </a:lnTo>
                  <a:lnTo>
                    <a:pt x="338967" y="1050269"/>
                  </a:lnTo>
                  <a:lnTo>
                    <a:pt x="338211" y="1051207"/>
                  </a:lnTo>
                  <a:lnTo>
                    <a:pt x="336668" y="1050179"/>
                  </a:lnTo>
                  <a:lnTo>
                    <a:pt x="336608" y="1050179"/>
                  </a:lnTo>
                  <a:lnTo>
                    <a:pt x="336335" y="1049967"/>
                  </a:lnTo>
                  <a:lnTo>
                    <a:pt x="336093" y="1051449"/>
                  </a:lnTo>
                  <a:lnTo>
                    <a:pt x="336033" y="1054111"/>
                  </a:lnTo>
                  <a:lnTo>
                    <a:pt x="336033" y="1055654"/>
                  </a:lnTo>
                  <a:lnTo>
                    <a:pt x="338937" y="1056955"/>
                  </a:lnTo>
                  <a:lnTo>
                    <a:pt x="340177" y="1058528"/>
                  </a:lnTo>
                  <a:lnTo>
                    <a:pt x="340510" y="1061009"/>
                  </a:lnTo>
                  <a:lnTo>
                    <a:pt x="340782" y="1061553"/>
                  </a:lnTo>
                  <a:lnTo>
                    <a:pt x="341024" y="1062037"/>
                  </a:lnTo>
                  <a:lnTo>
                    <a:pt x="342113" y="1061886"/>
                  </a:lnTo>
                  <a:lnTo>
                    <a:pt x="343293" y="1061342"/>
                  </a:lnTo>
                  <a:lnTo>
                    <a:pt x="345471" y="1061069"/>
                  </a:lnTo>
                  <a:lnTo>
                    <a:pt x="347498" y="1060283"/>
                  </a:lnTo>
                  <a:lnTo>
                    <a:pt x="348436" y="1060373"/>
                  </a:lnTo>
                  <a:lnTo>
                    <a:pt x="350342" y="1061221"/>
                  </a:lnTo>
                  <a:lnTo>
                    <a:pt x="351340" y="1061886"/>
                  </a:lnTo>
                  <a:lnTo>
                    <a:pt x="351340" y="1062491"/>
                  </a:lnTo>
                  <a:lnTo>
                    <a:pt x="351038" y="1063247"/>
                  </a:lnTo>
                  <a:lnTo>
                    <a:pt x="351219" y="1064367"/>
                  </a:lnTo>
                  <a:lnTo>
                    <a:pt x="351945" y="1066545"/>
                  </a:lnTo>
                  <a:lnTo>
                    <a:pt x="352459" y="1067119"/>
                  </a:lnTo>
                  <a:lnTo>
                    <a:pt x="353700" y="1067634"/>
                  </a:lnTo>
                  <a:lnTo>
                    <a:pt x="354789" y="1067785"/>
                  </a:lnTo>
                  <a:lnTo>
                    <a:pt x="356059" y="1067634"/>
                  </a:lnTo>
                  <a:lnTo>
                    <a:pt x="357148" y="1067059"/>
                  </a:lnTo>
                  <a:lnTo>
                    <a:pt x="357723" y="1065940"/>
                  </a:lnTo>
                  <a:lnTo>
                    <a:pt x="358510" y="1063762"/>
                  </a:lnTo>
                  <a:lnTo>
                    <a:pt x="360022" y="1062914"/>
                  </a:lnTo>
                  <a:lnTo>
                    <a:pt x="362019" y="1062975"/>
                  </a:lnTo>
                  <a:lnTo>
                    <a:pt x="365135" y="1063852"/>
                  </a:lnTo>
                  <a:lnTo>
                    <a:pt x="369340" y="1065879"/>
                  </a:lnTo>
                  <a:lnTo>
                    <a:pt x="370459" y="1065698"/>
                  </a:lnTo>
                  <a:lnTo>
                    <a:pt x="371578" y="1065335"/>
                  </a:lnTo>
                  <a:lnTo>
                    <a:pt x="372788" y="1065335"/>
                  </a:lnTo>
                  <a:lnTo>
                    <a:pt x="375693" y="1068088"/>
                  </a:lnTo>
                  <a:lnTo>
                    <a:pt x="376086" y="1072716"/>
                  </a:lnTo>
                  <a:lnTo>
                    <a:pt x="374997" y="1077768"/>
                  </a:lnTo>
                  <a:lnTo>
                    <a:pt x="373454" y="1081792"/>
                  </a:lnTo>
                  <a:lnTo>
                    <a:pt x="372183" y="1083364"/>
                  </a:lnTo>
                  <a:lnTo>
                    <a:pt x="368039" y="1087479"/>
                  </a:lnTo>
                  <a:lnTo>
                    <a:pt x="367222" y="1088538"/>
                  </a:lnTo>
                  <a:lnTo>
                    <a:pt x="368493" y="1091290"/>
                  </a:lnTo>
                  <a:lnTo>
                    <a:pt x="370338" y="1093196"/>
                  </a:lnTo>
                  <a:lnTo>
                    <a:pt x="372546" y="1094376"/>
                  </a:lnTo>
                  <a:lnTo>
                    <a:pt x="375027" y="1094981"/>
                  </a:lnTo>
                  <a:lnTo>
                    <a:pt x="377780" y="1095223"/>
                  </a:lnTo>
                  <a:lnTo>
                    <a:pt x="379474" y="1094709"/>
                  </a:lnTo>
                  <a:lnTo>
                    <a:pt x="380321" y="1092985"/>
                  </a:lnTo>
                  <a:lnTo>
                    <a:pt x="380563" y="1089687"/>
                  </a:lnTo>
                  <a:lnTo>
                    <a:pt x="381259" y="1087146"/>
                  </a:lnTo>
                  <a:lnTo>
                    <a:pt x="382983" y="1085331"/>
                  </a:lnTo>
                  <a:lnTo>
                    <a:pt x="385252" y="1084544"/>
                  </a:lnTo>
                  <a:lnTo>
                    <a:pt x="387521" y="1085089"/>
                  </a:lnTo>
                  <a:lnTo>
                    <a:pt x="385403" y="1086753"/>
                  </a:lnTo>
                  <a:lnTo>
                    <a:pt x="384586" y="1088386"/>
                  </a:lnTo>
                  <a:lnTo>
                    <a:pt x="385040" y="1090080"/>
                  </a:lnTo>
                  <a:lnTo>
                    <a:pt x="386734" y="1091895"/>
                  </a:lnTo>
                  <a:lnTo>
                    <a:pt x="388610" y="1092954"/>
                  </a:lnTo>
                  <a:lnTo>
                    <a:pt x="394448" y="1093892"/>
                  </a:lnTo>
                  <a:lnTo>
                    <a:pt x="397897" y="1095677"/>
                  </a:lnTo>
                  <a:lnTo>
                    <a:pt x="401164" y="1098157"/>
                  </a:lnTo>
                  <a:lnTo>
                    <a:pt x="404946" y="1097825"/>
                  </a:lnTo>
                  <a:lnTo>
                    <a:pt x="405823" y="1098157"/>
                  </a:lnTo>
                  <a:lnTo>
                    <a:pt x="407487" y="1099126"/>
                  </a:lnTo>
                  <a:lnTo>
                    <a:pt x="408243" y="1099700"/>
                  </a:lnTo>
                  <a:lnTo>
                    <a:pt x="411722" y="1100094"/>
                  </a:lnTo>
                  <a:lnTo>
                    <a:pt x="413386" y="1100547"/>
                  </a:lnTo>
                  <a:lnTo>
                    <a:pt x="414626" y="1101878"/>
                  </a:lnTo>
                  <a:lnTo>
                    <a:pt x="418135" y="1104299"/>
                  </a:lnTo>
                  <a:lnTo>
                    <a:pt x="421977" y="1105448"/>
                  </a:lnTo>
                  <a:lnTo>
                    <a:pt x="429994" y="1106053"/>
                  </a:lnTo>
                  <a:lnTo>
                    <a:pt x="437738" y="1104783"/>
                  </a:lnTo>
                  <a:lnTo>
                    <a:pt x="440431" y="1105629"/>
                  </a:lnTo>
                  <a:lnTo>
                    <a:pt x="441913" y="1109139"/>
                  </a:lnTo>
                  <a:lnTo>
                    <a:pt x="442336" y="1110137"/>
                  </a:lnTo>
                  <a:lnTo>
                    <a:pt x="442276" y="1111014"/>
                  </a:lnTo>
                  <a:lnTo>
                    <a:pt x="441943" y="1111589"/>
                  </a:lnTo>
                  <a:lnTo>
                    <a:pt x="441822" y="1112255"/>
                  </a:lnTo>
                  <a:lnTo>
                    <a:pt x="442397" y="1113404"/>
                  </a:lnTo>
                  <a:lnTo>
                    <a:pt x="443425" y="1114312"/>
                  </a:lnTo>
                  <a:lnTo>
                    <a:pt x="444424" y="1114433"/>
                  </a:lnTo>
                  <a:lnTo>
                    <a:pt x="445422" y="1114312"/>
                  </a:lnTo>
                  <a:lnTo>
                    <a:pt x="446420" y="1114463"/>
                  </a:lnTo>
                  <a:lnTo>
                    <a:pt x="449869" y="1116429"/>
                  </a:lnTo>
                  <a:lnTo>
                    <a:pt x="451654" y="1117821"/>
                  </a:lnTo>
                  <a:lnTo>
                    <a:pt x="455556" y="1122631"/>
                  </a:lnTo>
                  <a:lnTo>
                    <a:pt x="455707" y="1123175"/>
                  </a:lnTo>
                  <a:lnTo>
                    <a:pt x="455526" y="1123720"/>
                  </a:lnTo>
                  <a:lnTo>
                    <a:pt x="455526" y="1124174"/>
                  </a:lnTo>
                  <a:lnTo>
                    <a:pt x="456161" y="1124446"/>
                  </a:lnTo>
                  <a:lnTo>
                    <a:pt x="457795" y="1124446"/>
                  </a:lnTo>
                  <a:lnTo>
                    <a:pt x="458218" y="1124567"/>
                  </a:lnTo>
                  <a:lnTo>
                    <a:pt x="458793" y="1125323"/>
                  </a:lnTo>
                  <a:lnTo>
                    <a:pt x="458672" y="1126140"/>
                  </a:lnTo>
                  <a:lnTo>
                    <a:pt x="458672" y="1126896"/>
                  </a:lnTo>
                  <a:lnTo>
                    <a:pt x="459640" y="1127471"/>
                  </a:lnTo>
                  <a:lnTo>
                    <a:pt x="460427" y="1127350"/>
                  </a:lnTo>
                  <a:lnTo>
                    <a:pt x="462121" y="1126291"/>
                  </a:lnTo>
                  <a:lnTo>
                    <a:pt x="462998" y="1126019"/>
                  </a:lnTo>
                  <a:lnTo>
                    <a:pt x="463180" y="1123024"/>
                  </a:lnTo>
                  <a:lnTo>
                    <a:pt x="465751" y="1123085"/>
                  </a:lnTo>
                  <a:lnTo>
                    <a:pt x="471166" y="1125414"/>
                  </a:lnTo>
                  <a:lnTo>
                    <a:pt x="474252" y="1125202"/>
                  </a:lnTo>
                  <a:lnTo>
                    <a:pt x="476672" y="1123871"/>
                  </a:lnTo>
                  <a:lnTo>
                    <a:pt x="481512" y="1120362"/>
                  </a:lnTo>
                  <a:lnTo>
                    <a:pt x="482389" y="1121179"/>
                  </a:lnTo>
                  <a:lnTo>
                    <a:pt x="483176" y="1120907"/>
                  </a:lnTo>
                  <a:lnTo>
                    <a:pt x="483872" y="1119939"/>
                  </a:lnTo>
                  <a:lnTo>
                    <a:pt x="484416" y="1118698"/>
                  </a:lnTo>
                  <a:lnTo>
                    <a:pt x="485959" y="1120059"/>
                  </a:lnTo>
                  <a:lnTo>
                    <a:pt x="486201" y="1120181"/>
                  </a:lnTo>
                  <a:lnTo>
                    <a:pt x="492040" y="1123448"/>
                  </a:lnTo>
                  <a:lnTo>
                    <a:pt x="493249" y="1125777"/>
                  </a:lnTo>
                  <a:lnTo>
                    <a:pt x="495942" y="1126079"/>
                  </a:lnTo>
                  <a:lnTo>
                    <a:pt x="498846" y="1125323"/>
                  </a:lnTo>
                  <a:lnTo>
                    <a:pt x="500661" y="1124627"/>
                  </a:lnTo>
                  <a:lnTo>
                    <a:pt x="500419" y="1126836"/>
                  </a:lnTo>
                  <a:lnTo>
                    <a:pt x="500994" y="1129014"/>
                  </a:lnTo>
                  <a:lnTo>
                    <a:pt x="502204" y="1130890"/>
                  </a:lnTo>
                  <a:lnTo>
                    <a:pt x="503868" y="1132130"/>
                  </a:lnTo>
                  <a:lnTo>
                    <a:pt x="504473" y="1132826"/>
                  </a:lnTo>
                  <a:lnTo>
                    <a:pt x="504594" y="1133703"/>
                  </a:lnTo>
                  <a:lnTo>
                    <a:pt x="504866" y="1134520"/>
                  </a:lnTo>
                  <a:lnTo>
                    <a:pt x="505925" y="1134974"/>
                  </a:lnTo>
                  <a:lnTo>
                    <a:pt x="507196" y="1135306"/>
                  </a:lnTo>
                  <a:lnTo>
                    <a:pt x="507891" y="1135881"/>
                  </a:lnTo>
                  <a:lnTo>
                    <a:pt x="508345" y="1136516"/>
                  </a:lnTo>
                  <a:lnTo>
                    <a:pt x="508920" y="1137061"/>
                  </a:lnTo>
                  <a:lnTo>
                    <a:pt x="512913" y="1138513"/>
                  </a:lnTo>
                  <a:lnTo>
                    <a:pt x="516392" y="1138210"/>
                  </a:lnTo>
                  <a:lnTo>
                    <a:pt x="524167" y="1135578"/>
                  </a:lnTo>
                  <a:lnTo>
                    <a:pt x="530338" y="1134732"/>
                  </a:lnTo>
                  <a:lnTo>
                    <a:pt x="532213" y="1133552"/>
                  </a:lnTo>
                  <a:lnTo>
                    <a:pt x="533847" y="1133310"/>
                  </a:lnTo>
                  <a:lnTo>
                    <a:pt x="539202" y="1134580"/>
                  </a:lnTo>
                  <a:lnTo>
                    <a:pt x="540805" y="1135306"/>
                  </a:lnTo>
                  <a:lnTo>
                    <a:pt x="542953" y="1138816"/>
                  </a:lnTo>
                  <a:lnTo>
                    <a:pt x="544526" y="1140540"/>
                  </a:lnTo>
                  <a:lnTo>
                    <a:pt x="546008" y="1140328"/>
                  </a:lnTo>
                  <a:lnTo>
                    <a:pt x="548821" y="1136667"/>
                  </a:lnTo>
                  <a:lnTo>
                    <a:pt x="550606" y="1135004"/>
                  </a:lnTo>
                  <a:lnTo>
                    <a:pt x="552421" y="1134399"/>
                  </a:lnTo>
                  <a:lnTo>
                    <a:pt x="555205" y="1136577"/>
                  </a:lnTo>
                  <a:lnTo>
                    <a:pt x="555416" y="1137000"/>
                  </a:lnTo>
                  <a:lnTo>
                    <a:pt x="555416" y="1138029"/>
                  </a:lnTo>
                  <a:lnTo>
                    <a:pt x="555961" y="1138452"/>
                  </a:lnTo>
                  <a:lnTo>
                    <a:pt x="557988" y="1138816"/>
                  </a:lnTo>
                  <a:lnTo>
                    <a:pt x="559954" y="1138725"/>
                  </a:lnTo>
                  <a:lnTo>
                    <a:pt x="563796" y="1137787"/>
                  </a:lnTo>
                  <a:lnTo>
                    <a:pt x="565460" y="1138452"/>
                  </a:lnTo>
                  <a:lnTo>
                    <a:pt x="578014" y="1138120"/>
                  </a:lnTo>
                  <a:lnTo>
                    <a:pt x="581584" y="1138573"/>
                  </a:lnTo>
                  <a:lnTo>
                    <a:pt x="582915" y="1138120"/>
                  </a:lnTo>
                  <a:lnTo>
                    <a:pt x="583581" y="1137091"/>
                  </a:lnTo>
                  <a:lnTo>
                    <a:pt x="583792" y="1136789"/>
                  </a:lnTo>
                  <a:lnTo>
                    <a:pt x="583883" y="1134762"/>
                  </a:lnTo>
                  <a:lnTo>
                    <a:pt x="583218" y="1132886"/>
                  </a:lnTo>
                  <a:lnTo>
                    <a:pt x="582007" y="1131495"/>
                  </a:lnTo>
                  <a:lnTo>
                    <a:pt x="580585" y="1131010"/>
                  </a:lnTo>
                  <a:lnTo>
                    <a:pt x="581191" y="1129770"/>
                  </a:lnTo>
                  <a:lnTo>
                    <a:pt x="581584" y="1129226"/>
                  </a:lnTo>
                  <a:lnTo>
                    <a:pt x="582340" y="1128681"/>
                  </a:lnTo>
                  <a:lnTo>
                    <a:pt x="581221" y="1127290"/>
                  </a:lnTo>
                  <a:lnTo>
                    <a:pt x="582643" y="1123780"/>
                  </a:lnTo>
                  <a:lnTo>
                    <a:pt x="582431" y="1121088"/>
                  </a:lnTo>
                  <a:lnTo>
                    <a:pt x="582915" y="1119273"/>
                  </a:lnTo>
                  <a:lnTo>
                    <a:pt x="585244" y="1118426"/>
                  </a:lnTo>
                  <a:lnTo>
                    <a:pt x="587997" y="1118244"/>
                  </a:lnTo>
                  <a:lnTo>
                    <a:pt x="589752" y="1118426"/>
                  </a:lnTo>
                  <a:lnTo>
                    <a:pt x="593231" y="1119696"/>
                  </a:lnTo>
                  <a:lnTo>
                    <a:pt x="594985" y="1120059"/>
                  </a:lnTo>
                  <a:lnTo>
                    <a:pt x="596951" y="1119878"/>
                  </a:lnTo>
                  <a:lnTo>
                    <a:pt x="598676" y="1120150"/>
                  </a:lnTo>
                  <a:lnTo>
                    <a:pt x="603032" y="1122510"/>
                  </a:lnTo>
                  <a:lnTo>
                    <a:pt x="606027" y="1123569"/>
                  </a:lnTo>
                  <a:lnTo>
                    <a:pt x="606904" y="1124174"/>
                  </a:lnTo>
                  <a:lnTo>
                    <a:pt x="608508" y="1125626"/>
                  </a:lnTo>
                  <a:lnTo>
                    <a:pt x="609597" y="1126049"/>
                  </a:lnTo>
                  <a:lnTo>
                    <a:pt x="610565" y="1125596"/>
                  </a:lnTo>
                  <a:lnTo>
                    <a:pt x="611503" y="1124900"/>
                  </a:lnTo>
                  <a:lnTo>
                    <a:pt x="612531" y="1124597"/>
                  </a:lnTo>
                  <a:lnTo>
                    <a:pt x="613378" y="1124900"/>
                  </a:lnTo>
                  <a:lnTo>
                    <a:pt x="615042" y="1126170"/>
                  </a:lnTo>
                  <a:lnTo>
                    <a:pt x="615828" y="1126594"/>
                  </a:lnTo>
                  <a:lnTo>
                    <a:pt x="624390" y="1127138"/>
                  </a:lnTo>
                  <a:lnTo>
                    <a:pt x="626477" y="1127743"/>
                  </a:lnTo>
                  <a:lnTo>
                    <a:pt x="628262" y="1129226"/>
                  </a:lnTo>
                  <a:lnTo>
                    <a:pt x="629260" y="1131041"/>
                  </a:lnTo>
                  <a:lnTo>
                    <a:pt x="630016" y="1132977"/>
                  </a:lnTo>
                  <a:lnTo>
                    <a:pt x="631045" y="1134701"/>
                  </a:lnTo>
                  <a:lnTo>
                    <a:pt x="632769" y="1135851"/>
                  </a:lnTo>
                  <a:lnTo>
                    <a:pt x="633889" y="1135972"/>
                  </a:lnTo>
                  <a:lnTo>
                    <a:pt x="637247" y="1134974"/>
                  </a:lnTo>
                  <a:lnTo>
                    <a:pt x="649650" y="1134974"/>
                  </a:lnTo>
                  <a:lnTo>
                    <a:pt x="652009" y="1135609"/>
                  </a:lnTo>
                  <a:lnTo>
                    <a:pt x="651586" y="1137393"/>
                  </a:lnTo>
                  <a:lnTo>
                    <a:pt x="652100" y="1137878"/>
                  </a:lnTo>
                  <a:lnTo>
                    <a:pt x="653038" y="1137938"/>
                  </a:lnTo>
                  <a:lnTo>
                    <a:pt x="653885" y="1138362"/>
                  </a:lnTo>
                  <a:lnTo>
                    <a:pt x="655670" y="1141296"/>
                  </a:lnTo>
                  <a:lnTo>
                    <a:pt x="657606" y="1143747"/>
                  </a:lnTo>
                  <a:lnTo>
                    <a:pt x="659300" y="1148072"/>
                  </a:lnTo>
                  <a:lnTo>
                    <a:pt x="660752" y="1149827"/>
                  </a:lnTo>
                  <a:lnTo>
                    <a:pt x="662960" y="1148980"/>
                  </a:lnTo>
                  <a:lnTo>
                    <a:pt x="664503" y="1144049"/>
                  </a:lnTo>
                  <a:lnTo>
                    <a:pt x="667679" y="1144200"/>
                  </a:lnTo>
                  <a:lnTo>
                    <a:pt x="670644" y="1143141"/>
                  </a:lnTo>
                  <a:lnTo>
                    <a:pt x="672187" y="1143051"/>
                  </a:lnTo>
                  <a:lnTo>
                    <a:pt x="677632" y="1146499"/>
                  </a:lnTo>
                  <a:lnTo>
                    <a:pt x="678721" y="1146983"/>
                  </a:lnTo>
                  <a:lnTo>
                    <a:pt x="690156" y="1148012"/>
                  </a:lnTo>
                  <a:lnTo>
                    <a:pt x="689279" y="1150553"/>
                  </a:lnTo>
                  <a:lnTo>
                    <a:pt x="690913" y="1151521"/>
                  </a:lnTo>
                  <a:lnTo>
                    <a:pt x="693242" y="1152186"/>
                  </a:lnTo>
                  <a:lnTo>
                    <a:pt x="694089" y="1153306"/>
                  </a:lnTo>
                  <a:lnTo>
                    <a:pt x="694482" y="1153850"/>
                  </a:lnTo>
                  <a:lnTo>
                    <a:pt x="691971" y="1154062"/>
                  </a:lnTo>
                  <a:lnTo>
                    <a:pt x="690126" y="1155696"/>
                  </a:lnTo>
                  <a:lnTo>
                    <a:pt x="689007" y="1158297"/>
                  </a:lnTo>
                  <a:lnTo>
                    <a:pt x="688644" y="1161413"/>
                  </a:lnTo>
                  <a:lnTo>
                    <a:pt x="688946" y="1161595"/>
                  </a:lnTo>
                  <a:lnTo>
                    <a:pt x="689127" y="1161837"/>
                  </a:lnTo>
                  <a:lnTo>
                    <a:pt x="689188" y="1162139"/>
                  </a:lnTo>
                  <a:lnTo>
                    <a:pt x="689127" y="1162533"/>
                  </a:lnTo>
                  <a:lnTo>
                    <a:pt x="690973" y="1163228"/>
                  </a:lnTo>
                  <a:lnTo>
                    <a:pt x="697235" y="1164015"/>
                  </a:lnTo>
                  <a:lnTo>
                    <a:pt x="699352" y="1164832"/>
                  </a:lnTo>
                  <a:lnTo>
                    <a:pt x="705009" y="1168371"/>
                  </a:lnTo>
                  <a:lnTo>
                    <a:pt x="707369" y="1168885"/>
                  </a:lnTo>
                  <a:lnTo>
                    <a:pt x="709245" y="1169006"/>
                  </a:lnTo>
                  <a:lnTo>
                    <a:pt x="710818" y="1169642"/>
                  </a:lnTo>
                  <a:lnTo>
                    <a:pt x="712179" y="1171729"/>
                  </a:lnTo>
                  <a:lnTo>
                    <a:pt x="713510" y="1176388"/>
                  </a:lnTo>
                  <a:lnTo>
                    <a:pt x="714448" y="1178324"/>
                  </a:lnTo>
                  <a:lnTo>
                    <a:pt x="716414" y="1179927"/>
                  </a:lnTo>
                  <a:lnTo>
                    <a:pt x="717655" y="1180653"/>
                  </a:lnTo>
                  <a:lnTo>
                    <a:pt x="719016" y="1180835"/>
                  </a:lnTo>
                  <a:lnTo>
                    <a:pt x="721648" y="1180562"/>
                  </a:lnTo>
                  <a:lnTo>
                    <a:pt x="723312" y="1180199"/>
                  </a:lnTo>
                  <a:lnTo>
                    <a:pt x="724461" y="1179504"/>
                  </a:lnTo>
                  <a:lnTo>
                    <a:pt x="726156" y="1177840"/>
                  </a:lnTo>
                  <a:lnTo>
                    <a:pt x="728545" y="1176146"/>
                  </a:lnTo>
                  <a:lnTo>
                    <a:pt x="729029" y="1175420"/>
                  </a:lnTo>
                  <a:lnTo>
                    <a:pt x="729786" y="1173574"/>
                  </a:lnTo>
                  <a:lnTo>
                    <a:pt x="730270" y="1172909"/>
                  </a:lnTo>
                  <a:lnTo>
                    <a:pt x="731873" y="1172213"/>
                  </a:lnTo>
                  <a:lnTo>
                    <a:pt x="736622" y="1172758"/>
                  </a:lnTo>
                  <a:lnTo>
                    <a:pt x="742824" y="1170973"/>
                  </a:lnTo>
                  <a:lnTo>
                    <a:pt x="746000" y="1170670"/>
                  </a:lnTo>
                  <a:lnTo>
                    <a:pt x="748814" y="1172122"/>
                  </a:lnTo>
                  <a:lnTo>
                    <a:pt x="750024" y="1173030"/>
                  </a:lnTo>
                  <a:lnTo>
                    <a:pt x="755893" y="1175571"/>
                  </a:lnTo>
                  <a:lnTo>
                    <a:pt x="759009" y="1176206"/>
                  </a:lnTo>
                  <a:lnTo>
                    <a:pt x="760612" y="1176297"/>
                  </a:lnTo>
                  <a:lnTo>
                    <a:pt x="761368" y="1178324"/>
                  </a:lnTo>
                  <a:lnTo>
                    <a:pt x="762941" y="1180260"/>
                  </a:lnTo>
                  <a:lnTo>
                    <a:pt x="764877" y="1181682"/>
                  </a:lnTo>
                  <a:lnTo>
                    <a:pt x="766722" y="1182135"/>
                  </a:lnTo>
                  <a:lnTo>
                    <a:pt x="768780" y="1183194"/>
                  </a:lnTo>
                  <a:lnTo>
                    <a:pt x="769899" y="1183557"/>
                  </a:lnTo>
                  <a:lnTo>
                    <a:pt x="770958" y="1183557"/>
                  </a:lnTo>
                  <a:lnTo>
                    <a:pt x="771623" y="1182922"/>
                  </a:lnTo>
                  <a:lnTo>
                    <a:pt x="772470" y="1180895"/>
                  </a:lnTo>
                  <a:lnTo>
                    <a:pt x="773257" y="1180230"/>
                  </a:lnTo>
                  <a:lnTo>
                    <a:pt x="775193" y="1180230"/>
                  </a:lnTo>
                  <a:lnTo>
                    <a:pt x="779822" y="1181651"/>
                  </a:lnTo>
                  <a:lnTo>
                    <a:pt x="782030" y="1182014"/>
                  </a:lnTo>
                  <a:lnTo>
                    <a:pt x="784722" y="1181863"/>
                  </a:lnTo>
                  <a:lnTo>
                    <a:pt x="784722" y="1181319"/>
                  </a:lnTo>
                  <a:lnTo>
                    <a:pt x="783421" y="1180018"/>
                  </a:lnTo>
                  <a:lnTo>
                    <a:pt x="782514" y="1177628"/>
                  </a:lnTo>
                  <a:lnTo>
                    <a:pt x="783330" y="1176569"/>
                  </a:lnTo>
                  <a:lnTo>
                    <a:pt x="787566" y="1173484"/>
                  </a:lnTo>
                  <a:lnTo>
                    <a:pt x="789350" y="1172636"/>
                  </a:lnTo>
                  <a:lnTo>
                    <a:pt x="791408" y="1172485"/>
                  </a:lnTo>
                  <a:lnTo>
                    <a:pt x="795341" y="1173030"/>
                  </a:lnTo>
                  <a:lnTo>
                    <a:pt x="797428" y="1172727"/>
                  </a:lnTo>
                  <a:lnTo>
                    <a:pt x="799031" y="1171790"/>
                  </a:lnTo>
                  <a:lnTo>
                    <a:pt x="802056" y="1169067"/>
                  </a:lnTo>
                  <a:lnTo>
                    <a:pt x="803660" y="1168190"/>
                  </a:lnTo>
                  <a:lnTo>
                    <a:pt x="805293" y="1168038"/>
                  </a:lnTo>
                  <a:lnTo>
                    <a:pt x="807018" y="1168099"/>
                  </a:lnTo>
                  <a:lnTo>
                    <a:pt x="808711" y="1167857"/>
                  </a:lnTo>
                  <a:lnTo>
                    <a:pt x="812009" y="1165467"/>
                  </a:lnTo>
                  <a:lnTo>
                    <a:pt x="815246" y="1166616"/>
                  </a:lnTo>
                  <a:lnTo>
                    <a:pt x="816970" y="1165588"/>
                  </a:lnTo>
                  <a:lnTo>
                    <a:pt x="818029" y="1165800"/>
                  </a:lnTo>
                  <a:lnTo>
                    <a:pt x="820994" y="1165860"/>
                  </a:lnTo>
                  <a:lnTo>
                    <a:pt x="821659" y="1166042"/>
                  </a:lnTo>
                  <a:lnTo>
                    <a:pt x="822294" y="1167403"/>
                  </a:lnTo>
                  <a:lnTo>
                    <a:pt x="823081" y="1168583"/>
                  </a:lnTo>
                  <a:lnTo>
                    <a:pt x="824049" y="1169521"/>
                  </a:lnTo>
                  <a:lnTo>
                    <a:pt x="825259" y="1170217"/>
                  </a:lnTo>
                  <a:lnTo>
                    <a:pt x="827316" y="1170821"/>
                  </a:lnTo>
                  <a:lnTo>
                    <a:pt x="829887" y="1171094"/>
                  </a:lnTo>
                  <a:lnTo>
                    <a:pt x="832519" y="1170973"/>
                  </a:lnTo>
                  <a:lnTo>
                    <a:pt x="836845" y="1170277"/>
                  </a:lnTo>
                  <a:lnTo>
                    <a:pt x="836906" y="1169823"/>
                  </a:lnTo>
                  <a:lnTo>
                    <a:pt x="836331" y="1167131"/>
                  </a:lnTo>
                  <a:lnTo>
                    <a:pt x="834758" y="1164832"/>
                  </a:lnTo>
                  <a:lnTo>
                    <a:pt x="833760" y="1163924"/>
                  </a:lnTo>
                  <a:lnTo>
                    <a:pt x="833034" y="1162684"/>
                  </a:lnTo>
                  <a:lnTo>
                    <a:pt x="833306" y="1161262"/>
                  </a:lnTo>
                  <a:lnTo>
                    <a:pt x="833306" y="1159840"/>
                  </a:lnTo>
                  <a:lnTo>
                    <a:pt x="832459" y="1158600"/>
                  </a:lnTo>
                  <a:lnTo>
                    <a:pt x="830160" y="1157904"/>
                  </a:lnTo>
                  <a:lnTo>
                    <a:pt x="827437" y="1157360"/>
                  </a:lnTo>
                  <a:lnTo>
                    <a:pt x="825289" y="1156482"/>
                  </a:lnTo>
                  <a:lnTo>
                    <a:pt x="823867" y="1154879"/>
                  </a:lnTo>
                  <a:lnTo>
                    <a:pt x="823293" y="1150765"/>
                  </a:lnTo>
                  <a:lnTo>
                    <a:pt x="822869" y="1145562"/>
                  </a:lnTo>
                  <a:lnTo>
                    <a:pt x="822446" y="1138785"/>
                  </a:lnTo>
                  <a:lnTo>
                    <a:pt x="823020" y="1133582"/>
                  </a:lnTo>
                  <a:lnTo>
                    <a:pt x="822597" y="1130375"/>
                  </a:lnTo>
                  <a:lnTo>
                    <a:pt x="822748" y="1125353"/>
                  </a:lnTo>
                  <a:lnTo>
                    <a:pt x="823474" y="1118184"/>
                  </a:lnTo>
                  <a:lnTo>
                    <a:pt x="824321" y="1110651"/>
                  </a:lnTo>
                  <a:lnTo>
                    <a:pt x="824170" y="1108141"/>
                  </a:lnTo>
                  <a:lnTo>
                    <a:pt x="822869" y="1107414"/>
                  </a:lnTo>
                  <a:lnTo>
                    <a:pt x="822597" y="1106174"/>
                  </a:lnTo>
                  <a:lnTo>
                    <a:pt x="823323" y="1103482"/>
                  </a:lnTo>
                  <a:lnTo>
                    <a:pt x="824321" y="1099882"/>
                  </a:lnTo>
                  <a:lnTo>
                    <a:pt x="825047" y="1097885"/>
                  </a:lnTo>
                  <a:lnTo>
                    <a:pt x="825743" y="1095556"/>
                  </a:lnTo>
                  <a:lnTo>
                    <a:pt x="827316" y="1092137"/>
                  </a:lnTo>
                  <a:lnTo>
                    <a:pt x="828314" y="1089808"/>
                  </a:lnTo>
                  <a:lnTo>
                    <a:pt x="829131" y="1087902"/>
                  </a:lnTo>
                  <a:lnTo>
                    <a:pt x="830099" y="1085573"/>
                  </a:lnTo>
                  <a:lnTo>
                    <a:pt x="832308" y="1083697"/>
                  </a:lnTo>
                  <a:lnTo>
                    <a:pt x="834153" y="1081912"/>
                  </a:lnTo>
                  <a:lnTo>
                    <a:pt x="835303" y="1079734"/>
                  </a:lnTo>
                  <a:lnTo>
                    <a:pt x="836603" y="1078131"/>
                  </a:lnTo>
                  <a:lnTo>
                    <a:pt x="838328" y="1076679"/>
                  </a:lnTo>
                  <a:lnTo>
                    <a:pt x="839477" y="1075408"/>
                  </a:lnTo>
                  <a:lnTo>
                    <a:pt x="840838" y="1074319"/>
                  </a:lnTo>
                  <a:lnTo>
                    <a:pt x="841504" y="1073170"/>
                  </a:lnTo>
                  <a:lnTo>
                    <a:pt x="843198" y="1071264"/>
                  </a:lnTo>
                  <a:lnTo>
                    <a:pt x="850579" y="1065728"/>
                  </a:lnTo>
                  <a:lnTo>
                    <a:pt x="857386" y="1063096"/>
                  </a:lnTo>
                  <a:lnTo>
                    <a:pt x="861712" y="1062914"/>
                  </a:lnTo>
                  <a:lnTo>
                    <a:pt x="864132" y="1062491"/>
                  </a:lnTo>
                  <a:lnTo>
                    <a:pt x="868156" y="1064306"/>
                  </a:lnTo>
                  <a:lnTo>
                    <a:pt x="870273" y="1063459"/>
                  </a:lnTo>
                  <a:lnTo>
                    <a:pt x="877957" y="1054081"/>
                  </a:lnTo>
                  <a:lnTo>
                    <a:pt x="881224" y="1051540"/>
                  </a:lnTo>
                  <a:lnTo>
                    <a:pt x="893083" y="1046730"/>
                  </a:lnTo>
                  <a:lnTo>
                    <a:pt x="913139" y="1031513"/>
                  </a:lnTo>
                  <a:lnTo>
                    <a:pt x="914501" y="1030576"/>
                  </a:lnTo>
                  <a:lnTo>
                    <a:pt x="918312" y="1029184"/>
                  </a:lnTo>
                  <a:lnTo>
                    <a:pt x="924000" y="1028518"/>
                  </a:lnTo>
                  <a:lnTo>
                    <a:pt x="929808" y="1029063"/>
                  </a:lnTo>
                  <a:lnTo>
                    <a:pt x="932410" y="1031060"/>
                  </a:lnTo>
                  <a:lnTo>
                    <a:pt x="932591" y="1031513"/>
                  </a:lnTo>
                  <a:lnTo>
                    <a:pt x="931018" y="1034357"/>
                  </a:lnTo>
                  <a:lnTo>
                    <a:pt x="932591" y="1037352"/>
                  </a:lnTo>
                  <a:lnTo>
                    <a:pt x="935374" y="1039318"/>
                  </a:lnTo>
                  <a:lnTo>
                    <a:pt x="937522" y="1040317"/>
                  </a:lnTo>
                  <a:lnTo>
                    <a:pt x="939972" y="1040801"/>
                  </a:lnTo>
                  <a:lnTo>
                    <a:pt x="960453" y="1042344"/>
                  </a:lnTo>
                  <a:lnTo>
                    <a:pt x="970889" y="1041315"/>
                  </a:lnTo>
                  <a:lnTo>
                    <a:pt x="975125" y="1042888"/>
                  </a:lnTo>
                  <a:lnTo>
                    <a:pt x="977575" y="1044582"/>
                  </a:lnTo>
                  <a:lnTo>
                    <a:pt x="978422" y="1046246"/>
                  </a:lnTo>
                  <a:lnTo>
                    <a:pt x="978180" y="1047849"/>
                  </a:lnTo>
                  <a:lnTo>
                    <a:pt x="976153" y="1049937"/>
                  </a:lnTo>
                  <a:lnTo>
                    <a:pt x="976244" y="1052085"/>
                  </a:lnTo>
                  <a:lnTo>
                    <a:pt x="978876" y="1053506"/>
                  </a:lnTo>
                  <a:lnTo>
                    <a:pt x="986257" y="1055079"/>
                  </a:lnTo>
                  <a:lnTo>
                    <a:pt x="998872" y="1055382"/>
                  </a:lnTo>
                  <a:lnTo>
                    <a:pt x="1001807" y="1055231"/>
                  </a:lnTo>
                  <a:lnTo>
                    <a:pt x="1002079" y="1052599"/>
                  </a:lnTo>
                  <a:lnTo>
                    <a:pt x="999780" y="1050179"/>
                  </a:lnTo>
                  <a:lnTo>
                    <a:pt x="996724" y="1048182"/>
                  </a:lnTo>
                  <a:lnTo>
                    <a:pt x="993971" y="1045550"/>
                  </a:lnTo>
                  <a:lnTo>
                    <a:pt x="992580" y="1041255"/>
                  </a:lnTo>
                  <a:lnTo>
                    <a:pt x="992580" y="1032119"/>
                  </a:lnTo>
                  <a:lnTo>
                    <a:pt x="992126" y="1030787"/>
                  </a:lnTo>
                  <a:lnTo>
                    <a:pt x="989131" y="1026401"/>
                  </a:lnTo>
                  <a:lnTo>
                    <a:pt x="989131" y="1025614"/>
                  </a:lnTo>
                  <a:lnTo>
                    <a:pt x="990885" y="1026583"/>
                  </a:lnTo>
                  <a:lnTo>
                    <a:pt x="992277" y="1028458"/>
                  </a:lnTo>
                  <a:lnTo>
                    <a:pt x="993306" y="1030636"/>
                  </a:lnTo>
                  <a:lnTo>
                    <a:pt x="993941" y="1032542"/>
                  </a:lnTo>
                  <a:lnTo>
                    <a:pt x="994183" y="1034720"/>
                  </a:lnTo>
                  <a:lnTo>
                    <a:pt x="993941" y="1042192"/>
                  </a:lnTo>
                  <a:lnTo>
                    <a:pt x="995484" y="1045550"/>
                  </a:lnTo>
                  <a:lnTo>
                    <a:pt x="998902" y="1048515"/>
                  </a:lnTo>
                  <a:lnTo>
                    <a:pt x="1003077" y="1050693"/>
                  </a:lnTo>
                  <a:lnTo>
                    <a:pt x="1004832" y="1053627"/>
                  </a:lnTo>
                  <a:lnTo>
                    <a:pt x="1005315" y="1055805"/>
                  </a:lnTo>
                  <a:lnTo>
                    <a:pt x="1007464" y="1054656"/>
                  </a:lnTo>
                  <a:lnTo>
                    <a:pt x="1009853" y="1052599"/>
                  </a:lnTo>
                  <a:lnTo>
                    <a:pt x="1006495" y="1052841"/>
                  </a:lnTo>
                  <a:lnTo>
                    <a:pt x="1006223" y="1051207"/>
                  </a:lnTo>
                  <a:lnTo>
                    <a:pt x="1005225" y="1048878"/>
                  </a:lnTo>
                  <a:lnTo>
                    <a:pt x="1004741" y="1048212"/>
                  </a:lnTo>
                  <a:lnTo>
                    <a:pt x="1005558" y="1046458"/>
                  </a:lnTo>
                  <a:lnTo>
                    <a:pt x="1006526" y="1045671"/>
                  </a:lnTo>
                  <a:lnTo>
                    <a:pt x="1008976" y="1045157"/>
                  </a:lnTo>
                  <a:lnTo>
                    <a:pt x="1010035" y="1044370"/>
                  </a:lnTo>
                  <a:lnTo>
                    <a:pt x="1012576" y="1043311"/>
                  </a:lnTo>
                  <a:lnTo>
                    <a:pt x="1018082" y="1046246"/>
                  </a:lnTo>
                  <a:lnTo>
                    <a:pt x="1019624" y="1046549"/>
                  </a:lnTo>
                  <a:lnTo>
                    <a:pt x="1022559" y="1046276"/>
                  </a:lnTo>
                  <a:lnTo>
                    <a:pt x="1024918" y="1044703"/>
                  </a:lnTo>
                  <a:lnTo>
                    <a:pt x="1026038" y="1041890"/>
                  </a:lnTo>
                  <a:lnTo>
                    <a:pt x="1024828" y="1038683"/>
                  </a:lnTo>
                  <a:lnTo>
                    <a:pt x="1023376" y="1037564"/>
                  </a:lnTo>
                  <a:lnTo>
                    <a:pt x="1022166" y="1036928"/>
                  </a:lnTo>
                  <a:lnTo>
                    <a:pt x="1021258" y="1035900"/>
                  </a:lnTo>
                  <a:lnTo>
                    <a:pt x="1020714" y="1033480"/>
                  </a:lnTo>
                  <a:lnTo>
                    <a:pt x="1020895" y="1032542"/>
                  </a:lnTo>
                  <a:lnTo>
                    <a:pt x="1021379" y="1030787"/>
                  </a:lnTo>
                  <a:lnTo>
                    <a:pt x="1022045" y="1029063"/>
                  </a:lnTo>
                  <a:lnTo>
                    <a:pt x="1022740" y="1028246"/>
                  </a:lnTo>
                  <a:lnTo>
                    <a:pt x="1023346" y="1028609"/>
                  </a:lnTo>
                  <a:lnTo>
                    <a:pt x="1024798" y="1030424"/>
                  </a:lnTo>
                  <a:lnTo>
                    <a:pt x="1025221" y="1030848"/>
                  </a:lnTo>
                  <a:lnTo>
                    <a:pt x="1027611" y="1030757"/>
                  </a:lnTo>
                  <a:lnTo>
                    <a:pt x="1028367" y="1030848"/>
                  </a:lnTo>
                  <a:lnTo>
                    <a:pt x="1030455" y="1031483"/>
                  </a:lnTo>
                  <a:lnTo>
                    <a:pt x="1030969" y="1032149"/>
                  </a:lnTo>
                  <a:lnTo>
                    <a:pt x="1031029" y="1033238"/>
                  </a:lnTo>
                  <a:lnTo>
                    <a:pt x="1031725" y="1035204"/>
                  </a:lnTo>
                  <a:lnTo>
                    <a:pt x="1033903" y="1037503"/>
                  </a:lnTo>
                  <a:lnTo>
                    <a:pt x="1036475" y="1037927"/>
                  </a:lnTo>
                  <a:lnTo>
                    <a:pt x="1039318" y="1036989"/>
                  </a:lnTo>
                  <a:lnTo>
                    <a:pt x="1042253" y="1035204"/>
                  </a:lnTo>
                  <a:lnTo>
                    <a:pt x="1042616" y="1038199"/>
                  </a:lnTo>
                  <a:lnTo>
                    <a:pt x="1041345" y="1041043"/>
                  </a:lnTo>
                  <a:lnTo>
                    <a:pt x="1039258" y="1043372"/>
                  </a:lnTo>
                  <a:lnTo>
                    <a:pt x="1037352" y="1044794"/>
                  </a:lnTo>
                  <a:lnTo>
                    <a:pt x="1034569" y="1045580"/>
                  </a:lnTo>
                  <a:lnTo>
                    <a:pt x="1025614" y="1045580"/>
                  </a:lnTo>
                  <a:lnTo>
                    <a:pt x="1022498" y="1047214"/>
                  </a:lnTo>
                  <a:lnTo>
                    <a:pt x="1020411" y="1050723"/>
                  </a:lnTo>
                  <a:lnTo>
                    <a:pt x="1021258" y="1053748"/>
                  </a:lnTo>
                  <a:lnTo>
                    <a:pt x="1023285" y="1056592"/>
                  </a:lnTo>
                  <a:lnTo>
                    <a:pt x="1026371" y="1057530"/>
                  </a:lnTo>
                  <a:lnTo>
                    <a:pt x="1032451" y="1057802"/>
                  </a:lnTo>
                  <a:lnTo>
                    <a:pt x="1036293" y="1057348"/>
                  </a:lnTo>
                  <a:lnTo>
                    <a:pt x="1043856" y="1057500"/>
                  </a:lnTo>
                  <a:lnTo>
                    <a:pt x="1049483" y="1054021"/>
                  </a:lnTo>
                  <a:lnTo>
                    <a:pt x="1053990" y="1056713"/>
                  </a:lnTo>
                  <a:lnTo>
                    <a:pt x="1055291" y="1061342"/>
                  </a:lnTo>
                  <a:lnTo>
                    <a:pt x="1055714" y="1062098"/>
                  </a:lnTo>
                  <a:lnTo>
                    <a:pt x="1055866" y="1063580"/>
                  </a:lnTo>
                  <a:lnTo>
                    <a:pt x="1057045" y="1064820"/>
                  </a:lnTo>
                  <a:lnTo>
                    <a:pt x="1056199" y="1066908"/>
                  </a:lnTo>
                  <a:lnTo>
                    <a:pt x="1055503" y="1068178"/>
                  </a:lnTo>
                  <a:lnTo>
                    <a:pt x="1055170" y="1069479"/>
                  </a:lnTo>
                  <a:lnTo>
                    <a:pt x="1054807" y="1071718"/>
                  </a:lnTo>
                  <a:lnTo>
                    <a:pt x="1057166" y="1072746"/>
                  </a:lnTo>
                  <a:lnTo>
                    <a:pt x="1059678" y="1072172"/>
                  </a:lnTo>
                  <a:lnTo>
                    <a:pt x="1061099" y="1072293"/>
                  </a:lnTo>
                  <a:lnTo>
                    <a:pt x="1064155" y="1072746"/>
                  </a:lnTo>
                  <a:lnTo>
                    <a:pt x="1066181" y="1072625"/>
                  </a:lnTo>
                  <a:lnTo>
                    <a:pt x="1070629" y="1072988"/>
                  </a:lnTo>
                  <a:lnTo>
                    <a:pt x="1071657" y="1072716"/>
                  </a:lnTo>
                  <a:lnTo>
                    <a:pt x="1072716" y="1072111"/>
                  </a:lnTo>
                  <a:lnTo>
                    <a:pt x="1074017" y="1072776"/>
                  </a:lnTo>
                  <a:lnTo>
                    <a:pt x="1074954" y="1074501"/>
                  </a:lnTo>
                  <a:lnTo>
                    <a:pt x="1076134" y="1076044"/>
                  </a:lnTo>
                  <a:lnTo>
                    <a:pt x="1077526" y="1077617"/>
                  </a:lnTo>
                  <a:lnTo>
                    <a:pt x="1079099" y="1077768"/>
                  </a:lnTo>
                  <a:lnTo>
                    <a:pt x="1081519" y="1078706"/>
                  </a:lnTo>
                  <a:lnTo>
                    <a:pt x="1082578" y="1076649"/>
                  </a:lnTo>
                  <a:lnTo>
                    <a:pt x="1083727" y="1075318"/>
                  </a:lnTo>
                  <a:lnTo>
                    <a:pt x="1085845" y="1075529"/>
                  </a:lnTo>
                  <a:lnTo>
                    <a:pt x="1087720" y="1076255"/>
                  </a:lnTo>
                  <a:lnTo>
                    <a:pt x="1089112" y="1077677"/>
                  </a:lnTo>
                  <a:lnTo>
                    <a:pt x="1089989" y="1080460"/>
                  </a:lnTo>
                  <a:lnTo>
                    <a:pt x="1094497" y="1082336"/>
                  </a:lnTo>
                  <a:lnTo>
                    <a:pt x="1096463" y="1082336"/>
                  </a:lnTo>
                  <a:lnTo>
                    <a:pt x="1098036" y="1082487"/>
                  </a:lnTo>
                  <a:lnTo>
                    <a:pt x="1098520" y="1083425"/>
                  </a:lnTo>
                  <a:lnTo>
                    <a:pt x="1098762" y="1084514"/>
                  </a:lnTo>
                  <a:lnTo>
                    <a:pt x="1100487" y="1084877"/>
                  </a:lnTo>
                  <a:lnTo>
                    <a:pt x="1101576" y="1085512"/>
                  </a:lnTo>
                  <a:lnTo>
                    <a:pt x="1102241" y="1086480"/>
                  </a:lnTo>
                  <a:lnTo>
                    <a:pt x="1100729" y="1087781"/>
                  </a:lnTo>
                  <a:lnTo>
                    <a:pt x="1098611" y="1089021"/>
                  </a:lnTo>
                  <a:lnTo>
                    <a:pt x="1099458" y="1090171"/>
                  </a:lnTo>
                  <a:lnTo>
                    <a:pt x="1102362" y="1092259"/>
                  </a:lnTo>
                  <a:lnTo>
                    <a:pt x="1106144" y="1093348"/>
                  </a:lnTo>
                  <a:lnTo>
                    <a:pt x="1108019" y="1090322"/>
                  </a:lnTo>
                  <a:lnTo>
                    <a:pt x="1109290" y="1089869"/>
                  </a:lnTo>
                  <a:lnTo>
                    <a:pt x="1112224" y="1089808"/>
                  </a:lnTo>
                  <a:lnTo>
                    <a:pt x="1114553" y="1090050"/>
                  </a:lnTo>
                  <a:lnTo>
                    <a:pt x="1115673" y="1088901"/>
                  </a:lnTo>
                  <a:lnTo>
                    <a:pt x="1113253" y="1087963"/>
                  </a:lnTo>
                  <a:lnTo>
                    <a:pt x="1111559" y="1087237"/>
                  </a:lnTo>
                  <a:lnTo>
                    <a:pt x="1110107" y="1084423"/>
                  </a:lnTo>
                  <a:lnTo>
                    <a:pt x="1108413" y="1083788"/>
                  </a:lnTo>
                  <a:lnTo>
                    <a:pt x="1111347" y="1082397"/>
                  </a:lnTo>
                  <a:lnTo>
                    <a:pt x="1112950" y="1082034"/>
                  </a:lnTo>
                  <a:lnTo>
                    <a:pt x="1114614" y="1082034"/>
                  </a:lnTo>
                  <a:lnTo>
                    <a:pt x="1114342" y="1082699"/>
                  </a:lnTo>
                  <a:lnTo>
                    <a:pt x="1114160" y="1083909"/>
                  </a:lnTo>
                  <a:lnTo>
                    <a:pt x="1113918" y="1084665"/>
                  </a:lnTo>
                  <a:lnTo>
                    <a:pt x="1116399" y="1086117"/>
                  </a:lnTo>
                  <a:lnTo>
                    <a:pt x="1119727" y="1086117"/>
                  </a:lnTo>
                  <a:lnTo>
                    <a:pt x="1122207" y="1086511"/>
                  </a:lnTo>
                  <a:lnTo>
                    <a:pt x="1123266" y="1089143"/>
                  </a:lnTo>
                  <a:lnTo>
                    <a:pt x="1125021" y="1089143"/>
                  </a:lnTo>
                  <a:lnTo>
                    <a:pt x="1129800" y="1088538"/>
                  </a:lnTo>
                  <a:lnTo>
                    <a:pt x="1131585" y="1088356"/>
                  </a:lnTo>
                  <a:lnTo>
                    <a:pt x="1133551" y="1089990"/>
                  </a:lnTo>
                  <a:lnTo>
                    <a:pt x="1133854" y="1092349"/>
                  </a:lnTo>
                  <a:lnTo>
                    <a:pt x="1132553" y="1093287"/>
                  </a:lnTo>
                  <a:lnTo>
                    <a:pt x="1130920" y="1093832"/>
                  </a:lnTo>
                  <a:lnTo>
                    <a:pt x="1129467" y="1094558"/>
                  </a:lnTo>
                  <a:lnTo>
                    <a:pt x="1130375" y="1095011"/>
                  </a:lnTo>
                  <a:lnTo>
                    <a:pt x="1136092" y="1094709"/>
                  </a:lnTo>
                  <a:lnTo>
                    <a:pt x="1138664" y="1094437"/>
                  </a:lnTo>
                  <a:lnTo>
                    <a:pt x="1139208" y="1093226"/>
                  </a:lnTo>
                  <a:lnTo>
                    <a:pt x="1137787" y="1093620"/>
                  </a:lnTo>
                  <a:lnTo>
                    <a:pt x="1135911" y="1092894"/>
                  </a:lnTo>
                  <a:lnTo>
                    <a:pt x="1135911" y="1089869"/>
                  </a:lnTo>
                  <a:lnTo>
                    <a:pt x="1136940" y="1087267"/>
                  </a:lnTo>
                  <a:lnTo>
                    <a:pt x="1138513" y="1085966"/>
                  </a:lnTo>
                  <a:lnTo>
                    <a:pt x="1139965" y="1085210"/>
                  </a:lnTo>
                  <a:lnTo>
                    <a:pt x="1142627" y="1084212"/>
                  </a:lnTo>
                  <a:lnTo>
                    <a:pt x="1146015" y="1083667"/>
                  </a:lnTo>
                  <a:lnTo>
                    <a:pt x="1148738" y="1083939"/>
                  </a:lnTo>
                  <a:lnTo>
                    <a:pt x="1151339" y="1085089"/>
                  </a:lnTo>
                  <a:lnTo>
                    <a:pt x="1153306" y="1085754"/>
                  </a:lnTo>
                  <a:lnTo>
                    <a:pt x="1153608" y="1086299"/>
                  </a:lnTo>
                  <a:lnTo>
                    <a:pt x="1154970" y="1087449"/>
                  </a:lnTo>
                  <a:lnTo>
                    <a:pt x="1158297" y="1087449"/>
                  </a:lnTo>
                  <a:lnTo>
                    <a:pt x="1157753" y="1085573"/>
                  </a:lnTo>
                  <a:lnTo>
                    <a:pt x="1157359" y="1083909"/>
                  </a:lnTo>
                  <a:lnTo>
                    <a:pt x="1158600" y="1081701"/>
                  </a:lnTo>
                  <a:lnTo>
                    <a:pt x="1160929" y="1080339"/>
                  </a:lnTo>
                  <a:lnTo>
                    <a:pt x="1162956" y="1079674"/>
                  </a:lnTo>
                  <a:lnTo>
                    <a:pt x="1165890" y="1079613"/>
                  </a:lnTo>
                  <a:lnTo>
                    <a:pt x="1168704" y="1079190"/>
                  </a:lnTo>
                  <a:lnTo>
                    <a:pt x="1171366" y="1079855"/>
                  </a:lnTo>
                  <a:lnTo>
                    <a:pt x="1173483" y="1078645"/>
                  </a:lnTo>
                  <a:lnTo>
                    <a:pt x="1174451" y="1077133"/>
                  </a:lnTo>
                  <a:lnTo>
                    <a:pt x="1174814" y="1075892"/>
                  </a:lnTo>
                  <a:lnTo>
                    <a:pt x="1177204" y="1075620"/>
                  </a:lnTo>
                  <a:lnTo>
                    <a:pt x="1178989" y="1075620"/>
                  </a:lnTo>
                  <a:lnTo>
                    <a:pt x="1180199" y="1075197"/>
                  </a:lnTo>
                  <a:lnTo>
                    <a:pt x="1180411" y="1076195"/>
                  </a:lnTo>
                  <a:lnTo>
                    <a:pt x="1180804" y="1076800"/>
                  </a:lnTo>
                  <a:lnTo>
                    <a:pt x="1181833" y="1077012"/>
                  </a:lnTo>
                  <a:lnTo>
                    <a:pt x="1183769" y="1076195"/>
                  </a:lnTo>
                  <a:lnTo>
                    <a:pt x="1184888" y="1075953"/>
                  </a:lnTo>
                  <a:lnTo>
                    <a:pt x="1186885" y="1074864"/>
                  </a:lnTo>
                  <a:lnTo>
                    <a:pt x="1188851" y="1073442"/>
                  </a:lnTo>
                  <a:lnTo>
                    <a:pt x="1188065" y="1071899"/>
                  </a:lnTo>
                  <a:lnTo>
                    <a:pt x="1187399" y="1070931"/>
                  </a:lnTo>
                  <a:lnTo>
                    <a:pt x="1187701" y="1068632"/>
                  </a:lnTo>
                  <a:lnTo>
                    <a:pt x="1189426" y="1067543"/>
                  </a:lnTo>
                  <a:lnTo>
                    <a:pt x="1190696" y="1065335"/>
                  </a:lnTo>
                  <a:lnTo>
                    <a:pt x="1190212" y="1064367"/>
                  </a:lnTo>
                  <a:lnTo>
                    <a:pt x="1188095" y="1063973"/>
                  </a:lnTo>
                  <a:lnTo>
                    <a:pt x="1181984" y="1065486"/>
                  </a:lnTo>
                  <a:lnTo>
                    <a:pt x="1179897" y="1064911"/>
                  </a:lnTo>
                  <a:lnTo>
                    <a:pt x="1180532" y="1063005"/>
                  </a:lnTo>
                  <a:lnTo>
                    <a:pt x="1183285" y="1061493"/>
                  </a:lnTo>
                  <a:lnTo>
                    <a:pt x="1186038" y="1059103"/>
                  </a:lnTo>
                  <a:lnTo>
                    <a:pt x="1186975" y="1058165"/>
                  </a:lnTo>
                  <a:lnTo>
                    <a:pt x="1187460" y="1056774"/>
                  </a:lnTo>
                  <a:lnTo>
                    <a:pt x="1188337" y="1055110"/>
                  </a:lnTo>
                  <a:lnTo>
                    <a:pt x="1190273" y="1054837"/>
                  </a:lnTo>
                  <a:lnTo>
                    <a:pt x="1192693" y="1054565"/>
                  </a:lnTo>
                  <a:lnTo>
                    <a:pt x="1192693" y="1052508"/>
                  </a:lnTo>
                  <a:lnTo>
                    <a:pt x="1194206" y="1050572"/>
                  </a:lnTo>
                  <a:lnTo>
                    <a:pt x="1194054" y="1047305"/>
                  </a:lnTo>
                  <a:lnTo>
                    <a:pt x="1195597" y="1046034"/>
                  </a:lnTo>
                  <a:lnTo>
                    <a:pt x="1196656" y="1045429"/>
                  </a:lnTo>
                  <a:lnTo>
                    <a:pt x="1198259" y="1045974"/>
                  </a:lnTo>
                  <a:lnTo>
                    <a:pt x="1199288" y="1047214"/>
                  </a:lnTo>
                  <a:lnTo>
                    <a:pt x="1202888" y="1046276"/>
                  </a:lnTo>
                  <a:lnTo>
                    <a:pt x="1204491" y="1046276"/>
                  </a:lnTo>
                  <a:lnTo>
                    <a:pt x="1205701" y="1046730"/>
                  </a:lnTo>
                  <a:lnTo>
                    <a:pt x="1207062" y="1046306"/>
                  </a:lnTo>
                  <a:lnTo>
                    <a:pt x="1206669" y="1044673"/>
                  </a:lnTo>
                  <a:lnTo>
                    <a:pt x="1206851" y="1043735"/>
                  </a:lnTo>
                  <a:lnTo>
                    <a:pt x="1207335" y="1043342"/>
                  </a:lnTo>
                  <a:lnTo>
                    <a:pt x="1207698" y="1043826"/>
                  </a:lnTo>
                  <a:lnTo>
                    <a:pt x="1208000" y="1044249"/>
                  </a:lnTo>
                  <a:lnTo>
                    <a:pt x="1208151" y="1045006"/>
                  </a:lnTo>
                  <a:lnTo>
                    <a:pt x="1210481" y="1044794"/>
                  </a:lnTo>
                  <a:lnTo>
                    <a:pt x="1210904" y="1043463"/>
                  </a:lnTo>
                  <a:lnTo>
                    <a:pt x="1213143" y="1042071"/>
                  </a:lnTo>
                  <a:lnTo>
                    <a:pt x="1213627" y="1039046"/>
                  </a:lnTo>
                  <a:lnTo>
                    <a:pt x="1216561" y="1035567"/>
                  </a:lnTo>
                  <a:lnTo>
                    <a:pt x="1216501" y="1034992"/>
                  </a:lnTo>
                  <a:lnTo>
                    <a:pt x="1216017" y="1034660"/>
                  </a:lnTo>
                  <a:lnTo>
                    <a:pt x="1216077" y="1034599"/>
                  </a:lnTo>
                  <a:lnTo>
                    <a:pt x="1215200" y="1033994"/>
                  </a:lnTo>
                  <a:lnTo>
                    <a:pt x="1215624" y="1032119"/>
                  </a:lnTo>
                  <a:lnTo>
                    <a:pt x="1217318" y="1030485"/>
                  </a:lnTo>
                  <a:lnTo>
                    <a:pt x="1218679" y="1029608"/>
                  </a:lnTo>
                  <a:lnTo>
                    <a:pt x="1220524" y="1029366"/>
                  </a:lnTo>
                  <a:lnTo>
                    <a:pt x="1222612" y="1029608"/>
                  </a:lnTo>
                  <a:lnTo>
                    <a:pt x="1224245" y="1029487"/>
                  </a:lnTo>
                  <a:lnTo>
                    <a:pt x="1224911" y="1030969"/>
                  </a:lnTo>
                  <a:lnTo>
                    <a:pt x="1225697" y="1030213"/>
                  </a:lnTo>
                  <a:lnTo>
                    <a:pt x="1226998" y="1029244"/>
                  </a:lnTo>
                  <a:lnTo>
                    <a:pt x="1228299" y="1027853"/>
                  </a:lnTo>
                  <a:lnTo>
                    <a:pt x="1230054" y="1026855"/>
                  </a:lnTo>
                  <a:lnTo>
                    <a:pt x="1231657" y="1026915"/>
                  </a:lnTo>
                  <a:lnTo>
                    <a:pt x="1232534" y="1027399"/>
                  </a:lnTo>
                  <a:lnTo>
                    <a:pt x="1233805" y="1029517"/>
                  </a:lnTo>
                  <a:lnTo>
                    <a:pt x="1235136" y="1028730"/>
                  </a:lnTo>
                  <a:lnTo>
                    <a:pt x="1234863" y="1027641"/>
                  </a:lnTo>
                  <a:lnTo>
                    <a:pt x="1234500" y="1026219"/>
                  </a:lnTo>
                  <a:lnTo>
                    <a:pt x="1234440" y="1025554"/>
                  </a:lnTo>
                  <a:lnTo>
                    <a:pt x="1233835" y="1022105"/>
                  </a:lnTo>
                  <a:lnTo>
                    <a:pt x="1234531" y="1018536"/>
                  </a:lnTo>
                  <a:lnTo>
                    <a:pt x="1234894" y="1017598"/>
                  </a:lnTo>
                  <a:lnTo>
                    <a:pt x="1235650" y="1017053"/>
                  </a:lnTo>
                  <a:lnTo>
                    <a:pt x="1236406" y="1015874"/>
                  </a:lnTo>
                  <a:lnTo>
                    <a:pt x="1237707" y="1015692"/>
                  </a:lnTo>
                  <a:lnTo>
                    <a:pt x="1239038" y="1015178"/>
                  </a:lnTo>
                  <a:lnTo>
                    <a:pt x="1240944" y="1015601"/>
                  </a:lnTo>
                  <a:lnTo>
                    <a:pt x="1241670" y="1017204"/>
                  </a:lnTo>
                  <a:lnTo>
                    <a:pt x="1242668" y="1016660"/>
                  </a:lnTo>
                  <a:lnTo>
                    <a:pt x="1244483" y="1014785"/>
                  </a:lnTo>
                  <a:lnTo>
                    <a:pt x="1244151" y="1013393"/>
                  </a:lnTo>
                  <a:lnTo>
                    <a:pt x="1245482" y="1012032"/>
                  </a:lnTo>
                  <a:lnTo>
                    <a:pt x="1247055" y="1011154"/>
                  </a:lnTo>
                  <a:lnTo>
                    <a:pt x="1249354" y="1010943"/>
                  </a:lnTo>
                  <a:lnTo>
                    <a:pt x="1251441" y="1011669"/>
                  </a:lnTo>
                  <a:lnTo>
                    <a:pt x="1253256" y="1011971"/>
                  </a:lnTo>
                  <a:lnTo>
                    <a:pt x="1254436" y="1011820"/>
                  </a:lnTo>
                  <a:lnTo>
                    <a:pt x="1255192" y="1010307"/>
                  </a:lnTo>
                  <a:lnTo>
                    <a:pt x="1255616" y="1009097"/>
                  </a:lnTo>
                  <a:lnTo>
                    <a:pt x="1256705" y="1008099"/>
                  </a:lnTo>
                  <a:lnTo>
                    <a:pt x="1257976" y="1007191"/>
                  </a:lnTo>
                  <a:lnTo>
                    <a:pt x="1258127" y="1005739"/>
                  </a:lnTo>
                  <a:lnTo>
                    <a:pt x="1258671" y="1004227"/>
                  </a:lnTo>
                  <a:lnTo>
                    <a:pt x="1260154" y="1002684"/>
                  </a:lnTo>
                  <a:lnTo>
                    <a:pt x="1262120" y="1001958"/>
                  </a:lnTo>
                  <a:lnTo>
                    <a:pt x="1264056" y="1002986"/>
                  </a:lnTo>
                  <a:lnTo>
                    <a:pt x="1265175" y="1004529"/>
                  </a:lnTo>
                  <a:lnTo>
                    <a:pt x="1266022" y="1003712"/>
                  </a:lnTo>
                  <a:lnTo>
                    <a:pt x="1266870" y="1002774"/>
                  </a:lnTo>
                  <a:lnTo>
                    <a:pt x="1267716" y="1002139"/>
                  </a:lnTo>
                  <a:lnTo>
                    <a:pt x="1268291" y="1002200"/>
                  </a:lnTo>
                  <a:lnTo>
                    <a:pt x="1269108" y="1001807"/>
                  </a:lnTo>
                  <a:lnTo>
                    <a:pt x="1269199" y="1001383"/>
                  </a:lnTo>
                  <a:lnTo>
                    <a:pt x="1269048" y="999749"/>
                  </a:lnTo>
                  <a:lnTo>
                    <a:pt x="1269108" y="999296"/>
                  </a:lnTo>
                  <a:lnTo>
                    <a:pt x="1269532" y="999114"/>
                  </a:lnTo>
                  <a:lnTo>
                    <a:pt x="1269955" y="999175"/>
                  </a:lnTo>
                  <a:lnTo>
                    <a:pt x="1270379" y="999175"/>
                  </a:lnTo>
                  <a:lnTo>
                    <a:pt x="1271710" y="998297"/>
                  </a:lnTo>
                  <a:lnTo>
                    <a:pt x="1269743" y="992157"/>
                  </a:lnTo>
                  <a:lnTo>
                    <a:pt x="1269259" y="988919"/>
                  </a:lnTo>
                  <a:lnTo>
                    <a:pt x="1270832" y="986257"/>
                  </a:lnTo>
                  <a:lnTo>
                    <a:pt x="1275189" y="981841"/>
                  </a:lnTo>
                  <a:lnTo>
                    <a:pt x="1277215" y="978846"/>
                  </a:lnTo>
                  <a:lnTo>
                    <a:pt x="1282419" y="974822"/>
                  </a:lnTo>
                  <a:lnTo>
                    <a:pt x="1284657" y="972523"/>
                  </a:lnTo>
                  <a:lnTo>
                    <a:pt x="1285444" y="971041"/>
                  </a:lnTo>
                  <a:lnTo>
                    <a:pt x="1286291" y="968167"/>
                  </a:lnTo>
                  <a:lnTo>
                    <a:pt x="1286926" y="966594"/>
                  </a:lnTo>
                  <a:lnTo>
                    <a:pt x="1288015" y="965444"/>
                  </a:lnTo>
                  <a:lnTo>
                    <a:pt x="1289467" y="964416"/>
                  </a:lnTo>
                  <a:lnTo>
                    <a:pt x="1290587" y="963024"/>
                  </a:lnTo>
                  <a:lnTo>
                    <a:pt x="1290798" y="960786"/>
                  </a:lnTo>
                  <a:lnTo>
                    <a:pt x="1290405" y="959999"/>
                  </a:lnTo>
                  <a:lnTo>
                    <a:pt x="1289225" y="957670"/>
                  </a:lnTo>
                  <a:lnTo>
                    <a:pt x="1287017" y="955613"/>
                  </a:lnTo>
                  <a:lnTo>
                    <a:pt x="1285777" y="953223"/>
                  </a:lnTo>
                  <a:lnTo>
                    <a:pt x="1287168" y="949018"/>
                  </a:lnTo>
                  <a:lnTo>
                    <a:pt x="1284052" y="948504"/>
                  </a:lnTo>
                  <a:lnTo>
                    <a:pt x="1279908" y="951014"/>
                  </a:lnTo>
                  <a:lnTo>
                    <a:pt x="1277004" y="951226"/>
                  </a:lnTo>
                  <a:lnTo>
                    <a:pt x="1259518" y="955885"/>
                  </a:lnTo>
                  <a:lnTo>
                    <a:pt x="1255465" y="955794"/>
                  </a:lnTo>
                  <a:lnTo>
                    <a:pt x="1254497" y="955582"/>
                  </a:lnTo>
                  <a:lnTo>
                    <a:pt x="1253559" y="954736"/>
                  </a:lnTo>
                  <a:lnTo>
                    <a:pt x="1253014" y="953676"/>
                  </a:lnTo>
                  <a:lnTo>
                    <a:pt x="1252319" y="952739"/>
                  </a:lnTo>
                  <a:lnTo>
                    <a:pt x="1250988" y="952255"/>
                  </a:lnTo>
                  <a:lnTo>
                    <a:pt x="1248356" y="951861"/>
                  </a:lnTo>
                  <a:lnTo>
                    <a:pt x="1246480" y="951105"/>
                  </a:lnTo>
                  <a:lnTo>
                    <a:pt x="1235771" y="945055"/>
                  </a:lnTo>
                  <a:lnTo>
                    <a:pt x="1231747" y="943694"/>
                  </a:lnTo>
                  <a:lnTo>
                    <a:pt x="1225849" y="940789"/>
                  </a:lnTo>
                  <a:lnTo>
                    <a:pt x="1224578" y="940457"/>
                  </a:lnTo>
                  <a:lnTo>
                    <a:pt x="1223247" y="940578"/>
                  </a:lnTo>
                  <a:lnTo>
                    <a:pt x="1222037" y="940941"/>
                  </a:lnTo>
                  <a:lnTo>
                    <a:pt x="1220827" y="941122"/>
                  </a:lnTo>
                  <a:lnTo>
                    <a:pt x="1219496" y="940638"/>
                  </a:lnTo>
                  <a:lnTo>
                    <a:pt x="1218558" y="939640"/>
                  </a:lnTo>
                  <a:lnTo>
                    <a:pt x="1218104" y="938490"/>
                  </a:lnTo>
                  <a:lnTo>
                    <a:pt x="1217771" y="937280"/>
                  </a:lnTo>
                  <a:lnTo>
                    <a:pt x="1217136" y="936010"/>
                  </a:lnTo>
                  <a:lnTo>
                    <a:pt x="1216198" y="935012"/>
                  </a:lnTo>
                  <a:lnTo>
                    <a:pt x="1214202" y="933680"/>
                  </a:lnTo>
                  <a:lnTo>
                    <a:pt x="1213294" y="932803"/>
                  </a:lnTo>
                  <a:lnTo>
                    <a:pt x="1212719" y="931835"/>
                  </a:lnTo>
                  <a:lnTo>
                    <a:pt x="1211540" y="929233"/>
                  </a:lnTo>
                  <a:lnTo>
                    <a:pt x="1210753" y="927963"/>
                  </a:lnTo>
                  <a:lnTo>
                    <a:pt x="1208545" y="925573"/>
                  </a:lnTo>
                  <a:lnTo>
                    <a:pt x="1208121" y="924968"/>
                  </a:lnTo>
                  <a:lnTo>
                    <a:pt x="1207758" y="923788"/>
                  </a:lnTo>
                  <a:lnTo>
                    <a:pt x="1207758" y="923123"/>
                  </a:lnTo>
                  <a:lnTo>
                    <a:pt x="1208030" y="922336"/>
                  </a:lnTo>
                  <a:lnTo>
                    <a:pt x="1208878" y="918313"/>
                  </a:lnTo>
                  <a:lnTo>
                    <a:pt x="1209604" y="917193"/>
                  </a:lnTo>
                  <a:lnTo>
                    <a:pt x="1212992" y="915469"/>
                  </a:lnTo>
                  <a:lnTo>
                    <a:pt x="1210360" y="913442"/>
                  </a:lnTo>
                  <a:lnTo>
                    <a:pt x="1207304" y="910478"/>
                  </a:lnTo>
                  <a:lnTo>
                    <a:pt x="1205036" y="906878"/>
                  </a:lnTo>
                  <a:lnTo>
                    <a:pt x="1204733" y="902854"/>
                  </a:lnTo>
                  <a:lnTo>
                    <a:pt x="1205792" y="901099"/>
                  </a:lnTo>
                  <a:lnTo>
                    <a:pt x="1210904" y="897469"/>
                  </a:lnTo>
                  <a:lnTo>
                    <a:pt x="1214353" y="891964"/>
                  </a:lnTo>
                  <a:lnTo>
                    <a:pt x="1215775" y="890996"/>
                  </a:lnTo>
                  <a:lnTo>
                    <a:pt x="1214625" y="888243"/>
                  </a:lnTo>
                  <a:lnTo>
                    <a:pt x="1215351" y="885611"/>
                  </a:lnTo>
                  <a:lnTo>
                    <a:pt x="1217197" y="883493"/>
                  </a:lnTo>
                  <a:lnTo>
                    <a:pt x="1219496" y="882313"/>
                  </a:lnTo>
                  <a:lnTo>
                    <a:pt x="1221341" y="882313"/>
                  </a:lnTo>
                  <a:lnTo>
                    <a:pt x="1224971" y="883281"/>
                  </a:lnTo>
                  <a:lnTo>
                    <a:pt x="1226756" y="883281"/>
                  </a:lnTo>
                  <a:lnTo>
                    <a:pt x="1226181" y="881557"/>
                  </a:lnTo>
                  <a:lnTo>
                    <a:pt x="1223126" y="876233"/>
                  </a:lnTo>
                  <a:lnTo>
                    <a:pt x="1222763" y="875114"/>
                  </a:lnTo>
                  <a:lnTo>
                    <a:pt x="1222218" y="871907"/>
                  </a:lnTo>
                  <a:lnTo>
                    <a:pt x="1221069" y="869094"/>
                  </a:lnTo>
                  <a:lnTo>
                    <a:pt x="1221159" y="868912"/>
                  </a:lnTo>
                  <a:lnTo>
                    <a:pt x="1221644" y="866885"/>
                  </a:lnTo>
                  <a:lnTo>
                    <a:pt x="1221825" y="866794"/>
                  </a:lnTo>
                  <a:lnTo>
                    <a:pt x="1221825" y="866159"/>
                  </a:lnTo>
                  <a:lnTo>
                    <a:pt x="1221916" y="865796"/>
                  </a:lnTo>
                  <a:lnTo>
                    <a:pt x="1221916" y="865403"/>
                  </a:lnTo>
                  <a:lnTo>
                    <a:pt x="1221734" y="864647"/>
                  </a:lnTo>
                  <a:lnTo>
                    <a:pt x="1221311" y="863981"/>
                  </a:lnTo>
                  <a:lnTo>
                    <a:pt x="1219496" y="862166"/>
                  </a:lnTo>
                  <a:lnTo>
                    <a:pt x="1214444" y="860260"/>
                  </a:lnTo>
                  <a:lnTo>
                    <a:pt x="1212689" y="860109"/>
                  </a:lnTo>
                  <a:lnTo>
                    <a:pt x="1207728" y="861016"/>
                  </a:lnTo>
                  <a:lnTo>
                    <a:pt x="1205822" y="860563"/>
                  </a:lnTo>
                  <a:lnTo>
                    <a:pt x="1198894" y="856842"/>
                  </a:lnTo>
                  <a:lnTo>
                    <a:pt x="1195597" y="854210"/>
                  </a:lnTo>
                  <a:lnTo>
                    <a:pt x="1193843" y="851487"/>
                  </a:lnTo>
                  <a:lnTo>
                    <a:pt x="1194054" y="844197"/>
                  </a:lnTo>
                  <a:lnTo>
                    <a:pt x="1193419" y="840446"/>
                  </a:lnTo>
                  <a:lnTo>
                    <a:pt x="1190757" y="838660"/>
                  </a:lnTo>
                  <a:lnTo>
                    <a:pt x="1187248" y="838358"/>
                  </a:lnTo>
                  <a:lnTo>
                    <a:pt x="1186189" y="837511"/>
                  </a:lnTo>
                  <a:lnTo>
                    <a:pt x="1184979" y="835575"/>
                  </a:lnTo>
                  <a:lnTo>
                    <a:pt x="1184707" y="834395"/>
                  </a:lnTo>
                  <a:lnTo>
                    <a:pt x="1184828" y="833366"/>
                  </a:lnTo>
                  <a:lnTo>
                    <a:pt x="1184676" y="832459"/>
                  </a:lnTo>
                  <a:lnTo>
                    <a:pt x="1183043" y="831158"/>
                  </a:lnTo>
                  <a:lnTo>
                    <a:pt x="1181288" y="828678"/>
                  </a:lnTo>
                  <a:lnTo>
                    <a:pt x="1182498" y="827195"/>
                  </a:lnTo>
                  <a:lnTo>
                    <a:pt x="1183981" y="826046"/>
                  </a:lnTo>
                  <a:lnTo>
                    <a:pt x="1184313" y="825774"/>
                  </a:lnTo>
                  <a:lnTo>
                    <a:pt x="1187792" y="823928"/>
                  </a:lnTo>
                  <a:lnTo>
                    <a:pt x="1188700" y="823777"/>
                  </a:lnTo>
                  <a:lnTo>
                    <a:pt x="1190515" y="823838"/>
                  </a:lnTo>
                  <a:lnTo>
                    <a:pt x="1191301" y="823716"/>
                  </a:lnTo>
                  <a:lnTo>
                    <a:pt x="1192179" y="823263"/>
                  </a:lnTo>
                  <a:lnTo>
                    <a:pt x="1193994" y="821962"/>
                  </a:lnTo>
                  <a:lnTo>
                    <a:pt x="1194750" y="821599"/>
                  </a:lnTo>
                  <a:lnTo>
                    <a:pt x="1198289" y="822143"/>
                  </a:lnTo>
                  <a:lnTo>
                    <a:pt x="1201980" y="823989"/>
                  </a:lnTo>
                  <a:lnTo>
                    <a:pt x="1205610" y="825168"/>
                  </a:lnTo>
                  <a:lnTo>
                    <a:pt x="1208878" y="823716"/>
                  </a:lnTo>
                  <a:lnTo>
                    <a:pt x="1209059" y="822900"/>
                  </a:lnTo>
                  <a:lnTo>
                    <a:pt x="1208484" y="822295"/>
                  </a:lnTo>
                  <a:lnTo>
                    <a:pt x="1208000" y="821599"/>
                  </a:lnTo>
                  <a:lnTo>
                    <a:pt x="1208545" y="820480"/>
                  </a:lnTo>
                  <a:lnTo>
                    <a:pt x="1209331" y="820147"/>
                  </a:lnTo>
                  <a:lnTo>
                    <a:pt x="1211661" y="820147"/>
                  </a:lnTo>
                  <a:lnTo>
                    <a:pt x="1212568" y="819905"/>
                  </a:lnTo>
                  <a:lnTo>
                    <a:pt x="1214050" y="818695"/>
                  </a:lnTo>
                  <a:lnTo>
                    <a:pt x="1215805" y="815881"/>
                  </a:lnTo>
                  <a:lnTo>
                    <a:pt x="1217106" y="814762"/>
                  </a:lnTo>
                  <a:lnTo>
                    <a:pt x="1220706" y="813250"/>
                  </a:lnTo>
                  <a:lnTo>
                    <a:pt x="1224245" y="812342"/>
                  </a:lnTo>
                  <a:lnTo>
                    <a:pt x="1225032" y="812644"/>
                  </a:lnTo>
                  <a:lnTo>
                    <a:pt x="1226272" y="814036"/>
                  </a:lnTo>
                  <a:lnTo>
                    <a:pt x="1226786" y="814217"/>
                  </a:lnTo>
                  <a:lnTo>
                    <a:pt x="1227452" y="813582"/>
                  </a:lnTo>
                  <a:lnTo>
                    <a:pt x="1229358" y="810345"/>
                  </a:lnTo>
                  <a:lnTo>
                    <a:pt x="1232080" y="808228"/>
                  </a:lnTo>
                  <a:lnTo>
                    <a:pt x="1232080" y="806170"/>
                  </a:lnTo>
                  <a:lnTo>
                    <a:pt x="1230991" y="803539"/>
                  </a:lnTo>
                  <a:lnTo>
                    <a:pt x="1230477" y="799727"/>
                  </a:lnTo>
                  <a:lnTo>
                    <a:pt x="1230991" y="798941"/>
                  </a:lnTo>
                  <a:lnTo>
                    <a:pt x="1234258" y="795371"/>
                  </a:lnTo>
                  <a:lnTo>
                    <a:pt x="1236346" y="791952"/>
                  </a:lnTo>
                  <a:lnTo>
                    <a:pt x="1237253" y="789956"/>
                  </a:lnTo>
                  <a:lnTo>
                    <a:pt x="1237344" y="788322"/>
                  </a:lnTo>
                  <a:lnTo>
                    <a:pt x="1236558" y="787778"/>
                  </a:lnTo>
                  <a:lnTo>
                    <a:pt x="1232262" y="786023"/>
                  </a:lnTo>
                  <a:lnTo>
                    <a:pt x="1230931" y="785085"/>
                  </a:lnTo>
                  <a:lnTo>
                    <a:pt x="1230114" y="783603"/>
                  </a:lnTo>
                  <a:lnTo>
                    <a:pt x="1229418" y="781969"/>
                  </a:lnTo>
                  <a:lnTo>
                    <a:pt x="1228753" y="781001"/>
                  </a:lnTo>
                  <a:lnTo>
                    <a:pt x="1228420" y="780517"/>
                  </a:lnTo>
                  <a:lnTo>
                    <a:pt x="1224033" y="777492"/>
                  </a:lnTo>
                  <a:lnTo>
                    <a:pt x="1219435" y="775132"/>
                  </a:lnTo>
                  <a:lnTo>
                    <a:pt x="1218679" y="773227"/>
                  </a:lnTo>
                  <a:lnTo>
                    <a:pt x="1218134" y="767782"/>
                  </a:lnTo>
                  <a:lnTo>
                    <a:pt x="1217741" y="766813"/>
                  </a:lnTo>
                  <a:lnTo>
                    <a:pt x="1216652" y="765271"/>
                  </a:lnTo>
                  <a:lnTo>
                    <a:pt x="1216440" y="764212"/>
                  </a:lnTo>
                  <a:lnTo>
                    <a:pt x="1216713" y="763123"/>
                  </a:lnTo>
                  <a:lnTo>
                    <a:pt x="1217862" y="760793"/>
                  </a:lnTo>
                  <a:lnTo>
                    <a:pt x="1218104" y="760037"/>
                  </a:lnTo>
                  <a:lnTo>
                    <a:pt x="1217499" y="758071"/>
                  </a:lnTo>
                  <a:lnTo>
                    <a:pt x="1216259" y="757284"/>
                  </a:lnTo>
                  <a:lnTo>
                    <a:pt x="1212992" y="756498"/>
                  </a:lnTo>
                  <a:lnTo>
                    <a:pt x="1211661" y="755560"/>
                  </a:lnTo>
                  <a:lnTo>
                    <a:pt x="1209362" y="753473"/>
                  </a:lnTo>
                  <a:lnTo>
                    <a:pt x="1208030" y="752989"/>
                  </a:lnTo>
                  <a:lnTo>
                    <a:pt x="1205399" y="752504"/>
                  </a:lnTo>
                  <a:lnTo>
                    <a:pt x="1202676" y="750629"/>
                  </a:lnTo>
                  <a:lnTo>
                    <a:pt x="1200649" y="747816"/>
                  </a:lnTo>
                  <a:lnTo>
                    <a:pt x="1199530" y="742340"/>
                  </a:lnTo>
                  <a:lnTo>
                    <a:pt x="1199257" y="739980"/>
                  </a:lnTo>
                  <a:lnTo>
                    <a:pt x="1199318" y="737621"/>
                  </a:lnTo>
                  <a:lnTo>
                    <a:pt x="1199863" y="735443"/>
                  </a:lnTo>
                  <a:lnTo>
                    <a:pt x="1201133" y="733507"/>
                  </a:lnTo>
                  <a:lnTo>
                    <a:pt x="1202676" y="732660"/>
                  </a:lnTo>
                  <a:lnTo>
                    <a:pt x="1205671" y="732266"/>
                  </a:lnTo>
                  <a:lnTo>
                    <a:pt x="1205671" y="732024"/>
                  </a:lnTo>
                  <a:lnTo>
                    <a:pt x="1205973" y="731450"/>
                  </a:lnTo>
                  <a:lnTo>
                    <a:pt x="1206397" y="730845"/>
                  </a:lnTo>
                  <a:lnTo>
                    <a:pt x="1206881" y="730482"/>
                  </a:lnTo>
                  <a:lnTo>
                    <a:pt x="1207274" y="730482"/>
                  </a:lnTo>
                  <a:lnTo>
                    <a:pt x="1208091" y="731026"/>
                  </a:lnTo>
                  <a:lnTo>
                    <a:pt x="1208454" y="731087"/>
                  </a:lnTo>
                  <a:lnTo>
                    <a:pt x="1209150" y="730996"/>
                  </a:lnTo>
                  <a:lnTo>
                    <a:pt x="1211630" y="730996"/>
                  </a:lnTo>
                  <a:lnTo>
                    <a:pt x="1213778" y="730451"/>
                  </a:lnTo>
                  <a:lnTo>
                    <a:pt x="1216047" y="729392"/>
                  </a:lnTo>
                  <a:lnTo>
                    <a:pt x="1218074" y="727820"/>
                  </a:lnTo>
                  <a:lnTo>
                    <a:pt x="1219435" y="725702"/>
                  </a:lnTo>
                  <a:lnTo>
                    <a:pt x="1220070" y="723917"/>
                  </a:lnTo>
                  <a:lnTo>
                    <a:pt x="1220887" y="722314"/>
                  </a:lnTo>
                  <a:lnTo>
                    <a:pt x="1221946" y="721103"/>
                  </a:lnTo>
                  <a:lnTo>
                    <a:pt x="1223398" y="720468"/>
                  </a:lnTo>
                  <a:lnTo>
                    <a:pt x="1222702" y="719410"/>
                  </a:lnTo>
                  <a:lnTo>
                    <a:pt x="1222158" y="718078"/>
                  </a:lnTo>
                  <a:lnTo>
                    <a:pt x="1221462" y="715658"/>
                  </a:lnTo>
                  <a:lnTo>
                    <a:pt x="1220313" y="712875"/>
                  </a:lnTo>
                  <a:lnTo>
                    <a:pt x="1219950" y="711484"/>
                  </a:lnTo>
                  <a:lnTo>
                    <a:pt x="1219466" y="711181"/>
                  </a:lnTo>
                  <a:lnTo>
                    <a:pt x="1212659" y="704102"/>
                  </a:lnTo>
                  <a:lnTo>
                    <a:pt x="1210360" y="703165"/>
                  </a:lnTo>
                  <a:lnTo>
                    <a:pt x="1209513" y="703467"/>
                  </a:lnTo>
                  <a:lnTo>
                    <a:pt x="1208787" y="704132"/>
                  </a:lnTo>
                  <a:lnTo>
                    <a:pt x="1208000" y="704677"/>
                  </a:lnTo>
                  <a:lnTo>
                    <a:pt x="1207032" y="704556"/>
                  </a:lnTo>
                  <a:lnTo>
                    <a:pt x="1206155" y="703951"/>
                  </a:lnTo>
                  <a:lnTo>
                    <a:pt x="1206094" y="703528"/>
                  </a:lnTo>
                  <a:lnTo>
                    <a:pt x="1206306" y="702983"/>
                  </a:lnTo>
                  <a:lnTo>
                    <a:pt x="1206306" y="701954"/>
                  </a:lnTo>
                  <a:lnTo>
                    <a:pt x="1206397" y="701833"/>
                  </a:lnTo>
                  <a:lnTo>
                    <a:pt x="1206397" y="700442"/>
                  </a:lnTo>
                  <a:lnTo>
                    <a:pt x="1206185" y="699111"/>
                  </a:lnTo>
                  <a:lnTo>
                    <a:pt x="1205913" y="699232"/>
                  </a:lnTo>
                  <a:lnTo>
                    <a:pt x="1206367" y="698536"/>
                  </a:lnTo>
                  <a:lnTo>
                    <a:pt x="1207183" y="697628"/>
                  </a:lnTo>
                  <a:lnTo>
                    <a:pt x="1207879" y="696600"/>
                  </a:lnTo>
                  <a:lnTo>
                    <a:pt x="1208000" y="695571"/>
                  </a:lnTo>
                  <a:lnTo>
                    <a:pt x="1206457" y="694210"/>
                  </a:lnTo>
                  <a:lnTo>
                    <a:pt x="1198441" y="692577"/>
                  </a:lnTo>
                  <a:lnTo>
                    <a:pt x="1197563" y="690338"/>
                  </a:lnTo>
                  <a:lnTo>
                    <a:pt x="1198501" y="685770"/>
                  </a:lnTo>
                  <a:lnTo>
                    <a:pt x="1200256" y="680990"/>
                  </a:lnTo>
                  <a:lnTo>
                    <a:pt x="1203825" y="674607"/>
                  </a:lnTo>
                  <a:lnTo>
                    <a:pt x="1201526" y="670977"/>
                  </a:lnTo>
                  <a:lnTo>
                    <a:pt x="1197957" y="667498"/>
                  </a:lnTo>
                  <a:lnTo>
                    <a:pt x="1196021" y="664443"/>
                  </a:lnTo>
                  <a:lnTo>
                    <a:pt x="1196565" y="662900"/>
                  </a:lnTo>
                  <a:lnTo>
                    <a:pt x="1199227" y="660056"/>
                  </a:lnTo>
                  <a:lnTo>
                    <a:pt x="1199953" y="657818"/>
                  </a:lnTo>
                  <a:lnTo>
                    <a:pt x="1199832" y="656517"/>
                  </a:lnTo>
                  <a:lnTo>
                    <a:pt x="1199711" y="655276"/>
                  </a:lnTo>
                  <a:lnTo>
                    <a:pt x="1198774" y="653945"/>
                  </a:lnTo>
                  <a:lnTo>
                    <a:pt x="1198774" y="653945"/>
                  </a:lnTo>
                  <a:lnTo>
                    <a:pt x="1197261" y="653250"/>
                  </a:lnTo>
                  <a:lnTo>
                    <a:pt x="1182256" y="649680"/>
                  </a:lnTo>
                  <a:lnTo>
                    <a:pt x="1175540" y="649499"/>
                  </a:lnTo>
                  <a:lnTo>
                    <a:pt x="1169097" y="650678"/>
                  </a:lnTo>
                  <a:lnTo>
                    <a:pt x="1160505" y="656093"/>
                  </a:lnTo>
                  <a:lnTo>
                    <a:pt x="1157238" y="656849"/>
                  </a:lnTo>
                  <a:lnTo>
                    <a:pt x="1153941" y="657001"/>
                  </a:lnTo>
                  <a:lnTo>
                    <a:pt x="1150855" y="657908"/>
                  </a:lnTo>
                  <a:lnTo>
                    <a:pt x="1147588" y="660510"/>
                  </a:lnTo>
                  <a:lnTo>
                    <a:pt x="1144714" y="663989"/>
                  </a:lnTo>
                  <a:lnTo>
                    <a:pt x="1142597" y="666651"/>
                  </a:lnTo>
                  <a:lnTo>
                    <a:pt x="1142052" y="668466"/>
                  </a:lnTo>
                  <a:lnTo>
                    <a:pt x="1142476" y="669797"/>
                  </a:lnTo>
                  <a:lnTo>
                    <a:pt x="1143383" y="672066"/>
                  </a:lnTo>
                  <a:lnTo>
                    <a:pt x="1143444" y="672611"/>
                  </a:lnTo>
                  <a:lnTo>
                    <a:pt x="1144412" y="674819"/>
                  </a:lnTo>
                  <a:lnTo>
                    <a:pt x="1144835" y="675363"/>
                  </a:lnTo>
                  <a:lnTo>
                    <a:pt x="1145894" y="675878"/>
                  </a:lnTo>
                  <a:lnTo>
                    <a:pt x="1147588" y="675182"/>
                  </a:lnTo>
                  <a:lnTo>
                    <a:pt x="1148284" y="675454"/>
                  </a:lnTo>
                  <a:lnTo>
                    <a:pt x="1148798" y="678540"/>
                  </a:lnTo>
                  <a:lnTo>
                    <a:pt x="1146197" y="681081"/>
                  </a:lnTo>
                  <a:lnTo>
                    <a:pt x="1139753" y="684983"/>
                  </a:lnTo>
                  <a:lnTo>
                    <a:pt x="1134610" y="690519"/>
                  </a:lnTo>
                  <a:lnTo>
                    <a:pt x="1131343" y="692062"/>
                  </a:lnTo>
                  <a:lnTo>
                    <a:pt x="1127925" y="690671"/>
                  </a:lnTo>
                  <a:lnTo>
                    <a:pt x="1123326" y="690852"/>
                  </a:lnTo>
                  <a:lnTo>
                    <a:pt x="1118758" y="691851"/>
                  </a:lnTo>
                  <a:lnTo>
                    <a:pt x="1116338" y="693181"/>
                  </a:lnTo>
                  <a:lnTo>
                    <a:pt x="1117669" y="690277"/>
                  </a:lnTo>
                  <a:lnTo>
                    <a:pt x="1118456" y="688916"/>
                  </a:lnTo>
                  <a:lnTo>
                    <a:pt x="1118758" y="687767"/>
                  </a:lnTo>
                  <a:lnTo>
                    <a:pt x="1116974" y="685709"/>
                  </a:lnTo>
                  <a:lnTo>
                    <a:pt x="1115915" y="683864"/>
                  </a:lnTo>
                  <a:lnTo>
                    <a:pt x="1116278" y="682261"/>
                  </a:lnTo>
                  <a:lnTo>
                    <a:pt x="1118728" y="680839"/>
                  </a:lnTo>
                  <a:lnTo>
                    <a:pt x="1124748" y="678116"/>
                  </a:lnTo>
                  <a:lnTo>
                    <a:pt x="1124930" y="678116"/>
                  </a:lnTo>
                  <a:lnTo>
                    <a:pt x="1125081" y="678056"/>
                  </a:lnTo>
                  <a:lnTo>
                    <a:pt x="1125262" y="678056"/>
                  </a:lnTo>
                  <a:lnTo>
                    <a:pt x="1126049" y="678298"/>
                  </a:lnTo>
                  <a:lnTo>
                    <a:pt x="1126654" y="678358"/>
                  </a:lnTo>
                  <a:lnTo>
                    <a:pt x="1127229" y="678298"/>
                  </a:lnTo>
                  <a:lnTo>
                    <a:pt x="1129437" y="677662"/>
                  </a:lnTo>
                  <a:lnTo>
                    <a:pt x="1129861" y="676785"/>
                  </a:lnTo>
                  <a:lnTo>
                    <a:pt x="1129770" y="675575"/>
                  </a:lnTo>
                  <a:lnTo>
                    <a:pt x="1129830" y="674123"/>
                  </a:lnTo>
                  <a:lnTo>
                    <a:pt x="1130556" y="670342"/>
                  </a:lnTo>
                  <a:lnTo>
                    <a:pt x="1130889" y="669313"/>
                  </a:lnTo>
                  <a:lnTo>
                    <a:pt x="1132341" y="666288"/>
                  </a:lnTo>
                  <a:lnTo>
                    <a:pt x="1134126" y="662597"/>
                  </a:lnTo>
                  <a:lnTo>
                    <a:pt x="1133975" y="661115"/>
                  </a:lnTo>
                  <a:lnTo>
                    <a:pt x="1132765" y="659088"/>
                  </a:lnTo>
                  <a:lnTo>
                    <a:pt x="1131283" y="657636"/>
                  </a:lnTo>
                  <a:lnTo>
                    <a:pt x="1126352" y="654853"/>
                  </a:lnTo>
                  <a:lnTo>
                    <a:pt x="1125867" y="654581"/>
                  </a:lnTo>
                  <a:lnTo>
                    <a:pt x="1127017" y="653552"/>
                  </a:lnTo>
                  <a:lnTo>
                    <a:pt x="1127199" y="652675"/>
                  </a:lnTo>
                  <a:lnTo>
                    <a:pt x="1126987" y="651767"/>
                  </a:lnTo>
                  <a:lnTo>
                    <a:pt x="1126987" y="650739"/>
                  </a:lnTo>
                  <a:lnTo>
                    <a:pt x="1126896" y="650315"/>
                  </a:lnTo>
                  <a:lnTo>
                    <a:pt x="1126654" y="649771"/>
                  </a:lnTo>
                  <a:lnTo>
                    <a:pt x="1126442" y="649136"/>
                  </a:lnTo>
                  <a:lnTo>
                    <a:pt x="1126442" y="648470"/>
                  </a:lnTo>
                  <a:lnTo>
                    <a:pt x="1126836" y="647653"/>
                  </a:lnTo>
                  <a:lnTo>
                    <a:pt x="1127985" y="646534"/>
                  </a:lnTo>
                  <a:lnTo>
                    <a:pt x="1131494" y="640998"/>
                  </a:lnTo>
                  <a:lnTo>
                    <a:pt x="1135064" y="636884"/>
                  </a:lnTo>
                  <a:lnTo>
                    <a:pt x="1132644" y="634373"/>
                  </a:lnTo>
                  <a:lnTo>
                    <a:pt x="1132341" y="632588"/>
                  </a:lnTo>
                  <a:lnTo>
                    <a:pt x="1133672" y="630954"/>
                  </a:lnTo>
                  <a:lnTo>
                    <a:pt x="1147225" y="619550"/>
                  </a:lnTo>
                  <a:lnTo>
                    <a:pt x="1154425" y="615920"/>
                  </a:lnTo>
                  <a:lnTo>
                    <a:pt x="1155423" y="615163"/>
                  </a:lnTo>
                  <a:lnTo>
                    <a:pt x="1158085" y="612410"/>
                  </a:lnTo>
                  <a:lnTo>
                    <a:pt x="1161413" y="610777"/>
                  </a:lnTo>
                  <a:lnTo>
                    <a:pt x="1162472" y="610051"/>
                  </a:lnTo>
                  <a:lnTo>
                    <a:pt x="1163621" y="608750"/>
                  </a:lnTo>
                  <a:lnTo>
                    <a:pt x="1164015" y="607630"/>
                  </a:lnTo>
                  <a:lnTo>
                    <a:pt x="1164015" y="605361"/>
                  </a:lnTo>
                  <a:lnTo>
                    <a:pt x="1163228" y="604605"/>
                  </a:lnTo>
                  <a:lnTo>
                    <a:pt x="1162684" y="603940"/>
                  </a:lnTo>
                  <a:lnTo>
                    <a:pt x="1162411" y="603183"/>
                  </a:lnTo>
                  <a:lnTo>
                    <a:pt x="1162562" y="602518"/>
                  </a:lnTo>
                  <a:lnTo>
                    <a:pt x="1164136" y="598101"/>
                  </a:lnTo>
                  <a:lnTo>
                    <a:pt x="1164831" y="596952"/>
                  </a:lnTo>
                  <a:lnTo>
                    <a:pt x="1165043" y="596498"/>
                  </a:lnTo>
                  <a:lnTo>
                    <a:pt x="1165406" y="595651"/>
                  </a:lnTo>
                  <a:lnTo>
                    <a:pt x="1165558" y="593775"/>
                  </a:lnTo>
                  <a:lnTo>
                    <a:pt x="1165225" y="592293"/>
                  </a:lnTo>
                  <a:lnTo>
                    <a:pt x="1163894" y="589933"/>
                  </a:lnTo>
                  <a:lnTo>
                    <a:pt x="1163470" y="588723"/>
                  </a:lnTo>
                  <a:lnTo>
                    <a:pt x="1164952" y="583974"/>
                  </a:lnTo>
                  <a:lnTo>
                    <a:pt x="1169823" y="581372"/>
                  </a:lnTo>
                  <a:lnTo>
                    <a:pt x="1180653" y="578226"/>
                  </a:lnTo>
                  <a:lnTo>
                    <a:pt x="1187369" y="573537"/>
                  </a:lnTo>
                  <a:lnTo>
                    <a:pt x="1189668" y="570482"/>
                  </a:lnTo>
                  <a:lnTo>
                    <a:pt x="1188458" y="567971"/>
                  </a:lnTo>
                  <a:lnTo>
                    <a:pt x="1189819" y="565823"/>
                  </a:lnTo>
                  <a:lnTo>
                    <a:pt x="1190757" y="564946"/>
                  </a:lnTo>
                  <a:lnTo>
                    <a:pt x="1193298" y="564129"/>
                  </a:lnTo>
                  <a:lnTo>
                    <a:pt x="1193661" y="563252"/>
                  </a:lnTo>
                  <a:lnTo>
                    <a:pt x="1194024" y="563009"/>
                  </a:lnTo>
                  <a:lnTo>
                    <a:pt x="1195476" y="562314"/>
                  </a:lnTo>
                  <a:lnTo>
                    <a:pt x="1195355" y="559984"/>
                  </a:lnTo>
                  <a:lnTo>
                    <a:pt x="1198380" y="559016"/>
                  </a:lnTo>
                  <a:lnTo>
                    <a:pt x="1204763" y="553601"/>
                  </a:lnTo>
                  <a:lnTo>
                    <a:pt x="1204975" y="553420"/>
                  </a:lnTo>
                  <a:lnTo>
                    <a:pt x="1206881" y="550516"/>
                  </a:lnTo>
                  <a:lnTo>
                    <a:pt x="1209815" y="547733"/>
                  </a:lnTo>
                  <a:lnTo>
                    <a:pt x="1216652" y="543134"/>
                  </a:lnTo>
                  <a:lnTo>
                    <a:pt x="1216259" y="539777"/>
                  </a:lnTo>
                  <a:lnTo>
                    <a:pt x="1216894" y="536993"/>
                  </a:lnTo>
                  <a:lnTo>
                    <a:pt x="1218800" y="535178"/>
                  </a:lnTo>
                  <a:lnTo>
                    <a:pt x="1219707" y="535087"/>
                  </a:lnTo>
                  <a:lnTo>
                    <a:pt x="1220252" y="534906"/>
                  </a:lnTo>
                  <a:lnTo>
                    <a:pt x="1221734" y="533091"/>
                  </a:lnTo>
                  <a:lnTo>
                    <a:pt x="1222793" y="532516"/>
                  </a:lnTo>
                  <a:lnTo>
                    <a:pt x="1223822" y="532244"/>
                  </a:lnTo>
                  <a:lnTo>
                    <a:pt x="1224760" y="531669"/>
                  </a:lnTo>
                  <a:lnTo>
                    <a:pt x="1225546" y="530156"/>
                  </a:lnTo>
                  <a:lnTo>
                    <a:pt x="1224487" y="528765"/>
                  </a:lnTo>
                  <a:lnTo>
                    <a:pt x="1222975" y="527525"/>
                  </a:lnTo>
                  <a:lnTo>
                    <a:pt x="1221492" y="526405"/>
                  </a:lnTo>
                  <a:lnTo>
                    <a:pt x="1219647" y="527222"/>
                  </a:lnTo>
                  <a:lnTo>
                    <a:pt x="1207667" y="528311"/>
                  </a:lnTo>
                  <a:lnTo>
                    <a:pt x="1208182" y="526557"/>
                  </a:lnTo>
                  <a:lnTo>
                    <a:pt x="1209422" y="524439"/>
                  </a:lnTo>
                  <a:lnTo>
                    <a:pt x="1210904" y="522654"/>
                  </a:lnTo>
                  <a:lnTo>
                    <a:pt x="1213506" y="521232"/>
                  </a:lnTo>
                  <a:lnTo>
                    <a:pt x="1213657" y="518661"/>
                  </a:lnTo>
                  <a:lnTo>
                    <a:pt x="1216289" y="518116"/>
                  </a:lnTo>
                  <a:lnTo>
                    <a:pt x="1217923" y="517239"/>
                  </a:lnTo>
                  <a:lnTo>
                    <a:pt x="1219405" y="516059"/>
                  </a:lnTo>
                  <a:lnTo>
                    <a:pt x="1220161" y="514910"/>
                  </a:lnTo>
                  <a:lnTo>
                    <a:pt x="1219677" y="513276"/>
                  </a:lnTo>
                  <a:lnTo>
                    <a:pt x="1218649" y="511401"/>
                  </a:lnTo>
                  <a:lnTo>
                    <a:pt x="1218407" y="509888"/>
                  </a:lnTo>
                  <a:lnTo>
                    <a:pt x="1220282" y="509374"/>
                  </a:lnTo>
                  <a:lnTo>
                    <a:pt x="1221159" y="508708"/>
                  </a:lnTo>
                  <a:lnTo>
                    <a:pt x="1222067" y="508497"/>
                  </a:lnTo>
                  <a:lnTo>
                    <a:pt x="1222975" y="508708"/>
                  </a:lnTo>
                  <a:lnTo>
                    <a:pt x="1223882" y="509374"/>
                  </a:lnTo>
                  <a:lnTo>
                    <a:pt x="1226484" y="509706"/>
                  </a:lnTo>
                  <a:lnTo>
                    <a:pt x="1231506" y="508920"/>
                  </a:lnTo>
                  <a:lnTo>
                    <a:pt x="1233895" y="509374"/>
                  </a:lnTo>
                  <a:lnTo>
                    <a:pt x="1235196" y="510069"/>
                  </a:lnTo>
                  <a:lnTo>
                    <a:pt x="1235378" y="510069"/>
                  </a:lnTo>
                  <a:lnTo>
                    <a:pt x="1236527" y="510281"/>
                  </a:lnTo>
                  <a:lnTo>
                    <a:pt x="1239250" y="510039"/>
                  </a:lnTo>
                  <a:lnTo>
                    <a:pt x="1237435" y="513911"/>
                  </a:lnTo>
                  <a:lnTo>
                    <a:pt x="1238010" y="516120"/>
                  </a:lnTo>
                  <a:lnTo>
                    <a:pt x="1240188" y="517330"/>
                  </a:lnTo>
                  <a:lnTo>
                    <a:pt x="1243152" y="518177"/>
                  </a:lnTo>
                  <a:lnTo>
                    <a:pt x="1243576" y="518479"/>
                  </a:lnTo>
                  <a:lnTo>
                    <a:pt x="1243848" y="518964"/>
                  </a:lnTo>
                  <a:lnTo>
                    <a:pt x="1244241" y="519478"/>
                  </a:lnTo>
                  <a:lnTo>
                    <a:pt x="1245028" y="519780"/>
                  </a:lnTo>
                  <a:lnTo>
                    <a:pt x="1245694" y="519659"/>
                  </a:lnTo>
                  <a:lnTo>
                    <a:pt x="1249505" y="518147"/>
                  </a:lnTo>
                  <a:lnTo>
                    <a:pt x="1252167" y="517632"/>
                  </a:lnTo>
                  <a:lnTo>
                    <a:pt x="1254981" y="517753"/>
                  </a:lnTo>
                  <a:lnTo>
                    <a:pt x="1259155" y="517935"/>
                  </a:lnTo>
                  <a:lnTo>
                    <a:pt x="1260123" y="517572"/>
                  </a:lnTo>
                  <a:lnTo>
                    <a:pt x="1261939" y="516876"/>
                  </a:lnTo>
                  <a:lnTo>
                    <a:pt x="1263360" y="515152"/>
                  </a:lnTo>
                  <a:lnTo>
                    <a:pt x="1263905" y="514486"/>
                  </a:lnTo>
                  <a:lnTo>
                    <a:pt x="1264238" y="513216"/>
                  </a:lnTo>
                  <a:lnTo>
                    <a:pt x="1264086" y="512459"/>
                  </a:lnTo>
                  <a:lnTo>
                    <a:pt x="1263602" y="511824"/>
                  </a:lnTo>
                  <a:lnTo>
                    <a:pt x="1263270" y="511491"/>
                  </a:lnTo>
                  <a:lnTo>
                    <a:pt x="1262755" y="510644"/>
                  </a:lnTo>
                  <a:lnTo>
                    <a:pt x="1262755" y="509828"/>
                  </a:lnTo>
                  <a:lnTo>
                    <a:pt x="1263935" y="509495"/>
                  </a:lnTo>
                  <a:lnTo>
                    <a:pt x="1265508" y="510009"/>
                  </a:lnTo>
                  <a:lnTo>
                    <a:pt x="1265962" y="510281"/>
                  </a:lnTo>
                  <a:lnTo>
                    <a:pt x="1266809" y="510796"/>
                  </a:lnTo>
                  <a:lnTo>
                    <a:pt x="1268110" y="510977"/>
                  </a:lnTo>
                  <a:lnTo>
                    <a:pt x="1269653" y="509706"/>
                  </a:lnTo>
                  <a:lnTo>
                    <a:pt x="1269834" y="509495"/>
                  </a:lnTo>
                  <a:lnTo>
                    <a:pt x="1269955" y="509102"/>
                  </a:lnTo>
                  <a:lnTo>
                    <a:pt x="1269955" y="508708"/>
                  </a:lnTo>
                  <a:lnTo>
                    <a:pt x="1269864" y="508406"/>
                  </a:lnTo>
                  <a:lnTo>
                    <a:pt x="1269138" y="507468"/>
                  </a:lnTo>
                  <a:lnTo>
                    <a:pt x="1268927" y="506923"/>
                  </a:lnTo>
                  <a:lnTo>
                    <a:pt x="1269048" y="506500"/>
                  </a:lnTo>
                  <a:lnTo>
                    <a:pt x="1269622" y="506228"/>
                  </a:lnTo>
                  <a:lnTo>
                    <a:pt x="1270651" y="506439"/>
                  </a:lnTo>
                  <a:lnTo>
                    <a:pt x="1271468" y="506197"/>
                  </a:lnTo>
                  <a:lnTo>
                    <a:pt x="1271891" y="505411"/>
                  </a:lnTo>
                  <a:lnTo>
                    <a:pt x="1271891" y="504049"/>
                  </a:lnTo>
                  <a:lnTo>
                    <a:pt x="1271528" y="504049"/>
                  </a:lnTo>
                  <a:lnTo>
                    <a:pt x="1269864" y="502870"/>
                  </a:lnTo>
                  <a:lnTo>
                    <a:pt x="1269622" y="502779"/>
                  </a:lnTo>
                  <a:lnTo>
                    <a:pt x="1273464" y="499875"/>
                  </a:lnTo>
                  <a:lnTo>
                    <a:pt x="1274009" y="499451"/>
                  </a:lnTo>
                  <a:lnTo>
                    <a:pt x="1276429" y="498211"/>
                  </a:lnTo>
                  <a:lnTo>
                    <a:pt x="1279968" y="496971"/>
                  </a:lnTo>
                  <a:lnTo>
                    <a:pt x="1280029" y="496971"/>
                  </a:lnTo>
                  <a:lnTo>
                    <a:pt x="1280452" y="495549"/>
                  </a:lnTo>
                  <a:lnTo>
                    <a:pt x="1280694" y="495065"/>
                  </a:lnTo>
                  <a:lnTo>
                    <a:pt x="1280483" y="493764"/>
                  </a:lnTo>
                  <a:lnTo>
                    <a:pt x="1279938" y="493068"/>
                  </a:lnTo>
                  <a:lnTo>
                    <a:pt x="1279303" y="492554"/>
                  </a:lnTo>
                  <a:lnTo>
                    <a:pt x="1278698" y="491858"/>
                  </a:lnTo>
                  <a:lnTo>
                    <a:pt x="1276429" y="487684"/>
                  </a:lnTo>
                  <a:lnTo>
                    <a:pt x="1275068" y="485929"/>
                  </a:lnTo>
                  <a:lnTo>
                    <a:pt x="1273585" y="485203"/>
                  </a:lnTo>
                  <a:lnTo>
                    <a:pt x="1273192" y="484568"/>
                  </a:lnTo>
                  <a:lnTo>
                    <a:pt x="1272890" y="483085"/>
                  </a:lnTo>
                  <a:lnTo>
                    <a:pt x="1272617" y="480151"/>
                  </a:lnTo>
                  <a:lnTo>
                    <a:pt x="1272980" y="479304"/>
                  </a:lnTo>
                  <a:lnTo>
                    <a:pt x="1274644" y="477701"/>
                  </a:lnTo>
                  <a:lnTo>
                    <a:pt x="1275249" y="476793"/>
                  </a:lnTo>
                  <a:lnTo>
                    <a:pt x="1275310" y="474554"/>
                  </a:lnTo>
                  <a:lnTo>
                    <a:pt x="1274069" y="469744"/>
                  </a:lnTo>
                  <a:lnTo>
                    <a:pt x="1274342" y="467839"/>
                  </a:lnTo>
                  <a:lnTo>
                    <a:pt x="1275794" y="463361"/>
                  </a:lnTo>
                  <a:lnTo>
                    <a:pt x="1276338" y="462726"/>
                  </a:lnTo>
                  <a:lnTo>
                    <a:pt x="1277700" y="462030"/>
                  </a:lnTo>
                  <a:lnTo>
                    <a:pt x="1277911" y="460488"/>
                  </a:lnTo>
                  <a:lnTo>
                    <a:pt x="1277397" y="457916"/>
                  </a:lnTo>
                  <a:lnTo>
                    <a:pt x="1277397" y="457311"/>
                  </a:lnTo>
                  <a:lnTo>
                    <a:pt x="1277337" y="456948"/>
                  </a:lnTo>
                  <a:lnTo>
                    <a:pt x="1277276" y="456615"/>
                  </a:lnTo>
                  <a:lnTo>
                    <a:pt x="1277397" y="456040"/>
                  </a:lnTo>
                  <a:lnTo>
                    <a:pt x="1277700" y="455435"/>
                  </a:lnTo>
                  <a:lnTo>
                    <a:pt x="1278365" y="454831"/>
                  </a:lnTo>
                  <a:lnTo>
                    <a:pt x="1278758" y="454135"/>
                  </a:lnTo>
                  <a:lnTo>
                    <a:pt x="1279393" y="452743"/>
                  </a:lnTo>
                  <a:lnTo>
                    <a:pt x="1279575" y="452108"/>
                  </a:lnTo>
                  <a:lnTo>
                    <a:pt x="1279454" y="449869"/>
                  </a:lnTo>
                  <a:lnTo>
                    <a:pt x="1279999" y="448024"/>
                  </a:lnTo>
                  <a:lnTo>
                    <a:pt x="1282691" y="445392"/>
                  </a:lnTo>
                  <a:lnTo>
                    <a:pt x="1283659" y="443728"/>
                  </a:lnTo>
                  <a:lnTo>
                    <a:pt x="1283447" y="439432"/>
                  </a:lnTo>
                  <a:lnTo>
                    <a:pt x="1279091" y="432384"/>
                  </a:lnTo>
                  <a:lnTo>
                    <a:pt x="1278789" y="426697"/>
                  </a:lnTo>
                  <a:lnTo>
                    <a:pt x="1279424" y="424004"/>
                  </a:lnTo>
                  <a:lnTo>
                    <a:pt x="1280120" y="421887"/>
                  </a:lnTo>
                  <a:lnTo>
                    <a:pt x="1280846" y="420646"/>
                  </a:lnTo>
                  <a:lnTo>
                    <a:pt x="1281541" y="419799"/>
                  </a:lnTo>
                  <a:lnTo>
                    <a:pt x="1282056" y="418710"/>
                  </a:lnTo>
                  <a:lnTo>
                    <a:pt x="1282268" y="416714"/>
                  </a:lnTo>
                  <a:lnTo>
                    <a:pt x="1282933" y="415050"/>
                  </a:lnTo>
                  <a:lnTo>
                    <a:pt x="1289286" y="406852"/>
                  </a:lnTo>
                  <a:lnTo>
                    <a:pt x="1290345" y="404825"/>
                  </a:lnTo>
                  <a:lnTo>
                    <a:pt x="1290980" y="402465"/>
                  </a:lnTo>
                  <a:lnTo>
                    <a:pt x="1291192" y="399652"/>
                  </a:lnTo>
                  <a:lnTo>
                    <a:pt x="1291887" y="396748"/>
                  </a:lnTo>
                  <a:lnTo>
                    <a:pt x="1293521" y="395507"/>
                  </a:lnTo>
                  <a:lnTo>
                    <a:pt x="1295366" y="394600"/>
                  </a:lnTo>
                  <a:lnTo>
                    <a:pt x="1296758" y="392573"/>
                  </a:lnTo>
                  <a:lnTo>
                    <a:pt x="1296879" y="390637"/>
                  </a:lnTo>
                  <a:lnTo>
                    <a:pt x="1296365" y="388791"/>
                  </a:lnTo>
                  <a:lnTo>
                    <a:pt x="1295699" y="387007"/>
                  </a:lnTo>
                  <a:lnTo>
                    <a:pt x="1295366" y="385343"/>
                  </a:lnTo>
                  <a:lnTo>
                    <a:pt x="1295487" y="383497"/>
                  </a:lnTo>
                  <a:lnTo>
                    <a:pt x="1296244" y="379807"/>
                  </a:lnTo>
                  <a:lnTo>
                    <a:pt x="1296758" y="378234"/>
                  </a:lnTo>
                  <a:lnTo>
                    <a:pt x="1297454" y="376933"/>
                  </a:lnTo>
                  <a:lnTo>
                    <a:pt x="1298119" y="376025"/>
                  </a:lnTo>
                  <a:lnTo>
                    <a:pt x="1298634" y="374664"/>
                  </a:lnTo>
                  <a:lnTo>
                    <a:pt x="1298845" y="372002"/>
                  </a:lnTo>
                  <a:lnTo>
                    <a:pt x="1299360" y="370731"/>
                  </a:lnTo>
                  <a:lnTo>
                    <a:pt x="1300569" y="369582"/>
                  </a:lnTo>
                  <a:lnTo>
                    <a:pt x="1303081" y="367767"/>
                  </a:lnTo>
                  <a:lnTo>
                    <a:pt x="1303081" y="366799"/>
                  </a:lnTo>
                  <a:lnTo>
                    <a:pt x="1301901" y="363834"/>
                  </a:lnTo>
                  <a:lnTo>
                    <a:pt x="1301901" y="358994"/>
                  </a:lnTo>
                  <a:lnTo>
                    <a:pt x="1302778" y="354426"/>
                  </a:lnTo>
                  <a:lnTo>
                    <a:pt x="1307013" y="348315"/>
                  </a:lnTo>
                  <a:lnTo>
                    <a:pt x="1308193" y="347559"/>
                  </a:lnTo>
                  <a:lnTo>
                    <a:pt x="1309857" y="347045"/>
                  </a:lnTo>
                  <a:lnTo>
                    <a:pt x="1311400" y="345804"/>
                  </a:lnTo>
                  <a:lnTo>
                    <a:pt x="1314153" y="342779"/>
                  </a:lnTo>
                  <a:lnTo>
                    <a:pt x="1315332" y="342053"/>
                  </a:lnTo>
                  <a:lnTo>
                    <a:pt x="1316663" y="340873"/>
                  </a:lnTo>
                  <a:lnTo>
                    <a:pt x="1317752" y="339542"/>
                  </a:lnTo>
                  <a:lnTo>
                    <a:pt x="1318206" y="338423"/>
                  </a:lnTo>
                  <a:lnTo>
                    <a:pt x="1318327" y="335761"/>
                  </a:lnTo>
                  <a:lnTo>
                    <a:pt x="1318872" y="334490"/>
                  </a:lnTo>
                  <a:lnTo>
                    <a:pt x="1320021" y="334158"/>
                  </a:lnTo>
                  <a:lnTo>
                    <a:pt x="1322835" y="334097"/>
                  </a:lnTo>
                  <a:lnTo>
                    <a:pt x="1323621" y="333855"/>
                  </a:lnTo>
                  <a:lnTo>
                    <a:pt x="1324196" y="333401"/>
                  </a:lnTo>
                  <a:lnTo>
                    <a:pt x="1324408" y="332615"/>
                  </a:lnTo>
                  <a:lnTo>
                    <a:pt x="1324620" y="331314"/>
                  </a:lnTo>
                  <a:lnTo>
                    <a:pt x="1325104" y="330557"/>
                  </a:lnTo>
                  <a:lnTo>
                    <a:pt x="1325557" y="330134"/>
                  </a:lnTo>
                  <a:lnTo>
                    <a:pt x="1325769" y="329801"/>
                  </a:lnTo>
                  <a:lnTo>
                    <a:pt x="1326646" y="329801"/>
                  </a:lnTo>
                  <a:lnTo>
                    <a:pt x="1330337" y="327926"/>
                  </a:lnTo>
                  <a:lnTo>
                    <a:pt x="1330942" y="327442"/>
                  </a:lnTo>
                  <a:lnTo>
                    <a:pt x="1332182" y="325506"/>
                  </a:lnTo>
                  <a:lnTo>
                    <a:pt x="1336750" y="313919"/>
                  </a:lnTo>
                  <a:lnTo>
                    <a:pt x="1339896" y="308444"/>
                  </a:lnTo>
                  <a:lnTo>
                    <a:pt x="1341984" y="306265"/>
                  </a:lnTo>
                  <a:lnTo>
                    <a:pt x="1342014" y="306265"/>
                  </a:lnTo>
                  <a:lnTo>
                    <a:pt x="1340834" y="305207"/>
                  </a:lnTo>
                  <a:lnTo>
                    <a:pt x="1330942" y="303331"/>
                  </a:lnTo>
                  <a:close/>
                  <a:moveTo>
                    <a:pt x="717352" y="1168704"/>
                  </a:moveTo>
                  <a:lnTo>
                    <a:pt x="716354" y="1168885"/>
                  </a:lnTo>
                  <a:lnTo>
                    <a:pt x="716082" y="1168885"/>
                  </a:lnTo>
                  <a:lnTo>
                    <a:pt x="713782" y="1168583"/>
                  </a:lnTo>
                  <a:lnTo>
                    <a:pt x="712452" y="1167645"/>
                  </a:lnTo>
                  <a:lnTo>
                    <a:pt x="712270" y="1166072"/>
                  </a:lnTo>
                  <a:lnTo>
                    <a:pt x="713359" y="1163833"/>
                  </a:lnTo>
                  <a:lnTo>
                    <a:pt x="714508" y="1163349"/>
                  </a:lnTo>
                  <a:lnTo>
                    <a:pt x="715537" y="1164680"/>
                  </a:lnTo>
                  <a:lnTo>
                    <a:pt x="716566" y="1166798"/>
                  </a:lnTo>
                  <a:lnTo>
                    <a:pt x="717685" y="1168583"/>
                  </a:lnTo>
                  <a:lnTo>
                    <a:pt x="717352" y="1168704"/>
                  </a:lnTo>
                  <a:close/>
                </a:path>
              </a:pathLst>
            </a:custGeom>
            <a:solidFill>
              <a:srgbClr val="96A3AC"/>
            </a:solidFill>
            <a:ln w="3175" cap="rnd">
              <a:solidFill>
                <a:schemeClr val="bg1"/>
              </a:solidFill>
              <a:prstDash val="solid"/>
              <a:round/>
            </a:ln>
          </p:spPr>
          <p:txBody>
            <a:bodyPr rtlCol="0" anchor="ctr"/>
            <a:lstStyle/>
            <a:p>
              <a:endParaRPr lang="en-ID"/>
            </a:p>
          </p:txBody>
        </p:sp>
        <p:sp>
          <p:nvSpPr>
            <p:cNvPr id="53" name="Freeform: Shape 52">
              <a:extLst>
                <a:ext uri="{FF2B5EF4-FFF2-40B4-BE49-F238E27FC236}">
                  <a16:creationId xmlns:a16="http://schemas.microsoft.com/office/drawing/2014/main" id="{884B7C86-B1EE-C0F7-F903-16761ABFC1C7}"/>
                </a:ext>
              </a:extLst>
            </p:cNvPr>
            <p:cNvSpPr/>
            <p:nvPr/>
          </p:nvSpPr>
          <p:spPr>
            <a:xfrm>
              <a:off x="9683121" y="1051838"/>
              <a:ext cx="942584" cy="1766990"/>
            </a:xfrm>
            <a:custGeom>
              <a:avLst/>
              <a:gdLst>
                <a:gd name="connsiteX0" fmla="*/ 140246 w 1212658"/>
                <a:gd name="connsiteY0" fmla="*/ 2250556 h 2273274"/>
                <a:gd name="connsiteX1" fmla="*/ 139308 w 1212658"/>
                <a:gd name="connsiteY1" fmla="*/ 2249345 h 2273274"/>
                <a:gd name="connsiteX2" fmla="*/ 138007 w 1212658"/>
                <a:gd name="connsiteY2" fmla="*/ 2249406 h 2273274"/>
                <a:gd name="connsiteX3" fmla="*/ 136616 w 1212658"/>
                <a:gd name="connsiteY3" fmla="*/ 2249950 h 2273274"/>
                <a:gd name="connsiteX4" fmla="*/ 135738 w 1212658"/>
                <a:gd name="connsiteY4" fmla="*/ 2251524 h 2273274"/>
                <a:gd name="connsiteX5" fmla="*/ 136343 w 1212658"/>
                <a:gd name="connsiteY5" fmla="*/ 2253399 h 2273274"/>
                <a:gd name="connsiteX6" fmla="*/ 137069 w 1212658"/>
                <a:gd name="connsiteY6" fmla="*/ 2254095 h 2273274"/>
                <a:gd name="connsiteX7" fmla="*/ 138310 w 1212658"/>
                <a:gd name="connsiteY7" fmla="*/ 2255033 h 2273274"/>
                <a:gd name="connsiteX8" fmla="*/ 140790 w 1212658"/>
                <a:gd name="connsiteY8" fmla="*/ 2255880 h 2273274"/>
                <a:gd name="connsiteX9" fmla="*/ 141577 w 1212658"/>
                <a:gd name="connsiteY9" fmla="*/ 2255002 h 2273274"/>
                <a:gd name="connsiteX10" fmla="*/ 140851 w 1212658"/>
                <a:gd name="connsiteY10" fmla="*/ 2252885 h 2273274"/>
                <a:gd name="connsiteX11" fmla="*/ 140216 w 1212658"/>
                <a:gd name="connsiteY11" fmla="*/ 2250525 h 2273274"/>
                <a:gd name="connsiteX12" fmla="*/ 147990 w 1212658"/>
                <a:gd name="connsiteY12" fmla="*/ 2248861 h 2273274"/>
                <a:gd name="connsiteX13" fmla="*/ 149291 w 1212658"/>
                <a:gd name="connsiteY13" fmla="*/ 2248438 h 2273274"/>
                <a:gd name="connsiteX14" fmla="*/ 149231 w 1212658"/>
                <a:gd name="connsiteY14" fmla="*/ 2247530 h 2273274"/>
                <a:gd name="connsiteX15" fmla="*/ 148625 w 1212658"/>
                <a:gd name="connsiteY15" fmla="*/ 2247167 h 2273274"/>
                <a:gd name="connsiteX16" fmla="*/ 147536 w 1212658"/>
                <a:gd name="connsiteY16" fmla="*/ 2247167 h 2273274"/>
                <a:gd name="connsiteX17" fmla="*/ 143120 w 1212658"/>
                <a:gd name="connsiteY17" fmla="*/ 2246018 h 2273274"/>
                <a:gd name="connsiteX18" fmla="*/ 141637 w 1212658"/>
                <a:gd name="connsiteY18" fmla="*/ 2246895 h 2273274"/>
                <a:gd name="connsiteX19" fmla="*/ 141153 w 1212658"/>
                <a:gd name="connsiteY19" fmla="*/ 2247621 h 2273274"/>
                <a:gd name="connsiteX20" fmla="*/ 140942 w 1212658"/>
                <a:gd name="connsiteY20" fmla="*/ 2247803 h 2273274"/>
                <a:gd name="connsiteX21" fmla="*/ 141486 w 1212658"/>
                <a:gd name="connsiteY21" fmla="*/ 2248801 h 2273274"/>
                <a:gd name="connsiteX22" fmla="*/ 142848 w 1212658"/>
                <a:gd name="connsiteY22" fmla="*/ 2250132 h 2273274"/>
                <a:gd name="connsiteX23" fmla="*/ 147930 w 1212658"/>
                <a:gd name="connsiteY23" fmla="*/ 2252764 h 2273274"/>
                <a:gd name="connsiteX24" fmla="*/ 148777 w 1212658"/>
                <a:gd name="connsiteY24" fmla="*/ 2251796 h 2273274"/>
                <a:gd name="connsiteX25" fmla="*/ 148081 w 1212658"/>
                <a:gd name="connsiteY25" fmla="*/ 2250041 h 2273274"/>
                <a:gd name="connsiteX26" fmla="*/ 146568 w 1212658"/>
                <a:gd name="connsiteY26" fmla="*/ 2248952 h 2273274"/>
                <a:gd name="connsiteX27" fmla="*/ 146568 w 1212658"/>
                <a:gd name="connsiteY27" fmla="*/ 2248619 h 2273274"/>
                <a:gd name="connsiteX28" fmla="*/ 148020 w 1212658"/>
                <a:gd name="connsiteY28" fmla="*/ 2248801 h 2273274"/>
                <a:gd name="connsiteX29" fmla="*/ 89121 w 1212658"/>
                <a:gd name="connsiteY29" fmla="*/ 2236610 h 2273274"/>
                <a:gd name="connsiteX30" fmla="*/ 85491 w 1212658"/>
                <a:gd name="connsiteY30" fmla="*/ 2235037 h 2273274"/>
                <a:gd name="connsiteX31" fmla="*/ 83191 w 1212658"/>
                <a:gd name="connsiteY31" fmla="*/ 2234583 h 2273274"/>
                <a:gd name="connsiteX32" fmla="*/ 79410 w 1212658"/>
                <a:gd name="connsiteY32" fmla="*/ 2238485 h 2273274"/>
                <a:gd name="connsiteX33" fmla="*/ 77323 w 1212658"/>
                <a:gd name="connsiteY33" fmla="*/ 2242630 h 2273274"/>
                <a:gd name="connsiteX34" fmla="*/ 77565 w 1212658"/>
                <a:gd name="connsiteY34" fmla="*/ 2245988 h 2273274"/>
                <a:gd name="connsiteX35" fmla="*/ 79864 w 1212658"/>
                <a:gd name="connsiteY35" fmla="*/ 2246895 h 2273274"/>
                <a:gd name="connsiteX36" fmla="*/ 81437 w 1212658"/>
                <a:gd name="connsiteY36" fmla="*/ 2245231 h 2273274"/>
                <a:gd name="connsiteX37" fmla="*/ 81679 w 1212658"/>
                <a:gd name="connsiteY37" fmla="*/ 2242539 h 2273274"/>
                <a:gd name="connsiteX38" fmla="*/ 83131 w 1212658"/>
                <a:gd name="connsiteY38" fmla="*/ 2241994 h 2273274"/>
                <a:gd name="connsiteX39" fmla="*/ 85914 w 1212658"/>
                <a:gd name="connsiteY39" fmla="*/ 2241662 h 2273274"/>
                <a:gd name="connsiteX40" fmla="*/ 89091 w 1212658"/>
                <a:gd name="connsiteY40" fmla="*/ 2241783 h 2273274"/>
                <a:gd name="connsiteX41" fmla="*/ 93961 w 1212658"/>
                <a:gd name="connsiteY41" fmla="*/ 2239211 h 2273274"/>
                <a:gd name="connsiteX42" fmla="*/ 92933 w 1212658"/>
                <a:gd name="connsiteY42" fmla="*/ 2237396 h 2273274"/>
                <a:gd name="connsiteX43" fmla="*/ 89091 w 1212658"/>
                <a:gd name="connsiteY43" fmla="*/ 2236640 h 2273274"/>
                <a:gd name="connsiteX44" fmla="*/ 110418 w 1212658"/>
                <a:gd name="connsiteY44" fmla="*/ 2229985 h 2273274"/>
                <a:gd name="connsiteX45" fmla="*/ 110267 w 1212658"/>
                <a:gd name="connsiteY45" fmla="*/ 2229501 h 2273274"/>
                <a:gd name="connsiteX46" fmla="*/ 109904 w 1212658"/>
                <a:gd name="connsiteY46" fmla="*/ 2228684 h 2273274"/>
                <a:gd name="connsiteX47" fmla="*/ 109268 w 1212658"/>
                <a:gd name="connsiteY47" fmla="*/ 2228563 h 2273274"/>
                <a:gd name="connsiteX48" fmla="*/ 108512 w 1212658"/>
                <a:gd name="connsiteY48" fmla="*/ 2228895 h 2273274"/>
                <a:gd name="connsiteX49" fmla="*/ 108179 w 1212658"/>
                <a:gd name="connsiteY49" fmla="*/ 2228684 h 2273274"/>
                <a:gd name="connsiteX50" fmla="*/ 108119 w 1212658"/>
                <a:gd name="connsiteY50" fmla="*/ 2227958 h 2273274"/>
                <a:gd name="connsiteX51" fmla="*/ 107695 w 1212658"/>
                <a:gd name="connsiteY51" fmla="*/ 2227353 h 2273274"/>
                <a:gd name="connsiteX52" fmla="*/ 107030 w 1212658"/>
                <a:gd name="connsiteY52" fmla="*/ 2227353 h 2273274"/>
                <a:gd name="connsiteX53" fmla="*/ 106243 w 1212658"/>
                <a:gd name="connsiteY53" fmla="*/ 2227746 h 2273274"/>
                <a:gd name="connsiteX54" fmla="*/ 105245 w 1212658"/>
                <a:gd name="connsiteY54" fmla="*/ 2227625 h 2273274"/>
                <a:gd name="connsiteX55" fmla="*/ 103884 w 1212658"/>
                <a:gd name="connsiteY55" fmla="*/ 2227897 h 2273274"/>
                <a:gd name="connsiteX56" fmla="*/ 102462 w 1212658"/>
                <a:gd name="connsiteY56" fmla="*/ 2229319 h 2273274"/>
                <a:gd name="connsiteX57" fmla="*/ 99890 w 1212658"/>
                <a:gd name="connsiteY57" fmla="*/ 2233796 h 2273274"/>
                <a:gd name="connsiteX58" fmla="*/ 99436 w 1212658"/>
                <a:gd name="connsiteY58" fmla="*/ 2235944 h 2273274"/>
                <a:gd name="connsiteX59" fmla="*/ 100526 w 1212658"/>
                <a:gd name="connsiteY59" fmla="*/ 2237124 h 2273274"/>
                <a:gd name="connsiteX60" fmla="*/ 102038 w 1212658"/>
                <a:gd name="connsiteY60" fmla="*/ 2237336 h 2273274"/>
                <a:gd name="connsiteX61" fmla="*/ 103339 w 1212658"/>
                <a:gd name="connsiteY61" fmla="*/ 2236519 h 2273274"/>
                <a:gd name="connsiteX62" fmla="*/ 103974 w 1212658"/>
                <a:gd name="connsiteY62" fmla="*/ 2235218 h 2273274"/>
                <a:gd name="connsiteX63" fmla="*/ 104398 w 1212658"/>
                <a:gd name="connsiteY63" fmla="*/ 2234764 h 2273274"/>
                <a:gd name="connsiteX64" fmla="*/ 107120 w 1212658"/>
                <a:gd name="connsiteY64" fmla="*/ 2237033 h 2273274"/>
                <a:gd name="connsiteX65" fmla="*/ 108089 w 1212658"/>
                <a:gd name="connsiteY65" fmla="*/ 2236761 h 2273274"/>
                <a:gd name="connsiteX66" fmla="*/ 109026 w 1212658"/>
                <a:gd name="connsiteY66" fmla="*/ 2235309 h 2273274"/>
                <a:gd name="connsiteX67" fmla="*/ 110024 w 1212658"/>
                <a:gd name="connsiteY67" fmla="*/ 2234099 h 2273274"/>
                <a:gd name="connsiteX68" fmla="*/ 110387 w 1212658"/>
                <a:gd name="connsiteY68" fmla="*/ 2232768 h 2273274"/>
                <a:gd name="connsiteX69" fmla="*/ 110236 w 1212658"/>
                <a:gd name="connsiteY69" fmla="*/ 2231648 h 2273274"/>
                <a:gd name="connsiteX70" fmla="*/ 109510 w 1212658"/>
                <a:gd name="connsiteY70" fmla="*/ 2231043 h 2273274"/>
                <a:gd name="connsiteX71" fmla="*/ 109752 w 1212658"/>
                <a:gd name="connsiteY71" fmla="*/ 2230922 h 2273274"/>
                <a:gd name="connsiteX72" fmla="*/ 110932 w 1212658"/>
                <a:gd name="connsiteY72" fmla="*/ 2230680 h 2273274"/>
                <a:gd name="connsiteX73" fmla="*/ 111204 w 1212658"/>
                <a:gd name="connsiteY73" fmla="*/ 2230469 h 2273274"/>
                <a:gd name="connsiteX74" fmla="*/ 110660 w 1212658"/>
                <a:gd name="connsiteY74" fmla="*/ 2230257 h 2273274"/>
                <a:gd name="connsiteX75" fmla="*/ 110418 w 1212658"/>
                <a:gd name="connsiteY75" fmla="*/ 2229985 h 2273274"/>
                <a:gd name="connsiteX76" fmla="*/ 91692 w 1212658"/>
                <a:gd name="connsiteY76" fmla="*/ 2228079 h 2273274"/>
                <a:gd name="connsiteX77" fmla="*/ 89635 w 1212658"/>
                <a:gd name="connsiteY77" fmla="*/ 2230801 h 2273274"/>
                <a:gd name="connsiteX78" fmla="*/ 88274 w 1212658"/>
                <a:gd name="connsiteY78" fmla="*/ 2233070 h 2273274"/>
                <a:gd name="connsiteX79" fmla="*/ 89514 w 1212658"/>
                <a:gd name="connsiteY79" fmla="*/ 2234341 h 2273274"/>
                <a:gd name="connsiteX80" fmla="*/ 92509 w 1212658"/>
                <a:gd name="connsiteY80" fmla="*/ 2233645 h 2273274"/>
                <a:gd name="connsiteX81" fmla="*/ 94415 w 1212658"/>
                <a:gd name="connsiteY81" fmla="*/ 2230862 h 2273274"/>
                <a:gd name="connsiteX82" fmla="*/ 95565 w 1212658"/>
                <a:gd name="connsiteY82" fmla="*/ 2225931 h 2273274"/>
                <a:gd name="connsiteX83" fmla="*/ 94203 w 1212658"/>
                <a:gd name="connsiteY83" fmla="*/ 2226233 h 2273274"/>
                <a:gd name="connsiteX84" fmla="*/ 91692 w 1212658"/>
                <a:gd name="connsiteY84" fmla="*/ 2228079 h 2273274"/>
                <a:gd name="connsiteX85" fmla="*/ 101463 w 1212658"/>
                <a:gd name="connsiteY85" fmla="*/ 2229410 h 2273274"/>
                <a:gd name="connsiteX86" fmla="*/ 101978 w 1212658"/>
                <a:gd name="connsiteY86" fmla="*/ 2227776 h 2273274"/>
                <a:gd name="connsiteX87" fmla="*/ 102946 w 1212658"/>
                <a:gd name="connsiteY87" fmla="*/ 2226415 h 2273274"/>
                <a:gd name="connsiteX88" fmla="*/ 103551 w 1212658"/>
                <a:gd name="connsiteY88" fmla="*/ 2225144 h 2273274"/>
                <a:gd name="connsiteX89" fmla="*/ 102704 w 1212658"/>
                <a:gd name="connsiteY89" fmla="*/ 2224660 h 2273274"/>
                <a:gd name="connsiteX90" fmla="*/ 101191 w 1212658"/>
                <a:gd name="connsiteY90" fmla="*/ 2225265 h 2273274"/>
                <a:gd name="connsiteX91" fmla="*/ 100979 w 1212658"/>
                <a:gd name="connsiteY91" fmla="*/ 2225901 h 2273274"/>
                <a:gd name="connsiteX92" fmla="*/ 101887 w 1212658"/>
                <a:gd name="connsiteY92" fmla="*/ 2226173 h 2273274"/>
                <a:gd name="connsiteX93" fmla="*/ 101554 w 1212658"/>
                <a:gd name="connsiteY93" fmla="*/ 2226294 h 2273274"/>
                <a:gd name="connsiteX94" fmla="*/ 98136 w 1212658"/>
                <a:gd name="connsiteY94" fmla="*/ 2226717 h 2273274"/>
                <a:gd name="connsiteX95" fmla="*/ 96291 w 1212658"/>
                <a:gd name="connsiteY95" fmla="*/ 2227655 h 2273274"/>
                <a:gd name="connsiteX96" fmla="*/ 96472 w 1212658"/>
                <a:gd name="connsiteY96" fmla="*/ 2230620 h 2273274"/>
                <a:gd name="connsiteX97" fmla="*/ 99376 w 1212658"/>
                <a:gd name="connsiteY97" fmla="*/ 2231527 h 2273274"/>
                <a:gd name="connsiteX98" fmla="*/ 101282 w 1212658"/>
                <a:gd name="connsiteY98" fmla="*/ 2230317 h 2273274"/>
                <a:gd name="connsiteX99" fmla="*/ 101463 w 1212658"/>
                <a:gd name="connsiteY99" fmla="*/ 2229380 h 2273274"/>
                <a:gd name="connsiteX100" fmla="*/ 70425 w 1212658"/>
                <a:gd name="connsiteY100" fmla="*/ 2231648 h 2273274"/>
                <a:gd name="connsiteX101" fmla="*/ 68459 w 1212658"/>
                <a:gd name="connsiteY101" fmla="*/ 2226143 h 2273274"/>
                <a:gd name="connsiteX102" fmla="*/ 65434 w 1212658"/>
                <a:gd name="connsiteY102" fmla="*/ 2222028 h 2273274"/>
                <a:gd name="connsiteX103" fmla="*/ 62076 w 1212658"/>
                <a:gd name="connsiteY103" fmla="*/ 2222210 h 2273274"/>
                <a:gd name="connsiteX104" fmla="*/ 59172 w 1212658"/>
                <a:gd name="connsiteY104" fmla="*/ 2220728 h 2273274"/>
                <a:gd name="connsiteX105" fmla="*/ 55844 w 1212658"/>
                <a:gd name="connsiteY105" fmla="*/ 2224872 h 2273274"/>
                <a:gd name="connsiteX106" fmla="*/ 52365 w 1212658"/>
                <a:gd name="connsiteY106" fmla="*/ 2226536 h 2273274"/>
                <a:gd name="connsiteX107" fmla="*/ 51518 w 1212658"/>
                <a:gd name="connsiteY107" fmla="*/ 2230438 h 2273274"/>
                <a:gd name="connsiteX108" fmla="*/ 54876 w 1212658"/>
                <a:gd name="connsiteY108" fmla="*/ 2231013 h 2273274"/>
                <a:gd name="connsiteX109" fmla="*/ 56873 w 1212658"/>
                <a:gd name="connsiteY109" fmla="*/ 2233070 h 2273274"/>
                <a:gd name="connsiteX110" fmla="*/ 59505 w 1212658"/>
                <a:gd name="connsiteY110" fmla="*/ 2233070 h 2273274"/>
                <a:gd name="connsiteX111" fmla="*/ 61229 w 1212658"/>
                <a:gd name="connsiteY111" fmla="*/ 2235218 h 2273274"/>
                <a:gd name="connsiteX112" fmla="*/ 60775 w 1212658"/>
                <a:gd name="connsiteY112" fmla="*/ 2237275 h 2273274"/>
                <a:gd name="connsiteX113" fmla="*/ 59626 w 1212658"/>
                <a:gd name="connsiteY113" fmla="*/ 2238939 h 2273274"/>
                <a:gd name="connsiteX114" fmla="*/ 61411 w 1212658"/>
                <a:gd name="connsiteY114" fmla="*/ 2240361 h 2273274"/>
                <a:gd name="connsiteX115" fmla="*/ 64284 w 1212658"/>
                <a:gd name="connsiteY115" fmla="*/ 2239605 h 2273274"/>
                <a:gd name="connsiteX116" fmla="*/ 66281 w 1212658"/>
                <a:gd name="connsiteY116" fmla="*/ 2238515 h 2273274"/>
                <a:gd name="connsiteX117" fmla="*/ 67552 w 1212658"/>
                <a:gd name="connsiteY117" fmla="*/ 2239605 h 2273274"/>
                <a:gd name="connsiteX118" fmla="*/ 66644 w 1212658"/>
                <a:gd name="connsiteY118" fmla="*/ 2243567 h 2273274"/>
                <a:gd name="connsiteX119" fmla="*/ 67915 w 1212658"/>
                <a:gd name="connsiteY119" fmla="*/ 2242660 h 2273274"/>
                <a:gd name="connsiteX120" fmla="*/ 70365 w 1212658"/>
                <a:gd name="connsiteY120" fmla="*/ 2239937 h 2273274"/>
                <a:gd name="connsiteX121" fmla="*/ 71726 w 1212658"/>
                <a:gd name="connsiteY121" fmla="*/ 2237275 h 2273274"/>
                <a:gd name="connsiteX122" fmla="*/ 71454 w 1212658"/>
                <a:gd name="connsiteY122" fmla="*/ 2235551 h 2273274"/>
                <a:gd name="connsiteX123" fmla="*/ 70456 w 1212658"/>
                <a:gd name="connsiteY123" fmla="*/ 2231648 h 2273274"/>
                <a:gd name="connsiteX124" fmla="*/ 77716 w 1212658"/>
                <a:gd name="connsiteY124" fmla="*/ 2219124 h 2273274"/>
                <a:gd name="connsiteX125" fmla="*/ 78986 w 1212658"/>
                <a:gd name="connsiteY125" fmla="*/ 2215797 h 2273274"/>
                <a:gd name="connsiteX126" fmla="*/ 76960 w 1212658"/>
                <a:gd name="connsiteY126" fmla="*/ 2211955 h 2273274"/>
                <a:gd name="connsiteX127" fmla="*/ 74752 w 1212658"/>
                <a:gd name="connsiteY127" fmla="*/ 2211350 h 2273274"/>
                <a:gd name="connsiteX128" fmla="*/ 74509 w 1212658"/>
                <a:gd name="connsiteY128" fmla="*/ 2212620 h 2273274"/>
                <a:gd name="connsiteX129" fmla="*/ 75598 w 1212658"/>
                <a:gd name="connsiteY129" fmla="*/ 2216402 h 2273274"/>
                <a:gd name="connsiteX130" fmla="*/ 74993 w 1212658"/>
                <a:gd name="connsiteY130" fmla="*/ 2218307 h 2273274"/>
                <a:gd name="connsiteX131" fmla="*/ 73663 w 1212658"/>
                <a:gd name="connsiteY131" fmla="*/ 2216129 h 2273274"/>
                <a:gd name="connsiteX132" fmla="*/ 71424 w 1212658"/>
                <a:gd name="connsiteY132" fmla="*/ 2210593 h 2273274"/>
                <a:gd name="connsiteX133" fmla="*/ 70698 w 1212658"/>
                <a:gd name="connsiteY133" fmla="*/ 2213165 h 2273274"/>
                <a:gd name="connsiteX134" fmla="*/ 69639 w 1212658"/>
                <a:gd name="connsiteY134" fmla="*/ 2216008 h 2273274"/>
                <a:gd name="connsiteX135" fmla="*/ 68973 w 1212658"/>
                <a:gd name="connsiteY135" fmla="*/ 2219034 h 2273274"/>
                <a:gd name="connsiteX136" fmla="*/ 69336 w 1212658"/>
                <a:gd name="connsiteY136" fmla="*/ 2222089 h 2273274"/>
                <a:gd name="connsiteX137" fmla="*/ 70062 w 1212658"/>
                <a:gd name="connsiteY137" fmla="*/ 2222875 h 2273274"/>
                <a:gd name="connsiteX138" fmla="*/ 73451 w 1212658"/>
                <a:gd name="connsiteY138" fmla="*/ 2224630 h 2273274"/>
                <a:gd name="connsiteX139" fmla="*/ 74419 w 1212658"/>
                <a:gd name="connsiteY139" fmla="*/ 2225659 h 2273274"/>
                <a:gd name="connsiteX140" fmla="*/ 75084 w 1212658"/>
                <a:gd name="connsiteY140" fmla="*/ 2226717 h 2273274"/>
                <a:gd name="connsiteX141" fmla="*/ 75810 w 1212658"/>
                <a:gd name="connsiteY141" fmla="*/ 2227111 h 2273274"/>
                <a:gd name="connsiteX142" fmla="*/ 76960 w 1212658"/>
                <a:gd name="connsiteY142" fmla="*/ 2225991 h 2273274"/>
                <a:gd name="connsiteX143" fmla="*/ 76082 w 1212658"/>
                <a:gd name="connsiteY143" fmla="*/ 2222361 h 2273274"/>
                <a:gd name="connsiteX144" fmla="*/ 77716 w 1212658"/>
                <a:gd name="connsiteY144" fmla="*/ 2219094 h 2273274"/>
                <a:gd name="connsiteX145" fmla="*/ 117799 w 1212658"/>
                <a:gd name="connsiteY145" fmla="*/ 2214133 h 2273274"/>
                <a:gd name="connsiteX146" fmla="*/ 117406 w 1212658"/>
                <a:gd name="connsiteY146" fmla="*/ 2213044 h 2273274"/>
                <a:gd name="connsiteX147" fmla="*/ 116317 w 1212658"/>
                <a:gd name="connsiteY147" fmla="*/ 2211440 h 2273274"/>
                <a:gd name="connsiteX148" fmla="*/ 115440 w 1212658"/>
                <a:gd name="connsiteY148" fmla="*/ 2210563 h 2273274"/>
                <a:gd name="connsiteX149" fmla="*/ 114774 w 1212658"/>
                <a:gd name="connsiteY149" fmla="*/ 2210261 h 2273274"/>
                <a:gd name="connsiteX150" fmla="*/ 113836 w 1212658"/>
                <a:gd name="connsiteY150" fmla="*/ 2210624 h 2273274"/>
                <a:gd name="connsiteX151" fmla="*/ 112959 w 1212658"/>
                <a:gd name="connsiteY151" fmla="*/ 2211622 h 2273274"/>
                <a:gd name="connsiteX152" fmla="*/ 113292 w 1212658"/>
                <a:gd name="connsiteY152" fmla="*/ 2213951 h 2273274"/>
                <a:gd name="connsiteX153" fmla="*/ 115016 w 1212658"/>
                <a:gd name="connsiteY153" fmla="*/ 2216825 h 2273274"/>
                <a:gd name="connsiteX154" fmla="*/ 116589 w 1212658"/>
                <a:gd name="connsiteY154" fmla="*/ 2218066 h 2273274"/>
                <a:gd name="connsiteX155" fmla="*/ 117648 w 1212658"/>
                <a:gd name="connsiteY155" fmla="*/ 2217884 h 2273274"/>
                <a:gd name="connsiteX156" fmla="*/ 118253 w 1212658"/>
                <a:gd name="connsiteY156" fmla="*/ 2216613 h 2273274"/>
                <a:gd name="connsiteX157" fmla="*/ 118071 w 1212658"/>
                <a:gd name="connsiteY157" fmla="*/ 2214859 h 2273274"/>
                <a:gd name="connsiteX158" fmla="*/ 117769 w 1212658"/>
                <a:gd name="connsiteY158" fmla="*/ 2214133 h 2273274"/>
                <a:gd name="connsiteX159" fmla="*/ 117830 w 1212658"/>
                <a:gd name="connsiteY159" fmla="*/ 2195740 h 2273274"/>
                <a:gd name="connsiteX160" fmla="*/ 116287 w 1212658"/>
                <a:gd name="connsiteY160" fmla="*/ 2196254 h 2273274"/>
                <a:gd name="connsiteX161" fmla="*/ 115772 w 1212658"/>
                <a:gd name="connsiteY161" fmla="*/ 2198190 h 2273274"/>
                <a:gd name="connsiteX162" fmla="*/ 115863 w 1212658"/>
                <a:gd name="connsiteY162" fmla="*/ 2200308 h 2273274"/>
                <a:gd name="connsiteX163" fmla="*/ 116529 w 1212658"/>
                <a:gd name="connsiteY163" fmla="*/ 2201397 h 2273274"/>
                <a:gd name="connsiteX164" fmla="*/ 118132 w 1212658"/>
                <a:gd name="connsiteY164" fmla="*/ 2202274 h 2273274"/>
                <a:gd name="connsiteX165" fmla="*/ 120249 w 1212658"/>
                <a:gd name="connsiteY165" fmla="*/ 2201336 h 2273274"/>
                <a:gd name="connsiteX166" fmla="*/ 121127 w 1212658"/>
                <a:gd name="connsiteY166" fmla="*/ 2199552 h 2273274"/>
                <a:gd name="connsiteX167" fmla="*/ 120068 w 1212658"/>
                <a:gd name="connsiteY167" fmla="*/ 2197888 h 2273274"/>
                <a:gd name="connsiteX168" fmla="*/ 117830 w 1212658"/>
                <a:gd name="connsiteY168" fmla="*/ 2195800 h 2273274"/>
                <a:gd name="connsiteX169" fmla="*/ 15912 w 1212658"/>
                <a:gd name="connsiteY169" fmla="*/ 2202970 h 2273274"/>
                <a:gd name="connsiteX170" fmla="*/ 15549 w 1212658"/>
                <a:gd name="connsiteY170" fmla="*/ 2201821 h 2273274"/>
                <a:gd name="connsiteX171" fmla="*/ 14854 w 1212658"/>
                <a:gd name="connsiteY171" fmla="*/ 2200701 h 2273274"/>
                <a:gd name="connsiteX172" fmla="*/ 13099 w 1212658"/>
                <a:gd name="connsiteY172" fmla="*/ 2198735 h 2273274"/>
                <a:gd name="connsiteX173" fmla="*/ 12736 w 1212658"/>
                <a:gd name="connsiteY173" fmla="*/ 2197343 h 2273274"/>
                <a:gd name="connsiteX174" fmla="*/ 12615 w 1212658"/>
                <a:gd name="connsiteY174" fmla="*/ 2195347 h 2273274"/>
                <a:gd name="connsiteX175" fmla="*/ 12222 w 1212658"/>
                <a:gd name="connsiteY175" fmla="*/ 2193774 h 2273274"/>
                <a:gd name="connsiteX176" fmla="*/ 11587 w 1212658"/>
                <a:gd name="connsiteY176" fmla="*/ 2192564 h 2273274"/>
                <a:gd name="connsiteX177" fmla="*/ 9590 w 1212658"/>
                <a:gd name="connsiteY177" fmla="*/ 2190658 h 2273274"/>
                <a:gd name="connsiteX178" fmla="*/ 8108 w 1212658"/>
                <a:gd name="connsiteY178" fmla="*/ 2189992 h 2273274"/>
                <a:gd name="connsiteX179" fmla="*/ 6595 w 1212658"/>
                <a:gd name="connsiteY179" fmla="*/ 2189992 h 2273274"/>
                <a:gd name="connsiteX180" fmla="*/ 5476 w 1212658"/>
                <a:gd name="connsiteY180" fmla="*/ 2190990 h 2273274"/>
                <a:gd name="connsiteX181" fmla="*/ 4719 w 1212658"/>
                <a:gd name="connsiteY181" fmla="*/ 2192140 h 2273274"/>
                <a:gd name="connsiteX182" fmla="*/ 2904 w 1212658"/>
                <a:gd name="connsiteY182" fmla="*/ 2194379 h 2273274"/>
                <a:gd name="connsiteX183" fmla="*/ 2390 w 1212658"/>
                <a:gd name="connsiteY183" fmla="*/ 2195286 h 2273274"/>
                <a:gd name="connsiteX184" fmla="*/ 2209 w 1212658"/>
                <a:gd name="connsiteY184" fmla="*/ 2197162 h 2273274"/>
                <a:gd name="connsiteX185" fmla="*/ 2390 w 1212658"/>
                <a:gd name="connsiteY185" fmla="*/ 2199219 h 2273274"/>
                <a:gd name="connsiteX186" fmla="*/ 2390 w 1212658"/>
                <a:gd name="connsiteY186" fmla="*/ 2201064 h 2273274"/>
                <a:gd name="connsiteX187" fmla="*/ 1725 w 1212658"/>
                <a:gd name="connsiteY187" fmla="*/ 2202456 h 2273274"/>
                <a:gd name="connsiteX188" fmla="*/ 454 w 1212658"/>
                <a:gd name="connsiteY188" fmla="*/ 2203575 h 2273274"/>
                <a:gd name="connsiteX189" fmla="*/ 0 w 1212658"/>
                <a:gd name="connsiteY189" fmla="*/ 2204301 h 2273274"/>
                <a:gd name="connsiteX190" fmla="*/ 91 w 1212658"/>
                <a:gd name="connsiteY190" fmla="*/ 2205178 h 2273274"/>
                <a:gd name="connsiteX191" fmla="*/ 363 w 1212658"/>
                <a:gd name="connsiteY191" fmla="*/ 2206842 h 2273274"/>
                <a:gd name="connsiteX192" fmla="*/ 1422 w 1212658"/>
                <a:gd name="connsiteY192" fmla="*/ 2210835 h 2273274"/>
                <a:gd name="connsiteX193" fmla="*/ 3177 w 1212658"/>
                <a:gd name="connsiteY193" fmla="*/ 2213407 h 2273274"/>
                <a:gd name="connsiteX194" fmla="*/ 5234 w 1212658"/>
                <a:gd name="connsiteY194" fmla="*/ 2214314 h 2273274"/>
                <a:gd name="connsiteX195" fmla="*/ 7230 w 1212658"/>
                <a:gd name="connsiteY195" fmla="*/ 2213316 h 2273274"/>
                <a:gd name="connsiteX196" fmla="*/ 8712 w 1212658"/>
                <a:gd name="connsiteY196" fmla="*/ 2210745 h 2273274"/>
                <a:gd name="connsiteX197" fmla="*/ 9075 w 1212658"/>
                <a:gd name="connsiteY197" fmla="*/ 2207992 h 2273274"/>
                <a:gd name="connsiteX198" fmla="*/ 8712 w 1212658"/>
                <a:gd name="connsiteY198" fmla="*/ 2205057 h 2273274"/>
                <a:gd name="connsiteX199" fmla="*/ 7926 w 1212658"/>
                <a:gd name="connsiteY199" fmla="*/ 2201911 h 2273274"/>
                <a:gd name="connsiteX200" fmla="*/ 9711 w 1212658"/>
                <a:gd name="connsiteY200" fmla="*/ 2203636 h 2273274"/>
                <a:gd name="connsiteX201" fmla="*/ 12010 w 1212658"/>
                <a:gd name="connsiteY201" fmla="*/ 2207719 h 2273274"/>
                <a:gd name="connsiteX202" fmla="*/ 13462 w 1212658"/>
                <a:gd name="connsiteY202" fmla="*/ 2209504 h 2273274"/>
                <a:gd name="connsiteX203" fmla="*/ 14188 w 1212658"/>
                <a:gd name="connsiteY203" fmla="*/ 2209202 h 2273274"/>
                <a:gd name="connsiteX204" fmla="*/ 15095 w 1212658"/>
                <a:gd name="connsiteY204" fmla="*/ 2209353 h 2273274"/>
                <a:gd name="connsiteX205" fmla="*/ 15882 w 1212658"/>
                <a:gd name="connsiteY205" fmla="*/ 2209081 h 2273274"/>
                <a:gd name="connsiteX206" fmla="*/ 16215 w 1212658"/>
                <a:gd name="connsiteY206" fmla="*/ 2207568 h 2273274"/>
                <a:gd name="connsiteX207" fmla="*/ 16094 w 1212658"/>
                <a:gd name="connsiteY207" fmla="*/ 2204241 h 2273274"/>
                <a:gd name="connsiteX208" fmla="*/ 15882 w 1212658"/>
                <a:gd name="connsiteY208" fmla="*/ 2203061 h 2273274"/>
                <a:gd name="connsiteX209" fmla="*/ 87518 w 1212658"/>
                <a:gd name="connsiteY209" fmla="*/ 2193622 h 2273274"/>
                <a:gd name="connsiteX210" fmla="*/ 88002 w 1212658"/>
                <a:gd name="connsiteY210" fmla="*/ 2195074 h 2273274"/>
                <a:gd name="connsiteX211" fmla="*/ 88002 w 1212658"/>
                <a:gd name="connsiteY211" fmla="*/ 2197131 h 2273274"/>
                <a:gd name="connsiteX212" fmla="*/ 87881 w 1212658"/>
                <a:gd name="connsiteY212" fmla="*/ 2198009 h 2273274"/>
                <a:gd name="connsiteX213" fmla="*/ 87790 w 1212658"/>
                <a:gd name="connsiteY213" fmla="*/ 2199219 h 2273274"/>
                <a:gd name="connsiteX214" fmla="*/ 87336 w 1212658"/>
                <a:gd name="connsiteY214" fmla="*/ 2200459 h 2273274"/>
                <a:gd name="connsiteX215" fmla="*/ 87336 w 1212658"/>
                <a:gd name="connsiteY215" fmla="*/ 2201427 h 2273274"/>
                <a:gd name="connsiteX216" fmla="*/ 88546 w 1212658"/>
                <a:gd name="connsiteY216" fmla="*/ 2201821 h 2273274"/>
                <a:gd name="connsiteX217" fmla="*/ 93416 w 1212658"/>
                <a:gd name="connsiteY217" fmla="*/ 2192805 h 2273274"/>
                <a:gd name="connsiteX218" fmla="*/ 93356 w 1212658"/>
                <a:gd name="connsiteY218" fmla="*/ 2191414 h 2273274"/>
                <a:gd name="connsiteX219" fmla="*/ 93175 w 1212658"/>
                <a:gd name="connsiteY219" fmla="*/ 2190385 h 2273274"/>
                <a:gd name="connsiteX220" fmla="*/ 92751 w 1212658"/>
                <a:gd name="connsiteY220" fmla="*/ 2189599 h 2273274"/>
                <a:gd name="connsiteX221" fmla="*/ 92055 w 1212658"/>
                <a:gd name="connsiteY221" fmla="*/ 2188994 h 2273274"/>
                <a:gd name="connsiteX222" fmla="*/ 90361 w 1212658"/>
                <a:gd name="connsiteY222" fmla="*/ 2190143 h 2273274"/>
                <a:gd name="connsiteX223" fmla="*/ 87215 w 1212658"/>
                <a:gd name="connsiteY223" fmla="*/ 2188238 h 2273274"/>
                <a:gd name="connsiteX224" fmla="*/ 85128 w 1212658"/>
                <a:gd name="connsiteY224" fmla="*/ 2188994 h 2273274"/>
                <a:gd name="connsiteX225" fmla="*/ 83948 w 1212658"/>
                <a:gd name="connsiteY225" fmla="*/ 2191384 h 2273274"/>
                <a:gd name="connsiteX226" fmla="*/ 83797 w 1212658"/>
                <a:gd name="connsiteY226" fmla="*/ 2194227 h 2273274"/>
                <a:gd name="connsiteX227" fmla="*/ 84553 w 1212658"/>
                <a:gd name="connsiteY227" fmla="*/ 2195891 h 2273274"/>
                <a:gd name="connsiteX228" fmla="*/ 87548 w 1212658"/>
                <a:gd name="connsiteY228" fmla="*/ 2193683 h 2273274"/>
                <a:gd name="connsiteX229" fmla="*/ 131049 w 1212658"/>
                <a:gd name="connsiteY229" fmla="*/ 2186120 h 2273274"/>
                <a:gd name="connsiteX230" fmla="*/ 130021 w 1212658"/>
                <a:gd name="connsiteY230" fmla="*/ 2185152 h 2273274"/>
                <a:gd name="connsiteX231" fmla="*/ 128206 w 1212658"/>
                <a:gd name="connsiteY231" fmla="*/ 2185152 h 2273274"/>
                <a:gd name="connsiteX232" fmla="*/ 127601 w 1212658"/>
                <a:gd name="connsiteY232" fmla="*/ 2189357 h 2273274"/>
                <a:gd name="connsiteX233" fmla="*/ 128538 w 1212658"/>
                <a:gd name="connsiteY233" fmla="*/ 2194016 h 2273274"/>
                <a:gd name="connsiteX234" fmla="*/ 131382 w 1212658"/>
                <a:gd name="connsiteY234" fmla="*/ 2195226 h 2273274"/>
                <a:gd name="connsiteX235" fmla="*/ 130626 w 1212658"/>
                <a:gd name="connsiteY235" fmla="*/ 2192805 h 2273274"/>
                <a:gd name="connsiteX236" fmla="*/ 131897 w 1212658"/>
                <a:gd name="connsiteY236" fmla="*/ 2192957 h 2273274"/>
                <a:gd name="connsiteX237" fmla="*/ 133379 w 1212658"/>
                <a:gd name="connsiteY237" fmla="*/ 2192503 h 2273274"/>
                <a:gd name="connsiteX238" fmla="*/ 134559 w 1212658"/>
                <a:gd name="connsiteY238" fmla="*/ 2191233 h 2273274"/>
                <a:gd name="connsiteX239" fmla="*/ 134801 w 1212658"/>
                <a:gd name="connsiteY239" fmla="*/ 2188994 h 2273274"/>
                <a:gd name="connsiteX240" fmla="*/ 134105 w 1212658"/>
                <a:gd name="connsiteY240" fmla="*/ 2188117 h 2273274"/>
                <a:gd name="connsiteX241" fmla="*/ 131019 w 1212658"/>
                <a:gd name="connsiteY241" fmla="*/ 2186120 h 2273274"/>
                <a:gd name="connsiteX242" fmla="*/ 128448 w 1212658"/>
                <a:gd name="connsiteY242" fmla="*/ 2174594 h 2273274"/>
                <a:gd name="connsiteX243" fmla="*/ 128720 w 1212658"/>
                <a:gd name="connsiteY243" fmla="*/ 2172719 h 2273274"/>
                <a:gd name="connsiteX244" fmla="*/ 128236 w 1212658"/>
                <a:gd name="connsiteY244" fmla="*/ 2170994 h 2273274"/>
                <a:gd name="connsiteX245" fmla="*/ 127086 w 1212658"/>
                <a:gd name="connsiteY245" fmla="*/ 2170177 h 2273274"/>
                <a:gd name="connsiteX246" fmla="*/ 125906 w 1212658"/>
                <a:gd name="connsiteY246" fmla="*/ 2169905 h 2273274"/>
                <a:gd name="connsiteX247" fmla="*/ 125180 w 1212658"/>
                <a:gd name="connsiteY247" fmla="*/ 2170238 h 2273274"/>
                <a:gd name="connsiteX248" fmla="*/ 124939 w 1212658"/>
                <a:gd name="connsiteY248" fmla="*/ 2171236 h 2273274"/>
                <a:gd name="connsiteX249" fmla="*/ 124515 w 1212658"/>
                <a:gd name="connsiteY249" fmla="*/ 2172325 h 2273274"/>
                <a:gd name="connsiteX250" fmla="*/ 124152 w 1212658"/>
                <a:gd name="connsiteY250" fmla="*/ 2172900 h 2273274"/>
                <a:gd name="connsiteX251" fmla="*/ 123789 w 1212658"/>
                <a:gd name="connsiteY251" fmla="*/ 2173535 h 2273274"/>
                <a:gd name="connsiteX252" fmla="*/ 122972 w 1212658"/>
                <a:gd name="connsiteY252" fmla="*/ 2175532 h 2273274"/>
                <a:gd name="connsiteX253" fmla="*/ 122700 w 1212658"/>
                <a:gd name="connsiteY253" fmla="*/ 2176470 h 2273274"/>
                <a:gd name="connsiteX254" fmla="*/ 122609 w 1212658"/>
                <a:gd name="connsiteY254" fmla="*/ 2178043 h 2273274"/>
                <a:gd name="connsiteX255" fmla="*/ 122609 w 1212658"/>
                <a:gd name="connsiteY255" fmla="*/ 2178678 h 2273274"/>
                <a:gd name="connsiteX256" fmla="*/ 122700 w 1212658"/>
                <a:gd name="connsiteY256" fmla="*/ 2179918 h 2273274"/>
                <a:gd name="connsiteX257" fmla="*/ 123426 w 1212658"/>
                <a:gd name="connsiteY257" fmla="*/ 2180281 h 2273274"/>
                <a:gd name="connsiteX258" fmla="*/ 127177 w 1212658"/>
                <a:gd name="connsiteY258" fmla="*/ 2177649 h 2273274"/>
                <a:gd name="connsiteX259" fmla="*/ 127964 w 1212658"/>
                <a:gd name="connsiteY259" fmla="*/ 2176318 h 2273274"/>
                <a:gd name="connsiteX260" fmla="*/ 128357 w 1212658"/>
                <a:gd name="connsiteY260" fmla="*/ 2174624 h 2273274"/>
                <a:gd name="connsiteX261" fmla="*/ 53515 w 1212658"/>
                <a:gd name="connsiteY261" fmla="*/ 2222089 h 2273274"/>
                <a:gd name="connsiteX262" fmla="*/ 54090 w 1212658"/>
                <a:gd name="connsiteY262" fmla="*/ 2220183 h 2273274"/>
                <a:gd name="connsiteX263" fmla="*/ 53787 w 1212658"/>
                <a:gd name="connsiteY263" fmla="*/ 2218761 h 2273274"/>
                <a:gd name="connsiteX264" fmla="*/ 53122 w 1212658"/>
                <a:gd name="connsiteY264" fmla="*/ 2218066 h 2273274"/>
                <a:gd name="connsiteX265" fmla="*/ 52456 w 1212658"/>
                <a:gd name="connsiteY265" fmla="*/ 2217642 h 2273274"/>
                <a:gd name="connsiteX266" fmla="*/ 52093 w 1212658"/>
                <a:gd name="connsiteY266" fmla="*/ 2217007 h 2273274"/>
                <a:gd name="connsiteX267" fmla="*/ 52033 w 1212658"/>
                <a:gd name="connsiteY267" fmla="*/ 2214375 h 2273274"/>
                <a:gd name="connsiteX268" fmla="*/ 52335 w 1212658"/>
                <a:gd name="connsiteY268" fmla="*/ 2211501 h 2273274"/>
                <a:gd name="connsiteX269" fmla="*/ 53454 w 1212658"/>
                <a:gd name="connsiteY269" fmla="*/ 2205572 h 2273274"/>
                <a:gd name="connsiteX270" fmla="*/ 52547 w 1212658"/>
                <a:gd name="connsiteY270" fmla="*/ 2206751 h 2273274"/>
                <a:gd name="connsiteX271" fmla="*/ 51790 w 1212658"/>
                <a:gd name="connsiteY271" fmla="*/ 2207992 h 2273274"/>
                <a:gd name="connsiteX272" fmla="*/ 51034 w 1212658"/>
                <a:gd name="connsiteY272" fmla="*/ 2208960 h 2273274"/>
                <a:gd name="connsiteX273" fmla="*/ 50036 w 1212658"/>
                <a:gd name="connsiteY273" fmla="*/ 2209383 h 2273274"/>
                <a:gd name="connsiteX274" fmla="*/ 49401 w 1212658"/>
                <a:gd name="connsiteY274" fmla="*/ 2208809 h 2273274"/>
                <a:gd name="connsiteX275" fmla="*/ 48675 w 1212658"/>
                <a:gd name="connsiteY275" fmla="*/ 2207508 h 2273274"/>
                <a:gd name="connsiteX276" fmla="*/ 47737 w 1212658"/>
                <a:gd name="connsiteY276" fmla="*/ 2206207 h 2273274"/>
                <a:gd name="connsiteX277" fmla="*/ 44863 w 1212658"/>
                <a:gd name="connsiteY277" fmla="*/ 2205088 h 2273274"/>
                <a:gd name="connsiteX278" fmla="*/ 43351 w 1212658"/>
                <a:gd name="connsiteY278" fmla="*/ 2203787 h 2273274"/>
                <a:gd name="connsiteX279" fmla="*/ 41959 w 1212658"/>
                <a:gd name="connsiteY279" fmla="*/ 2201911 h 2273274"/>
                <a:gd name="connsiteX280" fmla="*/ 40719 w 1212658"/>
                <a:gd name="connsiteY280" fmla="*/ 2199794 h 2273274"/>
                <a:gd name="connsiteX281" fmla="*/ 40446 w 1212658"/>
                <a:gd name="connsiteY281" fmla="*/ 2197827 h 2273274"/>
                <a:gd name="connsiteX282" fmla="*/ 41777 w 1212658"/>
                <a:gd name="connsiteY282" fmla="*/ 2196980 h 2273274"/>
                <a:gd name="connsiteX283" fmla="*/ 44500 w 1212658"/>
                <a:gd name="connsiteY283" fmla="*/ 2196647 h 2273274"/>
                <a:gd name="connsiteX284" fmla="*/ 44591 w 1212658"/>
                <a:gd name="connsiteY284" fmla="*/ 2198856 h 2273274"/>
                <a:gd name="connsiteX285" fmla="*/ 44379 w 1212658"/>
                <a:gd name="connsiteY285" fmla="*/ 2199491 h 2273274"/>
                <a:gd name="connsiteX286" fmla="*/ 43804 w 1212658"/>
                <a:gd name="connsiteY286" fmla="*/ 2200459 h 2273274"/>
                <a:gd name="connsiteX287" fmla="*/ 45438 w 1212658"/>
                <a:gd name="connsiteY287" fmla="*/ 2202214 h 2273274"/>
                <a:gd name="connsiteX288" fmla="*/ 50671 w 1212658"/>
                <a:gd name="connsiteY288" fmla="*/ 2204271 h 2273274"/>
                <a:gd name="connsiteX289" fmla="*/ 50369 w 1212658"/>
                <a:gd name="connsiteY289" fmla="*/ 2202456 h 2273274"/>
                <a:gd name="connsiteX290" fmla="*/ 50550 w 1212658"/>
                <a:gd name="connsiteY290" fmla="*/ 2200792 h 2273274"/>
                <a:gd name="connsiteX291" fmla="*/ 51125 w 1212658"/>
                <a:gd name="connsiteY291" fmla="*/ 2199310 h 2273274"/>
                <a:gd name="connsiteX292" fmla="*/ 52124 w 1212658"/>
                <a:gd name="connsiteY292" fmla="*/ 2198039 h 2273274"/>
                <a:gd name="connsiteX293" fmla="*/ 50369 w 1212658"/>
                <a:gd name="connsiteY293" fmla="*/ 2196557 h 2273274"/>
                <a:gd name="connsiteX294" fmla="*/ 48463 w 1212658"/>
                <a:gd name="connsiteY294" fmla="*/ 2193532 h 2273274"/>
                <a:gd name="connsiteX295" fmla="*/ 47041 w 1212658"/>
                <a:gd name="connsiteY295" fmla="*/ 2189871 h 2273274"/>
                <a:gd name="connsiteX296" fmla="*/ 46648 w 1212658"/>
                <a:gd name="connsiteY296" fmla="*/ 2186574 h 2273274"/>
                <a:gd name="connsiteX297" fmla="*/ 49401 w 1212658"/>
                <a:gd name="connsiteY297" fmla="*/ 2188752 h 2273274"/>
                <a:gd name="connsiteX298" fmla="*/ 51579 w 1212658"/>
                <a:gd name="connsiteY298" fmla="*/ 2186997 h 2273274"/>
                <a:gd name="connsiteX299" fmla="*/ 52487 w 1212658"/>
                <a:gd name="connsiteY299" fmla="*/ 2183730 h 2273274"/>
                <a:gd name="connsiteX300" fmla="*/ 51458 w 1212658"/>
                <a:gd name="connsiteY300" fmla="*/ 2181340 h 2273274"/>
                <a:gd name="connsiteX301" fmla="*/ 51458 w 1212658"/>
                <a:gd name="connsiteY301" fmla="*/ 2180070 h 2273274"/>
                <a:gd name="connsiteX302" fmla="*/ 55239 w 1212658"/>
                <a:gd name="connsiteY302" fmla="*/ 2180705 h 2273274"/>
                <a:gd name="connsiteX303" fmla="*/ 54816 w 1212658"/>
                <a:gd name="connsiteY303" fmla="*/ 2183851 h 2273274"/>
                <a:gd name="connsiteX304" fmla="*/ 52728 w 1212658"/>
                <a:gd name="connsiteY304" fmla="*/ 2187814 h 2273274"/>
                <a:gd name="connsiteX305" fmla="*/ 51458 w 1212658"/>
                <a:gd name="connsiteY305" fmla="*/ 2190930 h 2273274"/>
                <a:gd name="connsiteX306" fmla="*/ 52275 w 1212658"/>
                <a:gd name="connsiteY306" fmla="*/ 2194409 h 2273274"/>
                <a:gd name="connsiteX307" fmla="*/ 53939 w 1212658"/>
                <a:gd name="connsiteY307" fmla="*/ 2196254 h 2273274"/>
                <a:gd name="connsiteX308" fmla="*/ 55209 w 1212658"/>
                <a:gd name="connsiteY308" fmla="*/ 2198432 h 2273274"/>
                <a:gd name="connsiteX309" fmla="*/ 54906 w 1212658"/>
                <a:gd name="connsiteY309" fmla="*/ 2202910 h 2273274"/>
                <a:gd name="connsiteX310" fmla="*/ 55602 w 1212658"/>
                <a:gd name="connsiteY310" fmla="*/ 2202910 h 2273274"/>
                <a:gd name="connsiteX311" fmla="*/ 57327 w 1212658"/>
                <a:gd name="connsiteY311" fmla="*/ 2196829 h 2273274"/>
                <a:gd name="connsiteX312" fmla="*/ 60231 w 1212658"/>
                <a:gd name="connsiteY312" fmla="*/ 2193834 h 2273274"/>
                <a:gd name="connsiteX313" fmla="*/ 63921 w 1212658"/>
                <a:gd name="connsiteY313" fmla="*/ 2192836 h 2273274"/>
                <a:gd name="connsiteX314" fmla="*/ 67975 w 1212658"/>
                <a:gd name="connsiteY314" fmla="*/ 2192775 h 2273274"/>
                <a:gd name="connsiteX315" fmla="*/ 66402 w 1212658"/>
                <a:gd name="connsiteY315" fmla="*/ 2195074 h 2273274"/>
                <a:gd name="connsiteX316" fmla="*/ 61411 w 1212658"/>
                <a:gd name="connsiteY316" fmla="*/ 2195437 h 2273274"/>
                <a:gd name="connsiteX317" fmla="*/ 59353 w 1212658"/>
                <a:gd name="connsiteY317" fmla="*/ 2197283 h 2273274"/>
                <a:gd name="connsiteX318" fmla="*/ 58688 w 1212658"/>
                <a:gd name="connsiteY318" fmla="*/ 2199158 h 2273274"/>
                <a:gd name="connsiteX319" fmla="*/ 57992 w 1212658"/>
                <a:gd name="connsiteY319" fmla="*/ 2201941 h 2273274"/>
                <a:gd name="connsiteX320" fmla="*/ 57810 w 1212658"/>
                <a:gd name="connsiteY320" fmla="*/ 2204483 h 2273274"/>
                <a:gd name="connsiteX321" fmla="*/ 58658 w 1212658"/>
                <a:gd name="connsiteY321" fmla="*/ 2205572 h 2273274"/>
                <a:gd name="connsiteX322" fmla="*/ 62832 w 1212658"/>
                <a:gd name="connsiteY322" fmla="*/ 2205572 h 2273274"/>
                <a:gd name="connsiteX323" fmla="*/ 63921 w 1212658"/>
                <a:gd name="connsiteY323" fmla="*/ 2205995 h 2273274"/>
                <a:gd name="connsiteX324" fmla="*/ 64617 w 1212658"/>
                <a:gd name="connsiteY324" fmla="*/ 2206782 h 2273274"/>
                <a:gd name="connsiteX325" fmla="*/ 65343 w 1212658"/>
                <a:gd name="connsiteY325" fmla="*/ 2207266 h 2273274"/>
                <a:gd name="connsiteX326" fmla="*/ 66614 w 1212658"/>
                <a:gd name="connsiteY326" fmla="*/ 2206721 h 2273274"/>
                <a:gd name="connsiteX327" fmla="*/ 66946 w 1212658"/>
                <a:gd name="connsiteY327" fmla="*/ 2206086 h 2273274"/>
                <a:gd name="connsiteX328" fmla="*/ 67794 w 1212658"/>
                <a:gd name="connsiteY328" fmla="*/ 2203515 h 2273274"/>
                <a:gd name="connsiteX329" fmla="*/ 68338 w 1212658"/>
                <a:gd name="connsiteY329" fmla="*/ 2202335 h 2273274"/>
                <a:gd name="connsiteX330" fmla="*/ 69276 w 1212658"/>
                <a:gd name="connsiteY330" fmla="*/ 2201276 h 2273274"/>
                <a:gd name="connsiteX331" fmla="*/ 70153 w 1212658"/>
                <a:gd name="connsiteY331" fmla="*/ 2201004 h 2273274"/>
                <a:gd name="connsiteX332" fmla="*/ 71091 w 1212658"/>
                <a:gd name="connsiteY332" fmla="*/ 2200913 h 2273274"/>
                <a:gd name="connsiteX333" fmla="*/ 72180 w 1212658"/>
                <a:gd name="connsiteY333" fmla="*/ 2200368 h 2273274"/>
                <a:gd name="connsiteX334" fmla="*/ 71394 w 1212658"/>
                <a:gd name="connsiteY334" fmla="*/ 2199310 h 2273274"/>
                <a:gd name="connsiteX335" fmla="*/ 70062 w 1212658"/>
                <a:gd name="connsiteY335" fmla="*/ 2196557 h 2273274"/>
                <a:gd name="connsiteX336" fmla="*/ 72785 w 1212658"/>
                <a:gd name="connsiteY336" fmla="*/ 2195165 h 2273274"/>
                <a:gd name="connsiteX337" fmla="*/ 73481 w 1212658"/>
                <a:gd name="connsiteY337" fmla="*/ 2192745 h 2273274"/>
                <a:gd name="connsiteX338" fmla="*/ 76990 w 1212658"/>
                <a:gd name="connsiteY338" fmla="*/ 2186483 h 2273274"/>
                <a:gd name="connsiteX339" fmla="*/ 72997 w 1212658"/>
                <a:gd name="connsiteY339" fmla="*/ 2185939 h 2273274"/>
                <a:gd name="connsiteX340" fmla="*/ 70940 w 1212658"/>
                <a:gd name="connsiteY340" fmla="*/ 2185061 h 2273274"/>
                <a:gd name="connsiteX341" fmla="*/ 69367 w 1212658"/>
                <a:gd name="connsiteY341" fmla="*/ 2183821 h 2273274"/>
                <a:gd name="connsiteX342" fmla="*/ 68822 w 1212658"/>
                <a:gd name="connsiteY342" fmla="*/ 2184335 h 2273274"/>
                <a:gd name="connsiteX343" fmla="*/ 67309 w 1212658"/>
                <a:gd name="connsiteY343" fmla="*/ 2185091 h 2273274"/>
                <a:gd name="connsiteX344" fmla="*/ 68398 w 1212658"/>
                <a:gd name="connsiteY344" fmla="*/ 2180221 h 2273274"/>
                <a:gd name="connsiteX345" fmla="*/ 66977 w 1212658"/>
                <a:gd name="connsiteY345" fmla="*/ 2178224 h 2273274"/>
                <a:gd name="connsiteX346" fmla="*/ 61774 w 1212658"/>
                <a:gd name="connsiteY346" fmla="*/ 2176197 h 2273274"/>
                <a:gd name="connsiteX347" fmla="*/ 59596 w 1212658"/>
                <a:gd name="connsiteY347" fmla="*/ 2173203 h 2273274"/>
                <a:gd name="connsiteX348" fmla="*/ 58446 w 1212658"/>
                <a:gd name="connsiteY348" fmla="*/ 2172235 h 2273274"/>
                <a:gd name="connsiteX349" fmla="*/ 57357 w 1212658"/>
                <a:gd name="connsiteY349" fmla="*/ 2172961 h 2273274"/>
                <a:gd name="connsiteX350" fmla="*/ 56328 w 1212658"/>
                <a:gd name="connsiteY350" fmla="*/ 2173233 h 2273274"/>
                <a:gd name="connsiteX351" fmla="*/ 52940 w 1212658"/>
                <a:gd name="connsiteY351" fmla="*/ 2171448 h 2273274"/>
                <a:gd name="connsiteX352" fmla="*/ 51458 w 1212658"/>
                <a:gd name="connsiteY352" fmla="*/ 2171115 h 2273274"/>
                <a:gd name="connsiteX353" fmla="*/ 51942 w 1212658"/>
                <a:gd name="connsiteY353" fmla="*/ 2172446 h 2273274"/>
                <a:gd name="connsiteX354" fmla="*/ 52789 w 1212658"/>
                <a:gd name="connsiteY354" fmla="*/ 2176228 h 2273274"/>
                <a:gd name="connsiteX355" fmla="*/ 51064 w 1212658"/>
                <a:gd name="connsiteY355" fmla="*/ 2173929 h 2273274"/>
                <a:gd name="connsiteX356" fmla="*/ 48645 w 1212658"/>
                <a:gd name="connsiteY356" fmla="*/ 2172023 h 2273274"/>
                <a:gd name="connsiteX357" fmla="*/ 46073 w 1212658"/>
                <a:gd name="connsiteY357" fmla="*/ 2171085 h 2273274"/>
                <a:gd name="connsiteX358" fmla="*/ 41777 w 1212658"/>
                <a:gd name="connsiteY358" fmla="*/ 2172023 h 2273274"/>
                <a:gd name="connsiteX359" fmla="*/ 40870 w 1212658"/>
                <a:gd name="connsiteY359" fmla="*/ 2169451 h 2273274"/>
                <a:gd name="connsiteX360" fmla="*/ 40386 w 1212658"/>
                <a:gd name="connsiteY360" fmla="*/ 2165972 h 2273274"/>
                <a:gd name="connsiteX361" fmla="*/ 39660 w 1212658"/>
                <a:gd name="connsiteY361" fmla="*/ 2163462 h 2273274"/>
                <a:gd name="connsiteX362" fmla="*/ 37240 w 1212658"/>
                <a:gd name="connsiteY362" fmla="*/ 2162826 h 2273274"/>
                <a:gd name="connsiteX363" fmla="*/ 34941 w 1212658"/>
                <a:gd name="connsiteY363" fmla="*/ 2162826 h 2273274"/>
                <a:gd name="connsiteX364" fmla="*/ 32763 w 1212658"/>
                <a:gd name="connsiteY364" fmla="*/ 2163794 h 2273274"/>
                <a:gd name="connsiteX365" fmla="*/ 30705 w 1212658"/>
                <a:gd name="connsiteY365" fmla="*/ 2166033 h 2273274"/>
                <a:gd name="connsiteX366" fmla="*/ 29768 w 1212658"/>
                <a:gd name="connsiteY366" fmla="*/ 2167909 h 2273274"/>
                <a:gd name="connsiteX367" fmla="*/ 29102 w 1212658"/>
                <a:gd name="connsiteY367" fmla="*/ 2169724 h 2273274"/>
                <a:gd name="connsiteX368" fmla="*/ 28225 w 1212658"/>
                <a:gd name="connsiteY368" fmla="*/ 2171266 h 2273274"/>
                <a:gd name="connsiteX369" fmla="*/ 26652 w 1212658"/>
                <a:gd name="connsiteY369" fmla="*/ 2172295 h 2273274"/>
                <a:gd name="connsiteX370" fmla="*/ 29132 w 1212658"/>
                <a:gd name="connsiteY370" fmla="*/ 2172446 h 2273274"/>
                <a:gd name="connsiteX371" fmla="*/ 30857 w 1212658"/>
                <a:gd name="connsiteY371" fmla="*/ 2173838 h 2273274"/>
                <a:gd name="connsiteX372" fmla="*/ 32278 w 1212658"/>
                <a:gd name="connsiteY372" fmla="*/ 2176228 h 2273274"/>
                <a:gd name="connsiteX373" fmla="*/ 33791 w 1212658"/>
                <a:gd name="connsiteY373" fmla="*/ 2179374 h 2273274"/>
                <a:gd name="connsiteX374" fmla="*/ 34729 w 1212658"/>
                <a:gd name="connsiteY374" fmla="*/ 2180130 h 2273274"/>
                <a:gd name="connsiteX375" fmla="*/ 35455 w 1212658"/>
                <a:gd name="connsiteY375" fmla="*/ 2178920 h 2273274"/>
                <a:gd name="connsiteX376" fmla="*/ 36574 w 1212658"/>
                <a:gd name="connsiteY376" fmla="*/ 2175562 h 2273274"/>
                <a:gd name="connsiteX377" fmla="*/ 37482 w 1212658"/>
                <a:gd name="connsiteY377" fmla="*/ 2174140 h 2273274"/>
                <a:gd name="connsiteX378" fmla="*/ 37935 w 1212658"/>
                <a:gd name="connsiteY378" fmla="*/ 2174231 h 2273274"/>
                <a:gd name="connsiteX379" fmla="*/ 38329 w 1212658"/>
                <a:gd name="connsiteY379" fmla="*/ 2175199 h 2273274"/>
                <a:gd name="connsiteX380" fmla="*/ 38994 w 1212658"/>
                <a:gd name="connsiteY380" fmla="*/ 2176258 h 2273274"/>
                <a:gd name="connsiteX381" fmla="*/ 40295 w 1212658"/>
                <a:gd name="connsiteY381" fmla="*/ 2177771 h 2273274"/>
                <a:gd name="connsiteX382" fmla="*/ 41414 w 1212658"/>
                <a:gd name="connsiteY382" fmla="*/ 2179918 h 2273274"/>
                <a:gd name="connsiteX383" fmla="*/ 42171 w 1212658"/>
                <a:gd name="connsiteY383" fmla="*/ 2182641 h 2273274"/>
                <a:gd name="connsiteX384" fmla="*/ 42443 w 1212658"/>
                <a:gd name="connsiteY384" fmla="*/ 2185878 h 2273274"/>
                <a:gd name="connsiteX385" fmla="*/ 41899 w 1212658"/>
                <a:gd name="connsiteY385" fmla="*/ 2186846 h 2273274"/>
                <a:gd name="connsiteX386" fmla="*/ 40719 w 1212658"/>
                <a:gd name="connsiteY386" fmla="*/ 2187633 h 2273274"/>
                <a:gd name="connsiteX387" fmla="*/ 39539 w 1212658"/>
                <a:gd name="connsiteY387" fmla="*/ 2187844 h 2273274"/>
                <a:gd name="connsiteX388" fmla="*/ 38994 w 1212658"/>
                <a:gd name="connsiteY388" fmla="*/ 2187148 h 2273274"/>
                <a:gd name="connsiteX389" fmla="*/ 38934 w 1212658"/>
                <a:gd name="connsiteY389" fmla="*/ 2185454 h 2273274"/>
                <a:gd name="connsiteX390" fmla="*/ 38783 w 1212658"/>
                <a:gd name="connsiteY390" fmla="*/ 2184093 h 2273274"/>
                <a:gd name="connsiteX391" fmla="*/ 38238 w 1212658"/>
                <a:gd name="connsiteY391" fmla="*/ 2181371 h 2273274"/>
                <a:gd name="connsiteX392" fmla="*/ 37603 w 1212658"/>
                <a:gd name="connsiteY392" fmla="*/ 2183791 h 2273274"/>
                <a:gd name="connsiteX393" fmla="*/ 37421 w 1212658"/>
                <a:gd name="connsiteY393" fmla="*/ 2187723 h 2273274"/>
                <a:gd name="connsiteX394" fmla="*/ 36937 w 1212658"/>
                <a:gd name="connsiteY394" fmla="*/ 2190264 h 2273274"/>
                <a:gd name="connsiteX395" fmla="*/ 34819 w 1212658"/>
                <a:gd name="connsiteY395" fmla="*/ 2192805 h 2273274"/>
                <a:gd name="connsiteX396" fmla="*/ 34124 w 1212658"/>
                <a:gd name="connsiteY396" fmla="*/ 2198009 h 2273274"/>
                <a:gd name="connsiteX397" fmla="*/ 32490 w 1212658"/>
                <a:gd name="connsiteY397" fmla="*/ 2196315 h 2273274"/>
                <a:gd name="connsiteX398" fmla="*/ 30705 w 1212658"/>
                <a:gd name="connsiteY398" fmla="*/ 2195226 h 2273274"/>
                <a:gd name="connsiteX399" fmla="*/ 31068 w 1212658"/>
                <a:gd name="connsiteY399" fmla="*/ 2197041 h 2273274"/>
                <a:gd name="connsiteX400" fmla="*/ 31280 w 1212658"/>
                <a:gd name="connsiteY400" fmla="*/ 2199642 h 2273274"/>
                <a:gd name="connsiteX401" fmla="*/ 31099 w 1212658"/>
                <a:gd name="connsiteY401" fmla="*/ 2201972 h 2273274"/>
                <a:gd name="connsiteX402" fmla="*/ 30342 w 1212658"/>
                <a:gd name="connsiteY402" fmla="*/ 2202970 h 2273274"/>
                <a:gd name="connsiteX403" fmla="*/ 28769 w 1212658"/>
                <a:gd name="connsiteY403" fmla="*/ 2202516 h 2273274"/>
                <a:gd name="connsiteX404" fmla="*/ 28104 w 1212658"/>
                <a:gd name="connsiteY404" fmla="*/ 2201215 h 2273274"/>
                <a:gd name="connsiteX405" fmla="*/ 27317 w 1212658"/>
                <a:gd name="connsiteY405" fmla="*/ 2196647 h 2273274"/>
                <a:gd name="connsiteX406" fmla="*/ 26531 w 1212658"/>
                <a:gd name="connsiteY406" fmla="*/ 2195044 h 2273274"/>
                <a:gd name="connsiteX407" fmla="*/ 25683 w 1212658"/>
                <a:gd name="connsiteY407" fmla="*/ 2193713 h 2273274"/>
                <a:gd name="connsiteX408" fmla="*/ 25381 w 1212658"/>
                <a:gd name="connsiteY408" fmla="*/ 2192110 h 2273274"/>
                <a:gd name="connsiteX409" fmla="*/ 26954 w 1212658"/>
                <a:gd name="connsiteY409" fmla="*/ 2188026 h 2273274"/>
                <a:gd name="connsiteX410" fmla="*/ 28527 w 1212658"/>
                <a:gd name="connsiteY410" fmla="*/ 2182641 h 2273274"/>
                <a:gd name="connsiteX411" fmla="*/ 27499 w 1212658"/>
                <a:gd name="connsiteY411" fmla="*/ 2181945 h 2273274"/>
                <a:gd name="connsiteX412" fmla="*/ 27196 w 1212658"/>
                <a:gd name="connsiteY412" fmla="*/ 2182036 h 2273274"/>
                <a:gd name="connsiteX413" fmla="*/ 26591 w 1212658"/>
                <a:gd name="connsiteY413" fmla="*/ 2182641 h 2273274"/>
                <a:gd name="connsiteX414" fmla="*/ 25865 w 1212658"/>
                <a:gd name="connsiteY414" fmla="*/ 2181976 h 2273274"/>
                <a:gd name="connsiteX415" fmla="*/ 23778 w 1212658"/>
                <a:gd name="connsiteY415" fmla="*/ 2181340 h 2273274"/>
                <a:gd name="connsiteX416" fmla="*/ 24625 w 1212658"/>
                <a:gd name="connsiteY416" fmla="*/ 2183428 h 2273274"/>
                <a:gd name="connsiteX417" fmla="*/ 25139 w 1212658"/>
                <a:gd name="connsiteY417" fmla="*/ 2184365 h 2273274"/>
                <a:gd name="connsiteX418" fmla="*/ 25895 w 1212658"/>
                <a:gd name="connsiteY418" fmla="*/ 2185182 h 2273274"/>
                <a:gd name="connsiteX419" fmla="*/ 22023 w 1212658"/>
                <a:gd name="connsiteY419" fmla="*/ 2187481 h 2273274"/>
                <a:gd name="connsiteX420" fmla="*/ 20692 w 1212658"/>
                <a:gd name="connsiteY420" fmla="*/ 2187754 h 2273274"/>
                <a:gd name="connsiteX421" fmla="*/ 19724 w 1212658"/>
                <a:gd name="connsiteY421" fmla="*/ 2188449 h 2273274"/>
                <a:gd name="connsiteX422" fmla="*/ 19059 w 1212658"/>
                <a:gd name="connsiteY422" fmla="*/ 2190083 h 2273274"/>
                <a:gd name="connsiteX423" fmla="*/ 18423 w 1212658"/>
                <a:gd name="connsiteY423" fmla="*/ 2192200 h 2273274"/>
                <a:gd name="connsiteX424" fmla="*/ 17637 w 1212658"/>
                <a:gd name="connsiteY424" fmla="*/ 2194137 h 2273274"/>
                <a:gd name="connsiteX425" fmla="*/ 17939 w 1212658"/>
                <a:gd name="connsiteY425" fmla="*/ 2190748 h 2273274"/>
                <a:gd name="connsiteX426" fmla="*/ 17062 w 1212658"/>
                <a:gd name="connsiteY426" fmla="*/ 2189296 h 2273274"/>
                <a:gd name="connsiteX427" fmla="*/ 15458 w 1212658"/>
                <a:gd name="connsiteY427" fmla="*/ 2188994 h 2273274"/>
                <a:gd name="connsiteX428" fmla="*/ 13462 w 1212658"/>
                <a:gd name="connsiteY428" fmla="*/ 2189054 h 2273274"/>
                <a:gd name="connsiteX429" fmla="*/ 15640 w 1212658"/>
                <a:gd name="connsiteY429" fmla="*/ 2196708 h 2273274"/>
                <a:gd name="connsiteX430" fmla="*/ 15852 w 1212658"/>
                <a:gd name="connsiteY430" fmla="*/ 2198099 h 2273274"/>
                <a:gd name="connsiteX431" fmla="*/ 17001 w 1212658"/>
                <a:gd name="connsiteY431" fmla="*/ 2199068 h 2273274"/>
                <a:gd name="connsiteX432" fmla="*/ 17576 w 1212658"/>
                <a:gd name="connsiteY432" fmla="*/ 2201427 h 2273274"/>
                <a:gd name="connsiteX433" fmla="*/ 18242 w 1212658"/>
                <a:gd name="connsiteY433" fmla="*/ 2206872 h 2273274"/>
                <a:gd name="connsiteX434" fmla="*/ 19815 w 1212658"/>
                <a:gd name="connsiteY434" fmla="*/ 2211501 h 2273274"/>
                <a:gd name="connsiteX435" fmla="*/ 23566 w 1212658"/>
                <a:gd name="connsiteY435" fmla="*/ 2219639 h 2273274"/>
                <a:gd name="connsiteX436" fmla="*/ 25109 w 1212658"/>
                <a:gd name="connsiteY436" fmla="*/ 2224721 h 2273274"/>
                <a:gd name="connsiteX437" fmla="*/ 26168 w 1212658"/>
                <a:gd name="connsiteY437" fmla="*/ 2222391 h 2273274"/>
                <a:gd name="connsiteX438" fmla="*/ 27741 w 1212658"/>
                <a:gd name="connsiteY438" fmla="*/ 2220576 h 2273274"/>
                <a:gd name="connsiteX439" fmla="*/ 29556 w 1212658"/>
                <a:gd name="connsiteY439" fmla="*/ 2219911 h 2273274"/>
                <a:gd name="connsiteX440" fmla="*/ 31311 w 1212658"/>
                <a:gd name="connsiteY440" fmla="*/ 2220909 h 2273274"/>
                <a:gd name="connsiteX441" fmla="*/ 31189 w 1212658"/>
                <a:gd name="connsiteY441" fmla="*/ 2222785 h 2273274"/>
                <a:gd name="connsiteX442" fmla="*/ 32037 w 1212658"/>
                <a:gd name="connsiteY442" fmla="*/ 2223662 h 2273274"/>
                <a:gd name="connsiteX443" fmla="*/ 33367 w 1212658"/>
                <a:gd name="connsiteY443" fmla="*/ 2223813 h 2273274"/>
                <a:gd name="connsiteX444" fmla="*/ 34759 w 1212658"/>
                <a:gd name="connsiteY444" fmla="*/ 2223420 h 2273274"/>
                <a:gd name="connsiteX445" fmla="*/ 35727 w 1212658"/>
                <a:gd name="connsiteY445" fmla="*/ 2222543 h 2273274"/>
                <a:gd name="connsiteX446" fmla="*/ 35939 w 1212658"/>
                <a:gd name="connsiteY446" fmla="*/ 2221514 h 2273274"/>
                <a:gd name="connsiteX447" fmla="*/ 36242 w 1212658"/>
                <a:gd name="connsiteY447" fmla="*/ 2220516 h 2273274"/>
                <a:gd name="connsiteX448" fmla="*/ 37572 w 1212658"/>
                <a:gd name="connsiteY448" fmla="*/ 2219608 h 2273274"/>
                <a:gd name="connsiteX449" fmla="*/ 39962 w 1212658"/>
                <a:gd name="connsiteY449" fmla="*/ 2219608 h 2273274"/>
                <a:gd name="connsiteX450" fmla="*/ 41354 w 1212658"/>
                <a:gd name="connsiteY450" fmla="*/ 2221423 h 2273274"/>
                <a:gd name="connsiteX451" fmla="*/ 43078 w 1212658"/>
                <a:gd name="connsiteY451" fmla="*/ 2227232 h 2273274"/>
                <a:gd name="connsiteX452" fmla="*/ 42745 w 1212658"/>
                <a:gd name="connsiteY452" fmla="*/ 2229047 h 2273274"/>
                <a:gd name="connsiteX453" fmla="*/ 43834 w 1212658"/>
                <a:gd name="connsiteY453" fmla="*/ 2229561 h 2273274"/>
                <a:gd name="connsiteX454" fmla="*/ 44803 w 1212658"/>
                <a:gd name="connsiteY454" fmla="*/ 2228442 h 2273274"/>
                <a:gd name="connsiteX455" fmla="*/ 44137 w 1212658"/>
                <a:gd name="connsiteY455" fmla="*/ 2225417 h 2273274"/>
                <a:gd name="connsiteX456" fmla="*/ 43895 w 1212658"/>
                <a:gd name="connsiteY456" fmla="*/ 2222875 h 2273274"/>
                <a:gd name="connsiteX457" fmla="*/ 45589 w 1212658"/>
                <a:gd name="connsiteY457" fmla="*/ 2221514 h 2273274"/>
                <a:gd name="connsiteX458" fmla="*/ 49673 w 1212658"/>
                <a:gd name="connsiteY458" fmla="*/ 2220909 h 2273274"/>
                <a:gd name="connsiteX459" fmla="*/ 52214 w 1212658"/>
                <a:gd name="connsiteY459" fmla="*/ 2222210 h 2273274"/>
                <a:gd name="connsiteX460" fmla="*/ 53545 w 1212658"/>
                <a:gd name="connsiteY460" fmla="*/ 2222210 h 2273274"/>
                <a:gd name="connsiteX461" fmla="*/ 158578 w 1212658"/>
                <a:gd name="connsiteY461" fmla="*/ 2148820 h 2273274"/>
                <a:gd name="connsiteX462" fmla="*/ 158155 w 1212658"/>
                <a:gd name="connsiteY462" fmla="*/ 2148699 h 2273274"/>
                <a:gd name="connsiteX463" fmla="*/ 157338 w 1212658"/>
                <a:gd name="connsiteY463" fmla="*/ 2148759 h 2273274"/>
                <a:gd name="connsiteX464" fmla="*/ 156128 w 1212658"/>
                <a:gd name="connsiteY464" fmla="*/ 2149909 h 2273274"/>
                <a:gd name="connsiteX465" fmla="*/ 155614 w 1212658"/>
                <a:gd name="connsiteY465" fmla="*/ 2151331 h 2273274"/>
                <a:gd name="connsiteX466" fmla="*/ 156188 w 1212658"/>
                <a:gd name="connsiteY466" fmla="*/ 2153569 h 2273274"/>
                <a:gd name="connsiteX467" fmla="*/ 157550 w 1212658"/>
                <a:gd name="connsiteY467" fmla="*/ 2154658 h 2273274"/>
                <a:gd name="connsiteX468" fmla="*/ 158548 w 1212658"/>
                <a:gd name="connsiteY468" fmla="*/ 2154053 h 2273274"/>
                <a:gd name="connsiteX469" fmla="*/ 159395 w 1212658"/>
                <a:gd name="connsiteY469" fmla="*/ 2151966 h 2273274"/>
                <a:gd name="connsiteX470" fmla="*/ 159213 w 1212658"/>
                <a:gd name="connsiteY470" fmla="*/ 2149697 h 2273274"/>
                <a:gd name="connsiteX471" fmla="*/ 158608 w 1212658"/>
                <a:gd name="connsiteY471" fmla="*/ 2148850 h 2273274"/>
                <a:gd name="connsiteX472" fmla="*/ 300457 w 1212658"/>
                <a:gd name="connsiteY472" fmla="*/ 2260841 h 2273274"/>
                <a:gd name="connsiteX473" fmla="*/ 299399 w 1212658"/>
                <a:gd name="connsiteY473" fmla="*/ 2261022 h 2273274"/>
                <a:gd name="connsiteX474" fmla="*/ 298612 w 1212658"/>
                <a:gd name="connsiteY474" fmla="*/ 2261446 h 2273274"/>
                <a:gd name="connsiteX475" fmla="*/ 296283 w 1212658"/>
                <a:gd name="connsiteY475" fmla="*/ 2261688 h 2273274"/>
                <a:gd name="connsiteX476" fmla="*/ 293953 w 1212658"/>
                <a:gd name="connsiteY476" fmla="*/ 2262838 h 2273274"/>
                <a:gd name="connsiteX477" fmla="*/ 293348 w 1212658"/>
                <a:gd name="connsiteY477" fmla="*/ 2262989 h 2273274"/>
                <a:gd name="connsiteX478" fmla="*/ 292743 w 1212658"/>
                <a:gd name="connsiteY478" fmla="*/ 2262989 h 2273274"/>
                <a:gd name="connsiteX479" fmla="*/ 291926 w 1212658"/>
                <a:gd name="connsiteY479" fmla="*/ 2263836 h 2273274"/>
                <a:gd name="connsiteX480" fmla="*/ 292138 w 1212658"/>
                <a:gd name="connsiteY480" fmla="*/ 2265379 h 2273274"/>
                <a:gd name="connsiteX481" fmla="*/ 293318 w 1212658"/>
                <a:gd name="connsiteY481" fmla="*/ 2266014 h 2273274"/>
                <a:gd name="connsiteX482" fmla="*/ 294921 w 1212658"/>
                <a:gd name="connsiteY482" fmla="*/ 2265651 h 2273274"/>
                <a:gd name="connsiteX483" fmla="*/ 301093 w 1212658"/>
                <a:gd name="connsiteY483" fmla="*/ 2262475 h 2273274"/>
                <a:gd name="connsiteX484" fmla="*/ 301879 w 1212658"/>
                <a:gd name="connsiteY484" fmla="*/ 2261567 h 2273274"/>
                <a:gd name="connsiteX485" fmla="*/ 301637 w 1212658"/>
                <a:gd name="connsiteY485" fmla="*/ 2261083 h 2273274"/>
                <a:gd name="connsiteX486" fmla="*/ 300457 w 1212658"/>
                <a:gd name="connsiteY486" fmla="*/ 2260841 h 2273274"/>
                <a:gd name="connsiteX487" fmla="*/ 443002 w 1212658"/>
                <a:gd name="connsiteY487" fmla="*/ 2243174 h 2273274"/>
                <a:gd name="connsiteX488" fmla="*/ 440703 w 1212658"/>
                <a:gd name="connsiteY488" fmla="*/ 2242599 h 2273274"/>
                <a:gd name="connsiteX489" fmla="*/ 438495 w 1212658"/>
                <a:gd name="connsiteY489" fmla="*/ 2243295 h 2273274"/>
                <a:gd name="connsiteX490" fmla="*/ 436861 w 1212658"/>
                <a:gd name="connsiteY490" fmla="*/ 2245140 h 2273274"/>
                <a:gd name="connsiteX491" fmla="*/ 436196 w 1212658"/>
                <a:gd name="connsiteY491" fmla="*/ 2246653 h 2273274"/>
                <a:gd name="connsiteX492" fmla="*/ 436498 w 1212658"/>
                <a:gd name="connsiteY492" fmla="*/ 2247046 h 2273274"/>
                <a:gd name="connsiteX493" fmla="*/ 437073 w 1212658"/>
                <a:gd name="connsiteY493" fmla="*/ 2246925 h 2273274"/>
                <a:gd name="connsiteX494" fmla="*/ 438555 w 1212658"/>
                <a:gd name="connsiteY494" fmla="*/ 2248135 h 2273274"/>
                <a:gd name="connsiteX495" fmla="*/ 440068 w 1212658"/>
                <a:gd name="connsiteY495" fmla="*/ 2247893 h 2273274"/>
                <a:gd name="connsiteX496" fmla="*/ 440884 w 1212658"/>
                <a:gd name="connsiteY496" fmla="*/ 2247591 h 2273274"/>
                <a:gd name="connsiteX497" fmla="*/ 441036 w 1212658"/>
                <a:gd name="connsiteY497" fmla="*/ 2247319 h 2273274"/>
                <a:gd name="connsiteX498" fmla="*/ 441096 w 1212658"/>
                <a:gd name="connsiteY498" fmla="*/ 2246744 h 2273274"/>
                <a:gd name="connsiteX499" fmla="*/ 442367 w 1212658"/>
                <a:gd name="connsiteY499" fmla="*/ 2246835 h 2273274"/>
                <a:gd name="connsiteX500" fmla="*/ 443546 w 1212658"/>
                <a:gd name="connsiteY500" fmla="*/ 2245806 h 2273274"/>
                <a:gd name="connsiteX501" fmla="*/ 443546 w 1212658"/>
                <a:gd name="connsiteY501" fmla="*/ 2244263 h 2273274"/>
                <a:gd name="connsiteX502" fmla="*/ 443849 w 1212658"/>
                <a:gd name="connsiteY502" fmla="*/ 2243991 h 2273274"/>
                <a:gd name="connsiteX503" fmla="*/ 443002 w 1212658"/>
                <a:gd name="connsiteY503" fmla="*/ 2243235 h 2273274"/>
                <a:gd name="connsiteX504" fmla="*/ 340904 w 1212658"/>
                <a:gd name="connsiteY504" fmla="*/ 2231316 h 2273274"/>
                <a:gd name="connsiteX505" fmla="*/ 341508 w 1212658"/>
                <a:gd name="connsiteY505" fmla="*/ 2231164 h 2273274"/>
                <a:gd name="connsiteX506" fmla="*/ 341962 w 1212658"/>
                <a:gd name="connsiteY506" fmla="*/ 2230590 h 2273274"/>
                <a:gd name="connsiteX507" fmla="*/ 342567 w 1212658"/>
                <a:gd name="connsiteY507" fmla="*/ 2229168 h 2273274"/>
                <a:gd name="connsiteX508" fmla="*/ 342840 w 1212658"/>
                <a:gd name="connsiteY508" fmla="*/ 2227474 h 2273274"/>
                <a:gd name="connsiteX509" fmla="*/ 343566 w 1212658"/>
                <a:gd name="connsiteY509" fmla="*/ 2226173 h 2273274"/>
                <a:gd name="connsiteX510" fmla="*/ 342658 w 1212658"/>
                <a:gd name="connsiteY510" fmla="*/ 2225568 h 2273274"/>
                <a:gd name="connsiteX511" fmla="*/ 339603 w 1212658"/>
                <a:gd name="connsiteY511" fmla="*/ 2225749 h 2273274"/>
                <a:gd name="connsiteX512" fmla="*/ 337183 w 1212658"/>
                <a:gd name="connsiteY512" fmla="*/ 2226717 h 2273274"/>
                <a:gd name="connsiteX513" fmla="*/ 336366 w 1212658"/>
                <a:gd name="connsiteY513" fmla="*/ 2228018 h 2273274"/>
                <a:gd name="connsiteX514" fmla="*/ 337031 w 1212658"/>
                <a:gd name="connsiteY514" fmla="*/ 2228684 h 2273274"/>
                <a:gd name="connsiteX515" fmla="*/ 338363 w 1212658"/>
                <a:gd name="connsiteY515" fmla="*/ 2228774 h 2273274"/>
                <a:gd name="connsiteX516" fmla="*/ 339240 w 1212658"/>
                <a:gd name="connsiteY516" fmla="*/ 2229410 h 2273274"/>
                <a:gd name="connsiteX517" fmla="*/ 339240 w 1212658"/>
                <a:gd name="connsiteY517" fmla="*/ 2230317 h 2273274"/>
                <a:gd name="connsiteX518" fmla="*/ 336426 w 1212658"/>
                <a:gd name="connsiteY518" fmla="*/ 2230650 h 2273274"/>
                <a:gd name="connsiteX519" fmla="*/ 335942 w 1212658"/>
                <a:gd name="connsiteY519" fmla="*/ 2233131 h 2273274"/>
                <a:gd name="connsiteX520" fmla="*/ 336789 w 1212658"/>
                <a:gd name="connsiteY520" fmla="*/ 2236186 h 2273274"/>
                <a:gd name="connsiteX521" fmla="*/ 338060 w 1212658"/>
                <a:gd name="connsiteY521" fmla="*/ 2237184 h 2273274"/>
                <a:gd name="connsiteX522" fmla="*/ 338846 w 1212658"/>
                <a:gd name="connsiteY522" fmla="*/ 2236247 h 2273274"/>
                <a:gd name="connsiteX523" fmla="*/ 339240 w 1212658"/>
                <a:gd name="connsiteY523" fmla="*/ 2234704 h 2273274"/>
                <a:gd name="connsiteX524" fmla="*/ 340178 w 1212658"/>
                <a:gd name="connsiteY524" fmla="*/ 2232163 h 2273274"/>
                <a:gd name="connsiteX525" fmla="*/ 340904 w 1212658"/>
                <a:gd name="connsiteY525" fmla="*/ 2231346 h 2273274"/>
                <a:gd name="connsiteX526" fmla="*/ 294135 w 1212658"/>
                <a:gd name="connsiteY526" fmla="*/ 2238727 h 2273274"/>
                <a:gd name="connsiteX527" fmla="*/ 294831 w 1212658"/>
                <a:gd name="connsiteY527" fmla="*/ 2238727 h 2273274"/>
                <a:gd name="connsiteX528" fmla="*/ 295375 w 1212658"/>
                <a:gd name="connsiteY528" fmla="*/ 2235974 h 2273274"/>
                <a:gd name="connsiteX529" fmla="*/ 295557 w 1212658"/>
                <a:gd name="connsiteY529" fmla="*/ 2232798 h 2273274"/>
                <a:gd name="connsiteX530" fmla="*/ 295557 w 1212658"/>
                <a:gd name="connsiteY530" fmla="*/ 2225961 h 2273274"/>
                <a:gd name="connsiteX531" fmla="*/ 293621 w 1212658"/>
                <a:gd name="connsiteY531" fmla="*/ 2223117 h 2273274"/>
                <a:gd name="connsiteX532" fmla="*/ 291745 w 1212658"/>
                <a:gd name="connsiteY532" fmla="*/ 2222482 h 2273274"/>
                <a:gd name="connsiteX533" fmla="*/ 290746 w 1212658"/>
                <a:gd name="connsiteY533" fmla="*/ 2224237 h 2273274"/>
                <a:gd name="connsiteX534" fmla="*/ 291412 w 1212658"/>
                <a:gd name="connsiteY534" fmla="*/ 2228502 h 2273274"/>
                <a:gd name="connsiteX535" fmla="*/ 289264 w 1212658"/>
                <a:gd name="connsiteY535" fmla="*/ 2228714 h 2273274"/>
                <a:gd name="connsiteX536" fmla="*/ 288901 w 1212658"/>
                <a:gd name="connsiteY536" fmla="*/ 2226838 h 2273274"/>
                <a:gd name="connsiteX537" fmla="*/ 288811 w 1212658"/>
                <a:gd name="connsiteY537" fmla="*/ 2224479 h 2273274"/>
                <a:gd name="connsiteX538" fmla="*/ 287601 w 1212658"/>
                <a:gd name="connsiteY538" fmla="*/ 2223329 h 2273274"/>
                <a:gd name="connsiteX539" fmla="*/ 286027 w 1212658"/>
                <a:gd name="connsiteY539" fmla="*/ 2224267 h 2273274"/>
                <a:gd name="connsiteX540" fmla="*/ 285423 w 1212658"/>
                <a:gd name="connsiteY540" fmla="*/ 2226566 h 2273274"/>
                <a:gd name="connsiteX541" fmla="*/ 285483 w 1212658"/>
                <a:gd name="connsiteY541" fmla="*/ 2229470 h 2273274"/>
                <a:gd name="connsiteX542" fmla="*/ 285876 w 1212658"/>
                <a:gd name="connsiteY542" fmla="*/ 2232284 h 2273274"/>
                <a:gd name="connsiteX543" fmla="*/ 286512 w 1212658"/>
                <a:gd name="connsiteY543" fmla="*/ 2234401 h 2273274"/>
                <a:gd name="connsiteX544" fmla="*/ 287691 w 1212658"/>
                <a:gd name="connsiteY544" fmla="*/ 2237426 h 2273274"/>
                <a:gd name="connsiteX545" fmla="*/ 288841 w 1212658"/>
                <a:gd name="connsiteY545" fmla="*/ 2239635 h 2273274"/>
                <a:gd name="connsiteX546" fmla="*/ 289355 w 1212658"/>
                <a:gd name="connsiteY546" fmla="*/ 2239272 h 2273274"/>
                <a:gd name="connsiteX547" fmla="*/ 289990 w 1212658"/>
                <a:gd name="connsiteY547" fmla="*/ 2237305 h 2273274"/>
                <a:gd name="connsiteX548" fmla="*/ 291503 w 1212658"/>
                <a:gd name="connsiteY548" fmla="*/ 2236519 h 2273274"/>
                <a:gd name="connsiteX549" fmla="*/ 293136 w 1212658"/>
                <a:gd name="connsiteY549" fmla="*/ 2236973 h 2273274"/>
                <a:gd name="connsiteX550" fmla="*/ 294165 w 1212658"/>
                <a:gd name="connsiteY550" fmla="*/ 2238697 h 2273274"/>
                <a:gd name="connsiteX551" fmla="*/ 337878 w 1212658"/>
                <a:gd name="connsiteY551" fmla="*/ 2223178 h 2273274"/>
                <a:gd name="connsiteX552" fmla="*/ 340752 w 1212658"/>
                <a:gd name="connsiteY552" fmla="*/ 2223269 h 2273274"/>
                <a:gd name="connsiteX553" fmla="*/ 342386 w 1212658"/>
                <a:gd name="connsiteY553" fmla="*/ 2222573 h 2273274"/>
                <a:gd name="connsiteX554" fmla="*/ 343686 w 1212658"/>
                <a:gd name="connsiteY554" fmla="*/ 2221605 h 2273274"/>
                <a:gd name="connsiteX555" fmla="*/ 344231 w 1212658"/>
                <a:gd name="connsiteY555" fmla="*/ 2221605 h 2273274"/>
                <a:gd name="connsiteX556" fmla="*/ 344110 w 1212658"/>
                <a:gd name="connsiteY556" fmla="*/ 2222361 h 2273274"/>
                <a:gd name="connsiteX557" fmla="*/ 344624 w 1212658"/>
                <a:gd name="connsiteY557" fmla="*/ 2222724 h 2273274"/>
                <a:gd name="connsiteX558" fmla="*/ 345623 w 1212658"/>
                <a:gd name="connsiteY558" fmla="*/ 2222573 h 2273274"/>
                <a:gd name="connsiteX559" fmla="*/ 346682 w 1212658"/>
                <a:gd name="connsiteY559" fmla="*/ 2221817 h 2273274"/>
                <a:gd name="connsiteX560" fmla="*/ 347256 w 1212658"/>
                <a:gd name="connsiteY560" fmla="*/ 2220334 h 2273274"/>
                <a:gd name="connsiteX561" fmla="*/ 347105 w 1212658"/>
                <a:gd name="connsiteY561" fmla="*/ 2218943 h 2273274"/>
                <a:gd name="connsiteX562" fmla="*/ 346682 w 1212658"/>
                <a:gd name="connsiteY562" fmla="*/ 2217763 h 2273274"/>
                <a:gd name="connsiteX563" fmla="*/ 345925 w 1212658"/>
                <a:gd name="connsiteY563" fmla="*/ 2216311 h 2273274"/>
                <a:gd name="connsiteX564" fmla="*/ 344685 w 1212658"/>
                <a:gd name="connsiteY564" fmla="*/ 2215252 h 2273274"/>
                <a:gd name="connsiteX565" fmla="*/ 342628 w 1212658"/>
                <a:gd name="connsiteY565" fmla="*/ 2215131 h 2273274"/>
                <a:gd name="connsiteX566" fmla="*/ 340087 w 1212658"/>
                <a:gd name="connsiteY566" fmla="*/ 2216250 h 2273274"/>
                <a:gd name="connsiteX567" fmla="*/ 338877 w 1212658"/>
                <a:gd name="connsiteY567" fmla="*/ 2217249 h 2273274"/>
                <a:gd name="connsiteX568" fmla="*/ 338241 w 1212658"/>
                <a:gd name="connsiteY568" fmla="*/ 2217944 h 2273274"/>
                <a:gd name="connsiteX569" fmla="*/ 337303 w 1212658"/>
                <a:gd name="connsiteY569" fmla="*/ 2219608 h 2273274"/>
                <a:gd name="connsiteX570" fmla="*/ 336547 w 1212658"/>
                <a:gd name="connsiteY570" fmla="*/ 2221333 h 2273274"/>
                <a:gd name="connsiteX571" fmla="*/ 335398 w 1212658"/>
                <a:gd name="connsiteY571" fmla="*/ 2222422 h 2273274"/>
                <a:gd name="connsiteX572" fmla="*/ 335398 w 1212658"/>
                <a:gd name="connsiteY572" fmla="*/ 2223087 h 2273274"/>
                <a:gd name="connsiteX573" fmla="*/ 337062 w 1212658"/>
                <a:gd name="connsiteY573" fmla="*/ 2223299 h 2273274"/>
                <a:gd name="connsiteX574" fmla="*/ 337969 w 1212658"/>
                <a:gd name="connsiteY574" fmla="*/ 2223208 h 2273274"/>
                <a:gd name="connsiteX575" fmla="*/ 249454 w 1212658"/>
                <a:gd name="connsiteY575" fmla="*/ 2214193 h 2273274"/>
                <a:gd name="connsiteX576" fmla="*/ 248002 w 1212658"/>
                <a:gd name="connsiteY576" fmla="*/ 2214042 h 2273274"/>
                <a:gd name="connsiteX577" fmla="*/ 246489 w 1212658"/>
                <a:gd name="connsiteY577" fmla="*/ 2212711 h 2273274"/>
                <a:gd name="connsiteX578" fmla="*/ 245309 w 1212658"/>
                <a:gd name="connsiteY578" fmla="*/ 2213104 h 2273274"/>
                <a:gd name="connsiteX579" fmla="*/ 243827 w 1212658"/>
                <a:gd name="connsiteY579" fmla="*/ 2213921 h 2273274"/>
                <a:gd name="connsiteX580" fmla="*/ 243252 w 1212658"/>
                <a:gd name="connsiteY580" fmla="*/ 2215161 h 2273274"/>
                <a:gd name="connsiteX581" fmla="*/ 244190 w 1212658"/>
                <a:gd name="connsiteY581" fmla="*/ 2216704 h 2273274"/>
                <a:gd name="connsiteX582" fmla="*/ 244643 w 1212658"/>
                <a:gd name="connsiteY582" fmla="*/ 2217218 h 2273274"/>
                <a:gd name="connsiteX583" fmla="*/ 247427 w 1212658"/>
                <a:gd name="connsiteY583" fmla="*/ 2217581 h 2273274"/>
                <a:gd name="connsiteX584" fmla="*/ 249060 w 1212658"/>
                <a:gd name="connsiteY584" fmla="*/ 2217460 h 2273274"/>
                <a:gd name="connsiteX585" fmla="*/ 251057 w 1212658"/>
                <a:gd name="connsiteY585" fmla="*/ 2216825 h 2273274"/>
                <a:gd name="connsiteX586" fmla="*/ 251571 w 1212658"/>
                <a:gd name="connsiteY586" fmla="*/ 2215464 h 2273274"/>
                <a:gd name="connsiteX587" fmla="*/ 250300 w 1212658"/>
                <a:gd name="connsiteY587" fmla="*/ 2214405 h 2273274"/>
                <a:gd name="connsiteX588" fmla="*/ 249484 w 1212658"/>
                <a:gd name="connsiteY588" fmla="*/ 2214133 h 2273274"/>
                <a:gd name="connsiteX589" fmla="*/ 207132 w 1212658"/>
                <a:gd name="connsiteY589" fmla="*/ 2206691 h 2273274"/>
                <a:gd name="connsiteX590" fmla="*/ 202987 w 1212658"/>
                <a:gd name="connsiteY590" fmla="*/ 2208718 h 2273274"/>
                <a:gd name="connsiteX591" fmla="*/ 199629 w 1212658"/>
                <a:gd name="connsiteY591" fmla="*/ 2213195 h 2273274"/>
                <a:gd name="connsiteX592" fmla="*/ 203290 w 1212658"/>
                <a:gd name="connsiteY592" fmla="*/ 2212892 h 2273274"/>
                <a:gd name="connsiteX593" fmla="*/ 204893 w 1212658"/>
                <a:gd name="connsiteY593" fmla="*/ 2213558 h 2273274"/>
                <a:gd name="connsiteX594" fmla="*/ 205801 w 1212658"/>
                <a:gd name="connsiteY594" fmla="*/ 2215736 h 2273274"/>
                <a:gd name="connsiteX595" fmla="*/ 201838 w 1212658"/>
                <a:gd name="connsiteY595" fmla="*/ 2215494 h 2273274"/>
                <a:gd name="connsiteX596" fmla="*/ 199902 w 1212658"/>
                <a:gd name="connsiteY596" fmla="*/ 2215827 h 2273274"/>
                <a:gd name="connsiteX597" fmla="*/ 198207 w 1212658"/>
                <a:gd name="connsiteY597" fmla="*/ 2216976 h 2273274"/>
                <a:gd name="connsiteX598" fmla="*/ 199296 w 1212658"/>
                <a:gd name="connsiteY598" fmla="*/ 2217823 h 2273274"/>
                <a:gd name="connsiteX599" fmla="*/ 200385 w 1212658"/>
                <a:gd name="connsiteY599" fmla="*/ 2219155 h 2273274"/>
                <a:gd name="connsiteX600" fmla="*/ 201445 w 1212658"/>
                <a:gd name="connsiteY600" fmla="*/ 2220183 h 2273274"/>
                <a:gd name="connsiteX601" fmla="*/ 202443 w 1212658"/>
                <a:gd name="connsiteY601" fmla="*/ 2220092 h 2273274"/>
                <a:gd name="connsiteX602" fmla="*/ 203441 w 1212658"/>
                <a:gd name="connsiteY602" fmla="*/ 2219427 h 2273274"/>
                <a:gd name="connsiteX603" fmla="*/ 206194 w 1212658"/>
                <a:gd name="connsiteY603" fmla="*/ 2218459 h 2273274"/>
                <a:gd name="connsiteX604" fmla="*/ 207222 w 1212658"/>
                <a:gd name="connsiteY604" fmla="*/ 2218307 h 2273274"/>
                <a:gd name="connsiteX605" fmla="*/ 209945 w 1212658"/>
                <a:gd name="connsiteY605" fmla="*/ 2219185 h 2273274"/>
                <a:gd name="connsiteX606" fmla="*/ 211367 w 1212658"/>
                <a:gd name="connsiteY606" fmla="*/ 2219306 h 2273274"/>
                <a:gd name="connsiteX607" fmla="*/ 212698 w 1212658"/>
                <a:gd name="connsiteY607" fmla="*/ 2218338 h 2273274"/>
                <a:gd name="connsiteX608" fmla="*/ 213575 w 1212658"/>
                <a:gd name="connsiteY608" fmla="*/ 2216704 h 2273274"/>
                <a:gd name="connsiteX609" fmla="*/ 213757 w 1212658"/>
                <a:gd name="connsiteY609" fmla="*/ 2215313 h 2273274"/>
                <a:gd name="connsiteX610" fmla="*/ 213091 w 1212658"/>
                <a:gd name="connsiteY610" fmla="*/ 2214435 h 2273274"/>
                <a:gd name="connsiteX611" fmla="*/ 211397 w 1212658"/>
                <a:gd name="connsiteY611" fmla="*/ 2214314 h 2273274"/>
                <a:gd name="connsiteX612" fmla="*/ 213817 w 1212658"/>
                <a:gd name="connsiteY612" fmla="*/ 2212499 h 2273274"/>
                <a:gd name="connsiteX613" fmla="*/ 214815 w 1212658"/>
                <a:gd name="connsiteY613" fmla="*/ 2211350 h 2273274"/>
                <a:gd name="connsiteX614" fmla="*/ 215511 w 1212658"/>
                <a:gd name="connsiteY614" fmla="*/ 2209353 h 2273274"/>
                <a:gd name="connsiteX615" fmla="*/ 211488 w 1212658"/>
                <a:gd name="connsiteY615" fmla="*/ 2206933 h 2273274"/>
                <a:gd name="connsiteX616" fmla="*/ 207132 w 1212658"/>
                <a:gd name="connsiteY616" fmla="*/ 2206661 h 2273274"/>
                <a:gd name="connsiteX617" fmla="*/ 230123 w 1212658"/>
                <a:gd name="connsiteY617" fmla="*/ 2201821 h 2273274"/>
                <a:gd name="connsiteX618" fmla="*/ 224496 w 1212658"/>
                <a:gd name="connsiteY618" fmla="*/ 2202940 h 2273274"/>
                <a:gd name="connsiteX619" fmla="*/ 222469 w 1212658"/>
                <a:gd name="connsiteY619" fmla="*/ 2204241 h 2273274"/>
                <a:gd name="connsiteX620" fmla="*/ 220926 w 1212658"/>
                <a:gd name="connsiteY620" fmla="*/ 2206419 h 2273274"/>
                <a:gd name="connsiteX621" fmla="*/ 220624 w 1212658"/>
                <a:gd name="connsiteY621" fmla="*/ 2208476 h 2273274"/>
                <a:gd name="connsiteX622" fmla="*/ 222378 w 1212658"/>
                <a:gd name="connsiteY622" fmla="*/ 2209383 h 2273274"/>
                <a:gd name="connsiteX623" fmla="*/ 222378 w 1212658"/>
                <a:gd name="connsiteY623" fmla="*/ 2210533 h 2273274"/>
                <a:gd name="connsiteX624" fmla="*/ 221864 w 1212658"/>
                <a:gd name="connsiteY624" fmla="*/ 2210775 h 2273274"/>
                <a:gd name="connsiteX625" fmla="*/ 220382 w 1212658"/>
                <a:gd name="connsiteY625" fmla="*/ 2211924 h 2273274"/>
                <a:gd name="connsiteX626" fmla="*/ 220805 w 1212658"/>
                <a:gd name="connsiteY626" fmla="*/ 2214254 h 2273274"/>
                <a:gd name="connsiteX627" fmla="*/ 220563 w 1212658"/>
                <a:gd name="connsiteY627" fmla="*/ 2214768 h 2273274"/>
                <a:gd name="connsiteX628" fmla="*/ 219686 w 1212658"/>
                <a:gd name="connsiteY628" fmla="*/ 2215736 h 2273274"/>
                <a:gd name="connsiteX629" fmla="*/ 222136 w 1212658"/>
                <a:gd name="connsiteY629" fmla="*/ 2217218 h 2273274"/>
                <a:gd name="connsiteX630" fmla="*/ 225343 w 1212658"/>
                <a:gd name="connsiteY630" fmla="*/ 2216946 h 2273274"/>
                <a:gd name="connsiteX631" fmla="*/ 228459 w 1212658"/>
                <a:gd name="connsiteY631" fmla="*/ 2215464 h 2273274"/>
                <a:gd name="connsiteX632" fmla="*/ 230728 w 1212658"/>
                <a:gd name="connsiteY632" fmla="*/ 2213225 h 2273274"/>
                <a:gd name="connsiteX633" fmla="*/ 230274 w 1212658"/>
                <a:gd name="connsiteY633" fmla="*/ 2212409 h 2273274"/>
                <a:gd name="connsiteX634" fmla="*/ 229820 w 1212658"/>
                <a:gd name="connsiteY634" fmla="*/ 2212106 h 2273274"/>
                <a:gd name="connsiteX635" fmla="*/ 230879 w 1212658"/>
                <a:gd name="connsiteY635" fmla="*/ 2211894 h 2273274"/>
                <a:gd name="connsiteX636" fmla="*/ 231877 w 1212658"/>
                <a:gd name="connsiteY636" fmla="*/ 2211350 h 2273274"/>
                <a:gd name="connsiteX637" fmla="*/ 232785 w 1212658"/>
                <a:gd name="connsiteY637" fmla="*/ 2210563 h 2273274"/>
                <a:gd name="connsiteX638" fmla="*/ 229306 w 1212658"/>
                <a:gd name="connsiteY638" fmla="*/ 2209414 h 2273274"/>
                <a:gd name="connsiteX639" fmla="*/ 236990 w 1212658"/>
                <a:gd name="connsiteY639" fmla="*/ 2209414 h 2273274"/>
                <a:gd name="connsiteX640" fmla="*/ 235417 w 1212658"/>
                <a:gd name="connsiteY640" fmla="*/ 2207296 h 2273274"/>
                <a:gd name="connsiteX641" fmla="*/ 234781 w 1212658"/>
                <a:gd name="connsiteY641" fmla="*/ 2206751 h 2273274"/>
                <a:gd name="connsiteX642" fmla="*/ 235750 w 1212658"/>
                <a:gd name="connsiteY642" fmla="*/ 2205995 h 2273274"/>
                <a:gd name="connsiteX643" fmla="*/ 236778 w 1212658"/>
                <a:gd name="connsiteY643" fmla="*/ 2205572 h 2273274"/>
                <a:gd name="connsiteX644" fmla="*/ 237837 w 1212658"/>
                <a:gd name="connsiteY644" fmla="*/ 2205481 h 2273274"/>
                <a:gd name="connsiteX645" fmla="*/ 238986 w 1212658"/>
                <a:gd name="connsiteY645" fmla="*/ 2205602 h 2273274"/>
                <a:gd name="connsiteX646" fmla="*/ 238986 w 1212658"/>
                <a:gd name="connsiteY646" fmla="*/ 2204210 h 2273274"/>
                <a:gd name="connsiteX647" fmla="*/ 235538 w 1212658"/>
                <a:gd name="connsiteY647" fmla="*/ 2201790 h 2273274"/>
                <a:gd name="connsiteX648" fmla="*/ 230093 w 1212658"/>
                <a:gd name="connsiteY648" fmla="*/ 2201790 h 2273274"/>
                <a:gd name="connsiteX649" fmla="*/ 284938 w 1212658"/>
                <a:gd name="connsiteY649" fmla="*/ 2206993 h 2273274"/>
                <a:gd name="connsiteX650" fmla="*/ 287328 w 1212658"/>
                <a:gd name="connsiteY650" fmla="*/ 2205420 h 2273274"/>
                <a:gd name="connsiteX651" fmla="*/ 289113 w 1212658"/>
                <a:gd name="connsiteY651" fmla="*/ 2202093 h 2273274"/>
                <a:gd name="connsiteX652" fmla="*/ 288054 w 1212658"/>
                <a:gd name="connsiteY652" fmla="*/ 2200459 h 2273274"/>
                <a:gd name="connsiteX653" fmla="*/ 281822 w 1212658"/>
                <a:gd name="connsiteY653" fmla="*/ 2202698 h 2273274"/>
                <a:gd name="connsiteX654" fmla="*/ 280945 w 1212658"/>
                <a:gd name="connsiteY654" fmla="*/ 2203273 h 2273274"/>
                <a:gd name="connsiteX655" fmla="*/ 280431 w 1212658"/>
                <a:gd name="connsiteY655" fmla="*/ 2204513 h 2273274"/>
                <a:gd name="connsiteX656" fmla="*/ 280431 w 1212658"/>
                <a:gd name="connsiteY656" fmla="*/ 2205693 h 2273274"/>
                <a:gd name="connsiteX657" fmla="*/ 280310 w 1212658"/>
                <a:gd name="connsiteY657" fmla="*/ 2206328 h 2273274"/>
                <a:gd name="connsiteX658" fmla="*/ 279856 w 1212658"/>
                <a:gd name="connsiteY658" fmla="*/ 2206751 h 2273274"/>
                <a:gd name="connsiteX659" fmla="*/ 279554 w 1212658"/>
                <a:gd name="connsiteY659" fmla="*/ 2207810 h 2273274"/>
                <a:gd name="connsiteX660" fmla="*/ 279675 w 1212658"/>
                <a:gd name="connsiteY660" fmla="*/ 2209353 h 2273274"/>
                <a:gd name="connsiteX661" fmla="*/ 279675 w 1212658"/>
                <a:gd name="connsiteY661" fmla="*/ 2210140 h 2273274"/>
                <a:gd name="connsiteX662" fmla="*/ 279281 w 1212658"/>
                <a:gd name="connsiteY662" fmla="*/ 2210563 h 2273274"/>
                <a:gd name="connsiteX663" fmla="*/ 280310 w 1212658"/>
                <a:gd name="connsiteY663" fmla="*/ 2211108 h 2273274"/>
                <a:gd name="connsiteX664" fmla="*/ 282851 w 1212658"/>
                <a:gd name="connsiteY664" fmla="*/ 2211108 h 2273274"/>
                <a:gd name="connsiteX665" fmla="*/ 284182 w 1212658"/>
                <a:gd name="connsiteY665" fmla="*/ 2210805 h 2273274"/>
                <a:gd name="connsiteX666" fmla="*/ 283819 w 1212658"/>
                <a:gd name="connsiteY666" fmla="*/ 2209777 h 2273274"/>
                <a:gd name="connsiteX667" fmla="*/ 282367 w 1212658"/>
                <a:gd name="connsiteY667" fmla="*/ 2208657 h 2273274"/>
                <a:gd name="connsiteX668" fmla="*/ 282458 w 1212658"/>
                <a:gd name="connsiteY668" fmla="*/ 2207901 h 2273274"/>
                <a:gd name="connsiteX669" fmla="*/ 284908 w 1212658"/>
                <a:gd name="connsiteY669" fmla="*/ 2207024 h 2273274"/>
                <a:gd name="connsiteX670" fmla="*/ 186772 w 1212658"/>
                <a:gd name="connsiteY670" fmla="*/ 2201851 h 2273274"/>
                <a:gd name="connsiteX671" fmla="*/ 185200 w 1212658"/>
                <a:gd name="connsiteY671" fmla="*/ 2199158 h 2273274"/>
                <a:gd name="connsiteX672" fmla="*/ 180480 w 1212658"/>
                <a:gd name="connsiteY672" fmla="*/ 2199400 h 2273274"/>
                <a:gd name="connsiteX673" fmla="*/ 178332 w 1212658"/>
                <a:gd name="connsiteY673" fmla="*/ 2200489 h 2273274"/>
                <a:gd name="connsiteX674" fmla="*/ 176880 w 1212658"/>
                <a:gd name="connsiteY674" fmla="*/ 2202940 h 2273274"/>
                <a:gd name="connsiteX675" fmla="*/ 178816 w 1212658"/>
                <a:gd name="connsiteY675" fmla="*/ 2202940 h 2273274"/>
                <a:gd name="connsiteX676" fmla="*/ 179936 w 1212658"/>
                <a:gd name="connsiteY676" fmla="*/ 2203847 h 2273274"/>
                <a:gd name="connsiteX677" fmla="*/ 180904 w 1212658"/>
                <a:gd name="connsiteY677" fmla="*/ 2205027 h 2273274"/>
                <a:gd name="connsiteX678" fmla="*/ 182447 w 1212658"/>
                <a:gd name="connsiteY678" fmla="*/ 2205602 h 2273274"/>
                <a:gd name="connsiteX679" fmla="*/ 185623 w 1212658"/>
                <a:gd name="connsiteY679" fmla="*/ 2205935 h 2273274"/>
                <a:gd name="connsiteX680" fmla="*/ 187135 w 1212658"/>
                <a:gd name="connsiteY680" fmla="*/ 2206691 h 2273274"/>
                <a:gd name="connsiteX681" fmla="*/ 187982 w 1212658"/>
                <a:gd name="connsiteY681" fmla="*/ 2208113 h 2273274"/>
                <a:gd name="connsiteX682" fmla="*/ 188678 w 1212658"/>
                <a:gd name="connsiteY682" fmla="*/ 2208113 h 2273274"/>
                <a:gd name="connsiteX683" fmla="*/ 189344 w 1212658"/>
                <a:gd name="connsiteY683" fmla="*/ 2205148 h 2273274"/>
                <a:gd name="connsiteX684" fmla="*/ 190857 w 1212658"/>
                <a:gd name="connsiteY684" fmla="*/ 2204059 h 2273274"/>
                <a:gd name="connsiteX685" fmla="*/ 194850 w 1212658"/>
                <a:gd name="connsiteY685" fmla="*/ 2204210 h 2273274"/>
                <a:gd name="connsiteX686" fmla="*/ 194850 w 1212658"/>
                <a:gd name="connsiteY686" fmla="*/ 2202940 h 2273274"/>
                <a:gd name="connsiteX687" fmla="*/ 189374 w 1212658"/>
                <a:gd name="connsiteY687" fmla="*/ 2202940 h 2273274"/>
                <a:gd name="connsiteX688" fmla="*/ 186803 w 1212658"/>
                <a:gd name="connsiteY688" fmla="*/ 2201821 h 2273274"/>
                <a:gd name="connsiteX689" fmla="*/ 256230 w 1212658"/>
                <a:gd name="connsiteY689" fmla="*/ 2199158 h 2273274"/>
                <a:gd name="connsiteX690" fmla="*/ 254505 w 1212658"/>
                <a:gd name="connsiteY690" fmla="*/ 2199098 h 2273274"/>
                <a:gd name="connsiteX691" fmla="*/ 252962 w 1212658"/>
                <a:gd name="connsiteY691" fmla="*/ 2200157 h 2273274"/>
                <a:gd name="connsiteX692" fmla="*/ 250028 w 1212658"/>
                <a:gd name="connsiteY692" fmla="*/ 2202970 h 2273274"/>
                <a:gd name="connsiteX693" fmla="*/ 245279 w 1212658"/>
                <a:gd name="connsiteY693" fmla="*/ 2204694 h 2273274"/>
                <a:gd name="connsiteX694" fmla="*/ 243797 w 1212658"/>
                <a:gd name="connsiteY694" fmla="*/ 2205632 h 2273274"/>
                <a:gd name="connsiteX695" fmla="*/ 245339 w 1212658"/>
                <a:gd name="connsiteY695" fmla="*/ 2210714 h 2273274"/>
                <a:gd name="connsiteX696" fmla="*/ 248062 w 1212658"/>
                <a:gd name="connsiteY696" fmla="*/ 2213225 h 2273274"/>
                <a:gd name="connsiteX697" fmla="*/ 251238 w 1212658"/>
                <a:gd name="connsiteY697" fmla="*/ 2212892 h 2273274"/>
                <a:gd name="connsiteX698" fmla="*/ 254112 w 1212658"/>
                <a:gd name="connsiteY698" fmla="*/ 2209444 h 2273274"/>
                <a:gd name="connsiteX699" fmla="*/ 253477 w 1212658"/>
                <a:gd name="connsiteY699" fmla="*/ 2208960 h 2273274"/>
                <a:gd name="connsiteX700" fmla="*/ 252055 w 1212658"/>
                <a:gd name="connsiteY700" fmla="*/ 2207326 h 2273274"/>
                <a:gd name="connsiteX701" fmla="*/ 251420 w 1212658"/>
                <a:gd name="connsiteY701" fmla="*/ 2206812 h 2273274"/>
                <a:gd name="connsiteX702" fmla="*/ 257561 w 1212658"/>
                <a:gd name="connsiteY702" fmla="*/ 2201851 h 2273274"/>
                <a:gd name="connsiteX703" fmla="*/ 256230 w 1212658"/>
                <a:gd name="connsiteY703" fmla="*/ 2199189 h 2273274"/>
                <a:gd name="connsiteX704" fmla="*/ 634917 w 1212658"/>
                <a:gd name="connsiteY704" fmla="*/ 2198190 h 2273274"/>
                <a:gd name="connsiteX705" fmla="*/ 634131 w 1212658"/>
                <a:gd name="connsiteY705" fmla="*/ 2199794 h 2273274"/>
                <a:gd name="connsiteX706" fmla="*/ 634796 w 1212658"/>
                <a:gd name="connsiteY706" fmla="*/ 2201730 h 2273274"/>
                <a:gd name="connsiteX707" fmla="*/ 636309 w 1212658"/>
                <a:gd name="connsiteY707" fmla="*/ 2201941 h 2273274"/>
                <a:gd name="connsiteX708" fmla="*/ 637973 w 1212658"/>
                <a:gd name="connsiteY708" fmla="*/ 2201246 h 2273274"/>
                <a:gd name="connsiteX709" fmla="*/ 639092 w 1212658"/>
                <a:gd name="connsiteY709" fmla="*/ 2200429 h 2273274"/>
                <a:gd name="connsiteX710" fmla="*/ 640423 w 1212658"/>
                <a:gd name="connsiteY710" fmla="*/ 2198009 h 2273274"/>
                <a:gd name="connsiteX711" fmla="*/ 636823 w 1212658"/>
                <a:gd name="connsiteY711" fmla="*/ 2197706 h 2273274"/>
                <a:gd name="connsiteX712" fmla="*/ 634978 w 1212658"/>
                <a:gd name="connsiteY712" fmla="*/ 2198190 h 2273274"/>
                <a:gd name="connsiteX713" fmla="*/ 279675 w 1212658"/>
                <a:gd name="connsiteY713" fmla="*/ 2192805 h 2273274"/>
                <a:gd name="connsiteX714" fmla="*/ 277648 w 1212658"/>
                <a:gd name="connsiteY714" fmla="*/ 2191353 h 2273274"/>
                <a:gd name="connsiteX715" fmla="*/ 275046 w 1212658"/>
                <a:gd name="connsiteY715" fmla="*/ 2193199 h 2273274"/>
                <a:gd name="connsiteX716" fmla="*/ 272686 w 1212658"/>
                <a:gd name="connsiteY716" fmla="*/ 2196768 h 2273274"/>
                <a:gd name="connsiteX717" fmla="*/ 271356 w 1212658"/>
                <a:gd name="connsiteY717" fmla="*/ 2200429 h 2273274"/>
                <a:gd name="connsiteX718" fmla="*/ 273685 w 1212658"/>
                <a:gd name="connsiteY718" fmla="*/ 2203999 h 2273274"/>
                <a:gd name="connsiteX719" fmla="*/ 277406 w 1212658"/>
                <a:gd name="connsiteY719" fmla="*/ 2201972 h 2273274"/>
                <a:gd name="connsiteX720" fmla="*/ 280158 w 1212658"/>
                <a:gd name="connsiteY720" fmla="*/ 2197253 h 2273274"/>
                <a:gd name="connsiteX721" fmla="*/ 279644 w 1212658"/>
                <a:gd name="connsiteY721" fmla="*/ 2192805 h 2273274"/>
                <a:gd name="connsiteX722" fmla="*/ 210520 w 1212658"/>
                <a:gd name="connsiteY722" fmla="*/ 2188419 h 2273274"/>
                <a:gd name="connsiteX723" fmla="*/ 208735 w 1212658"/>
                <a:gd name="connsiteY723" fmla="*/ 2188298 h 2273274"/>
                <a:gd name="connsiteX724" fmla="*/ 207132 w 1212658"/>
                <a:gd name="connsiteY724" fmla="*/ 2190809 h 2273274"/>
                <a:gd name="connsiteX725" fmla="*/ 206254 w 1212658"/>
                <a:gd name="connsiteY725" fmla="*/ 2193804 h 2273274"/>
                <a:gd name="connsiteX726" fmla="*/ 206376 w 1212658"/>
                <a:gd name="connsiteY726" fmla="*/ 2196345 h 2273274"/>
                <a:gd name="connsiteX727" fmla="*/ 207828 w 1212658"/>
                <a:gd name="connsiteY727" fmla="*/ 2197192 h 2273274"/>
                <a:gd name="connsiteX728" fmla="*/ 208795 w 1212658"/>
                <a:gd name="connsiteY728" fmla="*/ 2197010 h 2273274"/>
                <a:gd name="connsiteX729" fmla="*/ 209280 w 1212658"/>
                <a:gd name="connsiteY729" fmla="*/ 2197162 h 2273274"/>
                <a:gd name="connsiteX730" fmla="*/ 210217 w 1212658"/>
                <a:gd name="connsiteY730" fmla="*/ 2197010 h 2273274"/>
                <a:gd name="connsiteX731" fmla="*/ 210671 w 1212658"/>
                <a:gd name="connsiteY731" fmla="*/ 2195952 h 2273274"/>
                <a:gd name="connsiteX732" fmla="*/ 211034 w 1212658"/>
                <a:gd name="connsiteY732" fmla="*/ 2194711 h 2273274"/>
                <a:gd name="connsiteX733" fmla="*/ 212184 w 1212658"/>
                <a:gd name="connsiteY733" fmla="*/ 2193168 h 2273274"/>
                <a:gd name="connsiteX734" fmla="*/ 212698 w 1212658"/>
                <a:gd name="connsiteY734" fmla="*/ 2191384 h 2273274"/>
                <a:gd name="connsiteX735" fmla="*/ 211609 w 1212658"/>
                <a:gd name="connsiteY735" fmla="*/ 2190900 h 2273274"/>
                <a:gd name="connsiteX736" fmla="*/ 210036 w 1212658"/>
                <a:gd name="connsiteY736" fmla="*/ 2190960 h 2273274"/>
                <a:gd name="connsiteX737" fmla="*/ 209733 w 1212658"/>
                <a:gd name="connsiteY737" fmla="*/ 2190567 h 2273274"/>
                <a:gd name="connsiteX738" fmla="*/ 210671 w 1212658"/>
                <a:gd name="connsiteY738" fmla="*/ 2189871 h 2273274"/>
                <a:gd name="connsiteX739" fmla="*/ 210459 w 1212658"/>
                <a:gd name="connsiteY739" fmla="*/ 2188359 h 2273274"/>
                <a:gd name="connsiteX740" fmla="*/ 610716 w 1212658"/>
                <a:gd name="connsiteY740" fmla="*/ 2183276 h 2273274"/>
                <a:gd name="connsiteX741" fmla="*/ 608992 w 1212658"/>
                <a:gd name="connsiteY741" fmla="*/ 2186665 h 2273274"/>
                <a:gd name="connsiteX742" fmla="*/ 609566 w 1212658"/>
                <a:gd name="connsiteY742" fmla="*/ 2190446 h 2273274"/>
                <a:gd name="connsiteX743" fmla="*/ 611775 w 1212658"/>
                <a:gd name="connsiteY743" fmla="*/ 2193320 h 2273274"/>
                <a:gd name="connsiteX744" fmla="*/ 614830 w 1212658"/>
                <a:gd name="connsiteY744" fmla="*/ 2194106 h 2273274"/>
                <a:gd name="connsiteX745" fmla="*/ 613408 w 1212658"/>
                <a:gd name="connsiteY745" fmla="*/ 2197071 h 2273274"/>
                <a:gd name="connsiteX746" fmla="*/ 612924 w 1212658"/>
                <a:gd name="connsiteY746" fmla="*/ 2198372 h 2273274"/>
                <a:gd name="connsiteX747" fmla="*/ 613741 w 1212658"/>
                <a:gd name="connsiteY747" fmla="*/ 2199128 h 2273274"/>
                <a:gd name="connsiteX748" fmla="*/ 616222 w 1212658"/>
                <a:gd name="connsiteY748" fmla="*/ 2200429 h 2273274"/>
                <a:gd name="connsiteX749" fmla="*/ 616010 w 1212658"/>
                <a:gd name="connsiteY749" fmla="*/ 2197797 h 2273274"/>
                <a:gd name="connsiteX750" fmla="*/ 617008 w 1212658"/>
                <a:gd name="connsiteY750" fmla="*/ 2195982 h 2273274"/>
                <a:gd name="connsiteX751" fmla="*/ 618642 w 1212658"/>
                <a:gd name="connsiteY751" fmla="*/ 2194802 h 2273274"/>
                <a:gd name="connsiteX752" fmla="*/ 620366 w 1212658"/>
                <a:gd name="connsiteY752" fmla="*/ 2194076 h 2273274"/>
                <a:gd name="connsiteX753" fmla="*/ 621092 w 1212658"/>
                <a:gd name="connsiteY753" fmla="*/ 2192805 h 2273274"/>
                <a:gd name="connsiteX754" fmla="*/ 612440 w 1212658"/>
                <a:gd name="connsiteY754" fmla="*/ 2184305 h 2273274"/>
                <a:gd name="connsiteX755" fmla="*/ 610746 w 1212658"/>
                <a:gd name="connsiteY755" fmla="*/ 2183246 h 2273274"/>
                <a:gd name="connsiteX756" fmla="*/ 332131 w 1212658"/>
                <a:gd name="connsiteY756" fmla="*/ 2223117 h 2273274"/>
                <a:gd name="connsiteX757" fmla="*/ 335519 w 1212658"/>
                <a:gd name="connsiteY757" fmla="*/ 2217763 h 2273274"/>
                <a:gd name="connsiteX758" fmla="*/ 334127 w 1212658"/>
                <a:gd name="connsiteY758" fmla="*/ 2211985 h 2273274"/>
                <a:gd name="connsiteX759" fmla="*/ 334399 w 1212658"/>
                <a:gd name="connsiteY759" fmla="*/ 2211289 h 2273274"/>
                <a:gd name="connsiteX760" fmla="*/ 334884 w 1212658"/>
                <a:gd name="connsiteY760" fmla="*/ 2209444 h 2273274"/>
                <a:gd name="connsiteX761" fmla="*/ 333341 w 1212658"/>
                <a:gd name="connsiteY761" fmla="*/ 2208415 h 2273274"/>
                <a:gd name="connsiteX762" fmla="*/ 332766 w 1212658"/>
                <a:gd name="connsiteY762" fmla="*/ 2208173 h 2273274"/>
                <a:gd name="connsiteX763" fmla="*/ 333280 w 1212658"/>
                <a:gd name="connsiteY763" fmla="*/ 2207810 h 2273274"/>
                <a:gd name="connsiteX764" fmla="*/ 333704 w 1212658"/>
                <a:gd name="connsiteY764" fmla="*/ 2207326 h 2273274"/>
                <a:gd name="connsiteX765" fmla="*/ 334188 w 1212658"/>
                <a:gd name="connsiteY765" fmla="*/ 2206933 h 2273274"/>
                <a:gd name="connsiteX766" fmla="*/ 334884 w 1212658"/>
                <a:gd name="connsiteY766" fmla="*/ 2206782 h 2273274"/>
                <a:gd name="connsiteX767" fmla="*/ 334248 w 1212658"/>
                <a:gd name="connsiteY767" fmla="*/ 2204543 h 2273274"/>
                <a:gd name="connsiteX768" fmla="*/ 334188 w 1212658"/>
                <a:gd name="connsiteY768" fmla="*/ 2202486 h 2273274"/>
                <a:gd name="connsiteX769" fmla="*/ 334823 w 1212658"/>
                <a:gd name="connsiteY769" fmla="*/ 2201004 h 2273274"/>
                <a:gd name="connsiteX770" fmla="*/ 337546 w 1212658"/>
                <a:gd name="connsiteY770" fmla="*/ 2199824 h 2273274"/>
                <a:gd name="connsiteX771" fmla="*/ 338151 w 1212658"/>
                <a:gd name="connsiteY771" fmla="*/ 2198311 h 2273274"/>
                <a:gd name="connsiteX772" fmla="*/ 338574 w 1212658"/>
                <a:gd name="connsiteY772" fmla="*/ 2196436 h 2273274"/>
                <a:gd name="connsiteX773" fmla="*/ 339300 w 1212658"/>
                <a:gd name="connsiteY773" fmla="*/ 2194651 h 2273274"/>
                <a:gd name="connsiteX774" fmla="*/ 341508 w 1212658"/>
                <a:gd name="connsiteY774" fmla="*/ 2192382 h 2273274"/>
                <a:gd name="connsiteX775" fmla="*/ 343929 w 1212658"/>
                <a:gd name="connsiteY775" fmla="*/ 2190567 h 2273274"/>
                <a:gd name="connsiteX776" fmla="*/ 345835 w 1212658"/>
                <a:gd name="connsiteY776" fmla="*/ 2188117 h 2273274"/>
                <a:gd name="connsiteX777" fmla="*/ 346530 w 1212658"/>
                <a:gd name="connsiteY777" fmla="*/ 2183912 h 2273274"/>
                <a:gd name="connsiteX778" fmla="*/ 342930 w 1212658"/>
                <a:gd name="connsiteY778" fmla="*/ 2183216 h 2273274"/>
                <a:gd name="connsiteX779" fmla="*/ 339935 w 1212658"/>
                <a:gd name="connsiteY779" fmla="*/ 2185303 h 2273274"/>
                <a:gd name="connsiteX780" fmla="*/ 337394 w 1212658"/>
                <a:gd name="connsiteY780" fmla="*/ 2189054 h 2273274"/>
                <a:gd name="connsiteX781" fmla="*/ 335156 w 1212658"/>
                <a:gd name="connsiteY781" fmla="*/ 2193441 h 2273274"/>
                <a:gd name="connsiteX782" fmla="*/ 332312 w 1212658"/>
                <a:gd name="connsiteY782" fmla="*/ 2196194 h 2273274"/>
                <a:gd name="connsiteX783" fmla="*/ 312739 w 1212658"/>
                <a:gd name="connsiteY783" fmla="*/ 2199158 h 2273274"/>
                <a:gd name="connsiteX784" fmla="*/ 310864 w 1212658"/>
                <a:gd name="connsiteY784" fmla="*/ 2200036 h 2273274"/>
                <a:gd name="connsiteX785" fmla="*/ 307294 w 1212658"/>
                <a:gd name="connsiteY785" fmla="*/ 2202456 h 2273274"/>
                <a:gd name="connsiteX786" fmla="*/ 297220 w 1212658"/>
                <a:gd name="connsiteY786" fmla="*/ 2204241 h 2273274"/>
                <a:gd name="connsiteX787" fmla="*/ 295648 w 1212658"/>
                <a:gd name="connsiteY787" fmla="*/ 2203363 h 2273274"/>
                <a:gd name="connsiteX788" fmla="*/ 296162 w 1212658"/>
                <a:gd name="connsiteY788" fmla="*/ 2201215 h 2273274"/>
                <a:gd name="connsiteX789" fmla="*/ 298309 w 1212658"/>
                <a:gd name="connsiteY789" fmla="*/ 2196617 h 2273274"/>
                <a:gd name="connsiteX790" fmla="*/ 295375 w 1212658"/>
                <a:gd name="connsiteY790" fmla="*/ 2197222 h 2273274"/>
                <a:gd name="connsiteX791" fmla="*/ 293953 w 1212658"/>
                <a:gd name="connsiteY791" fmla="*/ 2201306 h 2273274"/>
                <a:gd name="connsiteX792" fmla="*/ 293167 w 1212658"/>
                <a:gd name="connsiteY792" fmla="*/ 2206540 h 2273274"/>
                <a:gd name="connsiteX793" fmla="*/ 292078 w 1212658"/>
                <a:gd name="connsiteY793" fmla="*/ 2210563 h 2273274"/>
                <a:gd name="connsiteX794" fmla="*/ 310713 w 1212658"/>
                <a:gd name="connsiteY794" fmla="*/ 2211955 h 2273274"/>
                <a:gd name="connsiteX795" fmla="*/ 310713 w 1212658"/>
                <a:gd name="connsiteY795" fmla="*/ 2213225 h 2273274"/>
                <a:gd name="connsiteX796" fmla="*/ 300730 w 1212658"/>
                <a:gd name="connsiteY796" fmla="*/ 2213225 h 2273274"/>
                <a:gd name="connsiteX797" fmla="*/ 298673 w 1212658"/>
                <a:gd name="connsiteY797" fmla="*/ 2213800 h 2273274"/>
                <a:gd name="connsiteX798" fmla="*/ 294891 w 1212658"/>
                <a:gd name="connsiteY798" fmla="*/ 2216311 h 2273274"/>
                <a:gd name="connsiteX799" fmla="*/ 292773 w 1212658"/>
                <a:gd name="connsiteY799" fmla="*/ 2217037 h 2273274"/>
                <a:gd name="connsiteX800" fmla="*/ 294044 w 1212658"/>
                <a:gd name="connsiteY800" fmla="*/ 2218822 h 2273274"/>
                <a:gd name="connsiteX801" fmla="*/ 296767 w 1212658"/>
                <a:gd name="connsiteY801" fmla="*/ 2220213 h 2273274"/>
                <a:gd name="connsiteX802" fmla="*/ 297977 w 1212658"/>
                <a:gd name="connsiteY802" fmla="*/ 2221423 h 2273274"/>
                <a:gd name="connsiteX803" fmla="*/ 298249 w 1212658"/>
                <a:gd name="connsiteY803" fmla="*/ 2223057 h 2273274"/>
                <a:gd name="connsiteX804" fmla="*/ 297946 w 1212658"/>
                <a:gd name="connsiteY804" fmla="*/ 2225084 h 2273274"/>
                <a:gd name="connsiteX805" fmla="*/ 297735 w 1212658"/>
                <a:gd name="connsiteY805" fmla="*/ 2227353 h 2273274"/>
                <a:gd name="connsiteX806" fmla="*/ 298340 w 1212658"/>
                <a:gd name="connsiteY806" fmla="*/ 2229652 h 2273274"/>
                <a:gd name="connsiteX807" fmla="*/ 297765 w 1212658"/>
                <a:gd name="connsiteY807" fmla="*/ 2231679 h 2273274"/>
                <a:gd name="connsiteX808" fmla="*/ 297553 w 1212658"/>
                <a:gd name="connsiteY808" fmla="*/ 2233887 h 2273274"/>
                <a:gd name="connsiteX809" fmla="*/ 297553 w 1212658"/>
                <a:gd name="connsiteY809" fmla="*/ 2238727 h 2273274"/>
                <a:gd name="connsiteX810" fmla="*/ 299247 w 1212658"/>
                <a:gd name="connsiteY810" fmla="*/ 2237910 h 2273274"/>
                <a:gd name="connsiteX811" fmla="*/ 303634 w 1212658"/>
                <a:gd name="connsiteY811" fmla="*/ 2236731 h 2273274"/>
                <a:gd name="connsiteX812" fmla="*/ 305267 w 1212658"/>
                <a:gd name="connsiteY812" fmla="*/ 2234401 h 2273274"/>
                <a:gd name="connsiteX813" fmla="*/ 308807 w 1212658"/>
                <a:gd name="connsiteY813" fmla="*/ 2231104 h 2273274"/>
                <a:gd name="connsiteX814" fmla="*/ 310017 w 1212658"/>
                <a:gd name="connsiteY814" fmla="*/ 2229622 h 2273274"/>
                <a:gd name="connsiteX815" fmla="*/ 309624 w 1212658"/>
                <a:gd name="connsiteY815" fmla="*/ 2232193 h 2273274"/>
                <a:gd name="connsiteX816" fmla="*/ 308716 w 1212658"/>
                <a:gd name="connsiteY816" fmla="*/ 2233705 h 2273274"/>
                <a:gd name="connsiteX817" fmla="*/ 308111 w 1212658"/>
                <a:gd name="connsiteY817" fmla="*/ 2235097 h 2273274"/>
                <a:gd name="connsiteX818" fmla="*/ 308534 w 1212658"/>
                <a:gd name="connsiteY818" fmla="*/ 2237336 h 2273274"/>
                <a:gd name="connsiteX819" fmla="*/ 309775 w 1212658"/>
                <a:gd name="connsiteY819" fmla="*/ 2236216 h 2273274"/>
                <a:gd name="connsiteX820" fmla="*/ 310531 w 1212658"/>
                <a:gd name="connsiteY820" fmla="*/ 2236761 h 2273274"/>
                <a:gd name="connsiteX821" fmla="*/ 310833 w 1212658"/>
                <a:gd name="connsiteY821" fmla="*/ 2238515 h 2273274"/>
                <a:gd name="connsiteX822" fmla="*/ 310652 w 1212658"/>
                <a:gd name="connsiteY822" fmla="*/ 2241087 h 2273274"/>
                <a:gd name="connsiteX823" fmla="*/ 311287 w 1212658"/>
                <a:gd name="connsiteY823" fmla="*/ 2241087 h 2273274"/>
                <a:gd name="connsiteX824" fmla="*/ 311166 w 1212658"/>
                <a:gd name="connsiteY824" fmla="*/ 2238969 h 2273274"/>
                <a:gd name="connsiteX825" fmla="*/ 311499 w 1212658"/>
                <a:gd name="connsiteY825" fmla="*/ 2238183 h 2273274"/>
                <a:gd name="connsiteX826" fmla="*/ 312044 w 1212658"/>
                <a:gd name="connsiteY826" fmla="*/ 2237910 h 2273274"/>
                <a:gd name="connsiteX827" fmla="*/ 315281 w 1212658"/>
                <a:gd name="connsiteY827" fmla="*/ 2234159 h 2273274"/>
                <a:gd name="connsiteX828" fmla="*/ 316158 w 1212658"/>
                <a:gd name="connsiteY828" fmla="*/ 2232253 h 2273274"/>
                <a:gd name="connsiteX829" fmla="*/ 317580 w 1212658"/>
                <a:gd name="connsiteY829" fmla="*/ 2235218 h 2273274"/>
                <a:gd name="connsiteX830" fmla="*/ 318880 w 1212658"/>
                <a:gd name="connsiteY830" fmla="*/ 2238697 h 2273274"/>
                <a:gd name="connsiteX831" fmla="*/ 320151 w 1212658"/>
                <a:gd name="connsiteY831" fmla="*/ 2237305 h 2273274"/>
                <a:gd name="connsiteX832" fmla="*/ 321210 w 1212658"/>
                <a:gd name="connsiteY832" fmla="*/ 2236973 h 2273274"/>
                <a:gd name="connsiteX833" fmla="*/ 323660 w 1212658"/>
                <a:gd name="connsiteY833" fmla="*/ 2237336 h 2273274"/>
                <a:gd name="connsiteX834" fmla="*/ 324205 w 1212658"/>
                <a:gd name="connsiteY834" fmla="*/ 2236670 h 2273274"/>
                <a:gd name="connsiteX835" fmla="*/ 325536 w 1212658"/>
                <a:gd name="connsiteY835" fmla="*/ 2233433 h 2273274"/>
                <a:gd name="connsiteX836" fmla="*/ 326504 w 1212658"/>
                <a:gd name="connsiteY836" fmla="*/ 2232314 h 2273274"/>
                <a:gd name="connsiteX837" fmla="*/ 325294 w 1212658"/>
                <a:gd name="connsiteY837" fmla="*/ 2231164 h 2273274"/>
                <a:gd name="connsiteX838" fmla="*/ 324689 w 1212658"/>
                <a:gd name="connsiteY838" fmla="*/ 2230862 h 2273274"/>
                <a:gd name="connsiteX839" fmla="*/ 323751 w 1212658"/>
                <a:gd name="connsiteY839" fmla="*/ 2230922 h 2273274"/>
                <a:gd name="connsiteX840" fmla="*/ 323751 w 1212658"/>
                <a:gd name="connsiteY840" fmla="*/ 2229652 h 2273274"/>
                <a:gd name="connsiteX841" fmla="*/ 332070 w 1212658"/>
                <a:gd name="connsiteY841" fmla="*/ 2223087 h 2273274"/>
                <a:gd name="connsiteX842" fmla="*/ 248183 w 1212658"/>
                <a:gd name="connsiteY842" fmla="*/ 2184607 h 2273274"/>
                <a:gd name="connsiteX843" fmla="*/ 247548 w 1212658"/>
                <a:gd name="connsiteY843" fmla="*/ 2185333 h 2273274"/>
                <a:gd name="connsiteX844" fmla="*/ 247941 w 1212658"/>
                <a:gd name="connsiteY844" fmla="*/ 2185485 h 2273274"/>
                <a:gd name="connsiteX845" fmla="*/ 248576 w 1212658"/>
                <a:gd name="connsiteY845" fmla="*/ 2185394 h 2273274"/>
                <a:gd name="connsiteX846" fmla="*/ 249847 w 1212658"/>
                <a:gd name="connsiteY846" fmla="*/ 2184970 h 2273274"/>
                <a:gd name="connsiteX847" fmla="*/ 250875 w 1212658"/>
                <a:gd name="connsiteY847" fmla="*/ 2184063 h 2273274"/>
                <a:gd name="connsiteX848" fmla="*/ 251117 w 1212658"/>
                <a:gd name="connsiteY848" fmla="*/ 2183095 h 2273274"/>
                <a:gd name="connsiteX849" fmla="*/ 249907 w 1212658"/>
                <a:gd name="connsiteY849" fmla="*/ 2183307 h 2273274"/>
                <a:gd name="connsiteX850" fmla="*/ 248153 w 1212658"/>
                <a:gd name="connsiteY850" fmla="*/ 2184577 h 2273274"/>
                <a:gd name="connsiteX851" fmla="*/ 245944 w 1212658"/>
                <a:gd name="connsiteY851" fmla="*/ 2186059 h 2273274"/>
                <a:gd name="connsiteX852" fmla="*/ 247790 w 1212658"/>
                <a:gd name="connsiteY852" fmla="*/ 2182127 h 2273274"/>
                <a:gd name="connsiteX853" fmla="*/ 247638 w 1212658"/>
                <a:gd name="connsiteY853" fmla="*/ 2180886 h 2273274"/>
                <a:gd name="connsiteX854" fmla="*/ 246216 w 1212658"/>
                <a:gd name="connsiteY854" fmla="*/ 2180342 h 2273274"/>
                <a:gd name="connsiteX855" fmla="*/ 242768 w 1212658"/>
                <a:gd name="connsiteY855" fmla="*/ 2180251 h 2273274"/>
                <a:gd name="connsiteX856" fmla="*/ 241074 w 1212658"/>
                <a:gd name="connsiteY856" fmla="*/ 2180856 h 2273274"/>
                <a:gd name="connsiteX857" fmla="*/ 239743 w 1212658"/>
                <a:gd name="connsiteY857" fmla="*/ 2180645 h 2273274"/>
                <a:gd name="connsiteX858" fmla="*/ 238170 w 1212658"/>
                <a:gd name="connsiteY858" fmla="*/ 2180645 h 2273274"/>
                <a:gd name="connsiteX859" fmla="*/ 237716 w 1212658"/>
                <a:gd name="connsiteY859" fmla="*/ 2181703 h 2273274"/>
                <a:gd name="connsiteX860" fmla="*/ 238684 w 1212658"/>
                <a:gd name="connsiteY860" fmla="*/ 2184577 h 2273274"/>
                <a:gd name="connsiteX861" fmla="*/ 239803 w 1212658"/>
                <a:gd name="connsiteY861" fmla="*/ 2184577 h 2273274"/>
                <a:gd name="connsiteX862" fmla="*/ 241195 w 1212658"/>
                <a:gd name="connsiteY862" fmla="*/ 2186332 h 2273274"/>
                <a:gd name="connsiteX863" fmla="*/ 242828 w 1212658"/>
                <a:gd name="connsiteY863" fmla="*/ 2186846 h 2273274"/>
                <a:gd name="connsiteX864" fmla="*/ 244704 w 1212658"/>
                <a:gd name="connsiteY864" fmla="*/ 2186846 h 2273274"/>
                <a:gd name="connsiteX865" fmla="*/ 245944 w 1212658"/>
                <a:gd name="connsiteY865" fmla="*/ 2186090 h 2273274"/>
                <a:gd name="connsiteX866" fmla="*/ 271960 w 1212658"/>
                <a:gd name="connsiteY866" fmla="*/ 2191323 h 2273274"/>
                <a:gd name="connsiteX867" fmla="*/ 276528 w 1212658"/>
                <a:gd name="connsiteY867" fmla="*/ 2190264 h 2273274"/>
                <a:gd name="connsiteX868" fmla="*/ 276982 w 1212658"/>
                <a:gd name="connsiteY868" fmla="*/ 2190053 h 2273274"/>
                <a:gd name="connsiteX869" fmla="*/ 278192 w 1212658"/>
                <a:gd name="connsiteY869" fmla="*/ 2188903 h 2273274"/>
                <a:gd name="connsiteX870" fmla="*/ 278586 w 1212658"/>
                <a:gd name="connsiteY870" fmla="*/ 2188389 h 2273274"/>
                <a:gd name="connsiteX871" fmla="*/ 279432 w 1212658"/>
                <a:gd name="connsiteY871" fmla="*/ 2187633 h 2273274"/>
                <a:gd name="connsiteX872" fmla="*/ 280219 w 1212658"/>
                <a:gd name="connsiteY872" fmla="*/ 2188086 h 2273274"/>
                <a:gd name="connsiteX873" fmla="*/ 280975 w 1212658"/>
                <a:gd name="connsiteY873" fmla="*/ 2188843 h 2273274"/>
                <a:gd name="connsiteX874" fmla="*/ 281732 w 1212658"/>
                <a:gd name="connsiteY874" fmla="*/ 2189024 h 2273274"/>
                <a:gd name="connsiteX875" fmla="*/ 283637 w 1212658"/>
                <a:gd name="connsiteY875" fmla="*/ 2188328 h 2273274"/>
                <a:gd name="connsiteX876" fmla="*/ 284182 w 1212658"/>
                <a:gd name="connsiteY876" fmla="*/ 2187391 h 2273274"/>
                <a:gd name="connsiteX877" fmla="*/ 284424 w 1212658"/>
                <a:gd name="connsiteY877" fmla="*/ 2185212 h 2273274"/>
                <a:gd name="connsiteX878" fmla="*/ 282579 w 1212658"/>
                <a:gd name="connsiteY878" fmla="*/ 2183186 h 2273274"/>
                <a:gd name="connsiteX879" fmla="*/ 275379 w 1212658"/>
                <a:gd name="connsiteY879" fmla="*/ 2180493 h 2273274"/>
                <a:gd name="connsiteX880" fmla="*/ 263520 w 1212658"/>
                <a:gd name="connsiteY880" fmla="*/ 2179707 h 2273274"/>
                <a:gd name="connsiteX881" fmla="*/ 260979 w 1212658"/>
                <a:gd name="connsiteY881" fmla="*/ 2180100 h 2273274"/>
                <a:gd name="connsiteX882" fmla="*/ 258680 w 1212658"/>
                <a:gd name="connsiteY882" fmla="*/ 2182339 h 2273274"/>
                <a:gd name="connsiteX883" fmla="*/ 257954 w 1212658"/>
                <a:gd name="connsiteY883" fmla="*/ 2185696 h 2273274"/>
                <a:gd name="connsiteX884" fmla="*/ 258287 w 1212658"/>
                <a:gd name="connsiteY884" fmla="*/ 2188328 h 2273274"/>
                <a:gd name="connsiteX885" fmla="*/ 259225 w 1212658"/>
                <a:gd name="connsiteY885" fmla="*/ 2188389 h 2273274"/>
                <a:gd name="connsiteX886" fmla="*/ 261251 w 1212658"/>
                <a:gd name="connsiteY886" fmla="*/ 2187965 h 2273274"/>
                <a:gd name="connsiteX887" fmla="*/ 264004 w 1212658"/>
                <a:gd name="connsiteY887" fmla="*/ 2189629 h 2273274"/>
                <a:gd name="connsiteX888" fmla="*/ 266666 w 1212658"/>
                <a:gd name="connsiteY888" fmla="*/ 2190234 h 2273274"/>
                <a:gd name="connsiteX889" fmla="*/ 268542 w 1212658"/>
                <a:gd name="connsiteY889" fmla="*/ 2186604 h 2273274"/>
                <a:gd name="connsiteX890" fmla="*/ 264398 w 1212658"/>
                <a:gd name="connsiteY890" fmla="*/ 2186604 h 2273274"/>
                <a:gd name="connsiteX891" fmla="*/ 266031 w 1212658"/>
                <a:gd name="connsiteY891" fmla="*/ 2186029 h 2273274"/>
                <a:gd name="connsiteX892" fmla="*/ 268451 w 1212658"/>
                <a:gd name="connsiteY892" fmla="*/ 2186120 h 2273274"/>
                <a:gd name="connsiteX893" fmla="*/ 270750 w 1212658"/>
                <a:gd name="connsiteY893" fmla="*/ 2187058 h 2273274"/>
                <a:gd name="connsiteX894" fmla="*/ 272021 w 1212658"/>
                <a:gd name="connsiteY894" fmla="*/ 2189024 h 2273274"/>
                <a:gd name="connsiteX895" fmla="*/ 270448 w 1212658"/>
                <a:gd name="connsiteY895" fmla="*/ 2191142 h 2273274"/>
                <a:gd name="connsiteX896" fmla="*/ 271930 w 1212658"/>
                <a:gd name="connsiteY896" fmla="*/ 2191384 h 2273274"/>
                <a:gd name="connsiteX897" fmla="*/ 290717 w 1212658"/>
                <a:gd name="connsiteY897" fmla="*/ 2172658 h 2273274"/>
                <a:gd name="connsiteX898" fmla="*/ 290354 w 1212658"/>
                <a:gd name="connsiteY898" fmla="*/ 2172295 h 2273274"/>
                <a:gd name="connsiteX899" fmla="*/ 287903 w 1212658"/>
                <a:gd name="connsiteY899" fmla="*/ 2172598 h 2273274"/>
                <a:gd name="connsiteX900" fmla="*/ 285543 w 1212658"/>
                <a:gd name="connsiteY900" fmla="*/ 2173626 h 2273274"/>
                <a:gd name="connsiteX901" fmla="*/ 283456 w 1212658"/>
                <a:gd name="connsiteY901" fmla="*/ 2175592 h 2273274"/>
                <a:gd name="connsiteX902" fmla="*/ 281792 w 1212658"/>
                <a:gd name="connsiteY902" fmla="*/ 2178648 h 2273274"/>
                <a:gd name="connsiteX903" fmla="*/ 285604 w 1212658"/>
                <a:gd name="connsiteY903" fmla="*/ 2180009 h 2273274"/>
                <a:gd name="connsiteX904" fmla="*/ 287540 w 1212658"/>
                <a:gd name="connsiteY904" fmla="*/ 2179858 h 2273274"/>
                <a:gd name="connsiteX905" fmla="*/ 289385 w 1212658"/>
                <a:gd name="connsiteY905" fmla="*/ 2178648 h 2273274"/>
                <a:gd name="connsiteX906" fmla="*/ 288568 w 1212658"/>
                <a:gd name="connsiteY906" fmla="*/ 2181431 h 2273274"/>
                <a:gd name="connsiteX907" fmla="*/ 288054 w 1212658"/>
                <a:gd name="connsiteY907" fmla="*/ 2182702 h 2273274"/>
                <a:gd name="connsiteX908" fmla="*/ 287328 w 1212658"/>
                <a:gd name="connsiteY908" fmla="*/ 2183881 h 2273274"/>
                <a:gd name="connsiteX909" fmla="*/ 290081 w 1212658"/>
                <a:gd name="connsiteY909" fmla="*/ 2183881 h 2273274"/>
                <a:gd name="connsiteX910" fmla="*/ 293167 w 1212658"/>
                <a:gd name="connsiteY910" fmla="*/ 2182732 h 2273274"/>
                <a:gd name="connsiteX911" fmla="*/ 296101 w 1212658"/>
                <a:gd name="connsiteY911" fmla="*/ 2180886 h 2273274"/>
                <a:gd name="connsiteX912" fmla="*/ 298400 w 1212658"/>
                <a:gd name="connsiteY912" fmla="*/ 2178648 h 2273274"/>
                <a:gd name="connsiteX913" fmla="*/ 297553 w 1212658"/>
                <a:gd name="connsiteY913" fmla="*/ 2176682 h 2273274"/>
                <a:gd name="connsiteX914" fmla="*/ 296404 w 1212658"/>
                <a:gd name="connsiteY914" fmla="*/ 2176197 h 2273274"/>
                <a:gd name="connsiteX915" fmla="*/ 295012 w 1212658"/>
                <a:gd name="connsiteY915" fmla="*/ 2176379 h 2273274"/>
                <a:gd name="connsiteX916" fmla="*/ 293530 w 1212658"/>
                <a:gd name="connsiteY916" fmla="*/ 2176258 h 2273274"/>
                <a:gd name="connsiteX917" fmla="*/ 290777 w 1212658"/>
                <a:gd name="connsiteY917" fmla="*/ 2174866 h 2273274"/>
                <a:gd name="connsiteX918" fmla="*/ 290686 w 1212658"/>
                <a:gd name="connsiteY918" fmla="*/ 2174382 h 2273274"/>
                <a:gd name="connsiteX919" fmla="*/ 290777 w 1212658"/>
                <a:gd name="connsiteY919" fmla="*/ 2173505 h 2273274"/>
                <a:gd name="connsiteX920" fmla="*/ 290777 w 1212658"/>
                <a:gd name="connsiteY920" fmla="*/ 2172658 h 2273274"/>
                <a:gd name="connsiteX921" fmla="*/ 266122 w 1212658"/>
                <a:gd name="connsiteY921" fmla="*/ 2172900 h 2273274"/>
                <a:gd name="connsiteX922" fmla="*/ 267423 w 1212658"/>
                <a:gd name="connsiteY922" fmla="*/ 2174352 h 2273274"/>
                <a:gd name="connsiteX923" fmla="*/ 269541 w 1212658"/>
                <a:gd name="connsiteY923" fmla="*/ 2174806 h 2273274"/>
                <a:gd name="connsiteX924" fmla="*/ 270660 w 1212658"/>
                <a:gd name="connsiteY924" fmla="*/ 2174534 h 2273274"/>
                <a:gd name="connsiteX925" fmla="*/ 279432 w 1212658"/>
                <a:gd name="connsiteY925" fmla="*/ 2171781 h 2273274"/>
                <a:gd name="connsiteX926" fmla="*/ 280461 w 1212658"/>
                <a:gd name="connsiteY926" fmla="*/ 2169996 h 2273274"/>
                <a:gd name="connsiteX927" fmla="*/ 278979 w 1212658"/>
                <a:gd name="connsiteY927" fmla="*/ 2168604 h 2273274"/>
                <a:gd name="connsiteX928" fmla="*/ 276044 w 1212658"/>
                <a:gd name="connsiteY928" fmla="*/ 2168756 h 2273274"/>
                <a:gd name="connsiteX929" fmla="*/ 266848 w 1212658"/>
                <a:gd name="connsiteY929" fmla="*/ 2171085 h 2273274"/>
                <a:gd name="connsiteX930" fmla="*/ 266122 w 1212658"/>
                <a:gd name="connsiteY930" fmla="*/ 2171720 h 2273274"/>
                <a:gd name="connsiteX931" fmla="*/ 266122 w 1212658"/>
                <a:gd name="connsiteY931" fmla="*/ 2172930 h 2273274"/>
                <a:gd name="connsiteX932" fmla="*/ 265093 w 1212658"/>
                <a:gd name="connsiteY932" fmla="*/ 2167546 h 2273274"/>
                <a:gd name="connsiteX933" fmla="*/ 264216 w 1212658"/>
                <a:gd name="connsiteY933" fmla="*/ 2167788 h 2273274"/>
                <a:gd name="connsiteX934" fmla="*/ 262613 w 1212658"/>
                <a:gd name="connsiteY934" fmla="*/ 2169179 h 2273274"/>
                <a:gd name="connsiteX935" fmla="*/ 260798 w 1212658"/>
                <a:gd name="connsiteY935" fmla="*/ 2172446 h 2273274"/>
                <a:gd name="connsiteX936" fmla="*/ 261645 w 1212658"/>
                <a:gd name="connsiteY936" fmla="*/ 2172658 h 2273274"/>
                <a:gd name="connsiteX937" fmla="*/ 271204 w 1212658"/>
                <a:gd name="connsiteY937" fmla="*/ 2168423 h 2273274"/>
                <a:gd name="connsiteX938" fmla="*/ 271083 w 1212658"/>
                <a:gd name="connsiteY938" fmla="*/ 2167122 h 2273274"/>
                <a:gd name="connsiteX939" fmla="*/ 265093 w 1212658"/>
                <a:gd name="connsiteY939" fmla="*/ 2167515 h 2273274"/>
                <a:gd name="connsiteX940" fmla="*/ 183747 w 1212658"/>
                <a:gd name="connsiteY940" fmla="*/ 2172658 h 2273274"/>
                <a:gd name="connsiteX941" fmla="*/ 184474 w 1212658"/>
                <a:gd name="connsiteY941" fmla="*/ 2172537 h 2273274"/>
                <a:gd name="connsiteX942" fmla="*/ 185169 w 1212658"/>
                <a:gd name="connsiteY942" fmla="*/ 2172961 h 2273274"/>
                <a:gd name="connsiteX943" fmla="*/ 185411 w 1212658"/>
                <a:gd name="connsiteY943" fmla="*/ 2172961 h 2273274"/>
                <a:gd name="connsiteX944" fmla="*/ 185593 w 1212658"/>
                <a:gd name="connsiteY944" fmla="*/ 2171751 h 2273274"/>
                <a:gd name="connsiteX945" fmla="*/ 185109 w 1212658"/>
                <a:gd name="connsiteY945" fmla="*/ 2169451 h 2273274"/>
                <a:gd name="connsiteX946" fmla="*/ 183687 w 1212658"/>
                <a:gd name="connsiteY946" fmla="*/ 2167031 h 2273274"/>
                <a:gd name="connsiteX947" fmla="*/ 181841 w 1212658"/>
                <a:gd name="connsiteY947" fmla="*/ 2165519 h 2273274"/>
                <a:gd name="connsiteX948" fmla="*/ 180632 w 1212658"/>
                <a:gd name="connsiteY948" fmla="*/ 2165882 h 2273274"/>
                <a:gd name="connsiteX949" fmla="*/ 180147 w 1212658"/>
                <a:gd name="connsiteY949" fmla="*/ 2166971 h 2273274"/>
                <a:gd name="connsiteX950" fmla="*/ 179452 w 1212658"/>
                <a:gd name="connsiteY950" fmla="*/ 2168120 h 2273274"/>
                <a:gd name="connsiteX951" fmla="*/ 179270 w 1212658"/>
                <a:gd name="connsiteY951" fmla="*/ 2169451 h 2273274"/>
                <a:gd name="connsiteX952" fmla="*/ 180208 w 1212658"/>
                <a:gd name="connsiteY952" fmla="*/ 2170631 h 2273274"/>
                <a:gd name="connsiteX953" fmla="*/ 182205 w 1212658"/>
                <a:gd name="connsiteY953" fmla="*/ 2170177 h 2273274"/>
                <a:gd name="connsiteX954" fmla="*/ 182961 w 1212658"/>
                <a:gd name="connsiteY954" fmla="*/ 2170480 h 2273274"/>
                <a:gd name="connsiteX955" fmla="*/ 183263 w 1212658"/>
                <a:gd name="connsiteY955" fmla="*/ 2170903 h 2273274"/>
                <a:gd name="connsiteX956" fmla="*/ 183203 w 1212658"/>
                <a:gd name="connsiteY956" fmla="*/ 2172204 h 2273274"/>
                <a:gd name="connsiteX957" fmla="*/ 183687 w 1212658"/>
                <a:gd name="connsiteY957" fmla="*/ 2172749 h 2273274"/>
                <a:gd name="connsiteX958" fmla="*/ 713420 w 1212658"/>
                <a:gd name="connsiteY958" fmla="*/ 2155173 h 2273274"/>
                <a:gd name="connsiteX959" fmla="*/ 712542 w 1212658"/>
                <a:gd name="connsiteY959" fmla="*/ 2155294 h 2273274"/>
                <a:gd name="connsiteX960" fmla="*/ 711695 w 1212658"/>
                <a:gd name="connsiteY960" fmla="*/ 2156201 h 2273274"/>
                <a:gd name="connsiteX961" fmla="*/ 711211 w 1212658"/>
                <a:gd name="connsiteY961" fmla="*/ 2157411 h 2273274"/>
                <a:gd name="connsiteX962" fmla="*/ 711272 w 1212658"/>
                <a:gd name="connsiteY962" fmla="*/ 2158773 h 2273274"/>
                <a:gd name="connsiteX963" fmla="*/ 710667 w 1212658"/>
                <a:gd name="connsiteY963" fmla="*/ 2159832 h 2273274"/>
                <a:gd name="connsiteX964" fmla="*/ 709275 w 1212658"/>
                <a:gd name="connsiteY964" fmla="*/ 2160769 h 2273274"/>
                <a:gd name="connsiteX965" fmla="*/ 704495 w 1212658"/>
                <a:gd name="connsiteY965" fmla="*/ 2161798 h 2273274"/>
                <a:gd name="connsiteX966" fmla="*/ 703860 w 1212658"/>
                <a:gd name="connsiteY966" fmla="*/ 2163250 h 2273274"/>
                <a:gd name="connsiteX967" fmla="*/ 705766 w 1212658"/>
                <a:gd name="connsiteY967" fmla="*/ 2166668 h 2273274"/>
                <a:gd name="connsiteX968" fmla="*/ 707007 w 1212658"/>
                <a:gd name="connsiteY968" fmla="*/ 2167999 h 2273274"/>
                <a:gd name="connsiteX969" fmla="*/ 708035 w 1212658"/>
                <a:gd name="connsiteY969" fmla="*/ 2167939 h 2273274"/>
                <a:gd name="connsiteX970" fmla="*/ 709094 w 1212658"/>
                <a:gd name="connsiteY970" fmla="*/ 2164369 h 2273274"/>
                <a:gd name="connsiteX971" fmla="*/ 710515 w 1212658"/>
                <a:gd name="connsiteY971" fmla="*/ 2162887 h 2273274"/>
                <a:gd name="connsiteX972" fmla="*/ 716899 w 1212658"/>
                <a:gd name="connsiteY972" fmla="*/ 2161102 h 2273274"/>
                <a:gd name="connsiteX973" fmla="*/ 718230 w 1212658"/>
                <a:gd name="connsiteY973" fmla="*/ 2159862 h 2273274"/>
                <a:gd name="connsiteX974" fmla="*/ 718502 w 1212658"/>
                <a:gd name="connsiteY974" fmla="*/ 2158863 h 2273274"/>
                <a:gd name="connsiteX975" fmla="*/ 717655 w 1212658"/>
                <a:gd name="connsiteY975" fmla="*/ 2157926 h 2273274"/>
                <a:gd name="connsiteX976" fmla="*/ 713420 w 1212658"/>
                <a:gd name="connsiteY976" fmla="*/ 2155173 h 2273274"/>
                <a:gd name="connsiteX977" fmla="*/ 233087 w 1212658"/>
                <a:gd name="connsiteY977" fmla="*/ 2162100 h 2273274"/>
                <a:gd name="connsiteX978" fmla="*/ 231060 w 1212658"/>
                <a:gd name="connsiteY978" fmla="*/ 2162917 h 2273274"/>
                <a:gd name="connsiteX979" fmla="*/ 229397 w 1212658"/>
                <a:gd name="connsiteY979" fmla="*/ 2164460 h 2273274"/>
                <a:gd name="connsiteX980" fmla="*/ 228701 w 1212658"/>
                <a:gd name="connsiteY980" fmla="*/ 2166608 h 2273274"/>
                <a:gd name="connsiteX981" fmla="*/ 229578 w 1212658"/>
                <a:gd name="connsiteY981" fmla="*/ 2168756 h 2273274"/>
                <a:gd name="connsiteX982" fmla="*/ 231635 w 1212658"/>
                <a:gd name="connsiteY982" fmla="*/ 2170571 h 2273274"/>
                <a:gd name="connsiteX983" fmla="*/ 233935 w 1212658"/>
                <a:gd name="connsiteY983" fmla="*/ 2171811 h 2273274"/>
                <a:gd name="connsiteX984" fmla="*/ 237050 w 1212658"/>
                <a:gd name="connsiteY984" fmla="*/ 2172507 h 2273274"/>
                <a:gd name="connsiteX985" fmla="*/ 238140 w 1212658"/>
                <a:gd name="connsiteY985" fmla="*/ 2173082 h 2273274"/>
                <a:gd name="connsiteX986" fmla="*/ 240378 w 1212658"/>
                <a:gd name="connsiteY986" fmla="*/ 2174866 h 2273274"/>
                <a:gd name="connsiteX987" fmla="*/ 240378 w 1212658"/>
                <a:gd name="connsiteY987" fmla="*/ 2175290 h 2273274"/>
                <a:gd name="connsiteX988" fmla="*/ 240287 w 1212658"/>
                <a:gd name="connsiteY988" fmla="*/ 2177075 h 2273274"/>
                <a:gd name="connsiteX989" fmla="*/ 240378 w 1212658"/>
                <a:gd name="connsiteY989" fmla="*/ 2177529 h 2273274"/>
                <a:gd name="connsiteX990" fmla="*/ 241013 w 1212658"/>
                <a:gd name="connsiteY990" fmla="*/ 2177589 h 2273274"/>
                <a:gd name="connsiteX991" fmla="*/ 241618 w 1212658"/>
                <a:gd name="connsiteY991" fmla="*/ 2177075 h 2273274"/>
                <a:gd name="connsiteX992" fmla="*/ 242102 w 1212658"/>
                <a:gd name="connsiteY992" fmla="*/ 2176470 h 2273274"/>
                <a:gd name="connsiteX993" fmla="*/ 242405 w 1212658"/>
                <a:gd name="connsiteY993" fmla="*/ 2176228 h 2273274"/>
                <a:gd name="connsiteX994" fmla="*/ 244371 w 1212658"/>
                <a:gd name="connsiteY994" fmla="*/ 2177045 h 2273274"/>
                <a:gd name="connsiteX995" fmla="*/ 246338 w 1212658"/>
                <a:gd name="connsiteY995" fmla="*/ 2177438 h 2273274"/>
                <a:gd name="connsiteX996" fmla="*/ 248243 w 1212658"/>
                <a:gd name="connsiteY996" fmla="*/ 2177226 h 2273274"/>
                <a:gd name="connsiteX997" fmla="*/ 250058 w 1212658"/>
                <a:gd name="connsiteY997" fmla="*/ 2176228 h 2273274"/>
                <a:gd name="connsiteX998" fmla="*/ 250058 w 1212658"/>
                <a:gd name="connsiteY998" fmla="*/ 2174836 h 2273274"/>
                <a:gd name="connsiteX999" fmla="*/ 249091 w 1212658"/>
                <a:gd name="connsiteY999" fmla="*/ 2174836 h 2273274"/>
                <a:gd name="connsiteX1000" fmla="*/ 248243 w 1212658"/>
                <a:gd name="connsiteY1000" fmla="*/ 2174594 h 2273274"/>
                <a:gd name="connsiteX1001" fmla="*/ 246640 w 1212658"/>
                <a:gd name="connsiteY1001" fmla="*/ 2173656 h 2273274"/>
                <a:gd name="connsiteX1002" fmla="*/ 247638 w 1212658"/>
                <a:gd name="connsiteY1002" fmla="*/ 2173656 h 2273274"/>
                <a:gd name="connsiteX1003" fmla="*/ 250089 w 1212658"/>
                <a:gd name="connsiteY1003" fmla="*/ 2172265 h 2273274"/>
                <a:gd name="connsiteX1004" fmla="*/ 249181 w 1212658"/>
                <a:gd name="connsiteY1004" fmla="*/ 2170238 h 2273274"/>
                <a:gd name="connsiteX1005" fmla="*/ 247790 w 1212658"/>
                <a:gd name="connsiteY1005" fmla="*/ 2169572 h 2273274"/>
                <a:gd name="connsiteX1006" fmla="*/ 244523 w 1212658"/>
                <a:gd name="connsiteY1006" fmla="*/ 2169814 h 2273274"/>
                <a:gd name="connsiteX1007" fmla="*/ 245339 w 1212658"/>
                <a:gd name="connsiteY1007" fmla="*/ 2168423 h 2273274"/>
                <a:gd name="connsiteX1008" fmla="*/ 243948 w 1212658"/>
                <a:gd name="connsiteY1008" fmla="*/ 2167092 h 2273274"/>
                <a:gd name="connsiteX1009" fmla="*/ 241074 w 1212658"/>
                <a:gd name="connsiteY1009" fmla="*/ 2165640 h 2273274"/>
                <a:gd name="connsiteX1010" fmla="*/ 239712 w 1212658"/>
                <a:gd name="connsiteY1010" fmla="*/ 2164611 h 2273274"/>
                <a:gd name="connsiteX1011" fmla="*/ 240983 w 1212658"/>
                <a:gd name="connsiteY1011" fmla="*/ 2163522 h 2273274"/>
                <a:gd name="connsiteX1012" fmla="*/ 242405 w 1212658"/>
                <a:gd name="connsiteY1012" fmla="*/ 2163643 h 2273274"/>
                <a:gd name="connsiteX1013" fmla="*/ 245369 w 1212658"/>
                <a:gd name="connsiteY1013" fmla="*/ 2164611 h 2273274"/>
                <a:gd name="connsiteX1014" fmla="*/ 245369 w 1212658"/>
                <a:gd name="connsiteY1014" fmla="*/ 2163462 h 2273274"/>
                <a:gd name="connsiteX1015" fmla="*/ 243524 w 1212658"/>
                <a:gd name="connsiteY1015" fmla="*/ 2159499 h 2273274"/>
                <a:gd name="connsiteX1016" fmla="*/ 242617 w 1212658"/>
                <a:gd name="connsiteY1016" fmla="*/ 2159378 h 2273274"/>
                <a:gd name="connsiteX1017" fmla="*/ 241588 w 1212658"/>
                <a:gd name="connsiteY1017" fmla="*/ 2158924 h 2273274"/>
                <a:gd name="connsiteX1018" fmla="*/ 240771 w 1212658"/>
                <a:gd name="connsiteY1018" fmla="*/ 2157956 h 2273274"/>
                <a:gd name="connsiteX1019" fmla="*/ 240439 w 1212658"/>
                <a:gd name="connsiteY1019" fmla="*/ 2156322 h 2273274"/>
                <a:gd name="connsiteX1020" fmla="*/ 239531 w 1212658"/>
                <a:gd name="connsiteY1020" fmla="*/ 2154658 h 2273274"/>
                <a:gd name="connsiteX1021" fmla="*/ 235114 w 1212658"/>
                <a:gd name="connsiteY1021" fmla="*/ 2151906 h 2273274"/>
                <a:gd name="connsiteX1022" fmla="*/ 233511 w 1212658"/>
                <a:gd name="connsiteY1022" fmla="*/ 2150544 h 2273274"/>
                <a:gd name="connsiteX1023" fmla="*/ 232059 w 1212658"/>
                <a:gd name="connsiteY1023" fmla="*/ 2150393 h 2273274"/>
                <a:gd name="connsiteX1024" fmla="*/ 231091 w 1212658"/>
                <a:gd name="connsiteY1024" fmla="*/ 2151391 h 2273274"/>
                <a:gd name="connsiteX1025" fmla="*/ 230456 w 1212658"/>
                <a:gd name="connsiteY1025" fmla="*/ 2153267 h 2273274"/>
                <a:gd name="connsiteX1026" fmla="*/ 230093 w 1212658"/>
                <a:gd name="connsiteY1026" fmla="*/ 2155687 h 2273274"/>
                <a:gd name="connsiteX1027" fmla="*/ 234902 w 1212658"/>
                <a:gd name="connsiteY1027" fmla="*/ 2160800 h 2273274"/>
                <a:gd name="connsiteX1028" fmla="*/ 234902 w 1212658"/>
                <a:gd name="connsiteY1028" fmla="*/ 2162070 h 2273274"/>
                <a:gd name="connsiteX1029" fmla="*/ 233178 w 1212658"/>
                <a:gd name="connsiteY1029" fmla="*/ 2162070 h 2273274"/>
                <a:gd name="connsiteX1030" fmla="*/ 221652 w 1212658"/>
                <a:gd name="connsiteY1030" fmla="*/ 2150635 h 2273274"/>
                <a:gd name="connsiteX1031" fmla="*/ 222741 w 1212658"/>
                <a:gd name="connsiteY1031" fmla="*/ 2148608 h 2273274"/>
                <a:gd name="connsiteX1032" fmla="*/ 225252 w 1212658"/>
                <a:gd name="connsiteY1032" fmla="*/ 2144857 h 2273274"/>
                <a:gd name="connsiteX1033" fmla="*/ 226220 w 1212658"/>
                <a:gd name="connsiteY1033" fmla="*/ 2142921 h 2273274"/>
                <a:gd name="connsiteX1034" fmla="*/ 226583 w 1212658"/>
                <a:gd name="connsiteY1034" fmla="*/ 2140319 h 2273274"/>
                <a:gd name="connsiteX1035" fmla="*/ 224345 w 1212658"/>
                <a:gd name="connsiteY1035" fmla="*/ 2140198 h 2273274"/>
                <a:gd name="connsiteX1036" fmla="*/ 221561 w 1212658"/>
                <a:gd name="connsiteY1036" fmla="*/ 2143556 h 2273274"/>
                <a:gd name="connsiteX1037" fmla="*/ 219202 w 1212658"/>
                <a:gd name="connsiteY1037" fmla="*/ 2148154 h 2273274"/>
                <a:gd name="connsiteX1038" fmla="*/ 218294 w 1212658"/>
                <a:gd name="connsiteY1038" fmla="*/ 2151754 h 2273274"/>
                <a:gd name="connsiteX1039" fmla="*/ 218930 w 1212658"/>
                <a:gd name="connsiteY1039" fmla="*/ 2153569 h 2273274"/>
                <a:gd name="connsiteX1040" fmla="*/ 220200 w 1212658"/>
                <a:gd name="connsiteY1040" fmla="*/ 2152753 h 2273274"/>
                <a:gd name="connsiteX1041" fmla="*/ 221652 w 1212658"/>
                <a:gd name="connsiteY1041" fmla="*/ 2150665 h 2273274"/>
                <a:gd name="connsiteX1042" fmla="*/ 181811 w 1212658"/>
                <a:gd name="connsiteY1042" fmla="*/ 2148608 h 2273274"/>
                <a:gd name="connsiteX1043" fmla="*/ 182386 w 1212658"/>
                <a:gd name="connsiteY1043" fmla="*/ 2148517 h 2273274"/>
                <a:gd name="connsiteX1044" fmla="*/ 180662 w 1212658"/>
                <a:gd name="connsiteY1044" fmla="*/ 2143344 h 2273274"/>
                <a:gd name="connsiteX1045" fmla="*/ 180389 w 1212658"/>
                <a:gd name="connsiteY1045" fmla="*/ 2141590 h 2273274"/>
                <a:gd name="connsiteX1046" fmla="*/ 177727 w 1212658"/>
                <a:gd name="connsiteY1046" fmla="*/ 2137203 h 2273274"/>
                <a:gd name="connsiteX1047" fmla="*/ 174884 w 1212658"/>
                <a:gd name="connsiteY1047" fmla="*/ 2133906 h 2273274"/>
                <a:gd name="connsiteX1048" fmla="*/ 172766 w 1212658"/>
                <a:gd name="connsiteY1048" fmla="*/ 2133906 h 2273274"/>
                <a:gd name="connsiteX1049" fmla="*/ 173704 w 1212658"/>
                <a:gd name="connsiteY1049" fmla="*/ 2137294 h 2273274"/>
                <a:gd name="connsiteX1050" fmla="*/ 175186 w 1212658"/>
                <a:gd name="connsiteY1050" fmla="*/ 2139291 h 2273274"/>
                <a:gd name="connsiteX1051" fmla="*/ 175942 w 1212658"/>
                <a:gd name="connsiteY1051" fmla="*/ 2141469 h 2273274"/>
                <a:gd name="connsiteX1052" fmla="*/ 174914 w 1212658"/>
                <a:gd name="connsiteY1052" fmla="*/ 2145462 h 2273274"/>
                <a:gd name="connsiteX1053" fmla="*/ 176487 w 1212658"/>
                <a:gd name="connsiteY1053" fmla="*/ 2147035 h 2273274"/>
                <a:gd name="connsiteX1054" fmla="*/ 179906 w 1212658"/>
                <a:gd name="connsiteY1054" fmla="*/ 2147489 h 2273274"/>
                <a:gd name="connsiteX1055" fmla="*/ 181811 w 1212658"/>
                <a:gd name="connsiteY1055" fmla="*/ 2148638 h 2273274"/>
                <a:gd name="connsiteX1056" fmla="*/ 196181 w 1212658"/>
                <a:gd name="connsiteY1056" fmla="*/ 2137778 h 2273274"/>
                <a:gd name="connsiteX1057" fmla="*/ 191068 w 1212658"/>
                <a:gd name="connsiteY1057" fmla="*/ 2137113 h 2273274"/>
                <a:gd name="connsiteX1058" fmla="*/ 189374 w 1212658"/>
                <a:gd name="connsiteY1058" fmla="*/ 2133906 h 2273274"/>
                <a:gd name="connsiteX1059" fmla="*/ 185169 w 1212658"/>
                <a:gd name="connsiteY1059" fmla="*/ 2133543 h 2273274"/>
                <a:gd name="connsiteX1060" fmla="*/ 183294 w 1212658"/>
                <a:gd name="connsiteY1060" fmla="*/ 2134390 h 2273274"/>
                <a:gd name="connsiteX1061" fmla="*/ 182507 w 1212658"/>
                <a:gd name="connsiteY1061" fmla="*/ 2137052 h 2273274"/>
                <a:gd name="connsiteX1062" fmla="*/ 182779 w 1212658"/>
                <a:gd name="connsiteY1062" fmla="*/ 2140410 h 2273274"/>
                <a:gd name="connsiteX1063" fmla="*/ 183536 w 1212658"/>
                <a:gd name="connsiteY1063" fmla="*/ 2141529 h 2273274"/>
                <a:gd name="connsiteX1064" fmla="*/ 184625 w 1212658"/>
                <a:gd name="connsiteY1064" fmla="*/ 2140894 h 2273274"/>
                <a:gd name="connsiteX1065" fmla="*/ 185956 w 1212658"/>
                <a:gd name="connsiteY1065" fmla="*/ 2138958 h 2273274"/>
                <a:gd name="connsiteX1066" fmla="*/ 187075 w 1212658"/>
                <a:gd name="connsiteY1066" fmla="*/ 2143617 h 2273274"/>
                <a:gd name="connsiteX1067" fmla="*/ 189193 w 1212658"/>
                <a:gd name="connsiteY1067" fmla="*/ 2147065 h 2273274"/>
                <a:gd name="connsiteX1068" fmla="*/ 191734 w 1212658"/>
                <a:gd name="connsiteY1068" fmla="*/ 2149364 h 2273274"/>
                <a:gd name="connsiteX1069" fmla="*/ 194245 w 1212658"/>
                <a:gd name="connsiteY1069" fmla="*/ 2150605 h 2273274"/>
                <a:gd name="connsiteX1070" fmla="*/ 193035 w 1212658"/>
                <a:gd name="connsiteY1070" fmla="*/ 2148729 h 2273274"/>
                <a:gd name="connsiteX1071" fmla="*/ 193337 w 1212658"/>
                <a:gd name="connsiteY1071" fmla="*/ 2147247 h 2273274"/>
                <a:gd name="connsiteX1072" fmla="*/ 194638 w 1212658"/>
                <a:gd name="connsiteY1072" fmla="*/ 2146430 h 2273274"/>
                <a:gd name="connsiteX1073" fmla="*/ 196302 w 1212658"/>
                <a:gd name="connsiteY1073" fmla="*/ 2146642 h 2273274"/>
                <a:gd name="connsiteX1074" fmla="*/ 195727 w 1212658"/>
                <a:gd name="connsiteY1074" fmla="*/ 2145462 h 2273274"/>
                <a:gd name="connsiteX1075" fmla="*/ 195606 w 1212658"/>
                <a:gd name="connsiteY1075" fmla="*/ 2143919 h 2273274"/>
                <a:gd name="connsiteX1076" fmla="*/ 195818 w 1212658"/>
                <a:gd name="connsiteY1076" fmla="*/ 2142165 h 2273274"/>
                <a:gd name="connsiteX1077" fmla="*/ 196302 w 1212658"/>
                <a:gd name="connsiteY1077" fmla="*/ 2140350 h 2273274"/>
                <a:gd name="connsiteX1078" fmla="*/ 197058 w 1212658"/>
                <a:gd name="connsiteY1078" fmla="*/ 2140743 h 2273274"/>
                <a:gd name="connsiteX1079" fmla="*/ 197481 w 1212658"/>
                <a:gd name="connsiteY1079" fmla="*/ 2140682 h 2273274"/>
                <a:gd name="connsiteX1080" fmla="*/ 197784 w 1212658"/>
                <a:gd name="connsiteY1080" fmla="*/ 2140471 h 2273274"/>
                <a:gd name="connsiteX1081" fmla="*/ 198238 w 1212658"/>
                <a:gd name="connsiteY1081" fmla="*/ 2140350 h 2273274"/>
                <a:gd name="connsiteX1082" fmla="*/ 196181 w 1212658"/>
                <a:gd name="connsiteY1082" fmla="*/ 2137808 h 2273274"/>
                <a:gd name="connsiteX1083" fmla="*/ 174309 w 1212658"/>
                <a:gd name="connsiteY1083" fmla="*/ 2128098 h 2273274"/>
                <a:gd name="connsiteX1084" fmla="*/ 176305 w 1212658"/>
                <a:gd name="connsiteY1084" fmla="*/ 2128672 h 2273274"/>
                <a:gd name="connsiteX1085" fmla="*/ 176850 w 1212658"/>
                <a:gd name="connsiteY1085" fmla="*/ 2129822 h 2273274"/>
                <a:gd name="connsiteX1086" fmla="*/ 177213 w 1212658"/>
                <a:gd name="connsiteY1086" fmla="*/ 2131486 h 2273274"/>
                <a:gd name="connsiteX1087" fmla="*/ 178000 w 1212658"/>
                <a:gd name="connsiteY1087" fmla="*/ 2132696 h 2273274"/>
                <a:gd name="connsiteX1088" fmla="*/ 179784 w 1212658"/>
                <a:gd name="connsiteY1088" fmla="*/ 2132514 h 2273274"/>
                <a:gd name="connsiteX1089" fmla="*/ 179784 w 1212658"/>
                <a:gd name="connsiteY1089" fmla="*/ 2131214 h 2273274"/>
                <a:gd name="connsiteX1090" fmla="*/ 178060 w 1212658"/>
                <a:gd name="connsiteY1090" fmla="*/ 2130941 h 2273274"/>
                <a:gd name="connsiteX1091" fmla="*/ 177757 w 1212658"/>
                <a:gd name="connsiteY1091" fmla="*/ 2128975 h 2273274"/>
                <a:gd name="connsiteX1092" fmla="*/ 178272 w 1212658"/>
                <a:gd name="connsiteY1092" fmla="*/ 2126192 h 2273274"/>
                <a:gd name="connsiteX1093" fmla="*/ 179058 w 1212658"/>
                <a:gd name="connsiteY1093" fmla="*/ 2123500 h 2273274"/>
                <a:gd name="connsiteX1094" fmla="*/ 178060 w 1212658"/>
                <a:gd name="connsiteY1094" fmla="*/ 2122531 h 2273274"/>
                <a:gd name="connsiteX1095" fmla="*/ 177455 w 1212658"/>
                <a:gd name="connsiteY1095" fmla="*/ 2121321 h 2273274"/>
                <a:gd name="connsiteX1096" fmla="*/ 177092 w 1212658"/>
                <a:gd name="connsiteY1096" fmla="*/ 2119869 h 2273274"/>
                <a:gd name="connsiteX1097" fmla="*/ 177001 w 1212658"/>
                <a:gd name="connsiteY1097" fmla="*/ 2118236 h 2273274"/>
                <a:gd name="connsiteX1098" fmla="*/ 175852 w 1212658"/>
                <a:gd name="connsiteY1098" fmla="*/ 2117389 h 2273274"/>
                <a:gd name="connsiteX1099" fmla="*/ 175247 w 1212658"/>
                <a:gd name="connsiteY1099" fmla="*/ 2118145 h 2273274"/>
                <a:gd name="connsiteX1100" fmla="*/ 174823 w 1212658"/>
                <a:gd name="connsiteY1100" fmla="*/ 2119627 h 2273274"/>
                <a:gd name="connsiteX1101" fmla="*/ 174249 w 1212658"/>
                <a:gd name="connsiteY1101" fmla="*/ 2120958 h 2273274"/>
                <a:gd name="connsiteX1102" fmla="*/ 171798 w 1212658"/>
                <a:gd name="connsiteY1102" fmla="*/ 2122108 h 2273274"/>
                <a:gd name="connsiteX1103" fmla="*/ 171284 w 1212658"/>
                <a:gd name="connsiteY1103" fmla="*/ 2123288 h 2273274"/>
                <a:gd name="connsiteX1104" fmla="*/ 172191 w 1212658"/>
                <a:gd name="connsiteY1104" fmla="*/ 2126101 h 2273274"/>
                <a:gd name="connsiteX1105" fmla="*/ 173220 w 1212658"/>
                <a:gd name="connsiteY1105" fmla="*/ 2127523 h 2273274"/>
                <a:gd name="connsiteX1106" fmla="*/ 174369 w 1212658"/>
                <a:gd name="connsiteY1106" fmla="*/ 2128098 h 2273274"/>
                <a:gd name="connsiteX1107" fmla="*/ 176184 w 1212658"/>
                <a:gd name="connsiteY1107" fmla="*/ 2082842 h 2273274"/>
                <a:gd name="connsiteX1108" fmla="*/ 176638 w 1212658"/>
                <a:gd name="connsiteY1108" fmla="*/ 2081420 h 2273274"/>
                <a:gd name="connsiteX1109" fmla="*/ 176638 w 1212658"/>
                <a:gd name="connsiteY1109" fmla="*/ 2078909 h 2273274"/>
                <a:gd name="connsiteX1110" fmla="*/ 175821 w 1212658"/>
                <a:gd name="connsiteY1110" fmla="*/ 2078516 h 2273274"/>
                <a:gd name="connsiteX1111" fmla="*/ 175065 w 1212658"/>
                <a:gd name="connsiteY1111" fmla="*/ 2079665 h 2273274"/>
                <a:gd name="connsiteX1112" fmla="*/ 174460 w 1212658"/>
                <a:gd name="connsiteY1112" fmla="*/ 2079877 h 2273274"/>
                <a:gd name="connsiteX1113" fmla="*/ 174067 w 1212658"/>
                <a:gd name="connsiteY1113" fmla="*/ 2079453 h 2273274"/>
                <a:gd name="connsiteX1114" fmla="*/ 173401 w 1212658"/>
                <a:gd name="connsiteY1114" fmla="*/ 2079363 h 2273274"/>
                <a:gd name="connsiteX1115" fmla="*/ 172524 w 1212658"/>
                <a:gd name="connsiteY1115" fmla="*/ 2079635 h 2273274"/>
                <a:gd name="connsiteX1116" fmla="*/ 172343 w 1212658"/>
                <a:gd name="connsiteY1116" fmla="*/ 2079030 h 2273274"/>
                <a:gd name="connsiteX1117" fmla="*/ 172040 w 1212658"/>
                <a:gd name="connsiteY1117" fmla="*/ 2077396 h 2273274"/>
                <a:gd name="connsiteX1118" fmla="*/ 170527 w 1212658"/>
                <a:gd name="connsiteY1118" fmla="*/ 2076610 h 2273274"/>
                <a:gd name="connsiteX1119" fmla="*/ 168803 w 1212658"/>
                <a:gd name="connsiteY1119" fmla="*/ 2077124 h 2273274"/>
                <a:gd name="connsiteX1120" fmla="*/ 168501 w 1212658"/>
                <a:gd name="connsiteY1120" fmla="*/ 2077880 h 2273274"/>
                <a:gd name="connsiteX1121" fmla="*/ 169438 w 1212658"/>
                <a:gd name="connsiteY1121" fmla="*/ 2078697 h 2273274"/>
                <a:gd name="connsiteX1122" fmla="*/ 170013 w 1212658"/>
                <a:gd name="connsiteY1122" fmla="*/ 2079453 h 2273274"/>
                <a:gd name="connsiteX1123" fmla="*/ 170134 w 1212658"/>
                <a:gd name="connsiteY1123" fmla="*/ 2080089 h 2273274"/>
                <a:gd name="connsiteX1124" fmla="*/ 170437 w 1212658"/>
                <a:gd name="connsiteY1124" fmla="*/ 2080391 h 2273274"/>
                <a:gd name="connsiteX1125" fmla="*/ 170890 w 1212658"/>
                <a:gd name="connsiteY1125" fmla="*/ 2079998 h 2273274"/>
                <a:gd name="connsiteX1126" fmla="*/ 174944 w 1212658"/>
                <a:gd name="connsiteY1126" fmla="*/ 2082327 h 2273274"/>
                <a:gd name="connsiteX1127" fmla="*/ 176245 w 1212658"/>
                <a:gd name="connsiteY1127" fmla="*/ 2082842 h 2273274"/>
                <a:gd name="connsiteX1128" fmla="*/ 172615 w 1212658"/>
                <a:gd name="connsiteY1128" fmla="*/ 2069652 h 2273274"/>
                <a:gd name="connsiteX1129" fmla="*/ 170074 w 1212658"/>
                <a:gd name="connsiteY1129" fmla="*/ 2071618 h 2273274"/>
                <a:gd name="connsiteX1130" fmla="*/ 171496 w 1212658"/>
                <a:gd name="connsiteY1130" fmla="*/ 2072647 h 2273274"/>
                <a:gd name="connsiteX1131" fmla="*/ 173038 w 1212658"/>
                <a:gd name="connsiteY1131" fmla="*/ 2073040 h 2273274"/>
                <a:gd name="connsiteX1132" fmla="*/ 176305 w 1212658"/>
                <a:gd name="connsiteY1132" fmla="*/ 2073040 h 2273274"/>
                <a:gd name="connsiteX1133" fmla="*/ 177394 w 1212658"/>
                <a:gd name="connsiteY1133" fmla="*/ 2072798 h 2273274"/>
                <a:gd name="connsiteX1134" fmla="*/ 179633 w 1212658"/>
                <a:gd name="connsiteY1134" fmla="*/ 2073585 h 2273274"/>
                <a:gd name="connsiteX1135" fmla="*/ 181721 w 1212658"/>
                <a:gd name="connsiteY1135" fmla="*/ 2073373 h 2273274"/>
                <a:gd name="connsiteX1136" fmla="*/ 182507 w 1212658"/>
                <a:gd name="connsiteY1136" fmla="*/ 2071618 h 2273274"/>
                <a:gd name="connsiteX1137" fmla="*/ 182688 w 1212658"/>
                <a:gd name="connsiteY1137" fmla="*/ 2067686 h 2273274"/>
                <a:gd name="connsiteX1138" fmla="*/ 183747 w 1212658"/>
                <a:gd name="connsiteY1138" fmla="*/ 2066445 h 2273274"/>
                <a:gd name="connsiteX1139" fmla="*/ 185381 w 1212658"/>
                <a:gd name="connsiteY1139" fmla="*/ 2065840 h 2273274"/>
                <a:gd name="connsiteX1140" fmla="*/ 187347 w 1212658"/>
                <a:gd name="connsiteY1140" fmla="*/ 2063844 h 2273274"/>
                <a:gd name="connsiteX1141" fmla="*/ 183626 w 1212658"/>
                <a:gd name="connsiteY1141" fmla="*/ 2060728 h 2273274"/>
                <a:gd name="connsiteX1142" fmla="*/ 182114 w 1212658"/>
                <a:gd name="connsiteY1142" fmla="*/ 2058913 h 2273274"/>
                <a:gd name="connsiteX1143" fmla="*/ 180420 w 1212658"/>
                <a:gd name="connsiteY1143" fmla="*/ 2056039 h 2273274"/>
                <a:gd name="connsiteX1144" fmla="*/ 178423 w 1212658"/>
                <a:gd name="connsiteY1144" fmla="*/ 2055918 h 2273274"/>
                <a:gd name="connsiteX1145" fmla="*/ 176911 w 1212658"/>
                <a:gd name="connsiteY1145" fmla="*/ 2056704 h 2273274"/>
                <a:gd name="connsiteX1146" fmla="*/ 174218 w 1212658"/>
                <a:gd name="connsiteY1146" fmla="*/ 2059971 h 2273274"/>
                <a:gd name="connsiteX1147" fmla="*/ 176366 w 1212658"/>
                <a:gd name="connsiteY1147" fmla="*/ 2060214 h 2273274"/>
                <a:gd name="connsiteX1148" fmla="*/ 178211 w 1212658"/>
                <a:gd name="connsiteY1148" fmla="*/ 2061514 h 2273274"/>
                <a:gd name="connsiteX1149" fmla="*/ 181146 w 1212658"/>
                <a:gd name="connsiteY1149" fmla="*/ 2065296 h 2273274"/>
                <a:gd name="connsiteX1150" fmla="*/ 180541 w 1212658"/>
                <a:gd name="connsiteY1150" fmla="*/ 2065991 h 2273274"/>
                <a:gd name="connsiteX1151" fmla="*/ 179633 w 1212658"/>
                <a:gd name="connsiteY1151" fmla="*/ 2067323 h 2273274"/>
                <a:gd name="connsiteX1152" fmla="*/ 178998 w 1212658"/>
                <a:gd name="connsiteY1152" fmla="*/ 2067746 h 2273274"/>
                <a:gd name="connsiteX1153" fmla="*/ 179149 w 1212658"/>
                <a:gd name="connsiteY1153" fmla="*/ 2068472 h 2273274"/>
                <a:gd name="connsiteX1154" fmla="*/ 179240 w 1212658"/>
                <a:gd name="connsiteY1154" fmla="*/ 2069077 h 2273274"/>
                <a:gd name="connsiteX1155" fmla="*/ 179391 w 1212658"/>
                <a:gd name="connsiteY1155" fmla="*/ 2069712 h 2273274"/>
                <a:gd name="connsiteX1156" fmla="*/ 179724 w 1212658"/>
                <a:gd name="connsiteY1156" fmla="*/ 2070469 h 2273274"/>
                <a:gd name="connsiteX1157" fmla="*/ 177516 w 1212658"/>
                <a:gd name="connsiteY1157" fmla="*/ 2071739 h 2273274"/>
                <a:gd name="connsiteX1158" fmla="*/ 172585 w 1212658"/>
                <a:gd name="connsiteY1158" fmla="*/ 2069712 h 2273274"/>
                <a:gd name="connsiteX1159" fmla="*/ 184564 w 1212658"/>
                <a:gd name="connsiteY1159" fmla="*/ 2013021 h 2273274"/>
                <a:gd name="connsiteX1160" fmla="*/ 184201 w 1212658"/>
                <a:gd name="connsiteY1160" fmla="*/ 2014110 h 2273274"/>
                <a:gd name="connsiteX1161" fmla="*/ 184625 w 1212658"/>
                <a:gd name="connsiteY1161" fmla="*/ 2015774 h 2273274"/>
                <a:gd name="connsiteX1162" fmla="*/ 184897 w 1212658"/>
                <a:gd name="connsiteY1162" fmla="*/ 2016500 h 2273274"/>
                <a:gd name="connsiteX1163" fmla="*/ 184715 w 1212658"/>
                <a:gd name="connsiteY1163" fmla="*/ 2016500 h 2273274"/>
                <a:gd name="connsiteX1164" fmla="*/ 184594 w 1212658"/>
                <a:gd name="connsiteY1164" fmla="*/ 2016591 h 2273274"/>
                <a:gd name="connsiteX1165" fmla="*/ 185169 w 1212658"/>
                <a:gd name="connsiteY1165" fmla="*/ 2016893 h 2273274"/>
                <a:gd name="connsiteX1166" fmla="*/ 186893 w 1212658"/>
                <a:gd name="connsiteY1166" fmla="*/ 2016893 h 2273274"/>
                <a:gd name="connsiteX1167" fmla="*/ 188860 w 1212658"/>
                <a:gd name="connsiteY1167" fmla="*/ 2015925 h 2273274"/>
                <a:gd name="connsiteX1168" fmla="*/ 192339 w 1212658"/>
                <a:gd name="connsiteY1168" fmla="*/ 2017619 h 2273274"/>
                <a:gd name="connsiteX1169" fmla="*/ 193156 w 1212658"/>
                <a:gd name="connsiteY1169" fmla="*/ 2017740 h 2273274"/>
                <a:gd name="connsiteX1170" fmla="*/ 192913 w 1212658"/>
                <a:gd name="connsiteY1170" fmla="*/ 2017438 h 2273274"/>
                <a:gd name="connsiteX1171" fmla="*/ 192157 w 1212658"/>
                <a:gd name="connsiteY1171" fmla="*/ 2016712 h 2273274"/>
                <a:gd name="connsiteX1172" fmla="*/ 188860 w 1212658"/>
                <a:gd name="connsiteY1172" fmla="*/ 2013747 h 2273274"/>
                <a:gd name="connsiteX1173" fmla="*/ 188527 w 1212658"/>
                <a:gd name="connsiteY1173" fmla="*/ 2012053 h 2273274"/>
                <a:gd name="connsiteX1174" fmla="*/ 189102 w 1212658"/>
                <a:gd name="connsiteY1174" fmla="*/ 2010389 h 2273274"/>
                <a:gd name="connsiteX1175" fmla="*/ 187952 w 1212658"/>
                <a:gd name="connsiteY1175" fmla="*/ 2009542 h 2273274"/>
                <a:gd name="connsiteX1176" fmla="*/ 186228 w 1212658"/>
                <a:gd name="connsiteY1176" fmla="*/ 2010601 h 2273274"/>
                <a:gd name="connsiteX1177" fmla="*/ 185593 w 1212658"/>
                <a:gd name="connsiteY1177" fmla="*/ 2011751 h 2273274"/>
                <a:gd name="connsiteX1178" fmla="*/ 185653 w 1212658"/>
                <a:gd name="connsiteY1178" fmla="*/ 2012295 h 2273274"/>
                <a:gd name="connsiteX1179" fmla="*/ 185260 w 1212658"/>
                <a:gd name="connsiteY1179" fmla="*/ 2012749 h 2273274"/>
                <a:gd name="connsiteX1180" fmla="*/ 184564 w 1212658"/>
                <a:gd name="connsiteY1180" fmla="*/ 2012961 h 2273274"/>
                <a:gd name="connsiteX1181" fmla="*/ 197844 w 1212658"/>
                <a:gd name="connsiteY1181" fmla="*/ 1930979 h 2273274"/>
                <a:gd name="connsiteX1182" fmla="*/ 200113 w 1212658"/>
                <a:gd name="connsiteY1182" fmla="*/ 1931584 h 2273274"/>
                <a:gd name="connsiteX1183" fmla="*/ 200809 w 1212658"/>
                <a:gd name="connsiteY1183" fmla="*/ 1931524 h 2273274"/>
                <a:gd name="connsiteX1184" fmla="*/ 201082 w 1212658"/>
                <a:gd name="connsiteY1184" fmla="*/ 1930707 h 2273274"/>
                <a:gd name="connsiteX1185" fmla="*/ 201505 w 1212658"/>
                <a:gd name="connsiteY1185" fmla="*/ 1930162 h 2273274"/>
                <a:gd name="connsiteX1186" fmla="*/ 202261 w 1212658"/>
                <a:gd name="connsiteY1186" fmla="*/ 1930072 h 2273274"/>
                <a:gd name="connsiteX1187" fmla="*/ 202654 w 1212658"/>
                <a:gd name="connsiteY1187" fmla="*/ 1929346 h 2273274"/>
                <a:gd name="connsiteX1188" fmla="*/ 202412 w 1212658"/>
                <a:gd name="connsiteY1188" fmla="*/ 1928559 h 2273274"/>
                <a:gd name="connsiteX1189" fmla="*/ 202140 w 1212658"/>
                <a:gd name="connsiteY1189" fmla="*/ 1928408 h 2273274"/>
                <a:gd name="connsiteX1190" fmla="*/ 198450 w 1212658"/>
                <a:gd name="connsiteY1190" fmla="*/ 1927137 h 2273274"/>
                <a:gd name="connsiteX1191" fmla="*/ 197088 w 1212658"/>
                <a:gd name="connsiteY1191" fmla="*/ 1929104 h 2273274"/>
                <a:gd name="connsiteX1192" fmla="*/ 195969 w 1212658"/>
                <a:gd name="connsiteY1192" fmla="*/ 1929285 h 2273274"/>
                <a:gd name="connsiteX1193" fmla="*/ 196151 w 1212658"/>
                <a:gd name="connsiteY1193" fmla="*/ 1929890 h 2273274"/>
                <a:gd name="connsiteX1194" fmla="*/ 197814 w 1212658"/>
                <a:gd name="connsiteY1194" fmla="*/ 1930919 h 2273274"/>
                <a:gd name="connsiteX1195" fmla="*/ 164870 w 1212658"/>
                <a:gd name="connsiteY1195" fmla="*/ 1663889 h 2273274"/>
                <a:gd name="connsiteX1196" fmla="*/ 164628 w 1212658"/>
                <a:gd name="connsiteY1196" fmla="*/ 1663496 h 2273274"/>
                <a:gd name="connsiteX1197" fmla="*/ 163993 w 1212658"/>
                <a:gd name="connsiteY1197" fmla="*/ 1662952 h 2273274"/>
                <a:gd name="connsiteX1198" fmla="*/ 163449 w 1212658"/>
                <a:gd name="connsiteY1198" fmla="*/ 1663163 h 2273274"/>
                <a:gd name="connsiteX1199" fmla="*/ 163449 w 1212658"/>
                <a:gd name="connsiteY1199" fmla="*/ 1664041 h 2273274"/>
                <a:gd name="connsiteX1200" fmla="*/ 164477 w 1212658"/>
                <a:gd name="connsiteY1200" fmla="*/ 1666007 h 2273274"/>
                <a:gd name="connsiteX1201" fmla="*/ 166655 w 1212658"/>
                <a:gd name="connsiteY1201" fmla="*/ 1667489 h 2273274"/>
                <a:gd name="connsiteX1202" fmla="*/ 168138 w 1212658"/>
                <a:gd name="connsiteY1202" fmla="*/ 1666642 h 2273274"/>
                <a:gd name="connsiteX1203" fmla="*/ 169015 w 1212658"/>
                <a:gd name="connsiteY1203" fmla="*/ 1665856 h 2273274"/>
                <a:gd name="connsiteX1204" fmla="*/ 170739 w 1212658"/>
                <a:gd name="connsiteY1204" fmla="*/ 1667429 h 2273274"/>
                <a:gd name="connsiteX1205" fmla="*/ 171556 w 1212658"/>
                <a:gd name="connsiteY1205" fmla="*/ 1667247 h 2273274"/>
                <a:gd name="connsiteX1206" fmla="*/ 172100 w 1212658"/>
                <a:gd name="connsiteY1206" fmla="*/ 1666370 h 2273274"/>
                <a:gd name="connsiteX1207" fmla="*/ 172010 w 1212658"/>
                <a:gd name="connsiteY1207" fmla="*/ 1664343 h 2273274"/>
                <a:gd name="connsiteX1208" fmla="*/ 171496 w 1212658"/>
                <a:gd name="connsiteY1208" fmla="*/ 1661530 h 2273274"/>
                <a:gd name="connsiteX1209" fmla="*/ 170618 w 1212658"/>
                <a:gd name="connsiteY1209" fmla="*/ 1659291 h 2273274"/>
                <a:gd name="connsiteX1210" fmla="*/ 169438 w 1212658"/>
                <a:gd name="connsiteY1210" fmla="*/ 1657627 h 2273274"/>
                <a:gd name="connsiteX1211" fmla="*/ 168349 w 1212658"/>
                <a:gd name="connsiteY1211" fmla="*/ 1656599 h 2273274"/>
                <a:gd name="connsiteX1212" fmla="*/ 165839 w 1212658"/>
                <a:gd name="connsiteY1212" fmla="*/ 1655601 h 2273274"/>
                <a:gd name="connsiteX1213" fmla="*/ 165354 w 1212658"/>
                <a:gd name="connsiteY1213" fmla="*/ 1655086 h 2273274"/>
                <a:gd name="connsiteX1214" fmla="*/ 165022 w 1212658"/>
                <a:gd name="connsiteY1214" fmla="*/ 1654360 h 2273274"/>
                <a:gd name="connsiteX1215" fmla="*/ 164356 w 1212658"/>
                <a:gd name="connsiteY1215" fmla="*/ 1654360 h 2273274"/>
                <a:gd name="connsiteX1216" fmla="*/ 163479 w 1212658"/>
                <a:gd name="connsiteY1216" fmla="*/ 1655116 h 2273274"/>
                <a:gd name="connsiteX1217" fmla="*/ 162874 w 1212658"/>
                <a:gd name="connsiteY1217" fmla="*/ 1656296 h 2273274"/>
                <a:gd name="connsiteX1218" fmla="*/ 163025 w 1212658"/>
                <a:gd name="connsiteY1218" fmla="*/ 1657930 h 2273274"/>
                <a:gd name="connsiteX1219" fmla="*/ 163902 w 1212658"/>
                <a:gd name="connsiteY1219" fmla="*/ 1659594 h 2273274"/>
                <a:gd name="connsiteX1220" fmla="*/ 165143 w 1212658"/>
                <a:gd name="connsiteY1220" fmla="*/ 1660592 h 2273274"/>
                <a:gd name="connsiteX1221" fmla="*/ 165808 w 1212658"/>
                <a:gd name="connsiteY1221" fmla="*/ 1661469 h 2273274"/>
                <a:gd name="connsiteX1222" fmla="*/ 165354 w 1212658"/>
                <a:gd name="connsiteY1222" fmla="*/ 1663073 h 2273274"/>
                <a:gd name="connsiteX1223" fmla="*/ 164931 w 1212658"/>
                <a:gd name="connsiteY1223" fmla="*/ 1663889 h 2273274"/>
                <a:gd name="connsiteX1224" fmla="*/ 165778 w 1212658"/>
                <a:gd name="connsiteY1224" fmla="*/ 1600452 h 2273274"/>
                <a:gd name="connsiteX1225" fmla="*/ 161845 w 1212658"/>
                <a:gd name="connsiteY1225" fmla="*/ 1600815 h 2273274"/>
                <a:gd name="connsiteX1226" fmla="*/ 157701 w 1212658"/>
                <a:gd name="connsiteY1226" fmla="*/ 1597548 h 2273274"/>
                <a:gd name="connsiteX1227" fmla="*/ 157973 w 1212658"/>
                <a:gd name="connsiteY1227" fmla="*/ 1599696 h 2273274"/>
                <a:gd name="connsiteX1228" fmla="*/ 159456 w 1212658"/>
                <a:gd name="connsiteY1228" fmla="*/ 1606230 h 2273274"/>
                <a:gd name="connsiteX1229" fmla="*/ 160091 w 1212658"/>
                <a:gd name="connsiteY1229" fmla="*/ 1608196 h 2273274"/>
                <a:gd name="connsiteX1230" fmla="*/ 161119 w 1212658"/>
                <a:gd name="connsiteY1230" fmla="*/ 1609951 h 2273274"/>
                <a:gd name="connsiteX1231" fmla="*/ 163993 w 1212658"/>
                <a:gd name="connsiteY1231" fmla="*/ 1613400 h 2273274"/>
                <a:gd name="connsiteX1232" fmla="*/ 165294 w 1212658"/>
                <a:gd name="connsiteY1232" fmla="*/ 1614398 h 2273274"/>
                <a:gd name="connsiteX1233" fmla="*/ 165294 w 1212658"/>
                <a:gd name="connsiteY1233" fmla="*/ 1615941 h 2273274"/>
                <a:gd name="connsiteX1234" fmla="*/ 163176 w 1212658"/>
                <a:gd name="connsiteY1234" fmla="*/ 1615941 h 2273274"/>
                <a:gd name="connsiteX1235" fmla="*/ 164568 w 1212658"/>
                <a:gd name="connsiteY1235" fmla="*/ 1619269 h 2273274"/>
                <a:gd name="connsiteX1236" fmla="*/ 166020 w 1212658"/>
                <a:gd name="connsiteY1236" fmla="*/ 1619329 h 2273274"/>
                <a:gd name="connsiteX1237" fmla="*/ 167442 w 1212658"/>
                <a:gd name="connsiteY1237" fmla="*/ 1618028 h 2273274"/>
                <a:gd name="connsiteX1238" fmla="*/ 168743 w 1212658"/>
                <a:gd name="connsiteY1238" fmla="*/ 1617363 h 2273274"/>
                <a:gd name="connsiteX1239" fmla="*/ 170618 w 1212658"/>
                <a:gd name="connsiteY1239" fmla="*/ 1619057 h 2273274"/>
                <a:gd name="connsiteX1240" fmla="*/ 171828 w 1212658"/>
                <a:gd name="connsiteY1240" fmla="*/ 1621870 h 2273274"/>
                <a:gd name="connsiteX1241" fmla="*/ 173008 w 1212658"/>
                <a:gd name="connsiteY1241" fmla="*/ 1624169 h 2273274"/>
                <a:gd name="connsiteX1242" fmla="*/ 174249 w 1212658"/>
                <a:gd name="connsiteY1242" fmla="*/ 1625742 h 2273274"/>
                <a:gd name="connsiteX1243" fmla="*/ 178272 w 1212658"/>
                <a:gd name="connsiteY1243" fmla="*/ 1625500 h 2273274"/>
                <a:gd name="connsiteX1244" fmla="*/ 180087 w 1212658"/>
                <a:gd name="connsiteY1244" fmla="*/ 1624623 h 2273274"/>
                <a:gd name="connsiteX1245" fmla="*/ 181811 w 1212658"/>
                <a:gd name="connsiteY1245" fmla="*/ 1622808 h 2273274"/>
                <a:gd name="connsiteX1246" fmla="*/ 179784 w 1212658"/>
                <a:gd name="connsiteY1246" fmla="*/ 1621719 h 2273274"/>
                <a:gd name="connsiteX1247" fmla="*/ 179089 w 1212658"/>
                <a:gd name="connsiteY1247" fmla="*/ 1621537 h 2273274"/>
                <a:gd name="connsiteX1248" fmla="*/ 179089 w 1212658"/>
                <a:gd name="connsiteY1248" fmla="*/ 1620146 h 2273274"/>
                <a:gd name="connsiteX1249" fmla="*/ 186289 w 1212658"/>
                <a:gd name="connsiteY1249" fmla="*/ 1614338 h 2273274"/>
                <a:gd name="connsiteX1250" fmla="*/ 188073 w 1212658"/>
                <a:gd name="connsiteY1250" fmla="*/ 1614428 h 2273274"/>
                <a:gd name="connsiteX1251" fmla="*/ 186409 w 1212658"/>
                <a:gd name="connsiteY1251" fmla="*/ 1616939 h 2273274"/>
                <a:gd name="connsiteX1252" fmla="*/ 187771 w 1212658"/>
                <a:gd name="connsiteY1252" fmla="*/ 1617665 h 2273274"/>
                <a:gd name="connsiteX1253" fmla="*/ 190494 w 1212658"/>
                <a:gd name="connsiteY1253" fmla="*/ 1617181 h 2273274"/>
                <a:gd name="connsiteX1254" fmla="*/ 192913 w 1212658"/>
                <a:gd name="connsiteY1254" fmla="*/ 1615971 h 2273274"/>
                <a:gd name="connsiteX1255" fmla="*/ 192006 w 1212658"/>
                <a:gd name="connsiteY1255" fmla="*/ 1613853 h 2273274"/>
                <a:gd name="connsiteX1256" fmla="*/ 191522 w 1212658"/>
                <a:gd name="connsiteY1256" fmla="*/ 1611433 h 2273274"/>
                <a:gd name="connsiteX1257" fmla="*/ 191522 w 1212658"/>
                <a:gd name="connsiteY1257" fmla="*/ 1608771 h 2273274"/>
                <a:gd name="connsiteX1258" fmla="*/ 192248 w 1212658"/>
                <a:gd name="connsiteY1258" fmla="*/ 1606018 h 2273274"/>
                <a:gd name="connsiteX1259" fmla="*/ 189646 w 1212658"/>
                <a:gd name="connsiteY1259" fmla="*/ 1603175 h 2273274"/>
                <a:gd name="connsiteX1260" fmla="*/ 185593 w 1212658"/>
                <a:gd name="connsiteY1260" fmla="*/ 1603175 h 2273274"/>
                <a:gd name="connsiteX1261" fmla="*/ 181539 w 1212658"/>
                <a:gd name="connsiteY1261" fmla="*/ 1604990 h 2273274"/>
                <a:gd name="connsiteX1262" fmla="*/ 179089 w 1212658"/>
                <a:gd name="connsiteY1262" fmla="*/ 1607561 h 2273274"/>
                <a:gd name="connsiteX1263" fmla="*/ 178998 w 1212658"/>
                <a:gd name="connsiteY1263" fmla="*/ 1608620 h 2273274"/>
                <a:gd name="connsiteX1264" fmla="*/ 179421 w 1212658"/>
                <a:gd name="connsiteY1264" fmla="*/ 1609709 h 2273274"/>
                <a:gd name="connsiteX1265" fmla="*/ 179754 w 1212658"/>
                <a:gd name="connsiteY1265" fmla="*/ 1610919 h 2273274"/>
                <a:gd name="connsiteX1266" fmla="*/ 179482 w 1212658"/>
                <a:gd name="connsiteY1266" fmla="*/ 1612401 h 2273274"/>
                <a:gd name="connsiteX1267" fmla="*/ 178665 w 1212658"/>
                <a:gd name="connsiteY1267" fmla="*/ 1613309 h 2273274"/>
                <a:gd name="connsiteX1268" fmla="*/ 177909 w 1212658"/>
                <a:gd name="connsiteY1268" fmla="*/ 1612946 h 2273274"/>
                <a:gd name="connsiteX1269" fmla="*/ 177183 w 1212658"/>
                <a:gd name="connsiteY1269" fmla="*/ 1612129 h 2273274"/>
                <a:gd name="connsiteX1270" fmla="*/ 176396 w 1212658"/>
                <a:gd name="connsiteY1270" fmla="*/ 1611615 h 2273274"/>
                <a:gd name="connsiteX1271" fmla="*/ 170860 w 1212658"/>
                <a:gd name="connsiteY1271" fmla="*/ 1611252 h 2273274"/>
                <a:gd name="connsiteX1272" fmla="*/ 169408 w 1212658"/>
                <a:gd name="connsiteY1272" fmla="*/ 1610344 h 2273274"/>
                <a:gd name="connsiteX1273" fmla="*/ 169771 w 1212658"/>
                <a:gd name="connsiteY1273" fmla="*/ 1609437 h 2273274"/>
                <a:gd name="connsiteX1274" fmla="*/ 169832 w 1212658"/>
                <a:gd name="connsiteY1274" fmla="*/ 1609437 h 2273274"/>
                <a:gd name="connsiteX1275" fmla="*/ 169681 w 1212658"/>
                <a:gd name="connsiteY1275" fmla="*/ 1609134 h 2273274"/>
                <a:gd name="connsiteX1276" fmla="*/ 169408 w 1212658"/>
                <a:gd name="connsiteY1276" fmla="*/ 1607531 h 2273274"/>
                <a:gd name="connsiteX1277" fmla="*/ 171435 w 1212658"/>
                <a:gd name="connsiteY1277" fmla="*/ 1602509 h 2273274"/>
                <a:gd name="connsiteX1278" fmla="*/ 172645 w 1212658"/>
                <a:gd name="connsiteY1278" fmla="*/ 1600906 h 2273274"/>
                <a:gd name="connsiteX1279" fmla="*/ 174278 w 1212658"/>
                <a:gd name="connsiteY1279" fmla="*/ 1600240 h 2273274"/>
                <a:gd name="connsiteX1280" fmla="*/ 174278 w 1212658"/>
                <a:gd name="connsiteY1280" fmla="*/ 1598970 h 2273274"/>
                <a:gd name="connsiteX1281" fmla="*/ 169862 w 1212658"/>
                <a:gd name="connsiteY1281" fmla="*/ 1599030 h 2273274"/>
                <a:gd name="connsiteX1282" fmla="*/ 165839 w 1212658"/>
                <a:gd name="connsiteY1282" fmla="*/ 1600452 h 2273274"/>
                <a:gd name="connsiteX1283" fmla="*/ 251753 w 1212658"/>
                <a:gd name="connsiteY1283" fmla="*/ 1599635 h 2273274"/>
                <a:gd name="connsiteX1284" fmla="*/ 253356 w 1212658"/>
                <a:gd name="connsiteY1284" fmla="*/ 1599696 h 2273274"/>
                <a:gd name="connsiteX1285" fmla="*/ 255050 w 1212658"/>
                <a:gd name="connsiteY1285" fmla="*/ 1598728 h 2273274"/>
                <a:gd name="connsiteX1286" fmla="*/ 256200 w 1212658"/>
                <a:gd name="connsiteY1286" fmla="*/ 1596126 h 2273274"/>
                <a:gd name="connsiteX1287" fmla="*/ 256472 w 1212658"/>
                <a:gd name="connsiteY1287" fmla="*/ 1594614 h 2273274"/>
                <a:gd name="connsiteX1288" fmla="*/ 253719 w 1212658"/>
                <a:gd name="connsiteY1288" fmla="*/ 1590499 h 2273274"/>
                <a:gd name="connsiteX1289" fmla="*/ 252993 w 1212658"/>
                <a:gd name="connsiteY1289" fmla="*/ 1590499 h 2273274"/>
                <a:gd name="connsiteX1290" fmla="*/ 252599 w 1212658"/>
                <a:gd name="connsiteY1290" fmla="*/ 1590227 h 2273274"/>
                <a:gd name="connsiteX1291" fmla="*/ 252236 w 1212658"/>
                <a:gd name="connsiteY1291" fmla="*/ 1589652 h 2273274"/>
                <a:gd name="connsiteX1292" fmla="*/ 251662 w 1212658"/>
                <a:gd name="connsiteY1292" fmla="*/ 1589652 h 2273274"/>
                <a:gd name="connsiteX1293" fmla="*/ 251147 w 1212658"/>
                <a:gd name="connsiteY1293" fmla="*/ 1589925 h 2273274"/>
                <a:gd name="connsiteX1294" fmla="*/ 251601 w 1212658"/>
                <a:gd name="connsiteY1294" fmla="*/ 1590862 h 2273274"/>
                <a:gd name="connsiteX1295" fmla="*/ 253023 w 1212658"/>
                <a:gd name="connsiteY1295" fmla="*/ 1592284 h 2273274"/>
                <a:gd name="connsiteX1296" fmla="*/ 253386 w 1212658"/>
                <a:gd name="connsiteY1296" fmla="*/ 1593313 h 2273274"/>
                <a:gd name="connsiteX1297" fmla="*/ 252569 w 1212658"/>
                <a:gd name="connsiteY1297" fmla="*/ 1593555 h 2273274"/>
                <a:gd name="connsiteX1298" fmla="*/ 250603 w 1212658"/>
                <a:gd name="connsiteY1298" fmla="*/ 1592284 h 2273274"/>
                <a:gd name="connsiteX1299" fmla="*/ 249272 w 1212658"/>
                <a:gd name="connsiteY1299" fmla="*/ 1592920 h 2273274"/>
                <a:gd name="connsiteX1300" fmla="*/ 248122 w 1212658"/>
                <a:gd name="connsiteY1300" fmla="*/ 1595309 h 2273274"/>
                <a:gd name="connsiteX1301" fmla="*/ 247790 w 1212658"/>
                <a:gd name="connsiteY1301" fmla="*/ 1597760 h 2273274"/>
                <a:gd name="connsiteX1302" fmla="*/ 248183 w 1212658"/>
                <a:gd name="connsiteY1302" fmla="*/ 1599151 h 2273274"/>
                <a:gd name="connsiteX1303" fmla="*/ 248788 w 1212658"/>
                <a:gd name="connsiteY1303" fmla="*/ 1599726 h 2273274"/>
                <a:gd name="connsiteX1304" fmla="*/ 249332 w 1212658"/>
                <a:gd name="connsiteY1304" fmla="*/ 1599635 h 2273274"/>
                <a:gd name="connsiteX1305" fmla="*/ 249817 w 1212658"/>
                <a:gd name="connsiteY1305" fmla="*/ 1599121 h 2273274"/>
                <a:gd name="connsiteX1306" fmla="*/ 249937 w 1212658"/>
                <a:gd name="connsiteY1306" fmla="*/ 1598183 h 2273274"/>
                <a:gd name="connsiteX1307" fmla="*/ 250149 w 1212658"/>
                <a:gd name="connsiteY1307" fmla="*/ 1597306 h 2273274"/>
                <a:gd name="connsiteX1308" fmla="*/ 250815 w 1212658"/>
                <a:gd name="connsiteY1308" fmla="*/ 1596852 h 2273274"/>
                <a:gd name="connsiteX1309" fmla="*/ 251178 w 1212658"/>
                <a:gd name="connsiteY1309" fmla="*/ 1597457 h 2273274"/>
                <a:gd name="connsiteX1310" fmla="*/ 251057 w 1212658"/>
                <a:gd name="connsiteY1310" fmla="*/ 1598940 h 2273274"/>
                <a:gd name="connsiteX1311" fmla="*/ 251722 w 1212658"/>
                <a:gd name="connsiteY1311" fmla="*/ 1599635 h 2273274"/>
                <a:gd name="connsiteX1312" fmla="*/ 266092 w 1212658"/>
                <a:gd name="connsiteY1312" fmla="*/ 1597397 h 2273274"/>
                <a:gd name="connsiteX1313" fmla="*/ 269207 w 1212658"/>
                <a:gd name="connsiteY1313" fmla="*/ 1600482 h 2273274"/>
                <a:gd name="connsiteX1314" fmla="*/ 271356 w 1212658"/>
                <a:gd name="connsiteY1314" fmla="*/ 1600543 h 2273274"/>
                <a:gd name="connsiteX1315" fmla="*/ 272777 w 1212658"/>
                <a:gd name="connsiteY1315" fmla="*/ 1599151 h 2273274"/>
                <a:gd name="connsiteX1316" fmla="*/ 273957 w 1212658"/>
                <a:gd name="connsiteY1316" fmla="*/ 1596429 h 2273274"/>
                <a:gd name="connsiteX1317" fmla="*/ 274986 w 1212658"/>
                <a:gd name="connsiteY1317" fmla="*/ 1594523 h 2273274"/>
                <a:gd name="connsiteX1318" fmla="*/ 275167 w 1212658"/>
                <a:gd name="connsiteY1318" fmla="*/ 1593585 h 2273274"/>
                <a:gd name="connsiteX1319" fmla="*/ 274441 w 1212658"/>
                <a:gd name="connsiteY1319" fmla="*/ 1592194 h 2273274"/>
                <a:gd name="connsiteX1320" fmla="*/ 274260 w 1212658"/>
                <a:gd name="connsiteY1320" fmla="*/ 1589773 h 2273274"/>
                <a:gd name="connsiteX1321" fmla="*/ 274108 w 1212658"/>
                <a:gd name="connsiteY1321" fmla="*/ 1588594 h 2273274"/>
                <a:gd name="connsiteX1322" fmla="*/ 273655 w 1212658"/>
                <a:gd name="connsiteY1322" fmla="*/ 1587020 h 2273274"/>
                <a:gd name="connsiteX1323" fmla="*/ 273171 w 1212658"/>
                <a:gd name="connsiteY1323" fmla="*/ 1586657 h 2273274"/>
                <a:gd name="connsiteX1324" fmla="*/ 272717 w 1212658"/>
                <a:gd name="connsiteY1324" fmla="*/ 1587081 h 2273274"/>
                <a:gd name="connsiteX1325" fmla="*/ 272082 w 1212658"/>
                <a:gd name="connsiteY1325" fmla="*/ 1588231 h 2273274"/>
                <a:gd name="connsiteX1326" fmla="*/ 271597 w 1212658"/>
                <a:gd name="connsiteY1326" fmla="*/ 1589773 h 2273274"/>
                <a:gd name="connsiteX1327" fmla="*/ 271325 w 1212658"/>
                <a:gd name="connsiteY1327" fmla="*/ 1591316 h 2273274"/>
                <a:gd name="connsiteX1328" fmla="*/ 270781 w 1212658"/>
                <a:gd name="connsiteY1328" fmla="*/ 1592375 h 2273274"/>
                <a:gd name="connsiteX1329" fmla="*/ 270085 w 1212658"/>
                <a:gd name="connsiteY1329" fmla="*/ 1593010 h 2273274"/>
                <a:gd name="connsiteX1330" fmla="*/ 269570 w 1212658"/>
                <a:gd name="connsiteY1330" fmla="*/ 1592859 h 2273274"/>
                <a:gd name="connsiteX1331" fmla="*/ 269147 w 1212658"/>
                <a:gd name="connsiteY1331" fmla="*/ 1591982 h 2273274"/>
                <a:gd name="connsiteX1332" fmla="*/ 268361 w 1212658"/>
                <a:gd name="connsiteY1332" fmla="*/ 1591346 h 2273274"/>
                <a:gd name="connsiteX1333" fmla="*/ 267453 w 1212658"/>
                <a:gd name="connsiteY1333" fmla="*/ 1591074 h 2273274"/>
                <a:gd name="connsiteX1334" fmla="*/ 266909 w 1212658"/>
                <a:gd name="connsiteY1334" fmla="*/ 1591588 h 2273274"/>
                <a:gd name="connsiteX1335" fmla="*/ 266818 w 1212658"/>
                <a:gd name="connsiteY1335" fmla="*/ 1592617 h 2273274"/>
                <a:gd name="connsiteX1336" fmla="*/ 266273 w 1212658"/>
                <a:gd name="connsiteY1336" fmla="*/ 1592768 h 2273274"/>
                <a:gd name="connsiteX1337" fmla="*/ 265245 w 1212658"/>
                <a:gd name="connsiteY1337" fmla="*/ 1591831 h 2273274"/>
                <a:gd name="connsiteX1338" fmla="*/ 264428 w 1212658"/>
                <a:gd name="connsiteY1338" fmla="*/ 1590469 h 2273274"/>
                <a:gd name="connsiteX1339" fmla="*/ 263641 w 1212658"/>
                <a:gd name="connsiteY1339" fmla="*/ 1589713 h 2273274"/>
                <a:gd name="connsiteX1340" fmla="*/ 262764 w 1212658"/>
                <a:gd name="connsiteY1340" fmla="*/ 1589622 h 2273274"/>
                <a:gd name="connsiteX1341" fmla="*/ 261433 w 1212658"/>
                <a:gd name="connsiteY1341" fmla="*/ 1589108 h 2273274"/>
                <a:gd name="connsiteX1342" fmla="*/ 259648 w 1212658"/>
                <a:gd name="connsiteY1342" fmla="*/ 1590318 h 2273274"/>
                <a:gd name="connsiteX1343" fmla="*/ 258256 w 1212658"/>
                <a:gd name="connsiteY1343" fmla="*/ 1590620 h 2273274"/>
                <a:gd name="connsiteX1344" fmla="*/ 257319 w 1212658"/>
                <a:gd name="connsiteY1344" fmla="*/ 1591256 h 2273274"/>
                <a:gd name="connsiteX1345" fmla="*/ 257682 w 1212658"/>
                <a:gd name="connsiteY1345" fmla="*/ 1592436 h 2273274"/>
                <a:gd name="connsiteX1346" fmla="*/ 258680 w 1212658"/>
                <a:gd name="connsiteY1346" fmla="*/ 1594220 h 2273274"/>
                <a:gd name="connsiteX1347" fmla="*/ 259285 w 1212658"/>
                <a:gd name="connsiteY1347" fmla="*/ 1596187 h 2273274"/>
                <a:gd name="connsiteX1348" fmla="*/ 258741 w 1212658"/>
                <a:gd name="connsiteY1348" fmla="*/ 1597548 h 2273274"/>
                <a:gd name="connsiteX1349" fmla="*/ 257984 w 1212658"/>
                <a:gd name="connsiteY1349" fmla="*/ 1597911 h 2273274"/>
                <a:gd name="connsiteX1350" fmla="*/ 257289 w 1212658"/>
                <a:gd name="connsiteY1350" fmla="*/ 1598395 h 2273274"/>
                <a:gd name="connsiteX1351" fmla="*/ 257137 w 1212658"/>
                <a:gd name="connsiteY1351" fmla="*/ 1599393 h 2273274"/>
                <a:gd name="connsiteX1352" fmla="*/ 258256 w 1212658"/>
                <a:gd name="connsiteY1352" fmla="*/ 1600331 h 2273274"/>
                <a:gd name="connsiteX1353" fmla="*/ 258741 w 1212658"/>
                <a:gd name="connsiteY1353" fmla="*/ 1601148 h 2273274"/>
                <a:gd name="connsiteX1354" fmla="*/ 258347 w 1212658"/>
                <a:gd name="connsiteY1354" fmla="*/ 1601995 h 2273274"/>
                <a:gd name="connsiteX1355" fmla="*/ 258953 w 1212658"/>
                <a:gd name="connsiteY1355" fmla="*/ 1602933 h 2273274"/>
                <a:gd name="connsiteX1356" fmla="*/ 264095 w 1212658"/>
                <a:gd name="connsiteY1356" fmla="*/ 1605232 h 2273274"/>
                <a:gd name="connsiteX1357" fmla="*/ 264851 w 1212658"/>
                <a:gd name="connsiteY1357" fmla="*/ 1605050 h 2273274"/>
                <a:gd name="connsiteX1358" fmla="*/ 264851 w 1212658"/>
                <a:gd name="connsiteY1358" fmla="*/ 1604476 h 2273274"/>
                <a:gd name="connsiteX1359" fmla="*/ 265305 w 1212658"/>
                <a:gd name="connsiteY1359" fmla="*/ 1604143 h 2273274"/>
                <a:gd name="connsiteX1360" fmla="*/ 266152 w 1212658"/>
                <a:gd name="connsiteY1360" fmla="*/ 1603991 h 2273274"/>
                <a:gd name="connsiteX1361" fmla="*/ 266757 w 1212658"/>
                <a:gd name="connsiteY1361" fmla="*/ 1602600 h 2273274"/>
                <a:gd name="connsiteX1362" fmla="*/ 266303 w 1212658"/>
                <a:gd name="connsiteY1362" fmla="*/ 1600392 h 2273274"/>
                <a:gd name="connsiteX1363" fmla="*/ 264337 w 1212658"/>
                <a:gd name="connsiteY1363" fmla="*/ 1599363 h 2273274"/>
                <a:gd name="connsiteX1364" fmla="*/ 261826 w 1212658"/>
                <a:gd name="connsiteY1364" fmla="*/ 1598728 h 2273274"/>
                <a:gd name="connsiteX1365" fmla="*/ 261826 w 1212658"/>
                <a:gd name="connsiteY1365" fmla="*/ 1598304 h 2273274"/>
                <a:gd name="connsiteX1366" fmla="*/ 266092 w 1212658"/>
                <a:gd name="connsiteY1366" fmla="*/ 1597397 h 2273274"/>
                <a:gd name="connsiteX1367" fmla="*/ 179149 w 1212658"/>
                <a:gd name="connsiteY1367" fmla="*/ 1594583 h 2273274"/>
                <a:gd name="connsiteX1368" fmla="*/ 180480 w 1212658"/>
                <a:gd name="connsiteY1368" fmla="*/ 1593827 h 2273274"/>
                <a:gd name="connsiteX1369" fmla="*/ 181448 w 1212658"/>
                <a:gd name="connsiteY1369" fmla="*/ 1594220 h 2273274"/>
                <a:gd name="connsiteX1370" fmla="*/ 181781 w 1212658"/>
                <a:gd name="connsiteY1370" fmla="*/ 1597548 h 2273274"/>
                <a:gd name="connsiteX1371" fmla="*/ 185774 w 1212658"/>
                <a:gd name="connsiteY1371" fmla="*/ 1591831 h 2273274"/>
                <a:gd name="connsiteX1372" fmla="*/ 187347 w 1212658"/>
                <a:gd name="connsiteY1372" fmla="*/ 1588170 h 2273274"/>
                <a:gd name="connsiteX1373" fmla="*/ 187347 w 1212658"/>
                <a:gd name="connsiteY1373" fmla="*/ 1584903 h 2273274"/>
                <a:gd name="connsiteX1374" fmla="*/ 184534 w 1212658"/>
                <a:gd name="connsiteY1374" fmla="*/ 1581908 h 2273274"/>
                <a:gd name="connsiteX1375" fmla="*/ 181025 w 1212658"/>
                <a:gd name="connsiteY1375" fmla="*/ 1583572 h 2273274"/>
                <a:gd name="connsiteX1376" fmla="*/ 177576 w 1212658"/>
                <a:gd name="connsiteY1376" fmla="*/ 1586627 h 2273274"/>
                <a:gd name="connsiteX1377" fmla="*/ 174914 w 1212658"/>
                <a:gd name="connsiteY1377" fmla="*/ 1587807 h 2273274"/>
                <a:gd name="connsiteX1378" fmla="*/ 173734 w 1212658"/>
                <a:gd name="connsiteY1378" fmla="*/ 1587958 h 2273274"/>
                <a:gd name="connsiteX1379" fmla="*/ 173280 w 1212658"/>
                <a:gd name="connsiteY1379" fmla="*/ 1588291 h 2273274"/>
                <a:gd name="connsiteX1380" fmla="*/ 172766 w 1212658"/>
                <a:gd name="connsiteY1380" fmla="*/ 1589108 h 2273274"/>
                <a:gd name="connsiteX1381" fmla="*/ 177637 w 1212658"/>
                <a:gd name="connsiteY1381" fmla="*/ 1594735 h 2273274"/>
                <a:gd name="connsiteX1382" fmla="*/ 179149 w 1212658"/>
                <a:gd name="connsiteY1382" fmla="*/ 1594583 h 2273274"/>
                <a:gd name="connsiteX1383" fmla="*/ 258317 w 1212658"/>
                <a:gd name="connsiteY1383" fmla="*/ 1577824 h 2273274"/>
                <a:gd name="connsiteX1384" fmla="*/ 257349 w 1212658"/>
                <a:gd name="connsiteY1384" fmla="*/ 1577461 h 2273274"/>
                <a:gd name="connsiteX1385" fmla="*/ 256865 w 1212658"/>
                <a:gd name="connsiteY1385" fmla="*/ 1577098 h 2273274"/>
                <a:gd name="connsiteX1386" fmla="*/ 256321 w 1212658"/>
                <a:gd name="connsiteY1386" fmla="*/ 1576826 h 2273274"/>
                <a:gd name="connsiteX1387" fmla="*/ 254929 w 1212658"/>
                <a:gd name="connsiteY1387" fmla="*/ 1577007 h 2273274"/>
                <a:gd name="connsiteX1388" fmla="*/ 253356 w 1212658"/>
                <a:gd name="connsiteY1388" fmla="*/ 1577854 h 2273274"/>
                <a:gd name="connsiteX1389" fmla="*/ 251783 w 1212658"/>
                <a:gd name="connsiteY1389" fmla="*/ 1577431 h 2273274"/>
                <a:gd name="connsiteX1390" fmla="*/ 249937 w 1212658"/>
                <a:gd name="connsiteY1390" fmla="*/ 1577582 h 2273274"/>
                <a:gd name="connsiteX1391" fmla="*/ 248939 w 1212658"/>
                <a:gd name="connsiteY1391" fmla="*/ 1578974 h 2273274"/>
                <a:gd name="connsiteX1392" fmla="*/ 248667 w 1212658"/>
                <a:gd name="connsiteY1392" fmla="*/ 1579942 h 2273274"/>
                <a:gd name="connsiteX1393" fmla="*/ 248122 w 1212658"/>
                <a:gd name="connsiteY1393" fmla="*/ 1580849 h 2273274"/>
                <a:gd name="connsiteX1394" fmla="*/ 247457 w 1212658"/>
                <a:gd name="connsiteY1394" fmla="*/ 1581636 h 2273274"/>
                <a:gd name="connsiteX1395" fmla="*/ 246882 w 1212658"/>
                <a:gd name="connsiteY1395" fmla="*/ 1582725 h 2273274"/>
                <a:gd name="connsiteX1396" fmla="*/ 246398 w 1212658"/>
                <a:gd name="connsiteY1396" fmla="*/ 1583965 h 2273274"/>
                <a:gd name="connsiteX1397" fmla="*/ 245914 w 1212658"/>
                <a:gd name="connsiteY1397" fmla="*/ 1584903 h 2273274"/>
                <a:gd name="connsiteX1398" fmla="*/ 245400 w 1212658"/>
                <a:gd name="connsiteY1398" fmla="*/ 1586083 h 2273274"/>
                <a:gd name="connsiteX1399" fmla="*/ 245158 w 1212658"/>
                <a:gd name="connsiteY1399" fmla="*/ 1586839 h 2273274"/>
                <a:gd name="connsiteX1400" fmla="*/ 244976 w 1212658"/>
                <a:gd name="connsiteY1400" fmla="*/ 1587263 h 2273274"/>
                <a:gd name="connsiteX1401" fmla="*/ 245158 w 1212658"/>
                <a:gd name="connsiteY1401" fmla="*/ 1588109 h 2273274"/>
                <a:gd name="connsiteX1402" fmla="*/ 245975 w 1212658"/>
                <a:gd name="connsiteY1402" fmla="*/ 1588563 h 2273274"/>
                <a:gd name="connsiteX1403" fmla="*/ 246852 w 1212658"/>
                <a:gd name="connsiteY1403" fmla="*/ 1588231 h 2273274"/>
                <a:gd name="connsiteX1404" fmla="*/ 248667 w 1212658"/>
                <a:gd name="connsiteY1404" fmla="*/ 1586597 h 2273274"/>
                <a:gd name="connsiteX1405" fmla="*/ 249968 w 1212658"/>
                <a:gd name="connsiteY1405" fmla="*/ 1585084 h 2273274"/>
                <a:gd name="connsiteX1406" fmla="*/ 250452 w 1212658"/>
                <a:gd name="connsiteY1406" fmla="*/ 1583905 h 2273274"/>
                <a:gd name="connsiteX1407" fmla="*/ 251541 w 1212658"/>
                <a:gd name="connsiteY1407" fmla="*/ 1581938 h 2273274"/>
                <a:gd name="connsiteX1408" fmla="*/ 252962 w 1212658"/>
                <a:gd name="connsiteY1408" fmla="*/ 1581424 h 2273274"/>
                <a:gd name="connsiteX1409" fmla="*/ 256230 w 1212658"/>
                <a:gd name="connsiteY1409" fmla="*/ 1583148 h 2273274"/>
                <a:gd name="connsiteX1410" fmla="*/ 257924 w 1212658"/>
                <a:gd name="connsiteY1410" fmla="*/ 1582695 h 2273274"/>
                <a:gd name="connsiteX1411" fmla="*/ 258831 w 1212658"/>
                <a:gd name="connsiteY1411" fmla="*/ 1581273 h 2273274"/>
                <a:gd name="connsiteX1412" fmla="*/ 258347 w 1212658"/>
                <a:gd name="connsiteY1412" fmla="*/ 1579911 h 2273274"/>
                <a:gd name="connsiteX1413" fmla="*/ 258256 w 1212658"/>
                <a:gd name="connsiteY1413" fmla="*/ 1579246 h 2273274"/>
                <a:gd name="connsiteX1414" fmla="*/ 259194 w 1212658"/>
                <a:gd name="connsiteY1414" fmla="*/ 1579095 h 2273274"/>
                <a:gd name="connsiteX1415" fmla="*/ 259920 w 1212658"/>
                <a:gd name="connsiteY1415" fmla="*/ 1578550 h 2273274"/>
                <a:gd name="connsiteX1416" fmla="*/ 259920 w 1212658"/>
                <a:gd name="connsiteY1416" fmla="*/ 1577885 h 2273274"/>
                <a:gd name="connsiteX1417" fmla="*/ 259225 w 1212658"/>
                <a:gd name="connsiteY1417" fmla="*/ 1577794 h 2273274"/>
                <a:gd name="connsiteX1418" fmla="*/ 258256 w 1212658"/>
                <a:gd name="connsiteY1418" fmla="*/ 1577885 h 2273274"/>
                <a:gd name="connsiteX1419" fmla="*/ 330134 w 1212658"/>
                <a:gd name="connsiteY1419" fmla="*/ 1503738 h 2273274"/>
                <a:gd name="connsiteX1420" fmla="*/ 331042 w 1212658"/>
                <a:gd name="connsiteY1420" fmla="*/ 1504162 h 2273274"/>
                <a:gd name="connsiteX1421" fmla="*/ 331798 w 1212658"/>
                <a:gd name="connsiteY1421" fmla="*/ 1502286 h 2273274"/>
                <a:gd name="connsiteX1422" fmla="*/ 332070 w 1212658"/>
                <a:gd name="connsiteY1422" fmla="*/ 1500955 h 2273274"/>
                <a:gd name="connsiteX1423" fmla="*/ 332372 w 1212658"/>
                <a:gd name="connsiteY1423" fmla="*/ 1500320 h 2273274"/>
                <a:gd name="connsiteX1424" fmla="*/ 332766 w 1212658"/>
                <a:gd name="connsiteY1424" fmla="*/ 1498898 h 2273274"/>
                <a:gd name="connsiteX1425" fmla="*/ 332857 w 1212658"/>
                <a:gd name="connsiteY1425" fmla="*/ 1497718 h 2273274"/>
                <a:gd name="connsiteX1426" fmla="*/ 332947 w 1212658"/>
                <a:gd name="connsiteY1426" fmla="*/ 1497174 h 2273274"/>
                <a:gd name="connsiteX1427" fmla="*/ 333401 w 1212658"/>
                <a:gd name="connsiteY1427" fmla="*/ 1496871 h 2273274"/>
                <a:gd name="connsiteX1428" fmla="*/ 333734 w 1212658"/>
                <a:gd name="connsiteY1428" fmla="*/ 1496145 h 2273274"/>
                <a:gd name="connsiteX1429" fmla="*/ 333189 w 1212658"/>
                <a:gd name="connsiteY1429" fmla="*/ 1495540 h 2273274"/>
                <a:gd name="connsiteX1430" fmla="*/ 331646 w 1212658"/>
                <a:gd name="connsiteY1430" fmla="*/ 1495480 h 2273274"/>
                <a:gd name="connsiteX1431" fmla="*/ 331283 w 1212658"/>
                <a:gd name="connsiteY1431" fmla="*/ 1495752 h 2273274"/>
                <a:gd name="connsiteX1432" fmla="*/ 330860 w 1212658"/>
                <a:gd name="connsiteY1432" fmla="*/ 1496206 h 2273274"/>
                <a:gd name="connsiteX1433" fmla="*/ 330406 w 1212658"/>
                <a:gd name="connsiteY1433" fmla="*/ 1495873 h 2273274"/>
                <a:gd name="connsiteX1434" fmla="*/ 329801 w 1212658"/>
                <a:gd name="connsiteY1434" fmla="*/ 1494602 h 2273274"/>
                <a:gd name="connsiteX1435" fmla="*/ 328984 w 1212658"/>
                <a:gd name="connsiteY1435" fmla="*/ 1493211 h 2273274"/>
                <a:gd name="connsiteX1436" fmla="*/ 327169 w 1212658"/>
                <a:gd name="connsiteY1436" fmla="*/ 1492999 h 2273274"/>
                <a:gd name="connsiteX1437" fmla="*/ 324507 w 1212658"/>
                <a:gd name="connsiteY1437" fmla="*/ 1494239 h 2273274"/>
                <a:gd name="connsiteX1438" fmla="*/ 322722 w 1212658"/>
                <a:gd name="connsiteY1438" fmla="*/ 1495631 h 2273274"/>
                <a:gd name="connsiteX1439" fmla="*/ 321906 w 1212658"/>
                <a:gd name="connsiteY1439" fmla="*/ 1496781 h 2273274"/>
                <a:gd name="connsiteX1440" fmla="*/ 321058 w 1212658"/>
                <a:gd name="connsiteY1440" fmla="*/ 1497537 h 2273274"/>
                <a:gd name="connsiteX1441" fmla="*/ 318911 w 1212658"/>
                <a:gd name="connsiteY1441" fmla="*/ 1498868 h 2273274"/>
                <a:gd name="connsiteX1442" fmla="*/ 319062 w 1212658"/>
                <a:gd name="connsiteY1442" fmla="*/ 1499866 h 2273274"/>
                <a:gd name="connsiteX1443" fmla="*/ 319455 w 1212658"/>
                <a:gd name="connsiteY1443" fmla="*/ 1500592 h 2273274"/>
                <a:gd name="connsiteX1444" fmla="*/ 319969 w 1212658"/>
                <a:gd name="connsiteY1444" fmla="*/ 1501439 h 2273274"/>
                <a:gd name="connsiteX1445" fmla="*/ 321028 w 1212658"/>
                <a:gd name="connsiteY1445" fmla="*/ 1504525 h 2273274"/>
                <a:gd name="connsiteX1446" fmla="*/ 322692 w 1212658"/>
                <a:gd name="connsiteY1446" fmla="*/ 1506582 h 2273274"/>
                <a:gd name="connsiteX1447" fmla="*/ 324749 w 1212658"/>
                <a:gd name="connsiteY1447" fmla="*/ 1507853 h 2273274"/>
                <a:gd name="connsiteX1448" fmla="*/ 326474 w 1212658"/>
                <a:gd name="connsiteY1448" fmla="*/ 1507399 h 2273274"/>
                <a:gd name="connsiteX1449" fmla="*/ 327260 w 1212658"/>
                <a:gd name="connsiteY1449" fmla="*/ 1506491 h 2273274"/>
                <a:gd name="connsiteX1450" fmla="*/ 328410 w 1212658"/>
                <a:gd name="connsiteY1450" fmla="*/ 1506249 h 2273274"/>
                <a:gd name="connsiteX1451" fmla="*/ 328864 w 1212658"/>
                <a:gd name="connsiteY1451" fmla="*/ 1504979 h 2273274"/>
                <a:gd name="connsiteX1452" fmla="*/ 328531 w 1212658"/>
                <a:gd name="connsiteY1452" fmla="*/ 1503436 h 2273274"/>
                <a:gd name="connsiteX1453" fmla="*/ 329015 w 1212658"/>
                <a:gd name="connsiteY1453" fmla="*/ 1502801 h 2273274"/>
                <a:gd name="connsiteX1454" fmla="*/ 330134 w 1212658"/>
                <a:gd name="connsiteY1454" fmla="*/ 1503769 h 2273274"/>
                <a:gd name="connsiteX1455" fmla="*/ 540442 w 1212658"/>
                <a:gd name="connsiteY1455" fmla="*/ 1215230 h 2273274"/>
                <a:gd name="connsiteX1456" fmla="*/ 535541 w 1212658"/>
                <a:gd name="connsiteY1456" fmla="*/ 1213506 h 2273274"/>
                <a:gd name="connsiteX1457" fmla="*/ 526133 w 1212658"/>
                <a:gd name="connsiteY1457" fmla="*/ 1216047 h 2273274"/>
                <a:gd name="connsiteX1458" fmla="*/ 517421 w 1212658"/>
                <a:gd name="connsiteY1458" fmla="*/ 1216713 h 2273274"/>
                <a:gd name="connsiteX1459" fmla="*/ 510523 w 1212658"/>
                <a:gd name="connsiteY1459" fmla="*/ 1223489 h 2273274"/>
                <a:gd name="connsiteX1460" fmla="*/ 508224 w 1212658"/>
                <a:gd name="connsiteY1460" fmla="*/ 1226151 h 2273274"/>
                <a:gd name="connsiteX1461" fmla="*/ 508950 w 1212658"/>
                <a:gd name="connsiteY1461" fmla="*/ 1229267 h 2273274"/>
                <a:gd name="connsiteX1462" fmla="*/ 509858 w 1212658"/>
                <a:gd name="connsiteY1462" fmla="*/ 1232201 h 2273274"/>
                <a:gd name="connsiteX1463" fmla="*/ 511703 w 1212658"/>
                <a:gd name="connsiteY1463" fmla="*/ 1235922 h 2273274"/>
                <a:gd name="connsiteX1464" fmla="*/ 515152 w 1212658"/>
                <a:gd name="connsiteY1464" fmla="*/ 1241337 h 2273274"/>
                <a:gd name="connsiteX1465" fmla="*/ 517844 w 1212658"/>
                <a:gd name="connsiteY1465" fmla="*/ 1240430 h 2273274"/>
                <a:gd name="connsiteX1466" fmla="*/ 520415 w 1212658"/>
                <a:gd name="connsiteY1466" fmla="*/ 1235045 h 2273274"/>
                <a:gd name="connsiteX1467" fmla="*/ 521777 w 1212658"/>
                <a:gd name="connsiteY1467" fmla="*/ 1237223 h 2273274"/>
                <a:gd name="connsiteX1468" fmla="*/ 522654 w 1212658"/>
                <a:gd name="connsiteY1468" fmla="*/ 1239432 h 2273274"/>
                <a:gd name="connsiteX1469" fmla="*/ 523108 w 1212658"/>
                <a:gd name="connsiteY1469" fmla="*/ 1240218 h 2273274"/>
                <a:gd name="connsiteX1470" fmla="*/ 522110 w 1212658"/>
                <a:gd name="connsiteY1470" fmla="*/ 1243455 h 2273274"/>
                <a:gd name="connsiteX1471" fmla="*/ 523350 w 1212658"/>
                <a:gd name="connsiteY1471" fmla="*/ 1244847 h 2273274"/>
                <a:gd name="connsiteX1472" fmla="*/ 525528 w 1212658"/>
                <a:gd name="connsiteY1472" fmla="*/ 1245028 h 2273274"/>
                <a:gd name="connsiteX1473" fmla="*/ 527283 w 1212658"/>
                <a:gd name="connsiteY1473" fmla="*/ 1244544 h 2273274"/>
                <a:gd name="connsiteX1474" fmla="*/ 528190 w 1212658"/>
                <a:gd name="connsiteY1474" fmla="*/ 1243818 h 2273274"/>
                <a:gd name="connsiteX1475" fmla="*/ 529219 w 1212658"/>
                <a:gd name="connsiteY1475" fmla="*/ 1242184 h 2273274"/>
                <a:gd name="connsiteX1476" fmla="*/ 530096 w 1212658"/>
                <a:gd name="connsiteY1476" fmla="*/ 1241549 h 2273274"/>
                <a:gd name="connsiteX1477" fmla="*/ 531367 w 1212658"/>
                <a:gd name="connsiteY1477" fmla="*/ 1241337 h 2273274"/>
                <a:gd name="connsiteX1478" fmla="*/ 532577 w 1212658"/>
                <a:gd name="connsiteY1478" fmla="*/ 1241458 h 2273274"/>
                <a:gd name="connsiteX1479" fmla="*/ 533726 w 1212658"/>
                <a:gd name="connsiteY1479" fmla="*/ 1241277 h 2273274"/>
                <a:gd name="connsiteX1480" fmla="*/ 534846 w 1212658"/>
                <a:gd name="connsiteY1480" fmla="*/ 1240218 h 2273274"/>
                <a:gd name="connsiteX1481" fmla="*/ 533363 w 1212658"/>
                <a:gd name="connsiteY1481" fmla="*/ 1238857 h 2273274"/>
                <a:gd name="connsiteX1482" fmla="*/ 527162 w 1212658"/>
                <a:gd name="connsiteY1482" fmla="*/ 1239553 h 2273274"/>
                <a:gd name="connsiteX1483" fmla="*/ 524318 w 1212658"/>
                <a:gd name="connsiteY1483" fmla="*/ 1233533 h 2273274"/>
                <a:gd name="connsiteX1484" fmla="*/ 532274 w 1212658"/>
                <a:gd name="connsiteY1484" fmla="*/ 1228965 h 2273274"/>
                <a:gd name="connsiteX1485" fmla="*/ 534089 w 1212658"/>
                <a:gd name="connsiteY1485" fmla="*/ 1224790 h 2273274"/>
                <a:gd name="connsiteX1486" fmla="*/ 539898 w 1212658"/>
                <a:gd name="connsiteY1486" fmla="*/ 1224366 h 2273274"/>
                <a:gd name="connsiteX1487" fmla="*/ 548428 w 1212658"/>
                <a:gd name="connsiteY1487" fmla="*/ 1226665 h 2273274"/>
                <a:gd name="connsiteX1488" fmla="*/ 555054 w 1212658"/>
                <a:gd name="connsiteY1488" fmla="*/ 1226665 h 2273274"/>
                <a:gd name="connsiteX1489" fmla="*/ 558472 w 1212658"/>
                <a:gd name="connsiteY1489" fmla="*/ 1224760 h 2273274"/>
                <a:gd name="connsiteX1490" fmla="*/ 555628 w 1212658"/>
                <a:gd name="connsiteY1490" fmla="*/ 1221674 h 2273274"/>
                <a:gd name="connsiteX1491" fmla="*/ 551575 w 1212658"/>
                <a:gd name="connsiteY1491" fmla="*/ 1222188 h 2273274"/>
                <a:gd name="connsiteX1492" fmla="*/ 545827 w 1212658"/>
                <a:gd name="connsiteY1492" fmla="*/ 1221311 h 2273274"/>
                <a:gd name="connsiteX1493" fmla="*/ 542832 w 1212658"/>
                <a:gd name="connsiteY1493" fmla="*/ 1221008 h 2273274"/>
                <a:gd name="connsiteX1494" fmla="*/ 540442 w 1212658"/>
                <a:gd name="connsiteY1494" fmla="*/ 1221311 h 2273274"/>
                <a:gd name="connsiteX1495" fmla="*/ 539474 w 1212658"/>
                <a:gd name="connsiteY1495" fmla="*/ 1219829 h 2273274"/>
                <a:gd name="connsiteX1496" fmla="*/ 541894 w 1212658"/>
                <a:gd name="connsiteY1496" fmla="*/ 1218377 h 2273274"/>
                <a:gd name="connsiteX1497" fmla="*/ 540472 w 1212658"/>
                <a:gd name="connsiteY1497" fmla="*/ 1215200 h 2273274"/>
                <a:gd name="connsiteX1498" fmla="*/ 1209906 w 1212658"/>
                <a:gd name="connsiteY1498" fmla="*/ 1672844 h 2273274"/>
                <a:gd name="connsiteX1499" fmla="*/ 1208242 w 1212658"/>
                <a:gd name="connsiteY1499" fmla="*/ 1668034 h 2273274"/>
                <a:gd name="connsiteX1500" fmla="*/ 1206851 w 1212658"/>
                <a:gd name="connsiteY1500" fmla="*/ 1662952 h 2273274"/>
                <a:gd name="connsiteX1501" fmla="*/ 1204370 w 1212658"/>
                <a:gd name="connsiteY1501" fmla="*/ 1659261 h 2273274"/>
                <a:gd name="connsiteX1502" fmla="*/ 1203100 w 1212658"/>
                <a:gd name="connsiteY1502" fmla="*/ 1658202 h 2273274"/>
                <a:gd name="connsiteX1503" fmla="*/ 1200710 w 1212658"/>
                <a:gd name="connsiteY1503" fmla="*/ 1656085 h 2273274"/>
                <a:gd name="connsiteX1504" fmla="*/ 1194267 w 1212658"/>
                <a:gd name="connsiteY1504" fmla="*/ 1646707 h 2273274"/>
                <a:gd name="connsiteX1505" fmla="*/ 1191362 w 1212658"/>
                <a:gd name="connsiteY1505" fmla="*/ 1643802 h 2273274"/>
                <a:gd name="connsiteX1506" fmla="*/ 1185040 w 1212658"/>
                <a:gd name="connsiteY1506" fmla="*/ 1639204 h 2273274"/>
                <a:gd name="connsiteX1507" fmla="*/ 1182438 w 1212658"/>
                <a:gd name="connsiteY1507" fmla="*/ 1635967 h 2273274"/>
                <a:gd name="connsiteX1508" fmla="*/ 1181228 w 1212658"/>
                <a:gd name="connsiteY1508" fmla="*/ 1632912 h 2273274"/>
                <a:gd name="connsiteX1509" fmla="*/ 1180229 w 1212658"/>
                <a:gd name="connsiteY1509" fmla="*/ 1628767 h 2273274"/>
                <a:gd name="connsiteX1510" fmla="*/ 1179564 w 1212658"/>
                <a:gd name="connsiteY1510" fmla="*/ 1624351 h 2273274"/>
                <a:gd name="connsiteX1511" fmla="*/ 1179443 w 1212658"/>
                <a:gd name="connsiteY1511" fmla="*/ 1620569 h 2273274"/>
                <a:gd name="connsiteX1512" fmla="*/ 1178717 w 1212658"/>
                <a:gd name="connsiteY1512" fmla="*/ 1616395 h 2273274"/>
                <a:gd name="connsiteX1513" fmla="*/ 1176539 w 1212658"/>
                <a:gd name="connsiteY1513" fmla="*/ 1612976 h 2273274"/>
                <a:gd name="connsiteX1514" fmla="*/ 1173907 w 1212658"/>
                <a:gd name="connsiteY1514" fmla="*/ 1610405 h 2273274"/>
                <a:gd name="connsiteX1515" fmla="*/ 1153487 w 1212658"/>
                <a:gd name="connsiteY1515" fmla="*/ 1597276 h 2273274"/>
                <a:gd name="connsiteX1516" fmla="*/ 1137999 w 1212658"/>
                <a:gd name="connsiteY1516" fmla="*/ 1579458 h 2273274"/>
                <a:gd name="connsiteX1517" fmla="*/ 1104571 w 1212658"/>
                <a:gd name="connsiteY1517" fmla="*/ 1561609 h 2273274"/>
                <a:gd name="connsiteX1518" fmla="*/ 1101788 w 1212658"/>
                <a:gd name="connsiteY1518" fmla="*/ 1559371 h 2273274"/>
                <a:gd name="connsiteX1519" fmla="*/ 1099821 w 1212658"/>
                <a:gd name="connsiteY1519" fmla="*/ 1555499 h 2273274"/>
                <a:gd name="connsiteX1520" fmla="*/ 1093681 w 1212658"/>
                <a:gd name="connsiteY1520" fmla="*/ 1547028 h 2273274"/>
                <a:gd name="connsiteX1521" fmla="*/ 1079795 w 1212658"/>
                <a:gd name="connsiteY1521" fmla="*/ 1536773 h 2273274"/>
                <a:gd name="connsiteX1522" fmla="*/ 1055503 w 1212658"/>
                <a:gd name="connsiteY1522" fmla="*/ 1508942 h 2273274"/>
                <a:gd name="connsiteX1523" fmla="*/ 1053446 w 1212658"/>
                <a:gd name="connsiteY1523" fmla="*/ 1503466 h 2273274"/>
                <a:gd name="connsiteX1524" fmla="*/ 1055231 w 1212658"/>
                <a:gd name="connsiteY1524" fmla="*/ 1502286 h 2273274"/>
                <a:gd name="connsiteX1525" fmla="*/ 1060555 w 1212658"/>
                <a:gd name="connsiteY1525" fmla="*/ 1498807 h 2273274"/>
                <a:gd name="connsiteX1526" fmla="*/ 1075681 w 1212658"/>
                <a:gd name="connsiteY1526" fmla="*/ 1492757 h 2273274"/>
                <a:gd name="connsiteX1527" fmla="*/ 1082124 w 1212658"/>
                <a:gd name="connsiteY1527" fmla="*/ 1484801 h 2273274"/>
                <a:gd name="connsiteX1528" fmla="*/ 1088446 w 1212658"/>
                <a:gd name="connsiteY1528" fmla="*/ 1471097 h 2273274"/>
                <a:gd name="connsiteX1529" fmla="*/ 1106658 w 1212658"/>
                <a:gd name="connsiteY1529" fmla="*/ 1451010 h 2273274"/>
                <a:gd name="connsiteX1530" fmla="*/ 1106658 w 1212658"/>
                <a:gd name="connsiteY1530" fmla="*/ 1451010 h 2273274"/>
                <a:gd name="connsiteX1531" fmla="*/ 1110984 w 1212658"/>
                <a:gd name="connsiteY1531" fmla="*/ 1444597 h 2273274"/>
                <a:gd name="connsiteX1532" fmla="*/ 1113828 w 1212658"/>
                <a:gd name="connsiteY1532" fmla="*/ 1438395 h 2273274"/>
                <a:gd name="connsiteX1533" fmla="*/ 1114433 w 1212658"/>
                <a:gd name="connsiteY1533" fmla="*/ 1431286 h 2273274"/>
                <a:gd name="connsiteX1534" fmla="*/ 1111982 w 1212658"/>
                <a:gd name="connsiteY1534" fmla="*/ 1422241 h 2273274"/>
                <a:gd name="connsiteX1535" fmla="*/ 1110228 w 1212658"/>
                <a:gd name="connsiteY1535" fmla="*/ 1418218 h 2273274"/>
                <a:gd name="connsiteX1536" fmla="*/ 1109017 w 1212658"/>
                <a:gd name="connsiteY1536" fmla="*/ 1414769 h 2273274"/>
                <a:gd name="connsiteX1537" fmla="*/ 1109017 w 1212658"/>
                <a:gd name="connsiteY1537" fmla="*/ 1411229 h 2273274"/>
                <a:gd name="connsiteX1538" fmla="*/ 1110772 w 1212658"/>
                <a:gd name="connsiteY1538" fmla="*/ 1407055 h 2273274"/>
                <a:gd name="connsiteX1539" fmla="*/ 1111589 w 1212658"/>
                <a:gd name="connsiteY1539" fmla="*/ 1402638 h 2273274"/>
                <a:gd name="connsiteX1540" fmla="*/ 1109351 w 1212658"/>
                <a:gd name="connsiteY1540" fmla="*/ 1399431 h 2273274"/>
                <a:gd name="connsiteX1541" fmla="*/ 1106053 w 1212658"/>
                <a:gd name="connsiteY1541" fmla="*/ 1397495 h 2273274"/>
                <a:gd name="connsiteX1542" fmla="*/ 1100275 w 1212658"/>
                <a:gd name="connsiteY1542" fmla="*/ 1396013 h 2273274"/>
                <a:gd name="connsiteX1543" fmla="*/ 1097825 w 1212658"/>
                <a:gd name="connsiteY1543" fmla="*/ 1393048 h 2273274"/>
                <a:gd name="connsiteX1544" fmla="*/ 1095586 w 1212658"/>
                <a:gd name="connsiteY1544" fmla="*/ 1389116 h 2273274"/>
                <a:gd name="connsiteX1545" fmla="*/ 1092682 w 1212658"/>
                <a:gd name="connsiteY1545" fmla="*/ 1385334 h 2273274"/>
                <a:gd name="connsiteX1546" fmla="*/ 1087720 w 1212658"/>
                <a:gd name="connsiteY1546" fmla="*/ 1381734 h 2273274"/>
                <a:gd name="connsiteX1547" fmla="*/ 1071960 w 1212658"/>
                <a:gd name="connsiteY1547" fmla="*/ 1376561 h 2273274"/>
                <a:gd name="connsiteX1548" fmla="*/ 1064790 w 1212658"/>
                <a:gd name="connsiteY1548" fmla="*/ 1372417 h 2273274"/>
                <a:gd name="connsiteX1549" fmla="*/ 1060736 w 1212658"/>
                <a:gd name="connsiteY1549" fmla="*/ 1368817 h 2273274"/>
                <a:gd name="connsiteX1550" fmla="*/ 1058679 w 1212658"/>
                <a:gd name="connsiteY1550" fmla="*/ 1364794 h 2273274"/>
                <a:gd name="connsiteX1551" fmla="*/ 1059556 w 1212658"/>
                <a:gd name="connsiteY1551" fmla="*/ 1359227 h 2273274"/>
                <a:gd name="connsiteX1552" fmla="*/ 1061735 w 1212658"/>
                <a:gd name="connsiteY1552" fmla="*/ 1353782 h 2273274"/>
                <a:gd name="connsiteX1553" fmla="*/ 1062491 w 1212658"/>
                <a:gd name="connsiteY1553" fmla="*/ 1348760 h 2273274"/>
                <a:gd name="connsiteX1554" fmla="*/ 1059012 w 1212658"/>
                <a:gd name="connsiteY1554" fmla="*/ 1344555 h 2273274"/>
                <a:gd name="connsiteX1555" fmla="*/ 1054474 w 1212658"/>
                <a:gd name="connsiteY1555" fmla="*/ 1341833 h 2273274"/>
                <a:gd name="connsiteX1556" fmla="*/ 1054777 w 1212658"/>
                <a:gd name="connsiteY1556" fmla="*/ 1340411 h 2273274"/>
                <a:gd name="connsiteX1557" fmla="*/ 1054595 w 1212658"/>
                <a:gd name="connsiteY1557" fmla="*/ 1339897 h 2273274"/>
                <a:gd name="connsiteX1558" fmla="*/ 1053506 w 1212658"/>
                <a:gd name="connsiteY1558" fmla="*/ 1339382 h 2273274"/>
                <a:gd name="connsiteX1559" fmla="*/ 1053325 w 1212658"/>
                <a:gd name="connsiteY1559" fmla="*/ 1338777 h 2273274"/>
                <a:gd name="connsiteX1560" fmla="*/ 1053264 w 1212658"/>
                <a:gd name="connsiteY1560" fmla="*/ 1338172 h 2273274"/>
                <a:gd name="connsiteX1561" fmla="*/ 1053325 w 1212658"/>
                <a:gd name="connsiteY1561" fmla="*/ 1337537 h 2273274"/>
                <a:gd name="connsiteX1562" fmla="*/ 1053506 w 1212658"/>
                <a:gd name="connsiteY1562" fmla="*/ 1336962 h 2273274"/>
                <a:gd name="connsiteX1563" fmla="*/ 1052780 w 1212658"/>
                <a:gd name="connsiteY1563" fmla="*/ 1334935 h 2273274"/>
                <a:gd name="connsiteX1564" fmla="*/ 1052417 w 1212658"/>
                <a:gd name="connsiteY1564" fmla="*/ 1332939 h 2273274"/>
                <a:gd name="connsiteX1565" fmla="*/ 1052266 w 1212658"/>
                <a:gd name="connsiteY1565" fmla="*/ 1329188 h 2273274"/>
                <a:gd name="connsiteX1566" fmla="*/ 1051933 w 1212658"/>
                <a:gd name="connsiteY1566" fmla="*/ 1328825 h 2273274"/>
                <a:gd name="connsiteX1567" fmla="*/ 1051298 w 1212658"/>
                <a:gd name="connsiteY1567" fmla="*/ 1328492 h 2273274"/>
                <a:gd name="connsiteX1568" fmla="*/ 1050905 w 1212658"/>
                <a:gd name="connsiteY1568" fmla="*/ 1327856 h 2273274"/>
                <a:gd name="connsiteX1569" fmla="*/ 1051298 w 1212658"/>
                <a:gd name="connsiteY1569" fmla="*/ 1326586 h 2273274"/>
                <a:gd name="connsiteX1570" fmla="*/ 1051994 w 1212658"/>
                <a:gd name="connsiteY1570" fmla="*/ 1325769 h 2273274"/>
                <a:gd name="connsiteX1571" fmla="*/ 1069177 w 1212658"/>
                <a:gd name="connsiteY1571" fmla="*/ 1317843 h 2273274"/>
                <a:gd name="connsiteX1572" fmla="*/ 1071597 w 1212658"/>
                <a:gd name="connsiteY1572" fmla="*/ 1315544 h 2273274"/>
                <a:gd name="connsiteX1573" fmla="*/ 1073654 w 1212658"/>
                <a:gd name="connsiteY1573" fmla="*/ 1311944 h 2273274"/>
                <a:gd name="connsiteX1574" fmla="*/ 1074349 w 1212658"/>
                <a:gd name="connsiteY1574" fmla="*/ 1307709 h 2273274"/>
                <a:gd name="connsiteX1575" fmla="*/ 1072625 w 1212658"/>
                <a:gd name="connsiteY1575" fmla="*/ 1303534 h 2273274"/>
                <a:gd name="connsiteX1576" fmla="*/ 1068662 w 1212658"/>
                <a:gd name="connsiteY1576" fmla="*/ 1299299 h 2273274"/>
                <a:gd name="connsiteX1577" fmla="*/ 1067573 w 1212658"/>
                <a:gd name="connsiteY1577" fmla="*/ 1297635 h 2273274"/>
                <a:gd name="connsiteX1578" fmla="*/ 1066424 w 1212658"/>
                <a:gd name="connsiteY1578" fmla="*/ 1295215 h 2273274"/>
                <a:gd name="connsiteX1579" fmla="*/ 1066212 w 1212658"/>
                <a:gd name="connsiteY1579" fmla="*/ 1294005 h 2273274"/>
                <a:gd name="connsiteX1580" fmla="*/ 1066424 w 1212658"/>
                <a:gd name="connsiteY1580" fmla="*/ 1292704 h 2273274"/>
                <a:gd name="connsiteX1581" fmla="*/ 1066636 w 1212658"/>
                <a:gd name="connsiteY1581" fmla="*/ 1289921 h 2273274"/>
                <a:gd name="connsiteX1582" fmla="*/ 1067029 w 1212658"/>
                <a:gd name="connsiteY1582" fmla="*/ 1287773 h 2273274"/>
                <a:gd name="connsiteX1583" fmla="*/ 1067573 w 1212658"/>
                <a:gd name="connsiteY1583" fmla="*/ 1286200 h 2273274"/>
                <a:gd name="connsiteX1584" fmla="*/ 1067422 w 1212658"/>
                <a:gd name="connsiteY1584" fmla="*/ 1284809 h 2273274"/>
                <a:gd name="connsiteX1585" fmla="*/ 1065698 w 1212658"/>
                <a:gd name="connsiteY1585" fmla="*/ 1283175 h 2273274"/>
                <a:gd name="connsiteX1586" fmla="*/ 1061735 w 1212658"/>
                <a:gd name="connsiteY1586" fmla="*/ 1281299 h 2273274"/>
                <a:gd name="connsiteX1587" fmla="*/ 1043160 w 1212658"/>
                <a:gd name="connsiteY1587" fmla="*/ 1281148 h 2273274"/>
                <a:gd name="connsiteX1588" fmla="*/ 1033329 w 1212658"/>
                <a:gd name="connsiteY1588" fmla="*/ 1278819 h 2273274"/>
                <a:gd name="connsiteX1589" fmla="*/ 1025100 w 1212658"/>
                <a:gd name="connsiteY1589" fmla="*/ 1269350 h 2273274"/>
                <a:gd name="connsiteX1590" fmla="*/ 1018596 w 1212658"/>
                <a:gd name="connsiteY1590" fmla="*/ 1254527 h 2273274"/>
                <a:gd name="connsiteX1591" fmla="*/ 1014028 w 1212658"/>
                <a:gd name="connsiteY1591" fmla="*/ 1236104 h 2273274"/>
                <a:gd name="connsiteX1592" fmla="*/ 1015057 w 1212658"/>
                <a:gd name="connsiteY1592" fmla="*/ 1226696 h 2273274"/>
                <a:gd name="connsiteX1593" fmla="*/ 1017961 w 1212658"/>
                <a:gd name="connsiteY1593" fmla="*/ 1220585 h 2273274"/>
                <a:gd name="connsiteX1594" fmla="*/ 1022015 w 1212658"/>
                <a:gd name="connsiteY1594" fmla="*/ 1217136 h 2273274"/>
                <a:gd name="connsiteX1595" fmla="*/ 1037382 w 1212658"/>
                <a:gd name="connsiteY1595" fmla="*/ 1213688 h 2273274"/>
                <a:gd name="connsiteX1596" fmla="*/ 1039893 w 1212658"/>
                <a:gd name="connsiteY1596" fmla="*/ 1210541 h 2273274"/>
                <a:gd name="connsiteX1597" fmla="*/ 1040347 w 1212658"/>
                <a:gd name="connsiteY1597" fmla="*/ 1207577 h 2273274"/>
                <a:gd name="connsiteX1598" fmla="*/ 1039137 w 1212658"/>
                <a:gd name="connsiteY1598" fmla="*/ 1206851 h 2273274"/>
                <a:gd name="connsiteX1599" fmla="*/ 1037352 w 1212658"/>
                <a:gd name="connsiteY1599" fmla="*/ 1206457 h 2273274"/>
                <a:gd name="connsiteX1600" fmla="*/ 1036142 w 1212658"/>
                <a:gd name="connsiteY1600" fmla="*/ 1204521 h 2273274"/>
                <a:gd name="connsiteX1601" fmla="*/ 1036233 w 1212658"/>
                <a:gd name="connsiteY1601" fmla="*/ 1202343 h 2273274"/>
                <a:gd name="connsiteX1602" fmla="*/ 1037110 w 1212658"/>
                <a:gd name="connsiteY1602" fmla="*/ 1200800 h 2273274"/>
                <a:gd name="connsiteX1603" fmla="*/ 1038290 w 1212658"/>
                <a:gd name="connsiteY1603" fmla="*/ 1199379 h 2273274"/>
                <a:gd name="connsiteX1604" fmla="*/ 1039258 w 1212658"/>
                <a:gd name="connsiteY1604" fmla="*/ 1197564 h 2273274"/>
                <a:gd name="connsiteX1605" fmla="*/ 1038653 w 1212658"/>
                <a:gd name="connsiteY1605" fmla="*/ 1189154 h 2273274"/>
                <a:gd name="connsiteX1606" fmla="*/ 1031967 w 1212658"/>
                <a:gd name="connsiteY1606" fmla="*/ 1186431 h 2273274"/>
                <a:gd name="connsiteX1607" fmla="*/ 1017870 w 1212658"/>
                <a:gd name="connsiteY1607" fmla="*/ 1186915 h 2273274"/>
                <a:gd name="connsiteX1608" fmla="*/ 1013181 w 1212658"/>
                <a:gd name="connsiteY1608" fmla="*/ 1182468 h 2273274"/>
                <a:gd name="connsiteX1609" fmla="*/ 1016690 w 1212658"/>
                <a:gd name="connsiteY1609" fmla="*/ 1174966 h 2273274"/>
                <a:gd name="connsiteX1610" fmla="*/ 1027248 w 1212658"/>
                <a:gd name="connsiteY1610" fmla="*/ 1161746 h 2273274"/>
                <a:gd name="connsiteX1611" fmla="*/ 1028307 w 1212658"/>
                <a:gd name="connsiteY1611" fmla="*/ 1153699 h 2273274"/>
                <a:gd name="connsiteX1612" fmla="*/ 1027066 w 1212658"/>
                <a:gd name="connsiteY1612" fmla="*/ 1133975 h 2273274"/>
                <a:gd name="connsiteX1613" fmla="*/ 1027883 w 1212658"/>
                <a:gd name="connsiteY1613" fmla="*/ 1125716 h 2273274"/>
                <a:gd name="connsiteX1614" fmla="*/ 1027883 w 1212658"/>
                <a:gd name="connsiteY1614" fmla="*/ 1125656 h 2273274"/>
                <a:gd name="connsiteX1615" fmla="*/ 1028398 w 1212658"/>
                <a:gd name="connsiteY1615" fmla="*/ 1124446 h 2273274"/>
                <a:gd name="connsiteX1616" fmla="*/ 1029789 w 1212658"/>
                <a:gd name="connsiteY1616" fmla="*/ 1121209 h 2273274"/>
                <a:gd name="connsiteX1617" fmla="*/ 1037866 w 1212658"/>
                <a:gd name="connsiteY1617" fmla="*/ 1112164 h 2273274"/>
                <a:gd name="connsiteX1618" fmla="*/ 1039167 w 1212658"/>
                <a:gd name="connsiteY1618" fmla="*/ 1109260 h 2273274"/>
                <a:gd name="connsiteX1619" fmla="*/ 1035961 w 1212658"/>
                <a:gd name="connsiteY1619" fmla="*/ 1104782 h 2273274"/>
                <a:gd name="connsiteX1620" fmla="*/ 1028489 w 1212658"/>
                <a:gd name="connsiteY1620" fmla="*/ 1099428 h 2273274"/>
                <a:gd name="connsiteX1621" fmla="*/ 1025524 w 1212658"/>
                <a:gd name="connsiteY1621" fmla="*/ 1094799 h 2273274"/>
                <a:gd name="connsiteX1622" fmla="*/ 1031695 w 1212658"/>
                <a:gd name="connsiteY1622" fmla="*/ 1090595 h 2273274"/>
                <a:gd name="connsiteX1623" fmla="*/ 1055715 w 1212658"/>
                <a:gd name="connsiteY1623" fmla="*/ 1083848 h 2273274"/>
                <a:gd name="connsiteX1624" fmla="*/ 1061916 w 1212658"/>
                <a:gd name="connsiteY1624" fmla="*/ 1087539 h 2273274"/>
                <a:gd name="connsiteX1625" fmla="*/ 1065304 w 1212658"/>
                <a:gd name="connsiteY1625" fmla="*/ 1088719 h 2273274"/>
                <a:gd name="connsiteX1626" fmla="*/ 1066877 w 1212658"/>
                <a:gd name="connsiteY1626" fmla="*/ 1086662 h 2273274"/>
                <a:gd name="connsiteX1627" fmla="*/ 1067119 w 1212658"/>
                <a:gd name="connsiteY1627" fmla="*/ 1081791 h 2273274"/>
                <a:gd name="connsiteX1628" fmla="*/ 1066636 w 1212658"/>
                <a:gd name="connsiteY1628" fmla="*/ 1076225 h 2273274"/>
                <a:gd name="connsiteX1629" fmla="*/ 1063792 w 1212658"/>
                <a:gd name="connsiteY1629" fmla="*/ 1055352 h 2273274"/>
                <a:gd name="connsiteX1630" fmla="*/ 1062975 w 1212658"/>
                <a:gd name="connsiteY1630" fmla="*/ 1051237 h 2273274"/>
                <a:gd name="connsiteX1631" fmla="*/ 1059345 w 1212658"/>
                <a:gd name="connsiteY1631" fmla="*/ 1041617 h 2273274"/>
                <a:gd name="connsiteX1632" fmla="*/ 1056380 w 1212658"/>
                <a:gd name="connsiteY1632" fmla="*/ 1030213 h 2273274"/>
                <a:gd name="connsiteX1633" fmla="*/ 1055200 w 1212658"/>
                <a:gd name="connsiteY1633" fmla="*/ 1026613 h 2273274"/>
                <a:gd name="connsiteX1634" fmla="*/ 1051237 w 1212658"/>
                <a:gd name="connsiteY1634" fmla="*/ 1016993 h 2273274"/>
                <a:gd name="connsiteX1635" fmla="*/ 1050269 w 1212658"/>
                <a:gd name="connsiteY1635" fmla="*/ 1013030 h 2273274"/>
                <a:gd name="connsiteX1636" fmla="*/ 1047426 w 1212658"/>
                <a:gd name="connsiteY1636" fmla="*/ 995423 h 2273274"/>
                <a:gd name="connsiteX1637" fmla="*/ 1045369 w 1212658"/>
                <a:gd name="connsiteY1637" fmla="*/ 986439 h 2273274"/>
                <a:gd name="connsiteX1638" fmla="*/ 1042858 w 1212658"/>
                <a:gd name="connsiteY1638" fmla="*/ 980600 h 2273274"/>
                <a:gd name="connsiteX1639" fmla="*/ 1034509 w 1212658"/>
                <a:gd name="connsiteY1639" fmla="*/ 969770 h 2273274"/>
                <a:gd name="connsiteX1640" fmla="*/ 1020260 w 1212658"/>
                <a:gd name="connsiteY1640" fmla="*/ 945206 h 2273274"/>
                <a:gd name="connsiteX1641" fmla="*/ 1014452 w 1212658"/>
                <a:gd name="connsiteY1641" fmla="*/ 931835 h 2273274"/>
                <a:gd name="connsiteX1642" fmla="*/ 1012092 w 1212658"/>
                <a:gd name="connsiteY1642" fmla="*/ 924393 h 2273274"/>
                <a:gd name="connsiteX1643" fmla="*/ 1010277 w 1212658"/>
                <a:gd name="connsiteY1643" fmla="*/ 916407 h 2273274"/>
                <a:gd name="connsiteX1644" fmla="*/ 1009732 w 1212658"/>
                <a:gd name="connsiteY1644" fmla="*/ 911960 h 2273274"/>
                <a:gd name="connsiteX1645" fmla="*/ 1008522 w 1212658"/>
                <a:gd name="connsiteY1645" fmla="*/ 902219 h 2273274"/>
                <a:gd name="connsiteX1646" fmla="*/ 1007554 w 1212658"/>
                <a:gd name="connsiteY1646" fmla="*/ 898226 h 2273274"/>
                <a:gd name="connsiteX1647" fmla="*/ 995968 w 1212658"/>
                <a:gd name="connsiteY1647" fmla="*/ 880286 h 2273274"/>
                <a:gd name="connsiteX1648" fmla="*/ 995151 w 1212658"/>
                <a:gd name="connsiteY1648" fmla="*/ 878502 h 2273274"/>
                <a:gd name="connsiteX1649" fmla="*/ 994667 w 1212658"/>
                <a:gd name="connsiteY1649" fmla="*/ 876082 h 2273274"/>
                <a:gd name="connsiteX1650" fmla="*/ 994546 w 1212658"/>
                <a:gd name="connsiteY1650" fmla="*/ 873813 h 2273274"/>
                <a:gd name="connsiteX1651" fmla="*/ 994244 w 1212658"/>
                <a:gd name="connsiteY1651" fmla="*/ 871756 h 2273274"/>
                <a:gd name="connsiteX1652" fmla="*/ 991370 w 1212658"/>
                <a:gd name="connsiteY1652" fmla="*/ 867248 h 2273274"/>
                <a:gd name="connsiteX1653" fmla="*/ 991219 w 1212658"/>
                <a:gd name="connsiteY1653" fmla="*/ 866794 h 2273274"/>
                <a:gd name="connsiteX1654" fmla="*/ 987165 w 1212658"/>
                <a:gd name="connsiteY1654" fmla="*/ 854300 h 2273274"/>
                <a:gd name="connsiteX1655" fmla="*/ 963720 w 1212658"/>
                <a:gd name="connsiteY1655" fmla="*/ 817364 h 2273274"/>
                <a:gd name="connsiteX1656" fmla="*/ 959939 w 1212658"/>
                <a:gd name="connsiteY1656" fmla="*/ 800816 h 2273274"/>
                <a:gd name="connsiteX1657" fmla="*/ 964809 w 1212658"/>
                <a:gd name="connsiteY1657" fmla="*/ 781122 h 2273274"/>
                <a:gd name="connsiteX1658" fmla="*/ 964809 w 1212658"/>
                <a:gd name="connsiteY1658" fmla="*/ 781122 h 2273274"/>
                <a:gd name="connsiteX1659" fmla="*/ 997965 w 1212658"/>
                <a:gd name="connsiteY1659" fmla="*/ 723645 h 2273274"/>
                <a:gd name="connsiteX1660" fmla="*/ 1003138 w 1212658"/>
                <a:gd name="connsiteY1660" fmla="*/ 717897 h 2273274"/>
                <a:gd name="connsiteX1661" fmla="*/ 1004106 w 1212658"/>
                <a:gd name="connsiteY1661" fmla="*/ 716415 h 2273274"/>
                <a:gd name="connsiteX1662" fmla="*/ 1004741 w 1212658"/>
                <a:gd name="connsiteY1662" fmla="*/ 714660 h 2273274"/>
                <a:gd name="connsiteX1663" fmla="*/ 1005890 w 1212658"/>
                <a:gd name="connsiteY1663" fmla="*/ 710394 h 2273274"/>
                <a:gd name="connsiteX1664" fmla="*/ 1007040 w 1212658"/>
                <a:gd name="connsiteY1664" fmla="*/ 707974 h 2273274"/>
                <a:gd name="connsiteX1665" fmla="*/ 1046942 w 1212658"/>
                <a:gd name="connsiteY1665" fmla="*/ 657424 h 2273274"/>
                <a:gd name="connsiteX1666" fmla="*/ 1048666 w 1212658"/>
                <a:gd name="connsiteY1666" fmla="*/ 653007 h 2273274"/>
                <a:gd name="connsiteX1667" fmla="*/ 1051328 w 1212658"/>
                <a:gd name="connsiteY1667" fmla="*/ 642056 h 2273274"/>
                <a:gd name="connsiteX1668" fmla="*/ 1051812 w 1212658"/>
                <a:gd name="connsiteY1668" fmla="*/ 638880 h 2273274"/>
                <a:gd name="connsiteX1669" fmla="*/ 1052690 w 1212658"/>
                <a:gd name="connsiteY1669" fmla="*/ 623180 h 2273274"/>
                <a:gd name="connsiteX1670" fmla="*/ 1053113 w 1212658"/>
                <a:gd name="connsiteY1670" fmla="*/ 620033 h 2273274"/>
                <a:gd name="connsiteX1671" fmla="*/ 1054142 w 1212658"/>
                <a:gd name="connsiteY1671" fmla="*/ 617523 h 2273274"/>
                <a:gd name="connsiteX1672" fmla="*/ 1056320 w 1212658"/>
                <a:gd name="connsiteY1672" fmla="*/ 614255 h 2273274"/>
                <a:gd name="connsiteX1673" fmla="*/ 1026583 w 1212658"/>
                <a:gd name="connsiteY1673" fmla="*/ 588209 h 2273274"/>
                <a:gd name="connsiteX1674" fmla="*/ 1020290 w 1212658"/>
                <a:gd name="connsiteY1674" fmla="*/ 580616 h 2273274"/>
                <a:gd name="connsiteX1675" fmla="*/ 1003138 w 1212658"/>
                <a:gd name="connsiteY1675" fmla="*/ 546976 h 2273274"/>
                <a:gd name="connsiteX1676" fmla="*/ 999266 w 1212658"/>
                <a:gd name="connsiteY1676" fmla="*/ 539413 h 2273274"/>
                <a:gd name="connsiteX1677" fmla="*/ 999266 w 1212658"/>
                <a:gd name="connsiteY1677" fmla="*/ 539413 h 2273274"/>
                <a:gd name="connsiteX1678" fmla="*/ 990977 w 1212658"/>
                <a:gd name="connsiteY1678" fmla="*/ 523168 h 2273274"/>
                <a:gd name="connsiteX1679" fmla="*/ 988042 w 1212658"/>
                <a:gd name="connsiteY1679" fmla="*/ 519205 h 2273274"/>
                <a:gd name="connsiteX1680" fmla="*/ 984805 w 1212658"/>
                <a:gd name="connsiteY1680" fmla="*/ 516967 h 2273274"/>
                <a:gd name="connsiteX1681" fmla="*/ 956036 w 1212658"/>
                <a:gd name="connsiteY1681" fmla="*/ 505683 h 2273274"/>
                <a:gd name="connsiteX1682" fmla="*/ 927297 w 1212658"/>
                <a:gd name="connsiteY1682" fmla="*/ 494369 h 2273274"/>
                <a:gd name="connsiteX1683" fmla="*/ 923576 w 1212658"/>
                <a:gd name="connsiteY1683" fmla="*/ 491767 h 2273274"/>
                <a:gd name="connsiteX1684" fmla="*/ 920914 w 1212658"/>
                <a:gd name="connsiteY1684" fmla="*/ 486594 h 2273274"/>
                <a:gd name="connsiteX1685" fmla="*/ 902522 w 1212658"/>
                <a:gd name="connsiteY1685" fmla="*/ 421796 h 2273274"/>
                <a:gd name="connsiteX1686" fmla="*/ 900525 w 1212658"/>
                <a:gd name="connsiteY1686" fmla="*/ 414626 h 2273274"/>
                <a:gd name="connsiteX1687" fmla="*/ 899164 w 1212658"/>
                <a:gd name="connsiteY1687" fmla="*/ 408606 h 2273274"/>
                <a:gd name="connsiteX1688" fmla="*/ 899164 w 1212658"/>
                <a:gd name="connsiteY1688" fmla="*/ 404855 h 2273274"/>
                <a:gd name="connsiteX1689" fmla="*/ 900404 w 1212658"/>
                <a:gd name="connsiteY1689" fmla="*/ 401648 h 2273274"/>
                <a:gd name="connsiteX1690" fmla="*/ 926208 w 1212658"/>
                <a:gd name="connsiteY1690" fmla="*/ 354517 h 2273274"/>
                <a:gd name="connsiteX1691" fmla="*/ 929324 w 1212658"/>
                <a:gd name="connsiteY1691" fmla="*/ 346288 h 2273274"/>
                <a:gd name="connsiteX1692" fmla="*/ 934800 w 1212658"/>
                <a:gd name="connsiteY1692" fmla="*/ 327018 h 2273274"/>
                <a:gd name="connsiteX1693" fmla="*/ 927418 w 1212658"/>
                <a:gd name="connsiteY1693" fmla="*/ 319455 h 2273274"/>
                <a:gd name="connsiteX1694" fmla="*/ 919099 w 1212658"/>
                <a:gd name="connsiteY1694" fmla="*/ 317761 h 2273274"/>
                <a:gd name="connsiteX1695" fmla="*/ 898831 w 1212658"/>
                <a:gd name="connsiteY1695" fmla="*/ 319274 h 2273274"/>
                <a:gd name="connsiteX1696" fmla="*/ 897076 w 1212658"/>
                <a:gd name="connsiteY1696" fmla="*/ 318064 h 2273274"/>
                <a:gd name="connsiteX1697" fmla="*/ 895685 w 1212658"/>
                <a:gd name="connsiteY1697" fmla="*/ 315613 h 2273274"/>
                <a:gd name="connsiteX1698" fmla="*/ 895412 w 1212658"/>
                <a:gd name="connsiteY1698" fmla="*/ 310864 h 2273274"/>
                <a:gd name="connsiteX1699" fmla="*/ 900041 w 1212658"/>
                <a:gd name="connsiteY1699" fmla="*/ 310470 h 2273274"/>
                <a:gd name="connsiteX1700" fmla="*/ 925906 w 1212658"/>
                <a:gd name="connsiteY1700" fmla="*/ 292985 h 2273274"/>
                <a:gd name="connsiteX1701" fmla="*/ 938006 w 1212658"/>
                <a:gd name="connsiteY1701" fmla="*/ 288750 h 2273274"/>
                <a:gd name="connsiteX1702" fmla="*/ 950137 w 1212658"/>
                <a:gd name="connsiteY1702" fmla="*/ 277708 h 2273274"/>
                <a:gd name="connsiteX1703" fmla="*/ 938611 w 1212658"/>
                <a:gd name="connsiteY1703" fmla="*/ 263974 h 2273274"/>
                <a:gd name="connsiteX1704" fmla="*/ 937401 w 1212658"/>
                <a:gd name="connsiteY1704" fmla="*/ 261251 h 2273274"/>
                <a:gd name="connsiteX1705" fmla="*/ 937341 w 1212658"/>
                <a:gd name="connsiteY1705" fmla="*/ 257077 h 2273274"/>
                <a:gd name="connsiteX1706" fmla="*/ 939065 w 1212658"/>
                <a:gd name="connsiteY1706" fmla="*/ 237746 h 2273274"/>
                <a:gd name="connsiteX1707" fmla="*/ 939882 w 1212658"/>
                <a:gd name="connsiteY1707" fmla="*/ 231938 h 2273274"/>
                <a:gd name="connsiteX1708" fmla="*/ 941152 w 1212658"/>
                <a:gd name="connsiteY1708" fmla="*/ 228519 h 2273274"/>
                <a:gd name="connsiteX1709" fmla="*/ 977817 w 1212658"/>
                <a:gd name="connsiteY1709" fmla="*/ 186591 h 2273274"/>
                <a:gd name="connsiteX1710" fmla="*/ 989434 w 1212658"/>
                <a:gd name="connsiteY1710" fmla="*/ 163539 h 2273274"/>
                <a:gd name="connsiteX1711" fmla="*/ 975215 w 1212658"/>
                <a:gd name="connsiteY1711" fmla="*/ 131382 h 2273274"/>
                <a:gd name="connsiteX1712" fmla="*/ 969589 w 1212658"/>
                <a:gd name="connsiteY1712" fmla="*/ 110660 h 2273274"/>
                <a:gd name="connsiteX1713" fmla="*/ 967986 w 1212658"/>
                <a:gd name="connsiteY1713" fmla="*/ 107907 h 2273274"/>
                <a:gd name="connsiteX1714" fmla="*/ 935253 w 1212658"/>
                <a:gd name="connsiteY1714" fmla="*/ 93023 h 2273274"/>
                <a:gd name="connsiteX1715" fmla="*/ 902552 w 1212658"/>
                <a:gd name="connsiteY1715" fmla="*/ 78109 h 2273274"/>
                <a:gd name="connsiteX1716" fmla="*/ 898710 w 1212658"/>
                <a:gd name="connsiteY1716" fmla="*/ 76566 h 2273274"/>
                <a:gd name="connsiteX1717" fmla="*/ 894868 w 1212658"/>
                <a:gd name="connsiteY1717" fmla="*/ 73662 h 2273274"/>
                <a:gd name="connsiteX1718" fmla="*/ 892357 w 1212658"/>
                <a:gd name="connsiteY1718" fmla="*/ 68277 h 2273274"/>
                <a:gd name="connsiteX1719" fmla="*/ 892508 w 1212658"/>
                <a:gd name="connsiteY1719" fmla="*/ 59202 h 2273274"/>
                <a:gd name="connsiteX1720" fmla="*/ 873177 w 1212658"/>
                <a:gd name="connsiteY1720" fmla="*/ 51185 h 2273274"/>
                <a:gd name="connsiteX1721" fmla="*/ 870969 w 1212658"/>
                <a:gd name="connsiteY1721" fmla="*/ 48947 h 2273274"/>
                <a:gd name="connsiteX1722" fmla="*/ 852213 w 1212658"/>
                <a:gd name="connsiteY1722" fmla="*/ 17818 h 2273274"/>
                <a:gd name="connsiteX1723" fmla="*/ 846798 w 1212658"/>
                <a:gd name="connsiteY1723" fmla="*/ 5990 h 2273274"/>
                <a:gd name="connsiteX1724" fmla="*/ 843803 w 1212658"/>
                <a:gd name="connsiteY1724" fmla="*/ 1271 h 2273274"/>
                <a:gd name="connsiteX1725" fmla="*/ 840748 w 1212658"/>
                <a:gd name="connsiteY1725" fmla="*/ 0 h 2273274"/>
                <a:gd name="connsiteX1726" fmla="*/ 833246 w 1212658"/>
                <a:gd name="connsiteY1726" fmla="*/ 4447 h 2273274"/>
                <a:gd name="connsiteX1727" fmla="*/ 820449 w 1212658"/>
                <a:gd name="connsiteY1727" fmla="*/ 1906 h 2273274"/>
                <a:gd name="connsiteX1728" fmla="*/ 815155 w 1212658"/>
                <a:gd name="connsiteY1728" fmla="*/ 3600 h 2273274"/>
                <a:gd name="connsiteX1729" fmla="*/ 810981 w 1212658"/>
                <a:gd name="connsiteY1729" fmla="*/ 9348 h 2273274"/>
                <a:gd name="connsiteX1730" fmla="*/ 810224 w 1212658"/>
                <a:gd name="connsiteY1730" fmla="*/ 14037 h 2273274"/>
                <a:gd name="connsiteX1731" fmla="*/ 798335 w 1212658"/>
                <a:gd name="connsiteY1731" fmla="*/ 19542 h 2273274"/>
                <a:gd name="connsiteX1732" fmla="*/ 791862 w 1212658"/>
                <a:gd name="connsiteY1732" fmla="*/ 27378 h 2273274"/>
                <a:gd name="connsiteX1733" fmla="*/ 790259 w 1212658"/>
                <a:gd name="connsiteY1733" fmla="*/ 28043 h 2273274"/>
                <a:gd name="connsiteX1734" fmla="*/ 788655 w 1212658"/>
                <a:gd name="connsiteY1734" fmla="*/ 28164 h 2273274"/>
                <a:gd name="connsiteX1735" fmla="*/ 787173 w 1212658"/>
                <a:gd name="connsiteY1735" fmla="*/ 28890 h 2273274"/>
                <a:gd name="connsiteX1736" fmla="*/ 786054 w 1212658"/>
                <a:gd name="connsiteY1736" fmla="*/ 31310 h 2273274"/>
                <a:gd name="connsiteX1737" fmla="*/ 786780 w 1212658"/>
                <a:gd name="connsiteY1737" fmla="*/ 31915 h 2273274"/>
                <a:gd name="connsiteX1738" fmla="*/ 788232 w 1212658"/>
                <a:gd name="connsiteY1738" fmla="*/ 33730 h 2273274"/>
                <a:gd name="connsiteX1739" fmla="*/ 788958 w 1212658"/>
                <a:gd name="connsiteY1739" fmla="*/ 34275 h 2273274"/>
                <a:gd name="connsiteX1740" fmla="*/ 784874 w 1212658"/>
                <a:gd name="connsiteY1740" fmla="*/ 39448 h 2273274"/>
                <a:gd name="connsiteX1741" fmla="*/ 763577 w 1212658"/>
                <a:gd name="connsiteY1741" fmla="*/ 46920 h 2273274"/>
                <a:gd name="connsiteX1742" fmla="*/ 761671 w 1212658"/>
                <a:gd name="connsiteY1742" fmla="*/ 46587 h 2273274"/>
                <a:gd name="connsiteX1743" fmla="*/ 754259 w 1212658"/>
                <a:gd name="connsiteY1743" fmla="*/ 41323 h 2273274"/>
                <a:gd name="connsiteX1744" fmla="*/ 751597 w 1212658"/>
                <a:gd name="connsiteY1744" fmla="*/ 41112 h 2273274"/>
                <a:gd name="connsiteX1745" fmla="*/ 748602 w 1212658"/>
                <a:gd name="connsiteY1745" fmla="*/ 41959 h 2273274"/>
                <a:gd name="connsiteX1746" fmla="*/ 743005 w 1212658"/>
                <a:gd name="connsiteY1746" fmla="*/ 38147 h 2273274"/>
                <a:gd name="connsiteX1747" fmla="*/ 739890 w 1212658"/>
                <a:gd name="connsiteY1747" fmla="*/ 37149 h 2273274"/>
                <a:gd name="connsiteX1748" fmla="*/ 730572 w 1212658"/>
                <a:gd name="connsiteY1748" fmla="*/ 39750 h 2273274"/>
                <a:gd name="connsiteX1749" fmla="*/ 724038 w 1212658"/>
                <a:gd name="connsiteY1749" fmla="*/ 37966 h 2273274"/>
                <a:gd name="connsiteX1750" fmla="*/ 706613 w 1212658"/>
                <a:gd name="connsiteY1750" fmla="*/ 40597 h 2273274"/>
                <a:gd name="connsiteX1751" fmla="*/ 703255 w 1212658"/>
                <a:gd name="connsiteY1751" fmla="*/ 42473 h 2273274"/>
                <a:gd name="connsiteX1752" fmla="*/ 701289 w 1212658"/>
                <a:gd name="connsiteY1752" fmla="*/ 47555 h 2273274"/>
                <a:gd name="connsiteX1753" fmla="*/ 697749 w 1212658"/>
                <a:gd name="connsiteY1753" fmla="*/ 52305 h 2273274"/>
                <a:gd name="connsiteX1754" fmla="*/ 696721 w 1212658"/>
                <a:gd name="connsiteY1754" fmla="*/ 54332 h 2273274"/>
                <a:gd name="connsiteX1755" fmla="*/ 697931 w 1212658"/>
                <a:gd name="connsiteY1755" fmla="*/ 59232 h 2273274"/>
                <a:gd name="connsiteX1756" fmla="*/ 694996 w 1212658"/>
                <a:gd name="connsiteY1756" fmla="*/ 64708 h 2273274"/>
                <a:gd name="connsiteX1757" fmla="*/ 684741 w 1212658"/>
                <a:gd name="connsiteY1757" fmla="*/ 75629 h 2273274"/>
                <a:gd name="connsiteX1758" fmla="*/ 679841 w 1212658"/>
                <a:gd name="connsiteY1758" fmla="*/ 85430 h 2273274"/>
                <a:gd name="connsiteX1759" fmla="*/ 675303 w 1212658"/>
                <a:gd name="connsiteY1759" fmla="*/ 92479 h 2273274"/>
                <a:gd name="connsiteX1760" fmla="*/ 674093 w 1212658"/>
                <a:gd name="connsiteY1760" fmla="*/ 94899 h 2273274"/>
                <a:gd name="connsiteX1761" fmla="*/ 672822 w 1212658"/>
                <a:gd name="connsiteY1761" fmla="*/ 96895 h 2273274"/>
                <a:gd name="connsiteX1762" fmla="*/ 671128 w 1212658"/>
                <a:gd name="connsiteY1762" fmla="*/ 98015 h 2273274"/>
                <a:gd name="connsiteX1763" fmla="*/ 656093 w 1212658"/>
                <a:gd name="connsiteY1763" fmla="*/ 101917 h 2273274"/>
                <a:gd name="connsiteX1764" fmla="*/ 653371 w 1212658"/>
                <a:gd name="connsiteY1764" fmla="*/ 103883 h 2273274"/>
                <a:gd name="connsiteX1765" fmla="*/ 650981 w 1212658"/>
                <a:gd name="connsiteY1765" fmla="*/ 107756 h 2273274"/>
                <a:gd name="connsiteX1766" fmla="*/ 649710 w 1212658"/>
                <a:gd name="connsiteY1766" fmla="*/ 110871 h 2273274"/>
                <a:gd name="connsiteX1767" fmla="*/ 648984 w 1212658"/>
                <a:gd name="connsiteY1767" fmla="*/ 113715 h 2273274"/>
                <a:gd name="connsiteX1768" fmla="*/ 649256 w 1212658"/>
                <a:gd name="connsiteY1768" fmla="*/ 116347 h 2273274"/>
                <a:gd name="connsiteX1769" fmla="*/ 650951 w 1212658"/>
                <a:gd name="connsiteY1769" fmla="*/ 118797 h 2273274"/>
                <a:gd name="connsiteX1770" fmla="*/ 653371 w 1212658"/>
                <a:gd name="connsiteY1770" fmla="*/ 124817 h 2273274"/>
                <a:gd name="connsiteX1771" fmla="*/ 653250 w 1212658"/>
                <a:gd name="connsiteY1771" fmla="*/ 131110 h 2273274"/>
                <a:gd name="connsiteX1772" fmla="*/ 651465 w 1212658"/>
                <a:gd name="connsiteY1772" fmla="*/ 136888 h 2273274"/>
                <a:gd name="connsiteX1773" fmla="*/ 648863 w 1212658"/>
                <a:gd name="connsiteY1773" fmla="*/ 141335 h 2273274"/>
                <a:gd name="connsiteX1774" fmla="*/ 642813 w 1212658"/>
                <a:gd name="connsiteY1774" fmla="*/ 145721 h 2273274"/>
                <a:gd name="connsiteX1775" fmla="*/ 641452 w 1212658"/>
                <a:gd name="connsiteY1775" fmla="*/ 148686 h 2273274"/>
                <a:gd name="connsiteX1776" fmla="*/ 641845 w 1212658"/>
                <a:gd name="connsiteY1776" fmla="*/ 150289 h 2273274"/>
                <a:gd name="connsiteX1777" fmla="*/ 642934 w 1212658"/>
                <a:gd name="connsiteY1777" fmla="*/ 151802 h 2273274"/>
                <a:gd name="connsiteX1778" fmla="*/ 643418 w 1212658"/>
                <a:gd name="connsiteY1778" fmla="*/ 153738 h 2273274"/>
                <a:gd name="connsiteX1779" fmla="*/ 641996 w 1212658"/>
                <a:gd name="connsiteY1779" fmla="*/ 156642 h 2273274"/>
                <a:gd name="connsiteX1780" fmla="*/ 641361 w 1212658"/>
                <a:gd name="connsiteY1780" fmla="*/ 159758 h 2273274"/>
                <a:gd name="connsiteX1781" fmla="*/ 641452 w 1212658"/>
                <a:gd name="connsiteY1781" fmla="*/ 166080 h 2273274"/>
                <a:gd name="connsiteX1782" fmla="*/ 640514 w 1212658"/>
                <a:gd name="connsiteY1782" fmla="*/ 168228 h 2273274"/>
                <a:gd name="connsiteX1783" fmla="*/ 639334 w 1212658"/>
                <a:gd name="connsiteY1783" fmla="*/ 169832 h 2273274"/>
                <a:gd name="connsiteX1784" fmla="*/ 636884 w 1212658"/>
                <a:gd name="connsiteY1784" fmla="*/ 175942 h 2273274"/>
                <a:gd name="connsiteX1785" fmla="*/ 640030 w 1212658"/>
                <a:gd name="connsiteY1785" fmla="*/ 186137 h 2273274"/>
                <a:gd name="connsiteX1786" fmla="*/ 640484 w 1212658"/>
                <a:gd name="connsiteY1786" fmla="*/ 188315 h 2273274"/>
                <a:gd name="connsiteX1787" fmla="*/ 631348 w 1212658"/>
                <a:gd name="connsiteY1787" fmla="*/ 203532 h 2273274"/>
                <a:gd name="connsiteX1788" fmla="*/ 630138 w 1212658"/>
                <a:gd name="connsiteY1788" fmla="*/ 207192 h 2273274"/>
                <a:gd name="connsiteX1789" fmla="*/ 626386 w 1212658"/>
                <a:gd name="connsiteY1789" fmla="*/ 228247 h 2273274"/>
                <a:gd name="connsiteX1790" fmla="*/ 626084 w 1212658"/>
                <a:gd name="connsiteY1790" fmla="*/ 235265 h 2273274"/>
                <a:gd name="connsiteX1791" fmla="*/ 627657 w 1212658"/>
                <a:gd name="connsiteY1791" fmla="*/ 242072 h 2273274"/>
                <a:gd name="connsiteX1792" fmla="*/ 628201 w 1212658"/>
                <a:gd name="connsiteY1792" fmla="*/ 243524 h 2273274"/>
                <a:gd name="connsiteX1793" fmla="*/ 629533 w 1212658"/>
                <a:gd name="connsiteY1793" fmla="*/ 248062 h 2273274"/>
                <a:gd name="connsiteX1794" fmla="*/ 629805 w 1212658"/>
                <a:gd name="connsiteY1794" fmla="*/ 249877 h 2273274"/>
                <a:gd name="connsiteX1795" fmla="*/ 629684 w 1212658"/>
                <a:gd name="connsiteY1795" fmla="*/ 251873 h 2273274"/>
                <a:gd name="connsiteX1796" fmla="*/ 629321 w 1212658"/>
                <a:gd name="connsiteY1796" fmla="*/ 253084 h 2273274"/>
                <a:gd name="connsiteX1797" fmla="*/ 628927 w 1212658"/>
                <a:gd name="connsiteY1797" fmla="*/ 253991 h 2273274"/>
                <a:gd name="connsiteX1798" fmla="*/ 628716 w 1212658"/>
                <a:gd name="connsiteY1798" fmla="*/ 255050 h 2273274"/>
                <a:gd name="connsiteX1799" fmla="*/ 628564 w 1212658"/>
                <a:gd name="connsiteY1799" fmla="*/ 263641 h 2273274"/>
                <a:gd name="connsiteX1800" fmla="*/ 628353 w 1212658"/>
                <a:gd name="connsiteY1800" fmla="*/ 265426 h 2273274"/>
                <a:gd name="connsiteX1801" fmla="*/ 627566 w 1212658"/>
                <a:gd name="connsiteY1801" fmla="*/ 267907 h 2273274"/>
                <a:gd name="connsiteX1802" fmla="*/ 627657 w 1212658"/>
                <a:gd name="connsiteY1802" fmla="*/ 269540 h 2273274"/>
                <a:gd name="connsiteX1803" fmla="*/ 629170 w 1212658"/>
                <a:gd name="connsiteY1803" fmla="*/ 273655 h 2273274"/>
                <a:gd name="connsiteX1804" fmla="*/ 629230 w 1212658"/>
                <a:gd name="connsiteY1804" fmla="*/ 274744 h 2273274"/>
                <a:gd name="connsiteX1805" fmla="*/ 629109 w 1212658"/>
                <a:gd name="connsiteY1805" fmla="*/ 275802 h 2273274"/>
                <a:gd name="connsiteX1806" fmla="*/ 629230 w 1212658"/>
                <a:gd name="connsiteY1806" fmla="*/ 276952 h 2273274"/>
                <a:gd name="connsiteX1807" fmla="*/ 630047 w 1212658"/>
                <a:gd name="connsiteY1807" fmla="*/ 278313 h 2273274"/>
                <a:gd name="connsiteX1808" fmla="*/ 631953 w 1212658"/>
                <a:gd name="connsiteY1808" fmla="*/ 280189 h 2273274"/>
                <a:gd name="connsiteX1809" fmla="*/ 632769 w 1212658"/>
                <a:gd name="connsiteY1809" fmla="*/ 281490 h 2273274"/>
                <a:gd name="connsiteX1810" fmla="*/ 633132 w 1212658"/>
                <a:gd name="connsiteY1810" fmla="*/ 283305 h 2273274"/>
                <a:gd name="connsiteX1811" fmla="*/ 632255 w 1212658"/>
                <a:gd name="connsiteY1811" fmla="*/ 286602 h 2273274"/>
                <a:gd name="connsiteX1812" fmla="*/ 628020 w 1212658"/>
                <a:gd name="connsiteY1812" fmla="*/ 290474 h 2273274"/>
                <a:gd name="connsiteX1813" fmla="*/ 626901 w 1212658"/>
                <a:gd name="connsiteY1813" fmla="*/ 293681 h 2273274"/>
                <a:gd name="connsiteX1814" fmla="*/ 626356 w 1212658"/>
                <a:gd name="connsiteY1814" fmla="*/ 297130 h 2273274"/>
                <a:gd name="connsiteX1815" fmla="*/ 625237 w 1212658"/>
                <a:gd name="connsiteY1815" fmla="*/ 299731 h 2273274"/>
                <a:gd name="connsiteX1816" fmla="*/ 622060 w 1212658"/>
                <a:gd name="connsiteY1816" fmla="*/ 304057 h 2273274"/>
                <a:gd name="connsiteX1817" fmla="*/ 620397 w 1212658"/>
                <a:gd name="connsiteY1817" fmla="*/ 307415 h 2273274"/>
                <a:gd name="connsiteX1818" fmla="*/ 619156 w 1212658"/>
                <a:gd name="connsiteY1818" fmla="*/ 311318 h 2273274"/>
                <a:gd name="connsiteX1819" fmla="*/ 617704 w 1212658"/>
                <a:gd name="connsiteY1819" fmla="*/ 314887 h 2273274"/>
                <a:gd name="connsiteX1820" fmla="*/ 615284 w 1212658"/>
                <a:gd name="connsiteY1820" fmla="*/ 317277 h 2273274"/>
                <a:gd name="connsiteX1821" fmla="*/ 612743 w 1212658"/>
                <a:gd name="connsiteY1821" fmla="*/ 317791 h 2273274"/>
                <a:gd name="connsiteX1822" fmla="*/ 600521 w 1212658"/>
                <a:gd name="connsiteY1822" fmla="*/ 313768 h 2273274"/>
                <a:gd name="connsiteX1823" fmla="*/ 595772 w 1212658"/>
                <a:gd name="connsiteY1823" fmla="*/ 314766 h 2273274"/>
                <a:gd name="connsiteX1824" fmla="*/ 591053 w 1212658"/>
                <a:gd name="connsiteY1824" fmla="*/ 317156 h 2273274"/>
                <a:gd name="connsiteX1825" fmla="*/ 572357 w 1212658"/>
                <a:gd name="connsiteY1825" fmla="*/ 333038 h 2273274"/>
                <a:gd name="connsiteX1826" fmla="*/ 568455 w 1212658"/>
                <a:gd name="connsiteY1826" fmla="*/ 340208 h 2273274"/>
                <a:gd name="connsiteX1827" fmla="*/ 567124 w 1212658"/>
                <a:gd name="connsiteY1827" fmla="*/ 345320 h 2273274"/>
                <a:gd name="connsiteX1828" fmla="*/ 566640 w 1212658"/>
                <a:gd name="connsiteY1828" fmla="*/ 350947 h 2273274"/>
                <a:gd name="connsiteX1829" fmla="*/ 566458 w 1212658"/>
                <a:gd name="connsiteY1829" fmla="*/ 362836 h 2273274"/>
                <a:gd name="connsiteX1830" fmla="*/ 566035 w 1212658"/>
                <a:gd name="connsiteY1830" fmla="*/ 364772 h 2273274"/>
                <a:gd name="connsiteX1831" fmla="*/ 565430 w 1212658"/>
                <a:gd name="connsiteY1831" fmla="*/ 366194 h 2273274"/>
                <a:gd name="connsiteX1832" fmla="*/ 565369 w 1212658"/>
                <a:gd name="connsiteY1832" fmla="*/ 367736 h 2273274"/>
                <a:gd name="connsiteX1833" fmla="*/ 566579 w 1212658"/>
                <a:gd name="connsiteY1833" fmla="*/ 369915 h 2273274"/>
                <a:gd name="connsiteX1834" fmla="*/ 565399 w 1212658"/>
                <a:gd name="connsiteY1834" fmla="*/ 375088 h 2273274"/>
                <a:gd name="connsiteX1835" fmla="*/ 563887 w 1212658"/>
                <a:gd name="connsiteY1835" fmla="*/ 377629 h 2273274"/>
                <a:gd name="connsiteX1836" fmla="*/ 561890 w 1212658"/>
                <a:gd name="connsiteY1836" fmla="*/ 378627 h 2273274"/>
                <a:gd name="connsiteX1837" fmla="*/ 559168 w 1212658"/>
                <a:gd name="connsiteY1837" fmla="*/ 379202 h 2273274"/>
                <a:gd name="connsiteX1838" fmla="*/ 552724 w 1212658"/>
                <a:gd name="connsiteY1838" fmla="*/ 383467 h 2273274"/>
                <a:gd name="connsiteX1839" fmla="*/ 550153 w 1212658"/>
                <a:gd name="connsiteY1839" fmla="*/ 383346 h 2273274"/>
                <a:gd name="connsiteX1840" fmla="*/ 547188 w 1212658"/>
                <a:gd name="connsiteY1840" fmla="*/ 385887 h 2273274"/>
                <a:gd name="connsiteX1841" fmla="*/ 545827 w 1212658"/>
                <a:gd name="connsiteY1841" fmla="*/ 390153 h 2273274"/>
                <a:gd name="connsiteX1842" fmla="*/ 544707 w 1212658"/>
                <a:gd name="connsiteY1842" fmla="*/ 394690 h 2273274"/>
                <a:gd name="connsiteX1843" fmla="*/ 542499 w 1212658"/>
                <a:gd name="connsiteY1843" fmla="*/ 398079 h 2273274"/>
                <a:gd name="connsiteX1844" fmla="*/ 539898 w 1212658"/>
                <a:gd name="connsiteY1844" fmla="*/ 398623 h 2273274"/>
                <a:gd name="connsiteX1845" fmla="*/ 538052 w 1212658"/>
                <a:gd name="connsiteY1845" fmla="*/ 396445 h 2273274"/>
                <a:gd name="connsiteX1846" fmla="*/ 534906 w 1212658"/>
                <a:gd name="connsiteY1846" fmla="*/ 388670 h 2273274"/>
                <a:gd name="connsiteX1847" fmla="*/ 527313 w 1212658"/>
                <a:gd name="connsiteY1847" fmla="*/ 377568 h 2273274"/>
                <a:gd name="connsiteX1848" fmla="*/ 518177 w 1212658"/>
                <a:gd name="connsiteY1848" fmla="*/ 370399 h 2273274"/>
                <a:gd name="connsiteX1849" fmla="*/ 499845 w 1212658"/>
                <a:gd name="connsiteY1849" fmla="*/ 364530 h 2273274"/>
                <a:gd name="connsiteX1850" fmla="*/ 484870 w 1212658"/>
                <a:gd name="connsiteY1850" fmla="*/ 359599 h 2273274"/>
                <a:gd name="connsiteX1851" fmla="*/ 470228 w 1212658"/>
                <a:gd name="connsiteY1851" fmla="*/ 350433 h 2273274"/>
                <a:gd name="connsiteX1852" fmla="*/ 467899 w 1212658"/>
                <a:gd name="connsiteY1852" fmla="*/ 347801 h 2273274"/>
                <a:gd name="connsiteX1853" fmla="*/ 464632 w 1212658"/>
                <a:gd name="connsiteY1853" fmla="*/ 342355 h 2273274"/>
                <a:gd name="connsiteX1854" fmla="*/ 444303 w 1212658"/>
                <a:gd name="connsiteY1854" fmla="*/ 332100 h 2273274"/>
                <a:gd name="connsiteX1855" fmla="*/ 436619 w 1212658"/>
                <a:gd name="connsiteY1855" fmla="*/ 331979 h 2273274"/>
                <a:gd name="connsiteX1856" fmla="*/ 430024 w 1212658"/>
                <a:gd name="connsiteY1856" fmla="*/ 336305 h 2273274"/>
                <a:gd name="connsiteX1857" fmla="*/ 428088 w 1212658"/>
                <a:gd name="connsiteY1857" fmla="*/ 347498 h 2273274"/>
                <a:gd name="connsiteX1858" fmla="*/ 424760 w 1212658"/>
                <a:gd name="connsiteY1858" fmla="*/ 357844 h 2273274"/>
                <a:gd name="connsiteX1859" fmla="*/ 415383 w 1212658"/>
                <a:gd name="connsiteY1859" fmla="*/ 363047 h 2273274"/>
                <a:gd name="connsiteX1860" fmla="*/ 399289 w 1212658"/>
                <a:gd name="connsiteY1860" fmla="*/ 365437 h 2273274"/>
                <a:gd name="connsiteX1861" fmla="*/ 370701 w 1212658"/>
                <a:gd name="connsiteY1861" fmla="*/ 382620 h 2273274"/>
                <a:gd name="connsiteX1862" fmla="*/ 368463 w 1212658"/>
                <a:gd name="connsiteY1862" fmla="*/ 381713 h 2273274"/>
                <a:gd name="connsiteX1863" fmla="*/ 360658 w 1212658"/>
                <a:gd name="connsiteY1863" fmla="*/ 369400 h 2273274"/>
                <a:gd name="connsiteX1864" fmla="*/ 357996 w 1212658"/>
                <a:gd name="connsiteY1864" fmla="*/ 366678 h 2273274"/>
                <a:gd name="connsiteX1865" fmla="*/ 352762 w 1212658"/>
                <a:gd name="connsiteY1865" fmla="*/ 365195 h 2273274"/>
                <a:gd name="connsiteX1866" fmla="*/ 335882 w 1212658"/>
                <a:gd name="connsiteY1866" fmla="*/ 367978 h 2273274"/>
                <a:gd name="connsiteX1867" fmla="*/ 310198 w 1212658"/>
                <a:gd name="connsiteY1867" fmla="*/ 355515 h 2273274"/>
                <a:gd name="connsiteX1868" fmla="*/ 307566 w 1212658"/>
                <a:gd name="connsiteY1868" fmla="*/ 354970 h 2273274"/>
                <a:gd name="connsiteX1869" fmla="*/ 304844 w 1212658"/>
                <a:gd name="connsiteY1869" fmla="*/ 355152 h 2273274"/>
                <a:gd name="connsiteX1870" fmla="*/ 293348 w 1212658"/>
                <a:gd name="connsiteY1870" fmla="*/ 359236 h 2273274"/>
                <a:gd name="connsiteX1871" fmla="*/ 291382 w 1212658"/>
                <a:gd name="connsiteY1871" fmla="*/ 358510 h 2273274"/>
                <a:gd name="connsiteX1872" fmla="*/ 290142 w 1212658"/>
                <a:gd name="connsiteY1872" fmla="*/ 353700 h 2273274"/>
                <a:gd name="connsiteX1873" fmla="*/ 287601 w 1212658"/>
                <a:gd name="connsiteY1873" fmla="*/ 330497 h 2273274"/>
                <a:gd name="connsiteX1874" fmla="*/ 286149 w 1212658"/>
                <a:gd name="connsiteY1874" fmla="*/ 327895 h 2273274"/>
                <a:gd name="connsiteX1875" fmla="*/ 278132 w 1212658"/>
                <a:gd name="connsiteY1875" fmla="*/ 321573 h 2273274"/>
                <a:gd name="connsiteX1876" fmla="*/ 270387 w 1212658"/>
                <a:gd name="connsiteY1876" fmla="*/ 308474 h 2273274"/>
                <a:gd name="connsiteX1877" fmla="*/ 269207 w 1212658"/>
                <a:gd name="connsiteY1877" fmla="*/ 305842 h 2273274"/>
                <a:gd name="connsiteX1878" fmla="*/ 267786 w 1212658"/>
                <a:gd name="connsiteY1878" fmla="*/ 299398 h 2273274"/>
                <a:gd name="connsiteX1879" fmla="*/ 266394 w 1212658"/>
                <a:gd name="connsiteY1879" fmla="*/ 296192 h 2273274"/>
                <a:gd name="connsiteX1880" fmla="*/ 252539 w 1212658"/>
                <a:gd name="connsiteY1880" fmla="*/ 281762 h 2273274"/>
                <a:gd name="connsiteX1881" fmla="*/ 244795 w 1212658"/>
                <a:gd name="connsiteY1881" fmla="*/ 267876 h 2273274"/>
                <a:gd name="connsiteX1882" fmla="*/ 216298 w 1212658"/>
                <a:gd name="connsiteY1882" fmla="*/ 216479 h 2273274"/>
                <a:gd name="connsiteX1883" fmla="*/ 213878 w 1212658"/>
                <a:gd name="connsiteY1883" fmla="*/ 214331 h 2273274"/>
                <a:gd name="connsiteX1884" fmla="*/ 181146 w 1212658"/>
                <a:gd name="connsiteY1884" fmla="*/ 209098 h 2273274"/>
                <a:gd name="connsiteX1885" fmla="*/ 159486 w 1212658"/>
                <a:gd name="connsiteY1885" fmla="*/ 222681 h 2273274"/>
                <a:gd name="connsiteX1886" fmla="*/ 157610 w 1212658"/>
                <a:gd name="connsiteY1886" fmla="*/ 225131 h 2273274"/>
                <a:gd name="connsiteX1887" fmla="*/ 155946 w 1212658"/>
                <a:gd name="connsiteY1887" fmla="*/ 229094 h 2273274"/>
                <a:gd name="connsiteX1888" fmla="*/ 152982 w 1212658"/>
                <a:gd name="connsiteY1888" fmla="*/ 237897 h 2273274"/>
                <a:gd name="connsiteX1889" fmla="*/ 165324 w 1212658"/>
                <a:gd name="connsiteY1889" fmla="*/ 262219 h 2273274"/>
                <a:gd name="connsiteX1890" fmla="*/ 159546 w 1212658"/>
                <a:gd name="connsiteY1890" fmla="*/ 273564 h 2273274"/>
                <a:gd name="connsiteX1891" fmla="*/ 156793 w 1212658"/>
                <a:gd name="connsiteY1891" fmla="*/ 275409 h 2273274"/>
                <a:gd name="connsiteX1892" fmla="*/ 152891 w 1212658"/>
                <a:gd name="connsiteY1892" fmla="*/ 274290 h 2273274"/>
                <a:gd name="connsiteX1893" fmla="*/ 123880 w 1212658"/>
                <a:gd name="connsiteY1893" fmla="*/ 257893 h 2273274"/>
                <a:gd name="connsiteX1894" fmla="*/ 121097 w 1212658"/>
                <a:gd name="connsiteY1894" fmla="*/ 259346 h 2273274"/>
                <a:gd name="connsiteX1895" fmla="*/ 111688 w 1212658"/>
                <a:gd name="connsiteY1895" fmla="*/ 275530 h 2273274"/>
                <a:gd name="connsiteX1896" fmla="*/ 116952 w 1212658"/>
                <a:gd name="connsiteY1896" fmla="*/ 280219 h 2273274"/>
                <a:gd name="connsiteX1897" fmla="*/ 128992 w 1212658"/>
                <a:gd name="connsiteY1897" fmla="*/ 282004 h 2273274"/>
                <a:gd name="connsiteX1898" fmla="*/ 135890 w 1212658"/>
                <a:gd name="connsiteY1898" fmla="*/ 288447 h 2273274"/>
                <a:gd name="connsiteX1899" fmla="*/ 140669 w 1212658"/>
                <a:gd name="connsiteY1899" fmla="*/ 289900 h 2273274"/>
                <a:gd name="connsiteX1900" fmla="*/ 142999 w 1212658"/>
                <a:gd name="connsiteY1900" fmla="*/ 293439 h 2273274"/>
                <a:gd name="connsiteX1901" fmla="*/ 142999 w 1212658"/>
                <a:gd name="connsiteY1901" fmla="*/ 298067 h 2273274"/>
                <a:gd name="connsiteX1902" fmla="*/ 141335 w 1212658"/>
                <a:gd name="connsiteY1902" fmla="*/ 302212 h 2273274"/>
                <a:gd name="connsiteX1903" fmla="*/ 138280 w 1212658"/>
                <a:gd name="connsiteY1903" fmla="*/ 303724 h 2273274"/>
                <a:gd name="connsiteX1904" fmla="*/ 137977 w 1212658"/>
                <a:gd name="connsiteY1904" fmla="*/ 308958 h 2273274"/>
                <a:gd name="connsiteX1905" fmla="*/ 140125 w 1212658"/>
                <a:gd name="connsiteY1905" fmla="*/ 312074 h 2273274"/>
                <a:gd name="connsiteX1906" fmla="*/ 156854 w 1212658"/>
                <a:gd name="connsiteY1906" fmla="*/ 318548 h 2273274"/>
                <a:gd name="connsiteX1907" fmla="*/ 164991 w 1212658"/>
                <a:gd name="connsiteY1907" fmla="*/ 325657 h 2273274"/>
                <a:gd name="connsiteX1908" fmla="*/ 171405 w 1212658"/>
                <a:gd name="connsiteY1908" fmla="*/ 331919 h 2273274"/>
                <a:gd name="connsiteX1909" fmla="*/ 177334 w 1212658"/>
                <a:gd name="connsiteY1909" fmla="*/ 342355 h 2273274"/>
                <a:gd name="connsiteX1910" fmla="*/ 178605 w 1212658"/>
                <a:gd name="connsiteY1910" fmla="*/ 343989 h 2273274"/>
                <a:gd name="connsiteX1911" fmla="*/ 179149 w 1212658"/>
                <a:gd name="connsiteY1911" fmla="*/ 344443 h 2273274"/>
                <a:gd name="connsiteX1912" fmla="*/ 179875 w 1212658"/>
                <a:gd name="connsiteY1912" fmla="*/ 346742 h 2273274"/>
                <a:gd name="connsiteX1913" fmla="*/ 180329 w 1212658"/>
                <a:gd name="connsiteY1913" fmla="*/ 347619 h 2273274"/>
                <a:gd name="connsiteX1914" fmla="*/ 181267 w 1212658"/>
                <a:gd name="connsiteY1914" fmla="*/ 348073 h 2273274"/>
                <a:gd name="connsiteX1915" fmla="*/ 188436 w 1212658"/>
                <a:gd name="connsiteY1915" fmla="*/ 348134 h 2273274"/>
                <a:gd name="connsiteX1916" fmla="*/ 190494 w 1212658"/>
                <a:gd name="connsiteY1916" fmla="*/ 349404 h 2273274"/>
                <a:gd name="connsiteX1917" fmla="*/ 191371 w 1212658"/>
                <a:gd name="connsiteY1917" fmla="*/ 352006 h 2273274"/>
                <a:gd name="connsiteX1918" fmla="*/ 191976 w 1212658"/>
                <a:gd name="connsiteY1918" fmla="*/ 354880 h 2273274"/>
                <a:gd name="connsiteX1919" fmla="*/ 195031 w 1212658"/>
                <a:gd name="connsiteY1919" fmla="*/ 362775 h 2273274"/>
                <a:gd name="connsiteX1920" fmla="*/ 196241 w 1212658"/>
                <a:gd name="connsiteY1920" fmla="*/ 365226 h 2273274"/>
                <a:gd name="connsiteX1921" fmla="*/ 199448 w 1212658"/>
                <a:gd name="connsiteY1921" fmla="*/ 368130 h 2273274"/>
                <a:gd name="connsiteX1922" fmla="*/ 207162 w 1212658"/>
                <a:gd name="connsiteY1922" fmla="*/ 370187 h 2273274"/>
                <a:gd name="connsiteX1923" fmla="*/ 216116 w 1212658"/>
                <a:gd name="connsiteY1923" fmla="*/ 378808 h 2273274"/>
                <a:gd name="connsiteX1924" fmla="*/ 221683 w 1212658"/>
                <a:gd name="connsiteY1924" fmla="*/ 382439 h 2273274"/>
                <a:gd name="connsiteX1925" fmla="*/ 223740 w 1212658"/>
                <a:gd name="connsiteY1925" fmla="*/ 390364 h 2273274"/>
                <a:gd name="connsiteX1926" fmla="*/ 242072 w 1212658"/>
                <a:gd name="connsiteY1926" fmla="*/ 395356 h 2273274"/>
                <a:gd name="connsiteX1927" fmla="*/ 246579 w 1212658"/>
                <a:gd name="connsiteY1927" fmla="*/ 400741 h 2273274"/>
                <a:gd name="connsiteX1928" fmla="*/ 247185 w 1212658"/>
                <a:gd name="connsiteY1928" fmla="*/ 402284 h 2273274"/>
                <a:gd name="connsiteX1929" fmla="*/ 250058 w 1212658"/>
                <a:gd name="connsiteY1929" fmla="*/ 406065 h 2273274"/>
                <a:gd name="connsiteX1930" fmla="*/ 251450 w 1212658"/>
                <a:gd name="connsiteY1930" fmla="*/ 408455 h 2273274"/>
                <a:gd name="connsiteX1931" fmla="*/ 252660 w 1212658"/>
                <a:gd name="connsiteY1931" fmla="*/ 409967 h 2273274"/>
                <a:gd name="connsiteX1932" fmla="*/ 253144 w 1212658"/>
                <a:gd name="connsiteY1932" fmla="*/ 410240 h 2273274"/>
                <a:gd name="connsiteX1933" fmla="*/ 253870 w 1212658"/>
                <a:gd name="connsiteY1933" fmla="*/ 410966 h 2273274"/>
                <a:gd name="connsiteX1934" fmla="*/ 253991 w 1212658"/>
                <a:gd name="connsiteY1934" fmla="*/ 412599 h 2273274"/>
                <a:gd name="connsiteX1935" fmla="*/ 253931 w 1212658"/>
                <a:gd name="connsiteY1935" fmla="*/ 414384 h 2273274"/>
                <a:gd name="connsiteX1936" fmla="*/ 254082 w 1212658"/>
                <a:gd name="connsiteY1936" fmla="*/ 415564 h 2273274"/>
                <a:gd name="connsiteX1937" fmla="*/ 257500 w 1212658"/>
                <a:gd name="connsiteY1937" fmla="*/ 418408 h 2273274"/>
                <a:gd name="connsiteX1938" fmla="*/ 280733 w 1212658"/>
                <a:gd name="connsiteY1938" fmla="*/ 418619 h 2273274"/>
                <a:gd name="connsiteX1939" fmla="*/ 287570 w 1212658"/>
                <a:gd name="connsiteY1939" fmla="*/ 420586 h 2273274"/>
                <a:gd name="connsiteX1940" fmla="*/ 287933 w 1212658"/>
                <a:gd name="connsiteY1940" fmla="*/ 421130 h 2273274"/>
                <a:gd name="connsiteX1941" fmla="*/ 287873 w 1212658"/>
                <a:gd name="connsiteY1941" fmla="*/ 423611 h 2273274"/>
                <a:gd name="connsiteX1942" fmla="*/ 288266 w 1212658"/>
                <a:gd name="connsiteY1942" fmla="*/ 424186 h 2273274"/>
                <a:gd name="connsiteX1943" fmla="*/ 296222 w 1212658"/>
                <a:gd name="connsiteY1943" fmla="*/ 424760 h 2273274"/>
                <a:gd name="connsiteX1944" fmla="*/ 302696 w 1212658"/>
                <a:gd name="connsiteY1944" fmla="*/ 428179 h 2273274"/>
                <a:gd name="connsiteX1945" fmla="*/ 307113 w 1212658"/>
                <a:gd name="connsiteY1945" fmla="*/ 428663 h 2273274"/>
                <a:gd name="connsiteX1946" fmla="*/ 311408 w 1212658"/>
                <a:gd name="connsiteY1946" fmla="*/ 431506 h 2273274"/>
                <a:gd name="connsiteX1947" fmla="*/ 313223 w 1212658"/>
                <a:gd name="connsiteY1947" fmla="*/ 431506 h 2273274"/>
                <a:gd name="connsiteX1948" fmla="*/ 314978 w 1212658"/>
                <a:gd name="connsiteY1948" fmla="*/ 430901 h 2273274"/>
                <a:gd name="connsiteX1949" fmla="*/ 316884 w 1212658"/>
                <a:gd name="connsiteY1949" fmla="*/ 430901 h 2273274"/>
                <a:gd name="connsiteX1950" fmla="*/ 319697 w 1212658"/>
                <a:gd name="connsiteY1950" fmla="*/ 433564 h 2273274"/>
                <a:gd name="connsiteX1951" fmla="*/ 322601 w 1212658"/>
                <a:gd name="connsiteY1951" fmla="*/ 438101 h 2273274"/>
                <a:gd name="connsiteX1952" fmla="*/ 325566 w 1212658"/>
                <a:gd name="connsiteY1952" fmla="*/ 441429 h 2273274"/>
                <a:gd name="connsiteX1953" fmla="*/ 331556 w 1212658"/>
                <a:gd name="connsiteY1953" fmla="*/ 439069 h 2273274"/>
                <a:gd name="connsiteX1954" fmla="*/ 334097 w 1212658"/>
                <a:gd name="connsiteY1954" fmla="*/ 441610 h 2273274"/>
                <a:gd name="connsiteX1955" fmla="*/ 338302 w 1212658"/>
                <a:gd name="connsiteY1955" fmla="*/ 450081 h 2273274"/>
                <a:gd name="connsiteX1956" fmla="*/ 341176 w 1212658"/>
                <a:gd name="connsiteY1956" fmla="*/ 453711 h 2273274"/>
                <a:gd name="connsiteX1957" fmla="*/ 356090 w 1212658"/>
                <a:gd name="connsiteY1957" fmla="*/ 463331 h 2273274"/>
                <a:gd name="connsiteX1958" fmla="*/ 357572 w 1212658"/>
                <a:gd name="connsiteY1958" fmla="*/ 465328 h 2273274"/>
                <a:gd name="connsiteX1959" fmla="*/ 358238 w 1212658"/>
                <a:gd name="connsiteY1959" fmla="*/ 467415 h 2273274"/>
                <a:gd name="connsiteX1960" fmla="*/ 358510 w 1212658"/>
                <a:gd name="connsiteY1960" fmla="*/ 469442 h 2273274"/>
                <a:gd name="connsiteX1961" fmla="*/ 359024 w 1212658"/>
                <a:gd name="connsiteY1961" fmla="*/ 471590 h 2273274"/>
                <a:gd name="connsiteX1962" fmla="*/ 360355 w 1212658"/>
                <a:gd name="connsiteY1962" fmla="*/ 474040 h 2273274"/>
                <a:gd name="connsiteX1963" fmla="*/ 364893 w 1212658"/>
                <a:gd name="connsiteY1963" fmla="*/ 479364 h 2273274"/>
                <a:gd name="connsiteX1964" fmla="*/ 366436 w 1212658"/>
                <a:gd name="connsiteY1964" fmla="*/ 483539 h 2273274"/>
                <a:gd name="connsiteX1965" fmla="*/ 365861 w 1212658"/>
                <a:gd name="connsiteY1965" fmla="*/ 489377 h 2273274"/>
                <a:gd name="connsiteX1966" fmla="*/ 366768 w 1212658"/>
                <a:gd name="connsiteY1966" fmla="*/ 491193 h 2273274"/>
                <a:gd name="connsiteX1967" fmla="*/ 366889 w 1212658"/>
                <a:gd name="connsiteY1967" fmla="*/ 493189 h 2273274"/>
                <a:gd name="connsiteX1968" fmla="*/ 366375 w 1212658"/>
                <a:gd name="connsiteY1968" fmla="*/ 499391 h 2273274"/>
                <a:gd name="connsiteX1969" fmla="*/ 365922 w 1212658"/>
                <a:gd name="connsiteY1969" fmla="*/ 501629 h 2273274"/>
                <a:gd name="connsiteX1970" fmla="*/ 365922 w 1212658"/>
                <a:gd name="connsiteY1970" fmla="*/ 502960 h 2273274"/>
                <a:gd name="connsiteX1971" fmla="*/ 366103 w 1212658"/>
                <a:gd name="connsiteY1971" fmla="*/ 505229 h 2273274"/>
                <a:gd name="connsiteX1972" fmla="*/ 366405 w 1212658"/>
                <a:gd name="connsiteY1972" fmla="*/ 505713 h 2273274"/>
                <a:gd name="connsiteX1973" fmla="*/ 366829 w 1212658"/>
                <a:gd name="connsiteY1973" fmla="*/ 505925 h 2273274"/>
                <a:gd name="connsiteX1974" fmla="*/ 367495 w 1212658"/>
                <a:gd name="connsiteY1974" fmla="*/ 507286 h 2273274"/>
                <a:gd name="connsiteX1975" fmla="*/ 369673 w 1212658"/>
                <a:gd name="connsiteY1975" fmla="*/ 507226 h 2273274"/>
                <a:gd name="connsiteX1976" fmla="*/ 378203 w 1212658"/>
                <a:gd name="connsiteY1976" fmla="*/ 501569 h 2273274"/>
                <a:gd name="connsiteX1977" fmla="*/ 381682 w 1212658"/>
                <a:gd name="connsiteY1977" fmla="*/ 501418 h 2273274"/>
                <a:gd name="connsiteX1978" fmla="*/ 383013 w 1212658"/>
                <a:gd name="connsiteY1978" fmla="*/ 503233 h 2273274"/>
                <a:gd name="connsiteX1979" fmla="*/ 384133 w 1212658"/>
                <a:gd name="connsiteY1979" fmla="*/ 505834 h 2273274"/>
                <a:gd name="connsiteX1980" fmla="*/ 388187 w 1212658"/>
                <a:gd name="connsiteY1980" fmla="*/ 520536 h 2273274"/>
                <a:gd name="connsiteX1981" fmla="*/ 388550 w 1212658"/>
                <a:gd name="connsiteY1981" fmla="*/ 522654 h 2273274"/>
                <a:gd name="connsiteX1982" fmla="*/ 389366 w 1212658"/>
                <a:gd name="connsiteY1982" fmla="*/ 524802 h 2273274"/>
                <a:gd name="connsiteX1983" fmla="*/ 396838 w 1212658"/>
                <a:gd name="connsiteY1983" fmla="*/ 531457 h 2273274"/>
                <a:gd name="connsiteX1984" fmla="*/ 399591 w 1212658"/>
                <a:gd name="connsiteY1984" fmla="*/ 533545 h 2273274"/>
                <a:gd name="connsiteX1985" fmla="*/ 408546 w 1212658"/>
                <a:gd name="connsiteY1985" fmla="*/ 544072 h 2273274"/>
                <a:gd name="connsiteX1986" fmla="*/ 415534 w 1212658"/>
                <a:gd name="connsiteY1986" fmla="*/ 546583 h 2273274"/>
                <a:gd name="connsiteX1987" fmla="*/ 417439 w 1212658"/>
                <a:gd name="connsiteY1987" fmla="*/ 549729 h 2273274"/>
                <a:gd name="connsiteX1988" fmla="*/ 417349 w 1212658"/>
                <a:gd name="connsiteY1988" fmla="*/ 554055 h 2273274"/>
                <a:gd name="connsiteX1989" fmla="*/ 414808 w 1212658"/>
                <a:gd name="connsiteY1989" fmla="*/ 558805 h 2273274"/>
                <a:gd name="connsiteX1990" fmla="*/ 411510 w 1212658"/>
                <a:gd name="connsiteY1990" fmla="*/ 561376 h 2273274"/>
                <a:gd name="connsiteX1991" fmla="*/ 404401 w 1212658"/>
                <a:gd name="connsiteY1991" fmla="*/ 563796 h 2273274"/>
                <a:gd name="connsiteX1992" fmla="*/ 401013 w 1212658"/>
                <a:gd name="connsiteY1992" fmla="*/ 566519 h 2273274"/>
                <a:gd name="connsiteX1993" fmla="*/ 399228 w 1212658"/>
                <a:gd name="connsiteY1993" fmla="*/ 570814 h 2273274"/>
                <a:gd name="connsiteX1994" fmla="*/ 398775 w 1212658"/>
                <a:gd name="connsiteY1994" fmla="*/ 576532 h 2273274"/>
                <a:gd name="connsiteX1995" fmla="*/ 399077 w 1212658"/>
                <a:gd name="connsiteY1995" fmla="*/ 582491 h 2273274"/>
                <a:gd name="connsiteX1996" fmla="*/ 399561 w 1212658"/>
                <a:gd name="connsiteY1996" fmla="*/ 587574 h 2273274"/>
                <a:gd name="connsiteX1997" fmla="*/ 399561 w 1212658"/>
                <a:gd name="connsiteY1997" fmla="*/ 602004 h 2273274"/>
                <a:gd name="connsiteX1998" fmla="*/ 399924 w 1212658"/>
                <a:gd name="connsiteY1998" fmla="*/ 605029 h 2273274"/>
                <a:gd name="connsiteX1999" fmla="*/ 401043 w 1212658"/>
                <a:gd name="connsiteY1999" fmla="*/ 608901 h 2273274"/>
                <a:gd name="connsiteX2000" fmla="*/ 402163 w 1212658"/>
                <a:gd name="connsiteY2000" fmla="*/ 618581 h 2273274"/>
                <a:gd name="connsiteX2001" fmla="*/ 402980 w 1212658"/>
                <a:gd name="connsiteY2001" fmla="*/ 622574 h 2273274"/>
                <a:gd name="connsiteX2002" fmla="*/ 405369 w 1212658"/>
                <a:gd name="connsiteY2002" fmla="*/ 628927 h 2273274"/>
                <a:gd name="connsiteX2003" fmla="*/ 406156 w 1212658"/>
                <a:gd name="connsiteY2003" fmla="*/ 632739 h 2273274"/>
                <a:gd name="connsiteX2004" fmla="*/ 406458 w 1212658"/>
                <a:gd name="connsiteY2004" fmla="*/ 638547 h 2273274"/>
                <a:gd name="connsiteX2005" fmla="*/ 404643 w 1212658"/>
                <a:gd name="connsiteY2005" fmla="*/ 640967 h 2273274"/>
                <a:gd name="connsiteX2006" fmla="*/ 401043 w 1212658"/>
                <a:gd name="connsiteY2006" fmla="*/ 643569 h 2273274"/>
                <a:gd name="connsiteX2007" fmla="*/ 398412 w 1212658"/>
                <a:gd name="connsiteY2007" fmla="*/ 646322 h 2273274"/>
                <a:gd name="connsiteX2008" fmla="*/ 399561 w 1212658"/>
                <a:gd name="connsiteY2008" fmla="*/ 649226 h 2273274"/>
                <a:gd name="connsiteX2009" fmla="*/ 397686 w 1212658"/>
                <a:gd name="connsiteY2009" fmla="*/ 654187 h 2273274"/>
                <a:gd name="connsiteX2010" fmla="*/ 395417 w 1212658"/>
                <a:gd name="connsiteY2010" fmla="*/ 658483 h 2273274"/>
                <a:gd name="connsiteX2011" fmla="*/ 394207 w 1212658"/>
                <a:gd name="connsiteY2011" fmla="*/ 663111 h 2273274"/>
                <a:gd name="connsiteX2012" fmla="*/ 395447 w 1212658"/>
                <a:gd name="connsiteY2012" fmla="*/ 669010 h 2273274"/>
                <a:gd name="connsiteX2013" fmla="*/ 398805 w 1212658"/>
                <a:gd name="connsiteY2013" fmla="*/ 673155 h 2273274"/>
                <a:gd name="connsiteX2014" fmla="*/ 402556 w 1212658"/>
                <a:gd name="connsiteY2014" fmla="*/ 672913 h 2273274"/>
                <a:gd name="connsiteX2015" fmla="*/ 406549 w 1212658"/>
                <a:gd name="connsiteY2015" fmla="*/ 671189 h 2273274"/>
                <a:gd name="connsiteX2016" fmla="*/ 410633 w 1212658"/>
                <a:gd name="connsiteY2016" fmla="*/ 670795 h 2273274"/>
                <a:gd name="connsiteX2017" fmla="*/ 417470 w 1212658"/>
                <a:gd name="connsiteY2017" fmla="*/ 675000 h 2273274"/>
                <a:gd name="connsiteX2018" fmla="*/ 424307 w 1212658"/>
                <a:gd name="connsiteY2018" fmla="*/ 676150 h 2273274"/>
                <a:gd name="connsiteX2019" fmla="*/ 426515 w 1212658"/>
                <a:gd name="connsiteY2019" fmla="*/ 677148 h 2273274"/>
                <a:gd name="connsiteX2020" fmla="*/ 427786 w 1212658"/>
                <a:gd name="connsiteY2020" fmla="*/ 678903 h 2273274"/>
                <a:gd name="connsiteX2021" fmla="*/ 427574 w 1212658"/>
                <a:gd name="connsiteY2021" fmla="*/ 684318 h 2273274"/>
                <a:gd name="connsiteX2022" fmla="*/ 426394 w 1212658"/>
                <a:gd name="connsiteY2022" fmla="*/ 691064 h 2273274"/>
                <a:gd name="connsiteX2023" fmla="*/ 426394 w 1212658"/>
                <a:gd name="connsiteY2023" fmla="*/ 696660 h 2273274"/>
                <a:gd name="connsiteX2024" fmla="*/ 429843 w 1212658"/>
                <a:gd name="connsiteY2024" fmla="*/ 698748 h 2273274"/>
                <a:gd name="connsiteX2025" fmla="*/ 427574 w 1212658"/>
                <a:gd name="connsiteY2025" fmla="*/ 706190 h 2273274"/>
                <a:gd name="connsiteX2026" fmla="*/ 424791 w 1212658"/>
                <a:gd name="connsiteY2026" fmla="*/ 710213 h 2273274"/>
                <a:gd name="connsiteX2027" fmla="*/ 413416 w 1212658"/>
                <a:gd name="connsiteY2027" fmla="*/ 715174 h 2273274"/>
                <a:gd name="connsiteX2028" fmla="*/ 411450 w 1212658"/>
                <a:gd name="connsiteY2028" fmla="*/ 717262 h 2273274"/>
                <a:gd name="connsiteX2029" fmla="*/ 410633 w 1212658"/>
                <a:gd name="connsiteY2029" fmla="*/ 721043 h 2273274"/>
                <a:gd name="connsiteX2030" fmla="*/ 410330 w 1212658"/>
                <a:gd name="connsiteY2030" fmla="*/ 725671 h 2273274"/>
                <a:gd name="connsiteX2031" fmla="*/ 410845 w 1212658"/>
                <a:gd name="connsiteY2031" fmla="*/ 727366 h 2273274"/>
                <a:gd name="connsiteX2032" fmla="*/ 412660 w 1212658"/>
                <a:gd name="connsiteY2032" fmla="*/ 728334 h 2273274"/>
                <a:gd name="connsiteX2033" fmla="*/ 411873 w 1212658"/>
                <a:gd name="connsiteY2033" fmla="*/ 731389 h 2273274"/>
                <a:gd name="connsiteX2034" fmla="*/ 410936 w 1212658"/>
                <a:gd name="connsiteY2034" fmla="*/ 734021 h 2273274"/>
                <a:gd name="connsiteX2035" fmla="*/ 409816 w 1212658"/>
                <a:gd name="connsiteY2035" fmla="*/ 736259 h 2273274"/>
                <a:gd name="connsiteX2036" fmla="*/ 408576 w 1212658"/>
                <a:gd name="connsiteY2036" fmla="*/ 738135 h 2273274"/>
                <a:gd name="connsiteX2037" fmla="*/ 409302 w 1212658"/>
                <a:gd name="connsiteY2037" fmla="*/ 742885 h 2273274"/>
                <a:gd name="connsiteX2038" fmla="*/ 411056 w 1212658"/>
                <a:gd name="connsiteY2038" fmla="*/ 745940 h 2273274"/>
                <a:gd name="connsiteX2039" fmla="*/ 413235 w 1212658"/>
                <a:gd name="connsiteY2039" fmla="*/ 748572 h 2273274"/>
                <a:gd name="connsiteX2040" fmla="*/ 415987 w 1212658"/>
                <a:gd name="connsiteY2040" fmla="*/ 753503 h 2273274"/>
                <a:gd name="connsiteX2041" fmla="*/ 417016 w 1212658"/>
                <a:gd name="connsiteY2041" fmla="*/ 754592 h 2273274"/>
                <a:gd name="connsiteX2042" fmla="*/ 417893 w 1212658"/>
                <a:gd name="connsiteY2042" fmla="*/ 756044 h 2273274"/>
                <a:gd name="connsiteX2043" fmla="*/ 418256 w 1212658"/>
                <a:gd name="connsiteY2043" fmla="*/ 758615 h 2273274"/>
                <a:gd name="connsiteX2044" fmla="*/ 418256 w 1212658"/>
                <a:gd name="connsiteY2044" fmla="*/ 761671 h 2273274"/>
                <a:gd name="connsiteX2045" fmla="*/ 418499 w 1212658"/>
                <a:gd name="connsiteY2045" fmla="*/ 763698 h 2273274"/>
                <a:gd name="connsiteX2046" fmla="*/ 418922 w 1212658"/>
                <a:gd name="connsiteY2046" fmla="*/ 765392 h 2273274"/>
                <a:gd name="connsiteX2047" fmla="*/ 419618 w 1212658"/>
                <a:gd name="connsiteY2047" fmla="*/ 767539 h 2273274"/>
                <a:gd name="connsiteX2048" fmla="*/ 423278 w 1212658"/>
                <a:gd name="connsiteY2048" fmla="*/ 775284 h 2273274"/>
                <a:gd name="connsiteX2049" fmla="*/ 425638 w 1212658"/>
                <a:gd name="connsiteY2049" fmla="*/ 779035 h 2273274"/>
                <a:gd name="connsiteX2050" fmla="*/ 427453 w 1212658"/>
                <a:gd name="connsiteY2050" fmla="*/ 780638 h 2273274"/>
                <a:gd name="connsiteX2051" fmla="*/ 430508 w 1212658"/>
                <a:gd name="connsiteY2051" fmla="*/ 781909 h 2273274"/>
                <a:gd name="connsiteX2052" fmla="*/ 432989 w 1212658"/>
                <a:gd name="connsiteY2052" fmla="*/ 785085 h 2273274"/>
                <a:gd name="connsiteX2053" fmla="*/ 438706 w 1212658"/>
                <a:gd name="connsiteY2053" fmla="*/ 797095 h 2273274"/>
                <a:gd name="connsiteX2054" fmla="*/ 442609 w 1212658"/>
                <a:gd name="connsiteY2054" fmla="*/ 802117 h 2273274"/>
                <a:gd name="connsiteX2055" fmla="*/ 444726 w 1212658"/>
                <a:gd name="connsiteY2055" fmla="*/ 805565 h 2273274"/>
                <a:gd name="connsiteX2056" fmla="*/ 447479 w 1212658"/>
                <a:gd name="connsiteY2056" fmla="*/ 811888 h 2273274"/>
                <a:gd name="connsiteX2057" fmla="*/ 451563 w 1212658"/>
                <a:gd name="connsiteY2057" fmla="*/ 823505 h 2273274"/>
                <a:gd name="connsiteX2058" fmla="*/ 451835 w 1212658"/>
                <a:gd name="connsiteY2058" fmla="*/ 825199 h 2273274"/>
                <a:gd name="connsiteX2059" fmla="*/ 451352 w 1212658"/>
                <a:gd name="connsiteY2059" fmla="*/ 827286 h 2273274"/>
                <a:gd name="connsiteX2060" fmla="*/ 449869 w 1212658"/>
                <a:gd name="connsiteY2060" fmla="*/ 828073 h 2273274"/>
                <a:gd name="connsiteX2061" fmla="*/ 447510 w 1212658"/>
                <a:gd name="connsiteY2061" fmla="*/ 827952 h 2273274"/>
                <a:gd name="connsiteX2062" fmla="*/ 445332 w 1212658"/>
                <a:gd name="connsiteY2062" fmla="*/ 828526 h 2273274"/>
                <a:gd name="connsiteX2063" fmla="*/ 443880 w 1212658"/>
                <a:gd name="connsiteY2063" fmla="*/ 832792 h 2273274"/>
                <a:gd name="connsiteX2064" fmla="*/ 440612 w 1212658"/>
                <a:gd name="connsiteY2064" fmla="*/ 837965 h 2273274"/>
                <a:gd name="connsiteX2065" fmla="*/ 440552 w 1212658"/>
                <a:gd name="connsiteY2065" fmla="*/ 839689 h 2273274"/>
                <a:gd name="connsiteX2066" fmla="*/ 441701 w 1212658"/>
                <a:gd name="connsiteY2066" fmla="*/ 848280 h 2273274"/>
                <a:gd name="connsiteX2067" fmla="*/ 441701 w 1212658"/>
                <a:gd name="connsiteY2067" fmla="*/ 853090 h 2273274"/>
                <a:gd name="connsiteX2068" fmla="*/ 441308 w 1212658"/>
                <a:gd name="connsiteY2068" fmla="*/ 857749 h 2273274"/>
                <a:gd name="connsiteX2069" fmla="*/ 440552 w 1212658"/>
                <a:gd name="connsiteY2069" fmla="*/ 862075 h 2273274"/>
                <a:gd name="connsiteX2070" fmla="*/ 439584 w 1212658"/>
                <a:gd name="connsiteY2070" fmla="*/ 865826 h 2273274"/>
                <a:gd name="connsiteX2071" fmla="*/ 440310 w 1212658"/>
                <a:gd name="connsiteY2071" fmla="*/ 869971 h 2273274"/>
                <a:gd name="connsiteX2072" fmla="*/ 440733 w 1212658"/>
                <a:gd name="connsiteY2072" fmla="*/ 874176 h 2273274"/>
                <a:gd name="connsiteX2073" fmla="*/ 440552 w 1212658"/>
                <a:gd name="connsiteY2073" fmla="*/ 878169 h 2273274"/>
                <a:gd name="connsiteX2074" fmla="*/ 439584 w 1212658"/>
                <a:gd name="connsiteY2074" fmla="*/ 881739 h 2273274"/>
                <a:gd name="connsiteX2075" fmla="*/ 437526 w 1212658"/>
                <a:gd name="connsiteY2075" fmla="*/ 883826 h 2273274"/>
                <a:gd name="connsiteX2076" fmla="*/ 432142 w 1212658"/>
                <a:gd name="connsiteY2076" fmla="*/ 887396 h 2273274"/>
                <a:gd name="connsiteX2077" fmla="*/ 431991 w 1212658"/>
                <a:gd name="connsiteY2077" fmla="*/ 889967 h 2273274"/>
                <a:gd name="connsiteX2078" fmla="*/ 429964 w 1212658"/>
                <a:gd name="connsiteY2078" fmla="*/ 892236 h 2273274"/>
                <a:gd name="connsiteX2079" fmla="*/ 426878 w 1212658"/>
                <a:gd name="connsiteY2079" fmla="*/ 893748 h 2273274"/>
                <a:gd name="connsiteX2080" fmla="*/ 424458 w 1212658"/>
                <a:gd name="connsiteY2080" fmla="*/ 895775 h 2273274"/>
                <a:gd name="connsiteX2081" fmla="*/ 424458 w 1212658"/>
                <a:gd name="connsiteY2081" fmla="*/ 899466 h 2273274"/>
                <a:gd name="connsiteX2082" fmla="*/ 421947 w 1212658"/>
                <a:gd name="connsiteY2082" fmla="*/ 900434 h 2273274"/>
                <a:gd name="connsiteX2083" fmla="*/ 418982 w 1212658"/>
                <a:gd name="connsiteY2083" fmla="*/ 902521 h 2273274"/>
                <a:gd name="connsiteX2084" fmla="*/ 416532 w 1212658"/>
                <a:gd name="connsiteY2084" fmla="*/ 906030 h 2273274"/>
                <a:gd name="connsiteX2085" fmla="*/ 415504 w 1212658"/>
                <a:gd name="connsiteY2085" fmla="*/ 911264 h 2273274"/>
                <a:gd name="connsiteX2086" fmla="*/ 415927 w 1212658"/>
                <a:gd name="connsiteY2086" fmla="*/ 914077 h 2273274"/>
                <a:gd name="connsiteX2087" fmla="*/ 417863 w 1212658"/>
                <a:gd name="connsiteY2087" fmla="*/ 918373 h 2273274"/>
                <a:gd name="connsiteX2088" fmla="*/ 418287 w 1212658"/>
                <a:gd name="connsiteY2088" fmla="*/ 920733 h 2273274"/>
                <a:gd name="connsiteX2089" fmla="*/ 418438 w 1212658"/>
                <a:gd name="connsiteY2089" fmla="*/ 923849 h 2273274"/>
                <a:gd name="connsiteX2090" fmla="*/ 418982 w 1212658"/>
                <a:gd name="connsiteY2090" fmla="*/ 928054 h 2273274"/>
                <a:gd name="connsiteX2091" fmla="*/ 418922 w 1212658"/>
                <a:gd name="connsiteY2091" fmla="*/ 931200 h 2273274"/>
                <a:gd name="connsiteX2092" fmla="*/ 418589 w 1212658"/>
                <a:gd name="connsiteY2092" fmla="*/ 933620 h 2273274"/>
                <a:gd name="connsiteX2093" fmla="*/ 417742 w 1212658"/>
                <a:gd name="connsiteY2093" fmla="*/ 936645 h 2273274"/>
                <a:gd name="connsiteX2094" fmla="*/ 417591 w 1212658"/>
                <a:gd name="connsiteY2094" fmla="*/ 938914 h 2273274"/>
                <a:gd name="connsiteX2095" fmla="*/ 417893 w 1212658"/>
                <a:gd name="connsiteY2095" fmla="*/ 941455 h 2273274"/>
                <a:gd name="connsiteX2096" fmla="*/ 419376 w 1212658"/>
                <a:gd name="connsiteY2096" fmla="*/ 946628 h 2273274"/>
                <a:gd name="connsiteX2097" fmla="*/ 420253 w 1212658"/>
                <a:gd name="connsiteY2097" fmla="*/ 952587 h 2273274"/>
                <a:gd name="connsiteX2098" fmla="*/ 423762 w 1212658"/>
                <a:gd name="connsiteY2098" fmla="*/ 964143 h 2273274"/>
                <a:gd name="connsiteX2099" fmla="*/ 426364 w 1212658"/>
                <a:gd name="connsiteY2099" fmla="*/ 968046 h 2273274"/>
                <a:gd name="connsiteX2100" fmla="*/ 429933 w 1212658"/>
                <a:gd name="connsiteY2100" fmla="*/ 971011 h 2273274"/>
                <a:gd name="connsiteX2101" fmla="*/ 440370 w 1212658"/>
                <a:gd name="connsiteY2101" fmla="*/ 974580 h 2273274"/>
                <a:gd name="connsiteX2102" fmla="*/ 442609 w 1212658"/>
                <a:gd name="connsiteY2102" fmla="*/ 977424 h 2273274"/>
                <a:gd name="connsiteX2103" fmla="*/ 448054 w 1212658"/>
                <a:gd name="connsiteY2103" fmla="*/ 992731 h 2273274"/>
                <a:gd name="connsiteX2104" fmla="*/ 448962 w 1212658"/>
                <a:gd name="connsiteY2104" fmla="*/ 994728 h 2273274"/>
                <a:gd name="connsiteX2105" fmla="*/ 450020 w 1212658"/>
                <a:gd name="connsiteY2105" fmla="*/ 996210 h 2273274"/>
                <a:gd name="connsiteX2106" fmla="*/ 452441 w 1212658"/>
                <a:gd name="connsiteY2106" fmla="*/ 998660 h 2273274"/>
                <a:gd name="connsiteX2107" fmla="*/ 453469 w 1212658"/>
                <a:gd name="connsiteY2107" fmla="*/ 1000173 h 2273274"/>
                <a:gd name="connsiteX2108" fmla="*/ 454498 w 1212658"/>
                <a:gd name="connsiteY2108" fmla="*/ 1003349 h 2273274"/>
                <a:gd name="connsiteX2109" fmla="*/ 457069 w 1212658"/>
                <a:gd name="connsiteY2109" fmla="*/ 1014694 h 2273274"/>
                <a:gd name="connsiteX2110" fmla="*/ 457250 w 1212658"/>
                <a:gd name="connsiteY2110" fmla="*/ 1018112 h 2273274"/>
                <a:gd name="connsiteX2111" fmla="*/ 457009 w 1212658"/>
                <a:gd name="connsiteY2111" fmla="*/ 1023164 h 2273274"/>
                <a:gd name="connsiteX2112" fmla="*/ 459156 w 1212658"/>
                <a:gd name="connsiteY2112" fmla="*/ 1027671 h 2273274"/>
                <a:gd name="connsiteX2113" fmla="*/ 461818 w 1212658"/>
                <a:gd name="connsiteY2113" fmla="*/ 1032088 h 2273274"/>
                <a:gd name="connsiteX2114" fmla="*/ 464027 w 1212658"/>
                <a:gd name="connsiteY2114" fmla="*/ 1041073 h 2273274"/>
                <a:gd name="connsiteX2115" fmla="*/ 467960 w 1212658"/>
                <a:gd name="connsiteY2115" fmla="*/ 1047426 h 2273274"/>
                <a:gd name="connsiteX2116" fmla="*/ 467960 w 1212658"/>
                <a:gd name="connsiteY2116" fmla="*/ 1053052 h 2273274"/>
                <a:gd name="connsiteX2117" fmla="*/ 468927 w 1212658"/>
                <a:gd name="connsiteY2117" fmla="*/ 1055684 h 2273274"/>
                <a:gd name="connsiteX2118" fmla="*/ 470440 w 1212658"/>
                <a:gd name="connsiteY2118" fmla="*/ 1058831 h 2273274"/>
                <a:gd name="connsiteX2119" fmla="*/ 472255 w 1212658"/>
                <a:gd name="connsiteY2119" fmla="*/ 1061432 h 2273274"/>
                <a:gd name="connsiteX2120" fmla="*/ 474131 w 1212658"/>
                <a:gd name="connsiteY2120" fmla="*/ 1062309 h 2273274"/>
                <a:gd name="connsiteX2121" fmla="*/ 476097 w 1212658"/>
                <a:gd name="connsiteY2121" fmla="*/ 1060797 h 2273274"/>
                <a:gd name="connsiteX2122" fmla="*/ 476793 w 1212658"/>
                <a:gd name="connsiteY2122" fmla="*/ 1057953 h 2273274"/>
                <a:gd name="connsiteX2123" fmla="*/ 476490 w 1212658"/>
                <a:gd name="connsiteY2123" fmla="*/ 1054595 h 2273274"/>
                <a:gd name="connsiteX2124" fmla="*/ 475492 w 1212658"/>
                <a:gd name="connsiteY2124" fmla="*/ 1051510 h 2273274"/>
                <a:gd name="connsiteX2125" fmla="*/ 479455 w 1212658"/>
                <a:gd name="connsiteY2125" fmla="*/ 1054504 h 2273274"/>
                <a:gd name="connsiteX2126" fmla="*/ 483357 w 1212658"/>
                <a:gd name="connsiteY2126" fmla="*/ 1056138 h 2273274"/>
                <a:gd name="connsiteX2127" fmla="*/ 484477 w 1212658"/>
                <a:gd name="connsiteY2127" fmla="*/ 1057106 h 2273274"/>
                <a:gd name="connsiteX2128" fmla="*/ 487441 w 1212658"/>
                <a:gd name="connsiteY2128" fmla="*/ 1061341 h 2273274"/>
                <a:gd name="connsiteX2129" fmla="*/ 492221 w 1212658"/>
                <a:gd name="connsiteY2129" fmla="*/ 1063580 h 2273274"/>
                <a:gd name="connsiteX2130" fmla="*/ 493310 w 1212658"/>
                <a:gd name="connsiteY2130" fmla="*/ 1063005 h 2273274"/>
                <a:gd name="connsiteX2131" fmla="*/ 494006 w 1212658"/>
                <a:gd name="connsiteY2131" fmla="*/ 1061916 h 2273274"/>
                <a:gd name="connsiteX2132" fmla="*/ 494339 w 1212658"/>
                <a:gd name="connsiteY2132" fmla="*/ 1060767 h 2273274"/>
                <a:gd name="connsiteX2133" fmla="*/ 494551 w 1212658"/>
                <a:gd name="connsiteY2133" fmla="*/ 1059738 h 2273274"/>
                <a:gd name="connsiteX2134" fmla="*/ 494793 w 1212658"/>
                <a:gd name="connsiteY2134" fmla="*/ 1059072 h 2273274"/>
                <a:gd name="connsiteX2135" fmla="*/ 497031 w 1212658"/>
                <a:gd name="connsiteY2135" fmla="*/ 1057318 h 2273274"/>
                <a:gd name="connsiteX2136" fmla="*/ 499088 w 1212658"/>
                <a:gd name="connsiteY2136" fmla="*/ 1057257 h 2273274"/>
                <a:gd name="connsiteX2137" fmla="*/ 501206 w 1212658"/>
                <a:gd name="connsiteY2137" fmla="*/ 1057711 h 2273274"/>
                <a:gd name="connsiteX2138" fmla="*/ 503656 w 1212658"/>
                <a:gd name="connsiteY2138" fmla="*/ 1057499 h 2273274"/>
                <a:gd name="connsiteX2139" fmla="*/ 506137 w 1212658"/>
                <a:gd name="connsiteY2139" fmla="*/ 1054595 h 2273274"/>
                <a:gd name="connsiteX2140" fmla="*/ 510523 w 1212658"/>
                <a:gd name="connsiteY2140" fmla="*/ 1044340 h 2273274"/>
                <a:gd name="connsiteX2141" fmla="*/ 512974 w 1212658"/>
                <a:gd name="connsiteY2141" fmla="*/ 1042071 h 2273274"/>
                <a:gd name="connsiteX2142" fmla="*/ 513276 w 1212658"/>
                <a:gd name="connsiteY2142" fmla="*/ 1041648 h 2273274"/>
                <a:gd name="connsiteX2143" fmla="*/ 513367 w 1212658"/>
                <a:gd name="connsiteY2143" fmla="*/ 1040589 h 2273274"/>
                <a:gd name="connsiteX2144" fmla="*/ 513367 w 1212658"/>
                <a:gd name="connsiteY2144" fmla="*/ 1038199 h 2273274"/>
                <a:gd name="connsiteX2145" fmla="*/ 513609 w 1212658"/>
                <a:gd name="connsiteY2145" fmla="*/ 1036414 h 2273274"/>
                <a:gd name="connsiteX2146" fmla="*/ 514365 w 1212658"/>
                <a:gd name="connsiteY2146" fmla="*/ 1035930 h 2273274"/>
                <a:gd name="connsiteX2147" fmla="*/ 515273 w 1212658"/>
                <a:gd name="connsiteY2147" fmla="*/ 1036021 h 2273274"/>
                <a:gd name="connsiteX2148" fmla="*/ 516059 w 1212658"/>
                <a:gd name="connsiteY2148" fmla="*/ 1035870 h 2273274"/>
                <a:gd name="connsiteX2149" fmla="*/ 521353 w 1212658"/>
                <a:gd name="connsiteY2149" fmla="*/ 1033056 h 2273274"/>
                <a:gd name="connsiteX2150" fmla="*/ 522957 w 1212658"/>
                <a:gd name="connsiteY2150" fmla="*/ 1031211 h 2273274"/>
                <a:gd name="connsiteX2151" fmla="*/ 522654 w 1212658"/>
                <a:gd name="connsiteY2151" fmla="*/ 1034115 h 2273274"/>
                <a:gd name="connsiteX2152" fmla="*/ 521656 w 1212658"/>
                <a:gd name="connsiteY2152" fmla="*/ 1035204 h 2273274"/>
                <a:gd name="connsiteX2153" fmla="*/ 518903 w 1212658"/>
                <a:gd name="connsiteY2153" fmla="*/ 1035870 h 2273274"/>
                <a:gd name="connsiteX2154" fmla="*/ 517239 w 1212658"/>
                <a:gd name="connsiteY2154" fmla="*/ 1037231 h 2273274"/>
                <a:gd name="connsiteX2155" fmla="*/ 516422 w 1212658"/>
                <a:gd name="connsiteY2155" fmla="*/ 1038622 h 2273274"/>
                <a:gd name="connsiteX2156" fmla="*/ 515031 w 1212658"/>
                <a:gd name="connsiteY2156" fmla="*/ 1042888 h 2273274"/>
                <a:gd name="connsiteX2157" fmla="*/ 509343 w 1212658"/>
                <a:gd name="connsiteY2157" fmla="*/ 1054747 h 2273274"/>
                <a:gd name="connsiteX2158" fmla="*/ 507831 w 1212658"/>
                <a:gd name="connsiteY2158" fmla="*/ 1059042 h 2273274"/>
                <a:gd name="connsiteX2159" fmla="*/ 506833 w 1212658"/>
                <a:gd name="connsiteY2159" fmla="*/ 1064820 h 2273274"/>
                <a:gd name="connsiteX2160" fmla="*/ 507256 w 1212658"/>
                <a:gd name="connsiteY2160" fmla="*/ 1068965 h 2273274"/>
                <a:gd name="connsiteX2161" fmla="*/ 508557 w 1212658"/>
                <a:gd name="connsiteY2161" fmla="*/ 1072202 h 2273274"/>
                <a:gd name="connsiteX2162" fmla="*/ 510221 w 1212658"/>
                <a:gd name="connsiteY2162" fmla="*/ 1075317 h 2273274"/>
                <a:gd name="connsiteX2163" fmla="*/ 511491 w 1212658"/>
                <a:gd name="connsiteY2163" fmla="*/ 1077042 h 2273274"/>
                <a:gd name="connsiteX2164" fmla="*/ 517844 w 1212658"/>
                <a:gd name="connsiteY2164" fmla="*/ 1080218 h 2273274"/>
                <a:gd name="connsiteX2165" fmla="*/ 518661 w 1212658"/>
                <a:gd name="connsiteY2165" fmla="*/ 1081156 h 2273274"/>
                <a:gd name="connsiteX2166" fmla="*/ 518903 w 1212658"/>
                <a:gd name="connsiteY2166" fmla="*/ 1082820 h 2273274"/>
                <a:gd name="connsiteX2167" fmla="*/ 518994 w 1212658"/>
                <a:gd name="connsiteY2167" fmla="*/ 1091442 h 2273274"/>
                <a:gd name="connsiteX2168" fmla="*/ 519478 w 1212658"/>
                <a:gd name="connsiteY2168" fmla="*/ 1093589 h 2273274"/>
                <a:gd name="connsiteX2169" fmla="*/ 520597 w 1212658"/>
                <a:gd name="connsiteY2169" fmla="*/ 1094467 h 2273274"/>
                <a:gd name="connsiteX2170" fmla="*/ 522563 w 1212658"/>
                <a:gd name="connsiteY2170" fmla="*/ 1094073 h 2273274"/>
                <a:gd name="connsiteX2171" fmla="*/ 523804 w 1212658"/>
                <a:gd name="connsiteY2171" fmla="*/ 1093045 h 2273274"/>
                <a:gd name="connsiteX2172" fmla="*/ 526436 w 1212658"/>
                <a:gd name="connsiteY2172" fmla="*/ 1090020 h 2273274"/>
                <a:gd name="connsiteX2173" fmla="*/ 529975 w 1212658"/>
                <a:gd name="connsiteY2173" fmla="*/ 1088144 h 2273274"/>
                <a:gd name="connsiteX2174" fmla="*/ 533908 w 1212658"/>
                <a:gd name="connsiteY2174" fmla="*/ 1087600 h 2273274"/>
                <a:gd name="connsiteX2175" fmla="*/ 537901 w 1212658"/>
                <a:gd name="connsiteY2175" fmla="*/ 1088295 h 2273274"/>
                <a:gd name="connsiteX2176" fmla="*/ 541561 w 1212658"/>
                <a:gd name="connsiteY2176" fmla="*/ 1090050 h 2273274"/>
                <a:gd name="connsiteX2177" fmla="*/ 542620 w 1212658"/>
                <a:gd name="connsiteY2177" fmla="*/ 1091260 h 2273274"/>
                <a:gd name="connsiteX2178" fmla="*/ 544435 w 1212658"/>
                <a:gd name="connsiteY2178" fmla="*/ 1094739 h 2273274"/>
                <a:gd name="connsiteX2179" fmla="*/ 545766 w 1212658"/>
                <a:gd name="connsiteY2179" fmla="*/ 1096161 h 2273274"/>
                <a:gd name="connsiteX2180" fmla="*/ 547793 w 1212658"/>
                <a:gd name="connsiteY2180" fmla="*/ 1096463 h 2273274"/>
                <a:gd name="connsiteX2181" fmla="*/ 552573 w 1212658"/>
                <a:gd name="connsiteY2181" fmla="*/ 1095526 h 2273274"/>
                <a:gd name="connsiteX2182" fmla="*/ 554358 w 1212658"/>
                <a:gd name="connsiteY2182" fmla="*/ 1096887 h 2273274"/>
                <a:gd name="connsiteX2183" fmla="*/ 555719 w 1212658"/>
                <a:gd name="connsiteY2183" fmla="*/ 1098430 h 2273274"/>
                <a:gd name="connsiteX2184" fmla="*/ 558230 w 1212658"/>
                <a:gd name="connsiteY2184" fmla="*/ 1097734 h 2273274"/>
                <a:gd name="connsiteX2185" fmla="*/ 559591 w 1212658"/>
                <a:gd name="connsiteY2185" fmla="*/ 1098430 h 2273274"/>
                <a:gd name="connsiteX2186" fmla="*/ 560741 w 1212658"/>
                <a:gd name="connsiteY2186" fmla="*/ 1100456 h 2273274"/>
                <a:gd name="connsiteX2187" fmla="*/ 561376 w 1212658"/>
                <a:gd name="connsiteY2187" fmla="*/ 1102725 h 2273274"/>
                <a:gd name="connsiteX2188" fmla="*/ 561527 w 1212658"/>
                <a:gd name="connsiteY2188" fmla="*/ 1103421 h 2273274"/>
                <a:gd name="connsiteX2189" fmla="*/ 561830 w 1212658"/>
                <a:gd name="connsiteY2189" fmla="*/ 1104964 h 2273274"/>
                <a:gd name="connsiteX2190" fmla="*/ 562344 w 1212658"/>
                <a:gd name="connsiteY2190" fmla="*/ 1106779 h 2273274"/>
                <a:gd name="connsiteX2191" fmla="*/ 564704 w 1212658"/>
                <a:gd name="connsiteY2191" fmla="*/ 1110318 h 2273274"/>
                <a:gd name="connsiteX2192" fmla="*/ 566882 w 1212658"/>
                <a:gd name="connsiteY2192" fmla="*/ 1110772 h 2273274"/>
                <a:gd name="connsiteX2193" fmla="*/ 569241 w 1212658"/>
                <a:gd name="connsiteY2193" fmla="*/ 1110046 h 2273274"/>
                <a:gd name="connsiteX2194" fmla="*/ 571964 w 1212658"/>
                <a:gd name="connsiteY2194" fmla="*/ 1109955 h 2273274"/>
                <a:gd name="connsiteX2195" fmla="*/ 574172 w 1212658"/>
                <a:gd name="connsiteY2195" fmla="*/ 1111165 h 2273274"/>
                <a:gd name="connsiteX2196" fmla="*/ 581705 w 1212658"/>
                <a:gd name="connsiteY2196" fmla="*/ 1118365 h 2273274"/>
                <a:gd name="connsiteX2197" fmla="*/ 584700 w 1212658"/>
                <a:gd name="connsiteY2197" fmla="*/ 1122449 h 2273274"/>
                <a:gd name="connsiteX2198" fmla="*/ 587544 w 1212658"/>
                <a:gd name="connsiteY2198" fmla="*/ 1127501 h 2273274"/>
                <a:gd name="connsiteX2199" fmla="*/ 588239 w 1212658"/>
                <a:gd name="connsiteY2199" fmla="*/ 1131646 h 2273274"/>
                <a:gd name="connsiteX2200" fmla="*/ 586818 w 1212658"/>
                <a:gd name="connsiteY2200" fmla="*/ 1139874 h 2273274"/>
                <a:gd name="connsiteX2201" fmla="*/ 587907 w 1212658"/>
                <a:gd name="connsiteY2201" fmla="*/ 1143595 h 2273274"/>
                <a:gd name="connsiteX2202" fmla="*/ 587029 w 1212658"/>
                <a:gd name="connsiteY2202" fmla="*/ 1144956 h 2273274"/>
                <a:gd name="connsiteX2203" fmla="*/ 585365 w 1212658"/>
                <a:gd name="connsiteY2203" fmla="*/ 1148345 h 2273274"/>
                <a:gd name="connsiteX2204" fmla="*/ 584488 w 1212658"/>
                <a:gd name="connsiteY2204" fmla="*/ 1149555 h 2273274"/>
                <a:gd name="connsiteX2205" fmla="*/ 583036 w 1212658"/>
                <a:gd name="connsiteY2205" fmla="*/ 1150341 h 2273274"/>
                <a:gd name="connsiteX2206" fmla="*/ 580344 w 1212658"/>
                <a:gd name="connsiteY2206" fmla="*/ 1150432 h 2273274"/>
                <a:gd name="connsiteX2207" fmla="*/ 578922 w 1212658"/>
                <a:gd name="connsiteY2207" fmla="*/ 1151218 h 2273274"/>
                <a:gd name="connsiteX2208" fmla="*/ 585849 w 1212658"/>
                <a:gd name="connsiteY2208" fmla="*/ 1158781 h 2273274"/>
                <a:gd name="connsiteX2209" fmla="*/ 584579 w 1212658"/>
                <a:gd name="connsiteY2209" fmla="*/ 1160990 h 2273274"/>
                <a:gd name="connsiteX2210" fmla="*/ 583944 w 1212658"/>
                <a:gd name="connsiteY2210" fmla="*/ 1161474 h 2273274"/>
                <a:gd name="connsiteX2211" fmla="*/ 583006 w 1212658"/>
                <a:gd name="connsiteY2211" fmla="*/ 1161806 h 2273274"/>
                <a:gd name="connsiteX2212" fmla="*/ 583399 w 1212658"/>
                <a:gd name="connsiteY2212" fmla="*/ 1162472 h 2273274"/>
                <a:gd name="connsiteX2213" fmla="*/ 584065 w 1212658"/>
                <a:gd name="connsiteY2213" fmla="*/ 1164136 h 2273274"/>
                <a:gd name="connsiteX2214" fmla="*/ 584458 w 1212658"/>
                <a:gd name="connsiteY2214" fmla="*/ 1164831 h 2273274"/>
                <a:gd name="connsiteX2215" fmla="*/ 583096 w 1212658"/>
                <a:gd name="connsiteY2215" fmla="*/ 1167947 h 2273274"/>
                <a:gd name="connsiteX2216" fmla="*/ 581705 w 1212658"/>
                <a:gd name="connsiteY2216" fmla="*/ 1174815 h 2273274"/>
                <a:gd name="connsiteX2217" fmla="*/ 580253 w 1212658"/>
                <a:gd name="connsiteY2217" fmla="*/ 1177053 h 2273274"/>
                <a:gd name="connsiteX2218" fmla="*/ 581191 w 1212658"/>
                <a:gd name="connsiteY2218" fmla="*/ 1177053 h 2273274"/>
                <a:gd name="connsiteX2219" fmla="*/ 582007 w 1212658"/>
                <a:gd name="connsiteY2219" fmla="*/ 1177386 h 2273274"/>
                <a:gd name="connsiteX2220" fmla="*/ 583671 w 1212658"/>
                <a:gd name="connsiteY2220" fmla="*/ 1178566 h 2273274"/>
                <a:gd name="connsiteX2221" fmla="*/ 583187 w 1212658"/>
                <a:gd name="connsiteY2221" fmla="*/ 1179685 h 2273274"/>
                <a:gd name="connsiteX2222" fmla="*/ 582310 w 1212658"/>
                <a:gd name="connsiteY2222" fmla="*/ 1183103 h 2273274"/>
                <a:gd name="connsiteX2223" fmla="*/ 583096 w 1212658"/>
                <a:gd name="connsiteY2223" fmla="*/ 1183315 h 2273274"/>
                <a:gd name="connsiteX2224" fmla="*/ 584367 w 1212658"/>
                <a:gd name="connsiteY2224" fmla="*/ 1184283 h 2273274"/>
                <a:gd name="connsiteX2225" fmla="*/ 585063 w 1212658"/>
                <a:gd name="connsiteY2225" fmla="*/ 1184616 h 2273274"/>
                <a:gd name="connsiteX2226" fmla="*/ 583944 w 1212658"/>
                <a:gd name="connsiteY2226" fmla="*/ 1185675 h 2273274"/>
                <a:gd name="connsiteX2227" fmla="*/ 582733 w 1212658"/>
                <a:gd name="connsiteY2227" fmla="*/ 1186219 h 2273274"/>
                <a:gd name="connsiteX2228" fmla="*/ 581493 w 1212658"/>
                <a:gd name="connsiteY2228" fmla="*/ 1186371 h 2273274"/>
                <a:gd name="connsiteX2229" fmla="*/ 580253 w 1212658"/>
                <a:gd name="connsiteY2229" fmla="*/ 1186189 h 2273274"/>
                <a:gd name="connsiteX2230" fmla="*/ 580858 w 1212658"/>
                <a:gd name="connsiteY2230" fmla="*/ 1189547 h 2273274"/>
                <a:gd name="connsiteX2231" fmla="*/ 580525 w 1212658"/>
                <a:gd name="connsiteY2231" fmla="*/ 1192512 h 2273274"/>
                <a:gd name="connsiteX2232" fmla="*/ 579527 w 1212658"/>
                <a:gd name="connsiteY2232" fmla="*/ 1194932 h 2273274"/>
                <a:gd name="connsiteX2233" fmla="*/ 578196 w 1212658"/>
                <a:gd name="connsiteY2233" fmla="*/ 1196747 h 2273274"/>
                <a:gd name="connsiteX2234" fmla="*/ 574838 w 1212658"/>
                <a:gd name="connsiteY2234" fmla="*/ 1200165 h 2273274"/>
                <a:gd name="connsiteX2235" fmla="*/ 574082 w 1212658"/>
                <a:gd name="connsiteY2235" fmla="*/ 1202555 h 2273274"/>
                <a:gd name="connsiteX2236" fmla="*/ 573386 w 1212658"/>
                <a:gd name="connsiteY2236" fmla="*/ 1207395 h 2273274"/>
                <a:gd name="connsiteX2237" fmla="*/ 584730 w 1212658"/>
                <a:gd name="connsiteY2237" fmla="*/ 1210451 h 2273274"/>
                <a:gd name="connsiteX2238" fmla="*/ 587876 w 1212658"/>
                <a:gd name="connsiteY2238" fmla="*/ 1213385 h 2273274"/>
                <a:gd name="connsiteX2239" fmla="*/ 588693 w 1212658"/>
                <a:gd name="connsiteY2239" fmla="*/ 1214656 h 2273274"/>
                <a:gd name="connsiteX2240" fmla="*/ 589359 w 1212658"/>
                <a:gd name="connsiteY2240" fmla="*/ 1216047 h 2273274"/>
                <a:gd name="connsiteX2241" fmla="*/ 589782 w 1212658"/>
                <a:gd name="connsiteY2241" fmla="*/ 1217832 h 2273274"/>
                <a:gd name="connsiteX2242" fmla="*/ 589964 w 1212658"/>
                <a:gd name="connsiteY2242" fmla="*/ 1220161 h 2273274"/>
                <a:gd name="connsiteX2243" fmla="*/ 590448 w 1212658"/>
                <a:gd name="connsiteY2243" fmla="*/ 1222309 h 2273274"/>
                <a:gd name="connsiteX2244" fmla="*/ 591627 w 1212658"/>
                <a:gd name="connsiteY2244" fmla="*/ 1224124 h 2273274"/>
                <a:gd name="connsiteX2245" fmla="*/ 594017 w 1212658"/>
                <a:gd name="connsiteY2245" fmla="*/ 1226877 h 2273274"/>
                <a:gd name="connsiteX2246" fmla="*/ 593715 w 1212658"/>
                <a:gd name="connsiteY2246" fmla="*/ 1228148 h 2273274"/>
                <a:gd name="connsiteX2247" fmla="*/ 593715 w 1212658"/>
                <a:gd name="connsiteY2247" fmla="*/ 1229176 h 2273274"/>
                <a:gd name="connsiteX2248" fmla="*/ 594017 w 1212658"/>
                <a:gd name="connsiteY2248" fmla="*/ 1230175 h 2273274"/>
                <a:gd name="connsiteX2249" fmla="*/ 594713 w 1212658"/>
                <a:gd name="connsiteY2249" fmla="*/ 1231354 h 2273274"/>
                <a:gd name="connsiteX2250" fmla="*/ 594078 w 1212658"/>
                <a:gd name="connsiteY2250" fmla="*/ 1234864 h 2273274"/>
                <a:gd name="connsiteX2251" fmla="*/ 594834 w 1212658"/>
                <a:gd name="connsiteY2251" fmla="*/ 1236951 h 2273274"/>
                <a:gd name="connsiteX2252" fmla="*/ 596014 w 1212658"/>
                <a:gd name="connsiteY2252" fmla="*/ 1238857 h 2273274"/>
                <a:gd name="connsiteX2253" fmla="*/ 596740 w 1212658"/>
                <a:gd name="connsiteY2253" fmla="*/ 1241821 h 2273274"/>
                <a:gd name="connsiteX2254" fmla="*/ 596195 w 1212658"/>
                <a:gd name="connsiteY2254" fmla="*/ 1244816 h 2273274"/>
                <a:gd name="connsiteX2255" fmla="*/ 594501 w 1212658"/>
                <a:gd name="connsiteY2255" fmla="*/ 1245724 h 2273274"/>
                <a:gd name="connsiteX2256" fmla="*/ 592263 w 1212658"/>
                <a:gd name="connsiteY2256" fmla="*/ 1245058 h 2273274"/>
                <a:gd name="connsiteX2257" fmla="*/ 589933 w 1212658"/>
                <a:gd name="connsiteY2257" fmla="*/ 1243304 h 2273274"/>
                <a:gd name="connsiteX2258" fmla="*/ 586303 w 1212658"/>
                <a:gd name="connsiteY2258" fmla="*/ 1239522 h 2273274"/>
                <a:gd name="connsiteX2259" fmla="*/ 584428 w 1212658"/>
                <a:gd name="connsiteY2259" fmla="*/ 1238131 h 2273274"/>
                <a:gd name="connsiteX2260" fmla="*/ 574293 w 1212658"/>
                <a:gd name="connsiteY2260" fmla="*/ 1236618 h 2273274"/>
                <a:gd name="connsiteX2261" fmla="*/ 572569 w 1212658"/>
                <a:gd name="connsiteY2261" fmla="*/ 1237465 h 2273274"/>
                <a:gd name="connsiteX2262" fmla="*/ 573325 w 1212658"/>
                <a:gd name="connsiteY2262" fmla="*/ 1238827 h 2273274"/>
                <a:gd name="connsiteX2263" fmla="*/ 572811 w 1212658"/>
                <a:gd name="connsiteY2263" fmla="*/ 1239462 h 2273274"/>
                <a:gd name="connsiteX2264" fmla="*/ 571782 w 1212658"/>
                <a:gd name="connsiteY2264" fmla="*/ 1241126 h 2273274"/>
                <a:gd name="connsiteX2265" fmla="*/ 571268 w 1212658"/>
                <a:gd name="connsiteY2265" fmla="*/ 1241791 h 2273274"/>
                <a:gd name="connsiteX2266" fmla="*/ 574535 w 1212658"/>
                <a:gd name="connsiteY2266" fmla="*/ 1247872 h 2273274"/>
                <a:gd name="connsiteX2267" fmla="*/ 576320 w 1212658"/>
                <a:gd name="connsiteY2267" fmla="*/ 1250020 h 2273274"/>
                <a:gd name="connsiteX2268" fmla="*/ 580192 w 1212658"/>
                <a:gd name="connsiteY2268" fmla="*/ 1251502 h 2273274"/>
                <a:gd name="connsiteX2269" fmla="*/ 582855 w 1212658"/>
                <a:gd name="connsiteY2269" fmla="*/ 1254436 h 2273274"/>
                <a:gd name="connsiteX2270" fmla="*/ 584367 w 1212658"/>
                <a:gd name="connsiteY2270" fmla="*/ 1255344 h 2273274"/>
                <a:gd name="connsiteX2271" fmla="*/ 585728 w 1212658"/>
                <a:gd name="connsiteY2271" fmla="*/ 1254860 h 2273274"/>
                <a:gd name="connsiteX2272" fmla="*/ 587060 w 1212658"/>
                <a:gd name="connsiteY2272" fmla="*/ 1253861 h 2273274"/>
                <a:gd name="connsiteX2273" fmla="*/ 588239 w 1212658"/>
                <a:gd name="connsiteY2273" fmla="*/ 1253952 h 2273274"/>
                <a:gd name="connsiteX2274" fmla="*/ 589147 w 1212658"/>
                <a:gd name="connsiteY2274" fmla="*/ 1256705 h 2273274"/>
                <a:gd name="connsiteX2275" fmla="*/ 588965 w 1212658"/>
                <a:gd name="connsiteY2275" fmla="*/ 1258187 h 2273274"/>
                <a:gd name="connsiteX2276" fmla="*/ 587453 w 1212658"/>
                <a:gd name="connsiteY2276" fmla="*/ 1264964 h 2273274"/>
                <a:gd name="connsiteX2277" fmla="*/ 587301 w 1212658"/>
                <a:gd name="connsiteY2277" fmla="*/ 1266930 h 2273274"/>
                <a:gd name="connsiteX2278" fmla="*/ 588481 w 1212658"/>
                <a:gd name="connsiteY2278" fmla="*/ 1270984 h 2273274"/>
                <a:gd name="connsiteX2279" fmla="*/ 587725 w 1212658"/>
                <a:gd name="connsiteY2279" fmla="*/ 1271740 h 2273274"/>
                <a:gd name="connsiteX2280" fmla="*/ 578135 w 1212658"/>
                <a:gd name="connsiteY2280" fmla="*/ 1274584 h 2273274"/>
                <a:gd name="connsiteX2281" fmla="*/ 574687 w 1212658"/>
                <a:gd name="connsiteY2281" fmla="*/ 1273222 h 2273274"/>
                <a:gd name="connsiteX2282" fmla="*/ 576350 w 1212658"/>
                <a:gd name="connsiteY2282" fmla="*/ 1272043 h 2273274"/>
                <a:gd name="connsiteX2283" fmla="*/ 577167 w 1212658"/>
                <a:gd name="connsiteY2283" fmla="*/ 1271740 h 2273274"/>
                <a:gd name="connsiteX2284" fmla="*/ 578135 w 1212658"/>
                <a:gd name="connsiteY2284" fmla="*/ 1271740 h 2273274"/>
                <a:gd name="connsiteX2285" fmla="*/ 578135 w 1212658"/>
                <a:gd name="connsiteY2285" fmla="*/ 1270379 h 2273274"/>
                <a:gd name="connsiteX2286" fmla="*/ 575745 w 1212658"/>
                <a:gd name="connsiteY2286" fmla="*/ 1270106 h 2273274"/>
                <a:gd name="connsiteX2287" fmla="*/ 573930 w 1212658"/>
                <a:gd name="connsiteY2287" fmla="*/ 1269169 h 2273274"/>
                <a:gd name="connsiteX2288" fmla="*/ 572388 w 1212658"/>
                <a:gd name="connsiteY2288" fmla="*/ 1267475 h 2273274"/>
                <a:gd name="connsiteX2289" fmla="*/ 570875 w 1212658"/>
                <a:gd name="connsiteY2289" fmla="*/ 1264964 h 2273274"/>
                <a:gd name="connsiteX2290" fmla="*/ 570542 w 1212658"/>
                <a:gd name="connsiteY2290" fmla="*/ 1263845 h 2273274"/>
                <a:gd name="connsiteX2291" fmla="*/ 570119 w 1212658"/>
                <a:gd name="connsiteY2291" fmla="*/ 1260759 h 2273274"/>
                <a:gd name="connsiteX2292" fmla="*/ 569846 w 1212658"/>
                <a:gd name="connsiteY2292" fmla="*/ 1259821 h 2273274"/>
                <a:gd name="connsiteX2293" fmla="*/ 568788 w 1212658"/>
                <a:gd name="connsiteY2293" fmla="*/ 1258914 h 2273274"/>
                <a:gd name="connsiteX2294" fmla="*/ 567971 w 1212658"/>
                <a:gd name="connsiteY2294" fmla="*/ 1259277 h 2273274"/>
                <a:gd name="connsiteX2295" fmla="*/ 567245 w 1212658"/>
                <a:gd name="connsiteY2295" fmla="*/ 1259912 h 2273274"/>
                <a:gd name="connsiteX2296" fmla="*/ 566458 w 1212658"/>
                <a:gd name="connsiteY2296" fmla="*/ 1259821 h 2273274"/>
                <a:gd name="connsiteX2297" fmla="*/ 565097 w 1212658"/>
                <a:gd name="connsiteY2297" fmla="*/ 1257734 h 2273274"/>
                <a:gd name="connsiteX2298" fmla="*/ 564310 w 1212658"/>
                <a:gd name="connsiteY2298" fmla="*/ 1255253 h 2273274"/>
                <a:gd name="connsiteX2299" fmla="*/ 563373 w 1212658"/>
                <a:gd name="connsiteY2299" fmla="*/ 1253226 h 2273274"/>
                <a:gd name="connsiteX2300" fmla="*/ 561588 w 1212658"/>
                <a:gd name="connsiteY2300" fmla="*/ 1252379 h 2273274"/>
                <a:gd name="connsiteX2301" fmla="*/ 559470 w 1212658"/>
                <a:gd name="connsiteY2301" fmla="*/ 1252863 h 2273274"/>
                <a:gd name="connsiteX2302" fmla="*/ 541682 w 1212658"/>
                <a:gd name="connsiteY2302" fmla="*/ 1262241 h 2273274"/>
                <a:gd name="connsiteX2303" fmla="*/ 529219 w 1212658"/>
                <a:gd name="connsiteY2303" fmla="*/ 1263845 h 2273274"/>
                <a:gd name="connsiteX2304" fmla="*/ 525528 w 1212658"/>
                <a:gd name="connsiteY2304" fmla="*/ 1266113 h 2273274"/>
                <a:gd name="connsiteX2305" fmla="*/ 525074 w 1212658"/>
                <a:gd name="connsiteY2305" fmla="*/ 1270379 h 2273274"/>
                <a:gd name="connsiteX2306" fmla="*/ 520839 w 1212658"/>
                <a:gd name="connsiteY2306" fmla="*/ 1270621 h 2273274"/>
                <a:gd name="connsiteX2307" fmla="*/ 518933 w 1212658"/>
                <a:gd name="connsiteY2307" fmla="*/ 1271710 h 2273274"/>
                <a:gd name="connsiteX2308" fmla="*/ 518147 w 1212658"/>
                <a:gd name="connsiteY2308" fmla="*/ 1275431 h 2273274"/>
                <a:gd name="connsiteX2309" fmla="*/ 518449 w 1212658"/>
                <a:gd name="connsiteY2309" fmla="*/ 1276611 h 2273274"/>
                <a:gd name="connsiteX2310" fmla="*/ 519568 w 1212658"/>
                <a:gd name="connsiteY2310" fmla="*/ 1278244 h 2273274"/>
                <a:gd name="connsiteX2311" fmla="*/ 519568 w 1212658"/>
                <a:gd name="connsiteY2311" fmla="*/ 1279273 h 2273274"/>
                <a:gd name="connsiteX2312" fmla="*/ 518722 w 1212658"/>
                <a:gd name="connsiteY2312" fmla="*/ 1280513 h 2273274"/>
                <a:gd name="connsiteX2313" fmla="*/ 517753 w 1212658"/>
                <a:gd name="connsiteY2313" fmla="*/ 1280604 h 2273274"/>
                <a:gd name="connsiteX2314" fmla="*/ 509676 w 1212658"/>
                <a:gd name="connsiteY2314" fmla="*/ 1276429 h 2273274"/>
                <a:gd name="connsiteX2315" fmla="*/ 507498 w 1212658"/>
                <a:gd name="connsiteY2315" fmla="*/ 1276157 h 2273274"/>
                <a:gd name="connsiteX2316" fmla="*/ 505653 w 1212658"/>
                <a:gd name="connsiteY2316" fmla="*/ 1277004 h 2273274"/>
                <a:gd name="connsiteX2317" fmla="*/ 506833 w 1212658"/>
                <a:gd name="connsiteY2317" fmla="*/ 1278910 h 2273274"/>
                <a:gd name="connsiteX2318" fmla="*/ 510614 w 1212658"/>
                <a:gd name="connsiteY2318" fmla="*/ 1282237 h 2273274"/>
                <a:gd name="connsiteX2319" fmla="*/ 507559 w 1212658"/>
                <a:gd name="connsiteY2319" fmla="*/ 1284476 h 2273274"/>
                <a:gd name="connsiteX2320" fmla="*/ 506197 w 1212658"/>
                <a:gd name="connsiteY2320" fmla="*/ 1285807 h 2273274"/>
                <a:gd name="connsiteX2321" fmla="*/ 505048 w 1212658"/>
                <a:gd name="connsiteY2321" fmla="*/ 1288167 h 2273274"/>
                <a:gd name="connsiteX2322" fmla="*/ 505048 w 1212658"/>
                <a:gd name="connsiteY2322" fmla="*/ 1289498 h 2273274"/>
                <a:gd name="connsiteX2323" fmla="*/ 505441 w 1212658"/>
                <a:gd name="connsiteY2323" fmla="*/ 1290284 h 2273274"/>
                <a:gd name="connsiteX2324" fmla="*/ 506409 w 1212658"/>
                <a:gd name="connsiteY2324" fmla="*/ 1292614 h 2273274"/>
                <a:gd name="connsiteX2325" fmla="*/ 504836 w 1212658"/>
                <a:gd name="connsiteY2325" fmla="*/ 1295972 h 2273274"/>
                <a:gd name="connsiteX2326" fmla="*/ 502960 w 1212658"/>
                <a:gd name="connsiteY2326" fmla="*/ 1297666 h 2273274"/>
                <a:gd name="connsiteX2327" fmla="*/ 498846 w 1212658"/>
                <a:gd name="connsiteY2327" fmla="*/ 1299995 h 2273274"/>
                <a:gd name="connsiteX2328" fmla="*/ 495851 w 1212658"/>
                <a:gd name="connsiteY2328" fmla="*/ 1303928 h 2273274"/>
                <a:gd name="connsiteX2329" fmla="*/ 494671 w 1212658"/>
                <a:gd name="connsiteY2329" fmla="*/ 1304442 h 2273274"/>
                <a:gd name="connsiteX2330" fmla="*/ 494006 w 1212658"/>
                <a:gd name="connsiteY2330" fmla="*/ 1305138 h 2273274"/>
                <a:gd name="connsiteX2331" fmla="*/ 493552 w 1212658"/>
                <a:gd name="connsiteY2331" fmla="*/ 1306771 h 2273274"/>
                <a:gd name="connsiteX2332" fmla="*/ 493129 w 1212658"/>
                <a:gd name="connsiteY2332" fmla="*/ 1308707 h 2273274"/>
                <a:gd name="connsiteX2333" fmla="*/ 492584 w 1212658"/>
                <a:gd name="connsiteY2333" fmla="*/ 1310371 h 2273274"/>
                <a:gd name="connsiteX2334" fmla="*/ 489952 w 1212658"/>
                <a:gd name="connsiteY2334" fmla="*/ 1315302 h 2273274"/>
                <a:gd name="connsiteX2335" fmla="*/ 489226 w 1212658"/>
                <a:gd name="connsiteY2335" fmla="*/ 1317752 h 2273274"/>
                <a:gd name="connsiteX2336" fmla="*/ 488470 w 1212658"/>
                <a:gd name="connsiteY2336" fmla="*/ 1322139 h 2273274"/>
                <a:gd name="connsiteX2337" fmla="*/ 488773 w 1212658"/>
                <a:gd name="connsiteY2337" fmla="*/ 1322502 h 2273274"/>
                <a:gd name="connsiteX2338" fmla="*/ 489136 w 1212658"/>
                <a:gd name="connsiteY2338" fmla="*/ 1324105 h 2273274"/>
                <a:gd name="connsiteX2339" fmla="*/ 489075 w 1212658"/>
                <a:gd name="connsiteY2339" fmla="*/ 1325890 h 2273274"/>
                <a:gd name="connsiteX2340" fmla="*/ 487169 w 1212658"/>
                <a:gd name="connsiteY2340" fmla="*/ 1327433 h 2273274"/>
                <a:gd name="connsiteX2341" fmla="*/ 487230 w 1212658"/>
                <a:gd name="connsiteY2341" fmla="*/ 1329127 h 2273274"/>
                <a:gd name="connsiteX2342" fmla="*/ 487684 w 1212658"/>
                <a:gd name="connsiteY2342" fmla="*/ 1331093 h 2273274"/>
                <a:gd name="connsiteX2343" fmla="*/ 487774 w 1212658"/>
                <a:gd name="connsiteY2343" fmla="*/ 1332606 h 2273274"/>
                <a:gd name="connsiteX2344" fmla="*/ 486050 w 1212658"/>
                <a:gd name="connsiteY2344" fmla="*/ 1336387 h 2273274"/>
                <a:gd name="connsiteX2345" fmla="*/ 484205 w 1212658"/>
                <a:gd name="connsiteY2345" fmla="*/ 1337718 h 2273274"/>
                <a:gd name="connsiteX2346" fmla="*/ 482238 w 1212658"/>
                <a:gd name="connsiteY2346" fmla="*/ 1338263 h 2273274"/>
                <a:gd name="connsiteX2347" fmla="*/ 480211 w 1212658"/>
                <a:gd name="connsiteY2347" fmla="*/ 1339776 h 2273274"/>
                <a:gd name="connsiteX2348" fmla="*/ 479697 w 1212658"/>
                <a:gd name="connsiteY2348" fmla="*/ 1340804 h 2273274"/>
                <a:gd name="connsiteX2349" fmla="*/ 479122 w 1212658"/>
                <a:gd name="connsiteY2349" fmla="*/ 1343496 h 2273274"/>
                <a:gd name="connsiteX2350" fmla="*/ 478487 w 1212658"/>
                <a:gd name="connsiteY2350" fmla="*/ 1345130 h 2273274"/>
                <a:gd name="connsiteX2351" fmla="*/ 477337 w 1212658"/>
                <a:gd name="connsiteY2351" fmla="*/ 1346007 h 2273274"/>
                <a:gd name="connsiteX2352" fmla="*/ 474524 w 1212658"/>
                <a:gd name="connsiteY2352" fmla="*/ 1345312 h 2273274"/>
                <a:gd name="connsiteX2353" fmla="*/ 473344 w 1212658"/>
                <a:gd name="connsiteY2353" fmla="*/ 1345765 h 2273274"/>
                <a:gd name="connsiteX2354" fmla="*/ 472769 w 1212658"/>
                <a:gd name="connsiteY2354" fmla="*/ 1347036 h 2273274"/>
                <a:gd name="connsiteX2355" fmla="*/ 472588 w 1212658"/>
                <a:gd name="connsiteY2355" fmla="*/ 1348730 h 2273274"/>
                <a:gd name="connsiteX2356" fmla="*/ 472588 w 1212658"/>
                <a:gd name="connsiteY2356" fmla="*/ 1352390 h 2273274"/>
                <a:gd name="connsiteX2357" fmla="*/ 472104 w 1212658"/>
                <a:gd name="connsiteY2357" fmla="*/ 1353207 h 2273274"/>
                <a:gd name="connsiteX2358" fmla="*/ 468444 w 1212658"/>
                <a:gd name="connsiteY2358" fmla="*/ 1353207 h 2273274"/>
                <a:gd name="connsiteX2359" fmla="*/ 464390 w 1212658"/>
                <a:gd name="connsiteY2359" fmla="*/ 1355658 h 2273274"/>
                <a:gd name="connsiteX2360" fmla="*/ 463966 w 1212658"/>
                <a:gd name="connsiteY2360" fmla="*/ 1355325 h 2273274"/>
                <a:gd name="connsiteX2361" fmla="*/ 462998 w 1212658"/>
                <a:gd name="connsiteY2361" fmla="*/ 1356928 h 2273274"/>
                <a:gd name="connsiteX2362" fmla="*/ 461940 w 1212658"/>
                <a:gd name="connsiteY2362" fmla="*/ 1357684 h 2273274"/>
                <a:gd name="connsiteX2363" fmla="*/ 460760 w 1212658"/>
                <a:gd name="connsiteY2363" fmla="*/ 1357866 h 2273274"/>
                <a:gd name="connsiteX2364" fmla="*/ 459489 w 1212658"/>
                <a:gd name="connsiteY2364" fmla="*/ 1357594 h 2273274"/>
                <a:gd name="connsiteX2365" fmla="*/ 459913 w 1212658"/>
                <a:gd name="connsiteY2365" fmla="*/ 1361224 h 2273274"/>
                <a:gd name="connsiteX2366" fmla="*/ 458309 w 1212658"/>
                <a:gd name="connsiteY2366" fmla="*/ 1363190 h 2273274"/>
                <a:gd name="connsiteX2367" fmla="*/ 453953 w 1212658"/>
                <a:gd name="connsiteY2367" fmla="*/ 1364884 h 2273274"/>
                <a:gd name="connsiteX2368" fmla="*/ 451835 w 1212658"/>
                <a:gd name="connsiteY2368" fmla="*/ 1366730 h 2273274"/>
                <a:gd name="connsiteX2369" fmla="*/ 450989 w 1212658"/>
                <a:gd name="connsiteY2369" fmla="*/ 1368696 h 2273274"/>
                <a:gd name="connsiteX2370" fmla="*/ 449809 w 1212658"/>
                <a:gd name="connsiteY2370" fmla="*/ 1375140 h 2273274"/>
                <a:gd name="connsiteX2371" fmla="*/ 448477 w 1212658"/>
                <a:gd name="connsiteY2371" fmla="*/ 1378255 h 2273274"/>
                <a:gd name="connsiteX2372" fmla="*/ 445452 w 1212658"/>
                <a:gd name="connsiteY2372" fmla="*/ 1382218 h 2273274"/>
                <a:gd name="connsiteX2373" fmla="*/ 444243 w 1212658"/>
                <a:gd name="connsiteY2373" fmla="*/ 1385455 h 2273274"/>
                <a:gd name="connsiteX2374" fmla="*/ 443849 w 1212658"/>
                <a:gd name="connsiteY2374" fmla="*/ 1388874 h 2273274"/>
                <a:gd name="connsiteX2375" fmla="*/ 444091 w 1212658"/>
                <a:gd name="connsiteY2375" fmla="*/ 1391929 h 2273274"/>
                <a:gd name="connsiteX2376" fmla="*/ 444787 w 1212658"/>
                <a:gd name="connsiteY2376" fmla="*/ 1394621 h 2273274"/>
                <a:gd name="connsiteX2377" fmla="*/ 445695 w 1212658"/>
                <a:gd name="connsiteY2377" fmla="*/ 1397102 h 2273274"/>
                <a:gd name="connsiteX2378" fmla="*/ 443789 w 1212658"/>
                <a:gd name="connsiteY2378" fmla="*/ 1395408 h 2273274"/>
                <a:gd name="connsiteX2379" fmla="*/ 439463 w 1212658"/>
                <a:gd name="connsiteY2379" fmla="*/ 1392988 h 2273274"/>
                <a:gd name="connsiteX2380" fmla="*/ 437406 w 1212658"/>
                <a:gd name="connsiteY2380" fmla="*/ 1392625 h 2273274"/>
                <a:gd name="connsiteX2381" fmla="*/ 435439 w 1212658"/>
                <a:gd name="connsiteY2381" fmla="*/ 1399371 h 2273274"/>
                <a:gd name="connsiteX2382" fmla="*/ 434622 w 1212658"/>
                <a:gd name="connsiteY2382" fmla="*/ 1401337 h 2273274"/>
                <a:gd name="connsiteX2383" fmla="*/ 433170 w 1212658"/>
                <a:gd name="connsiteY2383" fmla="*/ 1402668 h 2273274"/>
                <a:gd name="connsiteX2384" fmla="*/ 428512 w 1212658"/>
                <a:gd name="connsiteY2384" fmla="*/ 1405149 h 2273274"/>
                <a:gd name="connsiteX2385" fmla="*/ 426999 w 1212658"/>
                <a:gd name="connsiteY2385" fmla="*/ 1405028 h 2273274"/>
                <a:gd name="connsiteX2386" fmla="*/ 424791 w 1212658"/>
                <a:gd name="connsiteY2386" fmla="*/ 1403606 h 2273274"/>
                <a:gd name="connsiteX2387" fmla="*/ 423671 w 1212658"/>
                <a:gd name="connsiteY2387" fmla="*/ 1405149 h 2273274"/>
                <a:gd name="connsiteX2388" fmla="*/ 423187 w 1212658"/>
                <a:gd name="connsiteY2388" fmla="*/ 1408265 h 2273274"/>
                <a:gd name="connsiteX2389" fmla="*/ 422915 w 1212658"/>
                <a:gd name="connsiteY2389" fmla="*/ 1411623 h 2273274"/>
                <a:gd name="connsiteX2390" fmla="*/ 423611 w 1212658"/>
                <a:gd name="connsiteY2390" fmla="*/ 1411623 h 2273274"/>
                <a:gd name="connsiteX2391" fmla="*/ 421887 w 1212658"/>
                <a:gd name="connsiteY2391" fmla="*/ 1413831 h 2273274"/>
                <a:gd name="connsiteX2392" fmla="*/ 421644 w 1212658"/>
                <a:gd name="connsiteY2392" fmla="*/ 1414134 h 2273274"/>
                <a:gd name="connsiteX2393" fmla="*/ 419164 w 1212658"/>
                <a:gd name="connsiteY2393" fmla="*/ 1416554 h 2273274"/>
                <a:gd name="connsiteX2394" fmla="*/ 417228 w 1212658"/>
                <a:gd name="connsiteY2394" fmla="*/ 1419095 h 2273274"/>
                <a:gd name="connsiteX2395" fmla="*/ 416804 w 1212658"/>
                <a:gd name="connsiteY2395" fmla="*/ 1421908 h 2273274"/>
                <a:gd name="connsiteX2396" fmla="*/ 415655 w 1212658"/>
                <a:gd name="connsiteY2396" fmla="*/ 1423088 h 2273274"/>
                <a:gd name="connsiteX2397" fmla="*/ 413386 w 1212658"/>
                <a:gd name="connsiteY2397" fmla="*/ 1426748 h 2273274"/>
                <a:gd name="connsiteX2398" fmla="*/ 412630 w 1212658"/>
                <a:gd name="connsiteY2398" fmla="*/ 1427535 h 2273274"/>
                <a:gd name="connsiteX2399" fmla="*/ 409726 w 1212658"/>
                <a:gd name="connsiteY2399" fmla="*/ 1426446 h 2273274"/>
                <a:gd name="connsiteX2400" fmla="*/ 408546 w 1212658"/>
                <a:gd name="connsiteY2400" fmla="*/ 1426718 h 2273274"/>
                <a:gd name="connsiteX2401" fmla="*/ 407789 w 1212658"/>
                <a:gd name="connsiteY2401" fmla="*/ 1428987 h 2273274"/>
                <a:gd name="connsiteX2402" fmla="*/ 409363 w 1212658"/>
                <a:gd name="connsiteY2402" fmla="*/ 1431498 h 2273274"/>
                <a:gd name="connsiteX2403" fmla="*/ 411782 w 1212658"/>
                <a:gd name="connsiteY2403" fmla="*/ 1436489 h 2273274"/>
                <a:gd name="connsiteX2404" fmla="*/ 413174 w 1212658"/>
                <a:gd name="connsiteY2404" fmla="*/ 1441360 h 2273274"/>
                <a:gd name="connsiteX2405" fmla="*/ 411631 w 1212658"/>
                <a:gd name="connsiteY2405" fmla="*/ 1443538 h 2273274"/>
                <a:gd name="connsiteX2406" fmla="*/ 404976 w 1212658"/>
                <a:gd name="connsiteY2406" fmla="*/ 1442630 h 2273274"/>
                <a:gd name="connsiteX2407" fmla="*/ 401769 w 1212658"/>
                <a:gd name="connsiteY2407" fmla="*/ 1440573 h 2273274"/>
                <a:gd name="connsiteX2408" fmla="*/ 400801 w 1212658"/>
                <a:gd name="connsiteY2408" fmla="*/ 1441057 h 2273274"/>
                <a:gd name="connsiteX2409" fmla="*/ 399864 w 1212658"/>
                <a:gd name="connsiteY2409" fmla="*/ 1441783 h 2273274"/>
                <a:gd name="connsiteX2410" fmla="*/ 398835 w 1212658"/>
                <a:gd name="connsiteY2410" fmla="*/ 1441965 h 2273274"/>
                <a:gd name="connsiteX2411" fmla="*/ 397837 w 1212658"/>
                <a:gd name="connsiteY2411" fmla="*/ 1441360 h 2273274"/>
                <a:gd name="connsiteX2412" fmla="*/ 396717 w 1212658"/>
                <a:gd name="connsiteY2412" fmla="*/ 1439757 h 2273274"/>
                <a:gd name="connsiteX2413" fmla="*/ 396082 w 1212658"/>
                <a:gd name="connsiteY2413" fmla="*/ 1439182 h 2273274"/>
                <a:gd name="connsiteX2414" fmla="*/ 392573 w 1212658"/>
                <a:gd name="connsiteY2414" fmla="*/ 1437488 h 2273274"/>
                <a:gd name="connsiteX2415" fmla="*/ 390697 w 1212658"/>
                <a:gd name="connsiteY2415" fmla="*/ 1437488 h 2273274"/>
                <a:gd name="connsiteX2416" fmla="*/ 389185 w 1212658"/>
                <a:gd name="connsiteY2416" fmla="*/ 1439182 h 2273274"/>
                <a:gd name="connsiteX2417" fmla="*/ 388005 w 1212658"/>
                <a:gd name="connsiteY2417" fmla="*/ 1448650 h 2273274"/>
                <a:gd name="connsiteX2418" fmla="*/ 387763 w 1212658"/>
                <a:gd name="connsiteY2418" fmla="*/ 1449921 h 2273274"/>
                <a:gd name="connsiteX2419" fmla="*/ 388096 w 1212658"/>
                <a:gd name="connsiteY2419" fmla="*/ 1451978 h 2273274"/>
                <a:gd name="connsiteX2420" fmla="*/ 388701 w 1212658"/>
                <a:gd name="connsiteY2420" fmla="*/ 1453824 h 2273274"/>
                <a:gd name="connsiteX2421" fmla="*/ 388913 w 1212658"/>
                <a:gd name="connsiteY2421" fmla="*/ 1455881 h 2273274"/>
                <a:gd name="connsiteX2422" fmla="*/ 388126 w 1212658"/>
                <a:gd name="connsiteY2422" fmla="*/ 1458603 h 2273274"/>
                <a:gd name="connsiteX2423" fmla="*/ 388126 w 1212658"/>
                <a:gd name="connsiteY2423" fmla="*/ 1460600 h 2273274"/>
                <a:gd name="connsiteX2424" fmla="*/ 389517 w 1212658"/>
                <a:gd name="connsiteY2424" fmla="*/ 1462324 h 2273274"/>
                <a:gd name="connsiteX2425" fmla="*/ 392633 w 1212658"/>
                <a:gd name="connsiteY2425" fmla="*/ 1465198 h 2273274"/>
                <a:gd name="connsiteX2426" fmla="*/ 390455 w 1212658"/>
                <a:gd name="connsiteY2426" fmla="*/ 1468042 h 2273274"/>
                <a:gd name="connsiteX2427" fmla="*/ 388307 w 1212658"/>
                <a:gd name="connsiteY2427" fmla="*/ 1470250 h 2273274"/>
                <a:gd name="connsiteX2428" fmla="*/ 386099 w 1212658"/>
                <a:gd name="connsiteY2428" fmla="*/ 1470613 h 2273274"/>
                <a:gd name="connsiteX2429" fmla="*/ 383649 w 1212658"/>
                <a:gd name="connsiteY2429" fmla="*/ 1468072 h 2273274"/>
                <a:gd name="connsiteX2430" fmla="*/ 381652 w 1212658"/>
                <a:gd name="connsiteY2430" fmla="*/ 1471581 h 2273274"/>
                <a:gd name="connsiteX2431" fmla="*/ 378506 w 1212658"/>
                <a:gd name="connsiteY2431" fmla="*/ 1472700 h 2273274"/>
                <a:gd name="connsiteX2432" fmla="*/ 370731 w 1212658"/>
                <a:gd name="connsiteY2432" fmla="*/ 1472337 h 2273274"/>
                <a:gd name="connsiteX2433" fmla="*/ 367646 w 1212658"/>
                <a:gd name="connsiteY2433" fmla="*/ 1473094 h 2273274"/>
                <a:gd name="connsiteX2434" fmla="*/ 366405 w 1212658"/>
                <a:gd name="connsiteY2434" fmla="*/ 1473789 h 2273274"/>
                <a:gd name="connsiteX2435" fmla="*/ 365074 w 1212658"/>
                <a:gd name="connsiteY2435" fmla="*/ 1475423 h 2273274"/>
                <a:gd name="connsiteX2436" fmla="*/ 365074 w 1212658"/>
                <a:gd name="connsiteY2436" fmla="*/ 1476784 h 2273274"/>
                <a:gd name="connsiteX2437" fmla="*/ 366012 w 1212658"/>
                <a:gd name="connsiteY2437" fmla="*/ 1477752 h 2273274"/>
                <a:gd name="connsiteX2438" fmla="*/ 366224 w 1212658"/>
                <a:gd name="connsiteY2438" fmla="*/ 1478055 h 2273274"/>
                <a:gd name="connsiteX2439" fmla="*/ 365105 w 1212658"/>
                <a:gd name="connsiteY2439" fmla="*/ 1479114 h 2273274"/>
                <a:gd name="connsiteX2440" fmla="*/ 364106 w 1212658"/>
                <a:gd name="connsiteY2440" fmla="*/ 1480354 h 2273274"/>
                <a:gd name="connsiteX2441" fmla="*/ 362987 w 1212658"/>
                <a:gd name="connsiteY2441" fmla="*/ 1480959 h 2273274"/>
                <a:gd name="connsiteX2442" fmla="*/ 358328 w 1212658"/>
                <a:gd name="connsiteY2442" fmla="*/ 1479325 h 2273274"/>
                <a:gd name="connsiteX2443" fmla="*/ 357088 w 1212658"/>
                <a:gd name="connsiteY2443" fmla="*/ 1480233 h 2273274"/>
                <a:gd name="connsiteX2444" fmla="*/ 355545 w 1212658"/>
                <a:gd name="connsiteY2444" fmla="*/ 1482683 h 2273274"/>
                <a:gd name="connsiteX2445" fmla="*/ 349828 w 1212658"/>
                <a:gd name="connsiteY2445" fmla="*/ 1488129 h 2273274"/>
                <a:gd name="connsiteX2446" fmla="*/ 350191 w 1212658"/>
                <a:gd name="connsiteY2446" fmla="*/ 1490034 h 2273274"/>
                <a:gd name="connsiteX2447" fmla="*/ 350191 w 1212658"/>
                <a:gd name="connsiteY2447" fmla="*/ 1491184 h 2273274"/>
                <a:gd name="connsiteX2448" fmla="*/ 349828 w 1212658"/>
                <a:gd name="connsiteY2448" fmla="*/ 1493937 h 2273274"/>
                <a:gd name="connsiteX2449" fmla="*/ 349828 w 1212658"/>
                <a:gd name="connsiteY2449" fmla="*/ 1493937 h 2273274"/>
                <a:gd name="connsiteX2450" fmla="*/ 350947 w 1212658"/>
                <a:gd name="connsiteY2450" fmla="*/ 1496841 h 2273274"/>
                <a:gd name="connsiteX2451" fmla="*/ 350826 w 1212658"/>
                <a:gd name="connsiteY2451" fmla="*/ 1498959 h 2273274"/>
                <a:gd name="connsiteX2452" fmla="*/ 349767 w 1212658"/>
                <a:gd name="connsiteY2452" fmla="*/ 1499443 h 2273274"/>
                <a:gd name="connsiteX2453" fmla="*/ 348073 w 1212658"/>
                <a:gd name="connsiteY2453" fmla="*/ 1497416 h 2273274"/>
                <a:gd name="connsiteX2454" fmla="*/ 346228 w 1212658"/>
                <a:gd name="connsiteY2454" fmla="*/ 1492757 h 2273274"/>
                <a:gd name="connsiteX2455" fmla="*/ 345018 w 1212658"/>
                <a:gd name="connsiteY2455" fmla="*/ 1491245 h 2273274"/>
                <a:gd name="connsiteX2456" fmla="*/ 342960 w 1212658"/>
                <a:gd name="connsiteY2456" fmla="*/ 1491002 h 2273274"/>
                <a:gd name="connsiteX2457" fmla="*/ 340964 w 1212658"/>
                <a:gd name="connsiteY2457" fmla="*/ 1492424 h 2273274"/>
                <a:gd name="connsiteX2458" fmla="*/ 340571 w 1212658"/>
                <a:gd name="connsiteY2458" fmla="*/ 1494844 h 2273274"/>
                <a:gd name="connsiteX2459" fmla="*/ 341478 w 1212658"/>
                <a:gd name="connsiteY2459" fmla="*/ 1497113 h 2273274"/>
                <a:gd name="connsiteX2460" fmla="*/ 343294 w 1212658"/>
                <a:gd name="connsiteY2460" fmla="*/ 1498142 h 2273274"/>
                <a:gd name="connsiteX2461" fmla="*/ 343626 w 1212658"/>
                <a:gd name="connsiteY2461" fmla="*/ 1498807 h 2273274"/>
                <a:gd name="connsiteX2462" fmla="*/ 343686 w 1212658"/>
                <a:gd name="connsiteY2462" fmla="*/ 1500380 h 2273274"/>
                <a:gd name="connsiteX2463" fmla="*/ 343535 w 1212658"/>
                <a:gd name="connsiteY2463" fmla="*/ 1502075 h 2273274"/>
                <a:gd name="connsiteX2464" fmla="*/ 343263 w 1212658"/>
                <a:gd name="connsiteY2464" fmla="*/ 1503194 h 2273274"/>
                <a:gd name="connsiteX2465" fmla="*/ 342174 w 1212658"/>
                <a:gd name="connsiteY2465" fmla="*/ 1504071 h 2273274"/>
                <a:gd name="connsiteX2466" fmla="*/ 340722 w 1212658"/>
                <a:gd name="connsiteY2466" fmla="*/ 1503890 h 2273274"/>
                <a:gd name="connsiteX2467" fmla="*/ 338120 w 1212658"/>
                <a:gd name="connsiteY2467" fmla="*/ 1502528 h 2273274"/>
                <a:gd name="connsiteX2468" fmla="*/ 338877 w 1212658"/>
                <a:gd name="connsiteY2468" fmla="*/ 1503436 h 2273274"/>
                <a:gd name="connsiteX2469" fmla="*/ 340873 w 1212658"/>
                <a:gd name="connsiteY2469" fmla="*/ 1506794 h 2273274"/>
                <a:gd name="connsiteX2470" fmla="*/ 333946 w 1212658"/>
                <a:gd name="connsiteY2470" fmla="*/ 1506794 h 2273274"/>
                <a:gd name="connsiteX2471" fmla="*/ 339209 w 1212658"/>
                <a:gd name="connsiteY2471" fmla="*/ 1509668 h 2273274"/>
                <a:gd name="connsiteX2472" fmla="*/ 340873 w 1212658"/>
                <a:gd name="connsiteY2472" fmla="*/ 1511089 h 2273274"/>
                <a:gd name="connsiteX2473" fmla="*/ 339391 w 1212658"/>
                <a:gd name="connsiteY2473" fmla="*/ 1513237 h 2273274"/>
                <a:gd name="connsiteX2474" fmla="*/ 336214 w 1212658"/>
                <a:gd name="connsiteY2474" fmla="*/ 1514931 h 2273274"/>
                <a:gd name="connsiteX2475" fmla="*/ 334702 w 1212658"/>
                <a:gd name="connsiteY2475" fmla="*/ 1516928 h 2273274"/>
                <a:gd name="connsiteX2476" fmla="*/ 334218 w 1212658"/>
                <a:gd name="connsiteY2476" fmla="*/ 1518078 h 2273274"/>
                <a:gd name="connsiteX2477" fmla="*/ 333976 w 1212658"/>
                <a:gd name="connsiteY2477" fmla="*/ 1519076 h 2273274"/>
                <a:gd name="connsiteX2478" fmla="*/ 333976 w 1212658"/>
                <a:gd name="connsiteY2478" fmla="*/ 1521768 h 2273274"/>
                <a:gd name="connsiteX2479" fmla="*/ 333552 w 1212658"/>
                <a:gd name="connsiteY2479" fmla="*/ 1523462 h 2273274"/>
                <a:gd name="connsiteX2480" fmla="*/ 332675 w 1212658"/>
                <a:gd name="connsiteY2480" fmla="*/ 1523886 h 2273274"/>
                <a:gd name="connsiteX2481" fmla="*/ 331646 w 1212658"/>
                <a:gd name="connsiteY2481" fmla="*/ 1523977 h 2273274"/>
                <a:gd name="connsiteX2482" fmla="*/ 330860 w 1212658"/>
                <a:gd name="connsiteY2482" fmla="*/ 1524703 h 2273274"/>
                <a:gd name="connsiteX2483" fmla="*/ 329680 w 1212658"/>
                <a:gd name="connsiteY2483" fmla="*/ 1526215 h 2273274"/>
                <a:gd name="connsiteX2484" fmla="*/ 327956 w 1212658"/>
                <a:gd name="connsiteY2484" fmla="*/ 1527365 h 2273274"/>
                <a:gd name="connsiteX2485" fmla="*/ 326141 w 1212658"/>
                <a:gd name="connsiteY2485" fmla="*/ 1528091 h 2273274"/>
                <a:gd name="connsiteX2486" fmla="*/ 324659 w 1212658"/>
                <a:gd name="connsiteY2486" fmla="*/ 1528333 h 2273274"/>
                <a:gd name="connsiteX2487" fmla="*/ 324023 w 1212658"/>
                <a:gd name="connsiteY2487" fmla="*/ 1527365 h 2273274"/>
                <a:gd name="connsiteX2488" fmla="*/ 321936 w 1212658"/>
                <a:gd name="connsiteY2488" fmla="*/ 1522736 h 2273274"/>
                <a:gd name="connsiteX2489" fmla="*/ 320847 w 1212658"/>
                <a:gd name="connsiteY2489" fmla="*/ 1521103 h 2273274"/>
                <a:gd name="connsiteX2490" fmla="*/ 321301 w 1212658"/>
                <a:gd name="connsiteY2490" fmla="*/ 1518259 h 2273274"/>
                <a:gd name="connsiteX2491" fmla="*/ 320817 w 1212658"/>
                <a:gd name="connsiteY2491" fmla="*/ 1515748 h 2273274"/>
                <a:gd name="connsiteX2492" fmla="*/ 319637 w 1212658"/>
                <a:gd name="connsiteY2492" fmla="*/ 1513570 h 2273274"/>
                <a:gd name="connsiteX2493" fmla="*/ 318094 w 1212658"/>
                <a:gd name="connsiteY2493" fmla="*/ 1511785 h 2273274"/>
                <a:gd name="connsiteX2494" fmla="*/ 317065 w 1212658"/>
                <a:gd name="connsiteY2494" fmla="*/ 1511301 h 2273274"/>
                <a:gd name="connsiteX2495" fmla="*/ 315946 w 1212658"/>
                <a:gd name="connsiteY2495" fmla="*/ 1511513 h 2273274"/>
                <a:gd name="connsiteX2496" fmla="*/ 315038 w 1212658"/>
                <a:gd name="connsiteY2496" fmla="*/ 1512602 h 2273274"/>
                <a:gd name="connsiteX2497" fmla="*/ 314645 w 1212658"/>
                <a:gd name="connsiteY2497" fmla="*/ 1514720 h 2273274"/>
                <a:gd name="connsiteX2498" fmla="*/ 314222 w 1212658"/>
                <a:gd name="connsiteY2498" fmla="*/ 1515839 h 2273274"/>
                <a:gd name="connsiteX2499" fmla="*/ 313284 w 1212658"/>
                <a:gd name="connsiteY2499" fmla="*/ 1514931 h 2273274"/>
                <a:gd name="connsiteX2500" fmla="*/ 311832 w 1212658"/>
                <a:gd name="connsiteY2500" fmla="*/ 1512451 h 2273274"/>
                <a:gd name="connsiteX2501" fmla="*/ 309896 w 1212658"/>
                <a:gd name="connsiteY2501" fmla="*/ 1511392 h 2273274"/>
                <a:gd name="connsiteX2502" fmla="*/ 309412 w 1212658"/>
                <a:gd name="connsiteY2502" fmla="*/ 1511604 h 2273274"/>
                <a:gd name="connsiteX2503" fmla="*/ 309624 w 1212658"/>
                <a:gd name="connsiteY2503" fmla="*/ 1513510 h 2273274"/>
                <a:gd name="connsiteX2504" fmla="*/ 309866 w 1212658"/>
                <a:gd name="connsiteY2504" fmla="*/ 1517593 h 2273274"/>
                <a:gd name="connsiteX2505" fmla="*/ 309079 w 1212658"/>
                <a:gd name="connsiteY2505" fmla="*/ 1521224 h 2273274"/>
                <a:gd name="connsiteX2506" fmla="*/ 307234 w 1212658"/>
                <a:gd name="connsiteY2506" fmla="*/ 1522040 h 2273274"/>
                <a:gd name="connsiteX2507" fmla="*/ 302968 w 1212658"/>
                <a:gd name="connsiteY2507" fmla="*/ 1521103 h 2273274"/>
                <a:gd name="connsiteX2508" fmla="*/ 303240 w 1212658"/>
                <a:gd name="connsiteY2508" fmla="*/ 1521889 h 2273274"/>
                <a:gd name="connsiteX2509" fmla="*/ 303392 w 1212658"/>
                <a:gd name="connsiteY2509" fmla="*/ 1522524 h 2273274"/>
                <a:gd name="connsiteX2510" fmla="*/ 303664 w 1212658"/>
                <a:gd name="connsiteY2510" fmla="*/ 1523916 h 2273274"/>
                <a:gd name="connsiteX2511" fmla="*/ 302666 w 1212658"/>
                <a:gd name="connsiteY2511" fmla="*/ 1524642 h 2273274"/>
                <a:gd name="connsiteX2512" fmla="*/ 301879 w 1212658"/>
                <a:gd name="connsiteY2512" fmla="*/ 1525610 h 2273274"/>
                <a:gd name="connsiteX2513" fmla="*/ 300155 w 1212658"/>
                <a:gd name="connsiteY2513" fmla="*/ 1528303 h 2273274"/>
                <a:gd name="connsiteX2514" fmla="*/ 304239 w 1212658"/>
                <a:gd name="connsiteY2514" fmla="*/ 1535654 h 2273274"/>
                <a:gd name="connsiteX2515" fmla="*/ 305025 w 1212658"/>
                <a:gd name="connsiteY2515" fmla="*/ 1538255 h 2273274"/>
                <a:gd name="connsiteX2516" fmla="*/ 300760 w 1212658"/>
                <a:gd name="connsiteY2516" fmla="*/ 1535775 h 2273274"/>
                <a:gd name="connsiteX2517" fmla="*/ 300125 w 1212658"/>
                <a:gd name="connsiteY2517" fmla="*/ 1536047 h 2273274"/>
                <a:gd name="connsiteX2518" fmla="*/ 299701 w 1212658"/>
                <a:gd name="connsiteY2518" fmla="*/ 1538588 h 2273274"/>
                <a:gd name="connsiteX2519" fmla="*/ 298763 w 1212658"/>
                <a:gd name="connsiteY2519" fmla="*/ 1539980 h 2273274"/>
                <a:gd name="connsiteX2520" fmla="*/ 297614 w 1212658"/>
                <a:gd name="connsiteY2520" fmla="*/ 1541008 h 2273274"/>
                <a:gd name="connsiteX2521" fmla="*/ 296676 w 1212658"/>
                <a:gd name="connsiteY2521" fmla="*/ 1542490 h 2273274"/>
                <a:gd name="connsiteX2522" fmla="*/ 294921 w 1212658"/>
                <a:gd name="connsiteY2522" fmla="*/ 1550084 h 2273274"/>
                <a:gd name="connsiteX2523" fmla="*/ 294649 w 1212658"/>
                <a:gd name="connsiteY2523" fmla="*/ 1550205 h 2273274"/>
                <a:gd name="connsiteX2524" fmla="*/ 294225 w 1212658"/>
                <a:gd name="connsiteY2524" fmla="*/ 1552473 h 2273274"/>
                <a:gd name="connsiteX2525" fmla="*/ 293530 w 1212658"/>
                <a:gd name="connsiteY2525" fmla="*/ 1554349 h 2273274"/>
                <a:gd name="connsiteX2526" fmla="*/ 293227 w 1212658"/>
                <a:gd name="connsiteY2526" fmla="*/ 1556134 h 2273274"/>
                <a:gd name="connsiteX2527" fmla="*/ 293953 w 1212658"/>
                <a:gd name="connsiteY2527" fmla="*/ 1558040 h 2273274"/>
                <a:gd name="connsiteX2528" fmla="*/ 293953 w 1212658"/>
                <a:gd name="connsiteY2528" fmla="*/ 1559431 h 2273274"/>
                <a:gd name="connsiteX2529" fmla="*/ 292743 w 1212658"/>
                <a:gd name="connsiteY2529" fmla="*/ 1560430 h 2273274"/>
                <a:gd name="connsiteX2530" fmla="*/ 291110 w 1212658"/>
                <a:gd name="connsiteY2530" fmla="*/ 1562729 h 2273274"/>
                <a:gd name="connsiteX2531" fmla="*/ 289839 w 1212658"/>
                <a:gd name="connsiteY2531" fmla="*/ 1563697 h 2273274"/>
                <a:gd name="connsiteX2532" fmla="*/ 290051 w 1212658"/>
                <a:gd name="connsiteY2532" fmla="*/ 1558614 h 2273274"/>
                <a:gd name="connsiteX2533" fmla="*/ 288387 w 1212658"/>
                <a:gd name="connsiteY2533" fmla="*/ 1556860 h 2273274"/>
                <a:gd name="connsiteX2534" fmla="*/ 285876 w 1212658"/>
                <a:gd name="connsiteY2534" fmla="*/ 1556436 h 2273274"/>
                <a:gd name="connsiteX2535" fmla="*/ 283637 w 1212658"/>
                <a:gd name="connsiteY2535" fmla="*/ 1555256 h 2273274"/>
                <a:gd name="connsiteX2536" fmla="*/ 283426 w 1212658"/>
                <a:gd name="connsiteY2536" fmla="*/ 1553381 h 2273274"/>
                <a:gd name="connsiteX2537" fmla="*/ 284031 w 1212658"/>
                <a:gd name="connsiteY2537" fmla="*/ 1551051 h 2273274"/>
                <a:gd name="connsiteX2538" fmla="*/ 284031 w 1212658"/>
                <a:gd name="connsiteY2538" fmla="*/ 1549025 h 2273274"/>
                <a:gd name="connsiteX2539" fmla="*/ 282246 w 1212658"/>
                <a:gd name="connsiteY2539" fmla="*/ 1548178 h 2273274"/>
                <a:gd name="connsiteX2540" fmla="*/ 279493 w 1212658"/>
                <a:gd name="connsiteY2540" fmla="*/ 1547694 h 2273274"/>
                <a:gd name="connsiteX2541" fmla="*/ 278434 w 1212658"/>
                <a:gd name="connsiteY2541" fmla="*/ 1548420 h 2273274"/>
                <a:gd name="connsiteX2542" fmla="*/ 277406 w 1212658"/>
                <a:gd name="connsiteY2542" fmla="*/ 1550991 h 2273274"/>
                <a:gd name="connsiteX2543" fmla="*/ 278283 w 1212658"/>
                <a:gd name="connsiteY2543" fmla="*/ 1556406 h 2273274"/>
                <a:gd name="connsiteX2544" fmla="*/ 282155 w 1212658"/>
                <a:gd name="connsiteY2544" fmla="*/ 1562003 h 2273274"/>
                <a:gd name="connsiteX2545" fmla="*/ 290535 w 1212658"/>
                <a:gd name="connsiteY2545" fmla="*/ 1570775 h 2273274"/>
                <a:gd name="connsiteX2546" fmla="*/ 287026 w 1212658"/>
                <a:gd name="connsiteY2546" fmla="*/ 1568688 h 2273274"/>
                <a:gd name="connsiteX2547" fmla="*/ 283849 w 1212658"/>
                <a:gd name="connsiteY2547" fmla="*/ 1568234 h 2273274"/>
                <a:gd name="connsiteX2548" fmla="*/ 280794 w 1212658"/>
                <a:gd name="connsiteY2548" fmla="*/ 1567115 h 2273274"/>
                <a:gd name="connsiteX2549" fmla="*/ 277769 w 1212658"/>
                <a:gd name="connsiteY2549" fmla="*/ 1563001 h 2273274"/>
                <a:gd name="connsiteX2550" fmla="*/ 274955 w 1212658"/>
                <a:gd name="connsiteY2550" fmla="*/ 1560127 h 2273274"/>
                <a:gd name="connsiteX2551" fmla="*/ 271597 w 1212658"/>
                <a:gd name="connsiteY2551" fmla="*/ 1559855 h 2273274"/>
                <a:gd name="connsiteX2552" fmla="*/ 269359 w 1212658"/>
                <a:gd name="connsiteY2552" fmla="*/ 1562426 h 2273274"/>
                <a:gd name="connsiteX2553" fmla="*/ 269813 w 1212658"/>
                <a:gd name="connsiteY2553" fmla="*/ 1568053 h 2273274"/>
                <a:gd name="connsiteX2554" fmla="*/ 270841 w 1212658"/>
                <a:gd name="connsiteY2554" fmla="*/ 1570322 h 2273274"/>
                <a:gd name="connsiteX2555" fmla="*/ 272112 w 1212658"/>
                <a:gd name="connsiteY2555" fmla="*/ 1571562 h 2273274"/>
                <a:gd name="connsiteX2556" fmla="*/ 273594 w 1212658"/>
                <a:gd name="connsiteY2556" fmla="*/ 1572076 h 2273274"/>
                <a:gd name="connsiteX2557" fmla="*/ 275349 w 1212658"/>
                <a:gd name="connsiteY2557" fmla="*/ 1572167 h 2273274"/>
                <a:gd name="connsiteX2558" fmla="*/ 275863 w 1212658"/>
                <a:gd name="connsiteY2558" fmla="*/ 1573165 h 2273274"/>
                <a:gd name="connsiteX2559" fmla="*/ 280885 w 1212658"/>
                <a:gd name="connsiteY2559" fmla="*/ 1580123 h 2273274"/>
                <a:gd name="connsiteX2560" fmla="*/ 283759 w 1212658"/>
                <a:gd name="connsiteY2560" fmla="*/ 1582815 h 2273274"/>
                <a:gd name="connsiteX2561" fmla="*/ 285060 w 1212658"/>
                <a:gd name="connsiteY2561" fmla="*/ 1584963 h 2273274"/>
                <a:gd name="connsiteX2562" fmla="*/ 286088 w 1212658"/>
                <a:gd name="connsiteY2562" fmla="*/ 1588079 h 2273274"/>
                <a:gd name="connsiteX2563" fmla="*/ 286753 w 1212658"/>
                <a:gd name="connsiteY2563" fmla="*/ 1589592 h 2273274"/>
                <a:gd name="connsiteX2564" fmla="*/ 287752 w 1212658"/>
                <a:gd name="connsiteY2564" fmla="*/ 1590742 h 2273274"/>
                <a:gd name="connsiteX2565" fmla="*/ 285574 w 1212658"/>
                <a:gd name="connsiteY2565" fmla="*/ 1593978 h 2273274"/>
                <a:gd name="connsiteX2566" fmla="*/ 283365 w 1212658"/>
                <a:gd name="connsiteY2566" fmla="*/ 1598456 h 2273274"/>
                <a:gd name="connsiteX2567" fmla="*/ 281096 w 1212658"/>
                <a:gd name="connsiteY2567" fmla="*/ 1600089 h 2273274"/>
                <a:gd name="connsiteX2568" fmla="*/ 278797 w 1212658"/>
                <a:gd name="connsiteY2568" fmla="*/ 1594825 h 2273274"/>
                <a:gd name="connsiteX2569" fmla="*/ 278102 w 1212658"/>
                <a:gd name="connsiteY2569" fmla="*/ 1594825 h 2273274"/>
                <a:gd name="connsiteX2570" fmla="*/ 276922 w 1212658"/>
                <a:gd name="connsiteY2570" fmla="*/ 1598153 h 2273274"/>
                <a:gd name="connsiteX2571" fmla="*/ 274744 w 1212658"/>
                <a:gd name="connsiteY2571" fmla="*/ 1601904 h 2273274"/>
                <a:gd name="connsiteX2572" fmla="*/ 270539 w 1212658"/>
                <a:gd name="connsiteY2572" fmla="*/ 1607591 h 2273274"/>
                <a:gd name="connsiteX2573" fmla="*/ 270387 w 1212658"/>
                <a:gd name="connsiteY2573" fmla="*/ 1607198 h 2273274"/>
                <a:gd name="connsiteX2574" fmla="*/ 269752 w 1212658"/>
                <a:gd name="connsiteY2574" fmla="*/ 1606624 h 2273274"/>
                <a:gd name="connsiteX2575" fmla="*/ 268996 w 1212658"/>
                <a:gd name="connsiteY2575" fmla="*/ 1606139 h 2273274"/>
                <a:gd name="connsiteX2576" fmla="*/ 268451 w 1212658"/>
                <a:gd name="connsiteY2576" fmla="*/ 1606049 h 2273274"/>
                <a:gd name="connsiteX2577" fmla="*/ 268361 w 1212658"/>
                <a:gd name="connsiteY2577" fmla="*/ 1606533 h 2273274"/>
                <a:gd name="connsiteX2578" fmla="*/ 268361 w 1212658"/>
                <a:gd name="connsiteY2578" fmla="*/ 1607440 h 2273274"/>
                <a:gd name="connsiteX2579" fmla="*/ 268270 w 1212658"/>
                <a:gd name="connsiteY2579" fmla="*/ 1608378 h 2273274"/>
                <a:gd name="connsiteX2580" fmla="*/ 267755 w 1212658"/>
                <a:gd name="connsiteY2580" fmla="*/ 1608983 h 2273274"/>
                <a:gd name="connsiteX2581" fmla="*/ 266152 w 1212658"/>
                <a:gd name="connsiteY2581" fmla="*/ 1609165 h 2273274"/>
                <a:gd name="connsiteX2582" fmla="*/ 264156 w 1212658"/>
                <a:gd name="connsiteY2582" fmla="*/ 1607894 h 2273274"/>
                <a:gd name="connsiteX2583" fmla="*/ 262915 w 1212658"/>
                <a:gd name="connsiteY2583" fmla="*/ 1607591 h 2273274"/>
                <a:gd name="connsiteX2584" fmla="*/ 261584 w 1212658"/>
                <a:gd name="connsiteY2584" fmla="*/ 1608227 h 2273274"/>
                <a:gd name="connsiteX2585" fmla="*/ 258922 w 1212658"/>
                <a:gd name="connsiteY2585" fmla="*/ 1610375 h 2273274"/>
                <a:gd name="connsiteX2586" fmla="*/ 257349 w 1212658"/>
                <a:gd name="connsiteY2586" fmla="*/ 1610375 h 2273274"/>
                <a:gd name="connsiteX2587" fmla="*/ 256260 w 1212658"/>
                <a:gd name="connsiteY2587" fmla="*/ 1609074 h 2273274"/>
                <a:gd name="connsiteX2588" fmla="*/ 255474 w 1212658"/>
                <a:gd name="connsiteY2588" fmla="*/ 1607259 h 2273274"/>
                <a:gd name="connsiteX2589" fmla="*/ 254415 w 1212658"/>
                <a:gd name="connsiteY2589" fmla="*/ 1606291 h 2273274"/>
                <a:gd name="connsiteX2590" fmla="*/ 252539 w 1212658"/>
                <a:gd name="connsiteY2590" fmla="*/ 1607561 h 2273274"/>
                <a:gd name="connsiteX2591" fmla="*/ 251662 w 1212658"/>
                <a:gd name="connsiteY2591" fmla="*/ 1609074 h 2273274"/>
                <a:gd name="connsiteX2592" fmla="*/ 251329 w 1212658"/>
                <a:gd name="connsiteY2592" fmla="*/ 1610647 h 2273274"/>
                <a:gd name="connsiteX2593" fmla="*/ 251087 w 1212658"/>
                <a:gd name="connsiteY2593" fmla="*/ 1612401 h 2273274"/>
                <a:gd name="connsiteX2594" fmla="*/ 250512 w 1212658"/>
                <a:gd name="connsiteY2594" fmla="*/ 1614428 h 2273274"/>
                <a:gd name="connsiteX2595" fmla="*/ 249514 w 1212658"/>
                <a:gd name="connsiteY2595" fmla="*/ 1616364 h 2273274"/>
                <a:gd name="connsiteX2596" fmla="*/ 248485 w 1212658"/>
                <a:gd name="connsiteY2596" fmla="*/ 1617423 h 2273274"/>
                <a:gd name="connsiteX2597" fmla="*/ 245642 w 1212658"/>
                <a:gd name="connsiteY2597" fmla="*/ 1618754 h 2273274"/>
                <a:gd name="connsiteX2598" fmla="*/ 247275 w 1212658"/>
                <a:gd name="connsiteY2598" fmla="*/ 1622808 h 2273274"/>
                <a:gd name="connsiteX2599" fmla="*/ 248455 w 1212658"/>
                <a:gd name="connsiteY2599" fmla="*/ 1627285 h 2273274"/>
                <a:gd name="connsiteX2600" fmla="*/ 240559 w 1212658"/>
                <a:gd name="connsiteY2600" fmla="*/ 1620690 h 2273274"/>
                <a:gd name="connsiteX2601" fmla="*/ 238079 w 1212658"/>
                <a:gd name="connsiteY2601" fmla="*/ 1620176 h 2273274"/>
                <a:gd name="connsiteX2602" fmla="*/ 238986 w 1212658"/>
                <a:gd name="connsiteY2602" fmla="*/ 1618058 h 2273274"/>
                <a:gd name="connsiteX2603" fmla="*/ 239138 w 1212658"/>
                <a:gd name="connsiteY2603" fmla="*/ 1616334 h 2273274"/>
                <a:gd name="connsiteX2604" fmla="*/ 238260 w 1212658"/>
                <a:gd name="connsiteY2604" fmla="*/ 1608257 h 2273274"/>
                <a:gd name="connsiteX2605" fmla="*/ 238442 w 1212658"/>
                <a:gd name="connsiteY2605" fmla="*/ 1606291 h 2273274"/>
                <a:gd name="connsiteX2606" fmla="*/ 239440 w 1212658"/>
                <a:gd name="connsiteY2606" fmla="*/ 1603205 h 2273274"/>
                <a:gd name="connsiteX2607" fmla="*/ 236960 w 1212658"/>
                <a:gd name="connsiteY2607" fmla="*/ 1603417 h 2273274"/>
                <a:gd name="connsiteX2608" fmla="*/ 232089 w 1212658"/>
                <a:gd name="connsiteY2608" fmla="*/ 1606654 h 2273274"/>
                <a:gd name="connsiteX2609" fmla="*/ 229790 w 1212658"/>
                <a:gd name="connsiteY2609" fmla="*/ 1607531 h 2273274"/>
                <a:gd name="connsiteX2610" fmla="*/ 225736 w 1212658"/>
                <a:gd name="connsiteY2610" fmla="*/ 1607107 h 2273274"/>
                <a:gd name="connsiteX2611" fmla="*/ 224284 w 1212658"/>
                <a:gd name="connsiteY2611" fmla="*/ 1607531 h 2273274"/>
                <a:gd name="connsiteX2612" fmla="*/ 220170 w 1212658"/>
                <a:gd name="connsiteY2612" fmla="*/ 1610314 h 2273274"/>
                <a:gd name="connsiteX2613" fmla="*/ 220170 w 1212658"/>
                <a:gd name="connsiteY2613" fmla="*/ 1611585 h 2273274"/>
                <a:gd name="connsiteX2614" fmla="*/ 221713 w 1212658"/>
                <a:gd name="connsiteY2614" fmla="*/ 1612462 h 2273274"/>
                <a:gd name="connsiteX2615" fmla="*/ 224829 w 1212658"/>
                <a:gd name="connsiteY2615" fmla="*/ 1613370 h 2273274"/>
                <a:gd name="connsiteX2616" fmla="*/ 226341 w 1212658"/>
                <a:gd name="connsiteY2616" fmla="*/ 1614398 h 2273274"/>
                <a:gd name="connsiteX2617" fmla="*/ 224163 w 1212658"/>
                <a:gd name="connsiteY2617" fmla="*/ 1615669 h 2273274"/>
                <a:gd name="connsiteX2618" fmla="*/ 221350 w 1212658"/>
                <a:gd name="connsiteY2618" fmla="*/ 1615124 h 2273274"/>
                <a:gd name="connsiteX2619" fmla="*/ 218657 w 1212658"/>
                <a:gd name="connsiteY2619" fmla="*/ 1613521 h 2273274"/>
                <a:gd name="connsiteX2620" fmla="*/ 216630 w 1212658"/>
                <a:gd name="connsiteY2620" fmla="*/ 1611585 h 2273274"/>
                <a:gd name="connsiteX2621" fmla="*/ 214543 w 1212658"/>
                <a:gd name="connsiteY2621" fmla="*/ 1616092 h 2273274"/>
                <a:gd name="connsiteX2622" fmla="*/ 211367 w 1212658"/>
                <a:gd name="connsiteY2622" fmla="*/ 1614791 h 2273274"/>
                <a:gd name="connsiteX2623" fmla="*/ 205589 w 1212658"/>
                <a:gd name="connsiteY2623" fmla="*/ 1608892 h 2273274"/>
                <a:gd name="connsiteX2624" fmla="*/ 204227 w 1212658"/>
                <a:gd name="connsiteY2624" fmla="*/ 1609225 h 2273274"/>
                <a:gd name="connsiteX2625" fmla="*/ 202140 w 1212658"/>
                <a:gd name="connsiteY2625" fmla="*/ 1610375 h 2273274"/>
                <a:gd name="connsiteX2626" fmla="*/ 200234 w 1212658"/>
                <a:gd name="connsiteY2626" fmla="*/ 1612008 h 2273274"/>
                <a:gd name="connsiteX2627" fmla="*/ 199387 w 1212658"/>
                <a:gd name="connsiteY2627" fmla="*/ 1613733 h 2273274"/>
                <a:gd name="connsiteX2628" fmla="*/ 199841 w 1212658"/>
                <a:gd name="connsiteY2628" fmla="*/ 1617121 h 2273274"/>
                <a:gd name="connsiteX2629" fmla="*/ 201021 w 1212658"/>
                <a:gd name="connsiteY2629" fmla="*/ 1618633 h 2273274"/>
                <a:gd name="connsiteX2630" fmla="*/ 204953 w 1212658"/>
                <a:gd name="connsiteY2630" fmla="*/ 1620085 h 2273274"/>
                <a:gd name="connsiteX2631" fmla="*/ 204953 w 1212658"/>
                <a:gd name="connsiteY2631" fmla="*/ 1621477 h 2273274"/>
                <a:gd name="connsiteX2632" fmla="*/ 201959 w 1212658"/>
                <a:gd name="connsiteY2632" fmla="*/ 1621265 h 2273274"/>
                <a:gd name="connsiteX2633" fmla="*/ 200779 w 1212658"/>
                <a:gd name="connsiteY2633" fmla="*/ 1622021 h 2273274"/>
                <a:gd name="connsiteX2634" fmla="*/ 200083 w 1212658"/>
                <a:gd name="connsiteY2634" fmla="*/ 1624260 h 2273274"/>
                <a:gd name="connsiteX2635" fmla="*/ 201354 w 1212658"/>
                <a:gd name="connsiteY2635" fmla="*/ 1624653 h 2273274"/>
                <a:gd name="connsiteX2636" fmla="*/ 201505 w 1212658"/>
                <a:gd name="connsiteY2636" fmla="*/ 1626166 h 2273274"/>
                <a:gd name="connsiteX2637" fmla="*/ 201414 w 1212658"/>
                <a:gd name="connsiteY2637" fmla="*/ 1628314 h 2273274"/>
                <a:gd name="connsiteX2638" fmla="*/ 201838 w 1212658"/>
                <a:gd name="connsiteY2638" fmla="*/ 1630522 h 2273274"/>
                <a:gd name="connsiteX2639" fmla="*/ 202957 w 1212658"/>
                <a:gd name="connsiteY2639" fmla="*/ 1631974 h 2273274"/>
                <a:gd name="connsiteX2640" fmla="*/ 204349 w 1212658"/>
                <a:gd name="connsiteY2640" fmla="*/ 1632337 h 2273274"/>
                <a:gd name="connsiteX2641" fmla="*/ 205770 w 1212658"/>
                <a:gd name="connsiteY2641" fmla="*/ 1631974 h 2273274"/>
                <a:gd name="connsiteX2642" fmla="*/ 207011 w 1212658"/>
                <a:gd name="connsiteY2642" fmla="*/ 1631218 h 2273274"/>
                <a:gd name="connsiteX2643" fmla="*/ 205075 w 1212658"/>
                <a:gd name="connsiteY2643" fmla="*/ 1634243 h 2273274"/>
                <a:gd name="connsiteX2644" fmla="*/ 205710 w 1212658"/>
                <a:gd name="connsiteY2644" fmla="*/ 1636996 h 2273274"/>
                <a:gd name="connsiteX2645" fmla="*/ 207676 w 1212658"/>
                <a:gd name="connsiteY2645" fmla="*/ 1639325 h 2273274"/>
                <a:gd name="connsiteX2646" fmla="*/ 214362 w 1212658"/>
                <a:gd name="connsiteY2646" fmla="*/ 1645134 h 2273274"/>
                <a:gd name="connsiteX2647" fmla="*/ 218657 w 1212658"/>
                <a:gd name="connsiteY2647" fmla="*/ 1650881 h 2273274"/>
                <a:gd name="connsiteX2648" fmla="*/ 215481 w 1212658"/>
                <a:gd name="connsiteY2648" fmla="*/ 1652757 h 2273274"/>
                <a:gd name="connsiteX2649" fmla="*/ 212365 w 1212658"/>
                <a:gd name="connsiteY2649" fmla="*/ 1651547 h 2273274"/>
                <a:gd name="connsiteX2650" fmla="*/ 209310 w 1212658"/>
                <a:gd name="connsiteY2650" fmla="*/ 1649308 h 2273274"/>
                <a:gd name="connsiteX2651" fmla="*/ 206254 w 1212658"/>
                <a:gd name="connsiteY2651" fmla="*/ 1648098 h 2273274"/>
                <a:gd name="connsiteX2652" fmla="*/ 202049 w 1212658"/>
                <a:gd name="connsiteY2652" fmla="*/ 1643379 h 2273274"/>
                <a:gd name="connsiteX2653" fmla="*/ 199206 w 1212658"/>
                <a:gd name="connsiteY2653" fmla="*/ 1641806 h 2273274"/>
                <a:gd name="connsiteX2654" fmla="*/ 197935 w 1212658"/>
                <a:gd name="connsiteY2654" fmla="*/ 1644589 h 2273274"/>
                <a:gd name="connsiteX2655" fmla="*/ 197754 w 1212658"/>
                <a:gd name="connsiteY2655" fmla="*/ 1647675 h 2273274"/>
                <a:gd name="connsiteX2656" fmla="*/ 197240 w 1212658"/>
                <a:gd name="connsiteY2656" fmla="*/ 1647675 h 2273274"/>
                <a:gd name="connsiteX2657" fmla="*/ 196423 w 1212658"/>
                <a:gd name="connsiteY2657" fmla="*/ 1646676 h 2273274"/>
                <a:gd name="connsiteX2658" fmla="*/ 195334 w 1212658"/>
                <a:gd name="connsiteY2658" fmla="*/ 1646737 h 2273274"/>
                <a:gd name="connsiteX2659" fmla="*/ 194093 w 1212658"/>
                <a:gd name="connsiteY2659" fmla="*/ 1648098 h 2273274"/>
                <a:gd name="connsiteX2660" fmla="*/ 193761 w 1212658"/>
                <a:gd name="connsiteY2660" fmla="*/ 1648733 h 2273274"/>
                <a:gd name="connsiteX2661" fmla="*/ 193882 w 1212658"/>
                <a:gd name="connsiteY2661" fmla="*/ 1649429 h 2273274"/>
                <a:gd name="connsiteX2662" fmla="*/ 193972 w 1212658"/>
                <a:gd name="connsiteY2662" fmla="*/ 1650911 h 2273274"/>
                <a:gd name="connsiteX2663" fmla="*/ 193972 w 1212658"/>
                <a:gd name="connsiteY2663" fmla="*/ 1655389 h 2273274"/>
                <a:gd name="connsiteX2664" fmla="*/ 194365 w 1212658"/>
                <a:gd name="connsiteY2664" fmla="*/ 1659079 h 2273274"/>
                <a:gd name="connsiteX2665" fmla="*/ 196029 w 1212658"/>
                <a:gd name="connsiteY2665" fmla="*/ 1666310 h 2273274"/>
                <a:gd name="connsiteX2666" fmla="*/ 192429 w 1212658"/>
                <a:gd name="connsiteY2666" fmla="*/ 1667822 h 2273274"/>
                <a:gd name="connsiteX2667" fmla="*/ 191885 w 1212658"/>
                <a:gd name="connsiteY2667" fmla="*/ 1668276 h 2273274"/>
                <a:gd name="connsiteX2668" fmla="*/ 191673 w 1212658"/>
                <a:gd name="connsiteY2668" fmla="*/ 1669667 h 2273274"/>
                <a:gd name="connsiteX2669" fmla="*/ 190554 w 1212658"/>
                <a:gd name="connsiteY2669" fmla="*/ 1673963 h 2273274"/>
                <a:gd name="connsiteX2670" fmla="*/ 189616 w 1212658"/>
                <a:gd name="connsiteY2670" fmla="*/ 1676625 h 2273274"/>
                <a:gd name="connsiteX2671" fmla="*/ 189193 w 1212658"/>
                <a:gd name="connsiteY2671" fmla="*/ 1679348 h 2273274"/>
                <a:gd name="connsiteX2672" fmla="*/ 188708 w 1212658"/>
                <a:gd name="connsiteY2672" fmla="*/ 1680770 h 2273274"/>
                <a:gd name="connsiteX2673" fmla="*/ 187922 w 1212658"/>
                <a:gd name="connsiteY2673" fmla="*/ 1681919 h 2273274"/>
                <a:gd name="connsiteX2674" fmla="*/ 186046 w 1212658"/>
                <a:gd name="connsiteY2674" fmla="*/ 1683795 h 2273274"/>
                <a:gd name="connsiteX2675" fmla="*/ 185290 w 1212658"/>
                <a:gd name="connsiteY2675" fmla="*/ 1684975 h 2273274"/>
                <a:gd name="connsiteX2676" fmla="*/ 183173 w 1212658"/>
                <a:gd name="connsiteY2676" fmla="*/ 1685791 h 2273274"/>
                <a:gd name="connsiteX2677" fmla="*/ 176305 w 1212658"/>
                <a:gd name="connsiteY2677" fmla="*/ 1683038 h 2273274"/>
                <a:gd name="connsiteX2678" fmla="*/ 173886 w 1212658"/>
                <a:gd name="connsiteY2678" fmla="*/ 1682948 h 2273274"/>
                <a:gd name="connsiteX2679" fmla="*/ 172222 w 1212658"/>
                <a:gd name="connsiteY2679" fmla="*/ 1685186 h 2273274"/>
                <a:gd name="connsiteX2680" fmla="*/ 171828 w 1212658"/>
                <a:gd name="connsiteY2680" fmla="*/ 1687788 h 2273274"/>
                <a:gd name="connsiteX2681" fmla="*/ 171737 w 1212658"/>
                <a:gd name="connsiteY2681" fmla="*/ 1690753 h 2273274"/>
                <a:gd name="connsiteX2682" fmla="*/ 171133 w 1212658"/>
                <a:gd name="connsiteY2682" fmla="*/ 1694020 h 2273274"/>
                <a:gd name="connsiteX2683" fmla="*/ 170497 w 1212658"/>
                <a:gd name="connsiteY2683" fmla="*/ 1695502 h 2273274"/>
                <a:gd name="connsiteX2684" fmla="*/ 168743 w 1212658"/>
                <a:gd name="connsiteY2684" fmla="*/ 1698467 h 2273274"/>
                <a:gd name="connsiteX2685" fmla="*/ 168380 w 1212658"/>
                <a:gd name="connsiteY2685" fmla="*/ 1698921 h 2273274"/>
                <a:gd name="connsiteX2686" fmla="*/ 167835 w 1212658"/>
                <a:gd name="connsiteY2686" fmla="*/ 1700584 h 2273274"/>
                <a:gd name="connsiteX2687" fmla="*/ 166595 w 1212658"/>
                <a:gd name="connsiteY2687" fmla="*/ 1700131 h 2273274"/>
                <a:gd name="connsiteX2688" fmla="*/ 164538 w 1212658"/>
                <a:gd name="connsiteY2688" fmla="*/ 1698164 h 2273274"/>
                <a:gd name="connsiteX2689" fmla="*/ 162360 w 1212658"/>
                <a:gd name="connsiteY2689" fmla="*/ 1698890 h 2273274"/>
                <a:gd name="connsiteX2690" fmla="*/ 160786 w 1212658"/>
                <a:gd name="connsiteY2690" fmla="*/ 1700826 h 2273274"/>
                <a:gd name="connsiteX2691" fmla="*/ 160212 w 1212658"/>
                <a:gd name="connsiteY2691" fmla="*/ 1703700 h 2273274"/>
                <a:gd name="connsiteX2692" fmla="*/ 161059 w 1212658"/>
                <a:gd name="connsiteY2692" fmla="*/ 1707210 h 2273274"/>
                <a:gd name="connsiteX2693" fmla="*/ 161694 w 1212658"/>
                <a:gd name="connsiteY2693" fmla="*/ 1708419 h 2273274"/>
                <a:gd name="connsiteX2694" fmla="*/ 163479 w 1212658"/>
                <a:gd name="connsiteY2694" fmla="*/ 1710598 h 2273274"/>
                <a:gd name="connsiteX2695" fmla="*/ 164296 w 1212658"/>
                <a:gd name="connsiteY2695" fmla="*/ 1711112 h 2273274"/>
                <a:gd name="connsiteX2696" fmla="*/ 164991 w 1212658"/>
                <a:gd name="connsiteY2696" fmla="*/ 1710840 h 2273274"/>
                <a:gd name="connsiteX2697" fmla="*/ 165445 w 1212658"/>
                <a:gd name="connsiteY2697" fmla="*/ 1711142 h 2273274"/>
                <a:gd name="connsiteX2698" fmla="*/ 165506 w 1212658"/>
                <a:gd name="connsiteY2698" fmla="*/ 1713350 h 2273274"/>
                <a:gd name="connsiteX2699" fmla="*/ 164387 w 1212658"/>
                <a:gd name="connsiteY2699" fmla="*/ 1716466 h 2273274"/>
                <a:gd name="connsiteX2700" fmla="*/ 161997 w 1212658"/>
                <a:gd name="connsiteY2700" fmla="*/ 1719219 h 2273274"/>
                <a:gd name="connsiteX2701" fmla="*/ 159304 w 1212658"/>
                <a:gd name="connsiteY2701" fmla="*/ 1721095 h 2273274"/>
                <a:gd name="connsiteX2702" fmla="*/ 157307 w 1212658"/>
                <a:gd name="connsiteY2702" fmla="*/ 1721609 h 2273274"/>
                <a:gd name="connsiteX2703" fmla="*/ 157731 w 1212658"/>
                <a:gd name="connsiteY2703" fmla="*/ 1725451 h 2273274"/>
                <a:gd name="connsiteX2704" fmla="*/ 156188 w 1212658"/>
                <a:gd name="connsiteY2704" fmla="*/ 1733316 h 2273274"/>
                <a:gd name="connsiteX2705" fmla="*/ 155916 w 1212658"/>
                <a:gd name="connsiteY2705" fmla="*/ 1738217 h 2273274"/>
                <a:gd name="connsiteX2706" fmla="*/ 157731 w 1212658"/>
                <a:gd name="connsiteY2706" fmla="*/ 1734829 h 2273274"/>
                <a:gd name="connsiteX2707" fmla="*/ 158820 w 1212658"/>
                <a:gd name="connsiteY2707" fmla="*/ 1733468 h 2273274"/>
                <a:gd name="connsiteX2708" fmla="*/ 160030 w 1212658"/>
                <a:gd name="connsiteY2708" fmla="*/ 1732742 h 2273274"/>
                <a:gd name="connsiteX2709" fmla="*/ 161603 w 1212658"/>
                <a:gd name="connsiteY2709" fmla="*/ 1735464 h 2273274"/>
                <a:gd name="connsiteX2710" fmla="*/ 168833 w 1212658"/>
                <a:gd name="connsiteY2710" fmla="*/ 1737189 h 2273274"/>
                <a:gd name="connsiteX2711" fmla="*/ 170407 w 1212658"/>
                <a:gd name="connsiteY2711" fmla="*/ 1740970 h 2273274"/>
                <a:gd name="connsiteX2712" fmla="*/ 168289 w 1212658"/>
                <a:gd name="connsiteY2712" fmla="*/ 1740395 h 2273274"/>
                <a:gd name="connsiteX2713" fmla="*/ 166202 w 1212658"/>
                <a:gd name="connsiteY2713" fmla="*/ 1742241 h 2273274"/>
                <a:gd name="connsiteX2714" fmla="*/ 164144 w 1212658"/>
                <a:gd name="connsiteY2714" fmla="*/ 1744842 h 2273274"/>
                <a:gd name="connsiteX2715" fmla="*/ 162118 w 1212658"/>
                <a:gd name="connsiteY2715" fmla="*/ 1746567 h 2273274"/>
                <a:gd name="connsiteX2716" fmla="*/ 164326 w 1212658"/>
                <a:gd name="connsiteY2716" fmla="*/ 1750288 h 2273274"/>
                <a:gd name="connsiteX2717" fmla="*/ 164901 w 1212658"/>
                <a:gd name="connsiteY2717" fmla="*/ 1751891 h 2273274"/>
                <a:gd name="connsiteX2718" fmla="*/ 163237 w 1212658"/>
                <a:gd name="connsiteY2718" fmla="*/ 1753252 h 2273274"/>
                <a:gd name="connsiteX2719" fmla="*/ 161875 w 1212658"/>
                <a:gd name="connsiteY2719" fmla="*/ 1755400 h 2273274"/>
                <a:gd name="connsiteX2720" fmla="*/ 160998 w 1212658"/>
                <a:gd name="connsiteY2720" fmla="*/ 1758244 h 2273274"/>
                <a:gd name="connsiteX2721" fmla="*/ 160756 w 1212658"/>
                <a:gd name="connsiteY2721" fmla="*/ 1761723 h 2273274"/>
                <a:gd name="connsiteX2722" fmla="*/ 161089 w 1212658"/>
                <a:gd name="connsiteY2722" fmla="*/ 1765383 h 2273274"/>
                <a:gd name="connsiteX2723" fmla="*/ 161875 w 1212658"/>
                <a:gd name="connsiteY2723" fmla="*/ 1766442 h 2273274"/>
                <a:gd name="connsiteX2724" fmla="*/ 163146 w 1212658"/>
                <a:gd name="connsiteY2724" fmla="*/ 1765807 h 2273274"/>
                <a:gd name="connsiteX2725" fmla="*/ 164901 w 1212658"/>
                <a:gd name="connsiteY2725" fmla="*/ 1764445 h 2273274"/>
                <a:gd name="connsiteX2726" fmla="*/ 164356 w 1212658"/>
                <a:gd name="connsiteY2726" fmla="*/ 1767985 h 2273274"/>
                <a:gd name="connsiteX2727" fmla="*/ 162571 w 1212658"/>
                <a:gd name="connsiteY2727" fmla="*/ 1774065 h 2273274"/>
                <a:gd name="connsiteX2728" fmla="*/ 162783 w 1212658"/>
                <a:gd name="connsiteY2728" fmla="*/ 1776606 h 2273274"/>
                <a:gd name="connsiteX2729" fmla="*/ 164205 w 1212658"/>
                <a:gd name="connsiteY2729" fmla="*/ 1774640 h 2273274"/>
                <a:gd name="connsiteX2730" fmla="*/ 166111 w 1212658"/>
                <a:gd name="connsiteY2730" fmla="*/ 1773127 h 2273274"/>
                <a:gd name="connsiteX2731" fmla="*/ 168047 w 1212658"/>
                <a:gd name="connsiteY2731" fmla="*/ 1772674 h 2273274"/>
                <a:gd name="connsiteX2732" fmla="*/ 169681 w 1212658"/>
                <a:gd name="connsiteY2732" fmla="*/ 1773853 h 2273274"/>
                <a:gd name="connsiteX2733" fmla="*/ 168894 w 1212658"/>
                <a:gd name="connsiteY2733" fmla="*/ 1774731 h 2273274"/>
                <a:gd name="connsiteX2734" fmla="*/ 168380 w 1212658"/>
                <a:gd name="connsiteY2734" fmla="*/ 1775699 h 2273274"/>
                <a:gd name="connsiteX2735" fmla="*/ 167563 w 1212658"/>
                <a:gd name="connsiteY2735" fmla="*/ 1778089 h 2273274"/>
                <a:gd name="connsiteX2736" fmla="*/ 168138 w 1212658"/>
                <a:gd name="connsiteY2736" fmla="*/ 1778331 h 2273274"/>
                <a:gd name="connsiteX2737" fmla="*/ 169075 w 1212658"/>
                <a:gd name="connsiteY2737" fmla="*/ 1779087 h 2273274"/>
                <a:gd name="connsiteX2738" fmla="*/ 169681 w 1212658"/>
                <a:gd name="connsiteY2738" fmla="*/ 1779329 h 2273274"/>
                <a:gd name="connsiteX2739" fmla="*/ 168955 w 1212658"/>
                <a:gd name="connsiteY2739" fmla="*/ 1782808 h 2273274"/>
                <a:gd name="connsiteX2740" fmla="*/ 168410 w 1212658"/>
                <a:gd name="connsiteY2740" fmla="*/ 1786892 h 2273274"/>
                <a:gd name="connsiteX2741" fmla="*/ 168894 w 1212658"/>
                <a:gd name="connsiteY2741" fmla="*/ 1789947 h 2273274"/>
                <a:gd name="connsiteX2742" fmla="*/ 171072 w 1212658"/>
                <a:gd name="connsiteY2742" fmla="*/ 1790340 h 2273274"/>
                <a:gd name="connsiteX2743" fmla="*/ 169711 w 1212658"/>
                <a:gd name="connsiteY2743" fmla="*/ 1787527 h 2273274"/>
                <a:gd name="connsiteX2744" fmla="*/ 169983 w 1212658"/>
                <a:gd name="connsiteY2744" fmla="*/ 1785440 h 2273274"/>
                <a:gd name="connsiteX2745" fmla="*/ 176578 w 1212658"/>
                <a:gd name="connsiteY2745" fmla="*/ 1775245 h 2273274"/>
                <a:gd name="connsiteX2746" fmla="*/ 177274 w 1212658"/>
                <a:gd name="connsiteY2746" fmla="*/ 1778089 h 2273274"/>
                <a:gd name="connsiteX2747" fmla="*/ 176033 w 1212658"/>
                <a:gd name="connsiteY2747" fmla="*/ 1780327 h 2273274"/>
                <a:gd name="connsiteX2748" fmla="*/ 175549 w 1212658"/>
                <a:gd name="connsiteY2748" fmla="*/ 1782959 h 2273274"/>
                <a:gd name="connsiteX2749" fmla="*/ 175731 w 1212658"/>
                <a:gd name="connsiteY2749" fmla="*/ 1785500 h 2273274"/>
                <a:gd name="connsiteX2750" fmla="*/ 176547 w 1212658"/>
                <a:gd name="connsiteY2750" fmla="*/ 1787467 h 2273274"/>
                <a:gd name="connsiteX2751" fmla="*/ 178030 w 1212658"/>
                <a:gd name="connsiteY2751" fmla="*/ 1788283 h 2273274"/>
                <a:gd name="connsiteX2752" fmla="*/ 183445 w 1212658"/>
                <a:gd name="connsiteY2752" fmla="*/ 1786226 h 2273274"/>
                <a:gd name="connsiteX2753" fmla="*/ 182870 w 1212658"/>
                <a:gd name="connsiteY2753" fmla="*/ 1789221 h 2273274"/>
                <a:gd name="connsiteX2754" fmla="*/ 182810 w 1212658"/>
                <a:gd name="connsiteY2754" fmla="*/ 1798478 h 2273274"/>
                <a:gd name="connsiteX2755" fmla="*/ 182386 w 1212658"/>
                <a:gd name="connsiteY2755" fmla="*/ 1801836 h 2273274"/>
                <a:gd name="connsiteX2756" fmla="*/ 181146 w 1212658"/>
                <a:gd name="connsiteY2756" fmla="*/ 1807584 h 2273274"/>
                <a:gd name="connsiteX2757" fmla="*/ 180752 w 1212658"/>
                <a:gd name="connsiteY2757" fmla="*/ 1810821 h 2273274"/>
                <a:gd name="connsiteX2758" fmla="*/ 182477 w 1212658"/>
                <a:gd name="connsiteY2758" fmla="*/ 1808945 h 2273274"/>
                <a:gd name="connsiteX2759" fmla="*/ 183536 w 1212658"/>
                <a:gd name="connsiteY2759" fmla="*/ 1806222 h 2273274"/>
                <a:gd name="connsiteX2760" fmla="*/ 184776 w 1212658"/>
                <a:gd name="connsiteY2760" fmla="*/ 1804075 h 2273274"/>
                <a:gd name="connsiteX2761" fmla="*/ 186954 w 1212658"/>
                <a:gd name="connsiteY2761" fmla="*/ 1803923 h 2273274"/>
                <a:gd name="connsiteX2762" fmla="*/ 184866 w 1212658"/>
                <a:gd name="connsiteY2762" fmla="*/ 1810851 h 2273274"/>
                <a:gd name="connsiteX2763" fmla="*/ 187619 w 1212658"/>
                <a:gd name="connsiteY2763" fmla="*/ 1813664 h 2273274"/>
                <a:gd name="connsiteX2764" fmla="*/ 188527 w 1212658"/>
                <a:gd name="connsiteY2764" fmla="*/ 1815570 h 2273274"/>
                <a:gd name="connsiteX2765" fmla="*/ 187922 w 1212658"/>
                <a:gd name="connsiteY2765" fmla="*/ 1818293 h 2273274"/>
                <a:gd name="connsiteX2766" fmla="*/ 186621 w 1212658"/>
                <a:gd name="connsiteY2766" fmla="*/ 1819866 h 2273274"/>
                <a:gd name="connsiteX2767" fmla="*/ 183536 w 1212658"/>
                <a:gd name="connsiteY2767" fmla="*/ 1821983 h 2273274"/>
                <a:gd name="connsiteX2768" fmla="*/ 182084 w 1212658"/>
                <a:gd name="connsiteY2768" fmla="*/ 1824343 h 2273274"/>
                <a:gd name="connsiteX2769" fmla="*/ 182719 w 1212658"/>
                <a:gd name="connsiteY2769" fmla="*/ 1826551 h 2273274"/>
                <a:gd name="connsiteX2770" fmla="*/ 182386 w 1212658"/>
                <a:gd name="connsiteY2770" fmla="*/ 1829395 h 2273274"/>
                <a:gd name="connsiteX2771" fmla="*/ 180692 w 1212658"/>
                <a:gd name="connsiteY2771" fmla="*/ 1835143 h 2273274"/>
                <a:gd name="connsiteX2772" fmla="*/ 179089 w 1212658"/>
                <a:gd name="connsiteY2772" fmla="*/ 1830938 h 2273274"/>
                <a:gd name="connsiteX2773" fmla="*/ 178363 w 1212658"/>
                <a:gd name="connsiteY2773" fmla="*/ 1832692 h 2273274"/>
                <a:gd name="connsiteX2774" fmla="*/ 177879 w 1212658"/>
                <a:gd name="connsiteY2774" fmla="*/ 1841919 h 2273274"/>
                <a:gd name="connsiteX2775" fmla="*/ 177092 w 1212658"/>
                <a:gd name="connsiteY2775" fmla="*/ 1846820 h 2273274"/>
                <a:gd name="connsiteX2776" fmla="*/ 173099 w 1212658"/>
                <a:gd name="connsiteY2776" fmla="*/ 1859677 h 2273274"/>
                <a:gd name="connsiteX2777" fmla="*/ 177516 w 1212658"/>
                <a:gd name="connsiteY2777" fmla="*/ 1860766 h 2273274"/>
                <a:gd name="connsiteX2778" fmla="*/ 178968 w 1212658"/>
                <a:gd name="connsiteY2778" fmla="*/ 1862399 h 2273274"/>
                <a:gd name="connsiteX2779" fmla="*/ 177213 w 1212658"/>
                <a:gd name="connsiteY2779" fmla="*/ 1866302 h 2273274"/>
                <a:gd name="connsiteX2780" fmla="*/ 178483 w 1212658"/>
                <a:gd name="connsiteY2780" fmla="*/ 1866816 h 2273274"/>
                <a:gd name="connsiteX2781" fmla="*/ 180722 w 1212658"/>
                <a:gd name="connsiteY2781" fmla="*/ 1868601 h 2273274"/>
                <a:gd name="connsiteX2782" fmla="*/ 181146 w 1212658"/>
                <a:gd name="connsiteY2782" fmla="*/ 1868722 h 2273274"/>
                <a:gd name="connsiteX2783" fmla="*/ 182053 w 1212658"/>
                <a:gd name="connsiteY2783" fmla="*/ 1868994 h 2273274"/>
                <a:gd name="connsiteX2784" fmla="*/ 186652 w 1212658"/>
                <a:gd name="connsiteY2784" fmla="*/ 1868752 h 2273274"/>
                <a:gd name="connsiteX2785" fmla="*/ 187589 w 1212658"/>
                <a:gd name="connsiteY2785" fmla="*/ 1868994 h 2273274"/>
                <a:gd name="connsiteX2786" fmla="*/ 188255 w 1212658"/>
                <a:gd name="connsiteY2786" fmla="*/ 1870446 h 2273274"/>
                <a:gd name="connsiteX2787" fmla="*/ 188497 w 1212658"/>
                <a:gd name="connsiteY2787" fmla="*/ 1872261 h 2273274"/>
                <a:gd name="connsiteX2788" fmla="*/ 188890 w 1212658"/>
                <a:gd name="connsiteY2788" fmla="*/ 1873804 h 2273274"/>
                <a:gd name="connsiteX2789" fmla="*/ 190947 w 1212658"/>
                <a:gd name="connsiteY2789" fmla="*/ 1875044 h 2273274"/>
                <a:gd name="connsiteX2790" fmla="*/ 190735 w 1212658"/>
                <a:gd name="connsiteY2790" fmla="*/ 1876376 h 2273274"/>
                <a:gd name="connsiteX2791" fmla="*/ 189888 w 1212658"/>
                <a:gd name="connsiteY2791" fmla="*/ 1877737 h 2273274"/>
                <a:gd name="connsiteX2792" fmla="*/ 188951 w 1212658"/>
                <a:gd name="connsiteY2792" fmla="*/ 1878463 h 2273274"/>
                <a:gd name="connsiteX2793" fmla="*/ 189858 w 1212658"/>
                <a:gd name="connsiteY2793" fmla="*/ 1881004 h 2273274"/>
                <a:gd name="connsiteX2794" fmla="*/ 191401 w 1212658"/>
                <a:gd name="connsiteY2794" fmla="*/ 1883727 h 2273274"/>
                <a:gd name="connsiteX2795" fmla="*/ 194456 w 1212658"/>
                <a:gd name="connsiteY2795" fmla="*/ 1887841 h 2273274"/>
                <a:gd name="connsiteX2796" fmla="*/ 194033 w 1212658"/>
                <a:gd name="connsiteY2796" fmla="*/ 1890836 h 2273274"/>
                <a:gd name="connsiteX2797" fmla="*/ 195152 w 1212658"/>
                <a:gd name="connsiteY2797" fmla="*/ 1892076 h 2273274"/>
                <a:gd name="connsiteX2798" fmla="*/ 196846 w 1212658"/>
                <a:gd name="connsiteY2798" fmla="*/ 1892681 h 2273274"/>
                <a:gd name="connsiteX2799" fmla="*/ 198207 w 1212658"/>
                <a:gd name="connsiteY2799" fmla="*/ 1893800 h 2273274"/>
                <a:gd name="connsiteX2800" fmla="*/ 198510 w 1212658"/>
                <a:gd name="connsiteY2800" fmla="*/ 1896160 h 2273274"/>
                <a:gd name="connsiteX2801" fmla="*/ 197784 w 1212658"/>
                <a:gd name="connsiteY2801" fmla="*/ 1898822 h 2273274"/>
                <a:gd name="connsiteX2802" fmla="*/ 196877 w 1212658"/>
                <a:gd name="connsiteY2802" fmla="*/ 1901484 h 2273274"/>
                <a:gd name="connsiteX2803" fmla="*/ 196604 w 1212658"/>
                <a:gd name="connsiteY2803" fmla="*/ 1903874 h 2273274"/>
                <a:gd name="connsiteX2804" fmla="*/ 198540 w 1212658"/>
                <a:gd name="connsiteY2804" fmla="*/ 1908321 h 2273274"/>
                <a:gd name="connsiteX2805" fmla="*/ 205589 w 1212658"/>
                <a:gd name="connsiteY2805" fmla="*/ 1912949 h 2273274"/>
                <a:gd name="connsiteX2806" fmla="*/ 208251 w 1212658"/>
                <a:gd name="connsiteY2806" fmla="*/ 1916005 h 2273274"/>
                <a:gd name="connsiteX2807" fmla="*/ 206678 w 1212658"/>
                <a:gd name="connsiteY2807" fmla="*/ 1916519 h 2273274"/>
                <a:gd name="connsiteX2808" fmla="*/ 203260 w 1212658"/>
                <a:gd name="connsiteY2808" fmla="*/ 1913948 h 2273274"/>
                <a:gd name="connsiteX2809" fmla="*/ 201414 w 1212658"/>
                <a:gd name="connsiteY2809" fmla="*/ 1913343 h 2273274"/>
                <a:gd name="connsiteX2810" fmla="*/ 201414 w 1212658"/>
                <a:gd name="connsiteY2810" fmla="*/ 1914553 h 2273274"/>
                <a:gd name="connsiteX2811" fmla="*/ 203744 w 1212658"/>
                <a:gd name="connsiteY2811" fmla="*/ 1919393 h 2273274"/>
                <a:gd name="connsiteX2812" fmla="*/ 204046 w 1212658"/>
                <a:gd name="connsiteY2812" fmla="*/ 1920845 h 2273274"/>
                <a:gd name="connsiteX2813" fmla="*/ 203229 w 1212658"/>
                <a:gd name="connsiteY2813" fmla="*/ 1923719 h 2273274"/>
                <a:gd name="connsiteX2814" fmla="*/ 203381 w 1212658"/>
                <a:gd name="connsiteY2814" fmla="*/ 1925322 h 2273274"/>
                <a:gd name="connsiteX2815" fmla="*/ 204893 w 1212658"/>
                <a:gd name="connsiteY2815" fmla="*/ 1927077 h 2273274"/>
                <a:gd name="connsiteX2816" fmla="*/ 206980 w 1212658"/>
                <a:gd name="connsiteY2816" fmla="*/ 1928105 h 2273274"/>
                <a:gd name="connsiteX2817" fmla="*/ 208856 w 1212658"/>
                <a:gd name="connsiteY2817" fmla="*/ 1929558 h 2273274"/>
                <a:gd name="connsiteX2818" fmla="*/ 211125 w 1212658"/>
                <a:gd name="connsiteY2818" fmla="*/ 1937877 h 2273274"/>
                <a:gd name="connsiteX2819" fmla="*/ 214543 w 1212658"/>
                <a:gd name="connsiteY2819" fmla="*/ 1942747 h 2273274"/>
                <a:gd name="connsiteX2820" fmla="*/ 221410 w 1212658"/>
                <a:gd name="connsiteY2820" fmla="*/ 1949221 h 2273274"/>
                <a:gd name="connsiteX2821" fmla="*/ 221410 w 1212658"/>
                <a:gd name="connsiteY2821" fmla="*/ 1950673 h 2273274"/>
                <a:gd name="connsiteX2822" fmla="*/ 218446 w 1212658"/>
                <a:gd name="connsiteY2822" fmla="*/ 1949705 h 2273274"/>
                <a:gd name="connsiteX2823" fmla="*/ 212033 w 1212658"/>
                <a:gd name="connsiteY2823" fmla="*/ 1945561 h 2273274"/>
                <a:gd name="connsiteX2824" fmla="*/ 200416 w 1212658"/>
                <a:gd name="connsiteY2824" fmla="*/ 1940841 h 2273274"/>
                <a:gd name="connsiteX2825" fmla="*/ 197844 w 1212658"/>
                <a:gd name="connsiteY2825" fmla="*/ 1941295 h 2273274"/>
                <a:gd name="connsiteX2826" fmla="*/ 196241 w 1212658"/>
                <a:gd name="connsiteY2826" fmla="*/ 1941961 h 2273274"/>
                <a:gd name="connsiteX2827" fmla="*/ 195606 w 1212658"/>
                <a:gd name="connsiteY2827" fmla="*/ 1942354 h 2273274"/>
                <a:gd name="connsiteX2828" fmla="*/ 195788 w 1212658"/>
                <a:gd name="connsiteY2828" fmla="*/ 1943261 h 2273274"/>
                <a:gd name="connsiteX2829" fmla="*/ 196604 w 1212658"/>
                <a:gd name="connsiteY2829" fmla="*/ 1945379 h 2273274"/>
                <a:gd name="connsiteX2830" fmla="*/ 200658 w 1212658"/>
                <a:gd name="connsiteY2830" fmla="*/ 1950673 h 2273274"/>
                <a:gd name="connsiteX2831" fmla="*/ 202080 w 1212658"/>
                <a:gd name="connsiteY2831" fmla="*/ 1951066 h 2273274"/>
                <a:gd name="connsiteX2832" fmla="*/ 204772 w 1212658"/>
                <a:gd name="connsiteY2832" fmla="*/ 1950219 h 2273274"/>
                <a:gd name="connsiteX2833" fmla="*/ 206254 w 1212658"/>
                <a:gd name="connsiteY2833" fmla="*/ 1950673 h 2273274"/>
                <a:gd name="connsiteX2834" fmla="*/ 206799 w 1212658"/>
                <a:gd name="connsiteY2834" fmla="*/ 1951732 h 2273274"/>
                <a:gd name="connsiteX2835" fmla="*/ 208917 w 1212658"/>
                <a:gd name="connsiteY2835" fmla="*/ 1957298 h 2273274"/>
                <a:gd name="connsiteX2836" fmla="*/ 205256 w 1212658"/>
                <a:gd name="connsiteY2836" fmla="*/ 1959264 h 2273274"/>
                <a:gd name="connsiteX2837" fmla="*/ 191824 w 1212658"/>
                <a:gd name="connsiteY2837" fmla="*/ 1957298 h 2273274"/>
                <a:gd name="connsiteX2838" fmla="*/ 193821 w 1212658"/>
                <a:gd name="connsiteY2838" fmla="*/ 1959295 h 2273274"/>
                <a:gd name="connsiteX2839" fmla="*/ 200688 w 1212658"/>
                <a:gd name="connsiteY2839" fmla="*/ 1962592 h 2273274"/>
                <a:gd name="connsiteX2840" fmla="*/ 203895 w 1212658"/>
                <a:gd name="connsiteY2840" fmla="*/ 1965678 h 2273274"/>
                <a:gd name="connsiteX2841" fmla="*/ 205468 w 1212658"/>
                <a:gd name="connsiteY2841" fmla="*/ 1967795 h 2273274"/>
                <a:gd name="connsiteX2842" fmla="*/ 206950 w 1212658"/>
                <a:gd name="connsiteY2842" fmla="*/ 1970669 h 2273274"/>
                <a:gd name="connsiteX2843" fmla="*/ 203834 w 1212658"/>
                <a:gd name="connsiteY2843" fmla="*/ 1972212 h 2273274"/>
                <a:gd name="connsiteX2844" fmla="*/ 197421 w 1212658"/>
                <a:gd name="connsiteY2844" fmla="*/ 1971607 h 2273274"/>
                <a:gd name="connsiteX2845" fmla="*/ 194487 w 1212658"/>
                <a:gd name="connsiteY2845" fmla="*/ 1973301 h 2273274"/>
                <a:gd name="connsiteX2846" fmla="*/ 195818 w 1212658"/>
                <a:gd name="connsiteY2846" fmla="*/ 1974148 h 2273274"/>
                <a:gd name="connsiteX2847" fmla="*/ 198631 w 1212658"/>
                <a:gd name="connsiteY2847" fmla="*/ 1975146 h 2273274"/>
                <a:gd name="connsiteX2848" fmla="*/ 199962 w 1212658"/>
                <a:gd name="connsiteY2848" fmla="*/ 1975933 h 2273274"/>
                <a:gd name="connsiteX2849" fmla="*/ 201475 w 1212658"/>
                <a:gd name="connsiteY2849" fmla="*/ 1977385 h 2273274"/>
                <a:gd name="connsiteX2850" fmla="*/ 202080 w 1212658"/>
                <a:gd name="connsiteY2850" fmla="*/ 1978595 h 2273274"/>
                <a:gd name="connsiteX2851" fmla="*/ 202715 w 1212658"/>
                <a:gd name="connsiteY2851" fmla="*/ 1982528 h 2273274"/>
                <a:gd name="connsiteX2852" fmla="*/ 202806 w 1212658"/>
                <a:gd name="connsiteY2852" fmla="*/ 1983556 h 2273274"/>
                <a:gd name="connsiteX2853" fmla="*/ 202624 w 1212658"/>
                <a:gd name="connsiteY2853" fmla="*/ 1985311 h 2273274"/>
                <a:gd name="connsiteX2854" fmla="*/ 202715 w 1212658"/>
                <a:gd name="connsiteY2854" fmla="*/ 1986491 h 2273274"/>
                <a:gd name="connsiteX2855" fmla="*/ 203048 w 1212658"/>
                <a:gd name="connsiteY2855" fmla="*/ 1987459 h 2273274"/>
                <a:gd name="connsiteX2856" fmla="*/ 203834 w 1212658"/>
                <a:gd name="connsiteY2856" fmla="*/ 1987973 h 2273274"/>
                <a:gd name="connsiteX2857" fmla="*/ 204076 w 1212658"/>
                <a:gd name="connsiteY2857" fmla="*/ 1989123 h 2273274"/>
                <a:gd name="connsiteX2858" fmla="*/ 204076 w 1212658"/>
                <a:gd name="connsiteY2858" fmla="*/ 1991059 h 2273274"/>
                <a:gd name="connsiteX2859" fmla="*/ 203834 w 1212658"/>
                <a:gd name="connsiteY2859" fmla="*/ 1994538 h 2273274"/>
                <a:gd name="connsiteX2860" fmla="*/ 204076 w 1212658"/>
                <a:gd name="connsiteY2860" fmla="*/ 1995566 h 2273274"/>
                <a:gd name="connsiteX2861" fmla="*/ 204076 w 1212658"/>
                <a:gd name="connsiteY2861" fmla="*/ 1996988 h 2273274"/>
                <a:gd name="connsiteX2862" fmla="*/ 199932 w 1212658"/>
                <a:gd name="connsiteY2862" fmla="*/ 1996988 h 2273274"/>
                <a:gd name="connsiteX2863" fmla="*/ 200446 w 1212658"/>
                <a:gd name="connsiteY2863" fmla="*/ 1999499 h 2273274"/>
                <a:gd name="connsiteX2864" fmla="*/ 199539 w 1212658"/>
                <a:gd name="connsiteY2864" fmla="*/ 2000618 h 2273274"/>
                <a:gd name="connsiteX2865" fmla="*/ 198177 w 1212658"/>
                <a:gd name="connsiteY2865" fmla="*/ 2001556 h 2273274"/>
                <a:gd name="connsiteX2866" fmla="*/ 197209 w 1212658"/>
                <a:gd name="connsiteY2866" fmla="*/ 2003552 h 2273274"/>
                <a:gd name="connsiteX2867" fmla="*/ 202049 w 1212658"/>
                <a:gd name="connsiteY2867" fmla="*/ 2005700 h 2273274"/>
                <a:gd name="connsiteX2868" fmla="*/ 203986 w 1212658"/>
                <a:gd name="connsiteY2868" fmla="*/ 2007515 h 2273274"/>
                <a:gd name="connsiteX2869" fmla="*/ 205468 w 1212658"/>
                <a:gd name="connsiteY2869" fmla="*/ 2011539 h 2273274"/>
                <a:gd name="connsiteX2870" fmla="*/ 202322 w 1212658"/>
                <a:gd name="connsiteY2870" fmla="*/ 2012416 h 2273274"/>
                <a:gd name="connsiteX2871" fmla="*/ 199296 w 1212658"/>
                <a:gd name="connsiteY2871" fmla="*/ 2014050 h 2273274"/>
                <a:gd name="connsiteX2872" fmla="*/ 199539 w 1212658"/>
                <a:gd name="connsiteY2872" fmla="*/ 2014746 h 2273274"/>
                <a:gd name="connsiteX2873" fmla="*/ 199992 w 1212658"/>
                <a:gd name="connsiteY2873" fmla="*/ 2016651 h 2273274"/>
                <a:gd name="connsiteX2874" fmla="*/ 196725 w 1212658"/>
                <a:gd name="connsiteY2874" fmla="*/ 2016530 h 2273274"/>
                <a:gd name="connsiteX2875" fmla="*/ 195182 w 1212658"/>
                <a:gd name="connsiteY2875" fmla="*/ 2016924 h 2273274"/>
                <a:gd name="connsiteX2876" fmla="*/ 193851 w 1212658"/>
                <a:gd name="connsiteY2876" fmla="*/ 2018103 h 2273274"/>
                <a:gd name="connsiteX2877" fmla="*/ 195213 w 1212658"/>
                <a:gd name="connsiteY2877" fmla="*/ 2018103 h 2273274"/>
                <a:gd name="connsiteX2878" fmla="*/ 193851 w 1212658"/>
                <a:gd name="connsiteY2878" fmla="*/ 2020856 h 2273274"/>
                <a:gd name="connsiteX2879" fmla="*/ 194487 w 1212658"/>
                <a:gd name="connsiteY2879" fmla="*/ 2021492 h 2273274"/>
                <a:gd name="connsiteX2880" fmla="*/ 195152 w 1212658"/>
                <a:gd name="connsiteY2880" fmla="*/ 2021885 h 2273274"/>
                <a:gd name="connsiteX2881" fmla="*/ 195848 w 1212658"/>
                <a:gd name="connsiteY2881" fmla="*/ 2022066 h 2273274"/>
                <a:gd name="connsiteX2882" fmla="*/ 196574 w 1212658"/>
                <a:gd name="connsiteY2882" fmla="*/ 2022066 h 2273274"/>
                <a:gd name="connsiteX2883" fmla="*/ 194063 w 1212658"/>
                <a:gd name="connsiteY2883" fmla="*/ 2023276 h 2273274"/>
                <a:gd name="connsiteX2884" fmla="*/ 193065 w 1212658"/>
                <a:gd name="connsiteY2884" fmla="*/ 2023337 h 2273274"/>
                <a:gd name="connsiteX2885" fmla="*/ 194154 w 1212658"/>
                <a:gd name="connsiteY2885" fmla="*/ 2024789 h 2273274"/>
                <a:gd name="connsiteX2886" fmla="*/ 194789 w 1212658"/>
                <a:gd name="connsiteY2886" fmla="*/ 2026695 h 2273274"/>
                <a:gd name="connsiteX2887" fmla="*/ 195878 w 1212658"/>
                <a:gd name="connsiteY2887" fmla="*/ 2031293 h 2273274"/>
                <a:gd name="connsiteX2888" fmla="*/ 194608 w 1212658"/>
                <a:gd name="connsiteY2888" fmla="*/ 2033290 h 2273274"/>
                <a:gd name="connsiteX2889" fmla="*/ 195062 w 1212658"/>
                <a:gd name="connsiteY2889" fmla="*/ 2035710 h 2273274"/>
                <a:gd name="connsiteX2890" fmla="*/ 196423 w 1212658"/>
                <a:gd name="connsiteY2890" fmla="*/ 2037888 h 2273274"/>
                <a:gd name="connsiteX2891" fmla="*/ 197844 w 1212658"/>
                <a:gd name="connsiteY2891" fmla="*/ 2039158 h 2273274"/>
                <a:gd name="connsiteX2892" fmla="*/ 194971 w 1212658"/>
                <a:gd name="connsiteY2892" fmla="*/ 2040127 h 2273274"/>
                <a:gd name="connsiteX2893" fmla="*/ 189071 w 1212658"/>
                <a:gd name="connsiteY2893" fmla="*/ 2037374 h 2273274"/>
                <a:gd name="connsiteX2894" fmla="*/ 186228 w 1212658"/>
                <a:gd name="connsiteY2894" fmla="*/ 2039158 h 2273274"/>
                <a:gd name="connsiteX2895" fmla="*/ 188678 w 1212658"/>
                <a:gd name="connsiteY2895" fmla="*/ 2039582 h 2273274"/>
                <a:gd name="connsiteX2896" fmla="*/ 190312 w 1212658"/>
                <a:gd name="connsiteY2896" fmla="*/ 2040973 h 2273274"/>
                <a:gd name="connsiteX2897" fmla="*/ 190312 w 1212658"/>
                <a:gd name="connsiteY2897" fmla="*/ 2041458 h 2273274"/>
                <a:gd name="connsiteX2898" fmla="*/ 190433 w 1212658"/>
                <a:gd name="connsiteY2898" fmla="*/ 2042395 h 2273274"/>
                <a:gd name="connsiteX2899" fmla="*/ 188285 w 1212658"/>
                <a:gd name="connsiteY2899" fmla="*/ 2042970 h 2273274"/>
                <a:gd name="connsiteX2900" fmla="*/ 185956 w 1212658"/>
                <a:gd name="connsiteY2900" fmla="*/ 2042123 h 2273274"/>
                <a:gd name="connsiteX2901" fmla="*/ 181539 w 1212658"/>
                <a:gd name="connsiteY2901" fmla="*/ 2039158 h 2273274"/>
                <a:gd name="connsiteX2902" fmla="*/ 179361 w 1212658"/>
                <a:gd name="connsiteY2902" fmla="*/ 2039158 h 2273274"/>
                <a:gd name="connsiteX2903" fmla="*/ 179694 w 1212658"/>
                <a:gd name="connsiteY2903" fmla="*/ 2041851 h 2273274"/>
                <a:gd name="connsiteX2904" fmla="*/ 180632 w 1212658"/>
                <a:gd name="connsiteY2904" fmla="*/ 2043484 h 2273274"/>
                <a:gd name="connsiteX2905" fmla="*/ 183414 w 1212658"/>
                <a:gd name="connsiteY2905" fmla="*/ 2045572 h 2273274"/>
                <a:gd name="connsiteX2906" fmla="*/ 182779 w 1212658"/>
                <a:gd name="connsiteY2906" fmla="*/ 2046086 h 2273274"/>
                <a:gd name="connsiteX2907" fmla="*/ 181327 w 1212658"/>
                <a:gd name="connsiteY2907" fmla="*/ 2048294 h 2273274"/>
                <a:gd name="connsiteX2908" fmla="*/ 183051 w 1212658"/>
                <a:gd name="connsiteY2908" fmla="*/ 2049777 h 2273274"/>
                <a:gd name="connsiteX2909" fmla="*/ 187559 w 1212658"/>
                <a:gd name="connsiteY2909" fmla="*/ 2058701 h 2273274"/>
                <a:gd name="connsiteX2910" fmla="*/ 188073 w 1212658"/>
                <a:gd name="connsiteY2910" fmla="*/ 2060123 h 2273274"/>
                <a:gd name="connsiteX2911" fmla="*/ 188315 w 1212658"/>
                <a:gd name="connsiteY2911" fmla="*/ 2061393 h 2273274"/>
                <a:gd name="connsiteX2912" fmla="*/ 188799 w 1212658"/>
                <a:gd name="connsiteY2912" fmla="*/ 2062271 h 2273274"/>
                <a:gd name="connsiteX2913" fmla="*/ 190009 w 1212658"/>
                <a:gd name="connsiteY2913" fmla="*/ 2062603 h 2273274"/>
                <a:gd name="connsiteX2914" fmla="*/ 190857 w 1212658"/>
                <a:gd name="connsiteY2914" fmla="*/ 2063329 h 2273274"/>
                <a:gd name="connsiteX2915" fmla="*/ 191371 w 1212658"/>
                <a:gd name="connsiteY2915" fmla="*/ 2065084 h 2273274"/>
                <a:gd name="connsiteX2916" fmla="*/ 191794 w 1212658"/>
                <a:gd name="connsiteY2916" fmla="*/ 2067262 h 2273274"/>
                <a:gd name="connsiteX2917" fmla="*/ 192429 w 1212658"/>
                <a:gd name="connsiteY2917" fmla="*/ 2069228 h 2273274"/>
                <a:gd name="connsiteX2918" fmla="*/ 191189 w 1212658"/>
                <a:gd name="connsiteY2918" fmla="*/ 2069107 h 2273274"/>
                <a:gd name="connsiteX2919" fmla="*/ 190312 w 1212658"/>
                <a:gd name="connsiteY2919" fmla="*/ 2068139 h 2273274"/>
                <a:gd name="connsiteX2920" fmla="*/ 189525 w 1212658"/>
                <a:gd name="connsiteY2920" fmla="*/ 2067050 h 2273274"/>
                <a:gd name="connsiteX2921" fmla="*/ 188648 w 1212658"/>
                <a:gd name="connsiteY2921" fmla="*/ 2066536 h 2273274"/>
                <a:gd name="connsiteX2922" fmla="*/ 187741 w 1212658"/>
                <a:gd name="connsiteY2922" fmla="*/ 2066960 h 2273274"/>
                <a:gd name="connsiteX2923" fmla="*/ 185956 w 1212658"/>
                <a:gd name="connsiteY2923" fmla="*/ 2068835 h 2273274"/>
                <a:gd name="connsiteX2924" fmla="*/ 184897 w 1212658"/>
                <a:gd name="connsiteY2924" fmla="*/ 2069259 h 2273274"/>
                <a:gd name="connsiteX2925" fmla="*/ 186924 w 1212658"/>
                <a:gd name="connsiteY2925" fmla="*/ 2072677 h 2273274"/>
                <a:gd name="connsiteX2926" fmla="*/ 187650 w 1212658"/>
                <a:gd name="connsiteY2926" fmla="*/ 2073161 h 2273274"/>
                <a:gd name="connsiteX2927" fmla="*/ 190160 w 1212658"/>
                <a:gd name="connsiteY2927" fmla="*/ 2073161 h 2273274"/>
                <a:gd name="connsiteX2928" fmla="*/ 191310 w 1212658"/>
                <a:gd name="connsiteY2928" fmla="*/ 2073494 h 2273274"/>
                <a:gd name="connsiteX2929" fmla="*/ 192429 w 1212658"/>
                <a:gd name="connsiteY2929" fmla="*/ 2074371 h 2273274"/>
                <a:gd name="connsiteX2930" fmla="*/ 190342 w 1212658"/>
                <a:gd name="connsiteY2930" fmla="*/ 2076489 h 2273274"/>
                <a:gd name="connsiteX2931" fmla="*/ 187771 w 1212658"/>
                <a:gd name="connsiteY2931" fmla="*/ 2076761 h 2273274"/>
                <a:gd name="connsiteX2932" fmla="*/ 182749 w 1212658"/>
                <a:gd name="connsiteY2932" fmla="*/ 2075793 h 2273274"/>
                <a:gd name="connsiteX2933" fmla="*/ 181358 w 1212658"/>
                <a:gd name="connsiteY2933" fmla="*/ 2076489 h 2273274"/>
                <a:gd name="connsiteX2934" fmla="*/ 183142 w 1212658"/>
                <a:gd name="connsiteY2934" fmla="*/ 2080270 h 2273274"/>
                <a:gd name="connsiteX2935" fmla="*/ 182084 w 1212658"/>
                <a:gd name="connsiteY2935" fmla="*/ 2082146 h 2273274"/>
                <a:gd name="connsiteX2936" fmla="*/ 182356 w 1212658"/>
                <a:gd name="connsiteY2936" fmla="*/ 2083537 h 2273274"/>
                <a:gd name="connsiteX2937" fmla="*/ 182810 w 1212658"/>
                <a:gd name="connsiteY2937" fmla="*/ 2084626 h 2273274"/>
                <a:gd name="connsiteX2938" fmla="*/ 183384 w 1212658"/>
                <a:gd name="connsiteY2938" fmla="*/ 2085504 h 2273274"/>
                <a:gd name="connsiteX2939" fmla="*/ 184140 w 1212658"/>
                <a:gd name="connsiteY2939" fmla="*/ 2086260 h 2273274"/>
                <a:gd name="connsiteX2940" fmla="*/ 185593 w 1212658"/>
                <a:gd name="connsiteY2940" fmla="*/ 2085685 h 2273274"/>
                <a:gd name="connsiteX2941" fmla="*/ 186924 w 1212658"/>
                <a:gd name="connsiteY2941" fmla="*/ 2087319 h 2273274"/>
                <a:gd name="connsiteX2942" fmla="*/ 187589 w 1212658"/>
                <a:gd name="connsiteY2942" fmla="*/ 2090011 h 2273274"/>
                <a:gd name="connsiteX2943" fmla="*/ 186924 w 1212658"/>
                <a:gd name="connsiteY2943" fmla="*/ 2092613 h 2273274"/>
                <a:gd name="connsiteX2944" fmla="*/ 188285 w 1212658"/>
                <a:gd name="connsiteY2944" fmla="*/ 2092673 h 2273274"/>
                <a:gd name="connsiteX2945" fmla="*/ 189556 w 1212658"/>
                <a:gd name="connsiteY2945" fmla="*/ 2093550 h 2273274"/>
                <a:gd name="connsiteX2946" fmla="*/ 191734 w 1212658"/>
                <a:gd name="connsiteY2946" fmla="*/ 2096485 h 2273274"/>
                <a:gd name="connsiteX2947" fmla="*/ 190675 w 1212658"/>
                <a:gd name="connsiteY2947" fmla="*/ 2096364 h 2273274"/>
                <a:gd name="connsiteX2948" fmla="*/ 189828 w 1212658"/>
                <a:gd name="connsiteY2948" fmla="*/ 2096636 h 2273274"/>
                <a:gd name="connsiteX2949" fmla="*/ 188225 w 1212658"/>
                <a:gd name="connsiteY2949" fmla="*/ 2097756 h 2273274"/>
                <a:gd name="connsiteX2950" fmla="*/ 190131 w 1212658"/>
                <a:gd name="connsiteY2950" fmla="*/ 2099419 h 2273274"/>
                <a:gd name="connsiteX2951" fmla="*/ 192187 w 1212658"/>
                <a:gd name="connsiteY2951" fmla="*/ 2100720 h 2273274"/>
                <a:gd name="connsiteX2952" fmla="*/ 194335 w 1212658"/>
                <a:gd name="connsiteY2952" fmla="*/ 2101537 h 2273274"/>
                <a:gd name="connsiteX2953" fmla="*/ 196514 w 1212658"/>
                <a:gd name="connsiteY2953" fmla="*/ 2101749 h 2273274"/>
                <a:gd name="connsiteX2954" fmla="*/ 196514 w 1212658"/>
                <a:gd name="connsiteY2954" fmla="*/ 2102898 h 2273274"/>
                <a:gd name="connsiteX2955" fmla="*/ 191673 w 1212658"/>
                <a:gd name="connsiteY2955" fmla="*/ 2102898 h 2273274"/>
                <a:gd name="connsiteX2956" fmla="*/ 192581 w 1212658"/>
                <a:gd name="connsiteY2956" fmla="*/ 2105167 h 2273274"/>
                <a:gd name="connsiteX2957" fmla="*/ 193579 w 1212658"/>
                <a:gd name="connsiteY2957" fmla="*/ 2107043 h 2273274"/>
                <a:gd name="connsiteX2958" fmla="*/ 194063 w 1212658"/>
                <a:gd name="connsiteY2958" fmla="*/ 2108949 h 2273274"/>
                <a:gd name="connsiteX2959" fmla="*/ 193398 w 1212658"/>
                <a:gd name="connsiteY2959" fmla="*/ 2111308 h 2273274"/>
                <a:gd name="connsiteX2960" fmla="*/ 192097 w 1212658"/>
                <a:gd name="connsiteY2960" fmla="*/ 2111429 h 2273274"/>
                <a:gd name="connsiteX2961" fmla="*/ 184776 w 1212658"/>
                <a:gd name="connsiteY2961" fmla="*/ 2109433 h 2273274"/>
                <a:gd name="connsiteX2962" fmla="*/ 185048 w 1212658"/>
                <a:gd name="connsiteY2962" fmla="*/ 2110522 h 2273274"/>
                <a:gd name="connsiteX2963" fmla="*/ 185048 w 1212658"/>
                <a:gd name="connsiteY2963" fmla="*/ 2110794 h 2273274"/>
                <a:gd name="connsiteX2964" fmla="*/ 184837 w 1212658"/>
                <a:gd name="connsiteY2964" fmla="*/ 2111006 h 2273274"/>
                <a:gd name="connsiteX2965" fmla="*/ 184776 w 1212658"/>
                <a:gd name="connsiteY2965" fmla="*/ 2111974 h 2273274"/>
                <a:gd name="connsiteX2966" fmla="*/ 185744 w 1212658"/>
                <a:gd name="connsiteY2966" fmla="*/ 2114575 h 2273274"/>
                <a:gd name="connsiteX2967" fmla="*/ 187408 w 1212658"/>
                <a:gd name="connsiteY2967" fmla="*/ 2117540 h 2273274"/>
                <a:gd name="connsiteX2968" fmla="*/ 189434 w 1212658"/>
                <a:gd name="connsiteY2968" fmla="*/ 2119990 h 2273274"/>
                <a:gd name="connsiteX2969" fmla="*/ 191613 w 1212658"/>
                <a:gd name="connsiteY2969" fmla="*/ 2121019 h 2273274"/>
                <a:gd name="connsiteX2970" fmla="*/ 196483 w 1212658"/>
                <a:gd name="connsiteY2970" fmla="*/ 2124861 h 2273274"/>
                <a:gd name="connsiteX2971" fmla="*/ 195757 w 1212658"/>
                <a:gd name="connsiteY2971" fmla="*/ 2126101 h 2273274"/>
                <a:gd name="connsiteX2972" fmla="*/ 194002 w 1212658"/>
                <a:gd name="connsiteY2972" fmla="*/ 2126010 h 2273274"/>
                <a:gd name="connsiteX2973" fmla="*/ 190947 w 1212658"/>
                <a:gd name="connsiteY2973" fmla="*/ 2124861 h 2273274"/>
                <a:gd name="connsiteX2974" fmla="*/ 192339 w 1212658"/>
                <a:gd name="connsiteY2974" fmla="*/ 2127553 h 2273274"/>
                <a:gd name="connsiteX2975" fmla="*/ 191431 w 1212658"/>
                <a:gd name="connsiteY2975" fmla="*/ 2128340 h 2273274"/>
                <a:gd name="connsiteX2976" fmla="*/ 191008 w 1212658"/>
                <a:gd name="connsiteY2976" fmla="*/ 2128612 h 2273274"/>
                <a:gd name="connsiteX2977" fmla="*/ 190342 w 1212658"/>
                <a:gd name="connsiteY2977" fmla="*/ 2128733 h 2273274"/>
                <a:gd name="connsiteX2978" fmla="*/ 190342 w 1212658"/>
                <a:gd name="connsiteY2978" fmla="*/ 2130125 h 2273274"/>
                <a:gd name="connsiteX2979" fmla="*/ 191340 w 1212658"/>
                <a:gd name="connsiteY2979" fmla="*/ 2130488 h 2273274"/>
                <a:gd name="connsiteX2980" fmla="*/ 192944 w 1212658"/>
                <a:gd name="connsiteY2980" fmla="*/ 2132091 h 2273274"/>
                <a:gd name="connsiteX2981" fmla="*/ 193791 w 1212658"/>
                <a:gd name="connsiteY2981" fmla="*/ 2132575 h 2273274"/>
                <a:gd name="connsiteX2982" fmla="*/ 195001 w 1212658"/>
                <a:gd name="connsiteY2982" fmla="*/ 2132514 h 2273274"/>
                <a:gd name="connsiteX2983" fmla="*/ 198177 w 1212658"/>
                <a:gd name="connsiteY2983" fmla="*/ 2131304 h 2273274"/>
                <a:gd name="connsiteX2984" fmla="*/ 205105 w 1212658"/>
                <a:gd name="connsiteY2984" fmla="*/ 2131667 h 2273274"/>
                <a:gd name="connsiteX2985" fmla="*/ 207495 w 1212658"/>
                <a:gd name="connsiteY2985" fmla="*/ 2132575 h 2273274"/>
                <a:gd name="connsiteX2986" fmla="*/ 207495 w 1212658"/>
                <a:gd name="connsiteY2986" fmla="*/ 2133966 h 2273274"/>
                <a:gd name="connsiteX2987" fmla="*/ 202957 w 1212658"/>
                <a:gd name="connsiteY2987" fmla="*/ 2132424 h 2273274"/>
                <a:gd name="connsiteX2988" fmla="*/ 201384 w 1212658"/>
                <a:gd name="connsiteY2988" fmla="*/ 2132545 h 2273274"/>
                <a:gd name="connsiteX2989" fmla="*/ 206587 w 1212658"/>
                <a:gd name="connsiteY2989" fmla="*/ 2140228 h 2273274"/>
                <a:gd name="connsiteX2990" fmla="*/ 208009 w 1212658"/>
                <a:gd name="connsiteY2990" fmla="*/ 2144252 h 2273274"/>
                <a:gd name="connsiteX2991" fmla="*/ 205407 w 1212658"/>
                <a:gd name="connsiteY2991" fmla="*/ 2146642 h 2273274"/>
                <a:gd name="connsiteX2992" fmla="*/ 207585 w 1212658"/>
                <a:gd name="connsiteY2992" fmla="*/ 2147459 h 2273274"/>
                <a:gd name="connsiteX2993" fmla="*/ 210822 w 1212658"/>
                <a:gd name="connsiteY2993" fmla="*/ 2147277 h 2273274"/>
                <a:gd name="connsiteX2994" fmla="*/ 213757 w 1212658"/>
                <a:gd name="connsiteY2994" fmla="*/ 2145976 h 2273274"/>
                <a:gd name="connsiteX2995" fmla="*/ 215058 w 1212658"/>
                <a:gd name="connsiteY2995" fmla="*/ 2143496 h 2273274"/>
                <a:gd name="connsiteX2996" fmla="*/ 215058 w 1212658"/>
                <a:gd name="connsiteY2996" fmla="*/ 2141469 h 2273274"/>
                <a:gd name="connsiteX2997" fmla="*/ 215178 w 1212658"/>
                <a:gd name="connsiteY2997" fmla="*/ 2140319 h 2273274"/>
                <a:gd name="connsiteX2998" fmla="*/ 215511 w 1212658"/>
                <a:gd name="connsiteY2998" fmla="*/ 2139502 h 2273274"/>
                <a:gd name="connsiteX2999" fmla="*/ 216116 w 1212658"/>
                <a:gd name="connsiteY2999" fmla="*/ 2138383 h 2273274"/>
                <a:gd name="connsiteX3000" fmla="*/ 216540 w 1212658"/>
                <a:gd name="connsiteY3000" fmla="*/ 2136719 h 2273274"/>
                <a:gd name="connsiteX3001" fmla="*/ 215632 w 1212658"/>
                <a:gd name="connsiteY3001" fmla="*/ 2134118 h 2273274"/>
                <a:gd name="connsiteX3002" fmla="*/ 215814 w 1212658"/>
                <a:gd name="connsiteY3002" fmla="*/ 2132575 h 2273274"/>
                <a:gd name="connsiteX3003" fmla="*/ 217538 w 1212658"/>
                <a:gd name="connsiteY3003" fmla="*/ 2130851 h 2273274"/>
                <a:gd name="connsiteX3004" fmla="*/ 222832 w 1212658"/>
                <a:gd name="connsiteY3004" fmla="*/ 2129852 h 2273274"/>
                <a:gd name="connsiteX3005" fmla="*/ 225101 w 1212658"/>
                <a:gd name="connsiteY3005" fmla="*/ 2128128 h 2273274"/>
                <a:gd name="connsiteX3006" fmla="*/ 227098 w 1212658"/>
                <a:gd name="connsiteY3006" fmla="*/ 2125678 h 2273274"/>
                <a:gd name="connsiteX3007" fmla="*/ 233783 w 1212658"/>
                <a:gd name="connsiteY3007" fmla="*/ 2121019 h 2273274"/>
                <a:gd name="connsiteX3008" fmla="*/ 232815 w 1212658"/>
                <a:gd name="connsiteY3008" fmla="*/ 2123197 h 2273274"/>
                <a:gd name="connsiteX3009" fmla="*/ 232543 w 1212658"/>
                <a:gd name="connsiteY3009" fmla="*/ 2125224 h 2273274"/>
                <a:gd name="connsiteX3010" fmla="*/ 233027 w 1212658"/>
                <a:gd name="connsiteY3010" fmla="*/ 2127099 h 2273274"/>
                <a:gd name="connsiteX3011" fmla="*/ 234328 w 1212658"/>
                <a:gd name="connsiteY3011" fmla="*/ 2128733 h 2273274"/>
                <a:gd name="connsiteX3012" fmla="*/ 231666 w 1212658"/>
                <a:gd name="connsiteY3012" fmla="*/ 2129247 h 2273274"/>
                <a:gd name="connsiteX3013" fmla="*/ 230486 w 1212658"/>
                <a:gd name="connsiteY3013" fmla="*/ 2131032 h 2273274"/>
                <a:gd name="connsiteX3014" fmla="*/ 230244 w 1212658"/>
                <a:gd name="connsiteY3014" fmla="*/ 2133603 h 2273274"/>
                <a:gd name="connsiteX3015" fmla="*/ 230244 w 1212658"/>
                <a:gd name="connsiteY3015" fmla="*/ 2136447 h 2273274"/>
                <a:gd name="connsiteX3016" fmla="*/ 230002 w 1212658"/>
                <a:gd name="connsiteY3016" fmla="*/ 2140531 h 2273274"/>
                <a:gd name="connsiteX3017" fmla="*/ 228641 w 1212658"/>
                <a:gd name="connsiteY3017" fmla="*/ 2146158 h 2273274"/>
                <a:gd name="connsiteX3018" fmla="*/ 228247 w 1212658"/>
                <a:gd name="connsiteY3018" fmla="*/ 2149364 h 2273274"/>
                <a:gd name="connsiteX3019" fmla="*/ 230304 w 1212658"/>
                <a:gd name="connsiteY3019" fmla="*/ 2147852 h 2273274"/>
                <a:gd name="connsiteX3020" fmla="*/ 232603 w 1212658"/>
                <a:gd name="connsiteY3020" fmla="*/ 2147973 h 2273274"/>
                <a:gd name="connsiteX3021" fmla="*/ 237171 w 1212658"/>
                <a:gd name="connsiteY3021" fmla="*/ 2149364 h 2273274"/>
                <a:gd name="connsiteX3022" fmla="*/ 234600 w 1212658"/>
                <a:gd name="connsiteY3022" fmla="*/ 2144524 h 2273274"/>
                <a:gd name="connsiteX3023" fmla="*/ 234146 w 1212658"/>
                <a:gd name="connsiteY3023" fmla="*/ 2142316 h 2273274"/>
                <a:gd name="connsiteX3024" fmla="*/ 235114 w 1212658"/>
                <a:gd name="connsiteY3024" fmla="*/ 2140380 h 2273274"/>
                <a:gd name="connsiteX3025" fmla="*/ 237202 w 1212658"/>
                <a:gd name="connsiteY3025" fmla="*/ 2139684 h 2273274"/>
                <a:gd name="connsiteX3026" fmla="*/ 240136 w 1212658"/>
                <a:gd name="connsiteY3026" fmla="*/ 2139805 h 2273274"/>
                <a:gd name="connsiteX3027" fmla="*/ 243010 w 1212658"/>
                <a:gd name="connsiteY3027" fmla="*/ 2140531 h 2273274"/>
                <a:gd name="connsiteX3028" fmla="*/ 244886 w 1212658"/>
                <a:gd name="connsiteY3028" fmla="*/ 2141650 h 2273274"/>
                <a:gd name="connsiteX3029" fmla="*/ 244401 w 1212658"/>
                <a:gd name="connsiteY3029" fmla="*/ 2142951 h 2273274"/>
                <a:gd name="connsiteX3030" fmla="*/ 243797 w 1212658"/>
                <a:gd name="connsiteY3030" fmla="*/ 2145371 h 2273274"/>
                <a:gd name="connsiteX3031" fmla="*/ 243373 w 1212658"/>
                <a:gd name="connsiteY3031" fmla="*/ 2146672 h 2273274"/>
                <a:gd name="connsiteX3032" fmla="*/ 248243 w 1212658"/>
                <a:gd name="connsiteY3032" fmla="*/ 2146672 h 2273274"/>
                <a:gd name="connsiteX3033" fmla="*/ 247759 w 1212658"/>
                <a:gd name="connsiteY3033" fmla="*/ 2148820 h 2273274"/>
                <a:gd name="connsiteX3034" fmla="*/ 248031 w 1212658"/>
                <a:gd name="connsiteY3034" fmla="*/ 2149576 h 2273274"/>
                <a:gd name="connsiteX3035" fmla="*/ 248758 w 1212658"/>
                <a:gd name="connsiteY3035" fmla="*/ 2149879 h 2273274"/>
                <a:gd name="connsiteX3036" fmla="*/ 249605 w 1212658"/>
                <a:gd name="connsiteY3036" fmla="*/ 2150635 h 2273274"/>
                <a:gd name="connsiteX3037" fmla="*/ 250028 w 1212658"/>
                <a:gd name="connsiteY3037" fmla="*/ 2150816 h 2273274"/>
                <a:gd name="connsiteX3038" fmla="*/ 251208 w 1212658"/>
                <a:gd name="connsiteY3038" fmla="*/ 2150514 h 2273274"/>
                <a:gd name="connsiteX3039" fmla="*/ 251662 w 1212658"/>
                <a:gd name="connsiteY3039" fmla="*/ 2150635 h 2273274"/>
                <a:gd name="connsiteX3040" fmla="*/ 251662 w 1212658"/>
                <a:gd name="connsiteY3040" fmla="*/ 2151089 h 2273274"/>
                <a:gd name="connsiteX3041" fmla="*/ 251601 w 1212658"/>
                <a:gd name="connsiteY3041" fmla="*/ 2152722 h 2273274"/>
                <a:gd name="connsiteX3042" fmla="*/ 251662 w 1212658"/>
                <a:gd name="connsiteY3042" fmla="*/ 2153176 h 2273274"/>
                <a:gd name="connsiteX3043" fmla="*/ 254566 w 1212658"/>
                <a:gd name="connsiteY3043" fmla="*/ 2156685 h 2273274"/>
                <a:gd name="connsiteX3044" fmla="*/ 256321 w 1212658"/>
                <a:gd name="connsiteY3044" fmla="*/ 2157139 h 2273274"/>
                <a:gd name="connsiteX3045" fmla="*/ 258166 w 1212658"/>
                <a:gd name="connsiteY3045" fmla="*/ 2155112 h 2273274"/>
                <a:gd name="connsiteX3046" fmla="*/ 260011 w 1212658"/>
                <a:gd name="connsiteY3046" fmla="*/ 2152329 h 2273274"/>
                <a:gd name="connsiteX3047" fmla="*/ 260707 w 1212658"/>
                <a:gd name="connsiteY3047" fmla="*/ 2153327 h 2273274"/>
                <a:gd name="connsiteX3048" fmla="*/ 260979 w 1212658"/>
                <a:gd name="connsiteY3048" fmla="*/ 2155717 h 2273274"/>
                <a:gd name="connsiteX3049" fmla="*/ 261554 w 1212658"/>
                <a:gd name="connsiteY3049" fmla="*/ 2157048 h 2273274"/>
                <a:gd name="connsiteX3050" fmla="*/ 266031 w 1212658"/>
                <a:gd name="connsiteY3050" fmla="*/ 2157472 h 2273274"/>
                <a:gd name="connsiteX3051" fmla="*/ 268058 w 1212658"/>
                <a:gd name="connsiteY3051" fmla="*/ 2158258 h 2273274"/>
                <a:gd name="connsiteX3052" fmla="*/ 274895 w 1212658"/>
                <a:gd name="connsiteY3052" fmla="*/ 2163099 h 2273274"/>
                <a:gd name="connsiteX3053" fmla="*/ 277980 w 1212658"/>
                <a:gd name="connsiteY3053" fmla="*/ 2166487 h 2273274"/>
                <a:gd name="connsiteX3054" fmla="*/ 279130 w 1212658"/>
                <a:gd name="connsiteY3054" fmla="*/ 2167183 h 2273274"/>
                <a:gd name="connsiteX3055" fmla="*/ 282609 w 1212658"/>
                <a:gd name="connsiteY3055" fmla="*/ 2167183 h 2273274"/>
                <a:gd name="connsiteX3056" fmla="*/ 298461 w 1212658"/>
                <a:gd name="connsiteY3056" fmla="*/ 2163522 h 2273274"/>
                <a:gd name="connsiteX3057" fmla="*/ 296404 w 1212658"/>
                <a:gd name="connsiteY3057" fmla="*/ 2168514 h 2273274"/>
                <a:gd name="connsiteX3058" fmla="*/ 304481 w 1212658"/>
                <a:gd name="connsiteY3058" fmla="*/ 2169088 h 2273274"/>
                <a:gd name="connsiteX3059" fmla="*/ 308232 w 1212658"/>
                <a:gd name="connsiteY3059" fmla="*/ 2168453 h 2273274"/>
                <a:gd name="connsiteX3060" fmla="*/ 312588 w 1212658"/>
                <a:gd name="connsiteY3060" fmla="*/ 2164127 h 2273274"/>
                <a:gd name="connsiteX3061" fmla="*/ 313314 w 1212658"/>
                <a:gd name="connsiteY3061" fmla="*/ 2165912 h 2273274"/>
                <a:gd name="connsiteX3062" fmla="*/ 312921 w 1212658"/>
                <a:gd name="connsiteY3062" fmla="*/ 2168574 h 2273274"/>
                <a:gd name="connsiteX3063" fmla="*/ 309775 w 1212658"/>
                <a:gd name="connsiteY3063" fmla="*/ 2170783 h 2273274"/>
                <a:gd name="connsiteX3064" fmla="*/ 304693 w 1212658"/>
                <a:gd name="connsiteY3064" fmla="*/ 2176349 h 2273274"/>
                <a:gd name="connsiteX3065" fmla="*/ 304148 w 1212658"/>
                <a:gd name="connsiteY3065" fmla="*/ 2179132 h 2273274"/>
                <a:gd name="connsiteX3066" fmla="*/ 300971 w 1212658"/>
                <a:gd name="connsiteY3066" fmla="*/ 2182490 h 2273274"/>
                <a:gd name="connsiteX3067" fmla="*/ 298824 w 1212658"/>
                <a:gd name="connsiteY3067" fmla="*/ 2185485 h 2273274"/>
                <a:gd name="connsiteX3068" fmla="*/ 297009 w 1212658"/>
                <a:gd name="connsiteY3068" fmla="*/ 2186997 h 2273274"/>
                <a:gd name="connsiteX3069" fmla="*/ 296374 w 1212658"/>
                <a:gd name="connsiteY3069" fmla="*/ 2187814 h 2273274"/>
                <a:gd name="connsiteX3070" fmla="*/ 295980 w 1212658"/>
                <a:gd name="connsiteY3070" fmla="*/ 2189236 h 2273274"/>
                <a:gd name="connsiteX3071" fmla="*/ 295980 w 1212658"/>
                <a:gd name="connsiteY3071" fmla="*/ 2190385 h 2273274"/>
                <a:gd name="connsiteX3072" fmla="*/ 295829 w 1212658"/>
                <a:gd name="connsiteY3072" fmla="*/ 2191565 h 2273274"/>
                <a:gd name="connsiteX3073" fmla="*/ 295012 w 1212658"/>
                <a:gd name="connsiteY3073" fmla="*/ 2192896 h 2273274"/>
                <a:gd name="connsiteX3074" fmla="*/ 300457 w 1212658"/>
                <a:gd name="connsiteY3074" fmla="*/ 2192533 h 2273274"/>
                <a:gd name="connsiteX3075" fmla="*/ 302847 w 1212658"/>
                <a:gd name="connsiteY3075" fmla="*/ 2191596 h 2273274"/>
                <a:gd name="connsiteX3076" fmla="*/ 307597 w 1212658"/>
                <a:gd name="connsiteY3076" fmla="*/ 2188117 h 2273274"/>
                <a:gd name="connsiteX3077" fmla="*/ 309987 w 1212658"/>
                <a:gd name="connsiteY3077" fmla="*/ 2187179 h 2273274"/>
                <a:gd name="connsiteX3078" fmla="*/ 314978 w 1212658"/>
                <a:gd name="connsiteY3078" fmla="*/ 2186634 h 2273274"/>
                <a:gd name="connsiteX3079" fmla="*/ 310229 w 1212658"/>
                <a:gd name="connsiteY3079" fmla="*/ 2188601 h 2273274"/>
                <a:gd name="connsiteX3080" fmla="*/ 309170 w 1212658"/>
                <a:gd name="connsiteY3080" fmla="*/ 2189720 h 2273274"/>
                <a:gd name="connsiteX3081" fmla="*/ 307325 w 1212658"/>
                <a:gd name="connsiteY3081" fmla="*/ 2193380 h 2273274"/>
                <a:gd name="connsiteX3082" fmla="*/ 307476 w 1212658"/>
                <a:gd name="connsiteY3082" fmla="*/ 2194802 h 2273274"/>
                <a:gd name="connsiteX3083" fmla="*/ 309503 w 1212658"/>
                <a:gd name="connsiteY3083" fmla="*/ 2195316 h 2273274"/>
                <a:gd name="connsiteX3084" fmla="*/ 304087 w 1212658"/>
                <a:gd name="connsiteY3084" fmla="*/ 2198795 h 2273274"/>
                <a:gd name="connsiteX3085" fmla="*/ 302605 w 1212658"/>
                <a:gd name="connsiteY3085" fmla="*/ 2200520 h 2273274"/>
                <a:gd name="connsiteX3086" fmla="*/ 305479 w 1212658"/>
                <a:gd name="connsiteY3086" fmla="*/ 2200368 h 2273274"/>
                <a:gd name="connsiteX3087" fmla="*/ 311287 w 1212658"/>
                <a:gd name="connsiteY3087" fmla="*/ 2197585 h 2273274"/>
                <a:gd name="connsiteX3088" fmla="*/ 323842 w 1212658"/>
                <a:gd name="connsiteY3088" fmla="*/ 2194197 h 2273274"/>
                <a:gd name="connsiteX3089" fmla="*/ 338029 w 1212658"/>
                <a:gd name="connsiteY3089" fmla="*/ 2182460 h 2273274"/>
                <a:gd name="connsiteX3090" fmla="*/ 344473 w 1212658"/>
                <a:gd name="connsiteY3090" fmla="*/ 2179586 h 2273274"/>
                <a:gd name="connsiteX3091" fmla="*/ 350191 w 1212658"/>
                <a:gd name="connsiteY3091" fmla="*/ 2181431 h 2273274"/>
                <a:gd name="connsiteX3092" fmla="*/ 351461 w 1212658"/>
                <a:gd name="connsiteY3092" fmla="*/ 2178194 h 2273274"/>
                <a:gd name="connsiteX3093" fmla="*/ 353821 w 1212658"/>
                <a:gd name="connsiteY3093" fmla="*/ 2174473 h 2273274"/>
                <a:gd name="connsiteX3094" fmla="*/ 356453 w 1212658"/>
                <a:gd name="connsiteY3094" fmla="*/ 2171962 h 2273274"/>
                <a:gd name="connsiteX3095" fmla="*/ 358479 w 1212658"/>
                <a:gd name="connsiteY3095" fmla="*/ 2172386 h 2273274"/>
                <a:gd name="connsiteX3096" fmla="*/ 358722 w 1212658"/>
                <a:gd name="connsiteY3096" fmla="*/ 2174110 h 2273274"/>
                <a:gd name="connsiteX3097" fmla="*/ 357663 w 1212658"/>
                <a:gd name="connsiteY3097" fmla="*/ 2175441 h 2273274"/>
                <a:gd name="connsiteX3098" fmla="*/ 354971 w 1212658"/>
                <a:gd name="connsiteY3098" fmla="*/ 2177619 h 2273274"/>
                <a:gd name="connsiteX3099" fmla="*/ 354184 w 1212658"/>
                <a:gd name="connsiteY3099" fmla="*/ 2179102 h 2273274"/>
                <a:gd name="connsiteX3100" fmla="*/ 353488 w 1212658"/>
                <a:gd name="connsiteY3100" fmla="*/ 2182187 h 2273274"/>
                <a:gd name="connsiteX3101" fmla="*/ 352913 w 1212658"/>
                <a:gd name="connsiteY3101" fmla="*/ 2184002 h 2273274"/>
                <a:gd name="connsiteX3102" fmla="*/ 351098 w 1212658"/>
                <a:gd name="connsiteY3102" fmla="*/ 2186967 h 2273274"/>
                <a:gd name="connsiteX3103" fmla="*/ 344594 w 1212658"/>
                <a:gd name="connsiteY3103" fmla="*/ 2192896 h 2273274"/>
                <a:gd name="connsiteX3104" fmla="*/ 342446 w 1212658"/>
                <a:gd name="connsiteY3104" fmla="*/ 2195498 h 2273274"/>
                <a:gd name="connsiteX3105" fmla="*/ 336971 w 1212658"/>
                <a:gd name="connsiteY3105" fmla="*/ 2204331 h 2273274"/>
                <a:gd name="connsiteX3106" fmla="*/ 338181 w 1212658"/>
                <a:gd name="connsiteY3106" fmla="*/ 2205481 h 2273274"/>
                <a:gd name="connsiteX3107" fmla="*/ 338846 w 1212658"/>
                <a:gd name="connsiteY3107" fmla="*/ 2206993 h 2273274"/>
                <a:gd name="connsiteX3108" fmla="*/ 338756 w 1212658"/>
                <a:gd name="connsiteY3108" fmla="*/ 2208778 h 2273274"/>
                <a:gd name="connsiteX3109" fmla="*/ 337727 w 1212658"/>
                <a:gd name="connsiteY3109" fmla="*/ 2210684 h 2273274"/>
                <a:gd name="connsiteX3110" fmla="*/ 338967 w 1212658"/>
                <a:gd name="connsiteY3110" fmla="*/ 2211561 h 2273274"/>
                <a:gd name="connsiteX3111" fmla="*/ 341055 w 1212658"/>
                <a:gd name="connsiteY3111" fmla="*/ 2214012 h 2273274"/>
                <a:gd name="connsiteX3112" fmla="*/ 344534 w 1212658"/>
                <a:gd name="connsiteY3112" fmla="*/ 2214829 h 2273274"/>
                <a:gd name="connsiteX3113" fmla="*/ 346137 w 1212658"/>
                <a:gd name="connsiteY3113" fmla="*/ 2215918 h 2273274"/>
                <a:gd name="connsiteX3114" fmla="*/ 347105 w 1212658"/>
                <a:gd name="connsiteY3114" fmla="*/ 2217914 h 2273274"/>
                <a:gd name="connsiteX3115" fmla="*/ 347226 w 1212658"/>
                <a:gd name="connsiteY3115" fmla="*/ 2220970 h 2273274"/>
                <a:gd name="connsiteX3116" fmla="*/ 348073 w 1212658"/>
                <a:gd name="connsiteY3116" fmla="*/ 2220153 h 2273274"/>
                <a:gd name="connsiteX3117" fmla="*/ 349979 w 1212658"/>
                <a:gd name="connsiteY3117" fmla="*/ 2219245 h 2273274"/>
                <a:gd name="connsiteX3118" fmla="*/ 350796 w 1212658"/>
                <a:gd name="connsiteY3118" fmla="*/ 2218580 h 2273274"/>
                <a:gd name="connsiteX3119" fmla="*/ 351189 w 1212658"/>
                <a:gd name="connsiteY3119" fmla="*/ 2217703 h 2273274"/>
                <a:gd name="connsiteX3120" fmla="*/ 352308 w 1212658"/>
                <a:gd name="connsiteY3120" fmla="*/ 2214587 h 2273274"/>
                <a:gd name="connsiteX3121" fmla="*/ 352853 w 1212658"/>
                <a:gd name="connsiteY3121" fmla="*/ 2213376 h 2273274"/>
                <a:gd name="connsiteX3122" fmla="*/ 354910 w 1212658"/>
                <a:gd name="connsiteY3122" fmla="*/ 2215918 h 2273274"/>
                <a:gd name="connsiteX3123" fmla="*/ 351582 w 1212658"/>
                <a:gd name="connsiteY3123" fmla="*/ 2219608 h 2273274"/>
                <a:gd name="connsiteX3124" fmla="*/ 350009 w 1212658"/>
                <a:gd name="connsiteY3124" fmla="*/ 2221847 h 2273274"/>
                <a:gd name="connsiteX3125" fmla="*/ 349374 w 1212658"/>
                <a:gd name="connsiteY3125" fmla="*/ 2224116 h 2273274"/>
                <a:gd name="connsiteX3126" fmla="*/ 350009 w 1212658"/>
                <a:gd name="connsiteY3126" fmla="*/ 2226959 h 2273274"/>
                <a:gd name="connsiteX3127" fmla="*/ 351643 w 1212658"/>
                <a:gd name="connsiteY3127" fmla="*/ 2228895 h 2273274"/>
                <a:gd name="connsiteX3128" fmla="*/ 353882 w 1212658"/>
                <a:gd name="connsiteY3128" fmla="*/ 2230196 h 2273274"/>
                <a:gd name="connsiteX3129" fmla="*/ 356301 w 1212658"/>
                <a:gd name="connsiteY3129" fmla="*/ 2231104 h 2273274"/>
                <a:gd name="connsiteX3130" fmla="*/ 361021 w 1212658"/>
                <a:gd name="connsiteY3130" fmla="*/ 2231225 h 2273274"/>
                <a:gd name="connsiteX3131" fmla="*/ 370973 w 1212658"/>
                <a:gd name="connsiteY3131" fmla="*/ 2229258 h 2273274"/>
                <a:gd name="connsiteX3132" fmla="*/ 376237 w 1212658"/>
                <a:gd name="connsiteY3132" fmla="*/ 2231104 h 2273274"/>
                <a:gd name="connsiteX3133" fmla="*/ 374634 w 1212658"/>
                <a:gd name="connsiteY3133" fmla="*/ 2232344 h 2273274"/>
                <a:gd name="connsiteX3134" fmla="*/ 372274 w 1212658"/>
                <a:gd name="connsiteY3134" fmla="*/ 2236912 h 2273274"/>
                <a:gd name="connsiteX3135" fmla="*/ 370822 w 1212658"/>
                <a:gd name="connsiteY3135" fmla="*/ 2238909 h 2273274"/>
                <a:gd name="connsiteX3136" fmla="*/ 363229 w 1212658"/>
                <a:gd name="connsiteY3136" fmla="*/ 2241571 h 2273274"/>
                <a:gd name="connsiteX3137" fmla="*/ 361535 w 1212658"/>
                <a:gd name="connsiteY3137" fmla="*/ 2243204 h 2273274"/>
                <a:gd name="connsiteX3138" fmla="*/ 361474 w 1212658"/>
                <a:gd name="connsiteY3138" fmla="*/ 2243930 h 2273274"/>
                <a:gd name="connsiteX3139" fmla="*/ 360446 w 1212658"/>
                <a:gd name="connsiteY3139" fmla="*/ 2249436 h 2273274"/>
                <a:gd name="connsiteX3140" fmla="*/ 360748 w 1212658"/>
                <a:gd name="connsiteY3140" fmla="*/ 2251433 h 2273274"/>
                <a:gd name="connsiteX3141" fmla="*/ 361444 w 1212658"/>
                <a:gd name="connsiteY3141" fmla="*/ 2252613 h 2273274"/>
                <a:gd name="connsiteX3142" fmla="*/ 362170 w 1212658"/>
                <a:gd name="connsiteY3142" fmla="*/ 2252522 h 2273274"/>
                <a:gd name="connsiteX3143" fmla="*/ 362473 w 1212658"/>
                <a:gd name="connsiteY3143" fmla="*/ 2250707 h 2273274"/>
                <a:gd name="connsiteX3144" fmla="*/ 363562 w 1212658"/>
                <a:gd name="connsiteY3144" fmla="*/ 2248982 h 2273274"/>
                <a:gd name="connsiteX3145" fmla="*/ 367525 w 1212658"/>
                <a:gd name="connsiteY3145" fmla="*/ 2250193 h 2273274"/>
                <a:gd name="connsiteX3146" fmla="*/ 367222 w 1212658"/>
                <a:gd name="connsiteY3146" fmla="*/ 2248892 h 2273274"/>
                <a:gd name="connsiteX3147" fmla="*/ 368221 w 1212658"/>
                <a:gd name="connsiteY3147" fmla="*/ 2247893 h 2273274"/>
                <a:gd name="connsiteX3148" fmla="*/ 369310 w 1212658"/>
                <a:gd name="connsiteY3148" fmla="*/ 2247651 h 2273274"/>
                <a:gd name="connsiteX3149" fmla="*/ 370429 w 1212658"/>
                <a:gd name="connsiteY3149" fmla="*/ 2248014 h 2273274"/>
                <a:gd name="connsiteX3150" fmla="*/ 371427 w 1212658"/>
                <a:gd name="connsiteY3150" fmla="*/ 2248892 h 2273274"/>
                <a:gd name="connsiteX3151" fmla="*/ 371185 w 1212658"/>
                <a:gd name="connsiteY3151" fmla="*/ 2249587 h 2273274"/>
                <a:gd name="connsiteX3152" fmla="*/ 370973 w 1212658"/>
                <a:gd name="connsiteY3152" fmla="*/ 2250798 h 2273274"/>
                <a:gd name="connsiteX3153" fmla="*/ 370822 w 1212658"/>
                <a:gd name="connsiteY3153" fmla="*/ 2251403 h 2273274"/>
                <a:gd name="connsiteX3154" fmla="*/ 372819 w 1212658"/>
                <a:gd name="connsiteY3154" fmla="*/ 2251403 h 2273274"/>
                <a:gd name="connsiteX3155" fmla="*/ 375481 w 1212658"/>
                <a:gd name="connsiteY3155" fmla="*/ 2247984 h 2273274"/>
                <a:gd name="connsiteX3156" fmla="*/ 382136 w 1212658"/>
                <a:gd name="connsiteY3156" fmla="*/ 2234311 h 2273274"/>
                <a:gd name="connsiteX3157" fmla="*/ 383860 w 1212658"/>
                <a:gd name="connsiteY3157" fmla="*/ 2232919 h 2273274"/>
                <a:gd name="connsiteX3158" fmla="*/ 383195 w 1212658"/>
                <a:gd name="connsiteY3158" fmla="*/ 2236731 h 2273274"/>
                <a:gd name="connsiteX3159" fmla="*/ 381441 w 1212658"/>
                <a:gd name="connsiteY3159" fmla="*/ 2242267 h 2273274"/>
                <a:gd name="connsiteX3160" fmla="*/ 379898 w 1212658"/>
                <a:gd name="connsiteY3160" fmla="*/ 2246109 h 2273274"/>
                <a:gd name="connsiteX3161" fmla="*/ 377387 w 1212658"/>
                <a:gd name="connsiteY3161" fmla="*/ 2250253 h 2273274"/>
                <a:gd name="connsiteX3162" fmla="*/ 375178 w 1212658"/>
                <a:gd name="connsiteY3162" fmla="*/ 2252794 h 2273274"/>
                <a:gd name="connsiteX3163" fmla="*/ 372698 w 1212658"/>
                <a:gd name="connsiteY3163" fmla="*/ 2253974 h 2273274"/>
                <a:gd name="connsiteX3164" fmla="*/ 369340 w 1212658"/>
                <a:gd name="connsiteY3164" fmla="*/ 2254065 h 2273274"/>
                <a:gd name="connsiteX3165" fmla="*/ 368130 w 1212658"/>
                <a:gd name="connsiteY3165" fmla="*/ 2253732 h 2273274"/>
                <a:gd name="connsiteX3166" fmla="*/ 367011 w 1212658"/>
                <a:gd name="connsiteY3166" fmla="*/ 2253671 h 2273274"/>
                <a:gd name="connsiteX3167" fmla="*/ 366526 w 1212658"/>
                <a:gd name="connsiteY3167" fmla="*/ 2255063 h 2273274"/>
                <a:gd name="connsiteX3168" fmla="*/ 367222 w 1212658"/>
                <a:gd name="connsiteY3168" fmla="*/ 2258996 h 2273274"/>
                <a:gd name="connsiteX3169" fmla="*/ 363138 w 1212658"/>
                <a:gd name="connsiteY3169" fmla="*/ 2259449 h 2273274"/>
                <a:gd name="connsiteX3170" fmla="*/ 348980 w 1212658"/>
                <a:gd name="connsiteY3170" fmla="*/ 2265802 h 2273274"/>
                <a:gd name="connsiteX3171" fmla="*/ 344897 w 1212658"/>
                <a:gd name="connsiteY3171" fmla="*/ 2266528 h 2273274"/>
                <a:gd name="connsiteX3172" fmla="*/ 343414 w 1212658"/>
                <a:gd name="connsiteY3172" fmla="*/ 2267466 h 2273274"/>
                <a:gd name="connsiteX3173" fmla="*/ 340873 w 1212658"/>
                <a:gd name="connsiteY3173" fmla="*/ 2271732 h 2273274"/>
                <a:gd name="connsiteX3174" fmla="*/ 339089 w 1212658"/>
                <a:gd name="connsiteY3174" fmla="*/ 2272911 h 2273274"/>
                <a:gd name="connsiteX3175" fmla="*/ 340782 w 1212658"/>
                <a:gd name="connsiteY3175" fmla="*/ 2273274 h 2273274"/>
                <a:gd name="connsiteX3176" fmla="*/ 346802 w 1212658"/>
                <a:gd name="connsiteY3176" fmla="*/ 2271974 h 2273274"/>
                <a:gd name="connsiteX3177" fmla="*/ 348708 w 1212658"/>
                <a:gd name="connsiteY3177" fmla="*/ 2270975 h 2273274"/>
                <a:gd name="connsiteX3178" fmla="*/ 351038 w 1212658"/>
                <a:gd name="connsiteY3178" fmla="*/ 2270521 h 2273274"/>
                <a:gd name="connsiteX3179" fmla="*/ 357209 w 1212658"/>
                <a:gd name="connsiteY3179" fmla="*/ 2271520 h 2273274"/>
                <a:gd name="connsiteX3180" fmla="*/ 358449 w 1212658"/>
                <a:gd name="connsiteY3180" fmla="*/ 2270400 h 2273274"/>
                <a:gd name="connsiteX3181" fmla="*/ 375632 w 1212658"/>
                <a:gd name="connsiteY3181" fmla="*/ 2267769 h 2273274"/>
                <a:gd name="connsiteX3182" fmla="*/ 375632 w 1212658"/>
                <a:gd name="connsiteY3182" fmla="*/ 2266498 h 2273274"/>
                <a:gd name="connsiteX3183" fmla="*/ 373787 w 1212658"/>
                <a:gd name="connsiteY3183" fmla="*/ 2265772 h 2273274"/>
                <a:gd name="connsiteX3184" fmla="*/ 372698 w 1212658"/>
                <a:gd name="connsiteY3184" fmla="*/ 2262868 h 2273274"/>
                <a:gd name="connsiteX3185" fmla="*/ 372698 w 1212658"/>
                <a:gd name="connsiteY3185" fmla="*/ 2259480 h 2273274"/>
                <a:gd name="connsiteX3186" fmla="*/ 374210 w 1212658"/>
                <a:gd name="connsiteY3186" fmla="*/ 2257302 h 2273274"/>
                <a:gd name="connsiteX3187" fmla="*/ 383195 w 1212658"/>
                <a:gd name="connsiteY3187" fmla="*/ 2252703 h 2273274"/>
                <a:gd name="connsiteX3188" fmla="*/ 387067 w 1212658"/>
                <a:gd name="connsiteY3188" fmla="*/ 2248589 h 2273274"/>
                <a:gd name="connsiteX3189" fmla="*/ 390455 w 1212658"/>
                <a:gd name="connsiteY3189" fmla="*/ 2243265 h 2273274"/>
                <a:gd name="connsiteX3190" fmla="*/ 391393 w 1212658"/>
                <a:gd name="connsiteY3190" fmla="*/ 2242115 h 2273274"/>
                <a:gd name="connsiteX3191" fmla="*/ 393632 w 1212658"/>
                <a:gd name="connsiteY3191" fmla="*/ 2240573 h 2273274"/>
                <a:gd name="connsiteX3192" fmla="*/ 394600 w 1212658"/>
                <a:gd name="connsiteY3192" fmla="*/ 2239514 h 2273274"/>
                <a:gd name="connsiteX3193" fmla="*/ 395235 w 1212658"/>
                <a:gd name="connsiteY3193" fmla="*/ 2237547 h 2273274"/>
                <a:gd name="connsiteX3194" fmla="*/ 395568 w 1212658"/>
                <a:gd name="connsiteY3194" fmla="*/ 2235248 h 2273274"/>
                <a:gd name="connsiteX3195" fmla="*/ 395991 w 1212658"/>
                <a:gd name="connsiteY3195" fmla="*/ 2233312 h 2273274"/>
                <a:gd name="connsiteX3196" fmla="*/ 397020 w 1212658"/>
                <a:gd name="connsiteY3196" fmla="*/ 2232526 h 2273274"/>
                <a:gd name="connsiteX3197" fmla="*/ 398532 w 1212658"/>
                <a:gd name="connsiteY3197" fmla="*/ 2231800 h 2273274"/>
                <a:gd name="connsiteX3198" fmla="*/ 399228 w 1212658"/>
                <a:gd name="connsiteY3198" fmla="*/ 2230136 h 2273274"/>
                <a:gd name="connsiteX3199" fmla="*/ 399682 w 1212658"/>
                <a:gd name="connsiteY3199" fmla="*/ 2228230 h 2273274"/>
                <a:gd name="connsiteX3200" fmla="*/ 400499 w 1212658"/>
                <a:gd name="connsiteY3200" fmla="*/ 2226778 h 2273274"/>
                <a:gd name="connsiteX3201" fmla="*/ 401648 w 1212658"/>
                <a:gd name="connsiteY3201" fmla="*/ 2226022 h 2273274"/>
                <a:gd name="connsiteX3202" fmla="*/ 405309 w 1212658"/>
                <a:gd name="connsiteY3202" fmla="*/ 2224812 h 2273274"/>
                <a:gd name="connsiteX3203" fmla="*/ 404432 w 1212658"/>
                <a:gd name="connsiteY3203" fmla="*/ 2226838 h 2273274"/>
                <a:gd name="connsiteX3204" fmla="*/ 404099 w 1212658"/>
                <a:gd name="connsiteY3204" fmla="*/ 2228563 h 2273274"/>
                <a:gd name="connsiteX3205" fmla="*/ 404280 w 1212658"/>
                <a:gd name="connsiteY3205" fmla="*/ 2230166 h 2273274"/>
                <a:gd name="connsiteX3206" fmla="*/ 404946 w 1212658"/>
                <a:gd name="connsiteY3206" fmla="*/ 2231830 h 2273274"/>
                <a:gd name="connsiteX3207" fmla="*/ 404764 w 1212658"/>
                <a:gd name="connsiteY3207" fmla="*/ 2233100 h 2273274"/>
                <a:gd name="connsiteX3208" fmla="*/ 403373 w 1212658"/>
                <a:gd name="connsiteY3208" fmla="*/ 2234068 h 2273274"/>
                <a:gd name="connsiteX3209" fmla="*/ 400468 w 1212658"/>
                <a:gd name="connsiteY3209" fmla="*/ 2234916 h 2273274"/>
                <a:gd name="connsiteX3210" fmla="*/ 398986 w 1212658"/>
                <a:gd name="connsiteY3210" fmla="*/ 2236398 h 2273274"/>
                <a:gd name="connsiteX3211" fmla="*/ 394660 w 1212658"/>
                <a:gd name="connsiteY3211" fmla="*/ 2243688 h 2273274"/>
                <a:gd name="connsiteX3212" fmla="*/ 393541 w 1212658"/>
                <a:gd name="connsiteY3212" fmla="*/ 2246502 h 2273274"/>
                <a:gd name="connsiteX3213" fmla="*/ 395900 w 1212658"/>
                <a:gd name="connsiteY3213" fmla="*/ 2246381 h 2273274"/>
                <a:gd name="connsiteX3214" fmla="*/ 400166 w 1212658"/>
                <a:gd name="connsiteY3214" fmla="*/ 2244384 h 2273274"/>
                <a:gd name="connsiteX3215" fmla="*/ 406851 w 1212658"/>
                <a:gd name="connsiteY3215" fmla="*/ 2242630 h 2273274"/>
                <a:gd name="connsiteX3216" fmla="*/ 408001 w 1212658"/>
                <a:gd name="connsiteY3216" fmla="*/ 2242630 h 2273274"/>
                <a:gd name="connsiteX3217" fmla="*/ 409060 w 1212658"/>
                <a:gd name="connsiteY3217" fmla="*/ 2243416 h 2273274"/>
                <a:gd name="connsiteX3218" fmla="*/ 410119 w 1212658"/>
                <a:gd name="connsiteY3218" fmla="*/ 2245655 h 2273274"/>
                <a:gd name="connsiteX3219" fmla="*/ 411450 w 1212658"/>
                <a:gd name="connsiteY3219" fmla="*/ 2246502 h 2273274"/>
                <a:gd name="connsiteX3220" fmla="*/ 427907 w 1212658"/>
                <a:gd name="connsiteY3220" fmla="*/ 2244414 h 2273274"/>
                <a:gd name="connsiteX3221" fmla="*/ 430750 w 1212658"/>
                <a:gd name="connsiteY3221" fmla="*/ 2246502 h 2273274"/>
                <a:gd name="connsiteX3222" fmla="*/ 438132 w 1212658"/>
                <a:gd name="connsiteY3222" fmla="*/ 2239756 h 2273274"/>
                <a:gd name="connsiteX3223" fmla="*/ 444938 w 1212658"/>
                <a:gd name="connsiteY3223" fmla="*/ 2238606 h 2273274"/>
                <a:gd name="connsiteX3224" fmla="*/ 446421 w 1212658"/>
                <a:gd name="connsiteY3224" fmla="*/ 2237820 h 2273274"/>
                <a:gd name="connsiteX3225" fmla="*/ 447963 w 1212658"/>
                <a:gd name="connsiteY3225" fmla="*/ 2236307 h 2273274"/>
                <a:gd name="connsiteX3226" fmla="*/ 449083 w 1212658"/>
                <a:gd name="connsiteY3226" fmla="*/ 2234431 h 2273274"/>
                <a:gd name="connsiteX3227" fmla="*/ 449930 w 1212658"/>
                <a:gd name="connsiteY3227" fmla="*/ 2232647 h 2273274"/>
                <a:gd name="connsiteX3228" fmla="*/ 450989 w 1212658"/>
                <a:gd name="connsiteY3228" fmla="*/ 2231406 h 2273274"/>
                <a:gd name="connsiteX3229" fmla="*/ 452834 w 1212658"/>
                <a:gd name="connsiteY3229" fmla="*/ 2231134 h 2273274"/>
                <a:gd name="connsiteX3230" fmla="*/ 452834 w 1212658"/>
                <a:gd name="connsiteY3230" fmla="*/ 2232526 h 2273274"/>
                <a:gd name="connsiteX3231" fmla="*/ 451170 w 1212658"/>
                <a:gd name="connsiteY3231" fmla="*/ 2234613 h 2273274"/>
                <a:gd name="connsiteX3232" fmla="*/ 451896 w 1212658"/>
                <a:gd name="connsiteY3232" fmla="*/ 2236549 h 2273274"/>
                <a:gd name="connsiteX3233" fmla="*/ 453771 w 1212658"/>
                <a:gd name="connsiteY3233" fmla="*/ 2236791 h 2273274"/>
                <a:gd name="connsiteX3234" fmla="*/ 455587 w 1212658"/>
                <a:gd name="connsiteY3234" fmla="*/ 2233796 h 2273274"/>
                <a:gd name="connsiteX3235" fmla="*/ 456797 w 1212658"/>
                <a:gd name="connsiteY3235" fmla="*/ 2234734 h 2273274"/>
                <a:gd name="connsiteX3236" fmla="*/ 457765 w 1212658"/>
                <a:gd name="connsiteY3236" fmla="*/ 2234734 h 2273274"/>
                <a:gd name="connsiteX3237" fmla="*/ 461577 w 1212658"/>
                <a:gd name="connsiteY3237" fmla="*/ 2232586 h 2273274"/>
                <a:gd name="connsiteX3238" fmla="*/ 462454 w 1212658"/>
                <a:gd name="connsiteY3238" fmla="*/ 2232526 h 2273274"/>
                <a:gd name="connsiteX3239" fmla="*/ 464178 w 1212658"/>
                <a:gd name="connsiteY3239" fmla="*/ 2233312 h 2273274"/>
                <a:gd name="connsiteX3240" fmla="*/ 465782 w 1212658"/>
                <a:gd name="connsiteY3240" fmla="*/ 2234431 h 2273274"/>
                <a:gd name="connsiteX3241" fmla="*/ 467445 w 1212658"/>
                <a:gd name="connsiteY3241" fmla="*/ 2234885 h 2273274"/>
                <a:gd name="connsiteX3242" fmla="*/ 469321 w 1212658"/>
                <a:gd name="connsiteY3242" fmla="*/ 2233766 h 2273274"/>
                <a:gd name="connsiteX3243" fmla="*/ 466810 w 1212658"/>
                <a:gd name="connsiteY3243" fmla="*/ 2232102 h 2273274"/>
                <a:gd name="connsiteX3244" fmla="*/ 466810 w 1212658"/>
                <a:gd name="connsiteY3244" fmla="*/ 2230529 h 2273274"/>
                <a:gd name="connsiteX3245" fmla="*/ 468686 w 1212658"/>
                <a:gd name="connsiteY3245" fmla="*/ 2229591 h 2273274"/>
                <a:gd name="connsiteX3246" fmla="*/ 471439 w 1212658"/>
                <a:gd name="connsiteY3246" fmla="*/ 2229864 h 2273274"/>
                <a:gd name="connsiteX3247" fmla="*/ 474978 w 1212658"/>
                <a:gd name="connsiteY3247" fmla="*/ 2231195 h 2273274"/>
                <a:gd name="connsiteX3248" fmla="*/ 476309 w 1212658"/>
                <a:gd name="connsiteY3248" fmla="*/ 2231134 h 2273274"/>
                <a:gd name="connsiteX3249" fmla="*/ 477186 w 1212658"/>
                <a:gd name="connsiteY3249" fmla="*/ 2230801 h 2273274"/>
                <a:gd name="connsiteX3250" fmla="*/ 480332 w 1212658"/>
                <a:gd name="connsiteY3250" fmla="*/ 2228714 h 2273274"/>
                <a:gd name="connsiteX3251" fmla="*/ 478941 w 1212658"/>
                <a:gd name="connsiteY3251" fmla="*/ 2227322 h 2273274"/>
                <a:gd name="connsiteX3252" fmla="*/ 480695 w 1212658"/>
                <a:gd name="connsiteY3252" fmla="*/ 2225114 h 2273274"/>
                <a:gd name="connsiteX3253" fmla="*/ 483085 w 1212658"/>
                <a:gd name="connsiteY3253" fmla="*/ 2224449 h 2273274"/>
                <a:gd name="connsiteX3254" fmla="*/ 487925 w 1212658"/>
                <a:gd name="connsiteY3254" fmla="*/ 2224812 h 2273274"/>
                <a:gd name="connsiteX3255" fmla="*/ 487199 w 1212658"/>
                <a:gd name="connsiteY3255" fmla="*/ 2226959 h 2273274"/>
                <a:gd name="connsiteX3256" fmla="*/ 487078 w 1212658"/>
                <a:gd name="connsiteY3256" fmla="*/ 2228895 h 2273274"/>
                <a:gd name="connsiteX3257" fmla="*/ 487139 w 1212658"/>
                <a:gd name="connsiteY3257" fmla="*/ 2230529 h 2273274"/>
                <a:gd name="connsiteX3258" fmla="*/ 486867 w 1212658"/>
                <a:gd name="connsiteY3258" fmla="*/ 2231830 h 2273274"/>
                <a:gd name="connsiteX3259" fmla="*/ 485505 w 1212658"/>
                <a:gd name="connsiteY3259" fmla="*/ 2233524 h 2273274"/>
                <a:gd name="connsiteX3260" fmla="*/ 484144 w 1212658"/>
                <a:gd name="connsiteY3260" fmla="*/ 2234462 h 2273274"/>
                <a:gd name="connsiteX3261" fmla="*/ 482994 w 1212658"/>
                <a:gd name="connsiteY3261" fmla="*/ 2235853 h 2273274"/>
                <a:gd name="connsiteX3262" fmla="*/ 482329 w 1212658"/>
                <a:gd name="connsiteY3262" fmla="*/ 2238939 h 2273274"/>
                <a:gd name="connsiteX3263" fmla="*/ 484053 w 1212658"/>
                <a:gd name="connsiteY3263" fmla="*/ 2237850 h 2273274"/>
                <a:gd name="connsiteX3264" fmla="*/ 486110 w 1212658"/>
                <a:gd name="connsiteY3264" fmla="*/ 2235400 h 2273274"/>
                <a:gd name="connsiteX3265" fmla="*/ 487865 w 1212658"/>
                <a:gd name="connsiteY3265" fmla="*/ 2234401 h 2273274"/>
                <a:gd name="connsiteX3266" fmla="*/ 488561 w 1212658"/>
                <a:gd name="connsiteY3266" fmla="*/ 2237547 h 2273274"/>
                <a:gd name="connsiteX3267" fmla="*/ 493189 w 1212658"/>
                <a:gd name="connsiteY3267" fmla="*/ 2231890 h 2273274"/>
                <a:gd name="connsiteX3268" fmla="*/ 495730 w 1212658"/>
                <a:gd name="connsiteY3268" fmla="*/ 2229652 h 2273274"/>
                <a:gd name="connsiteX3269" fmla="*/ 497546 w 1212658"/>
                <a:gd name="connsiteY3269" fmla="*/ 2229833 h 2273274"/>
                <a:gd name="connsiteX3270" fmla="*/ 496426 w 1212658"/>
                <a:gd name="connsiteY3270" fmla="*/ 2231467 h 2273274"/>
                <a:gd name="connsiteX3271" fmla="*/ 493552 w 1212658"/>
                <a:gd name="connsiteY3271" fmla="*/ 2237517 h 2273274"/>
                <a:gd name="connsiteX3272" fmla="*/ 492735 w 1212658"/>
                <a:gd name="connsiteY3272" fmla="*/ 2240058 h 2273274"/>
                <a:gd name="connsiteX3273" fmla="*/ 495700 w 1212658"/>
                <a:gd name="connsiteY3273" fmla="*/ 2239907 h 2273274"/>
                <a:gd name="connsiteX3274" fmla="*/ 497939 w 1212658"/>
                <a:gd name="connsiteY3274" fmla="*/ 2239151 h 2273274"/>
                <a:gd name="connsiteX3275" fmla="*/ 499905 w 1212658"/>
                <a:gd name="connsiteY3275" fmla="*/ 2237396 h 2273274"/>
                <a:gd name="connsiteX3276" fmla="*/ 503868 w 1212658"/>
                <a:gd name="connsiteY3276" fmla="*/ 2231921 h 2273274"/>
                <a:gd name="connsiteX3277" fmla="*/ 510644 w 1212658"/>
                <a:gd name="connsiteY3277" fmla="*/ 2227322 h 2273274"/>
                <a:gd name="connsiteX3278" fmla="*/ 510644 w 1212658"/>
                <a:gd name="connsiteY3278" fmla="*/ 2226173 h 2273274"/>
                <a:gd name="connsiteX3279" fmla="*/ 508587 w 1212658"/>
                <a:gd name="connsiteY3279" fmla="*/ 2224781 h 2273274"/>
                <a:gd name="connsiteX3280" fmla="*/ 510614 w 1212658"/>
                <a:gd name="connsiteY3280" fmla="*/ 2222754 h 2273274"/>
                <a:gd name="connsiteX3281" fmla="*/ 511461 w 1212658"/>
                <a:gd name="connsiteY3281" fmla="*/ 2221484 h 2273274"/>
                <a:gd name="connsiteX3282" fmla="*/ 512006 w 1212658"/>
                <a:gd name="connsiteY3282" fmla="*/ 2219729 h 2273274"/>
                <a:gd name="connsiteX3283" fmla="*/ 505169 w 1212658"/>
                <a:gd name="connsiteY3283" fmla="*/ 2222270 h 2273274"/>
                <a:gd name="connsiteX3284" fmla="*/ 505925 w 1212658"/>
                <a:gd name="connsiteY3284" fmla="*/ 2220032 h 2273274"/>
                <a:gd name="connsiteX3285" fmla="*/ 507196 w 1212658"/>
                <a:gd name="connsiteY3285" fmla="*/ 2219124 h 2273274"/>
                <a:gd name="connsiteX3286" fmla="*/ 508617 w 1212658"/>
                <a:gd name="connsiteY3286" fmla="*/ 2218519 h 2273274"/>
                <a:gd name="connsiteX3287" fmla="*/ 509918 w 1212658"/>
                <a:gd name="connsiteY3287" fmla="*/ 2217218 h 2273274"/>
                <a:gd name="connsiteX3288" fmla="*/ 510826 w 1212658"/>
                <a:gd name="connsiteY3288" fmla="*/ 2214919 h 2273274"/>
                <a:gd name="connsiteX3289" fmla="*/ 510221 w 1212658"/>
                <a:gd name="connsiteY3289" fmla="*/ 2214012 h 2273274"/>
                <a:gd name="connsiteX3290" fmla="*/ 508799 w 1212658"/>
                <a:gd name="connsiteY3290" fmla="*/ 2213437 h 2273274"/>
                <a:gd name="connsiteX3291" fmla="*/ 507165 w 1212658"/>
                <a:gd name="connsiteY3291" fmla="*/ 2212136 h 2273274"/>
                <a:gd name="connsiteX3292" fmla="*/ 506016 w 1212658"/>
                <a:gd name="connsiteY3292" fmla="*/ 2210170 h 2273274"/>
                <a:gd name="connsiteX3293" fmla="*/ 506530 w 1212658"/>
                <a:gd name="connsiteY3293" fmla="*/ 2209595 h 2273274"/>
                <a:gd name="connsiteX3294" fmla="*/ 508043 w 1212658"/>
                <a:gd name="connsiteY3294" fmla="*/ 2209958 h 2273274"/>
                <a:gd name="connsiteX3295" fmla="*/ 514244 w 1212658"/>
                <a:gd name="connsiteY3295" fmla="*/ 2213255 h 2273274"/>
                <a:gd name="connsiteX3296" fmla="*/ 515394 w 1212658"/>
                <a:gd name="connsiteY3296" fmla="*/ 2214587 h 2273274"/>
                <a:gd name="connsiteX3297" fmla="*/ 515787 w 1212658"/>
                <a:gd name="connsiteY3297" fmla="*/ 2216099 h 2273274"/>
                <a:gd name="connsiteX3298" fmla="*/ 516120 w 1212658"/>
                <a:gd name="connsiteY3298" fmla="*/ 2218217 h 2273274"/>
                <a:gd name="connsiteX3299" fmla="*/ 516816 w 1212658"/>
                <a:gd name="connsiteY3299" fmla="*/ 2219790 h 2273274"/>
                <a:gd name="connsiteX3300" fmla="*/ 518207 w 1212658"/>
                <a:gd name="connsiteY3300" fmla="*/ 2219729 h 2273274"/>
                <a:gd name="connsiteX3301" fmla="*/ 518661 w 1212658"/>
                <a:gd name="connsiteY3301" fmla="*/ 2218943 h 2273274"/>
                <a:gd name="connsiteX3302" fmla="*/ 518298 w 1212658"/>
                <a:gd name="connsiteY3302" fmla="*/ 2216583 h 2273274"/>
                <a:gd name="connsiteX3303" fmla="*/ 518540 w 1212658"/>
                <a:gd name="connsiteY3303" fmla="*/ 2215252 h 2273274"/>
                <a:gd name="connsiteX3304" fmla="*/ 519175 w 1212658"/>
                <a:gd name="connsiteY3304" fmla="*/ 2214375 h 2273274"/>
                <a:gd name="connsiteX3305" fmla="*/ 519992 w 1212658"/>
                <a:gd name="connsiteY3305" fmla="*/ 2213921 h 2273274"/>
                <a:gd name="connsiteX3306" fmla="*/ 523320 w 1212658"/>
                <a:gd name="connsiteY3306" fmla="*/ 2212832 h 2273274"/>
                <a:gd name="connsiteX3307" fmla="*/ 528523 w 1212658"/>
                <a:gd name="connsiteY3307" fmla="*/ 2212136 h 2273274"/>
                <a:gd name="connsiteX3308" fmla="*/ 529854 w 1212658"/>
                <a:gd name="connsiteY3308" fmla="*/ 2211380 h 2273274"/>
                <a:gd name="connsiteX3309" fmla="*/ 532546 w 1212658"/>
                <a:gd name="connsiteY3309" fmla="*/ 2209141 h 2273274"/>
                <a:gd name="connsiteX3310" fmla="*/ 534029 w 1212658"/>
                <a:gd name="connsiteY3310" fmla="*/ 2208324 h 2273274"/>
                <a:gd name="connsiteX3311" fmla="*/ 531972 w 1212658"/>
                <a:gd name="connsiteY3311" fmla="*/ 2203121 h 2273274"/>
                <a:gd name="connsiteX3312" fmla="*/ 535541 w 1212658"/>
                <a:gd name="connsiteY3312" fmla="*/ 2202365 h 2273274"/>
                <a:gd name="connsiteX3313" fmla="*/ 538203 w 1212658"/>
                <a:gd name="connsiteY3313" fmla="*/ 2205148 h 2273274"/>
                <a:gd name="connsiteX3314" fmla="*/ 538415 w 1212658"/>
                <a:gd name="connsiteY3314" fmla="*/ 2208506 h 2273274"/>
                <a:gd name="connsiteX3315" fmla="*/ 534724 w 1212658"/>
                <a:gd name="connsiteY3315" fmla="*/ 2209595 h 2273274"/>
                <a:gd name="connsiteX3316" fmla="*/ 535813 w 1212658"/>
                <a:gd name="connsiteY3316" fmla="*/ 2211834 h 2273274"/>
                <a:gd name="connsiteX3317" fmla="*/ 537871 w 1212658"/>
                <a:gd name="connsiteY3317" fmla="*/ 2212499 h 2273274"/>
                <a:gd name="connsiteX3318" fmla="*/ 546432 w 1212658"/>
                <a:gd name="connsiteY3318" fmla="*/ 2211894 h 2273274"/>
                <a:gd name="connsiteX3319" fmla="*/ 547460 w 1212658"/>
                <a:gd name="connsiteY3319" fmla="*/ 2210382 h 2273274"/>
                <a:gd name="connsiteX3320" fmla="*/ 549820 w 1212658"/>
                <a:gd name="connsiteY3320" fmla="*/ 2201488 h 2273274"/>
                <a:gd name="connsiteX3321" fmla="*/ 551242 w 1212658"/>
                <a:gd name="connsiteY3321" fmla="*/ 2199007 h 2273274"/>
                <a:gd name="connsiteX3322" fmla="*/ 553299 w 1212658"/>
                <a:gd name="connsiteY3322" fmla="*/ 2199340 h 2273274"/>
                <a:gd name="connsiteX3323" fmla="*/ 553964 w 1212658"/>
                <a:gd name="connsiteY3323" fmla="*/ 2201488 h 2273274"/>
                <a:gd name="connsiteX3324" fmla="*/ 553541 w 1212658"/>
                <a:gd name="connsiteY3324" fmla="*/ 2204362 h 2273274"/>
                <a:gd name="connsiteX3325" fmla="*/ 552452 w 1212658"/>
                <a:gd name="connsiteY3325" fmla="*/ 2206993 h 2273274"/>
                <a:gd name="connsiteX3326" fmla="*/ 551181 w 1212658"/>
                <a:gd name="connsiteY3326" fmla="*/ 2208324 h 2273274"/>
                <a:gd name="connsiteX3327" fmla="*/ 552452 w 1212658"/>
                <a:gd name="connsiteY3327" fmla="*/ 2210442 h 2273274"/>
                <a:gd name="connsiteX3328" fmla="*/ 554327 w 1212658"/>
                <a:gd name="connsiteY3328" fmla="*/ 2211077 h 2273274"/>
                <a:gd name="connsiteX3329" fmla="*/ 555931 w 1212658"/>
                <a:gd name="connsiteY3329" fmla="*/ 2209414 h 2273274"/>
                <a:gd name="connsiteX3330" fmla="*/ 557534 w 1212658"/>
                <a:gd name="connsiteY3330" fmla="*/ 2209414 h 2273274"/>
                <a:gd name="connsiteX3331" fmla="*/ 558169 w 1212658"/>
                <a:gd name="connsiteY3331" fmla="*/ 2208324 h 2273274"/>
                <a:gd name="connsiteX3332" fmla="*/ 556203 w 1212658"/>
                <a:gd name="connsiteY3332" fmla="*/ 2207175 h 2273274"/>
                <a:gd name="connsiteX3333" fmla="*/ 557292 w 1212658"/>
                <a:gd name="connsiteY3333" fmla="*/ 2205602 h 2273274"/>
                <a:gd name="connsiteX3334" fmla="*/ 561618 w 1212658"/>
                <a:gd name="connsiteY3334" fmla="*/ 2203121 h 2273274"/>
                <a:gd name="connsiteX3335" fmla="*/ 561376 w 1212658"/>
                <a:gd name="connsiteY3335" fmla="*/ 2203878 h 2273274"/>
                <a:gd name="connsiteX3336" fmla="*/ 561225 w 1212658"/>
                <a:gd name="connsiteY3336" fmla="*/ 2204452 h 2273274"/>
                <a:gd name="connsiteX3337" fmla="*/ 560953 w 1212658"/>
                <a:gd name="connsiteY3337" fmla="*/ 2205783 h 2273274"/>
                <a:gd name="connsiteX3338" fmla="*/ 563191 w 1212658"/>
                <a:gd name="connsiteY3338" fmla="*/ 2205904 h 2273274"/>
                <a:gd name="connsiteX3339" fmla="*/ 569241 w 1212658"/>
                <a:gd name="connsiteY3339" fmla="*/ 2204483 h 2273274"/>
                <a:gd name="connsiteX3340" fmla="*/ 571268 w 1212658"/>
                <a:gd name="connsiteY3340" fmla="*/ 2203121 h 2273274"/>
                <a:gd name="connsiteX3341" fmla="*/ 569695 w 1212658"/>
                <a:gd name="connsiteY3341" fmla="*/ 2201276 h 2273274"/>
                <a:gd name="connsiteX3342" fmla="*/ 571026 w 1212658"/>
                <a:gd name="connsiteY3342" fmla="*/ 2201215 h 2273274"/>
                <a:gd name="connsiteX3343" fmla="*/ 571964 w 1212658"/>
                <a:gd name="connsiteY3343" fmla="*/ 2200580 h 2273274"/>
                <a:gd name="connsiteX3344" fmla="*/ 570693 w 1212658"/>
                <a:gd name="connsiteY3344" fmla="*/ 2199068 h 2273274"/>
                <a:gd name="connsiteX3345" fmla="*/ 567063 w 1212658"/>
                <a:gd name="connsiteY3345" fmla="*/ 2196920 h 2273274"/>
                <a:gd name="connsiteX3346" fmla="*/ 567184 w 1212658"/>
                <a:gd name="connsiteY3346" fmla="*/ 2195347 h 2273274"/>
                <a:gd name="connsiteX3347" fmla="*/ 568969 w 1212658"/>
                <a:gd name="connsiteY3347" fmla="*/ 2196617 h 2273274"/>
                <a:gd name="connsiteX3348" fmla="*/ 570149 w 1212658"/>
                <a:gd name="connsiteY3348" fmla="*/ 2197041 h 2273274"/>
                <a:gd name="connsiteX3349" fmla="*/ 570603 w 1212658"/>
                <a:gd name="connsiteY3349" fmla="*/ 2196163 h 2273274"/>
                <a:gd name="connsiteX3350" fmla="*/ 570663 w 1212658"/>
                <a:gd name="connsiteY3350" fmla="*/ 2196042 h 2273274"/>
                <a:gd name="connsiteX3351" fmla="*/ 570663 w 1212658"/>
                <a:gd name="connsiteY3351" fmla="*/ 2193895 h 2273274"/>
                <a:gd name="connsiteX3352" fmla="*/ 570784 w 1212658"/>
                <a:gd name="connsiteY3352" fmla="*/ 2193199 h 2273274"/>
                <a:gd name="connsiteX3353" fmla="*/ 571329 w 1212658"/>
                <a:gd name="connsiteY3353" fmla="*/ 2192957 h 2273274"/>
                <a:gd name="connsiteX3354" fmla="*/ 580676 w 1212658"/>
                <a:gd name="connsiteY3354" fmla="*/ 2192836 h 2273274"/>
                <a:gd name="connsiteX3355" fmla="*/ 583792 w 1212658"/>
                <a:gd name="connsiteY3355" fmla="*/ 2191807 h 2273274"/>
                <a:gd name="connsiteX3356" fmla="*/ 583611 w 1212658"/>
                <a:gd name="connsiteY3356" fmla="*/ 2190900 h 2273274"/>
                <a:gd name="connsiteX3357" fmla="*/ 583278 w 1212658"/>
                <a:gd name="connsiteY3357" fmla="*/ 2188722 h 2273274"/>
                <a:gd name="connsiteX3358" fmla="*/ 583036 w 1212658"/>
                <a:gd name="connsiteY3358" fmla="*/ 2187844 h 2273274"/>
                <a:gd name="connsiteX3359" fmla="*/ 586787 w 1212658"/>
                <a:gd name="connsiteY3359" fmla="*/ 2188843 h 2273274"/>
                <a:gd name="connsiteX3360" fmla="*/ 588058 w 1212658"/>
                <a:gd name="connsiteY3360" fmla="*/ 2190174 h 2273274"/>
                <a:gd name="connsiteX3361" fmla="*/ 587876 w 1212658"/>
                <a:gd name="connsiteY3361" fmla="*/ 2192957 h 2273274"/>
                <a:gd name="connsiteX3362" fmla="*/ 602064 w 1212658"/>
                <a:gd name="connsiteY3362" fmla="*/ 2192775 h 2273274"/>
                <a:gd name="connsiteX3363" fmla="*/ 602881 w 1212658"/>
                <a:gd name="connsiteY3363" fmla="*/ 2192200 h 2273274"/>
                <a:gd name="connsiteX3364" fmla="*/ 603486 w 1212658"/>
                <a:gd name="connsiteY3364" fmla="*/ 2191202 h 2273274"/>
                <a:gd name="connsiteX3365" fmla="*/ 604031 w 1212658"/>
                <a:gd name="connsiteY3365" fmla="*/ 2188056 h 2273274"/>
                <a:gd name="connsiteX3366" fmla="*/ 604696 w 1212658"/>
                <a:gd name="connsiteY3366" fmla="*/ 2187481 h 2273274"/>
                <a:gd name="connsiteX3367" fmla="*/ 605392 w 1212658"/>
                <a:gd name="connsiteY3367" fmla="*/ 2187239 h 2273274"/>
                <a:gd name="connsiteX3368" fmla="*/ 605846 w 1212658"/>
                <a:gd name="connsiteY3368" fmla="*/ 2186665 h 2273274"/>
                <a:gd name="connsiteX3369" fmla="*/ 606330 w 1212658"/>
                <a:gd name="connsiteY3369" fmla="*/ 2184123 h 2273274"/>
                <a:gd name="connsiteX3370" fmla="*/ 606481 w 1212658"/>
                <a:gd name="connsiteY3370" fmla="*/ 2181582 h 2273274"/>
                <a:gd name="connsiteX3371" fmla="*/ 605936 w 1212658"/>
                <a:gd name="connsiteY3371" fmla="*/ 2179616 h 2273274"/>
                <a:gd name="connsiteX3372" fmla="*/ 604424 w 1212658"/>
                <a:gd name="connsiteY3372" fmla="*/ 2178739 h 2273274"/>
                <a:gd name="connsiteX3373" fmla="*/ 604424 w 1212658"/>
                <a:gd name="connsiteY3373" fmla="*/ 2177589 h 2273274"/>
                <a:gd name="connsiteX3374" fmla="*/ 612108 w 1212658"/>
                <a:gd name="connsiteY3374" fmla="*/ 2175441 h 2273274"/>
                <a:gd name="connsiteX3375" fmla="*/ 614770 w 1212658"/>
                <a:gd name="connsiteY3375" fmla="*/ 2173747 h 2273274"/>
                <a:gd name="connsiteX3376" fmla="*/ 616464 w 1212658"/>
                <a:gd name="connsiteY3376" fmla="*/ 2172114 h 2273274"/>
                <a:gd name="connsiteX3377" fmla="*/ 618733 w 1212658"/>
                <a:gd name="connsiteY3377" fmla="*/ 2170571 h 2273274"/>
                <a:gd name="connsiteX3378" fmla="*/ 620911 w 1212658"/>
                <a:gd name="connsiteY3378" fmla="*/ 2170903 h 2273274"/>
                <a:gd name="connsiteX3379" fmla="*/ 622363 w 1212658"/>
                <a:gd name="connsiteY3379" fmla="*/ 2174927 h 2273274"/>
                <a:gd name="connsiteX3380" fmla="*/ 616857 w 1212658"/>
                <a:gd name="connsiteY3380" fmla="*/ 2174927 h 2273274"/>
                <a:gd name="connsiteX3381" fmla="*/ 616857 w 1212658"/>
                <a:gd name="connsiteY3381" fmla="*/ 2176318 h 2273274"/>
                <a:gd name="connsiteX3382" fmla="*/ 618945 w 1212658"/>
                <a:gd name="connsiteY3382" fmla="*/ 2177529 h 2273274"/>
                <a:gd name="connsiteX3383" fmla="*/ 617734 w 1212658"/>
                <a:gd name="connsiteY3383" fmla="*/ 2178406 h 2273274"/>
                <a:gd name="connsiteX3384" fmla="*/ 616948 w 1212658"/>
                <a:gd name="connsiteY3384" fmla="*/ 2180130 h 2273274"/>
                <a:gd name="connsiteX3385" fmla="*/ 616827 w 1212658"/>
                <a:gd name="connsiteY3385" fmla="*/ 2182671 h 2273274"/>
                <a:gd name="connsiteX3386" fmla="*/ 617432 w 1212658"/>
                <a:gd name="connsiteY3386" fmla="*/ 2183942 h 2273274"/>
                <a:gd name="connsiteX3387" fmla="*/ 625448 w 1212658"/>
                <a:gd name="connsiteY3387" fmla="*/ 2192473 h 2273274"/>
                <a:gd name="connsiteX3388" fmla="*/ 628111 w 1212658"/>
                <a:gd name="connsiteY3388" fmla="*/ 2193743 h 2273274"/>
                <a:gd name="connsiteX3389" fmla="*/ 629986 w 1212658"/>
                <a:gd name="connsiteY3389" fmla="*/ 2192836 h 2273274"/>
                <a:gd name="connsiteX3390" fmla="*/ 629986 w 1212658"/>
                <a:gd name="connsiteY3390" fmla="*/ 2191686 h 2273274"/>
                <a:gd name="connsiteX3391" fmla="*/ 636884 w 1212658"/>
                <a:gd name="connsiteY3391" fmla="*/ 2189024 h 2273274"/>
                <a:gd name="connsiteX3392" fmla="*/ 630047 w 1212658"/>
                <a:gd name="connsiteY3392" fmla="*/ 2185848 h 2273274"/>
                <a:gd name="connsiteX3393" fmla="*/ 626477 w 1212658"/>
                <a:gd name="connsiteY3393" fmla="*/ 2183397 h 2273274"/>
                <a:gd name="connsiteX3394" fmla="*/ 625842 w 1212658"/>
                <a:gd name="connsiteY3394" fmla="*/ 2180100 h 2273274"/>
                <a:gd name="connsiteX3395" fmla="*/ 627324 w 1212658"/>
                <a:gd name="connsiteY3395" fmla="*/ 2178739 h 2273274"/>
                <a:gd name="connsiteX3396" fmla="*/ 628988 w 1212658"/>
                <a:gd name="connsiteY3396" fmla="*/ 2179979 h 2273274"/>
                <a:gd name="connsiteX3397" fmla="*/ 632043 w 1212658"/>
                <a:gd name="connsiteY3397" fmla="*/ 2183942 h 2273274"/>
                <a:gd name="connsiteX3398" fmla="*/ 634040 w 1212658"/>
                <a:gd name="connsiteY3398" fmla="*/ 2184698 h 2273274"/>
                <a:gd name="connsiteX3399" fmla="*/ 636158 w 1212658"/>
                <a:gd name="connsiteY3399" fmla="*/ 2184910 h 2273274"/>
                <a:gd name="connsiteX3400" fmla="*/ 638124 w 1212658"/>
                <a:gd name="connsiteY3400" fmla="*/ 2185606 h 2273274"/>
                <a:gd name="connsiteX3401" fmla="*/ 639667 w 1212658"/>
                <a:gd name="connsiteY3401" fmla="*/ 2187754 h 2273274"/>
                <a:gd name="connsiteX3402" fmla="*/ 638911 w 1212658"/>
                <a:gd name="connsiteY3402" fmla="*/ 2189024 h 2273274"/>
                <a:gd name="connsiteX3403" fmla="*/ 640302 w 1212658"/>
                <a:gd name="connsiteY3403" fmla="*/ 2190839 h 2273274"/>
                <a:gd name="connsiteX3404" fmla="*/ 641542 w 1212658"/>
                <a:gd name="connsiteY3404" fmla="*/ 2192019 h 2273274"/>
                <a:gd name="connsiteX3405" fmla="*/ 642994 w 1212658"/>
                <a:gd name="connsiteY3405" fmla="*/ 2192654 h 2273274"/>
                <a:gd name="connsiteX3406" fmla="*/ 645112 w 1212658"/>
                <a:gd name="connsiteY3406" fmla="*/ 2192836 h 2273274"/>
                <a:gd name="connsiteX3407" fmla="*/ 644235 w 1212658"/>
                <a:gd name="connsiteY3407" fmla="*/ 2189085 h 2273274"/>
                <a:gd name="connsiteX3408" fmla="*/ 641330 w 1212658"/>
                <a:gd name="connsiteY3408" fmla="*/ 2184184 h 2273274"/>
                <a:gd name="connsiteX3409" fmla="*/ 640393 w 1212658"/>
                <a:gd name="connsiteY3409" fmla="*/ 2181371 h 2273274"/>
                <a:gd name="connsiteX3410" fmla="*/ 640514 w 1212658"/>
                <a:gd name="connsiteY3410" fmla="*/ 2178860 h 2273274"/>
                <a:gd name="connsiteX3411" fmla="*/ 642813 w 1212658"/>
                <a:gd name="connsiteY3411" fmla="*/ 2174957 h 2273274"/>
                <a:gd name="connsiteX3412" fmla="*/ 643811 w 1212658"/>
                <a:gd name="connsiteY3412" fmla="*/ 2171176 h 2273274"/>
                <a:gd name="connsiteX3413" fmla="*/ 641996 w 1212658"/>
                <a:gd name="connsiteY3413" fmla="*/ 2170057 h 2273274"/>
                <a:gd name="connsiteX3414" fmla="*/ 639848 w 1212658"/>
                <a:gd name="connsiteY3414" fmla="*/ 2168060 h 2273274"/>
                <a:gd name="connsiteX3415" fmla="*/ 636248 w 1212658"/>
                <a:gd name="connsiteY3415" fmla="*/ 2163522 h 2273274"/>
                <a:gd name="connsiteX3416" fmla="*/ 638759 w 1212658"/>
                <a:gd name="connsiteY3416" fmla="*/ 2164490 h 2273274"/>
                <a:gd name="connsiteX3417" fmla="*/ 640877 w 1212658"/>
                <a:gd name="connsiteY3417" fmla="*/ 2165972 h 2273274"/>
                <a:gd name="connsiteX3418" fmla="*/ 646867 w 1212658"/>
                <a:gd name="connsiteY3418" fmla="*/ 2171629 h 2273274"/>
                <a:gd name="connsiteX3419" fmla="*/ 647744 w 1212658"/>
                <a:gd name="connsiteY3419" fmla="*/ 2172174 h 2273274"/>
                <a:gd name="connsiteX3420" fmla="*/ 648893 w 1212658"/>
                <a:gd name="connsiteY3420" fmla="*/ 2172355 h 2273274"/>
                <a:gd name="connsiteX3421" fmla="*/ 649831 w 1212658"/>
                <a:gd name="connsiteY3421" fmla="*/ 2171841 h 2273274"/>
                <a:gd name="connsiteX3422" fmla="*/ 650588 w 1212658"/>
                <a:gd name="connsiteY3422" fmla="*/ 2170843 h 2273274"/>
                <a:gd name="connsiteX3423" fmla="*/ 651465 w 1212658"/>
                <a:gd name="connsiteY3423" fmla="*/ 2169966 h 2273274"/>
                <a:gd name="connsiteX3424" fmla="*/ 652705 w 1212658"/>
                <a:gd name="connsiteY3424" fmla="*/ 2169905 h 2273274"/>
                <a:gd name="connsiteX3425" fmla="*/ 651828 w 1212658"/>
                <a:gd name="connsiteY3425" fmla="*/ 2172355 h 2273274"/>
                <a:gd name="connsiteX3426" fmla="*/ 656033 w 1212658"/>
                <a:gd name="connsiteY3426" fmla="*/ 2178376 h 2273274"/>
                <a:gd name="connsiteX3427" fmla="*/ 656154 w 1212658"/>
                <a:gd name="connsiteY3427" fmla="*/ 2182641 h 2273274"/>
                <a:gd name="connsiteX3428" fmla="*/ 661327 w 1212658"/>
                <a:gd name="connsiteY3428" fmla="*/ 2181371 h 2273274"/>
                <a:gd name="connsiteX3429" fmla="*/ 662174 w 1212658"/>
                <a:gd name="connsiteY3429" fmla="*/ 2180342 h 2273274"/>
                <a:gd name="connsiteX3430" fmla="*/ 662839 w 1212658"/>
                <a:gd name="connsiteY3430" fmla="*/ 2178103 h 2273274"/>
                <a:gd name="connsiteX3431" fmla="*/ 663021 w 1212658"/>
                <a:gd name="connsiteY3431" fmla="*/ 2175895 h 2273274"/>
                <a:gd name="connsiteX3432" fmla="*/ 662355 w 1212658"/>
                <a:gd name="connsiteY3432" fmla="*/ 2174866 h 2273274"/>
                <a:gd name="connsiteX3433" fmla="*/ 661085 w 1212658"/>
                <a:gd name="connsiteY3433" fmla="*/ 2174382 h 2273274"/>
                <a:gd name="connsiteX3434" fmla="*/ 660177 w 1212658"/>
                <a:gd name="connsiteY3434" fmla="*/ 2173172 h 2273274"/>
                <a:gd name="connsiteX3435" fmla="*/ 658271 w 1212658"/>
                <a:gd name="connsiteY3435" fmla="*/ 2169875 h 2273274"/>
                <a:gd name="connsiteX3436" fmla="*/ 654520 w 1212658"/>
                <a:gd name="connsiteY3436" fmla="*/ 2167515 h 2273274"/>
                <a:gd name="connsiteX3437" fmla="*/ 653431 w 1212658"/>
                <a:gd name="connsiteY3437" fmla="*/ 2166033 h 2273274"/>
                <a:gd name="connsiteX3438" fmla="*/ 652887 w 1212658"/>
                <a:gd name="connsiteY3438" fmla="*/ 2163794 h 2273274"/>
                <a:gd name="connsiteX3439" fmla="*/ 653945 w 1212658"/>
                <a:gd name="connsiteY3439" fmla="*/ 2163583 h 2273274"/>
                <a:gd name="connsiteX3440" fmla="*/ 655458 w 1212658"/>
                <a:gd name="connsiteY3440" fmla="*/ 2163794 h 2273274"/>
                <a:gd name="connsiteX3441" fmla="*/ 656214 w 1212658"/>
                <a:gd name="connsiteY3441" fmla="*/ 2162796 h 2273274"/>
                <a:gd name="connsiteX3442" fmla="*/ 656154 w 1212658"/>
                <a:gd name="connsiteY3442" fmla="*/ 2161193 h 2273274"/>
                <a:gd name="connsiteX3443" fmla="*/ 655821 w 1212658"/>
                <a:gd name="connsiteY3443" fmla="*/ 2159257 h 2273274"/>
                <a:gd name="connsiteX3444" fmla="*/ 655095 w 1212658"/>
                <a:gd name="connsiteY3444" fmla="*/ 2157653 h 2273274"/>
                <a:gd name="connsiteX3445" fmla="*/ 652554 w 1212658"/>
                <a:gd name="connsiteY3445" fmla="*/ 2156292 h 2273274"/>
                <a:gd name="connsiteX3446" fmla="*/ 650436 w 1212658"/>
                <a:gd name="connsiteY3446" fmla="*/ 2152995 h 2273274"/>
                <a:gd name="connsiteX3447" fmla="*/ 649347 w 1212658"/>
                <a:gd name="connsiteY3447" fmla="*/ 2151724 h 2273274"/>
                <a:gd name="connsiteX3448" fmla="*/ 643841 w 1212658"/>
                <a:gd name="connsiteY3448" fmla="*/ 2149274 h 2273274"/>
                <a:gd name="connsiteX3449" fmla="*/ 643841 w 1212658"/>
                <a:gd name="connsiteY3449" fmla="*/ 2147882 h 2273274"/>
                <a:gd name="connsiteX3450" fmla="*/ 646776 w 1212658"/>
                <a:gd name="connsiteY3450" fmla="*/ 2148124 h 2273274"/>
                <a:gd name="connsiteX3451" fmla="*/ 650255 w 1212658"/>
                <a:gd name="connsiteY3451" fmla="*/ 2149697 h 2273274"/>
                <a:gd name="connsiteX3452" fmla="*/ 653552 w 1212658"/>
                <a:gd name="connsiteY3452" fmla="*/ 2152178 h 2273274"/>
                <a:gd name="connsiteX3453" fmla="*/ 657122 w 1212658"/>
                <a:gd name="connsiteY3453" fmla="*/ 2156897 h 2273274"/>
                <a:gd name="connsiteX3454" fmla="*/ 658423 w 1212658"/>
                <a:gd name="connsiteY3454" fmla="*/ 2157865 h 2273274"/>
                <a:gd name="connsiteX3455" fmla="*/ 661690 w 1212658"/>
                <a:gd name="connsiteY3455" fmla="*/ 2159529 h 2273274"/>
                <a:gd name="connsiteX3456" fmla="*/ 665713 w 1212658"/>
                <a:gd name="connsiteY3456" fmla="*/ 2163371 h 2273274"/>
                <a:gd name="connsiteX3457" fmla="*/ 666500 w 1212658"/>
                <a:gd name="connsiteY3457" fmla="*/ 2164641 h 2273274"/>
                <a:gd name="connsiteX3458" fmla="*/ 667347 w 1212658"/>
                <a:gd name="connsiteY3458" fmla="*/ 2164157 h 2273274"/>
                <a:gd name="connsiteX3459" fmla="*/ 669313 w 1212658"/>
                <a:gd name="connsiteY3459" fmla="*/ 2162070 h 2273274"/>
                <a:gd name="connsiteX3460" fmla="*/ 670190 w 1212658"/>
                <a:gd name="connsiteY3460" fmla="*/ 2161889 h 2273274"/>
                <a:gd name="connsiteX3461" fmla="*/ 679689 w 1212658"/>
                <a:gd name="connsiteY3461" fmla="*/ 2163462 h 2273274"/>
                <a:gd name="connsiteX3462" fmla="*/ 676604 w 1212658"/>
                <a:gd name="connsiteY3462" fmla="*/ 2159317 h 2273274"/>
                <a:gd name="connsiteX3463" fmla="*/ 675243 w 1212658"/>
                <a:gd name="connsiteY3463" fmla="*/ 2156655 h 2273274"/>
                <a:gd name="connsiteX3464" fmla="*/ 675484 w 1212658"/>
                <a:gd name="connsiteY3464" fmla="*/ 2154356 h 2273274"/>
                <a:gd name="connsiteX3465" fmla="*/ 676906 w 1212658"/>
                <a:gd name="connsiteY3465" fmla="*/ 2154356 h 2273274"/>
                <a:gd name="connsiteX3466" fmla="*/ 678600 w 1212658"/>
                <a:gd name="connsiteY3466" fmla="*/ 2156171 h 2273274"/>
                <a:gd name="connsiteX3467" fmla="*/ 680204 w 1212658"/>
                <a:gd name="connsiteY3467" fmla="*/ 2158379 h 2273274"/>
                <a:gd name="connsiteX3468" fmla="*/ 681383 w 1212658"/>
                <a:gd name="connsiteY3468" fmla="*/ 2159469 h 2273274"/>
                <a:gd name="connsiteX3469" fmla="*/ 682291 w 1212658"/>
                <a:gd name="connsiteY3469" fmla="*/ 2160860 h 2273274"/>
                <a:gd name="connsiteX3470" fmla="*/ 683410 w 1212658"/>
                <a:gd name="connsiteY3470" fmla="*/ 2163946 h 2273274"/>
                <a:gd name="connsiteX3471" fmla="*/ 684802 w 1212658"/>
                <a:gd name="connsiteY3471" fmla="*/ 2167001 h 2273274"/>
                <a:gd name="connsiteX3472" fmla="*/ 686617 w 1212658"/>
                <a:gd name="connsiteY3472" fmla="*/ 2168393 h 2273274"/>
                <a:gd name="connsiteX3473" fmla="*/ 687252 w 1212658"/>
                <a:gd name="connsiteY3473" fmla="*/ 2167788 h 2273274"/>
                <a:gd name="connsiteX3474" fmla="*/ 687313 w 1212658"/>
                <a:gd name="connsiteY3474" fmla="*/ 2166457 h 2273274"/>
                <a:gd name="connsiteX3475" fmla="*/ 687555 w 1212658"/>
                <a:gd name="connsiteY3475" fmla="*/ 2165156 h 2273274"/>
                <a:gd name="connsiteX3476" fmla="*/ 688704 w 1212658"/>
                <a:gd name="connsiteY3476" fmla="*/ 2164551 h 2273274"/>
                <a:gd name="connsiteX3477" fmla="*/ 689854 w 1212658"/>
                <a:gd name="connsiteY3477" fmla="*/ 2164460 h 2273274"/>
                <a:gd name="connsiteX3478" fmla="*/ 690580 w 1212658"/>
                <a:gd name="connsiteY3478" fmla="*/ 2164036 h 2273274"/>
                <a:gd name="connsiteX3479" fmla="*/ 690913 w 1212658"/>
                <a:gd name="connsiteY3479" fmla="*/ 2162887 h 2273274"/>
                <a:gd name="connsiteX3480" fmla="*/ 690792 w 1212658"/>
                <a:gd name="connsiteY3480" fmla="*/ 2160709 h 2273274"/>
                <a:gd name="connsiteX3481" fmla="*/ 692728 w 1212658"/>
                <a:gd name="connsiteY3481" fmla="*/ 2163310 h 2273274"/>
                <a:gd name="connsiteX3482" fmla="*/ 693787 w 1212658"/>
                <a:gd name="connsiteY3482" fmla="*/ 2164188 h 2273274"/>
                <a:gd name="connsiteX3483" fmla="*/ 694906 w 1212658"/>
                <a:gd name="connsiteY3483" fmla="*/ 2164581 h 2273274"/>
                <a:gd name="connsiteX3484" fmla="*/ 694119 w 1212658"/>
                <a:gd name="connsiteY3484" fmla="*/ 2161586 h 2273274"/>
                <a:gd name="connsiteX3485" fmla="*/ 694815 w 1212658"/>
                <a:gd name="connsiteY3485" fmla="*/ 2160769 h 2273274"/>
                <a:gd name="connsiteX3486" fmla="*/ 697659 w 1212658"/>
                <a:gd name="connsiteY3486" fmla="*/ 2160769 h 2273274"/>
                <a:gd name="connsiteX3487" fmla="*/ 698597 w 1212658"/>
                <a:gd name="connsiteY3487" fmla="*/ 2159922 h 2273274"/>
                <a:gd name="connsiteX3488" fmla="*/ 699474 w 1212658"/>
                <a:gd name="connsiteY3488" fmla="*/ 2158682 h 2273274"/>
                <a:gd name="connsiteX3489" fmla="*/ 701107 w 1212658"/>
                <a:gd name="connsiteY3489" fmla="*/ 2155627 h 2273274"/>
                <a:gd name="connsiteX3490" fmla="*/ 698143 w 1212658"/>
                <a:gd name="connsiteY3490" fmla="*/ 2149848 h 2273274"/>
                <a:gd name="connsiteX3491" fmla="*/ 699111 w 1212658"/>
                <a:gd name="connsiteY3491" fmla="*/ 2143556 h 2273274"/>
                <a:gd name="connsiteX3492" fmla="*/ 707914 w 1212658"/>
                <a:gd name="connsiteY3492" fmla="*/ 2127825 h 2273274"/>
                <a:gd name="connsiteX3493" fmla="*/ 711786 w 1212658"/>
                <a:gd name="connsiteY3493" fmla="*/ 2120898 h 2273274"/>
                <a:gd name="connsiteX3494" fmla="*/ 714176 w 1212658"/>
                <a:gd name="connsiteY3494" fmla="*/ 2118175 h 2273274"/>
                <a:gd name="connsiteX3495" fmla="*/ 718562 w 1212658"/>
                <a:gd name="connsiteY3495" fmla="*/ 2116542 h 2273274"/>
                <a:gd name="connsiteX3496" fmla="*/ 722586 w 1212658"/>
                <a:gd name="connsiteY3496" fmla="*/ 2118720 h 2273274"/>
                <a:gd name="connsiteX3497" fmla="*/ 725853 w 1212658"/>
                <a:gd name="connsiteY3497" fmla="*/ 2123863 h 2273274"/>
                <a:gd name="connsiteX3498" fmla="*/ 728001 w 1212658"/>
                <a:gd name="connsiteY3498" fmla="*/ 2131153 h 2273274"/>
                <a:gd name="connsiteX3499" fmla="*/ 719288 w 1212658"/>
                <a:gd name="connsiteY3499" fmla="*/ 2125072 h 2273274"/>
                <a:gd name="connsiteX3500" fmla="*/ 715114 w 1212658"/>
                <a:gd name="connsiteY3500" fmla="*/ 2124468 h 2273274"/>
                <a:gd name="connsiteX3501" fmla="*/ 710576 w 1212658"/>
                <a:gd name="connsiteY3501" fmla="*/ 2127916 h 2273274"/>
                <a:gd name="connsiteX3502" fmla="*/ 709336 w 1212658"/>
                <a:gd name="connsiteY3502" fmla="*/ 2129883 h 2273274"/>
                <a:gd name="connsiteX3503" fmla="*/ 709033 w 1212658"/>
                <a:gd name="connsiteY3503" fmla="*/ 2131456 h 2273274"/>
                <a:gd name="connsiteX3504" fmla="*/ 709336 w 1212658"/>
                <a:gd name="connsiteY3504" fmla="*/ 2135721 h 2273274"/>
                <a:gd name="connsiteX3505" fmla="*/ 708943 w 1212658"/>
                <a:gd name="connsiteY3505" fmla="*/ 2136961 h 2273274"/>
                <a:gd name="connsiteX3506" fmla="*/ 706220 w 1212658"/>
                <a:gd name="connsiteY3506" fmla="*/ 2142195 h 2273274"/>
                <a:gd name="connsiteX3507" fmla="*/ 704284 w 1212658"/>
                <a:gd name="connsiteY3507" fmla="*/ 2144010 h 2273274"/>
                <a:gd name="connsiteX3508" fmla="*/ 701682 w 1212658"/>
                <a:gd name="connsiteY3508" fmla="*/ 2145462 h 2273274"/>
                <a:gd name="connsiteX3509" fmla="*/ 700018 w 1212658"/>
                <a:gd name="connsiteY3509" fmla="*/ 2147489 h 2273274"/>
                <a:gd name="connsiteX3510" fmla="*/ 700805 w 1212658"/>
                <a:gd name="connsiteY3510" fmla="*/ 2151089 h 2273274"/>
                <a:gd name="connsiteX3511" fmla="*/ 702711 w 1212658"/>
                <a:gd name="connsiteY3511" fmla="*/ 2153902 h 2273274"/>
                <a:gd name="connsiteX3512" fmla="*/ 705282 w 1212658"/>
                <a:gd name="connsiteY3512" fmla="*/ 2156383 h 2273274"/>
                <a:gd name="connsiteX3513" fmla="*/ 707914 w 1212658"/>
                <a:gd name="connsiteY3513" fmla="*/ 2157653 h 2273274"/>
                <a:gd name="connsiteX3514" fmla="*/ 710032 w 1212658"/>
                <a:gd name="connsiteY3514" fmla="*/ 2156927 h 2273274"/>
                <a:gd name="connsiteX3515" fmla="*/ 710304 w 1212658"/>
                <a:gd name="connsiteY3515" fmla="*/ 2154991 h 2273274"/>
                <a:gd name="connsiteX3516" fmla="*/ 712058 w 1212658"/>
                <a:gd name="connsiteY3516" fmla="*/ 2154053 h 2273274"/>
                <a:gd name="connsiteX3517" fmla="*/ 714327 w 1212658"/>
                <a:gd name="connsiteY3517" fmla="*/ 2153932 h 2273274"/>
                <a:gd name="connsiteX3518" fmla="*/ 716233 w 1212658"/>
                <a:gd name="connsiteY3518" fmla="*/ 2154356 h 2273274"/>
                <a:gd name="connsiteX3519" fmla="*/ 717746 w 1212658"/>
                <a:gd name="connsiteY3519" fmla="*/ 2155959 h 2273274"/>
                <a:gd name="connsiteX3520" fmla="*/ 719621 w 1212658"/>
                <a:gd name="connsiteY3520" fmla="*/ 2158531 h 2273274"/>
                <a:gd name="connsiteX3521" fmla="*/ 721436 w 1212658"/>
                <a:gd name="connsiteY3521" fmla="*/ 2160436 h 2273274"/>
                <a:gd name="connsiteX3522" fmla="*/ 722858 w 1212658"/>
                <a:gd name="connsiteY3522" fmla="*/ 2160104 h 2273274"/>
                <a:gd name="connsiteX3523" fmla="*/ 723766 w 1212658"/>
                <a:gd name="connsiteY3523" fmla="*/ 2158984 h 2273274"/>
                <a:gd name="connsiteX3524" fmla="*/ 725914 w 1212658"/>
                <a:gd name="connsiteY3524" fmla="*/ 2157653 h 2273274"/>
                <a:gd name="connsiteX3525" fmla="*/ 726640 w 1212658"/>
                <a:gd name="connsiteY3525" fmla="*/ 2156897 h 2273274"/>
                <a:gd name="connsiteX3526" fmla="*/ 726851 w 1212658"/>
                <a:gd name="connsiteY3526" fmla="*/ 2155657 h 2273274"/>
                <a:gd name="connsiteX3527" fmla="*/ 726640 w 1212658"/>
                <a:gd name="connsiteY3527" fmla="*/ 2152420 h 2273274"/>
                <a:gd name="connsiteX3528" fmla="*/ 726972 w 1212658"/>
                <a:gd name="connsiteY3528" fmla="*/ 2151089 h 2273274"/>
                <a:gd name="connsiteX3529" fmla="*/ 728424 w 1212658"/>
                <a:gd name="connsiteY3529" fmla="*/ 2149455 h 2273274"/>
                <a:gd name="connsiteX3530" fmla="*/ 730391 w 1212658"/>
                <a:gd name="connsiteY3530" fmla="*/ 2148275 h 2273274"/>
                <a:gd name="connsiteX3531" fmla="*/ 732448 w 1212658"/>
                <a:gd name="connsiteY3531" fmla="*/ 2147701 h 2273274"/>
                <a:gd name="connsiteX3532" fmla="*/ 734233 w 1212658"/>
                <a:gd name="connsiteY3532" fmla="*/ 2147791 h 2273274"/>
                <a:gd name="connsiteX3533" fmla="*/ 733386 w 1212658"/>
                <a:gd name="connsiteY3533" fmla="*/ 2150575 h 2273274"/>
                <a:gd name="connsiteX3534" fmla="*/ 732841 w 1212658"/>
                <a:gd name="connsiteY3534" fmla="*/ 2151845 h 2273274"/>
                <a:gd name="connsiteX3535" fmla="*/ 732085 w 1212658"/>
                <a:gd name="connsiteY3535" fmla="*/ 2153025 h 2273274"/>
                <a:gd name="connsiteX3536" fmla="*/ 735050 w 1212658"/>
                <a:gd name="connsiteY3536" fmla="*/ 2152964 h 2273274"/>
                <a:gd name="connsiteX3537" fmla="*/ 744276 w 1212658"/>
                <a:gd name="connsiteY3537" fmla="*/ 2149818 h 2273274"/>
                <a:gd name="connsiteX3538" fmla="*/ 745244 w 1212658"/>
                <a:gd name="connsiteY3538" fmla="*/ 2151240 h 2273274"/>
                <a:gd name="connsiteX3539" fmla="*/ 748270 w 1212658"/>
                <a:gd name="connsiteY3539" fmla="*/ 2154538 h 2273274"/>
                <a:gd name="connsiteX3540" fmla="*/ 749086 w 1212658"/>
                <a:gd name="connsiteY3540" fmla="*/ 2154931 h 2273274"/>
                <a:gd name="connsiteX3541" fmla="*/ 749389 w 1212658"/>
                <a:gd name="connsiteY3541" fmla="*/ 2152813 h 2273274"/>
                <a:gd name="connsiteX3542" fmla="*/ 748390 w 1212658"/>
                <a:gd name="connsiteY3542" fmla="*/ 2150786 h 2273274"/>
                <a:gd name="connsiteX3543" fmla="*/ 745970 w 1212658"/>
                <a:gd name="connsiteY3543" fmla="*/ 2147761 h 2273274"/>
                <a:gd name="connsiteX3544" fmla="*/ 750538 w 1212658"/>
                <a:gd name="connsiteY3544" fmla="*/ 2148124 h 2273274"/>
                <a:gd name="connsiteX3545" fmla="*/ 752686 w 1212658"/>
                <a:gd name="connsiteY3545" fmla="*/ 2147277 h 2273274"/>
                <a:gd name="connsiteX3546" fmla="*/ 754047 w 1212658"/>
                <a:gd name="connsiteY3546" fmla="*/ 2143254 h 2273274"/>
                <a:gd name="connsiteX3547" fmla="*/ 754955 w 1212658"/>
                <a:gd name="connsiteY3547" fmla="*/ 2142346 h 2273274"/>
                <a:gd name="connsiteX3548" fmla="*/ 755590 w 1212658"/>
                <a:gd name="connsiteY3548" fmla="*/ 2141287 h 2273274"/>
                <a:gd name="connsiteX3549" fmla="*/ 755257 w 1212658"/>
                <a:gd name="connsiteY3549" fmla="*/ 2139502 h 2273274"/>
                <a:gd name="connsiteX3550" fmla="*/ 755318 w 1212658"/>
                <a:gd name="connsiteY3550" fmla="*/ 2138262 h 2273274"/>
                <a:gd name="connsiteX3551" fmla="*/ 756226 w 1212658"/>
                <a:gd name="connsiteY3551" fmla="*/ 2137173 h 2273274"/>
                <a:gd name="connsiteX3552" fmla="*/ 757405 w 1212658"/>
                <a:gd name="connsiteY3552" fmla="*/ 2136417 h 2273274"/>
                <a:gd name="connsiteX3553" fmla="*/ 758313 w 1212658"/>
                <a:gd name="connsiteY3553" fmla="*/ 2136205 h 2273274"/>
                <a:gd name="connsiteX3554" fmla="*/ 759160 w 1212658"/>
                <a:gd name="connsiteY3554" fmla="*/ 2136961 h 2273274"/>
                <a:gd name="connsiteX3555" fmla="*/ 760793 w 1212658"/>
                <a:gd name="connsiteY3555" fmla="*/ 2139654 h 2273274"/>
                <a:gd name="connsiteX3556" fmla="*/ 761731 w 1212658"/>
                <a:gd name="connsiteY3556" fmla="*/ 2140198 h 2273274"/>
                <a:gd name="connsiteX3557" fmla="*/ 762457 w 1212658"/>
                <a:gd name="connsiteY3557" fmla="*/ 2139563 h 2273274"/>
                <a:gd name="connsiteX3558" fmla="*/ 763455 w 1212658"/>
                <a:gd name="connsiteY3558" fmla="*/ 2136840 h 2273274"/>
                <a:gd name="connsiteX3559" fmla="*/ 764152 w 1212658"/>
                <a:gd name="connsiteY3559" fmla="*/ 2136235 h 2273274"/>
                <a:gd name="connsiteX3560" fmla="*/ 765331 w 1212658"/>
                <a:gd name="connsiteY3560" fmla="*/ 2136871 h 2273274"/>
                <a:gd name="connsiteX3561" fmla="*/ 766693 w 1212658"/>
                <a:gd name="connsiteY3561" fmla="*/ 2139593 h 2273274"/>
                <a:gd name="connsiteX3562" fmla="*/ 767933 w 1212658"/>
                <a:gd name="connsiteY3562" fmla="*/ 2140198 h 2273274"/>
                <a:gd name="connsiteX3563" fmla="*/ 769929 w 1212658"/>
                <a:gd name="connsiteY3563" fmla="*/ 2139654 h 2273274"/>
                <a:gd name="connsiteX3564" fmla="*/ 770535 w 1212658"/>
                <a:gd name="connsiteY3564" fmla="*/ 2140319 h 2273274"/>
                <a:gd name="connsiteX3565" fmla="*/ 770716 w 1212658"/>
                <a:gd name="connsiteY3565" fmla="*/ 2142770 h 2273274"/>
                <a:gd name="connsiteX3566" fmla="*/ 773045 w 1212658"/>
                <a:gd name="connsiteY3566" fmla="*/ 2140682 h 2273274"/>
                <a:gd name="connsiteX3567" fmla="*/ 772682 w 1212658"/>
                <a:gd name="connsiteY3567" fmla="*/ 2138081 h 2273274"/>
                <a:gd name="connsiteX3568" fmla="*/ 771351 w 1212658"/>
                <a:gd name="connsiteY3568" fmla="*/ 2135237 h 2273274"/>
                <a:gd name="connsiteX3569" fmla="*/ 770746 w 1212658"/>
                <a:gd name="connsiteY3569" fmla="*/ 2132393 h 2273274"/>
                <a:gd name="connsiteX3570" fmla="*/ 772168 w 1212658"/>
                <a:gd name="connsiteY3570" fmla="*/ 2130064 h 2273274"/>
                <a:gd name="connsiteX3571" fmla="*/ 774467 w 1212658"/>
                <a:gd name="connsiteY3571" fmla="*/ 2129096 h 2273274"/>
                <a:gd name="connsiteX3572" fmla="*/ 775798 w 1212658"/>
                <a:gd name="connsiteY3572" fmla="*/ 2130094 h 2273274"/>
                <a:gd name="connsiteX3573" fmla="*/ 774195 w 1212658"/>
                <a:gd name="connsiteY3573" fmla="*/ 2133785 h 2273274"/>
                <a:gd name="connsiteX3574" fmla="*/ 781546 w 1212658"/>
                <a:gd name="connsiteY3574" fmla="*/ 2138171 h 2273274"/>
                <a:gd name="connsiteX3575" fmla="*/ 783875 w 1212658"/>
                <a:gd name="connsiteY3575" fmla="*/ 2140198 h 2273274"/>
                <a:gd name="connsiteX3576" fmla="*/ 778672 w 1212658"/>
                <a:gd name="connsiteY3576" fmla="*/ 2139502 h 2273274"/>
                <a:gd name="connsiteX3577" fmla="*/ 776070 w 1212658"/>
                <a:gd name="connsiteY3577" fmla="*/ 2140108 h 2273274"/>
                <a:gd name="connsiteX3578" fmla="*/ 776252 w 1212658"/>
                <a:gd name="connsiteY3578" fmla="*/ 2142770 h 2273274"/>
                <a:gd name="connsiteX3579" fmla="*/ 777885 w 1212658"/>
                <a:gd name="connsiteY3579" fmla="*/ 2143556 h 2273274"/>
                <a:gd name="connsiteX3580" fmla="*/ 785569 w 1212658"/>
                <a:gd name="connsiteY3580" fmla="*/ 2143919 h 2273274"/>
                <a:gd name="connsiteX3581" fmla="*/ 790016 w 1212658"/>
                <a:gd name="connsiteY3581" fmla="*/ 2145432 h 2273274"/>
                <a:gd name="connsiteX3582" fmla="*/ 798820 w 1212658"/>
                <a:gd name="connsiteY3582" fmla="*/ 2151845 h 2273274"/>
                <a:gd name="connsiteX3583" fmla="*/ 803841 w 1212658"/>
                <a:gd name="connsiteY3583" fmla="*/ 2153025 h 2273274"/>
                <a:gd name="connsiteX3584" fmla="*/ 803236 w 1212658"/>
                <a:gd name="connsiteY3584" fmla="*/ 2151664 h 2273274"/>
                <a:gd name="connsiteX3585" fmla="*/ 802450 w 1212658"/>
                <a:gd name="connsiteY3585" fmla="*/ 2150635 h 2273274"/>
                <a:gd name="connsiteX3586" fmla="*/ 801482 w 1212658"/>
                <a:gd name="connsiteY3586" fmla="*/ 2149848 h 2273274"/>
                <a:gd name="connsiteX3587" fmla="*/ 800393 w 1212658"/>
                <a:gd name="connsiteY3587" fmla="*/ 2149183 h 2273274"/>
                <a:gd name="connsiteX3588" fmla="*/ 800937 w 1212658"/>
                <a:gd name="connsiteY3588" fmla="*/ 2148487 h 2273274"/>
                <a:gd name="connsiteX3589" fmla="*/ 801845 w 1212658"/>
                <a:gd name="connsiteY3589" fmla="*/ 2147035 h 2273274"/>
                <a:gd name="connsiteX3590" fmla="*/ 802450 w 1212658"/>
                <a:gd name="connsiteY3590" fmla="*/ 2146521 h 2273274"/>
                <a:gd name="connsiteX3591" fmla="*/ 801754 w 1212658"/>
                <a:gd name="connsiteY3591" fmla="*/ 2144706 h 2273274"/>
                <a:gd name="connsiteX3592" fmla="*/ 801330 w 1212658"/>
                <a:gd name="connsiteY3592" fmla="*/ 2144252 h 2273274"/>
                <a:gd name="connsiteX3593" fmla="*/ 800362 w 1212658"/>
                <a:gd name="connsiteY3593" fmla="*/ 2143950 h 2273274"/>
                <a:gd name="connsiteX3594" fmla="*/ 803962 w 1212658"/>
                <a:gd name="connsiteY3594" fmla="*/ 2142437 h 2273274"/>
                <a:gd name="connsiteX3595" fmla="*/ 812402 w 1212658"/>
                <a:gd name="connsiteY3595" fmla="*/ 2149304 h 2273274"/>
                <a:gd name="connsiteX3596" fmla="*/ 816154 w 1212658"/>
                <a:gd name="connsiteY3596" fmla="*/ 2150484 h 2273274"/>
                <a:gd name="connsiteX3597" fmla="*/ 815095 w 1212658"/>
                <a:gd name="connsiteY3597" fmla="*/ 2148064 h 2273274"/>
                <a:gd name="connsiteX3598" fmla="*/ 814248 w 1212658"/>
                <a:gd name="connsiteY3598" fmla="*/ 2146551 h 2273274"/>
                <a:gd name="connsiteX3599" fmla="*/ 814006 w 1212658"/>
                <a:gd name="connsiteY3599" fmla="*/ 2145069 h 2273274"/>
                <a:gd name="connsiteX3600" fmla="*/ 814792 w 1212658"/>
                <a:gd name="connsiteY3600" fmla="*/ 2142800 h 2273274"/>
                <a:gd name="connsiteX3601" fmla="*/ 816426 w 1212658"/>
                <a:gd name="connsiteY3601" fmla="*/ 2141015 h 2273274"/>
                <a:gd name="connsiteX3602" fmla="*/ 818392 w 1212658"/>
                <a:gd name="connsiteY3602" fmla="*/ 2140834 h 2273274"/>
                <a:gd name="connsiteX3603" fmla="*/ 822415 w 1212658"/>
                <a:gd name="connsiteY3603" fmla="*/ 2141529 h 2273274"/>
                <a:gd name="connsiteX3604" fmla="*/ 820903 w 1212658"/>
                <a:gd name="connsiteY3604" fmla="*/ 2142981 h 2273274"/>
                <a:gd name="connsiteX3605" fmla="*/ 817787 w 1212658"/>
                <a:gd name="connsiteY3605" fmla="*/ 2144403 h 2273274"/>
                <a:gd name="connsiteX3606" fmla="*/ 816849 w 1212658"/>
                <a:gd name="connsiteY3606" fmla="*/ 2146521 h 2273274"/>
                <a:gd name="connsiteX3607" fmla="*/ 823777 w 1212658"/>
                <a:gd name="connsiteY3607" fmla="*/ 2147791 h 2273274"/>
                <a:gd name="connsiteX3608" fmla="*/ 825078 w 1212658"/>
                <a:gd name="connsiteY3608" fmla="*/ 2147217 h 2273274"/>
                <a:gd name="connsiteX3609" fmla="*/ 828587 w 1212658"/>
                <a:gd name="connsiteY3609" fmla="*/ 2143950 h 2273274"/>
                <a:gd name="connsiteX3610" fmla="*/ 827891 w 1212658"/>
                <a:gd name="connsiteY3610" fmla="*/ 2143828 h 2273274"/>
                <a:gd name="connsiteX3611" fmla="*/ 826500 w 1212658"/>
                <a:gd name="connsiteY3611" fmla="*/ 2142770 h 2273274"/>
                <a:gd name="connsiteX3612" fmla="*/ 827044 w 1212658"/>
                <a:gd name="connsiteY3612" fmla="*/ 2142528 h 2273274"/>
                <a:gd name="connsiteX3613" fmla="*/ 828557 w 1212658"/>
                <a:gd name="connsiteY3613" fmla="*/ 2141469 h 2273274"/>
                <a:gd name="connsiteX3614" fmla="*/ 827286 w 1212658"/>
                <a:gd name="connsiteY3614" fmla="*/ 2139291 h 2273274"/>
                <a:gd name="connsiteX3615" fmla="*/ 826560 w 1212658"/>
                <a:gd name="connsiteY3615" fmla="*/ 2136719 h 2273274"/>
                <a:gd name="connsiteX3616" fmla="*/ 826832 w 1212658"/>
                <a:gd name="connsiteY3616" fmla="*/ 2134602 h 2273274"/>
                <a:gd name="connsiteX3617" fmla="*/ 828557 w 1212658"/>
                <a:gd name="connsiteY3617" fmla="*/ 2133785 h 2273274"/>
                <a:gd name="connsiteX3618" fmla="*/ 828194 w 1212658"/>
                <a:gd name="connsiteY3618" fmla="*/ 2133180 h 2273274"/>
                <a:gd name="connsiteX3619" fmla="*/ 827558 w 1212658"/>
                <a:gd name="connsiteY3619" fmla="*/ 2131728 h 2273274"/>
                <a:gd name="connsiteX3620" fmla="*/ 827195 w 1212658"/>
                <a:gd name="connsiteY3620" fmla="*/ 2131123 h 2273274"/>
                <a:gd name="connsiteX3621" fmla="*/ 829464 w 1212658"/>
                <a:gd name="connsiteY3621" fmla="*/ 2130003 h 2273274"/>
                <a:gd name="connsiteX3622" fmla="*/ 831037 w 1212658"/>
                <a:gd name="connsiteY3622" fmla="*/ 2131214 h 2273274"/>
                <a:gd name="connsiteX3623" fmla="*/ 832399 w 1212658"/>
                <a:gd name="connsiteY3623" fmla="*/ 2133362 h 2273274"/>
                <a:gd name="connsiteX3624" fmla="*/ 834063 w 1212658"/>
                <a:gd name="connsiteY3624" fmla="*/ 2135086 h 2273274"/>
                <a:gd name="connsiteX3625" fmla="*/ 842624 w 1212658"/>
                <a:gd name="connsiteY3625" fmla="*/ 2125436 h 2273274"/>
                <a:gd name="connsiteX3626" fmla="*/ 851487 w 1212658"/>
                <a:gd name="connsiteY3626" fmla="*/ 2116905 h 2273274"/>
                <a:gd name="connsiteX3627" fmla="*/ 853756 w 1212658"/>
                <a:gd name="connsiteY3627" fmla="*/ 2114121 h 2273274"/>
                <a:gd name="connsiteX3628" fmla="*/ 868307 w 1212658"/>
                <a:gd name="connsiteY3628" fmla="*/ 2096455 h 2273274"/>
                <a:gd name="connsiteX3629" fmla="*/ 877957 w 1212658"/>
                <a:gd name="connsiteY3629" fmla="*/ 2090041 h 2273274"/>
                <a:gd name="connsiteX3630" fmla="*/ 887214 w 1212658"/>
                <a:gd name="connsiteY3630" fmla="*/ 2077185 h 2273274"/>
                <a:gd name="connsiteX3631" fmla="*/ 901825 w 1212658"/>
                <a:gd name="connsiteY3631" fmla="*/ 2063087 h 2273274"/>
                <a:gd name="connsiteX3632" fmla="*/ 906393 w 1212658"/>
                <a:gd name="connsiteY3632" fmla="*/ 2059881 h 2273274"/>
                <a:gd name="connsiteX3633" fmla="*/ 915257 w 1212658"/>
                <a:gd name="connsiteY3633" fmla="*/ 2057642 h 2273274"/>
                <a:gd name="connsiteX3634" fmla="*/ 919220 w 1212658"/>
                <a:gd name="connsiteY3634" fmla="*/ 2051955 h 2273274"/>
                <a:gd name="connsiteX3635" fmla="*/ 919220 w 1212658"/>
                <a:gd name="connsiteY3635" fmla="*/ 2051955 h 2273274"/>
                <a:gd name="connsiteX3636" fmla="*/ 920914 w 1212658"/>
                <a:gd name="connsiteY3636" fmla="*/ 2047992 h 2273274"/>
                <a:gd name="connsiteX3637" fmla="*/ 922760 w 1212658"/>
                <a:gd name="connsiteY3637" fmla="*/ 2045148 h 2273274"/>
                <a:gd name="connsiteX3638" fmla="*/ 928931 w 1212658"/>
                <a:gd name="connsiteY3638" fmla="*/ 2038674 h 2273274"/>
                <a:gd name="connsiteX3639" fmla="*/ 932077 w 1212658"/>
                <a:gd name="connsiteY3639" fmla="*/ 2033774 h 2273274"/>
                <a:gd name="connsiteX3640" fmla="*/ 933711 w 1212658"/>
                <a:gd name="connsiteY3640" fmla="*/ 2031898 h 2273274"/>
                <a:gd name="connsiteX3641" fmla="*/ 939549 w 1212658"/>
                <a:gd name="connsiteY3641" fmla="*/ 2028873 h 2273274"/>
                <a:gd name="connsiteX3642" fmla="*/ 946689 w 1212658"/>
                <a:gd name="connsiteY3642" fmla="*/ 2022127 h 2273274"/>
                <a:gd name="connsiteX3643" fmla="*/ 952194 w 1212658"/>
                <a:gd name="connsiteY3643" fmla="*/ 2018255 h 2273274"/>
                <a:gd name="connsiteX3644" fmla="*/ 967199 w 1212658"/>
                <a:gd name="connsiteY3644" fmla="*/ 2009542 h 2273274"/>
                <a:gd name="connsiteX3645" fmla="*/ 974550 w 1212658"/>
                <a:gd name="connsiteY3645" fmla="*/ 2003310 h 2273274"/>
                <a:gd name="connsiteX3646" fmla="*/ 980509 w 1212658"/>
                <a:gd name="connsiteY3646" fmla="*/ 1994719 h 2273274"/>
                <a:gd name="connsiteX3647" fmla="*/ 981992 w 1212658"/>
                <a:gd name="connsiteY3647" fmla="*/ 1991996 h 2273274"/>
                <a:gd name="connsiteX3648" fmla="*/ 983202 w 1212658"/>
                <a:gd name="connsiteY3648" fmla="*/ 1989758 h 2273274"/>
                <a:gd name="connsiteX3649" fmla="*/ 986137 w 1212658"/>
                <a:gd name="connsiteY3649" fmla="*/ 1985462 h 2273274"/>
                <a:gd name="connsiteX3650" fmla="*/ 1000748 w 1212658"/>
                <a:gd name="connsiteY3650" fmla="*/ 1970911 h 2273274"/>
                <a:gd name="connsiteX3651" fmla="*/ 1002502 w 1212658"/>
                <a:gd name="connsiteY3651" fmla="*/ 1966857 h 2273274"/>
                <a:gd name="connsiteX3652" fmla="*/ 1004317 w 1212658"/>
                <a:gd name="connsiteY3652" fmla="*/ 1962108 h 2273274"/>
                <a:gd name="connsiteX3653" fmla="*/ 1006133 w 1212658"/>
                <a:gd name="connsiteY3653" fmla="*/ 1959053 h 2273274"/>
                <a:gd name="connsiteX3654" fmla="*/ 1008402 w 1212658"/>
                <a:gd name="connsiteY3654" fmla="*/ 1957147 h 2273274"/>
                <a:gd name="connsiteX3655" fmla="*/ 1014905 w 1212658"/>
                <a:gd name="connsiteY3655" fmla="*/ 1954394 h 2273274"/>
                <a:gd name="connsiteX3656" fmla="*/ 1018021 w 1212658"/>
                <a:gd name="connsiteY3656" fmla="*/ 1952095 h 2273274"/>
                <a:gd name="connsiteX3657" fmla="*/ 1032512 w 1212658"/>
                <a:gd name="connsiteY3657" fmla="*/ 1936183 h 2273274"/>
                <a:gd name="connsiteX3658" fmla="*/ 1034418 w 1212658"/>
                <a:gd name="connsiteY3658" fmla="*/ 1932976 h 2273274"/>
                <a:gd name="connsiteX3659" fmla="*/ 1036808 w 1212658"/>
                <a:gd name="connsiteY3659" fmla="*/ 1926169 h 2273274"/>
                <a:gd name="connsiteX3660" fmla="*/ 1038834 w 1212658"/>
                <a:gd name="connsiteY3660" fmla="*/ 1923144 h 2273274"/>
                <a:gd name="connsiteX3661" fmla="*/ 1052478 w 1212658"/>
                <a:gd name="connsiteY3661" fmla="*/ 1909894 h 2273274"/>
                <a:gd name="connsiteX3662" fmla="*/ 1069388 w 1212658"/>
                <a:gd name="connsiteY3662" fmla="*/ 1885965 h 2273274"/>
                <a:gd name="connsiteX3663" fmla="*/ 1088901 w 1212658"/>
                <a:gd name="connsiteY3663" fmla="*/ 1858225 h 2273274"/>
                <a:gd name="connsiteX3664" fmla="*/ 1088931 w 1212658"/>
                <a:gd name="connsiteY3664" fmla="*/ 1858225 h 2273274"/>
                <a:gd name="connsiteX3665" fmla="*/ 1103088 w 1212658"/>
                <a:gd name="connsiteY3665" fmla="*/ 1843250 h 2273274"/>
                <a:gd name="connsiteX3666" fmla="*/ 1115824 w 1212658"/>
                <a:gd name="connsiteY3666" fmla="*/ 1826733 h 2273274"/>
                <a:gd name="connsiteX3667" fmla="*/ 1118638 w 1212658"/>
                <a:gd name="connsiteY3667" fmla="*/ 1820259 h 2273274"/>
                <a:gd name="connsiteX3668" fmla="*/ 1119908 w 1212658"/>
                <a:gd name="connsiteY3668" fmla="*/ 1818535 h 2273274"/>
                <a:gd name="connsiteX3669" fmla="*/ 1121693 w 1212658"/>
                <a:gd name="connsiteY3669" fmla="*/ 1817143 h 2273274"/>
                <a:gd name="connsiteX3670" fmla="*/ 1125535 w 1212658"/>
                <a:gd name="connsiteY3670" fmla="*/ 1815056 h 2273274"/>
                <a:gd name="connsiteX3671" fmla="*/ 1134580 w 1212658"/>
                <a:gd name="connsiteY3671" fmla="*/ 1806585 h 2273274"/>
                <a:gd name="connsiteX3672" fmla="*/ 1146045 w 1212658"/>
                <a:gd name="connsiteY3672" fmla="*/ 1798660 h 2273274"/>
                <a:gd name="connsiteX3673" fmla="*/ 1147861 w 1212658"/>
                <a:gd name="connsiteY3673" fmla="*/ 1796814 h 2273274"/>
                <a:gd name="connsiteX3674" fmla="*/ 1149494 w 1212658"/>
                <a:gd name="connsiteY3674" fmla="*/ 1794334 h 2273274"/>
                <a:gd name="connsiteX3675" fmla="*/ 1152035 w 1212658"/>
                <a:gd name="connsiteY3675" fmla="*/ 1787648 h 2273274"/>
                <a:gd name="connsiteX3676" fmla="*/ 1153397 w 1212658"/>
                <a:gd name="connsiteY3676" fmla="*/ 1785530 h 2273274"/>
                <a:gd name="connsiteX3677" fmla="*/ 1167766 w 1212658"/>
                <a:gd name="connsiteY3677" fmla="*/ 1770374 h 2273274"/>
                <a:gd name="connsiteX3678" fmla="*/ 1169611 w 1212658"/>
                <a:gd name="connsiteY3678" fmla="*/ 1766048 h 2273274"/>
                <a:gd name="connsiteX3679" fmla="*/ 1170761 w 1212658"/>
                <a:gd name="connsiteY3679" fmla="*/ 1763870 h 2273274"/>
                <a:gd name="connsiteX3680" fmla="*/ 1172334 w 1212658"/>
                <a:gd name="connsiteY3680" fmla="*/ 1762146 h 2273274"/>
                <a:gd name="connsiteX3681" fmla="*/ 1177659 w 1212658"/>
                <a:gd name="connsiteY3681" fmla="*/ 1759030 h 2273274"/>
                <a:gd name="connsiteX3682" fmla="*/ 1177718 w 1212658"/>
                <a:gd name="connsiteY3682" fmla="*/ 1759030 h 2273274"/>
                <a:gd name="connsiteX3683" fmla="*/ 1179897 w 1212658"/>
                <a:gd name="connsiteY3683" fmla="*/ 1756671 h 2273274"/>
                <a:gd name="connsiteX3684" fmla="*/ 1181530 w 1212658"/>
                <a:gd name="connsiteY3684" fmla="*/ 1752375 h 2273274"/>
                <a:gd name="connsiteX3685" fmla="*/ 1183950 w 1212658"/>
                <a:gd name="connsiteY3685" fmla="*/ 1742725 h 2273274"/>
                <a:gd name="connsiteX3686" fmla="*/ 1185826 w 1212658"/>
                <a:gd name="connsiteY3686" fmla="*/ 1738096 h 2273274"/>
                <a:gd name="connsiteX3687" fmla="*/ 1190273 w 1212658"/>
                <a:gd name="connsiteY3687" fmla="*/ 1731411 h 2273274"/>
                <a:gd name="connsiteX3688" fmla="*/ 1191907 w 1212658"/>
                <a:gd name="connsiteY3688" fmla="*/ 1726933 h 2273274"/>
                <a:gd name="connsiteX3689" fmla="*/ 1196656 w 1212658"/>
                <a:gd name="connsiteY3689" fmla="*/ 1707784 h 2273274"/>
                <a:gd name="connsiteX3690" fmla="*/ 1199742 w 1212658"/>
                <a:gd name="connsiteY3690" fmla="*/ 1699253 h 2273274"/>
                <a:gd name="connsiteX3691" fmla="*/ 1203705 w 1212658"/>
                <a:gd name="connsiteY3691" fmla="*/ 1691691 h 2273274"/>
                <a:gd name="connsiteX3692" fmla="*/ 1212659 w 1212658"/>
                <a:gd name="connsiteY3692" fmla="*/ 1675506 h 2273274"/>
                <a:gd name="connsiteX3693" fmla="*/ 1209271 w 1212658"/>
                <a:gd name="connsiteY3693" fmla="*/ 1672753 h 227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Lst>
              <a:rect l="l" t="t" r="r" b="b"/>
              <a:pathLst>
                <a:path w="1212658" h="2273274">
                  <a:moveTo>
                    <a:pt x="140246" y="2250556"/>
                  </a:moveTo>
                  <a:lnTo>
                    <a:pt x="139308" y="2249345"/>
                  </a:lnTo>
                  <a:lnTo>
                    <a:pt x="138007" y="2249406"/>
                  </a:lnTo>
                  <a:lnTo>
                    <a:pt x="136616" y="2249950"/>
                  </a:lnTo>
                  <a:lnTo>
                    <a:pt x="135738" y="2251524"/>
                  </a:lnTo>
                  <a:lnTo>
                    <a:pt x="136343" y="2253399"/>
                  </a:lnTo>
                  <a:lnTo>
                    <a:pt x="137069" y="2254095"/>
                  </a:lnTo>
                  <a:lnTo>
                    <a:pt x="138310" y="2255033"/>
                  </a:lnTo>
                  <a:lnTo>
                    <a:pt x="140790" y="2255880"/>
                  </a:lnTo>
                  <a:lnTo>
                    <a:pt x="141577" y="2255002"/>
                  </a:lnTo>
                  <a:lnTo>
                    <a:pt x="140851" y="2252885"/>
                  </a:lnTo>
                  <a:lnTo>
                    <a:pt x="140216" y="2250525"/>
                  </a:lnTo>
                  <a:close/>
                  <a:moveTo>
                    <a:pt x="147990" y="2248861"/>
                  </a:moveTo>
                  <a:lnTo>
                    <a:pt x="149291" y="2248438"/>
                  </a:lnTo>
                  <a:lnTo>
                    <a:pt x="149231" y="2247530"/>
                  </a:lnTo>
                  <a:lnTo>
                    <a:pt x="148625" y="2247167"/>
                  </a:lnTo>
                  <a:lnTo>
                    <a:pt x="147536" y="2247167"/>
                  </a:lnTo>
                  <a:lnTo>
                    <a:pt x="143120" y="2246018"/>
                  </a:lnTo>
                  <a:lnTo>
                    <a:pt x="141637" y="2246895"/>
                  </a:lnTo>
                  <a:lnTo>
                    <a:pt x="141153" y="2247621"/>
                  </a:lnTo>
                  <a:lnTo>
                    <a:pt x="140942" y="2247803"/>
                  </a:lnTo>
                  <a:lnTo>
                    <a:pt x="141486" y="2248801"/>
                  </a:lnTo>
                  <a:lnTo>
                    <a:pt x="142848" y="2250132"/>
                  </a:lnTo>
                  <a:lnTo>
                    <a:pt x="147930" y="2252764"/>
                  </a:lnTo>
                  <a:lnTo>
                    <a:pt x="148777" y="2251796"/>
                  </a:lnTo>
                  <a:lnTo>
                    <a:pt x="148081" y="2250041"/>
                  </a:lnTo>
                  <a:lnTo>
                    <a:pt x="146568" y="2248952"/>
                  </a:lnTo>
                  <a:lnTo>
                    <a:pt x="146568" y="2248619"/>
                  </a:lnTo>
                  <a:lnTo>
                    <a:pt x="148020" y="2248801"/>
                  </a:lnTo>
                  <a:close/>
                  <a:moveTo>
                    <a:pt x="89121" y="2236610"/>
                  </a:moveTo>
                  <a:lnTo>
                    <a:pt x="85491" y="2235037"/>
                  </a:lnTo>
                  <a:lnTo>
                    <a:pt x="83191" y="2234583"/>
                  </a:lnTo>
                  <a:lnTo>
                    <a:pt x="79410" y="2238485"/>
                  </a:lnTo>
                  <a:lnTo>
                    <a:pt x="77323" y="2242630"/>
                  </a:lnTo>
                  <a:lnTo>
                    <a:pt x="77565" y="2245988"/>
                  </a:lnTo>
                  <a:lnTo>
                    <a:pt x="79864" y="2246895"/>
                  </a:lnTo>
                  <a:lnTo>
                    <a:pt x="81437" y="2245231"/>
                  </a:lnTo>
                  <a:lnTo>
                    <a:pt x="81679" y="2242539"/>
                  </a:lnTo>
                  <a:lnTo>
                    <a:pt x="83131" y="2241994"/>
                  </a:lnTo>
                  <a:lnTo>
                    <a:pt x="85914" y="2241662"/>
                  </a:lnTo>
                  <a:lnTo>
                    <a:pt x="89091" y="2241783"/>
                  </a:lnTo>
                  <a:lnTo>
                    <a:pt x="93961" y="2239211"/>
                  </a:lnTo>
                  <a:lnTo>
                    <a:pt x="92933" y="2237396"/>
                  </a:lnTo>
                  <a:lnTo>
                    <a:pt x="89091" y="2236640"/>
                  </a:lnTo>
                  <a:close/>
                  <a:moveTo>
                    <a:pt x="110418" y="2229985"/>
                  </a:moveTo>
                  <a:lnTo>
                    <a:pt x="110267" y="2229501"/>
                  </a:lnTo>
                  <a:lnTo>
                    <a:pt x="109904" y="2228684"/>
                  </a:lnTo>
                  <a:lnTo>
                    <a:pt x="109268" y="2228563"/>
                  </a:lnTo>
                  <a:lnTo>
                    <a:pt x="108512" y="2228895"/>
                  </a:lnTo>
                  <a:lnTo>
                    <a:pt x="108179" y="2228684"/>
                  </a:lnTo>
                  <a:lnTo>
                    <a:pt x="108119" y="2227958"/>
                  </a:lnTo>
                  <a:lnTo>
                    <a:pt x="107695" y="2227353"/>
                  </a:lnTo>
                  <a:lnTo>
                    <a:pt x="107030" y="2227353"/>
                  </a:lnTo>
                  <a:lnTo>
                    <a:pt x="106243" y="2227746"/>
                  </a:lnTo>
                  <a:lnTo>
                    <a:pt x="105245" y="2227625"/>
                  </a:lnTo>
                  <a:lnTo>
                    <a:pt x="103884" y="2227897"/>
                  </a:lnTo>
                  <a:lnTo>
                    <a:pt x="102462" y="2229319"/>
                  </a:lnTo>
                  <a:lnTo>
                    <a:pt x="99890" y="2233796"/>
                  </a:lnTo>
                  <a:lnTo>
                    <a:pt x="99436" y="2235944"/>
                  </a:lnTo>
                  <a:lnTo>
                    <a:pt x="100526" y="2237124"/>
                  </a:lnTo>
                  <a:lnTo>
                    <a:pt x="102038" y="2237336"/>
                  </a:lnTo>
                  <a:lnTo>
                    <a:pt x="103339" y="2236519"/>
                  </a:lnTo>
                  <a:lnTo>
                    <a:pt x="103974" y="2235218"/>
                  </a:lnTo>
                  <a:lnTo>
                    <a:pt x="104398" y="2234764"/>
                  </a:lnTo>
                  <a:lnTo>
                    <a:pt x="107120" y="2237033"/>
                  </a:lnTo>
                  <a:lnTo>
                    <a:pt x="108089" y="2236761"/>
                  </a:lnTo>
                  <a:lnTo>
                    <a:pt x="109026" y="2235309"/>
                  </a:lnTo>
                  <a:lnTo>
                    <a:pt x="110024" y="2234099"/>
                  </a:lnTo>
                  <a:lnTo>
                    <a:pt x="110387" y="2232768"/>
                  </a:lnTo>
                  <a:lnTo>
                    <a:pt x="110236" y="2231648"/>
                  </a:lnTo>
                  <a:lnTo>
                    <a:pt x="109510" y="2231043"/>
                  </a:lnTo>
                  <a:lnTo>
                    <a:pt x="109752" y="2230922"/>
                  </a:lnTo>
                  <a:lnTo>
                    <a:pt x="110932" y="2230680"/>
                  </a:lnTo>
                  <a:lnTo>
                    <a:pt x="111204" y="2230469"/>
                  </a:lnTo>
                  <a:lnTo>
                    <a:pt x="110660" y="2230257"/>
                  </a:lnTo>
                  <a:lnTo>
                    <a:pt x="110418" y="2229985"/>
                  </a:lnTo>
                  <a:close/>
                  <a:moveTo>
                    <a:pt x="91692" y="2228079"/>
                  </a:moveTo>
                  <a:lnTo>
                    <a:pt x="89635" y="2230801"/>
                  </a:lnTo>
                  <a:lnTo>
                    <a:pt x="88274" y="2233070"/>
                  </a:lnTo>
                  <a:lnTo>
                    <a:pt x="89514" y="2234341"/>
                  </a:lnTo>
                  <a:lnTo>
                    <a:pt x="92509" y="2233645"/>
                  </a:lnTo>
                  <a:lnTo>
                    <a:pt x="94415" y="2230862"/>
                  </a:lnTo>
                  <a:lnTo>
                    <a:pt x="95565" y="2225931"/>
                  </a:lnTo>
                  <a:lnTo>
                    <a:pt x="94203" y="2226233"/>
                  </a:lnTo>
                  <a:lnTo>
                    <a:pt x="91692" y="2228079"/>
                  </a:lnTo>
                  <a:close/>
                  <a:moveTo>
                    <a:pt x="101463" y="2229410"/>
                  </a:moveTo>
                  <a:lnTo>
                    <a:pt x="101978" y="2227776"/>
                  </a:lnTo>
                  <a:lnTo>
                    <a:pt x="102946" y="2226415"/>
                  </a:lnTo>
                  <a:lnTo>
                    <a:pt x="103551" y="2225144"/>
                  </a:lnTo>
                  <a:lnTo>
                    <a:pt x="102704" y="2224660"/>
                  </a:lnTo>
                  <a:lnTo>
                    <a:pt x="101191" y="2225265"/>
                  </a:lnTo>
                  <a:lnTo>
                    <a:pt x="100979" y="2225901"/>
                  </a:lnTo>
                  <a:lnTo>
                    <a:pt x="101887" y="2226173"/>
                  </a:lnTo>
                  <a:lnTo>
                    <a:pt x="101554" y="2226294"/>
                  </a:lnTo>
                  <a:lnTo>
                    <a:pt x="98136" y="2226717"/>
                  </a:lnTo>
                  <a:lnTo>
                    <a:pt x="96291" y="2227655"/>
                  </a:lnTo>
                  <a:lnTo>
                    <a:pt x="96472" y="2230620"/>
                  </a:lnTo>
                  <a:lnTo>
                    <a:pt x="99376" y="2231527"/>
                  </a:lnTo>
                  <a:lnTo>
                    <a:pt x="101282" y="2230317"/>
                  </a:lnTo>
                  <a:lnTo>
                    <a:pt x="101463" y="2229380"/>
                  </a:lnTo>
                  <a:close/>
                  <a:moveTo>
                    <a:pt x="70425" y="2231648"/>
                  </a:moveTo>
                  <a:lnTo>
                    <a:pt x="68459" y="2226143"/>
                  </a:lnTo>
                  <a:lnTo>
                    <a:pt x="65434" y="2222028"/>
                  </a:lnTo>
                  <a:lnTo>
                    <a:pt x="62076" y="2222210"/>
                  </a:lnTo>
                  <a:lnTo>
                    <a:pt x="59172" y="2220728"/>
                  </a:lnTo>
                  <a:lnTo>
                    <a:pt x="55844" y="2224872"/>
                  </a:lnTo>
                  <a:lnTo>
                    <a:pt x="52365" y="2226536"/>
                  </a:lnTo>
                  <a:lnTo>
                    <a:pt x="51518" y="2230438"/>
                  </a:lnTo>
                  <a:lnTo>
                    <a:pt x="54876" y="2231013"/>
                  </a:lnTo>
                  <a:lnTo>
                    <a:pt x="56873" y="2233070"/>
                  </a:lnTo>
                  <a:lnTo>
                    <a:pt x="59505" y="2233070"/>
                  </a:lnTo>
                  <a:lnTo>
                    <a:pt x="61229" y="2235218"/>
                  </a:lnTo>
                  <a:lnTo>
                    <a:pt x="60775" y="2237275"/>
                  </a:lnTo>
                  <a:lnTo>
                    <a:pt x="59626" y="2238939"/>
                  </a:lnTo>
                  <a:lnTo>
                    <a:pt x="61411" y="2240361"/>
                  </a:lnTo>
                  <a:lnTo>
                    <a:pt x="64284" y="2239605"/>
                  </a:lnTo>
                  <a:lnTo>
                    <a:pt x="66281" y="2238515"/>
                  </a:lnTo>
                  <a:lnTo>
                    <a:pt x="67552" y="2239605"/>
                  </a:lnTo>
                  <a:lnTo>
                    <a:pt x="66644" y="2243567"/>
                  </a:lnTo>
                  <a:lnTo>
                    <a:pt x="67915" y="2242660"/>
                  </a:lnTo>
                  <a:lnTo>
                    <a:pt x="70365" y="2239937"/>
                  </a:lnTo>
                  <a:lnTo>
                    <a:pt x="71726" y="2237275"/>
                  </a:lnTo>
                  <a:lnTo>
                    <a:pt x="71454" y="2235551"/>
                  </a:lnTo>
                  <a:lnTo>
                    <a:pt x="70456" y="2231648"/>
                  </a:lnTo>
                  <a:close/>
                  <a:moveTo>
                    <a:pt x="77716" y="2219124"/>
                  </a:moveTo>
                  <a:lnTo>
                    <a:pt x="78986" y="2215797"/>
                  </a:lnTo>
                  <a:lnTo>
                    <a:pt x="76960" y="2211955"/>
                  </a:lnTo>
                  <a:lnTo>
                    <a:pt x="74752" y="2211350"/>
                  </a:lnTo>
                  <a:lnTo>
                    <a:pt x="74509" y="2212620"/>
                  </a:lnTo>
                  <a:lnTo>
                    <a:pt x="75598" y="2216402"/>
                  </a:lnTo>
                  <a:lnTo>
                    <a:pt x="74993" y="2218307"/>
                  </a:lnTo>
                  <a:lnTo>
                    <a:pt x="73663" y="2216129"/>
                  </a:lnTo>
                  <a:lnTo>
                    <a:pt x="71424" y="2210593"/>
                  </a:lnTo>
                  <a:lnTo>
                    <a:pt x="70698" y="2213165"/>
                  </a:lnTo>
                  <a:lnTo>
                    <a:pt x="69639" y="2216008"/>
                  </a:lnTo>
                  <a:lnTo>
                    <a:pt x="68973" y="2219034"/>
                  </a:lnTo>
                  <a:lnTo>
                    <a:pt x="69336" y="2222089"/>
                  </a:lnTo>
                  <a:lnTo>
                    <a:pt x="70062" y="2222875"/>
                  </a:lnTo>
                  <a:lnTo>
                    <a:pt x="73451" y="2224630"/>
                  </a:lnTo>
                  <a:lnTo>
                    <a:pt x="74419" y="2225659"/>
                  </a:lnTo>
                  <a:lnTo>
                    <a:pt x="75084" y="2226717"/>
                  </a:lnTo>
                  <a:lnTo>
                    <a:pt x="75810" y="2227111"/>
                  </a:lnTo>
                  <a:lnTo>
                    <a:pt x="76960" y="2225991"/>
                  </a:lnTo>
                  <a:lnTo>
                    <a:pt x="76082" y="2222361"/>
                  </a:lnTo>
                  <a:lnTo>
                    <a:pt x="77716" y="2219094"/>
                  </a:lnTo>
                  <a:close/>
                  <a:moveTo>
                    <a:pt x="117799" y="2214133"/>
                  </a:moveTo>
                  <a:lnTo>
                    <a:pt x="117406" y="2213044"/>
                  </a:lnTo>
                  <a:lnTo>
                    <a:pt x="116317" y="2211440"/>
                  </a:lnTo>
                  <a:lnTo>
                    <a:pt x="115440" y="2210563"/>
                  </a:lnTo>
                  <a:lnTo>
                    <a:pt x="114774" y="2210261"/>
                  </a:lnTo>
                  <a:lnTo>
                    <a:pt x="113836" y="2210624"/>
                  </a:lnTo>
                  <a:lnTo>
                    <a:pt x="112959" y="2211622"/>
                  </a:lnTo>
                  <a:lnTo>
                    <a:pt x="113292" y="2213951"/>
                  </a:lnTo>
                  <a:lnTo>
                    <a:pt x="115016" y="2216825"/>
                  </a:lnTo>
                  <a:lnTo>
                    <a:pt x="116589" y="2218066"/>
                  </a:lnTo>
                  <a:lnTo>
                    <a:pt x="117648" y="2217884"/>
                  </a:lnTo>
                  <a:lnTo>
                    <a:pt x="118253" y="2216613"/>
                  </a:lnTo>
                  <a:lnTo>
                    <a:pt x="118071" y="2214859"/>
                  </a:lnTo>
                  <a:lnTo>
                    <a:pt x="117769" y="2214133"/>
                  </a:lnTo>
                  <a:close/>
                  <a:moveTo>
                    <a:pt x="117830" y="2195740"/>
                  </a:moveTo>
                  <a:lnTo>
                    <a:pt x="116287" y="2196254"/>
                  </a:lnTo>
                  <a:lnTo>
                    <a:pt x="115772" y="2198190"/>
                  </a:lnTo>
                  <a:lnTo>
                    <a:pt x="115863" y="2200308"/>
                  </a:lnTo>
                  <a:lnTo>
                    <a:pt x="116529" y="2201397"/>
                  </a:lnTo>
                  <a:lnTo>
                    <a:pt x="118132" y="2202274"/>
                  </a:lnTo>
                  <a:lnTo>
                    <a:pt x="120249" y="2201336"/>
                  </a:lnTo>
                  <a:lnTo>
                    <a:pt x="121127" y="2199552"/>
                  </a:lnTo>
                  <a:lnTo>
                    <a:pt x="120068" y="2197888"/>
                  </a:lnTo>
                  <a:lnTo>
                    <a:pt x="117830" y="2195800"/>
                  </a:lnTo>
                  <a:close/>
                  <a:moveTo>
                    <a:pt x="15912" y="2202970"/>
                  </a:moveTo>
                  <a:lnTo>
                    <a:pt x="15549" y="2201821"/>
                  </a:lnTo>
                  <a:lnTo>
                    <a:pt x="14854" y="2200701"/>
                  </a:lnTo>
                  <a:lnTo>
                    <a:pt x="13099" y="2198735"/>
                  </a:lnTo>
                  <a:lnTo>
                    <a:pt x="12736" y="2197343"/>
                  </a:lnTo>
                  <a:lnTo>
                    <a:pt x="12615" y="2195347"/>
                  </a:lnTo>
                  <a:lnTo>
                    <a:pt x="12222" y="2193774"/>
                  </a:lnTo>
                  <a:lnTo>
                    <a:pt x="11587" y="2192564"/>
                  </a:lnTo>
                  <a:lnTo>
                    <a:pt x="9590" y="2190658"/>
                  </a:lnTo>
                  <a:lnTo>
                    <a:pt x="8108" y="2189992"/>
                  </a:lnTo>
                  <a:lnTo>
                    <a:pt x="6595" y="2189992"/>
                  </a:lnTo>
                  <a:lnTo>
                    <a:pt x="5476" y="2190990"/>
                  </a:lnTo>
                  <a:lnTo>
                    <a:pt x="4719" y="2192140"/>
                  </a:lnTo>
                  <a:lnTo>
                    <a:pt x="2904" y="2194379"/>
                  </a:lnTo>
                  <a:lnTo>
                    <a:pt x="2390" y="2195286"/>
                  </a:lnTo>
                  <a:lnTo>
                    <a:pt x="2209" y="2197162"/>
                  </a:lnTo>
                  <a:lnTo>
                    <a:pt x="2390" y="2199219"/>
                  </a:lnTo>
                  <a:lnTo>
                    <a:pt x="2390" y="2201064"/>
                  </a:lnTo>
                  <a:lnTo>
                    <a:pt x="1725" y="2202456"/>
                  </a:lnTo>
                  <a:lnTo>
                    <a:pt x="454" y="2203575"/>
                  </a:lnTo>
                  <a:lnTo>
                    <a:pt x="0" y="2204301"/>
                  </a:lnTo>
                  <a:lnTo>
                    <a:pt x="91" y="2205178"/>
                  </a:lnTo>
                  <a:lnTo>
                    <a:pt x="363" y="2206842"/>
                  </a:lnTo>
                  <a:lnTo>
                    <a:pt x="1422" y="2210835"/>
                  </a:lnTo>
                  <a:lnTo>
                    <a:pt x="3177" y="2213407"/>
                  </a:lnTo>
                  <a:lnTo>
                    <a:pt x="5234" y="2214314"/>
                  </a:lnTo>
                  <a:lnTo>
                    <a:pt x="7230" y="2213316"/>
                  </a:lnTo>
                  <a:lnTo>
                    <a:pt x="8712" y="2210745"/>
                  </a:lnTo>
                  <a:lnTo>
                    <a:pt x="9075" y="2207992"/>
                  </a:lnTo>
                  <a:lnTo>
                    <a:pt x="8712" y="2205057"/>
                  </a:lnTo>
                  <a:lnTo>
                    <a:pt x="7926" y="2201911"/>
                  </a:lnTo>
                  <a:lnTo>
                    <a:pt x="9711" y="2203636"/>
                  </a:lnTo>
                  <a:lnTo>
                    <a:pt x="12010" y="2207719"/>
                  </a:lnTo>
                  <a:lnTo>
                    <a:pt x="13462" y="2209504"/>
                  </a:lnTo>
                  <a:lnTo>
                    <a:pt x="14188" y="2209202"/>
                  </a:lnTo>
                  <a:lnTo>
                    <a:pt x="15095" y="2209353"/>
                  </a:lnTo>
                  <a:lnTo>
                    <a:pt x="15882" y="2209081"/>
                  </a:lnTo>
                  <a:lnTo>
                    <a:pt x="16215" y="2207568"/>
                  </a:lnTo>
                  <a:lnTo>
                    <a:pt x="16094" y="2204241"/>
                  </a:lnTo>
                  <a:lnTo>
                    <a:pt x="15882" y="2203061"/>
                  </a:lnTo>
                  <a:close/>
                  <a:moveTo>
                    <a:pt x="87518" y="2193622"/>
                  </a:moveTo>
                  <a:lnTo>
                    <a:pt x="88002" y="2195074"/>
                  </a:lnTo>
                  <a:lnTo>
                    <a:pt x="88002" y="2197131"/>
                  </a:lnTo>
                  <a:lnTo>
                    <a:pt x="87881" y="2198009"/>
                  </a:lnTo>
                  <a:lnTo>
                    <a:pt x="87790" y="2199219"/>
                  </a:lnTo>
                  <a:lnTo>
                    <a:pt x="87336" y="2200459"/>
                  </a:lnTo>
                  <a:lnTo>
                    <a:pt x="87336" y="2201427"/>
                  </a:lnTo>
                  <a:lnTo>
                    <a:pt x="88546" y="2201821"/>
                  </a:lnTo>
                  <a:lnTo>
                    <a:pt x="93416" y="2192805"/>
                  </a:lnTo>
                  <a:lnTo>
                    <a:pt x="93356" y="2191414"/>
                  </a:lnTo>
                  <a:lnTo>
                    <a:pt x="93175" y="2190385"/>
                  </a:lnTo>
                  <a:lnTo>
                    <a:pt x="92751" y="2189599"/>
                  </a:lnTo>
                  <a:lnTo>
                    <a:pt x="92055" y="2188994"/>
                  </a:lnTo>
                  <a:lnTo>
                    <a:pt x="90361" y="2190143"/>
                  </a:lnTo>
                  <a:lnTo>
                    <a:pt x="87215" y="2188238"/>
                  </a:lnTo>
                  <a:lnTo>
                    <a:pt x="85128" y="2188994"/>
                  </a:lnTo>
                  <a:lnTo>
                    <a:pt x="83948" y="2191384"/>
                  </a:lnTo>
                  <a:lnTo>
                    <a:pt x="83797" y="2194227"/>
                  </a:lnTo>
                  <a:lnTo>
                    <a:pt x="84553" y="2195891"/>
                  </a:lnTo>
                  <a:lnTo>
                    <a:pt x="87548" y="2193683"/>
                  </a:lnTo>
                  <a:close/>
                  <a:moveTo>
                    <a:pt x="131049" y="2186120"/>
                  </a:moveTo>
                  <a:lnTo>
                    <a:pt x="130021" y="2185152"/>
                  </a:lnTo>
                  <a:lnTo>
                    <a:pt x="128206" y="2185152"/>
                  </a:lnTo>
                  <a:lnTo>
                    <a:pt x="127601" y="2189357"/>
                  </a:lnTo>
                  <a:lnTo>
                    <a:pt x="128538" y="2194016"/>
                  </a:lnTo>
                  <a:lnTo>
                    <a:pt x="131382" y="2195226"/>
                  </a:lnTo>
                  <a:lnTo>
                    <a:pt x="130626" y="2192805"/>
                  </a:lnTo>
                  <a:lnTo>
                    <a:pt x="131897" y="2192957"/>
                  </a:lnTo>
                  <a:lnTo>
                    <a:pt x="133379" y="2192503"/>
                  </a:lnTo>
                  <a:lnTo>
                    <a:pt x="134559" y="2191233"/>
                  </a:lnTo>
                  <a:lnTo>
                    <a:pt x="134801" y="2188994"/>
                  </a:lnTo>
                  <a:lnTo>
                    <a:pt x="134105" y="2188117"/>
                  </a:lnTo>
                  <a:lnTo>
                    <a:pt x="131019" y="2186120"/>
                  </a:lnTo>
                  <a:close/>
                  <a:moveTo>
                    <a:pt x="128448" y="2174594"/>
                  </a:moveTo>
                  <a:lnTo>
                    <a:pt x="128720" y="2172719"/>
                  </a:lnTo>
                  <a:lnTo>
                    <a:pt x="128236" y="2170994"/>
                  </a:lnTo>
                  <a:lnTo>
                    <a:pt x="127086" y="2170177"/>
                  </a:lnTo>
                  <a:lnTo>
                    <a:pt x="125906" y="2169905"/>
                  </a:lnTo>
                  <a:lnTo>
                    <a:pt x="125180" y="2170238"/>
                  </a:lnTo>
                  <a:lnTo>
                    <a:pt x="124939" y="2171236"/>
                  </a:lnTo>
                  <a:lnTo>
                    <a:pt x="124515" y="2172325"/>
                  </a:lnTo>
                  <a:lnTo>
                    <a:pt x="124152" y="2172900"/>
                  </a:lnTo>
                  <a:lnTo>
                    <a:pt x="123789" y="2173535"/>
                  </a:lnTo>
                  <a:lnTo>
                    <a:pt x="122972" y="2175532"/>
                  </a:lnTo>
                  <a:lnTo>
                    <a:pt x="122700" y="2176470"/>
                  </a:lnTo>
                  <a:lnTo>
                    <a:pt x="122609" y="2178043"/>
                  </a:lnTo>
                  <a:lnTo>
                    <a:pt x="122609" y="2178678"/>
                  </a:lnTo>
                  <a:lnTo>
                    <a:pt x="122700" y="2179918"/>
                  </a:lnTo>
                  <a:lnTo>
                    <a:pt x="123426" y="2180281"/>
                  </a:lnTo>
                  <a:lnTo>
                    <a:pt x="127177" y="2177649"/>
                  </a:lnTo>
                  <a:lnTo>
                    <a:pt x="127964" y="2176318"/>
                  </a:lnTo>
                  <a:lnTo>
                    <a:pt x="128357" y="2174624"/>
                  </a:lnTo>
                  <a:close/>
                  <a:moveTo>
                    <a:pt x="53515" y="2222089"/>
                  </a:moveTo>
                  <a:lnTo>
                    <a:pt x="54090" y="2220183"/>
                  </a:lnTo>
                  <a:lnTo>
                    <a:pt x="53787" y="2218761"/>
                  </a:lnTo>
                  <a:lnTo>
                    <a:pt x="53122" y="2218066"/>
                  </a:lnTo>
                  <a:lnTo>
                    <a:pt x="52456" y="2217642"/>
                  </a:lnTo>
                  <a:lnTo>
                    <a:pt x="52093" y="2217007"/>
                  </a:lnTo>
                  <a:lnTo>
                    <a:pt x="52033" y="2214375"/>
                  </a:lnTo>
                  <a:lnTo>
                    <a:pt x="52335" y="2211501"/>
                  </a:lnTo>
                  <a:lnTo>
                    <a:pt x="53454" y="2205572"/>
                  </a:lnTo>
                  <a:lnTo>
                    <a:pt x="52547" y="2206751"/>
                  </a:lnTo>
                  <a:lnTo>
                    <a:pt x="51790" y="2207992"/>
                  </a:lnTo>
                  <a:lnTo>
                    <a:pt x="51034" y="2208960"/>
                  </a:lnTo>
                  <a:lnTo>
                    <a:pt x="50036" y="2209383"/>
                  </a:lnTo>
                  <a:lnTo>
                    <a:pt x="49401" y="2208809"/>
                  </a:lnTo>
                  <a:lnTo>
                    <a:pt x="48675" y="2207508"/>
                  </a:lnTo>
                  <a:lnTo>
                    <a:pt x="47737" y="2206207"/>
                  </a:lnTo>
                  <a:lnTo>
                    <a:pt x="44863" y="2205088"/>
                  </a:lnTo>
                  <a:lnTo>
                    <a:pt x="43351" y="2203787"/>
                  </a:lnTo>
                  <a:lnTo>
                    <a:pt x="41959" y="2201911"/>
                  </a:lnTo>
                  <a:lnTo>
                    <a:pt x="40719" y="2199794"/>
                  </a:lnTo>
                  <a:lnTo>
                    <a:pt x="40446" y="2197827"/>
                  </a:lnTo>
                  <a:lnTo>
                    <a:pt x="41777" y="2196980"/>
                  </a:lnTo>
                  <a:lnTo>
                    <a:pt x="44500" y="2196647"/>
                  </a:lnTo>
                  <a:lnTo>
                    <a:pt x="44591" y="2198856"/>
                  </a:lnTo>
                  <a:lnTo>
                    <a:pt x="44379" y="2199491"/>
                  </a:lnTo>
                  <a:lnTo>
                    <a:pt x="43804" y="2200459"/>
                  </a:lnTo>
                  <a:lnTo>
                    <a:pt x="45438" y="2202214"/>
                  </a:lnTo>
                  <a:lnTo>
                    <a:pt x="50671" y="2204271"/>
                  </a:lnTo>
                  <a:lnTo>
                    <a:pt x="50369" y="2202456"/>
                  </a:lnTo>
                  <a:lnTo>
                    <a:pt x="50550" y="2200792"/>
                  </a:lnTo>
                  <a:lnTo>
                    <a:pt x="51125" y="2199310"/>
                  </a:lnTo>
                  <a:lnTo>
                    <a:pt x="52124" y="2198039"/>
                  </a:lnTo>
                  <a:lnTo>
                    <a:pt x="50369" y="2196557"/>
                  </a:lnTo>
                  <a:lnTo>
                    <a:pt x="48463" y="2193532"/>
                  </a:lnTo>
                  <a:lnTo>
                    <a:pt x="47041" y="2189871"/>
                  </a:lnTo>
                  <a:lnTo>
                    <a:pt x="46648" y="2186574"/>
                  </a:lnTo>
                  <a:lnTo>
                    <a:pt x="49401" y="2188752"/>
                  </a:lnTo>
                  <a:lnTo>
                    <a:pt x="51579" y="2186997"/>
                  </a:lnTo>
                  <a:lnTo>
                    <a:pt x="52487" y="2183730"/>
                  </a:lnTo>
                  <a:lnTo>
                    <a:pt x="51458" y="2181340"/>
                  </a:lnTo>
                  <a:lnTo>
                    <a:pt x="51458" y="2180070"/>
                  </a:lnTo>
                  <a:lnTo>
                    <a:pt x="55239" y="2180705"/>
                  </a:lnTo>
                  <a:lnTo>
                    <a:pt x="54816" y="2183851"/>
                  </a:lnTo>
                  <a:lnTo>
                    <a:pt x="52728" y="2187814"/>
                  </a:lnTo>
                  <a:lnTo>
                    <a:pt x="51458" y="2190930"/>
                  </a:lnTo>
                  <a:lnTo>
                    <a:pt x="52275" y="2194409"/>
                  </a:lnTo>
                  <a:lnTo>
                    <a:pt x="53939" y="2196254"/>
                  </a:lnTo>
                  <a:lnTo>
                    <a:pt x="55209" y="2198432"/>
                  </a:lnTo>
                  <a:lnTo>
                    <a:pt x="54906" y="2202910"/>
                  </a:lnTo>
                  <a:lnTo>
                    <a:pt x="55602" y="2202910"/>
                  </a:lnTo>
                  <a:lnTo>
                    <a:pt x="57327" y="2196829"/>
                  </a:lnTo>
                  <a:lnTo>
                    <a:pt x="60231" y="2193834"/>
                  </a:lnTo>
                  <a:lnTo>
                    <a:pt x="63921" y="2192836"/>
                  </a:lnTo>
                  <a:lnTo>
                    <a:pt x="67975" y="2192775"/>
                  </a:lnTo>
                  <a:lnTo>
                    <a:pt x="66402" y="2195074"/>
                  </a:lnTo>
                  <a:lnTo>
                    <a:pt x="61411" y="2195437"/>
                  </a:lnTo>
                  <a:lnTo>
                    <a:pt x="59353" y="2197283"/>
                  </a:lnTo>
                  <a:lnTo>
                    <a:pt x="58688" y="2199158"/>
                  </a:lnTo>
                  <a:lnTo>
                    <a:pt x="57992" y="2201941"/>
                  </a:lnTo>
                  <a:lnTo>
                    <a:pt x="57810" y="2204483"/>
                  </a:lnTo>
                  <a:lnTo>
                    <a:pt x="58658" y="2205572"/>
                  </a:lnTo>
                  <a:lnTo>
                    <a:pt x="62832" y="2205572"/>
                  </a:lnTo>
                  <a:lnTo>
                    <a:pt x="63921" y="2205995"/>
                  </a:lnTo>
                  <a:lnTo>
                    <a:pt x="64617" y="2206782"/>
                  </a:lnTo>
                  <a:lnTo>
                    <a:pt x="65343" y="2207266"/>
                  </a:lnTo>
                  <a:lnTo>
                    <a:pt x="66614" y="2206721"/>
                  </a:lnTo>
                  <a:lnTo>
                    <a:pt x="66946" y="2206086"/>
                  </a:lnTo>
                  <a:lnTo>
                    <a:pt x="67794" y="2203515"/>
                  </a:lnTo>
                  <a:lnTo>
                    <a:pt x="68338" y="2202335"/>
                  </a:lnTo>
                  <a:lnTo>
                    <a:pt x="69276" y="2201276"/>
                  </a:lnTo>
                  <a:lnTo>
                    <a:pt x="70153" y="2201004"/>
                  </a:lnTo>
                  <a:lnTo>
                    <a:pt x="71091" y="2200913"/>
                  </a:lnTo>
                  <a:lnTo>
                    <a:pt x="72180" y="2200368"/>
                  </a:lnTo>
                  <a:lnTo>
                    <a:pt x="71394" y="2199310"/>
                  </a:lnTo>
                  <a:lnTo>
                    <a:pt x="70062" y="2196557"/>
                  </a:lnTo>
                  <a:lnTo>
                    <a:pt x="72785" y="2195165"/>
                  </a:lnTo>
                  <a:lnTo>
                    <a:pt x="73481" y="2192745"/>
                  </a:lnTo>
                  <a:lnTo>
                    <a:pt x="76990" y="2186483"/>
                  </a:lnTo>
                  <a:lnTo>
                    <a:pt x="72997" y="2185939"/>
                  </a:lnTo>
                  <a:lnTo>
                    <a:pt x="70940" y="2185061"/>
                  </a:lnTo>
                  <a:lnTo>
                    <a:pt x="69367" y="2183821"/>
                  </a:lnTo>
                  <a:lnTo>
                    <a:pt x="68822" y="2184335"/>
                  </a:lnTo>
                  <a:lnTo>
                    <a:pt x="67309" y="2185091"/>
                  </a:lnTo>
                  <a:lnTo>
                    <a:pt x="68398" y="2180221"/>
                  </a:lnTo>
                  <a:lnTo>
                    <a:pt x="66977" y="2178224"/>
                  </a:lnTo>
                  <a:lnTo>
                    <a:pt x="61774" y="2176197"/>
                  </a:lnTo>
                  <a:lnTo>
                    <a:pt x="59596" y="2173203"/>
                  </a:lnTo>
                  <a:lnTo>
                    <a:pt x="58446" y="2172235"/>
                  </a:lnTo>
                  <a:lnTo>
                    <a:pt x="57357" y="2172961"/>
                  </a:lnTo>
                  <a:lnTo>
                    <a:pt x="56328" y="2173233"/>
                  </a:lnTo>
                  <a:lnTo>
                    <a:pt x="52940" y="2171448"/>
                  </a:lnTo>
                  <a:lnTo>
                    <a:pt x="51458" y="2171115"/>
                  </a:lnTo>
                  <a:lnTo>
                    <a:pt x="51942" y="2172446"/>
                  </a:lnTo>
                  <a:lnTo>
                    <a:pt x="52789" y="2176228"/>
                  </a:lnTo>
                  <a:lnTo>
                    <a:pt x="51064" y="2173929"/>
                  </a:lnTo>
                  <a:lnTo>
                    <a:pt x="48645" y="2172023"/>
                  </a:lnTo>
                  <a:lnTo>
                    <a:pt x="46073" y="2171085"/>
                  </a:lnTo>
                  <a:lnTo>
                    <a:pt x="41777" y="2172023"/>
                  </a:lnTo>
                  <a:lnTo>
                    <a:pt x="40870" y="2169451"/>
                  </a:lnTo>
                  <a:lnTo>
                    <a:pt x="40386" y="2165972"/>
                  </a:lnTo>
                  <a:lnTo>
                    <a:pt x="39660" y="2163462"/>
                  </a:lnTo>
                  <a:lnTo>
                    <a:pt x="37240" y="2162826"/>
                  </a:lnTo>
                  <a:lnTo>
                    <a:pt x="34941" y="2162826"/>
                  </a:lnTo>
                  <a:lnTo>
                    <a:pt x="32763" y="2163794"/>
                  </a:lnTo>
                  <a:lnTo>
                    <a:pt x="30705" y="2166033"/>
                  </a:lnTo>
                  <a:lnTo>
                    <a:pt x="29768" y="2167909"/>
                  </a:lnTo>
                  <a:lnTo>
                    <a:pt x="29102" y="2169724"/>
                  </a:lnTo>
                  <a:lnTo>
                    <a:pt x="28225" y="2171266"/>
                  </a:lnTo>
                  <a:lnTo>
                    <a:pt x="26652" y="2172295"/>
                  </a:lnTo>
                  <a:lnTo>
                    <a:pt x="29132" y="2172446"/>
                  </a:lnTo>
                  <a:lnTo>
                    <a:pt x="30857" y="2173838"/>
                  </a:lnTo>
                  <a:lnTo>
                    <a:pt x="32278" y="2176228"/>
                  </a:lnTo>
                  <a:lnTo>
                    <a:pt x="33791" y="2179374"/>
                  </a:lnTo>
                  <a:lnTo>
                    <a:pt x="34729" y="2180130"/>
                  </a:lnTo>
                  <a:lnTo>
                    <a:pt x="35455" y="2178920"/>
                  </a:lnTo>
                  <a:lnTo>
                    <a:pt x="36574" y="2175562"/>
                  </a:lnTo>
                  <a:lnTo>
                    <a:pt x="37482" y="2174140"/>
                  </a:lnTo>
                  <a:lnTo>
                    <a:pt x="37935" y="2174231"/>
                  </a:lnTo>
                  <a:lnTo>
                    <a:pt x="38329" y="2175199"/>
                  </a:lnTo>
                  <a:lnTo>
                    <a:pt x="38994" y="2176258"/>
                  </a:lnTo>
                  <a:lnTo>
                    <a:pt x="40295" y="2177771"/>
                  </a:lnTo>
                  <a:lnTo>
                    <a:pt x="41414" y="2179918"/>
                  </a:lnTo>
                  <a:lnTo>
                    <a:pt x="42171" y="2182641"/>
                  </a:lnTo>
                  <a:lnTo>
                    <a:pt x="42443" y="2185878"/>
                  </a:lnTo>
                  <a:lnTo>
                    <a:pt x="41899" y="2186846"/>
                  </a:lnTo>
                  <a:lnTo>
                    <a:pt x="40719" y="2187633"/>
                  </a:lnTo>
                  <a:lnTo>
                    <a:pt x="39539" y="2187844"/>
                  </a:lnTo>
                  <a:lnTo>
                    <a:pt x="38994" y="2187148"/>
                  </a:lnTo>
                  <a:lnTo>
                    <a:pt x="38934" y="2185454"/>
                  </a:lnTo>
                  <a:lnTo>
                    <a:pt x="38783" y="2184093"/>
                  </a:lnTo>
                  <a:lnTo>
                    <a:pt x="38238" y="2181371"/>
                  </a:lnTo>
                  <a:lnTo>
                    <a:pt x="37603" y="2183791"/>
                  </a:lnTo>
                  <a:lnTo>
                    <a:pt x="37421" y="2187723"/>
                  </a:lnTo>
                  <a:lnTo>
                    <a:pt x="36937" y="2190264"/>
                  </a:lnTo>
                  <a:lnTo>
                    <a:pt x="34819" y="2192805"/>
                  </a:lnTo>
                  <a:lnTo>
                    <a:pt x="34124" y="2198009"/>
                  </a:lnTo>
                  <a:lnTo>
                    <a:pt x="32490" y="2196315"/>
                  </a:lnTo>
                  <a:lnTo>
                    <a:pt x="30705" y="2195226"/>
                  </a:lnTo>
                  <a:lnTo>
                    <a:pt x="31068" y="2197041"/>
                  </a:lnTo>
                  <a:lnTo>
                    <a:pt x="31280" y="2199642"/>
                  </a:lnTo>
                  <a:lnTo>
                    <a:pt x="31099" y="2201972"/>
                  </a:lnTo>
                  <a:lnTo>
                    <a:pt x="30342" y="2202970"/>
                  </a:lnTo>
                  <a:lnTo>
                    <a:pt x="28769" y="2202516"/>
                  </a:lnTo>
                  <a:lnTo>
                    <a:pt x="28104" y="2201215"/>
                  </a:lnTo>
                  <a:lnTo>
                    <a:pt x="27317" y="2196647"/>
                  </a:lnTo>
                  <a:lnTo>
                    <a:pt x="26531" y="2195044"/>
                  </a:lnTo>
                  <a:lnTo>
                    <a:pt x="25683" y="2193713"/>
                  </a:lnTo>
                  <a:lnTo>
                    <a:pt x="25381" y="2192110"/>
                  </a:lnTo>
                  <a:lnTo>
                    <a:pt x="26954" y="2188026"/>
                  </a:lnTo>
                  <a:lnTo>
                    <a:pt x="28527" y="2182641"/>
                  </a:lnTo>
                  <a:lnTo>
                    <a:pt x="27499" y="2181945"/>
                  </a:lnTo>
                  <a:lnTo>
                    <a:pt x="27196" y="2182036"/>
                  </a:lnTo>
                  <a:lnTo>
                    <a:pt x="26591" y="2182641"/>
                  </a:lnTo>
                  <a:lnTo>
                    <a:pt x="25865" y="2181976"/>
                  </a:lnTo>
                  <a:lnTo>
                    <a:pt x="23778" y="2181340"/>
                  </a:lnTo>
                  <a:lnTo>
                    <a:pt x="24625" y="2183428"/>
                  </a:lnTo>
                  <a:lnTo>
                    <a:pt x="25139" y="2184365"/>
                  </a:lnTo>
                  <a:lnTo>
                    <a:pt x="25895" y="2185182"/>
                  </a:lnTo>
                  <a:lnTo>
                    <a:pt x="22023" y="2187481"/>
                  </a:lnTo>
                  <a:lnTo>
                    <a:pt x="20692" y="2187754"/>
                  </a:lnTo>
                  <a:lnTo>
                    <a:pt x="19724" y="2188449"/>
                  </a:lnTo>
                  <a:lnTo>
                    <a:pt x="19059" y="2190083"/>
                  </a:lnTo>
                  <a:lnTo>
                    <a:pt x="18423" y="2192200"/>
                  </a:lnTo>
                  <a:lnTo>
                    <a:pt x="17637" y="2194137"/>
                  </a:lnTo>
                  <a:lnTo>
                    <a:pt x="17939" y="2190748"/>
                  </a:lnTo>
                  <a:lnTo>
                    <a:pt x="17062" y="2189296"/>
                  </a:lnTo>
                  <a:lnTo>
                    <a:pt x="15458" y="2188994"/>
                  </a:lnTo>
                  <a:lnTo>
                    <a:pt x="13462" y="2189054"/>
                  </a:lnTo>
                  <a:lnTo>
                    <a:pt x="15640" y="2196708"/>
                  </a:lnTo>
                  <a:lnTo>
                    <a:pt x="15852" y="2198099"/>
                  </a:lnTo>
                  <a:lnTo>
                    <a:pt x="17001" y="2199068"/>
                  </a:lnTo>
                  <a:lnTo>
                    <a:pt x="17576" y="2201427"/>
                  </a:lnTo>
                  <a:lnTo>
                    <a:pt x="18242" y="2206872"/>
                  </a:lnTo>
                  <a:lnTo>
                    <a:pt x="19815" y="2211501"/>
                  </a:lnTo>
                  <a:lnTo>
                    <a:pt x="23566" y="2219639"/>
                  </a:lnTo>
                  <a:lnTo>
                    <a:pt x="25109" y="2224721"/>
                  </a:lnTo>
                  <a:lnTo>
                    <a:pt x="26168" y="2222391"/>
                  </a:lnTo>
                  <a:lnTo>
                    <a:pt x="27741" y="2220576"/>
                  </a:lnTo>
                  <a:lnTo>
                    <a:pt x="29556" y="2219911"/>
                  </a:lnTo>
                  <a:lnTo>
                    <a:pt x="31311" y="2220909"/>
                  </a:lnTo>
                  <a:lnTo>
                    <a:pt x="31189" y="2222785"/>
                  </a:lnTo>
                  <a:lnTo>
                    <a:pt x="32037" y="2223662"/>
                  </a:lnTo>
                  <a:lnTo>
                    <a:pt x="33367" y="2223813"/>
                  </a:lnTo>
                  <a:lnTo>
                    <a:pt x="34759" y="2223420"/>
                  </a:lnTo>
                  <a:lnTo>
                    <a:pt x="35727" y="2222543"/>
                  </a:lnTo>
                  <a:lnTo>
                    <a:pt x="35939" y="2221514"/>
                  </a:lnTo>
                  <a:lnTo>
                    <a:pt x="36242" y="2220516"/>
                  </a:lnTo>
                  <a:lnTo>
                    <a:pt x="37572" y="2219608"/>
                  </a:lnTo>
                  <a:lnTo>
                    <a:pt x="39962" y="2219608"/>
                  </a:lnTo>
                  <a:lnTo>
                    <a:pt x="41354" y="2221423"/>
                  </a:lnTo>
                  <a:lnTo>
                    <a:pt x="43078" y="2227232"/>
                  </a:lnTo>
                  <a:lnTo>
                    <a:pt x="42745" y="2229047"/>
                  </a:lnTo>
                  <a:lnTo>
                    <a:pt x="43834" y="2229561"/>
                  </a:lnTo>
                  <a:lnTo>
                    <a:pt x="44803" y="2228442"/>
                  </a:lnTo>
                  <a:lnTo>
                    <a:pt x="44137" y="2225417"/>
                  </a:lnTo>
                  <a:lnTo>
                    <a:pt x="43895" y="2222875"/>
                  </a:lnTo>
                  <a:lnTo>
                    <a:pt x="45589" y="2221514"/>
                  </a:lnTo>
                  <a:lnTo>
                    <a:pt x="49673" y="2220909"/>
                  </a:lnTo>
                  <a:lnTo>
                    <a:pt x="52214" y="2222210"/>
                  </a:lnTo>
                  <a:lnTo>
                    <a:pt x="53545" y="2222210"/>
                  </a:lnTo>
                  <a:close/>
                  <a:moveTo>
                    <a:pt x="158578" y="2148820"/>
                  </a:moveTo>
                  <a:lnTo>
                    <a:pt x="158155" y="2148699"/>
                  </a:lnTo>
                  <a:lnTo>
                    <a:pt x="157338" y="2148759"/>
                  </a:lnTo>
                  <a:lnTo>
                    <a:pt x="156128" y="2149909"/>
                  </a:lnTo>
                  <a:lnTo>
                    <a:pt x="155614" y="2151331"/>
                  </a:lnTo>
                  <a:lnTo>
                    <a:pt x="156188" y="2153569"/>
                  </a:lnTo>
                  <a:lnTo>
                    <a:pt x="157550" y="2154658"/>
                  </a:lnTo>
                  <a:lnTo>
                    <a:pt x="158548" y="2154053"/>
                  </a:lnTo>
                  <a:lnTo>
                    <a:pt x="159395" y="2151966"/>
                  </a:lnTo>
                  <a:lnTo>
                    <a:pt x="159213" y="2149697"/>
                  </a:lnTo>
                  <a:lnTo>
                    <a:pt x="158608" y="2148850"/>
                  </a:lnTo>
                  <a:close/>
                  <a:moveTo>
                    <a:pt x="300457" y="2260841"/>
                  </a:moveTo>
                  <a:lnTo>
                    <a:pt x="299399" y="2261022"/>
                  </a:lnTo>
                  <a:lnTo>
                    <a:pt x="298612" y="2261446"/>
                  </a:lnTo>
                  <a:lnTo>
                    <a:pt x="296283" y="2261688"/>
                  </a:lnTo>
                  <a:lnTo>
                    <a:pt x="293953" y="2262838"/>
                  </a:lnTo>
                  <a:lnTo>
                    <a:pt x="293348" y="2262989"/>
                  </a:lnTo>
                  <a:lnTo>
                    <a:pt x="292743" y="2262989"/>
                  </a:lnTo>
                  <a:lnTo>
                    <a:pt x="291926" y="2263836"/>
                  </a:lnTo>
                  <a:lnTo>
                    <a:pt x="292138" y="2265379"/>
                  </a:lnTo>
                  <a:lnTo>
                    <a:pt x="293318" y="2266014"/>
                  </a:lnTo>
                  <a:lnTo>
                    <a:pt x="294921" y="2265651"/>
                  </a:lnTo>
                  <a:lnTo>
                    <a:pt x="301093" y="2262475"/>
                  </a:lnTo>
                  <a:lnTo>
                    <a:pt x="301879" y="2261567"/>
                  </a:lnTo>
                  <a:lnTo>
                    <a:pt x="301637" y="2261083"/>
                  </a:lnTo>
                  <a:lnTo>
                    <a:pt x="300457" y="2260841"/>
                  </a:lnTo>
                  <a:close/>
                  <a:moveTo>
                    <a:pt x="443002" y="2243174"/>
                  </a:moveTo>
                  <a:lnTo>
                    <a:pt x="440703" y="2242599"/>
                  </a:lnTo>
                  <a:lnTo>
                    <a:pt x="438495" y="2243295"/>
                  </a:lnTo>
                  <a:lnTo>
                    <a:pt x="436861" y="2245140"/>
                  </a:lnTo>
                  <a:lnTo>
                    <a:pt x="436196" y="2246653"/>
                  </a:lnTo>
                  <a:lnTo>
                    <a:pt x="436498" y="2247046"/>
                  </a:lnTo>
                  <a:lnTo>
                    <a:pt x="437073" y="2246925"/>
                  </a:lnTo>
                  <a:lnTo>
                    <a:pt x="438555" y="2248135"/>
                  </a:lnTo>
                  <a:lnTo>
                    <a:pt x="440068" y="2247893"/>
                  </a:lnTo>
                  <a:lnTo>
                    <a:pt x="440884" y="2247591"/>
                  </a:lnTo>
                  <a:lnTo>
                    <a:pt x="441036" y="2247319"/>
                  </a:lnTo>
                  <a:lnTo>
                    <a:pt x="441096" y="2246744"/>
                  </a:lnTo>
                  <a:lnTo>
                    <a:pt x="442367" y="2246835"/>
                  </a:lnTo>
                  <a:lnTo>
                    <a:pt x="443546" y="2245806"/>
                  </a:lnTo>
                  <a:lnTo>
                    <a:pt x="443546" y="2244263"/>
                  </a:lnTo>
                  <a:lnTo>
                    <a:pt x="443849" y="2243991"/>
                  </a:lnTo>
                  <a:lnTo>
                    <a:pt x="443002" y="2243235"/>
                  </a:lnTo>
                  <a:close/>
                  <a:moveTo>
                    <a:pt x="340904" y="2231316"/>
                  </a:moveTo>
                  <a:lnTo>
                    <a:pt x="341508" y="2231164"/>
                  </a:lnTo>
                  <a:lnTo>
                    <a:pt x="341962" y="2230590"/>
                  </a:lnTo>
                  <a:lnTo>
                    <a:pt x="342567" y="2229168"/>
                  </a:lnTo>
                  <a:lnTo>
                    <a:pt x="342840" y="2227474"/>
                  </a:lnTo>
                  <a:lnTo>
                    <a:pt x="343566" y="2226173"/>
                  </a:lnTo>
                  <a:lnTo>
                    <a:pt x="342658" y="2225568"/>
                  </a:lnTo>
                  <a:lnTo>
                    <a:pt x="339603" y="2225749"/>
                  </a:lnTo>
                  <a:lnTo>
                    <a:pt x="337183" y="2226717"/>
                  </a:lnTo>
                  <a:lnTo>
                    <a:pt x="336366" y="2228018"/>
                  </a:lnTo>
                  <a:lnTo>
                    <a:pt x="337031" y="2228684"/>
                  </a:lnTo>
                  <a:lnTo>
                    <a:pt x="338363" y="2228774"/>
                  </a:lnTo>
                  <a:lnTo>
                    <a:pt x="339240" y="2229410"/>
                  </a:lnTo>
                  <a:lnTo>
                    <a:pt x="339240" y="2230317"/>
                  </a:lnTo>
                  <a:lnTo>
                    <a:pt x="336426" y="2230650"/>
                  </a:lnTo>
                  <a:lnTo>
                    <a:pt x="335942" y="2233131"/>
                  </a:lnTo>
                  <a:lnTo>
                    <a:pt x="336789" y="2236186"/>
                  </a:lnTo>
                  <a:lnTo>
                    <a:pt x="338060" y="2237184"/>
                  </a:lnTo>
                  <a:lnTo>
                    <a:pt x="338846" y="2236247"/>
                  </a:lnTo>
                  <a:lnTo>
                    <a:pt x="339240" y="2234704"/>
                  </a:lnTo>
                  <a:lnTo>
                    <a:pt x="340178" y="2232163"/>
                  </a:lnTo>
                  <a:lnTo>
                    <a:pt x="340904" y="2231346"/>
                  </a:lnTo>
                  <a:close/>
                  <a:moveTo>
                    <a:pt x="294135" y="2238727"/>
                  </a:moveTo>
                  <a:lnTo>
                    <a:pt x="294831" y="2238727"/>
                  </a:lnTo>
                  <a:lnTo>
                    <a:pt x="295375" y="2235974"/>
                  </a:lnTo>
                  <a:lnTo>
                    <a:pt x="295557" y="2232798"/>
                  </a:lnTo>
                  <a:lnTo>
                    <a:pt x="295557" y="2225961"/>
                  </a:lnTo>
                  <a:lnTo>
                    <a:pt x="293621" y="2223117"/>
                  </a:lnTo>
                  <a:lnTo>
                    <a:pt x="291745" y="2222482"/>
                  </a:lnTo>
                  <a:lnTo>
                    <a:pt x="290746" y="2224237"/>
                  </a:lnTo>
                  <a:lnTo>
                    <a:pt x="291412" y="2228502"/>
                  </a:lnTo>
                  <a:lnTo>
                    <a:pt x="289264" y="2228714"/>
                  </a:lnTo>
                  <a:lnTo>
                    <a:pt x="288901" y="2226838"/>
                  </a:lnTo>
                  <a:lnTo>
                    <a:pt x="288811" y="2224479"/>
                  </a:lnTo>
                  <a:lnTo>
                    <a:pt x="287601" y="2223329"/>
                  </a:lnTo>
                  <a:lnTo>
                    <a:pt x="286027" y="2224267"/>
                  </a:lnTo>
                  <a:lnTo>
                    <a:pt x="285423" y="2226566"/>
                  </a:lnTo>
                  <a:lnTo>
                    <a:pt x="285483" y="2229470"/>
                  </a:lnTo>
                  <a:lnTo>
                    <a:pt x="285876" y="2232284"/>
                  </a:lnTo>
                  <a:lnTo>
                    <a:pt x="286512" y="2234401"/>
                  </a:lnTo>
                  <a:lnTo>
                    <a:pt x="287691" y="2237426"/>
                  </a:lnTo>
                  <a:lnTo>
                    <a:pt x="288841" y="2239635"/>
                  </a:lnTo>
                  <a:lnTo>
                    <a:pt x="289355" y="2239272"/>
                  </a:lnTo>
                  <a:lnTo>
                    <a:pt x="289990" y="2237305"/>
                  </a:lnTo>
                  <a:lnTo>
                    <a:pt x="291503" y="2236519"/>
                  </a:lnTo>
                  <a:lnTo>
                    <a:pt x="293136" y="2236973"/>
                  </a:lnTo>
                  <a:lnTo>
                    <a:pt x="294165" y="2238697"/>
                  </a:lnTo>
                  <a:close/>
                  <a:moveTo>
                    <a:pt x="337878" y="2223178"/>
                  </a:moveTo>
                  <a:lnTo>
                    <a:pt x="340752" y="2223269"/>
                  </a:lnTo>
                  <a:lnTo>
                    <a:pt x="342386" y="2222573"/>
                  </a:lnTo>
                  <a:lnTo>
                    <a:pt x="343686" y="2221605"/>
                  </a:lnTo>
                  <a:lnTo>
                    <a:pt x="344231" y="2221605"/>
                  </a:lnTo>
                  <a:lnTo>
                    <a:pt x="344110" y="2222361"/>
                  </a:lnTo>
                  <a:lnTo>
                    <a:pt x="344624" y="2222724"/>
                  </a:lnTo>
                  <a:lnTo>
                    <a:pt x="345623" y="2222573"/>
                  </a:lnTo>
                  <a:lnTo>
                    <a:pt x="346682" y="2221817"/>
                  </a:lnTo>
                  <a:lnTo>
                    <a:pt x="347256" y="2220334"/>
                  </a:lnTo>
                  <a:lnTo>
                    <a:pt x="347105" y="2218943"/>
                  </a:lnTo>
                  <a:lnTo>
                    <a:pt x="346682" y="2217763"/>
                  </a:lnTo>
                  <a:lnTo>
                    <a:pt x="345925" y="2216311"/>
                  </a:lnTo>
                  <a:lnTo>
                    <a:pt x="344685" y="2215252"/>
                  </a:lnTo>
                  <a:lnTo>
                    <a:pt x="342628" y="2215131"/>
                  </a:lnTo>
                  <a:lnTo>
                    <a:pt x="340087" y="2216250"/>
                  </a:lnTo>
                  <a:lnTo>
                    <a:pt x="338877" y="2217249"/>
                  </a:lnTo>
                  <a:lnTo>
                    <a:pt x="338241" y="2217944"/>
                  </a:lnTo>
                  <a:lnTo>
                    <a:pt x="337303" y="2219608"/>
                  </a:lnTo>
                  <a:lnTo>
                    <a:pt x="336547" y="2221333"/>
                  </a:lnTo>
                  <a:lnTo>
                    <a:pt x="335398" y="2222422"/>
                  </a:lnTo>
                  <a:lnTo>
                    <a:pt x="335398" y="2223087"/>
                  </a:lnTo>
                  <a:lnTo>
                    <a:pt x="337062" y="2223299"/>
                  </a:lnTo>
                  <a:lnTo>
                    <a:pt x="337969" y="2223208"/>
                  </a:lnTo>
                  <a:close/>
                  <a:moveTo>
                    <a:pt x="249454" y="2214193"/>
                  </a:moveTo>
                  <a:lnTo>
                    <a:pt x="248002" y="2214042"/>
                  </a:lnTo>
                  <a:lnTo>
                    <a:pt x="246489" y="2212711"/>
                  </a:lnTo>
                  <a:lnTo>
                    <a:pt x="245309" y="2213104"/>
                  </a:lnTo>
                  <a:lnTo>
                    <a:pt x="243827" y="2213921"/>
                  </a:lnTo>
                  <a:lnTo>
                    <a:pt x="243252" y="2215161"/>
                  </a:lnTo>
                  <a:lnTo>
                    <a:pt x="244190" y="2216704"/>
                  </a:lnTo>
                  <a:lnTo>
                    <a:pt x="244643" y="2217218"/>
                  </a:lnTo>
                  <a:lnTo>
                    <a:pt x="247427" y="2217581"/>
                  </a:lnTo>
                  <a:lnTo>
                    <a:pt x="249060" y="2217460"/>
                  </a:lnTo>
                  <a:lnTo>
                    <a:pt x="251057" y="2216825"/>
                  </a:lnTo>
                  <a:lnTo>
                    <a:pt x="251571" y="2215464"/>
                  </a:lnTo>
                  <a:lnTo>
                    <a:pt x="250300" y="2214405"/>
                  </a:lnTo>
                  <a:lnTo>
                    <a:pt x="249484" y="2214133"/>
                  </a:lnTo>
                  <a:close/>
                  <a:moveTo>
                    <a:pt x="207132" y="2206691"/>
                  </a:moveTo>
                  <a:lnTo>
                    <a:pt x="202987" y="2208718"/>
                  </a:lnTo>
                  <a:lnTo>
                    <a:pt x="199629" y="2213195"/>
                  </a:lnTo>
                  <a:lnTo>
                    <a:pt x="203290" y="2212892"/>
                  </a:lnTo>
                  <a:lnTo>
                    <a:pt x="204893" y="2213558"/>
                  </a:lnTo>
                  <a:lnTo>
                    <a:pt x="205801" y="2215736"/>
                  </a:lnTo>
                  <a:lnTo>
                    <a:pt x="201838" y="2215494"/>
                  </a:lnTo>
                  <a:lnTo>
                    <a:pt x="199902" y="2215827"/>
                  </a:lnTo>
                  <a:lnTo>
                    <a:pt x="198207" y="2216976"/>
                  </a:lnTo>
                  <a:lnTo>
                    <a:pt x="199296" y="2217823"/>
                  </a:lnTo>
                  <a:lnTo>
                    <a:pt x="200385" y="2219155"/>
                  </a:lnTo>
                  <a:lnTo>
                    <a:pt x="201445" y="2220183"/>
                  </a:lnTo>
                  <a:lnTo>
                    <a:pt x="202443" y="2220092"/>
                  </a:lnTo>
                  <a:lnTo>
                    <a:pt x="203441" y="2219427"/>
                  </a:lnTo>
                  <a:lnTo>
                    <a:pt x="206194" y="2218459"/>
                  </a:lnTo>
                  <a:lnTo>
                    <a:pt x="207222" y="2218307"/>
                  </a:lnTo>
                  <a:lnTo>
                    <a:pt x="209945" y="2219185"/>
                  </a:lnTo>
                  <a:lnTo>
                    <a:pt x="211367" y="2219306"/>
                  </a:lnTo>
                  <a:lnTo>
                    <a:pt x="212698" y="2218338"/>
                  </a:lnTo>
                  <a:lnTo>
                    <a:pt x="213575" y="2216704"/>
                  </a:lnTo>
                  <a:lnTo>
                    <a:pt x="213757" y="2215313"/>
                  </a:lnTo>
                  <a:lnTo>
                    <a:pt x="213091" y="2214435"/>
                  </a:lnTo>
                  <a:lnTo>
                    <a:pt x="211397" y="2214314"/>
                  </a:lnTo>
                  <a:lnTo>
                    <a:pt x="213817" y="2212499"/>
                  </a:lnTo>
                  <a:lnTo>
                    <a:pt x="214815" y="2211350"/>
                  </a:lnTo>
                  <a:lnTo>
                    <a:pt x="215511" y="2209353"/>
                  </a:lnTo>
                  <a:lnTo>
                    <a:pt x="211488" y="2206933"/>
                  </a:lnTo>
                  <a:lnTo>
                    <a:pt x="207132" y="2206661"/>
                  </a:lnTo>
                  <a:close/>
                  <a:moveTo>
                    <a:pt x="230123" y="2201821"/>
                  </a:moveTo>
                  <a:lnTo>
                    <a:pt x="224496" y="2202940"/>
                  </a:lnTo>
                  <a:lnTo>
                    <a:pt x="222469" y="2204241"/>
                  </a:lnTo>
                  <a:lnTo>
                    <a:pt x="220926" y="2206419"/>
                  </a:lnTo>
                  <a:lnTo>
                    <a:pt x="220624" y="2208476"/>
                  </a:lnTo>
                  <a:lnTo>
                    <a:pt x="222378" y="2209383"/>
                  </a:lnTo>
                  <a:lnTo>
                    <a:pt x="222378" y="2210533"/>
                  </a:lnTo>
                  <a:lnTo>
                    <a:pt x="221864" y="2210775"/>
                  </a:lnTo>
                  <a:lnTo>
                    <a:pt x="220382" y="2211924"/>
                  </a:lnTo>
                  <a:lnTo>
                    <a:pt x="220805" y="2214254"/>
                  </a:lnTo>
                  <a:lnTo>
                    <a:pt x="220563" y="2214768"/>
                  </a:lnTo>
                  <a:lnTo>
                    <a:pt x="219686" y="2215736"/>
                  </a:lnTo>
                  <a:lnTo>
                    <a:pt x="222136" y="2217218"/>
                  </a:lnTo>
                  <a:lnTo>
                    <a:pt x="225343" y="2216946"/>
                  </a:lnTo>
                  <a:lnTo>
                    <a:pt x="228459" y="2215464"/>
                  </a:lnTo>
                  <a:lnTo>
                    <a:pt x="230728" y="2213225"/>
                  </a:lnTo>
                  <a:lnTo>
                    <a:pt x="230274" y="2212409"/>
                  </a:lnTo>
                  <a:lnTo>
                    <a:pt x="229820" y="2212106"/>
                  </a:lnTo>
                  <a:lnTo>
                    <a:pt x="230879" y="2211894"/>
                  </a:lnTo>
                  <a:lnTo>
                    <a:pt x="231877" y="2211350"/>
                  </a:lnTo>
                  <a:lnTo>
                    <a:pt x="232785" y="2210563"/>
                  </a:lnTo>
                  <a:lnTo>
                    <a:pt x="229306" y="2209414"/>
                  </a:lnTo>
                  <a:lnTo>
                    <a:pt x="236990" y="2209414"/>
                  </a:lnTo>
                  <a:lnTo>
                    <a:pt x="235417" y="2207296"/>
                  </a:lnTo>
                  <a:lnTo>
                    <a:pt x="234781" y="2206751"/>
                  </a:lnTo>
                  <a:lnTo>
                    <a:pt x="235750" y="2205995"/>
                  </a:lnTo>
                  <a:lnTo>
                    <a:pt x="236778" y="2205572"/>
                  </a:lnTo>
                  <a:lnTo>
                    <a:pt x="237837" y="2205481"/>
                  </a:lnTo>
                  <a:lnTo>
                    <a:pt x="238986" y="2205602"/>
                  </a:lnTo>
                  <a:lnTo>
                    <a:pt x="238986" y="2204210"/>
                  </a:lnTo>
                  <a:lnTo>
                    <a:pt x="235538" y="2201790"/>
                  </a:lnTo>
                  <a:lnTo>
                    <a:pt x="230093" y="2201790"/>
                  </a:lnTo>
                  <a:close/>
                  <a:moveTo>
                    <a:pt x="284938" y="2206993"/>
                  </a:moveTo>
                  <a:lnTo>
                    <a:pt x="287328" y="2205420"/>
                  </a:lnTo>
                  <a:lnTo>
                    <a:pt x="289113" y="2202093"/>
                  </a:lnTo>
                  <a:lnTo>
                    <a:pt x="288054" y="2200459"/>
                  </a:lnTo>
                  <a:lnTo>
                    <a:pt x="281822" y="2202698"/>
                  </a:lnTo>
                  <a:lnTo>
                    <a:pt x="280945" y="2203273"/>
                  </a:lnTo>
                  <a:lnTo>
                    <a:pt x="280431" y="2204513"/>
                  </a:lnTo>
                  <a:lnTo>
                    <a:pt x="280431" y="2205693"/>
                  </a:lnTo>
                  <a:lnTo>
                    <a:pt x="280310" y="2206328"/>
                  </a:lnTo>
                  <a:lnTo>
                    <a:pt x="279856" y="2206751"/>
                  </a:lnTo>
                  <a:lnTo>
                    <a:pt x="279554" y="2207810"/>
                  </a:lnTo>
                  <a:lnTo>
                    <a:pt x="279675" y="2209353"/>
                  </a:lnTo>
                  <a:lnTo>
                    <a:pt x="279675" y="2210140"/>
                  </a:lnTo>
                  <a:lnTo>
                    <a:pt x="279281" y="2210563"/>
                  </a:lnTo>
                  <a:lnTo>
                    <a:pt x="280310" y="2211108"/>
                  </a:lnTo>
                  <a:lnTo>
                    <a:pt x="282851" y="2211108"/>
                  </a:lnTo>
                  <a:lnTo>
                    <a:pt x="284182" y="2210805"/>
                  </a:lnTo>
                  <a:lnTo>
                    <a:pt x="283819" y="2209777"/>
                  </a:lnTo>
                  <a:lnTo>
                    <a:pt x="282367" y="2208657"/>
                  </a:lnTo>
                  <a:lnTo>
                    <a:pt x="282458" y="2207901"/>
                  </a:lnTo>
                  <a:lnTo>
                    <a:pt x="284908" y="2207024"/>
                  </a:lnTo>
                  <a:close/>
                  <a:moveTo>
                    <a:pt x="186772" y="2201851"/>
                  </a:moveTo>
                  <a:lnTo>
                    <a:pt x="185200" y="2199158"/>
                  </a:lnTo>
                  <a:lnTo>
                    <a:pt x="180480" y="2199400"/>
                  </a:lnTo>
                  <a:lnTo>
                    <a:pt x="178332" y="2200489"/>
                  </a:lnTo>
                  <a:lnTo>
                    <a:pt x="176880" y="2202940"/>
                  </a:lnTo>
                  <a:lnTo>
                    <a:pt x="178816" y="2202940"/>
                  </a:lnTo>
                  <a:lnTo>
                    <a:pt x="179936" y="2203847"/>
                  </a:lnTo>
                  <a:lnTo>
                    <a:pt x="180904" y="2205027"/>
                  </a:lnTo>
                  <a:lnTo>
                    <a:pt x="182447" y="2205602"/>
                  </a:lnTo>
                  <a:lnTo>
                    <a:pt x="185623" y="2205935"/>
                  </a:lnTo>
                  <a:lnTo>
                    <a:pt x="187135" y="2206691"/>
                  </a:lnTo>
                  <a:lnTo>
                    <a:pt x="187982" y="2208113"/>
                  </a:lnTo>
                  <a:lnTo>
                    <a:pt x="188678" y="2208113"/>
                  </a:lnTo>
                  <a:lnTo>
                    <a:pt x="189344" y="2205148"/>
                  </a:lnTo>
                  <a:lnTo>
                    <a:pt x="190857" y="2204059"/>
                  </a:lnTo>
                  <a:lnTo>
                    <a:pt x="194850" y="2204210"/>
                  </a:lnTo>
                  <a:lnTo>
                    <a:pt x="194850" y="2202940"/>
                  </a:lnTo>
                  <a:lnTo>
                    <a:pt x="189374" y="2202940"/>
                  </a:lnTo>
                  <a:lnTo>
                    <a:pt x="186803" y="2201821"/>
                  </a:lnTo>
                  <a:close/>
                  <a:moveTo>
                    <a:pt x="256230" y="2199158"/>
                  </a:moveTo>
                  <a:lnTo>
                    <a:pt x="254505" y="2199098"/>
                  </a:lnTo>
                  <a:lnTo>
                    <a:pt x="252962" y="2200157"/>
                  </a:lnTo>
                  <a:lnTo>
                    <a:pt x="250028" y="2202970"/>
                  </a:lnTo>
                  <a:lnTo>
                    <a:pt x="245279" y="2204694"/>
                  </a:lnTo>
                  <a:lnTo>
                    <a:pt x="243797" y="2205632"/>
                  </a:lnTo>
                  <a:lnTo>
                    <a:pt x="245339" y="2210714"/>
                  </a:lnTo>
                  <a:lnTo>
                    <a:pt x="248062" y="2213225"/>
                  </a:lnTo>
                  <a:lnTo>
                    <a:pt x="251238" y="2212892"/>
                  </a:lnTo>
                  <a:lnTo>
                    <a:pt x="254112" y="2209444"/>
                  </a:lnTo>
                  <a:lnTo>
                    <a:pt x="253477" y="2208960"/>
                  </a:lnTo>
                  <a:lnTo>
                    <a:pt x="252055" y="2207326"/>
                  </a:lnTo>
                  <a:lnTo>
                    <a:pt x="251420" y="2206812"/>
                  </a:lnTo>
                  <a:lnTo>
                    <a:pt x="257561" y="2201851"/>
                  </a:lnTo>
                  <a:lnTo>
                    <a:pt x="256230" y="2199189"/>
                  </a:lnTo>
                  <a:close/>
                  <a:moveTo>
                    <a:pt x="634917" y="2198190"/>
                  </a:moveTo>
                  <a:lnTo>
                    <a:pt x="634131" y="2199794"/>
                  </a:lnTo>
                  <a:lnTo>
                    <a:pt x="634796" y="2201730"/>
                  </a:lnTo>
                  <a:lnTo>
                    <a:pt x="636309" y="2201941"/>
                  </a:lnTo>
                  <a:lnTo>
                    <a:pt x="637973" y="2201246"/>
                  </a:lnTo>
                  <a:lnTo>
                    <a:pt x="639092" y="2200429"/>
                  </a:lnTo>
                  <a:lnTo>
                    <a:pt x="640423" y="2198009"/>
                  </a:lnTo>
                  <a:lnTo>
                    <a:pt x="636823" y="2197706"/>
                  </a:lnTo>
                  <a:lnTo>
                    <a:pt x="634978" y="2198190"/>
                  </a:lnTo>
                  <a:close/>
                  <a:moveTo>
                    <a:pt x="279675" y="2192805"/>
                  </a:moveTo>
                  <a:lnTo>
                    <a:pt x="277648" y="2191353"/>
                  </a:lnTo>
                  <a:lnTo>
                    <a:pt x="275046" y="2193199"/>
                  </a:lnTo>
                  <a:lnTo>
                    <a:pt x="272686" y="2196768"/>
                  </a:lnTo>
                  <a:lnTo>
                    <a:pt x="271356" y="2200429"/>
                  </a:lnTo>
                  <a:lnTo>
                    <a:pt x="273685" y="2203999"/>
                  </a:lnTo>
                  <a:lnTo>
                    <a:pt x="277406" y="2201972"/>
                  </a:lnTo>
                  <a:lnTo>
                    <a:pt x="280158" y="2197253"/>
                  </a:lnTo>
                  <a:lnTo>
                    <a:pt x="279644" y="2192805"/>
                  </a:lnTo>
                  <a:close/>
                  <a:moveTo>
                    <a:pt x="210520" y="2188419"/>
                  </a:moveTo>
                  <a:lnTo>
                    <a:pt x="208735" y="2188298"/>
                  </a:lnTo>
                  <a:lnTo>
                    <a:pt x="207132" y="2190809"/>
                  </a:lnTo>
                  <a:lnTo>
                    <a:pt x="206254" y="2193804"/>
                  </a:lnTo>
                  <a:lnTo>
                    <a:pt x="206376" y="2196345"/>
                  </a:lnTo>
                  <a:lnTo>
                    <a:pt x="207828" y="2197192"/>
                  </a:lnTo>
                  <a:lnTo>
                    <a:pt x="208795" y="2197010"/>
                  </a:lnTo>
                  <a:lnTo>
                    <a:pt x="209280" y="2197162"/>
                  </a:lnTo>
                  <a:lnTo>
                    <a:pt x="210217" y="2197010"/>
                  </a:lnTo>
                  <a:lnTo>
                    <a:pt x="210671" y="2195952"/>
                  </a:lnTo>
                  <a:lnTo>
                    <a:pt x="211034" y="2194711"/>
                  </a:lnTo>
                  <a:lnTo>
                    <a:pt x="212184" y="2193168"/>
                  </a:lnTo>
                  <a:lnTo>
                    <a:pt x="212698" y="2191384"/>
                  </a:lnTo>
                  <a:lnTo>
                    <a:pt x="211609" y="2190900"/>
                  </a:lnTo>
                  <a:lnTo>
                    <a:pt x="210036" y="2190960"/>
                  </a:lnTo>
                  <a:lnTo>
                    <a:pt x="209733" y="2190567"/>
                  </a:lnTo>
                  <a:lnTo>
                    <a:pt x="210671" y="2189871"/>
                  </a:lnTo>
                  <a:lnTo>
                    <a:pt x="210459" y="2188359"/>
                  </a:lnTo>
                  <a:close/>
                  <a:moveTo>
                    <a:pt x="610716" y="2183276"/>
                  </a:moveTo>
                  <a:lnTo>
                    <a:pt x="608992" y="2186665"/>
                  </a:lnTo>
                  <a:lnTo>
                    <a:pt x="609566" y="2190446"/>
                  </a:lnTo>
                  <a:lnTo>
                    <a:pt x="611775" y="2193320"/>
                  </a:lnTo>
                  <a:lnTo>
                    <a:pt x="614830" y="2194106"/>
                  </a:lnTo>
                  <a:lnTo>
                    <a:pt x="613408" y="2197071"/>
                  </a:lnTo>
                  <a:lnTo>
                    <a:pt x="612924" y="2198372"/>
                  </a:lnTo>
                  <a:lnTo>
                    <a:pt x="613741" y="2199128"/>
                  </a:lnTo>
                  <a:lnTo>
                    <a:pt x="616222" y="2200429"/>
                  </a:lnTo>
                  <a:lnTo>
                    <a:pt x="616010" y="2197797"/>
                  </a:lnTo>
                  <a:lnTo>
                    <a:pt x="617008" y="2195982"/>
                  </a:lnTo>
                  <a:lnTo>
                    <a:pt x="618642" y="2194802"/>
                  </a:lnTo>
                  <a:lnTo>
                    <a:pt x="620366" y="2194076"/>
                  </a:lnTo>
                  <a:lnTo>
                    <a:pt x="621092" y="2192805"/>
                  </a:lnTo>
                  <a:lnTo>
                    <a:pt x="612440" y="2184305"/>
                  </a:lnTo>
                  <a:lnTo>
                    <a:pt x="610746" y="2183246"/>
                  </a:lnTo>
                  <a:close/>
                  <a:moveTo>
                    <a:pt x="332131" y="2223117"/>
                  </a:moveTo>
                  <a:lnTo>
                    <a:pt x="335519" y="2217763"/>
                  </a:lnTo>
                  <a:lnTo>
                    <a:pt x="334127" y="2211985"/>
                  </a:lnTo>
                  <a:lnTo>
                    <a:pt x="334399" y="2211289"/>
                  </a:lnTo>
                  <a:lnTo>
                    <a:pt x="334884" y="2209444"/>
                  </a:lnTo>
                  <a:lnTo>
                    <a:pt x="333341" y="2208415"/>
                  </a:lnTo>
                  <a:lnTo>
                    <a:pt x="332766" y="2208173"/>
                  </a:lnTo>
                  <a:lnTo>
                    <a:pt x="333280" y="2207810"/>
                  </a:lnTo>
                  <a:lnTo>
                    <a:pt x="333704" y="2207326"/>
                  </a:lnTo>
                  <a:lnTo>
                    <a:pt x="334188" y="2206933"/>
                  </a:lnTo>
                  <a:lnTo>
                    <a:pt x="334884" y="2206782"/>
                  </a:lnTo>
                  <a:lnTo>
                    <a:pt x="334248" y="2204543"/>
                  </a:lnTo>
                  <a:lnTo>
                    <a:pt x="334188" y="2202486"/>
                  </a:lnTo>
                  <a:lnTo>
                    <a:pt x="334823" y="2201004"/>
                  </a:lnTo>
                  <a:lnTo>
                    <a:pt x="337546" y="2199824"/>
                  </a:lnTo>
                  <a:lnTo>
                    <a:pt x="338151" y="2198311"/>
                  </a:lnTo>
                  <a:lnTo>
                    <a:pt x="338574" y="2196436"/>
                  </a:lnTo>
                  <a:lnTo>
                    <a:pt x="339300" y="2194651"/>
                  </a:lnTo>
                  <a:lnTo>
                    <a:pt x="341508" y="2192382"/>
                  </a:lnTo>
                  <a:lnTo>
                    <a:pt x="343929" y="2190567"/>
                  </a:lnTo>
                  <a:lnTo>
                    <a:pt x="345835" y="2188117"/>
                  </a:lnTo>
                  <a:lnTo>
                    <a:pt x="346530" y="2183912"/>
                  </a:lnTo>
                  <a:lnTo>
                    <a:pt x="342930" y="2183216"/>
                  </a:lnTo>
                  <a:lnTo>
                    <a:pt x="339935" y="2185303"/>
                  </a:lnTo>
                  <a:lnTo>
                    <a:pt x="337394" y="2189054"/>
                  </a:lnTo>
                  <a:lnTo>
                    <a:pt x="335156" y="2193441"/>
                  </a:lnTo>
                  <a:lnTo>
                    <a:pt x="332312" y="2196194"/>
                  </a:lnTo>
                  <a:lnTo>
                    <a:pt x="312739" y="2199158"/>
                  </a:lnTo>
                  <a:lnTo>
                    <a:pt x="310864" y="2200036"/>
                  </a:lnTo>
                  <a:lnTo>
                    <a:pt x="307294" y="2202456"/>
                  </a:lnTo>
                  <a:lnTo>
                    <a:pt x="297220" y="2204241"/>
                  </a:lnTo>
                  <a:lnTo>
                    <a:pt x="295648" y="2203363"/>
                  </a:lnTo>
                  <a:lnTo>
                    <a:pt x="296162" y="2201215"/>
                  </a:lnTo>
                  <a:lnTo>
                    <a:pt x="298309" y="2196617"/>
                  </a:lnTo>
                  <a:lnTo>
                    <a:pt x="295375" y="2197222"/>
                  </a:lnTo>
                  <a:lnTo>
                    <a:pt x="293953" y="2201306"/>
                  </a:lnTo>
                  <a:lnTo>
                    <a:pt x="293167" y="2206540"/>
                  </a:lnTo>
                  <a:lnTo>
                    <a:pt x="292078" y="2210563"/>
                  </a:lnTo>
                  <a:lnTo>
                    <a:pt x="310713" y="2211955"/>
                  </a:lnTo>
                  <a:lnTo>
                    <a:pt x="310713" y="2213225"/>
                  </a:lnTo>
                  <a:lnTo>
                    <a:pt x="300730" y="2213225"/>
                  </a:lnTo>
                  <a:lnTo>
                    <a:pt x="298673" y="2213800"/>
                  </a:lnTo>
                  <a:lnTo>
                    <a:pt x="294891" y="2216311"/>
                  </a:lnTo>
                  <a:lnTo>
                    <a:pt x="292773" y="2217037"/>
                  </a:lnTo>
                  <a:lnTo>
                    <a:pt x="294044" y="2218822"/>
                  </a:lnTo>
                  <a:lnTo>
                    <a:pt x="296767" y="2220213"/>
                  </a:lnTo>
                  <a:lnTo>
                    <a:pt x="297977" y="2221423"/>
                  </a:lnTo>
                  <a:lnTo>
                    <a:pt x="298249" y="2223057"/>
                  </a:lnTo>
                  <a:lnTo>
                    <a:pt x="297946" y="2225084"/>
                  </a:lnTo>
                  <a:lnTo>
                    <a:pt x="297735" y="2227353"/>
                  </a:lnTo>
                  <a:lnTo>
                    <a:pt x="298340" y="2229652"/>
                  </a:lnTo>
                  <a:lnTo>
                    <a:pt x="297765" y="2231679"/>
                  </a:lnTo>
                  <a:lnTo>
                    <a:pt x="297553" y="2233887"/>
                  </a:lnTo>
                  <a:lnTo>
                    <a:pt x="297553" y="2238727"/>
                  </a:lnTo>
                  <a:lnTo>
                    <a:pt x="299247" y="2237910"/>
                  </a:lnTo>
                  <a:lnTo>
                    <a:pt x="303634" y="2236731"/>
                  </a:lnTo>
                  <a:lnTo>
                    <a:pt x="305267" y="2234401"/>
                  </a:lnTo>
                  <a:lnTo>
                    <a:pt x="308807" y="2231104"/>
                  </a:lnTo>
                  <a:lnTo>
                    <a:pt x="310017" y="2229622"/>
                  </a:lnTo>
                  <a:lnTo>
                    <a:pt x="309624" y="2232193"/>
                  </a:lnTo>
                  <a:lnTo>
                    <a:pt x="308716" y="2233705"/>
                  </a:lnTo>
                  <a:lnTo>
                    <a:pt x="308111" y="2235097"/>
                  </a:lnTo>
                  <a:lnTo>
                    <a:pt x="308534" y="2237336"/>
                  </a:lnTo>
                  <a:lnTo>
                    <a:pt x="309775" y="2236216"/>
                  </a:lnTo>
                  <a:lnTo>
                    <a:pt x="310531" y="2236761"/>
                  </a:lnTo>
                  <a:lnTo>
                    <a:pt x="310833" y="2238515"/>
                  </a:lnTo>
                  <a:lnTo>
                    <a:pt x="310652" y="2241087"/>
                  </a:lnTo>
                  <a:lnTo>
                    <a:pt x="311287" y="2241087"/>
                  </a:lnTo>
                  <a:lnTo>
                    <a:pt x="311166" y="2238969"/>
                  </a:lnTo>
                  <a:lnTo>
                    <a:pt x="311499" y="2238183"/>
                  </a:lnTo>
                  <a:lnTo>
                    <a:pt x="312044" y="2237910"/>
                  </a:lnTo>
                  <a:lnTo>
                    <a:pt x="315281" y="2234159"/>
                  </a:lnTo>
                  <a:lnTo>
                    <a:pt x="316158" y="2232253"/>
                  </a:lnTo>
                  <a:lnTo>
                    <a:pt x="317580" y="2235218"/>
                  </a:lnTo>
                  <a:lnTo>
                    <a:pt x="318880" y="2238697"/>
                  </a:lnTo>
                  <a:lnTo>
                    <a:pt x="320151" y="2237305"/>
                  </a:lnTo>
                  <a:lnTo>
                    <a:pt x="321210" y="2236973"/>
                  </a:lnTo>
                  <a:lnTo>
                    <a:pt x="323660" y="2237336"/>
                  </a:lnTo>
                  <a:lnTo>
                    <a:pt x="324205" y="2236670"/>
                  </a:lnTo>
                  <a:lnTo>
                    <a:pt x="325536" y="2233433"/>
                  </a:lnTo>
                  <a:lnTo>
                    <a:pt x="326504" y="2232314"/>
                  </a:lnTo>
                  <a:lnTo>
                    <a:pt x="325294" y="2231164"/>
                  </a:lnTo>
                  <a:lnTo>
                    <a:pt x="324689" y="2230862"/>
                  </a:lnTo>
                  <a:lnTo>
                    <a:pt x="323751" y="2230922"/>
                  </a:lnTo>
                  <a:lnTo>
                    <a:pt x="323751" y="2229652"/>
                  </a:lnTo>
                  <a:lnTo>
                    <a:pt x="332070" y="2223087"/>
                  </a:lnTo>
                  <a:close/>
                  <a:moveTo>
                    <a:pt x="248183" y="2184607"/>
                  </a:moveTo>
                  <a:lnTo>
                    <a:pt x="247548" y="2185333"/>
                  </a:lnTo>
                  <a:lnTo>
                    <a:pt x="247941" y="2185485"/>
                  </a:lnTo>
                  <a:lnTo>
                    <a:pt x="248576" y="2185394"/>
                  </a:lnTo>
                  <a:lnTo>
                    <a:pt x="249847" y="2184970"/>
                  </a:lnTo>
                  <a:lnTo>
                    <a:pt x="250875" y="2184063"/>
                  </a:lnTo>
                  <a:lnTo>
                    <a:pt x="251117" y="2183095"/>
                  </a:lnTo>
                  <a:lnTo>
                    <a:pt x="249907" y="2183307"/>
                  </a:lnTo>
                  <a:lnTo>
                    <a:pt x="248153" y="2184577"/>
                  </a:lnTo>
                  <a:close/>
                  <a:moveTo>
                    <a:pt x="245944" y="2186059"/>
                  </a:moveTo>
                  <a:lnTo>
                    <a:pt x="247790" y="2182127"/>
                  </a:lnTo>
                  <a:lnTo>
                    <a:pt x="247638" y="2180886"/>
                  </a:lnTo>
                  <a:lnTo>
                    <a:pt x="246216" y="2180342"/>
                  </a:lnTo>
                  <a:lnTo>
                    <a:pt x="242768" y="2180251"/>
                  </a:lnTo>
                  <a:lnTo>
                    <a:pt x="241074" y="2180856"/>
                  </a:lnTo>
                  <a:lnTo>
                    <a:pt x="239743" y="2180645"/>
                  </a:lnTo>
                  <a:lnTo>
                    <a:pt x="238170" y="2180645"/>
                  </a:lnTo>
                  <a:lnTo>
                    <a:pt x="237716" y="2181703"/>
                  </a:lnTo>
                  <a:lnTo>
                    <a:pt x="238684" y="2184577"/>
                  </a:lnTo>
                  <a:lnTo>
                    <a:pt x="239803" y="2184577"/>
                  </a:lnTo>
                  <a:lnTo>
                    <a:pt x="241195" y="2186332"/>
                  </a:lnTo>
                  <a:lnTo>
                    <a:pt x="242828" y="2186846"/>
                  </a:lnTo>
                  <a:lnTo>
                    <a:pt x="244704" y="2186846"/>
                  </a:lnTo>
                  <a:lnTo>
                    <a:pt x="245944" y="2186090"/>
                  </a:lnTo>
                  <a:close/>
                  <a:moveTo>
                    <a:pt x="271960" y="2191323"/>
                  </a:moveTo>
                  <a:lnTo>
                    <a:pt x="276528" y="2190264"/>
                  </a:lnTo>
                  <a:lnTo>
                    <a:pt x="276982" y="2190053"/>
                  </a:lnTo>
                  <a:lnTo>
                    <a:pt x="278192" y="2188903"/>
                  </a:lnTo>
                  <a:lnTo>
                    <a:pt x="278586" y="2188389"/>
                  </a:lnTo>
                  <a:lnTo>
                    <a:pt x="279432" y="2187633"/>
                  </a:lnTo>
                  <a:lnTo>
                    <a:pt x="280219" y="2188086"/>
                  </a:lnTo>
                  <a:lnTo>
                    <a:pt x="280975" y="2188843"/>
                  </a:lnTo>
                  <a:lnTo>
                    <a:pt x="281732" y="2189024"/>
                  </a:lnTo>
                  <a:lnTo>
                    <a:pt x="283637" y="2188328"/>
                  </a:lnTo>
                  <a:lnTo>
                    <a:pt x="284182" y="2187391"/>
                  </a:lnTo>
                  <a:lnTo>
                    <a:pt x="284424" y="2185212"/>
                  </a:lnTo>
                  <a:lnTo>
                    <a:pt x="282579" y="2183186"/>
                  </a:lnTo>
                  <a:lnTo>
                    <a:pt x="275379" y="2180493"/>
                  </a:lnTo>
                  <a:lnTo>
                    <a:pt x="263520" y="2179707"/>
                  </a:lnTo>
                  <a:lnTo>
                    <a:pt x="260979" y="2180100"/>
                  </a:lnTo>
                  <a:lnTo>
                    <a:pt x="258680" y="2182339"/>
                  </a:lnTo>
                  <a:lnTo>
                    <a:pt x="257954" y="2185696"/>
                  </a:lnTo>
                  <a:lnTo>
                    <a:pt x="258287" y="2188328"/>
                  </a:lnTo>
                  <a:lnTo>
                    <a:pt x="259225" y="2188389"/>
                  </a:lnTo>
                  <a:lnTo>
                    <a:pt x="261251" y="2187965"/>
                  </a:lnTo>
                  <a:lnTo>
                    <a:pt x="264004" y="2189629"/>
                  </a:lnTo>
                  <a:lnTo>
                    <a:pt x="266666" y="2190234"/>
                  </a:lnTo>
                  <a:lnTo>
                    <a:pt x="268542" y="2186604"/>
                  </a:lnTo>
                  <a:lnTo>
                    <a:pt x="264398" y="2186604"/>
                  </a:lnTo>
                  <a:lnTo>
                    <a:pt x="266031" y="2186029"/>
                  </a:lnTo>
                  <a:lnTo>
                    <a:pt x="268451" y="2186120"/>
                  </a:lnTo>
                  <a:lnTo>
                    <a:pt x="270750" y="2187058"/>
                  </a:lnTo>
                  <a:lnTo>
                    <a:pt x="272021" y="2189024"/>
                  </a:lnTo>
                  <a:lnTo>
                    <a:pt x="270448" y="2191142"/>
                  </a:lnTo>
                  <a:lnTo>
                    <a:pt x="271930" y="2191384"/>
                  </a:lnTo>
                  <a:close/>
                  <a:moveTo>
                    <a:pt x="290717" y="2172658"/>
                  </a:moveTo>
                  <a:lnTo>
                    <a:pt x="290354" y="2172295"/>
                  </a:lnTo>
                  <a:lnTo>
                    <a:pt x="287903" y="2172598"/>
                  </a:lnTo>
                  <a:lnTo>
                    <a:pt x="285543" y="2173626"/>
                  </a:lnTo>
                  <a:lnTo>
                    <a:pt x="283456" y="2175592"/>
                  </a:lnTo>
                  <a:lnTo>
                    <a:pt x="281792" y="2178648"/>
                  </a:lnTo>
                  <a:lnTo>
                    <a:pt x="285604" y="2180009"/>
                  </a:lnTo>
                  <a:lnTo>
                    <a:pt x="287540" y="2179858"/>
                  </a:lnTo>
                  <a:lnTo>
                    <a:pt x="289385" y="2178648"/>
                  </a:lnTo>
                  <a:lnTo>
                    <a:pt x="288568" y="2181431"/>
                  </a:lnTo>
                  <a:lnTo>
                    <a:pt x="288054" y="2182702"/>
                  </a:lnTo>
                  <a:lnTo>
                    <a:pt x="287328" y="2183881"/>
                  </a:lnTo>
                  <a:lnTo>
                    <a:pt x="290081" y="2183881"/>
                  </a:lnTo>
                  <a:lnTo>
                    <a:pt x="293167" y="2182732"/>
                  </a:lnTo>
                  <a:lnTo>
                    <a:pt x="296101" y="2180886"/>
                  </a:lnTo>
                  <a:lnTo>
                    <a:pt x="298400" y="2178648"/>
                  </a:lnTo>
                  <a:lnTo>
                    <a:pt x="297553" y="2176682"/>
                  </a:lnTo>
                  <a:lnTo>
                    <a:pt x="296404" y="2176197"/>
                  </a:lnTo>
                  <a:lnTo>
                    <a:pt x="295012" y="2176379"/>
                  </a:lnTo>
                  <a:lnTo>
                    <a:pt x="293530" y="2176258"/>
                  </a:lnTo>
                  <a:lnTo>
                    <a:pt x="290777" y="2174866"/>
                  </a:lnTo>
                  <a:lnTo>
                    <a:pt x="290686" y="2174382"/>
                  </a:lnTo>
                  <a:lnTo>
                    <a:pt x="290777" y="2173505"/>
                  </a:lnTo>
                  <a:lnTo>
                    <a:pt x="290777" y="2172658"/>
                  </a:lnTo>
                  <a:close/>
                  <a:moveTo>
                    <a:pt x="266122" y="2172900"/>
                  </a:moveTo>
                  <a:lnTo>
                    <a:pt x="267423" y="2174352"/>
                  </a:lnTo>
                  <a:lnTo>
                    <a:pt x="269541" y="2174806"/>
                  </a:lnTo>
                  <a:lnTo>
                    <a:pt x="270660" y="2174534"/>
                  </a:lnTo>
                  <a:lnTo>
                    <a:pt x="279432" y="2171781"/>
                  </a:lnTo>
                  <a:lnTo>
                    <a:pt x="280461" y="2169996"/>
                  </a:lnTo>
                  <a:lnTo>
                    <a:pt x="278979" y="2168604"/>
                  </a:lnTo>
                  <a:lnTo>
                    <a:pt x="276044" y="2168756"/>
                  </a:lnTo>
                  <a:lnTo>
                    <a:pt x="266848" y="2171085"/>
                  </a:lnTo>
                  <a:lnTo>
                    <a:pt x="266122" y="2171720"/>
                  </a:lnTo>
                  <a:lnTo>
                    <a:pt x="266122" y="2172930"/>
                  </a:lnTo>
                  <a:close/>
                  <a:moveTo>
                    <a:pt x="265093" y="2167546"/>
                  </a:moveTo>
                  <a:lnTo>
                    <a:pt x="264216" y="2167788"/>
                  </a:lnTo>
                  <a:lnTo>
                    <a:pt x="262613" y="2169179"/>
                  </a:lnTo>
                  <a:lnTo>
                    <a:pt x="260798" y="2172446"/>
                  </a:lnTo>
                  <a:lnTo>
                    <a:pt x="261645" y="2172658"/>
                  </a:lnTo>
                  <a:lnTo>
                    <a:pt x="271204" y="2168423"/>
                  </a:lnTo>
                  <a:lnTo>
                    <a:pt x="271083" y="2167122"/>
                  </a:lnTo>
                  <a:lnTo>
                    <a:pt x="265093" y="2167515"/>
                  </a:lnTo>
                  <a:close/>
                  <a:moveTo>
                    <a:pt x="183747" y="2172658"/>
                  </a:moveTo>
                  <a:lnTo>
                    <a:pt x="184474" y="2172537"/>
                  </a:lnTo>
                  <a:lnTo>
                    <a:pt x="185169" y="2172961"/>
                  </a:lnTo>
                  <a:lnTo>
                    <a:pt x="185411" y="2172961"/>
                  </a:lnTo>
                  <a:lnTo>
                    <a:pt x="185593" y="2171751"/>
                  </a:lnTo>
                  <a:lnTo>
                    <a:pt x="185109" y="2169451"/>
                  </a:lnTo>
                  <a:lnTo>
                    <a:pt x="183687" y="2167031"/>
                  </a:lnTo>
                  <a:lnTo>
                    <a:pt x="181841" y="2165519"/>
                  </a:lnTo>
                  <a:lnTo>
                    <a:pt x="180632" y="2165882"/>
                  </a:lnTo>
                  <a:lnTo>
                    <a:pt x="180147" y="2166971"/>
                  </a:lnTo>
                  <a:lnTo>
                    <a:pt x="179452" y="2168120"/>
                  </a:lnTo>
                  <a:lnTo>
                    <a:pt x="179270" y="2169451"/>
                  </a:lnTo>
                  <a:lnTo>
                    <a:pt x="180208" y="2170631"/>
                  </a:lnTo>
                  <a:lnTo>
                    <a:pt x="182205" y="2170177"/>
                  </a:lnTo>
                  <a:lnTo>
                    <a:pt x="182961" y="2170480"/>
                  </a:lnTo>
                  <a:lnTo>
                    <a:pt x="183263" y="2170903"/>
                  </a:lnTo>
                  <a:lnTo>
                    <a:pt x="183203" y="2172204"/>
                  </a:lnTo>
                  <a:lnTo>
                    <a:pt x="183687" y="2172749"/>
                  </a:lnTo>
                  <a:close/>
                  <a:moveTo>
                    <a:pt x="713420" y="2155173"/>
                  </a:moveTo>
                  <a:lnTo>
                    <a:pt x="712542" y="2155294"/>
                  </a:lnTo>
                  <a:lnTo>
                    <a:pt x="711695" y="2156201"/>
                  </a:lnTo>
                  <a:lnTo>
                    <a:pt x="711211" y="2157411"/>
                  </a:lnTo>
                  <a:lnTo>
                    <a:pt x="711272" y="2158773"/>
                  </a:lnTo>
                  <a:lnTo>
                    <a:pt x="710667" y="2159832"/>
                  </a:lnTo>
                  <a:lnTo>
                    <a:pt x="709275" y="2160769"/>
                  </a:lnTo>
                  <a:lnTo>
                    <a:pt x="704495" y="2161798"/>
                  </a:lnTo>
                  <a:lnTo>
                    <a:pt x="703860" y="2163250"/>
                  </a:lnTo>
                  <a:lnTo>
                    <a:pt x="705766" y="2166668"/>
                  </a:lnTo>
                  <a:lnTo>
                    <a:pt x="707007" y="2167999"/>
                  </a:lnTo>
                  <a:lnTo>
                    <a:pt x="708035" y="2167939"/>
                  </a:lnTo>
                  <a:lnTo>
                    <a:pt x="709094" y="2164369"/>
                  </a:lnTo>
                  <a:lnTo>
                    <a:pt x="710515" y="2162887"/>
                  </a:lnTo>
                  <a:lnTo>
                    <a:pt x="716899" y="2161102"/>
                  </a:lnTo>
                  <a:lnTo>
                    <a:pt x="718230" y="2159862"/>
                  </a:lnTo>
                  <a:lnTo>
                    <a:pt x="718502" y="2158863"/>
                  </a:lnTo>
                  <a:lnTo>
                    <a:pt x="717655" y="2157926"/>
                  </a:lnTo>
                  <a:lnTo>
                    <a:pt x="713420" y="2155173"/>
                  </a:lnTo>
                  <a:close/>
                  <a:moveTo>
                    <a:pt x="233087" y="2162100"/>
                  </a:moveTo>
                  <a:lnTo>
                    <a:pt x="231060" y="2162917"/>
                  </a:lnTo>
                  <a:lnTo>
                    <a:pt x="229397" y="2164460"/>
                  </a:lnTo>
                  <a:lnTo>
                    <a:pt x="228701" y="2166608"/>
                  </a:lnTo>
                  <a:lnTo>
                    <a:pt x="229578" y="2168756"/>
                  </a:lnTo>
                  <a:lnTo>
                    <a:pt x="231635" y="2170571"/>
                  </a:lnTo>
                  <a:lnTo>
                    <a:pt x="233935" y="2171811"/>
                  </a:lnTo>
                  <a:lnTo>
                    <a:pt x="237050" y="2172507"/>
                  </a:lnTo>
                  <a:lnTo>
                    <a:pt x="238140" y="2173082"/>
                  </a:lnTo>
                  <a:lnTo>
                    <a:pt x="240378" y="2174866"/>
                  </a:lnTo>
                  <a:lnTo>
                    <a:pt x="240378" y="2175290"/>
                  </a:lnTo>
                  <a:lnTo>
                    <a:pt x="240287" y="2177075"/>
                  </a:lnTo>
                  <a:lnTo>
                    <a:pt x="240378" y="2177529"/>
                  </a:lnTo>
                  <a:lnTo>
                    <a:pt x="241013" y="2177589"/>
                  </a:lnTo>
                  <a:lnTo>
                    <a:pt x="241618" y="2177075"/>
                  </a:lnTo>
                  <a:lnTo>
                    <a:pt x="242102" y="2176470"/>
                  </a:lnTo>
                  <a:lnTo>
                    <a:pt x="242405" y="2176228"/>
                  </a:lnTo>
                  <a:lnTo>
                    <a:pt x="244371" y="2177045"/>
                  </a:lnTo>
                  <a:lnTo>
                    <a:pt x="246338" y="2177438"/>
                  </a:lnTo>
                  <a:lnTo>
                    <a:pt x="248243" y="2177226"/>
                  </a:lnTo>
                  <a:lnTo>
                    <a:pt x="250058" y="2176228"/>
                  </a:lnTo>
                  <a:lnTo>
                    <a:pt x="250058" y="2174836"/>
                  </a:lnTo>
                  <a:lnTo>
                    <a:pt x="249091" y="2174836"/>
                  </a:lnTo>
                  <a:lnTo>
                    <a:pt x="248243" y="2174594"/>
                  </a:lnTo>
                  <a:lnTo>
                    <a:pt x="246640" y="2173656"/>
                  </a:lnTo>
                  <a:lnTo>
                    <a:pt x="247638" y="2173656"/>
                  </a:lnTo>
                  <a:lnTo>
                    <a:pt x="250089" y="2172265"/>
                  </a:lnTo>
                  <a:lnTo>
                    <a:pt x="249181" y="2170238"/>
                  </a:lnTo>
                  <a:lnTo>
                    <a:pt x="247790" y="2169572"/>
                  </a:lnTo>
                  <a:lnTo>
                    <a:pt x="244523" y="2169814"/>
                  </a:lnTo>
                  <a:lnTo>
                    <a:pt x="245339" y="2168423"/>
                  </a:lnTo>
                  <a:lnTo>
                    <a:pt x="243948" y="2167092"/>
                  </a:lnTo>
                  <a:lnTo>
                    <a:pt x="241074" y="2165640"/>
                  </a:lnTo>
                  <a:lnTo>
                    <a:pt x="239712" y="2164611"/>
                  </a:lnTo>
                  <a:lnTo>
                    <a:pt x="240983" y="2163522"/>
                  </a:lnTo>
                  <a:lnTo>
                    <a:pt x="242405" y="2163643"/>
                  </a:lnTo>
                  <a:lnTo>
                    <a:pt x="245369" y="2164611"/>
                  </a:lnTo>
                  <a:lnTo>
                    <a:pt x="245369" y="2163462"/>
                  </a:lnTo>
                  <a:lnTo>
                    <a:pt x="243524" y="2159499"/>
                  </a:lnTo>
                  <a:lnTo>
                    <a:pt x="242617" y="2159378"/>
                  </a:lnTo>
                  <a:lnTo>
                    <a:pt x="241588" y="2158924"/>
                  </a:lnTo>
                  <a:lnTo>
                    <a:pt x="240771" y="2157956"/>
                  </a:lnTo>
                  <a:lnTo>
                    <a:pt x="240439" y="2156322"/>
                  </a:lnTo>
                  <a:lnTo>
                    <a:pt x="239531" y="2154658"/>
                  </a:lnTo>
                  <a:lnTo>
                    <a:pt x="235114" y="2151906"/>
                  </a:lnTo>
                  <a:lnTo>
                    <a:pt x="233511" y="2150544"/>
                  </a:lnTo>
                  <a:lnTo>
                    <a:pt x="232059" y="2150393"/>
                  </a:lnTo>
                  <a:lnTo>
                    <a:pt x="231091" y="2151391"/>
                  </a:lnTo>
                  <a:lnTo>
                    <a:pt x="230456" y="2153267"/>
                  </a:lnTo>
                  <a:lnTo>
                    <a:pt x="230093" y="2155687"/>
                  </a:lnTo>
                  <a:lnTo>
                    <a:pt x="234902" y="2160800"/>
                  </a:lnTo>
                  <a:lnTo>
                    <a:pt x="234902" y="2162070"/>
                  </a:lnTo>
                  <a:lnTo>
                    <a:pt x="233178" y="2162070"/>
                  </a:lnTo>
                  <a:close/>
                  <a:moveTo>
                    <a:pt x="221652" y="2150635"/>
                  </a:moveTo>
                  <a:lnTo>
                    <a:pt x="222741" y="2148608"/>
                  </a:lnTo>
                  <a:lnTo>
                    <a:pt x="225252" y="2144857"/>
                  </a:lnTo>
                  <a:lnTo>
                    <a:pt x="226220" y="2142921"/>
                  </a:lnTo>
                  <a:lnTo>
                    <a:pt x="226583" y="2140319"/>
                  </a:lnTo>
                  <a:lnTo>
                    <a:pt x="224345" y="2140198"/>
                  </a:lnTo>
                  <a:lnTo>
                    <a:pt x="221561" y="2143556"/>
                  </a:lnTo>
                  <a:lnTo>
                    <a:pt x="219202" y="2148154"/>
                  </a:lnTo>
                  <a:lnTo>
                    <a:pt x="218294" y="2151754"/>
                  </a:lnTo>
                  <a:lnTo>
                    <a:pt x="218930" y="2153569"/>
                  </a:lnTo>
                  <a:lnTo>
                    <a:pt x="220200" y="2152753"/>
                  </a:lnTo>
                  <a:lnTo>
                    <a:pt x="221652" y="2150665"/>
                  </a:lnTo>
                  <a:close/>
                  <a:moveTo>
                    <a:pt x="181811" y="2148608"/>
                  </a:moveTo>
                  <a:lnTo>
                    <a:pt x="182386" y="2148517"/>
                  </a:lnTo>
                  <a:lnTo>
                    <a:pt x="180662" y="2143344"/>
                  </a:lnTo>
                  <a:lnTo>
                    <a:pt x="180389" y="2141590"/>
                  </a:lnTo>
                  <a:lnTo>
                    <a:pt x="177727" y="2137203"/>
                  </a:lnTo>
                  <a:lnTo>
                    <a:pt x="174884" y="2133906"/>
                  </a:lnTo>
                  <a:lnTo>
                    <a:pt x="172766" y="2133906"/>
                  </a:lnTo>
                  <a:lnTo>
                    <a:pt x="173704" y="2137294"/>
                  </a:lnTo>
                  <a:lnTo>
                    <a:pt x="175186" y="2139291"/>
                  </a:lnTo>
                  <a:lnTo>
                    <a:pt x="175942" y="2141469"/>
                  </a:lnTo>
                  <a:lnTo>
                    <a:pt x="174914" y="2145462"/>
                  </a:lnTo>
                  <a:lnTo>
                    <a:pt x="176487" y="2147035"/>
                  </a:lnTo>
                  <a:lnTo>
                    <a:pt x="179906" y="2147489"/>
                  </a:lnTo>
                  <a:lnTo>
                    <a:pt x="181811" y="2148638"/>
                  </a:lnTo>
                  <a:close/>
                  <a:moveTo>
                    <a:pt x="196181" y="2137778"/>
                  </a:moveTo>
                  <a:lnTo>
                    <a:pt x="191068" y="2137113"/>
                  </a:lnTo>
                  <a:lnTo>
                    <a:pt x="189374" y="2133906"/>
                  </a:lnTo>
                  <a:lnTo>
                    <a:pt x="185169" y="2133543"/>
                  </a:lnTo>
                  <a:lnTo>
                    <a:pt x="183294" y="2134390"/>
                  </a:lnTo>
                  <a:lnTo>
                    <a:pt x="182507" y="2137052"/>
                  </a:lnTo>
                  <a:lnTo>
                    <a:pt x="182779" y="2140410"/>
                  </a:lnTo>
                  <a:lnTo>
                    <a:pt x="183536" y="2141529"/>
                  </a:lnTo>
                  <a:lnTo>
                    <a:pt x="184625" y="2140894"/>
                  </a:lnTo>
                  <a:lnTo>
                    <a:pt x="185956" y="2138958"/>
                  </a:lnTo>
                  <a:lnTo>
                    <a:pt x="187075" y="2143617"/>
                  </a:lnTo>
                  <a:lnTo>
                    <a:pt x="189193" y="2147065"/>
                  </a:lnTo>
                  <a:lnTo>
                    <a:pt x="191734" y="2149364"/>
                  </a:lnTo>
                  <a:lnTo>
                    <a:pt x="194245" y="2150605"/>
                  </a:lnTo>
                  <a:lnTo>
                    <a:pt x="193035" y="2148729"/>
                  </a:lnTo>
                  <a:lnTo>
                    <a:pt x="193337" y="2147247"/>
                  </a:lnTo>
                  <a:lnTo>
                    <a:pt x="194638" y="2146430"/>
                  </a:lnTo>
                  <a:lnTo>
                    <a:pt x="196302" y="2146642"/>
                  </a:lnTo>
                  <a:lnTo>
                    <a:pt x="195727" y="2145462"/>
                  </a:lnTo>
                  <a:lnTo>
                    <a:pt x="195606" y="2143919"/>
                  </a:lnTo>
                  <a:lnTo>
                    <a:pt x="195818" y="2142165"/>
                  </a:lnTo>
                  <a:lnTo>
                    <a:pt x="196302" y="2140350"/>
                  </a:lnTo>
                  <a:lnTo>
                    <a:pt x="197058" y="2140743"/>
                  </a:lnTo>
                  <a:lnTo>
                    <a:pt x="197481" y="2140682"/>
                  </a:lnTo>
                  <a:lnTo>
                    <a:pt x="197784" y="2140471"/>
                  </a:lnTo>
                  <a:lnTo>
                    <a:pt x="198238" y="2140350"/>
                  </a:lnTo>
                  <a:lnTo>
                    <a:pt x="196181" y="2137808"/>
                  </a:lnTo>
                  <a:close/>
                  <a:moveTo>
                    <a:pt x="174309" y="2128098"/>
                  </a:moveTo>
                  <a:lnTo>
                    <a:pt x="176305" y="2128672"/>
                  </a:lnTo>
                  <a:lnTo>
                    <a:pt x="176850" y="2129822"/>
                  </a:lnTo>
                  <a:lnTo>
                    <a:pt x="177213" y="2131486"/>
                  </a:lnTo>
                  <a:lnTo>
                    <a:pt x="178000" y="2132696"/>
                  </a:lnTo>
                  <a:lnTo>
                    <a:pt x="179784" y="2132514"/>
                  </a:lnTo>
                  <a:lnTo>
                    <a:pt x="179784" y="2131214"/>
                  </a:lnTo>
                  <a:lnTo>
                    <a:pt x="178060" y="2130941"/>
                  </a:lnTo>
                  <a:lnTo>
                    <a:pt x="177757" y="2128975"/>
                  </a:lnTo>
                  <a:lnTo>
                    <a:pt x="178272" y="2126192"/>
                  </a:lnTo>
                  <a:lnTo>
                    <a:pt x="179058" y="2123500"/>
                  </a:lnTo>
                  <a:lnTo>
                    <a:pt x="178060" y="2122531"/>
                  </a:lnTo>
                  <a:lnTo>
                    <a:pt x="177455" y="2121321"/>
                  </a:lnTo>
                  <a:lnTo>
                    <a:pt x="177092" y="2119869"/>
                  </a:lnTo>
                  <a:lnTo>
                    <a:pt x="177001" y="2118236"/>
                  </a:lnTo>
                  <a:lnTo>
                    <a:pt x="175852" y="2117389"/>
                  </a:lnTo>
                  <a:lnTo>
                    <a:pt x="175247" y="2118145"/>
                  </a:lnTo>
                  <a:lnTo>
                    <a:pt x="174823" y="2119627"/>
                  </a:lnTo>
                  <a:lnTo>
                    <a:pt x="174249" y="2120958"/>
                  </a:lnTo>
                  <a:lnTo>
                    <a:pt x="171798" y="2122108"/>
                  </a:lnTo>
                  <a:lnTo>
                    <a:pt x="171284" y="2123288"/>
                  </a:lnTo>
                  <a:lnTo>
                    <a:pt x="172191" y="2126101"/>
                  </a:lnTo>
                  <a:lnTo>
                    <a:pt x="173220" y="2127523"/>
                  </a:lnTo>
                  <a:lnTo>
                    <a:pt x="174369" y="2128098"/>
                  </a:lnTo>
                  <a:close/>
                  <a:moveTo>
                    <a:pt x="176184" y="2082842"/>
                  </a:moveTo>
                  <a:lnTo>
                    <a:pt x="176638" y="2081420"/>
                  </a:lnTo>
                  <a:lnTo>
                    <a:pt x="176638" y="2078909"/>
                  </a:lnTo>
                  <a:lnTo>
                    <a:pt x="175821" y="2078516"/>
                  </a:lnTo>
                  <a:lnTo>
                    <a:pt x="175065" y="2079665"/>
                  </a:lnTo>
                  <a:lnTo>
                    <a:pt x="174460" y="2079877"/>
                  </a:lnTo>
                  <a:lnTo>
                    <a:pt x="174067" y="2079453"/>
                  </a:lnTo>
                  <a:lnTo>
                    <a:pt x="173401" y="2079363"/>
                  </a:lnTo>
                  <a:lnTo>
                    <a:pt x="172524" y="2079635"/>
                  </a:lnTo>
                  <a:lnTo>
                    <a:pt x="172343" y="2079030"/>
                  </a:lnTo>
                  <a:lnTo>
                    <a:pt x="172040" y="2077396"/>
                  </a:lnTo>
                  <a:lnTo>
                    <a:pt x="170527" y="2076610"/>
                  </a:lnTo>
                  <a:lnTo>
                    <a:pt x="168803" y="2077124"/>
                  </a:lnTo>
                  <a:lnTo>
                    <a:pt x="168501" y="2077880"/>
                  </a:lnTo>
                  <a:lnTo>
                    <a:pt x="169438" y="2078697"/>
                  </a:lnTo>
                  <a:lnTo>
                    <a:pt x="170013" y="2079453"/>
                  </a:lnTo>
                  <a:lnTo>
                    <a:pt x="170134" y="2080089"/>
                  </a:lnTo>
                  <a:lnTo>
                    <a:pt x="170437" y="2080391"/>
                  </a:lnTo>
                  <a:lnTo>
                    <a:pt x="170890" y="2079998"/>
                  </a:lnTo>
                  <a:lnTo>
                    <a:pt x="174944" y="2082327"/>
                  </a:lnTo>
                  <a:lnTo>
                    <a:pt x="176245" y="2082842"/>
                  </a:lnTo>
                  <a:close/>
                  <a:moveTo>
                    <a:pt x="172615" y="2069652"/>
                  </a:moveTo>
                  <a:lnTo>
                    <a:pt x="170074" y="2071618"/>
                  </a:lnTo>
                  <a:lnTo>
                    <a:pt x="171496" y="2072647"/>
                  </a:lnTo>
                  <a:lnTo>
                    <a:pt x="173038" y="2073040"/>
                  </a:lnTo>
                  <a:lnTo>
                    <a:pt x="176305" y="2073040"/>
                  </a:lnTo>
                  <a:lnTo>
                    <a:pt x="177394" y="2072798"/>
                  </a:lnTo>
                  <a:lnTo>
                    <a:pt x="179633" y="2073585"/>
                  </a:lnTo>
                  <a:lnTo>
                    <a:pt x="181721" y="2073373"/>
                  </a:lnTo>
                  <a:lnTo>
                    <a:pt x="182507" y="2071618"/>
                  </a:lnTo>
                  <a:lnTo>
                    <a:pt x="182688" y="2067686"/>
                  </a:lnTo>
                  <a:lnTo>
                    <a:pt x="183747" y="2066445"/>
                  </a:lnTo>
                  <a:lnTo>
                    <a:pt x="185381" y="2065840"/>
                  </a:lnTo>
                  <a:lnTo>
                    <a:pt x="187347" y="2063844"/>
                  </a:lnTo>
                  <a:lnTo>
                    <a:pt x="183626" y="2060728"/>
                  </a:lnTo>
                  <a:lnTo>
                    <a:pt x="182114" y="2058913"/>
                  </a:lnTo>
                  <a:lnTo>
                    <a:pt x="180420" y="2056039"/>
                  </a:lnTo>
                  <a:lnTo>
                    <a:pt x="178423" y="2055918"/>
                  </a:lnTo>
                  <a:lnTo>
                    <a:pt x="176911" y="2056704"/>
                  </a:lnTo>
                  <a:lnTo>
                    <a:pt x="174218" y="2059971"/>
                  </a:lnTo>
                  <a:lnTo>
                    <a:pt x="176366" y="2060214"/>
                  </a:lnTo>
                  <a:lnTo>
                    <a:pt x="178211" y="2061514"/>
                  </a:lnTo>
                  <a:lnTo>
                    <a:pt x="181146" y="2065296"/>
                  </a:lnTo>
                  <a:lnTo>
                    <a:pt x="180541" y="2065991"/>
                  </a:lnTo>
                  <a:lnTo>
                    <a:pt x="179633" y="2067323"/>
                  </a:lnTo>
                  <a:lnTo>
                    <a:pt x="178998" y="2067746"/>
                  </a:lnTo>
                  <a:lnTo>
                    <a:pt x="179149" y="2068472"/>
                  </a:lnTo>
                  <a:lnTo>
                    <a:pt x="179240" y="2069077"/>
                  </a:lnTo>
                  <a:lnTo>
                    <a:pt x="179391" y="2069712"/>
                  </a:lnTo>
                  <a:lnTo>
                    <a:pt x="179724" y="2070469"/>
                  </a:lnTo>
                  <a:lnTo>
                    <a:pt x="177516" y="2071739"/>
                  </a:lnTo>
                  <a:lnTo>
                    <a:pt x="172585" y="2069712"/>
                  </a:lnTo>
                  <a:close/>
                  <a:moveTo>
                    <a:pt x="184564" y="2013021"/>
                  </a:moveTo>
                  <a:lnTo>
                    <a:pt x="184201" y="2014110"/>
                  </a:lnTo>
                  <a:lnTo>
                    <a:pt x="184625" y="2015774"/>
                  </a:lnTo>
                  <a:lnTo>
                    <a:pt x="184897" y="2016500"/>
                  </a:lnTo>
                  <a:lnTo>
                    <a:pt x="184715" y="2016500"/>
                  </a:lnTo>
                  <a:lnTo>
                    <a:pt x="184594" y="2016591"/>
                  </a:lnTo>
                  <a:lnTo>
                    <a:pt x="185169" y="2016893"/>
                  </a:lnTo>
                  <a:lnTo>
                    <a:pt x="186893" y="2016893"/>
                  </a:lnTo>
                  <a:lnTo>
                    <a:pt x="188860" y="2015925"/>
                  </a:lnTo>
                  <a:lnTo>
                    <a:pt x="192339" y="2017619"/>
                  </a:lnTo>
                  <a:lnTo>
                    <a:pt x="193156" y="2017740"/>
                  </a:lnTo>
                  <a:lnTo>
                    <a:pt x="192913" y="2017438"/>
                  </a:lnTo>
                  <a:lnTo>
                    <a:pt x="192157" y="2016712"/>
                  </a:lnTo>
                  <a:lnTo>
                    <a:pt x="188860" y="2013747"/>
                  </a:lnTo>
                  <a:lnTo>
                    <a:pt x="188527" y="2012053"/>
                  </a:lnTo>
                  <a:lnTo>
                    <a:pt x="189102" y="2010389"/>
                  </a:lnTo>
                  <a:lnTo>
                    <a:pt x="187952" y="2009542"/>
                  </a:lnTo>
                  <a:lnTo>
                    <a:pt x="186228" y="2010601"/>
                  </a:lnTo>
                  <a:lnTo>
                    <a:pt x="185593" y="2011751"/>
                  </a:lnTo>
                  <a:lnTo>
                    <a:pt x="185653" y="2012295"/>
                  </a:lnTo>
                  <a:lnTo>
                    <a:pt x="185260" y="2012749"/>
                  </a:lnTo>
                  <a:lnTo>
                    <a:pt x="184564" y="2012961"/>
                  </a:lnTo>
                  <a:close/>
                  <a:moveTo>
                    <a:pt x="197844" y="1930979"/>
                  </a:moveTo>
                  <a:lnTo>
                    <a:pt x="200113" y="1931584"/>
                  </a:lnTo>
                  <a:lnTo>
                    <a:pt x="200809" y="1931524"/>
                  </a:lnTo>
                  <a:lnTo>
                    <a:pt x="201082" y="1930707"/>
                  </a:lnTo>
                  <a:lnTo>
                    <a:pt x="201505" y="1930162"/>
                  </a:lnTo>
                  <a:lnTo>
                    <a:pt x="202261" y="1930072"/>
                  </a:lnTo>
                  <a:lnTo>
                    <a:pt x="202654" y="1929346"/>
                  </a:lnTo>
                  <a:lnTo>
                    <a:pt x="202412" y="1928559"/>
                  </a:lnTo>
                  <a:lnTo>
                    <a:pt x="202140" y="1928408"/>
                  </a:lnTo>
                  <a:lnTo>
                    <a:pt x="198450" y="1927137"/>
                  </a:lnTo>
                  <a:lnTo>
                    <a:pt x="197088" y="1929104"/>
                  </a:lnTo>
                  <a:lnTo>
                    <a:pt x="195969" y="1929285"/>
                  </a:lnTo>
                  <a:lnTo>
                    <a:pt x="196151" y="1929890"/>
                  </a:lnTo>
                  <a:lnTo>
                    <a:pt x="197814" y="1930919"/>
                  </a:lnTo>
                  <a:close/>
                  <a:moveTo>
                    <a:pt x="164870" y="1663889"/>
                  </a:moveTo>
                  <a:lnTo>
                    <a:pt x="164628" y="1663496"/>
                  </a:lnTo>
                  <a:lnTo>
                    <a:pt x="163993" y="1662952"/>
                  </a:lnTo>
                  <a:lnTo>
                    <a:pt x="163449" y="1663163"/>
                  </a:lnTo>
                  <a:lnTo>
                    <a:pt x="163449" y="1664041"/>
                  </a:lnTo>
                  <a:lnTo>
                    <a:pt x="164477" y="1666007"/>
                  </a:lnTo>
                  <a:lnTo>
                    <a:pt x="166655" y="1667489"/>
                  </a:lnTo>
                  <a:lnTo>
                    <a:pt x="168138" y="1666642"/>
                  </a:lnTo>
                  <a:lnTo>
                    <a:pt x="169015" y="1665856"/>
                  </a:lnTo>
                  <a:lnTo>
                    <a:pt x="170739" y="1667429"/>
                  </a:lnTo>
                  <a:lnTo>
                    <a:pt x="171556" y="1667247"/>
                  </a:lnTo>
                  <a:lnTo>
                    <a:pt x="172100" y="1666370"/>
                  </a:lnTo>
                  <a:lnTo>
                    <a:pt x="172010" y="1664343"/>
                  </a:lnTo>
                  <a:lnTo>
                    <a:pt x="171496" y="1661530"/>
                  </a:lnTo>
                  <a:lnTo>
                    <a:pt x="170618" y="1659291"/>
                  </a:lnTo>
                  <a:lnTo>
                    <a:pt x="169438" y="1657627"/>
                  </a:lnTo>
                  <a:lnTo>
                    <a:pt x="168349" y="1656599"/>
                  </a:lnTo>
                  <a:lnTo>
                    <a:pt x="165839" y="1655601"/>
                  </a:lnTo>
                  <a:lnTo>
                    <a:pt x="165354" y="1655086"/>
                  </a:lnTo>
                  <a:lnTo>
                    <a:pt x="165022" y="1654360"/>
                  </a:lnTo>
                  <a:lnTo>
                    <a:pt x="164356" y="1654360"/>
                  </a:lnTo>
                  <a:lnTo>
                    <a:pt x="163479" y="1655116"/>
                  </a:lnTo>
                  <a:lnTo>
                    <a:pt x="162874" y="1656296"/>
                  </a:lnTo>
                  <a:lnTo>
                    <a:pt x="163025" y="1657930"/>
                  </a:lnTo>
                  <a:lnTo>
                    <a:pt x="163902" y="1659594"/>
                  </a:lnTo>
                  <a:lnTo>
                    <a:pt x="165143" y="1660592"/>
                  </a:lnTo>
                  <a:lnTo>
                    <a:pt x="165808" y="1661469"/>
                  </a:lnTo>
                  <a:lnTo>
                    <a:pt x="165354" y="1663073"/>
                  </a:lnTo>
                  <a:lnTo>
                    <a:pt x="164931" y="1663889"/>
                  </a:lnTo>
                  <a:close/>
                  <a:moveTo>
                    <a:pt x="165778" y="1600452"/>
                  </a:moveTo>
                  <a:lnTo>
                    <a:pt x="161845" y="1600815"/>
                  </a:lnTo>
                  <a:lnTo>
                    <a:pt x="157701" y="1597548"/>
                  </a:lnTo>
                  <a:lnTo>
                    <a:pt x="157973" y="1599696"/>
                  </a:lnTo>
                  <a:lnTo>
                    <a:pt x="159456" y="1606230"/>
                  </a:lnTo>
                  <a:lnTo>
                    <a:pt x="160091" y="1608196"/>
                  </a:lnTo>
                  <a:lnTo>
                    <a:pt x="161119" y="1609951"/>
                  </a:lnTo>
                  <a:lnTo>
                    <a:pt x="163993" y="1613400"/>
                  </a:lnTo>
                  <a:lnTo>
                    <a:pt x="165294" y="1614398"/>
                  </a:lnTo>
                  <a:lnTo>
                    <a:pt x="165294" y="1615941"/>
                  </a:lnTo>
                  <a:lnTo>
                    <a:pt x="163176" y="1615941"/>
                  </a:lnTo>
                  <a:lnTo>
                    <a:pt x="164568" y="1619269"/>
                  </a:lnTo>
                  <a:lnTo>
                    <a:pt x="166020" y="1619329"/>
                  </a:lnTo>
                  <a:lnTo>
                    <a:pt x="167442" y="1618028"/>
                  </a:lnTo>
                  <a:lnTo>
                    <a:pt x="168743" y="1617363"/>
                  </a:lnTo>
                  <a:lnTo>
                    <a:pt x="170618" y="1619057"/>
                  </a:lnTo>
                  <a:lnTo>
                    <a:pt x="171828" y="1621870"/>
                  </a:lnTo>
                  <a:lnTo>
                    <a:pt x="173008" y="1624169"/>
                  </a:lnTo>
                  <a:lnTo>
                    <a:pt x="174249" y="1625742"/>
                  </a:lnTo>
                  <a:lnTo>
                    <a:pt x="178272" y="1625500"/>
                  </a:lnTo>
                  <a:lnTo>
                    <a:pt x="180087" y="1624623"/>
                  </a:lnTo>
                  <a:lnTo>
                    <a:pt x="181811" y="1622808"/>
                  </a:lnTo>
                  <a:lnTo>
                    <a:pt x="179784" y="1621719"/>
                  </a:lnTo>
                  <a:lnTo>
                    <a:pt x="179089" y="1621537"/>
                  </a:lnTo>
                  <a:lnTo>
                    <a:pt x="179089" y="1620146"/>
                  </a:lnTo>
                  <a:lnTo>
                    <a:pt x="186289" y="1614338"/>
                  </a:lnTo>
                  <a:lnTo>
                    <a:pt x="188073" y="1614428"/>
                  </a:lnTo>
                  <a:lnTo>
                    <a:pt x="186409" y="1616939"/>
                  </a:lnTo>
                  <a:lnTo>
                    <a:pt x="187771" y="1617665"/>
                  </a:lnTo>
                  <a:lnTo>
                    <a:pt x="190494" y="1617181"/>
                  </a:lnTo>
                  <a:lnTo>
                    <a:pt x="192913" y="1615971"/>
                  </a:lnTo>
                  <a:lnTo>
                    <a:pt x="192006" y="1613853"/>
                  </a:lnTo>
                  <a:lnTo>
                    <a:pt x="191522" y="1611433"/>
                  </a:lnTo>
                  <a:lnTo>
                    <a:pt x="191522" y="1608771"/>
                  </a:lnTo>
                  <a:lnTo>
                    <a:pt x="192248" y="1606018"/>
                  </a:lnTo>
                  <a:lnTo>
                    <a:pt x="189646" y="1603175"/>
                  </a:lnTo>
                  <a:lnTo>
                    <a:pt x="185593" y="1603175"/>
                  </a:lnTo>
                  <a:lnTo>
                    <a:pt x="181539" y="1604990"/>
                  </a:lnTo>
                  <a:lnTo>
                    <a:pt x="179089" y="1607561"/>
                  </a:lnTo>
                  <a:lnTo>
                    <a:pt x="178998" y="1608620"/>
                  </a:lnTo>
                  <a:lnTo>
                    <a:pt x="179421" y="1609709"/>
                  </a:lnTo>
                  <a:lnTo>
                    <a:pt x="179754" y="1610919"/>
                  </a:lnTo>
                  <a:lnTo>
                    <a:pt x="179482" y="1612401"/>
                  </a:lnTo>
                  <a:lnTo>
                    <a:pt x="178665" y="1613309"/>
                  </a:lnTo>
                  <a:lnTo>
                    <a:pt x="177909" y="1612946"/>
                  </a:lnTo>
                  <a:lnTo>
                    <a:pt x="177183" y="1612129"/>
                  </a:lnTo>
                  <a:lnTo>
                    <a:pt x="176396" y="1611615"/>
                  </a:lnTo>
                  <a:lnTo>
                    <a:pt x="170860" y="1611252"/>
                  </a:lnTo>
                  <a:lnTo>
                    <a:pt x="169408" y="1610344"/>
                  </a:lnTo>
                  <a:lnTo>
                    <a:pt x="169771" y="1609437"/>
                  </a:lnTo>
                  <a:lnTo>
                    <a:pt x="169832" y="1609437"/>
                  </a:lnTo>
                  <a:lnTo>
                    <a:pt x="169681" y="1609134"/>
                  </a:lnTo>
                  <a:lnTo>
                    <a:pt x="169408" y="1607531"/>
                  </a:lnTo>
                  <a:lnTo>
                    <a:pt x="171435" y="1602509"/>
                  </a:lnTo>
                  <a:lnTo>
                    <a:pt x="172645" y="1600906"/>
                  </a:lnTo>
                  <a:lnTo>
                    <a:pt x="174278" y="1600240"/>
                  </a:lnTo>
                  <a:lnTo>
                    <a:pt x="174278" y="1598970"/>
                  </a:lnTo>
                  <a:lnTo>
                    <a:pt x="169862" y="1599030"/>
                  </a:lnTo>
                  <a:lnTo>
                    <a:pt x="165839" y="1600452"/>
                  </a:lnTo>
                  <a:close/>
                  <a:moveTo>
                    <a:pt x="251753" y="1599635"/>
                  </a:moveTo>
                  <a:lnTo>
                    <a:pt x="253356" y="1599696"/>
                  </a:lnTo>
                  <a:lnTo>
                    <a:pt x="255050" y="1598728"/>
                  </a:lnTo>
                  <a:lnTo>
                    <a:pt x="256200" y="1596126"/>
                  </a:lnTo>
                  <a:lnTo>
                    <a:pt x="256472" y="1594614"/>
                  </a:lnTo>
                  <a:lnTo>
                    <a:pt x="253719" y="1590499"/>
                  </a:lnTo>
                  <a:lnTo>
                    <a:pt x="252993" y="1590499"/>
                  </a:lnTo>
                  <a:lnTo>
                    <a:pt x="252599" y="1590227"/>
                  </a:lnTo>
                  <a:lnTo>
                    <a:pt x="252236" y="1589652"/>
                  </a:lnTo>
                  <a:lnTo>
                    <a:pt x="251662" y="1589652"/>
                  </a:lnTo>
                  <a:lnTo>
                    <a:pt x="251147" y="1589925"/>
                  </a:lnTo>
                  <a:lnTo>
                    <a:pt x="251601" y="1590862"/>
                  </a:lnTo>
                  <a:lnTo>
                    <a:pt x="253023" y="1592284"/>
                  </a:lnTo>
                  <a:lnTo>
                    <a:pt x="253386" y="1593313"/>
                  </a:lnTo>
                  <a:lnTo>
                    <a:pt x="252569" y="1593555"/>
                  </a:lnTo>
                  <a:lnTo>
                    <a:pt x="250603" y="1592284"/>
                  </a:lnTo>
                  <a:lnTo>
                    <a:pt x="249272" y="1592920"/>
                  </a:lnTo>
                  <a:lnTo>
                    <a:pt x="248122" y="1595309"/>
                  </a:lnTo>
                  <a:lnTo>
                    <a:pt x="247790" y="1597760"/>
                  </a:lnTo>
                  <a:lnTo>
                    <a:pt x="248183" y="1599151"/>
                  </a:lnTo>
                  <a:lnTo>
                    <a:pt x="248788" y="1599726"/>
                  </a:lnTo>
                  <a:lnTo>
                    <a:pt x="249332" y="1599635"/>
                  </a:lnTo>
                  <a:lnTo>
                    <a:pt x="249817" y="1599121"/>
                  </a:lnTo>
                  <a:lnTo>
                    <a:pt x="249937" y="1598183"/>
                  </a:lnTo>
                  <a:lnTo>
                    <a:pt x="250149" y="1597306"/>
                  </a:lnTo>
                  <a:lnTo>
                    <a:pt x="250815" y="1596852"/>
                  </a:lnTo>
                  <a:lnTo>
                    <a:pt x="251178" y="1597457"/>
                  </a:lnTo>
                  <a:lnTo>
                    <a:pt x="251057" y="1598940"/>
                  </a:lnTo>
                  <a:lnTo>
                    <a:pt x="251722" y="1599635"/>
                  </a:lnTo>
                  <a:close/>
                  <a:moveTo>
                    <a:pt x="266092" y="1597397"/>
                  </a:moveTo>
                  <a:lnTo>
                    <a:pt x="269207" y="1600482"/>
                  </a:lnTo>
                  <a:lnTo>
                    <a:pt x="271356" y="1600543"/>
                  </a:lnTo>
                  <a:lnTo>
                    <a:pt x="272777" y="1599151"/>
                  </a:lnTo>
                  <a:lnTo>
                    <a:pt x="273957" y="1596429"/>
                  </a:lnTo>
                  <a:lnTo>
                    <a:pt x="274986" y="1594523"/>
                  </a:lnTo>
                  <a:lnTo>
                    <a:pt x="275167" y="1593585"/>
                  </a:lnTo>
                  <a:lnTo>
                    <a:pt x="274441" y="1592194"/>
                  </a:lnTo>
                  <a:lnTo>
                    <a:pt x="274260" y="1589773"/>
                  </a:lnTo>
                  <a:lnTo>
                    <a:pt x="274108" y="1588594"/>
                  </a:lnTo>
                  <a:lnTo>
                    <a:pt x="273655" y="1587020"/>
                  </a:lnTo>
                  <a:lnTo>
                    <a:pt x="273171" y="1586657"/>
                  </a:lnTo>
                  <a:lnTo>
                    <a:pt x="272717" y="1587081"/>
                  </a:lnTo>
                  <a:lnTo>
                    <a:pt x="272082" y="1588231"/>
                  </a:lnTo>
                  <a:lnTo>
                    <a:pt x="271597" y="1589773"/>
                  </a:lnTo>
                  <a:lnTo>
                    <a:pt x="271325" y="1591316"/>
                  </a:lnTo>
                  <a:lnTo>
                    <a:pt x="270781" y="1592375"/>
                  </a:lnTo>
                  <a:lnTo>
                    <a:pt x="270085" y="1593010"/>
                  </a:lnTo>
                  <a:lnTo>
                    <a:pt x="269570" y="1592859"/>
                  </a:lnTo>
                  <a:lnTo>
                    <a:pt x="269147" y="1591982"/>
                  </a:lnTo>
                  <a:lnTo>
                    <a:pt x="268361" y="1591346"/>
                  </a:lnTo>
                  <a:lnTo>
                    <a:pt x="267453" y="1591074"/>
                  </a:lnTo>
                  <a:lnTo>
                    <a:pt x="266909" y="1591588"/>
                  </a:lnTo>
                  <a:lnTo>
                    <a:pt x="266818" y="1592617"/>
                  </a:lnTo>
                  <a:lnTo>
                    <a:pt x="266273" y="1592768"/>
                  </a:lnTo>
                  <a:lnTo>
                    <a:pt x="265245" y="1591831"/>
                  </a:lnTo>
                  <a:lnTo>
                    <a:pt x="264428" y="1590469"/>
                  </a:lnTo>
                  <a:lnTo>
                    <a:pt x="263641" y="1589713"/>
                  </a:lnTo>
                  <a:lnTo>
                    <a:pt x="262764" y="1589622"/>
                  </a:lnTo>
                  <a:lnTo>
                    <a:pt x="261433" y="1589108"/>
                  </a:lnTo>
                  <a:lnTo>
                    <a:pt x="259648" y="1590318"/>
                  </a:lnTo>
                  <a:lnTo>
                    <a:pt x="258256" y="1590620"/>
                  </a:lnTo>
                  <a:lnTo>
                    <a:pt x="257319" y="1591256"/>
                  </a:lnTo>
                  <a:lnTo>
                    <a:pt x="257682" y="1592436"/>
                  </a:lnTo>
                  <a:lnTo>
                    <a:pt x="258680" y="1594220"/>
                  </a:lnTo>
                  <a:lnTo>
                    <a:pt x="259285" y="1596187"/>
                  </a:lnTo>
                  <a:lnTo>
                    <a:pt x="258741" y="1597548"/>
                  </a:lnTo>
                  <a:lnTo>
                    <a:pt x="257984" y="1597911"/>
                  </a:lnTo>
                  <a:lnTo>
                    <a:pt x="257289" y="1598395"/>
                  </a:lnTo>
                  <a:lnTo>
                    <a:pt x="257137" y="1599393"/>
                  </a:lnTo>
                  <a:lnTo>
                    <a:pt x="258256" y="1600331"/>
                  </a:lnTo>
                  <a:lnTo>
                    <a:pt x="258741" y="1601148"/>
                  </a:lnTo>
                  <a:lnTo>
                    <a:pt x="258347" y="1601995"/>
                  </a:lnTo>
                  <a:lnTo>
                    <a:pt x="258953" y="1602933"/>
                  </a:lnTo>
                  <a:lnTo>
                    <a:pt x="264095" y="1605232"/>
                  </a:lnTo>
                  <a:lnTo>
                    <a:pt x="264851" y="1605050"/>
                  </a:lnTo>
                  <a:lnTo>
                    <a:pt x="264851" y="1604476"/>
                  </a:lnTo>
                  <a:lnTo>
                    <a:pt x="265305" y="1604143"/>
                  </a:lnTo>
                  <a:lnTo>
                    <a:pt x="266152" y="1603991"/>
                  </a:lnTo>
                  <a:lnTo>
                    <a:pt x="266757" y="1602600"/>
                  </a:lnTo>
                  <a:lnTo>
                    <a:pt x="266303" y="1600392"/>
                  </a:lnTo>
                  <a:lnTo>
                    <a:pt x="264337" y="1599363"/>
                  </a:lnTo>
                  <a:lnTo>
                    <a:pt x="261826" y="1598728"/>
                  </a:lnTo>
                  <a:lnTo>
                    <a:pt x="261826" y="1598304"/>
                  </a:lnTo>
                  <a:lnTo>
                    <a:pt x="266092" y="1597397"/>
                  </a:lnTo>
                  <a:close/>
                  <a:moveTo>
                    <a:pt x="179149" y="1594583"/>
                  </a:moveTo>
                  <a:lnTo>
                    <a:pt x="180480" y="1593827"/>
                  </a:lnTo>
                  <a:lnTo>
                    <a:pt x="181448" y="1594220"/>
                  </a:lnTo>
                  <a:lnTo>
                    <a:pt x="181781" y="1597548"/>
                  </a:lnTo>
                  <a:lnTo>
                    <a:pt x="185774" y="1591831"/>
                  </a:lnTo>
                  <a:lnTo>
                    <a:pt x="187347" y="1588170"/>
                  </a:lnTo>
                  <a:lnTo>
                    <a:pt x="187347" y="1584903"/>
                  </a:lnTo>
                  <a:lnTo>
                    <a:pt x="184534" y="1581908"/>
                  </a:lnTo>
                  <a:lnTo>
                    <a:pt x="181025" y="1583572"/>
                  </a:lnTo>
                  <a:lnTo>
                    <a:pt x="177576" y="1586627"/>
                  </a:lnTo>
                  <a:lnTo>
                    <a:pt x="174914" y="1587807"/>
                  </a:lnTo>
                  <a:lnTo>
                    <a:pt x="173734" y="1587958"/>
                  </a:lnTo>
                  <a:lnTo>
                    <a:pt x="173280" y="1588291"/>
                  </a:lnTo>
                  <a:lnTo>
                    <a:pt x="172766" y="1589108"/>
                  </a:lnTo>
                  <a:lnTo>
                    <a:pt x="177637" y="1594735"/>
                  </a:lnTo>
                  <a:lnTo>
                    <a:pt x="179149" y="1594583"/>
                  </a:lnTo>
                  <a:close/>
                  <a:moveTo>
                    <a:pt x="258317" y="1577824"/>
                  </a:moveTo>
                  <a:lnTo>
                    <a:pt x="257349" y="1577461"/>
                  </a:lnTo>
                  <a:lnTo>
                    <a:pt x="256865" y="1577098"/>
                  </a:lnTo>
                  <a:lnTo>
                    <a:pt x="256321" y="1576826"/>
                  </a:lnTo>
                  <a:lnTo>
                    <a:pt x="254929" y="1577007"/>
                  </a:lnTo>
                  <a:lnTo>
                    <a:pt x="253356" y="1577854"/>
                  </a:lnTo>
                  <a:lnTo>
                    <a:pt x="251783" y="1577431"/>
                  </a:lnTo>
                  <a:lnTo>
                    <a:pt x="249937" y="1577582"/>
                  </a:lnTo>
                  <a:lnTo>
                    <a:pt x="248939" y="1578974"/>
                  </a:lnTo>
                  <a:lnTo>
                    <a:pt x="248667" y="1579942"/>
                  </a:lnTo>
                  <a:lnTo>
                    <a:pt x="248122" y="1580849"/>
                  </a:lnTo>
                  <a:lnTo>
                    <a:pt x="247457" y="1581636"/>
                  </a:lnTo>
                  <a:lnTo>
                    <a:pt x="246882" y="1582725"/>
                  </a:lnTo>
                  <a:lnTo>
                    <a:pt x="246398" y="1583965"/>
                  </a:lnTo>
                  <a:lnTo>
                    <a:pt x="245914" y="1584903"/>
                  </a:lnTo>
                  <a:lnTo>
                    <a:pt x="245400" y="1586083"/>
                  </a:lnTo>
                  <a:lnTo>
                    <a:pt x="245158" y="1586839"/>
                  </a:lnTo>
                  <a:lnTo>
                    <a:pt x="244976" y="1587263"/>
                  </a:lnTo>
                  <a:lnTo>
                    <a:pt x="245158" y="1588109"/>
                  </a:lnTo>
                  <a:lnTo>
                    <a:pt x="245975" y="1588563"/>
                  </a:lnTo>
                  <a:lnTo>
                    <a:pt x="246852" y="1588231"/>
                  </a:lnTo>
                  <a:lnTo>
                    <a:pt x="248667" y="1586597"/>
                  </a:lnTo>
                  <a:lnTo>
                    <a:pt x="249968" y="1585084"/>
                  </a:lnTo>
                  <a:lnTo>
                    <a:pt x="250452" y="1583905"/>
                  </a:lnTo>
                  <a:lnTo>
                    <a:pt x="251541" y="1581938"/>
                  </a:lnTo>
                  <a:lnTo>
                    <a:pt x="252962" y="1581424"/>
                  </a:lnTo>
                  <a:lnTo>
                    <a:pt x="256230" y="1583148"/>
                  </a:lnTo>
                  <a:lnTo>
                    <a:pt x="257924" y="1582695"/>
                  </a:lnTo>
                  <a:lnTo>
                    <a:pt x="258831" y="1581273"/>
                  </a:lnTo>
                  <a:lnTo>
                    <a:pt x="258347" y="1579911"/>
                  </a:lnTo>
                  <a:lnTo>
                    <a:pt x="258256" y="1579246"/>
                  </a:lnTo>
                  <a:lnTo>
                    <a:pt x="259194" y="1579095"/>
                  </a:lnTo>
                  <a:lnTo>
                    <a:pt x="259920" y="1578550"/>
                  </a:lnTo>
                  <a:lnTo>
                    <a:pt x="259920" y="1577885"/>
                  </a:lnTo>
                  <a:lnTo>
                    <a:pt x="259225" y="1577794"/>
                  </a:lnTo>
                  <a:lnTo>
                    <a:pt x="258256" y="1577885"/>
                  </a:lnTo>
                  <a:close/>
                  <a:moveTo>
                    <a:pt x="330134" y="1503738"/>
                  </a:moveTo>
                  <a:lnTo>
                    <a:pt x="331042" y="1504162"/>
                  </a:lnTo>
                  <a:lnTo>
                    <a:pt x="331798" y="1502286"/>
                  </a:lnTo>
                  <a:lnTo>
                    <a:pt x="332070" y="1500955"/>
                  </a:lnTo>
                  <a:lnTo>
                    <a:pt x="332372" y="1500320"/>
                  </a:lnTo>
                  <a:lnTo>
                    <a:pt x="332766" y="1498898"/>
                  </a:lnTo>
                  <a:lnTo>
                    <a:pt x="332857" y="1497718"/>
                  </a:lnTo>
                  <a:lnTo>
                    <a:pt x="332947" y="1497174"/>
                  </a:lnTo>
                  <a:lnTo>
                    <a:pt x="333401" y="1496871"/>
                  </a:lnTo>
                  <a:lnTo>
                    <a:pt x="333734" y="1496145"/>
                  </a:lnTo>
                  <a:lnTo>
                    <a:pt x="333189" y="1495540"/>
                  </a:lnTo>
                  <a:lnTo>
                    <a:pt x="331646" y="1495480"/>
                  </a:lnTo>
                  <a:lnTo>
                    <a:pt x="331283" y="1495752"/>
                  </a:lnTo>
                  <a:lnTo>
                    <a:pt x="330860" y="1496206"/>
                  </a:lnTo>
                  <a:lnTo>
                    <a:pt x="330406" y="1495873"/>
                  </a:lnTo>
                  <a:lnTo>
                    <a:pt x="329801" y="1494602"/>
                  </a:lnTo>
                  <a:lnTo>
                    <a:pt x="328984" y="1493211"/>
                  </a:lnTo>
                  <a:lnTo>
                    <a:pt x="327169" y="1492999"/>
                  </a:lnTo>
                  <a:lnTo>
                    <a:pt x="324507" y="1494239"/>
                  </a:lnTo>
                  <a:lnTo>
                    <a:pt x="322722" y="1495631"/>
                  </a:lnTo>
                  <a:lnTo>
                    <a:pt x="321906" y="1496781"/>
                  </a:lnTo>
                  <a:lnTo>
                    <a:pt x="321058" y="1497537"/>
                  </a:lnTo>
                  <a:lnTo>
                    <a:pt x="318911" y="1498868"/>
                  </a:lnTo>
                  <a:lnTo>
                    <a:pt x="319062" y="1499866"/>
                  </a:lnTo>
                  <a:lnTo>
                    <a:pt x="319455" y="1500592"/>
                  </a:lnTo>
                  <a:lnTo>
                    <a:pt x="319969" y="1501439"/>
                  </a:lnTo>
                  <a:lnTo>
                    <a:pt x="321028" y="1504525"/>
                  </a:lnTo>
                  <a:lnTo>
                    <a:pt x="322692" y="1506582"/>
                  </a:lnTo>
                  <a:lnTo>
                    <a:pt x="324749" y="1507853"/>
                  </a:lnTo>
                  <a:lnTo>
                    <a:pt x="326474" y="1507399"/>
                  </a:lnTo>
                  <a:lnTo>
                    <a:pt x="327260" y="1506491"/>
                  </a:lnTo>
                  <a:lnTo>
                    <a:pt x="328410" y="1506249"/>
                  </a:lnTo>
                  <a:lnTo>
                    <a:pt x="328864" y="1504979"/>
                  </a:lnTo>
                  <a:lnTo>
                    <a:pt x="328531" y="1503436"/>
                  </a:lnTo>
                  <a:lnTo>
                    <a:pt x="329015" y="1502801"/>
                  </a:lnTo>
                  <a:lnTo>
                    <a:pt x="330134" y="1503769"/>
                  </a:lnTo>
                  <a:close/>
                  <a:moveTo>
                    <a:pt x="540442" y="1215230"/>
                  </a:moveTo>
                  <a:lnTo>
                    <a:pt x="535541" y="1213506"/>
                  </a:lnTo>
                  <a:lnTo>
                    <a:pt x="526133" y="1216047"/>
                  </a:lnTo>
                  <a:lnTo>
                    <a:pt x="517421" y="1216713"/>
                  </a:lnTo>
                  <a:lnTo>
                    <a:pt x="510523" y="1223489"/>
                  </a:lnTo>
                  <a:lnTo>
                    <a:pt x="508224" y="1226151"/>
                  </a:lnTo>
                  <a:lnTo>
                    <a:pt x="508950" y="1229267"/>
                  </a:lnTo>
                  <a:lnTo>
                    <a:pt x="509858" y="1232201"/>
                  </a:lnTo>
                  <a:lnTo>
                    <a:pt x="511703" y="1235922"/>
                  </a:lnTo>
                  <a:lnTo>
                    <a:pt x="515152" y="1241337"/>
                  </a:lnTo>
                  <a:lnTo>
                    <a:pt x="517844" y="1240430"/>
                  </a:lnTo>
                  <a:lnTo>
                    <a:pt x="520415" y="1235045"/>
                  </a:lnTo>
                  <a:lnTo>
                    <a:pt x="521777" y="1237223"/>
                  </a:lnTo>
                  <a:lnTo>
                    <a:pt x="522654" y="1239432"/>
                  </a:lnTo>
                  <a:lnTo>
                    <a:pt x="523108" y="1240218"/>
                  </a:lnTo>
                  <a:lnTo>
                    <a:pt x="522110" y="1243455"/>
                  </a:lnTo>
                  <a:lnTo>
                    <a:pt x="523350" y="1244847"/>
                  </a:lnTo>
                  <a:lnTo>
                    <a:pt x="525528" y="1245028"/>
                  </a:lnTo>
                  <a:lnTo>
                    <a:pt x="527283" y="1244544"/>
                  </a:lnTo>
                  <a:lnTo>
                    <a:pt x="528190" y="1243818"/>
                  </a:lnTo>
                  <a:lnTo>
                    <a:pt x="529219" y="1242184"/>
                  </a:lnTo>
                  <a:lnTo>
                    <a:pt x="530096" y="1241549"/>
                  </a:lnTo>
                  <a:lnTo>
                    <a:pt x="531367" y="1241337"/>
                  </a:lnTo>
                  <a:lnTo>
                    <a:pt x="532577" y="1241458"/>
                  </a:lnTo>
                  <a:lnTo>
                    <a:pt x="533726" y="1241277"/>
                  </a:lnTo>
                  <a:lnTo>
                    <a:pt x="534846" y="1240218"/>
                  </a:lnTo>
                  <a:lnTo>
                    <a:pt x="533363" y="1238857"/>
                  </a:lnTo>
                  <a:lnTo>
                    <a:pt x="527162" y="1239553"/>
                  </a:lnTo>
                  <a:lnTo>
                    <a:pt x="524318" y="1233533"/>
                  </a:lnTo>
                  <a:lnTo>
                    <a:pt x="532274" y="1228965"/>
                  </a:lnTo>
                  <a:lnTo>
                    <a:pt x="534089" y="1224790"/>
                  </a:lnTo>
                  <a:lnTo>
                    <a:pt x="539898" y="1224366"/>
                  </a:lnTo>
                  <a:lnTo>
                    <a:pt x="548428" y="1226665"/>
                  </a:lnTo>
                  <a:lnTo>
                    <a:pt x="555054" y="1226665"/>
                  </a:lnTo>
                  <a:lnTo>
                    <a:pt x="558472" y="1224760"/>
                  </a:lnTo>
                  <a:lnTo>
                    <a:pt x="555628" y="1221674"/>
                  </a:lnTo>
                  <a:lnTo>
                    <a:pt x="551575" y="1222188"/>
                  </a:lnTo>
                  <a:lnTo>
                    <a:pt x="545827" y="1221311"/>
                  </a:lnTo>
                  <a:lnTo>
                    <a:pt x="542832" y="1221008"/>
                  </a:lnTo>
                  <a:lnTo>
                    <a:pt x="540442" y="1221311"/>
                  </a:lnTo>
                  <a:lnTo>
                    <a:pt x="539474" y="1219829"/>
                  </a:lnTo>
                  <a:lnTo>
                    <a:pt x="541894" y="1218377"/>
                  </a:lnTo>
                  <a:lnTo>
                    <a:pt x="540472" y="1215200"/>
                  </a:lnTo>
                  <a:close/>
                  <a:moveTo>
                    <a:pt x="1209906" y="1672844"/>
                  </a:moveTo>
                  <a:lnTo>
                    <a:pt x="1208242" y="1668034"/>
                  </a:lnTo>
                  <a:lnTo>
                    <a:pt x="1206851" y="1662952"/>
                  </a:lnTo>
                  <a:lnTo>
                    <a:pt x="1204370" y="1659261"/>
                  </a:lnTo>
                  <a:lnTo>
                    <a:pt x="1203100" y="1658202"/>
                  </a:lnTo>
                  <a:lnTo>
                    <a:pt x="1200710" y="1656085"/>
                  </a:lnTo>
                  <a:lnTo>
                    <a:pt x="1194267" y="1646707"/>
                  </a:lnTo>
                  <a:lnTo>
                    <a:pt x="1191362" y="1643802"/>
                  </a:lnTo>
                  <a:lnTo>
                    <a:pt x="1185040" y="1639204"/>
                  </a:lnTo>
                  <a:lnTo>
                    <a:pt x="1182438" y="1635967"/>
                  </a:lnTo>
                  <a:lnTo>
                    <a:pt x="1181228" y="1632912"/>
                  </a:lnTo>
                  <a:lnTo>
                    <a:pt x="1180229" y="1628767"/>
                  </a:lnTo>
                  <a:lnTo>
                    <a:pt x="1179564" y="1624351"/>
                  </a:lnTo>
                  <a:lnTo>
                    <a:pt x="1179443" y="1620569"/>
                  </a:lnTo>
                  <a:lnTo>
                    <a:pt x="1178717" y="1616395"/>
                  </a:lnTo>
                  <a:lnTo>
                    <a:pt x="1176539" y="1612976"/>
                  </a:lnTo>
                  <a:lnTo>
                    <a:pt x="1173907" y="1610405"/>
                  </a:lnTo>
                  <a:lnTo>
                    <a:pt x="1153487" y="1597276"/>
                  </a:lnTo>
                  <a:lnTo>
                    <a:pt x="1137999" y="1579458"/>
                  </a:lnTo>
                  <a:lnTo>
                    <a:pt x="1104571" y="1561609"/>
                  </a:lnTo>
                  <a:lnTo>
                    <a:pt x="1101788" y="1559371"/>
                  </a:lnTo>
                  <a:lnTo>
                    <a:pt x="1099821" y="1555499"/>
                  </a:lnTo>
                  <a:lnTo>
                    <a:pt x="1093681" y="1547028"/>
                  </a:lnTo>
                  <a:lnTo>
                    <a:pt x="1079795" y="1536773"/>
                  </a:lnTo>
                  <a:lnTo>
                    <a:pt x="1055503" y="1508942"/>
                  </a:lnTo>
                  <a:lnTo>
                    <a:pt x="1053446" y="1503466"/>
                  </a:lnTo>
                  <a:lnTo>
                    <a:pt x="1055231" y="1502286"/>
                  </a:lnTo>
                  <a:lnTo>
                    <a:pt x="1060555" y="1498807"/>
                  </a:lnTo>
                  <a:lnTo>
                    <a:pt x="1075681" y="1492757"/>
                  </a:lnTo>
                  <a:lnTo>
                    <a:pt x="1082124" y="1484801"/>
                  </a:lnTo>
                  <a:lnTo>
                    <a:pt x="1088446" y="1471097"/>
                  </a:lnTo>
                  <a:lnTo>
                    <a:pt x="1106658" y="1451010"/>
                  </a:lnTo>
                  <a:lnTo>
                    <a:pt x="1106658" y="1451010"/>
                  </a:lnTo>
                  <a:lnTo>
                    <a:pt x="1110984" y="1444597"/>
                  </a:lnTo>
                  <a:lnTo>
                    <a:pt x="1113828" y="1438395"/>
                  </a:lnTo>
                  <a:lnTo>
                    <a:pt x="1114433" y="1431286"/>
                  </a:lnTo>
                  <a:lnTo>
                    <a:pt x="1111982" y="1422241"/>
                  </a:lnTo>
                  <a:lnTo>
                    <a:pt x="1110228" y="1418218"/>
                  </a:lnTo>
                  <a:lnTo>
                    <a:pt x="1109017" y="1414769"/>
                  </a:lnTo>
                  <a:lnTo>
                    <a:pt x="1109017" y="1411229"/>
                  </a:lnTo>
                  <a:lnTo>
                    <a:pt x="1110772" y="1407055"/>
                  </a:lnTo>
                  <a:lnTo>
                    <a:pt x="1111589" y="1402638"/>
                  </a:lnTo>
                  <a:lnTo>
                    <a:pt x="1109351" y="1399431"/>
                  </a:lnTo>
                  <a:lnTo>
                    <a:pt x="1106053" y="1397495"/>
                  </a:lnTo>
                  <a:lnTo>
                    <a:pt x="1100275" y="1396013"/>
                  </a:lnTo>
                  <a:lnTo>
                    <a:pt x="1097825" y="1393048"/>
                  </a:lnTo>
                  <a:lnTo>
                    <a:pt x="1095586" y="1389116"/>
                  </a:lnTo>
                  <a:lnTo>
                    <a:pt x="1092682" y="1385334"/>
                  </a:lnTo>
                  <a:lnTo>
                    <a:pt x="1087720" y="1381734"/>
                  </a:lnTo>
                  <a:lnTo>
                    <a:pt x="1071960" y="1376561"/>
                  </a:lnTo>
                  <a:lnTo>
                    <a:pt x="1064790" y="1372417"/>
                  </a:lnTo>
                  <a:lnTo>
                    <a:pt x="1060736" y="1368817"/>
                  </a:lnTo>
                  <a:lnTo>
                    <a:pt x="1058679" y="1364794"/>
                  </a:lnTo>
                  <a:lnTo>
                    <a:pt x="1059556" y="1359227"/>
                  </a:lnTo>
                  <a:lnTo>
                    <a:pt x="1061735" y="1353782"/>
                  </a:lnTo>
                  <a:lnTo>
                    <a:pt x="1062491" y="1348760"/>
                  </a:lnTo>
                  <a:lnTo>
                    <a:pt x="1059012" y="1344555"/>
                  </a:lnTo>
                  <a:lnTo>
                    <a:pt x="1054474" y="1341833"/>
                  </a:lnTo>
                  <a:lnTo>
                    <a:pt x="1054777" y="1340411"/>
                  </a:lnTo>
                  <a:lnTo>
                    <a:pt x="1054595" y="1339897"/>
                  </a:lnTo>
                  <a:lnTo>
                    <a:pt x="1053506" y="1339382"/>
                  </a:lnTo>
                  <a:lnTo>
                    <a:pt x="1053325" y="1338777"/>
                  </a:lnTo>
                  <a:lnTo>
                    <a:pt x="1053264" y="1338172"/>
                  </a:lnTo>
                  <a:lnTo>
                    <a:pt x="1053325" y="1337537"/>
                  </a:lnTo>
                  <a:lnTo>
                    <a:pt x="1053506" y="1336962"/>
                  </a:lnTo>
                  <a:lnTo>
                    <a:pt x="1052780" y="1334935"/>
                  </a:lnTo>
                  <a:lnTo>
                    <a:pt x="1052417" y="1332939"/>
                  </a:lnTo>
                  <a:lnTo>
                    <a:pt x="1052266" y="1329188"/>
                  </a:lnTo>
                  <a:lnTo>
                    <a:pt x="1051933" y="1328825"/>
                  </a:lnTo>
                  <a:lnTo>
                    <a:pt x="1051298" y="1328492"/>
                  </a:lnTo>
                  <a:lnTo>
                    <a:pt x="1050905" y="1327856"/>
                  </a:lnTo>
                  <a:lnTo>
                    <a:pt x="1051298" y="1326586"/>
                  </a:lnTo>
                  <a:lnTo>
                    <a:pt x="1051994" y="1325769"/>
                  </a:lnTo>
                  <a:lnTo>
                    <a:pt x="1069177" y="1317843"/>
                  </a:lnTo>
                  <a:lnTo>
                    <a:pt x="1071597" y="1315544"/>
                  </a:lnTo>
                  <a:lnTo>
                    <a:pt x="1073654" y="1311944"/>
                  </a:lnTo>
                  <a:lnTo>
                    <a:pt x="1074349" y="1307709"/>
                  </a:lnTo>
                  <a:lnTo>
                    <a:pt x="1072625" y="1303534"/>
                  </a:lnTo>
                  <a:lnTo>
                    <a:pt x="1068662" y="1299299"/>
                  </a:lnTo>
                  <a:lnTo>
                    <a:pt x="1067573" y="1297635"/>
                  </a:lnTo>
                  <a:lnTo>
                    <a:pt x="1066424" y="1295215"/>
                  </a:lnTo>
                  <a:lnTo>
                    <a:pt x="1066212" y="1294005"/>
                  </a:lnTo>
                  <a:lnTo>
                    <a:pt x="1066424" y="1292704"/>
                  </a:lnTo>
                  <a:lnTo>
                    <a:pt x="1066636" y="1289921"/>
                  </a:lnTo>
                  <a:lnTo>
                    <a:pt x="1067029" y="1287773"/>
                  </a:lnTo>
                  <a:lnTo>
                    <a:pt x="1067573" y="1286200"/>
                  </a:lnTo>
                  <a:lnTo>
                    <a:pt x="1067422" y="1284809"/>
                  </a:lnTo>
                  <a:lnTo>
                    <a:pt x="1065698" y="1283175"/>
                  </a:lnTo>
                  <a:lnTo>
                    <a:pt x="1061735" y="1281299"/>
                  </a:lnTo>
                  <a:lnTo>
                    <a:pt x="1043160" y="1281148"/>
                  </a:lnTo>
                  <a:lnTo>
                    <a:pt x="1033329" y="1278819"/>
                  </a:lnTo>
                  <a:lnTo>
                    <a:pt x="1025100" y="1269350"/>
                  </a:lnTo>
                  <a:lnTo>
                    <a:pt x="1018596" y="1254527"/>
                  </a:lnTo>
                  <a:lnTo>
                    <a:pt x="1014028" y="1236104"/>
                  </a:lnTo>
                  <a:lnTo>
                    <a:pt x="1015057" y="1226696"/>
                  </a:lnTo>
                  <a:lnTo>
                    <a:pt x="1017961" y="1220585"/>
                  </a:lnTo>
                  <a:lnTo>
                    <a:pt x="1022015" y="1217136"/>
                  </a:lnTo>
                  <a:lnTo>
                    <a:pt x="1037382" y="1213688"/>
                  </a:lnTo>
                  <a:lnTo>
                    <a:pt x="1039893" y="1210541"/>
                  </a:lnTo>
                  <a:lnTo>
                    <a:pt x="1040347" y="1207577"/>
                  </a:lnTo>
                  <a:lnTo>
                    <a:pt x="1039137" y="1206851"/>
                  </a:lnTo>
                  <a:lnTo>
                    <a:pt x="1037352" y="1206457"/>
                  </a:lnTo>
                  <a:lnTo>
                    <a:pt x="1036142" y="1204521"/>
                  </a:lnTo>
                  <a:lnTo>
                    <a:pt x="1036233" y="1202343"/>
                  </a:lnTo>
                  <a:lnTo>
                    <a:pt x="1037110" y="1200800"/>
                  </a:lnTo>
                  <a:lnTo>
                    <a:pt x="1038290" y="1199379"/>
                  </a:lnTo>
                  <a:lnTo>
                    <a:pt x="1039258" y="1197564"/>
                  </a:lnTo>
                  <a:lnTo>
                    <a:pt x="1038653" y="1189154"/>
                  </a:lnTo>
                  <a:lnTo>
                    <a:pt x="1031967" y="1186431"/>
                  </a:lnTo>
                  <a:lnTo>
                    <a:pt x="1017870" y="1186915"/>
                  </a:lnTo>
                  <a:lnTo>
                    <a:pt x="1013181" y="1182468"/>
                  </a:lnTo>
                  <a:lnTo>
                    <a:pt x="1016690" y="1174966"/>
                  </a:lnTo>
                  <a:lnTo>
                    <a:pt x="1027248" y="1161746"/>
                  </a:lnTo>
                  <a:lnTo>
                    <a:pt x="1028307" y="1153699"/>
                  </a:lnTo>
                  <a:lnTo>
                    <a:pt x="1027066" y="1133975"/>
                  </a:lnTo>
                  <a:lnTo>
                    <a:pt x="1027883" y="1125716"/>
                  </a:lnTo>
                  <a:lnTo>
                    <a:pt x="1027883" y="1125656"/>
                  </a:lnTo>
                  <a:lnTo>
                    <a:pt x="1028398" y="1124446"/>
                  </a:lnTo>
                  <a:lnTo>
                    <a:pt x="1029789" y="1121209"/>
                  </a:lnTo>
                  <a:lnTo>
                    <a:pt x="1037866" y="1112164"/>
                  </a:lnTo>
                  <a:lnTo>
                    <a:pt x="1039167" y="1109260"/>
                  </a:lnTo>
                  <a:lnTo>
                    <a:pt x="1035961" y="1104782"/>
                  </a:lnTo>
                  <a:lnTo>
                    <a:pt x="1028489" y="1099428"/>
                  </a:lnTo>
                  <a:lnTo>
                    <a:pt x="1025524" y="1094799"/>
                  </a:lnTo>
                  <a:lnTo>
                    <a:pt x="1031695" y="1090595"/>
                  </a:lnTo>
                  <a:lnTo>
                    <a:pt x="1055715" y="1083848"/>
                  </a:lnTo>
                  <a:lnTo>
                    <a:pt x="1061916" y="1087539"/>
                  </a:lnTo>
                  <a:lnTo>
                    <a:pt x="1065304" y="1088719"/>
                  </a:lnTo>
                  <a:lnTo>
                    <a:pt x="1066877" y="1086662"/>
                  </a:lnTo>
                  <a:lnTo>
                    <a:pt x="1067119" y="1081791"/>
                  </a:lnTo>
                  <a:lnTo>
                    <a:pt x="1066636" y="1076225"/>
                  </a:lnTo>
                  <a:lnTo>
                    <a:pt x="1063792" y="1055352"/>
                  </a:lnTo>
                  <a:lnTo>
                    <a:pt x="1062975" y="1051237"/>
                  </a:lnTo>
                  <a:lnTo>
                    <a:pt x="1059345" y="1041617"/>
                  </a:lnTo>
                  <a:lnTo>
                    <a:pt x="1056380" y="1030213"/>
                  </a:lnTo>
                  <a:lnTo>
                    <a:pt x="1055200" y="1026613"/>
                  </a:lnTo>
                  <a:lnTo>
                    <a:pt x="1051237" y="1016993"/>
                  </a:lnTo>
                  <a:lnTo>
                    <a:pt x="1050269" y="1013030"/>
                  </a:lnTo>
                  <a:lnTo>
                    <a:pt x="1047426" y="995423"/>
                  </a:lnTo>
                  <a:lnTo>
                    <a:pt x="1045369" y="986439"/>
                  </a:lnTo>
                  <a:lnTo>
                    <a:pt x="1042858" y="980600"/>
                  </a:lnTo>
                  <a:lnTo>
                    <a:pt x="1034509" y="969770"/>
                  </a:lnTo>
                  <a:lnTo>
                    <a:pt x="1020260" y="945206"/>
                  </a:lnTo>
                  <a:lnTo>
                    <a:pt x="1014452" y="931835"/>
                  </a:lnTo>
                  <a:lnTo>
                    <a:pt x="1012092" y="924393"/>
                  </a:lnTo>
                  <a:lnTo>
                    <a:pt x="1010277" y="916407"/>
                  </a:lnTo>
                  <a:lnTo>
                    <a:pt x="1009732" y="911960"/>
                  </a:lnTo>
                  <a:lnTo>
                    <a:pt x="1008522" y="902219"/>
                  </a:lnTo>
                  <a:lnTo>
                    <a:pt x="1007554" y="898226"/>
                  </a:lnTo>
                  <a:lnTo>
                    <a:pt x="995968" y="880286"/>
                  </a:lnTo>
                  <a:lnTo>
                    <a:pt x="995151" y="878502"/>
                  </a:lnTo>
                  <a:lnTo>
                    <a:pt x="994667" y="876082"/>
                  </a:lnTo>
                  <a:lnTo>
                    <a:pt x="994546" y="873813"/>
                  </a:lnTo>
                  <a:lnTo>
                    <a:pt x="994244" y="871756"/>
                  </a:lnTo>
                  <a:lnTo>
                    <a:pt x="991370" y="867248"/>
                  </a:lnTo>
                  <a:lnTo>
                    <a:pt x="991219" y="866794"/>
                  </a:lnTo>
                  <a:lnTo>
                    <a:pt x="987165" y="854300"/>
                  </a:lnTo>
                  <a:lnTo>
                    <a:pt x="963720" y="817364"/>
                  </a:lnTo>
                  <a:lnTo>
                    <a:pt x="959939" y="800816"/>
                  </a:lnTo>
                  <a:lnTo>
                    <a:pt x="964809" y="781122"/>
                  </a:lnTo>
                  <a:lnTo>
                    <a:pt x="964809" y="781122"/>
                  </a:lnTo>
                  <a:lnTo>
                    <a:pt x="997965" y="723645"/>
                  </a:lnTo>
                  <a:lnTo>
                    <a:pt x="1003138" y="717897"/>
                  </a:lnTo>
                  <a:lnTo>
                    <a:pt x="1004106" y="716415"/>
                  </a:lnTo>
                  <a:lnTo>
                    <a:pt x="1004741" y="714660"/>
                  </a:lnTo>
                  <a:lnTo>
                    <a:pt x="1005890" y="710394"/>
                  </a:lnTo>
                  <a:lnTo>
                    <a:pt x="1007040" y="707974"/>
                  </a:lnTo>
                  <a:lnTo>
                    <a:pt x="1046942" y="657424"/>
                  </a:lnTo>
                  <a:lnTo>
                    <a:pt x="1048666" y="653007"/>
                  </a:lnTo>
                  <a:lnTo>
                    <a:pt x="1051328" y="642056"/>
                  </a:lnTo>
                  <a:lnTo>
                    <a:pt x="1051812" y="638880"/>
                  </a:lnTo>
                  <a:lnTo>
                    <a:pt x="1052690" y="623180"/>
                  </a:lnTo>
                  <a:lnTo>
                    <a:pt x="1053113" y="620033"/>
                  </a:lnTo>
                  <a:lnTo>
                    <a:pt x="1054142" y="617523"/>
                  </a:lnTo>
                  <a:lnTo>
                    <a:pt x="1056320" y="614255"/>
                  </a:lnTo>
                  <a:lnTo>
                    <a:pt x="1026583" y="588209"/>
                  </a:lnTo>
                  <a:lnTo>
                    <a:pt x="1020290" y="580616"/>
                  </a:lnTo>
                  <a:lnTo>
                    <a:pt x="1003138" y="546976"/>
                  </a:lnTo>
                  <a:lnTo>
                    <a:pt x="999266" y="539413"/>
                  </a:lnTo>
                  <a:lnTo>
                    <a:pt x="999266" y="539413"/>
                  </a:lnTo>
                  <a:lnTo>
                    <a:pt x="990977" y="523168"/>
                  </a:lnTo>
                  <a:lnTo>
                    <a:pt x="988042" y="519205"/>
                  </a:lnTo>
                  <a:lnTo>
                    <a:pt x="984805" y="516967"/>
                  </a:lnTo>
                  <a:lnTo>
                    <a:pt x="956036" y="505683"/>
                  </a:lnTo>
                  <a:lnTo>
                    <a:pt x="927297" y="494369"/>
                  </a:lnTo>
                  <a:lnTo>
                    <a:pt x="923576" y="491767"/>
                  </a:lnTo>
                  <a:lnTo>
                    <a:pt x="920914" y="486594"/>
                  </a:lnTo>
                  <a:lnTo>
                    <a:pt x="902522" y="421796"/>
                  </a:lnTo>
                  <a:lnTo>
                    <a:pt x="900525" y="414626"/>
                  </a:lnTo>
                  <a:lnTo>
                    <a:pt x="899164" y="408606"/>
                  </a:lnTo>
                  <a:lnTo>
                    <a:pt x="899164" y="404855"/>
                  </a:lnTo>
                  <a:lnTo>
                    <a:pt x="900404" y="401648"/>
                  </a:lnTo>
                  <a:lnTo>
                    <a:pt x="926208" y="354517"/>
                  </a:lnTo>
                  <a:lnTo>
                    <a:pt x="929324" y="346288"/>
                  </a:lnTo>
                  <a:lnTo>
                    <a:pt x="934800" y="327018"/>
                  </a:lnTo>
                  <a:lnTo>
                    <a:pt x="927418" y="319455"/>
                  </a:lnTo>
                  <a:lnTo>
                    <a:pt x="919099" y="317761"/>
                  </a:lnTo>
                  <a:lnTo>
                    <a:pt x="898831" y="319274"/>
                  </a:lnTo>
                  <a:lnTo>
                    <a:pt x="897076" y="318064"/>
                  </a:lnTo>
                  <a:lnTo>
                    <a:pt x="895685" y="315613"/>
                  </a:lnTo>
                  <a:lnTo>
                    <a:pt x="895412" y="310864"/>
                  </a:lnTo>
                  <a:lnTo>
                    <a:pt x="900041" y="310470"/>
                  </a:lnTo>
                  <a:lnTo>
                    <a:pt x="925906" y="292985"/>
                  </a:lnTo>
                  <a:lnTo>
                    <a:pt x="938006" y="288750"/>
                  </a:lnTo>
                  <a:lnTo>
                    <a:pt x="950137" y="277708"/>
                  </a:lnTo>
                  <a:lnTo>
                    <a:pt x="938611" y="263974"/>
                  </a:lnTo>
                  <a:lnTo>
                    <a:pt x="937401" y="261251"/>
                  </a:lnTo>
                  <a:lnTo>
                    <a:pt x="937341" y="257077"/>
                  </a:lnTo>
                  <a:lnTo>
                    <a:pt x="939065" y="237746"/>
                  </a:lnTo>
                  <a:lnTo>
                    <a:pt x="939882" y="231938"/>
                  </a:lnTo>
                  <a:lnTo>
                    <a:pt x="941152" y="228519"/>
                  </a:lnTo>
                  <a:lnTo>
                    <a:pt x="977817" y="186591"/>
                  </a:lnTo>
                  <a:lnTo>
                    <a:pt x="989434" y="163539"/>
                  </a:lnTo>
                  <a:lnTo>
                    <a:pt x="975215" y="131382"/>
                  </a:lnTo>
                  <a:lnTo>
                    <a:pt x="969589" y="110660"/>
                  </a:lnTo>
                  <a:lnTo>
                    <a:pt x="967986" y="107907"/>
                  </a:lnTo>
                  <a:lnTo>
                    <a:pt x="935253" y="93023"/>
                  </a:lnTo>
                  <a:lnTo>
                    <a:pt x="902552" y="78109"/>
                  </a:lnTo>
                  <a:lnTo>
                    <a:pt x="898710" y="76566"/>
                  </a:lnTo>
                  <a:lnTo>
                    <a:pt x="894868" y="73662"/>
                  </a:lnTo>
                  <a:lnTo>
                    <a:pt x="892357" y="68277"/>
                  </a:lnTo>
                  <a:lnTo>
                    <a:pt x="892508" y="59202"/>
                  </a:lnTo>
                  <a:lnTo>
                    <a:pt x="873177" y="51185"/>
                  </a:lnTo>
                  <a:lnTo>
                    <a:pt x="870969" y="48947"/>
                  </a:lnTo>
                  <a:lnTo>
                    <a:pt x="852213" y="17818"/>
                  </a:lnTo>
                  <a:lnTo>
                    <a:pt x="846798" y="5990"/>
                  </a:lnTo>
                  <a:lnTo>
                    <a:pt x="843803" y="1271"/>
                  </a:lnTo>
                  <a:lnTo>
                    <a:pt x="840748" y="0"/>
                  </a:lnTo>
                  <a:lnTo>
                    <a:pt x="833246" y="4447"/>
                  </a:lnTo>
                  <a:lnTo>
                    <a:pt x="820449" y="1906"/>
                  </a:lnTo>
                  <a:lnTo>
                    <a:pt x="815155" y="3600"/>
                  </a:lnTo>
                  <a:lnTo>
                    <a:pt x="810981" y="9348"/>
                  </a:lnTo>
                  <a:lnTo>
                    <a:pt x="810224" y="14037"/>
                  </a:lnTo>
                  <a:lnTo>
                    <a:pt x="798335" y="19542"/>
                  </a:lnTo>
                  <a:lnTo>
                    <a:pt x="791862" y="27378"/>
                  </a:lnTo>
                  <a:lnTo>
                    <a:pt x="790259" y="28043"/>
                  </a:lnTo>
                  <a:lnTo>
                    <a:pt x="788655" y="28164"/>
                  </a:lnTo>
                  <a:lnTo>
                    <a:pt x="787173" y="28890"/>
                  </a:lnTo>
                  <a:lnTo>
                    <a:pt x="786054" y="31310"/>
                  </a:lnTo>
                  <a:lnTo>
                    <a:pt x="786780" y="31915"/>
                  </a:lnTo>
                  <a:lnTo>
                    <a:pt x="788232" y="33730"/>
                  </a:lnTo>
                  <a:lnTo>
                    <a:pt x="788958" y="34275"/>
                  </a:lnTo>
                  <a:lnTo>
                    <a:pt x="784874" y="39448"/>
                  </a:lnTo>
                  <a:lnTo>
                    <a:pt x="763577" y="46920"/>
                  </a:lnTo>
                  <a:lnTo>
                    <a:pt x="761671" y="46587"/>
                  </a:lnTo>
                  <a:lnTo>
                    <a:pt x="754259" y="41323"/>
                  </a:lnTo>
                  <a:lnTo>
                    <a:pt x="751597" y="41112"/>
                  </a:lnTo>
                  <a:lnTo>
                    <a:pt x="748602" y="41959"/>
                  </a:lnTo>
                  <a:lnTo>
                    <a:pt x="743005" y="38147"/>
                  </a:lnTo>
                  <a:lnTo>
                    <a:pt x="739890" y="37149"/>
                  </a:lnTo>
                  <a:lnTo>
                    <a:pt x="730572" y="39750"/>
                  </a:lnTo>
                  <a:lnTo>
                    <a:pt x="724038" y="37966"/>
                  </a:lnTo>
                  <a:lnTo>
                    <a:pt x="706613" y="40597"/>
                  </a:lnTo>
                  <a:lnTo>
                    <a:pt x="703255" y="42473"/>
                  </a:lnTo>
                  <a:lnTo>
                    <a:pt x="701289" y="47555"/>
                  </a:lnTo>
                  <a:lnTo>
                    <a:pt x="697749" y="52305"/>
                  </a:lnTo>
                  <a:lnTo>
                    <a:pt x="696721" y="54332"/>
                  </a:lnTo>
                  <a:lnTo>
                    <a:pt x="697931" y="59232"/>
                  </a:lnTo>
                  <a:lnTo>
                    <a:pt x="694996" y="64708"/>
                  </a:lnTo>
                  <a:lnTo>
                    <a:pt x="684741" y="75629"/>
                  </a:lnTo>
                  <a:lnTo>
                    <a:pt x="679841" y="85430"/>
                  </a:lnTo>
                  <a:lnTo>
                    <a:pt x="675303" y="92479"/>
                  </a:lnTo>
                  <a:lnTo>
                    <a:pt x="674093" y="94899"/>
                  </a:lnTo>
                  <a:lnTo>
                    <a:pt x="672822" y="96895"/>
                  </a:lnTo>
                  <a:lnTo>
                    <a:pt x="671128" y="98015"/>
                  </a:lnTo>
                  <a:lnTo>
                    <a:pt x="656093" y="101917"/>
                  </a:lnTo>
                  <a:lnTo>
                    <a:pt x="653371" y="103883"/>
                  </a:lnTo>
                  <a:lnTo>
                    <a:pt x="650981" y="107756"/>
                  </a:lnTo>
                  <a:lnTo>
                    <a:pt x="649710" y="110871"/>
                  </a:lnTo>
                  <a:lnTo>
                    <a:pt x="648984" y="113715"/>
                  </a:lnTo>
                  <a:lnTo>
                    <a:pt x="649256" y="116347"/>
                  </a:lnTo>
                  <a:lnTo>
                    <a:pt x="650951" y="118797"/>
                  </a:lnTo>
                  <a:lnTo>
                    <a:pt x="653371" y="124817"/>
                  </a:lnTo>
                  <a:lnTo>
                    <a:pt x="653250" y="131110"/>
                  </a:lnTo>
                  <a:lnTo>
                    <a:pt x="651465" y="136888"/>
                  </a:lnTo>
                  <a:lnTo>
                    <a:pt x="648863" y="141335"/>
                  </a:lnTo>
                  <a:lnTo>
                    <a:pt x="642813" y="145721"/>
                  </a:lnTo>
                  <a:lnTo>
                    <a:pt x="641452" y="148686"/>
                  </a:lnTo>
                  <a:lnTo>
                    <a:pt x="641845" y="150289"/>
                  </a:lnTo>
                  <a:lnTo>
                    <a:pt x="642934" y="151802"/>
                  </a:lnTo>
                  <a:lnTo>
                    <a:pt x="643418" y="153738"/>
                  </a:lnTo>
                  <a:lnTo>
                    <a:pt x="641996" y="156642"/>
                  </a:lnTo>
                  <a:lnTo>
                    <a:pt x="641361" y="159758"/>
                  </a:lnTo>
                  <a:lnTo>
                    <a:pt x="641452" y="166080"/>
                  </a:lnTo>
                  <a:lnTo>
                    <a:pt x="640514" y="168228"/>
                  </a:lnTo>
                  <a:lnTo>
                    <a:pt x="639334" y="169832"/>
                  </a:lnTo>
                  <a:lnTo>
                    <a:pt x="636884" y="175942"/>
                  </a:lnTo>
                  <a:lnTo>
                    <a:pt x="640030" y="186137"/>
                  </a:lnTo>
                  <a:lnTo>
                    <a:pt x="640484" y="188315"/>
                  </a:lnTo>
                  <a:lnTo>
                    <a:pt x="631348" y="203532"/>
                  </a:lnTo>
                  <a:lnTo>
                    <a:pt x="630138" y="207192"/>
                  </a:lnTo>
                  <a:lnTo>
                    <a:pt x="626386" y="228247"/>
                  </a:lnTo>
                  <a:lnTo>
                    <a:pt x="626084" y="235265"/>
                  </a:lnTo>
                  <a:lnTo>
                    <a:pt x="627657" y="242072"/>
                  </a:lnTo>
                  <a:lnTo>
                    <a:pt x="628201" y="243524"/>
                  </a:lnTo>
                  <a:lnTo>
                    <a:pt x="629533" y="248062"/>
                  </a:lnTo>
                  <a:lnTo>
                    <a:pt x="629805" y="249877"/>
                  </a:lnTo>
                  <a:lnTo>
                    <a:pt x="629684" y="251873"/>
                  </a:lnTo>
                  <a:lnTo>
                    <a:pt x="629321" y="253084"/>
                  </a:lnTo>
                  <a:lnTo>
                    <a:pt x="628927" y="253991"/>
                  </a:lnTo>
                  <a:lnTo>
                    <a:pt x="628716" y="255050"/>
                  </a:lnTo>
                  <a:lnTo>
                    <a:pt x="628564" y="263641"/>
                  </a:lnTo>
                  <a:lnTo>
                    <a:pt x="628353" y="265426"/>
                  </a:lnTo>
                  <a:lnTo>
                    <a:pt x="627566" y="267907"/>
                  </a:lnTo>
                  <a:lnTo>
                    <a:pt x="627657" y="269540"/>
                  </a:lnTo>
                  <a:lnTo>
                    <a:pt x="629170" y="273655"/>
                  </a:lnTo>
                  <a:lnTo>
                    <a:pt x="629230" y="274744"/>
                  </a:lnTo>
                  <a:lnTo>
                    <a:pt x="629109" y="275802"/>
                  </a:lnTo>
                  <a:lnTo>
                    <a:pt x="629230" y="276952"/>
                  </a:lnTo>
                  <a:lnTo>
                    <a:pt x="630047" y="278313"/>
                  </a:lnTo>
                  <a:lnTo>
                    <a:pt x="631953" y="280189"/>
                  </a:lnTo>
                  <a:lnTo>
                    <a:pt x="632769" y="281490"/>
                  </a:lnTo>
                  <a:lnTo>
                    <a:pt x="633132" y="283305"/>
                  </a:lnTo>
                  <a:lnTo>
                    <a:pt x="632255" y="286602"/>
                  </a:lnTo>
                  <a:lnTo>
                    <a:pt x="628020" y="290474"/>
                  </a:lnTo>
                  <a:lnTo>
                    <a:pt x="626901" y="293681"/>
                  </a:lnTo>
                  <a:lnTo>
                    <a:pt x="626356" y="297130"/>
                  </a:lnTo>
                  <a:lnTo>
                    <a:pt x="625237" y="299731"/>
                  </a:lnTo>
                  <a:lnTo>
                    <a:pt x="622060" y="304057"/>
                  </a:lnTo>
                  <a:lnTo>
                    <a:pt x="620397" y="307415"/>
                  </a:lnTo>
                  <a:lnTo>
                    <a:pt x="619156" y="311318"/>
                  </a:lnTo>
                  <a:lnTo>
                    <a:pt x="617704" y="314887"/>
                  </a:lnTo>
                  <a:lnTo>
                    <a:pt x="615284" y="317277"/>
                  </a:lnTo>
                  <a:lnTo>
                    <a:pt x="612743" y="317791"/>
                  </a:lnTo>
                  <a:lnTo>
                    <a:pt x="600521" y="313768"/>
                  </a:lnTo>
                  <a:lnTo>
                    <a:pt x="595772" y="314766"/>
                  </a:lnTo>
                  <a:lnTo>
                    <a:pt x="591053" y="317156"/>
                  </a:lnTo>
                  <a:lnTo>
                    <a:pt x="572357" y="333038"/>
                  </a:lnTo>
                  <a:lnTo>
                    <a:pt x="568455" y="340208"/>
                  </a:lnTo>
                  <a:lnTo>
                    <a:pt x="567124" y="345320"/>
                  </a:lnTo>
                  <a:lnTo>
                    <a:pt x="566640" y="350947"/>
                  </a:lnTo>
                  <a:lnTo>
                    <a:pt x="566458" y="362836"/>
                  </a:lnTo>
                  <a:lnTo>
                    <a:pt x="566035" y="364772"/>
                  </a:lnTo>
                  <a:lnTo>
                    <a:pt x="565430" y="366194"/>
                  </a:lnTo>
                  <a:lnTo>
                    <a:pt x="565369" y="367736"/>
                  </a:lnTo>
                  <a:lnTo>
                    <a:pt x="566579" y="369915"/>
                  </a:lnTo>
                  <a:lnTo>
                    <a:pt x="565399" y="375088"/>
                  </a:lnTo>
                  <a:lnTo>
                    <a:pt x="563887" y="377629"/>
                  </a:lnTo>
                  <a:lnTo>
                    <a:pt x="561890" y="378627"/>
                  </a:lnTo>
                  <a:lnTo>
                    <a:pt x="559168" y="379202"/>
                  </a:lnTo>
                  <a:lnTo>
                    <a:pt x="552724" y="383467"/>
                  </a:lnTo>
                  <a:lnTo>
                    <a:pt x="550153" y="383346"/>
                  </a:lnTo>
                  <a:lnTo>
                    <a:pt x="547188" y="385887"/>
                  </a:lnTo>
                  <a:lnTo>
                    <a:pt x="545827" y="390153"/>
                  </a:lnTo>
                  <a:lnTo>
                    <a:pt x="544707" y="394690"/>
                  </a:lnTo>
                  <a:lnTo>
                    <a:pt x="542499" y="398079"/>
                  </a:lnTo>
                  <a:lnTo>
                    <a:pt x="539898" y="398623"/>
                  </a:lnTo>
                  <a:lnTo>
                    <a:pt x="538052" y="396445"/>
                  </a:lnTo>
                  <a:lnTo>
                    <a:pt x="534906" y="388670"/>
                  </a:lnTo>
                  <a:lnTo>
                    <a:pt x="527313" y="377568"/>
                  </a:lnTo>
                  <a:lnTo>
                    <a:pt x="518177" y="370399"/>
                  </a:lnTo>
                  <a:lnTo>
                    <a:pt x="499845" y="364530"/>
                  </a:lnTo>
                  <a:lnTo>
                    <a:pt x="484870" y="359599"/>
                  </a:lnTo>
                  <a:lnTo>
                    <a:pt x="470228" y="350433"/>
                  </a:lnTo>
                  <a:lnTo>
                    <a:pt x="467899" y="347801"/>
                  </a:lnTo>
                  <a:lnTo>
                    <a:pt x="464632" y="342355"/>
                  </a:lnTo>
                  <a:lnTo>
                    <a:pt x="444303" y="332100"/>
                  </a:lnTo>
                  <a:lnTo>
                    <a:pt x="436619" y="331979"/>
                  </a:lnTo>
                  <a:lnTo>
                    <a:pt x="430024" y="336305"/>
                  </a:lnTo>
                  <a:lnTo>
                    <a:pt x="428088" y="347498"/>
                  </a:lnTo>
                  <a:lnTo>
                    <a:pt x="424760" y="357844"/>
                  </a:lnTo>
                  <a:lnTo>
                    <a:pt x="415383" y="363047"/>
                  </a:lnTo>
                  <a:lnTo>
                    <a:pt x="399289" y="365437"/>
                  </a:lnTo>
                  <a:lnTo>
                    <a:pt x="370701" y="382620"/>
                  </a:lnTo>
                  <a:lnTo>
                    <a:pt x="368463" y="381713"/>
                  </a:lnTo>
                  <a:lnTo>
                    <a:pt x="360658" y="369400"/>
                  </a:lnTo>
                  <a:lnTo>
                    <a:pt x="357996" y="366678"/>
                  </a:lnTo>
                  <a:lnTo>
                    <a:pt x="352762" y="365195"/>
                  </a:lnTo>
                  <a:lnTo>
                    <a:pt x="335882" y="367978"/>
                  </a:lnTo>
                  <a:lnTo>
                    <a:pt x="310198" y="355515"/>
                  </a:lnTo>
                  <a:lnTo>
                    <a:pt x="307566" y="354970"/>
                  </a:lnTo>
                  <a:lnTo>
                    <a:pt x="304844" y="355152"/>
                  </a:lnTo>
                  <a:lnTo>
                    <a:pt x="293348" y="359236"/>
                  </a:lnTo>
                  <a:lnTo>
                    <a:pt x="291382" y="358510"/>
                  </a:lnTo>
                  <a:lnTo>
                    <a:pt x="290142" y="353700"/>
                  </a:lnTo>
                  <a:lnTo>
                    <a:pt x="287601" y="330497"/>
                  </a:lnTo>
                  <a:lnTo>
                    <a:pt x="286149" y="327895"/>
                  </a:lnTo>
                  <a:lnTo>
                    <a:pt x="278132" y="321573"/>
                  </a:lnTo>
                  <a:lnTo>
                    <a:pt x="270387" y="308474"/>
                  </a:lnTo>
                  <a:lnTo>
                    <a:pt x="269207" y="305842"/>
                  </a:lnTo>
                  <a:lnTo>
                    <a:pt x="267786" y="299398"/>
                  </a:lnTo>
                  <a:lnTo>
                    <a:pt x="266394" y="296192"/>
                  </a:lnTo>
                  <a:lnTo>
                    <a:pt x="252539" y="281762"/>
                  </a:lnTo>
                  <a:lnTo>
                    <a:pt x="244795" y="267876"/>
                  </a:lnTo>
                  <a:lnTo>
                    <a:pt x="216298" y="216479"/>
                  </a:lnTo>
                  <a:lnTo>
                    <a:pt x="213878" y="214331"/>
                  </a:lnTo>
                  <a:lnTo>
                    <a:pt x="181146" y="209098"/>
                  </a:lnTo>
                  <a:lnTo>
                    <a:pt x="159486" y="222681"/>
                  </a:lnTo>
                  <a:lnTo>
                    <a:pt x="157610" y="225131"/>
                  </a:lnTo>
                  <a:lnTo>
                    <a:pt x="155946" y="229094"/>
                  </a:lnTo>
                  <a:lnTo>
                    <a:pt x="152982" y="237897"/>
                  </a:lnTo>
                  <a:lnTo>
                    <a:pt x="165324" y="262219"/>
                  </a:lnTo>
                  <a:lnTo>
                    <a:pt x="159546" y="273564"/>
                  </a:lnTo>
                  <a:lnTo>
                    <a:pt x="156793" y="275409"/>
                  </a:lnTo>
                  <a:lnTo>
                    <a:pt x="152891" y="274290"/>
                  </a:lnTo>
                  <a:lnTo>
                    <a:pt x="123880" y="257893"/>
                  </a:lnTo>
                  <a:lnTo>
                    <a:pt x="121097" y="259346"/>
                  </a:lnTo>
                  <a:lnTo>
                    <a:pt x="111688" y="275530"/>
                  </a:lnTo>
                  <a:lnTo>
                    <a:pt x="116952" y="280219"/>
                  </a:lnTo>
                  <a:lnTo>
                    <a:pt x="128992" y="282004"/>
                  </a:lnTo>
                  <a:lnTo>
                    <a:pt x="135890" y="288447"/>
                  </a:lnTo>
                  <a:lnTo>
                    <a:pt x="140669" y="289900"/>
                  </a:lnTo>
                  <a:lnTo>
                    <a:pt x="142999" y="293439"/>
                  </a:lnTo>
                  <a:lnTo>
                    <a:pt x="142999" y="298067"/>
                  </a:lnTo>
                  <a:lnTo>
                    <a:pt x="141335" y="302212"/>
                  </a:lnTo>
                  <a:lnTo>
                    <a:pt x="138280" y="303724"/>
                  </a:lnTo>
                  <a:lnTo>
                    <a:pt x="137977" y="308958"/>
                  </a:lnTo>
                  <a:lnTo>
                    <a:pt x="140125" y="312074"/>
                  </a:lnTo>
                  <a:lnTo>
                    <a:pt x="156854" y="318548"/>
                  </a:lnTo>
                  <a:lnTo>
                    <a:pt x="164991" y="325657"/>
                  </a:lnTo>
                  <a:lnTo>
                    <a:pt x="171405" y="331919"/>
                  </a:lnTo>
                  <a:lnTo>
                    <a:pt x="177334" y="342355"/>
                  </a:lnTo>
                  <a:lnTo>
                    <a:pt x="178605" y="343989"/>
                  </a:lnTo>
                  <a:lnTo>
                    <a:pt x="179149" y="344443"/>
                  </a:lnTo>
                  <a:lnTo>
                    <a:pt x="179875" y="346742"/>
                  </a:lnTo>
                  <a:lnTo>
                    <a:pt x="180329" y="347619"/>
                  </a:lnTo>
                  <a:lnTo>
                    <a:pt x="181267" y="348073"/>
                  </a:lnTo>
                  <a:lnTo>
                    <a:pt x="188436" y="348134"/>
                  </a:lnTo>
                  <a:lnTo>
                    <a:pt x="190494" y="349404"/>
                  </a:lnTo>
                  <a:lnTo>
                    <a:pt x="191371" y="352006"/>
                  </a:lnTo>
                  <a:lnTo>
                    <a:pt x="191976" y="354880"/>
                  </a:lnTo>
                  <a:lnTo>
                    <a:pt x="195031" y="362775"/>
                  </a:lnTo>
                  <a:lnTo>
                    <a:pt x="196241" y="365226"/>
                  </a:lnTo>
                  <a:lnTo>
                    <a:pt x="199448" y="368130"/>
                  </a:lnTo>
                  <a:lnTo>
                    <a:pt x="207162" y="370187"/>
                  </a:lnTo>
                  <a:lnTo>
                    <a:pt x="216116" y="378808"/>
                  </a:lnTo>
                  <a:lnTo>
                    <a:pt x="221683" y="382439"/>
                  </a:lnTo>
                  <a:lnTo>
                    <a:pt x="223740" y="390364"/>
                  </a:lnTo>
                  <a:lnTo>
                    <a:pt x="242072" y="395356"/>
                  </a:lnTo>
                  <a:lnTo>
                    <a:pt x="246579" y="400741"/>
                  </a:lnTo>
                  <a:lnTo>
                    <a:pt x="247185" y="402284"/>
                  </a:lnTo>
                  <a:lnTo>
                    <a:pt x="250058" y="406065"/>
                  </a:lnTo>
                  <a:lnTo>
                    <a:pt x="251450" y="408455"/>
                  </a:lnTo>
                  <a:lnTo>
                    <a:pt x="252660" y="409967"/>
                  </a:lnTo>
                  <a:lnTo>
                    <a:pt x="253144" y="410240"/>
                  </a:lnTo>
                  <a:lnTo>
                    <a:pt x="253870" y="410966"/>
                  </a:lnTo>
                  <a:lnTo>
                    <a:pt x="253991" y="412599"/>
                  </a:lnTo>
                  <a:lnTo>
                    <a:pt x="253931" y="414384"/>
                  </a:lnTo>
                  <a:lnTo>
                    <a:pt x="254082" y="415564"/>
                  </a:lnTo>
                  <a:lnTo>
                    <a:pt x="257500" y="418408"/>
                  </a:lnTo>
                  <a:lnTo>
                    <a:pt x="280733" y="418619"/>
                  </a:lnTo>
                  <a:lnTo>
                    <a:pt x="287570" y="420586"/>
                  </a:lnTo>
                  <a:lnTo>
                    <a:pt x="287933" y="421130"/>
                  </a:lnTo>
                  <a:lnTo>
                    <a:pt x="287873" y="423611"/>
                  </a:lnTo>
                  <a:lnTo>
                    <a:pt x="288266" y="424186"/>
                  </a:lnTo>
                  <a:lnTo>
                    <a:pt x="296222" y="424760"/>
                  </a:lnTo>
                  <a:lnTo>
                    <a:pt x="302696" y="428179"/>
                  </a:lnTo>
                  <a:lnTo>
                    <a:pt x="307113" y="428663"/>
                  </a:lnTo>
                  <a:lnTo>
                    <a:pt x="311408" y="431506"/>
                  </a:lnTo>
                  <a:lnTo>
                    <a:pt x="313223" y="431506"/>
                  </a:lnTo>
                  <a:lnTo>
                    <a:pt x="314978" y="430901"/>
                  </a:lnTo>
                  <a:lnTo>
                    <a:pt x="316884" y="430901"/>
                  </a:lnTo>
                  <a:lnTo>
                    <a:pt x="319697" y="433564"/>
                  </a:lnTo>
                  <a:lnTo>
                    <a:pt x="322601" y="438101"/>
                  </a:lnTo>
                  <a:lnTo>
                    <a:pt x="325566" y="441429"/>
                  </a:lnTo>
                  <a:lnTo>
                    <a:pt x="331556" y="439069"/>
                  </a:lnTo>
                  <a:lnTo>
                    <a:pt x="334097" y="441610"/>
                  </a:lnTo>
                  <a:lnTo>
                    <a:pt x="338302" y="450081"/>
                  </a:lnTo>
                  <a:lnTo>
                    <a:pt x="341176" y="453711"/>
                  </a:lnTo>
                  <a:lnTo>
                    <a:pt x="356090" y="463331"/>
                  </a:lnTo>
                  <a:lnTo>
                    <a:pt x="357572" y="465328"/>
                  </a:lnTo>
                  <a:lnTo>
                    <a:pt x="358238" y="467415"/>
                  </a:lnTo>
                  <a:lnTo>
                    <a:pt x="358510" y="469442"/>
                  </a:lnTo>
                  <a:lnTo>
                    <a:pt x="359024" y="471590"/>
                  </a:lnTo>
                  <a:lnTo>
                    <a:pt x="360355" y="474040"/>
                  </a:lnTo>
                  <a:lnTo>
                    <a:pt x="364893" y="479364"/>
                  </a:lnTo>
                  <a:lnTo>
                    <a:pt x="366436" y="483539"/>
                  </a:lnTo>
                  <a:lnTo>
                    <a:pt x="365861" y="489377"/>
                  </a:lnTo>
                  <a:lnTo>
                    <a:pt x="366768" y="491193"/>
                  </a:lnTo>
                  <a:lnTo>
                    <a:pt x="366889" y="493189"/>
                  </a:lnTo>
                  <a:lnTo>
                    <a:pt x="366375" y="499391"/>
                  </a:lnTo>
                  <a:lnTo>
                    <a:pt x="365922" y="501629"/>
                  </a:lnTo>
                  <a:lnTo>
                    <a:pt x="365922" y="502960"/>
                  </a:lnTo>
                  <a:lnTo>
                    <a:pt x="366103" y="505229"/>
                  </a:lnTo>
                  <a:lnTo>
                    <a:pt x="366405" y="505713"/>
                  </a:lnTo>
                  <a:lnTo>
                    <a:pt x="366829" y="505925"/>
                  </a:lnTo>
                  <a:lnTo>
                    <a:pt x="367495" y="507286"/>
                  </a:lnTo>
                  <a:lnTo>
                    <a:pt x="369673" y="507226"/>
                  </a:lnTo>
                  <a:lnTo>
                    <a:pt x="378203" y="501569"/>
                  </a:lnTo>
                  <a:lnTo>
                    <a:pt x="381682" y="501418"/>
                  </a:lnTo>
                  <a:lnTo>
                    <a:pt x="383013" y="503233"/>
                  </a:lnTo>
                  <a:lnTo>
                    <a:pt x="384133" y="505834"/>
                  </a:lnTo>
                  <a:lnTo>
                    <a:pt x="388187" y="520536"/>
                  </a:lnTo>
                  <a:lnTo>
                    <a:pt x="388550" y="522654"/>
                  </a:lnTo>
                  <a:lnTo>
                    <a:pt x="389366" y="524802"/>
                  </a:lnTo>
                  <a:lnTo>
                    <a:pt x="396838" y="531457"/>
                  </a:lnTo>
                  <a:lnTo>
                    <a:pt x="399591" y="533545"/>
                  </a:lnTo>
                  <a:lnTo>
                    <a:pt x="408546" y="544072"/>
                  </a:lnTo>
                  <a:lnTo>
                    <a:pt x="415534" y="546583"/>
                  </a:lnTo>
                  <a:lnTo>
                    <a:pt x="417439" y="549729"/>
                  </a:lnTo>
                  <a:lnTo>
                    <a:pt x="417349" y="554055"/>
                  </a:lnTo>
                  <a:lnTo>
                    <a:pt x="414808" y="558805"/>
                  </a:lnTo>
                  <a:lnTo>
                    <a:pt x="411510" y="561376"/>
                  </a:lnTo>
                  <a:lnTo>
                    <a:pt x="404401" y="563796"/>
                  </a:lnTo>
                  <a:lnTo>
                    <a:pt x="401013" y="566519"/>
                  </a:lnTo>
                  <a:lnTo>
                    <a:pt x="399228" y="570814"/>
                  </a:lnTo>
                  <a:lnTo>
                    <a:pt x="398775" y="576532"/>
                  </a:lnTo>
                  <a:lnTo>
                    <a:pt x="399077" y="582491"/>
                  </a:lnTo>
                  <a:lnTo>
                    <a:pt x="399561" y="587574"/>
                  </a:lnTo>
                  <a:lnTo>
                    <a:pt x="399561" y="602004"/>
                  </a:lnTo>
                  <a:lnTo>
                    <a:pt x="399924" y="605029"/>
                  </a:lnTo>
                  <a:lnTo>
                    <a:pt x="401043" y="608901"/>
                  </a:lnTo>
                  <a:lnTo>
                    <a:pt x="402163" y="618581"/>
                  </a:lnTo>
                  <a:lnTo>
                    <a:pt x="402980" y="622574"/>
                  </a:lnTo>
                  <a:lnTo>
                    <a:pt x="405369" y="628927"/>
                  </a:lnTo>
                  <a:lnTo>
                    <a:pt x="406156" y="632739"/>
                  </a:lnTo>
                  <a:lnTo>
                    <a:pt x="406458" y="638547"/>
                  </a:lnTo>
                  <a:lnTo>
                    <a:pt x="404643" y="640967"/>
                  </a:lnTo>
                  <a:lnTo>
                    <a:pt x="401043" y="643569"/>
                  </a:lnTo>
                  <a:lnTo>
                    <a:pt x="398412" y="646322"/>
                  </a:lnTo>
                  <a:lnTo>
                    <a:pt x="399561" y="649226"/>
                  </a:lnTo>
                  <a:lnTo>
                    <a:pt x="397686" y="654187"/>
                  </a:lnTo>
                  <a:lnTo>
                    <a:pt x="395417" y="658483"/>
                  </a:lnTo>
                  <a:lnTo>
                    <a:pt x="394207" y="663111"/>
                  </a:lnTo>
                  <a:lnTo>
                    <a:pt x="395447" y="669010"/>
                  </a:lnTo>
                  <a:lnTo>
                    <a:pt x="398805" y="673155"/>
                  </a:lnTo>
                  <a:lnTo>
                    <a:pt x="402556" y="672913"/>
                  </a:lnTo>
                  <a:lnTo>
                    <a:pt x="406549" y="671189"/>
                  </a:lnTo>
                  <a:lnTo>
                    <a:pt x="410633" y="670795"/>
                  </a:lnTo>
                  <a:lnTo>
                    <a:pt x="417470" y="675000"/>
                  </a:lnTo>
                  <a:lnTo>
                    <a:pt x="424307" y="676150"/>
                  </a:lnTo>
                  <a:lnTo>
                    <a:pt x="426515" y="677148"/>
                  </a:lnTo>
                  <a:lnTo>
                    <a:pt x="427786" y="678903"/>
                  </a:lnTo>
                  <a:lnTo>
                    <a:pt x="427574" y="684318"/>
                  </a:lnTo>
                  <a:lnTo>
                    <a:pt x="426394" y="691064"/>
                  </a:lnTo>
                  <a:lnTo>
                    <a:pt x="426394" y="696660"/>
                  </a:lnTo>
                  <a:lnTo>
                    <a:pt x="429843" y="698748"/>
                  </a:lnTo>
                  <a:lnTo>
                    <a:pt x="427574" y="706190"/>
                  </a:lnTo>
                  <a:lnTo>
                    <a:pt x="424791" y="710213"/>
                  </a:lnTo>
                  <a:lnTo>
                    <a:pt x="413416" y="715174"/>
                  </a:lnTo>
                  <a:lnTo>
                    <a:pt x="411450" y="717262"/>
                  </a:lnTo>
                  <a:lnTo>
                    <a:pt x="410633" y="721043"/>
                  </a:lnTo>
                  <a:lnTo>
                    <a:pt x="410330" y="725671"/>
                  </a:lnTo>
                  <a:lnTo>
                    <a:pt x="410845" y="727366"/>
                  </a:lnTo>
                  <a:lnTo>
                    <a:pt x="412660" y="728334"/>
                  </a:lnTo>
                  <a:lnTo>
                    <a:pt x="411873" y="731389"/>
                  </a:lnTo>
                  <a:lnTo>
                    <a:pt x="410936" y="734021"/>
                  </a:lnTo>
                  <a:lnTo>
                    <a:pt x="409816" y="736259"/>
                  </a:lnTo>
                  <a:lnTo>
                    <a:pt x="408576" y="738135"/>
                  </a:lnTo>
                  <a:lnTo>
                    <a:pt x="409302" y="742885"/>
                  </a:lnTo>
                  <a:lnTo>
                    <a:pt x="411056" y="745940"/>
                  </a:lnTo>
                  <a:lnTo>
                    <a:pt x="413235" y="748572"/>
                  </a:lnTo>
                  <a:lnTo>
                    <a:pt x="415987" y="753503"/>
                  </a:lnTo>
                  <a:lnTo>
                    <a:pt x="417016" y="754592"/>
                  </a:lnTo>
                  <a:lnTo>
                    <a:pt x="417893" y="756044"/>
                  </a:lnTo>
                  <a:lnTo>
                    <a:pt x="418256" y="758615"/>
                  </a:lnTo>
                  <a:lnTo>
                    <a:pt x="418256" y="761671"/>
                  </a:lnTo>
                  <a:lnTo>
                    <a:pt x="418499" y="763698"/>
                  </a:lnTo>
                  <a:lnTo>
                    <a:pt x="418922" y="765392"/>
                  </a:lnTo>
                  <a:lnTo>
                    <a:pt x="419618" y="767539"/>
                  </a:lnTo>
                  <a:lnTo>
                    <a:pt x="423278" y="775284"/>
                  </a:lnTo>
                  <a:lnTo>
                    <a:pt x="425638" y="779035"/>
                  </a:lnTo>
                  <a:lnTo>
                    <a:pt x="427453" y="780638"/>
                  </a:lnTo>
                  <a:lnTo>
                    <a:pt x="430508" y="781909"/>
                  </a:lnTo>
                  <a:lnTo>
                    <a:pt x="432989" y="785085"/>
                  </a:lnTo>
                  <a:lnTo>
                    <a:pt x="438706" y="797095"/>
                  </a:lnTo>
                  <a:lnTo>
                    <a:pt x="442609" y="802117"/>
                  </a:lnTo>
                  <a:lnTo>
                    <a:pt x="444726" y="805565"/>
                  </a:lnTo>
                  <a:lnTo>
                    <a:pt x="447479" y="811888"/>
                  </a:lnTo>
                  <a:lnTo>
                    <a:pt x="451563" y="823505"/>
                  </a:lnTo>
                  <a:lnTo>
                    <a:pt x="451835" y="825199"/>
                  </a:lnTo>
                  <a:lnTo>
                    <a:pt x="451352" y="827286"/>
                  </a:lnTo>
                  <a:lnTo>
                    <a:pt x="449869" y="828073"/>
                  </a:lnTo>
                  <a:lnTo>
                    <a:pt x="447510" y="827952"/>
                  </a:lnTo>
                  <a:lnTo>
                    <a:pt x="445332" y="828526"/>
                  </a:lnTo>
                  <a:lnTo>
                    <a:pt x="443880" y="832792"/>
                  </a:lnTo>
                  <a:lnTo>
                    <a:pt x="440612" y="837965"/>
                  </a:lnTo>
                  <a:lnTo>
                    <a:pt x="440552" y="839689"/>
                  </a:lnTo>
                  <a:lnTo>
                    <a:pt x="441701" y="848280"/>
                  </a:lnTo>
                  <a:lnTo>
                    <a:pt x="441701" y="853090"/>
                  </a:lnTo>
                  <a:lnTo>
                    <a:pt x="441308" y="857749"/>
                  </a:lnTo>
                  <a:lnTo>
                    <a:pt x="440552" y="862075"/>
                  </a:lnTo>
                  <a:lnTo>
                    <a:pt x="439584" y="865826"/>
                  </a:lnTo>
                  <a:lnTo>
                    <a:pt x="440310" y="869971"/>
                  </a:lnTo>
                  <a:lnTo>
                    <a:pt x="440733" y="874176"/>
                  </a:lnTo>
                  <a:lnTo>
                    <a:pt x="440552" y="878169"/>
                  </a:lnTo>
                  <a:lnTo>
                    <a:pt x="439584" y="881739"/>
                  </a:lnTo>
                  <a:lnTo>
                    <a:pt x="437526" y="883826"/>
                  </a:lnTo>
                  <a:lnTo>
                    <a:pt x="432142" y="887396"/>
                  </a:lnTo>
                  <a:lnTo>
                    <a:pt x="431991" y="889967"/>
                  </a:lnTo>
                  <a:lnTo>
                    <a:pt x="429964" y="892236"/>
                  </a:lnTo>
                  <a:lnTo>
                    <a:pt x="426878" y="893748"/>
                  </a:lnTo>
                  <a:lnTo>
                    <a:pt x="424458" y="895775"/>
                  </a:lnTo>
                  <a:lnTo>
                    <a:pt x="424458" y="899466"/>
                  </a:lnTo>
                  <a:lnTo>
                    <a:pt x="421947" y="900434"/>
                  </a:lnTo>
                  <a:lnTo>
                    <a:pt x="418982" y="902521"/>
                  </a:lnTo>
                  <a:lnTo>
                    <a:pt x="416532" y="906030"/>
                  </a:lnTo>
                  <a:lnTo>
                    <a:pt x="415504" y="911264"/>
                  </a:lnTo>
                  <a:lnTo>
                    <a:pt x="415927" y="914077"/>
                  </a:lnTo>
                  <a:lnTo>
                    <a:pt x="417863" y="918373"/>
                  </a:lnTo>
                  <a:lnTo>
                    <a:pt x="418287" y="920733"/>
                  </a:lnTo>
                  <a:lnTo>
                    <a:pt x="418438" y="923849"/>
                  </a:lnTo>
                  <a:lnTo>
                    <a:pt x="418982" y="928054"/>
                  </a:lnTo>
                  <a:lnTo>
                    <a:pt x="418922" y="931200"/>
                  </a:lnTo>
                  <a:lnTo>
                    <a:pt x="418589" y="933620"/>
                  </a:lnTo>
                  <a:lnTo>
                    <a:pt x="417742" y="936645"/>
                  </a:lnTo>
                  <a:lnTo>
                    <a:pt x="417591" y="938914"/>
                  </a:lnTo>
                  <a:lnTo>
                    <a:pt x="417893" y="941455"/>
                  </a:lnTo>
                  <a:lnTo>
                    <a:pt x="419376" y="946628"/>
                  </a:lnTo>
                  <a:lnTo>
                    <a:pt x="420253" y="952587"/>
                  </a:lnTo>
                  <a:lnTo>
                    <a:pt x="423762" y="964143"/>
                  </a:lnTo>
                  <a:lnTo>
                    <a:pt x="426364" y="968046"/>
                  </a:lnTo>
                  <a:lnTo>
                    <a:pt x="429933" y="971011"/>
                  </a:lnTo>
                  <a:lnTo>
                    <a:pt x="440370" y="974580"/>
                  </a:lnTo>
                  <a:lnTo>
                    <a:pt x="442609" y="977424"/>
                  </a:lnTo>
                  <a:lnTo>
                    <a:pt x="448054" y="992731"/>
                  </a:lnTo>
                  <a:lnTo>
                    <a:pt x="448962" y="994728"/>
                  </a:lnTo>
                  <a:lnTo>
                    <a:pt x="450020" y="996210"/>
                  </a:lnTo>
                  <a:lnTo>
                    <a:pt x="452441" y="998660"/>
                  </a:lnTo>
                  <a:lnTo>
                    <a:pt x="453469" y="1000173"/>
                  </a:lnTo>
                  <a:lnTo>
                    <a:pt x="454498" y="1003349"/>
                  </a:lnTo>
                  <a:lnTo>
                    <a:pt x="457069" y="1014694"/>
                  </a:lnTo>
                  <a:lnTo>
                    <a:pt x="457250" y="1018112"/>
                  </a:lnTo>
                  <a:lnTo>
                    <a:pt x="457009" y="1023164"/>
                  </a:lnTo>
                  <a:lnTo>
                    <a:pt x="459156" y="1027671"/>
                  </a:lnTo>
                  <a:lnTo>
                    <a:pt x="461818" y="1032088"/>
                  </a:lnTo>
                  <a:lnTo>
                    <a:pt x="464027" y="1041073"/>
                  </a:lnTo>
                  <a:lnTo>
                    <a:pt x="467960" y="1047426"/>
                  </a:lnTo>
                  <a:lnTo>
                    <a:pt x="467960" y="1053052"/>
                  </a:lnTo>
                  <a:lnTo>
                    <a:pt x="468927" y="1055684"/>
                  </a:lnTo>
                  <a:lnTo>
                    <a:pt x="470440" y="1058831"/>
                  </a:lnTo>
                  <a:lnTo>
                    <a:pt x="472255" y="1061432"/>
                  </a:lnTo>
                  <a:lnTo>
                    <a:pt x="474131" y="1062309"/>
                  </a:lnTo>
                  <a:lnTo>
                    <a:pt x="476097" y="1060797"/>
                  </a:lnTo>
                  <a:lnTo>
                    <a:pt x="476793" y="1057953"/>
                  </a:lnTo>
                  <a:lnTo>
                    <a:pt x="476490" y="1054595"/>
                  </a:lnTo>
                  <a:lnTo>
                    <a:pt x="475492" y="1051510"/>
                  </a:lnTo>
                  <a:lnTo>
                    <a:pt x="479455" y="1054504"/>
                  </a:lnTo>
                  <a:lnTo>
                    <a:pt x="483357" y="1056138"/>
                  </a:lnTo>
                  <a:lnTo>
                    <a:pt x="484477" y="1057106"/>
                  </a:lnTo>
                  <a:lnTo>
                    <a:pt x="487441" y="1061341"/>
                  </a:lnTo>
                  <a:lnTo>
                    <a:pt x="492221" y="1063580"/>
                  </a:lnTo>
                  <a:lnTo>
                    <a:pt x="493310" y="1063005"/>
                  </a:lnTo>
                  <a:lnTo>
                    <a:pt x="494006" y="1061916"/>
                  </a:lnTo>
                  <a:lnTo>
                    <a:pt x="494339" y="1060767"/>
                  </a:lnTo>
                  <a:lnTo>
                    <a:pt x="494551" y="1059738"/>
                  </a:lnTo>
                  <a:lnTo>
                    <a:pt x="494793" y="1059072"/>
                  </a:lnTo>
                  <a:lnTo>
                    <a:pt x="497031" y="1057318"/>
                  </a:lnTo>
                  <a:lnTo>
                    <a:pt x="499088" y="1057257"/>
                  </a:lnTo>
                  <a:lnTo>
                    <a:pt x="501206" y="1057711"/>
                  </a:lnTo>
                  <a:lnTo>
                    <a:pt x="503656" y="1057499"/>
                  </a:lnTo>
                  <a:lnTo>
                    <a:pt x="506137" y="1054595"/>
                  </a:lnTo>
                  <a:lnTo>
                    <a:pt x="510523" y="1044340"/>
                  </a:lnTo>
                  <a:lnTo>
                    <a:pt x="512974" y="1042071"/>
                  </a:lnTo>
                  <a:lnTo>
                    <a:pt x="513276" y="1041648"/>
                  </a:lnTo>
                  <a:lnTo>
                    <a:pt x="513367" y="1040589"/>
                  </a:lnTo>
                  <a:lnTo>
                    <a:pt x="513367" y="1038199"/>
                  </a:lnTo>
                  <a:lnTo>
                    <a:pt x="513609" y="1036414"/>
                  </a:lnTo>
                  <a:lnTo>
                    <a:pt x="514365" y="1035930"/>
                  </a:lnTo>
                  <a:lnTo>
                    <a:pt x="515273" y="1036021"/>
                  </a:lnTo>
                  <a:lnTo>
                    <a:pt x="516059" y="1035870"/>
                  </a:lnTo>
                  <a:lnTo>
                    <a:pt x="521353" y="1033056"/>
                  </a:lnTo>
                  <a:lnTo>
                    <a:pt x="522957" y="1031211"/>
                  </a:lnTo>
                  <a:lnTo>
                    <a:pt x="522654" y="1034115"/>
                  </a:lnTo>
                  <a:lnTo>
                    <a:pt x="521656" y="1035204"/>
                  </a:lnTo>
                  <a:lnTo>
                    <a:pt x="518903" y="1035870"/>
                  </a:lnTo>
                  <a:lnTo>
                    <a:pt x="517239" y="1037231"/>
                  </a:lnTo>
                  <a:lnTo>
                    <a:pt x="516422" y="1038622"/>
                  </a:lnTo>
                  <a:lnTo>
                    <a:pt x="515031" y="1042888"/>
                  </a:lnTo>
                  <a:lnTo>
                    <a:pt x="509343" y="1054747"/>
                  </a:lnTo>
                  <a:lnTo>
                    <a:pt x="507831" y="1059042"/>
                  </a:lnTo>
                  <a:lnTo>
                    <a:pt x="506833" y="1064820"/>
                  </a:lnTo>
                  <a:lnTo>
                    <a:pt x="507256" y="1068965"/>
                  </a:lnTo>
                  <a:lnTo>
                    <a:pt x="508557" y="1072202"/>
                  </a:lnTo>
                  <a:lnTo>
                    <a:pt x="510221" y="1075317"/>
                  </a:lnTo>
                  <a:lnTo>
                    <a:pt x="511491" y="1077042"/>
                  </a:lnTo>
                  <a:lnTo>
                    <a:pt x="517844" y="1080218"/>
                  </a:lnTo>
                  <a:lnTo>
                    <a:pt x="518661" y="1081156"/>
                  </a:lnTo>
                  <a:lnTo>
                    <a:pt x="518903" y="1082820"/>
                  </a:lnTo>
                  <a:lnTo>
                    <a:pt x="518994" y="1091442"/>
                  </a:lnTo>
                  <a:lnTo>
                    <a:pt x="519478" y="1093589"/>
                  </a:lnTo>
                  <a:lnTo>
                    <a:pt x="520597" y="1094467"/>
                  </a:lnTo>
                  <a:lnTo>
                    <a:pt x="522563" y="1094073"/>
                  </a:lnTo>
                  <a:lnTo>
                    <a:pt x="523804" y="1093045"/>
                  </a:lnTo>
                  <a:lnTo>
                    <a:pt x="526436" y="1090020"/>
                  </a:lnTo>
                  <a:lnTo>
                    <a:pt x="529975" y="1088144"/>
                  </a:lnTo>
                  <a:lnTo>
                    <a:pt x="533908" y="1087600"/>
                  </a:lnTo>
                  <a:lnTo>
                    <a:pt x="537901" y="1088295"/>
                  </a:lnTo>
                  <a:lnTo>
                    <a:pt x="541561" y="1090050"/>
                  </a:lnTo>
                  <a:lnTo>
                    <a:pt x="542620" y="1091260"/>
                  </a:lnTo>
                  <a:lnTo>
                    <a:pt x="544435" y="1094739"/>
                  </a:lnTo>
                  <a:lnTo>
                    <a:pt x="545766" y="1096161"/>
                  </a:lnTo>
                  <a:lnTo>
                    <a:pt x="547793" y="1096463"/>
                  </a:lnTo>
                  <a:lnTo>
                    <a:pt x="552573" y="1095526"/>
                  </a:lnTo>
                  <a:lnTo>
                    <a:pt x="554358" y="1096887"/>
                  </a:lnTo>
                  <a:lnTo>
                    <a:pt x="555719" y="1098430"/>
                  </a:lnTo>
                  <a:lnTo>
                    <a:pt x="558230" y="1097734"/>
                  </a:lnTo>
                  <a:lnTo>
                    <a:pt x="559591" y="1098430"/>
                  </a:lnTo>
                  <a:lnTo>
                    <a:pt x="560741" y="1100456"/>
                  </a:lnTo>
                  <a:lnTo>
                    <a:pt x="561376" y="1102725"/>
                  </a:lnTo>
                  <a:lnTo>
                    <a:pt x="561527" y="1103421"/>
                  </a:lnTo>
                  <a:lnTo>
                    <a:pt x="561830" y="1104964"/>
                  </a:lnTo>
                  <a:lnTo>
                    <a:pt x="562344" y="1106779"/>
                  </a:lnTo>
                  <a:lnTo>
                    <a:pt x="564704" y="1110318"/>
                  </a:lnTo>
                  <a:lnTo>
                    <a:pt x="566882" y="1110772"/>
                  </a:lnTo>
                  <a:lnTo>
                    <a:pt x="569241" y="1110046"/>
                  </a:lnTo>
                  <a:lnTo>
                    <a:pt x="571964" y="1109955"/>
                  </a:lnTo>
                  <a:lnTo>
                    <a:pt x="574172" y="1111165"/>
                  </a:lnTo>
                  <a:lnTo>
                    <a:pt x="581705" y="1118365"/>
                  </a:lnTo>
                  <a:lnTo>
                    <a:pt x="584700" y="1122449"/>
                  </a:lnTo>
                  <a:lnTo>
                    <a:pt x="587544" y="1127501"/>
                  </a:lnTo>
                  <a:lnTo>
                    <a:pt x="588239" y="1131646"/>
                  </a:lnTo>
                  <a:lnTo>
                    <a:pt x="586818" y="1139874"/>
                  </a:lnTo>
                  <a:lnTo>
                    <a:pt x="587907" y="1143595"/>
                  </a:lnTo>
                  <a:lnTo>
                    <a:pt x="587029" y="1144956"/>
                  </a:lnTo>
                  <a:lnTo>
                    <a:pt x="585365" y="1148345"/>
                  </a:lnTo>
                  <a:lnTo>
                    <a:pt x="584488" y="1149555"/>
                  </a:lnTo>
                  <a:lnTo>
                    <a:pt x="583036" y="1150341"/>
                  </a:lnTo>
                  <a:lnTo>
                    <a:pt x="580344" y="1150432"/>
                  </a:lnTo>
                  <a:lnTo>
                    <a:pt x="578922" y="1151218"/>
                  </a:lnTo>
                  <a:lnTo>
                    <a:pt x="585849" y="1158781"/>
                  </a:lnTo>
                  <a:lnTo>
                    <a:pt x="584579" y="1160990"/>
                  </a:lnTo>
                  <a:lnTo>
                    <a:pt x="583944" y="1161474"/>
                  </a:lnTo>
                  <a:lnTo>
                    <a:pt x="583006" y="1161806"/>
                  </a:lnTo>
                  <a:lnTo>
                    <a:pt x="583399" y="1162472"/>
                  </a:lnTo>
                  <a:lnTo>
                    <a:pt x="584065" y="1164136"/>
                  </a:lnTo>
                  <a:lnTo>
                    <a:pt x="584458" y="1164831"/>
                  </a:lnTo>
                  <a:lnTo>
                    <a:pt x="583096" y="1167947"/>
                  </a:lnTo>
                  <a:lnTo>
                    <a:pt x="581705" y="1174815"/>
                  </a:lnTo>
                  <a:lnTo>
                    <a:pt x="580253" y="1177053"/>
                  </a:lnTo>
                  <a:lnTo>
                    <a:pt x="581191" y="1177053"/>
                  </a:lnTo>
                  <a:lnTo>
                    <a:pt x="582007" y="1177386"/>
                  </a:lnTo>
                  <a:lnTo>
                    <a:pt x="583671" y="1178566"/>
                  </a:lnTo>
                  <a:lnTo>
                    <a:pt x="583187" y="1179685"/>
                  </a:lnTo>
                  <a:lnTo>
                    <a:pt x="582310" y="1183103"/>
                  </a:lnTo>
                  <a:lnTo>
                    <a:pt x="583096" y="1183315"/>
                  </a:lnTo>
                  <a:lnTo>
                    <a:pt x="584367" y="1184283"/>
                  </a:lnTo>
                  <a:lnTo>
                    <a:pt x="585063" y="1184616"/>
                  </a:lnTo>
                  <a:lnTo>
                    <a:pt x="583944" y="1185675"/>
                  </a:lnTo>
                  <a:lnTo>
                    <a:pt x="582733" y="1186219"/>
                  </a:lnTo>
                  <a:lnTo>
                    <a:pt x="581493" y="1186371"/>
                  </a:lnTo>
                  <a:lnTo>
                    <a:pt x="580253" y="1186189"/>
                  </a:lnTo>
                  <a:lnTo>
                    <a:pt x="580858" y="1189547"/>
                  </a:lnTo>
                  <a:lnTo>
                    <a:pt x="580525" y="1192512"/>
                  </a:lnTo>
                  <a:lnTo>
                    <a:pt x="579527" y="1194932"/>
                  </a:lnTo>
                  <a:lnTo>
                    <a:pt x="578196" y="1196747"/>
                  </a:lnTo>
                  <a:lnTo>
                    <a:pt x="574838" y="1200165"/>
                  </a:lnTo>
                  <a:lnTo>
                    <a:pt x="574082" y="1202555"/>
                  </a:lnTo>
                  <a:lnTo>
                    <a:pt x="573386" y="1207395"/>
                  </a:lnTo>
                  <a:lnTo>
                    <a:pt x="584730" y="1210451"/>
                  </a:lnTo>
                  <a:lnTo>
                    <a:pt x="587876" y="1213385"/>
                  </a:lnTo>
                  <a:lnTo>
                    <a:pt x="588693" y="1214656"/>
                  </a:lnTo>
                  <a:lnTo>
                    <a:pt x="589359" y="1216047"/>
                  </a:lnTo>
                  <a:lnTo>
                    <a:pt x="589782" y="1217832"/>
                  </a:lnTo>
                  <a:lnTo>
                    <a:pt x="589964" y="1220161"/>
                  </a:lnTo>
                  <a:lnTo>
                    <a:pt x="590448" y="1222309"/>
                  </a:lnTo>
                  <a:lnTo>
                    <a:pt x="591627" y="1224124"/>
                  </a:lnTo>
                  <a:lnTo>
                    <a:pt x="594017" y="1226877"/>
                  </a:lnTo>
                  <a:lnTo>
                    <a:pt x="593715" y="1228148"/>
                  </a:lnTo>
                  <a:lnTo>
                    <a:pt x="593715" y="1229176"/>
                  </a:lnTo>
                  <a:lnTo>
                    <a:pt x="594017" y="1230175"/>
                  </a:lnTo>
                  <a:lnTo>
                    <a:pt x="594713" y="1231354"/>
                  </a:lnTo>
                  <a:lnTo>
                    <a:pt x="594078" y="1234864"/>
                  </a:lnTo>
                  <a:lnTo>
                    <a:pt x="594834" y="1236951"/>
                  </a:lnTo>
                  <a:lnTo>
                    <a:pt x="596014" y="1238857"/>
                  </a:lnTo>
                  <a:lnTo>
                    <a:pt x="596740" y="1241821"/>
                  </a:lnTo>
                  <a:lnTo>
                    <a:pt x="596195" y="1244816"/>
                  </a:lnTo>
                  <a:lnTo>
                    <a:pt x="594501" y="1245724"/>
                  </a:lnTo>
                  <a:lnTo>
                    <a:pt x="592263" y="1245058"/>
                  </a:lnTo>
                  <a:lnTo>
                    <a:pt x="589933" y="1243304"/>
                  </a:lnTo>
                  <a:lnTo>
                    <a:pt x="586303" y="1239522"/>
                  </a:lnTo>
                  <a:lnTo>
                    <a:pt x="584428" y="1238131"/>
                  </a:lnTo>
                  <a:lnTo>
                    <a:pt x="574293" y="1236618"/>
                  </a:lnTo>
                  <a:lnTo>
                    <a:pt x="572569" y="1237465"/>
                  </a:lnTo>
                  <a:lnTo>
                    <a:pt x="573325" y="1238827"/>
                  </a:lnTo>
                  <a:lnTo>
                    <a:pt x="572811" y="1239462"/>
                  </a:lnTo>
                  <a:lnTo>
                    <a:pt x="571782" y="1241126"/>
                  </a:lnTo>
                  <a:lnTo>
                    <a:pt x="571268" y="1241791"/>
                  </a:lnTo>
                  <a:lnTo>
                    <a:pt x="574535" y="1247872"/>
                  </a:lnTo>
                  <a:lnTo>
                    <a:pt x="576320" y="1250020"/>
                  </a:lnTo>
                  <a:lnTo>
                    <a:pt x="580192" y="1251502"/>
                  </a:lnTo>
                  <a:lnTo>
                    <a:pt x="582855" y="1254436"/>
                  </a:lnTo>
                  <a:lnTo>
                    <a:pt x="584367" y="1255344"/>
                  </a:lnTo>
                  <a:lnTo>
                    <a:pt x="585728" y="1254860"/>
                  </a:lnTo>
                  <a:lnTo>
                    <a:pt x="587060" y="1253861"/>
                  </a:lnTo>
                  <a:lnTo>
                    <a:pt x="588239" y="1253952"/>
                  </a:lnTo>
                  <a:lnTo>
                    <a:pt x="589147" y="1256705"/>
                  </a:lnTo>
                  <a:lnTo>
                    <a:pt x="588965" y="1258187"/>
                  </a:lnTo>
                  <a:lnTo>
                    <a:pt x="587453" y="1264964"/>
                  </a:lnTo>
                  <a:lnTo>
                    <a:pt x="587301" y="1266930"/>
                  </a:lnTo>
                  <a:lnTo>
                    <a:pt x="588481" y="1270984"/>
                  </a:lnTo>
                  <a:lnTo>
                    <a:pt x="587725" y="1271740"/>
                  </a:lnTo>
                  <a:lnTo>
                    <a:pt x="578135" y="1274584"/>
                  </a:lnTo>
                  <a:lnTo>
                    <a:pt x="574687" y="1273222"/>
                  </a:lnTo>
                  <a:lnTo>
                    <a:pt x="576350" y="1272043"/>
                  </a:lnTo>
                  <a:lnTo>
                    <a:pt x="577167" y="1271740"/>
                  </a:lnTo>
                  <a:lnTo>
                    <a:pt x="578135" y="1271740"/>
                  </a:lnTo>
                  <a:lnTo>
                    <a:pt x="578135" y="1270379"/>
                  </a:lnTo>
                  <a:lnTo>
                    <a:pt x="575745" y="1270106"/>
                  </a:lnTo>
                  <a:lnTo>
                    <a:pt x="573930" y="1269169"/>
                  </a:lnTo>
                  <a:lnTo>
                    <a:pt x="572388" y="1267475"/>
                  </a:lnTo>
                  <a:lnTo>
                    <a:pt x="570875" y="1264964"/>
                  </a:lnTo>
                  <a:lnTo>
                    <a:pt x="570542" y="1263845"/>
                  </a:lnTo>
                  <a:lnTo>
                    <a:pt x="570119" y="1260759"/>
                  </a:lnTo>
                  <a:lnTo>
                    <a:pt x="569846" y="1259821"/>
                  </a:lnTo>
                  <a:lnTo>
                    <a:pt x="568788" y="1258914"/>
                  </a:lnTo>
                  <a:lnTo>
                    <a:pt x="567971" y="1259277"/>
                  </a:lnTo>
                  <a:lnTo>
                    <a:pt x="567245" y="1259912"/>
                  </a:lnTo>
                  <a:lnTo>
                    <a:pt x="566458" y="1259821"/>
                  </a:lnTo>
                  <a:lnTo>
                    <a:pt x="565097" y="1257734"/>
                  </a:lnTo>
                  <a:lnTo>
                    <a:pt x="564310" y="1255253"/>
                  </a:lnTo>
                  <a:lnTo>
                    <a:pt x="563373" y="1253226"/>
                  </a:lnTo>
                  <a:lnTo>
                    <a:pt x="561588" y="1252379"/>
                  </a:lnTo>
                  <a:lnTo>
                    <a:pt x="559470" y="1252863"/>
                  </a:lnTo>
                  <a:lnTo>
                    <a:pt x="541682" y="1262241"/>
                  </a:lnTo>
                  <a:lnTo>
                    <a:pt x="529219" y="1263845"/>
                  </a:lnTo>
                  <a:lnTo>
                    <a:pt x="525528" y="1266113"/>
                  </a:lnTo>
                  <a:lnTo>
                    <a:pt x="525074" y="1270379"/>
                  </a:lnTo>
                  <a:lnTo>
                    <a:pt x="520839" y="1270621"/>
                  </a:lnTo>
                  <a:lnTo>
                    <a:pt x="518933" y="1271710"/>
                  </a:lnTo>
                  <a:lnTo>
                    <a:pt x="518147" y="1275431"/>
                  </a:lnTo>
                  <a:lnTo>
                    <a:pt x="518449" y="1276611"/>
                  </a:lnTo>
                  <a:lnTo>
                    <a:pt x="519568" y="1278244"/>
                  </a:lnTo>
                  <a:lnTo>
                    <a:pt x="519568" y="1279273"/>
                  </a:lnTo>
                  <a:lnTo>
                    <a:pt x="518722" y="1280513"/>
                  </a:lnTo>
                  <a:lnTo>
                    <a:pt x="517753" y="1280604"/>
                  </a:lnTo>
                  <a:lnTo>
                    <a:pt x="509676" y="1276429"/>
                  </a:lnTo>
                  <a:lnTo>
                    <a:pt x="507498" y="1276157"/>
                  </a:lnTo>
                  <a:lnTo>
                    <a:pt x="505653" y="1277004"/>
                  </a:lnTo>
                  <a:lnTo>
                    <a:pt x="506833" y="1278910"/>
                  </a:lnTo>
                  <a:lnTo>
                    <a:pt x="510614" y="1282237"/>
                  </a:lnTo>
                  <a:lnTo>
                    <a:pt x="507559" y="1284476"/>
                  </a:lnTo>
                  <a:lnTo>
                    <a:pt x="506197" y="1285807"/>
                  </a:lnTo>
                  <a:lnTo>
                    <a:pt x="505048" y="1288167"/>
                  </a:lnTo>
                  <a:lnTo>
                    <a:pt x="505048" y="1289498"/>
                  </a:lnTo>
                  <a:lnTo>
                    <a:pt x="505441" y="1290284"/>
                  </a:lnTo>
                  <a:lnTo>
                    <a:pt x="506409" y="1292614"/>
                  </a:lnTo>
                  <a:lnTo>
                    <a:pt x="504836" y="1295972"/>
                  </a:lnTo>
                  <a:lnTo>
                    <a:pt x="502960" y="1297666"/>
                  </a:lnTo>
                  <a:lnTo>
                    <a:pt x="498846" y="1299995"/>
                  </a:lnTo>
                  <a:lnTo>
                    <a:pt x="495851" y="1303928"/>
                  </a:lnTo>
                  <a:lnTo>
                    <a:pt x="494671" y="1304442"/>
                  </a:lnTo>
                  <a:lnTo>
                    <a:pt x="494006" y="1305138"/>
                  </a:lnTo>
                  <a:lnTo>
                    <a:pt x="493552" y="1306771"/>
                  </a:lnTo>
                  <a:lnTo>
                    <a:pt x="493129" y="1308707"/>
                  </a:lnTo>
                  <a:lnTo>
                    <a:pt x="492584" y="1310371"/>
                  </a:lnTo>
                  <a:lnTo>
                    <a:pt x="489952" y="1315302"/>
                  </a:lnTo>
                  <a:lnTo>
                    <a:pt x="489226" y="1317752"/>
                  </a:lnTo>
                  <a:lnTo>
                    <a:pt x="488470" y="1322139"/>
                  </a:lnTo>
                  <a:lnTo>
                    <a:pt x="488773" y="1322502"/>
                  </a:lnTo>
                  <a:lnTo>
                    <a:pt x="489136" y="1324105"/>
                  </a:lnTo>
                  <a:lnTo>
                    <a:pt x="489075" y="1325890"/>
                  </a:lnTo>
                  <a:lnTo>
                    <a:pt x="487169" y="1327433"/>
                  </a:lnTo>
                  <a:lnTo>
                    <a:pt x="487230" y="1329127"/>
                  </a:lnTo>
                  <a:lnTo>
                    <a:pt x="487684" y="1331093"/>
                  </a:lnTo>
                  <a:lnTo>
                    <a:pt x="487774" y="1332606"/>
                  </a:lnTo>
                  <a:lnTo>
                    <a:pt x="486050" y="1336387"/>
                  </a:lnTo>
                  <a:lnTo>
                    <a:pt x="484205" y="1337718"/>
                  </a:lnTo>
                  <a:lnTo>
                    <a:pt x="482238" y="1338263"/>
                  </a:lnTo>
                  <a:lnTo>
                    <a:pt x="480211" y="1339776"/>
                  </a:lnTo>
                  <a:lnTo>
                    <a:pt x="479697" y="1340804"/>
                  </a:lnTo>
                  <a:lnTo>
                    <a:pt x="479122" y="1343496"/>
                  </a:lnTo>
                  <a:lnTo>
                    <a:pt x="478487" y="1345130"/>
                  </a:lnTo>
                  <a:lnTo>
                    <a:pt x="477337" y="1346007"/>
                  </a:lnTo>
                  <a:lnTo>
                    <a:pt x="474524" y="1345312"/>
                  </a:lnTo>
                  <a:lnTo>
                    <a:pt x="473344" y="1345765"/>
                  </a:lnTo>
                  <a:lnTo>
                    <a:pt x="472769" y="1347036"/>
                  </a:lnTo>
                  <a:lnTo>
                    <a:pt x="472588" y="1348730"/>
                  </a:lnTo>
                  <a:lnTo>
                    <a:pt x="472588" y="1352390"/>
                  </a:lnTo>
                  <a:lnTo>
                    <a:pt x="472104" y="1353207"/>
                  </a:lnTo>
                  <a:lnTo>
                    <a:pt x="468444" y="1353207"/>
                  </a:lnTo>
                  <a:lnTo>
                    <a:pt x="464390" y="1355658"/>
                  </a:lnTo>
                  <a:lnTo>
                    <a:pt x="463966" y="1355325"/>
                  </a:lnTo>
                  <a:lnTo>
                    <a:pt x="462998" y="1356928"/>
                  </a:lnTo>
                  <a:lnTo>
                    <a:pt x="461940" y="1357684"/>
                  </a:lnTo>
                  <a:lnTo>
                    <a:pt x="460760" y="1357866"/>
                  </a:lnTo>
                  <a:lnTo>
                    <a:pt x="459489" y="1357594"/>
                  </a:lnTo>
                  <a:lnTo>
                    <a:pt x="459913" y="1361224"/>
                  </a:lnTo>
                  <a:lnTo>
                    <a:pt x="458309" y="1363190"/>
                  </a:lnTo>
                  <a:lnTo>
                    <a:pt x="453953" y="1364884"/>
                  </a:lnTo>
                  <a:lnTo>
                    <a:pt x="451835" y="1366730"/>
                  </a:lnTo>
                  <a:lnTo>
                    <a:pt x="450989" y="1368696"/>
                  </a:lnTo>
                  <a:lnTo>
                    <a:pt x="449809" y="1375140"/>
                  </a:lnTo>
                  <a:lnTo>
                    <a:pt x="448477" y="1378255"/>
                  </a:lnTo>
                  <a:lnTo>
                    <a:pt x="445452" y="1382218"/>
                  </a:lnTo>
                  <a:lnTo>
                    <a:pt x="444243" y="1385455"/>
                  </a:lnTo>
                  <a:lnTo>
                    <a:pt x="443849" y="1388874"/>
                  </a:lnTo>
                  <a:lnTo>
                    <a:pt x="444091" y="1391929"/>
                  </a:lnTo>
                  <a:lnTo>
                    <a:pt x="444787" y="1394621"/>
                  </a:lnTo>
                  <a:lnTo>
                    <a:pt x="445695" y="1397102"/>
                  </a:lnTo>
                  <a:lnTo>
                    <a:pt x="443789" y="1395408"/>
                  </a:lnTo>
                  <a:lnTo>
                    <a:pt x="439463" y="1392988"/>
                  </a:lnTo>
                  <a:lnTo>
                    <a:pt x="437406" y="1392625"/>
                  </a:lnTo>
                  <a:lnTo>
                    <a:pt x="435439" y="1399371"/>
                  </a:lnTo>
                  <a:lnTo>
                    <a:pt x="434622" y="1401337"/>
                  </a:lnTo>
                  <a:lnTo>
                    <a:pt x="433170" y="1402668"/>
                  </a:lnTo>
                  <a:lnTo>
                    <a:pt x="428512" y="1405149"/>
                  </a:lnTo>
                  <a:lnTo>
                    <a:pt x="426999" y="1405028"/>
                  </a:lnTo>
                  <a:lnTo>
                    <a:pt x="424791" y="1403606"/>
                  </a:lnTo>
                  <a:lnTo>
                    <a:pt x="423671" y="1405149"/>
                  </a:lnTo>
                  <a:lnTo>
                    <a:pt x="423187" y="1408265"/>
                  </a:lnTo>
                  <a:lnTo>
                    <a:pt x="422915" y="1411623"/>
                  </a:lnTo>
                  <a:lnTo>
                    <a:pt x="423611" y="1411623"/>
                  </a:lnTo>
                  <a:lnTo>
                    <a:pt x="421887" y="1413831"/>
                  </a:lnTo>
                  <a:lnTo>
                    <a:pt x="421644" y="1414134"/>
                  </a:lnTo>
                  <a:lnTo>
                    <a:pt x="419164" y="1416554"/>
                  </a:lnTo>
                  <a:lnTo>
                    <a:pt x="417228" y="1419095"/>
                  </a:lnTo>
                  <a:lnTo>
                    <a:pt x="416804" y="1421908"/>
                  </a:lnTo>
                  <a:lnTo>
                    <a:pt x="415655" y="1423088"/>
                  </a:lnTo>
                  <a:lnTo>
                    <a:pt x="413386" y="1426748"/>
                  </a:lnTo>
                  <a:lnTo>
                    <a:pt x="412630" y="1427535"/>
                  </a:lnTo>
                  <a:lnTo>
                    <a:pt x="409726" y="1426446"/>
                  </a:lnTo>
                  <a:lnTo>
                    <a:pt x="408546" y="1426718"/>
                  </a:lnTo>
                  <a:lnTo>
                    <a:pt x="407789" y="1428987"/>
                  </a:lnTo>
                  <a:lnTo>
                    <a:pt x="409363" y="1431498"/>
                  </a:lnTo>
                  <a:lnTo>
                    <a:pt x="411782" y="1436489"/>
                  </a:lnTo>
                  <a:lnTo>
                    <a:pt x="413174" y="1441360"/>
                  </a:lnTo>
                  <a:lnTo>
                    <a:pt x="411631" y="1443538"/>
                  </a:lnTo>
                  <a:lnTo>
                    <a:pt x="404976" y="1442630"/>
                  </a:lnTo>
                  <a:lnTo>
                    <a:pt x="401769" y="1440573"/>
                  </a:lnTo>
                  <a:lnTo>
                    <a:pt x="400801" y="1441057"/>
                  </a:lnTo>
                  <a:lnTo>
                    <a:pt x="399864" y="1441783"/>
                  </a:lnTo>
                  <a:lnTo>
                    <a:pt x="398835" y="1441965"/>
                  </a:lnTo>
                  <a:lnTo>
                    <a:pt x="397837" y="1441360"/>
                  </a:lnTo>
                  <a:lnTo>
                    <a:pt x="396717" y="1439757"/>
                  </a:lnTo>
                  <a:lnTo>
                    <a:pt x="396082" y="1439182"/>
                  </a:lnTo>
                  <a:lnTo>
                    <a:pt x="392573" y="1437488"/>
                  </a:lnTo>
                  <a:lnTo>
                    <a:pt x="390697" y="1437488"/>
                  </a:lnTo>
                  <a:lnTo>
                    <a:pt x="389185" y="1439182"/>
                  </a:lnTo>
                  <a:lnTo>
                    <a:pt x="388005" y="1448650"/>
                  </a:lnTo>
                  <a:lnTo>
                    <a:pt x="387763" y="1449921"/>
                  </a:lnTo>
                  <a:lnTo>
                    <a:pt x="388096" y="1451978"/>
                  </a:lnTo>
                  <a:lnTo>
                    <a:pt x="388701" y="1453824"/>
                  </a:lnTo>
                  <a:lnTo>
                    <a:pt x="388913" y="1455881"/>
                  </a:lnTo>
                  <a:lnTo>
                    <a:pt x="388126" y="1458603"/>
                  </a:lnTo>
                  <a:lnTo>
                    <a:pt x="388126" y="1460600"/>
                  </a:lnTo>
                  <a:lnTo>
                    <a:pt x="389517" y="1462324"/>
                  </a:lnTo>
                  <a:lnTo>
                    <a:pt x="392633" y="1465198"/>
                  </a:lnTo>
                  <a:lnTo>
                    <a:pt x="390455" y="1468042"/>
                  </a:lnTo>
                  <a:lnTo>
                    <a:pt x="388307" y="1470250"/>
                  </a:lnTo>
                  <a:lnTo>
                    <a:pt x="386099" y="1470613"/>
                  </a:lnTo>
                  <a:lnTo>
                    <a:pt x="383649" y="1468072"/>
                  </a:lnTo>
                  <a:lnTo>
                    <a:pt x="381652" y="1471581"/>
                  </a:lnTo>
                  <a:lnTo>
                    <a:pt x="378506" y="1472700"/>
                  </a:lnTo>
                  <a:lnTo>
                    <a:pt x="370731" y="1472337"/>
                  </a:lnTo>
                  <a:lnTo>
                    <a:pt x="367646" y="1473094"/>
                  </a:lnTo>
                  <a:lnTo>
                    <a:pt x="366405" y="1473789"/>
                  </a:lnTo>
                  <a:lnTo>
                    <a:pt x="365074" y="1475423"/>
                  </a:lnTo>
                  <a:lnTo>
                    <a:pt x="365074" y="1476784"/>
                  </a:lnTo>
                  <a:lnTo>
                    <a:pt x="366012" y="1477752"/>
                  </a:lnTo>
                  <a:lnTo>
                    <a:pt x="366224" y="1478055"/>
                  </a:lnTo>
                  <a:lnTo>
                    <a:pt x="365105" y="1479114"/>
                  </a:lnTo>
                  <a:lnTo>
                    <a:pt x="364106" y="1480354"/>
                  </a:lnTo>
                  <a:lnTo>
                    <a:pt x="362987" y="1480959"/>
                  </a:lnTo>
                  <a:lnTo>
                    <a:pt x="358328" y="1479325"/>
                  </a:lnTo>
                  <a:lnTo>
                    <a:pt x="357088" y="1480233"/>
                  </a:lnTo>
                  <a:lnTo>
                    <a:pt x="355545" y="1482683"/>
                  </a:lnTo>
                  <a:lnTo>
                    <a:pt x="349828" y="1488129"/>
                  </a:lnTo>
                  <a:lnTo>
                    <a:pt x="350191" y="1490034"/>
                  </a:lnTo>
                  <a:lnTo>
                    <a:pt x="350191" y="1491184"/>
                  </a:lnTo>
                  <a:lnTo>
                    <a:pt x="349828" y="1493937"/>
                  </a:lnTo>
                  <a:lnTo>
                    <a:pt x="349828" y="1493937"/>
                  </a:lnTo>
                  <a:lnTo>
                    <a:pt x="350947" y="1496841"/>
                  </a:lnTo>
                  <a:lnTo>
                    <a:pt x="350826" y="1498959"/>
                  </a:lnTo>
                  <a:lnTo>
                    <a:pt x="349767" y="1499443"/>
                  </a:lnTo>
                  <a:lnTo>
                    <a:pt x="348073" y="1497416"/>
                  </a:lnTo>
                  <a:lnTo>
                    <a:pt x="346228" y="1492757"/>
                  </a:lnTo>
                  <a:lnTo>
                    <a:pt x="345018" y="1491245"/>
                  </a:lnTo>
                  <a:lnTo>
                    <a:pt x="342960" y="1491002"/>
                  </a:lnTo>
                  <a:lnTo>
                    <a:pt x="340964" y="1492424"/>
                  </a:lnTo>
                  <a:lnTo>
                    <a:pt x="340571" y="1494844"/>
                  </a:lnTo>
                  <a:lnTo>
                    <a:pt x="341478" y="1497113"/>
                  </a:lnTo>
                  <a:lnTo>
                    <a:pt x="343294" y="1498142"/>
                  </a:lnTo>
                  <a:lnTo>
                    <a:pt x="343626" y="1498807"/>
                  </a:lnTo>
                  <a:lnTo>
                    <a:pt x="343686" y="1500380"/>
                  </a:lnTo>
                  <a:lnTo>
                    <a:pt x="343535" y="1502075"/>
                  </a:lnTo>
                  <a:lnTo>
                    <a:pt x="343263" y="1503194"/>
                  </a:lnTo>
                  <a:lnTo>
                    <a:pt x="342174" y="1504071"/>
                  </a:lnTo>
                  <a:lnTo>
                    <a:pt x="340722" y="1503890"/>
                  </a:lnTo>
                  <a:lnTo>
                    <a:pt x="338120" y="1502528"/>
                  </a:lnTo>
                  <a:lnTo>
                    <a:pt x="338877" y="1503436"/>
                  </a:lnTo>
                  <a:lnTo>
                    <a:pt x="340873" y="1506794"/>
                  </a:lnTo>
                  <a:lnTo>
                    <a:pt x="333946" y="1506794"/>
                  </a:lnTo>
                  <a:lnTo>
                    <a:pt x="339209" y="1509668"/>
                  </a:lnTo>
                  <a:lnTo>
                    <a:pt x="340873" y="1511089"/>
                  </a:lnTo>
                  <a:lnTo>
                    <a:pt x="339391" y="1513237"/>
                  </a:lnTo>
                  <a:lnTo>
                    <a:pt x="336214" y="1514931"/>
                  </a:lnTo>
                  <a:lnTo>
                    <a:pt x="334702" y="1516928"/>
                  </a:lnTo>
                  <a:lnTo>
                    <a:pt x="334218" y="1518078"/>
                  </a:lnTo>
                  <a:lnTo>
                    <a:pt x="333976" y="1519076"/>
                  </a:lnTo>
                  <a:lnTo>
                    <a:pt x="333976" y="1521768"/>
                  </a:lnTo>
                  <a:lnTo>
                    <a:pt x="333552" y="1523462"/>
                  </a:lnTo>
                  <a:lnTo>
                    <a:pt x="332675" y="1523886"/>
                  </a:lnTo>
                  <a:lnTo>
                    <a:pt x="331646" y="1523977"/>
                  </a:lnTo>
                  <a:lnTo>
                    <a:pt x="330860" y="1524703"/>
                  </a:lnTo>
                  <a:lnTo>
                    <a:pt x="329680" y="1526215"/>
                  </a:lnTo>
                  <a:lnTo>
                    <a:pt x="327956" y="1527365"/>
                  </a:lnTo>
                  <a:lnTo>
                    <a:pt x="326141" y="1528091"/>
                  </a:lnTo>
                  <a:lnTo>
                    <a:pt x="324659" y="1528333"/>
                  </a:lnTo>
                  <a:lnTo>
                    <a:pt x="324023" y="1527365"/>
                  </a:lnTo>
                  <a:lnTo>
                    <a:pt x="321936" y="1522736"/>
                  </a:lnTo>
                  <a:lnTo>
                    <a:pt x="320847" y="1521103"/>
                  </a:lnTo>
                  <a:lnTo>
                    <a:pt x="321301" y="1518259"/>
                  </a:lnTo>
                  <a:lnTo>
                    <a:pt x="320817" y="1515748"/>
                  </a:lnTo>
                  <a:lnTo>
                    <a:pt x="319637" y="1513570"/>
                  </a:lnTo>
                  <a:lnTo>
                    <a:pt x="318094" y="1511785"/>
                  </a:lnTo>
                  <a:lnTo>
                    <a:pt x="317065" y="1511301"/>
                  </a:lnTo>
                  <a:lnTo>
                    <a:pt x="315946" y="1511513"/>
                  </a:lnTo>
                  <a:lnTo>
                    <a:pt x="315038" y="1512602"/>
                  </a:lnTo>
                  <a:lnTo>
                    <a:pt x="314645" y="1514720"/>
                  </a:lnTo>
                  <a:lnTo>
                    <a:pt x="314222" y="1515839"/>
                  </a:lnTo>
                  <a:lnTo>
                    <a:pt x="313284" y="1514931"/>
                  </a:lnTo>
                  <a:lnTo>
                    <a:pt x="311832" y="1512451"/>
                  </a:lnTo>
                  <a:lnTo>
                    <a:pt x="309896" y="1511392"/>
                  </a:lnTo>
                  <a:lnTo>
                    <a:pt x="309412" y="1511604"/>
                  </a:lnTo>
                  <a:lnTo>
                    <a:pt x="309624" y="1513510"/>
                  </a:lnTo>
                  <a:lnTo>
                    <a:pt x="309866" y="1517593"/>
                  </a:lnTo>
                  <a:lnTo>
                    <a:pt x="309079" y="1521224"/>
                  </a:lnTo>
                  <a:lnTo>
                    <a:pt x="307234" y="1522040"/>
                  </a:lnTo>
                  <a:lnTo>
                    <a:pt x="302968" y="1521103"/>
                  </a:lnTo>
                  <a:lnTo>
                    <a:pt x="303240" y="1521889"/>
                  </a:lnTo>
                  <a:lnTo>
                    <a:pt x="303392" y="1522524"/>
                  </a:lnTo>
                  <a:lnTo>
                    <a:pt x="303664" y="1523916"/>
                  </a:lnTo>
                  <a:lnTo>
                    <a:pt x="302666" y="1524642"/>
                  </a:lnTo>
                  <a:lnTo>
                    <a:pt x="301879" y="1525610"/>
                  </a:lnTo>
                  <a:lnTo>
                    <a:pt x="300155" y="1528303"/>
                  </a:lnTo>
                  <a:lnTo>
                    <a:pt x="304239" y="1535654"/>
                  </a:lnTo>
                  <a:lnTo>
                    <a:pt x="305025" y="1538255"/>
                  </a:lnTo>
                  <a:lnTo>
                    <a:pt x="300760" y="1535775"/>
                  </a:lnTo>
                  <a:lnTo>
                    <a:pt x="300125" y="1536047"/>
                  </a:lnTo>
                  <a:lnTo>
                    <a:pt x="299701" y="1538588"/>
                  </a:lnTo>
                  <a:lnTo>
                    <a:pt x="298763" y="1539980"/>
                  </a:lnTo>
                  <a:lnTo>
                    <a:pt x="297614" y="1541008"/>
                  </a:lnTo>
                  <a:lnTo>
                    <a:pt x="296676" y="1542490"/>
                  </a:lnTo>
                  <a:lnTo>
                    <a:pt x="294921" y="1550084"/>
                  </a:lnTo>
                  <a:lnTo>
                    <a:pt x="294649" y="1550205"/>
                  </a:lnTo>
                  <a:lnTo>
                    <a:pt x="294225" y="1552473"/>
                  </a:lnTo>
                  <a:lnTo>
                    <a:pt x="293530" y="1554349"/>
                  </a:lnTo>
                  <a:lnTo>
                    <a:pt x="293227" y="1556134"/>
                  </a:lnTo>
                  <a:lnTo>
                    <a:pt x="293953" y="1558040"/>
                  </a:lnTo>
                  <a:lnTo>
                    <a:pt x="293953" y="1559431"/>
                  </a:lnTo>
                  <a:lnTo>
                    <a:pt x="292743" y="1560430"/>
                  </a:lnTo>
                  <a:lnTo>
                    <a:pt x="291110" y="1562729"/>
                  </a:lnTo>
                  <a:lnTo>
                    <a:pt x="289839" y="1563697"/>
                  </a:lnTo>
                  <a:lnTo>
                    <a:pt x="290051" y="1558614"/>
                  </a:lnTo>
                  <a:lnTo>
                    <a:pt x="288387" y="1556860"/>
                  </a:lnTo>
                  <a:lnTo>
                    <a:pt x="285876" y="1556436"/>
                  </a:lnTo>
                  <a:lnTo>
                    <a:pt x="283637" y="1555256"/>
                  </a:lnTo>
                  <a:lnTo>
                    <a:pt x="283426" y="1553381"/>
                  </a:lnTo>
                  <a:lnTo>
                    <a:pt x="284031" y="1551051"/>
                  </a:lnTo>
                  <a:lnTo>
                    <a:pt x="284031" y="1549025"/>
                  </a:lnTo>
                  <a:lnTo>
                    <a:pt x="282246" y="1548178"/>
                  </a:lnTo>
                  <a:lnTo>
                    <a:pt x="279493" y="1547694"/>
                  </a:lnTo>
                  <a:lnTo>
                    <a:pt x="278434" y="1548420"/>
                  </a:lnTo>
                  <a:lnTo>
                    <a:pt x="277406" y="1550991"/>
                  </a:lnTo>
                  <a:lnTo>
                    <a:pt x="278283" y="1556406"/>
                  </a:lnTo>
                  <a:lnTo>
                    <a:pt x="282155" y="1562003"/>
                  </a:lnTo>
                  <a:lnTo>
                    <a:pt x="290535" y="1570775"/>
                  </a:lnTo>
                  <a:lnTo>
                    <a:pt x="287026" y="1568688"/>
                  </a:lnTo>
                  <a:lnTo>
                    <a:pt x="283849" y="1568234"/>
                  </a:lnTo>
                  <a:lnTo>
                    <a:pt x="280794" y="1567115"/>
                  </a:lnTo>
                  <a:lnTo>
                    <a:pt x="277769" y="1563001"/>
                  </a:lnTo>
                  <a:lnTo>
                    <a:pt x="274955" y="1560127"/>
                  </a:lnTo>
                  <a:lnTo>
                    <a:pt x="271597" y="1559855"/>
                  </a:lnTo>
                  <a:lnTo>
                    <a:pt x="269359" y="1562426"/>
                  </a:lnTo>
                  <a:lnTo>
                    <a:pt x="269813" y="1568053"/>
                  </a:lnTo>
                  <a:lnTo>
                    <a:pt x="270841" y="1570322"/>
                  </a:lnTo>
                  <a:lnTo>
                    <a:pt x="272112" y="1571562"/>
                  </a:lnTo>
                  <a:lnTo>
                    <a:pt x="273594" y="1572076"/>
                  </a:lnTo>
                  <a:lnTo>
                    <a:pt x="275349" y="1572167"/>
                  </a:lnTo>
                  <a:lnTo>
                    <a:pt x="275863" y="1573165"/>
                  </a:lnTo>
                  <a:lnTo>
                    <a:pt x="280885" y="1580123"/>
                  </a:lnTo>
                  <a:lnTo>
                    <a:pt x="283759" y="1582815"/>
                  </a:lnTo>
                  <a:lnTo>
                    <a:pt x="285060" y="1584963"/>
                  </a:lnTo>
                  <a:lnTo>
                    <a:pt x="286088" y="1588079"/>
                  </a:lnTo>
                  <a:lnTo>
                    <a:pt x="286753" y="1589592"/>
                  </a:lnTo>
                  <a:lnTo>
                    <a:pt x="287752" y="1590742"/>
                  </a:lnTo>
                  <a:lnTo>
                    <a:pt x="285574" y="1593978"/>
                  </a:lnTo>
                  <a:lnTo>
                    <a:pt x="283365" y="1598456"/>
                  </a:lnTo>
                  <a:lnTo>
                    <a:pt x="281096" y="1600089"/>
                  </a:lnTo>
                  <a:lnTo>
                    <a:pt x="278797" y="1594825"/>
                  </a:lnTo>
                  <a:lnTo>
                    <a:pt x="278102" y="1594825"/>
                  </a:lnTo>
                  <a:lnTo>
                    <a:pt x="276922" y="1598153"/>
                  </a:lnTo>
                  <a:lnTo>
                    <a:pt x="274744" y="1601904"/>
                  </a:lnTo>
                  <a:lnTo>
                    <a:pt x="270539" y="1607591"/>
                  </a:lnTo>
                  <a:lnTo>
                    <a:pt x="270387" y="1607198"/>
                  </a:lnTo>
                  <a:lnTo>
                    <a:pt x="269752" y="1606624"/>
                  </a:lnTo>
                  <a:lnTo>
                    <a:pt x="268996" y="1606139"/>
                  </a:lnTo>
                  <a:lnTo>
                    <a:pt x="268451" y="1606049"/>
                  </a:lnTo>
                  <a:lnTo>
                    <a:pt x="268361" y="1606533"/>
                  </a:lnTo>
                  <a:lnTo>
                    <a:pt x="268361" y="1607440"/>
                  </a:lnTo>
                  <a:lnTo>
                    <a:pt x="268270" y="1608378"/>
                  </a:lnTo>
                  <a:lnTo>
                    <a:pt x="267755" y="1608983"/>
                  </a:lnTo>
                  <a:lnTo>
                    <a:pt x="266152" y="1609165"/>
                  </a:lnTo>
                  <a:lnTo>
                    <a:pt x="264156" y="1607894"/>
                  </a:lnTo>
                  <a:lnTo>
                    <a:pt x="262915" y="1607591"/>
                  </a:lnTo>
                  <a:lnTo>
                    <a:pt x="261584" y="1608227"/>
                  </a:lnTo>
                  <a:lnTo>
                    <a:pt x="258922" y="1610375"/>
                  </a:lnTo>
                  <a:lnTo>
                    <a:pt x="257349" y="1610375"/>
                  </a:lnTo>
                  <a:lnTo>
                    <a:pt x="256260" y="1609074"/>
                  </a:lnTo>
                  <a:lnTo>
                    <a:pt x="255474" y="1607259"/>
                  </a:lnTo>
                  <a:lnTo>
                    <a:pt x="254415" y="1606291"/>
                  </a:lnTo>
                  <a:lnTo>
                    <a:pt x="252539" y="1607561"/>
                  </a:lnTo>
                  <a:lnTo>
                    <a:pt x="251662" y="1609074"/>
                  </a:lnTo>
                  <a:lnTo>
                    <a:pt x="251329" y="1610647"/>
                  </a:lnTo>
                  <a:lnTo>
                    <a:pt x="251087" y="1612401"/>
                  </a:lnTo>
                  <a:lnTo>
                    <a:pt x="250512" y="1614428"/>
                  </a:lnTo>
                  <a:lnTo>
                    <a:pt x="249514" y="1616364"/>
                  </a:lnTo>
                  <a:lnTo>
                    <a:pt x="248485" y="1617423"/>
                  </a:lnTo>
                  <a:lnTo>
                    <a:pt x="245642" y="1618754"/>
                  </a:lnTo>
                  <a:lnTo>
                    <a:pt x="247275" y="1622808"/>
                  </a:lnTo>
                  <a:lnTo>
                    <a:pt x="248455" y="1627285"/>
                  </a:lnTo>
                  <a:lnTo>
                    <a:pt x="240559" y="1620690"/>
                  </a:lnTo>
                  <a:lnTo>
                    <a:pt x="238079" y="1620176"/>
                  </a:lnTo>
                  <a:lnTo>
                    <a:pt x="238986" y="1618058"/>
                  </a:lnTo>
                  <a:lnTo>
                    <a:pt x="239138" y="1616334"/>
                  </a:lnTo>
                  <a:lnTo>
                    <a:pt x="238260" y="1608257"/>
                  </a:lnTo>
                  <a:lnTo>
                    <a:pt x="238442" y="1606291"/>
                  </a:lnTo>
                  <a:lnTo>
                    <a:pt x="239440" y="1603205"/>
                  </a:lnTo>
                  <a:lnTo>
                    <a:pt x="236960" y="1603417"/>
                  </a:lnTo>
                  <a:lnTo>
                    <a:pt x="232089" y="1606654"/>
                  </a:lnTo>
                  <a:lnTo>
                    <a:pt x="229790" y="1607531"/>
                  </a:lnTo>
                  <a:lnTo>
                    <a:pt x="225736" y="1607107"/>
                  </a:lnTo>
                  <a:lnTo>
                    <a:pt x="224284" y="1607531"/>
                  </a:lnTo>
                  <a:lnTo>
                    <a:pt x="220170" y="1610314"/>
                  </a:lnTo>
                  <a:lnTo>
                    <a:pt x="220170" y="1611585"/>
                  </a:lnTo>
                  <a:lnTo>
                    <a:pt x="221713" y="1612462"/>
                  </a:lnTo>
                  <a:lnTo>
                    <a:pt x="224829" y="1613370"/>
                  </a:lnTo>
                  <a:lnTo>
                    <a:pt x="226341" y="1614398"/>
                  </a:lnTo>
                  <a:lnTo>
                    <a:pt x="224163" y="1615669"/>
                  </a:lnTo>
                  <a:lnTo>
                    <a:pt x="221350" y="1615124"/>
                  </a:lnTo>
                  <a:lnTo>
                    <a:pt x="218657" y="1613521"/>
                  </a:lnTo>
                  <a:lnTo>
                    <a:pt x="216630" y="1611585"/>
                  </a:lnTo>
                  <a:lnTo>
                    <a:pt x="214543" y="1616092"/>
                  </a:lnTo>
                  <a:lnTo>
                    <a:pt x="211367" y="1614791"/>
                  </a:lnTo>
                  <a:lnTo>
                    <a:pt x="205589" y="1608892"/>
                  </a:lnTo>
                  <a:lnTo>
                    <a:pt x="204227" y="1609225"/>
                  </a:lnTo>
                  <a:lnTo>
                    <a:pt x="202140" y="1610375"/>
                  </a:lnTo>
                  <a:lnTo>
                    <a:pt x="200234" y="1612008"/>
                  </a:lnTo>
                  <a:lnTo>
                    <a:pt x="199387" y="1613733"/>
                  </a:lnTo>
                  <a:lnTo>
                    <a:pt x="199841" y="1617121"/>
                  </a:lnTo>
                  <a:lnTo>
                    <a:pt x="201021" y="1618633"/>
                  </a:lnTo>
                  <a:lnTo>
                    <a:pt x="204953" y="1620085"/>
                  </a:lnTo>
                  <a:lnTo>
                    <a:pt x="204953" y="1621477"/>
                  </a:lnTo>
                  <a:lnTo>
                    <a:pt x="201959" y="1621265"/>
                  </a:lnTo>
                  <a:lnTo>
                    <a:pt x="200779" y="1622021"/>
                  </a:lnTo>
                  <a:lnTo>
                    <a:pt x="200083" y="1624260"/>
                  </a:lnTo>
                  <a:lnTo>
                    <a:pt x="201354" y="1624653"/>
                  </a:lnTo>
                  <a:lnTo>
                    <a:pt x="201505" y="1626166"/>
                  </a:lnTo>
                  <a:lnTo>
                    <a:pt x="201414" y="1628314"/>
                  </a:lnTo>
                  <a:lnTo>
                    <a:pt x="201838" y="1630522"/>
                  </a:lnTo>
                  <a:lnTo>
                    <a:pt x="202957" y="1631974"/>
                  </a:lnTo>
                  <a:lnTo>
                    <a:pt x="204349" y="1632337"/>
                  </a:lnTo>
                  <a:lnTo>
                    <a:pt x="205770" y="1631974"/>
                  </a:lnTo>
                  <a:lnTo>
                    <a:pt x="207011" y="1631218"/>
                  </a:lnTo>
                  <a:lnTo>
                    <a:pt x="205075" y="1634243"/>
                  </a:lnTo>
                  <a:lnTo>
                    <a:pt x="205710" y="1636996"/>
                  </a:lnTo>
                  <a:lnTo>
                    <a:pt x="207676" y="1639325"/>
                  </a:lnTo>
                  <a:lnTo>
                    <a:pt x="214362" y="1645134"/>
                  </a:lnTo>
                  <a:lnTo>
                    <a:pt x="218657" y="1650881"/>
                  </a:lnTo>
                  <a:lnTo>
                    <a:pt x="215481" y="1652757"/>
                  </a:lnTo>
                  <a:lnTo>
                    <a:pt x="212365" y="1651547"/>
                  </a:lnTo>
                  <a:lnTo>
                    <a:pt x="209310" y="1649308"/>
                  </a:lnTo>
                  <a:lnTo>
                    <a:pt x="206254" y="1648098"/>
                  </a:lnTo>
                  <a:lnTo>
                    <a:pt x="202049" y="1643379"/>
                  </a:lnTo>
                  <a:lnTo>
                    <a:pt x="199206" y="1641806"/>
                  </a:lnTo>
                  <a:lnTo>
                    <a:pt x="197935" y="1644589"/>
                  </a:lnTo>
                  <a:lnTo>
                    <a:pt x="197754" y="1647675"/>
                  </a:lnTo>
                  <a:lnTo>
                    <a:pt x="197240" y="1647675"/>
                  </a:lnTo>
                  <a:lnTo>
                    <a:pt x="196423" y="1646676"/>
                  </a:lnTo>
                  <a:lnTo>
                    <a:pt x="195334" y="1646737"/>
                  </a:lnTo>
                  <a:lnTo>
                    <a:pt x="194093" y="1648098"/>
                  </a:lnTo>
                  <a:lnTo>
                    <a:pt x="193761" y="1648733"/>
                  </a:lnTo>
                  <a:lnTo>
                    <a:pt x="193882" y="1649429"/>
                  </a:lnTo>
                  <a:lnTo>
                    <a:pt x="193972" y="1650911"/>
                  </a:lnTo>
                  <a:lnTo>
                    <a:pt x="193972" y="1655389"/>
                  </a:lnTo>
                  <a:lnTo>
                    <a:pt x="194365" y="1659079"/>
                  </a:lnTo>
                  <a:lnTo>
                    <a:pt x="196029" y="1666310"/>
                  </a:lnTo>
                  <a:lnTo>
                    <a:pt x="192429" y="1667822"/>
                  </a:lnTo>
                  <a:lnTo>
                    <a:pt x="191885" y="1668276"/>
                  </a:lnTo>
                  <a:lnTo>
                    <a:pt x="191673" y="1669667"/>
                  </a:lnTo>
                  <a:lnTo>
                    <a:pt x="190554" y="1673963"/>
                  </a:lnTo>
                  <a:lnTo>
                    <a:pt x="189616" y="1676625"/>
                  </a:lnTo>
                  <a:lnTo>
                    <a:pt x="189193" y="1679348"/>
                  </a:lnTo>
                  <a:lnTo>
                    <a:pt x="188708" y="1680770"/>
                  </a:lnTo>
                  <a:lnTo>
                    <a:pt x="187922" y="1681919"/>
                  </a:lnTo>
                  <a:lnTo>
                    <a:pt x="186046" y="1683795"/>
                  </a:lnTo>
                  <a:lnTo>
                    <a:pt x="185290" y="1684975"/>
                  </a:lnTo>
                  <a:lnTo>
                    <a:pt x="183173" y="1685791"/>
                  </a:lnTo>
                  <a:lnTo>
                    <a:pt x="176305" y="1683038"/>
                  </a:lnTo>
                  <a:lnTo>
                    <a:pt x="173886" y="1682948"/>
                  </a:lnTo>
                  <a:lnTo>
                    <a:pt x="172222" y="1685186"/>
                  </a:lnTo>
                  <a:lnTo>
                    <a:pt x="171828" y="1687788"/>
                  </a:lnTo>
                  <a:lnTo>
                    <a:pt x="171737" y="1690753"/>
                  </a:lnTo>
                  <a:lnTo>
                    <a:pt x="171133" y="1694020"/>
                  </a:lnTo>
                  <a:lnTo>
                    <a:pt x="170497" y="1695502"/>
                  </a:lnTo>
                  <a:lnTo>
                    <a:pt x="168743" y="1698467"/>
                  </a:lnTo>
                  <a:lnTo>
                    <a:pt x="168380" y="1698921"/>
                  </a:lnTo>
                  <a:lnTo>
                    <a:pt x="167835" y="1700584"/>
                  </a:lnTo>
                  <a:lnTo>
                    <a:pt x="166595" y="1700131"/>
                  </a:lnTo>
                  <a:lnTo>
                    <a:pt x="164538" y="1698164"/>
                  </a:lnTo>
                  <a:lnTo>
                    <a:pt x="162360" y="1698890"/>
                  </a:lnTo>
                  <a:lnTo>
                    <a:pt x="160786" y="1700826"/>
                  </a:lnTo>
                  <a:lnTo>
                    <a:pt x="160212" y="1703700"/>
                  </a:lnTo>
                  <a:lnTo>
                    <a:pt x="161059" y="1707210"/>
                  </a:lnTo>
                  <a:lnTo>
                    <a:pt x="161694" y="1708419"/>
                  </a:lnTo>
                  <a:lnTo>
                    <a:pt x="163479" y="1710598"/>
                  </a:lnTo>
                  <a:lnTo>
                    <a:pt x="164296" y="1711112"/>
                  </a:lnTo>
                  <a:lnTo>
                    <a:pt x="164991" y="1710840"/>
                  </a:lnTo>
                  <a:lnTo>
                    <a:pt x="165445" y="1711142"/>
                  </a:lnTo>
                  <a:lnTo>
                    <a:pt x="165506" y="1713350"/>
                  </a:lnTo>
                  <a:lnTo>
                    <a:pt x="164387" y="1716466"/>
                  </a:lnTo>
                  <a:lnTo>
                    <a:pt x="161997" y="1719219"/>
                  </a:lnTo>
                  <a:lnTo>
                    <a:pt x="159304" y="1721095"/>
                  </a:lnTo>
                  <a:lnTo>
                    <a:pt x="157307" y="1721609"/>
                  </a:lnTo>
                  <a:lnTo>
                    <a:pt x="157731" y="1725451"/>
                  </a:lnTo>
                  <a:lnTo>
                    <a:pt x="156188" y="1733316"/>
                  </a:lnTo>
                  <a:lnTo>
                    <a:pt x="155916" y="1738217"/>
                  </a:lnTo>
                  <a:lnTo>
                    <a:pt x="157731" y="1734829"/>
                  </a:lnTo>
                  <a:lnTo>
                    <a:pt x="158820" y="1733468"/>
                  </a:lnTo>
                  <a:lnTo>
                    <a:pt x="160030" y="1732742"/>
                  </a:lnTo>
                  <a:lnTo>
                    <a:pt x="161603" y="1735464"/>
                  </a:lnTo>
                  <a:lnTo>
                    <a:pt x="168833" y="1737189"/>
                  </a:lnTo>
                  <a:lnTo>
                    <a:pt x="170407" y="1740970"/>
                  </a:lnTo>
                  <a:lnTo>
                    <a:pt x="168289" y="1740395"/>
                  </a:lnTo>
                  <a:lnTo>
                    <a:pt x="166202" y="1742241"/>
                  </a:lnTo>
                  <a:lnTo>
                    <a:pt x="164144" y="1744842"/>
                  </a:lnTo>
                  <a:lnTo>
                    <a:pt x="162118" y="1746567"/>
                  </a:lnTo>
                  <a:lnTo>
                    <a:pt x="164326" y="1750288"/>
                  </a:lnTo>
                  <a:lnTo>
                    <a:pt x="164901" y="1751891"/>
                  </a:lnTo>
                  <a:lnTo>
                    <a:pt x="163237" y="1753252"/>
                  </a:lnTo>
                  <a:lnTo>
                    <a:pt x="161875" y="1755400"/>
                  </a:lnTo>
                  <a:lnTo>
                    <a:pt x="160998" y="1758244"/>
                  </a:lnTo>
                  <a:lnTo>
                    <a:pt x="160756" y="1761723"/>
                  </a:lnTo>
                  <a:lnTo>
                    <a:pt x="161089" y="1765383"/>
                  </a:lnTo>
                  <a:lnTo>
                    <a:pt x="161875" y="1766442"/>
                  </a:lnTo>
                  <a:lnTo>
                    <a:pt x="163146" y="1765807"/>
                  </a:lnTo>
                  <a:lnTo>
                    <a:pt x="164901" y="1764445"/>
                  </a:lnTo>
                  <a:lnTo>
                    <a:pt x="164356" y="1767985"/>
                  </a:lnTo>
                  <a:lnTo>
                    <a:pt x="162571" y="1774065"/>
                  </a:lnTo>
                  <a:lnTo>
                    <a:pt x="162783" y="1776606"/>
                  </a:lnTo>
                  <a:lnTo>
                    <a:pt x="164205" y="1774640"/>
                  </a:lnTo>
                  <a:lnTo>
                    <a:pt x="166111" y="1773127"/>
                  </a:lnTo>
                  <a:lnTo>
                    <a:pt x="168047" y="1772674"/>
                  </a:lnTo>
                  <a:lnTo>
                    <a:pt x="169681" y="1773853"/>
                  </a:lnTo>
                  <a:lnTo>
                    <a:pt x="168894" y="1774731"/>
                  </a:lnTo>
                  <a:lnTo>
                    <a:pt x="168380" y="1775699"/>
                  </a:lnTo>
                  <a:lnTo>
                    <a:pt x="167563" y="1778089"/>
                  </a:lnTo>
                  <a:lnTo>
                    <a:pt x="168138" y="1778331"/>
                  </a:lnTo>
                  <a:lnTo>
                    <a:pt x="169075" y="1779087"/>
                  </a:lnTo>
                  <a:lnTo>
                    <a:pt x="169681" y="1779329"/>
                  </a:lnTo>
                  <a:lnTo>
                    <a:pt x="168955" y="1782808"/>
                  </a:lnTo>
                  <a:lnTo>
                    <a:pt x="168410" y="1786892"/>
                  </a:lnTo>
                  <a:lnTo>
                    <a:pt x="168894" y="1789947"/>
                  </a:lnTo>
                  <a:lnTo>
                    <a:pt x="171072" y="1790340"/>
                  </a:lnTo>
                  <a:lnTo>
                    <a:pt x="169711" y="1787527"/>
                  </a:lnTo>
                  <a:lnTo>
                    <a:pt x="169983" y="1785440"/>
                  </a:lnTo>
                  <a:lnTo>
                    <a:pt x="176578" y="1775245"/>
                  </a:lnTo>
                  <a:lnTo>
                    <a:pt x="177274" y="1778089"/>
                  </a:lnTo>
                  <a:lnTo>
                    <a:pt x="176033" y="1780327"/>
                  </a:lnTo>
                  <a:lnTo>
                    <a:pt x="175549" y="1782959"/>
                  </a:lnTo>
                  <a:lnTo>
                    <a:pt x="175731" y="1785500"/>
                  </a:lnTo>
                  <a:lnTo>
                    <a:pt x="176547" y="1787467"/>
                  </a:lnTo>
                  <a:lnTo>
                    <a:pt x="178030" y="1788283"/>
                  </a:lnTo>
                  <a:lnTo>
                    <a:pt x="183445" y="1786226"/>
                  </a:lnTo>
                  <a:lnTo>
                    <a:pt x="182870" y="1789221"/>
                  </a:lnTo>
                  <a:lnTo>
                    <a:pt x="182810" y="1798478"/>
                  </a:lnTo>
                  <a:lnTo>
                    <a:pt x="182386" y="1801836"/>
                  </a:lnTo>
                  <a:lnTo>
                    <a:pt x="181146" y="1807584"/>
                  </a:lnTo>
                  <a:lnTo>
                    <a:pt x="180752" y="1810821"/>
                  </a:lnTo>
                  <a:lnTo>
                    <a:pt x="182477" y="1808945"/>
                  </a:lnTo>
                  <a:lnTo>
                    <a:pt x="183536" y="1806222"/>
                  </a:lnTo>
                  <a:lnTo>
                    <a:pt x="184776" y="1804075"/>
                  </a:lnTo>
                  <a:lnTo>
                    <a:pt x="186954" y="1803923"/>
                  </a:lnTo>
                  <a:lnTo>
                    <a:pt x="184866" y="1810851"/>
                  </a:lnTo>
                  <a:lnTo>
                    <a:pt x="187619" y="1813664"/>
                  </a:lnTo>
                  <a:lnTo>
                    <a:pt x="188527" y="1815570"/>
                  </a:lnTo>
                  <a:lnTo>
                    <a:pt x="187922" y="1818293"/>
                  </a:lnTo>
                  <a:lnTo>
                    <a:pt x="186621" y="1819866"/>
                  </a:lnTo>
                  <a:lnTo>
                    <a:pt x="183536" y="1821983"/>
                  </a:lnTo>
                  <a:lnTo>
                    <a:pt x="182084" y="1824343"/>
                  </a:lnTo>
                  <a:lnTo>
                    <a:pt x="182719" y="1826551"/>
                  </a:lnTo>
                  <a:lnTo>
                    <a:pt x="182386" y="1829395"/>
                  </a:lnTo>
                  <a:lnTo>
                    <a:pt x="180692" y="1835143"/>
                  </a:lnTo>
                  <a:lnTo>
                    <a:pt x="179089" y="1830938"/>
                  </a:lnTo>
                  <a:lnTo>
                    <a:pt x="178363" y="1832692"/>
                  </a:lnTo>
                  <a:lnTo>
                    <a:pt x="177879" y="1841919"/>
                  </a:lnTo>
                  <a:lnTo>
                    <a:pt x="177092" y="1846820"/>
                  </a:lnTo>
                  <a:lnTo>
                    <a:pt x="173099" y="1859677"/>
                  </a:lnTo>
                  <a:lnTo>
                    <a:pt x="177516" y="1860766"/>
                  </a:lnTo>
                  <a:lnTo>
                    <a:pt x="178968" y="1862399"/>
                  </a:lnTo>
                  <a:lnTo>
                    <a:pt x="177213" y="1866302"/>
                  </a:lnTo>
                  <a:lnTo>
                    <a:pt x="178483" y="1866816"/>
                  </a:lnTo>
                  <a:lnTo>
                    <a:pt x="180722" y="1868601"/>
                  </a:lnTo>
                  <a:lnTo>
                    <a:pt x="181146" y="1868722"/>
                  </a:lnTo>
                  <a:lnTo>
                    <a:pt x="182053" y="1868994"/>
                  </a:lnTo>
                  <a:lnTo>
                    <a:pt x="186652" y="1868752"/>
                  </a:lnTo>
                  <a:lnTo>
                    <a:pt x="187589" y="1868994"/>
                  </a:lnTo>
                  <a:lnTo>
                    <a:pt x="188255" y="1870446"/>
                  </a:lnTo>
                  <a:lnTo>
                    <a:pt x="188497" y="1872261"/>
                  </a:lnTo>
                  <a:lnTo>
                    <a:pt x="188890" y="1873804"/>
                  </a:lnTo>
                  <a:lnTo>
                    <a:pt x="190947" y="1875044"/>
                  </a:lnTo>
                  <a:lnTo>
                    <a:pt x="190735" y="1876376"/>
                  </a:lnTo>
                  <a:lnTo>
                    <a:pt x="189888" y="1877737"/>
                  </a:lnTo>
                  <a:lnTo>
                    <a:pt x="188951" y="1878463"/>
                  </a:lnTo>
                  <a:lnTo>
                    <a:pt x="189858" y="1881004"/>
                  </a:lnTo>
                  <a:lnTo>
                    <a:pt x="191401" y="1883727"/>
                  </a:lnTo>
                  <a:lnTo>
                    <a:pt x="194456" y="1887841"/>
                  </a:lnTo>
                  <a:lnTo>
                    <a:pt x="194033" y="1890836"/>
                  </a:lnTo>
                  <a:lnTo>
                    <a:pt x="195152" y="1892076"/>
                  </a:lnTo>
                  <a:lnTo>
                    <a:pt x="196846" y="1892681"/>
                  </a:lnTo>
                  <a:lnTo>
                    <a:pt x="198207" y="1893800"/>
                  </a:lnTo>
                  <a:lnTo>
                    <a:pt x="198510" y="1896160"/>
                  </a:lnTo>
                  <a:lnTo>
                    <a:pt x="197784" y="1898822"/>
                  </a:lnTo>
                  <a:lnTo>
                    <a:pt x="196877" y="1901484"/>
                  </a:lnTo>
                  <a:lnTo>
                    <a:pt x="196604" y="1903874"/>
                  </a:lnTo>
                  <a:lnTo>
                    <a:pt x="198540" y="1908321"/>
                  </a:lnTo>
                  <a:lnTo>
                    <a:pt x="205589" y="1912949"/>
                  </a:lnTo>
                  <a:lnTo>
                    <a:pt x="208251" y="1916005"/>
                  </a:lnTo>
                  <a:lnTo>
                    <a:pt x="206678" y="1916519"/>
                  </a:lnTo>
                  <a:lnTo>
                    <a:pt x="203260" y="1913948"/>
                  </a:lnTo>
                  <a:lnTo>
                    <a:pt x="201414" y="1913343"/>
                  </a:lnTo>
                  <a:lnTo>
                    <a:pt x="201414" y="1914553"/>
                  </a:lnTo>
                  <a:lnTo>
                    <a:pt x="203744" y="1919393"/>
                  </a:lnTo>
                  <a:lnTo>
                    <a:pt x="204046" y="1920845"/>
                  </a:lnTo>
                  <a:lnTo>
                    <a:pt x="203229" y="1923719"/>
                  </a:lnTo>
                  <a:lnTo>
                    <a:pt x="203381" y="1925322"/>
                  </a:lnTo>
                  <a:lnTo>
                    <a:pt x="204893" y="1927077"/>
                  </a:lnTo>
                  <a:lnTo>
                    <a:pt x="206980" y="1928105"/>
                  </a:lnTo>
                  <a:lnTo>
                    <a:pt x="208856" y="1929558"/>
                  </a:lnTo>
                  <a:lnTo>
                    <a:pt x="211125" y="1937877"/>
                  </a:lnTo>
                  <a:lnTo>
                    <a:pt x="214543" y="1942747"/>
                  </a:lnTo>
                  <a:lnTo>
                    <a:pt x="221410" y="1949221"/>
                  </a:lnTo>
                  <a:lnTo>
                    <a:pt x="221410" y="1950673"/>
                  </a:lnTo>
                  <a:lnTo>
                    <a:pt x="218446" y="1949705"/>
                  </a:lnTo>
                  <a:lnTo>
                    <a:pt x="212033" y="1945561"/>
                  </a:lnTo>
                  <a:lnTo>
                    <a:pt x="200416" y="1940841"/>
                  </a:lnTo>
                  <a:lnTo>
                    <a:pt x="197844" y="1941295"/>
                  </a:lnTo>
                  <a:lnTo>
                    <a:pt x="196241" y="1941961"/>
                  </a:lnTo>
                  <a:lnTo>
                    <a:pt x="195606" y="1942354"/>
                  </a:lnTo>
                  <a:lnTo>
                    <a:pt x="195788" y="1943261"/>
                  </a:lnTo>
                  <a:lnTo>
                    <a:pt x="196604" y="1945379"/>
                  </a:lnTo>
                  <a:lnTo>
                    <a:pt x="200658" y="1950673"/>
                  </a:lnTo>
                  <a:lnTo>
                    <a:pt x="202080" y="1951066"/>
                  </a:lnTo>
                  <a:lnTo>
                    <a:pt x="204772" y="1950219"/>
                  </a:lnTo>
                  <a:lnTo>
                    <a:pt x="206254" y="1950673"/>
                  </a:lnTo>
                  <a:lnTo>
                    <a:pt x="206799" y="1951732"/>
                  </a:lnTo>
                  <a:lnTo>
                    <a:pt x="208917" y="1957298"/>
                  </a:lnTo>
                  <a:lnTo>
                    <a:pt x="205256" y="1959264"/>
                  </a:lnTo>
                  <a:lnTo>
                    <a:pt x="191824" y="1957298"/>
                  </a:lnTo>
                  <a:lnTo>
                    <a:pt x="193821" y="1959295"/>
                  </a:lnTo>
                  <a:lnTo>
                    <a:pt x="200688" y="1962592"/>
                  </a:lnTo>
                  <a:lnTo>
                    <a:pt x="203895" y="1965678"/>
                  </a:lnTo>
                  <a:lnTo>
                    <a:pt x="205468" y="1967795"/>
                  </a:lnTo>
                  <a:lnTo>
                    <a:pt x="206950" y="1970669"/>
                  </a:lnTo>
                  <a:lnTo>
                    <a:pt x="203834" y="1972212"/>
                  </a:lnTo>
                  <a:lnTo>
                    <a:pt x="197421" y="1971607"/>
                  </a:lnTo>
                  <a:lnTo>
                    <a:pt x="194487" y="1973301"/>
                  </a:lnTo>
                  <a:lnTo>
                    <a:pt x="195818" y="1974148"/>
                  </a:lnTo>
                  <a:lnTo>
                    <a:pt x="198631" y="1975146"/>
                  </a:lnTo>
                  <a:lnTo>
                    <a:pt x="199962" y="1975933"/>
                  </a:lnTo>
                  <a:lnTo>
                    <a:pt x="201475" y="1977385"/>
                  </a:lnTo>
                  <a:lnTo>
                    <a:pt x="202080" y="1978595"/>
                  </a:lnTo>
                  <a:lnTo>
                    <a:pt x="202715" y="1982528"/>
                  </a:lnTo>
                  <a:lnTo>
                    <a:pt x="202806" y="1983556"/>
                  </a:lnTo>
                  <a:lnTo>
                    <a:pt x="202624" y="1985311"/>
                  </a:lnTo>
                  <a:lnTo>
                    <a:pt x="202715" y="1986491"/>
                  </a:lnTo>
                  <a:lnTo>
                    <a:pt x="203048" y="1987459"/>
                  </a:lnTo>
                  <a:lnTo>
                    <a:pt x="203834" y="1987973"/>
                  </a:lnTo>
                  <a:lnTo>
                    <a:pt x="204076" y="1989123"/>
                  </a:lnTo>
                  <a:lnTo>
                    <a:pt x="204076" y="1991059"/>
                  </a:lnTo>
                  <a:lnTo>
                    <a:pt x="203834" y="1994538"/>
                  </a:lnTo>
                  <a:lnTo>
                    <a:pt x="204076" y="1995566"/>
                  </a:lnTo>
                  <a:lnTo>
                    <a:pt x="204076" y="1996988"/>
                  </a:lnTo>
                  <a:lnTo>
                    <a:pt x="199932" y="1996988"/>
                  </a:lnTo>
                  <a:lnTo>
                    <a:pt x="200446" y="1999499"/>
                  </a:lnTo>
                  <a:lnTo>
                    <a:pt x="199539" y="2000618"/>
                  </a:lnTo>
                  <a:lnTo>
                    <a:pt x="198177" y="2001556"/>
                  </a:lnTo>
                  <a:lnTo>
                    <a:pt x="197209" y="2003552"/>
                  </a:lnTo>
                  <a:lnTo>
                    <a:pt x="202049" y="2005700"/>
                  </a:lnTo>
                  <a:lnTo>
                    <a:pt x="203986" y="2007515"/>
                  </a:lnTo>
                  <a:lnTo>
                    <a:pt x="205468" y="2011539"/>
                  </a:lnTo>
                  <a:lnTo>
                    <a:pt x="202322" y="2012416"/>
                  </a:lnTo>
                  <a:lnTo>
                    <a:pt x="199296" y="2014050"/>
                  </a:lnTo>
                  <a:lnTo>
                    <a:pt x="199539" y="2014746"/>
                  </a:lnTo>
                  <a:lnTo>
                    <a:pt x="199992" y="2016651"/>
                  </a:lnTo>
                  <a:lnTo>
                    <a:pt x="196725" y="2016530"/>
                  </a:lnTo>
                  <a:lnTo>
                    <a:pt x="195182" y="2016924"/>
                  </a:lnTo>
                  <a:lnTo>
                    <a:pt x="193851" y="2018103"/>
                  </a:lnTo>
                  <a:lnTo>
                    <a:pt x="195213" y="2018103"/>
                  </a:lnTo>
                  <a:lnTo>
                    <a:pt x="193851" y="2020856"/>
                  </a:lnTo>
                  <a:lnTo>
                    <a:pt x="194487" y="2021492"/>
                  </a:lnTo>
                  <a:lnTo>
                    <a:pt x="195152" y="2021885"/>
                  </a:lnTo>
                  <a:lnTo>
                    <a:pt x="195848" y="2022066"/>
                  </a:lnTo>
                  <a:lnTo>
                    <a:pt x="196574" y="2022066"/>
                  </a:lnTo>
                  <a:lnTo>
                    <a:pt x="194063" y="2023276"/>
                  </a:lnTo>
                  <a:lnTo>
                    <a:pt x="193065" y="2023337"/>
                  </a:lnTo>
                  <a:lnTo>
                    <a:pt x="194154" y="2024789"/>
                  </a:lnTo>
                  <a:lnTo>
                    <a:pt x="194789" y="2026695"/>
                  </a:lnTo>
                  <a:lnTo>
                    <a:pt x="195878" y="2031293"/>
                  </a:lnTo>
                  <a:lnTo>
                    <a:pt x="194608" y="2033290"/>
                  </a:lnTo>
                  <a:lnTo>
                    <a:pt x="195062" y="2035710"/>
                  </a:lnTo>
                  <a:lnTo>
                    <a:pt x="196423" y="2037888"/>
                  </a:lnTo>
                  <a:lnTo>
                    <a:pt x="197844" y="2039158"/>
                  </a:lnTo>
                  <a:lnTo>
                    <a:pt x="194971" y="2040127"/>
                  </a:lnTo>
                  <a:lnTo>
                    <a:pt x="189071" y="2037374"/>
                  </a:lnTo>
                  <a:lnTo>
                    <a:pt x="186228" y="2039158"/>
                  </a:lnTo>
                  <a:lnTo>
                    <a:pt x="188678" y="2039582"/>
                  </a:lnTo>
                  <a:lnTo>
                    <a:pt x="190312" y="2040973"/>
                  </a:lnTo>
                  <a:lnTo>
                    <a:pt x="190312" y="2041458"/>
                  </a:lnTo>
                  <a:lnTo>
                    <a:pt x="190433" y="2042395"/>
                  </a:lnTo>
                  <a:lnTo>
                    <a:pt x="188285" y="2042970"/>
                  </a:lnTo>
                  <a:lnTo>
                    <a:pt x="185956" y="2042123"/>
                  </a:lnTo>
                  <a:lnTo>
                    <a:pt x="181539" y="2039158"/>
                  </a:lnTo>
                  <a:lnTo>
                    <a:pt x="179361" y="2039158"/>
                  </a:lnTo>
                  <a:lnTo>
                    <a:pt x="179694" y="2041851"/>
                  </a:lnTo>
                  <a:lnTo>
                    <a:pt x="180632" y="2043484"/>
                  </a:lnTo>
                  <a:lnTo>
                    <a:pt x="183414" y="2045572"/>
                  </a:lnTo>
                  <a:lnTo>
                    <a:pt x="182779" y="2046086"/>
                  </a:lnTo>
                  <a:lnTo>
                    <a:pt x="181327" y="2048294"/>
                  </a:lnTo>
                  <a:lnTo>
                    <a:pt x="183051" y="2049777"/>
                  </a:lnTo>
                  <a:lnTo>
                    <a:pt x="187559" y="2058701"/>
                  </a:lnTo>
                  <a:lnTo>
                    <a:pt x="188073" y="2060123"/>
                  </a:lnTo>
                  <a:lnTo>
                    <a:pt x="188315" y="2061393"/>
                  </a:lnTo>
                  <a:lnTo>
                    <a:pt x="188799" y="2062271"/>
                  </a:lnTo>
                  <a:lnTo>
                    <a:pt x="190009" y="2062603"/>
                  </a:lnTo>
                  <a:lnTo>
                    <a:pt x="190857" y="2063329"/>
                  </a:lnTo>
                  <a:lnTo>
                    <a:pt x="191371" y="2065084"/>
                  </a:lnTo>
                  <a:lnTo>
                    <a:pt x="191794" y="2067262"/>
                  </a:lnTo>
                  <a:lnTo>
                    <a:pt x="192429" y="2069228"/>
                  </a:lnTo>
                  <a:lnTo>
                    <a:pt x="191189" y="2069107"/>
                  </a:lnTo>
                  <a:lnTo>
                    <a:pt x="190312" y="2068139"/>
                  </a:lnTo>
                  <a:lnTo>
                    <a:pt x="189525" y="2067050"/>
                  </a:lnTo>
                  <a:lnTo>
                    <a:pt x="188648" y="2066536"/>
                  </a:lnTo>
                  <a:lnTo>
                    <a:pt x="187741" y="2066960"/>
                  </a:lnTo>
                  <a:lnTo>
                    <a:pt x="185956" y="2068835"/>
                  </a:lnTo>
                  <a:lnTo>
                    <a:pt x="184897" y="2069259"/>
                  </a:lnTo>
                  <a:lnTo>
                    <a:pt x="186924" y="2072677"/>
                  </a:lnTo>
                  <a:lnTo>
                    <a:pt x="187650" y="2073161"/>
                  </a:lnTo>
                  <a:lnTo>
                    <a:pt x="190160" y="2073161"/>
                  </a:lnTo>
                  <a:lnTo>
                    <a:pt x="191310" y="2073494"/>
                  </a:lnTo>
                  <a:lnTo>
                    <a:pt x="192429" y="2074371"/>
                  </a:lnTo>
                  <a:lnTo>
                    <a:pt x="190342" y="2076489"/>
                  </a:lnTo>
                  <a:lnTo>
                    <a:pt x="187771" y="2076761"/>
                  </a:lnTo>
                  <a:lnTo>
                    <a:pt x="182749" y="2075793"/>
                  </a:lnTo>
                  <a:lnTo>
                    <a:pt x="181358" y="2076489"/>
                  </a:lnTo>
                  <a:lnTo>
                    <a:pt x="183142" y="2080270"/>
                  </a:lnTo>
                  <a:lnTo>
                    <a:pt x="182084" y="2082146"/>
                  </a:lnTo>
                  <a:lnTo>
                    <a:pt x="182356" y="2083537"/>
                  </a:lnTo>
                  <a:lnTo>
                    <a:pt x="182810" y="2084626"/>
                  </a:lnTo>
                  <a:lnTo>
                    <a:pt x="183384" y="2085504"/>
                  </a:lnTo>
                  <a:lnTo>
                    <a:pt x="184140" y="2086260"/>
                  </a:lnTo>
                  <a:lnTo>
                    <a:pt x="185593" y="2085685"/>
                  </a:lnTo>
                  <a:lnTo>
                    <a:pt x="186924" y="2087319"/>
                  </a:lnTo>
                  <a:lnTo>
                    <a:pt x="187589" y="2090011"/>
                  </a:lnTo>
                  <a:lnTo>
                    <a:pt x="186924" y="2092613"/>
                  </a:lnTo>
                  <a:lnTo>
                    <a:pt x="188285" y="2092673"/>
                  </a:lnTo>
                  <a:lnTo>
                    <a:pt x="189556" y="2093550"/>
                  </a:lnTo>
                  <a:lnTo>
                    <a:pt x="191734" y="2096485"/>
                  </a:lnTo>
                  <a:lnTo>
                    <a:pt x="190675" y="2096364"/>
                  </a:lnTo>
                  <a:lnTo>
                    <a:pt x="189828" y="2096636"/>
                  </a:lnTo>
                  <a:lnTo>
                    <a:pt x="188225" y="2097756"/>
                  </a:lnTo>
                  <a:lnTo>
                    <a:pt x="190131" y="2099419"/>
                  </a:lnTo>
                  <a:lnTo>
                    <a:pt x="192187" y="2100720"/>
                  </a:lnTo>
                  <a:lnTo>
                    <a:pt x="194335" y="2101537"/>
                  </a:lnTo>
                  <a:lnTo>
                    <a:pt x="196514" y="2101749"/>
                  </a:lnTo>
                  <a:lnTo>
                    <a:pt x="196514" y="2102898"/>
                  </a:lnTo>
                  <a:lnTo>
                    <a:pt x="191673" y="2102898"/>
                  </a:lnTo>
                  <a:lnTo>
                    <a:pt x="192581" y="2105167"/>
                  </a:lnTo>
                  <a:lnTo>
                    <a:pt x="193579" y="2107043"/>
                  </a:lnTo>
                  <a:lnTo>
                    <a:pt x="194063" y="2108949"/>
                  </a:lnTo>
                  <a:lnTo>
                    <a:pt x="193398" y="2111308"/>
                  </a:lnTo>
                  <a:lnTo>
                    <a:pt x="192097" y="2111429"/>
                  </a:lnTo>
                  <a:lnTo>
                    <a:pt x="184776" y="2109433"/>
                  </a:lnTo>
                  <a:lnTo>
                    <a:pt x="185048" y="2110522"/>
                  </a:lnTo>
                  <a:lnTo>
                    <a:pt x="185048" y="2110794"/>
                  </a:lnTo>
                  <a:lnTo>
                    <a:pt x="184837" y="2111006"/>
                  </a:lnTo>
                  <a:lnTo>
                    <a:pt x="184776" y="2111974"/>
                  </a:lnTo>
                  <a:lnTo>
                    <a:pt x="185744" y="2114575"/>
                  </a:lnTo>
                  <a:lnTo>
                    <a:pt x="187408" y="2117540"/>
                  </a:lnTo>
                  <a:lnTo>
                    <a:pt x="189434" y="2119990"/>
                  </a:lnTo>
                  <a:lnTo>
                    <a:pt x="191613" y="2121019"/>
                  </a:lnTo>
                  <a:lnTo>
                    <a:pt x="196483" y="2124861"/>
                  </a:lnTo>
                  <a:lnTo>
                    <a:pt x="195757" y="2126101"/>
                  </a:lnTo>
                  <a:lnTo>
                    <a:pt x="194002" y="2126010"/>
                  </a:lnTo>
                  <a:lnTo>
                    <a:pt x="190947" y="2124861"/>
                  </a:lnTo>
                  <a:lnTo>
                    <a:pt x="192339" y="2127553"/>
                  </a:lnTo>
                  <a:lnTo>
                    <a:pt x="191431" y="2128340"/>
                  </a:lnTo>
                  <a:lnTo>
                    <a:pt x="191008" y="2128612"/>
                  </a:lnTo>
                  <a:lnTo>
                    <a:pt x="190342" y="2128733"/>
                  </a:lnTo>
                  <a:lnTo>
                    <a:pt x="190342" y="2130125"/>
                  </a:lnTo>
                  <a:lnTo>
                    <a:pt x="191340" y="2130488"/>
                  </a:lnTo>
                  <a:lnTo>
                    <a:pt x="192944" y="2132091"/>
                  </a:lnTo>
                  <a:lnTo>
                    <a:pt x="193791" y="2132575"/>
                  </a:lnTo>
                  <a:lnTo>
                    <a:pt x="195001" y="2132514"/>
                  </a:lnTo>
                  <a:lnTo>
                    <a:pt x="198177" y="2131304"/>
                  </a:lnTo>
                  <a:lnTo>
                    <a:pt x="205105" y="2131667"/>
                  </a:lnTo>
                  <a:lnTo>
                    <a:pt x="207495" y="2132575"/>
                  </a:lnTo>
                  <a:lnTo>
                    <a:pt x="207495" y="2133966"/>
                  </a:lnTo>
                  <a:lnTo>
                    <a:pt x="202957" y="2132424"/>
                  </a:lnTo>
                  <a:lnTo>
                    <a:pt x="201384" y="2132545"/>
                  </a:lnTo>
                  <a:lnTo>
                    <a:pt x="206587" y="2140228"/>
                  </a:lnTo>
                  <a:lnTo>
                    <a:pt x="208009" y="2144252"/>
                  </a:lnTo>
                  <a:lnTo>
                    <a:pt x="205407" y="2146642"/>
                  </a:lnTo>
                  <a:lnTo>
                    <a:pt x="207585" y="2147459"/>
                  </a:lnTo>
                  <a:lnTo>
                    <a:pt x="210822" y="2147277"/>
                  </a:lnTo>
                  <a:lnTo>
                    <a:pt x="213757" y="2145976"/>
                  </a:lnTo>
                  <a:lnTo>
                    <a:pt x="215058" y="2143496"/>
                  </a:lnTo>
                  <a:lnTo>
                    <a:pt x="215058" y="2141469"/>
                  </a:lnTo>
                  <a:lnTo>
                    <a:pt x="215178" y="2140319"/>
                  </a:lnTo>
                  <a:lnTo>
                    <a:pt x="215511" y="2139502"/>
                  </a:lnTo>
                  <a:lnTo>
                    <a:pt x="216116" y="2138383"/>
                  </a:lnTo>
                  <a:lnTo>
                    <a:pt x="216540" y="2136719"/>
                  </a:lnTo>
                  <a:lnTo>
                    <a:pt x="215632" y="2134118"/>
                  </a:lnTo>
                  <a:lnTo>
                    <a:pt x="215814" y="2132575"/>
                  </a:lnTo>
                  <a:lnTo>
                    <a:pt x="217538" y="2130851"/>
                  </a:lnTo>
                  <a:lnTo>
                    <a:pt x="222832" y="2129852"/>
                  </a:lnTo>
                  <a:lnTo>
                    <a:pt x="225101" y="2128128"/>
                  </a:lnTo>
                  <a:lnTo>
                    <a:pt x="227098" y="2125678"/>
                  </a:lnTo>
                  <a:lnTo>
                    <a:pt x="233783" y="2121019"/>
                  </a:lnTo>
                  <a:lnTo>
                    <a:pt x="232815" y="2123197"/>
                  </a:lnTo>
                  <a:lnTo>
                    <a:pt x="232543" y="2125224"/>
                  </a:lnTo>
                  <a:lnTo>
                    <a:pt x="233027" y="2127099"/>
                  </a:lnTo>
                  <a:lnTo>
                    <a:pt x="234328" y="2128733"/>
                  </a:lnTo>
                  <a:lnTo>
                    <a:pt x="231666" y="2129247"/>
                  </a:lnTo>
                  <a:lnTo>
                    <a:pt x="230486" y="2131032"/>
                  </a:lnTo>
                  <a:lnTo>
                    <a:pt x="230244" y="2133603"/>
                  </a:lnTo>
                  <a:lnTo>
                    <a:pt x="230244" y="2136447"/>
                  </a:lnTo>
                  <a:lnTo>
                    <a:pt x="230002" y="2140531"/>
                  </a:lnTo>
                  <a:lnTo>
                    <a:pt x="228641" y="2146158"/>
                  </a:lnTo>
                  <a:lnTo>
                    <a:pt x="228247" y="2149364"/>
                  </a:lnTo>
                  <a:lnTo>
                    <a:pt x="230304" y="2147852"/>
                  </a:lnTo>
                  <a:lnTo>
                    <a:pt x="232603" y="2147973"/>
                  </a:lnTo>
                  <a:lnTo>
                    <a:pt x="237171" y="2149364"/>
                  </a:lnTo>
                  <a:lnTo>
                    <a:pt x="234600" y="2144524"/>
                  </a:lnTo>
                  <a:lnTo>
                    <a:pt x="234146" y="2142316"/>
                  </a:lnTo>
                  <a:lnTo>
                    <a:pt x="235114" y="2140380"/>
                  </a:lnTo>
                  <a:lnTo>
                    <a:pt x="237202" y="2139684"/>
                  </a:lnTo>
                  <a:lnTo>
                    <a:pt x="240136" y="2139805"/>
                  </a:lnTo>
                  <a:lnTo>
                    <a:pt x="243010" y="2140531"/>
                  </a:lnTo>
                  <a:lnTo>
                    <a:pt x="244886" y="2141650"/>
                  </a:lnTo>
                  <a:lnTo>
                    <a:pt x="244401" y="2142951"/>
                  </a:lnTo>
                  <a:lnTo>
                    <a:pt x="243797" y="2145371"/>
                  </a:lnTo>
                  <a:lnTo>
                    <a:pt x="243373" y="2146672"/>
                  </a:lnTo>
                  <a:lnTo>
                    <a:pt x="248243" y="2146672"/>
                  </a:lnTo>
                  <a:lnTo>
                    <a:pt x="247759" y="2148820"/>
                  </a:lnTo>
                  <a:lnTo>
                    <a:pt x="248031" y="2149576"/>
                  </a:lnTo>
                  <a:lnTo>
                    <a:pt x="248758" y="2149879"/>
                  </a:lnTo>
                  <a:lnTo>
                    <a:pt x="249605" y="2150635"/>
                  </a:lnTo>
                  <a:lnTo>
                    <a:pt x="250028" y="2150816"/>
                  </a:lnTo>
                  <a:lnTo>
                    <a:pt x="251208" y="2150514"/>
                  </a:lnTo>
                  <a:lnTo>
                    <a:pt x="251662" y="2150635"/>
                  </a:lnTo>
                  <a:lnTo>
                    <a:pt x="251662" y="2151089"/>
                  </a:lnTo>
                  <a:lnTo>
                    <a:pt x="251601" y="2152722"/>
                  </a:lnTo>
                  <a:lnTo>
                    <a:pt x="251662" y="2153176"/>
                  </a:lnTo>
                  <a:lnTo>
                    <a:pt x="254566" y="2156685"/>
                  </a:lnTo>
                  <a:lnTo>
                    <a:pt x="256321" y="2157139"/>
                  </a:lnTo>
                  <a:lnTo>
                    <a:pt x="258166" y="2155112"/>
                  </a:lnTo>
                  <a:lnTo>
                    <a:pt x="260011" y="2152329"/>
                  </a:lnTo>
                  <a:lnTo>
                    <a:pt x="260707" y="2153327"/>
                  </a:lnTo>
                  <a:lnTo>
                    <a:pt x="260979" y="2155717"/>
                  </a:lnTo>
                  <a:lnTo>
                    <a:pt x="261554" y="2157048"/>
                  </a:lnTo>
                  <a:lnTo>
                    <a:pt x="266031" y="2157472"/>
                  </a:lnTo>
                  <a:lnTo>
                    <a:pt x="268058" y="2158258"/>
                  </a:lnTo>
                  <a:lnTo>
                    <a:pt x="274895" y="2163099"/>
                  </a:lnTo>
                  <a:lnTo>
                    <a:pt x="277980" y="2166487"/>
                  </a:lnTo>
                  <a:lnTo>
                    <a:pt x="279130" y="2167183"/>
                  </a:lnTo>
                  <a:lnTo>
                    <a:pt x="282609" y="2167183"/>
                  </a:lnTo>
                  <a:lnTo>
                    <a:pt x="298461" y="2163522"/>
                  </a:lnTo>
                  <a:lnTo>
                    <a:pt x="296404" y="2168514"/>
                  </a:lnTo>
                  <a:lnTo>
                    <a:pt x="304481" y="2169088"/>
                  </a:lnTo>
                  <a:lnTo>
                    <a:pt x="308232" y="2168453"/>
                  </a:lnTo>
                  <a:lnTo>
                    <a:pt x="312588" y="2164127"/>
                  </a:lnTo>
                  <a:lnTo>
                    <a:pt x="313314" y="2165912"/>
                  </a:lnTo>
                  <a:lnTo>
                    <a:pt x="312921" y="2168574"/>
                  </a:lnTo>
                  <a:lnTo>
                    <a:pt x="309775" y="2170783"/>
                  </a:lnTo>
                  <a:lnTo>
                    <a:pt x="304693" y="2176349"/>
                  </a:lnTo>
                  <a:lnTo>
                    <a:pt x="304148" y="2179132"/>
                  </a:lnTo>
                  <a:lnTo>
                    <a:pt x="300971" y="2182490"/>
                  </a:lnTo>
                  <a:lnTo>
                    <a:pt x="298824" y="2185485"/>
                  </a:lnTo>
                  <a:lnTo>
                    <a:pt x="297009" y="2186997"/>
                  </a:lnTo>
                  <a:lnTo>
                    <a:pt x="296374" y="2187814"/>
                  </a:lnTo>
                  <a:lnTo>
                    <a:pt x="295980" y="2189236"/>
                  </a:lnTo>
                  <a:lnTo>
                    <a:pt x="295980" y="2190385"/>
                  </a:lnTo>
                  <a:lnTo>
                    <a:pt x="295829" y="2191565"/>
                  </a:lnTo>
                  <a:lnTo>
                    <a:pt x="295012" y="2192896"/>
                  </a:lnTo>
                  <a:lnTo>
                    <a:pt x="300457" y="2192533"/>
                  </a:lnTo>
                  <a:lnTo>
                    <a:pt x="302847" y="2191596"/>
                  </a:lnTo>
                  <a:lnTo>
                    <a:pt x="307597" y="2188117"/>
                  </a:lnTo>
                  <a:lnTo>
                    <a:pt x="309987" y="2187179"/>
                  </a:lnTo>
                  <a:lnTo>
                    <a:pt x="314978" y="2186634"/>
                  </a:lnTo>
                  <a:lnTo>
                    <a:pt x="310229" y="2188601"/>
                  </a:lnTo>
                  <a:lnTo>
                    <a:pt x="309170" y="2189720"/>
                  </a:lnTo>
                  <a:lnTo>
                    <a:pt x="307325" y="2193380"/>
                  </a:lnTo>
                  <a:lnTo>
                    <a:pt x="307476" y="2194802"/>
                  </a:lnTo>
                  <a:lnTo>
                    <a:pt x="309503" y="2195316"/>
                  </a:lnTo>
                  <a:lnTo>
                    <a:pt x="304087" y="2198795"/>
                  </a:lnTo>
                  <a:lnTo>
                    <a:pt x="302605" y="2200520"/>
                  </a:lnTo>
                  <a:lnTo>
                    <a:pt x="305479" y="2200368"/>
                  </a:lnTo>
                  <a:lnTo>
                    <a:pt x="311287" y="2197585"/>
                  </a:lnTo>
                  <a:lnTo>
                    <a:pt x="323842" y="2194197"/>
                  </a:lnTo>
                  <a:lnTo>
                    <a:pt x="338029" y="2182460"/>
                  </a:lnTo>
                  <a:lnTo>
                    <a:pt x="344473" y="2179586"/>
                  </a:lnTo>
                  <a:lnTo>
                    <a:pt x="350191" y="2181431"/>
                  </a:lnTo>
                  <a:lnTo>
                    <a:pt x="351461" y="2178194"/>
                  </a:lnTo>
                  <a:lnTo>
                    <a:pt x="353821" y="2174473"/>
                  </a:lnTo>
                  <a:lnTo>
                    <a:pt x="356453" y="2171962"/>
                  </a:lnTo>
                  <a:lnTo>
                    <a:pt x="358479" y="2172386"/>
                  </a:lnTo>
                  <a:lnTo>
                    <a:pt x="358722" y="2174110"/>
                  </a:lnTo>
                  <a:lnTo>
                    <a:pt x="357663" y="2175441"/>
                  </a:lnTo>
                  <a:lnTo>
                    <a:pt x="354971" y="2177619"/>
                  </a:lnTo>
                  <a:lnTo>
                    <a:pt x="354184" y="2179102"/>
                  </a:lnTo>
                  <a:lnTo>
                    <a:pt x="353488" y="2182187"/>
                  </a:lnTo>
                  <a:lnTo>
                    <a:pt x="352913" y="2184002"/>
                  </a:lnTo>
                  <a:lnTo>
                    <a:pt x="351098" y="2186967"/>
                  </a:lnTo>
                  <a:lnTo>
                    <a:pt x="344594" y="2192896"/>
                  </a:lnTo>
                  <a:lnTo>
                    <a:pt x="342446" y="2195498"/>
                  </a:lnTo>
                  <a:lnTo>
                    <a:pt x="336971" y="2204331"/>
                  </a:lnTo>
                  <a:lnTo>
                    <a:pt x="338181" y="2205481"/>
                  </a:lnTo>
                  <a:lnTo>
                    <a:pt x="338846" y="2206993"/>
                  </a:lnTo>
                  <a:lnTo>
                    <a:pt x="338756" y="2208778"/>
                  </a:lnTo>
                  <a:lnTo>
                    <a:pt x="337727" y="2210684"/>
                  </a:lnTo>
                  <a:lnTo>
                    <a:pt x="338967" y="2211561"/>
                  </a:lnTo>
                  <a:lnTo>
                    <a:pt x="341055" y="2214012"/>
                  </a:lnTo>
                  <a:lnTo>
                    <a:pt x="344534" y="2214829"/>
                  </a:lnTo>
                  <a:lnTo>
                    <a:pt x="346137" y="2215918"/>
                  </a:lnTo>
                  <a:lnTo>
                    <a:pt x="347105" y="2217914"/>
                  </a:lnTo>
                  <a:lnTo>
                    <a:pt x="347226" y="2220970"/>
                  </a:lnTo>
                  <a:lnTo>
                    <a:pt x="348073" y="2220153"/>
                  </a:lnTo>
                  <a:lnTo>
                    <a:pt x="349979" y="2219245"/>
                  </a:lnTo>
                  <a:lnTo>
                    <a:pt x="350796" y="2218580"/>
                  </a:lnTo>
                  <a:lnTo>
                    <a:pt x="351189" y="2217703"/>
                  </a:lnTo>
                  <a:lnTo>
                    <a:pt x="352308" y="2214587"/>
                  </a:lnTo>
                  <a:lnTo>
                    <a:pt x="352853" y="2213376"/>
                  </a:lnTo>
                  <a:lnTo>
                    <a:pt x="354910" y="2215918"/>
                  </a:lnTo>
                  <a:lnTo>
                    <a:pt x="351582" y="2219608"/>
                  </a:lnTo>
                  <a:lnTo>
                    <a:pt x="350009" y="2221847"/>
                  </a:lnTo>
                  <a:lnTo>
                    <a:pt x="349374" y="2224116"/>
                  </a:lnTo>
                  <a:lnTo>
                    <a:pt x="350009" y="2226959"/>
                  </a:lnTo>
                  <a:lnTo>
                    <a:pt x="351643" y="2228895"/>
                  </a:lnTo>
                  <a:lnTo>
                    <a:pt x="353882" y="2230196"/>
                  </a:lnTo>
                  <a:lnTo>
                    <a:pt x="356301" y="2231104"/>
                  </a:lnTo>
                  <a:lnTo>
                    <a:pt x="361021" y="2231225"/>
                  </a:lnTo>
                  <a:lnTo>
                    <a:pt x="370973" y="2229258"/>
                  </a:lnTo>
                  <a:lnTo>
                    <a:pt x="376237" y="2231104"/>
                  </a:lnTo>
                  <a:lnTo>
                    <a:pt x="374634" y="2232344"/>
                  </a:lnTo>
                  <a:lnTo>
                    <a:pt x="372274" y="2236912"/>
                  </a:lnTo>
                  <a:lnTo>
                    <a:pt x="370822" y="2238909"/>
                  </a:lnTo>
                  <a:lnTo>
                    <a:pt x="363229" y="2241571"/>
                  </a:lnTo>
                  <a:lnTo>
                    <a:pt x="361535" y="2243204"/>
                  </a:lnTo>
                  <a:lnTo>
                    <a:pt x="361474" y="2243930"/>
                  </a:lnTo>
                  <a:lnTo>
                    <a:pt x="360446" y="2249436"/>
                  </a:lnTo>
                  <a:lnTo>
                    <a:pt x="360748" y="2251433"/>
                  </a:lnTo>
                  <a:lnTo>
                    <a:pt x="361444" y="2252613"/>
                  </a:lnTo>
                  <a:lnTo>
                    <a:pt x="362170" y="2252522"/>
                  </a:lnTo>
                  <a:lnTo>
                    <a:pt x="362473" y="2250707"/>
                  </a:lnTo>
                  <a:lnTo>
                    <a:pt x="363562" y="2248982"/>
                  </a:lnTo>
                  <a:lnTo>
                    <a:pt x="367525" y="2250193"/>
                  </a:lnTo>
                  <a:lnTo>
                    <a:pt x="367222" y="2248892"/>
                  </a:lnTo>
                  <a:lnTo>
                    <a:pt x="368221" y="2247893"/>
                  </a:lnTo>
                  <a:lnTo>
                    <a:pt x="369310" y="2247651"/>
                  </a:lnTo>
                  <a:lnTo>
                    <a:pt x="370429" y="2248014"/>
                  </a:lnTo>
                  <a:lnTo>
                    <a:pt x="371427" y="2248892"/>
                  </a:lnTo>
                  <a:lnTo>
                    <a:pt x="371185" y="2249587"/>
                  </a:lnTo>
                  <a:lnTo>
                    <a:pt x="370973" y="2250798"/>
                  </a:lnTo>
                  <a:lnTo>
                    <a:pt x="370822" y="2251403"/>
                  </a:lnTo>
                  <a:lnTo>
                    <a:pt x="372819" y="2251403"/>
                  </a:lnTo>
                  <a:lnTo>
                    <a:pt x="375481" y="2247984"/>
                  </a:lnTo>
                  <a:lnTo>
                    <a:pt x="382136" y="2234311"/>
                  </a:lnTo>
                  <a:lnTo>
                    <a:pt x="383860" y="2232919"/>
                  </a:lnTo>
                  <a:lnTo>
                    <a:pt x="383195" y="2236731"/>
                  </a:lnTo>
                  <a:lnTo>
                    <a:pt x="381441" y="2242267"/>
                  </a:lnTo>
                  <a:lnTo>
                    <a:pt x="379898" y="2246109"/>
                  </a:lnTo>
                  <a:lnTo>
                    <a:pt x="377387" y="2250253"/>
                  </a:lnTo>
                  <a:lnTo>
                    <a:pt x="375178" y="2252794"/>
                  </a:lnTo>
                  <a:lnTo>
                    <a:pt x="372698" y="2253974"/>
                  </a:lnTo>
                  <a:lnTo>
                    <a:pt x="369340" y="2254065"/>
                  </a:lnTo>
                  <a:lnTo>
                    <a:pt x="368130" y="2253732"/>
                  </a:lnTo>
                  <a:lnTo>
                    <a:pt x="367011" y="2253671"/>
                  </a:lnTo>
                  <a:lnTo>
                    <a:pt x="366526" y="2255063"/>
                  </a:lnTo>
                  <a:lnTo>
                    <a:pt x="367222" y="2258996"/>
                  </a:lnTo>
                  <a:lnTo>
                    <a:pt x="363138" y="2259449"/>
                  </a:lnTo>
                  <a:lnTo>
                    <a:pt x="348980" y="2265802"/>
                  </a:lnTo>
                  <a:lnTo>
                    <a:pt x="344897" y="2266528"/>
                  </a:lnTo>
                  <a:lnTo>
                    <a:pt x="343414" y="2267466"/>
                  </a:lnTo>
                  <a:lnTo>
                    <a:pt x="340873" y="2271732"/>
                  </a:lnTo>
                  <a:lnTo>
                    <a:pt x="339089" y="2272911"/>
                  </a:lnTo>
                  <a:lnTo>
                    <a:pt x="340782" y="2273274"/>
                  </a:lnTo>
                  <a:lnTo>
                    <a:pt x="346802" y="2271974"/>
                  </a:lnTo>
                  <a:lnTo>
                    <a:pt x="348708" y="2270975"/>
                  </a:lnTo>
                  <a:lnTo>
                    <a:pt x="351038" y="2270521"/>
                  </a:lnTo>
                  <a:lnTo>
                    <a:pt x="357209" y="2271520"/>
                  </a:lnTo>
                  <a:lnTo>
                    <a:pt x="358449" y="2270400"/>
                  </a:lnTo>
                  <a:lnTo>
                    <a:pt x="375632" y="2267769"/>
                  </a:lnTo>
                  <a:lnTo>
                    <a:pt x="375632" y="2266498"/>
                  </a:lnTo>
                  <a:lnTo>
                    <a:pt x="373787" y="2265772"/>
                  </a:lnTo>
                  <a:lnTo>
                    <a:pt x="372698" y="2262868"/>
                  </a:lnTo>
                  <a:lnTo>
                    <a:pt x="372698" y="2259480"/>
                  </a:lnTo>
                  <a:lnTo>
                    <a:pt x="374210" y="2257302"/>
                  </a:lnTo>
                  <a:lnTo>
                    <a:pt x="383195" y="2252703"/>
                  </a:lnTo>
                  <a:lnTo>
                    <a:pt x="387067" y="2248589"/>
                  </a:lnTo>
                  <a:lnTo>
                    <a:pt x="390455" y="2243265"/>
                  </a:lnTo>
                  <a:lnTo>
                    <a:pt x="391393" y="2242115"/>
                  </a:lnTo>
                  <a:lnTo>
                    <a:pt x="393632" y="2240573"/>
                  </a:lnTo>
                  <a:lnTo>
                    <a:pt x="394600" y="2239514"/>
                  </a:lnTo>
                  <a:lnTo>
                    <a:pt x="395235" y="2237547"/>
                  </a:lnTo>
                  <a:lnTo>
                    <a:pt x="395568" y="2235248"/>
                  </a:lnTo>
                  <a:lnTo>
                    <a:pt x="395991" y="2233312"/>
                  </a:lnTo>
                  <a:lnTo>
                    <a:pt x="397020" y="2232526"/>
                  </a:lnTo>
                  <a:lnTo>
                    <a:pt x="398532" y="2231800"/>
                  </a:lnTo>
                  <a:lnTo>
                    <a:pt x="399228" y="2230136"/>
                  </a:lnTo>
                  <a:lnTo>
                    <a:pt x="399682" y="2228230"/>
                  </a:lnTo>
                  <a:lnTo>
                    <a:pt x="400499" y="2226778"/>
                  </a:lnTo>
                  <a:lnTo>
                    <a:pt x="401648" y="2226022"/>
                  </a:lnTo>
                  <a:lnTo>
                    <a:pt x="405309" y="2224812"/>
                  </a:lnTo>
                  <a:lnTo>
                    <a:pt x="404432" y="2226838"/>
                  </a:lnTo>
                  <a:lnTo>
                    <a:pt x="404099" y="2228563"/>
                  </a:lnTo>
                  <a:lnTo>
                    <a:pt x="404280" y="2230166"/>
                  </a:lnTo>
                  <a:lnTo>
                    <a:pt x="404946" y="2231830"/>
                  </a:lnTo>
                  <a:lnTo>
                    <a:pt x="404764" y="2233100"/>
                  </a:lnTo>
                  <a:lnTo>
                    <a:pt x="403373" y="2234068"/>
                  </a:lnTo>
                  <a:lnTo>
                    <a:pt x="400468" y="2234916"/>
                  </a:lnTo>
                  <a:lnTo>
                    <a:pt x="398986" y="2236398"/>
                  </a:lnTo>
                  <a:lnTo>
                    <a:pt x="394660" y="2243688"/>
                  </a:lnTo>
                  <a:lnTo>
                    <a:pt x="393541" y="2246502"/>
                  </a:lnTo>
                  <a:lnTo>
                    <a:pt x="395900" y="2246381"/>
                  </a:lnTo>
                  <a:lnTo>
                    <a:pt x="400166" y="2244384"/>
                  </a:lnTo>
                  <a:lnTo>
                    <a:pt x="406851" y="2242630"/>
                  </a:lnTo>
                  <a:lnTo>
                    <a:pt x="408001" y="2242630"/>
                  </a:lnTo>
                  <a:lnTo>
                    <a:pt x="409060" y="2243416"/>
                  </a:lnTo>
                  <a:lnTo>
                    <a:pt x="410119" y="2245655"/>
                  </a:lnTo>
                  <a:lnTo>
                    <a:pt x="411450" y="2246502"/>
                  </a:lnTo>
                  <a:lnTo>
                    <a:pt x="427907" y="2244414"/>
                  </a:lnTo>
                  <a:lnTo>
                    <a:pt x="430750" y="2246502"/>
                  </a:lnTo>
                  <a:lnTo>
                    <a:pt x="438132" y="2239756"/>
                  </a:lnTo>
                  <a:lnTo>
                    <a:pt x="444938" y="2238606"/>
                  </a:lnTo>
                  <a:lnTo>
                    <a:pt x="446421" y="2237820"/>
                  </a:lnTo>
                  <a:lnTo>
                    <a:pt x="447963" y="2236307"/>
                  </a:lnTo>
                  <a:lnTo>
                    <a:pt x="449083" y="2234431"/>
                  </a:lnTo>
                  <a:lnTo>
                    <a:pt x="449930" y="2232647"/>
                  </a:lnTo>
                  <a:lnTo>
                    <a:pt x="450989" y="2231406"/>
                  </a:lnTo>
                  <a:lnTo>
                    <a:pt x="452834" y="2231134"/>
                  </a:lnTo>
                  <a:lnTo>
                    <a:pt x="452834" y="2232526"/>
                  </a:lnTo>
                  <a:lnTo>
                    <a:pt x="451170" y="2234613"/>
                  </a:lnTo>
                  <a:lnTo>
                    <a:pt x="451896" y="2236549"/>
                  </a:lnTo>
                  <a:lnTo>
                    <a:pt x="453771" y="2236791"/>
                  </a:lnTo>
                  <a:lnTo>
                    <a:pt x="455587" y="2233796"/>
                  </a:lnTo>
                  <a:lnTo>
                    <a:pt x="456797" y="2234734"/>
                  </a:lnTo>
                  <a:lnTo>
                    <a:pt x="457765" y="2234734"/>
                  </a:lnTo>
                  <a:lnTo>
                    <a:pt x="461577" y="2232586"/>
                  </a:lnTo>
                  <a:lnTo>
                    <a:pt x="462454" y="2232526"/>
                  </a:lnTo>
                  <a:lnTo>
                    <a:pt x="464178" y="2233312"/>
                  </a:lnTo>
                  <a:lnTo>
                    <a:pt x="465782" y="2234431"/>
                  </a:lnTo>
                  <a:lnTo>
                    <a:pt x="467445" y="2234885"/>
                  </a:lnTo>
                  <a:lnTo>
                    <a:pt x="469321" y="2233766"/>
                  </a:lnTo>
                  <a:lnTo>
                    <a:pt x="466810" y="2232102"/>
                  </a:lnTo>
                  <a:lnTo>
                    <a:pt x="466810" y="2230529"/>
                  </a:lnTo>
                  <a:lnTo>
                    <a:pt x="468686" y="2229591"/>
                  </a:lnTo>
                  <a:lnTo>
                    <a:pt x="471439" y="2229864"/>
                  </a:lnTo>
                  <a:lnTo>
                    <a:pt x="474978" y="2231195"/>
                  </a:lnTo>
                  <a:lnTo>
                    <a:pt x="476309" y="2231134"/>
                  </a:lnTo>
                  <a:lnTo>
                    <a:pt x="477186" y="2230801"/>
                  </a:lnTo>
                  <a:lnTo>
                    <a:pt x="480332" y="2228714"/>
                  </a:lnTo>
                  <a:lnTo>
                    <a:pt x="478941" y="2227322"/>
                  </a:lnTo>
                  <a:lnTo>
                    <a:pt x="480695" y="2225114"/>
                  </a:lnTo>
                  <a:lnTo>
                    <a:pt x="483085" y="2224449"/>
                  </a:lnTo>
                  <a:lnTo>
                    <a:pt x="487925" y="2224812"/>
                  </a:lnTo>
                  <a:lnTo>
                    <a:pt x="487199" y="2226959"/>
                  </a:lnTo>
                  <a:lnTo>
                    <a:pt x="487078" y="2228895"/>
                  </a:lnTo>
                  <a:lnTo>
                    <a:pt x="487139" y="2230529"/>
                  </a:lnTo>
                  <a:lnTo>
                    <a:pt x="486867" y="2231830"/>
                  </a:lnTo>
                  <a:lnTo>
                    <a:pt x="485505" y="2233524"/>
                  </a:lnTo>
                  <a:lnTo>
                    <a:pt x="484144" y="2234462"/>
                  </a:lnTo>
                  <a:lnTo>
                    <a:pt x="482994" y="2235853"/>
                  </a:lnTo>
                  <a:lnTo>
                    <a:pt x="482329" y="2238939"/>
                  </a:lnTo>
                  <a:lnTo>
                    <a:pt x="484053" y="2237850"/>
                  </a:lnTo>
                  <a:lnTo>
                    <a:pt x="486110" y="2235400"/>
                  </a:lnTo>
                  <a:lnTo>
                    <a:pt x="487865" y="2234401"/>
                  </a:lnTo>
                  <a:lnTo>
                    <a:pt x="488561" y="2237547"/>
                  </a:lnTo>
                  <a:lnTo>
                    <a:pt x="493189" y="2231890"/>
                  </a:lnTo>
                  <a:lnTo>
                    <a:pt x="495730" y="2229652"/>
                  </a:lnTo>
                  <a:lnTo>
                    <a:pt x="497546" y="2229833"/>
                  </a:lnTo>
                  <a:lnTo>
                    <a:pt x="496426" y="2231467"/>
                  </a:lnTo>
                  <a:lnTo>
                    <a:pt x="493552" y="2237517"/>
                  </a:lnTo>
                  <a:lnTo>
                    <a:pt x="492735" y="2240058"/>
                  </a:lnTo>
                  <a:lnTo>
                    <a:pt x="495700" y="2239907"/>
                  </a:lnTo>
                  <a:lnTo>
                    <a:pt x="497939" y="2239151"/>
                  </a:lnTo>
                  <a:lnTo>
                    <a:pt x="499905" y="2237396"/>
                  </a:lnTo>
                  <a:lnTo>
                    <a:pt x="503868" y="2231921"/>
                  </a:lnTo>
                  <a:lnTo>
                    <a:pt x="510644" y="2227322"/>
                  </a:lnTo>
                  <a:lnTo>
                    <a:pt x="510644" y="2226173"/>
                  </a:lnTo>
                  <a:lnTo>
                    <a:pt x="508587" y="2224781"/>
                  </a:lnTo>
                  <a:lnTo>
                    <a:pt x="510614" y="2222754"/>
                  </a:lnTo>
                  <a:lnTo>
                    <a:pt x="511461" y="2221484"/>
                  </a:lnTo>
                  <a:lnTo>
                    <a:pt x="512006" y="2219729"/>
                  </a:lnTo>
                  <a:lnTo>
                    <a:pt x="505169" y="2222270"/>
                  </a:lnTo>
                  <a:lnTo>
                    <a:pt x="505925" y="2220032"/>
                  </a:lnTo>
                  <a:lnTo>
                    <a:pt x="507196" y="2219124"/>
                  </a:lnTo>
                  <a:lnTo>
                    <a:pt x="508617" y="2218519"/>
                  </a:lnTo>
                  <a:lnTo>
                    <a:pt x="509918" y="2217218"/>
                  </a:lnTo>
                  <a:lnTo>
                    <a:pt x="510826" y="2214919"/>
                  </a:lnTo>
                  <a:lnTo>
                    <a:pt x="510221" y="2214012"/>
                  </a:lnTo>
                  <a:lnTo>
                    <a:pt x="508799" y="2213437"/>
                  </a:lnTo>
                  <a:lnTo>
                    <a:pt x="507165" y="2212136"/>
                  </a:lnTo>
                  <a:lnTo>
                    <a:pt x="506016" y="2210170"/>
                  </a:lnTo>
                  <a:lnTo>
                    <a:pt x="506530" y="2209595"/>
                  </a:lnTo>
                  <a:lnTo>
                    <a:pt x="508043" y="2209958"/>
                  </a:lnTo>
                  <a:lnTo>
                    <a:pt x="514244" y="2213255"/>
                  </a:lnTo>
                  <a:lnTo>
                    <a:pt x="515394" y="2214587"/>
                  </a:lnTo>
                  <a:lnTo>
                    <a:pt x="515787" y="2216099"/>
                  </a:lnTo>
                  <a:lnTo>
                    <a:pt x="516120" y="2218217"/>
                  </a:lnTo>
                  <a:lnTo>
                    <a:pt x="516816" y="2219790"/>
                  </a:lnTo>
                  <a:lnTo>
                    <a:pt x="518207" y="2219729"/>
                  </a:lnTo>
                  <a:lnTo>
                    <a:pt x="518661" y="2218943"/>
                  </a:lnTo>
                  <a:lnTo>
                    <a:pt x="518298" y="2216583"/>
                  </a:lnTo>
                  <a:lnTo>
                    <a:pt x="518540" y="2215252"/>
                  </a:lnTo>
                  <a:lnTo>
                    <a:pt x="519175" y="2214375"/>
                  </a:lnTo>
                  <a:lnTo>
                    <a:pt x="519992" y="2213921"/>
                  </a:lnTo>
                  <a:lnTo>
                    <a:pt x="523320" y="2212832"/>
                  </a:lnTo>
                  <a:lnTo>
                    <a:pt x="528523" y="2212136"/>
                  </a:lnTo>
                  <a:lnTo>
                    <a:pt x="529854" y="2211380"/>
                  </a:lnTo>
                  <a:lnTo>
                    <a:pt x="532546" y="2209141"/>
                  </a:lnTo>
                  <a:lnTo>
                    <a:pt x="534029" y="2208324"/>
                  </a:lnTo>
                  <a:lnTo>
                    <a:pt x="531972" y="2203121"/>
                  </a:lnTo>
                  <a:lnTo>
                    <a:pt x="535541" y="2202365"/>
                  </a:lnTo>
                  <a:lnTo>
                    <a:pt x="538203" y="2205148"/>
                  </a:lnTo>
                  <a:lnTo>
                    <a:pt x="538415" y="2208506"/>
                  </a:lnTo>
                  <a:lnTo>
                    <a:pt x="534724" y="2209595"/>
                  </a:lnTo>
                  <a:lnTo>
                    <a:pt x="535813" y="2211834"/>
                  </a:lnTo>
                  <a:lnTo>
                    <a:pt x="537871" y="2212499"/>
                  </a:lnTo>
                  <a:lnTo>
                    <a:pt x="546432" y="2211894"/>
                  </a:lnTo>
                  <a:lnTo>
                    <a:pt x="547460" y="2210382"/>
                  </a:lnTo>
                  <a:lnTo>
                    <a:pt x="549820" y="2201488"/>
                  </a:lnTo>
                  <a:lnTo>
                    <a:pt x="551242" y="2199007"/>
                  </a:lnTo>
                  <a:lnTo>
                    <a:pt x="553299" y="2199340"/>
                  </a:lnTo>
                  <a:lnTo>
                    <a:pt x="553964" y="2201488"/>
                  </a:lnTo>
                  <a:lnTo>
                    <a:pt x="553541" y="2204362"/>
                  </a:lnTo>
                  <a:lnTo>
                    <a:pt x="552452" y="2206993"/>
                  </a:lnTo>
                  <a:lnTo>
                    <a:pt x="551181" y="2208324"/>
                  </a:lnTo>
                  <a:lnTo>
                    <a:pt x="552452" y="2210442"/>
                  </a:lnTo>
                  <a:lnTo>
                    <a:pt x="554327" y="2211077"/>
                  </a:lnTo>
                  <a:lnTo>
                    <a:pt x="555931" y="2209414"/>
                  </a:lnTo>
                  <a:lnTo>
                    <a:pt x="557534" y="2209414"/>
                  </a:lnTo>
                  <a:lnTo>
                    <a:pt x="558169" y="2208324"/>
                  </a:lnTo>
                  <a:lnTo>
                    <a:pt x="556203" y="2207175"/>
                  </a:lnTo>
                  <a:lnTo>
                    <a:pt x="557292" y="2205602"/>
                  </a:lnTo>
                  <a:lnTo>
                    <a:pt x="561618" y="2203121"/>
                  </a:lnTo>
                  <a:lnTo>
                    <a:pt x="561376" y="2203878"/>
                  </a:lnTo>
                  <a:lnTo>
                    <a:pt x="561225" y="2204452"/>
                  </a:lnTo>
                  <a:lnTo>
                    <a:pt x="560953" y="2205783"/>
                  </a:lnTo>
                  <a:lnTo>
                    <a:pt x="563191" y="2205904"/>
                  </a:lnTo>
                  <a:lnTo>
                    <a:pt x="569241" y="2204483"/>
                  </a:lnTo>
                  <a:lnTo>
                    <a:pt x="571268" y="2203121"/>
                  </a:lnTo>
                  <a:lnTo>
                    <a:pt x="569695" y="2201276"/>
                  </a:lnTo>
                  <a:lnTo>
                    <a:pt x="571026" y="2201215"/>
                  </a:lnTo>
                  <a:lnTo>
                    <a:pt x="571964" y="2200580"/>
                  </a:lnTo>
                  <a:lnTo>
                    <a:pt x="570693" y="2199068"/>
                  </a:lnTo>
                  <a:lnTo>
                    <a:pt x="567063" y="2196920"/>
                  </a:lnTo>
                  <a:lnTo>
                    <a:pt x="567184" y="2195347"/>
                  </a:lnTo>
                  <a:lnTo>
                    <a:pt x="568969" y="2196617"/>
                  </a:lnTo>
                  <a:lnTo>
                    <a:pt x="570149" y="2197041"/>
                  </a:lnTo>
                  <a:lnTo>
                    <a:pt x="570603" y="2196163"/>
                  </a:lnTo>
                  <a:lnTo>
                    <a:pt x="570663" y="2196042"/>
                  </a:lnTo>
                  <a:lnTo>
                    <a:pt x="570663" y="2193895"/>
                  </a:lnTo>
                  <a:lnTo>
                    <a:pt x="570784" y="2193199"/>
                  </a:lnTo>
                  <a:lnTo>
                    <a:pt x="571329" y="2192957"/>
                  </a:lnTo>
                  <a:lnTo>
                    <a:pt x="580676" y="2192836"/>
                  </a:lnTo>
                  <a:lnTo>
                    <a:pt x="583792" y="2191807"/>
                  </a:lnTo>
                  <a:lnTo>
                    <a:pt x="583611" y="2190900"/>
                  </a:lnTo>
                  <a:lnTo>
                    <a:pt x="583278" y="2188722"/>
                  </a:lnTo>
                  <a:lnTo>
                    <a:pt x="583036" y="2187844"/>
                  </a:lnTo>
                  <a:lnTo>
                    <a:pt x="586787" y="2188843"/>
                  </a:lnTo>
                  <a:lnTo>
                    <a:pt x="588058" y="2190174"/>
                  </a:lnTo>
                  <a:lnTo>
                    <a:pt x="587876" y="2192957"/>
                  </a:lnTo>
                  <a:lnTo>
                    <a:pt x="602064" y="2192775"/>
                  </a:lnTo>
                  <a:lnTo>
                    <a:pt x="602881" y="2192200"/>
                  </a:lnTo>
                  <a:lnTo>
                    <a:pt x="603486" y="2191202"/>
                  </a:lnTo>
                  <a:lnTo>
                    <a:pt x="604031" y="2188056"/>
                  </a:lnTo>
                  <a:lnTo>
                    <a:pt x="604696" y="2187481"/>
                  </a:lnTo>
                  <a:lnTo>
                    <a:pt x="605392" y="2187239"/>
                  </a:lnTo>
                  <a:lnTo>
                    <a:pt x="605846" y="2186665"/>
                  </a:lnTo>
                  <a:lnTo>
                    <a:pt x="606330" y="2184123"/>
                  </a:lnTo>
                  <a:lnTo>
                    <a:pt x="606481" y="2181582"/>
                  </a:lnTo>
                  <a:lnTo>
                    <a:pt x="605936" y="2179616"/>
                  </a:lnTo>
                  <a:lnTo>
                    <a:pt x="604424" y="2178739"/>
                  </a:lnTo>
                  <a:lnTo>
                    <a:pt x="604424" y="2177589"/>
                  </a:lnTo>
                  <a:lnTo>
                    <a:pt x="612108" y="2175441"/>
                  </a:lnTo>
                  <a:lnTo>
                    <a:pt x="614770" y="2173747"/>
                  </a:lnTo>
                  <a:lnTo>
                    <a:pt x="616464" y="2172114"/>
                  </a:lnTo>
                  <a:lnTo>
                    <a:pt x="618733" y="2170571"/>
                  </a:lnTo>
                  <a:lnTo>
                    <a:pt x="620911" y="2170903"/>
                  </a:lnTo>
                  <a:lnTo>
                    <a:pt x="622363" y="2174927"/>
                  </a:lnTo>
                  <a:lnTo>
                    <a:pt x="616857" y="2174927"/>
                  </a:lnTo>
                  <a:lnTo>
                    <a:pt x="616857" y="2176318"/>
                  </a:lnTo>
                  <a:lnTo>
                    <a:pt x="618945" y="2177529"/>
                  </a:lnTo>
                  <a:lnTo>
                    <a:pt x="617734" y="2178406"/>
                  </a:lnTo>
                  <a:lnTo>
                    <a:pt x="616948" y="2180130"/>
                  </a:lnTo>
                  <a:lnTo>
                    <a:pt x="616827" y="2182671"/>
                  </a:lnTo>
                  <a:lnTo>
                    <a:pt x="617432" y="2183942"/>
                  </a:lnTo>
                  <a:lnTo>
                    <a:pt x="625448" y="2192473"/>
                  </a:lnTo>
                  <a:lnTo>
                    <a:pt x="628111" y="2193743"/>
                  </a:lnTo>
                  <a:lnTo>
                    <a:pt x="629986" y="2192836"/>
                  </a:lnTo>
                  <a:lnTo>
                    <a:pt x="629986" y="2191686"/>
                  </a:lnTo>
                  <a:lnTo>
                    <a:pt x="636884" y="2189024"/>
                  </a:lnTo>
                  <a:lnTo>
                    <a:pt x="630047" y="2185848"/>
                  </a:lnTo>
                  <a:lnTo>
                    <a:pt x="626477" y="2183397"/>
                  </a:lnTo>
                  <a:lnTo>
                    <a:pt x="625842" y="2180100"/>
                  </a:lnTo>
                  <a:lnTo>
                    <a:pt x="627324" y="2178739"/>
                  </a:lnTo>
                  <a:lnTo>
                    <a:pt x="628988" y="2179979"/>
                  </a:lnTo>
                  <a:lnTo>
                    <a:pt x="632043" y="2183942"/>
                  </a:lnTo>
                  <a:lnTo>
                    <a:pt x="634040" y="2184698"/>
                  </a:lnTo>
                  <a:lnTo>
                    <a:pt x="636158" y="2184910"/>
                  </a:lnTo>
                  <a:lnTo>
                    <a:pt x="638124" y="2185606"/>
                  </a:lnTo>
                  <a:lnTo>
                    <a:pt x="639667" y="2187754"/>
                  </a:lnTo>
                  <a:lnTo>
                    <a:pt x="638911" y="2189024"/>
                  </a:lnTo>
                  <a:lnTo>
                    <a:pt x="640302" y="2190839"/>
                  </a:lnTo>
                  <a:lnTo>
                    <a:pt x="641542" y="2192019"/>
                  </a:lnTo>
                  <a:lnTo>
                    <a:pt x="642994" y="2192654"/>
                  </a:lnTo>
                  <a:lnTo>
                    <a:pt x="645112" y="2192836"/>
                  </a:lnTo>
                  <a:lnTo>
                    <a:pt x="644235" y="2189085"/>
                  </a:lnTo>
                  <a:lnTo>
                    <a:pt x="641330" y="2184184"/>
                  </a:lnTo>
                  <a:lnTo>
                    <a:pt x="640393" y="2181371"/>
                  </a:lnTo>
                  <a:lnTo>
                    <a:pt x="640514" y="2178860"/>
                  </a:lnTo>
                  <a:lnTo>
                    <a:pt x="642813" y="2174957"/>
                  </a:lnTo>
                  <a:lnTo>
                    <a:pt x="643811" y="2171176"/>
                  </a:lnTo>
                  <a:lnTo>
                    <a:pt x="641996" y="2170057"/>
                  </a:lnTo>
                  <a:lnTo>
                    <a:pt x="639848" y="2168060"/>
                  </a:lnTo>
                  <a:lnTo>
                    <a:pt x="636248" y="2163522"/>
                  </a:lnTo>
                  <a:lnTo>
                    <a:pt x="638759" y="2164490"/>
                  </a:lnTo>
                  <a:lnTo>
                    <a:pt x="640877" y="2165972"/>
                  </a:lnTo>
                  <a:lnTo>
                    <a:pt x="646867" y="2171629"/>
                  </a:lnTo>
                  <a:lnTo>
                    <a:pt x="647744" y="2172174"/>
                  </a:lnTo>
                  <a:lnTo>
                    <a:pt x="648893" y="2172355"/>
                  </a:lnTo>
                  <a:lnTo>
                    <a:pt x="649831" y="2171841"/>
                  </a:lnTo>
                  <a:lnTo>
                    <a:pt x="650588" y="2170843"/>
                  </a:lnTo>
                  <a:lnTo>
                    <a:pt x="651465" y="2169966"/>
                  </a:lnTo>
                  <a:lnTo>
                    <a:pt x="652705" y="2169905"/>
                  </a:lnTo>
                  <a:lnTo>
                    <a:pt x="651828" y="2172355"/>
                  </a:lnTo>
                  <a:lnTo>
                    <a:pt x="656033" y="2178376"/>
                  </a:lnTo>
                  <a:lnTo>
                    <a:pt x="656154" y="2182641"/>
                  </a:lnTo>
                  <a:lnTo>
                    <a:pt x="661327" y="2181371"/>
                  </a:lnTo>
                  <a:lnTo>
                    <a:pt x="662174" y="2180342"/>
                  </a:lnTo>
                  <a:lnTo>
                    <a:pt x="662839" y="2178103"/>
                  </a:lnTo>
                  <a:lnTo>
                    <a:pt x="663021" y="2175895"/>
                  </a:lnTo>
                  <a:lnTo>
                    <a:pt x="662355" y="2174866"/>
                  </a:lnTo>
                  <a:lnTo>
                    <a:pt x="661085" y="2174382"/>
                  </a:lnTo>
                  <a:lnTo>
                    <a:pt x="660177" y="2173172"/>
                  </a:lnTo>
                  <a:lnTo>
                    <a:pt x="658271" y="2169875"/>
                  </a:lnTo>
                  <a:lnTo>
                    <a:pt x="654520" y="2167515"/>
                  </a:lnTo>
                  <a:lnTo>
                    <a:pt x="653431" y="2166033"/>
                  </a:lnTo>
                  <a:lnTo>
                    <a:pt x="652887" y="2163794"/>
                  </a:lnTo>
                  <a:lnTo>
                    <a:pt x="653945" y="2163583"/>
                  </a:lnTo>
                  <a:lnTo>
                    <a:pt x="655458" y="2163794"/>
                  </a:lnTo>
                  <a:lnTo>
                    <a:pt x="656214" y="2162796"/>
                  </a:lnTo>
                  <a:lnTo>
                    <a:pt x="656154" y="2161193"/>
                  </a:lnTo>
                  <a:lnTo>
                    <a:pt x="655821" y="2159257"/>
                  </a:lnTo>
                  <a:lnTo>
                    <a:pt x="655095" y="2157653"/>
                  </a:lnTo>
                  <a:lnTo>
                    <a:pt x="652554" y="2156292"/>
                  </a:lnTo>
                  <a:lnTo>
                    <a:pt x="650436" y="2152995"/>
                  </a:lnTo>
                  <a:lnTo>
                    <a:pt x="649347" y="2151724"/>
                  </a:lnTo>
                  <a:lnTo>
                    <a:pt x="643841" y="2149274"/>
                  </a:lnTo>
                  <a:lnTo>
                    <a:pt x="643841" y="2147882"/>
                  </a:lnTo>
                  <a:lnTo>
                    <a:pt x="646776" y="2148124"/>
                  </a:lnTo>
                  <a:lnTo>
                    <a:pt x="650255" y="2149697"/>
                  </a:lnTo>
                  <a:lnTo>
                    <a:pt x="653552" y="2152178"/>
                  </a:lnTo>
                  <a:lnTo>
                    <a:pt x="657122" y="2156897"/>
                  </a:lnTo>
                  <a:lnTo>
                    <a:pt x="658423" y="2157865"/>
                  </a:lnTo>
                  <a:lnTo>
                    <a:pt x="661690" y="2159529"/>
                  </a:lnTo>
                  <a:lnTo>
                    <a:pt x="665713" y="2163371"/>
                  </a:lnTo>
                  <a:lnTo>
                    <a:pt x="666500" y="2164641"/>
                  </a:lnTo>
                  <a:lnTo>
                    <a:pt x="667347" y="2164157"/>
                  </a:lnTo>
                  <a:lnTo>
                    <a:pt x="669313" y="2162070"/>
                  </a:lnTo>
                  <a:lnTo>
                    <a:pt x="670190" y="2161889"/>
                  </a:lnTo>
                  <a:lnTo>
                    <a:pt x="679689" y="2163462"/>
                  </a:lnTo>
                  <a:lnTo>
                    <a:pt x="676604" y="2159317"/>
                  </a:lnTo>
                  <a:lnTo>
                    <a:pt x="675243" y="2156655"/>
                  </a:lnTo>
                  <a:lnTo>
                    <a:pt x="675484" y="2154356"/>
                  </a:lnTo>
                  <a:lnTo>
                    <a:pt x="676906" y="2154356"/>
                  </a:lnTo>
                  <a:lnTo>
                    <a:pt x="678600" y="2156171"/>
                  </a:lnTo>
                  <a:lnTo>
                    <a:pt x="680204" y="2158379"/>
                  </a:lnTo>
                  <a:lnTo>
                    <a:pt x="681383" y="2159469"/>
                  </a:lnTo>
                  <a:lnTo>
                    <a:pt x="682291" y="2160860"/>
                  </a:lnTo>
                  <a:lnTo>
                    <a:pt x="683410" y="2163946"/>
                  </a:lnTo>
                  <a:lnTo>
                    <a:pt x="684802" y="2167001"/>
                  </a:lnTo>
                  <a:lnTo>
                    <a:pt x="686617" y="2168393"/>
                  </a:lnTo>
                  <a:lnTo>
                    <a:pt x="687252" y="2167788"/>
                  </a:lnTo>
                  <a:lnTo>
                    <a:pt x="687313" y="2166457"/>
                  </a:lnTo>
                  <a:lnTo>
                    <a:pt x="687555" y="2165156"/>
                  </a:lnTo>
                  <a:lnTo>
                    <a:pt x="688704" y="2164551"/>
                  </a:lnTo>
                  <a:lnTo>
                    <a:pt x="689854" y="2164460"/>
                  </a:lnTo>
                  <a:lnTo>
                    <a:pt x="690580" y="2164036"/>
                  </a:lnTo>
                  <a:lnTo>
                    <a:pt x="690913" y="2162887"/>
                  </a:lnTo>
                  <a:lnTo>
                    <a:pt x="690792" y="2160709"/>
                  </a:lnTo>
                  <a:lnTo>
                    <a:pt x="692728" y="2163310"/>
                  </a:lnTo>
                  <a:lnTo>
                    <a:pt x="693787" y="2164188"/>
                  </a:lnTo>
                  <a:lnTo>
                    <a:pt x="694906" y="2164581"/>
                  </a:lnTo>
                  <a:lnTo>
                    <a:pt x="694119" y="2161586"/>
                  </a:lnTo>
                  <a:lnTo>
                    <a:pt x="694815" y="2160769"/>
                  </a:lnTo>
                  <a:lnTo>
                    <a:pt x="697659" y="2160769"/>
                  </a:lnTo>
                  <a:lnTo>
                    <a:pt x="698597" y="2159922"/>
                  </a:lnTo>
                  <a:lnTo>
                    <a:pt x="699474" y="2158682"/>
                  </a:lnTo>
                  <a:lnTo>
                    <a:pt x="701107" y="2155627"/>
                  </a:lnTo>
                  <a:lnTo>
                    <a:pt x="698143" y="2149848"/>
                  </a:lnTo>
                  <a:lnTo>
                    <a:pt x="699111" y="2143556"/>
                  </a:lnTo>
                  <a:lnTo>
                    <a:pt x="707914" y="2127825"/>
                  </a:lnTo>
                  <a:lnTo>
                    <a:pt x="711786" y="2120898"/>
                  </a:lnTo>
                  <a:lnTo>
                    <a:pt x="714176" y="2118175"/>
                  </a:lnTo>
                  <a:lnTo>
                    <a:pt x="718562" y="2116542"/>
                  </a:lnTo>
                  <a:lnTo>
                    <a:pt x="722586" y="2118720"/>
                  </a:lnTo>
                  <a:lnTo>
                    <a:pt x="725853" y="2123863"/>
                  </a:lnTo>
                  <a:lnTo>
                    <a:pt x="728001" y="2131153"/>
                  </a:lnTo>
                  <a:lnTo>
                    <a:pt x="719288" y="2125072"/>
                  </a:lnTo>
                  <a:lnTo>
                    <a:pt x="715114" y="2124468"/>
                  </a:lnTo>
                  <a:lnTo>
                    <a:pt x="710576" y="2127916"/>
                  </a:lnTo>
                  <a:lnTo>
                    <a:pt x="709336" y="2129883"/>
                  </a:lnTo>
                  <a:lnTo>
                    <a:pt x="709033" y="2131456"/>
                  </a:lnTo>
                  <a:lnTo>
                    <a:pt x="709336" y="2135721"/>
                  </a:lnTo>
                  <a:lnTo>
                    <a:pt x="708943" y="2136961"/>
                  </a:lnTo>
                  <a:lnTo>
                    <a:pt x="706220" y="2142195"/>
                  </a:lnTo>
                  <a:lnTo>
                    <a:pt x="704284" y="2144010"/>
                  </a:lnTo>
                  <a:lnTo>
                    <a:pt x="701682" y="2145462"/>
                  </a:lnTo>
                  <a:lnTo>
                    <a:pt x="700018" y="2147489"/>
                  </a:lnTo>
                  <a:lnTo>
                    <a:pt x="700805" y="2151089"/>
                  </a:lnTo>
                  <a:lnTo>
                    <a:pt x="702711" y="2153902"/>
                  </a:lnTo>
                  <a:lnTo>
                    <a:pt x="705282" y="2156383"/>
                  </a:lnTo>
                  <a:lnTo>
                    <a:pt x="707914" y="2157653"/>
                  </a:lnTo>
                  <a:lnTo>
                    <a:pt x="710032" y="2156927"/>
                  </a:lnTo>
                  <a:lnTo>
                    <a:pt x="710304" y="2154991"/>
                  </a:lnTo>
                  <a:lnTo>
                    <a:pt x="712058" y="2154053"/>
                  </a:lnTo>
                  <a:lnTo>
                    <a:pt x="714327" y="2153932"/>
                  </a:lnTo>
                  <a:lnTo>
                    <a:pt x="716233" y="2154356"/>
                  </a:lnTo>
                  <a:lnTo>
                    <a:pt x="717746" y="2155959"/>
                  </a:lnTo>
                  <a:lnTo>
                    <a:pt x="719621" y="2158531"/>
                  </a:lnTo>
                  <a:lnTo>
                    <a:pt x="721436" y="2160436"/>
                  </a:lnTo>
                  <a:lnTo>
                    <a:pt x="722858" y="2160104"/>
                  </a:lnTo>
                  <a:lnTo>
                    <a:pt x="723766" y="2158984"/>
                  </a:lnTo>
                  <a:lnTo>
                    <a:pt x="725914" y="2157653"/>
                  </a:lnTo>
                  <a:lnTo>
                    <a:pt x="726640" y="2156897"/>
                  </a:lnTo>
                  <a:lnTo>
                    <a:pt x="726851" y="2155657"/>
                  </a:lnTo>
                  <a:lnTo>
                    <a:pt x="726640" y="2152420"/>
                  </a:lnTo>
                  <a:lnTo>
                    <a:pt x="726972" y="2151089"/>
                  </a:lnTo>
                  <a:lnTo>
                    <a:pt x="728424" y="2149455"/>
                  </a:lnTo>
                  <a:lnTo>
                    <a:pt x="730391" y="2148275"/>
                  </a:lnTo>
                  <a:lnTo>
                    <a:pt x="732448" y="2147701"/>
                  </a:lnTo>
                  <a:lnTo>
                    <a:pt x="734233" y="2147791"/>
                  </a:lnTo>
                  <a:lnTo>
                    <a:pt x="733386" y="2150575"/>
                  </a:lnTo>
                  <a:lnTo>
                    <a:pt x="732841" y="2151845"/>
                  </a:lnTo>
                  <a:lnTo>
                    <a:pt x="732085" y="2153025"/>
                  </a:lnTo>
                  <a:lnTo>
                    <a:pt x="735050" y="2152964"/>
                  </a:lnTo>
                  <a:lnTo>
                    <a:pt x="744276" y="2149818"/>
                  </a:lnTo>
                  <a:lnTo>
                    <a:pt x="745244" y="2151240"/>
                  </a:lnTo>
                  <a:lnTo>
                    <a:pt x="748270" y="2154538"/>
                  </a:lnTo>
                  <a:lnTo>
                    <a:pt x="749086" y="2154931"/>
                  </a:lnTo>
                  <a:lnTo>
                    <a:pt x="749389" y="2152813"/>
                  </a:lnTo>
                  <a:lnTo>
                    <a:pt x="748390" y="2150786"/>
                  </a:lnTo>
                  <a:lnTo>
                    <a:pt x="745970" y="2147761"/>
                  </a:lnTo>
                  <a:lnTo>
                    <a:pt x="750538" y="2148124"/>
                  </a:lnTo>
                  <a:lnTo>
                    <a:pt x="752686" y="2147277"/>
                  </a:lnTo>
                  <a:lnTo>
                    <a:pt x="754047" y="2143254"/>
                  </a:lnTo>
                  <a:lnTo>
                    <a:pt x="754955" y="2142346"/>
                  </a:lnTo>
                  <a:lnTo>
                    <a:pt x="755590" y="2141287"/>
                  </a:lnTo>
                  <a:lnTo>
                    <a:pt x="755257" y="2139502"/>
                  </a:lnTo>
                  <a:lnTo>
                    <a:pt x="755318" y="2138262"/>
                  </a:lnTo>
                  <a:lnTo>
                    <a:pt x="756226" y="2137173"/>
                  </a:lnTo>
                  <a:lnTo>
                    <a:pt x="757405" y="2136417"/>
                  </a:lnTo>
                  <a:lnTo>
                    <a:pt x="758313" y="2136205"/>
                  </a:lnTo>
                  <a:lnTo>
                    <a:pt x="759160" y="2136961"/>
                  </a:lnTo>
                  <a:lnTo>
                    <a:pt x="760793" y="2139654"/>
                  </a:lnTo>
                  <a:lnTo>
                    <a:pt x="761731" y="2140198"/>
                  </a:lnTo>
                  <a:lnTo>
                    <a:pt x="762457" y="2139563"/>
                  </a:lnTo>
                  <a:lnTo>
                    <a:pt x="763455" y="2136840"/>
                  </a:lnTo>
                  <a:lnTo>
                    <a:pt x="764152" y="2136235"/>
                  </a:lnTo>
                  <a:lnTo>
                    <a:pt x="765331" y="2136871"/>
                  </a:lnTo>
                  <a:lnTo>
                    <a:pt x="766693" y="2139593"/>
                  </a:lnTo>
                  <a:lnTo>
                    <a:pt x="767933" y="2140198"/>
                  </a:lnTo>
                  <a:lnTo>
                    <a:pt x="769929" y="2139654"/>
                  </a:lnTo>
                  <a:lnTo>
                    <a:pt x="770535" y="2140319"/>
                  </a:lnTo>
                  <a:lnTo>
                    <a:pt x="770716" y="2142770"/>
                  </a:lnTo>
                  <a:lnTo>
                    <a:pt x="773045" y="2140682"/>
                  </a:lnTo>
                  <a:lnTo>
                    <a:pt x="772682" y="2138081"/>
                  </a:lnTo>
                  <a:lnTo>
                    <a:pt x="771351" y="2135237"/>
                  </a:lnTo>
                  <a:lnTo>
                    <a:pt x="770746" y="2132393"/>
                  </a:lnTo>
                  <a:lnTo>
                    <a:pt x="772168" y="2130064"/>
                  </a:lnTo>
                  <a:lnTo>
                    <a:pt x="774467" y="2129096"/>
                  </a:lnTo>
                  <a:lnTo>
                    <a:pt x="775798" y="2130094"/>
                  </a:lnTo>
                  <a:lnTo>
                    <a:pt x="774195" y="2133785"/>
                  </a:lnTo>
                  <a:lnTo>
                    <a:pt x="781546" y="2138171"/>
                  </a:lnTo>
                  <a:lnTo>
                    <a:pt x="783875" y="2140198"/>
                  </a:lnTo>
                  <a:lnTo>
                    <a:pt x="778672" y="2139502"/>
                  </a:lnTo>
                  <a:lnTo>
                    <a:pt x="776070" y="2140108"/>
                  </a:lnTo>
                  <a:lnTo>
                    <a:pt x="776252" y="2142770"/>
                  </a:lnTo>
                  <a:lnTo>
                    <a:pt x="777885" y="2143556"/>
                  </a:lnTo>
                  <a:lnTo>
                    <a:pt x="785569" y="2143919"/>
                  </a:lnTo>
                  <a:lnTo>
                    <a:pt x="790016" y="2145432"/>
                  </a:lnTo>
                  <a:lnTo>
                    <a:pt x="798820" y="2151845"/>
                  </a:lnTo>
                  <a:lnTo>
                    <a:pt x="803841" y="2153025"/>
                  </a:lnTo>
                  <a:lnTo>
                    <a:pt x="803236" y="2151664"/>
                  </a:lnTo>
                  <a:lnTo>
                    <a:pt x="802450" y="2150635"/>
                  </a:lnTo>
                  <a:lnTo>
                    <a:pt x="801482" y="2149848"/>
                  </a:lnTo>
                  <a:lnTo>
                    <a:pt x="800393" y="2149183"/>
                  </a:lnTo>
                  <a:lnTo>
                    <a:pt x="800937" y="2148487"/>
                  </a:lnTo>
                  <a:lnTo>
                    <a:pt x="801845" y="2147035"/>
                  </a:lnTo>
                  <a:lnTo>
                    <a:pt x="802450" y="2146521"/>
                  </a:lnTo>
                  <a:lnTo>
                    <a:pt x="801754" y="2144706"/>
                  </a:lnTo>
                  <a:lnTo>
                    <a:pt x="801330" y="2144252"/>
                  </a:lnTo>
                  <a:lnTo>
                    <a:pt x="800362" y="2143950"/>
                  </a:lnTo>
                  <a:lnTo>
                    <a:pt x="803962" y="2142437"/>
                  </a:lnTo>
                  <a:lnTo>
                    <a:pt x="812402" y="2149304"/>
                  </a:lnTo>
                  <a:lnTo>
                    <a:pt x="816154" y="2150484"/>
                  </a:lnTo>
                  <a:lnTo>
                    <a:pt x="815095" y="2148064"/>
                  </a:lnTo>
                  <a:lnTo>
                    <a:pt x="814248" y="2146551"/>
                  </a:lnTo>
                  <a:lnTo>
                    <a:pt x="814006" y="2145069"/>
                  </a:lnTo>
                  <a:lnTo>
                    <a:pt x="814792" y="2142800"/>
                  </a:lnTo>
                  <a:lnTo>
                    <a:pt x="816426" y="2141015"/>
                  </a:lnTo>
                  <a:lnTo>
                    <a:pt x="818392" y="2140834"/>
                  </a:lnTo>
                  <a:lnTo>
                    <a:pt x="822415" y="2141529"/>
                  </a:lnTo>
                  <a:lnTo>
                    <a:pt x="820903" y="2142981"/>
                  </a:lnTo>
                  <a:lnTo>
                    <a:pt x="817787" y="2144403"/>
                  </a:lnTo>
                  <a:lnTo>
                    <a:pt x="816849" y="2146521"/>
                  </a:lnTo>
                  <a:lnTo>
                    <a:pt x="823777" y="2147791"/>
                  </a:lnTo>
                  <a:lnTo>
                    <a:pt x="825078" y="2147217"/>
                  </a:lnTo>
                  <a:lnTo>
                    <a:pt x="828587" y="2143950"/>
                  </a:lnTo>
                  <a:lnTo>
                    <a:pt x="827891" y="2143828"/>
                  </a:lnTo>
                  <a:lnTo>
                    <a:pt x="826500" y="2142770"/>
                  </a:lnTo>
                  <a:lnTo>
                    <a:pt x="827044" y="2142528"/>
                  </a:lnTo>
                  <a:lnTo>
                    <a:pt x="828557" y="2141469"/>
                  </a:lnTo>
                  <a:lnTo>
                    <a:pt x="827286" y="2139291"/>
                  </a:lnTo>
                  <a:lnTo>
                    <a:pt x="826560" y="2136719"/>
                  </a:lnTo>
                  <a:lnTo>
                    <a:pt x="826832" y="2134602"/>
                  </a:lnTo>
                  <a:lnTo>
                    <a:pt x="828557" y="2133785"/>
                  </a:lnTo>
                  <a:lnTo>
                    <a:pt x="828194" y="2133180"/>
                  </a:lnTo>
                  <a:lnTo>
                    <a:pt x="827558" y="2131728"/>
                  </a:lnTo>
                  <a:lnTo>
                    <a:pt x="827195" y="2131123"/>
                  </a:lnTo>
                  <a:lnTo>
                    <a:pt x="829464" y="2130003"/>
                  </a:lnTo>
                  <a:lnTo>
                    <a:pt x="831037" y="2131214"/>
                  </a:lnTo>
                  <a:lnTo>
                    <a:pt x="832399" y="2133362"/>
                  </a:lnTo>
                  <a:lnTo>
                    <a:pt x="834063" y="2135086"/>
                  </a:lnTo>
                  <a:lnTo>
                    <a:pt x="842624" y="2125436"/>
                  </a:lnTo>
                  <a:lnTo>
                    <a:pt x="851487" y="2116905"/>
                  </a:lnTo>
                  <a:lnTo>
                    <a:pt x="853756" y="2114121"/>
                  </a:lnTo>
                  <a:lnTo>
                    <a:pt x="868307" y="2096455"/>
                  </a:lnTo>
                  <a:lnTo>
                    <a:pt x="877957" y="2090041"/>
                  </a:lnTo>
                  <a:lnTo>
                    <a:pt x="887214" y="2077185"/>
                  </a:lnTo>
                  <a:lnTo>
                    <a:pt x="901825" y="2063087"/>
                  </a:lnTo>
                  <a:lnTo>
                    <a:pt x="906393" y="2059881"/>
                  </a:lnTo>
                  <a:lnTo>
                    <a:pt x="915257" y="2057642"/>
                  </a:lnTo>
                  <a:lnTo>
                    <a:pt x="919220" y="2051955"/>
                  </a:lnTo>
                  <a:lnTo>
                    <a:pt x="919220" y="2051955"/>
                  </a:lnTo>
                  <a:lnTo>
                    <a:pt x="920914" y="2047992"/>
                  </a:lnTo>
                  <a:lnTo>
                    <a:pt x="922760" y="2045148"/>
                  </a:lnTo>
                  <a:lnTo>
                    <a:pt x="928931" y="2038674"/>
                  </a:lnTo>
                  <a:lnTo>
                    <a:pt x="932077" y="2033774"/>
                  </a:lnTo>
                  <a:lnTo>
                    <a:pt x="933711" y="2031898"/>
                  </a:lnTo>
                  <a:lnTo>
                    <a:pt x="939549" y="2028873"/>
                  </a:lnTo>
                  <a:lnTo>
                    <a:pt x="946689" y="2022127"/>
                  </a:lnTo>
                  <a:lnTo>
                    <a:pt x="952194" y="2018255"/>
                  </a:lnTo>
                  <a:lnTo>
                    <a:pt x="967199" y="2009542"/>
                  </a:lnTo>
                  <a:lnTo>
                    <a:pt x="974550" y="2003310"/>
                  </a:lnTo>
                  <a:lnTo>
                    <a:pt x="980509" y="1994719"/>
                  </a:lnTo>
                  <a:lnTo>
                    <a:pt x="981992" y="1991996"/>
                  </a:lnTo>
                  <a:lnTo>
                    <a:pt x="983202" y="1989758"/>
                  </a:lnTo>
                  <a:lnTo>
                    <a:pt x="986137" y="1985462"/>
                  </a:lnTo>
                  <a:lnTo>
                    <a:pt x="1000748" y="1970911"/>
                  </a:lnTo>
                  <a:lnTo>
                    <a:pt x="1002502" y="1966857"/>
                  </a:lnTo>
                  <a:lnTo>
                    <a:pt x="1004317" y="1962108"/>
                  </a:lnTo>
                  <a:lnTo>
                    <a:pt x="1006133" y="1959053"/>
                  </a:lnTo>
                  <a:lnTo>
                    <a:pt x="1008402" y="1957147"/>
                  </a:lnTo>
                  <a:lnTo>
                    <a:pt x="1014905" y="1954394"/>
                  </a:lnTo>
                  <a:lnTo>
                    <a:pt x="1018021" y="1952095"/>
                  </a:lnTo>
                  <a:lnTo>
                    <a:pt x="1032512" y="1936183"/>
                  </a:lnTo>
                  <a:lnTo>
                    <a:pt x="1034418" y="1932976"/>
                  </a:lnTo>
                  <a:lnTo>
                    <a:pt x="1036808" y="1926169"/>
                  </a:lnTo>
                  <a:lnTo>
                    <a:pt x="1038834" y="1923144"/>
                  </a:lnTo>
                  <a:lnTo>
                    <a:pt x="1052478" y="1909894"/>
                  </a:lnTo>
                  <a:lnTo>
                    <a:pt x="1069388" y="1885965"/>
                  </a:lnTo>
                  <a:lnTo>
                    <a:pt x="1088901" y="1858225"/>
                  </a:lnTo>
                  <a:lnTo>
                    <a:pt x="1088931" y="1858225"/>
                  </a:lnTo>
                  <a:lnTo>
                    <a:pt x="1103088" y="1843250"/>
                  </a:lnTo>
                  <a:lnTo>
                    <a:pt x="1115824" y="1826733"/>
                  </a:lnTo>
                  <a:lnTo>
                    <a:pt x="1118638" y="1820259"/>
                  </a:lnTo>
                  <a:lnTo>
                    <a:pt x="1119908" y="1818535"/>
                  </a:lnTo>
                  <a:lnTo>
                    <a:pt x="1121693" y="1817143"/>
                  </a:lnTo>
                  <a:lnTo>
                    <a:pt x="1125535" y="1815056"/>
                  </a:lnTo>
                  <a:lnTo>
                    <a:pt x="1134580" y="1806585"/>
                  </a:lnTo>
                  <a:lnTo>
                    <a:pt x="1146045" y="1798660"/>
                  </a:lnTo>
                  <a:lnTo>
                    <a:pt x="1147861" y="1796814"/>
                  </a:lnTo>
                  <a:lnTo>
                    <a:pt x="1149494" y="1794334"/>
                  </a:lnTo>
                  <a:lnTo>
                    <a:pt x="1152035" y="1787648"/>
                  </a:lnTo>
                  <a:lnTo>
                    <a:pt x="1153397" y="1785530"/>
                  </a:lnTo>
                  <a:lnTo>
                    <a:pt x="1167766" y="1770374"/>
                  </a:lnTo>
                  <a:lnTo>
                    <a:pt x="1169611" y="1766048"/>
                  </a:lnTo>
                  <a:lnTo>
                    <a:pt x="1170761" y="1763870"/>
                  </a:lnTo>
                  <a:lnTo>
                    <a:pt x="1172334" y="1762146"/>
                  </a:lnTo>
                  <a:lnTo>
                    <a:pt x="1177659" y="1759030"/>
                  </a:lnTo>
                  <a:lnTo>
                    <a:pt x="1177718" y="1759030"/>
                  </a:lnTo>
                  <a:lnTo>
                    <a:pt x="1179897" y="1756671"/>
                  </a:lnTo>
                  <a:lnTo>
                    <a:pt x="1181530" y="1752375"/>
                  </a:lnTo>
                  <a:lnTo>
                    <a:pt x="1183950" y="1742725"/>
                  </a:lnTo>
                  <a:lnTo>
                    <a:pt x="1185826" y="1738096"/>
                  </a:lnTo>
                  <a:lnTo>
                    <a:pt x="1190273" y="1731411"/>
                  </a:lnTo>
                  <a:lnTo>
                    <a:pt x="1191907" y="1726933"/>
                  </a:lnTo>
                  <a:lnTo>
                    <a:pt x="1196656" y="1707784"/>
                  </a:lnTo>
                  <a:lnTo>
                    <a:pt x="1199742" y="1699253"/>
                  </a:lnTo>
                  <a:lnTo>
                    <a:pt x="1203705" y="1691691"/>
                  </a:lnTo>
                  <a:lnTo>
                    <a:pt x="1212659" y="1675506"/>
                  </a:lnTo>
                  <a:lnTo>
                    <a:pt x="1209271" y="1672753"/>
                  </a:lnTo>
                  <a:close/>
                </a:path>
              </a:pathLst>
            </a:custGeom>
            <a:solidFill>
              <a:srgbClr val="96A3AC"/>
            </a:solidFill>
            <a:ln w="3175" cap="rnd">
              <a:solidFill>
                <a:schemeClr val="bg1"/>
              </a:solidFill>
              <a:prstDash val="solid"/>
              <a:round/>
            </a:ln>
          </p:spPr>
          <p:txBody>
            <a:bodyPr rtlCol="0" anchor="ctr"/>
            <a:lstStyle/>
            <a:p>
              <a:endParaRPr lang="en-ID"/>
            </a:p>
          </p:txBody>
        </p:sp>
        <p:sp>
          <p:nvSpPr>
            <p:cNvPr id="54" name="Freeform: Shape 53">
              <a:extLst>
                <a:ext uri="{FF2B5EF4-FFF2-40B4-BE49-F238E27FC236}">
                  <a16:creationId xmlns:a16="http://schemas.microsoft.com/office/drawing/2014/main" id="{9818EC25-C4ED-EB8F-92CA-8A9B6425E68F}"/>
                </a:ext>
              </a:extLst>
            </p:cNvPr>
            <p:cNvSpPr/>
            <p:nvPr/>
          </p:nvSpPr>
          <p:spPr>
            <a:xfrm>
              <a:off x="7558953" y="2433478"/>
              <a:ext cx="107035" cy="153358"/>
            </a:xfrm>
            <a:custGeom>
              <a:avLst/>
              <a:gdLst>
                <a:gd name="connsiteX0" fmla="*/ 98408 w 137704"/>
                <a:gd name="connsiteY0" fmla="*/ 188497 h 197299"/>
                <a:gd name="connsiteX1" fmla="*/ 96200 w 137704"/>
                <a:gd name="connsiteY1" fmla="*/ 187619 h 197299"/>
                <a:gd name="connsiteX2" fmla="*/ 96653 w 137704"/>
                <a:gd name="connsiteY2" fmla="*/ 185683 h 197299"/>
                <a:gd name="connsiteX3" fmla="*/ 96895 w 137704"/>
                <a:gd name="connsiteY3" fmla="*/ 184957 h 197299"/>
                <a:gd name="connsiteX4" fmla="*/ 92902 w 137704"/>
                <a:gd name="connsiteY4" fmla="*/ 184685 h 197299"/>
                <a:gd name="connsiteX5" fmla="*/ 91117 w 137704"/>
                <a:gd name="connsiteY5" fmla="*/ 185411 h 197299"/>
                <a:gd name="connsiteX6" fmla="*/ 89968 w 137704"/>
                <a:gd name="connsiteY6" fmla="*/ 187619 h 197299"/>
                <a:gd name="connsiteX7" fmla="*/ 89484 w 137704"/>
                <a:gd name="connsiteY7" fmla="*/ 185804 h 197299"/>
                <a:gd name="connsiteX8" fmla="*/ 88728 w 137704"/>
                <a:gd name="connsiteY8" fmla="*/ 184564 h 197299"/>
                <a:gd name="connsiteX9" fmla="*/ 87759 w 137704"/>
                <a:gd name="connsiteY9" fmla="*/ 183868 h 197299"/>
                <a:gd name="connsiteX10" fmla="*/ 86610 w 137704"/>
                <a:gd name="connsiteY10" fmla="*/ 183626 h 197299"/>
                <a:gd name="connsiteX11" fmla="*/ 86610 w 137704"/>
                <a:gd name="connsiteY11" fmla="*/ 182174 h 197299"/>
                <a:gd name="connsiteX12" fmla="*/ 88909 w 137704"/>
                <a:gd name="connsiteY12" fmla="*/ 182840 h 197299"/>
                <a:gd name="connsiteX13" fmla="*/ 90664 w 137704"/>
                <a:gd name="connsiteY13" fmla="*/ 182628 h 197299"/>
                <a:gd name="connsiteX14" fmla="*/ 94112 w 137704"/>
                <a:gd name="connsiteY14" fmla="*/ 180843 h 197299"/>
                <a:gd name="connsiteX15" fmla="*/ 95262 w 137704"/>
                <a:gd name="connsiteY15" fmla="*/ 180752 h 197299"/>
                <a:gd name="connsiteX16" fmla="*/ 96411 w 137704"/>
                <a:gd name="connsiteY16" fmla="*/ 180964 h 197299"/>
                <a:gd name="connsiteX17" fmla="*/ 97319 w 137704"/>
                <a:gd name="connsiteY17" fmla="*/ 180692 h 197299"/>
                <a:gd name="connsiteX18" fmla="*/ 97682 w 137704"/>
                <a:gd name="connsiteY18" fmla="*/ 179028 h 197299"/>
                <a:gd name="connsiteX19" fmla="*/ 93507 w 137704"/>
                <a:gd name="connsiteY19" fmla="*/ 177001 h 197299"/>
                <a:gd name="connsiteX20" fmla="*/ 93507 w 137704"/>
                <a:gd name="connsiteY20" fmla="*/ 175670 h 197299"/>
                <a:gd name="connsiteX21" fmla="*/ 94596 w 137704"/>
                <a:gd name="connsiteY21" fmla="*/ 174974 h 197299"/>
                <a:gd name="connsiteX22" fmla="*/ 94899 w 137704"/>
                <a:gd name="connsiteY22" fmla="*/ 173946 h 197299"/>
                <a:gd name="connsiteX23" fmla="*/ 94475 w 137704"/>
                <a:gd name="connsiteY23" fmla="*/ 172705 h 197299"/>
                <a:gd name="connsiteX24" fmla="*/ 93477 w 137704"/>
                <a:gd name="connsiteY24" fmla="*/ 171586 h 197299"/>
                <a:gd name="connsiteX25" fmla="*/ 92509 w 137704"/>
                <a:gd name="connsiteY25" fmla="*/ 171284 h 197299"/>
                <a:gd name="connsiteX26" fmla="*/ 90301 w 137704"/>
                <a:gd name="connsiteY26" fmla="*/ 171768 h 197299"/>
                <a:gd name="connsiteX27" fmla="*/ 89302 w 137704"/>
                <a:gd name="connsiteY27" fmla="*/ 171586 h 197299"/>
                <a:gd name="connsiteX28" fmla="*/ 88365 w 137704"/>
                <a:gd name="connsiteY28" fmla="*/ 170285 h 197299"/>
                <a:gd name="connsiteX29" fmla="*/ 87548 w 137704"/>
                <a:gd name="connsiteY29" fmla="*/ 168410 h 197299"/>
                <a:gd name="connsiteX30" fmla="*/ 86368 w 137704"/>
                <a:gd name="connsiteY30" fmla="*/ 166776 h 197299"/>
                <a:gd name="connsiteX31" fmla="*/ 84402 w 137704"/>
                <a:gd name="connsiteY31" fmla="*/ 166292 h 197299"/>
                <a:gd name="connsiteX32" fmla="*/ 85188 w 137704"/>
                <a:gd name="connsiteY32" fmla="*/ 165052 h 197299"/>
                <a:gd name="connsiteX33" fmla="*/ 86701 w 137704"/>
                <a:gd name="connsiteY33" fmla="*/ 164870 h 197299"/>
                <a:gd name="connsiteX34" fmla="*/ 88365 w 137704"/>
                <a:gd name="connsiteY34" fmla="*/ 165566 h 197299"/>
                <a:gd name="connsiteX35" fmla="*/ 89605 w 137704"/>
                <a:gd name="connsiteY35" fmla="*/ 167018 h 197299"/>
                <a:gd name="connsiteX36" fmla="*/ 90936 w 137704"/>
                <a:gd name="connsiteY36" fmla="*/ 168107 h 197299"/>
                <a:gd name="connsiteX37" fmla="*/ 92600 w 137704"/>
                <a:gd name="connsiteY37" fmla="*/ 167805 h 197299"/>
                <a:gd name="connsiteX38" fmla="*/ 93719 w 137704"/>
                <a:gd name="connsiteY38" fmla="*/ 166262 h 197299"/>
                <a:gd name="connsiteX39" fmla="*/ 93477 w 137704"/>
                <a:gd name="connsiteY39" fmla="*/ 163660 h 197299"/>
                <a:gd name="connsiteX40" fmla="*/ 91269 w 137704"/>
                <a:gd name="connsiteY40" fmla="*/ 161482 h 197299"/>
                <a:gd name="connsiteX41" fmla="*/ 85067 w 137704"/>
                <a:gd name="connsiteY41" fmla="*/ 160635 h 197299"/>
                <a:gd name="connsiteX42" fmla="*/ 82405 w 137704"/>
                <a:gd name="connsiteY42" fmla="*/ 157368 h 197299"/>
                <a:gd name="connsiteX43" fmla="*/ 73511 w 137704"/>
                <a:gd name="connsiteY43" fmla="*/ 158336 h 197299"/>
                <a:gd name="connsiteX44" fmla="*/ 73511 w 137704"/>
                <a:gd name="connsiteY44" fmla="*/ 157126 h 197299"/>
                <a:gd name="connsiteX45" fmla="*/ 78382 w 137704"/>
                <a:gd name="connsiteY45" fmla="*/ 153012 h 197299"/>
                <a:gd name="connsiteX46" fmla="*/ 77262 w 137704"/>
                <a:gd name="connsiteY46" fmla="*/ 153163 h 197299"/>
                <a:gd name="connsiteX47" fmla="*/ 76173 w 137704"/>
                <a:gd name="connsiteY47" fmla="*/ 153072 h 197299"/>
                <a:gd name="connsiteX48" fmla="*/ 75145 w 137704"/>
                <a:gd name="connsiteY48" fmla="*/ 152649 h 197299"/>
                <a:gd name="connsiteX49" fmla="*/ 74207 w 137704"/>
                <a:gd name="connsiteY49" fmla="*/ 151802 h 197299"/>
                <a:gd name="connsiteX50" fmla="*/ 74933 w 137704"/>
                <a:gd name="connsiteY50" fmla="*/ 151257 h 197299"/>
                <a:gd name="connsiteX51" fmla="*/ 76960 w 137704"/>
                <a:gd name="connsiteY51" fmla="*/ 149170 h 197299"/>
                <a:gd name="connsiteX52" fmla="*/ 75477 w 137704"/>
                <a:gd name="connsiteY52" fmla="*/ 147839 h 197299"/>
                <a:gd name="connsiteX53" fmla="*/ 73693 w 137704"/>
                <a:gd name="connsiteY53" fmla="*/ 148081 h 197299"/>
                <a:gd name="connsiteX54" fmla="*/ 70002 w 137704"/>
                <a:gd name="connsiteY54" fmla="*/ 150380 h 197299"/>
                <a:gd name="connsiteX55" fmla="*/ 70425 w 137704"/>
                <a:gd name="connsiteY55" fmla="*/ 150924 h 197299"/>
                <a:gd name="connsiteX56" fmla="*/ 70425 w 137704"/>
                <a:gd name="connsiteY56" fmla="*/ 151106 h 197299"/>
                <a:gd name="connsiteX57" fmla="*/ 70698 w 137704"/>
                <a:gd name="connsiteY57" fmla="*/ 151832 h 197299"/>
                <a:gd name="connsiteX58" fmla="*/ 68641 w 137704"/>
                <a:gd name="connsiteY58" fmla="*/ 151832 h 197299"/>
                <a:gd name="connsiteX59" fmla="*/ 69548 w 137704"/>
                <a:gd name="connsiteY59" fmla="*/ 154766 h 197299"/>
                <a:gd name="connsiteX60" fmla="*/ 70002 w 137704"/>
                <a:gd name="connsiteY60" fmla="*/ 155704 h 197299"/>
                <a:gd name="connsiteX61" fmla="*/ 70274 w 137704"/>
                <a:gd name="connsiteY61" fmla="*/ 159213 h 197299"/>
                <a:gd name="connsiteX62" fmla="*/ 72573 w 137704"/>
                <a:gd name="connsiteY62" fmla="*/ 163993 h 197299"/>
                <a:gd name="connsiteX63" fmla="*/ 75689 w 137704"/>
                <a:gd name="connsiteY63" fmla="*/ 168591 h 197299"/>
                <a:gd name="connsiteX64" fmla="*/ 78351 w 137704"/>
                <a:gd name="connsiteY64" fmla="*/ 171616 h 197299"/>
                <a:gd name="connsiteX65" fmla="*/ 77867 w 137704"/>
                <a:gd name="connsiteY65" fmla="*/ 176517 h 197299"/>
                <a:gd name="connsiteX66" fmla="*/ 82193 w 137704"/>
                <a:gd name="connsiteY66" fmla="*/ 182265 h 197299"/>
                <a:gd name="connsiteX67" fmla="*/ 91329 w 137704"/>
                <a:gd name="connsiteY67" fmla="*/ 190221 h 197299"/>
                <a:gd name="connsiteX68" fmla="*/ 95050 w 137704"/>
                <a:gd name="connsiteY68" fmla="*/ 195334 h 197299"/>
                <a:gd name="connsiteX69" fmla="*/ 97289 w 137704"/>
                <a:gd name="connsiteY69" fmla="*/ 197300 h 197299"/>
                <a:gd name="connsiteX70" fmla="*/ 99588 w 137704"/>
                <a:gd name="connsiteY70" fmla="*/ 196937 h 197299"/>
                <a:gd name="connsiteX71" fmla="*/ 100435 w 137704"/>
                <a:gd name="connsiteY71" fmla="*/ 194577 h 197299"/>
                <a:gd name="connsiteX72" fmla="*/ 99921 w 137704"/>
                <a:gd name="connsiteY72" fmla="*/ 191280 h 197299"/>
                <a:gd name="connsiteX73" fmla="*/ 98408 w 137704"/>
                <a:gd name="connsiteY73" fmla="*/ 188466 h 197299"/>
                <a:gd name="connsiteX74" fmla="*/ 100223 w 137704"/>
                <a:gd name="connsiteY74" fmla="*/ 109661 h 197299"/>
                <a:gd name="connsiteX75" fmla="*/ 99558 w 137704"/>
                <a:gd name="connsiteY75" fmla="*/ 106878 h 197299"/>
                <a:gd name="connsiteX76" fmla="*/ 98347 w 137704"/>
                <a:gd name="connsiteY76" fmla="*/ 105487 h 197299"/>
                <a:gd name="connsiteX77" fmla="*/ 90694 w 137704"/>
                <a:gd name="connsiteY77" fmla="*/ 103460 h 197299"/>
                <a:gd name="connsiteX78" fmla="*/ 89575 w 137704"/>
                <a:gd name="connsiteY78" fmla="*/ 102794 h 197299"/>
                <a:gd name="connsiteX79" fmla="*/ 88153 w 137704"/>
                <a:gd name="connsiteY79" fmla="*/ 100435 h 197299"/>
                <a:gd name="connsiteX80" fmla="*/ 87215 w 137704"/>
                <a:gd name="connsiteY80" fmla="*/ 99436 h 197299"/>
                <a:gd name="connsiteX81" fmla="*/ 86005 w 137704"/>
                <a:gd name="connsiteY81" fmla="*/ 98952 h 197299"/>
                <a:gd name="connsiteX82" fmla="*/ 82798 w 137704"/>
                <a:gd name="connsiteY82" fmla="*/ 99436 h 197299"/>
                <a:gd name="connsiteX83" fmla="*/ 80771 w 137704"/>
                <a:gd name="connsiteY83" fmla="*/ 99043 h 197299"/>
                <a:gd name="connsiteX84" fmla="*/ 76506 w 137704"/>
                <a:gd name="connsiteY84" fmla="*/ 97289 h 197299"/>
                <a:gd name="connsiteX85" fmla="*/ 74177 w 137704"/>
                <a:gd name="connsiteY85" fmla="*/ 96895 h 197299"/>
                <a:gd name="connsiteX86" fmla="*/ 74993 w 137704"/>
                <a:gd name="connsiteY86" fmla="*/ 100042 h 197299"/>
                <a:gd name="connsiteX87" fmla="*/ 77141 w 137704"/>
                <a:gd name="connsiteY87" fmla="*/ 104821 h 197299"/>
                <a:gd name="connsiteX88" fmla="*/ 77565 w 137704"/>
                <a:gd name="connsiteY88" fmla="*/ 108240 h 197299"/>
                <a:gd name="connsiteX89" fmla="*/ 78140 w 137704"/>
                <a:gd name="connsiteY89" fmla="*/ 110750 h 197299"/>
                <a:gd name="connsiteX90" fmla="*/ 79471 w 137704"/>
                <a:gd name="connsiteY90" fmla="*/ 112142 h 197299"/>
                <a:gd name="connsiteX91" fmla="*/ 81074 w 137704"/>
                <a:gd name="connsiteY91" fmla="*/ 112777 h 197299"/>
                <a:gd name="connsiteX92" fmla="*/ 90301 w 137704"/>
                <a:gd name="connsiteY92" fmla="*/ 114320 h 197299"/>
                <a:gd name="connsiteX93" fmla="*/ 91662 w 137704"/>
                <a:gd name="connsiteY93" fmla="*/ 115742 h 197299"/>
                <a:gd name="connsiteX94" fmla="*/ 98227 w 137704"/>
                <a:gd name="connsiteY94" fmla="*/ 128478 h 197299"/>
                <a:gd name="connsiteX95" fmla="*/ 98922 w 137704"/>
                <a:gd name="connsiteY95" fmla="*/ 129022 h 197299"/>
                <a:gd name="connsiteX96" fmla="*/ 99921 w 137704"/>
                <a:gd name="connsiteY96" fmla="*/ 128387 h 197299"/>
                <a:gd name="connsiteX97" fmla="*/ 100828 w 137704"/>
                <a:gd name="connsiteY97" fmla="*/ 126995 h 197299"/>
                <a:gd name="connsiteX98" fmla="*/ 101554 w 137704"/>
                <a:gd name="connsiteY98" fmla="*/ 125604 h 197299"/>
                <a:gd name="connsiteX99" fmla="*/ 102038 w 137704"/>
                <a:gd name="connsiteY99" fmla="*/ 124969 h 197299"/>
                <a:gd name="connsiteX100" fmla="*/ 102280 w 137704"/>
                <a:gd name="connsiteY100" fmla="*/ 119342 h 197299"/>
                <a:gd name="connsiteX101" fmla="*/ 102038 w 137704"/>
                <a:gd name="connsiteY101" fmla="*/ 118313 h 197299"/>
                <a:gd name="connsiteX102" fmla="*/ 101705 w 137704"/>
                <a:gd name="connsiteY102" fmla="*/ 117708 h 197299"/>
                <a:gd name="connsiteX103" fmla="*/ 102371 w 137704"/>
                <a:gd name="connsiteY103" fmla="*/ 116377 h 197299"/>
                <a:gd name="connsiteX104" fmla="*/ 103763 w 137704"/>
                <a:gd name="connsiteY104" fmla="*/ 114290 h 197299"/>
                <a:gd name="connsiteX105" fmla="*/ 103097 w 137704"/>
                <a:gd name="connsiteY105" fmla="*/ 112384 h 197299"/>
                <a:gd name="connsiteX106" fmla="*/ 100193 w 137704"/>
                <a:gd name="connsiteY106" fmla="*/ 109661 h 197299"/>
                <a:gd name="connsiteX107" fmla="*/ 8501 w 137704"/>
                <a:gd name="connsiteY107" fmla="*/ 57901 h 197299"/>
                <a:gd name="connsiteX108" fmla="*/ 5657 w 137704"/>
                <a:gd name="connsiteY108" fmla="*/ 56449 h 197299"/>
                <a:gd name="connsiteX109" fmla="*/ 2723 w 137704"/>
                <a:gd name="connsiteY109" fmla="*/ 56600 h 197299"/>
                <a:gd name="connsiteX110" fmla="*/ 0 w 137704"/>
                <a:gd name="connsiteY110" fmla="*/ 58053 h 197299"/>
                <a:gd name="connsiteX111" fmla="*/ 333 w 137704"/>
                <a:gd name="connsiteY111" fmla="*/ 59474 h 197299"/>
                <a:gd name="connsiteX112" fmla="*/ 8591 w 137704"/>
                <a:gd name="connsiteY112" fmla="*/ 60200 h 197299"/>
                <a:gd name="connsiteX113" fmla="*/ 9832 w 137704"/>
                <a:gd name="connsiteY113" fmla="*/ 60019 h 197299"/>
                <a:gd name="connsiteX114" fmla="*/ 10800 w 137704"/>
                <a:gd name="connsiteY114" fmla="*/ 59656 h 197299"/>
                <a:gd name="connsiteX115" fmla="*/ 9862 w 137704"/>
                <a:gd name="connsiteY115" fmla="*/ 59051 h 197299"/>
                <a:gd name="connsiteX116" fmla="*/ 8471 w 137704"/>
                <a:gd name="connsiteY116" fmla="*/ 57871 h 197299"/>
                <a:gd name="connsiteX117" fmla="*/ 56510 w 137704"/>
                <a:gd name="connsiteY117" fmla="*/ 58294 h 197299"/>
                <a:gd name="connsiteX118" fmla="*/ 53848 w 137704"/>
                <a:gd name="connsiteY118" fmla="*/ 58446 h 197299"/>
                <a:gd name="connsiteX119" fmla="*/ 51337 w 137704"/>
                <a:gd name="connsiteY119" fmla="*/ 57629 h 197299"/>
                <a:gd name="connsiteX120" fmla="*/ 50308 w 137704"/>
                <a:gd name="connsiteY120" fmla="*/ 56237 h 197299"/>
                <a:gd name="connsiteX121" fmla="*/ 48705 w 137704"/>
                <a:gd name="connsiteY121" fmla="*/ 53000 h 197299"/>
                <a:gd name="connsiteX122" fmla="*/ 47616 w 137704"/>
                <a:gd name="connsiteY122" fmla="*/ 52365 h 197299"/>
                <a:gd name="connsiteX123" fmla="*/ 46315 w 137704"/>
                <a:gd name="connsiteY123" fmla="*/ 52033 h 197299"/>
                <a:gd name="connsiteX124" fmla="*/ 42413 w 137704"/>
                <a:gd name="connsiteY124" fmla="*/ 49522 h 197299"/>
                <a:gd name="connsiteX125" fmla="*/ 42413 w 137704"/>
                <a:gd name="connsiteY125" fmla="*/ 48039 h 197299"/>
                <a:gd name="connsiteX126" fmla="*/ 43108 w 137704"/>
                <a:gd name="connsiteY126" fmla="*/ 48039 h 197299"/>
                <a:gd name="connsiteX127" fmla="*/ 43108 w 137704"/>
                <a:gd name="connsiteY127" fmla="*/ 46799 h 197299"/>
                <a:gd name="connsiteX128" fmla="*/ 36030 w 137704"/>
                <a:gd name="connsiteY128" fmla="*/ 48493 h 197299"/>
                <a:gd name="connsiteX129" fmla="*/ 34275 w 137704"/>
                <a:gd name="connsiteY129" fmla="*/ 50429 h 197299"/>
                <a:gd name="connsiteX130" fmla="*/ 33125 w 137704"/>
                <a:gd name="connsiteY130" fmla="*/ 50883 h 197299"/>
                <a:gd name="connsiteX131" fmla="*/ 32823 w 137704"/>
                <a:gd name="connsiteY131" fmla="*/ 51306 h 197299"/>
                <a:gd name="connsiteX132" fmla="*/ 32732 w 137704"/>
                <a:gd name="connsiteY132" fmla="*/ 52214 h 197299"/>
                <a:gd name="connsiteX133" fmla="*/ 32490 w 137704"/>
                <a:gd name="connsiteY133" fmla="*/ 53152 h 197299"/>
                <a:gd name="connsiteX134" fmla="*/ 31704 w 137704"/>
                <a:gd name="connsiteY134" fmla="*/ 53575 h 197299"/>
                <a:gd name="connsiteX135" fmla="*/ 29374 w 137704"/>
                <a:gd name="connsiteY135" fmla="*/ 53727 h 197299"/>
                <a:gd name="connsiteX136" fmla="*/ 28618 w 137704"/>
                <a:gd name="connsiteY136" fmla="*/ 53575 h 197299"/>
                <a:gd name="connsiteX137" fmla="*/ 27378 w 137704"/>
                <a:gd name="connsiteY137" fmla="*/ 52910 h 197299"/>
                <a:gd name="connsiteX138" fmla="*/ 23808 w 137704"/>
                <a:gd name="connsiteY138" fmla="*/ 49522 h 197299"/>
                <a:gd name="connsiteX139" fmla="*/ 21388 w 137704"/>
                <a:gd name="connsiteY139" fmla="*/ 49915 h 197299"/>
                <a:gd name="connsiteX140" fmla="*/ 21600 w 137704"/>
                <a:gd name="connsiteY140" fmla="*/ 53817 h 197299"/>
                <a:gd name="connsiteX141" fmla="*/ 23475 w 137704"/>
                <a:gd name="connsiteY141" fmla="*/ 58325 h 197299"/>
                <a:gd name="connsiteX142" fmla="*/ 26198 w 137704"/>
                <a:gd name="connsiteY142" fmla="*/ 60473 h 197299"/>
                <a:gd name="connsiteX143" fmla="*/ 31310 w 137704"/>
                <a:gd name="connsiteY143" fmla="*/ 61531 h 197299"/>
                <a:gd name="connsiteX144" fmla="*/ 33912 w 137704"/>
                <a:gd name="connsiteY144" fmla="*/ 62772 h 197299"/>
                <a:gd name="connsiteX145" fmla="*/ 36151 w 137704"/>
                <a:gd name="connsiteY145" fmla="*/ 64405 h 197299"/>
                <a:gd name="connsiteX146" fmla="*/ 26561 w 137704"/>
                <a:gd name="connsiteY146" fmla="*/ 64405 h 197299"/>
                <a:gd name="connsiteX147" fmla="*/ 26561 w 137704"/>
                <a:gd name="connsiteY147" fmla="*/ 65736 h 197299"/>
                <a:gd name="connsiteX148" fmla="*/ 27983 w 137704"/>
                <a:gd name="connsiteY148" fmla="*/ 65888 h 197299"/>
                <a:gd name="connsiteX149" fmla="*/ 32067 w 137704"/>
                <a:gd name="connsiteY149" fmla="*/ 68550 h 197299"/>
                <a:gd name="connsiteX150" fmla="*/ 38329 w 137704"/>
                <a:gd name="connsiteY150" fmla="*/ 69790 h 197299"/>
                <a:gd name="connsiteX151" fmla="*/ 42806 w 137704"/>
                <a:gd name="connsiteY151" fmla="*/ 72694 h 197299"/>
                <a:gd name="connsiteX152" fmla="*/ 43865 w 137704"/>
                <a:gd name="connsiteY152" fmla="*/ 72482 h 197299"/>
                <a:gd name="connsiteX153" fmla="*/ 44046 w 137704"/>
                <a:gd name="connsiteY153" fmla="*/ 70788 h 197299"/>
                <a:gd name="connsiteX154" fmla="*/ 43139 w 137704"/>
                <a:gd name="connsiteY154" fmla="*/ 69094 h 197299"/>
                <a:gd name="connsiteX155" fmla="*/ 41898 w 137704"/>
                <a:gd name="connsiteY155" fmla="*/ 67733 h 197299"/>
                <a:gd name="connsiteX156" fmla="*/ 41081 w 137704"/>
                <a:gd name="connsiteY156" fmla="*/ 67067 h 197299"/>
                <a:gd name="connsiteX157" fmla="*/ 42564 w 137704"/>
                <a:gd name="connsiteY157" fmla="*/ 66099 h 197299"/>
                <a:gd name="connsiteX158" fmla="*/ 43986 w 137704"/>
                <a:gd name="connsiteY158" fmla="*/ 67279 h 197299"/>
                <a:gd name="connsiteX159" fmla="*/ 45135 w 137704"/>
                <a:gd name="connsiteY159" fmla="*/ 69699 h 197299"/>
                <a:gd name="connsiteX160" fmla="*/ 45831 w 137704"/>
                <a:gd name="connsiteY160" fmla="*/ 72452 h 197299"/>
                <a:gd name="connsiteX161" fmla="*/ 45377 w 137704"/>
                <a:gd name="connsiteY161" fmla="*/ 73118 h 197299"/>
                <a:gd name="connsiteX162" fmla="*/ 44500 w 137704"/>
                <a:gd name="connsiteY162" fmla="*/ 75266 h 197299"/>
                <a:gd name="connsiteX163" fmla="*/ 46255 w 137704"/>
                <a:gd name="connsiteY163" fmla="*/ 73904 h 197299"/>
                <a:gd name="connsiteX164" fmla="*/ 52123 w 137704"/>
                <a:gd name="connsiteY164" fmla="*/ 71212 h 197299"/>
                <a:gd name="connsiteX165" fmla="*/ 51155 w 137704"/>
                <a:gd name="connsiteY165" fmla="*/ 71151 h 197299"/>
                <a:gd name="connsiteX166" fmla="*/ 50278 w 137704"/>
                <a:gd name="connsiteY166" fmla="*/ 70909 h 197299"/>
                <a:gd name="connsiteX167" fmla="*/ 49461 w 137704"/>
                <a:gd name="connsiteY167" fmla="*/ 70425 h 197299"/>
                <a:gd name="connsiteX168" fmla="*/ 48644 w 137704"/>
                <a:gd name="connsiteY168" fmla="*/ 69730 h 197299"/>
                <a:gd name="connsiteX169" fmla="*/ 50429 w 137704"/>
                <a:gd name="connsiteY169" fmla="*/ 68489 h 197299"/>
                <a:gd name="connsiteX170" fmla="*/ 52063 w 137704"/>
                <a:gd name="connsiteY170" fmla="*/ 68671 h 197299"/>
                <a:gd name="connsiteX171" fmla="*/ 53727 w 137704"/>
                <a:gd name="connsiteY171" fmla="*/ 69427 h 197299"/>
                <a:gd name="connsiteX172" fmla="*/ 55511 w 137704"/>
                <a:gd name="connsiteY172" fmla="*/ 69760 h 197299"/>
                <a:gd name="connsiteX173" fmla="*/ 57659 w 137704"/>
                <a:gd name="connsiteY173" fmla="*/ 68792 h 197299"/>
                <a:gd name="connsiteX174" fmla="*/ 58869 w 137704"/>
                <a:gd name="connsiteY174" fmla="*/ 66765 h 197299"/>
                <a:gd name="connsiteX175" fmla="*/ 59777 w 137704"/>
                <a:gd name="connsiteY175" fmla="*/ 64193 h 197299"/>
                <a:gd name="connsiteX176" fmla="*/ 61017 w 137704"/>
                <a:gd name="connsiteY176" fmla="*/ 61652 h 197299"/>
                <a:gd name="connsiteX177" fmla="*/ 59051 w 137704"/>
                <a:gd name="connsiteY177" fmla="*/ 58779 h 197299"/>
                <a:gd name="connsiteX178" fmla="*/ 56570 w 137704"/>
                <a:gd name="connsiteY178" fmla="*/ 58294 h 197299"/>
                <a:gd name="connsiteX179" fmla="*/ 137705 w 137704"/>
                <a:gd name="connsiteY179" fmla="*/ 19210 h 197299"/>
                <a:gd name="connsiteX180" fmla="*/ 136131 w 137704"/>
                <a:gd name="connsiteY180" fmla="*/ 18211 h 197299"/>
                <a:gd name="connsiteX181" fmla="*/ 133106 w 137704"/>
                <a:gd name="connsiteY181" fmla="*/ 18121 h 197299"/>
                <a:gd name="connsiteX182" fmla="*/ 129658 w 137704"/>
                <a:gd name="connsiteY182" fmla="*/ 21327 h 197299"/>
                <a:gd name="connsiteX183" fmla="*/ 127964 w 137704"/>
                <a:gd name="connsiteY183" fmla="*/ 22114 h 197299"/>
                <a:gd name="connsiteX184" fmla="*/ 126784 w 137704"/>
                <a:gd name="connsiteY184" fmla="*/ 23657 h 197299"/>
                <a:gd name="connsiteX185" fmla="*/ 127147 w 137704"/>
                <a:gd name="connsiteY185" fmla="*/ 25865 h 197299"/>
                <a:gd name="connsiteX186" fmla="*/ 128175 w 137704"/>
                <a:gd name="connsiteY186" fmla="*/ 28497 h 197299"/>
                <a:gd name="connsiteX187" fmla="*/ 129355 w 137704"/>
                <a:gd name="connsiteY187" fmla="*/ 30493 h 197299"/>
                <a:gd name="connsiteX188" fmla="*/ 131049 w 137704"/>
                <a:gd name="connsiteY188" fmla="*/ 30796 h 197299"/>
                <a:gd name="connsiteX189" fmla="*/ 132622 w 137704"/>
                <a:gd name="connsiteY189" fmla="*/ 30251 h 197299"/>
                <a:gd name="connsiteX190" fmla="*/ 133923 w 137704"/>
                <a:gd name="connsiteY190" fmla="*/ 29525 h 197299"/>
                <a:gd name="connsiteX191" fmla="*/ 134831 w 137704"/>
                <a:gd name="connsiteY191" fmla="*/ 28497 h 197299"/>
                <a:gd name="connsiteX192" fmla="*/ 135315 w 137704"/>
                <a:gd name="connsiteY192" fmla="*/ 27257 h 197299"/>
                <a:gd name="connsiteX193" fmla="*/ 135315 w 137704"/>
                <a:gd name="connsiteY193" fmla="*/ 25411 h 197299"/>
                <a:gd name="connsiteX194" fmla="*/ 134649 w 137704"/>
                <a:gd name="connsiteY194" fmla="*/ 23384 h 197299"/>
                <a:gd name="connsiteX195" fmla="*/ 137584 w 137704"/>
                <a:gd name="connsiteY195" fmla="*/ 20510 h 197299"/>
                <a:gd name="connsiteX196" fmla="*/ 137705 w 137704"/>
                <a:gd name="connsiteY196" fmla="*/ 19240 h 197299"/>
                <a:gd name="connsiteX197" fmla="*/ 70304 w 137704"/>
                <a:gd name="connsiteY197" fmla="*/ 69730 h 197299"/>
                <a:gd name="connsiteX198" fmla="*/ 73874 w 137704"/>
                <a:gd name="connsiteY198" fmla="*/ 71666 h 197299"/>
                <a:gd name="connsiteX199" fmla="*/ 79229 w 137704"/>
                <a:gd name="connsiteY199" fmla="*/ 80166 h 197299"/>
                <a:gd name="connsiteX200" fmla="*/ 85581 w 137704"/>
                <a:gd name="connsiteY200" fmla="*/ 84160 h 197299"/>
                <a:gd name="connsiteX201" fmla="*/ 88485 w 137704"/>
                <a:gd name="connsiteY201" fmla="*/ 88274 h 197299"/>
                <a:gd name="connsiteX202" fmla="*/ 91541 w 137704"/>
                <a:gd name="connsiteY202" fmla="*/ 91299 h 197299"/>
                <a:gd name="connsiteX203" fmla="*/ 94808 w 137704"/>
                <a:gd name="connsiteY203" fmla="*/ 90149 h 197299"/>
                <a:gd name="connsiteX204" fmla="*/ 94415 w 137704"/>
                <a:gd name="connsiteY204" fmla="*/ 86852 h 197299"/>
                <a:gd name="connsiteX205" fmla="*/ 94929 w 137704"/>
                <a:gd name="connsiteY205" fmla="*/ 84311 h 197299"/>
                <a:gd name="connsiteX206" fmla="*/ 95141 w 137704"/>
                <a:gd name="connsiteY206" fmla="*/ 82677 h 197299"/>
                <a:gd name="connsiteX207" fmla="*/ 91813 w 137704"/>
                <a:gd name="connsiteY207" fmla="*/ 80892 h 197299"/>
                <a:gd name="connsiteX208" fmla="*/ 91601 w 137704"/>
                <a:gd name="connsiteY208" fmla="*/ 78079 h 197299"/>
                <a:gd name="connsiteX209" fmla="*/ 92388 w 137704"/>
                <a:gd name="connsiteY209" fmla="*/ 74842 h 197299"/>
                <a:gd name="connsiteX210" fmla="*/ 93447 w 137704"/>
                <a:gd name="connsiteY210" fmla="*/ 72422 h 197299"/>
                <a:gd name="connsiteX211" fmla="*/ 90694 w 137704"/>
                <a:gd name="connsiteY211" fmla="*/ 69850 h 197299"/>
                <a:gd name="connsiteX212" fmla="*/ 83887 w 137704"/>
                <a:gd name="connsiteY212" fmla="*/ 70002 h 197299"/>
                <a:gd name="connsiteX213" fmla="*/ 80318 w 137704"/>
                <a:gd name="connsiteY213" fmla="*/ 68519 h 197299"/>
                <a:gd name="connsiteX214" fmla="*/ 80318 w 137704"/>
                <a:gd name="connsiteY214" fmla="*/ 67037 h 197299"/>
                <a:gd name="connsiteX215" fmla="*/ 86186 w 137704"/>
                <a:gd name="connsiteY215" fmla="*/ 67037 h 197299"/>
                <a:gd name="connsiteX216" fmla="*/ 87003 w 137704"/>
                <a:gd name="connsiteY216" fmla="*/ 66099 h 197299"/>
                <a:gd name="connsiteX217" fmla="*/ 86519 w 137704"/>
                <a:gd name="connsiteY217" fmla="*/ 64012 h 197299"/>
                <a:gd name="connsiteX218" fmla="*/ 85097 w 137704"/>
                <a:gd name="connsiteY218" fmla="*/ 61047 h 197299"/>
                <a:gd name="connsiteX219" fmla="*/ 83615 w 137704"/>
                <a:gd name="connsiteY219" fmla="*/ 58567 h 197299"/>
                <a:gd name="connsiteX220" fmla="*/ 74812 w 137704"/>
                <a:gd name="connsiteY220" fmla="*/ 58960 h 197299"/>
                <a:gd name="connsiteX221" fmla="*/ 75931 w 137704"/>
                <a:gd name="connsiteY221" fmla="*/ 58567 h 197299"/>
                <a:gd name="connsiteX222" fmla="*/ 77323 w 137704"/>
                <a:gd name="connsiteY222" fmla="*/ 57659 h 197299"/>
                <a:gd name="connsiteX223" fmla="*/ 78654 w 137704"/>
                <a:gd name="connsiteY223" fmla="*/ 56389 h 197299"/>
                <a:gd name="connsiteX224" fmla="*/ 79622 w 137704"/>
                <a:gd name="connsiteY224" fmla="*/ 54937 h 197299"/>
                <a:gd name="connsiteX225" fmla="*/ 80257 w 137704"/>
                <a:gd name="connsiteY225" fmla="*/ 52849 h 197299"/>
                <a:gd name="connsiteX226" fmla="*/ 80166 w 137704"/>
                <a:gd name="connsiteY226" fmla="*/ 51125 h 197299"/>
                <a:gd name="connsiteX227" fmla="*/ 79289 w 137704"/>
                <a:gd name="connsiteY227" fmla="*/ 49975 h 197299"/>
                <a:gd name="connsiteX228" fmla="*/ 74207 w 137704"/>
                <a:gd name="connsiteY228" fmla="*/ 48463 h 197299"/>
                <a:gd name="connsiteX229" fmla="*/ 68459 w 137704"/>
                <a:gd name="connsiteY229" fmla="*/ 43834 h 197299"/>
                <a:gd name="connsiteX230" fmla="*/ 65071 w 137704"/>
                <a:gd name="connsiteY230" fmla="*/ 42775 h 197299"/>
                <a:gd name="connsiteX231" fmla="*/ 65071 w 137704"/>
                <a:gd name="connsiteY231" fmla="*/ 38238 h 197299"/>
                <a:gd name="connsiteX232" fmla="*/ 60231 w 137704"/>
                <a:gd name="connsiteY232" fmla="*/ 29253 h 197299"/>
                <a:gd name="connsiteX233" fmla="*/ 58960 w 137704"/>
                <a:gd name="connsiteY233" fmla="*/ 24413 h 197299"/>
                <a:gd name="connsiteX234" fmla="*/ 57508 w 137704"/>
                <a:gd name="connsiteY234" fmla="*/ 21721 h 197299"/>
                <a:gd name="connsiteX235" fmla="*/ 54120 w 137704"/>
                <a:gd name="connsiteY235" fmla="*/ 19784 h 197299"/>
                <a:gd name="connsiteX236" fmla="*/ 47223 w 137704"/>
                <a:gd name="connsiteY236" fmla="*/ 18242 h 197299"/>
                <a:gd name="connsiteX237" fmla="*/ 46618 w 137704"/>
                <a:gd name="connsiteY237" fmla="*/ 17969 h 197299"/>
                <a:gd name="connsiteX238" fmla="*/ 46133 w 137704"/>
                <a:gd name="connsiteY238" fmla="*/ 18030 h 197299"/>
                <a:gd name="connsiteX239" fmla="*/ 45680 w 137704"/>
                <a:gd name="connsiteY239" fmla="*/ 17818 h 197299"/>
                <a:gd name="connsiteX240" fmla="*/ 45166 w 137704"/>
                <a:gd name="connsiteY240" fmla="*/ 16850 h 197299"/>
                <a:gd name="connsiteX241" fmla="*/ 43895 w 137704"/>
                <a:gd name="connsiteY241" fmla="*/ 24685 h 197299"/>
                <a:gd name="connsiteX242" fmla="*/ 43895 w 137704"/>
                <a:gd name="connsiteY242" fmla="*/ 28860 h 197299"/>
                <a:gd name="connsiteX243" fmla="*/ 45801 w 137704"/>
                <a:gd name="connsiteY243" fmla="*/ 31794 h 197299"/>
                <a:gd name="connsiteX244" fmla="*/ 44197 w 137704"/>
                <a:gd name="connsiteY244" fmla="*/ 32551 h 197299"/>
                <a:gd name="connsiteX245" fmla="*/ 43744 w 137704"/>
                <a:gd name="connsiteY245" fmla="*/ 33942 h 197299"/>
                <a:gd name="connsiteX246" fmla="*/ 43653 w 137704"/>
                <a:gd name="connsiteY246" fmla="*/ 35969 h 197299"/>
                <a:gd name="connsiteX247" fmla="*/ 43108 w 137704"/>
                <a:gd name="connsiteY247" fmla="*/ 38692 h 197299"/>
                <a:gd name="connsiteX248" fmla="*/ 42534 w 137704"/>
                <a:gd name="connsiteY248" fmla="*/ 39357 h 197299"/>
                <a:gd name="connsiteX249" fmla="*/ 41868 w 137704"/>
                <a:gd name="connsiteY249" fmla="*/ 39418 h 197299"/>
                <a:gd name="connsiteX250" fmla="*/ 41293 w 137704"/>
                <a:gd name="connsiteY250" fmla="*/ 39962 h 197299"/>
                <a:gd name="connsiteX251" fmla="*/ 41051 w 137704"/>
                <a:gd name="connsiteY251" fmla="*/ 42080 h 197299"/>
                <a:gd name="connsiteX252" fmla="*/ 41172 w 137704"/>
                <a:gd name="connsiteY252" fmla="*/ 43562 h 197299"/>
                <a:gd name="connsiteX253" fmla="*/ 41505 w 137704"/>
                <a:gd name="connsiteY253" fmla="*/ 44318 h 197299"/>
                <a:gd name="connsiteX254" fmla="*/ 42443 w 137704"/>
                <a:gd name="connsiteY254" fmla="*/ 45468 h 197299"/>
                <a:gd name="connsiteX255" fmla="*/ 43350 w 137704"/>
                <a:gd name="connsiteY255" fmla="*/ 46617 h 197299"/>
                <a:gd name="connsiteX256" fmla="*/ 46164 w 137704"/>
                <a:gd name="connsiteY256" fmla="*/ 49068 h 197299"/>
                <a:gd name="connsiteX257" fmla="*/ 47223 w 137704"/>
                <a:gd name="connsiteY257" fmla="*/ 49522 h 197299"/>
                <a:gd name="connsiteX258" fmla="*/ 48886 w 137704"/>
                <a:gd name="connsiteY258" fmla="*/ 48735 h 197299"/>
                <a:gd name="connsiteX259" fmla="*/ 50490 w 137704"/>
                <a:gd name="connsiteY259" fmla="*/ 47404 h 197299"/>
                <a:gd name="connsiteX260" fmla="*/ 51851 w 137704"/>
                <a:gd name="connsiteY260" fmla="*/ 47162 h 197299"/>
                <a:gd name="connsiteX261" fmla="*/ 52728 w 137704"/>
                <a:gd name="connsiteY261" fmla="*/ 49522 h 197299"/>
                <a:gd name="connsiteX262" fmla="*/ 51125 w 137704"/>
                <a:gd name="connsiteY262" fmla="*/ 50308 h 197299"/>
                <a:gd name="connsiteX263" fmla="*/ 51034 w 137704"/>
                <a:gd name="connsiteY263" fmla="*/ 52184 h 197299"/>
                <a:gd name="connsiteX264" fmla="*/ 52063 w 137704"/>
                <a:gd name="connsiteY264" fmla="*/ 54059 h 197299"/>
                <a:gd name="connsiteX265" fmla="*/ 53817 w 137704"/>
                <a:gd name="connsiteY265" fmla="*/ 54937 h 197299"/>
                <a:gd name="connsiteX266" fmla="*/ 61713 w 137704"/>
                <a:gd name="connsiteY266" fmla="*/ 56147 h 197299"/>
                <a:gd name="connsiteX267" fmla="*/ 63195 w 137704"/>
                <a:gd name="connsiteY267" fmla="*/ 57084 h 197299"/>
                <a:gd name="connsiteX268" fmla="*/ 65041 w 137704"/>
                <a:gd name="connsiteY268" fmla="*/ 58688 h 197299"/>
                <a:gd name="connsiteX269" fmla="*/ 66614 w 137704"/>
                <a:gd name="connsiteY269" fmla="*/ 60594 h 197299"/>
                <a:gd name="connsiteX270" fmla="*/ 67249 w 137704"/>
                <a:gd name="connsiteY270" fmla="*/ 62409 h 197299"/>
                <a:gd name="connsiteX271" fmla="*/ 67400 w 137704"/>
                <a:gd name="connsiteY271" fmla="*/ 65615 h 197299"/>
                <a:gd name="connsiteX272" fmla="*/ 67915 w 137704"/>
                <a:gd name="connsiteY272" fmla="*/ 67915 h 197299"/>
                <a:gd name="connsiteX273" fmla="*/ 68852 w 137704"/>
                <a:gd name="connsiteY273" fmla="*/ 69306 h 197299"/>
                <a:gd name="connsiteX274" fmla="*/ 70274 w 137704"/>
                <a:gd name="connsiteY274" fmla="*/ 69760 h 197299"/>
                <a:gd name="connsiteX275" fmla="*/ 103460 w 137704"/>
                <a:gd name="connsiteY275" fmla="*/ 51639 h 197299"/>
                <a:gd name="connsiteX276" fmla="*/ 108694 w 137704"/>
                <a:gd name="connsiteY276" fmla="*/ 52305 h 197299"/>
                <a:gd name="connsiteX277" fmla="*/ 105063 w 137704"/>
                <a:gd name="connsiteY277" fmla="*/ 48826 h 197299"/>
                <a:gd name="connsiteX278" fmla="*/ 92751 w 137704"/>
                <a:gd name="connsiteY278" fmla="*/ 42715 h 197299"/>
                <a:gd name="connsiteX279" fmla="*/ 92751 w 137704"/>
                <a:gd name="connsiteY279" fmla="*/ 41354 h 197299"/>
                <a:gd name="connsiteX280" fmla="*/ 94627 w 137704"/>
                <a:gd name="connsiteY280" fmla="*/ 40537 h 197299"/>
                <a:gd name="connsiteX281" fmla="*/ 100677 w 137704"/>
                <a:gd name="connsiteY281" fmla="*/ 41354 h 197299"/>
                <a:gd name="connsiteX282" fmla="*/ 103218 w 137704"/>
                <a:gd name="connsiteY282" fmla="*/ 41112 h 197299"/>
                <a:gd name="connsiteX283" fmla="*/ 104549 w 137704"/>
                <a:gd name="connsiteY283" fmla="*/ 40386 h 197299"/>
                <a:gd name="connsiteX284" fmla="*/ 104247 w 137704"/>
                <a:gd name="connsiteY284" fmla="*/ 39115 h 197299"/>
                <a:gd name="connsiteX285" fmla="*/ 99981 w 137704"/>
                <a:gd name="connsiteY285" fmla="*/ 36362 h 197299"/>
                <a:gd name="connsiteX286" fmla="*/ 94475 w 137704"/>
                <a:gd name="connsiteY286" fmla="*/ 34456 h 197299"/>
                <a:gd name="connsiteX287" fmla="*/ 93477 w 137704"/>
                <a:gd name="connsiteY287" fmla="*/ 34698 h 197299"/>
                <a:gd name="connsiteX288" fmla="*/ 91571 w 137704"/>
                <a:gd name="connsiteY288" fmla="*/ 35757 h 197299"/>
                <a:gd name="connsiteX289" fmla="*/ 90754 w 137704"/>
                <a:gd name="connsiteY289" fmla="*/ 35908 h 197299"/>
                <a:gd name="connsiteX290" fmla="*/ 89696 w 137704"/>
                <a:gd name="connsiteY290" fmla="*/ 35364 h 197299"/>
                <a:gd name="connsiteX291" fmla="*/ 87790 w 137704"/>
                <a:gd name="connsiteY291" fmla="*/ 33549 h 197299"/>
                <a:gd name="connsiteX292" fmla="*/ 86610 w 137704"/>
                <a:gd name="connsiteY292" fmla="*/ 33186 h 197299"/>
                <a:gd name="connsiteX293" fmla="*/ 86610 w 137704"/>
                <a:gd name="connsiteY293" fmla="*/ 31703 h 197299"/>
                <a:gd name="connsiteX294" fmla="*/ 88667 w 137704"/>
                <a:gd name="connsiteY294" fmla="*/ 31098 h 197299"/>
                <a:gd name="connsiteX295" fmla="*/ 90482 w 137704"/>
                <a:gd name="connsiteY295" fmla="*/ 29193 h 197299"/>
                <a:gd name="connsiteX296" fmla="*/ 91329 w 137704"/>
                <a:gd name="connsiteY296" fmla="*/ 27196 h 197299"/>
                <a:gd name="connsiteX297" fmla="*/ 90361 w 137704"/>
                <a:gd name="connsiteY297" fmla="*/ 26258 h 197299"/>
                <a:gd name="connsiteX298" fmla="*/ 82496 w 137704"/>
                <a:gd name="connsiteY298" fmla="*/ 25018 h 197299"/>
                <a:gd name="connsiteX299" fmla="*/ 84402 w 137704"/>
                <a:gd name="connsiteY299" fmla="*/ 23717 h 197299"/>
                <a:gd name="connsiteX300" fmla="*/ 85188 w 137704"/>
                <a:gd name="connsiteY300" fmla="*/ 23536 h 197299"/>
                <a:gd name="connsiteX301" fmla="*/ 83615 w 137704"/>
                <a:gd name="connsiteY301" fmla="*/ 20964 h 197299"/>
                <a:gd name="connsiteX302" fmla="*/ 81134 w 137704"/>
                <a:gd name="connsiteY302" fmla="*/ 20813 h 197299"/>
                <a:gd name="connsiteX303" fmla="*/ 73632 w 137704"/>
                <a:gd name="connsiteY303" fmla="*/ 23263 h 197299"/>
                <a:gd name="connsiteX304" fmla="*/ 73178 w 137704"/>
                <a:gd name="connsiteY304" fmla="*/ 25623 h 197299"/>
                <a:gd name="connsiteX305" fmla="*/ 74177 w 137704"/>
                <a:gd name="connsiteY305" fmla="*/ 31673 h 197299"/>
                <a:gd name="connsiteX306" fmla="*/ 72573 w 137704"/>
                <a:gd name="connsiteY306" fmla="*/ 29767 h 197299"/>
                <a:gd name="connsiteX307" fmla="*/ 71756 w 137704"/>
                <a:gd name="connsiteY307" fmla="*/ 27559 h 197299"/>
                <a:gd name="connsiteX308" fmla="*/ 71454 w 137704"/>
                <a:gd name="connsiteY308" fmla="*/ 24867 h 197299"/>
                <a:gd name="connsiteX309" fmla="*/ 71454 w 137704"/>
                <a:gd name="connsiteY309" fmla="*/ 21539 h 197299"/>
                <a:gd name="connsiteX310" fmla="*/ 72543 w 137704"/>
                <a:gd name="connsiteY310" fmla="*/ 20026 h 197299"/>
                <a:gd name="connsiteX311" fmla="*/ 74842 w 137704"/>
                <a:gd name="connsiteY311" fmla="*/ 18786 h 197299"/>
                <a:gd name="connsiteX312" fmla="*/ 76597 w 137704"/>
                <a:gd name="connsiteY312" fmla="*/ 17364 h 197299"/>
                <a:gd name="connsiteX313" fmla="*/ 76173 w 137704"/>
                <a:gd name="connsiteY313" fmla="*/ 15337 h 197299"/>
                <a:gd name="connsiteX314" fmla="*/ 74933 w 137704"/>
                <a:gd name="connsiteY314" fmla="*/ 15126 h 197299"/>
                <a:gd name="connsiteX315" fmla="*/ 73995 w 137704"/>
                <a:gd name="connsiteY315" fmla="*/ 14369 h 197299"/>
                <a:gd name="connsiteX316" fmla="*/ 73118 w 137704"/>
                <a:gd name="connsiteY316" fmla="*/ 13432 h 197299"/>
                <a:gd name="connsiteX317" fmla="*/ 72089 w 137704"/>
                <a:gd name="connsiteY317" fmla="*/ 12645 h 197299"/>
                <a:gd name="connsiteX318" fmla="*/ 70879 w 137704"/>
                <a:gd name="connsiteY318" fmla="*/ 12252 h 197299"/>
                <a:gd name="connsiteX319" fmla="*/ 66281 w 137704"/>
                <a:gd name="connsiteY319" fmla="*/ 13190 h 197299"/>
                <a:gd name="connsiteX320" fmla="*/ 62621 w 137704"/>
                <a:gd name="connsiteY320" fmla="*/ 15852 h 197299"/>
                <a:gd name="connsiteX321" fmla="*/ 60442 w 137704"/>
                <a:gd name="connsiteY321" fmla="*/ 16729 h 197299"/>
                <a:gd name="connsiteX322" fmla="*/ 59353 w 137704"/>
                <a:gd name="connsiteY322" fmla="*/ 16366 h 197299"/>
                <a:gd name="connsiteX323" fmla="*/ 58204 w 137704"/>
                <a:gd name="connsiteY323" fmla="*/ 15549 h 197299"/>
                <a:gd name="connsiteX324" fmla="*/ 57145 w 137704"/>
                <a:gd name="connsiteY324" fmla="*/ 15337 h 197299"/>
                <a:gd name="connsiteX325" fmla="*/ 56298 w 137704"/>
                <a:gd name="connsiteY325" fmla="*/ 16729 h 197299"/>
                <a:gd name="connsiteX326" fmla="*/ 56449 w 137704"/>
                <a:gd name="connsiteY326" fmla="*/ 18090 h 197299"/>
                <a:gd name="connsiteX327" fmla="*/ 57357 w 137704"/>
                <a:gd name="connsiteY327" fmla="*/ 19240 h 197299"/>
                <a:gd name="connsiteX328" fmla="*/ 58506 w 137704"/>
                <a:gd name="connsiteY328" fmla="*/ 20359 h 197299"/>
                <a:gd name="connsiteX329" fmla="*/ 59353 w 137704"/>
                <a:gd name="connsiteY329" fmla="*/ 21569 h 197299"/>
                <a:gd name="connsiteX330" fmla="*/ 62863 w 137704"/>
                <a:gd name="connsiteY330" fmla="*/ 31643 h 197299"/>
                <a:gd name="connsiteX331" fmla="*/ 69185 w 137704"/>
                <a:gd name="connsiteY331" fmla="*/ 41596 h 197299"/>
                <a:gd name="connsiteX332" fmla="*/ 70395 w 137704"/>
                <a:gd name="connsiteY332" fmla="*/ 42654 h 197299"/>
                <a:gd name="connsiteX333" fmla="*/ 71151 w 137704"/>
                <a:gd name="connsiteY333" fmla="*/ 43078 h 197299"/>
                <a:gd name="connsiteX334" fmla="*/ 73269 w 137704"/>
                <a:gd name="connsiteY334" fmla="*/ 45165 h 197299"/>
                <a:gd name="connsiteX335" fmla="*/ 73904 w 137704"/>
                <a:gd name="connsiteY335" fmla="*/ 46043 h 197299"/>
                <a:gd name="connsiteX336" fmla="*/ 74963 w 137704"/>
                <a:gd name="connsiteY336" fmla="*/ 46950 h 197299"/>
                <a:gd name="connsiteX337" fmla="*/ 79047 w 137704"/>
                <a:gd name="connsiteY337" fmla="*/ 46708 h 197299"/>
                <a:gd name="connsiteX338" fmla="*/ 86973 w 137704"/>
                <a:gd name="connsiteY338" fmla="*/ 56026 h 197299"/>
                <a:gd name="connsiteX339" fmla="*/ 91057 w 137704"/>
                <a:gd name="connsiteY339" fmla="*/ 59111 h 197299"/>
                <a:gd name="connsiteX340" fmla="*/ 92842 w 137704"/>
                <a:gd name="connsiteY340" fmla="*/ 54846 h 197299"/>
                <a:gd name="connsiteX341" fmla="*/ 91783 w 137704"/>
                <a:gd name="connsiteY341" fmla="*/ 49703 h 197299"/>
                <a:gd name="connsiteX342" fmla="*/ 89212 w 137704"/>
                <a:gd name="connsiteY342" fmla="*/ 46375 h 197299"/>
                <a:gd name="connsiteX343" fmla="*/ 86217 w 137704"/>
                <a:gd name="connsiteY343" fmla="*/ 43895 h 197299"/>
                <a:gd name="connsiteX344" fmla="*/ 83857 w 137704"/>
                <a:gd name="connsiteY344" fmla="*/ 41323 h 197299"/>
                <a:gd name="connsiteX345" fmla="*/ 86670 w 137704"/>
                <a:gd name="connsiteY345" fmla="*/ 40567 h 197299"/>
                <a:gd name="connsiteX346" fmla="*/ 89726 w 137704"/>
                <a:gd name="connsiteY346" fmla="*/ 43169 h 197299"/>
                <a:gd name="connsiteX347" fmla="*/ 92418 w 137704"/>
                <a:gd name="connsiteY347" fmla="*/ 47222 h 197299"/>
                <a:gd name="connsiteX348" fmla="*/ 94173 w 137704"/>
                <a:gd name="connsiteY348" fmla="*/ 50792 h 197299"/>
                <a:gd name="connsiteX349" fmla="*/ 94959 w 137704"/>
                <a:gd name="connsiteY349" fmla="*/ 55572 h 197299"/>
                <a:gd name="connsiteX350" fmla="*/ 94959 w 137704"/>
                <a:gd name="connsiteY350" fmla="*/ 60503 h 197299"/>
                <a:gd name="connsiteX351" fmla="*/ 95988 w 137704"/>
                <a:gd name="connsiteY351" fmla="*/ 64617 h 197299"/>
                <a:gd name="connsiteX352" fmla="*/ 99679 w 137704"/>
                <a:gd name="connsiteY352" fmla="*/ 66977 h 197299"/>
                <a:gd name="connsiteX353" fmla="*/ 99255 w 137704"/>
                <a:gd name="connsiteY353" fmla="*/ 65646 h 197299"/>
                <a:gd name="connsiteX354" fmla="*/ 99195 w 137704"/>
                <a:gd name="connsiteY354" fmla="*/ 64678 h 197299"/>
                <a:gd name="connsiteX355" fmla="*/ 99588 w 137704"/>
                <a:gd name="connsiteY355" fmla="*/ 63861 h 197299"/>
                <a:gd name="connsiteX356" fmla="*/ 100435 w 137704"/>
                <a:gd name="connsiteY356" fmla="*/ 63044 h 197299"/>
                <a:gd name="connsiteX357" fmla="*/ 100435 w 137704"/>
                <a:gd name="connsiteY357" fmla="*/ 61592 h 197299"/>
                <a:gd name="connsiteX358" fmla="*/ 99951 w 137704"/>
                <a:gd name="connsiteY358" fmla="*/ 61320 h 197299"/>
                <a:gd name="connsiteX359" fmla="*/ 99497 w 137704"/>
                <a:gd name="connsiteY359" fmla="*/ 60745 h 197299"/>
                <a:gd name="connsiteX360" fmla="*/ 99043 w 137704"/>
                <a:gd name="connsiteY360" fmla="*/ 60382 h 197299"/>
                <a:gd name="connsiteX361" fmla="*/ 100223 w 137704"/>
                <a:gd name="connsiteY361" fmla="*/ 58536 h 197299"/>
                <a:gd name="connsiteX362" fmla="*/ 102068 w 137704"/>
                <a:gd name="connsiteY362" fmla="*/ 57568 h 197299"/>
                <a:gd name="connsiteX363" fmla="*/ 104126 w 137704"/>
                <a:gd name="connsiteY363" fmla="*/ 57296 h 197299"/>
                <a:gd name="connsiteX364" fmla="*/ 105941 w 137704"/>
                <a:gd name="connsiteY364" fmla="*/ 57538 h 197299"/>
                <a:gd name="connsiteX365" fmla="*/ 105941 w 137704"/>
                <a:gd name="connsiteY365" fmla="*/ 56056 h 197299"/>
                <a:gd name="connsiteX366" fmla="*/ 102583 w 137704"/>
                <a:gd name="connsiteY366" fmla="*/ 52728 h 197299"/>
                <a:gd name="connsiteX367" fmla="*/ 100526 w 137704"/>
                <a:gd name="connsiteY367" fmla="*/ 51216 h 197299"/>
                <a:gd name="connsiteX368" fmla="*/ 98317 w 137704"/>
                <a:gd name="connsiteY368" fmla="*/ 50792 h 197299"/>
                <a:gd name="connsiteX369" fmla="*/ 98317 w 137704"/>
                <a:gd name="connsiteY369" fmla="*/ 49431 h 197299"/>
                <a:gd name="connsiteX370" fmla="*/ 103521 w 137704"/>
                <a:gd name="connsiteY370" fmla="*/ 51579 h 197299"/>
                <a:gd name="connsiteX371" fmla="*/ 116892 w 137704"/>
                <a:gd name="connsiteY371" fmla="*/ 20692 h 197299"/>
                <a:gd name="connsiteX372" fmla="*/ 113443 w 137704"/>
                <a:gd name="connsiteY372" fmla="*/ 15126 h 197299"/>
                <a:gd name="connsiteX373" fmla="*/ 110630 w 137704"/>
                <a:gd name="connsiteY373" fmla="*/ 7291 h 197299"/>
                <a:gd name="connsiteX374" fmla="*/ 111386 w 137704"/>
                <a:gd name="connsiteY374" fmla="*/ 5808 h 197299"/>
                <a:gd name="connsiteX375" fmla="*/ 108451 w 137704"/>
                <a:gd name="connsiteY375" fmla="*/ 7502 h 197299"/>
                <a:gd name="connsiteX376" fmla="*/ 107937 w 137704"/>
                <a:gd name="connsiteY376" fmla="*/ 10407 h 197299"/>
                <a:gd name="connsiteX377" fmla="*/ 108784 w 137704"/>
                <a:gd name="connsiteY377" fmla="*/ 14067 h 197299"/>
                <a:gd name="connsiteX378" fmla="*/ 109994 w 137704"/>
                <a:gd name="connsiteY378" fmla="*/ 18151 h 197299"/>
                <a:gd name="connsiteX379" fmla="*/ 110206 w 137704"/>
                <a:gd name="connsiteY379" fmla="*/ 19784 h 197299"/>
                <a:gd name="connsiteX380" fmla="*/ 110509 w 137704"/>
                <a:gd name="connsiteY380" fmla="*/ 25260 h 197299"/>
                <a:gd name="connsiteX381" fmla="*/ 110327 w 137704"/>
                <a:gd name="connsiteY381" fmla="*/ 26954 h 197299"/>
                <a:gd name="connsiteX382" fmla="*/ 109994 w 137704"/>
                <a:gd name="connsiteY382" fmla="*/ 28315 h 197299"/>
                <a:gd name="connsiteX383" fmla="*/ 109994 w 137704"/>
                <a:gd name="connsiteY383" fmla="*/ 29435 h 197299"/>
                <a:gd name="connsiteX384" fmla="*/ 109813 w 137704"/>
                <a:gd name="connsiteY384" fmla="*/ 30191 h 197299"/>
                <a:gd name="connsiteX385" fmla="*/ 108996 w 137704"/>
                <a:gd name="connsiteY385" fmla="*/ 30463 h 197299"/>
                <a:gd name="connsiteX386" fmla="*/ 108633 w 137704"/>
                <a:gd name="connsiteY386" fmla="*/ 30070 h 197299"/>
                <a:gd name="connsiteX387" fmla="*/ 108361 w 137704"/>
                <a:gd name="connsiteY387" fmla="*/ 29404 h 197299"/>
                <a:gd name="connsiteX388" fmla="*/ 107967 w 137704"/>
                <a:gd name="connsiteY388" fmla="*/ 29283 h 197299"/>
                <a:gd name="connsiteX389" fmla="*/ 107272 w 137704"/>
                <a:gd name="connsiteY389" fmla="*/ 30493 h 197299"/>
                <a:gd name="connsiteX390" fmla="*/ 106818 w 137704"/>
                <a:gd name="connsiteY390" fmla="*/ 33882 h 197299"/>
                <a:gd name="connsiteX391" fmla="*/ 107967 w 137704"/>
                <a:gd name="connsiteY391" fmla="*/ 36907 h 197299"/>
                <a:gd name="connsiteX392" fmla="*/ 111356 w 137704"/>
                <a:gd name="connsiteY392" fmla="*/ 41323 h 197299"/>
                <a:gd name="connsiteX393" fmla="*/ 111688 w 137704"/>
                <a:gd name="connsiteY393" fmla="*/ 42019 h 197299"/>
                <a:gd name="connsiteX394" fmla="*/ 111870 w 137704"/>
                <a:gd name="connsiteY394" fmla="*/ 42745 h 197299"/>
                <a:gd name="connsiteX395" fmla="*/ 112142 w 137704"/>
                <a:gd name="connsiteY395" fmla="*/ 43411 h 197299"/>
                <a:gd name="connsiteX396" fmla="*/ 113140 w 137704"/>
                <a:gd name="connsiteY396" fmla="*/ 44228 h 197299"/>
                <a:gd name="connsiteX397" fmla="*/ 114109 w 137704"/>
                <a:gd name="connsiteY397" fmla="*/ 44742 h 197299"/>
                <a:gd name="connsiteX398" fmla="*/ 114804 w 137704"/>
                <a:gd name="connsiteY398" fmla="*/ 44742 h 197299"/>
                <a:gd name="connsiteX399" fmla="*/ 114411 w 137704"/>
                <a:gd name="connsiteY399" fmla="*/ 43290 h 197299"/>
                <a:gd name="connsiteX400" fmla="*/ 113503 w 137704"/>
                <a:gd name="connsiteY400" fmla="*/ 41172 h 197299"/>
                <a:gd name="connsiteX401" fmla="*/ 111356 w 137704"/>
                <a:gd name="connsiteY401" fmla="*/ 34426 h 197299"/>
                <a:gd name="connsiteX402" fmla="*/ 112898 w 137704"/>
                <a:gd name="connsiteY402" fmla="*/ 33670 h 197299"/>
                <a:gd name="connsiteX403" fmla="*/ 114472 w 137704"/>
                <a:gd name="connsiteY403" fmla="*/ 35213 h 197299"/>
                <a:gd name="connsiteX404" fmla="*/ 117224 w 137704"/>
                <a:gd name="connsiteY404" fmla="*/ 40628 h 197299"/>
                <a:gd name="connsiteX405" fmla="*/ 118767 w 137704"/>
                <a:gd name="connsiteY405" fmla="*/ 42412 h 197299"/>
                <a:gd name="connsiteX406" fmla="*/ 120764 w 137704"/>
                <a:gd name="connsiteY406" fmla="*/ 42897 h 197299"/>
                <a:gd name="connsiteX407" fmla="*/ 122821 w 137704"/>
                <a:gd name="connsiteY407" fmla="*/ 42412 h 197299"/>
                <a:gd name="connsiteX408" fmla="*/ 124485 w 137704"/>
                <a:gd name="connsiteY408" fmla="*/ 41323 h 197299"/>
                <a:gd name="connsiteX409" fmla="*/ 124485 w 137704"/>
                <a:gd name="connsiteY409" fmla="*/ 39962 h 197299"/>
                <a:gd name="connsiteX410" fmla="*/ 123759 w 137704"/>
                <a:gd name="connsiteY410" fmla="*/ 39024 h 197299"/>
                <a:gd name="connsiteX411" fmla="*/ 123396 w 137704"/>
                <a:gd name="connsiteY411" fmla="*/ 37875 h 197299"/>
                <a:gd name="connsiteX412" fmla="*/ 123093 w 137704"/>
                <a:gd name="connsiteY412" fmla="*/ 34396 h 197299"/>
                <a:gd name="connsiteX413" fmla="*/ 121157 w 137704"/>
                <a:gd name="connsiteY413" fmla="*/ 35545 h 197299"/>
                <a:gd name="connsiteX414" fmla="*/ 119191 w 137704"/>
                <a:gd name="connsiteY414" fmla="*/ 33942 h 197299"/>
                <a:gd name="connsiteX415" fmla="*/ 115440 w 137704"/>
                <a:gd name="connsiteY415" fmla="*/ 29102 h 197299"/>
                <a:gd name="connsiteX416" fmla="*/ 116135 w 137704"/>
                <a:gd name="connsiteY416" fmla="*/ 27620 h 197299"/>
                <a:gd name="connsiteX417" fmla="*/ 118253 w 137704"/>
                <a:gd name="connsiteY417" fmla="*/ 29798 h 197299"/>
                <a:gd name="connsiteX418" fmla="*/ 121490 w 137704"/>
                <a:gd name="connsiteY418" fmla="*/ 31098 h 197299"/>
                <a:gd name="connsiteX419" fmla="*/ 124636 w 137704"/>
                <a:gd name="connsiteY419" fmla="*/ 30645 h 197299"/>
                <a:gd name="connsiteX420" fmla="*/ 126512 w 137704"/>
                <a:gd name="connsiteY420" fmla="*/ 27589 h 197299"/>
                <a:gd name="connsiteX421" fmla="*/ 121127 w 137704"/>
                <a:gd name="connsiteY421" fmla="*/ 24564 h 197299"/>
                <a:gd name="connsiteX422" fmla="*/ 116831 w 137704"/>
                <a:gd name="connsiteY422" fmla="*/ 20601 h 197299"/>
                <a:gd name="connsiteX423" fmla="*/ 100435 w 137704"/>
                <a:gd name="connsiteY423" fmla="*/ 21781 h 197299"/>
                <a:gd name="connsiteX424" fmla="*/ 101433 w 137704"/>
                <a:gd name="connsiteY424" fmla="*/ 23687 h 197299"/>
                <a:gd name="connsiteX425" fmla="*/ 103460 w 137704"/>
                <a:gd name="connsiteY425" fmla="*/ 26440 h 197299"/>
                <a:gd name="connsiteX426" fmla="*/ 105638 w 137704"/>
                <a:gd name="connsiteY426" fmla="*/ 27438 h 197299"/>
                <a:gd name="connsiteX427" fmla="*/ 107120 w 137704"/>
                <a:gd name="connsiteY427" fmla="*/ 26319 h 197299"/>
                <a:gd name="connsiteX428" fmla="*/ 107030 w 137704"/>
                <a:gd name="connsiteY428" fmla="*/ 23384 h 197299"/>
                <a:gd name="connsiteX429" fmla="*/ 106576 w 137704"/>
                <a:gd name="connsiteY429" fmla="*/ 21721 h 197299"/>
                <a:gd name="connsiteX430" fmla="*/ 105457 w 137704"/>
                <a:gd name="connsiteY430" fmla="*/ 18756 h 197299"/>
                <a:gd name="connsiteX431" fmla="*/ 101131 w 137704"/>
                <a:gd name="connsiteY431" fmla="*/ 9348 h 197299"/>
                <a:gd name="connsiteX432" fmla="*/ 100253 w 137704"/>
                <a:gd name="connsiteY432" fmla="*/ 6444 h 197299"/>
                <a:gd name="connsiteX433" fmla="*/ 98620 w 137704"/>
                <a:gd name="connsiteY433" fmla="*/ 4901 h 197299"/>
                <a:gd name="connsiteX434" fmla="*/ 96956 w 137704"/>
                <a:gd name="connsiteY434" fmla="*/ 6534 h 197299"/>
                <a:gd name="connsiteX435" fmla="*/ 96623 w 137704"/>
                <a:gd name="connsiteY435" fmla="*/ 10921 h 197299"/>
                <a:gd name="connsiteX436" fmla="*/ 97712 w 137704"/>
                <a:gd name="connsiteY436" fmla="*/ 15519 h 197299"/>
                <a:gd name="connsiteX437" fmla="*/ 100435 w 137704"/>
                <a:gd name="connsiteY437" fmla="*/ 21781 h 197299"/>
                <a:gd name="connsiteX438" fmla="*/ 88032 w 137704"/>
                <a:gd name="connsiteY438" fmla="*/ 12554 h 197299"/>
                <a:gd name="connsiteX439" fmla="*/ 88758 w 137704"/>
                <a:gd name="connsiteY439" fmla="*/ 14218 h 197299"/>
                <a:gd name="connsiteX440" fmla="*/ 91420 w 137704"/>
                <a:gd name="connsiteY440" fmla="*/ 18907 h 197299"/>
                <a:gd name="connsiteX441" fmla="*/ 93416 w 137704"/>
                <a:gd name="connsiteY441" fmla="*/ 21811 h 197299"/>
                <a:gd name="connsiteX442" fmla="*/ 94143 w 137704"/>
                <a:gd name="connsiteY442" fmla="*/ 23082 h 197299"/>
                <a:gd name="connsiteX443" fmla="*/ 95141 w 137704"/>
                <a:gd name="connsiteY443" fmla="*/ 26016 h 197299"/>
                <a:gd name="connsiteX444" fmla="*/ 95927 w 137704"/>
                <a:gd name="connsiteY444" fmla="*/ 29223 h 197299"/>
                <a:gd name="connsiteX445" fmla="*/ 97379 w 137704"/>
                <a:gd name="connsiteY445" fmla="*/ 31371 h 197299"/>
                <a:gd name="connsiteX446" fmla="*/ 99195 w 137704"/>
                <a:gd name="connsiteY446" fmla="*/ 32339 h 197299"/>
                <a:gd name="connsiteX447" fmla="*/ 100737 w 137704"/>
                <a:gd name="connsiteY447" fmla="*/ 31946 h 197299"/>
                <a:gd name="connsiteX448" fmla="*/ 101161 w 137704"/>
                <a:gd name="connsiteY448" fmla="*/ 29858 h 197299"/>
                <a:gd name="connsiteX449" fmla="*/ 100253 w 137704"/>
                <a:gd name="connsiteY449" fmla="*/ 27710 h 197299"/>
                <a:gd name="connsiteX450" fmla="*/ 99588 w 137704"/>
                <a:gd name="connsiteY450" fmla="*/ 26863 h 197299"/>
                <a:gd name="connsiteX451" fmla="*/ 92569 w 137704"/>
                <a:gd name="connsiteY451" fmla="*/ 13976 h 197299"/>
                <a:gd name="connsiteX452" fmla="*/ 89786 w 137704"/>
                <a:gd name="connsiteY452" fmla="*/ 7351 h 197299"/>
                <a:gd name="connsiteX453" fmla="*/ 88455 w 137704"/>
                <a:gd name="connsiteY453" fmla="*/ 5022 h 197299"/>
                <a:gd name="connsiteX454" fmla="*/ 87064 w 137704"/>
                <a:gd name="connsiteY454" fmla="*/ 3842 h 197299"/>
                <a:gd name="connsiteX455" fmla="*/ 86065 w 137704"/>
                <a:gd name="connsiteY455" fmla="*/ 4689 h 197299"/>
                <a:gd name="connsiteX456" fmla="*/ 86247 w 137704"/>
                <a:gd name="connsiteY456" fmla="*/ 7472 h 197299"/>
                <a:gd name="connsiteX457" fmla="*/ 88032 w 137704"/>
                <a:gd name="connsiteY457" fmla="*/ 12494 h 197299"/>
                <a:gd name="connsiteX458" fmla="*/ 111779 w 137704"/>
                <a:gd name="connsiteY458" fmla="*/ 5415 h 197299"/>
                <a:gd name="connsiteX459" fmla="*/ 112717 w 137704"/>
                <a:gd name="connsiteY459" fmla="*/ 10467 h 197299"/>
                <a:gd name="connsiteX460" fmla="*/ 114199 w 137704"/>
                <a:gd name="connsiteY460" fmla="*/ 13795 h 197299"/>
                <a:gd name="connsiteX461" fmla="*/ 116589 w 137704"/>
                <a:gd name="connsiteY461" fmla="*/ 17727 h 197299"/>
                <a:gd name="connsiteX462" fmla="*/ 119584 w 137704"/>
                <a:gd name="connsiteY462" fmla="*/ 20541 h 197299"/>
                <a:gd name="connsiteX463" fmla="*/ 122791 w 137704"/>
                <a:gd name="connsiteY463" fmla="*/ 21660 h 197299"/>
                <a:gd name="connsiteX464" fmla="*/ 124576 w 137704"/>
                <a:gd name="connsiteY464" fmla="*/ 20873 h 197299"/>
                <a:gd name="connsiteX465" fmla="*/ 125241 w 137704"/>
                <a:gd name="connsiteY465" fmla="*/ 19512 h 197299"/>
                <a:gd name="connsiteX466" fmla="*/ 125725 w 137704"/>
                <a:gd name="connsiteY466" fmla="*/ 17758 h 197299"/>
                <a:gd name="connsiteX467" fmla="*/ 125029 w 137704"/>
                <a:gd name="connsiteY467" fmla="*/ 15731 h 197299"/>
                <a:gd name="connsiteX468" fmla="*/ 124273 w 137704"/>
                <a:gd name="connsiteY468" fmla="*/ 14914 h 197299"/>
                <a:gd name="connsiteX469" fmla="*/ 123638 w 137704"/>
                <a:gd name="connsiteY469" fmla="*/ 14490 h 197299"/>
                <a:gd name="connsiteX470" fmla="*/ 122428 w 137704"/>
                <a:gd name="connsiteY470" fmla="*/ 14551 h 197299"/>
                <a:gd name="connsiteX471" fmla="*/ 121308 w 137704"/>
                <a:gd name="connsiteY471" fmla="*/ 15912 h 197299"/>
                <a:gd name="connsiteX472" fmla="*/ 120219 w 137704"/>
                <a:gd name="connsiteY472" fmla="*/ 16154 h 197299"/>
                <a:gd name="connsiteX473" fmla="*/ 119645 w 137704"/>
                <a:gd name="connsiteY473" fmla="*/ 14884 h 197299"/>
                <a:gd name="connsiteX474" fmla="*/ 119645 w 137704"/>
                <a:gd name="connsiteY474" fmla="*/ 13522 h 197299"/>
                <a:gd name="connsiteX475" fmla="*/ 119070 w 137704"/>
                <a:gd name="connsiteY475" fmla="*/ 11768 h 197299"/>
                <a:gd name="connsiteX476" fmla="*/ 117618 w 137704"/>
                <a:gd name="connsiteY476" fmla="*/ 9862 h 197299"/>
                <a:gd name="connsiteX477" fmla="*/ 116377 w 137704"/>
                <a:gd name="connsiteY477" fmla="*/ 7684 h 197299"/>
                <a:gd name="connsiteX478" fmla="*/ 115591 w 137704"/>
                <a:gd name="connsiteY478" fmla="*/ 4780 h 197299"/>
                <a:gd name="connsiteX479" fmla="*/ 114592 w 137704"/>
                <a:gd name="connsiteY479" fmla="*/ 2269 h 197299"/>
                <a:gd name="connsiteX480" fmla="*/ 113140 w 137704"/>
                <a:gd name="connsiteY480" fmla="*/ 726 h 197299"/>
                <a:gd name="connsiteX481" fmla="*/ 110781 w 137704"/>
                <a:gd name="connsiteY481" fmla="*/ 0 h 197299"/>
                <a:gd name="connsiteX482" fmla="*/ 109450 w 137704"/>
                <a:gd name="connsiteY482" fmla="*/ 1603 h 197299"/>
                <a:gd name="connsiteX483" fmla="*/ 110418 w 137704"/>
                <a:gd name="connsiteY483" fmla="*/ 4175 h 197299"/>
                <a:gd name="connsiteX484" fmla="*/ 111719 w 137704"/>
                <a:gd name="connsiteY484" fmla="*/ 5415 h 19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137704" h="197299">
                  <a:moveTo>
                    <a:pt x="98408" y="188497"/>
                  </a:moveTo>
                  <a:lnTo>
                    <a:pt x="96200" y="187619"/>
                  </a:lnTo>
                  <a:lnTo>
                    <a:pt x="96653" y="185683"/>
                  </a:lnTo>
                  <a:lnTo>
                    <a:pt x="96895" y="184957"/>
                  </a:lnTo>
                  <a:lnTo>
                    <a:pt x="92902" y="184685"/>
                  </a:lnTo>
                  <a:lnTo>
                    <a:pt x="91117" y="185411"/>
                  </a:lnTo>
                  <a:lnTo>
                    <a:pt x="89968" y="187619"/>
                  </a:lnTo>
                  <a:lnTo>
                    <a:pt x="89484" y="185804"/>
                  </a:lnTo>
                  <a:lnTo>
                    <a:pt x="88728" y="184564"/>
                  </a:lnTo>
                  <a:lnTo>
                    <a:pt x="87759" y="183868"/>
                  </a:lnTo>
                  <a:lnTo>
                    <a:pt x="86610" y="183626"/>
                  </a:lnTo>
                  <a:lnTo>
                    <a:pt x="86610" y="182174"/>
                  </a:lnTo>
                  <a:lnTo>
                    <a:pt x="88909" y="182840"/>
                  </a:lnTo>
                  <a:lnTo>
                    <a:pt x="90664" y="182628"/>
                  </a:lnTo>
                  <a:lnTo>
                    <a:pt x="94112" y="180843"/>
                  </a:lnTo>
                  <a:lnTo>
                    <a:pt x="95262" y="180752"/>
                  </a:lnTo>
                  <a:lnTo>
                    <a:pt x="96411" y="180964"/>
                  </a:lnTo>
                  <a:lnTo>
                    <a:pt x="97319" y="180692"/>
                  </a:lnTo>
                  <a:lnTo>
                    <a:pt x="97682" y="179028"/>
                  </a:lnTo>
                  <a:lnTo>
                    <a:pt x="93507" y="177001"/>
                  </a:lnTo>
                  <a:lnTo>
                    <a:pt x="93507" y="175670"/>
                  </a:lnTo>
                  <a:lnTo>
                    <a:pt x="94596" y="174974"/>
                  </a:lnTo>
                  <a:lnTo>
                    <a:pt x="94899" y="173946"/>
                  </a:lnTo>
                  <a:lnTo>
                    <a:pt x="94475" y="172705"/>
                  </a:lnTo>
                  <a:lnTo>
                    <a:pt x="93477" y="171586"/>
                  </a:lnTo>
                  <a:lnTo>
                    <a:pt x="92509" y="171284"/>
                  </a:lnTo>
                  <a:lnTo>
                    <a:pt x="90301" y="171768"/>
                  </a:lnTo>
                  <a:lnTo>
                    <a:pt x="89302" y="171586"/>
                  </a:lnTo>
                  <a:lnTo>
                    <a:pt x="88365" y="170285"/>
                  </a:lnTo>
                  <a:lnTo>
                    <a:pt x="87548" y="168410"/>
                  </a:lnTo>
                  <a:lnTo>
                    <a:pt x="86368" y="166776"/>
                  </a:lnTo>
                  <a:lnTo>
                    <a:pt x="84402" y="166292"/>
                  </a:lnTo>
                  <a:lnTo>
                    <a:pt x="85188" y="165052"/>
                  </a:lnTo>
                  <a:lnTo>
                    <a:pt x="86701" y="164870"/>
                  </a:lnTo>
                  <a:lnTo>
                    <a:pt x="88365" y="165566"/>
                  </a:lnTo>
                  <a:lnTo>
                    <a:pt x="89605" y="167018"/>
                  </a:lnTo>
                  <a:lnTo>
                    <a:pt x="90936" y="168107"/>
                  </a:lnTo>
                  <a:lnTo>
                    <a:pt x="92600" y="167805"/>
                  </a:lnTo>
                  <a:lnTo>
                    <a:pt x="93719" y="166262"/>
                  </a:lnTo>
                  <a:lnTo>
                    <a:pt x="93477" y="163660"/>
                  </a:lnTo>
                  <a:lnTo>
                    <a:pt x="91269" y="161482"/>
                  </a:lnTo>
                  <a:lnTo>
                    <a:pt x="85067" y="160635"/>
                  </a:lnTo>
                  <a:lnTo>
                    <a:pt x="82405" y="157368"/>
                  </a:lnTo>
                  <a:lnTo>
                    <a:pt x="73511" y="158336"/>
                  </a:lnTo>
                  <a:lnTo>
                    <a:pt x="73511" y="157126"/>
                  </a:lnTo>
                  <a:lnTo>
                    <a:pt x="78382" y="153012"/>
                  </a:lnTo>
                  <a:lnTo>
                    <a:pt x="77262" y="153163"/>
                  </a:lnTo>
                  <a:lnTo>
                    <a:pt x="76173" y="153072"/>
                  </a:lnTo>
                  <a:lnTo>
                    <a:pt x="75145" y="152649"/>
                  </a:lnTo>
                  <a:lnTo>
                    <a:pt x="74207" y="151802"/>
                  </a:lnTo>
                  <a:lnTo>
                    <a:pt x="74933" y="151257"/>
                  </a:lnTo>
                  <a:lnTo>
                    <a:pt x="76960" y="149170"/>
                  </a:lnTo>
                  <a:lnTo>
                    <a:pt x="75477" y="147839"/>
                  </a:lnTo>
                  <a:lnTo>
                    <a:pt x="73693" y="148081"/>
                  </a:lnTo>
                  <a:lnTo>
                    <a:pt x="70002" y="150380"/>
                  </a:lnTo>
                  <a:lnTo>
                    <a:pt x="70425" y="150924"/>
                  </a:lnTo>
                  <a:lnTo>
                    <a:pt x="70425" y="151106"/>
                  </a:lnTo>
                  <a:lnTo>
                    <a:pt x="70698" y="151832"/>
                  </a:lnTo>
                  <a:lnTo>
                    <a:pt x="68641" y="151832"/>
                  </a:lnTo>
                  <a:lnTo>
                    <a:pt x="69548" y="154766"/>
                  </a:lnTo>
                  <a:lnTo>
                    <a:pt x="70002" y="155704"/>
                  </a:lnTo>
                  <a:lnTo>
                    <a:pt x="70274" y="159213"/>
                  </a:lnTo>
                  <a:lnTo>
                    <a:pt x="72573" y="163993"/>
                  </a:lnTo>
                  <a:lnTo>
                    <a:pt x="75689" y="168591"/>
                  </a:lnTo>
                  <a:lnTo>
                    <a:pt x="78351" y="171616"/>
                  </a:lnTo>
                  <a:lnTo>
                    <a:pt x="77867" y="176517"/>
                  </a:lnTo>
                  <a:lnTo>
                    <a:pt x="82193" y="182265"/>
                  </a:lnTo>
                  <a:lnTo>
                    <a:pt x="91329" y="190221"/>
                  </a:lnTo>
                  <a:lnTo>
                    <a:pt x="95050" y="195334"/>
                  </a:lnTo>
                  <a:lnTo>
                    <a:pt x="97289" y="197300"/>
                  </a:lnTo>
                  <a:lnTo>
                    <a:pt x="99588" y="196937"/>
                  </a:lnTo>
                  <a:lnTo>
                    <a:pt x="100435" y="194577"/>
                  </a:lnTo>
                  <a:lnTo>
                    <a:pt x="99921" y="191280"/>
                  </a:lnTo>
                  <a:lnTo>
                    <a:pt x="98408" y="188466"/>
                  </a:lnTo>
                  <a:close/>
                  <a:moveTo>
                    <a:pt x="100223" y="109661"/>
                  </a:moveTo>
                  <a:lnTo>
                    <a:pt x="99558" y="106878"/>
                  </a:lnTo>
                  <a:lnTo>
                    <a:pt x="98347" y="105487"/>
                  </a:lnTo>
                  <a:lnTo>
                    <a:pt x="90694" y="103460"/>
                  </a:lnTo>
                  <a:lnTo>
                    <a:pt x="89575" y="102794"/>
                  </a:lnTo>
                  <a:lnTo>
                    <a:pt x="88153" y="100435"/>
                  </a:lnTo>
                  <a:lnTo>
                    <a:pt x="87215" y="99436"/>
                  </a:lnTo>
                  <a:lnTo>
                    <a:pt x="86005" y="98952"/>
                  </a:lnTo>
                  <a:lnTo>
                    <a:pt x="82798" y="99436"/>
                  </a:lnTo>
                  <a:lnTo>
                    <a:pt x="80771" y="99043"/>
                  </a:lnTo>
                  <a:lnTo>
                    <a:pt x="76506" y="97289"/>
                  </a:lnTo>
                  <a:lnTo>
                    <a:pt x="74177" y="96895"/>
                  </a:lnTo>
                  <a:lnTo>
                    <a:pt x="74993" y="100042"/>
                  </a:lnTo>
                  <a:lnTo>
                    <a:pt x="77141" y="104821"/>
                  </a:lnTo>
                  <a:lnTo>
                    <a:pt x="77565" y="108240"/>
                  </a:lnTo>
                  <a:lnTo>
                    <a:pt x="78140" y="110750"/>
                  </a:lnTo>
                  <a:lnTo>
                    <a:pt x="79471" y="112142"/>
                  </a:lnTo>
                  <a:lnTo>
                    <a:pt x="81074" y="112777"/>
                  </a:lnTo>
                  <a:lnTo>
                    <a:pt x="90301" y="114320"/>
                  </a:lnTo>
                  <a:lnTo>
                    <a:pt x="91662" y="115742"/>
                  </a:lnTo>
                  <a:lnTo>
                    <a:pt x="98227" y="128478"/>
                  </a:lnTo>
                  <a:lnTo>
                    <a:pt x="98922" y="129022"/>
                  </a:lnTo>
                  <a:lnTo>
                    <a:pt x="99921" y="128387"/>
                  </a:lnTo>
                  <a:lnTo>
                    <a:pt x="100828" y="126995"/>
                  </a:lnTo>
                  <a:lnTo>
                    <a:pt x="101554" y="125604"/>
                  </a:lnTo>
                  <a:lnTo>
                    <a:pt x="102038" y="124969"/>
                  </a:lnTo>
                  <a:lnTo>
                    <a:pt x="102280" y="119342"/>
                  </a:lnTo>
                  <a:lnTo>
                    <a:pt x="102038" y="118313"/>
                  </a:lnTo>
                  <a:lnTo>
                    <a:pt x="101705" y="117708"/>
                  </a:lnTo>
                  <a:lnTo>
                    <a:pt x="102371" y="116377"/>
                  </a:lnTo>
                  <a:lnTo>
                    <a:pt x="103763" y="114290"/>
                  </a:lnTo>
                  <a:lnTo>
                    <a:pt x="103097" y="112384"/>
                  </a:lnTo>
                  <a:lnTo>
                    <a:pt x="100193" y="109661"/>
                  </a:lnTo>
                  <a:close/>
                  <a:moveTo>
                    <a:pt x="8501" y="57901"/>
                  </a:moveTo>
                  <a:lnTo>
                    <a:pt x="5657" y="56449"/>
                  </a:lnTo>
                  <a:lnTo>
                    <a:pt x="2723" y="56600"/>
                  </a:lnTo>
                  <a:lnTo>
                    <a:pt x="0" y="58053"/>
                  </a:lnTo>
                  <a:lnTo>
                    <a:pt x="333" y="59474"/>
                  </a:lnTo>
                  <a:lnTo>
                    <a:pt x="8591" y="60200"/>
                  </a:lnTo>
                  <a:lnTo>
                    <a:pt x="9832" y="60019"/>
                  </a:lnTo>
                  <a:lnTo>
                    <a:pt x="10800" y="59656"/>
                  </a:lnTo>
                  <a:lnTo>
                    <a:pt x="9862" y="59051"/>
                  </a:lnTo>
                  <a:lnTo>
                    <a:pt x="8471" y="57871"/>
                  </a:lnTo>
                  <a:close/>
                  <a:moveTo>
                    <a:pt x="56510" y="58294"/>
                  </a:moveTo>
                  <a:lnTo>
                    <a:pt x="53848" y="58446"/>
                  </a:lnTo>
                  <a:lnTo>
                    <a:pt x="51337" y="57629"/>
                  </a:lnTo>
                  <a:lnTo>
                    <a:pt x="50308" y="56237"/>
                  </a:lnTo>
                  <a:lnTo>
                    <a:pt x="48705" y="53000"/>
                  </a:lnTo>
                  <a:lnTo>
                    <a:pt x="47616" y="52365"/>
                  </a:lnTo>
                  <a:lnTo>
                    <a:pt x="46315" y="52033"/>
                  </a:lnTo>
                  <a:lnTo>
                    <a:pt x="42413" y="49522"/>
                  </a:lnTo>
                  <a:lnTo>
                    <a:pt x="42413" y="48039"/>
                  </a:lnTo>
                  <a:lnTo>
                    <a:pt x="43108" y="48039"/>
                  </a:lnTo>
                  <a:lnTo>
                    <a:pt x="43108" y="46799"/>
                  </a:lnTo>
                  <a:lnTo>
                    <a:pt x="36030" y="48493"/>
                  </a:lnTo>
                  <a:lnTo>
                    <a:pt x="34275" y="50429"/>
                  </a:lnTo>
                  <a:lnTo>
                    <a:pt x="33125" y="50883"/>
                  </a:lnTo>
                  <a:lnTo>
                    <a:pt x="32823" y="51306"/>
                  </a:lnTo>
                  <a:lnTo>
                    <a:pt x="32732" y="52214"/>
                  </a:lnTo>
                  <a:lnTo>
                    <a:pt x="32490" y="53152"/>
                  </a:lnTo>
                  <a:lnTo>
                    <a:pt x="31704" y="53575"/>
                  </a:lnTo>
                  <a:lnTo>
                    <a:pt x="29374" y="53727"/>
                  </a:lnTo>
                  <a:lnTo>
                    <a:pt x="28618" y="53575"/>
                  </a:lnTo>
                  <a:lnTo>
                    <a:pt x="27378" y="52910"/>
                  </a:lnTo>
                  <a:lnTo>
                    <a:pt x="23808" y="49522"/>
                  </a:lnTo>
                  <a:lnTo>
                    <a:pt x="21388" y="49915"/>
                  </a:lnTo>
                  <a:lnTo>
                    <a:pt x="21600" y="53817"/>
                  </a:lnTo>
                  <a:lnTo>
                    <a:pt x="23475" y="58325"/>
                  </a:lnTo>
                  <a:lnTo>
                    <a:pt x="26198" y="60473"/>
                  </a:lnTo>
                  <a:lnTo>
                    <a:pt x="31310" y="61531"/>
                  </a:lnTo>
                  <a:lnTo>
                    <a:pt x="33912" y="62772"/>
                  </a:lnTo>
                  <a:lnTo>
                    <a:pt x="36151" y="64405"/>
                  </a:lnTo>
                  <a:lnTo>
                    <a:pt x="26561" y="64405"/>
                  </a:lnTo>
                  <a:lnTo>
                    <a:pt x="26561" y="65736"/>
                  </a:lnTo>
                  <a:lnTo>
                    <a:pt x="27983" y="65888"/>
                  </a:lnTo>
                  <a:lnTo>
                    <a:pt x="32067" y="68550"/>
                  </a:lnTo>
                  <a:lnTo>
                    <a:pt x="38329" y="69790"/>
                  </a:lnTo>
                  <a:lnTo>
                    <a:pt x="42806" y="72694"/>
                  </a:lnTo>
                  <a:lnTo>
                    <a:pt x="43865" y="72482"/>
                  </a:lnTo>
                  <a:lnTo>
                    <a:pt x="44046" y="70788"/>
                  </a:lnTo>
                  <a:lnTo>
                    <a:pt x="43139" y="69094"/>
                  </a:lnTo>
                  <a:lnTo>
                    <a:pt x="41898" y="67733"/>
                  </a:lnTo>
                  <a:lnTo>
                    <a:pt x="41081" y="67067"/>
                  </a:lnTo>
                  <a:lnTo>
                    <a:pt x="42564" y="66099"/>
                  </a:lnTo>
                  <a:lnTo>
                    <a:pt x="43986" y="67279"/>
                  </a:lnTo>
                  <a:lnTo>
                    <a:pt x="45135" y="69699"/>
                  </a:lnTo>
                  <a:lnTo>
                    <a:pt x="45831" y="72452"/>
                  </a:lnTo>
                  <a:lnTo>
                    <a:pt x="45377" y="73118"/>
                  </a:lnTo>
                  <a:lnTo>
                    <a:pt x="44500" y="75266"/>
                  </a:lnTo>
                  <a:lnTo>
                    <a:pt x="46255" y="73904"/>
                  </a:lnTo>
                  <a:lnTo>
                    <a:pt x="52123" y="71212"/>
                  </a:lnTo>
                  <a:lnTo>
                    <a:pt x="51155" y="71151"/>
                  </a:lnTo>
                  <a:lnTo>
                    <a:pt x="50278" y="70909"/>
                  </a:lnTo>
                  <a:lnTo>
                    <a:pt x="49461" y="70425"/>
                  </a:lnTo>
                  <a:lnTo>
                    <a:pt x="48644" y="69730"/>
                  </a:lnTo>
                  <a:lnTo>
                    <a:pt x="50429" y="68489"/>
                  </a:lnTo>
                  <a:lnTo>
                    <a:pt x="52063" y="68671"/>
                  </a:lnTo>
                  <a:lnTo>
                    <a:pt x="53727" y="69427"/>
                  </a:lnTo>
                  <a:lnTo>
                    <a:pt x="55511" y="69760"/>
                  </a:lnTo>
                  <a:lnTo>
                    <a:pt x="57659" y="68792"/>
                  </a:lnTo>
                  <a:lnTo>
                    <a:pt x="58869" y="66765"/>
                  </a:lnTo>
                  <a:lnTo>
                    <a:pt x="59777" y="64193"/>
                  </a:lnTo>
                  <a:lnTo>
                    <a:pt x="61017" y="61652"/>
                  </a:lnTo>
                  <a:lnTo>
                    <a:pt x="59051" y="58779"/>
                  </a:lnTo>
                  <a:lnTo>
                    <a:pt x="56570" y="58294"/>
                  </a:lnTo>
                  <a:close/>
                  <a:moveTo>
                    <a:pt x="137705" y="19210"/>
                  </a:moveTo>
                  <a:lnTo>
                    <a:pt x="136131" y="18211"/>
                  </a:lnTo>
                  <a:lnTo>
                    <a:pt x="133106" y="18121"/>
                  </a:lnTo>
                  <a:lnTo>
                    <a:pt x="129658" y="21327"/>
                  </a:lnTo>
                  <a:lnTo>
                    <a:pt x="127964" y="22114"/>
                  </a:lnTo>
                  <a:lnTo>
                    <a:pt x="126784" y="23657"/>
                  </a:lnTo>
                  <a:lnTo>
                    <a:pt x="127147" y="25865"/>
                  </a:lnTo>
                  <a:lnTo>
                    <a:pt x="128175" y="28497"/>
                  </a:lnTo>
                  <a:lnTo>
                    <a:pt x="129355" y="30493"/>
                  </a:lnTo>
                  <a:lnTo>
                    <a:pt x="131049" y="30796"/>
                  </a:lnTo>
                  <a:lnTo>
                    <a:pt x="132622" y="30251"/>
                  </a:lnTo>
                  <a:lnTo>
                    <a:pt x="133923" y="29525"/>
                  </a:lnTo>
                  <a:lnTo>
                    <a:pt x="134831" y="28497"/>
                  </a:lnTo>
                  <a:lnTo>
                    <a:pt x="135315" y="27257"/>
                  </a:lnTo>
                  <a:lnTo>
                    <a:pt x="135315" y="25411"/>
                  </a:lnTo>
                  <a:lnTo>
                    <a:pt x="134649" y="23384"/>
                  </a:lnTo>
                  <a:lnTo>
                    <a:pt x="137584" y="20510"/>
                  </a:lnTo>
                  <a:lnTo>
                    <a:pt x="137705" y="19240"/>
                  </a:lnTo>
                  <a:close/>
                  <a:moveTo>
                    <a:pt x="70304" y="69730"/>
                  </a:moveTo>
                  <a:lnTo>
                    <a:pt x="73874" y="71666"/>
                  </a:lnTo>
                  <a:lnTo>
                    <a:pt x="79229" y="80166"/>
                  </a:lnTo>
                  <a:lnTo>
                    <a:pt x="85581" y="84160"/>
                  </a:lnTo>
                  <a:lnTo>
                    <a:pt x="88485" y="88274"/>
                  </a:lnTo>
                  <a:lnTo>
                    <a:pt x="91541" y="91299"/>
                  </a:lnTo>
                  <a:lnTo>
                    <a:pt x="94808" y="90149"/>
                  </a:lnTo>
                  <a:lnTo>
                    <a:pt x="94415" y="86852"/>
                  </a:lnTo>
                  <a:lnTo>
                    <a:pt x="94929" y="84311"/>
                  </a:lnTo>
                  <a:lnTo>
                    <a:pt x="95141" y="82677"/>
                  </a:lnTo>
                  <a:lnTo>
                    <a:pt x="91813" y="80892"/>
                  </a:lnTo>
                  <a:lnTo>
                    <a:pt x="91601" y="78079"/>
                  </a:lnTo>
                  <a:lnTo>
                    <a:pt x="92388" y="74842"/>
                  </a:lnTo>
                  <a:lnTo>
                    <a:pt x="93447" y="72422"/>
                  </a:lnTo>
                  <a:lnTo>
                    <a:pt x="90694" y="69850"/>
                  </a:lnTo>
                  <a:lnTo>
                    <a:pt x="83887" y="70002"/>
                  </a:lnTo>
                  <a:lnTo>
                    <a:pt x="80318" y="68519"/>
                  </a:lnTo>
                  <a:lnTo>
                    <a:pt x="80318" y="67037"/>
                  </a:lnTo>
                  <a:lnTo>
                    <a:pt x="86186" y="67037"/>
                  </a:lnTo>
                  <a:lnTo>
                    <a:pt x="87003" y="66099"/>
                  </a:lnTo>
                  <a:lnTo>
                    <a:pt x="86519" y="64012"/>
                  </a:lnTo>
                  <a:lnTo>
                    <a:pt x="85097" y="61047"/>
                  </a:lnTo>
                  <a:lnTo>
                    <a:pt x="83615" y="58567"/>
                  </a:lnTo>
                  <a:lnTo>
                    <a:pt x="74812" y="58960"/>
                  </a:lnTo>
                  <a:lnTo>
                    <a:pt x="75931" y="58567"/>
                  </a:lnTo>
                  <a:lnTo>
                    <a:pt x="77323" y="57659"/>
                  </a:lnTo>
                  <a:lnTo>
                    <a:pt x="78654" y="56389"/>
                  </a:lnTo>
                  <a:lnTo>
                    <a:pt x="79622" y="54937"/>
                  </a:lnTo>
                  <a:lnTo>
                    <a:pt x="80257" y="52849"/>
                  </a:lnTo>
                  <a:lnTo>
                    <a:pt x="80166" y="51125"/>
                  </a:lnTo>
                  <a:lnTo>
                    <a:pt x="79289" y="49975"/>
                  </a:lnTo>
                  <a:lnTo>
                    <a:pt x="74207" y="48463"/>
                  </a:lnTo>
                  <a:lnTo>
                    <a:pt x="68459" y="43834"/>
                  </a:lnTo>
                  <a:lnTo>
                    <a:pt x="65071" y="42775"/>
                  </a:lnTo>
                  <a:lnTo>
                    <a:pt x="65071" y="38238"/>
                  </a:lnTo>
                  <a:lnTo>
                    <a:pt x="60231" y="29253"/>
                  </a:lnTo>
                  <a:lnTo>
                    <a:pt x="58960" y="24413"/>
                  </a:lnTo>
                  <a:lnTo>
                    <a:pt x="57508" y="21721"/>
                  </a:lnTo>
                  <a:lnTo>
                    <a:pt x="54120" y="19784"/>
                  </a:lnTo>
                  <a:lnTo>
                    <a:pt x="47223" y="18242"/>
                  </a:lnTo>
                  <a:lnTo>
                    <a:pt x="46618" y="17969"/>
                  </a:lnTo>
                  <a:lnTo>
                    <a:pt x="46133" y="18030"/>
                  </a:lnTo>
                  <a:lnTo>
                    <a:pt x="45680" y="17818"/>
                  </a:lnTo>
                  <a:lnTo>
                    <a:pt x="45166" y="16850"/>
                  </a:lnTo>
                  <a:lnTo>
                    <a:pt x="43895" y="24685"/>
                  </a:lnTo>
                  <a:lnTo>
                    <a:pt x="43895" y="28860"/>
                  </a:lnTo>
                  <a:lnTo>
                    <a:pt x="45801" y="31794"/>
                  </a:lnTo>
                  <a:lnTo>
                    <a:pt x="44197" y="32551"/>
                  </a:lnTo>
                  <a:lnTo>
                    <a:pt x="43744" y="33942"/>
                  </a:lnTo>
                  <a:lnTo>
                    <a:pt x="43653" y="35969"/>
                  </a:lnTo>
                  <a:lnTo>
                    <a:pt x="43108" y="38692"/>
                  </a:lnTo>
                  <a:lnTo>
                    <a:pt x="42534" y="39357"/>
                  </a:lnTo>
                  <a:lnTo>
                    <a:pt x="41868" y="39418"/>
                  </a:lnTo>
                  <a:lnTo>
                    <a:pt x="41293" y="39962"/>
                  </a:lnTo>
                  <a:lnTo>
                    <a:pt x="41051" y="42080"/>
                  </a:lnTo>
                  <a:lnTo>
                    <a:pt x="41172" y="43562"/>
                  </a:lnTo>
                  <a:lnTo>
                    <a:pt x="41505" y="44318"/>
                  </a:lnTo>
                  <a:lnTo>
                    <a:pt x="42443" y="45468"/>
                  </a:lnTo>
                  <a:lnTo>
                    <a:pt x="43350" y="46617"/>
                  </a:lnTo>
                  <a:lnTo>
                    <a:pt x="46164" y="49068"/>
                  </a:lnTo>
                  <a:lnTo>
                    <a:pt x="47223" y="49522"/>
                  </a:lnTo>
                  <a:lnTo>
                    <a:pt x="48886" y="48735"/>
                  </a:lnTo>
                  <a:lnTo>
                    <a:pt x="50490" y="47404"/>
                  </a:lnTo>
                  <a:lnTo>
                    <a:pt x="51851" y="47162"/>
                  </a:lnTo>
                  <a:lnTo>
                    <a:pt x="52728" y="49522"/>
                  </a:lnTo>
                  <a:lnTo>
                    <a:pt x="51125" y="50308"/>
                  </a:lnTo>
                  <a:lnTo>
                    <a:pt x="51034" y="52184"/>
                  </a:lnTo>
                  <a:lnTo>
                    <a:pt x="52063" y="54059"/>
                  </a:lnTo>
                  <a:lnTo>
                    <a:pt x="53817" y="54937"/>
                  </a:lnTo>
                  <a:lnTo>
                    <a:pt x="61713" y="56147"/>
                  </a:lnTo>
                  <a:lnTo>
                    <a:pt x="63195" y="57084"/>
                  </a:lnTo>
                  <a:lnTo>
                    <a:pt x="65041" y="58688"/>
                  </a:lnTo>
                  <a:lnTo>
                    <a:pt x="66614" y="60594"/>
                  </a:lnTo>
                  <a:lnTo>
                    <a:pt x="67249" y="62409"/>
                  </a:lnTo>
                  <a:lnTo>
                    <a:pt x="67400" y="65615"/>
                  </a:lnTo>
                  <a:lnTo>
                    <a:pt x="67915" y="67915"/>
                  </a:lnTo>
                  <a:lnTo>
                    <a:pt x="68852" y="69306"/>
                  </a:lnTo>
                  <a:lnTo>
                    <a:pt x="70274" y="69760"/>
                  </a:lnTo>
                  <a:close/>
                  <a:moveTo>
                    <a:pt x="103460" y="51639"/>
                  </a:moveTo>
                  <a:lnTo>
                    <a:pt x="108694" y="52305"/>
                  </a:lnTo>
                  <a:lnTo>
                    <a:pt x="105063" y="48826"/>
                  </a:lnTo>
                  <a:lnTo>
                    <a:pt x="92751" y="42715"/>
                  </a:lnTo>
                  <a:lnTo>
                    <a:pt x="92751" y="41354"/>
                  </a:lnTo>
                  <a:lnTo>
                    <a:pt x="94627" y="40537"/>
                  </a:lnTo>
                  <a:lnTo>
                    <a:pt x="100677" y="41354"/>
                  </a:lnTo>
                  <a:lnTo>
                    <a:pt x="103218" y="41112"/>
                  </a:lnTo>
                  <a:lnTo>
                    <a:pt x="104549" y="40386"/>
                  </a:lnTo>
                  <a:lnTo>
                    <a:pt x="104247" y="39115"/>
                  </a:lnTo>
                  <a:lnTo>
                    <a:pt x="99981" y="36362"/>
                  </a:lnTo>
                  <a:lnTo>
                    <a:pt x="94475" y="34456"/>
                  </a:lnTo>
                  <a:lnTo>
                    <a:pt x="93477" y="34698"/>
                  </a:lnTo>
                  <a:lnTo>
                    <a:pt x="91571" y="35757"/>
                  </a:lnTo>
                  <a:lnTo>
                    <a:pt x="90754" y="35908"/>
                  </a:lnTo>
                  <a:lnTo>
                    <a:pt x="89696" y="35364"/>
                  </a:lnTo>
                  <a:lnTo>
                    <a:pt x="87790" y="33549"/>
                  </a:lnTo>
                  <a:lnTo>
                    <a:pt x="86610" y="33186"/>
                  </a:lnTo>
                  <a:lnTo>
                    <a:pt x="86610" y="31703"/>
                  </a:lnTo>
                  <a:lnTo>
                    <a:pt x="88667" y="31098"/>
                  </a:lnTo>
                  <a:lnTo>
                    <a:pt x="90482" y="29193"/>
                  </a:lnTo>
                  <a:lnTo>
                    <a:pt x="91329" y="27196"/>
                  </a:lnTo>
                  <a:lnTo>
                    <a:pt x="90361" y="26258"/>
                  </a:lnTo>
                  <a:lnTo>
                    <a:pt x="82496" y="25018"/>
                  </a:lnTo>
                  <a:lnTo>
                    <a:pt x="84402" y="23717"/>
                  </a:lnTo>
                  <a:lnTo>
                    <a:pt x="85188" y="23536"/>
                  </a:lnTo>
                  <a:lnTo>
                    <a:pt x="83615" y="20964"/>
                  </a:lnTo>
                  <a:lnTo>
                    <a:pt x="81134" y="20813"/>
                  </a:lnTo>
                  <a:lnTo>
                    <a:pt x="73632" y="23263"/>
                  </a:lnTo>
                  <a:lnTo>
                    <a:pt x="73178" y="25623"/>
                  </a:lnTo>
                  <a:lnTo>
                    <a:pt x="74177" y="31673"/>
                  </a:lnTo>
                  <a:lnTo>
                    <a:pt x="72573" y="29767"/>
                  </a:lnTo>
                  <a:lnTo>
                    <a:pt x="71756" y="27559"/>
                  </a:lnTo>
                  <a:lnTo>
                    <a:pt x="71454" y="24867"/>
                  </a:lnTo>
                  <a:lnTo>
                    <a:pt x="71454" y="21539"/>
                  </a:lnTo>
                  <a:lnTo>
                    <a:pt x="72543" y="20026"/>
                  </a:lnTo>
                  <a:lnTo>
                    <a:pt x="74842" y="18786"/>
                  </a:lnTo>
                  <a:lnTo>
                    <a:pt x="76597" y="17364"/>
                  </a:lnTo>
                  <a:lnTo>
                    <a:pt x="76173" y="15337"/>
                  </a:lnTo>
                  <a:lnTo>
                    <a:pt x="74933" y="15126"/>
                  </a:lnTo>
                  <a:lnTo>
                    <a:pt x="73995" y="14369"/>
                  </a:lnTo>
                  <a:lnTo>
                    <a:pt x="73118" y="13432"/>
                  </a:lnTo>
                  <a:lnTo>
                    <a:pt x="72089" y="12645"/>
                  </a:lnTo>
                  <a:lnTo>
                    <a:pt x="70879" y="12252"/>
                  </a:lnTo>
                  <a:lnTo>
                    <a:pt x="66281" y="13190"/>
                  </a:lnTo>
                  <a:lnTo>
                    <a:pt x="62621" y="15852"/>
                  </a:lnTo>
                  <a:lnTo>
                    <a:pt x="60442" y="16729"/>
                  </a:lnTo>
                  <a:lnTo>
                    <a:pt x="59353" y="16366"/>
                  </a:lnTo>
                  <a:lnTo>
                    <a:pt x="58204" y="15549"/>
                  </a:lnTo>
                  <a:lnTo>
                    <a:pt x="57145" y="15337"/>
                  </a:lnTo>
                  <a:lnTo>
                    <a:pt x="56298" y="16729"/>
                  </a:lnTo>
                  <a:lnTo>
                    <a:pt x="56449" y="18090"/>
                  </a:lnTo>
                  <a:lnTo>
                    <a:pt x="57357" y="19240"/>
                  </a:lnTo>
                  <a:lnTo>
                    <a:pt x="58506" y="20359"/>
                  </a:lnTo>
                  <a:lnTo>
                    <a:pt x="59353" y="21569"/>
                  </a:lnTo>
                  <a:lnTo>
                    <a:pt x="62863" y="31643"/>
                  </a:lnTo>
                  <a:lnTo>
                    <a:pt x="69185" y="41596"/>
                  </a:lnTo>
                  <a:lnTo>
                    <a:pt x="70395" y="42654"/>
                  </a:lnTo>
                  <a:lnTo>
                    <a:pt x="71151" y="43078"/>
                  </a:lnTo>
                  <a:lnTo>
                    <a:pt x="73269" y="45165"/>
                  </a:lnTo>
                  <a:lnTo>
                    <a:pt x="73904" y="46043"/>
                  </a:lnTo>
                  <a:lnTo>
                    <a:pt x="74963" y="46950"/>
                  </a:lnTo>
                  <a:lnTo>
                    <a:pt x="79047" y="46708"/>
                  </a:lnTo>
                  <a:lnTo>
                    <a:pt x="86973" y="56026"/>
                  </a:lnTo>
                  <a:lnTo>
                    <a:pt x="91057" y="59111"/>
                  </a:lnTo>
                  <a:lnTo>
                    <a:pt x="92842" y="54846"/>
                  </a:lnTo>
                  <a:lnTo>
                    <a:pt x="91783" y="49703"/>
                  </a:lnTo>
                  <a:lnTo>
                    <a:pt x="89212" y="46375"/>
                  </a:lnTo>
                  <a:lnTo>
                    <a:pt x="86217" y="43895"/>
                  </a:lnTo>
                  <a:lnTo>
                    <a:pt x="83857" y="41323"/>
                  </a:lnTo>
                  <a:lnTo>
                    <a:pt x="86670" y="40567"/>
                  </a:lnTo>
                  <a:lnTo>
                    <a:pt x="89726" y="43169"/>
                  </a:lnTo>
                  <a:lnTo>
                    <a:pt x="92418" y="47222"/>
                  </a:lnTo>
                  <a:lnTo>
                    <a:pt x="94173" y="50792"/>
                  </a:lnTo>
                  <a:lnTo>
                    <a:pt x="94959" y="55572"/>
                  </a:lnTo>
                  <a:lnTo>
                    <a:pt x="94959" y="60503"/>
                  </a:lnTo>
                  <a:lnTo>
                    <a:pt x="95988" y="64617"/>
                  </a:lnTo>
                  <a:lnTo>
                    <a:pt x="99679" y="66977"/>
                  </a:lnTo>
                  <a:lnTo>
                    <a:pt x="99255" y="65646"/>
                  </a:lnTo>
                  <a:lnTo>
                    <a:pt x="99195" y="64678"/>
                  </a:lnTo>
                  <a:lnTo>
                    <a:pt x="99588" y="63861"/>
                  </a:lnTo>
                  <a:lnTo>
                    <a:pt x="100435" y="63044"/>
                  </a:lnTo>
                  <a:lnTo>
                    <a:pt x="100435" y="61592"/>
                  </a:lnTo>
                  <a:lnTo>
                    <a:pt x="99951" y="61320"/>
                  </a:lnTo>
                  <a:lnTo>
                    <a:pt x="99497" y="60745"/>
                  </a:lnTo>
                  <a:lnTo>
                    <a:pt x="99043" y="60382"/>
                  </a:lnTo>
                  <a:lnTo>
                    <a:pt x="100223" y="58536"/>
                  </a:lnTo>
                  <a:lnTo>
                    <a:pt x="102068" y="57568"/>
                  </a:lnTo>
                  <a:lnTo>
                    <a:pt x="104126" y="57296"/>
                  </a:lnTo>
                  <a:lnTo>
                    <a:pt x="105941" y="57538"/>
                  </a:lnTo>
                  <a:lnTo>
                    <a:pt x="105941" y="56056"/>
                  </a:lnTo>
                  <a:lnTo>
                    <a:pt x="102583" y="52728"/>
                  </a:lnTo>
                  <a:lnTo>
                    <a:pt x="100526" y="51216"/>
                  </a:lnTo>
                  <a:lnTo>
                    <a:pt x="98317" y="50792"/>
                  </a:lnTo>
                  <a:lnTo>
                    <a:pt x="98317" y="49431"/>
                  </a:lnTo>
                  <a:lnTo>
                    <a:pt x="103521" y="51579"/>
                  </a:lnTo>
                  <a:close/>
                  <a:moveTo>
                    <a:pt x="116892" y="20692"/>
                  </a:moveTo>
                  <a:lnTo>
                    <a:pt x="113443" y="15126"/>
                  </a:lnTo>
                  <a:lnTo>
                    <a:pt x="110630" y="7291"/>
                  </a:lnTo>
                  <a:lnTo>
                    <a:pt x="111386" y="5808"/>
                  </a:lnTo>
                  <a:lnTo>
                    <a:pt x="108451" y="7502"/>
                  </a:lnTo>
                  <a:lnTo>
                    <a:pt x="107937" y="10407"/>
                  </a:lnTo>
                  <a:lnTo>
                    <a:pt x="108784" y="14067"/>
                  </a:lnTo>
                  <a:lnTo>
                    <a:pt x="109994" y="18151"/>
                  </a:lnTo>
                  <a:lnTo>
                    <a:pt x="110206" y="19784"/>
                  </a:lnTo>
                  <a:lnTo>
                    <a:pt x="110509" y="25260"/>
                  </a:lnTo>
                  <a:lnTo>
                    <a:pt x="110327" y="26954"/>
                  </a:lnTo>
                  <a:lnTo>
                    <a:pt x="109994" y="28315"/>
                  </a:lnTo>
                  <a:lnTo>
                    <a:pt x="109994" y="29435"/>
                  </a:lnTo>
                  <a:lnTo>
                    <a:pt x="109813" y="30191"/>
                  </a:lnTo>
                  <a:lnTo>
                    <a:pt x="108996" y="30463"/>
                  </a:lnTo>
                  <a:lnTo>
                    <a:pt x="108633" y="30070"/>
                  </a:lnTo>
                  <a:lnTo>
                    <a:pt x="108361" y="29404"/>
                  </a:lnTo>
                  <a:lnTo>
                    <a:pt x="107967" y="29283"/>
                  </a:lnTo>
                  <a:lnTo>
                    <a:pt x="107272" y="30493"/>
                  </a:lnTo>
                  <a:lnTo>
                    <a:pt x="106818" y="33882"/>
                  </a:lnTo>
                  <a:lnTo>
                    <a:pt x="107967" y="36907"/>
                  </a:lnTo>
                  <a:lnTo>
                    <a:pt x="111356" y="41323"/>
                  </a:lnTo>
                  <a:lnTo>
                    <a:pt x="111688" y="42019"/>
                  </a:lnTo>
                  <a:lnTo>
                    <a:pt x="111870" y="42745"/>
                  </a:lnTo>
                  <a:lnTo>
                    <a:pt x="112142" y="43411"/>
                  </a:lnTo>
                  <a:lnTo>
                    <a:pt x="113140" y="44228"/>
                  </a:lnTo>
                  <a:lnTo>
                    <a:pt x="114109" y="44742"/>
                  </a:lnTo>
                  <a:lnTo>
                    <a:pt x="114804" y="44742"/>
                  </a:lnTo>
                  <a:lnTo>
                    <a:pt x="114411" y="43290"/>
                  </a:lnTo>
                  <a:lnTo>
                    <a:pt x="113503" y="41172"/>
                  </a:lnTo>
                  <a:lnTo>
                    <a:pt x="111356" y="34426"/>
                  </a:lnTo>
                  <a:lnTo>
                    <a:pt x="112898" y="33670"/>
                  </a:lnTo>
                  <a:lnTo>
                    <a:pt x="114472" y="35213"/>
                  </a:lnTo>
                  <a:lnTo>
                    <a:pt x="117224" y="40628"/>
                  </a:lnTo>
                  <a:lnTo>
                    <a:pt x="118767" y="42412"/>
                  </a:lnTo>
                  <a:lnTo>
                    <a:pt x="120764" y="42897"/>
                  </a:lnTo>
                  <a:lnTo>
                    <a:pt x="122821" y="42412"/>
                  </a:lnTo>
                  <a:lnTo>
                    <a:pt x="124485" y="41323"/>
                  </a:lnTo>
                  <a:lnTo>
                    <a:pt x="124485" y="39962"/>
                  </a:lnTo>
                  <a:lnTo>
                    <a:pt x="123759" y="39024"/>
                  </a:lnTo>
                  <a:lnTo>
                    <a:pt x="123396" y="37875"/>
                  </a:lnTo>
                  <a:lnTo>
                    <a:pt x="123093" y="34396"/>
                  </a:lnTo>
                  <a:lnTo>
                    <a:pt x="121157" y="35545"/>
                  </a:lnTo>
                  <a:lnTo>
                    <a:pt x="119191" y="33942"/>
                  </a:lnTo>
                  <a:lnTo>
                    <a:pt x="115440" y="29102"/>
                  </a:lnTo>
                  <a:lnTo>
                    <a:pt x="116135" y="27620"/>
                  </a:lnTo>
                  <a:lnTo>
                    <a:pt x="118253" y="29798"/>
                  </a:lnTo>
                  <a:lnTo>
                    <a:pt x="121490" y="31098"/>
                  </a:lnTo>
                  <a:lnTo>
                    <a:pt x="124636" y="30645"/>
                  </a:lnTo>
                  <a:lnTo>
                    <a:pt x="126512" y="27589"/>
                  </a:lnTo>
                  <a:lnTo>
                    <a:pt x="121127" y="24564"/>
                  </a:lnTo>
                  <a:lnTo>
                    <a:pt x="116831" y="20601"/>
                  </a:lnTo>
                  <a:close/>
                  <a:moveTo>
                    <a:pt x="100435" y="21781"/>
                  </a:moveTo>
                  <a:lnTo>
                    <a:pt x="101433" y="23687"/>
                  </a:lnTo>
                  <a:lnTo>
                    <a:pt x="103460" y="26440"/>
                  </a:lnTo>
                  <a:lnTo>
                    <a:pt x="105638" y="27438"/>
                  </a:lnTo>
                  <a:lnTo>
                    <a:pt x="107120" y="26319"/>
                  </a:lnTo>
                  <a:lnTo>
                    <a:pt x="107030" y="23384"/>
                  </a:lnTo>
                  <a:lnTo>
                    <a:pt x="106576" y="21721"/>
                  </a:lnTo>
                  <a:lnTo>
                    <a:pt x="105457" y="18756"/>
                  </a:lnTo>
                  <a:lnTo>
                    <a:pt x="101131" y="9348"/>
                  </a:lnTo>
                  <a:lnTo>
                    <a:pt x="100253" y="6444"/>
                  </a:lnTo>
                  <a:lnTo>
                    <a:pt x="98620" y="4901"/>
                  </a:lnTo>
                  <a:lnTo>
                    <a:pt x="96956" y="6534"/>
                  </a:lnTo>
                  <a:lnTo>
                    <a:pt x="96623" y="10921"/>
                  </a:lnTo>
                  <a:lnTo>
                    <a:pt x="97712" y="15519"/>
                  </a:lnTo>
                  <a:lnTo>
                    <a:pt x="100435" y="21781"/>
                  </a:lnTo>
                  <a:close/>
                  <a:moveTo>
                    <a:pt x="88032" y="12554"/>
                  </a:moveTo>
                  <a:lnTo>
                    <a:pt x="88758" y="14218"/>
                  </a:lnTo>
                  <a:lnTo>
                    <a:pt x="91420" y="18907"/>
                  </a:lnTo>
                  <a:lnTo>
                    <a:pt x="93416" y="21811"/>
                  </a:lnTo>
                  <a:lnTo>
                    <a:pt x="94143" y="23082"/>
                  </a:lnTo>
                  <a:lnTo>
                    <a:pt x="95141" y="26016"/>
                  </a:lnTo>
                  <a:lnTo>
                    <a:pt x="95927" y="29223"/>
                  </a:lnTo>
                  <a:lnTo>
                    <a:pt x="97379" y="31371"/>
                  </a:lnTo>
                  <a:lnTo>
                    <a:pt x="99195" y="32339"/>
                  </a:lnTo>
                  <a:lnTo>
                    <a:pt x="100737" y="31946"/>
                  </a:lnTo>
                  <a:lnTo>
                    <a:pt x="101161" y="29858"/>
                  </a:lnTo>
                  <a:lnTo>
                    <a:pt x="100253" y="27710"/>
                  </a:lnTo>
                  <a:lnTo>
                    <a:pt x="99588" y="26863"/>
                  </a:lnTo>
                  <a:lnTo>
                    <a:pt x="92569" y="13976"/>
                  </a:lnTo>
                  <a:lnTo>
                    <a:pt x="89786" y="7351"/>
                  </a:lnTo>
                  <a:lnTo>
                    <a:pt x="88455" y="5022"/>
                  </a:lnTo>
                  <a:lnTo>
                    <a:pt x="87064" y="3842"/>
                  </a:lnTo>
                  <a:lnTo>
                    <a:pt x="86065" y="4689"/>
                  </a:lnTo>
                  <a:lnTo>
                    <a:pt x="86247" y="7472"/>
                  </a:lnTo>
                  <a:lnTo>
                    <a:pt x="88032" y="12494"/>
                  </a:lnTo>
                  <a:close/>
                  <a:moveTo>
                    <a:pt x="111779" y="5415"/>
                  </a:moveTo>
                  <a:lnTo>
                    <a:pt x="112717" y="10467"/>
                  </a:lnTo>
                  <a:lnTo>
                    <a:pt x="114199" y="13795"/>
                  </a:lnTo>
                  <a:lnTo>
                    <a:pt x="116589" y="17727"/>
                  </a:lnTo>
                  <a:lnTo>
                    <a:pt x="119584" y="20541"/>
                  </a:lnTo>
                  <a:lnTo>
                    <a:pt x="122791" y="21660"/>
                  </a:lnTo>
                  <a:lnTo>
                    <a:pt x="124576" y="20873"/>
                  </a:lnTo>
                  <a:lnTo>
                    <a:pt x="125241" y="19512"/>
                  </a:lnTo>
                  <a:lnTo>
                    <a:pt x="125725" y="17758"/>
                  </a:lnTo>
                  <a:lnTo>
                    <a:pt x="125029" y="15731"/>
                  </a:lnTo>
                  <a:lnTo>
                    <a:pt x="124273" y="14914"/>
                  </a:lnTo>
                  <a:lnTo>
                    <a:pt x="123638" y="14490"/>
                  </a:lnTo>
                  <a:lnTo>
                    <a:pt x="122428" y="14551"/>
                  </a:lnTo>
                  <a:lnTo>
                    <a:pt x="121308" y="15912"/>
                  </a:lnTo>
                  <a:lnTo>
                    <a:pt x="120219" y="16154"/>
                  </a:lnTo>
                  <a:lnTo>
                    <a:pt x="119645" y="14884"/>
                  </a:lnTo>
                  <a:lnTo>
                    <a:pt x="119645" y="13522"/>
                  </a:lnTo>
                  <a:lnTo>
                    <a:pt x="119070" y="11768"/>
                  </a:lnTo>
                  <a:lnTo>
                    <a:pt x="117618" y="9862"/>
                  </a:lnTo>
                  <a:lnTo>
                    <a:pt x="116377" y="7684"/>
                  </a:lnTo>
                  <a:lnTo>
                    <a:pt x="115591" y="4780"/>
                  </a:lnTo>
                  <a:lnTo>
                    <a:pt x="114592" y="2269"/>
                  </a:lnTo>
                  <a:lnTo>
                    <a:pt x="113140" y="726"/>
                  </a:lnTo>
                  <a:lnTo>
                    <a:pt x="110781" y="0"/>
                  </a:lnTo>
                  <a:lnTo>
                    <a:pt x="109450" y="1603"/>
                  </a:lnTo>
                  <a:lnTo>
                    <a:pt x="110418" y="4175"/>
                  </a:lnTo>
                  <a:lnTo>
                    <a:pt x="111719" y="5415"/>
                  </a:lnTo>
                  <a:close/>
                </a:path>
              </a:pathLst>
            </a:custGeom>
            <a:solidFill>
              <a:srgbClr val="96A3AC"/>
            </a:solidFill>
            <a:ln w="3175" cap="rnd">
              <a:solidFill>
                <a:schemeClr val="bg1"/>
              </a:solidFill>
              <a:prstDash val="solid"/>
              <a:round/>
            </a:ln>
          </p:spPr>
          <p:txBody>
            <a:bodyPr rtlCol="0" anchor="ctr"/>
            <a:lstStyle/>
            <a:p>
              <a:endParaRPr lang="en-ID"/>
            </a:p>
          </p:txBody>
        </p:sp>
        <p:sp>
          <p:nvSpPr>
            <p:cNvPr id="55" name="Freeform: Shape 54">
              <a:extLst>
                <a:ext uri="{FF2B5EF4-FFF2-40B4-BE49-F238E27FC236}">
                  <a16:creationId xmlns:a16="http://schemas.microsoft.com/office/drawing/2014/main" id="{ECB52D7A-1019-9B19-1AFC-97D15C92FAB1}"/>
                </a:ext>
              </a:extLst>
            </p:cNvPr>
            <p:cNvSpPr/>
            <p:nvPr/>
          </p:nvSpPr>
          <p:spPr>
            <a:xfrm>
              <a:off x="9864556" y="2838462"/>
              <a:ext cx="499085" cy="299664"/>
            </a:xfrm>
            <a:custGeom>
              <a:avLst/>
              <a:gdLst>
                <a:gd name="connsiteX0" fmla="*/ 143694 w 642086"/>
                <a:gd name="connsiteY0" fmla="*/ 331314 h 385524"/>
                <a:gd name="connsiteX1" fmla="*/ 141607 w 642086"/>
                <a:gd name="connsiteY1" fmla="*/ 329741 h 385524"/>
                <a:gd name="connsiteX2" fmla="*/ 140064 w 642086"/>
                <a:gd name="connsiteY2" fmla="*/ 329529 h 385524"/>
                <a:gd name="connsiteX3" fmla="*/ 139701 w 642086"/>
                <a:gd name="connsiteY3" fmla="*/ 330588 h 385524"/>
                <a:gd name="connsiteX4" fmla="*/ 139489 w 642086"/>
                <a:gd name="connsiteY4" fmla="*/ 332009 h 385524"/>
                <a:gd name="connsiteX5" fmla="*/ 139398 w 642086"/>
                <a:gd name="connsiteY5" fmla="*/ 333492 h 385524"/>
                <a:gd name="connsiteX6" fmla="*/ 140578 w 642086"/>
                <a:gd name="connsiteY6" fmla="*/ 335095 h 385524"/>
                <a:gd name="connsiteX7" fmla="*/ 142666 w 642086"/>
                <a:gd name="connsiteY7" fmla="*/ 336366 h 385524"/>
                <a:gd name="connsiteX8" fmla="*/ 144692 w 642086"/>
                <a:gd name="connsiteY8" fmla="*/ 336154 h 385524"/>
                <a:gd name="connsiteX9" fmla="*/ 145177 w 642086"/>
                <a:gd name="connsiteY9" fmla="*/ 333885 h 385524"/>
                <a:gd name="connsiteX10" fmla="*/ 144723 w 642086"/>
                <a:gd name="connsiteY10" fmla="*/ 332312 h 385524"/>
                <a:gd name="connsiteX11" fmla="*/ 143694 w 642086"/>
                <a:gd name="connsiteY11" fmla="*/ 331314 h 385524"/>
                <a:gd name="connsiteX12" fmla="*/ 216540 w 642086"/>
                <a:gd name="connsiteY12" fmla="*/ 271416 h 385524"/>
                <a:gd name="connsiteX13" fmla="*/ 213636 w 642086"/>
                <a:gd name="connsiteY13" fmla="*/ 272354 h 385524"/>
                <a:gd name="connsiteX14" fmla="*/ 211881 w 642086"/>
                <a:gd name="connsiteY14" fmla="*/ 274895 h 385524"/>
                <a:gd name="connsiteX15" fmla="*/ 212425 w 642086"/>
                <a:gd name="connsiteY15" fmla="*/ 279100 h 385524"/>
                <a:gd name="connsiteX16" fmla="*/ 215178 w 642086"/>
                <a:gd name="connsiteY16" fmla="*/ 281490 h 385524"/>
                <a:gd name="connsiteX17" fmla="*/ 218355 w 642086"/>
                <a:gd name="connsiteY17" fmla="*/ 279917 h 385524"/>
                <a:gd name="connsiteX18" fmla="*/ 220351 w 642086"/>
                <a:gd name="connsiteY18" fmla="*/ 276196 h 385524"/>
                <a:gd name="connsiteX19" fmla="*/ 219444 w 642086"/>
                <a:gd name="connsiteY19" fmla="*/ 272051 h 385524"/>
                <a:gd name="connsiteX20" fmla="*/ 216540 w 642086"/>
                <a:gd name="connsiteY20" fmla="*/ 271416 h 385524"/>
                <a:gd name="connsiteX21" fmla="*/ 146538 w 642086"/>
                <a:gd name="connsiteY21" fmla="*/ 213152 h 385524"/>
                <a:gd name="connsiteX22" fmla="*/ 143180 w 642086"/>
                <a:gd name="connsiteY22" fmla="*/ 211064 h 385524"/>
                <a:gd name="connsiteX23" fmla="*/ 140699 w 642086"/>
                <a:gd name="connsiteY23" fmla="*/ 210217 h 385524"/>
                <a:gd name="connsiteX24" fmla="*/ 136464 w 642086"/>
                <a:gd name="connsiteY24" fmla="*/ 209219 h 385524"/>
                <a:gd name="connsiteX25" fmla="*/ 132411 w 642086"/>
                <a:gd name="connsiteY25" fmla="*/ 207253 h 385524"/>
                <a:gd name="connsiteX26" fmla="*/ 130928 w 642086"/>
                <a:gd name="connsiteY26" fmla="*/ 205922 h 385524"/>
                <a:gd name="connsiteX27" fmla="*/ 130172 w 642086"/>
                <a:gd name="connsiteY27" fmla="*/ 204833 h 385524"/>
                <a:gd name="connsiteX28" fmla="*/ 128720 w 642086"/>
                <a:gd name="connsiteY28" fmla="*/ 201172 h 385524"/>
                <a:gd name="connsiteX29" fmla="*/ 126693 w 642086"/>
                <a:gd name="connsiteY29" fmla="*/ 198480 h 385524"/>
                <a:gd name="connsiteX30" fmla="*/ 121187 w 642086"/>
                <a:gd name="connsiteY30" fmla="*/ 196150 h 385524"/>
                <a:gd name="connsiteX31" fmla="*/ 116498 w 642086"/>
                <a:gd name="connsiteY31" fmla="*/ 193034 h 385524"/>
                <a:gd name="connsiteX32" fmla="*/ 111870 w 642086"/>
                <a:gd name="connsiteY32" fmla="*/ 191552 h 385524"/>
                <a:gd name="connsiteX33" fmla="*/ 109692 w 642086"/>
                <a:gd name="connsiteY33" fmla="*/ 190282 h 385524"/>
                <a:gd name="connsiteX34" fmla="*/ 107423 w 642086"/>
                <a:gd name="connsiteY34" fmla="*/ 189767 h 385524"/>
                <a:gd name="connsiteX35" fmla="*/ 102068 w 642086"/>
                <a:gd name="connsiteY35" fmla="*/ 190977 h 385524"/>
                <a:gd name="connsiteX36" fmla="*/ 98529 w 642086"/>
                <a:gd name="connsiteY36" fmla="*/ 189283 h 385524"/>
                <a:gd name="connsiteX37" fmla="*/ 96442 w 642086"/>
                <a:gd name="connsiteY37" fmla="*/ 190735 h 385524"/>
                <a:gd name="connsiteX38" fmla="*/ 93144 w 642086"/>
                <a:gd name="connsiteY38" fmla="*/ 194638 h 385524"/>
                <a:gd name="connsiteX39" fmla="*/ 90966 w 642086"/>
                <a:gd name="connsiteY39" fmla="*/ 195485 h 385524"/>
                <a:gd name="connsiteX40" fmla="*/ 89242 w 642086"/>
                <a:gd name="connsiteY40" fmla="*/ 194940 h 385524"/>
                <a:gd name="connsiteX41" fmla="*/ 87578 w 642086"/>
                <a:gd name="connsiteY41" fmla="*/ 193882 h 385524"/>
                <a:gd name="connsiteX42" fmla="*/ 85521 w 642086"/>
                <a:gd name="connsiteY42" fmla="*/ 193307 h 385524"/>
                <a:gd name="connsiteX43" fmla="*/ 84886 w 642086"/>
                <a:gd name="connsiteY43" fmla="*/ 193670 h 385524"/>
                <a:gd name="connsiteX44" fmla="*/ 83101 w 642086"/>
                <a:gd name="connsiteY44" fmla="*/ 195334 h 385524"/>
                <a:gd name="connsiteX45" fmla="*/ 82102 w 642086"/>
                <a:gd name="connsiteY45" fmla="*/ 195697 h 385524"/>
                <a:gd name="connsiteX46" fmla="*/ 81376 w 642086"/>
                <a:gd name="connsiteY46" fmla="*/ 195334 h 385524"/>
                <a:gd name="connsiteX47" fmla="*/ 80287 w 642086"/>
                <a:gd name="connsiteY47" fmla="*/ 193670 h 385524"/>
                <a:gd name="connsiteX48" fmla="*/ 79652 w 642086"/>
                <a:gd name="connsiteY48" fmla="*/ 193307 h 385524"/>
                <a:gd name="connsiteX49" fmla="*/ 78533 w 642086"/>
                <a:gd name="connsiteY49" fmla="*/ 192339 h 385524"/>
                <a:gd name="connsiteX50" fmla="*/ 76657 w 642086"/>
                <a:gd name="connsiteY50" fmla="*/ 188164 h 385524"/>
                <a:gd name="connsiteX51" fmla="*/ 75568 w 642086"/>
                <a:gd name="connsiteY51" fmla="*/ 187196 h 385524"/>
                <a:gd name="connsiteX52" fmla="*/ 72271 w 642086"/>
                <a:gd name="connsiteY52" fmla="*/ 188073 h 385524"/>
                <a:gd name="connsiteX53" fmla="*/ 63498 w 642086"/>
                <a:gd name="connsiteY53" fmla="*/ 194577 h 385524"/>
                <a:gd name="connsiteX54" fmla="*/ 49280 w 642086"/>
                <a:gd name="connsiteY54" fmla="*/ 196029 h 385524"/>
                <a:gd name="connsiteX55" fmla="*/ 45892 w 642086"/>
                <a:gd name="connsiteY55" fmla="*/ 198752 h 385524"/>
                <a:gd name="connsiteX56" fmla="*/ 45468 w 642086"/>
                <a:gd name="connsiteY56" fmla="*/ 202261 h 385524"/>
                <a:gd name="connsiteX57" fmla="*/ 45347 w 642086"/>
                <a:gd name="connsiteY57" fmla="*/ 207132 h 385524"/>
                <a:gd name="connsiteX58" fmla="*/ 44379 w 642086"/>
                <a:gd name="connsiteY58" fmla="*/ 210671 h 385524"/>
                <a:gd name="connsiteX59" fmla="*/ 41354 w 642086"/>
                <a:gd name="connsiteY59" fmla="*/ 210187 h 385524"/>
                <a:gd name="connsiteX60" fmla="*/ 39902 w 642086"/>
                <a:gd name="connsiteY60" fmla="*/ 209158 h 385524"/>
                <a:gd name="connsiteX61" fmla="*/ 39509 w 642086"/>
                <a:gd name="connsiteY61" fmla="*/ 208130 h 385524"/>
                <a:gd name="connsiteX62" fmla="*/ 39357 w 642086"/>
                <a:gd name="connsiteY62" fmla="*/ 206012 h 385524"/>
                <a:gd name="connsiteX63" fmla="*/ 39236 w 642086"/>
                <a:gd name="connsiteY63" fmla="*/ 205196 h 385524"/>
                <a:gd name="connsiteX64" fmla="*/ 38934 w 642086"/>
                <a:gd name="connsiteY64" fmla="*/ 204137 h 385524"/>
                <a:gd name="connsiteX65" fmla="*/ 38571 w 642086"/>
                <a:gd name="connsiteY65" fmla="*/ 203229 h 385524"/>
                <a:gd name="connsiteX66" fmla="*/ 38298 w 642086"/>
                <a:gd name="connsiteY66" fmla="*/ 202836 h 385524"/>
                <a:gd name="connsiteX67" fmla="*/ 36453 w 642086"/>
                <a:gd name="connsiteY67" fmla="*/ 202927 h 385524"/>
                <a:gd name="connsiteX68" fmla="*/ 35787 w 642086"/>
                <a:gd name="connsiteY68" fmla="*/ 203441 h 385524"/>
                <a:gd name="connsiteX69" fmla="*/ 35334 w 642086"/>
                <a:gd name="connsiteY69" fmla="*/ 204742 h 385524"/>
                <a:gd name="connsiteX70" fmla="*/ 34184 w 642086"/>
                <a:gd name="connsiteY70" fmla="*/ 207222 h 385524"/>
                <a:gd name="connsiteX71" fmla="*/ 32883 w 642086"/>
                <a:gd name="connsiteY71" fmla="*/ 208614 h 385524"/>
                <a:gd name="connsiteX72" fmla="*/ 29647 w 642086"/>
                <a:gd name="connsiteY72" fmla="*/ 210217 h 385524"/>
                <a:gd name="connsiteX73" fmla="*/ 28346 w 642086"/>
                <a:gd name="connsiteY73" fmla="*/ 211397 h 385524"/>
                <a:gd name="connsiteX74" fmla="*/ 27347 w 642086"/>
                <a:gd name="connsiteY74" fmla="*/ 213303 h 385524"/>
                <a:gd name="connsiteX75" fmla="*/ 26863 w 642086"/>
                <a:gd name="connsiteY75" fmla="*/ 215330 h 385524"/>
                <a:gd name="connsiteX76" fmla="*/ 26289 w 642086"/>
                <a:gd name="connsiteY76" fmla="*/ 219958 h 385524"/>
                <a:gd name="connsiteX77" fmla="*/ 26833 w 642086"/>
                <a:gd name="connsiteY77" fmla="*/ 222560 h 385524"/>
                <a:gd name="connsiteX78" fmla="*/ 26833 w 642086"/>
                <a:gd name="connsiteY78" fmla="*/ 224072 h 385524"/>
                <a:gd name="connsiteX79" fmla="*/ 25895 w 642086"/>
                <a:gd name="connsiteY79" fmla="*/ 224768 h 385524"/>
                <a:gd name="connsiteX80" fmla="*/ 25290 w 642086"/>
                <a:gd name="connsiteY80" fmla="*/ 224708 h 385524"/>
                <a:gd name="connsiteX81" fmla="*/ 24746 w 642086"/>
                <a:gd name="connsiteY81" fmla="*/ 224496 h 385524"/>
                <a:gd name="connsiteX82" fmla="*/ 24322 w 642086"/>
                <a:gd name="connsiteY82" fmla="*/ 223951 h 385524"/>
                <a:gd name="connsiteX83" fmla="*/ 24171 w 642086"/>
                <a:gd name="connsiteY83" fmla="*/ 222923 h 385524"/>
                <a:gd name="connsiteX84" fmla="*/ 23929 w 642086"/>
                <a:gd name="connsiteY84" fmla="*/ 220503 h 385524"/>
                <a:gd name="connsiteX85" fmla="*/ 23354 w 642086"/>
                <a:gd name="connsiteY85" fmla="*/ 218718 h 385524"/>
                <a:gd name="connsiteX86" fmla="*/ 18968 w 642086"/>
                <a:gd name="connsiteY86" fmla="*/ 211185 h 385524"/>
                <a:gd name="connsiteX87" fmla="*/ 16457 w 642086"/>
                <a:gd name="connsiteY87" fmla="*/ 208826 h 385524"/>
                <a:gd name="connsiteX88" fmla="*/ 13522 w 642086"/>
                <a:gd name="connsiteY88" fmla="*/ 207918 h 385524"/>
                <a:gd name="connsiteX89" fmla="*/ 9680 w 642086"/>
                <a:gd name="connsiteY89" fmla="*/ 207767 h 385524"/>
                <a:gd name="connsiteX90" fmla="*/ 8712 w 642086"/>
                <a:gd name="connsiteY90" fmla="*/ 209249 h 385524"/>
                <a:gd name="connsiteX91" fmla="*/ 8652 w 642086"/>
                <a:gd name="connsiteY91" fmla="*/ 210187 h 385524"/>
                <a:gd name="connsiteX92" fmla="*/ 8440 w 642086"/>
                <a:gd name="connsiteY92" fmla="*/ 210822 h 385524"/>
                <a:gd name="connsiteX93" fmla="*/ 6928 w 642086"/>
                <a:gd name="connsiteY93" fmla="*/ 211397 h 385524"/>
                <a:gd name="connsiteX94" fmla="*/ 5294 w 642086"/>
                <a:gd name="connsiteY94" fmla="*/ 211397 h 385524"/>
                <a:gd name="connsiteX95" fmla="*/ 0 w 642086"/>
                <a:gd name="connsiteY95" fmla="*/ 209098 h 385524"/>
                <a:gd name="connsiteX96" fmla="*/ 2723 w 642086"/>
                <a:gd name="connsiteY96" fmla="*/ 212486 h 385524"/>
                <a:gd name="connsiteX97" fmla="*/ 5566 w 642086"/>
                <a:gd name="connsiteY97" fmla="*/ 215027 h 385524"/>
                <a:gd name="connsiteX98" fmla="*/ 6928 w 642086"/>
                <a:gd name="connsiteY98" fmla="*/ 216630 h 385524"/>
                <a:gd name="connsiteX99" fmla="*/ 9287 w 642086"/>
                <a:gd name="connsiteY99" fmla="*/ 220412 h 385524"/>
                <a:gd name="connsiteX100" fmla="*/ 11435 w 642086"/>
                <a:gd name="connsiteY100" fmla="*/ 223014 h 385524"/>
                <a:gd name="connsiteX101" fmla="*/ 15882 w 642086"/>
                <a:gd name="connsiteY101" fmla="*/ 231000 h 385524"/>
                <a:gd name="connsiteX102" fmla="*/ 17092 w 642086"/>
                <a:gd name="connsiteY102" fmla="*/ 234781 h 385524"/>
                <a:gd name="connsiteX103" fmla="*/ 17999 w 642086"/>
                <a:gd name="connsiteY103" fmla="*/ 236808 h 385524"/>
                <a:gd name="connsiteX104" fmla="*/ 15912 w 642086"/>
                <a:gd name="connsiteY104" fmla="*/ 236112 h 385524"/>
                <a:gd name="connsiteX105" fmla="*/ 13643 w 642086"/>
                <a:gd name="connsiteY105" fmla="*/ 236687 h 385524"/>
                <a:gd name="connsiteX106" fmla="*/ 12313 w 642086"/>
                <a:gd name="connsiteY106" fmla="*/ 238532 h 385524"/>
                <a:gd name="connsiteX107" fmla="*/ 13159 w 642086"/>
                <a:gd name="connsiteY107" fmla="*/ 241618 h 385524"/>
                <a:gd name="connsiteX108" fmla="*/ 11253 w 642086"/>
                <a:gd name="connsiteY108" fmla="*/ 243010 h 385524"/>
                <a:gd name="connsiteX109" fmla="*/ 9650 w 642086"/>
                <a:gd name="connsiteY109" fmla="*/ 241588 h 385524"/>
                <a:gd name="connsiteX110" fmla="*/ 8017 w 642086"/>
                <a:gd name="connsiteY110" fmla="*/ 239319 h 385524"/>
                <a:gd name="connsiteX111" fmla="*/ 6202 w 642086"/>
                <a:gd name="connsiteY111" fmla="*/ 238139 h 385524"/>
                <a:gd name="connsiteX112" fmla="*/ 4084 w 642086"/>
                <a:gd name="connsiteY112" fmla="*/ 238986 h 385524"/>
                <a:gd name="connsiteX113" fmla="*/ 4719 w 642086"/>
                <a:gd name="connsiteY113" fmla="*/ 241104 h 385524"/>
                <a:gd name="connsiteX114" fmla="*/ 6444 w 642086"/>
                <a:gd name="connsiteY114" fmla="*/ 243857 h 385524"/>
                <a:gd name="connsiteX115" fmla="*/ 7623 w 642086"/>
                <a:gd name="connsiteY115" fmla="*/ 246519 h 385524"/>
                <a:gd name="connsiteX116" fmla="*/ 2329 w 642086"/>
                <a:gd name="connsiteY116" fmla="*/ 245097 h 385524"/>
                <a:gd name="connsiteX117" fmla="*/ 1089 w 642086"/>
                <a:gd name="connsiteY117" fmla="*/ 245914 h 385524"/>
                <a:gd name="connsiteX118" fmla="*/ 1150 w 642086"/>
                <a:gd name="connsiteY118" fmla="*/ 247426 h 385524"/>
                <a:gd name="connsiteX119" fmla="*/ 1906 w 642086"/>
                <a:gd name="connsiteY119" fmla="*/ 249484 h 385524"/>
                <a:gd name="connsiteX120" fmla="*/ 3570 w 642086"/>
                <a:gd name="connsiteY120" fmla="*/ 252539 h 385524"/>
                <a:gd name="connsiteX121" fmla="*/ 6444 w 642086"/>
                <a:gd name="connsiteY121" fmla="*/ 254989 h 385524"/>
                <a:gd name="connsiteX122" fmla="*/ 9711 w 642086"/>
                <a:gd name="connsiteY122" fmla="*/ 255988 h 385524"/>
                <a:gd name="connsiteX123" fmla="*/ 16245 w 642086"/>
                <a:gd name="connsiteY123" fmla="*/ 256048 h 385524"/>
                <a:gd name="connsiteX124" fmla="*/ 18544 w 642086"/>
                <a:gd name="connsiteY124" fmla="*/ 257954 h 385524"/>
                <a:gd name="connsiteX125" fmla="*/ 22174 w 642086"/>
                <a:gd name="connsiteY125" fmla="*/ 266243 h 385524"/>
                <a:gd name="connsiteX126" fmla="*/ 24110 w 642086"/>
                <a:gd name="connsiteY126" fmla="*/ 268118 h 385524"/>
                <a:gd name="connsiteX127" fmla="*/ 31099 w 642086"/>
                <a:gd name="connsiteY127" fmla="*/ 269238 h 385524"/>
                <a:gd name="connsiteX128" fmla="*/ 34971 w 642086"/>
                <a:gd name="connsiteY128" fmla="*/ 270750 h 385524"/>
                <a:gd name="connsiteX129" fmla="*/ 37240 w 642086"/>
                <a:gd name="connsiteY129" fmla="*/ 273019 h 385524"/>
                <a:gd name="connsiteX130" fmla="*/ 33428 w 642086"/>
                <a:gd name="connsiteY130" fmla="*/ 278434 h 385524"/>
                <a:gd name="connsiteX131" fmla="*/ 32823 w 642086"/>
                <a:gd name="connsiteY131" fmla="*/ 280128 h 385524"/>
                <a:gd name="connsiteX132" fmla="*/ 32248 w 642086"/>
                <a:gd name="connsiteY132" fmla="*/ 283789 h 385524"/>
                <a:gd name="connsiteX133" fmla="*/ 31703 w 642086"/>
                <a:gd name="connsiteY133" fmla="*/ 284969 h 385524"/>
                <a:gd name="connsiteX134" fmla="*/ 30463 w 642086"/>
                <a:gd name="connsiteY134" fmla="*/ 285452 h 385524"/>
                <a:gd name="connsiteX135" fmla="*/ 29253 w 642086"/>
                <a:gd name="connsiteY135" fmla="*/ 284969 h 385524"/>
                <a:gd name="connsiteX136" fmla="*/ 27983 w 642086"/>
                <a:gd name="connsiteY136" fmla="*/ 284182 h 385524"/>
                <a:gd name="connsiteX137" fmla="*/ 26500 w 642086"/>
                <a:gd name="connsiteY137" fmla="*/ 283758 h 385524"/>
                <a:gd name="connsiteX138" fmla="*/ 25472 w 642086"/>
                <a:gd name="connsiteY138" fmla="*/ 284424 h 385524"/>
                <a:gd name="connsiteX139" fmla="*/ 24504 w 642086"/>
                <a:gd name="connsiteY139" fmla="*/ 286027 h 385524"/>
                <a:gd name="connsiteX140" fmla="*/ 22779 w 642086"/>
                <a:gd name="connsiteY140" fmla="*/ 289718 h 385524"/>
                <a:gd name="connsiteX141" fmla="*/ 18998 w 642086"/>
                <a:gd name="connsiteY141" fmla="*/ 295133 h 385524"/>
                <a:gd name="connsiteX142" fmla="*/ 18393 w 642086"/>
                <a:gd name="connsiteY142" fmla="*/ 296736 h 385524"/>
                <a:gd name="connsiteX143" fmla="*/ 17304 w 642086"/>
                <a:gd name="connsiteY143" fmla="*/ 300397 h 385524"/>
                <a:gd name="connsiteX144" fmla="*/ 16608 w 642086"/>
                <a:gd name="connsiteY144" fmla="*/ 301607 h 385524"/>
                <a:gd name="connsiteX145" fmla="*/ 15821 w 642086"/>
                <a:gd name="connsiteY145" fmla="*/ 301819 h 385524"/>
                <a:gd name="connsiteX146" fmla="*/ 13159 w 642086"/>
                <a:gd name="connsiteY146" fmla="*/ 301607 h 385524"/>
                <a:gd name="connsiteX147" fmla="*/ 13039 w 642086"/>
                <a:gd name="connsiteY147" fmla="*/ 302333 h 385524"/>
                <a:gd name="connsiteX148" fmla="*/ 13039 w 642086"/>
                <a:gd name="connsiteY148" fmla="*/ 303150 h 385524"/>
                <a:gd name="connsiteX149" fmla="*/ 13220 w 642086"/>
                <a:gd name="connsiteY149" fmla="*/ 303815 h 385524"/>
                <a:gd name="connsiteX150" fmla="*/ 13492 w 642086"/>
                <a:gd name="connsiteY150" fmla="*/ 304118 h 385524"/>
                <a:gd name="connsiteX151" fmla="*/ 14884 w 642086"/>
                <a:gd name="connsiteY151" fmla="*/ 304693 h 385524"/>
                <a:gd name="connsiteX152" fmla="*/ 15882 w 642086"/>
                <a:gd name="connsiteY152" fmla="*/ 306114 h 385524"/>
                <a:gd name="connsiteX153" fmla="*/ 16245 w 642086"/>
                <a:gd name="connsiteY153" fmla="*/ 308050 h 385524"/>
                <a:gd name="connsiteX154" fmla="*/ 15821 w 642086"/>
                <a:gd name="connsiteY154" fmla="*/ 310077 h 385524"/>
                <a:gd name="connsiteX155" fmla="*/ 18514 w 642086"/>
                <a:gd name="connsiteY155" fmla="*/ 313738 h 385524"/>
                <a:gd name="connsiteX156" fmla="*/ 21690 w 642086"/>
                <a:gd name="connsiteY156" fmla="*/ 313647 h 385524"/>
                <a:gd name="connsiteX157" fmla="*/ 35939 w 642086"/>
                <a:gd name="connsiteY157" fmla="*/ 301667 h 385524"/>
                <a:gd name="connsiteX158" fmla="*/ 37240 w 642086"/>
                <a:gd name="connsiteY158" fmla="*/ 299882 h 385524"/>
                <a:gd name="connsiteX159" fmla="*/ 36786 w 642086"/>
                <a:gd name="connsiteY159" fmla="*/ 295980 h 385524"/>
                <a:gd name="connsiteX160" fmla="*/ 36937 w 642086"/>
                <a:gd name="connsiteY160" fmla="*/ 294286 h 385524"/>
                <a:gd name="connsiteX161" fmla="*/ 37935 w 642086"/>
                <a:gd name="connsiteY161" fmla="*/ 292743 h 385524"/>
                <a:gd name="connsiteX162" fmla="*/ 39055 w 642086"/>
                <a:gd name="connsiteY162" fmla="*/ 291352 h 385524"/>
                <a:gd name="connsiteX163" fmla="*/ 39902 w 642086"/>
                <a:gd name="connsiteY163" fmla="*/ 289748 h 385524"/>
                <a:gd name="connsiteX164" fmla="*/ 42654 w 642086"/>
                <a:gd name="connsiteY164" fmla="*/ 282579 h 385524"/>
                <a:gd name="connsiteX165" fmla="*/ 43532 w 642086"/>
                <a:gd name="connsiteY165" fmla="*/ 278767 h 385524"/>
                <a:gd name="connsiteX166" fmla="*/ 43986 w 642086"/>
                <a:gd name="connsiteY166" fmla="*/ 274925 h 385524"/>
                <a:gd name="connsiteX167" fmla="*/ 44167 w 642086"/>
                <a:gd name="connsiteY167" fmla="*/ 268391 h 385524"/>
                <a:gd name="connsiteX168" fmla="*/ 44469 w 642086"/>
                <a:gd name="connsiteY168" fmla="*/ 267513 h 385524"/>
                <a:gd name="connsiteX169" fmla="*/ 45196 w 642086"/>
                <a:gd name="connsiteY169" fmla="*/ 266939 h 385524"/>
                <a:gd name="connsiteX170" fmla="*/ 46496 w 642086"/>
                <a:gd name="connsiteY170" fmla="*/ 265124 h 385524"/>
                <a:gd name="connsiteX171" fmla="*/ 49340 w 642086"/>
                <a:gd name="connsiteY171" fmla="*/ 262704 h 385524"/>
                <a:gd name="connsiteX172" fmla="*/ 52396 w 642086"/>
                <a:gd name="connsiteY172" fmla="*/ 260919 h 385524"/>
                <a:gd name="connsiteX173" fmla="*/ 53182 w 642086"/>
                <a:gd name="connsiteY173" fmla="*/ 260767 h 385524"/>
                <a:gd name="connsiteX174" fmla="*/ 55088 w 642086"/>
                <a:gd name="connsiteY174" fmla="*/ 259769 h 385524"/>
                <a:gd name="connsiteX175" fmla="*/ 55844 w 642086"/>
                <a:gd name="connsiteY175" fmla="*/ 259194 h 385524"/>
                <a:gd name="connsiteX176" fmla="*/ 56903 w 642086"/>
                <a:gd name="connsiteY176" fmla="*/ 259013 h 385524"/>
                <a:gd name="connsiteX177" fmla="*/ 58053 w 642086"/>
                <a:gd name="connsiteY177" fmla="*/ 259648 h 385524"/>
                <a:gd name="connsiteX178" fmla="*/ 59232 w 642086"/>
                <a:gd name="connsiteY178" fmla="*/ 260072 h 385524"/>
                <a:gd name="connsiteX179" fmla="*/ 60322 w 642086"/>
                <a:gd name="connsiteY179" fmla="*/ 259164 h 385524"/>
                <a:gd name="connsiteX180" fmla="*/ 61380 w 642086"/>
                <a:gd name="connsiteY180" fmla="*/ 257893 h 385524"/>
                <a:gd name="connsiteX181" fmla="*/ 63014 w 642086"/>
                <a:gd name="connsiteY181" fmla="*/ 256683 h 385524"/>
                <a:gd name="connsiteX182" fmla="*/ 64768 w 642086"/>
                <a:gd name="connsiteY182" fmla="*/ 255957 h 385524"/>
                <a:gd name="connsiteX183" fmla="*/ 66190 w 642086"/>
                <a:gd name="connsiteY183" fmla="*/ 256018 h 385524"/>
                <a:gd name="connsiteX184" fmla="*/ 66251 w 642086"/>
                <a:gd name="connsiteY184" fmla="*/ 256562 h 385524"/>
                <a:gd name="connsiteX185" fmla="*/ 66765 w 642086"/>
                <a:gd name="connsiteY185" fmla="*/ 259194 h 385524"/>
                <a:gd name="connsiteX186" fmla="*/ 66765 w 642086"/>
                <a:gd name="connsiteY186" fmla="*/ 259799 h 385524"/>
                <a:gd name="connsiteX187" fmla="*/ 67491 w 642086"/>
                <a:gd name="connsiteY187" fmla="*/ 259708 h 385524"/>
                <a:gd name="connsiteX188" fmla="*/ 67824 w 642086"/>
                <a:gd name="connsiteY188" fmla="*/ 259467 h 385524"/>
                <a:gd name="connsiteX189" fmla="*/ 68157 w 642086"/>
                <a:gd name="connsiteY189" fmla="*/ 259073 h 385524"/>
                <a:gd name="connsiteX190" fmla="*/ 68883 w 642086"/>
                <a:gd name="connsiteY190" fmla="*/ 258499 h 385524"/>
                <a:gd name="connsiteX191" fmla="*/ 69760 w 642086"/>
                <a:gd name="connsiteY191" fmla="*/ 255504 h 385524"/>
                <a:gd name="connsiteX192" fmla="*/ 70637 w 642086"/>
                <a:gd name="connsiteY192" fmla="*/ 254324 h 385524"/>
                <a:gd name="connsiteX193" fmla="*/ 72059 w 642086"/>
                <a:gd name="connsiteY193" fmla="*/ 255413 h 385524"/>
                <a:gd name="connsiteX194" fmla="*/ 73208 w 642086"/>
                <a:gd name="connsiteY194" fmla="*/ 257258 h 385524"/>
                <a:gd name="connsiteX195" fmla="*/ 73692 w 642086"/>
                <a:gd name="connsiteY195" fmla="*/ 257621 h 385524"/>
                <a:gd name="connsiteX196" fmla="*/ 74298 w 642086"/>
                <a:gd name="connsiteY196" fmla="*/ 256865 h 385524"/>
                <a:gd name="connsiteX197" fmla="*/ 75841 w 642086"/>
                <a:gd name="connsiteY197" fmla="*/ 255413 h 385524"/>
                <a:gd name="connsiteX198" fmla="*/ 77474 w 642086"/>
                <a:gd name="connsiteY198" fmla="*/ 254657 h 385524"/>
                <a:gd name="connsiteX199" fmla="*/ 79380 w 642086"/>
                <a:gd name="connsiteY199" fmla="*/ 254536 h 385524"/>
                <a:gd name="connsiteX200" fmla="*/ 81225 w 642086"/>
                <a:gd name="connsiteY200" fmla="*/ 254989 h 385524"/>
                <a:gd name="connsiteX201" fmla="*/ 82738 w 642086"/>
                <a:gd name="connsiteY201" fmla="*/ 255957 h 385524"/>
                <a:gd name="connsiteX202" fmla="*/ 84160 w 642086"/>
                <a:gd name="connsiteY202" fmla="*/ 260041 h 385524"/>
                <a:gd name="connsiteX203" fmla="*/ 89574 w 642086"/>
                <a:gd name="connsiteY203" fmla="*/ 259345 h 385524"/>
                <a:gd name="connsiteX204" fmla="*/ 92963 w 642086"/>
                <a:gd name="connsiteY204" fmla="*/ 256381 h 385524"/>
                <a:gd name="connsiteX205" fmla="*/ 88274 w 642086"/>
                <a:gd name="connsiteY205" fmla="*/ 253658 h 385524"/>
                <a:gd name="connsiteX206" fmla="*/ 89393 w 642086"/>
                <a:gd name="connsiteY206" fmla="*/ 251450 h 385524"/>
                <a:gd name="connsiteX207" fmla="*/ 91601 w 642086"/>
                <a:gd name="connsiteY207" fmla="*/ 250845 h 385524"/>
                <a:gd name="connsiteX208" fmla="*/ 96200 w 642086"/>
                <a:gd name="connsiteY208" fmla="*/ 251268 h 385524"/>
                <a:gd name="connsiteX209" fmla="*/ 98469 w 642086"/>
                <a:gd name="connsiteY209" fmla="*/ 250905 h 385524"/>
                <a:gd name="connsiteX210" fmla="*/ 99860 w 642086"/>
                <a:gd name="connsiteY210" fmla="*/ 249907 h 385524"/>
                <a:gd name="connsiteX211" fmla="*/ 102794 w 642086"/>
                <a:gd name="connsiteY211" fmla="*/ 246459 h 385524"/>
                <a:gd name="connsiteX212" fmla="*/ 104489 w 642086"/>
                <a:gd name="connsiteY212" fmla="*/ 245400 h 385524"/>
                <a:gd name="connsiteX213" fmla="*/ 106122 w 642086"/>
                <a:gd name="connsiteY213" fmla="*/ 244916 h 385524"/>
                <a:gd name="connsiteX214" fmla="*/ 107695 w 642086"/>
                <a:gd name="connsiteY214" fmla="*/ 244129 h 385524"/>
                <a:gd name="connsiteX215" fmla="*/ 114411 w 642086"/>
                <a:gd name="connsiteY215" fmla="*/ 235628 h 385524"/>
                <a:gd name="connsiteX216" fmla="*/ 112202 w 642086"/>
                <a:gd name="connsiteY216" fmla="*/ 233420 h 385524"/>
                <a:gd name="connsiteX217" fmla="*/ 112928 w 642086"/>
                <a:gd name="connsiteY217" fmla="*/ 231938 h 385524"/>
                <a:gd name="connsiteX218" fmla="*/ 115197 w 642086"/>
                <a:gd name="connsiteY218" fmla="*/ 231847 h 385524"/>
                <a:gd name="connsiteX219" fmla="*/ 119675 w 642086"/>
                <a:gd name="connsiteY219" fmla="*/ 235084 h 385524"/>
                <a:gd name="connsiteX220" fmla="*/ 121732 w 642086"/>
                <a:gd name="connsiteY220" fmla="*/ 233632 h 385524"/>
                <a:gd name="connsiteX221" fmla="*/ 123879 w 642086"/>
                <a:gd name="connsiteY221" fmla="*/ 231181 h 385524"/>
                <a:gd name="connsiteX222" fmla="*/ 126179 w 642086"/>
                <a:gd name="connsiteY222" fmla="*/ 229518 h 385524"/>
                <a:gd name="connsiteX223" fmla="*/ 125937 w 642086"/>
                <a:gd name="connsiteY223" fmla="*/ 228640 h 385524"/>
                <a:gd name="connsiteX224" fmla="*/ 125755 w 642086"/>
                <a:gd name="connsiteY224" fmla="*/ 227581 h 385524"/>
                <a:gd name="connsiteX225" fmla="*/ 125634 w 642086"/>
                <a:gd name="connsiteY225" fmla="*/ 226432 h 385524"/>
                <a:gd name="connsiteX226" fmla="*/ 125574 w 642086"/>
                <a:gd name="connsiteY226" fmla="*/ 225343 h 385524"/>
                <a:gd name="connsiteX227" fmla="*/ 125937 w 642086"/>
                <a:gd name="connsiteY227" fmla="*/ 223377 h 385524"/>
                <a:gd name="connsiteX228" fmla="*/ 126784 w 642086"/>
                <a:gd name="connsiteY228" fmla="*/ 223044 h 385524"/>
                <a:gd name="connsiteX229" fmla="*/ 127721 w 642086"/>
                <a:gd name="connsiteY229" fmla="*/ 223377 h 385524"/>
                <a:gd name="connsiteX230" fmla="*/ 128417 w 642086"/>
                <a:gd name="connsiteY230" fmla="*/ 223467 h 385524"/>
                <a:gd name="connsiteX231" fmla="*/ 129900 w 642086"/>
                <a:gd name="connsiteY231" fmla="*/ 222287 h 385524"/>
                <a:gd name="connsiteX232" fmla="*/ 130596 w 642086"/>
                <a:gd name="connsiteY232" fmla="*/ 221622 h 385524"/>
                <a:gd name="connsiteX233" fmla="*/ 131352 w 642086"/>
                <a:gd name="connsiteY233" fmla="*/ 220442 h 385524"/>
                <a:gd name="connsiteX234" fmla="*/ 131715 w 642086"/>
                <a:gd name="connsiteY234" fmla="*/ 219444 h 385524"/>
                <a:gd name="connsiteX235" fmla="*/ 132259 w 642086"/>
                <a:gd name="connsiteY235" fmla="*/ 216873 h 385524"/>
                <a:gd name="connsiteX236" fmla="*/ 132441 w 642086"/>
                <a:gd name="connsiteY236" fmla="*/ 216207 h 385524"/>
                <a:gd name="connsiteX237" fmla="*/ 133046 w 642086"/>
                <a:gd name="connsiteY237" fmla="*/ 215239 h 385524"/>
                <a:gd name="connsiteX238" fmla="*/ 133227 w 642086"/>
                <a:gd name="connsiteY238" fmla="*/ 214876 h 385524"/>
                <a:gd name="connsiteX239" fmla="*/ 134770 w 642086"/>
                <a:gd name="connsiteY239" fmla="*/ 214876 h 385524"/>
                <a:gd name="connsiteX240" fmla="*/ 135768 w 642086"/>
                <a:gd name="connsiteY240" fmla="*/ 215360 h 385524"/>
                <a:gd name="connsiteX241" fmla="*/ 136404 w 642086"/>
                <a:gd name="connsiteY241" fmla="*/ 216510 h 385524"/>
                <a:gd name="connsiteX242" fmla="*/ 136827 w 642086"/>
                <a:gd name="connsiteY242" fmla="*/ 217750 h 385524"/>
                <a:gd name="connsiteX243" fmla="*/ 137220 w 642086"/>
                <a:gd name="connsiteY243" fmla="*/ 218597 h 385524"/>
                <a:gd name="connsiteX244" fmla="*/ 139187 w 642086"/>
                <a:gd name="connsiteY244" fmla="*/ 220442 h 385524"/>
                <a:gd name="connsiteX245" fmla="*/ 141123 w 642086"/>
                <a:gd name="connsiteY245" fmla="*/ 221501 h 385524"/>
                <a:gd name="connsiteX246" fmla="*/ 145449 w 642086"/>
                <a:gd name="connsiteY246" fmla="*/ 222106 h 385524"/>
                <a:gd name="connsiteX247" fmla="*/ 144783 w 642086"/>
                <a:gd name="connsiteY247" fmla="*/ 220442 h 385524"/>
                <a:gd name="connsiteX248" fmla="*/ 143815 w 642086"/>
                <a:gd name="connsiteY248" fmla="*/ 219444 h 385524"/>
                <a:gd name="connsiteX249" fmla="*/ 142666 w 642086"/>
                <a:gd name="connsiteY249" fmla="*/ 218930 h 385524"/>
                <a:gd name="connsiteX250" fmla="*/ 141395 w 642086"/>
                <a:gd name="connsiteY250" fmla="*/ 218597 h 385524"/>
                <a:gd name="connsiteX251" fmla="*/ 143785 w 642086"/>
                <a:gd name="connsiteY251" fmla="*/ 216903 h 385524"/>
                <a:gd name="connsiteX252" fmla="*/ 150168 w 642086"/>
                <a:gd name="connsiteY252" fmla="*/ 221078 h 385524"/>
                <a:gd name="connsiteX253" fmla="*/ 151015 w 642086"/>
                <a:gd name="connsiteY253" fmla="*/ 218597 h 385524"/>
                <a:gd name="connsiteX254" fmla="*/ 149503 w 642086"/>
                <a:gd name="connsiteY254" fmla="*/ 215753 h 385524"/>
                <a:gd name="connsiteX255" fmla="*/ 146508 w 642086"/>
                <a:gd name="connsiteY255" fmla="*/ 212970 h 385524"/>
                <a:gd name="connsiteX256" fmla="*/ 155886 w 642086"/>
                <a:gd name="connsiteY256" fmla="*/ 196907 h 385524"/>
                <a:gd name="connsiteX257" fmla="*/ 155129 w 642086"/>
                <a:gd name="connsiteY257" fmla="*/ 195757 h 385524"/>
                <a:gd name="connsiteX258" fmla="*/ 153254 w 642086"/>
                <a:gd name="connsiteY258" fmla="*/ 193639 h 385524"/>
                <a:gd name="connsiteX259" fmla="*/ 152437 w 642086"/>
                <a:gd name="connsiteY259" fmla="*/ 192066 h 385524"/>
                <a:gd name="connsiteX260" fmla="*/ 152286 w 642086"/>
                <a:gd name="connsiteY260" fmla="*/ 190554 h 385524"/>
                <a:gd name="connsiteX261" fmla="*/ 152498 w 642086"/>
                <a:gd name="connsiteY261" fmla="*/ 188860 h 385524"/>
                <a:gd name="connsiteX262" fmla="*/ 152588 w 642086"/>
                <a:gd name="connsiteY262" fmla="*/ 187105 h 385524"/>
                <a:gd name="connsiteX263" fmla="*/ 152044 w 642086"/>
                <a:gd name="connsiteY263" fmla="*/ 185411 h 385524"/>
                <a:gd name="connsiteX264" fmla="*/ 150683 w 642086"/>
                <a:gd name="connsiteY264" fmla="*/ 183929 h 385524"/>
                <a:gd name="connsiteX265" fmla="*/ 146478 w 642086"/>
                <a:gd name="connsiteY265" fmla="*/ 181539 h 385524"/>
                <a:gd name="connsiteX266" fmla="*/ 137372 w 642086"/>
                <a:gd name="connsiteY266" fmla="*/ 179028 h 385524"/>
                <a:gd name="connsiteX267" fmla="*/ 135164 w 642086"/>
                <a:gd name="connsiteY267" fmla="*/ 178937 h 385524"/>
                <a:gd name="connsiteX268" fmla="*/ 133046 w 642086"/>
                <a:gd name="connsiteY268" fmla="*/ 179845 h 385524"/>
                <a:gd name="connsiteX269" fmla="*/ 131019 w 642086"/>
                <a:gd name="connsiteY269" fmla="*/ 182356 h 385524"/>
                <a:gd name="connsiteX270" fmla="*/ 130596 w 642086"/>
                <a:gd name="connsiteY270" fmla="*/ 183657 h 385524"/>
                <a:gd name="connsiteX271" fmla="*/ 129900 w 642086"/>
                <a:gd name="connsiteY271" fmla="*/ 187347 h 385524"/>
                <a:gd name="connsiteX272" fmla="*/ 129658 w 642086"/>
                <a:gd name="connsiteY272" fmla="*/ 188285 h 385524"/>
                <a:gd name="connsiteX273" fmla="*/ 128175 w 642086"/>
                <a:gd name="connsiteY273" fmla="*/ 189011 h 385524"/>
                <a:gd name="connsiteX274" fmla="*/ 125090 w 642086"/>
                <a:gd name="connsiteY274" fmla="*/ 188013 h 385524"/>
                <a:gd name="connsiteX275" fmla="*/ 123819 w 642086"/>
                <a:gd name="connsiteY275" fmla="*/ 188951 h 385524"/>
                <a:gd name="connsiteX276" fmla="*/ 123456 w 642086"/>
                <a:gd name="connsiteY276" fmla="*/ 192702 h 385524"/>
                <a:gd name="connsiteX277" fmla="*/ 125876 w 642086"/>
                <a:gd name="connsiteY277" fmla="*/ 195001 h 385524"/>
                <a:gd name="connsiteX278" fmla="*/ 131049 w 642086"/>
                <a:gd name="connsiteY278" fmla="*/ 196876 h 385524"/>
                <a:gd name="connsiteX279" fmla="*/ 140034 w 642086"/>
                <a:gd name="connsiteY279" fmla="*/ 204742 h 385524"/>
                <a:gd name="connsiteX280" fmla="*/ 141153 w 642086"/>
                <a:gd name="connsiteY280" fmla="*/ 204893 h 385524"/>
                <a:gd name="connsiteX281" fmla="*/ 144178 w 642086"/>
                <a:gd name="connsiteY281" fmla="*/ 203259 h 385524"/>
                <a:gd name="connsiteX282" fmla="*/ 145570 w 642086"/>
                <a:gd name="connsiteY282" fmla="*/ 202806 h 385524"/>
                <a:gd name="connsiteX283" fmla="*/ 149109 w 642086"/>
                <a:gd name="connsiteY283" fmla="*/ 203108 h 385524"/>
                <a:gd name="connsiteX284" fmla="*/ 150834 w 642086"/>
                <a:gd name="connsiteY284" fmla="*/ 203683 h 385524"/>
                <a:gd name="connsiteX285" fmla="*/ 152437 w 642086"/>
                <a:gd name="connsiteY285" fmla="*/ 204742 h 385524"/>
                <a:gd name="connsiteX286" fmla="*/ 153950 w 642086"/>
                <a:gd name="connsiteY286" fmla="*/ 205286 h 385524"/>
                <a:gd name="connsiteX287" fmla="*/ 154917 w 642086"/>
                <a:gd name="connsiteY287" fmla="*/ 204167 h 385524"/>
                <a:gd name="connsiteX288" fmla="*/ 155734 w 642086"/>
                <a:gd name="connsiteY288" fmla="*/ 202624 h 385524"/>
                <a:gd name="connsiteX289" fmla="*/ 157792 w 642086"/>
                <a:gd name="connsiteY289" fmla="*/ 201233 h 385524"/>
                <a:gd name="connsiteX290" fmla="*/ 157459 w 642086"/>
                <a:gd name="connsiteY290" fmla="*/ 199780 h 385524"/>
                <a:gd name="connsiteX291" fmla="*/ 155886 w 642086"/>
                <a:gd name="connsiteY291" fmla="*/ 196907 h 385524"/>
                <a:gd name="connsiteX292" fmla="*/ 132411 w 642086"/>
                <a:gd name="connsiteY292" fmla="*/ 126632 h 385524"/>
                <a:gd name="connsiteX293" fmla="*/ 133923 w 642086"/>
                <a:gd name="connsiteY293" fmla="*/ 127540 h 385524"/>
                <a:gd name="connsiteX294" fmla="*/ 135012 w 642086"/>
                <a:gd name="connsiteY294" fmla="*/ 127631 h 385524"/>
                <a:gd name="connsiteX295" fmla="*/ 138703 w 642086"/>
                <a:gd name="connsiteY295" fmla="*/ 126814 h 385524"/>
                <a:gd name="connsiteX296" fmla="*/ 139157 w 642086"/>
                <a:gd name="connsiteY296" fmla="*/ 126027 h 385524"/>
                <a:gd name="connsiteX297" fmla="*/ 139398 w 642086"/>
                <a:gd name="connsiteY297" fmla="*/ 125211 h 385524"/>
                <a:gd name="connsiteX298" fmla="*/ 140004 w 642086"/>
                <a:gd name="connsiteY298" fmla="*/ 124848 h 385524"/>
                <a:gd name="connsiteX299" fmla="*/ 142121 w 642086"/>
                <a:gd name="connsiteY299" fmla="*/ 125301 h 385524"/>
                <a:gd name="connsiteX300" fmla="*/ 145540 w 642086"/>
                <a:gd name="connsiteY300" fmla="*/ 127207 h 385524"/>
                <a:gd name="connsiteX301" fmla="*/ 147597 w 642086"/>
                <a:gd name="connsiteY301" fmla="*/ 127207 h 385524"/>
                <a:gd name="connsiteX302" fmla="*/ 150652 w 642086"/>
                <a:gd name="connsiteY302" fmla="*/ 125211 h 385524"/>
                <a:gd name="connsiteX303" fmla="*/ 151741 w 642086"/>
                <a:gd name="connsiteY303" fmla="*/ 124848 h 385524"/>
                <a:gd name="connsiteX304" fmla="*/ 152770 w 642086"/>
                <a:gd name="connsiteY304" fmla="*/ 125211 h 385524"/>
                <a:gd name="connsiteX305" fmla="*/ 153980 w 642086"/>
                <a:gd name="connsiteY305" fmla="*/ 125997 h 385524"/>
                <a:gd name="connsiteX306" fmla="*/ 155190 w 642086"/>
                <a:gd name="connsiteY306" fmla="*/ 126360 h 385524"/>
                <a:gd name="connsiteX307" fmla="*/ 156249 w 642086"/>
                <a:gd name="connsiteY307" fmla="*/ 125453 h 385524"/>
                <a:gd name="connsiteX308" fmla="*/ 157156 w 642086"/>
                <a:gd name="connsiteY308" fmla="*/ 122639 h 385524"/>
                <a:gd name="connsiteX309" fmla="*/ 156733 w 642086"/>
                <a:gd name="connsiteY309" fmla="*/ 120612 h 385524"/>
                <a:gd name="connsiteX310" fmla="*/ 154161 w 642086"/>
                <a:gd name="connsiteY310" fmla="*/ 116770 h 385524"/>
                <a:gd name="connsiteX311" fmla="*/ 152165 w 642086"/>
                <a:gd name="connsiteY311" fmla="*/ 114895 h 385524"/>
                <a:gd name="connsiteX312" fmla="*/ 149926 w 642086"/>
                <a:gd name="connsiteY312" fmla="*/ 114955 h 385524"/>
                <a:gd name="connsiteX313" fmla="*/ 145479 w 642086"/>
                <a:gd name="connsiteY313" fmla="*/ 116166 h 385524"/>
                <a:gd name="connsiteX314" fmla="*/ 138431 w 642086"/>
                <a:gd name="connsiteY314" fmla="*/ 114048 h 385524"/>
                <a:gd name="connsiteX315" fmla="*/ 134619 w 642086"/>
                <a:gd name="connsiteY315" fmla="*/ 113715 h 385524"/>
                <a:gd name="connsiteX316" fmla="*/ 132411 w 642086"/>
                <a:gd name="connsiteY316" fmla="*/ 113987 h 385524"/>
                <a:gd name="connsiteX317" fmla="*/ 130716 w 642086"/>
                <a:gd name="connsiteY317" fmla="*/ 114653 h 385524"/>
                <a:gd name="connsiteX318" fmla="*/ 129446 w 642086"/>
                <a:gd name="connsiteY318" fmla="*/ 115954 h 385524"/>
                <a:gd name="connsiteX319" fmla="*/ 128962 w 642086"/>
                <a:gd name="connsiteY319" fmla="*/ 118071 h 385524"/>
                <a:gd name="connsiteX320" fmla="*/ 129507 w 642086"/>
                <a:gd name="connsiteY320" fmla="*/ 119100 h 385524"/>
                <a:gd name="connsiteX321" fmla="*/ 132411 w 642086"/>
                <a:gd name="connsiteY321" fmla="*/ 126663 h 385524"/>
                <a:gd name="connsiteX322" fmla="*/ 36483 w 642086"/>
                <a:gd name="connsiteY322" fmla="*/ 142031 h 385524"/>
                <a:gd name="connsiteX323" fmla="*/ 39690 w 642086"/>
                <a:gd name="connsiteY323" fmla="*/ 142303 h 385524"/>
                <a:gd name="connsiteX324" fmla="*/ 46224 w 642086"/>
                <a:gd name="connsiteY324" fmla="*/ 140730 h 385524"/>
                <a:gd name="connsiteX325" fmla="*/ 49582 w 642086"/>
                <a:gd name="connsiteY325" fmla="*/ 140457 h 385524"/>
                <a:gd name="connsiteX326" fmla="*/ 52577 w 642086"/>
                <a:gd name="connsiteY326" fmla="*/ 141274 h 385524"/>
                <a:gd name="connsiteX327" fmla="*/ 55330 w 642086"/>
                <a:gd name="connsiteY327" fmla="*/ 143029 h 385524"/>
                <a:gd name="connsiteX328" fmla="*/ 60170 w 642086"/>
                <a:gd name="connsiteY328" fmla="*/ 148383 h 385524"/>
                <a:gd name="connsiteX329" fmla="*/ 61138 w 642086"/>
                <a:gd name="connsiteY329" fmla="*/ 150350 h 385524"/>
                <a:gd name="connsiteX330" fmla="*/ 61441 w 642086"/>
                <a:gd name="connsiteY330" fmla="*/ 152891 h 385524"/>
                <a:gd name="connsiteX331" fmla="*/ 61441 w 642086"/>
                <a:gd name="connsiteY331" fmla="*/ 157217 h 385524"/>
                <a:gd name="connsiteX332" fmla="*/ 62137 w 642086"/>
                <a:gd name="connsiteY332" fmla="*/ 160121 h 385524"/>
                <a:gd name="connsiteX333" fmla="*/ 63710 w 642086"/>
                <a:gd name="connsiteY333" fmla="*/ 163721 h 385524"/>
                <a:gd name="connsiteX334" fmla="*/ 65555 w 642086"/>
                <a:gd name="connsiteY334" fmla="*/ 166988 h 385524"/>
                <a:gd name="connsiteX335" fmla="*/ 66946 w 642086"/>
                <a:gd name="connsiteY335" fmla="*/ 168894 h 385524"/>
                <a:gd name="connsiteX336" fmla="*/ 65313 w 642086"/>
                <a:gd name="connsiteY336" fmla="*/ 171163 h 385524"/>
                <a:gd name="connsiteX337" fmla="*/ 64436 w 642086"/>
                <a:gd name="connsiteY337" fmla="*/ 172040 h 385524"/>
                <a:gd name="connsiteX338" fmla="*/ 63528 w 642086"/>
                <a:gd name="connsiteY338" fmla="*/ 172645 h 385524"/>
                <a:gd name="connsiteX339" fmla="*/ 67431 w 642086"/>
                <a:gd name="connsiteY339" fmla="*/ 176517 h 385524"/>
                <a:gd name="connsiteX340" fmla="*/ 72876 w 642086"/>
                <a:gd name="connsiteY340" fmla="*/ 177909 h 385524"/>
                <a:gd name="connsiteX341" fmla="*/ 78472 w 642086"/>
                <a:gd name="connsiteY341" fmla="*/ 177304 h 385524"/>
                <a:gd name="connsiteX342" fmla="*/ 82859 w 642086"/>
                <a:gd name="connsiteY342" fmla="*/ 175126 h 385524"/>
                <a:gd name="connsiteX343" fmla="*/ 85491 w 642086"/>
                <a:gd name="connsiteY343" fmla="*/ 171344 h 385524"/>
                <a:gd name="connsiteX344" fmla="*/ 88939 w 642086"/>
                <a:gd name="connsiteY344" fmla="*/ 161028 h 385524"/>
                <a:gd name="connsiteX345" fmla="*/ 91087 w 642086"/>
                <a:gd name="connsiteY345" fmla="*/ 156672 h 385524"/>
                <a:gd name="connsiteX346" fmla="*/ 92751 w 642086"/>
                <a:gd name="connsiteY346" fmla="*/ 155129 h 385524"/>
                <a:gd name="connsiteX347" fmla="*/ 95201 w 642086"/>
                <a:gd name="connsiteY347" fmla="*/ 153465 h 385524"/>
                <a:gd name="connsiteX348" fmla="*/ 97682 w 642086"/>
                <a:gd name="connsiteY348" fmla="*/ 152376 h 385524"/>
                <a:gd name="connsiteX349" fmla="*/ 99406 w 642086"/>
                <a:gd name="connsiteY349" fmla="*/ 152497 h 385524"/>
                <a:gd name="connsiteX350" fmla="*/ 100162 w 642086"/>
                <a:gd name="connsiteY350" fmla="*/ 154373 h 385524"/>
                <a:gd name="connsiteX351" fmla="*/ 98589 w 642086"/>
                <a:gd name="connsiteY351" fmla="*/ 155855 h 385524"/>
                <a:gd name="connsiteX352" fmla="*/ 96381 w 642086"/>
                <a:gd name="connsiteY352" fmla="*/ 157307 h 385524"/>
                <a:gd name="connsiteX353" fmla="*/ 95262 w 642086"/>
                <a:gd name="connsiteY353" fmla="*/ 159183 h 385524"/>
                <a:gd name="connsiteX354" fmla="*/ 96442 w 642086"/>
                <a:gd name="connsiteY354" fmla="*/ 161180 h 385524"/>
                <a:gd name="connsiteX355" fmla="*/ 99104 w 642086"/>
                <a:gd name="connsiteY355" fmla="*/ 162087 h 385524"/>
                <a:gd name="connsiteX356" fmla="*/ 102008 w 642086"/>
                <a:gd name="connsiteY356" fmla="*/ 161996 h 385524"/>
                <a:gd name="connsiteX357" fmla="*/ 103853 w 642086"/>
                <a:gd name="connsiteY357" fmla="*/ 160968 h 385524"/>
                <a:gd name="connsiteX358" fmla="*/ 104912 w 642086"/>
                <a:gd name="connsiteY358" fmla="*/ 159939 h 385524"/>
                <a:gd name="connsiteX359" fmla="*/ 105729 w 642086"/>
                <a:gd name="connsiteY359" fmla="*/ 159939 h 385524"/>
                <a:gd name="connsiteX360" fmla="*/ 106182 w 642086"/>
                <a:gd name="connsiteY360" fmla="*/ 159486 h 385524"/>
                <a:gd name="connsiteX361" fmla="*/ 106334 w 642086"/>
                <a:gd name="connsiteY361" fmla="*/ 157247 h 385524"/>
                <a:gd name="connsiteX362" fmla="*/ 106213 w 642086"/>
                <a:gd name="connsiteY362" fmla="*/ 155674 h 385524"/>
                <a:gd name="connsiteX363" fmla="*/ 105819 w 642086"/>
                <a:gd name="connsiteY363" fmla="*/ 154706 h 385524"/>
                <a:gd name="connsiteX364" fmla="*/ 105154 w 642086"/>
                <a:gd name="connsiteY364" fmla="*/ 154252 h 385524"/>
                <a:gd name="connsiteX365" fmla="*/ 104216 w 642086"/>
                <a:gd name="connsiteY365" fmla="*/ 154252 h 385524"/>
                <a:gd name="connsiteX366" fmla="*/ 105456 w 642086"/>
                <a:gd name="connsiteY366" fmla="*/ 151953 h 385524"/>
                <a:gd name="connsiteX367" fmla="*/ 107060 w 642086"/>
                <a:gd name="connsiteY367" fmla="*/ 151439 h 385524"/>
                <a:gd name="connsiteX368" fmla="*/ 108784 w 642086"/>
                <a:gd name="connsiteY368" fmla="*/ 151439 h 385524"/>
                <a:gd name="connsiteX369" fmla="*/ 110448 w 642086"/>
                <a:gd name="connsiteY369" fmla="*/ 150622 h 385524"/>
                <a:gd name="connsiteX370" fmla="*/ 111749 w 642086"/>
                <a:gd name="connsiteY370" fmla="*/ 151650 h 385524"/>
                <a:gd name="connsiteX371" fmla="*/ 112233 w 642086"/>
                <a:gd name="connsiteY371" fmla="*/ 151045 h 385524"/>
                <a:gd name="connsiteX372" fmla="*/ 112475 w 642086"/>
                <a:gd name="connsiteY372" fmla="*/ 149896 h 385524"/>
                <a:gd name="connsiteX373" fmla="*/ 113201 w 642086"/>
                <a:gd name="connsiteY373" fmla="*/ 149291 h 385524"/>
                <a:gd name="connsiteX374" fmla="*/ 114260 w 642086"/>
                <a:gd name="connsiteY374" fmla="*/ 149442 h 385524"/>
                <a:gd name="connsiteX375" fmla="*/ 115318 w 642086"/>
                <a:gd name="connsiteY375" fmla="*/ 149866 h 385524"/>
                <a:gd name="connsiteX376" fmla="*/ 119493 w 642086"/>
                <a:gd name="connsiteY376" fmla="*/ 152558 h 385524"/>
                <a:gd name="connsiteX377" fmla="*/ 120945 w 642086"/>
                <a:gd name="connsiteY377" fmla="*/ 152346 h 385524"/>
                <a:gd name="connsiteX378" fmla="*/ 121641 w 642086"/>
                <a:gd name="connsiteY378" fmla="*/ 150471 h 385524"/>
                <a:gd name="connsiteX379" fmla="*/ 121490 w 642086"/>
                <a:gd name="connsiteY379" fmla="*/ 146840 h 385524"/>
                <a:gd name="connsiteX380" fmla="*/ 121127 w 642086"/>
                <a:gd name="connsiteY380" fmla="*/ 146659 h 385524"/>
                <a:gd name="connsiteX381" fmla="*/ 120431 w 642086"/>
                <a:gd name="connsiteY381" fmla="*/ 146659 h 385524"/>
                <a:gd name="connsiteX382" fmla="*/ 119735 w 642086"/>
                <a:gd name="connsiteY382" fmla="*/ 146296 h 385524"/>
                <a:gd name="connsiteX383" fmla="*/ 119402 w 642086"/>
                <a:gd name="connsiteY383" fmla="*/ 145116 h 385524"/>
                <a:gd name="connsiteX384" fmla="*/ 119463 w 642086"/>
                <a:gd name="connsiteY384" fmla="*/ 143089 h 385524"/>
                <a:gd name="connsiteX385" fmla="*/ 119372 w 642086"/>
                <a:gd name="connsiteY385" fmla="*/ 142151 h 385524"/>
                <a:gd name="connsiteX386" fmla="*/ 119070 w 642086"/>
                <a:gd name="connsiteY386" fmla="*/ 141335 h 385524"/>
                <a:gd name="connsiteX387" fmla="*/ 118344 w 642086"/>
                <a:gd name="connsiteY387" fmla="*/ 140336 h 385524"/>
                <a:gd name="connsiteX388" fmla="*/ 116922 w 642086"/>
                <a:gd name="connsiteY388" fmla="*/ 138824 h 385524"/>
                <a:gd name="connsiteX389" fmla="*/ 116256 w 642086"/>
                <a:gd name="connsiteY389" fmla="*/ 137735 h 385524"/>
                <a:gd name="connsiteX390" fmla="*/ 115440 w 642086"/>
                <a:gd name="connsiteY390" fmla="*/ 136706 h 385524"/>
                <a:gd name="connsiteX391" fmla="*/ 113322 w 642086"/>
                <a:gd name="connsiteY391" fmla="*/ 135073 h 385524"/>
                <a:gd name="connsiteX392" fmla="*/ 112445 w 642086"/>
                <a:gd name="connsiteY392" fmla="*/ 133379 h 385524"/>
                <a:gd name="connsiteX393" fmla="*/ 112263 w 642086"/>
                <a:gd name="connsiteY393" fmla="*/ 131775 h 385524"/>
                <a:gd name="connsiteX394" fmla="*/ 112777 w 642086"/>
                <a:gd name="connsiteY394" fmla="*/ 129022 h 385524"/>
                <a:gd name="connsiteX395" fmla="*/ 112475 w 642086"/>
                <a:gd name="connsiteY395" fmla="*/ 127177 h 385524"/>
                <a:gd name="connsiteX396" fmla="*/ 110932 w 642086"/>
                <a:gd name="connsiteY396" fmla="*/ 124817 h 385524"/>
                <a:gd name="connsiteX397" fmla="*/ 101161 w 642086"/>
                <a:gd name="connsiteY397" fmla="*/ 120401 h 385524"/>
                <a:gd name="connsiteX398" fmla="*/ 91057 w 642086"/>
                <a:gd name="connsiteY398" fmla="*/ 121036 h 385524"/>
                <a:gd name="connsiteX399" fmla="*/ 89423 w 642086"/>
                <a:gd name="connsiteY399" fmla="*/ 119856 h 385524"/>
                <a:gd name="connsiteX400" fmla="*/ 87487 w 642086"/>
                <a:gd name="connsiteY400" fmla="*/ 117466 h 385524"/>
                <a:gd name="connsiteX401" fmla="*/ 86519 w 642086"/>
                <a:gd name="connsiteY401" fmla="*/ 114562 h 385524"/>
                <a:gd name="connsiteX402" fmla="*/ 88788 w 642086"/>
                <a:gd name="connsiteY402" fmla="*/ 109450 h 385524"/>
                <a:gd name="connsiteX403" fmla="*/ 87003 w 642086"/>
                <a:gd name="connsiteY403" fmla="*/ 107725 h 385524"/>
                <a:gd name="connsiteX404" fmla="*/ 84008 w 642086"/>
                <a:gd name="connsiteY404" fmla="*/ 106697 h 385524"/>
                <a:gd name="connsiteX405" fmla="*/ 81437 w 642086"/>
                <a:gd name="connsiteY405" fmla="*/ 106334 h 385524"/>
                <a:gd name="connsiteX406" fmla="*/ 81376 w 642086"/>
                <a:gd name="connsiteY406" fmla="*/ 106334 h 385524"/>
                <a:gd name="connsiteX407" fmla="*/ 77081 w 642086"/>
                <a:gd name="connsiteY407" fmla="*/ 105880 h 385524"/>
                <a:gd name="connsiteX408" fmla="*/ 76022 w 642086"/>
                <a:gd name="connsiteY408" fmla="*/ 106334 h 385524"/>
                <a:gd name="connsiteX409" fmla="*/ 75114 w 642086"/>
                <a:gd name="connsiteY409" fmla="*/ 107877 h 385524"/>
                <a:gd name="connsiteX410" fmla="*/ 74933 w 642086"/>
                <a:gd name="connsiteY410" fmla="*/ 109359 h 385524"/>
                <a:gd name="connsiteX411" fmla="*/ 74933 w 642086"/>
                <a:gd name="connsiteY411" fmla="*/ 110872 h 385524"/>
                <a:gd name="connsiteX412" fmla="*/ 74570 w 642086"/>
                <a:gd name="connsiteY412" fmla="*/ 112475 h 385524"/>
                <a:gd name="connsiteX413" fmla="*/ 73208 w 642086"/>
                <a:gd name="connsiteY413" fmla="*/ 115076 h 385524"/>
                <a:gd name="connsiteX414" fmla="*/ 71726 w 642086"/>
                <a:gd name="connsiteY414" fmla="*/ 116559 h 385524"/>
                <a:gd name="connsiteX415" fmla="*/ 69941 w 642086"/>
                <a:gd name="connsiteY415" fmla="*/ 117224 h 385524"/>
                <a:gd name="connsiteX416" fmla="*/ 67672 w 642086"/>
                <a:gd name="connsiteY416" fmla="*/ 117376 h 385524"/>
                <a:gd name="connsiteX417" fmla="*/ 65979 w 642086"/>
                <a:gd name="connsiteY417" fmla="*/ 119009 h 385524"/>
                <a:gd name="connsiteX418" fmla="*/ 66069 w 642086"/>
                <a:gd name="connsiteY418" fmla="*/ 125332 h 385524"/>
                <a:gd name="connsiteX419" fmla="*/ 64889 w 642086"/>
                <a:gd name="connsiteY419" fmla="*/ 125453 h 385524"/>
                <a:gd name="connsiteX420" fmla="*/ 62651 w 642086"/>
                <a:gd name="connsiteY420" fmla="*/ 124243 h 385524"/>
                <a:gd name="connsiteX421" fmla="*/ 61411 w 642086"/>
                <a:gd name="connsiteY421" fmla="*/ 124697 h 385524"/>
                <a:gd name="connsiteX422" fmla="*/ 61531 w 642086"/>
                <a:gd name="connsiteY422" fmla="*/ 125937 h 385524"/>
                <a:gd name="connsiteX423" fmla="*/ 63498 w 642086"/>
                <a:gd name="connsiteY423" fmla="*/ 127177 h 385524"/>
                <a:gd name="connsiteX424" fmla="*/ 33821 w 642086"/>
                <a:gd name="connsiteY424" fmla="*/ 130837 h 385524"/>
                <a:gd name="connsiteX425" fmla="*/ 26379 w 642086"/>
                <a:gd name="connsiteY425" fmla="*/ 129839 h 385524"/>
                <a:gd name="connsiteX426" fmla="*/ 22507 w 642086"/>
                <a:gd name="connsiteY426" fmla="*/ 130444 h 385524"/>
                <a:gd name="connsiteX427" fmla="*/ 21418 w 642086"/>
                <a:gd name="connsiteY427" fmla="*/ 133409 h 385524"/>
                <a:gd name="connsiteX428" fmla="*/ 23203 w 642086"/>
                <a:gd name="connsiteY428" fmla="*/ 135254 h 385524"/>
                <a:gd name="connsiteX429" fmla="*/ 36544 w 642086"/>
                <a:gd name="connsiteY429" fmla="*/ 142031 h 385524"/>
                <a:gd name="connsiteX430" fmla="*/ 270085 w 642086"/>
                <a:gd name="connsiteY430" fmla="*/ 23475 h 385524"/>
                <a:gd name="connsiteX431" fmla="*/ 272747 w 642086"/>
                <a:gd name="connsiteY431" fmla="*/ 22840 h 385524"/>
                <a:gd name="connsiteX432" fmla="*/ 273503 w 642086"/>
                <a:gd name="connsiteY432" fmla="*/ 21025 h 385524"/>
                <a:gd name="connsiteX433" fmla="*/ 271567 w 642086"/>
                <a:gd name="connsiteY433" fmla="*/ 16245 h 385524"/>
                <a:gd name="connsiteX434" fmla="*/ 270055 w 642086"/>
                <a:gd name="connsiteY434" fmla="*/ 13674 h 385524"/>
                <a:gd name="connsiteX435" fmla="*/ 268512 w 642086"/>
                <a:gd name="connsiteY435" fmla="*/ 14006 h 385524"/>
                <a:gd name="connsiteX436" fmla="*/ 267181 w 642086"/>
                <a:gd name="connsiteY436" fmla="*/ 17243 h 385524"/>
                <a:gd name="connsiteX437" fmla="*/ 267362 w 642086"/>
                <a:gd name="connsiteY437" fmla="*/ 20692 h 385524"/>
                <a:gd name="connsiteX438" fmla="*/ 270115 w 642086"/>
                <a:gd name="connsiteY438" fmla="*/ 23505 h 385524"/>
                <a:gd name="connsiteX439" fmla="*/ 641089 w 642086"/>
                <a:gd name="connsiteY439" fmla="*/ 57205 h 385524"/>
                <a:gd name="connsiteX440" fmla="*/ 638547 w 642086"/>
                <a:gd name="connsiteY440" fmla="*/ 55118 h 385524"/>
                <a:gd name="connsiteX441" fmla="*/ 637398 w 642086"/>
                <a:gd name="connsiteY441" fmla="*/ 53787 h 385524"/>
                <a:gd name="connsiteX442" fmla="*/ 636490 w 642086"/>
                <a:gd name="connsiteY442" fmla="*/ 52123 h 385524"/>
                <a:gd name="connsiteX443" fmla="*/ 634221 w 642086"/>
                <a:gd name="connsiteY443" fmla="*/ 46678 h 385524"/>
                <a:gd name="connsiteX444" fmla="*/ 632104 w 642086"/>
                <a:gd name="connsiteY444" fmla="*/ 44530 h 385524"/>
                <a:gd name="connsiteX445" fmla="*/ 627626 w 642086"/>
                <a:gd name="connsiteY445" fmla="*/ 42261 h 385524"/>
                <a:gd name="connsiteX446" fmla="*/ 625751 w 642086"/>
                <a:gd name="connsiteY446" fmla="*/ 38813 h 385524"/>
                <a:gd name="connsiteX447" fmla="*/ 622000 w 642086"/>
                <a:gd name="connsiteY447" fmla="*/ 45075 h 385524"/>
                <a:gd name="connsiteX448" fmla="*/ 618944 w 642086"/>
                <a:gd name="connsiteY448" fmla="*/ 48433 h 385524"/>
                <a:gd name="connsiteX449" fmla="*/ 615012 w 642086"/>
                <a:gd name="connsiteY449" fmla="*/ 50853 h 385524"/>
                <a:gd name="connsiteX450" fmla="*/ 610807 w 642086"/>
                <a:gd name="connsiteY450" fmla="*/ 52033 h 385524"/>
                <a:gd name="connsiteX451" fmla="*/ 595167 w 642086"/>
                <a:gd name="connsiteY451" fmla="*/ 48221 h 385524"/>
                <a:gd name="connsiteX452" fmla="*/ 579678 w 642086"/>
                <a:gd name="connsiteY452" fmla="*/ 47071 h 385524"/>
                <a:gd name="connsiteX453" fmla="*/ 564250 w 642086"/>
                <a:gd name="connsiteY453" fmla="*/ 43199 h 385524"/>
                <a:gd name="connsiteX454" fmla="*/ 550758 w 642086"/>
                <a:gd name="connsiteY454" fmla="*/ 43865 h 385524"/>
                <a:gd name="connsiteX455" fmla="*/ 534755 w 642086"/>
                <a:gd name="connsiteY455" fmla="*/ 44500 h 385524"/>
                <a:gd name="connsiteX456" fmla="*/ 516815 w 642086"/>
                <a:gd name="connsiteY456" fmla="*/ 42715 h 385524"/>
                <a:gd name="connsiteX457" fmla="*/ 514789 w 642086"/>
                <a:gd name="connsiteY457" fmla="*/ 41928 h 385524"/>
                <a:gd name="connsiteX458" fmla="*/ 510614 w 642086"/>
                <a:gd name="connsiteY458" fmla="*/ 39387 h 385524"/>
                <a:gd name="connsiteX459" fmla="*/ 505744 w 642086"/>
                <a:gd name="connsiteY459" fmla="*/ 37633 h 385524"/>
                <a:gd name="connsiteX460" fmla="*/ 501206 w 642086"/>
                <a:gd name="connsiteY460" fmla="*/ 32883 h 385524"/>
                <a:gd name="connsiteX461" fmla="*/ 497092 w 642086"/>
                <a:gd name="connsiteY461" fmla="*/ 28557 h 385524"/>
                <a:gd name="connsiteX462" fmla="*/ 493461 w 642086"/>
                <a:gd name="connsiteY462" fmla="*/ 25653 h 385524"/>
                <a:gd name="connsiteX463" fmla="*/ 489740 w 642086"/>
                <a:gd name="connsiteY463" fmla="*/ 23657 h 385524"/>
                <a:gd name="connsiteX464" fmla="*/ 485868 w 642086"/>
                <a:gd name="connsiteY464" fmla="*/ 22477 h 385524"/>
                <a:gd name="connsiteX465" fmla="*/ 481694 w 642086"/>
                <a:gd name="connsiteY465" fmla="*/ 22053 h 385524"/>
                <a:gd name="connsiteX466" fmla="*/ 480242 w 642086"/>
                <a:gd name="connsiteY466" fmla="*/ 22598 h 385524"/>
                <a:gd name="connsiteX467" fmla="*/ 476793 w 642086"/>
                <a:gd name="connsiteY467" fmla="*/ 25109 h 385524"/>
                <a:gd name="connsiteX468" fmla="*/ 475129 w 642086"/>
                <a:gd name="connsiteY468" fmla="*/ 25653 h 385524"/>
                <a:gd name="connsiteX469" fmla="*/ 472891 w 642086"/>
                <a:gd name="connsiteY469" fmla="*/ 25532 h 385524"/>
                <a:gd name="connsiteX470" fmla="*/ 468867 w 642086"/>
                <a:gd name="connsiteY470" fmla="*/ 24383 h 385524"/>
                <a:gd name="connsiteX471" fmla="*/ 463301 w 642086"/>
                <a:gd name="connsiteY471" fmla="*/ 21146 h 385524"/>
                <a:gd name="connsiteX472" fmla="*/ 457129 w 642086"/>
                <a:gd name="connsiteY472" fmla="*/ 19663 h 385524"/>
                <a:gd name="connsiteX473" fmla="*/ 453106 w 642086"/>
                <a:gd name="connsiteY473" fmla="*/ 17092 h 385524"/>
                <a:gd name="connsiteX474" fmla="*/ 451170 w 642086"/>
                <a:gd name="connsiteY474" fmla="*/ 16487 h 385524"/>
                <a:gd name="connsiteX475" fmla="*/ 432142 w 642086"/>
                <a:gd name="connsiteY475" fmla="*/ 16487 h 385524"/>
                <a:gd name="connsiteX476" fmla="*/ 431234 w 642086"/>
                <a:gd name="connsiteY476" fmla="*/ 16124 h 385524"/>
                <a:gd name="connsiteX477" fmla="*/ 431113 w 642086"/>
                <a:gd name="connsiteY477" fmla="*/ 14763 h 385524"/>
                <a:gd name="connsiteX478" fmla="*/ 430932 w 642086"/>
                <a:gd name="connsiteY478" fmla="*/ 13734 h 385524"/>
                <a:gd name="connsiteX479" fmla="*/ 430569 w 642086"/>
                <a:gd name="connsiteY479" fmla="*/ 12978 h 385524"/>
                <a:gd name="connsiteX480" fmla="*/ 426817 w 642086"/>
                <a:gd name="connsiteY480" fmla="*/ 9469 h 385524"/>
                <a:gd name="connsiteX481" fmla="*/ 423369 w 642086"/>
                <a:gd name="connsiteY481" fmla="*/ 7684 h 385524"/>
                <a:gd name="connsiteX482" fmla="*/ 422038 w 642086"/>
                <a:gd name="connsiteY482" fmla="*/ 7351 h 385524"/>
                <a:gd name="connsiteX483" fmla="*/ 420858 w 642086"/>
                <a:gd name="connsiteY483" fmla="*/ 7896 h 385524"/>
                <a:gd name="connsiteX484" fmla="*/ 419557 w 642086"/>
                <a:gd name="connsiteY484" fmla="*/ 9680 h 385524"/>
                <a:gd name="connsiteX485" fmla="*/ 419376 w 642086"/>
                <a:gd name="connsiteY485" fmla="*/ 11314 h 385524"/>
                <a:gd name="connsiteX486" fmla="*/ 419769 w 642086"/>
                <a:gd name="connsiteY486" fmla="*/ 12917 h 385524"/>
                <a:gd name="connsiteX487" fmla="*/ 419527 w 642086"/>
                <a:gd name="connsiteY487" fmla="*/ 14097 h 385524"/>
                <a:gd name="connsiteX488" fmla="*/ 417470 w 642086"/>
                <a:gd name="connsiteY488" fmla="*/ 14551 h 385524"/>
                <a:gd name="connsiteX489" fmla="*/ 415746 w 642086"/>
                <a:gd name="connsiteY489" fmla="*/ 12585 h 385524"/>
                <a:gd name="connsiteX490" fmla="*/ 413567 w 642086"/>
                <a:gd name="connsiteY490" fmla="*/ 9136 h 385524"/>
                <a:gd name="connsiteX491" fmla="*/ 411450 w 642086"/>
                <a:gd name="connsiteY491" fmla="*/ 7744 h 385524"/>
                <a:gd name="connsiteX492" fmla="*/ 409937 w 642086"/>
                <a:gd name="connsiteY492" fmla="*/ 12040 h 385524"/>
                <a:gd name="connsiteX493" fmla="*/ 410633 w 642086"/>
                <a:gd name="connsiteY493" fmla="*/ 13311 h 385524"/>
                <a:gd name="connsiteX494" fmla="*/ 409090 w 642086"/>
                <a:gd name="connsiteY494" fmla="*/ 15973 h 385524"/>
                <a:gd name="connsiteX495" fmla="*/ 407366 w 642086"/>
                <a:gd name="connsiteY495" fmla="*/ 17546 h 385524"/>
                <a:gd name="connsiteX496" fmla="*/ 406610 w 642086"/>
                <a:gd name="connsiteY496" fmla="*/ 17697 h 385524"/>
                <a:gd name="connsiteX497" fmla="*/ 405521 w 642086"/>
                <a:gd name="connsiteY497" fmla="*/ 17909 h 385524"/>
                <a:gd name="connsiteX498" fmla="*/ 403645 w 642086"/>
                <a:gd name="connsiteY498" fmla="*/ 16911 h 385524"/>
                <a:gd name="connsiteX499" fmla="*/ 402314 w 642086"/>
                <a:gd name="connsiteY499" fmla="*/ 14914 h 385524"/>
                <a:gd name="connsiteX500" fmla="*/ 401588 w 642086"/>
                <a:gd name="connsiteY500" fmla="*/ 10467 h 385524"/>
                <a:gd name="connsiteX501" fmla="*/ 400408 w 642086"/>
                <a:gd name="connsiteY501" fmla="*/ 8107 h 385524"/>
                <a:gd name="connsiteX502" fmla="*/ 401194 w 642086"/>
                <a:gd name="connsiteY502" fmla="*/ 6746 h 385524"/>
                <a:gd name="connsiteX503" fmla="*/ 395749 w 642086"/>
                <a:gd name="connsiteY503" fmla="*/ 1150 h 385524"/>
                <a:gd name="connsiteX504" fmla="*/ 392694 w 642086"/>
                <a:gd name="connsiteY504" fmla="*/ 182 h 385524"/>
                <a:gd name="connsiteX505" fmla="*/ 390213 w 642086"/>
                <a:gd name="connsiteY505" fmla="*/ 2965 h 385524"/>
                <a:gd name="connsiteX506" fmla="*/ 390697 w 642086"/>
                <a:gd name="connsiteY506" fmla="*/ 3237 h 385524"/>
                <a:gd name="connsiteX507" fmla="*/ 391575 w 642086"/>
                <a:gd name="connsiteY507" fmla="*/ 3963 h 385524"/>
                <a:gd name="connsiteX508" fmla="*/ 392210 w 642086"/>
                <a:gd name="connsiteY508" fmla="*/ 4114 h 385524"/>
                <a:gd name="connsiteX509" fmla="*/ 391544 w 642086"/>
                <a:gd name="connsiteY509" fmla="*/ 7896 h 385524"/>
                <a:gd name="connsiteX510" fmla="*/ 392573 w 642086"/>
                <a:gd name="connsiteY510" fmla="*/ 10255 h 385524"/>
                <a:gd name="connsiteX511" fmla="*/ 394055 w 642086"/>
                <a:gd name="connsiteY511" fmla="*/ 12343 h 385524"/>
                <a:gd name="connsiteX512" fmla="*/ 394781 w 642086"/>
                <a:gd name="connsiteY512" fmla="*/ 15458 h 385524"/>
                <a:gd name="connsiteX513" fmla="*/ 393450 w 642086"/>
                <a:gd name="connsiteY513" fmla="*/ 18786 h 385524"/>
                <a:gd name="connsiteX514" fmla="*/ 390485 w 642086"/>
                <a:gd name="connsiteY514" fmla="*/ 19331 h 385524"/>
                <a:gd name="connsiteX515" fmla="*/ 387279 w 642086"/>
                <a:gd name="connsiteY515" fmla="*/ 18211 h 385524"/>
                <a:gd name="connsiteX516" fmla="*/ 385071 w 642086"/>
                <a:gd name="connsiteY516" fmla="*/ 16608 h 385524"/>
                <a:gd name="connsiteX517" fmla="*/ 382136 w 642086"/>
                <a:gd name="connsiteY517" fmla="*/ 11889 h 385524"/>
                <a:gd name="connsiteX518" fmla="*/ 380472 w 642086"/>
                <a:gd name="connsiteY518" fmla="*/ 9862 h 385524"/>
                <a:gd name="connsiteX519" fmla="*/ 378355 w 642086"/>
                <a:gd name="connsiteY519" fmla="*/ 8985 h 385524"/>
                <a:gd name="connsiteX520" fmla="*/ 376540 w 642086"/>
                <a:gd name="connsiteY520" fmla="*/ 7563 h 385524"/>
                <a:gd name="connsiteX521" fmla="*/ 373363 w 642086"/>
                <a:gd name="connsiteY521" fmla="*/ 1422 h 385524"/>
                <a:gd name="connsiteX522" fmla="*/ 371609 w 642086"/>
                <a:gd name="connsiteY522" fmla="*/ 0 h 385524"/>
                <a:gd name="connsiteX523" fmla="*/ 370913 w 642086"/>
                <a:gd name="connsiteY523" fmla="*/ 3328 h 385524"/>
                <a:gd name="connsiteX524" fmla="*/ 371094 w 642086"/>
                <a:gd name="connsiteY524" fmla="*/ 10709 h 385524"/>
                <a:gd name="connsiteX525" fmla="*/ 372456 w 642086"/>
                <a:gd name="connsiteY525" fmla="*/ 18090 h 385524"/>
                <a:gd name="connsiteX526" fmla="*/ 375269 w 642086"/>
                <a:gd name="connsiteY526" fmla="*/ 21509 h 385524"/>
                <a:gd name="connsiteX527" fmla="*/ 376298 w 642086"/>
                <a:gd name="connsiteY527" fmla="*/ 22114 h 385524"/>
                <a:gd name="connsiteX528" fmla="*/ 376993 w 642086"/>
                <a:gd name="connsiteY528" fmla="*/ 23415 h 385524"/>
                <a:gd name="connsiteX529" fmla="*/ 376993 w 642086"/>
                <a:gd name="connsiteY529" fmla="*/ 24715 h 385524"/>
                <a:gd name="connsiteX530" fmla="*/ 375935 w 642086"/>
                <a:gd name="connsiteY530" fmla="*/ 25260 h 385524"/>
                <a:gd name="connsiteX531" fmla="*/ 366557 w 642086"/>
                <a:gd name="connsiteY531" fmla="*/ 25078 h 385524"/>
                <a:gd name="connsiteX532" fmla="*/ 364106 w 642086"/>
                <a:gd name="connsiteY532" fmla="*/ 25956 h 385524"/>
                <a:gd name="connsiteX533" fmla="*/ 362715 w 642086"/>
                <a:gd name="connsiteY533" fmla="*/ 28255 h 385524"/>
                <a:gd name="connsiteX534" fmla="*/ 363350 w 642086"/>
                <a:gd name="connsiteY534" fmla="*/ 32520 h 385524"/>
                <a:gd name="connsiteX535" fmla="*/ 363199 w 642086"/>
                <a:gd name="connsiteY535" fmla="*/ 32520 h 385524"/>
                <a:gd name="connsiteX536" fmla="*/ 341811 w 642086"/>
                <a:gd name="connsiteY536" fmla="*/ 26379 h 385524"/>
                <a:gd name="connsiteX537" fmla="*/ 337001 w 642086"/>
                <a:gd name="connsiteY537" fmla="*/ 23294 h 385524"/>
                <a:gd name="connsiteX538" fmla="*/ 334641 w 642086"/>
                <a:gd name="connsiteY538" fmla="*/ 23203 h 385524"/>
                <a:gd name="connsiteX539" fmla="*/ 333159 w 642086"/>
                <a:gd name="connsiteY539" fmla="*/ 25078 h 385524"/>
                <a:gd name="connsiteX540" fmla="*/ 333915 w 642086"/>
                <a:gd name="connsiteY540" fmla="*/ 29798 h 385524"/>
                <a:gd name="connsiteX541" fmla="*/ 332040 w 642086"/>
                <a:gd name="connsiteY541" fmla="*/ 30735 h 385524"/>
                <a:gd name="connsiteX542" fmla="*/ 329983 w 642086"/>
                <a:gd name="connsiteY542" fmla="*/ 30130 h 385524"/>
                <a:gd name="connsiteX543" fmla="*/ 325868 w 642086"/>
                <a:gd name="connsiteY543" fmla="*/ 27468 h 385524"/>
                <a:gd name="connsiteX544" fmla="*/ 323509 w 642086"/>
                <a:gd name="connsiteY544" fmla="*/ 26863 h 385524"/>
                <a:gd name="connsiteX545" fmla="*/ 315643 w 642086"/>
                <a:gd name="connsiteY545" fmla="*/ 28618 h 385524"/>
                <a:gd name="connsiteX546" fmla="*/ 313133 w 642086"/>
                <a:gd name="connsiteY546" fmla="*/ 27922 h 385524"/>
                <a:gd name="connsiteX547" fmla="*/ 306477 w 642086"/>
                <a:gd name="connsiteY547" fmla="*/ 19996 h 385524"/>
                <a:gd name="connsiteX548" fmla="*/ 302696 w 642086"/>
                <a:gd name="connsiteY548" fmla="*/ 17001 h 385524"/>
                <a:gd name="connsiteX549" fmla="*/ 299550 w 642086"/>
                <a:gd name="connsiteY549" fmla="*/ 18877 h 385524"/>
                <a:gd name="connsiteX550" fmla="*/ 299943 w 642086"/>
                <a:gd name="connsiteY550" fmla="*/ 20299 h 385524"/>
                <a:gd name="connsiteX551" fmla="*/ 300155 w 642086"/>
                <a:gd name="connsiteY551" fmla="*/ 21539 h 385524"/>
                <a:gd name="connsiteX552" fmla="*/ 300215 w 642086"/>
                <a:gd name="connsiteY552" fmla="*/ 22840 h 385524"/>
                <a:gd name="connsiteX553" fmla="*/ 300215 w 642086"/>
                <a:gd name="connsiteY553" fmla="*/ 24564 h 385524"/>
                <a:gd name="connsiteX554" fmla="*/ 300518 w 642086"/>
                <a:gd name="connsiteY554" fmla="*/ 26228 h 385524"/>
                <a:gd name="connsiteX555" fmla="*/ 301274 w 642086"/>
                <a:gd name="connsiteY555" fmla="*/ 27166 h 385524"/>
                <a:gd name="connsiteX556" fmla="*/ 302151 w 642086"/>
                <a:gd name="connsiteY556" fmla="*/ 27952 h 385524"/>
                <a:gd name="connsiteX557" fmla="*/ 302786 w 642086"/>
                <a:gd name="connsiteY557" fmla="*/ 29041 h 385524"/>
                <a:gd name="connsiteX558" fmla="*/ 303634 w 642086"/>
                <a:gd name="connsiteY558" fmla="*/ 31855 h 385524"/>
                <a:gd name="connsiteX559" fmla="*/ 303361 w 642086"/>
                <a:gd name="connsiteY559" fmla="*/ 32823 h 385524"/>
                <a:gd name="connsiteX560" fmla="*/ 300941 w 642086"/>
                <a:gd name="connsiteY560" fmla="*/ 37360 h 385524"/>
                <a:gd name="connsiteX561" fmla="*/ 300336 w 642086"/>
                <a:gd name="connsiteY561" fmla="*/ 38117 h 385524"/>
                <a:gd name="connsiteX562" fmla="*/ 299156 w 642086"/>
                <a:gd name="connsiteY562" fmla="*/ 38964 h 385524"/>
                <a:gd name="connsiteX563" fmla="*/ 296283 w 642086"/>
                <a:gd name="connsiteY563" fmla="*/ 39448 h 385524"/>
                <a:gd name="connsiteX564" fmla="*/ 294710 w 642086"/>
                <a:gd name="connsiteY564" fmla="*/ 37360 h 385524"/>
                <a:gd name="connsiteX565" fmla="*/ 293499 w 642086"/>
                <a:gd name="connsiteY565" fmla="*/ 34184 h 385524"/>
                <a:gd name="connsiteX566" fmla="*/ 291745 w 642086"/>
                <a:gd name="connsiteY566" fmla="*/ 31401 h 385524"/>
                <a:gd name="connsiteX567" fmla="*/ 290626 w 642086"/>
                <a:gd name="connsiteY567" fmla="*/ 30645 h 385524"/>
                <a:gd name="connsiteX568" fmla="*/ 289476 w 642086"/>
                <a:gd name="connsiteY568" fmla="*/ 30433 h 385524"/>
                <a:gd name="connsiteX569" fmla="*/ 288599 w 642086"/>
                <a:gd name="connsiteY569" fmla="*/ 31129 h 385524"/>
                <a:gd name="connsiteX570" fmla="*/ 288205 w 642086"/>
                <a:gd name="connsiteY570" fmla="*/ 33125 h 385524"/>
                <a:gd name="connsiteX571" fmla="*/ 287752 w 642086"/>
                <a:gd name="connsiteY571" fmla="*/ 34759 h 385524"/>
                <a:gd name="connsiteX572" fmla="*/ 286693 w 642086"/>
                <a:gd name="connsiteY572" fmla="*/ 35243 h 385524"/>
                <a:gd name="connsiteX573" fmla="*/ 284061 w 642086"/>
                <a:gd name="connsiteY573" fmla="*/ 34940 h 385524"/>
                <a:gd name="connsiteX574" fmla="*/ 284000 w 642086"/>
                <a:gd name="connsiteY574" fmla="*/ 36302 h 385524"/>
                <a:gd name="connsiteX575" fmla="*/ 285846 w 642086"/>
                <a:gd name="connsiteY575" fmla="*/ 37088 h 385524"/>
                <a:gd name="connsiteX576" fmla="*/ 287449 w 642086"/>
                <a:gd name="connsiteY576" fmla="*/ 38782 h 385524"/>
                <a:gd name="connsiteX577" fmla="*/ 287812 w 642086"/>
                <a:gd name="connsiteY577" fmla="*/ 40476 h 385524"/>
                <a:gd name="connsiteX578" fmla="*/ 285997 w 642086"/>
                <a:gd name="connsiteY578" fmla="*/ 41202 h 385524"/>
                <a:gd name="connsiteX579" fmla="*/ 284212 w 642086"/>
                <a:gd name="connsiteY579" fmla="*/ 40718 h 385524"/>
                <a:gd name="connsiteX580" fmla="*/ 278495 w 642086"/>
                <a:gd name="connsiteY580" fmla="*/ 36786 h 385524"/>
                <a:gd name="connsiteX581" fmla="*/ 276589 w 642086"/>
                <a:gd name="connsiteY581" fmla="*/ 36211 h 385524"/>
                <a:gd name="connsiteX582" fmla="*/ 274986 w 642086"/>
                <a:gd name="connsiteY582" fmla="*/ 37300 h 385524"/>
                <a:gd name="connsiteX583" fmla="*/ 273382 w 642086"/>
                <a:gd name="connsiteY583" fmla="*/ 38813 h 385524"/>
                <a:gd name="connsiteX584" fmla="*/ 271507 w 642086"/>
                <a:gd name="connsiteY584" fmla="*/ 39599 h 385524"/>
                <a:gd name="connsiteX585" fmla="*/ 269510 w 642086"/>
                <a:gd name="connsiteY585" fmla="*/ 38722 h 385524"/>
                <a:gd name="connsiteX586" fmla="*/ 265971 w 642086"/>
                <a:gd name="connsiteY586" fmla="*/ 34759 h 385524"/>
                <a:gd name="connsiteX587" fmla="*/ 264035 w 642086"/>
                <a:gd name="connsiteY587" fmla="*/ 33337 h 385524"/>
                <a:gd name="connsiteX588" fmla="*/ 261735 w 642086"/>
                <a:gd name="connsiteY588" fmla="*/ 33035 h 385524"/>
                <a:gd name="connsiteX589" fmla="*/ 255080 w 642086"/>
                <a:gd name="connsiteY589" fmla="*/ 34426 h 385524"/>
                <a:gd name="connsiteX590" fmla="*/ 254626 w 642086"/>
                <a:gd name="connsiteY590" fmla="*/ 35666 h 385524"/>
                <a:gd name="connsiteX591" fmla="*/ 253295 w 642086"/>
                <a:gd name="connsiteY591" fmla="*/ 41596 h 385524"/>
                <a:gd name="connsiteX592" fmla="*/ 252085 w 642086"/>
                <a:gd name="connsiteY592" fmla="*/ 43744 h 385524"/>
                <a:gd name="connsiteX593" fmla="*/ 248546 w 642086"/>
                <a:gd name="connsiteY593" fmla="*/ 44954 h 385524"/>
                <a:gd name="connsiteX594" fmla="*/ 239621 w 642086"/>
                <a:gd name="connsiteY594" fmla="*/ 45407 h 385524"/>
                <a:gd name="connsiteX595" fmla="*/ 237595 w 642086"/>
                <a:gd name="connsiteY595" fmla="*/ 46557 h 385524"/>
                <a:gd name="connsiteX596" fmla="*/ 239984 w 642086"/>
                <a:gd name="connsiteY596" fmla="*/ 48705 h 385524"/>
                <a:gd name="connsiteX597" fmla="*/ 242556 w 642086"/>
                <a:gd name="connsiteY597" fmla="*/ 52093 h 385524"/>
                <a:gd name="connsiteX598" fmla="*/ 243373 w 642086"/>
                <a:gd name="connsiteY598" fmla="*/ 55209 h 385524"/>
                <a:gd name="connsiteX599" fmla="*/ 240529 w 642086"/>
                <a:gd name="connsiteY599" fmla="*/ 56510 h 385524"/>
                <a:gd name="connsiteX600" fmla="*/ 237625 w 642086"/>
                <a:gd name="connsiteY600" fmla="*/ 55300 h 385524"/>
                <a:gd name="connsiteX601" fmla="*/ 232089 w 642086"/>
                <a:gd name="connsiteY601" fmla="*/ 49612 h 385524"/>
                <a:gd name="connsiteX602" fmla="*/ 229276 w 642086"/>
                <a:gd name="connsiteY602" fmla="*/ 47616 h 385524"/>
                <a:gd name="connsiteX603" fmla="*/ 227521 w 642086"/>
                <a:gd name="connsiteY603" fmla="*/ 47253 h 385524"/>
                <a:gd name="connsiteX604" fmla="*/ 226039 w 642086"/>
                <a:gd name="connsiteY604" fmla="*/ 47646 h 385524"/>
                <a:gd name="connsiteX605" fmla="*/ 224647 w 642086"/>
                <a:gd name="connsiteY605" fmla="*/ 48796 h 385524"/>
                <a:gd name="connsiteX606" fmla="*/ 223346 w 642086"/>
                <a:gd name="connsiteY606" fmla="*/ 50671 h 385524"/>
                <a:gd name="connsiteX607" fmla="*/ 223013 w 642086"/>
                <a:gd name="connsiteY607" fmla="*/ 52638 h 385524"/>
                <a:gd name="connsiteX608" fmla="*/ 223861 w 642086"/>
                <a:gd name="connsiteY608" fmla="*/ 54392 h 385524"/>
                <a:gd name="connsiteX609" fmla="*/ 230123 w 642086"/>
                <a:gd name="connsiteY609" fmla="*/ 62681 h 385524"/>
                <a:gd name="connsiteX610" fmla="*/ 230879 w 642086"/>
                <a:gd name="connsiteY610" fmla="*/ 65948 h 385524"/>
                <a:gd name="connsiteX611" fmla="*/ 228822 w 642086"/>
                <a:gd name="connsiteY611" fmla="*/ 70123 h 385524"/>
                <a:gd name="connsiteX612" fmla="*/ 224677 w 642086"/>
                <a:gd name="connsiteY612" fmla="*/ 66069 h 385524"/>
                <a:gd name="connsiteX613" fmla="*/ 219535 w 642086"/>
                <a:gd name="connsiteY613" fmla="*/ 66402 h 385524"/>
                <a:gd name="connsiteX614" fmla="*/ 214241 w 642086"/>
                <a:gd name="connsiteY614" fmla="*/ 68187 h 385524"/>
                <a:gd name="connsiteX615" fmla="*/ 209521 w 642086"/>
                <a:gd name="connsiteY615" fmla="*/ 68429 h 385524"/>
                <a:gd name="connsiteX616" fmla="*/ 205165 w 642086"/>
                <a:gd name="connsiteY616" fmla="*/ 67279 h 385524"/>
                <a:gd name="connsiteX617" fmla="*/ 196241 w 642086"/>
                <a:gd name="connsiteY617" fmla="*/ 67279 h 385524"/>
                <a:gd name="connsiteX618" fmla="*/ 194002 w 642086"/>
                <a:gd name="connsiteY618" fmla="*/ 68338 h 385524"/>
                <a:gd name="connsiteX619" fmla="*/ 192823 w 642086"/>
                <a:gd name="connsiteY619" fmla="*/ 70607 h 385524"/>
                <a:gd name="connsiteX620" fmla="*/ 194033 w 642086"/>
                <a:gd name="connsiteY620" fmla="*/ 71635 h 385524"/>
                <a:gd name="connsiteX621" fmla="*/ 194698 w 642086"/>
                <a:gd name="connsiteY621" fmla="*/ 73360 h 385524"/>
                <a:gd name="connsiteX622" fmla="*/ 194577 w 642086"/>
                <a:gd name="connsiteY622" fmla="*/ 75296 h 385524"/>
                <a:gd name="connsiteX623" fmla="*/ 193367 w 642086"/>
                <a:gd name="connsiteY623" fmla="*/ 76899 h 385524"/>
                <a:gd name="connsiteX624" fmla="*/ 192157 w 642086"/>
                <a:gd name="connsiteY624" fmla="*/ 76687 h 385524"/>
                <a:gd name="connsiteX625" fmla="*/ 191855 w 642086"/>
                <a:gd name="connsiteY625" fmla="*/ 76627 h 385524"/>
                <a:gd name="connsiteX626" fmla="*/ 186591 w 642086"/>
                <a:gd name="connsiteY626" fmla="*/ 71726 h 385524"/>
                <a:gd name="connsiteX627" fmla="*/ 184534 w 642086"/>
                <a:gd name="connsiteY627" fmla="*/ 71847 h 385524"/>
                <a:gd name="connsiteX628" fmla="*/ 183082 w 642086"/>
                <a:gd name="connsiteY628" fmla="*/ 73148 h 385524"/>
                <a:gd name="connsiteX629" fmla="*/ 181841 w 642086"/>
                <a:gd name="connsiteY629" fmla="*/ 74630 h 385524"/>
                <a:gd name="connsiteX630" fmla="*/ 179542 w 642086"/>
                <a:gd name="connsiteY630" fmla="*/ 75689 h 385524"/>
                <a:gd name="connsiteX631" fmla="*/ 178060 w 642086"/>
                <a:gd name="connsiteY631" fmla="*/ 77353 h 385524"/>
                <a:gd name="connsiteX632" fmla="*/ 177183 w 642086"/>
                <a:gd name="connsiteY632" fmla="*/ 77716 h 385524"/>
                <a:gd name="connsiteX633" fmla="*/ 176003 w 642086"/>
                <a:gd name="connsiteY633" fmla="*/ 77504 h 385524"/>
                <a:gd name="connsiteX634" fmla="*/ 173915 w 642086"/>
                <a:gd name="connsiteY634" fmla="*/ 76657 h 385524"/>
                <a:gd name="connsiteX635" fmla="*/ 172796 w 642086"/>
                <a:gd name="connsiteY635" fmla="*/ 76506 h 385524"/>
                <a:gd name="connsiteX636" fmla="*/ 167230 w 642086"/>
                <a:gd name="connsiteY636" fmla="*/ 79712 h 385524"/>
                <a:gd name="connsiteX637" fmla="*/ 168621 w 642086"/>
                <a:gd name="connsiteY637" fmla="*/ 86610 h 385524"/>
                <a:gd name="connsiteX638" fmla="*/ 171768 w 642086"/>
                <a:gd name="connsiteY638" fmla="*/ 95534 h 385524"/>
                <a:gd name="connsiteX639" fmla="*/ 171465 w 642086"/>
                <a:gd name="connsiteY639" fmla="*/ 104821 h 385524"/>
                <a:gd name="connsiteX640" fmla="*/ 169801 w 642086"/>
                <a:gd name="connsiteY640" fmla="*/ 102613 h 385524"/>
                <a:gd name="connsiteX641" fmla="*/ 168743 w 642086"/>
                <a:gd name="connsiteY641" fmla="*/ 102068 h 385524"/>
                <a:gd name="connsiteX642" fmla="*/ 167684 w 642086"/>
                <a:gd name="connsiteY642" fmla="*/ 102885 h 385524"/>
                <a:gd name="connsiteX643" fmla="*/ 163025 w 642086"/>
                <a:gd name="connsiteY643" fmla="*/ 107756 h 385524"/>
                <a:gd name="connsiteX644" fmla="*/ 162390 w 642086"/>
                <a:gd name="connsiteY644" fmla="*/ 109994 h 385524"/>
                <a:gd name="connsiteX645" fmla="*/ 163055 w 642086"/>
                <a:gd name="connsiteY645" fmla="*/ 113231 h 385524"/>
                <a:gd name="connsiteX646" fmla="*/ 162360 w 642086"/>
                <a:gd name="connsiteY646" fmla="*/ 113171 h 385524"/>
                <a:gd name="connsiteX647" fmla="*/ 160908 w 642086"/>
                <a:gd name="connsiteY647" fmla="*/ 113322 h 385524"/>
                <a:gd name="connsiteX648" fmla="*/ 160242 w 642086"/>
                <a:gd name="connsiteY648" fmla="*/ 113201 h 385524"/>
                <a:gd name="connsiteX649" fmla="*/ 162813 w 642086"/>
                <a:gd name="connsiteY649" fmla="*/ 117164 h 385524"/>
                <a:gd name="connsiteX650" fmla="*/ 165445 w 642086"/>
                <a:gd name="connsiteY650" fmla="*/ 119251 h 385524"/>
                <a:gd name="connsiteX651" fmla="*/ 171889 w 642086"/>
                <a:gd name="connsiteY651" fmla="*/ 120885 h 385524"/>
                <a:gd name="connsiteX652" fmla="*/ 172494 w 642086"/>
                <a:gd name="connsiteY652" fmla="*/ 121490 h 385524"/>
                <a:gd name="connsiteX653" fmla="*/ 172978 w 642086"/>
                <a:gd name="connsiteY653" fmla="*/ 122609 h 385524"/>
                <a:gd name="connsiteX654" fmla="*/ 173583 w 642086"/>
                <a:gd name="connsiteY654" fmla="*/ 123426 h 385524"/>
                <a:gd name="connsiteX655" fmla="*/ 174551 w 642086"/>
                <a:gd name="connsiteY655" fmla="*/ 123275 h 385524"/>
                <a:gd name="connsiteX656" fmla="*/ 175156 w 642086"/>
                <a:gd name="connsiteY656" fmla="*/ 121278 h 385524"/>
                <a:gd name="connsiteX657" fmla="*/ 175156 w 642086"/>
                <a:gd name="connsiteY657" fmla="*/ 120219 h 385524"/>
                <a:gd name="connsiteX658" fmla="*/ 175307 w 642086"/>
                <a:gd name="connsiteY658" fmla="*/ 119614 h 385524"/>
                <a:gd name="connsiteX659" fmla="*/ 177425 w 642086"/>
                <a:gd name="connsiteY659" fmla="*/ 117194 h 385524"/>
                <a:gd name="connsiteX660" fmla="*/ 178181 w 642086"/>
                <a:gd name="connsiteY660" fmla="*/ 116770 h 385524"/>
                <a:gd name="connsiteX661" fmla="*/ 180026 w 642086"/>
                <a:gd name="connsiteY661" fmla="*/ 116619 h 385524"/>
                <a:gd name="connsiteX662" fmla="*/ 180904 w 642086"/>
                <a:gd name="connsiteY662" fmla="*/ 116135 h 385524"/>
                <a:gd name="connsiteX663" fmla="*/ 179694 w 642086"/>
                <a:gd name="connsiteY663" fmla="*/ 113745 h 385524"/>
                <a:gd name="connsiteX664" fmla="*/ 176759 w 642086"/>
                <a:gd name="connsiteY664" fmla="*/ 110962 h 385524"/>
                <a:gd name="connsiteX665" fmla="*/ 175549 w 642086"/>
                <a:gd name="connsiteY665" fmla="*/ 108572 h 385524"/>
                <a:gd name="connsiteX666" fmla="*/ 177909 w 642086"/>
                <a:gd name="connsiteY666" fmla="*/ 110055 h 385524"/>
                <a:gd name="connsiteX667" fmla="*/ 180087 w 642086"/>
                <a:gd name="connsiteY667" fmla="*/ 112263 h 385524"/>
                <a:gd name="connsiteX668" fmla="*/ 181660 w 642086"/>
                <a:gd name="connsiteY668" fmla="*/ 115409 h 385524"/>
                <a:gd name="connsiteX669" fmla="*/ 182235 w 642086"/>
                <a:gd name="connsiteY669" fmla="*/ 119705 h 385524"/>
                <a:gd name="connsiteX670" fmla="*/ 182144 w 642086"/>
                <a:gd name="connsiteY670" fmla="*/ 121913 h 385524"/>
                <a:gd name="connsiteX671" fmla="*/ 181841 w 642086"/>
                <a:gd name="connsiteY671" fmla="*/ 123093 h 385524"/>
                <a:gd name="connsiteX672" fmla="*/ 180994 w 642086"/>
                <a:gd name="connsiteY672" fmla="*/ 123970 h 385524"/>
                <a:gd name="connsiteX673" fmla="*/ 177697 w 642086"/>
                <a:gd name="connsiteY673" fmla="*/ 126451 h 385524"/>
                <a:gd name="connsiteX674" fmla="*/ 175912 w 642086"/>
                <a:gd name="connsiteY674" fmla="*/ 127026 h 385524"/>
                <a:gd name="connsiteX675" fmla="*/ 174127 w 642086"/>
                <a:gd name="connsiteY675" fmla="*/ 126875 h 385524"/>
                <a:gd name="connsiteX676" fmla="*/ 172403 w 642086"/>
                <a:gd name="connsiteY676" fmla="*/ 125786 h 385524"/>
                <a:gd name="connsiteX677" fmla="*/ 170164 w 642086"/>
                <a:gd name="connsiteY677" fmla="*/ 128448 h 385524"/>
                <a:gd name="connsiteX678" fmla="*/ 163479 w 642086"/>
                <a:gd name="connsiteY678" fmla="*/ 127903 h 385524"/>
                <a:gd name="connsiteX679" fmla="*/ 161240 w 642086"/>
                <a:gd name="connsiteY679" fmla="*/ 130626 h 385524"/>
                <a:gd name="connsiteX680" fmla="*/ 161240 w 642086"/>
                <a:gd name="connsiteY680" fmla="*/ 134226 h 385524"/>
                <a:gd name="connsiteX681" fmla="*/ 164386 w 642086"/>
                <a:gd name="connsiteY681" fmla="*/ 138884 h 385524"/>
                <a:gd name="connsiteX682" fmla="*/ 165173 w 642086"/>
                <a:gd name="connsiteY682" fmla="*/ 142273 h 385524"/>
                <a:gd name="connsiteX683" fmla="*/ 171314 w 642086"/>
                <a:gd name="connsiteY683" fmla="*/ 150319 h 385524"/>
                <a:gd name="connsiteX684" fmla="*/ 170558 w 642086"/>
                <a:gd name="connsiteY684" fmla="*/ 151590 h 385524"/>
                <a:gd name="connsiteX685" fmla="*/ 167200 w 642086"/>
                <a:gd name="connsiteY685" fmla="*/ 152074 h 385524"/>
                <a:gd name="connsiteX686" fmla="*/ 165233 w 642086"/>
                <a:gd name="connsiteY686" fmla="*/ 153617 h 385524"/>
                <a:gd name="connsiteX687" fmla="*/ 161361 w 642086"/>
                <a:gd name="connsiteY687" fmla="*/ 159939 h 385524"/>
                <a:gd name="connsiteX688" fmla="*/ 167048 w 642086"/>
                <a:gd name="connsiteY688" fmla="*/ 157822 h 385524"/>
                <a:gd name="connsiteX689" fmla="*/ 169015 w 642086"/>
                <a:gd name="connsiteY689" fmla="*/ 157550 h 385524"/>
                <a:gd name="connsiteX690" fmla="*/ 172191 w 642086"/>
                <a:gd name="connsiteY690" fmla="*/ 158427 h 385524"/>
                <a:gd name="connsiteX691" fmla="*/ 172796 w 642086"/>
                <a:gd name="connsiteY691" fmla="*/ 158276 h 385524"/>
                <a:gd name="connsiteX692" fmla="*/ 173552 w 642086"/>
                <a:gd name="connsiteY692" fmla="*/ 157307 h 385524"/>
                <a:gd name="connsiteX693" fmla="*/ 174611 w 642086"/>
                <a:gd name="connsiteY693" fmla="*/ 156430 h 385524"/>
                <a:gd name="connsiteX694" fmla="*/ 176638 w 642086"/>
                <a:gd name="connsiteY694" fmla="*/ 155341 h 385524"/>
                <a:gd name="connsiteX695" fmla="*/ 178968 w 642086"/>
                <a:gd name="connsiteY695" fmla="*/ 154918 h 385524"/>
                <a:gd name="connsiteX696" fmla="*/ 186318 w 642086"/>
                <a:gd name="connsiteY696" fmla="*/ 155523 h 385524"/>
                <a:gd name="connsiteX697" fmla="*/ 190645 w 642086"/>
                <a:gd name="connsiteY697" fmla="*/ 154373 h 385524"/>
                <a:gd name="connsiteX698" fmla="*/ 192672 w 642086"/>
                <a:gd name="connsiteY698" fmla="*/ 154615 h 385524"/>
                <a:gd name="connsiteX699" fmla="*/ 194456 w 642086"/>
                <a:gd name="connsiteY699" fmla="*/ 156914 h 385524"/>
                <a:gd name="connsiteX700" fmla="*/ 197179 w 642086"/>
                <a:gd name="connsiteY700" fmla="*/ 154161 h 385524"/>
                <a:gd name="connsiteX701" fmla="*/ 200355 w 642086"/>
                <a:gd name="connsiteY701" fmla="*/ 154403 h 385524"/>
                <a:gd name="connsiteX702" fmla="*/ 203501 w 642086"/>
                <a:gd name="connsiteY702" fmla="*/ 156551 h 385524"/>
                <a:gd name="connsiteX703" fmla="*/ 206164 w 642086"/>
                <a:gd name="connsiteY703" fmla="*/ 159546 h 385524"/>
                <a:gd name="connsiteX704" fmla="*/ 204227 w 642086"/>
                <a:gd name="connsiteY704" fmla="*/ 159244 h 385524"/>
                <a:gd name="connsiteX705" fmla="*/ 200355 w 642086"/>
                <a:gd name="connsiteY705" fmla="*/ 157156 h 385524"/>
                <a:gd name="connsiteX706" fmla="*/ 198661 w 642086"/>
                <a:gd name="connsiteY706" fmla="*/ 157005 h 385524"/>
                <a:gd name="connsiteX707" fmla="*/ 197239 w 642086"/>
                <a:gd name="connsiteY707" fmla="*/ 158306 h 385524"/>
                <a:gd name="connsiteX708" fmla="*/ 196604 w 642086"/>
                <a:gd name="connsiteY708" fmla="*/ 160363 h 385524"/>
                <a:gd name="connsiteX709" fmla="*/ 196967 w 642086"/>
                <a:gd name="connsiteY709" fmla="*/ 162238 h 385524"/>
                <a:gd name="connsiteX710" fmla="*/ 198540 w 642086"/>
                <a:gd name="connsiteY710" fmla="*/ 163085 h 385524"/>
                <a:gd name="connsiteX711" fmla="*/ 199085 w 642086"/>
                <a:gd name="connsiteY711" fmla="*/ 163660 h 385524"/>
                <a:gd name="connsiteX712" fmla="*/ 199236 w 642086"/>
                <a:gd name="connsiteY712" fmla="*/ 164901 h 385524"/>
                <a:gd name="connsiteX713" fmla="*/ 199085 w 642086"/>
                <a:gd name="connsiteY713" fmla="*/ 166171 h 385524"/>
                <a:gd name="connsiteX714" fmla="*/ 198782 w 642086"/>
                <a:gd name="connsiteY714" fmla="*/ 166746 h 385524"/>
                <a:gd name="connsiteX715" fmla="*/ 195697 w 642086"/>
                <a:gd name="connsiteY715" fmla="*/ 166685 h 385524"/>
                <a:gd name="connsiteX716" fmla="*/ 194033 w 642086"/>
                <a:gd name="connsiteY716" fmla="*/ 166141 h 385524"/>
                <a:gd name="connsiteX717" fmla="*/ 190191 w 642086"/>
                <a:gd name="connsiteY717" fmla="*/ 163690 h 385524"/>
                <a:gd name="connsiteX718" fmla="*/ 188224 w 642086"/>
                <a:gd name="connsiteY718" fmla="*/ 162904 h 385524"/>
                <a:gd name="connsiteX719" fmla="*/ 184382 w 642086"/>
                <a:gd name="connsiteY719" fmla="*/ 163237 h 385524"/>
                <a:gd name="connsiteX720" fmla="*/ 180601 w 642086"/>
                <a:gd name="connsiteY720" fmla="*/ 164507 h 385524"/>
                <a:gd name="connsiteX721" fmla="*/ 176850 w 642086"/>
                <a:gd name="connsiteY721" fmla="*/ 165052 h 385524"/>
                <a:gd name="connsiteX722" fmla="*/ 173008 w 642086"/>
                <a:gd name="connsiteY722" fmla="*/ 163237 h 385524"/>
                <a:gd name="connsiteX723" fmla="*/ 171677 w 642086"/>
                <a:gd name="connsiteY723" fmla="*/ 163237 h 385524"/>
                <a:gd name="connsiteX724" fmla="*/ 171072 w 642086"/>
                <a:gd name="connsiteY724" fmla="*/ 165264 h 385524"/>
                <a:gd name="connsiteX725" fmla="*/ 171284 w 642086"/>
                <a:gd name="connsiteY725" fmla="*/ 167653 h 385524"/>
                <a:gd name="connsiteX726" fmla="*/ 172887 w 642086"/>
                <a:gd name="connsiteY726" fmla="*/ 169196 h 385524"/>
                <a:gd name="connsiteX727" fmla="*/ 172887 w 642086"/>
                <a:gd name="connsiteY727" fmla="*/ 170043 h 385524"/>
                <a:gd name="connsiteX728" fmla="*/ 172554 w 642086"/>
                <a:gd name="connsiteY728" fmla="*/ 170890 h 385524"/>
                <a:gd name="connsiteX729" fmla="*/ 171798 w 642086"/>
                <a:gd name="connsiteY729" fmla="*/ 171253 h 385524"/>
                <a:gd name="connsiteX730" fmla="*/ 169710 w 642086"/>
                <a:gd name="connsiteY730" fmla="*/ 170527 h 385524"/>
                <a:gd name="connsiteX731" fmla="*/ 168864 w 642086"/>
                <a:gd name="connsiteY731" fmla="*/ 170739 h 385524"/>
                <a:gd name="connsiteX732" fmla="*/ 167956 w 642086"/>
                <a:gd name="connsiteY732" fmla="*/ 172282 h 385524"/>
                <a:gd name="connsiteX733" fmla="*/ 167411 w 642086"/>
                <a:gd name="connsiteY733" fmla="*/ 176396 h 385524"/>
                <a:gd name="connsiteX734" fmla="*/ 168107 w 642086"/>
                <a:gd name="connsiteY734" fmla="*/ 181085 h 385524"/>
                <a:gd name="connsiteX735" fmla="*/ 169166 w 642086"/>
                <a:gd name="connsiteY735" fmla="*/ 185502 h 385524"/>
                <a:gd name="connsiteX736" fmla="*/ 169680 w 642086"/>
                <a:gd name="connsiteY736" fmla="*/ 188829 h 385524"/>
                <a:gd name="connsiteX737" fmla="*/ 169166 w 642086"/>
                <a:gd name="connsiteY737" fmla="*/ 190584 h 385524"/>
                <a:gd name="connsiteX738" fmla="*/ 168198 w 642086"/>
                <a:gd name="connsiteY738" fmla="*/ 192490 h 385524"/>
                <a:gd name="connsiteX739" fmla="*/ 167532 w 642086"/>
                <a:gd name="connsiteY739" fmla="*/ 194396 h 385524"/>
                <a:gd name="connsiteX740" fmla="*/ 167835 w 642086"/>
                <a:gd name="connsiteY740" fmla="*/ 196120 h 385524"/>
                <a:gd name="connsiteX741" fmla="*/ 169317 w 642086"/>
                <a:gd name="connsiteY741" fmla="*/ 197542 h 385524"/>
                <a:gd name="connsiteX742" fmla="*/ 170164 w 642086"/>
                <a:gd name="connsiteY742" fmla="*/ 196695 h 385524"/>
                <a:gd name="connsiteX743" fmla="*/ 171011 w 642086"/>
                <a:gd name="connsiteY743" fmla="*/ 194819 h 385524"/>
                <a:gd name="connsiteX744" fmla="*/ 172373 w 642086"/>
                <a:gd name="connsiteY744" fmla="*/ 193125 h 385524"/>
                <a:gd name="connsiteX745" fmla="*/ 173915 w 642086"/>
                <a:gd name="connsiteY745" fmla="*/ 192581 h 385524"/>
                <a:gd name="connsiteX746" fmla="*/ 174278 w 642086"/>
                <a:gd name="connsiteY746" fmla="*/ 193609 h 385524"/>
                <a:gd name="connsiteX747" fmla="*/ 174339 w 642086"/>
                <a:gd name="connsiteY747" fmla="*/ 195636 h 385524"/>
                <a:gd name="connsiteX748" fmla="*/ 175004 w 642086"/>
                <a:gd name="connsiteY748" fmla="*/ 198117 h 385524"/>
                <a:gd name="connsiteX749" fmla="*/ 176063 w 642086"/>
                <a:gd name="connsiteY749" fmla="*/ 199387 h 385524"/>
                <a:gd name="connsiteX750" fmla="*/ 177939 w 642086"/>
                <a:gd name="connsiteY750" fmla="*/ 200991 h 385524"/>
                <a:gd name="connsiteX751" fmla="*/ 179845 w 642086"/>
                <a:gd name="connsiteY751" fmla="*/ 202231 h 385524"/>
                <a:gd name="connsiteX752" fmla="*/ 181115 w 642086"/>
                <a:gd name="connsiteY752" fmla="*/ 202382 h 385524"/>
                <a:gd name="connsiteX753" fmla="*/ 184050 w 642086"/>
                <a:gd name="connsiteY753" fmla="*/ 201051 h 385524"/>
                <a:gd name="connsiteX754" fmla="*/ 185532 w 642086"/>
                <a:gd name="connsiteY754" fmla="*/ 203199 h 385524"/>
                <a:gd name="connsiteX755" fmla="*/ 185986 w 642086"/>
                <a:gd name="connsiteY755" fmla="*/ 207555 h 385524"/>
                <a:gd name="connsiteX756" fmla="*/ 185774 w 642086"/>
                <a:gd name="connsiteY756" fmla="*/ 212789 h 385524"/>
                <a:gd name="connsiteX757" fmla="*/ 185109 w 642086"/>
                <a:gd name="connsiteY757" fmla="*/ 217115 h 385524"/>
                <a:gd name="connsiteX758" fmla="*/ 185048 w 642086"/>
                <a:gd name="connsiteY758" fmla="*/ 218930 h 385524"/>
                <a:gd name="connsiteX759" fmla="*/ 185592 w 642086"/>
                <a:gd name="connsiteY759" fmla="*/ 221259 h 385524"/>
                <a:gd name="connsiteX760" fmla="*/ 186651 w 642086"/>
                <a:gd name="connsiteY760" fmla="*/ 222893 h 385524"/>
                <a:gd name="connsiteX761" fmla="*/ 187982 w 642086"/>
                <a:gd name="connsiteY761" fmla="*/ 223921 h 385524"/>
                <a:gd name="connsiteX762" fmla="*/ 189102 w 642086"/>
                <a:gd name="connsiteY762" fmla="*/ 225313 h 385524"/>
                <a:gd name="connsiteX763" fmla="*/ 189525 w 642086"/>
                <a:gd name="connsiteY763" fmla="*/ 227944 h 385524"/>
                <a:gd name="connsiteX764" fmla="*/ 189646 w 642086"/>
                <a:gd name="connsiteY764" fmla="*/ 229669 h 385524"/>
                <a:gd name="connsiteX765" fmla="*/ 190009 w 642086"/>
                <a:gd name="connsiteY765" fmla="*/ 231786 h 385524"/>
                <a:gd name="connsiteX766" fmla="*/ 190523 w 642086"/>
                <a:gd name="connsiteY766" fmla="*/ 233813 h 385524"/>
                <a:gd name="connsiteX767" fmla="*/ 191098 w 642086"/>
                <a:gd name="connsiteY767" fmla="*/ 235296 h 385524"/>
                <a:gd name="connsiteX768" fmla="*/ 191855 w 642086"/>
                <a:gd name="connsiteY768" fmla="*/ 236022 h 385524"/>
                <a:gd name="connsiteX769" fmla="*/ 192550 w 642086"/>
                <a:gd name="connsiteY769" fmla="*/ 235871 h 385524"/>
                <a:gd name="connsiteX770" fmla="*/ 193216 w 642086"/>
                <a:gd name="connsiteY770" fmla="*/ 235114 h 385524"/>
                <a:gd name="connsiteX771" fmla="*/ 193851 w 642086"/>
                <a:gd name="connsiteY771" fmla="*/ 234086 h 385524"/>
                <a:gd name="connsiteX772" fmla="*/ 194759 w 642086"/>
                <a:gd name="connsiteY772" fmla="*/ 233269 h 385524"/>
                <a:gd name="connsiteX773" fmla="*/ 195727 w 642086"/>
                <a:gd name="connsiteY773" fmla="*/ 233632 h 385524"/>
                <a:gd name="connsiteX774" fmla="*/ 196695 w 642086"/>
                <a:gd name="connsiteY774" fmla="*/ 234388 h 385524"/>
                <a:gd name="connsiteX775" fmla="*/ 197603 w 642086"/>
                <a:gd name="connsiteY775" fmla="*/ 234812 h 385524"/>
                <a:gd name="connsiteX776" fmla="*/ 198329 w 642086"/>
                <a:gd name="connsiteY776" fmla="*/ 234509 h 385524"/>
                <a:gd name="connsiteX777" fmla="*/ 198903 w 642086"/>
                <a:gd name="connsiteY777" fmla="*/ 233904 h 385524"/>
                <a:gd name="connsiteX778" fmla="*/ 199538 w 642086"/>
                <a:gd name="connsiteY778" fmla="*/ 233420 h 385524"/>
                <a:gd name="connsiteX779" fmla="*/ 200446 w 642086"/>
                <a:gd name="connsiteY779" fmla="*/ 233541 h 385524"/>
                <a:gd name="connsiteX780" fmla="*/ 200930 w 642086"/>
                <a:gd name="connsiteY780" fmla="*/ 233995 h 385524"/>
                <a:gd name="connsiteX781" fmla="*/ 202019 w 642086"/>
                <a:gd name="connsiteY781" fmla="*/ 235538 h 385524"/>
                <a:gd name="connsiteX782" fmla="*/ 202533 w 642086"/>
                <a:gd name="connsiteY782" fmla="*/ 236082 h 385524"/>
                <a:gd name="connsiteX783" fmla="*/ 204439 w 642086"/>
                <a:gd name="connsiteY783" fmla="*/ 236899 h 385524"/>
                <a:gd name="connsiteX784" fmla="*/ 208463 w 642086"/>
                <a:gd name="connsiteY784" fmla="*/ 237292 h 385524"/>
                <a:gd name="connsiteX785" fmla="*/ 215088 w 642086"/>
                <a:gd name="connsiteY785" fmla="*/ 240045 h 385524"/>
                <a:gd name="connsiteX786" fmla="*/ 217719 w 642086"/>
                <a:gd name="connsiteY786" fmla="*/ 243252 h 385524"/>
                <a:gd name="connsiteX787" fmla="*/ 222287 w 642086"/>
                <a:gd name="connsiteY787" fmla="*/ 247245 h 385524"/>
                <a:gd name="connsiteX788" fmla="*/ 225222 w 642086"/>
                <a:gd name="connsiteY788" fmla="*/ 252116 h 385524"/>
                <a:gd name="connsiteX789" fmla="*/ 226251 w 642086"/>
                <a:gd name="connsiteY789" fmla="*/ 253205 h 385524"/>
                <a:gd name="connsiteX790" fmla="*/ 228005 w 642086"/>
                <a:gd name="connsiteY790" fmla="*/ 253870 h 385524"/>
                <a:gd name="connsiteX791" fmla="*/ 228943 w 642086"/>
                <a:gd name="connsiteY791" fmla="*/ 253144 h 385524"/>
                <a:gd name="connsiteX792" fmla="*/ 230849 w 642086"/>
                <a:gd name="connsiteY792" fmla="*/ 249181 h 385524"/>
                <a:gd name="connsiteX793" fmla="*/ 232603 w 642086"/>
                <a:gd name="connsiteY793" fmla="*/ 247668 h 385524"/>
                <a:gd name="connsiteX794" fmla="*/ 234418 w 642086"/>
                <a:gd name="connsiteY794" fmla="*/ 247668 h 385524"/>
                <a:gd name="connsiteX795" fmla="*/ 238079 w 642086"/>
                <a:gd name="connsiteY795" fmla="*/ 248727 h 385524"/>
                <a:gd name="connsiteX796" fmla="*/ 239924 w 642086"/>
                <a:gd name="connsiteY796" fmla="*/ 248274 h 385524"/>
                <a:gd name="connsiteX797" fmla="*/ 241407 w 642086"/>
                <a:gd name="connsiteY797" fmla="*/ 247215 h 385524"/>
                <a:gd name="connsiteX798" fmla="*/ 242707 w 642086"/>
                <a:gd name="connsiteY798" fmla="*/ 245611 h 385524"/>
                <a:gd name="connsiteX799" fmla="*/ 245944 w 642086"/>
                <a:gd name="connsiteY799" fmla="*/ 240559 h 385524"/>
                <a:gd name="connsiteX800" fmla="*/ 246368 w 642086"/>
                <a:gd name="connsiteY800" fmla="*/ 238986 h 385524"/>
                <a:gd name="connsiteX801" fmla="*/ 246579 w 642086"/>
                <a:gd name="connsiteY801" fmla="*/ 236264 h 385524"/>
                <a:gd name="connsiteX802" fmla="*/ 246973 w 642086"/>
                <a:gd name="connsiteY802" fmla="*/ 234176 h 385524"/>
                <a:gd name="connsiteX803" fmla="*/ 247910 w 642086"/>
                <a:gd name="connsiteY803" fmla="*/ 231877 h 385524"/>
                <a:gd name="connsiteX804" fmla="*/ 249090 w 642086"/>
                <a:gd name="connsiteY804" fmla="*/ 229820 h 385524"/>
                <a:gd name="connsiteX805" fmla="*/ 250240 w 642086"/>
                <a:gd name="connsiteY805" fmla="*/ 228398 h 385524"/>
                <a:gd name="connsiteX806" fmla="*/ 253779 w 642086"/>
                <a:gd name="connsiteY806" fmla="*/ 226855 h 385524"/>
                <a:gd name="connsiteX807" fmla="*/ 257954 w 642086"/>
                <a:gd name="connsiteY807" fmla="*/ 227279 h 385524"/>
                <a:gd name="connsiteX808" fmla="*/ 262038 w 642086"/>
                <a:gd name="connsiteY808" fmla="*/ 228973 h 385524"/>
                <a:gd name="connsiteX809" fmla="*/ 270418 w 642086"/>
                <a:gd name="connsiteY809" fmla="*/ 235386 h 385524"/>
                <a:gd name="connsiteX810" fmla="*/ 272596 w 642086"/>
                <a:gd name="connsiteY810" fmla="*/ 238412 h 385524"/>
                <a:gd name="connsiteX811" fmla="*/ 273443 w 642086"/>
                <a:gd name="connsiteY811" fmla="*/ 242193 h 385524"/>
                <a:gd name="connsiteX812" fmla="*/ 272142 w 642086"/>
                <a:gd name="connsiteY812" fmla="*/ 246216 h 385524"/>
                <a:gd name="connsiteX813" fmla="*/ 269359 w 642086"/>
                <a:gd name="connsiteY813" fmla="*/ 248485 h 385524"/>
                <a:gd name="connsiteX814" fmla="*/ 266303 w 642086"/>
                <a:gd name="connsiteY814" fmla="*/ 250270 h 385524"/>
                <a:gd name="connsiteX815" fmla="*/ 264186 w 642086"/>
                <a:gd name="connsiteY815" fmla="*/ 252842 h 385524"/>
                <a:gd name="connsiteX816" fmla="*/ 263823 w 642086"/>
                <a:gd name="connsiteY816" fmla="*/ 254778 h 385524"/>
                <a:gd name="connsiteX817" fmla="*/ 263823 w 642086"/>
                <a:gd name="connsiteY817" fmla="*/ 256714 h 385524"/>
                <a:gd name="connsiteX818" fmla="*/ 263732 w 642086"/>
                <a:gd name="connsiteY818" fmla="*/ 258650 h 385524"/>
                <a:gd name="connsiteX819" fmla="*/ 262371 w 642086"/>
                <a:gd name="connsiteY819" fmla="*/ 262371 h 385524"/>
                <a:gd name="connsiteX820" fmla="*/ 262371 w 642086"/>
                <a:gd name="connsiteY820" fmla="*/ 264337 h 385524"/>
                <a:gd name="connsiteX821" fmla="*/ 262794 w 642086"/>
                <a:gd name="connsiteY821" fmla="*/ 266213 h 385524"/>
                <a:gd name="connsiteX822" fmla="*/ 263550 w 642086"/>
                <a:gd name="connsiteY822" fmla="*/ 267846 h 385524"/>
                <a:gd name="connsiteX823" fmla="*/ 264035 w 642086"/>
                <a:gd name="connsiteY823" fmla="*/ 269722 h 385524"/>
                <a:gd name="connsiteX824" fmla="*/ 263823 w 642086"/>
                <a:gd name="connsiteY824" fmla="*/ 271870 h 385524"/>
                <a:gd name="connsiteX825" fmla="*/ 263006 w 642086"/>
                <a:gd name="connsiteY825" fmla="*/ 275681 h 385524"/>
                <a:gd name="connsiteX826" fmla="*/ 262824 w 642086"/>
                <a:gd name="connsiteY826" fmla="*/ 284152 h 385524"/>
                <a:gd name="connsiteX827" fmla="*/ 261009 w 642086"/>
                <a:gd name="connsiteY827" fmla="*/ 287207 h 385524"/>
                <a:gd name="connsiteX828" fmla="*/ 256018 w 642086"/>
                <a:gd name="connsiteY828" fmla="*/ 292592 h 385524"/>
                <a:gd name="connsiteX829" fmla="*/ 254142 w 642086"/>
                <a:gd name="connsiteY829" fmla="*/ 299429 h 385524"/>
                <a:gd name="connsiteX830" fmla="*/ 249151 w 642086"/>
                <a:gd name="connsiteY830" fmla="*/ 310228 h 385524"/>
                <a:gd name="connsiteX831" fmla="*/ 248757 w 642086"/>
                <a:gd name="connsiteY831" fmla="*/ 312165 h 385524"/>
                <a:gd name="connsiteX832" fmla="*/ 248485 w 642086"/>
                <a:gd name="connsiteY832" fmla="*/ 314252 h 385524"/>
                <a:gd name="connsiteX833" fmla="*/ 248092 w 642086"/>
                <a:gd name="connsiteY833" fmla="*/ 316218 h 385524"/>
                <a:gd name="connsiteX834" fmla="*/ 247275 w 642086"/>
                <a:gd name="connsiteY834" fmla="*/ 317852 h 385524"/>
                <a:gd name="connsiteX835" fmla="*/ 246186 w 642086"/>
                <a:gd name="connsiteY835" fmla="*/ 319395 h 385524"/>
                <a:gd name="connsiteX836" fmla="*/ 246186 w 642086"/>
                <a:gd name="connsiteY836" fmla="*/ 319395 h 385524"/>
                <a:gd name="connsiteX837" fmla="*/ 250543 w 642086"/>
                <a:gd name="connsiteY837" fmla="*/ 321149 h 385524"/>
                <a:gd name="connsiteX838" fmla="*/ 253416 w 642086"/>
                <a:gd name="connsiteY838" fmla="*/ 321058 h 385524"/>
                <a:gd name="connsiteX839" fmla="*/ 255806 w 642086"/>
                <a:gd name="connsiteY839" fmla="*/ 319879 h 385524"/>
                <a:gd name="connsiteX840" fmla="*/ 256956 w 642086"/>
                <a:gd name="connsiteY840" fmla="*/ 318154 h 385524"/>
                <a:gd name="connsiteX841" fmla="*/ 258710 w 642086"/>
                <a:gd name="connsiteY841" fmla="*/ 314040 h 385524"/>
                <a:gd name="connsiteX842" fmla="*/ 259981 w 642086"/>
                <a:gd name="connsiteY842" fmla="*/ 312709 h 385524"/>
                <a:gd name="connsiteX843" fmla="*/ 264004 w 642086"/>
                <a:gd name="connsiteY843" fmla="*/ 310833 h 385524"/>
                <a:gd name="connsiteX844" fmla="*/ 269389 w 642086"/>
                <a:gd name="connsiteY844" fmla="*/ 306447 h 385524"/>
                <a:gd name="connsiteX845" fmla="*/ 271416 w 642086"/>
                <a:gd name="connsiteY845" fmla="*/ 306084 h 385524"/>
                <a:gd name="connsiteX846" fmla="*/ 278465 w 642086"/>
                <a:gd name="connsiteY846" fmla="*/ 306810 h 385524"/>
                <a:gd name="connsiteX847" fmla="*/ 284605 w 642086"/>
                <a:gd name="connsiteY847" fmla="*/ 306296 h 385524"/>
                <a:gd name="connsiteX848" fmla="*/ 286209 w 642086"/>
                <a:gd name="connsiteY848" fmla="*/ 305176 h 385524"/>
                <a:gd name="connsiteX849" fmla="*/ 288145 w 642086"/>
                <a:gd name="connsiteY849" fmla="*/ 300397 h 385524"/>
                <a:gd name="connsiteX850" fmla="*/ 289657 w 642086"/>
                <a:gd name="connsiteY850" fmla="*/ 298612 h 385524"/>
                <a:gd name="connsiteX851" fmla="*/ 292773 w 642086"/>
                <a:gd name="connsiteY851" fmla="*/ 299399 h 385524"/>
                <a:gd name="connsiteX852" fmla="*/ 295375 w 642086"/>
                <a:gd name="connsiteY852" fmla="*/ 301002 h 385524"/>
                <a:gd name="connsiteX853" fmla="*/ 298007 w 642086"/>
                <a:gd name="connsiteY853" fmla="*/ 301456 h 385524"/>
                <a:gd name="connsiteX854" fmla="*/ 299096 w 642086"/>
                <a:gd name="connsiteY854" fmla="*/ 300578 h 385524"/>
                <a:gd name="connsiteX855" fmla="*/ 301244 w 642086"/>
                <a:gd name="connsiteY855" fmla="*/ 298824 h 385524"/>
                <a:gd name="connsiteX856" fmla="*/ 303724 w 642086"/>
                <a:gd name="connsiteY856" fmla="*/ 297432 h 385524"/>
                <a:gd name="connsiteX857" fmla="*/ 311469 w 642086"/>
                <a:gd name="connsiteY857" fmla="*/ 296525 h 385524"/>
                <a:gd name="connsiteX858" fmla="*/ 314071 w 642086"/>
                <a:gd name="connsiteY858" fmla="*/ 294921 h 385524"/>
                <a:gd name="connsiteX859" fmla="*/ 320242 w 642086"/>
                <a:gd name="connsiteY859" fmla="*/ 289294 h 385524"/>
                <a:gd name="connsiteX860" fmla="*/ 321663 w 642086"/>
                <a:gd name="connsiteY860" fmla="*/ 287994 h 385524"/>
                <a:gd name="connsiteX861" fmla="*/ 323902 w 642086"/>
                <a:gd name="connsiteY861" fmla="*/ 286723 h 385524"/>
                <a:gd name="connsiteX862" fmla="*/ 326292 w 642086"/>
                <a:gd name="connsiteY862" fmla="*/ 286118 h 385524"/>
                <a:gd name="connsiteX863" fmla="*/ 331011 w 642086"/>
                <a:gd name="connsiteY863" fmla="*/ 286118 h 385524"/>
                <a:gd name="connsiteX864" fmla="*/ 333583 w 642086"/>
                <a:gd name="connsiteY864" fmla="*/ 287752 h 385524"/>
                <a:gd name="connsiteX865" fmla="*/ 334883 w 642086"/>
                <a:gd name="connsiteY865" fmla="*/ 291382 h 385524"/>
                <a:gd name="connsiteX866" fmla="*/ 335730 w 642086"/>
                <a:gd name="connsiteY866" fmla="*/ 295708 h 385524"/>
                <a:gd name="connsiteX867" fmla="*/ 336880 w 642086"/>
                <a:gd name="connsiteY867" fmla="*/ 299489 h 385524"/>
                <a:gd name="connsiteX868" fmla="*/ 338332 w 642086"/>
                <a:gd name="connsiteY868" fmla="*/ 300669 h 385524"/>
                <a:gd name="connsiteX869" fmla="*/ 339905 w 642086"/>
                <a:gd name="connsiteY869" fmla="*/ 300669 h 385524"/>
                <a:gd name="connsiteX870" fmla="*/ 343172 w 642086"/>
                <a:gd name="connsiteY870" fmla="*/ 299217 h 385524"/>
                <a:gd name="connsiteX871" fmla="*/ 345199 w 642086"/>
                <a:gd name="connsiteY871" fmla="*/ 296827 h 385524"/>
                <a:gd name="connsiteX872" fmla="*/ 344564 w 642086"/>
                <a:gd name="connsiteY872" fmla="*/ 294014 h 385524"/>
                <a:gd name="connsiteX873" fmla="*/ 341841 w 642086"/>
                <a:gd name="connsiteY873" fmla="*/ 289234 h 385524"/>
                <a:gd name="connsiteX874" fmla="*/ 341993 w 642086"/>
                <a:gd name="connsiteY874" fmla="*/ 286209 h 385524"/>
                <a:gd name="connsiteX875" fmla="*/ 343323 w 642086"/>
                <a:gd name="connsiteY875" fmla="*/ 285059 h 385524"/>
                <a:gd name="connsiteX876" fmla="*/ 345139 w 642086"/>
                <a:gd name="connsiteY876" fmla="*/ 285392 h 385524"/>
                <a:gd name="connsiteX877" fmla="*/ 346893 w 642086"/>
                <a:gd name="connsiteY877" fmla="*/ 286784 h 385524"/>
                <a:gd name="connsiteX878" fmla="*/ 347559 w 642086"/>
                <a:gd name="connsiteY878" fmla="*/ 287994 h 385524"/>
                <a:gd name="connsiteX879" fmla="*/ 348708 w 642086"/>
                <a:gd name="connsiteY879" fmla="*/ 291170 h 385524"/>
                <a:gd name="connsiteX880" fmla="*/ 349313 w 642086"/>
                <a:gd name="connsiteY880" fmla="*/ 292199 h 385524"/>
                <a:gd name="connsiteX881" fmla="*/ 350221 w 642086"/>
                <a:gd name="connsiteY881" fmla="*/ 292713 h 385524"/>
                <a:gd name="connsiteX882" fmla="*/ 350856 w 642086"/>
                <a:gd name="connsiteY882" fmla="*/ 292592 h 385524"/>
                <a:gd name="connsiteX883" fmla="*/ 351522 w 642086"/>
                <a:gd name="connsiteY883" fmla="*/ 292289 h 385524"/>
                <a:gd name="connsiteX884" fmla="*/ 352550 w 642086"/>
                <a:gd name="connsiteY884" fmla="*/ 292289 h 385524"/>
                <a:gd name="connsiteX885" fmla="*/ 356543 w 642086"/>
                <a:gd name="connsiteY885" fmla="*/ 294346 h 385524"/>
                <a:gd name="connsiteX886" fmla="*/ 362503 w 642086"/>
                <a:gd name="connsiteY886" fmla="*/ 301274 h 385524"/>
                <a:gd name="connsiteX887" fmla="*/ 366405 w 642086"/>
                <a:gd name="connsiteY887" fmla="*/ 303694 h 385524"/>
                <a:gd name="connsiteX888" fmla="*/ 369945 w 642086"/>
                <a:gd name="connsiteY888" fmla="*/ 304481 h 385524"/>
                <a:gd name="connsiteX889" fmla="*/ 370913 w 642086"/>
                <a:gd name="connsiteY889" fmla="*/ 305116 h 385524"/>
                <a:gd name="connsiteX890" fmla="*/ 371760 w 642086"/>
                <a:gd name="connsiteY890" fmla="*/ 306447 h 385524"/>
                <a:gd name="connsiteX891" fmla="*/ 371881 w 642086"/>
                <a:gd name="connsiteY891" fmla="*/ 307415 h 385524"/>
                <a:gd name="connsiteX892" fmla="*/ 371881 w 642086"/>
                <a:gd name="connsiteY892" fmla="*/ 307597 h 385524"/>
                <a:gd name="connsiteX893" fmla="*/ 371972 w 642086"/>
                <a:gd name="connsiteY893" fmla="*/ 308746 h 385524"/>
                <a:gd name="connsiteX894" fmla="*/ 372486 w 642086"/>
                <a:gd name="connsiteY894" fmla="*/ 310138 h 385524"/>
                <a:gd name="connsiteX895" fmla="*/ 374543 w 642086"/>
                <a:gd name="connsiteY895" fmla="*/ 312739 h 385524"/>
                <a:gd name="connsiteX896" fmla="*/ 376751 w 642086"/>
                <a:gd name="connsiteY896" fmla="*/ 314040 h 385524"/>
                <a:gd name="connsiteX897" fmla="*/ 379111 w 642086"/>
                <a:gd name="connsiteY897" fmla="*/ 314403 h 385524"/>
                <a:gd name="connsiteX898" fmla="*/ 381622 w 642086"/>
                <a:gd name="connsiteY898" fmla="*/ 314252 h 385524"/>
                <a:gd name="connsiteX899" fmla="*/ 387067 w 642086"/>
                <a:gd name="connsiteY899" fmla="*/ 312618 h 385524"/>
                <a:gd name="connsiteX900" fmla="*/ 388217 w 642086"/>
                <a:gd name="connsiteY900" fmla="*/ 312286 h 385524"/>
                <a:gd name="connsiteX901" fmla="*/ 389759 w 642086"/>
                <a:gd name="connsiteY901" fmla="*/ 312346 h 385524"/>
                <a:gd name="connsiteX902" fmla="*/ 391242 w 642086"/>
                <a:gd name="connsiteY902" fmla="*/ 314796 h 385524"/>
                <a:gd name="connsiteX903" fmla="*/ 392119 w 642086"/>
                <a:gd name="connsiteY903" fmla="*/ 318336 h 385524"/>
                <a:gd name="connsiteX904" fmla="*/ 393329 w 642086"/>
                <a:gd name="connsiteY904" fmla="*/ 321845 h 385524"/>
                <a:gd name="connsiteX905" fmla="*/ 395810 w 642086"/>
                <a:gd name="connsiteY905" fmla="*/ 324144 h 385524"/>
                <a:gd name="connsiteX906" fmla="*/ 416925 w 642086"/>
                <a:gd name="connsiteY906" fmla="*/ 326232 h 385524"/>
                <a:gd name="connsiteX907" fmla="*/ 418075 w 642086"/>
                <a:gd name="connsiteY907" fmla="*/ 326806 h 385524"/>
                <a:gd name="connsiteX908" fmla="*/ 418831 w 642086"/>
                <a:gd name="connsiteY908" fmla="*/ 327653 h 385524"/>
                <a:gd name="connsiteX909" fmla="*/ 419134 w 642086"/>
                <a:gd name="connsiteY909" fmla="*/ 329317 h 385524"/>
                <a:gd name="connsiteX910" fmla="*/ 418771 w 642086"/>
                <a:gd name="connsiteY910" fmla="*/ 330346 h 385524"/>
                <a:gd name="connsiteX911" fmla="*/ 418166 w 642086"/>
                <a:gd name="connsiteY911" fmla="*/ 331374 h 385524"/>
                <a:gd name="connsiteX912" fmla="*/ 417833 w 642086"/>
                <a:gd name="connsiteY912" fmla="*/ 332947 h 385524"/>
                <a:gd name="connsiteX913" fmla="*/ 418075 w 642086"/>
                <a:gd name="connsiteY913" fmla="*/ 336517 h 385524"/>
                <a:gd name="connsiteX914" fmla="*/ 418922 w 642086"/>
                <a:gd name="connsiteY914" fmla="*/ 338665 h 385524"/>
                <a:gd name="connsiteX915" fmla="*/ 429843 w 642086"/>
                <a:gd name="connsiteY915" fmla="*/ 347438 h 385524"/>
                <a:gd name="connsiteX916" fmla="*/ 433110 w 642086"/>
                <a:gd name="connsiteY916" fmla="*/ 351098 h 385524"/>
                <a:gd name="connsiteX917" fmla="*/ 442336 w 642086"/>
                <a:gd name="connsiteY917" fmla="*/ 365649 h 385524"/>
                <a:gd name="connsiteX918" fmla="*/ 445694 w 642086"/>
                <a:gd name="connsiteY918" fmla="*/ 369461 h 385524"/>
                <a:gd name="connsiteX919" fmla="*/ 449809 w 642086"/>
                <a:gd name="connsiteY919" fmla="*/ 372304 h 385524"/>
                <a:gd name="connsiteX920" fmla="*/ 451079 w 642086"/>
                <a:gd name="connsiteY920" fmla="*/ 372819 h 385524"/>
                <a:gd name="connsiteX921" fmla="*/ 459005 w 642086"/>
                <a:gd name="connsiteY921" fmla="*/ 376116 h 385524"/>
                <a:gd name="connsiteX922" fmla="*/ 459005 w 642086"/>
                <a:gd name="connsiteY922" fmla="*/ 376116 h 385524"/>
                <a:gd name="connsiteX923" fmla="*/ 460639 w 642086"/>
                <a:gd name="connsiteY923" fmla="*/ 377659 h 385524"/>
                <a:gd name="connsiteX924" fmla="*/ 463906 w 642086"/>
                <a:gd name="connsiteY924" fmla="*/ 382166 h 385524"/>
                <a:gd name="connsiteX925" fmla="*/ 465751 w 642086"/>
                <a:gd name="connsiteY925" fmla="*/ 384163 h 385524"/>
                <a:gd name="connsiteX926" fmla="*/ 467324 w 642086"/>
                <a:gd name="connsiteY926" fmla="*/ 383951 h 385524"/>
                <a:gd name="connsiteX927" fmla="*/ 468716 w 642086"/>
                <a:gd name="connsiteY927" fmla="*/ 382832 h 385524"/>
                <a:gd name="connsiteX928" fmla="*/ 470107 w 642086"/>
                <a:gd name="connsiteY928" fmla="*/ 382136 h 385524"/>
                <a:gd name="connsiteX929" fmla="*/ 471045 w 642086"/>
                <a:gd name="connsiteY929" fmla="*/ 382378 h 385524"/>
                <a:gd name="connsiteX930" fmla="*/ 472860 w 642086"/>
                <a:gd name="connsiteY930" fmla="*/ 383649 h 385524"/>
                <a:gd name="connsiteX931" fmla="*/ 473828 w 642086"/>
                <a:gd name="connsiteY931" fmla="*/ 383951 h 385524"/>
                <a:gd name="connsiteX932" fmla="*/ 474857 w 642086"/>
                <a:gd name="connsiteY932" fmla="*/ 383528 h 385524"/>
                <a:gd name="connsiteX933" fmla="*/ 475341 w 642086"/>
                <a:gd name="connsiteY933" fmla="*/ 382469 h 385524"/>
                <a:gd name="connsiteX934" fmla="*/ 475734 w 642086"/>
                <a:gd name="connsiteY934" fmla="*/ 381198 h 385524"/>
                <a:gd name="connsiteX935" fmla="*/ 476400 w 642086"/>
                <a:gd name="connsiteY935" fmla="*/ 380079 h 385524"/>
                <a:gd name="connsiteX936" fmla="*/ 479425 w 642086"/>
                <a:gd name="connsiteY936" fmla="*/ 377719 h 385524"/>
                <a:gd name="connsiteX937" fmla="*/ 482752 w 642086"/>
                <a:gd name="connsiteY937" fmla="*/ 375965 h 385524"/>
                <a:gd name="connsiteX938" fmla="*/ 486140 w 642086"/>
                <a:gd name="connsiteY938" fmla="*/ 374997 h 385524"/>
                <a:gd name="connsiteX939" fmla="*/ 493945 w 642086"/>
                <a:gd name="connsiteY939" fmla="*/ 375511 h 385524"/>
                <a:gd name="connsiteX940" fmla="*/ 495730 w 642086"/>
                <a:gd name="connsiteY940" fmla="*/ 375057 h 385524"/>
                <a:gd name="connsiteX941" fmla="*/ 497848 w 642086"/>
                <a:gd name="connsiteY941" fmla="*/ 373393 h 385524"/>
                <a:gd name="connsiteX942" fmla="*/ 499088 w 642086"/>
                <a:gd name="connsiteY942" fmla="*/ 371034 h 385524"/>
                <a:gd name="connsiteX943" fmla="*/ 500177 w 642086"/>
                <a:gd name="connsiteY943" fmla="*/ 368493 h 385524"/>
                <a:gd name="connsiteX944" fmla="*/ 501781 w 642086"/>
                <a:gd name="connsiteY944" fmla="*/ 366345 h 385524"/>
                <a:gd name="connsiteX945" fmla="*/ 503656 w 642086"/>
                <a:gd name="connsiteY945" fmla="*/ 365589 h 385524"/>
                <a:gd name="connsiteX946" fmla="*/ 504866 w 642086"/>
                <a:gd name="connsiteY946" fmla="*/ 366496 h 385524"/>
                <a:gd name="connsiteX947" fmla="*/ 505955 w 642086"/>
                <a:gd name="connsiteY947" fmla="*/ 367736 h 385524"/>
                <a:gd name="connsiteX948" fmla="*/ 507498 w 642086"/>
                <a:gd name="connsiteY948" fmla="*/ 368039 h 385524"/>
                <a:gd name="connsiteX949" fmla="*/ 509283 w 642086"/>
                <a:gd name="connsiteY949" fmla="*/ 367706 h 385524"/>
                <a:gd name="connsiteX950" fmla="*/ 511038 w 642086"/>
                <a:gd name="connsiteY950" fmla="*/ 367767 h 385524"/>
                <a:gd name="connsiteX951" fmla="*/ 514486 w 642086"/>
                <a:gd name="connsiteY951" fmla="*/ 368916 h 385524"/>
                <a:gd name="connsiteX952" fmla="*/ 516815 w 642086"/>
                <a:gd name="connsiteY952" fmla="*/ 370701 h 385524"/>
                <a:gd name="connsiteX953" fmla="*/ 520415 w 642086"/>
                <a:gd name="connsiteY953" fmla="*/ 376025 h 385524"/>
                <a:gd name="connsiteX954" fmla="*/ 522412 w 642086"/>
                <a:gd name="connsiteY954" fmla="*/ 378264 h 385524"/>
                <a:gd name="connsiteX955" fmla="*/ 524772 w 642086"/>
                <a:gd name="connsiteY955" fmla="*/ 379383 h 385524"/>
                <a:gd name="connsiteX956" fmla="*/ 532849 w 642086"/>
                <a:gd name="connsiteY956" fmla="*/ 379988 h 385524"/>
                <a:gd name="connsiteX957" fmla="*/ 548247 w 642086"/>
                <a:gd name="connsiteY957" fmla="*/ 385524 h 385524"/>
                <a:gd name="connsiteX958" fmla="*/ 551605 w 642086"/>
                <a:gd name="connsiteY958" fmla="*/ 383618 h 385524"/>
                <a:gd name="connsiteX959" fmla="*/ 550848 w 642086"/>
                <a:gd name="connsiteY959" fmla="*/ 381803 h 385524"/>
                <a:gd name="connsiteX960" fmla="*/ 549971 w 642086"/>
                <a:gd name="connsiteY960" fmla="*/ 379081 h 385524"/>
                <a:gd name="connsiteX961" fmla="*/ 549305 w 642086"/>
                <a:gd name="connsiteY961" fmla="*/ 376207 h 385524"/>
                <a:gd name="connsiteX962" fmla="*/ 549305 w 642086"/>
                <a:gd name="connsiteY962" fmla="*/ 374029 h 385524"/>
                <a:gd name="connsiteX963" fmla="*/ 550183 w 642086"/>
                <a:gd name="connsiteY963" fmla="*/ 372577 h 385524"/>
                <a:gd name="connsiteX964" fmla="*/ 551454 w 642086"/>
                <a:gd name="connsiteY964" fmla="*/ 372183 h 385524"/>
                <a:gd name="connsiteX965" fmla="*/ 552815 w 642086"/>
                <a:gd name="connsiteY965" fmla="*/ 372123 h 385524"/>
                <a:gd name="connsiteX966" fmla="*/ 554055 w 642086"/>
                <a:gd name="connsiteY966" fmla="*/ 371578 h 385524"/>
                <a:gd name="connsiteX967" fmla="*/ 554811 w 642086"/>
                <a:gd name="connsiteY967" fmla="*/ 370762 h 385524"/>
                <a:gd name="connsiteX968" fmla="*/ 555114 w 642086"/>
                <a:gd name="connsiteY968" fmla="*/ 370036 h 385524"/>
                <a:gd name="connsiteX969" fmla="*/ 555386 w 642086"/>
                <a:gd name="connsiteY969" fmla="*/ 366466 h 385524"/>
                <a:gd name="connsiteX970" fmla="*/ 555205 w 642086"/>
                <a:gd name="connsiteY970" fmla="*/ 365861 h 385524"/>
                <a:gd name="connsiteX971" fmla="*/ 554993 w 642086"/>
                <a:gd name="connsiteY971" fmla="*/ 365286 h 385524"/>
                <a:gd name="connsiteX972" fmla="*/ 554781 w 642086"/>
                <a:gd name="connsiteY972" fmla="*/ 362987 h 385524"/>
                <a:gd name="connsiteX973" fmla="*/ 554569 w 642086"/>
                <a:gd name="connsiteY973" fmla="*/ 362291 h 385524"/>
                <a:gd name="connsiteX974" fmla="*/ 554479 w 642086"/>
                <a:gd name="connsiteY974" fmla="*/ 361414 h 385524"/>
                <a:gd name="connsiteX975" fmla="*/ 554781 w 642086"/>
                <a:gd name="connsiteY975" fmla="*/ 359750 h 385524"/>
                <a:gd name="connsiteX976" fmla="*/ 555295 w 642086"/>
                <a:gd name="connsiteY976" fmla="*/ 358389 h 385524"/>
                <a:gd name="connsiteX977" fmla="*/ 555991 w 642086"/>
                <a:gd name="connsiteY977" fmla="*/ 357390 h 385524"/>
                <a:gd name="connsiteX978" fmla="*/ 557655 w 642086"/>
                <a:gd name="connsiteY978" fmla="*/ 355908 h 385524"/>
                <a:gd name="connsiteX979" fmla="*/ 566035 w 642086"/>
                <a:gd name="connsiteY979" fmla="*/ 353337 h 385524"/>
                <a:gd name="connsiteX980" fmla="*/ 567819 w 642086"/>
                <a:gd name="connsiteY980" fmla="*/ 351612 h 385524"/>
                <a:gd name="connsiteX981" fmla="*/ 567971 w 642086"/>
                <a:gd name="connsiteY981" fmla="*/ 349404 h 385524"/>
                <a:gd name="connsiteX982" fmla="*/ 566942 w 642086"/>
                <a:gd name="connsiteY982" fmla="*/ 344503 h 385524"/>
                <a:gd name="connsiteX983" fmla="*/ 567456 w 642086"/>
                <a:gd name="connsiteY983" fmla="*/ 341599 h 385524"/>
                <a:gd name="connsiteX984" fmla="*/ 568485 w 642086"/>
                <a:gd name="connsiteY984" fmla="*/ 340087 h 385524"/>
                <a:gd name="connsiteX985" fmla="*/ 569877 w 642086"/>
                <a:gd name="connsiteY985" fmla="*/ 339088 h 385524"/>
                <a:gd name="connsiteX986" fmla="*/ 572690 w 642086"/>
                <a:gd name="connsiteY986" fmla="*/ 337848 h 385524"/>
                <a:gd name="connsiteX987" fmla="*/ 570572 w 642086"/>
                <a:gd name="connsiteY987" fmla="*/ 336033 h 385524"/>
                <a:gd name="connsiteX988" fmla="*/ 569786 w 642086"/>
                <a:gd name="connsiteY988" fmla="*/ 335640 h 385524"/>
                <a:gd name="connsiteX989" fmla="*/ 571117 w 642086"/>
                <a:gd name="connsiteY989" fmla="*/ 334914 h 385524"/>
                <a:gd name="connsiteX990" fmla="*/ 572993 w 642086"/>
                <a:gd name="connsiteY990" fmla="*/ 334672 h 385524"/>
                <a:gd name="connsiteX991" fmla="*/ 587543 w 642086"/>
                <a:gd name="connsiteY991" fmla="*/ 332887 h 385524"/>
                <a:gd name="connsiteX992" fmla="*/ 593896 w 642086"/>
                <a:gd name="connsiteY992" fmla="*/ 330618 h 385524"/>
                <a:gd name="connsiteX993" fmla="*/ 596286 w 642086"/>
                <a:gd name="connsiteY993" fmla="*/ 329105 h 385524"/>
                <a:gd name="connsiteX994" fmla="*/ 597587 w 642086"/>
                <a:gd name="connsiteY994" fmla="*/ 326776 h 385524"/>
                <a:gd name="connsiteX995" fmla="*/ 596800 w 642086"/>
                <a:gd name="connsiteY995" fmla="*/ 323327 h 385524"/>
                <a:gd name="connsiteX996" fmla="*/ 595167 w 642086"/>
                <a:gd name="connsiteY996" fmla="*/ 321573 h 385524"/>
                <a:gd name="connsiteX997" fmla="*/ 585063 w 642086"/>
                <a:gd name="connsiteY997" fmla="*/ 317549 h 385524"/>
                <a:gd name="connsiteX998" fmla="*/ 584276 w 642086"/>
                <a:gd name="connsiteY998" fmla="*/ 316551 h 385524"/>
                <a:gd name="connsiteX999" fmla="*/ 583762 w 642086"/>
                <a:gd name="connsiteY999" fmla="*/ 314101 h 385524"/>
                <a:gd name="connsiteX1000" fmla="*/ 584185 w 642086"/>
                <a:gd name="connsiteY1000" fmla="*/ 312104 h 385524"/>
                <a:gd name="connsiteX1001" fmla="*/ 584972 w 642086"/>
                <a:gd name="connsiteY1001" fmla="*/ 310198 h 385524"/>
                <a:gd name="connsiteX1002" fmla="*/ 585486 w 642086"/>
                <a:gd name="connsiteY1002" fmla="*/ 307960 h 385524"/>
                <a:gd name="connsiteX1003" fmla="*/ 584972 w 642086"/>
                <a:gd name="connsiteY1003" fmla="*/ 303724 h 385524"/>
                <a:gd name="connsiteX1004" fmla="*/ 583127 w 642086"/>
                <a:gd name="connsiteY1004" fmla="*/ 302272 h 385524"/>
                <a:gd name="connsiteX1005" fmla="*/ 581221 w 642086"/>
                <a:gd name="connsiteY1005" fmla="*/ 301516 h 385524"/>
                <a:gd name="connsiteX1006" fmla="*/ 581221 w 642086"/>
                <a:gd name="connsiteY1006" fmla="*/ 296494 h 385524"/>
                <a:gd name="connsiteX1007" fmla="*/ 581917 w 642086"/>
                <a:gd name="connsiteY1007" fmla="*/ 291926 h 385524"/>
                <a:gd name="connsiteX1008" fmla="*/ 581402 w 642086"/>
                <a:gd name="connsiteY1008" fmla="*/ 286844 h 385524"/>
                <a:gd name="connsiteX1009" fmla="*/ 576411 w 642086"/>
                <a:gd name="connsiteY1009" fmla="*/ 280189 h 385524"/>
                <a:gd name="connsiteX1010" fmla="*/ 572599 w 642086"/>
                <a:gd name="connsiteY1010" fmla="*/ 272081 h 385524"/>
                <a:gd name="connsiteX1011" fmla="*/ 570633 w 642086"/>
                <a:gd name="connsiteY1011" fmla="*/ 268058 h 385524"/>
                <a:gd name="connsiteX1012" fmla="*/ 568273 w 642086"/>
                <a:gd name="connsiteY1012" fmla="*/ 263278 h 385524"/>
                <a:gd name="connsiteX1013" fmla="*/ 567184 w 642086"/>
                <a:gd name="connsiteY1013" fmla="*/ 254989 h 385524"/>
                <a:gd name="connsiteX1014" fmla="*/ 568515 w 642086"/>
                <a:gd name="connsiteY1014" fmla="*/ 246065 h 385524"/>
                <a:gd name="connsiteX1015" fmla="*/ 574898 w 642086"/>
                <a:gd name="connsiteY1015" fmla="*/ 232845 h 385524"/>
                <a:gd name="connsiteX1016" fmla="*/ 569755 w 642086"/>
                <a:gd name="connsiteY1016" fmla="*/ 208130 h 385524"/>
                <a:gd name="connsiteX1017" fmla="*/ 565218 w 642086"/>
                <a:gd name="connsiteY1017" fmla="*/ 186046 h 385524"/>
                <a:gd name="connsiteX1018" fmla="*/ 563342 w 642086"/>
                <a:gd name="connsiteY1018" fmla="*/ 176971 h 385524"/>
                <a:gd name="connsiteX1019" fmla="*/ 561679 w 642086"/>
                <a:gd name="connsiteY1019" fmla="*/ 168833 h 385524"/>
                <a:gd name="connsiteX1020" fmla="*/ 565520 w 642086"/>
                <a:gd name="connsiteY1020" fmla="*/ 157489 h 385524"/>
                <a:gd name="connsiteX1021" fmla="*/ 568909 w 642086"/>
                <a:gd name="connsiteY1021" fmla="*/ 147445 h 385524"/>
                <a:gd name="connsiteX1022" fmla="*/ 581947 w 642086"/>
                <a:gd name="connsiteY1022" fmla="*/ 137069 h 385524"/>
                <a:gd name="connsiteX1023" fmla="*/ 591083 w 642086"/>
                <a:gd name="connsiteY1023" fmla="*/ 129839 h 385524"/>
                <a:gd name="connsiteX1024" fmla="*/ 591234 w 642086"/>
                <a:gd name="connsiteY1024" fmla="*/ 129627 h 385524"/>
                <a:gd name="connsiteX1025" fmla="*/ 593019 w 642086"/>
                <a:gd name="connsiteY1025" fmla="*/ 127026 h 385524"/>
                <a:gd name="connsiteX1026" fmla="*/ 594229 w 642086"/>
                <a:gd name="connsiteY1026" fmla="*/ 123002 h 385524"/>
                <a:gd name="connsiteX1027" fmla="*/ 598676 w 642086"/>
                <a:gd name="connsiteY1027" fmla="*/ 115621 h 385524"/>
                <a:gd name="connsiteX1028" fmla="*/ 600491 w 642086"/>
                <a:gd name="connsiteY1028" fmla="*/ 111840 h 385524"/>
                <a:gd name="connsiteX1029" fmla="*/ 606632 w 642086"/>
                <a:gd name="connsiteY1029" fmla="*/ 96805 h 385524"/>
                <a:gd name="connsiteX1030" fmla="*/ 610051 w 642086"/>
                <a:gd name="connsiteY1030" fmla="*/ 83282 h 385524"/>
                <a:gd name="connsiteX1031" fmla="*/ 611866 w 642086"/>
                <a:gd name="connsiteY1031" fmla="*/ 79410 h 385524"/>
                <a:gd name="connsiteX1032" fmla="*/ 611079 w 642086"/>
                <a:gd name="connsiteY1032" fmla="*/ 76203 h 385524"/>
                <a:gd name="connsiteX1033" fmla="*/ 613318 w 642086"/>
                <a:gd name="connsiteY1033" fmla="*/ 73572 h 385524"/>
                <a:gd name="connsiteX1034" fmla="*/ 618975 w 642086"/>
                <a:gd name="connsiteY1034" fmla="*/ 70758 h 385524"/>
                <a:gd name="connsiteX1035" fmla="*/ 630742 w 642086"/>
                <a:gd name="connsiteY1035" fmla="*/ 71182 h 385524"/>
                <a:gd name="connsiteX1036" fmla="*/ 632830 w 642086"/>
                <a:gd name="connsiteY1036" fmla="*/ 68671 h 385524"/>
                <a:gd name="connsiteX1037" fmla="*/ 630440 w 642086"/>
                <a:gd name="connsiteY1037" fmla="*/ 68671 h 385524"/>
                <a:gd name="connsiteX1038" fmla="*/ 623180 w 642086"/>
                <a:gd name="connsiteY1038" fmla="*/ 65918 h 385524"/>
                <a:gd name="connsiteX1039" fmla="*/ 626417 w 642086"/>
                <a:gd name="connsiteY1039" fmla="*/ 64496 h 385524"/>
                <a:gd name="connsiteX1040" fmla="*/ 634615 w 642086"/>
                <a:gd name="connsiteY1040" fmla="*/ 64012 h 385524"/>
                <a:gd name="connsiteX1041" fmla="*/ 639122 w 642086"/>
                <a:gd name="connsiteY1041" fmla="*/ 60715 h 385524"/>
                <a:gd name="connsiteX1042" fmla="*/ 641542 w 642086"/>
                <a:gd name="connsiteY1042" fmla="*/ 62197 h 385524"/>
                <a:gd name="connsiteX1043" fmla="*/ 642087 w 642086"/>
                <a:gd name="connsiteY1043" fmla="*/ 58779 h 385524"/>
                <a:gd name="connsiteX1044" fmla="*/ 640998 w 642086"/>
                <a:gd name="connsiteY1044" fmla="*/ 57508 h 38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Lst>
              <a:rect l="l" t="t" r="r" b="b"/>
              <a:pathLst>
                <a:path w="642086" h="385524">
                  <a:moveTo>
                    <a:pt x="143694" y="331314"/>
                  </a:moveTo>
                  <a:lnTo>
                    <a:pt x="141607" y="329741"/>
                  </a:lnTo>
                  <a:lnTo>
                    <a:pt x="140064" y="329529"/>
                  </a:lnTo>
                  <a:lnTo>
                    <a:pt x="139701" y="330588"/>
                  </a:lnTo>
                  <a:lnTo>
                    <a:pt x="139489" y="332009"/>
                  </a:lnTo>
                  <a:lnTo>
                    <a:pt x="139398" y="333492"/>
                  </a:lnTo>
                  <a:lnTo>
                    <a:pt x="140578" y="335095"/>
                  </a:lnTo>
                  <a:lnTo>
                    <a:pt x="142666" y="336366"/>
                  </a:lnTo>
                  <a:lnTo>
                    <a:pt x="144692" y="336154"/>
                  </a:lnTo>
                  <a:lnTo>
                    <a:pt x="145177" y="333885"/>
                  </a:lnTo>
                  <a:lnTo>
                    <a:pt x="144723" y="332312"/>
                  </a:lnTo>
                  <a:lnTo>
                    <a:pt x="143694" y="331314"/>
                  </a:lnTo>
                  <a:close/>
                  <a:moveTo>
                    <a:pt x="216540" y="271416"/>
                  </a:moveTo>
                  <a:lnTo>
                    <a:pt x="213636" y="272354"/>
                  </a:lnTo>
                  <a:lnTo>
                    <a:pt x="211881" y="274895"/>
                  </a:lnTo>
                  <a:lnTo>
                    <a:pt x="212425" y="279100"/>
                  </a:lnTo>
                  <a:lnTo>
                    <a:pt x="215178" y="281490"/>
                  </a:lnTo>
                  <a:lnTo>
                    <a:pt x="218355" y="279917"/>
                  </a:lnTo>
                  <a:lnTo>
                    <a:pt x="220351" y="276196"/>
                  </a:lnTo>
                  <a:lnTo>
                    <a:pt x="219444" y="272051"/>
                  </a:lnTo>
                  <a:lnTo>
                    <a:pt x="216540" y="271416"/>
                  </a:lnTo>
                  <a:close/>
                  <a:moveTo>
                    <a:pt x="146538" y="213152"/>
                  </a:moveTo>
                  <a:lnTo>
                    <a:pt x="143180" y="211064"/>
                  </a:lnTo>
                  <a:lnTo>
                    <a:pt x="140699" y="210217"/>
                  </a:lnTo>
                  <a:lnTo>
                    <a:pt x="136464" y="209219"/>
                  </a:lnTo>
                  <a:lnTo>
                    <a:pt x="132411" y="207253"/>
                  </a:lnTo>
                  <a:lnTo>
                    <a:pt x="130928" y="205922"/>
                  </a:lnTo>
                  <a:lnTo>
                    <a:pt x="130172" y="204833"/>
                  </a:lnTo>
                  <a:lnTo>
                    <a:pt x="128720" y="201172"/>
                  </a:lnTo>
                  <a:lnTo>
                    <a:pt x="126693" y="198480"/>
                  </a:lnTo>
                  <a:lnTo>
                    <a:pt x="121187" y="196150"/>
                  </a:lnTo>
                  <a:lnTo>
                    <a:pt x="116498" y="193034"/>
                  </a:lnTo>
                  <a:lnTo>
                    <a:pt x="111870" y="191552"/>
                  </a:lnTo>
                  <a:lnTo>
                    <a:pt x="109692" y="190282"/>
                  </a:lnTo>
                  <a:lnTo>
                    <a:pt x="107423" y="189767"/>
                  </a:lnTo>
                  <a:lnTo>
                    <a:pt x="102068" y="190977"/>
                  </a:lnTo>
                  <a:lnTo>
                    <a:pt x="98529" y="189283"/>
                  </a:lnTo>
                  <a:lnTo>
                    <a:pt x="96442" y="190735"/>
                  </a:lnTo>
                  <a:lnTo>
                    <a:pt x="93144" y="194638"/>
                  </a:lnTo>
                  <a:lnTo>
                    <a:pt x="90966" y="195485"/>
                  </a:lnTo>
                  <a:lnTo>
                    <a:pt x="89242" y="194940"/>
                  </a:lnTo>
                  <a:lnTo>
                    <a:pt x="87578" y="193882"/>
                  </a:lnTo>
                  <a:lnTo>
                    <a:pt x="85521" y="193307"/>
                  </a:lnTo>
                  <a:lnTo>
                    <a:pt x="84886" y="193670"/>
                  </a:lnTo>
                  <a:lnTo>
                    <a:pt x="83101" y="195334"/>
                  </a:lnTo>
                  <a:lnTo>
                    <a:pt x="82102" y="195697"/>
                  </a:lnTo>
                  <a:lnTo>
                    <a:pt x="81376" y="195334"/>
                  </a:lnTo>
                  <a:lnTo>
                    <a:pt x="80287" y="193670"/>
                  </a:lnTo>
                  <a:lnTo>
                    <a:pt x="79652" y="193307"/>
                  </a:lnTo>
                  <a:lnTo>
                    <a:pt x="78533" y="192339"/>
                  </a:lnTo>
                  <a:lnTo>
                    <a:pt x="76657" y="188164"/>
                  </a:lnTo>
                  <a:lnTo>
                    <a:pt x="75568" y="187196"/>
                  </a:lnTo>
                  <a:lnTo>
                    <a:pt x="72271" y="188073"/>
                  </a:lnTo>
                  <a:lnTo>
                    <a:pt x="63498" y="194577"/>
                  </a:lnTo>
                  <a:lnTo>
                    <a:pt x="49280" y="196029"/>
                  </a:lnTo>
                  <a:lnTo>
                    <a:pt x="45892" y="198752"/>
                  </a:lnTo>
                  <a:lnTo>
                    <a:pt x="45468" y="202261"/>
                  </a:lnTo>
                  <a:lnTo>
                    <a:pt x="45347" y="207132"/>
                  </a:lnTo>
                  <a:lnTo>
                    <a:pt x="44379" y="210671"/>
                  </a:lnTo>
                  <a:lnTo>
                    <a:pt x="41354" y="210187"/>
                  </a:lnTo>
                  <a:lnTo>
                    <a:pt x="39902" y="209158"/>
                  </a:lnTo>
                  <a:lnTo>
                    <a:pt x="39509" y="208130"/>
                  </a:lnTo>
                  <a:lnTo>
                    <a:pt x="39357" y="206012"/>
                  </a:lnTo>
                  <a:lnTo>
                    <a:pt x="39236" y="205196"/>
                  </a:lnTo>
                  <a:lnTo>
                    <a:pt x="38934" y="204137"/>
                  </a:lnTo>
                  <a:lnTo>
                    <a:pt x="38571" y="203229"/>
                  </a:lnTo>
                  <a:lnTo>
                    <a:pt x="38298" y="202836"/>
                  </a:lnTo>
                  <a:lnTo>
                    <a:pt x="36453" y="202927"/>
                  </a:lnTo>
                  <a:lnTo>
                    <a:pt x="35787" y="203441"/>
                  </a:lnTo>
                  <a:lnTo>
                    <a:pt x="35334" y="204742"/>
                  </a:lnTo>
                  <a:lnTo>
                    <a:pt x="34184" y="207222"/>
                  </a:lnTo>
                  <a:lnTo>
                    <a:pt x="32883" y="208614"/>
                  </a:lnTo>
                  <a:lnTo>
                    <a:pt x="29647" y="210217"/>
                  </a:lnTo>
                  <a:lnTo>
                    <a:pt x="28346" y="211397"/>
                  </a:lnTo>
                  <a:lnTo>
                    <a:pt x="27347" y="213303"/>
                  </a:lnTo>
                  <a:lnTo>
                    <a:pt x="26863" y="215330"/>
                  </a:lnTo>
                  <a:lnTo>
                    <a:pt x="26289" y="219958"/>
                  </a:lnTo>
                  <a:lnTo>
                    <a:pt x="26833" y="222560"/>
                  </a:lnTo>
                  <a:lnTo>
                    <a:pt x="26833" y="224072"/>
                  </a:lnTo>
                  <a:lnTo>
                    <a:pt x="25895" y="224768"/>
                  </a:lnTo>
                  <a:lnTo>
                    <a:pt x="25290" y="224708"/>
                  </a:lnTo>
                  <a:lnTo>
                    <a:pt x="24746" y="224496"/>
                  </a:lnTo>
                  <a:lnTo>
                    <a:pt x="24322" y="223951"/>
                  </a:lnTo>
                  <a:lnTo>
                    <a:pt x="24171" y="222923"/>
                  </a:lnTo>
                  <a:lnTo>
                    <a:pt x="23929" y="220503"/>
                  </a:lnTo>
                  <a:lnTo>
                    <a:pt x="23354" y="218718"/>
                  </a:lnTo>
                  <a:lnTo>
                    <a:pt x="18968" y="211185"/>
                  </a:lnTo>
                  <a:lnTo>
                    <a:pt x="16457" y="208826"/>
                  </a:lnTo>
                  <a:lnTo>
                    <a:pt x="13522" y="207918"/>
                  </a:lnTo>
                  <a:lnTo>
                    <a:pt x="9680" y="207767"/>
                  </a:lnTo>
                  <a:lnTo>
                    <a:pt x="8712" y="209249"/>
                  </a:lnTo>
                  <a:lnTo>
                    <a:pt x="8652" y="210187"/>
                  </a:lnTo>
                  <a:lnTo>
                    <a:pt x="8440" y="210822"/>
                  </a:lnTo>
                  <a:lnTo>
                    <a:pt x="6928" y="211397"/>
                  </a:lnTo>
                  <a:lnTo>
                    <a:pt x="5294" y="211397"/>
                  </a:lnTo>
                  <a:lnTo>
                    <a:pt x="0" y="209098"/>
                  </a:lnTo>
                  <a:lnTo>
                    <a:pt x="2723" y="212486"/>
                  </a:lnTo>
                  <a:lnTo>
                    <a:pt x="5566" y="215027"/>
                  </a:lnTo>
                  <a:lnTo>
                    <a:pt x="6928" y="216630"/>
                  </a:lnTo>
                  <a:lnTo>
                    <a:pt x="9287" y="220412"/>
                  </a:lnTo>
                  <a:lnTo>
                    <a:pt x="11435" y="223014"/>
                  </a:lnTo>
                  <a:lnTo>
                    <a:pt x="15882" y="231000"/>
                  </a:lnTo>
                  <a:lnTo>
                    <a:pt x="17092" y="234781"/>
                  </a:lnTo>
                  <a:lnTo>
                    <a:pt x="17999" y="236808"/>
                  </a:lnTo>
                  <a:lnTo>
                    <a:pt x="15912" y="236112"/>
                  </a:lnTo>
                  <a:lnTo>
                    <a:pt x="13643" y="236687"/>
                  </a:lnTo>
                  <a:lnTo>
                    <a:pt x="12313" y="238532"/>
                  </a:lnTo>
                  <a:lnTo>
                    <a:pt x="13159" y="241618"/>
                  </a:lnTo>
                  <a:lnTo>
                    <a:pt x="11253" y="243010"/>
                  </a:lnTo>
                  <a:lnTo>
                    <a:pt x="9650" y="241588"/>
                  </a:lnTo>
                  <a:lnTo>
                    <a:pt x="8017" y="239319"/>
                  </a:lnTo>
                  <a:lnTo>
                    <a:pt x="6202" y="238139"/>
                  </a:lnTo>
                  <a:lnTo>
                    <a:pt x="4084" y="238986"/>
                  </a:lnTo>
                  <a:lnTo>
                    <a:pt x="4719" y="241104"/>
                  </a:lnTo>
                  <a:lnTo>
                    <a:pt x="6444" y="243857"/>
                  </a:lnTo>
                  <a:lnTo>
                    <a:pt x="7623" y="246519"/>
                  </a:lnTo>
                  <a:lnTo>
                    <a:pt x="2329" y="245097"/>
                  </a:lnTo>
                  <a:lnTo>
                    <a:pt x="1089" y="245914"/>
                  </a:lnTo>
                  <a:lnTo>
                    <a:pt x="1150" y="247426"/>
                  </a:lnTo>
                  <a:lnTo>
                    <a:pt x="1906" y="249484"/>
                  </a:lnTo>
                  <a:lnTo>
                    <a:pt x="3570" y="252539"/>
                  </a:lnTo>
                  <a:lnTo>
                    <a:pt x="6444" y="254989"/>
                  </a:lnTo>
                  <a:lnTo>
                    <a:pt x="9711" y="255988"/>
                  </a:lnTo>
                  <a:lnTo>
                    <a:pt x="16245" y="256048"/>
                  </a:lnTo>
                  <a:lnTo>
                    <a:pt x="18544" y="257954"/>
                  </a:lnTo>
                  <a:lnTo>
                    <a:pt x="22174" y="266243"/>
                  </a:lnTo>
                  <a:lnTo>
                    <a:pt x="24110" y="268118"/>
                  </a:lnTo>
                  <a:lnTo>
                    <a:pt x="31099" y="269238"/>
                  </a:lnTo>
                  <a:lnTo>
                    <a:pt x="34971" y="270750"/>
                  </a:lnTo>
                  <a:lnTo>
                    <a:pt x="37240" y="273019"/>
                  </a:lnTo>
                  <a:lnTo>
                    <a:pt x="33428" y="278434"/>
                  </a:lnTo>
                  <a:lnTo>
                    <a:pt x="32823" y="280128"/>
                  </a:lnTo>
                  <a:lnTo>
                    <a:pt x="32248" y="283789"/>
                  </a:lnTo>
                  <a:lnTo>
                    <a:pt x="31703" y="284969"/>
                  </a:lnTo>
                  <a:lnTo>
                    <a:pt x="30463" y="285452"/>
                  </a:lnTo>
                  <a:lnTo>
                    <a:pt x="29253" y="284969"/>
                  </a:lnTo>
                  <a:lnTo>
                    <a:pt x="27983" y="284182"/>
                  </a:lnTo>
                  <a:lnTo>
                    <a:pt x="26500" y="283758"/>
                  </a:lnTo>
                  <a:lnTo>
                    <a:pt x="25472" y="284424"/>
                  </a:lnTo>
                  <a:lnTo>
                    <a:pt x="24504" y="286027"/>
                  </a:lnTo>
                  <a:lnTo>
                    <a:pt x="22779" y="289718"/>
                  </a:lnTo>
                  <a:lnTo>
                    <a:pt x="18998" y="295133"/>
                  </a:lnTo>
                  <a:lnTo>
                    <a:pt x="18393" y="296736"/>
                  </a:lnTo>
                  <a:lnTo>
                    <a:pt x="17304" y="300397"/>
                  </a:lnTo>
                  <a:lnTo>
                    <a:pt x="16608" y="301607"/>
                  </a:lnTo>
                  <a:lnTo>
                    <a:pt x="15821" y="301819"/>
                  </a:lnTo>
                  <a:lnTo>
                    <a:pt x="13159" y="301607"/>
                  </a:lnTo>
                  <a:lnTo>
                    <a:pt x="13039" y="302333"/>
                  </a:lnTo>
                  <a:lnTo>
                    <a:pt x="13039" y="303150"/>
                  </a:lnTo>
                  <a:lnTo>
                    <a:pt x="13220" y="303815"/>
                  </a:lnTo>
                  <a:lnTo>
                    <a:pt x="13492" y="304118"/>
                  </a:lnTo>
                  <a:lnTo>
                    <a:pt x="14884" y="304693"/>
                  </a:lnTo>
                  <a:lnTo>
                    <a:pt x="15882" y="306114"/>
                  </a:lnTo>
                  <a:lnTo>
                    <a:pt x="16245" y="308050"/>
                  </a:lnTo>
                  <a:lnTo>
                    <a:pt x="15821" y="310077"/>
                  </a:lnTo>
                  <a:lnTo>
                    <a:pt x="18514" y="313738"/>
                  </a:lnTo>
                  <a:lnTo>
                    <a:pt x="21690" y="313647"/>
                  </a:lnTo>
                  <a:lnTo>
                    <a:pt x="35939" y="301667"/>
                  </a:lnTo>
                  <a:lnTo>
                    <a:pt x="37240" y="299882"/>
                  </a:lnTo>
                  <a:lnTo>
                    <a:pt x="36786" y="295980"/>
                  </a:lnTo>
                  <a:lnTo>
                    <a:pt x="36937" y="294286"/>
                  </a:lnTo>
                  <a:lnTo>
                    <a:pt x="37935" y="292743"/>
                  </a:lnTo>
                  <a:lnTo>
                    <a:pt x="39055" y="291352"/>
                  </a:lnTo>
                  <a:lnTo>
                    <a:pt x="39902" y="289748"/>
                  </a:lnTo>
                  <a:lnTo>
                    <a:pt x="42654" y="282579"/>
                  </a:lnTo>
                  <a:lnTo>
                    <a:pt x="43532" y="278767"/>
                  </a:lnTo>
                  <a:lnTo>
                    <a:pt x="43986" y="274925"/>
                  </a:lnTo>
                  <a:lnTo>
                    <a:pt x="44167" y="268391"/>
                  </a:lnTo>
                  <a:lnTo>
                    <a:pt x="44469" y="267513"/>
                  </a:lnTo>
                  <a:lnTo>
                    <a:pt x="45196" y="266939"/>
                  </a:lnTo>
                  <a:lnTo>
                    <a:pt x="46496" y="265124"/>
                  </a:lnTo>
                  <a:lnTo>
                    <a:pt x="49340" y="262704"/>
                  </a:lnTo>
                  <a:lnTo>
                    <a:pt x="52396" y="260919"/>
                  </a:lnTo>
                  <a:lnTo>
                    <a:pt x="53182" y="260767"/>
                  </a:lnTo>
                  <a:lnTo>
                    <a:pt x="55088" y="259769"/>
                  </a:lnTo>
                  <a:lnTo>
                    <a:pt x="55844" y="259194"/>
                  </a:lnTo>
                  <a:lnTo>
                    <a:pt x="56903" y="259013"/>
                  </a:lnTo>
                  <a:lnTo>
                    <a:pt x="58053" y="259648"/>
                  </a:lnTo>
                  <a:lnTo>
                    <a:pt x="59232" y="260072"/>
                  </a:lnTo>
                  <a:lnTo>
                    <a:pt x="60322" y="259164"/>
                  </a:lnTo>
                  <a:lnTo>
                    <a:pt x="61380" y="257893"/>
                  </a:lnTo>
                  <a:lnTo>
                    <a:pt x="63014" y="256683"/>
                  </a:lnTo>
                  <a:lnTo>
                    <a:pt x="64768" y="255957"/>
                  </a:lnTo>
                  <a:lnTo>
                    <a:pt x="66190" y="256018"/>
                  </a:lnTo>
                  <a:lnTo>
                    <a:pt x="66251" y="256562"/>
                  </a:lnTo>
                  <a:lnTo>
                    <a:pt x="66765" y="259194"/>
                  </a:lnTo>
                  <a:lnTo>
                    <a:pt x="66765" y="259799"/>
                  </a:lnTo>
                  <a:lnTo>
                    <a:pt x="67491" y="259708"/>
                  </a:lnTo>
                  <a:lnTo>
                    <a:pt x="67824" y="259467"/>
                  </a:lnTo>
                  <a:lnTo>
                    <a:pt x="68157" y="259073"/>
                  </a:lnTo>
                  <a:lnTo>
                    <a:pt x="68883" y="258499"/>
                  </a:lnTo>
                  <a:lnTo>
                    <a:pt x="69760" y="255504"/>
                  </a:lnTo>
                  <a:lnTo>
                    <a:pt x="70637" y="254324"/>
                  </a:lnTo>
                  <a:lnTo>
                    <a:pt x="72059" y="255413"/>
                  </a:lnTo>
                  <a:lnTo>
                    <a:pt x="73208" y="257258"/>
                  </a:lnTo>
                  <a:lnTo>
                    <a:pt x="73692" y="257621"/>
                  </a:lnTo>
                  <a:lnTo>
                    <a:pt x="74298" y="256865"/>
                  </a:lnTo>
                  <a:lnTo>
                    <a:pt x="75841" y="255413"/>
                  </a:lnTo>
                  <a:lnTo>
                    <a:pt x="77474" y="254657"/>
                  </a:lnTo>
                  <a:lnTo>
                    <a:pt x="79380" y="254536"/>
                  </a:lnTo>
                  <a:lnTo>
                    <a:pt x="81225" y="254989"/>
                  </a:lnTo>
                  <a:lnTo>
                    <a:pt x="82738" y="255957"/>
                  </a:lnTo>
                  <a:lnTo>
                    <a:pt x="84160" y="260041"/>
                  </a:lnTo>
                  <a:lnTo>
                    <a:pt x="89574" y="259345"/>
                  </a:lnTo>
                  <a:lnTo>
                    <a:pt x="92963" y="256381"/>
                  </a:lnTo>
                  <a:lnTo>
                    <a:pt x="88274" y="253658"/>
                  </a:lnTo>
                  <a:lnTo>
                    <a:pt x="89393" y="251450"/>
                  </a:lnTo>
                  <a:lnTo>
                    <a:pt x="91601" y="250845"/>
                  </a:lnTo>
                  <a:lnTo>
                    <a:pt x="96200" y="251268"/>
                  </a:lnTo>
                  <a:lnTo>
                    <a:pt x="98469" y="250905"/>
                  </a:lnTo>
                  <a:lnTo>
                    <a:pt x="99860" y="249907"/>
                  </a:lnTo>
                  <a:lnTo>
                    <a:pt x="102794" y="246459"/>
                  </a:lnTo>
                  <a:lnTo>
                    <a:pt x="104489" y="245400"/>
                  </a:lnTo>
                  <a:lnTo>
                    <a:pt x="106122" y="244916"/>
                  </a:lnTo>
                  <a:lnTo>
                    <a:pt x="107695" y="244129"/>
                  </a:lnTo>
                  <a:lnTo>
                    <a:pt x="114411" y="235628"/>
                  </a:lnTo>
                  <a:lnTo>
                    <a:pt x="112202" y="233420"/>
                  </a:lnTo>
                  <a:lnTo>
                    <a:pt x="112928" y="231938"/>
                  </a:lnTo>
                  <a:lnTo>
                    <a:pt x="115197" y="231847"/>
                  </a:lnTo>
                  <a:lnTo>
                    <a:pt x="119675" y="235084"/>
                  </a:lnTo>
                  <a:lnTo>
                    <a:pt x="121732" y="233632"/>
                  </a:lnTo>
                  <a:lnTo>
                    <a:pt x="123879" y="231181"/>
                  </a:lnTo>
                  <a:lnTo>
                    <a:pt x="126179" y="229518"/>
                  </a:lnTo>
                  <a:lnTo>
                    <a:pt x="125937" y="228640"/>
                  </a:lnTo>
                  <a:lnTo>
                    <a:pt x="125755" y="227581"/>
                  </a:lnTo>
                  <a:lnTo>
                    <a:pt x="125634" y="226432"/>
                  </a:lnTo>
                  <a:lnTo>
                    <a:pt x="125574" y="225343"/>
                  </a:lnTo>
                  <a:lnTo>
                    <a:pt x="125937" y="223377"/>
                  </a:lnTo>
                  <a:lnTo>
                    <a:pt x="126784" y="223044"/>
                  </a:lnTo>
                  <a:lnTo>
                    <a:pt x="127721" y="223377"/>
                  </a:lnTo>
                  <a:lnTo>
                    <a:pt x="128417" y="223467"/>
                  </a:lnTo>
                  <a:lnTo>
                    <a:pt x="129900" y="222287"/>
                  </a:lnTo>
                  <a:lnTo>
                    <a:pt x="130596" y="221622"/>
                  </a:lnTo>
                  <a:lnTo>
                    <a:pt x="131352" y="220442"/>
                  </a:lnTo>
                  <a:lnTo>
                    <a:pt x="131715" y="219444"/>
                  </a:lnTo>
                  <a:lnTo>
                    <a:pt x="132259" y="216873"/>
                  </a:lnTo>
                  <a:lnTo>
                    <a:pt x="132441" y="216207"/>
                  </a:lnTo>
                  <a:lnTo>
                    <a:pt x="133046" y="215239"/>
                  </a:lnTo>
                  <a:lnTo>
                    <a:pt x="133227" y="214876"/>
                  </a:lnTo>
                  <a:lnTo>
                    <a:pt x="134770" y="214876"/>
                  </a:lnTo>
                  <a:lnTo>
                    <a:pt x="135768" y="215360"/>
                  </a:lnTo>
                  <a:lnTo>
                    <a:pt x="136404" y="216510"/>
                  </a:lnTo>
                  <a:lnTo>
                    <a:pt x="136827" y="217750"/>
                  </a:lnTo>
                  <a:lnTo>
                    <a:pt x="137220" y="218597"/>
                  </a:lnTo>
                  <a:lnTo>
                    <a:pt x="139187" y="220442"/>
                  </a:lnTo>
                  <a:lnTo>
                    <a:pt x="141123" y="221501"/>
                  </a:lnTo>
                  <a:lnTo>
                    <a:pt x="145449" y="222106"/>
                  </a:lnTo>
                  <a:lnTo>
                    <a:pt x="144783" y="220442"/>
                  </a:lnTo>
                  <a:lnTo>
                    <a:pt x="143815" y="219444"/>
                  </a:lnTo>
                  <a:lnTo>
                    <a:pt x="142666" y="218930"/>
                  </a:lnTo>
                  <a:lnTo>
                    <a:pt x="141395" y="218597"/>
                  </a:lnTo>
                  <a:lnTo>
                    <a:pt x="143785" y="216903"/>
                  </a:lnTo>
                  <a:lnTo>
                    <a:pt x="150168" y="221078"/>
                  </a:lnTo>
                  <a:lnTo>
                    <a:pt x="151015" y="218597"/>
                  </a:lnTo>
                  <a:lnTo>
                    <a:pt x="149503" y="215753"/>
                  </a:lnTo>
                  <a:lnTo>
                    <a:pt x="146508" y="212970"/>
                  </a:lnTo>
                  <a:close/>
                  <a:moveTo>
                    <a:pt x="155886" y="196907"/>
                  </a:moveTo>
                  <a:lnTo>
                    <a:pt x="155129" y="195757"/>
                  </a:lnTo>
                  <a:lnTo>
                    <a:pt x="153254" y="193639"/>
                  </a:lnTo>
                  <a:lnTo>
                    <a:pt x="152437" y="192066"/>
                  </a:lnTo>
                  <a:lnTo>
                    <a:pt x="152286" y="190554"/>
                  </a:lnTo>
                  <a:lnTo>
                    <a:pt x="152498" y="188860"/>
                  </a:lnTo>
                  <a:lnTo>
                    <a:pt x="152588" y="187105"/>
                  </a:lnTo>
                  <a:lnTo>
                    <a:pt x="152044" y="185411"/>
                  </a:lnTo>
                  <a:lnTo>
                    <a:pt x="150683" y="183929"/>
                  </a:lnTo>
                  <a:lnTo>
                    <a:pt x="146478" y="181539"/>
                  </a:lnTo>
                  <a:lnTo>
                    <a:pt x="137372" y="179028"/>
                  </a:lnTo>
                  <a:lnTo>
                    <a:pt x="135164" y="178937"/>
                  </a:lnTo>
                  <a:lnTo>
                    <a:pt x="133046" y="179845"/>
                  </a:lnTo>
                  <a:lnTo>
                    <a:pt x="131019" y="182356"/>
                  </a:lnTo>
                  <a:lnTo>
                    <a:pt x="130596" y="183657"/>
                  </a:lnTo>
                  <a:lnTo>
                    <a:pt x="129900" y="187347"/>
                  </a:lnTo>
                  <a:lnTo>
                    <a:pt x="129658" y="188285"/>
                  </a:lnTo>
                  <a:lnTo>
                    <a:pt x="128175" y="189011"/>
                  </a:lnTo>
                  <a:lnTo>
                    <a:pt x="125090" y="188013"/>
                  </a:lnTo>
                  <a:lnTo>
                    <a:pt x="123819" y="188951"/>
                  </a:lnTo>
                  <a:lnTo>
                    <a:pt x="123456" y="192702"/>
                  </a:lnTo>
                  <a:lnTo>
                    <a:pt x="125876" y="195001"/>
                  </a:lnTo>
                  <a:lnTo>
                    <a:pt x="131049" y="196876"/>
                  </a:lnTo>
                  <a:lnTo>
                    <a:pt x="140034" y="204742"/>
                  </a:lnTo>
                  <a:lnTo>
                    <a:pt x="141153" y="204893"/>
                  </a:lnTo>
                  <a:lnTo>
                    <a:pt x="144178" y="203259"/>
                  </a:lnTo>
                  <a:lnTo>
                    <a:pt x="145570" y="202806"/>
                  </a:lnTo>
                  <a:lnTo>
                    <a:pt x="149109" y="203108"/>
                  </a:lnTo>
                  <a:lnTo>
                    <a:pt x="150834" y="203683"/>
                  </a:lnTo>
                  <a:lnTo>
                    <a:pt x="152437" y="204742"/>
                  </a:lnTo>
                  <a:lnTo>
                    <a:pt x="153950" y="205286"/>
                  </a:lnTo>
                  <a:lnTo>
                    <a:pt x="154917" y="204167"/>
                  </a:lnTo>
                  <a:lnTo>
                    <a:pt x="155734" y="202624"/>
                  </a:lnTo>
                  <a:lnTo>
                    <a:pt x="157792" y="201233"/>
                  </a:lnTo>
                  <a:lnTo>
                    <a:pt x="157459" y="199780"/>
                  </a:lnTo>
                  <a:lnTo>
                    <a:pt x="155886" y="196907"/>
                  </a:lnTo>
                  <a:close/>
                  <a:moveTo>
                    <a:pt x="132411" y="126632"/>
                  </a:moveTo>
                  <a:lnTo>
                    <a:pt x="133923" y="127540"/>
                  </a:lnTo>
                  <a:lnTo>
                    <a:pt x="135012" y="127631"/>
                  </a:lnTo>
                  <a:lnTo>
                    <a:pt x="138703" y="126814"/>
                  </a:lnTo>
                  <a:lnTo>
                    <a:pt x="139157" y="126027"/>
                  </a:lnTo>
                  <a:lnTo>
                    <a:pt x="139398" y="125211"/>
                  </a:lnTo>
                  <a:lnTo>
                    <a:pt x="140004" y="124848"/>
                  </a:lnTo>
                  <a:lnTo>
                    <a:pt x="142121" y="125301"/>
                  </a:lnTo>
                  <a:lnTo>
                    <a:pt x="145540" y="127207"/>
                  </a:lnTo>
                  <a:lnTo>
                    <a:pt x="147597" y="127207"/>
                  </a:lnTo>
                  <a:lnTo>
                    <a:pt x="150652" y="125211"/>
                  </a:lnTo>
                  <a:lnTo>
                    <a:pt x="151741" y="124848"/>
                  </a:lnTo>
                  <a:lnTo>
                    <a:pt x="152770" y="125211"/>
                  </a:lnTo>
                  <a:lnTo>
                    <a:pt x="153980" y="125997"/>
                  </a:lnTo>
                  <a:lnTo>
                    <a:pt x="155190" y="126360"/>
                  </a:lnTo>
                  <a:lnTo>
                    <a:pt x="156249" y="125453"/>
                  </a:lnTo>
                  <a:lnTo>
                    <a:pt x="157156" y="122639"/>
                  </a:lnTo>
                  <a:lnTo>
                    <a:pt x="156733" y="120612"/>
                  </a:lnTo>
                  <a:lnTo>
                    <a:pt x="154161" y="116770"/>
                  </a:lnTo>
                  <a:lnTo>
                    <a:pt x="152165" y="114895"/>
                  </a:lnTo>
                  <a:lnTo>
                    <a:pt x="149926" y="114955"/>
                  </a:lnTo>
                  <a:lnTo>
                    <a:pt x="145479" y="116166"/>
                  </a:lnTo>
                  <a:lnTo>
                    <a:pt x="138431" y="114048"/>
                  </a:lnTo>
                  <a:lnTo>
                    <a:pt x="134619" y="113715"/>
                  </a:lnTo>
                  <a:lnTo>
                    <a:pt x="132411" y="113987"/>
                  </a:lnTo>
                  <a:lnTo>
                    <a:pt x="130716" y="114653"/>
                  </a:lnTo>
                  <a:lnTo>
                    <a:pt x="129446" y="115954"/>
                  </a:lnTo>
                  <a:lnTo>
                    <a:pt x="128962" y="118071"/>
                  </a:lnTo>
                  <a:lnTo>
                    <a:pt x="129507" y="119100"/>
                  </a:lnTo>
                  <a:lnTo>
                    <a:pt x="132411" y="126663"/>
                  </a:lnTo>
                  <a:close/>
                  <a:moveTo>
                    <a:pt x="36483" y="142031"/>
                  </a:moveTo>
                  <a:lnTo>
                    <a:pt x="39690" y="142303"/>
                  </a:lnTo>
                  <a:lnTo>
                    <a:pt x="46224" y="140730"/>
                  </a:lnTo>
                  <a:lnTo>
                    <a:pt x="49582" y="140457"/>
                  </a:lnTo>
                  <a:lnTo>
                    <a:pt x="52577" y="141274"/>
                  </a:lnTo>
                  <a:lnTo>
                    <a:pt x="55330" y="143029"/>
                  </a:lnTo>
                  <a:lnTo>
                    <a:pt x="60170" y="148383"/>
                  </a:lnTo>
                  <a:lnTo>
                    <a:pt x="61138" y="150350"/>
                  </a:lnTo>
                  <a:lnTo>
                    <a:pt x="61441" y="152891"/>
                  </a:lnTo>
                  <a:lnTo>
                    <a:pt x="61441" y="157217"/>
                  </a:lnTo>
                  <a:lnTo>
                    <a:pt x="62137" y="160121"/>
                  </a:lnTo>
                  <a:lnTo>
                    <a:pt x="63710" y="163721"/>
                  </a:lnTo>
                  <a:lnTo>
                    <a:pt x="65555" y="166988"/>
                  </a:lnTo>
                  <a:lnTo>
                    <a:pt x="66946" y="168894"/>
                  </a:lnTo>
                  <a:lnTo>
                    <a:pt x="65313" y="171163"/>
                  </a:lnTo>
                  <a:lnTo>
                    <a:pt x="64436" y="172040"/>
                  </a:lnTo>
                  <a:lnTo>
                    <a:pt x="63528" y="172645"/>
                  </a:lnTo>
                  <a:lnTo>
                    <a:pt x="67431" y="176517"/>
                  </a:lnTo>
                  <a:lnTo>
                    <a:pt x="72876" y="177909"/>
                  </a:lnTo>
                  <a:lnTo>
                    <a:pt x="78472" y="177304"/>
                  </a:lnTo>
                  <a:lnTo>
                    <a:pt x="82859" y="175126"/>
                  </a:lnTo>
                  <a:lnTo>
                    <a:pt x="85491" y="171344"/>
                  </a:lnTo>
                  <a:lnTo>
                    <a:pt x="88939" y="161028"/>
                  </a:lnTo>
                  <a:lnTo>
                    <a:pt x="91087" y="156672"/>
                  </a:lnTo>
                  <a:lnTo>
                    <a:pt x="92751" y="155129"/>
                  </a:lnTo>
                  <a:lnTo>
                    <a:pt x="95201" y="153465"/>
                  </a:lnTo>
                  <a:lnTo>
                    <a:pt x="97682" y="152376"/>
                  </a:lnTo>
                  <a:lnTo>
                    <a:pt x="99406" y="152497"/>
                  </a:lnTo>
                  <a:lnTo>
                    <a:pt x="100162" y="154373"/>
                  </a:lnTo>
                  <a:lnTo>
                    <a:pt x="98589" y="155855"/>
                  </a:lnTo>
                  <a:lnTo>
                    <a:pt x="96381" y="157307"/>
                  </a:lnTo>
                  <a:lnTo>
                    <a:pt x="95262" y="159183"/>
                  </a:lnTo>
                  <a:lnTo>
                    <a:pt x="96442" y="161180"/>
                  </a:lnTo>
                  <a:lnTo>
                    <a:pt x="99104" y="162087"/>
                  </a:lnTo>
                  <a:lnTo>
                    <a:pt x="102008" y="161996"/>
                  </a:lnTo>
                  <a:lnTo>
                    <a:pt x="103853" y="160968"/>
                  </a:lnTo>
                  <a:lnTo>
                    <a:pt x="104912" y="159939"/>
                  </a:lnTo>
                  <a:lnTo>
                    <a:pt x="105729" y="159939"/>
                  </a:lnTo>
                  <a:lnTo>
                    <a:pt x="106182" y="159486"/>
                  </a:lnTo>
                  <a:lnTo>
                    <a:pt x="106334" y="157247"/>
                  </a:lnTo>
                  <a:lnTo>
                    <a:pt x="106213" y="155674"/>
                  </a:lnTo>
                  <a:lnTo>
                    <a:pt x="105819" y="154706"/>
                  </a:lnTo>
                  <a:lnTo>
                    <a:pt x="105154" y="154252"/>
                  </a:lnTo>
                  <a:lnTo>
                    <a:pt x="104216" y="154252"/>
                  </a:lnTo>
                  <a:lnTo>
                    <a:pt x="105456" y="151953"/>
                  </a:lnTo>
                  <a:lnTo>
                    <a:pt x="107060" y="151439"/>
                  </a:lnTo>
                  <a:lnTo>
                    <a:pt x="108784" y="151439"/>
                  </a:lnTo>
                  <a:lnTo>
                    <a:pt x="110448" y="150622"/>
                  </a:lnTo>
                  <a:lnTo>
                    <a:pt x="111749" y="151650"/>
                  </a:lnTo>
                  <a:lnTo>
                    <a:pt x="112233" y="151045"/>
                  </a:lnTo>
                  <a:lnTo>
                    <a:pt x="112475" y="149896"/>
                  </a:lnTo>
                  <a:lnTo>
                    <a:pt x="113201" y="149291"/>
                  </a:lnTo>
                  <a:lnTo>
                    <a:pt x="114260" y="149442"/>
                  </a:lnTo>
                  <a:lnTo>
                    <a:pt x="115318" y="149866"/>
                  </a:lnTo>
                  <a:lnTo>
                    <a:pt x="119493" y="152558"/>
                  </a:lnTo>
                  <a:lnTo>
                    <a:pt x="120945" y="152346"/>
                  </a:lnTo>
                  <a:lnTo>
                    <a:pt x="121641" y="150471"/>
                  </a:lnTo>
                  <a:lnTo>
                    <a:pt x="121490" y="146840"/>
                  </a:lnTo>
                  <a:lnTo>
                    <a:pt x="121127" y="146659"/>
                  </a:lnTo>
                  <a:lnTo>
                    <a:pt x="120431" y="146659"/>
                  </a:lnTo>
                  <a:lnTo>
                    <a:pt x="119735" y="146296"/>
                  </a:lnTo>
                  <a:lnTo>
                    <a:pt x="119402" y="145116"/>
                  </a:lnTo>
                  <a:lnTo>
                    <a:pt x="119463" y="143089"/>
                  </a:lnTo>
                  <a:lnTo>
                    <a:pt x="119372" y="142151"/>
                  </a:lnTo>
                  <a:lnTo>
                    <a:pt x="119070" y="141335"/>
                  </a:lnTo>
                  <a:lnTo>
                    <a:pt x="118344" y="140336"/>
                  </a:lnTo>
                  <a:lnTo>
                    <a:pt x="116922" y="138824"/>
                  </a:lnTo>
                  <a:lnTo>
                    <a:pt x="116256" y="137735"/>
                  </a:lnTo>
                  <a:lnTo>
                    <a:pt x="115440" y="136706"/>
                  </a:lnTo>
                  <a:lnTo>
                    <a:pt x="113322" y="135073"/>
                  </a:lnTo>
                  <a:lnTo>
                    <a:pt x="112445" y="133379"/>
                  </a:lnTo>
                  <a:lnTo>
                    <a:pt x="112263" y="131775"/>
                  </a:lnTo>
                  <a:lnTo>
                    <a:pt x="112777" y="129022"/>
                  </a:lnTo>
                  <a:lnTo>
                    <a:pt x="112475" y="127177"/>
                  </a:lnTo>
                  <a:lnTo>
                    <a:pt x="110932" y="124817"/>
                  </a:lnTo>
                  <a:lnTo>
                    <a:pt x="101161" y="120401"/>
                  </a:lnTo>
                  <a:lnTo>
                    <a:pt x="91057" y="121036"/>
                  </a:lnTo>
                  <a:lnTo>
                    <a:pt x="89423" y="119856"/>
                  </a:lnTo>
                  <a:lnTo>
                    <a:pt x="87487" y="117466"/>
                  </a:lnTo>
                  <a:lnTo>
                    <a:pt x="86519" y="114562"/>
                  </a:lnTo>
                  <a:lnTo>
                    <a:pt x="88788" y="109450"/>
                  </a:lnTo>
                  <a:lnTo>
                    <a:pt x="87003" y="107725"/>
                  </a:lnTo>
                  <a:lnTo>
                    <a:pt x="84008" y="106697"/>
                  </a:lnTo>
                  <a:lnTo>
                    <a:pt x="81437" y="106334"/>
                  </a:lnTo>
                  <a:lnTo>
                    <a:pt x="81376" y="106334"/>
                  </a:lnTo>
                  <a:lnTo>
                    <a:pt x="77081" y="105880"/>
                  </a:lnTo>
                  <a:lnTo>
                    <a:pt x="76022" y="106334"/>
                  </a:lnTo>
                  <a:lnTo>
                    <a:pt x="75114" y="107877"/>
                  </a:lnTo>
                  <a:lnTo>
                    <a:pt x="74933" y="109359"/>
                  </a:lnTo>
                  <a:lnTo>
                    <a:pt x="74933" y="110872"/>
                  </a:lnTo>
                  <a:lnTo>
                    <a:pt x="74570" y="112475"/>
                  </a:lnTo>
                  <a:lnTo>
                    <a:pt x="73208" y="115076"/>
                  </a:lnTo>
                  <a:lnTo>
                    <a:pt x="71726" y="116559"/>
                  </a:lnTo>
                  <a:lnTo>
                    <a:pt x="69941" y="117224"/>
                  </a:lnTo>
                  <a:lnTo>
                    <a:pt x="67672" y="117376"/>
                  </a:lnTo>
                  <a:lnTo>
                    <a:pt x="65979" y="119009"/>
                  </a:lnTo>
                  <a:lnTo>
                    <a:pt x="66069" y="125332"/>
                  </a:lnTo>
                  <a:lnTo>
                    <a:pt x="64889" y="125453"/>
                  </a:lnTo>
                  <a:lnTo>
                    <a:pt x="62651" y="124243"/>
                  </a:lnTo>
                  <a:lnTo>
                    <a:pt x="61411" y="124697"/>
                  </a:lnTo>
                  <a:lnTo>
                    <a:pt x="61531" y="125937"/>
                  </a:lnTo>
                  <a:lnTo>
                    <a:pt x="63498" y="127177"/>
                  </a:lnTo>
                  <a:lnTo>
                    <a:pt x="33821" y="130837"/>
                  </a:lnTo>
                  <a:lnTo>
                    <a:pt x="26379" y="129839"/>
                  </a:lnTo>
                  <a:lnTo>
                    <a:pt x="22507" y="130444"/>
                  </a:lnTo>
                  <a:lnTo>
                    <a:pt x="21418" y="133409"/>
                  </a:lnTo>
                  <a:lnTo>
                    <a:pt x="23203" y="135254"/>
                  </a:lnTo>
                  <a:lnTo>
                    <a:pt x="36544" y="142031"/>
                  </a:lnTo>
                  <a:close/>
                  <a:moveTo>
                    <a:pt x="270085" y="23475"/>
                  </a:moveTo>
                  <a:lnTo>
                    <a:pt x="272747" y="22840"/>
                  </a:lnTo>
                  <a:lnTo>
                    <a:pt x="273503" y="21025"/>
                  </a:lnTo>
                  <a:lnTo>
                    <a:pt x="271567" y="16245"/>
                  </a:lnTo>
                  <a:lnTo>
                    <a:pt x="270055" y="13674"/>
                  </a:lnTo>
                  <a:lnTo>
                    <a:pt x="268512" y="14006"/>
                  </a:lnTo>
                  <a:lnTo>
                    <a:pt x="267181" y="17243"/>
                  </a:lnTo>
                  <a:lnTo>
                    <a:pt x="267362" y="20692"/>
                  </a:lnTo>
                  <a:lnTo>
                    <a:pt x="270115" y="23505"/>
                  </a:lnTo>
                  <a:close/>
                  <a:moveTo>
                    <a:pt x="641089" y="57205"/>
                  </a:moveTo>
                  <a:lnTo>
                    <a:pt x="638547" y="55118"/>
                  </a:lnTo>
                  <a:lnTo>
                    <a:pt x="637398" y="53787"/>
                  </a:lnTo>
                  <a:lnTo>
                    <a:pt x="636490" y="52123"/>
                  </a:lnTo>
                  <a:lnTo>
                    <a:pt x="634221" y="46678"/>
                  </a:lnTo>
                  <a:lnTo>
                    <a:pt x="632104" y="44530"/>
                  </a:lnTo>
                  <a:lnTo>
                    <a:pt x="627626" y="42261"/>
                  </a:lnTo>
                  <a:lnTo>
                    <a:pt x="625751" y="38813"/>
                  </a:lnTo>
                  <a:lnTo>
                    <a:pt x="622000" y="45075"/>
                  </a:lnTo>
                  <a:lnTo>
                    <a:pt x="618944" y="48433"/>
                  </a:lnTo>
                  <a:lnTo>
                    <a:pt x="615012" y="50853"/>
                  </a:lnTo>
                  <a:lnTo>
                    <a:pt x="610807" y="52033"/>
                  </a:lnTo>
                  <a:lnTo>
                    <a:pt x="595167" y="48221"/>
                  </a:lnTo>
                  <a:lnTo>
                    <a:pt x="579678" y="47071"/>
                  </a:lnTo>
                  <a:lnTo>
                    <a:pt x="564250" y="43199"/>
                  </a:lnTo>
                  <a:lnTo>
                    <a:pt x="550758" y="43865"/>
                  </a:lnTo>
                  <a:lnTo>
                    <a:pt x="534755" y="44500"/>
                  </a:lnTo>
                  <a:lnTo>
                    <a:pt x="516815" y="42715"/>
                  </a:lnTo>
                  <a:lnTo>
                    <a:pt x="514789" y="41928"/>
                  </a:lnTo>
                  <a:lnTo>
                    <a:pt x="510614" y="39387"/>
                  </a:lnTo>
                  <a:lnTo>
                    <a:pt x="505744" y="37633"/>
                  </a:lnTo>
                  <a:lnTo>
                    <a:pt x="501206" y="32883"/>
                  </a:lnTo>
                  <a:lnTo>
                    <a:pt x="497092" y="28557"/>
                  </a:lnTo>
                  <a:lnTo>
                    <a:pt x="493461" y="25653"/>
                  </a:lnTo>
                  <a:lnTo>
                    <a:pt x="489740" y="23657"/>
                  </a:lnTo>
                  <a:lnTo>
                    <a:pt x="485868" y="22477"/>
                  </a:lnTo>
                  <a:lnTo>
                    <a:pt x="481694" y="22053"/>
                  </a:lnTo>
                  <a:lnTo>
                    <a:pt x="480242" y="22598"/>
                  </a:lnTo>
                  <a:lnTo>
                    <a:pt x="476793" y="25109"/>
                  </a:lnTo>
                  <a:lnTo>
                    <a:pt x="475129" y="25653"/>
                  </a:lnTo>
                  <a:lnTo>
                    <a:pt x="472891" y="25532"/>
                  </a:lnTo>
                  <a:lnTo>
                    <a:pt x="468867" y="24383"/>
                  </a:lnTo>
                  <a:lnTo>
                    <a:pt x="463301" y="21146"/>
                  </a:lnTo>
                  <a:lnTo>
                    <a:pt x="457129" y="19663"/>
                  </a:lnTo>
                  <a:lnTo>
                    <a:pt x="453106" y="17092"/>
                  </a:lnTo>
                  <a:lnTo>
                    <a:pt x="451170" y="16487"/>
                  </a:lnTo>
                  <a:lnTo>
                    <a:pt x="432142" y="16487"/>
                  </a:lnTo>
                  <a:lnTo>
                    <a:pt x="431234" y="16124"/>
                  </a:lnTo>
                  <a:lnTo>
                    <a:pt x="431113" y="14763"/>
                  </a:lnTo>
                  <a:lnTo>
                    <a:pt x="430932" y="13734"/>
                  </a:lnTo>
                  <a:lnTo>
                    <a:pt x="430569" y="12978"/>
                  </a:lnTo>
                  <a:lnTo>
                    <a:pt x="426817" y="9469"/>
                  </a:lnTo>
                  <a:lnTo>
                    <a:pt x="423369" y="7684"/>
                  </a:lnTo>
                  <a:lnTo>
                    <a:pt x="422038" y="7351"/>
                  </a:lnTo>
                  <a:lnTo>
                    <a:pt x="420858" y="7896"/>
                  </a:lnTo>
                  <a:lnTo>
                    <a:pt x="419557" y="9680"/>
                  </a:lnTo>
                  <a:lnTo>
                    <a:pt x="419376" y="11314"/>
                  </a:lnTo>
                  <a:lnTo>
                    <a:pt x="419769" y="12917"/>
                  </a:lnTo>
                  <a:lnTo>
                    <a:pt x="419527" y="14097"/>
                  </a:lnTo>
                  <a:lnTo>
                    <a:pt x="417470" y="14551"/>
                  </a:lnTo>
                  <a:lnTo>
                    <a:pt x="415746" y="12585"/>
                  </a:lnTo>
                  <a:lnTo>
                    <a:pt x="413567" y="9136"/>
                  </a:lnTo>
                  <a:lnTo>
                    <a:pt x="411450" y="7744"/>
                  </a:lnTo>
                  <a:lnTo>
                    <a:pt x="409937" y="12040"/>
                  </a:lnTo>
                  <a:lnTo>
                    <a:pt x="410633" y="13311"/>
                  </a:lnTo>
                  <a:lnTo>
                    <a:pt x="409090" y="15973"/>
                  </a:lnTo>
                  <a:lnTo>
                    <a:pt x="407366" y="17546"/>
                  </a:lnTo>
                  <a:lnTo>
                    <a:pt x="406610" y="17697"/>
                  </a:lnTo>
                  <a:lnTo>
                    <a:pt x="405521" y="17909"/>
                  </a:lnTo>
                  <a:lnTo>
                    <a:pt x="403645" y="16911"/>
                  </a:lnTo>
                  <a:lnTo>
                    <a:pt x="402314" y="14914"/>
                  </a:lnTo>
                  <a:lnTo>
                    <a:pt x="401588" y="10467"/>
                  </a:lnTo>
                  <a:lnTo>
                    <a:pt x="400408" y="8107"/>
                  </a:lnTo>
                  <a:lnTo>
                    <a:pt x="401194" y="6746"/>
                  </a:lnTo>
                  <a:lnTo>
                    <a:pt x="395749" y="1150"/>
                  </a:lnTo>
                  <a:lnTo>
                    <a:pt x="392694" y="182"/>
                  </a:lnTo>
                  <a:lnTo>
                    <a:pt x="390213" y="2965"/>
                  </a:lnTo>
                  <a:lnTo>
                    <a:pt x="390697" y="3237"/>
                  </a:lnTo>
                  <a:lnTo>
                    <a:pt x="391575" y="3963"/>
                  </a:lnTo>
                  <a:lnTo>
                    <a:pt x="392210" y="4114"/>
                  </a:lnTo>
                  <a:lnTo>
                    <a:pt x="391544" y="7896"/>
                  </a:lnTo>
                  <a:lnTo>
                    <a:pt x="392573" y="10255"/>
                  </a:lnTo>
                  <a:lnTo>
                    <a:pt x="394055" y="12343"/>
                  </a:lnTo>
                  <a:lnTo>
                    <a:pt x="394781" y="15458"/>
                  </a:lnTo>
                  <a:lnTo>
                    <a:pt x="393450" y="18786"/>
                  </a:lnTo>
                  <a:lnTo>
                    <a:pt x="390485" y="19331"/>
                  </a:lnTo>
                  <a:lnTo>
                    <a:pt x="387279" y="18211"/>
                  </a:lnTo>
                  <a:lnTo>
                    <a:pt x="385071" y="16608"/>
                  </a:lnTo>
                  <a:lnTo>
                    <a:pt x="382136" y="11889"/>
                  </a:lnTo>
                  <a:lnTo>
                    <a:pt x="380472" y="9862"/>
                  </a:lnTo>
                  <a:lnTo>
                    <a:pt x="378355" y="8985"/>
                  </a:lnTo>
                  <a:lnTo>
                    <a:pt x="376540" y="7563"/>
                  </a:lnTo>
                  <a:lnTo>
                    <a:pt x="373363" y="1422"/>
                  </a:lnTo>
                  <a:lnTo>
                    <a:pt x="371609" y="0"/>
                  </a:lnTo>
                  <a:lnTo>
                    <a:pt x="370913" y="3328"/>
                  </a:lnTo>
                  <a:lnTo>
                    <a:pt x="371094" y="10709"/>
                  </a:lnTo>
                  <a:lnTo>
                    <a:pt x="372456" y="18090"/>
                  </a:lnTo>
                  <a:lnTo>
                    <a:pt x="375269" y="21509"/>
                  </a:lnTo>
                  <a:lnTo>
                    <a:pt x="376298" y="22114"/>
                  </a:lnTo>
                  <a:lnTo>
                    <a:pt x="376993" y="23415"/>
                  </a:lnTo>
                  <a:lnTo>
                    <a:pt x="376993" y="24715"/>
                  </a:lnTo>
                  <a:lnTo>
                    <a:pt x="375935" y="25260"/>
                  </a:lnTo>
                  <a:lnTo>
                    <a:pt x="366557" y="25078"/>
                  </a:lnTo>
                  <a:lnTo>
                    <a:pt x="364106" y="25956"/>
                  </a:lnTo>
                  <a:lnTo>
                    <a:pt x="362715" y="28255"/>
                  </a:lnTo>
                  <a:lnTo>
                    <a:pt x="363350" y="32520"/>
                  </a:lnTo>
                  <a:lnTo>
                    <a:pt x="363199" y="32520"/>
                  </a:lnTo>
                  <a:lnTo>
                    <a:pt x="341811" y="26379"/>
                  </a:lnTo>
                  <a:lnTo>
                    <a:pt x="337001" y="23294"/>
                  </a:lnTo>
                  <a:lnTo>
                    <a:pt x="334641" y="23203"/>
                  </a:lnTo>
                  <a:lnTo>
                    <a:pt x="333159" y="25078"/>
                  </a:lnTo>
                  <a:lnTo>
                    <a:pt x="333915" y="29798"/>
                  </a:lnTo>
                  <a:lnTo>
                    <a:pt x="332040" y="30735"/>
                  </a:lnTo>
                  <a:lnTo>
                    <a:pt x="329983" y="30130"/>
                  </a:lnTo>
                  <a:lnTo>
                    <a:pt x="325868" y="27468"/>
                  </a:lnTo>
                  <a:lnTo>
                    <a:pt x="323509" y="26863"/>
                  </a:lnTo>
                  <a:lnTo>
                    <a:pt x="315643" y="28618"/>
                  </a:lnTo>
                  <a:lnTo>
                    <a:pt x="313133" y="27922"/>
                  </a:lnTo>
                  <a:lnTo>
                    <a:pt x="306477" y="19996"/>
                  </a:lnTo>
                  <a:lnTo>
                    <a:pt x="302696" y="17001"/>
                  </a:lnTo>
                  <a:lnTo>
                    <a:pt x="299550" y="18877"/>
                  </a:lnTo>
                  <a:lnTo>
                    <a:pt x="299943" y="20299"/>
                  </a:lnTo>
                  <a:lnTo>
                    <a:pt x="300155" y="21539"/>
                  </a:lnTo>
                  <a:lnTo>
                    <a:pt x="300215" y="22840"/>
                  </a:lnTo>
                  <a:lnTo>
                    <a:pt x="300215" y="24564"/>
                  </a:lnTo>
                  <a:lnTo>
                    <a:pt x="300518" y="26228"/>
                  </a:lnTo>
                  <a:lnTo>
                    <a:pt x="301274" y="27166"/>
                  </a:lnTo>
                  <a:lnTo>
                    <a:pt x="302151" y="27952"/>
                  </a:lnTo>
                  <a:lnTo>
                    <a:pt x="302786" y="29041"/>
                  </a:lnTo>
                  <a:lnTo>
                    <a:pt x="303634" y="31855"/>
                  </a:lnTo>
                  <a:lnTo>
                    <a:pt x="303361" y="32823"/>
                  </a:lnTo>
                  <a:lnTo>
                    <a:pt x="300941" y="37360"/>
                  </a:lnTo>
                  <a:lnTo>
                    <a:pt x="300336" y="38117"/>
                  </a:lnTo>
                  <a:lnTo>
                    <a:pt x="299156" y="38964"/>
                  </a:lnTo>
                  <a:lnTo>
                    <a:pt x="296283" y="39448"/>
                  </a:lnTo>
                  <a:lnTo>
                    <a:pt x="294710" y="37360"/>
                  </a:lnTo>
                  <a:lnTo>
                    <a:pt x="293499" y="34184"/>
                  </a:lnTo>
                  <a:lnTo>
                    <a:pt x="291745" y="31401"/>
                  </a:lnTo>
                  <a:lnTo>
                    <a:pt x="290626" y="30645"/>
                  </a:lnTo>
                  <a:lnTo>
                    <a:pt x="289476" y="30433"/>
                  </a:lnTo>
                  <a:lnTo>
                    <a:pt x="288599" y="31129"/>
                  </a:lnTo>
                  <a:lnTo>
                    <a:pt x="288205" y="33125"/>
                  </a:lnTo>
                  <a:lnTo>
                    <a:pt x="287752" y="34759"/>
                  </a:lnTo>
                  <a:lnTo>
                    <a:pt x="286693" y="35243"/>
                  </a:lnTo>
                  <a:lnTo>
                    <a:pt x="284061" y="34940"/>
                  </a:lnTo>
                  <a:lnTo>
                    <a:pt x="284000" y="36302"/>
                  </a:lnTo>
                  <a:lnTo>
                    <a:pt x="285846" y="37088"/>
                  </a:lnTo>
                  <a:lnTo>
                    <a:pt x="287449" y="38782"/>
                  </a:lnTo>
                  <a:lnTo>
                    <a:pt x="287812" y="40476"/>
                  </a:lnTo>
                  <a:lnTo>
                    <a:pt x="285997" y="41202"/>
                  </a:lnTo>
                  <a:lnTo>
                    <a:pt x="284212" y="40718"/>
                  </a:lnTo>
                  <a:lnTo>
                    <a:pt x="278495" y="36786"/>
                  </a:lnTo>
                  <a:lnTo>
                    <a:pt x="276589" y="36211"/>
                  </a:lnTo>
                  <a:lnTo>
                    <a:pt x="274986" y="37300"/>
                  </a:lnTo>
                  <a:lnTo>
                    <a:pt x="273382" y="38813"/>
                  </a:lnTo>
                  <a:lnTo>
                    <a:pt x="271507" y="39599"/>
                  </a:lnTo>
                  <a:lnTo>
                    <a:pt x="269510" y="38722"/>
                  </a:lnTo>
                  <a:lnTo>
                    <a:pt x="265971" y="34759"/>
                  </a:lnTo>
                  <a:lnTo>
                    <a:pt x="264035" y="33337"/>
                  </a:lnTo>
                  <a:lnTo>
                    <a:pt x="261735" y="33035"/>
                  </a:lnTo>
                  <a:lnTo>
                    <a:pt x="255080" y="34426"/>
                  </a:lnTo>
                  <a:lnTo>
                    <a:pt x="254626" y="35666"/>
                  </a:lnTo>
                  <a:lnTo>
                    <a:pt x="253295" y="41596"/>
                  </a:lnTo>
                  <a:lnTo>
                    <a:pt x="252085" y="43744"/>
                  </a:lnTo>
                  <a:lnTo>
                    <a:pt x="248546" y="44954"/>
                  </a:lnTo>
                  <a:lnTo>
                    <a:pt x="239621" y="45407"/>
                  </a:lnTo>
                  <a:lnTo>
                    <a:pt x="237595" y="46557"/>
                  </a:lnTo>
                  <a:lnTo>
                    <a:pt x="239984" y="48705"/>
                  </a:lnTo>
                  <a:lnTo>
                    <a:pt x="242556" y="52093"/>
                  </a:lnTo>
                  <a:lnTo>
                    <a:pt x="243373" y="55209"/>
                  </a:lnTo>
                  <a:lnTo>
                    <a:pt x="240529" y="56510"/>
                  </a:lnTo>
                  <a:lnTo>
                    <a:pt x="237625" y="55300"/>
                  </a:lnTo>
                  <a:lnTo>
                    <a:pt x="232089" y="49612"/>
                  </a:lnTo>
                  <a:lnTo>
                    <a:pt x="229276" y="47616"/>
                  </a:lnTo>
                  <a:lnTo>
                    <a:pt x="227521" y="47253"/>
                  </a:lnTo>
                  <a:lnTo>
                    <a:pt x="226039" y="47646"/>
                  </a:lnTo>
                  <a:lnTo>
                    <a:pt x="224647" y="48796"/>
                  </a:lnTo>
                  <a:lnTo>
                    <a:pt x="223346" y="50671"/>
                  </a:lnTo>
                  <a:lnTo>
                    <a:pt x="223013" y="52638"/>
                  </a:lnTo>
                  <a:lnTo>
                    <a:pt x="223861" y="54392"/>
                  </a:lnTo>
                  <a:lnTo>
                    <a:pt x="230123" y="62681"/>
                  </a:lnTo>
                  <a:lnTo>
                    <a:pt x="230879" y="65948"/>
                  </a:lnTo>
                  <a:lnTo>
                    <a:pt x="228822" y="70123"/>
                  </a:lnTo>
                  <a:lnTo>
                    <a:pt x="224677" y="66069"/>
                  </a:lnTo>
                  <a:lnTo>
                    <a:pt x="219535" y="66402"/>
                  </a:lnTo>
                  <a:lnTo>
                    <a:pt x="214241" y="68187"/>
                  </a:lnTo>
                  <a:lnTo>
                    <a:pt x="209521" y="68429"/>
                  </a:lnTo>
                  <a:lnTo>
                    <a:pt x="205165" y="67279"/>
                  </a:lnTo>
                  <a:lnTo>
                    <a:pt x="196241" y="67279"/>
                  </a:lnTo>
                  <a:lnTo>
                    <a:pt x="194002" y="68338"/>
                  </a:lnTo>
                  <a:lnTo>
                    <a:pt x="192823" y="70607"/>
                  </a:lnTo>
                  <a:lnTo>
                    <a:pt x="194033" y="71635"/>
                  </a:lnTo>
                  <a:lnTo>
                    <a:pt x="194698" y="73360"/>
                  </a:lnTo>
                  <a:lnTo>
                    <a:pt x="194577" y="75296"/>
                  </a:lnTo>
                  <a:lnTo>
                    <a:pt x="193367" y="76899"/>
                  </a:lnTo>
                  <a:lnTo>
                    <a:pt x="192157" y="76687"/>
                  </a:lnTo>
                  <a:lnTo>
                    <a:pt x="191855" y="76627"/>
                  </a:lnTo>
                  <a:lnTo>
                    <a:pt x="186591" y="71726"/>
                  </a:lnTo>
                  <a:lnTo>
                    <a:pt x="184534" y="71847"/>
                  </a:lnTo>
                  <a:lnTo>
                    <a:pt x="183082" y="73148"/>
                  </a:lnTo>
                  <a:lnTo>
                    <a:pt x="181841" y="74630"/>
                  </a:lnTo>
                  <a:lnTo>
                    <a:pt x="179542" y="75689"/>
                  </a:lnTo>
                  <a:lnTo>
                    <a:pt x="178060" y="77353"/>
                  </a:lnTo>
                  <a:lnTo>
                    <a:pt x="177183" y="77716"/>
                  </a:lnTo>
                  <a:lnTo>
                    <a:pt x="176003" y="77504"/>
                  </a:lnTo>
                  <a:lnTo>
                    <a:pt x="173915" y="76657"/>
                  </a:lnTo>
                  <a:lnTo>
                    <a:pt x="172796" y="76506"/>
                  </a:lnTo>
                  <a:lnTo>
                    <a:pt x="167230" y="79712"/>
                  </a:lnTo>
                  <a:lnTo>
                    <a:pt x="168621" y="86610"/>
                  </a:lnTo>
                  <a:lnTo>
                    <a:pt x="171768" y="95534"/>
                  </a:lnTo>
                  <a:lnTo>
                    <a:pt x="171465" y="104821"/>
                  </a:lnTo>
                  <a:lnTo>
                    <a:pt x="169801" y="102613"/>
                  </a:lnTo>
                  <a:lnTo>
                    <a:pt x="168743" y="102068"/>
                  </a:lnTo>
                  <a:lnTo>
                    <a:pt x="167684" y="102885"/>
                  </a:lnTo>
                  <a:lnTo>
                    <a:pt x="163025" y="107756"/>
                  </a:lnTo>
                  <a:lnTo>
                    <a:pt x="162390" y="109994"/>
                  </a:lnTo>
                  <a:lnTo>
                    <a:pt x="163055" y="113231"/>
                  </a:lnTo>
                  <a:lnTo>
                    <a:pt x="162360" y="113171"/>
                  </a:lnTo>
                  <a:lnTo>
                    <a:pt x="160908" y="113322"/>
                  </a:lnTo>
                  <a:lnTo>
                    <a:pt x="160242" y="113201"/>
                  </a:lnTo>
                  <a:lnTo>
                    <a:pt x="162813" y="117164"/>
                  </a:lnTo>
                  <a:lnTo>
                    <a:pt x="165445" y="119251"/>
                  </a:lnTo>
                  <a:lnTo>
                    <a:pt x="171889" y="120885"/>
                  </a:lnTo>
                  <a:lnTo>
                    <a:pt x="172494" y="121490"/>
                  </a:lnTo>
                  <a:lnTo>
                    <a:pt x="172978" y="122609"/>
                  </a:lnTo>
                  <a:lnTo>
                    <a:pt x="173583" y="123426"/>
                  </a:lnTo>
                  <a:lnTo>
                    <a:pt x="174551" y="123275"/>
                  </a:lnTo>
                  <a:lnTo>
                    <a:pt x="175156" y="121278"/>
                  </a:lnTo>
                  <a:lnTo>
                    <a:pt x="175156" y="120219"/>
                  </a:lnTo>
                  <a:lnTo>
                    <a:pt x="175307" y="119614"/>
                  </a:lnTo>
                  <a:lnTo>
                    <a:pt x="177425" y="117194"/>
                  </a:lnTo>
                  <a:lnTo>
                    <a:pt x="178181" y="116770"/>
                  </a:lnTo>
                  <a:lnTo>
                    <a:pt x="180026" y="116619"/>
                  </a:lnTo>
                  <a:lnTo>
                    <a:pt x="180904" y="116135"/>
                  </a:lnTo>
                  <a:lnTo>
                    <a:pt x="179694" y="113745"/>
                  </a:lnTo>
                  <a:lnTo>
                    <a:pt x="176759" y="110962"/>
                  </a:lnTo>
                  <a:lnTo>
                    <a:pt x="175549" y="108572"/>
                  </a:lnTo>
                  <a:lnTo>
                    <a:pt x="177909" y="110055"/>
                  </a:lnTo>
                  <a:lnTo>
                    <a:pt x="180087" y="112263"/>
                  </a:lnTo>
                  <a:lnTo>
                    <a:pt x="181660" y="115409"/>
                  </a:lnTo>
                  <a:lnTo>
                    <a:pt x="182235" y="119705"/>
                  </a:lnTo>
                  <a:lnTo>
                    <a:pt x="182144" y="121913"/>
                  </a:lnTo>
                  <a:lnTo>
                    <a:pt x="181841" y="123093"/>
                  </a:lnTo>
                  <a:lnTo>
                    <a:pt x="180994" y="123970"/>
                  </a:lnTo>
                  <a:lnTo>
                    <a:pt x="177697" y="126451"/>
                  </a:lnTo>
                  <a:lnTo>
                    <a:pt x="175912" y="127026"/>
                  </a:lnTo>
                  <a:lnTo>
                    <a:pt x="174127" y="126875"/>
                  </a:lnTo>
                  <a:lnTo>
                    <a:pt x="172403" y="125786"/>
                  </a:lnTo>
                  <a:lnTo>
                    <a:pt x="170164" y="128448"/>
                  </a:lnTo>
                  <a:lnTo>
                    <a:pt x="163479" y="127903"/>
                  </a:lnTo>
                  <a:lnTo>
                    <a:pt x="161240" y="130626"/>
                  </a:lnTo>
                  <a:lnTo>
                    <a:pt x="161240" y="134226"/>
                  </a:lnTo>
                  <a:lnTo>
                    <a:pt x="164386" y="138884"/>
                  </a:lnTo>
                  <a:lnTo>
                    <a:pt x="165173" y="142273"/>
                  </a:lnTo>
                  <a:lnTo>
                    <a:pt x="171314" y="150319"/>
                  </a:lnTo>
                  <a:lnTo>
                    <a:pt x="170558" y="151590"/>
                  </a:lnTo>
                  <a:lnTo>
                    <a:pt x="167200" y="152074"/>
                  </a:lnTo>
                  <a:lnTo>
                    <a:pt x="165233" y="153617"/>
                  </a:lnTo>
                  <a:lnTo>
                    <a:pt x="161361" y="159939"/>
                  </a:lnTo>
                  <a:lnTo>
                    <a:pt x="167048" y="157822"/>
                  </a:lnTo>
                  <a:lnTo>
                    <a:pt x="169015" y="157550"/>
                  </a:lnTo>
                  <a:lnTo>
                    <a:pt x="172191" y="158427"/>
                  </a:lnTo>
                  <a:lnTo>
                    <a:pt x="172796" y="158276"/>
                  </a:lnTo>
                  <a:lnTo>
                    <a:pt x="173552" y="157307"/>
                  </a:lnTo>
                  <a:lnTo>
                    <a:pt x="174611" y="156430"/>
                  </a:lnTo>
                  <a:lnTo>
                    <a:pt x="176638" y="155341"/>
                  </a:lnTo>
                  <a:lnTo>
                    <a:pt x="178968" y="154918"/>
                  </a:lnTo>
                  <a:lnTo>
                    <a:pt x="186318" y="155523"/>
                  </a:lnTo>
                  <a:lnTo>
                    <a:pt x="190645" y="154373"/>
                  </a:lnTo>
                  <a:lnTo>
                    <a:pt x="192672" y="154615"/>
                  </a:lnTo>
                  <a:lnTo>
                    <a:pt x="194456" y="156914"/>
                  </a:lnTo>
                  <a:lnTo>
                    <a:pt x="197179" y="154161"/>
                  </a:lnTo>
                  <a:lnTo>
                    <a:pt x="200355" y="154403"/>
                  </a:lnTo>
                  <a:lnTo>
                    <a:pt x="203501" y="156551"/>
                  </a:lnTo>
                  <a:lnTo>
                    <a:pt x="206164" y="159546"/>
                  </a:lnTo>
                  <a:lnTo>
                    <a:pt x="204227" y="159244"/>
                  </a:lnTo>
                  <a:lnTo>
                    <a:pt x="200355" y="157156"/>
                  </a:lnTo>
                  <a:lnTo>
                    <a:pt x="198661" y="157005"/>
                  </a:lnTo>
                  <a:lnTo>
                    <a:pt x="197239" y="158306"/>
                  </a:lnTo>
                  <a:lnTo>
                    <a:pt x="196604" y="160363"/>
                  </a:lnTo>
                  <a:lnTo>
                    <a:pt x="196967" y="162238"/>
                  </a:lnTo>
                  <a:lnTo>
                    <a:pt x="198540" y="163085"/>
                  </a:lnTo>
                  <a:lnTo>
                    <a:pt x="199085" y="163660"/>
                  </a:lnTo>
                  <a:lnTo>
                    <a:pt x="199236" y="164901"/>
                  </a:lnTo>
                  <a:lnTo>
                    <a:pt x="199085" y="166171"/>
                  </a:lnTo>
                  <a:lnTo>
                    <a:pt x="198782" y="166746"/>
                  </a:lnTo>
                  <a:lnTo>
                    <a:pt x="195697" y="166685"/>
                  </a:lnTo>
                  <a:lnTo>
                    <a:pt x="194033" y="166141"/>
                  </a:lnTo>
                  <a:lnTo>
                    <a:pt x="190191" y="163690"/>
                  </a:lnTo>
                  <a:lnTo>
                    <a:pt x="188224" y="162904"/>
                  </a:lnTo>
                  <a:lnTo>
                    <a:pt x="184382" y="163237"/>
                  </a:lnTo>
                  <a:lnTo>
                    <a:pt x="180601" y="164507"/>
                  </a:lnTo>
                  <a:lnTo>
                    <a:pt x="176850" y="165052"/>
                  </a:lnTo>
                  <a:lnTo>
                    <a:pt x="173008" y="163237"/>
                  </a:lnTo>
                  <a:lnTo>
                    <a:pt x="171677" y="163237"/>
                  </a:lnTo>
                  <a:lnTo>
                    <a:pt x="171072" y="165264"/>
                  </a:lnTo>
                  <a:lnTo>
                    <a:pt x="171284" y="167653"/>
                  </a:lnTo>
                  <a:lnTo>
                    <a:pt x="172887" y="169196"/>
                  </a:lnTo>
                  <a:lnTo>
                    <a:pt x="172887" y="170043"/>
                  </a:lnTo>
                  <a:lnTo>
                    <a:pt x="172554" y="170890"/>
                  </a:lnTo>
                  <a:lnTo>
                    <a:pt x="171798" y="171253"/>
                  </a:lnTo>
                  <a:lnTo>
                    <a:pt x="169710" y="170527"/>
                  </a:lnTo>
                  <a:lnTo>
                    <a:pt x="168864" y="170739"/>
                  </a:lnTo>
                  <a:lnTo>
                    <a:pt x="167956" y="172282"/>
                  </a:lnTo>
                  <a:lnTo>
                    <a:pt x="167411" y="176396"/>
                  </a:lnTo>
                  <a:lnTo>
                    <a:pt x="168107" y="181085"/>
                  </a:lnTo>
                  <a:lnTo>
                    <a:pt x="169166" y="185502"/>
                  </a:lnTo>
                  <a:lnTo>
                    <a:pt x="169680" y="188829"/>
                  </a:lnTo>
                  <a:lnTo>
                    <a:pt x="169166" y="190584"/>
                  </a:lnTo>
                  <a:lnTo>
                    <a:pt x="168198" y="192490"/>
                  </a:lnTo>
                  <a:lnTo>
                    <a:pt x="167532" y="194396"/>
                  </a:lnTo>
                  <a:lnTo>
                    <a:pt x="167835" y="196120"/>
                  </a:lnTo>
                  <a:lnTo>
                    <a:pt x="169317" y="197542"/>
                  </a:lnTo>
                  <a:lnTo>
                    <a:pt x="170164" y="196695"/>
                  </a:lnTo>
                  <a:lnTo>
                    <a:pt x="171011" y="194819"/>
                  </a:lnTo>
                  <a:lnTo>
                    <a:pt x="172373" y="193125"/>
                  </a:lnTo>
                  <a:lnTo>
                    <a:pt x="173915" y="192581"/>
                  </a:lnTo>
                  <a:lnTo>
                    <a:pt x="174278" y="193609"/>
                  </a:lnTo>
                  <a:lnTo>
                    <a:pt x="174339" y="195636"/>
                  </a:lnTo>
                  <a:lnTo>
                    <a:pt x="175004" y="198117"/>
                  </a:lnTo>
                  <a:lnTo>
                    <a:pt x="176063" y="199387"/>
                  </a:lnTo>
                  <a:lnTo>
                    <a:pt x="177939" y="200991"/>
                  </a:lnTo>
                  <a:lnTo>
                    <a:pt x="179845" y="202231"/>
                  </a:lnTo>
                  <a:lnTo>
                    <a:pt x="181115" y="202382"/>
                  </a:lnTo>
                  <a:lnTo>
                    <a:pt x="184050" y="201051"/>
                  </a:lnTo>
                  <a:lnTo>
                    <a:pt x="185532" y="203199"/>
                  </a:lnTo>
                  <a:lnTo>
                    <a:pt x="185986" y="207555"/>
                  </a:lnTo>
                  <a:lnTo>
                    <a:pt x="185774" y="212789"/>
                  </a:lnTo>
                  <a:lnTo>
                    <a:pt x="185109" y="217115"/>
                  </a:lnTo>
                  <a:lnTo>
                    <a:pt x="185048" y="218930"/>
                  </a:lnTo>
                  <a:lnTo>
                    <a:pt x="185592" y="221259"/>
                  </a:lnTo>
                  <a:lnTo>
                    <a:pt x="186651" y="222893"/>
                  </a:lnTo>
                  <a:lnTo>
                    <a:pt x="187982" y="223921"/>
                  </a:lnTo>
                  <a:lnTo>
                    <a:pt x="189102" y="225313"/>
                  </a:lnTo>
                  <a:lnTo>
                    <a:pt x="189525" y="227944"/>
                  </a:lnTo>
                  <a:lnTo>
                    <a:pt x="189646" y="229669"/>
                  </a:lnTo>
                  <a:lnTo>
                    <a:pt x="190009" y="231786"/>
                  </a:lnTo>
                  <a:lnTo>
                    <a:pt x="190523" y="233813"/>
                  </a:lnTo>
                  <a:lnTo>
                    <a:pt x="191098" y="235296"/>
                  </a:lnTo>
                  <a:lnTo>
                    <a:pt x="191855" y="236022"/>
                  </a:lnTo>
                  <a:lnTo>
                    <a:pt x="192550" y="235871"/>
                  </a:lnTo>
                  <a:lnTo>
                    <a:pt x="193216" y="235114"/>
                  </a:lnTo>
                  <a:lnTo>
                    <a:pt x="193851" y="234086"/>
                  </a:lnTo>
                  <a:lnTo>
                    <a:pt x="194759" y="233269"/>
                  </a:lnTo>
                  <a:lnTo>
                    <a:pt x="195727" y="233632"/>
                  </a:lnTo>
                  <a:lnTo>
                    <a:pt x="196695" y="234388"/>
                  </a:lnTo>
                  <a:lnTo>
                    <a:pt x="197603" y="234812"/>
                  </a:lnTo>
                  <a:lnTo>
                    <a:pt x="198329" y="234509"/>
                  </a:lnTo>
                  <a:lnTo>
                    <a:pt x="198903" y="233904"/>
                  </a:lnTo>
                  <a:lnTo>
                    <a:pt x="199538" y="233420"/>
                  </a:lnTo>
                  <a:lnTo>
                    <a:pt x="200446" y="233541"/>
                  </a:lnTo>
                  <a:lnTo>
                    <a:pt x="200930" y="233995"/>
                  </a:lnTo>
                  <a:lnTo>
                    <a:pt x="202019" y="235538"/>
                  </a:lnTo>
                  <a:lnTo>
                    <a:pt x="202533" y="236082"/>
                  </a:lnTo>
                  <a:lnTo>
                    <a:pt x="204439" y="236899"/>
                  </a:lnTo>
                  <a:lnTo>
                    <a:pt x="208463" y="237292"/>
                  </a:lnTo>
                  <a:lnTo>
                    <a:pt x="215088" y="240045"/>
                  </a:lnTo>
                  <a:lnTo>
                    <a:pt x="217719" y="243252"/>
                  </a:lnTo>
                  <a:lnTo>
                    <a:pt x="222287" y="247245"/>
                  </a:lnTo>
                  <a:lnTo>
                    <a:pt x="225222" y="252116"/>
                  </a:lnTo>
                  <a:lnTo>
                    <a:pt x="226251" y="253205"/>
                  </a:lnTo>
                  <a:lnTo>
                    <a:pt x="228005" y="253870"/>
                  </a:lnTo>
                  <a:lnTo>
                    <a:pt x="228943" y="253144"/>
                  </a:lnTo>
                  <a:lnTo>
                    <a:pt x="230849" y="249181"/>
                  </a:lnTo>
                  <a:lnTo>
                    <a:pt x="232603" y="247668"/>
                  </a:lnTo>
                  <a:lnTo>
                    <a:pt x="234418" y="247668"/>
                  </a:lnTo>
                  <a:lnTo>
                    <a:pt x="238079" y="248727"/>
                  </a:lnTo>
                  <a:lnTo>
                    <a:pt x="239924" y="248274"/>
                  </a:lnTo>
                  <a:lnTo>
                    <a:pt x="241407" y="247215"/>
                  </a:lnTo>
                  <a:lnTo>
                    <a:pt x="242707" y="245611"/>
                  </a:lnTo>
                  <a:lnTo>
                    <a:pt x="245944" y="240559"/>
                  </a:lnTo>
                  <a:lnTo>
                    <a:pt x="246368" y="238986"/>
                  </a:lnTo>
                  <a:lnTo>
                    <a:pt x="246579" y="236264"/>
                  </a:lnTo>
                  <a:lnTo>
                    <a:pt x="246973" y="234176"/>
                  </a:lnTo>
                  <a:lnTo>
                    <a:pt x="247910" y="231877"/>
                  </a:lnTo>
                  <a:lnTo>
                    <a:pt x="249090" y="229820"/>
                  </a:lnTo>
                  <a:lnTo>
                    <a:pt x="250240" y="228398"/>
                  </a:lnTo>
                  <a:lnTo>
                    <a:pt x="253779" y="226855"/>
                  </a:lnTo>
                  <a:lnTo>
                    <a:pt x="257954" y="227279"/>
                  </a:lnTo>
                  <a:lnTo>
                    <a:pt x="262038" y="228973"/>
                  </a:lnTo>
                  <a:lnTo>
                    <a:pt x="270418" y="235386"/>
                  </a:lnTo>
                  <a:lnTo>
                    <a:pt x="272596" y="238412"/>
                  </a:lnTo>
                  <a:lnTo>
                    <a:pt x="273443" y="242193"/>
                  </a:lnTo>
                  <a:lnTo>
                    <a:pt x="272142" y="246216"/>
                  </a:lnTo>
                  <a:lnTo>
                    <a:pt x="269359" y="248485"/>
                  </a:lnTo>
                  <a:lnTo>
                    <a:pt x="266303" y="250270"/>
                  </a:lnTo>
                  <a:lnTo>
                    <a:pt x="264186" y="252842"/>
                  </a:lnTo>
                  <a:lnTo>
                    <a:pt x="263823" y="254778"/>
                  </a:lnTo>
                  <a:lnTo>
                    <a:pt x="263823" y="256714"/>
                  </a:lnTo>
                  <a:lnTo>
                    <a:pt x="263732" y="258650"/>
                  </a:lnTo>
                  <a:lnTo>
                    <a:pt x="262371" y="262371"/>
                  </a:lnTo>
                  <a:lnTo>
                    <a:pt x="262371" y="264337"/>
                  </a:lnTo>
                  <a:lnTo>
                    <a:pt x="262794" y="266213"/>
                  </a:lnTo>
                  <a:lnTo>
                    <a:pt x="263550" y="267846"/>
                  </a:lnTo>
                  <a:lnTo>
                    <a:pt x="264035" y="269722"/>
                  </a:lnTo>
                  <a:lnTo>
                    <a:pt x="263823" y="271870"/>
                  </a:lnTo>
                  <a:lnTo>
                    <a:pt x="263006" y="275681"/>
                  </a:lnTo>
                  <a:lnTo>
                    <a:pt x="262824" y="284152"/>
                  </a:lnTo>
                  <a:lnTo>
                    <a:pt x="261009" y="287207"/>
                  </a:lnTo>
                  <a:lnTo>
                    <a:pt x="256018" y="292592"/>
                  </a:lnTo>
                  <a:lnTo>
                    <a:pt x="254142" y="299429"/>
                  </a:lnTo>
                  <a:lnTo>
                    <a:pt x="249151" y="310228"/>
                  </a:lnTo>
                  <a:lnTo>
                    <a:pt x="248757" y="312165"/>
                  </a:lnTo>
                  <a:lnTo>
                    <a:pt x="248485" y="314252"/>
                  </a:lnTo>
                  <a:lnTo>
                    <a:pt x="248092" y="316218"/>
                  </a:lnTo>
                  <a:lnTo>
                    <a:pt x="247275" y="317852"/>
                  </a:lnTo>
                  <a:lnTo>
                    <a:pt x="246186" y="319395"/>
                  </a:lnTo>
                  <a:lnTo>
                    <a:pt x="246186" y="319395"/>
                  </a:lnTo>
                  <a:lnTo>
                    <a:pt x="250543" y="321149"/>
                  </a:lnTo>
                  <a:lnTo>
                    <a:pt x="253416" y="321058"/>
                  </a:lnTo>
                  <a:lnTo>
                    <a:pt x="255806" y="319879"/>
                  </a:lnTo>
                  <a:lnTo>
                    <a:pt x="256956" y="318154"/>
                  </a:lnTo>
                  <a:lnTo>
                    <a:pt x="258710" y="314040"/>
                  </a:lnTo>
                  <a:lnTo>
                    <a:pt x="259981" y="312709"/>
                  </a:lnTo>
                  <a:lnTo>
                    <a:pt x="264004" y="310833"/>
                  </a:lnTo>
                  <a:lnTo>
                    <a:pt x="269389" y="306447"/>
                  </a:lnTo>
                  <a:lnTo>
                    <a:pt x="271416" y="306084"/>
                  </a:lnTo>
                  <a:lnTo>
                    <a:pt x="278465" y="306810"/>
                  </a:lnTo>
                  <a:lnTo>
                    <a:pt x="284605" y="306296"/>
                  </a:lnTo>
                  <a:lnTo>
                    <a:pt x="286209" y="305176"/>
                  </a:lnTo>
                  <a:lnTo>
                    <a:pt x="288145" y="300397"/>
                  </a:lnTo>
                  <a:lnTo>
                    <a:pt x="289657" y="298612"/>
                  </a:lnTo>
                  <a:lnTo>
                    <a:pt x="292773" y="299399"/>
                  </a:lnTo>
                  <a:lnTo>
                    <a:pt x="295375" y="301002"/>
                  </a:lnTo>
                  <a:lnTo>
                    <a:pt x="298007" y="301456"/>
                  </a:lnTo>
                  <a:lnTo>
                    <a:pt x="299096" y="300578"/>
                  </a:lnTo>
                  <a:lnTo>
                    <a:pt x="301244" y="298824"/>
                  </a:lnTo>
                  <a:lnTo>
                    <a:pt x="303724" y="297432"/>
                  </a:lnTo>
                  <a:lnTo>
                    <a:pt x="311469" y="296525"/>
                  </a:lnTo>
                  <a:lnTo>
                    <a:pt x="314071" y="294921"/>
                  </a:lnTo>
                  <a:lnTo>
                    <a:pt x="320242" y="289294"/>
                  </a:lnTo>
                  <a:lnTo>
                    <a:pt x="321663" y="287994"/>
                  </a:lnTo>
                  <a:lnTo>
                    <a:pt x="323902" y="286723"/>
                  </a:lnTo>
                  <a:lnTo>
                    <a:pt x="326292" y="286118"/>
                  </a:lnTo>
                  <a:lnTo>
                    <a:pt x="331011" y="286118"/>
                  </a:lnTo>
                  <a:lnTo>
                    <a:pt x="333583" y="287752"/>
                  </a:lnTo>
                  <a:lnTo>
                    <a:pt x="334883" y="291382"/>
                  </a:lnTo>
                  <a:lnTo>
                    <a:pt x="335730" y="295708"/>
                  </a:lnTo>
                  <a:lnTo>
                    <a:pt x="336880" y="299489"/>
                  </a:lnTo>
                  <a:lnTo>
                    <a:pt x="338332" y="300669"/>
                  </a:lnTo>
                  <a:lnTo>
                    <a:pt x="339905" y="300669"/>
                  </a:lnTo>
                  <a:lnTo>
                    <a:pt x="343172" y="299217"/>
                  </a:lnTo>
                  <a:lnTo>
                    <a:pt x="345199" y="296827"/>
                  </a:lnTo>
                  <a:lnTo>
                    <a:pt x="344564" y="294014"/>
                  </a:lnTo>
                  <a:lnTo>
                    <a:pt x="341841" y="289234"/>
                  </a:lnTo>
                  <a:lnTo>
                    <a:pt x="341993" y="286209"/>
                  </a:lnTo>
                  <a:lnTo>
                    <a:pt x="343323" y="285059"/>
                  </a:lnTo>
                  <a:lnTo>
                    <a:pt x="345139" y="285392"/>
                  </a:lnTo>
                  <a:lnTo>
                    <a:pt x="346893" y="286784"/>
                  </a:lnTo>
                  <a:lnTo>
                    <a:pt x="347559" y="287994"/>
                  </a:lnTo>
                  <a:lnTo>
                    <a:pt x="348708" y="291170"/>
                  </a:lnTo>
                  <a:lnTo>
                    <a:pt x="349313" y="292199"/>
                  </a:lnTo>
                  <a:lnTo>
                    <a:pt x="350221" y="292713"/>
                  </a:lnTo>
                  <a:lnTo>
                    <a:pt x="350856" y="292592"/>
                  </a:lnTo>
                  <a:lnTo>
                    <a:pt x="351522" y="292289"/>
                  </a:lnTo>
                  <a:lnTo>
                    <a:pt x="352550" y="292289"/>
                  </a:lnTo>
                  <a:lnTo>
                    <a:pt x="356543" y="294346"/>
                  </a:lnTo>
                  <a:lnTo>
                    <a:pt x="362503" y="301274"/>
                  </a:lnTo>
                  <a:lnTo>
                    <a:pt x="366405" y="303694"/>
                  </a:lnTo>
                  <a:lnTo>
                    <a:pt x="369945" y="304481"/>
                  </a:lnTo>
                  <a:lnTo>
                    <a:pt x="370913" y="305116"/>
                  </a:lnTo>
                  <a:lnTo>
                    <a:pt x="371760" y="306447"/>
                  </a:lnTo>
                  <a:lnTo>
                    <a:pt x="371881" y="307415"/>
                  </a:lnTo>
                  <a:lnTo>
                    <a:pt x="371881" y="307597"/>
                  </a:lnTo>
                  <a:lnTo>
                    <a:pt x="371972" y="308746"/>
                  </a:lnTo>
                  <a:lnTo>
                    <a:pt x="372486" y="310138"/>
                  </a:lnTo>
                  <a:lnTo>
                    <a:pt x="374543" y="312739"/>
                  </a:lnTo>
                  <a:lnTo>
                    <a:pt x="376751" y="314040"/>
                  </a:lnTo>
                  <a:lnTo>
                    <a:pt x="379111" y="314403"/>
                  </a:lnTo>
                  <a:lnTo>
                    <a:pt x="381622" y="314252"/>
                  </a:lnTo>
                  <a:lnTo>
                    <a:pt x="387067" y="312618"/>
                  </a:lnTo>
                  <a:lnTo>
                    <a:pt x="388217" y="312286"/>
                  </a:lnTo>
                  <a:lnTo>
                    <a:pt x="389759" y="312346"/>
                  </a:lnTo>
                  <a:lnTo>
                    <a:pt x="391242" y="314796"/>
                  </a:lnTo>
                  <a:lnTo>
                    <a:pt x="392119" y="318336"/>
                  </a:lnTo>
                  <a:lnTo>
                    <a:pt x="393329" y="321845"/>
                  </a:lnTo>
                  <a:lnTo>
                    <a:pt x="395810" y="324144"/>
                  </a:lnTo>
                  <a:lnTo>
                    <a:pt x="416925" y="326232"/>
                  </a:lnTo>
                  <a:lnTo>
                    <a:pt x="418075" y="326806"/>
                  </a:lnTo>
                  <a:lnTo>
                    <a:pt x="418831" y="327653"/>
                  </a:lnTo>
                  <a:lnTo>
                    <a:pt x="419134" y="329317"/>
                  </a:lnTo>
                  <a:lnTo>
                    <a:pt x="418771" y="330346"/>
                  </a:lnTo>
                  <a:lnTo>
                    <a:pt x="418166" y="331374"/>
                  </a:lnTo>
                  <a:lnTo>
                    <a:pt x="417833" y="332947"/>
                  </a:lnTo>
                  <a:lnTo>
                    <a:pt x="418075" y="336517"/>
                  </a:lnTo>
                  <a:lnTo>
                    <a:pt x="418922" y="338665"/>
                  </a:lnTo>
                  <a:lnTo>
                    <a:pt x="429843" y="347438"/>
                  </a:lnTo>
                  <a:lnTo>
                    <a:pt x="433110" y="351098"/>
                  </a:lnTo>
                  <a:lnTo>
                    <a:pt x="442336" y="365649"/>
                  </a:lnTo>
                  <a:lnTo>
                    <a:pt x="445694" y="369461"/>
                  </a:lnTo>
                  <a:lnTo>
                    <a:pt x="449809" y="372304"/>
                  </a:lnTo>
                  <a:lnTo>
                    <a:pt x="451079" y="372819"/>
                  </a:lnTo>
                  <a:lnTo>
                    <a:pt x="459005" y="376116"/>
                  </a:lnTo>
                  <a:lnTo>
                    <a:pt x="459005" y="376116"/>
                  </a:lnTo>
                  <a:lnTo>
                    <a:pt x="460639" y="377659"/>
                  </a:lnTo>
                  <a:lnTo>
                    <a:pt x="463906" y="382166"/>
                  </a:lnTo>
                  <a:lnTo>
                    <a:pt x="465751" y="384163"/>
                  </a:lnTo>
                  <a:lnTo>
                    <a:pt x="467324" y="383951"/>
                  </a:lnTo>
                  <a:lnTo>
                    <a:pt x="468716" y="382832"/>
                  </a:lnTo>
                  <a:lnTo>
                    <a:pt x="470107" y="382136"/>
                  </a:lnTo>
                  <a:lnTo>
                    <a:pt x="471045" y="382378"/>
                  </a:lnTo>
                  <a:lnTo>
                    <a:pt x="472860" y="383649"/>
                  </a:lnTo>
                  <a:lnTo>
                    <a:pt x="473828" y="383951"/>
                  </a:lnTo>
                  <a:lnTo>
                    <a:pt x="474857" y="383528"/>
                  </a:lnTo>
                  <a:lnTo>
                    <a:pt x="475341" y="382469"/>
                  </a:lnTo>
                  <a:lnTo>
                    <a:pt x="475734" y="381198"/>
                  </a:lnTo>
                  <a:lnTo>
                    <a:pt x="476400" y="380079"/>
                  </a:lnTo>
                  <a:lnTo>
                    <a:pt x="479425" y="377719"/>
                  </a:lnTo>
                  <a:lnTo>
                    <a:pt x="482752" y="375965"/>
                  </a:lnTo>
                  <a:lnTo>
                    <a:pt x="486140" y="374997"/>
                  </a:lnTo>
                  <a:lnTo>
                    <a:pt x="493945" y="375511"/>
                  </a:lnTo>
                  <a:lnTo>
                    <a:pt x="495730" y="375057"/>
                  </a:lnTo>
                  <a:lnTo>
                    <a:pt x="497848" y="373393"/>
                  </a:lnTo>
                  <a:lnTo>
                    <a:pt x="499088" y="371034"/>
                  </a:lnTo>
                  <a:lnTo>
                    <a:pt x="500177" y="368493"/>
                  </a:lnTo>
                  <a:lnTo>
                    <a:pt x="501781" y="366345"/>
                  </a:lnTo>
                  <a:lnTo>
                    <a:pt x="503656" y="365589"/>
                  </a:lnTo>
                  <a:lnTo>
                    <a:pt x="504866" y="366496"/>
                  </a:lnTo>
                  <a:lnTo>
                    <a:pt x="505955" y="367736"/>
                  </a:lnTo>
                  <a:lnTo>
                    <a:pt x="507498" y="368039"/>
                  </a:lnTo>
                  <a:lnTo>
                    <a:pt x="509283" y="367706"/>
                  </a:lnTo>
                  <a:lnTo>
                    <a:pt x="511038" y="367767"/>
                  </a:lnTo>
                  <a:lnTo>
                    <a:pt x="514486" y="368916"/>
                  </a:lnTo>
                  <a:lnTo>
                    <a:pt x="516815" y="370701"/>
                  </a:lnTo>
                  <a:lnTo>
                    <a:pt x="520415" y="376025"/>
                  </a:lnTo>
                  <a:lnTo>
                    <a:pt x="522412" y="378264"/>
                  </a:lnTo>
                  <a:lnTo>
                    <a:pt x="524772" y="379383"/>
                  </a:lnTo>
                  <a:lnTo>
                    <a:pt x="532849" y="379988"/>
                  </a:lnTo>
                  <a:lnTo>
                    <a:pt x="548247" y="385524"/>
                  </a:lnTo>
                  <a:lnTo>
                    <a:pt x="551605" y="383618"/>
                  </a:lnTo>
                  <a:lnTo>
                    <a:pt x="550848" y="381803"/>
                  </a:lnTo>
                  <a:lnTo>
                    <a:pt x="549971" y="379081"/>
                  </a:lnTo>
                  <a:lnTo>
                    <a:pt x="549305" y="376207"/>
                  </a:lnTo>
                  <a:lnTo>
                    <a:pt x="549305" y="374029"/>
                  </a:lnTo>
                  <a:lnTo>
                    <a:pt x="550183" y="372577"/>
                  </a:lnTo>
                  <a:lnTo>
                    <a:pt x="551454" y="372183"/>
                  </a:lnTo>
                  <a:lnTo>
                    <a:pt x="552815" y="372123"/>
                  </a:lnTo>
                  <a:lnTo>
                    <a:pt x="554055" y="371578"/>
                  </a:lnTo>
                  <a:lnTo>
                    <a:pt x="554811" y="370762"/>
                  </a:lnTo>
                  <a:lnTo>
                    <a:pt x="555114" y="370036"/>
                  </a:lnTo>
                  <a:lnTo>
                    <a:pt x="555386" y="366466"/>
                  </a:lnTo>
                  <a:lnTo>
                    <a:pt x="555205" y="365861"/>
                  </a:lnTo>
                  <a:lnTo>
                    <a:pt x="554993" y="365286"/>
                  </a:lnTo>
                  <a:lnTo>
                    <a:pt x="554781" y="362987"/>
                  </a:lnTo>
                  <a:lnTo>
                    <a:pt x="554569" y="362291"/>
                  </a:lnTo>
                  <a:lnTo>
                    <a:pt x="554479" y="361414"/>
                  </a:lnTo>
                  <a:lnTo>
                    <a:pt x="554781" y="359750"/>
                  </a:lnTo>
                  <a:lnTo>
                    <a:pt x="555295" y="358389"/>
                  </a:lnTo>
                  <a:lnTo>
                    <a:pt x="555991" y="357390"/>
                  </a:lnTo>
                  <a:lnTo>
                    <a:pt x="557655" y="355908"/>
                  </a:lnTo>
                  <a:lnTo>
                    <a:pt x="566035" y="353337"/>
                  </a:lnTo>
                  <a:lnTo>
                    <a:pt x="567819" y="351612"/>
                  </a:lnTo>
                  <a:lnTo>
                    <a:pt x="567971" y="349404"/>
                  </a:lnTo>
                  <a:lnTo>
                    <a:pt x="566942" y="344503"/>
                  </a:lnTo>
                  <a:lnTo>
                    <a:pt x="567456" y="341599"/>
                  </a:lnTo>
                  <a:lnTo>
                    <a:pt x="568485" y="340087"/>
                  </a:lnTo>
                  <a:lnTo>
                    <a:pt x="569877" y="339088"/>
                  </a:lnTo>
                  <a:lnTo>
                    <a:pt x="572690" y="337848"/>
                  </a:lnTo>
                  <a:lnTo>
                    <a:pt x="570572" y="336033"/>
                  </a:lnTo>
                  <a:lnTo>
                    <a:pt x="569786" y="335640"/>
                  </a:lnTo>
                  <a:lnTo>
                    <a:pt x="571117" y="334914"/>
                  </a:lnTo>
                  <a:lnTo>
                    <a:pt x="572993" y="334672"/>
                  </a:lnTo>
                  <a:lnTo>
                    <a:pt x="587543" y="332887"/>
                  </a:lnTo>
                  <a:lnTo>
                    <a:pt x="593896" y="330618"/>
                  </a:lnTo>
                  <a:lnTo>
                    <a:pt x="596286" y="329105"/>
                  </a:lnTo>
                  <a:lnTo>
                    <a:pt x="597587" y="326776"/>
                  </a:lnTo>
                  <a:lnTo>
                    <a:pt x="596800" y="323327"/>
                  </a:lnTo>
                  <a:lnTo>
                    <a:pt x="595167" y="321573"/>
                  </a:lnTo>
                  <a:lnTo>
                    <a:pt x="585063" y="317549"/>
                  </a:lnTo>
                  <a:lnTo>
                    <a:pt x="584276" y="316551"/>
                  </a:lnTo>
                  <a:lnTo>
                    <a:pt x="583762" y="314101"/>
                  </a:lnTo>
                  <a:lnTo>
                    <a:pt x="584185" y="312104"/>
                  </a:lnTo>
                  <a:lnTo>
                    <a:pt x="584972" y="310198"/>
                  </a:lnTo>
                  <a:lnTo>
                    <a:pt x="585486" y="307960"/>
                  </a:lnTo>
                  <a:lnTo>
                    <a:pt x="584972" y="303724"/>
                  </a:lnTo>
                  <a:lnTo>
                    <a:pt x="583127" y="302272"/>
                  </a:lnTo>
                  <a:lnTo>
                    <a:pt x="581221" y="301516"/>
                  </a:lnTo>
                  <a:lnTo>
                    <a:pt x="581221" y="296494"/>
                  </a:lnTo>
                  <a:lnTo>
                    <a:pt x="581917" y="291926"/>
                  </a:lnTo>
                  <a:lnTo>
                    <a:pt x="581402" y="286844"/>
                  </a:lnTo>
                  <a:lnTo>
                    <a:pt x="576411" y="280189"/>
                  </a:lnTo>
                  <a:lnTo>
                    <a:pt x="572599" y="272081"/>
                  </a:lnTo>
                  <a:lnTo>
                    <a:pt x="570633" y="268058"/>
                  </a:lnTo>
                  <a:lnTo>
                    <a:pt x="568273" y="263278"/>
                  </a:lnTo>
                  <a:lnTo>
                    <a:pt x="567184" y="254989"/>
                  </a:lnTo>
                  <a:lnTo>
                    <a:pt x="568515" y="246065"/>
                  </a:lnTo>
                  <a:lnTo>
                    <a:pt x="574898" y="232845"/>
                  </a:lnTo>
                  <a:lnTo>
                    <a:pt x="569755" y="208130"/>
                  </a:lnTo>
                  <a:lnTo>
                    <a:pt x="565218" y="186046"/>
                  </a:lnTo>
                  <a:lnTo>
                    <a:pt x="563342" y="176971"/>
                  </a:lnTo>
                  <a:lnTo>
                    <a:pt x="561679" y="168833"/>
                  </a:lnTo>
                  <a:lnTo>
                    <a:pt x="565520" y="157489"/>
                  </a:lnTo>
                  <a:lnTo>
                    <a:pt x="568909" y="147445"/>
                  </a:lnTo>
                  <a:lnTo>
                    <a:pt x="581947" y="137069"/>
                  </a:lnTo>
                  <a:lnTo>
                    <a:pt x="591083" y="129839"/>
                  </a:lnTo>
                  <a:lnTo>
                    <a:pt x="591234" y="129627"/>
                  </a:lnTo>
                  <a:lnTo>
                    <a:pt x="593019" y="127026"/>
                  </a:lnTo>
                  <a:lnTo>
                    <a:pt x="594229" y="123002"/>
                  </a:lnTo>
                  <a:lnTo>
                    <a:pt x="598676" y="115621"/>
                  </a:lnTo>
                  <a:lnTo>
                    <a:pt x="600491" y="111840"/>
                  </a:lnTo>
                  <a:lnTo>
                    <a:pt x="606632" y="96805"/>
                  </a:lnTo>
                  <a:lnTo>
                    <a:pt x="610051" y="83282"/>
                  </a:lnTo>
                  <a:lnTo>
                    <a:pt x="611866" y="79410"/>
                  </a:lnTo>
                  <a:lnTo>
                    <a:pt x="611079" y="76203"/>
                  </a:lnTo>
                  <a:lnTo>
                    <a:pt x="613318" y="73572"/>
                  </a:lnTo>
                  <a:lnTo>
                    <a:pt x="618975" y="70758"/>
                  </a:lnTo>
                  <a:lnTo>
                    <a:pt x="630742" y="71182"/>
                  </a:lnTo>
                  <a:lnTo>
                    <a:pt x="632830" y="68671"/>
                  </a:lnTo>
                  <a:lnTo>
                    <a:pt x="630440" y="68671"/>
                  </a:lnTo>
                  <a:lnTo>
                    <a:pt x="623180" y="65918"/>
                  </a:lnTo>
                  <a:lnTo>
                    <a:pt x="626417" y="64496"/>
                  </a:lnTo>
                  <a:lnTo>
                    <a:pt x="634615" y="64012"/>
                  </a:lnTo>
                  <a:lnTo>
                    <a:pt x="639122" y="60715"/>
                  </a:lnTo>
                  <a:lnTo>
                    <a:pt x="641542" y="62197"/>
                  </a:lnTo>
                  <a:lnTo>
                    <a:pt x="642087" y="58779"/>
                  </a:lnTo>
                  <a:lnTo>
                    <a:pt x="640998" y="57508"/>
                  </a:lnTo>
                  <a:close/>
                </a:path>
              </a:pathLst>
            </a:custGeom>
            <a:solidFill>
              <a:srgbClr val="96A3AC"/>
            </a:solidFill>
            <a:ln w="3175" cap="rnd">
              <a:solidFill>
                <a:schemeClr val="bg1"/>
              </a:solidFill>
              <a:prstDash val="solid"/>
              <a:round/>
            </a:ln>
          </p:spPr>
          <p:txBody>
            <a:bodyPr rtlCol="0" anchor="ctr"/>
            <a:lstStyle/>
            <a:p>
              <a:endParaRPr lang="en-ID"/>
            </a:p>
          </p:txBody>
        </p:sp>
        <p:sp>
          <p:nvSpPr>
            <p:cNvPr id="56" name="Freeform: Shape 55">
              <a:extLst>
                <a:ext uri="{FF2B5EF4-FFF2-40B4-BE49-F238E27FC236}">
                  <a16:creationId xmlns:a16="http://schemas.microsoft.com/office/drawing/2014/main" id="{529FF31D-6CFD-F2D0-69AD-2A0E6A1D764D}"/>
                </a:ext>
              </a:extLst>
            </p:cNvPr>
            <p:cNvSpPr/>
            <p:nvPr/>
          </p:nvSpPr>
          <p:spPr>
            <a:xfrm>
              <a:off x="8789915" y="3104336"/>
              <a:ext cx="552110" cy="411097"/>
            </a:xfrm>
            <a:custGeom>
              <a:avLst/>
              <a:gdLst>
                <a:gd name="connsiteX0" fmla="*/ 377871 w 710303"/>
                <a:gd name="connsiteY0" fmla="*/ 495912 h 528885"/>
                <a:gd name="connsiteX1" fmla="*/ 376751 w 710303"/>
                <a:gd name="connsiteY1" fmla="*/ 494369 h 528885"/>
                <a:gd name="connsiteX2" fmla="*/ 371699 w 710303"/>
                <a:gd name="connsiteY2" fmla="*/ 490497 h 528885"/>
                <a:gd name="connsiteX3" fmla="*/ 370217 w 710303"/>
                <a:gd name="connsiteY3" fmla="*/ 487623 h 528885"/>
                <a:gd name="connsiteX4" fmla="*/ 370641 w 710303"/>
                <a:gd name="connsiteY4" fmla="*/ 487411 h 528885"/>
                <a:gd name="connsiteX5" fmla="*/ 371639 w 710303"/>
                <a:gd name="connsiteY5" fmla="*/ 486534 h 528885"/>
                <a:gd name="connsiteX6" fmla="*/ 369975 w 710303"/>
                <a:gd name="connsiteY6" fmla="*/ 486080 h 528885"/>
                <a:gd name="connsiteX7" fmla="*/ 368463 w 710303"/>
                <a:gd name="connsiteY7" fmla="*/ 484991 h 528885"/>
                <a:gd name="connsiteX8" fmla="*/ 366073 w 710303"/>
                <a:gd name="connsiteY8" fmla="*/ 482147 h 528885"/>
                <a:gd name="connsiteX9" fmla="*/ 365437 w 710303"/>
                <a:gd name="connsiteY9" fmla="*/ 479818 h 528885"/>
                <a:gd name="connsiteX10" fmla="*/ 357753 w 710303"/>
                <a:gd name="connsiteY10" fmla="*/ 473374 h 528885"/>
                <a:gd name="connsiteX11" fmla="*/ 357451 w 710303"/>
                <a:gd name="connsiteY11" fmla="*/ 475189 h 528885"/>
                <a:gd name="connsiteX12" fmla="*/ 357300 w 710303"/>
                <a:gd name="connsiteY12" fmla="*/ 477216 h 528885"/>
                <a:gd name="connsiteX13" fmla="*/ 357542 w 710303"/>
                <a:gd name="connsiteY13" fmla="*/ 479213 h 528885"/>
                <a:gd name="connsiteX14" fmla="*/ 358449 w 710303"/>
                <a:gd name="connsiteY14" fmla="*/ 480968 h 528885"/>
                <a:gd name="connsiteX15" fmla="*/ 357451 w 710303"/>
                <a:gd name="connsiteY15" fmla="*/ 481119 h 528885"/>
                <a:gd name="connsiteX16" fmla="*/ 355000 w 710303"/>
                <a:gd name="connsiteY16" fmla="*/ 482147 h 528885"/>
                <a:gd name="connsiteX17" fmla="*/ 352248 w 710303"/>
                <a:gd name="connsiteY17" fmla="*/ 482147 h 528885"/>
                <a:gd name="connsiteX18" fmla="*/ 350040 w 710303"/>
                <a:gd name="connsiteY18" fmla="*/ 483902 h 528885"/>
                <a:gd name="connsiteX19" fmla="*/ 350130 w 710303"/>
                <a:gd name="connsiteY19" fmla="*/ 485294 h 528885"/>
                <a:gd name="connsiteX20" fmla="*/ 351280 w 710303"/>
                <a:gd name="connsiteY20" fmla="*/ 487018 h 528885"/>
                <a:gd name="connsiteX21" fmla="*/ 352248 w 710303"/>
                <a:gd name="connsiteY21" fmla="*/ 489801 h 528885"/>
                <a:gd name="connsiteX22" fmla="*/ 334339 w 710303"/>
                <a:gd name="connsiteY22" fmla="*/ 480453 h 528885"/>
                <a:gd name="connsiteX23" fmla="*/ 331919 w 710303"/>
                <a:gd name="connsiteY23" fmla="*/ 479939 h 528885"/>
                <a:gd name="connsiteX24" fmla="*/ 329529 w 710303"/>
                <a:gd name="connsiteY24" fmla="*/ 478578 h 528885"/>
                <a:gd name="connsiteX25" fmla="*/ 326504 w 710303"/>
                <a:gd name="connsiteY25" fmla="*/ 472467 h 528885"/>
                <a:gd name="connsiteX26" fmla="*/ 324719 w 710303"/>
                <a:gd name="connsiteY26" fmla="*/ 471075 h 528885"/>
                <a:gd name="connsiteX27" fmla="*/ 322934 w 710303"/>
                <a:gd name="connsiteY27" fmla="*/ 470319 h 528885"/>
                <a:gd name="connsiteX28" fmla="*/ 318154 w 710303"/>
                <a:gd name="connsiteY28" fmla="*/ 466750 h 528885"/>
                <a:gd name="connsiteX29" fmla="*/ 315704 w 710303"/>
                <a:gd name="connsiteY29" fmla="*/ 465690 h 528885"/>
                <a:gd name="connsiteX30" fmla="*/ 301244 w 710303"/>
                <a:gd name="connsiteY30" fmla="*/ 468443 h 528885"/>
                <a:gd name="connsiteX31" fmla="*/ 299822 w 710303"/>
                <a:gd name="connsiteY31" fmla="*/ 467808 h 528885"/>
                <a:gd name="connsiteX32" fmla="*/ 295647 w 710303"/>
                <a:gd name="connsiteY32" fmla="*/ 472467 h 528885"/>
                <a:gd name="connsiteX33" fmla="*/ 294286 w 710303"/>
                <a:gd name="connsiteY33" fmla="*/ 475008 h 528885"/>
                <a:gd name="connsiteX34" fmla="*/ 294286 w 710303"/>
                <a:gd name="connsiteY34" fmla="*/ 477761 h 528885"/>
                <a:gd name="connsiteX35" fmla="*/ 294951 w 710303"/>
                <a:gd name="connsiteY35" fmla="*/ 478850 h 528885"/>
                <a:gd name="connsiteX36" fmla="*/ 300306 w 710303"/>
                <a:gd name="connsiteY36" fmla="*/ 484991 h 528885"/>
                <a:gd name="connsiteX37" fmla="*/ 301697 w 710303"/>
                <a:gd name="connsiteY37" fmla="*/ 485959 h 528885"/>
                <a:gd name="connsiteX38" fmla="*/ 303301 w 710303"/>
                <a:gd name="connsiteY38" fmla="*/ 486534 h 528885"/>
                <a:gd name="connsiteX39" fmla="*/ 301456 w 710303"/>
                <a:gd name="connsiteY39" fmla="*/ 489892 h 528885"/>
                <a:gd name="connsiteX40" fmla="*/ 298612 w 710303"/>
                <a:gd name="connsiteY40" fmla="*/ 490104 h 528885"/>
                <a:gd name="connsiteX41" fmla="*/ 295526 w 710303"/>
                <a:gd name="connsiteY41" fmla="*/ 489650 h 528885"/>
                <a:gd name="connsiteX42" fmla="*/ 292985 w 710303"/>
                <a:gd name="connsiteY42" fmla="*/ 491011 h 528885"/>
                <a:gd name="connsiteX43" fmla="*/ 292350 w 710303"/>
                <a:gd name="connsiteY43" fmla="*/ 493703 h 528885"/>
                <a:gd name="connsiteX44" fmla="*/ 293378 w 710303"/>
                <a:gd name="connsiteY44" fmla="*/ 496124 h 528885"/>
                <a:gd name="connsiteX45" fmla="*/ 295526 w 710303"/>
                <a:gd name="connsiteY45" fmla="*/ 497878 h 528885"/>
                <a:gd name="connsiteX46" fmla="*/ 300971 w 710303"/>
                <a:gd name="connsiteY46" fmla="*/ 499088 h 528885"/>
                <a:gd name="connsiteX47" fmla="*/ 306356 w 710303"/>
                <a:gd name="connsiteY47" fmla="*/ 501418 h 528885"/>
                <a:gd name="connsiteX48" fmla="*/ 311348 w 710303"/>
                <a:gd name="connsiteY48" fmla="*/ 502446 h 528885"/>
                <a:gd name="connsiteX49" fmla="*/ 322420 w 710303"/>
                <a:gd name="connsiteY49" fmla="*/ 508950 h 528885"/>
                <a:gd name="connsiteX50" fmla="*/ 328561 w 710303"/>
                <a:gd name="connsiteY50" fmla="*/ 513881 h 528885"/>
                <a:gd name="connsiteX51" fmla="*/ 337939 w 710303"/>
                <a:gd name="connsiteY51" fmla="*/ 519024 h 528885"/>
                <a:gd name="connsiteX52" fmla="*/ 340208 w 710303"/>
                <a:gd name="connsiteY52" fmla="*/ 519387 h 528885"/>
                <a:gd name="connsiteX53" fmla="*/ 344019 w 710303"/>
                <a:gd name="connsiteY53" fmla="*/ 516120 h 528885"/>
                <a:gd name="connsiteX54" fmla="*/ 348829 w 710303"/>
                <a:gd name="connsiteY54" fmla="*/ 514033 h 528885"/>
                <a:gd name="connsiteX55" fmla="*/ 353911 w 710303"/>
                <a:gd name="connsiteY55" fmla="*/ 512943 h 528885"/>
                <a:gd name="connsiteX56" fmla="*/ 369582 w 710303"/>
                <a:gd name="connsiteY56" fmla="*/ 516120 h 528885"/>
                <a:gd name="connsiteX57" fmla="*/ 374089 w 710303"/>
                <a:gd name="connsiteY57" fmla="*/ 514759 h 528885"/>
                <a:gd name="connsiteX58" fmla="*/ 377296 w 710303"/>
                <a:gd name="connsiteY58" fmla="*/ 511401 h 528885"/>
                <a:gd name="connsiteX59" fmla="*/ 377689 w 710303"/>
                <a:gd name="connsiteY59" fmla="*/ 507952 h 528885"/>
                <a:gd name="connsiteX60" fmla="*/ 373726 w 710303"/>
                <a:gd name="connsiteY60" fmla="*/ 506318 h 528885"/>
                <a:gd name="connsiteX61" fmla="*/ 374513 w 710303"/>
                <a:gd name="connsiteY61" fmla="*/ 504594 h 528885"/>
                <a:gd name="connsiteX62" fmla="*/ 375390 w 710303"/>
                <a:gd name="connsiteY62" fmla="*/ 504049 h 528885"/>
                <a:gd name="connsiteX63" fmla="*/ 376419 w 710303"/>
                <a:gd name="connsiteY63" fmla="*/ 503656 h 528885"/>
                <a:gd name="connsiteX64" fmla="*/ 377568 w 710303"/>
                <a:gd name="connsiteY64" fmla="*/ 502476 h 528885"/>
                <a:gd name="connsiteX65" fmla="*/ 378597 w 710303"/>
                <a:gd name="connsiteY65" fmla="*/ 500601 h 528885"/>
                <a:gd name="connsiteX66" fmla="*/ 378597 w 710303"/>
                <a:gd name="connsiteY66" fmla="*/ 499663 h 528885"/>
                <a:gd name="connsiteX67" fmla="*/ 378173 w 710303"/>
                <a:gd name="connsiteY67" fmla="*/ 498483 h 528885"/>
                <a:gd name="connsiteX68" fmla="*/ 377901 w 710303"/>
                <a:gd name="connsiteY68" fmla="*/ 495882 h 528885"/>
                <a:gd name="connsiteX69" fmla="*/ 242042 w 710303"/>
                <a:gd name="connsiteY69" fmla="*/ 482178 h 528885"/>
                <a:gd name="connsiteX70" fmla="*/ 242042 w 710303"/>
                <a:gd name="connsiteY70" fmla="*/ 479667 h 528885"/>
                <a:gd name="connsiteX71" fmla="*/ 240741 w 710303"/>
                <a:gd name="connsiteY71" fmla="*/ 478215 h 528885"/>
                <a:gd name="connsiteX72" fmla="*/ 238835 w 710303"/>
                <a:gd name="connsiteY72" fmla="*/ 477126 h 528885"/>
                <a:gd name="connsiteX73" fmla="*/ 237202 w 710303"/>
                <a:gd name="connsiteY73" fmla="*/ 475643 h 528885"/>
                <a:gd name="connsiteX74" fmla="*/ 238563 w 710303"/>
                <a:gd name="connsiteY74" fmla="*/ 478427 h 528885"/>
                <a:gd name="connsiteX75" fmla="*/ 238291 w 710303"/>
                <a:gd name="connsiteY75" fmla="*/ 479697 h 528885"/>
                <a:gd name="connsiteX76" fmla="*/ 236869 w 710303"/>
                <a:gd name="connsiteY76" fmla="*/ 480030 h 528885"/>
                <a:gd name="connsiteX77" fmla="*/ 234781 w 710303"/>
                <a:gd name="connsiteY77" fmla="*/ 480030 h 528885"/>
                <a:gd name="connsiteX78" fmla="*/ 233692 w 710303"/>
                <a:gd name="connsiteY78" fmla="*/ 479062 h 528885"/>
                <a:gd name="connsiteX79" fmla="*/ 232482 w 710303"/>
                <a:gd name="connsiteY79" fmla="*/ 474252 h 528885"/>
                <a:gd name="connsiteX80" fmla="*/ 231060 w 710303"/>
                <a:gd name="connsiteY80" fmla="*/ 472346 h 528885"/>
                <a:gd name="connsiteX81" fmla="*/ 231756 w 710303"/>
                <a:gd name="connsiteY81" fmla="*/ 475038 h 528885"/>
                <a:gd name="connsiteX82" fmla="*/ 231303 w 710303"/>
                <a:gd name="connsiteY82" fmla="*/ 476339 h 528885"/>
                <a:gd name="connsiteX83" fmla="*/ 230093 w 710303"/>
                <a:gd name="connsiteY83" fmla="*/ 476732 h 528885"/>
                <a:gd name="connsiteX84" fmla="*/ 228580 w 710303"/>
                <a:gd name="connsiteY84" fmla="*/ 476732 h 528885"/>
                <a:gd name="connsiteX85" fmla="*/ 227128 w 710303"/>
                <a:gd name="connsiteY85" fmla="*/ 476127 h 528885"/>
                <a:gd name="connsiteX86" fmla="*/ 225888 w 710303"/>
                <a:gd name="connsiteY86" fmla="*/ 474645 h 528885"/>
                <a:gd name="connsiteX87" fmla="*/ 223528 w 710303"/>
                <a:gd name="connsiteY87" fmla="*/ 471136 h 528885"/>
                <a:gd name="connsiteX88" fmla="*/ 221017 w 710303"/>
                <a:gd name="connsiteY88" fmla="*/ 469049 h 528885"/>
                <a:gd name="connsiteX89" fmla="*/ 212486 w 710303"/>
                <a:gd name="connsiteY89" fmla="*/ 464632 h 528885"/>
                <a:gd name="connsiteX90" fmla="*/ 211004 w 710303"/>
                <a:gd name="connsiteY90" fmla="*/ 463119 h 528885"/>
                <a:gd name="connsiteX91" fmla="*/ 211609 w 710303"/>
                <a:gd name="connsiteY91" fmla="*/ 465630 h 528885"/>
                <a:gd name="connsiteX92" fmla="*/ 213242 w 710303"/>
                <a:gd name="connsiteY92" fmla="*/ 469260 h 528885"/>
                <a:gd name="connsiteX93" fmla="*/ 230576 w 710303"/>
                <a:gd name="connsiteY93" fmla="*/ 486715 h 528885"/>
                <a:gd name="connsiteX94" fmla="*/ 232875 w 710303"/>
                <a:gd name="connsiteY94" fmla="*/ 487683 h 528885"/>
                <a:gd name="connsiteX95" fmla="*/ 234116 w 710303"/>
                <a:gd name="connsiteY95" fmla="*/ 487200 h 528885"/>
                <a:gd name="connsiteX96" fmla="*/ 236294 w 710303"/>
                <a:gd name="connsiteY96" fmla="*/ 484991 h 528885"/>
                <a:gd name="connsiteX97" fmla="*/ 244189 w 710303"/>
                <a:gd name="connsiteY97" fmla="*/ 483297 h 528885"/>
                <a:gd name="connsiteX98" fmla="*/ 243131 w 710303"/>
                <a:gd name="connsiteY98" fmla="*/ 482813 h 528885"/>
                <a:gd name="connsiteX99" fmla="*/ 242163 w 710303"/>
                <a:gd name="connsiteY99" fmla="*/ 482178 h 528885"/>
                <a:gd name="connsiteX100" fmla="*/ 443910 w 710303"/>
                <a:gd name="connsiteY100" fmla="*/ 456313 h 528885"/>
                <a:gd name="connsiteX101" fmla="*/ 435107 w 710303"/>
                <a:gd name="connsiteY101" fmla="*/ 454619 h 528885"/>
                <a:gd name="connsiteX102" fmla="*/ 426878 w 710303"/>
                <a:gd name="connsiteY102" fmla="*/ 454135 h 528885"/>
                <a:gd name="connsiteX103" fmla="*/ 423520 w 710303"/>
                <a:gd name="connsiteY103" fmla="*/ 452713 h 528885"/>
                <a:gd name="connsiteX104" fmla="*/ 421342 w 710303"/>
                <a:gd name="connsiteY104" fmla="*/ 449143 h 528885"/>
                <a:gd name="connsiteX105" fmla="*/ 419527 w 710303"/>
                <a:gd name="connsiteY105" fmla="*/ 449143 h 528885"/>
                <a:gd name="connsiteX106" fmla="*/ 418408 w 710303"/>
                <a:gd name="connsiteY106" fmla="*/ 449718 h 528885"/>
                <a:gd name="connsiteX107" fmla="*/ 418075 w 710303"/>
                <a:gd name="connsiteY107" fmla="*/ 450837 h 528885"/>
                <a:gd name="connsiteX108" fmla="*/ 418589 w 710303"/>
                <a:gd name="connsiteY108" fmla="*/ 452440 h 528885"/>
                <a:gd name="connsiteX109" fmla="*/ 419466 w 710303"/>
                <a:gd name="connsiteY109" fmla="*/ 453560 h 528885"/>
                <a:gd name="connsiteX110" fmla="*/ 422764 w 710303"/>
                <a:gd name="connsiteY110" fmla="*/ 455738 h 528885"/>
                <a:gd name="connsiteX111" fmla="*/ 422764 w 710303"/>
                <a:gd name="connsiteY111" fmla="*/ 456857 h 528885"/>
                <a:gd name="connsiteX112" fmla="*/ 421887 w 710303"/>
                <a:gd name="connsiteY112" fmla="*/ 457402 h 528885"/>
                <a:gd name="connsiteX113" fmla="*/ 421433 w 710303"/>
                <a:gd name="connsiteY113" fmla="*/ 458370 h 528885"/>
                <a:gd name="connsiteX114" fmla="*/ 421433 w 710303"/>
                <a:gd name="connsiteY114" fmla="*/ 459670 h 528885"/>
                <a:gd name="connsiteX115" fmla="*/ 422007 w 710303"/>
                <a:gd name="connsiteY115" fmla="*/ 461244 h 528885"/>
                <a:gd name="connsiteX116" fmla="*/ 420767 w 710303"/>
                <a:gd name="connsiteY116" fmla="*/ 462030 h 528885"/>
                <a:gd name="connsiteX117" fmla="*/ 417500 w 710303"/>
                <a:gd name="connsiteY117" fmla="*/ 463301 h 528885"/>
                <a:gd name="connsiteX118" fmla="*/ 416472 w 710303"/>
                <a:gd name="connsiteY118" fmla="*/ 463482 h 528885"/>
                <a:gd name="connsiteX119" fmla="*/ 414989 w 710303"/>
                <a:gd name="connsiteY119" fmla="*/ 462968 h 528885"/>
                <a:gd name="connsiteX120" fmla="*/ 412539 w 710303"/>
                <a:gd name="connsiteY120" fmla="*/ 461395 h 528885"/>
                <a:gd name="connsiteX121" fmla="*/ 410936 w 710303"/>
                <a:gd name="connsiteY121" fmla="*/ 461244 h 528885"/>
                <a:gd name="connsiteX122" fmla="*/ 411662 w 710303"/>
                <a:gd name="connsiteY122" fmla="*/ 463452 h 528885"/>
                <a:gd name="connsiteX123" fmla="*/ 410936 w 710303"/>
                <a:gd name="connsiteY123" fmla="*/ 464632 h 528885"/>
                <a:gd name="connsiteX124" fmla="*/ 409665 w 710303"/>
                <a:gd name="connsiteY124" fmla="*/ 463906 h 528885"/>
                <a:gd name="connsiteX125" fmla="*/ 408364 w 710303"/>
                <a:gd name="connsiteY125" fmla="*/ 464511 h 528885"/>
                <a:gd name="connsiteX126" fmla="*/ 406125 w 710303"/>
                <a:gd name="connsiteY126" fmla="*/ 466840 h 528885"/>
                <a:gd name="connsiteX127" fmla="*/ 406670 w 710303"/>
                <a:gd name="connsiteY127" fmla="*/ 467294 h 528885"/>
                <a:gd name="connsiteX128" fmla="*/ 407638 w 710303"/>
                <a:gd name="connsiteY128" fmla="*/ 468534 h 528885"/>
                <a:gd name="connsiteX129" fmla="*/ 408152 w 710303"/>
                <a:gd name="connsiteY129" fmla="*/ 469018 h 528885"/>
                <a:gd name="connsiteX130" fmla="*/ 407063 w 710303"/>
                <a:gd name="connsiteY130" fmla="*/ 469593 h 528885"/>
                <a:gd name="connsiteX131" fmla="*/ 406125 w 710303"/>
                <a:gd name="connsiteY131" fmla="*/ 470501 h 528885"/>
                <a:gd name="connsiteX132" fmla="*/ 405702 w 710303"/>
                <a:gd name="connsiteY132" fmla="*/ 471771 h 528885"/>
                <a:gd name="connsiteX133" fmla="*/ 406156 w 710303"/>
                <a:gd name="connsiteY133" fmla="*/ 473405 h 528885"/>
                <a:gd name="connsiteX134" fmla="*/ 404734 w 710303"/>
                <a:gd name="connsiteY134" fmla="*/ 473405 h 528885"/>
                <a:gd name="connsiteX135" fmla="*/ 404734 w 710303"/>
                <a:gd name="connsiteY135" fmla="*/ 474403 h 528885"/>
                <a:gd name="connsiteX136" fmla="*/ 411147 w 710303"/>
                <a:gd name="connsiteY136" fmla="*/ 477338 h 528885"/>
                <a:gd name="connsiteX137" fmla="*/ 414051 w 710303"/>
                <a:gd name="connsiteY137" fmla="*/ 477791 h 528885"/>
                <a:gd name="connsiteX138" fmla="*/ 415957 w 710303"/>
                <a:gd name="connsiteY138" fmla="*/ 476732 h 528885"/>
                <a:gd name="connsiteX139" fmla="*/ 421312 w 710303"/>
                <a:gd name="connsiteY139" fmla="*/ 470017 h 528885"/>
                <a:gd name="connsiteX140" fmla="*/ 424730 w 710303"/>
                <a:gd name="connsiteY140" fmla="*/ 467385 h 528885"/>
                <a:gd name="connsiteX141" fmla="*/ 428179 w 710303"/>
                <a:gd name="connsiteY141" fmla="*/ 465902 h 528885"/>
                <a:gd name="connsiteX142" fmla="*/ 431809 w 710303"/>
                <a:gd name="connsiteY142" fmla="*/ 465418 h 528885"/>
                <a:gd name="connsiteX143" fmla="*/ 443698 w 710303"/>
                <a:gd name="connsiteY143" fmla="*/ 467808 h 528885"/>
                <a:gd name="connsiteX144" fmla="*/ 446058 w 710303"/>
                <a:gd name="connsiteY144" fmla="*/ 467717 h 528885"/>
                <a:gd name="connsiteX145" fmla="*/ 447721 w 710303"/>
                <a:gd name="connsiteY145" fmla="*/ 467324 h 528885"/>
                <a:gd name="connsiteX146" fmla="*/ 448629 w 710303"/>
                <a:gd name="connsiteY146" fmla="*/ 466356 h 528885"/>
                <a:gd name="connsiteX147" fmla="*/ 448841 w 710303"/>
                <a:gd name="connsiteY147" fmla="*/ 464601 h 528885"/>
                <a:gd name="connsiteX148" fmla="*/ 447207 w 710303"/>
                <a:gd name="connsiteY148" fmla="*/ 459096 h 528885"/>
                <a:gd name="connsiteX149" fmla="*/ 443879 w 710303"/>
                <a:gd name="connsiteY149" fmla="*/ 456282 h 528885"/>
                <a:gd name="connsiteX150" fmla="*/ 193035 w 710303"/>
                <a:gd name="connsiteY150" fmla="*/ 463452 h 528885"/>
                <a:gd name="connsiteX151" fmla="*/ 190523 w 710303"/>
                <a:gd name="connsiteY151" fmla="*/ 459882 h 528885"/>
                <a:gd name="connsiteX152" fmla="*/ 187952 w 710303"/>
                <a:gd name="connsiteY152" fmla="*/ 457099 h 528885"/>
                <a:gd name="connsiteX153" fmla="*/ 184746 w 710303"/>
                <a:gd name="connsiteY153" fmla="*/ 455314 h 528885"/>
                <a:gd name="connsiteX154" fmla="*/ 180298 w 710303"/>
                <a:gd name="connsiteY154" fmla="*/ 454679 h 528885"/>
                <a:gd name="connsiteX155" fmla="*/ 177092 w 710303"/>
                <a:gd name="connsiteY155" fmla="*/ 453076 h 528885"/>
                <a:gd name="connsiteX156" fmla="*/ 171102 w 710303"/>
                <a:gd name="connsiteY156" fmla="*/ 446511 h 528885"/>
                <a:gd name="connsiteX157" fmla="*/ 166928 w 710303"/>
                <a:gd name="connsiteY157" fmla="*/ 445755 h 528885"/>
                <a:gd name="connsiteX158" fmla="*/ 163358 w 710303"/>
                <a:gd name="connsiteY158" fmla="*/ 446269 h 528885"/>
                <a:gd name="connsiteX159" fmla="*/ 154464 w 710303"/>
                <a:gd name="connsiteY159" fmla="*/ 450171 h 528885"/>
                <a:gd name="connsiteX160" fmla="*/ 154464 w 710303"/>
                <a:gd name="connsiteY160" fmla="*/ 451351 h 528885"/>
                <a:gd name="connsiteX161" fmla="*/ 156188 w 710303"/>
                <a:gd name="connsiteY161" fmla="*/ 452289 h 528885"/>
                <a:gd name="connsiteX162" fmla="*/ 157822 w 710303"/>
                <a:gd name="connsiteY162" fmla="*/ 452017 h 528885"/>
                <a:gd name="connsiteX163" fmla="*/ 159485 w 710303"/>
                <a:gd name="connsiteY163" fmla="*/ 451442 h 528885"/>
                <a:gd name="connsiteX164" fmla="*/ 161331 w 710303"/>
                <a:gd name="connsiteY164" fmla="*/ 451351 h 528885"/>
                <a:gd name="connsiteX165" fmla="*/ 160786 w 710303"/>
                <a:gd name="connsiteY165" fmla="*/ 452622 h 528885"/>
                <a:gd name="connsiteX166" fmla="*/ 158881 w 710303"/>
                <a:gd name="connsiteY166" fmla="*/ 453923 h 528885"/>
                <a:gd name="connsiteX167" fmla="*/ 158518 w 710303"/>
                <a:gd name="connsiteY167" fmla="*/ 454649 h 528885"/>
                <a:gd name="connsiteX168" fmla="*/ 159062 w 710303"/>
                <a:gd name="connsiteY168" fmla="*/ 456131 h 528885"/>
                <a:gd name="connsiteX169" fmla="*/ 160121 w 710303"/>
                <a:gd name="connsiteY169" fmla="*/ 456525 h 528885"/>
                <a:gd name="connsiteX170" fmla="*/ 161331 w 710303"/>
                <a:gd name="connsiteY170" fmla="*/ 456676 h 528885"/>
                <a:gd name="connsiteX171" fmla="*/ 162329 w 710303"/>
                <a:gd name="connsiteY171" fmla="*/ 457371 h 528885"/>
                <a:gd name="connsiteX172" fmla="*/ 163721 w 710303"/>
                <a:gd name="connsiteY172" fmla="*/ 457492 h 528885"/>
                <a:gd name="connsiteX173" fmla="*/ 171616 w 710303"/>
                <a:gd name="connsiteY173" fmla="*/ 456797 h 528885"/>
                <a:gd name="connsiteX174" fmla="*/ 171616 w 710303"/>
                <a:gd name="connsiteY174" fmla="*/ 457886 h 528885"/>
                <a:gd name="connsiteX175" fmla="*/ 170376 w 710303"/>
                <a:gd name="connsiteY175" fmla="*/ 459429 h 528885"/>
                <a:gd name="connsiteX176" fmla="*/ 171072 w 710303"/>
                <a:gd name="connsiteY176" fmla="*/ 460699 h 528885"/>
                <a:gd name="connsiteX177" fmla="*/ 175247 w 710303"/>
                <a:gd name="connsiteY177" fmla="*/ 463452 h 528885"/>
                <a:gd name="connsiteX178" fmla="*/ 175942 w 710303"/>
                <a:gd name="connsiteY178" fmla="*/ 464238 h 528885"/>
                <a:gd name="connsiteX179" fmla="*/ 175398 w 710303"/>
                <a:gd name="connsiteY179" fmla="*/ 464601 h 528885"/>
                <a:gd name="connsiteX180" fmla="*/ 175004 w 710303"/>
                <a:gd name="connsiteY180" fmla="*/ 465086 h 528885"/>
                <a:gd name="connsiteX181" fmla="*/ 175398 w 710303"/>
                <a:gd name="connsiteY181" fmla="*/ 466144 h 528885"/>
                <a:gd name="connsiteX182" fmla="*/ 176064 w 710303"/>
                <a:gd name="connsiteY182" fmla="*/ 467233 h 528885"/>
                <a:gd name="connsiteX183" fmla="*/ 176487 w 710303"/>
                <a:gd name="connsiteY183" fmla="*/ 467808 h 528885"/>
                <a:gd name="connsiteX184" fmla="*/ 174460 w 710303"/>
                <a:gd name="connsiteY184" fmla="*/ 468232 h 528885"/>
                <a:gd name="connsiteX185" fmla="*/ 172100 w 710303"/>
                <a:gd name="connsiteY185" fmla="*/ 466356 h 528885"/>
                <a:gd name="connsiteX186" fmla="*/ 169710 w 710303"/>
                <a:gd name="connsiteY186" fmla="*/ 463845 h 528885"/>
                <a:gd name="connsiteX187" fmla="*/ 167472 w 710303"/>
                <a:gd name="connsiteY187" fmla="*/ 462393 h 528885"/>
                <a:gd name="connsiteX188" fmla="*/ 167472 w 710303"/>
                <a:gd name="connsiteY188" fmla="*/ 463392 h 528885"/>
                <a:gd name="connsiteX189" fmla="*/ 168107 w 710303"/>
                <a:gd name="connsiteY189" fmla="*/ 463392 h 528885"/>
                <a:gd name="connsiteX190" fmla="*/ 167805 w 710303"/>
                <a:gd name="connsiteY190" fmla="*/ 468625 h 528885"/>
                <a:gd name="connsiteX191" fmla="*/ 169801 w 710303"/>
                <a:gd name="connsiteY191" fmla="*/ 472860 h 528885"/>
                <a:gd name="connsiteX192" fmla="*/ 173189 w 710303"/>
                <a:gd name="connsiteY192" fmla="*/ 475401 h 528885"/>
                <a:gd name="connsiteX193" fmla="*/ 177122 w 710303"/>
                <a:gd name="connsiteY193" fmla="*/ 475613 h 528885"/>
                <a:gd name="connsiteX194" fmla="*/ 178090 w 710303"/>
                <a:gd name="connsiteY194" fmla="*/ 475099 h 528885"/>
                <a:gd name="connsiteX195" fmla="*/ 179542 w 710303"/>
                <a:gd name="connsiteY195" fmla="*/ 473768 h 528885"/>
                <a:gd name="connsiteX196" fmla="*/ 180541 w 710303"/>
                <a:gd name="connsiteY196" fmla="*/ 473405 h 528885"/>
                <a:gd name="connsiteX197" fmla="*/ 181569 w 710303"/>
                <a:gd name="connsiteY197" fmla="*/ 473496 h 528885"/>
                <a:gd name="connsiteX198" fmla="*/ 186137 w 710303"/>
                <a:gd name="connsiteY198" fmla="*/ 475008 h 528885"/>
                <a:gd name="connsiteX199" fmla="*/ 190947 w 710303"/>
                <a:gd name="connsiteY199" fmla="*/ 478910 h 528885"/>
                <a:gd name="connsiteX200" fmla="*/ 190947 w 710303"/>
                <a:gd name="connsiteY200" fmla="*/ 480000 h 528885"/>
                <a:gd name="connsiteX201" fmla="*/ 188164 w 710303"/>
                <a:gd name="connsiteY201" fmla="*/ 478820 h 528885"/>
                <a:gd name="connsiteX202" fmla="*/ 184988 w 710303"/>
                <a:gd name="connsiteY202" fmla="*/ 476763 h 528885"/>
                <a:gd name="connsiteX203" fmla="*/ 181811 w 710303"/>
                <a:gd name="connsiteY203" fmla="*/ 475492 h 528885"/>
                <a:gd name="connsiteX204" fmla="*/ 179149 w 710303"/>
                <a:gd name="connsiteY204" fmla="*/ 476732 h 528885"/>
                <a:gd name="connsiteX205" fmla="*/ 179149 w 710303"/>
                <a:gd name="connsiteY205" fmla="*/ 477821 h 528885"/>
                <a:gd name="connsiteX206" fmla="*/ 180843 w 710303"/>
                <a:gd name="connsiteY206" fmla="*/ 478941 h 528885"/>
                <a:gd name="connsiteX207" fmla="*/ 185472 w 710303"/>
                <a:gd name="connsiteY207" fmla="*/ 480272 h 528885"/>
                <a:gd name="connsiteX208" fmla="*/ 187135 w 710303"/>
                <a:gd name="connsiteY208" fmla="*/ 481603 h 528885"/>
                <a:gd name="connsiteX209" fmla="*/ 188588 w 710303"/>
                <a:gd name="connsiteY209" fmla="*/ 482087 h 528885"/>
                <a:gd name="connsiteX210" fmla="*/ 190554 w 710303"/>
                <a:gd name="connsiteY210" fmla="*/ 481058 h 528885"/>
                <a:gd name="connsiteX211" fmla="*/ 192520 w 710303"/>
                <a:gd name="connsiteY211" fmla="*/ 479637 h 528885"/>
                <a:gd name="connsiteX212" fmla="*/ 194033 w 710303"/>
                <a:gd name="connsiteY212" fmla="*/ 478910 h 528885"/>
                <a:gd name="connsiteX213" fmla="*/ 196907 w 710303"/>
                <a:gd name="connsiteY213" fmla="*/ 479001 h 528885"/>
                <a:gd name="connsiteX214" fmla="*/ 198329 w 710303"/>
                <a:gd name="connsiteY214" fmla="*/ 478638 h 528885"/>
                <a:gd name="connsiteX215" fmla="*/ 198389 w 710303"/>
                <a:gd name="connsiteY215" fmla="*/ 477065 h 528885"/>
                <a:gd name="connsiteX216" fmla="*/ 194456 w 710303"/>
                <a:gd name="connsiteY216" fmla="*/ 465963 h 528885"/>
                <a:gd name="connsiteX217" fmla="*/ 193004 w 710303"/>
                <a:gd name="connsiteY217" fmla="*/ 463422 h 528885"/>
                <a:gd name="connsiteX218" fmla="*/ 282004 w 710303"/>
                <a:gd name="connsiteY218" fmla="*/ 439916 h 528885"/>
                <a:gd name="connsiteX219" fmla="*/ 278616 w 710303"/>
                <a:gd name="connsiteY219" fmla="*/ 447903 h 528885"/>
                <a:gd name="connsiteX220" fmla="*/ 277920 w 710303"/>
                <a:gd name="connsiteY220" fmla="*/ 452471 h 528885"/>
                <a:gd name="connsiteX221" fmla="*/ 272202 w 710303"/>
                <a:gd name="connsiteY221" fmla="*/ 460094 h 528885"/>
                <a:gd name="connsiteX222" fmla="*/ 269782 w 710303"/>
                <a:gd name="connsiteY222" fmla="*/ 461697 h 528885"/>
                <a:gd name="connsiteX223" fmla="*/ 264156 w 710303"/>
                <a:gd name="connsiteY223" fmla="*/ 467717 h 528885"/>
                <a:gd name="connsiteX224" fmla="*/ 262008 w 710303"/>
                <a:gd name="connsiteY224" fmla="*/ 470591 h 528885"/>
                <a:gd name="connsiteX225" fmla="*/ 260586 w 710303"/>
                <a:gd name="connsiteY225" fmla="*/ 474463 h 528885"/>
                <a:gd name="connsiteX226" fmla="*/ 261494 w 710303"/>
                <a:gd name="connsiteY226" fmla="*/ 475159 h 528885"/>
                <a:gd name="connsiteX227" fmla="*/ 262340 w 710303"/>
                <a:gd name="connsiteY227" fmla="*/ 475371 h 528885"/>
                <a:gd name="connsiteX228" fmla="*/ 263218 w 710303"/>
                <a:gd name="connsiteY228" fmla="*/ 475159 h 528885"/>
                <a:gd name="connsiteX229" fmla="*/ 264095 w 710303"/>
                <a:gd name="connsiteY229" fmla="*/ 474463 h 528885"/>
                <a:gd name="connsiteX230" fmla="*/ 264549 w 710303"/>
                <a:gd name="connsiteY230" fmla="*/ 476248 h 528885"/>
                <a:gd name="connsiteX231" fmla="*/ 264791 w 710303"/>
                <a:gd name="connsiteY231" fmla="*/ 477852 h 528885"/>
                <a:gd name="connsiteX232" fmla="*/ 262220 w 710303"/>
                <a:gd name="connsiteY232" fmla="*/ 478668 h 528885"/>
                <a:gd name="connsiteX233" fmla="*/ 261735 w 710303"/>
                <a:gd name="connsiteY233" fmla="*/ 478396 h 528885"/>
                <a:gd name="connsiteX234" fmla="*/ 260798 w 710303"/>
                <a:gd name="connsiteY234" fmla="*/ 477579 h 528885"/>
                <a:gd name="connsiteX235" fmla="*/ 260193 w 710303"/>
                <a:gd name="connsiteY235" fmla="*/ 478366 h 528885"/>
                <a:gd name="connsiteX236" fmla="*/ 259255 w 710303"/>
                <a:gd name="connsiteY236" fmla="*/ 481058 h 528885"/>
                <a:gd name="connsiteX237" fmla="*/ 257652 w 710303"/>
                <a:gd name="connsiteY237" fmla="*/ 483418 h 528885"/>
                <a:gd name="connsiteX238" fmla="*/ 256381 w 710303"/>
                <a:gd name="connsiteY238" fmla="*/ 484779 h 528885"/>
                <a:gd name="connsiteX239" fmla="*/ 254808 w 710303"/>
                <a:gd name="connsiteY239" fmla="*/ 485414 h 528885"/>
                <a:gd name="connsiteX240" fmla="*/ 252358 w 710303"/>
                <a:gd name="connsiteY240" fmla="*/ 485566 h 528885"/>
                <a:gd name="connsiteX241" fmla="*/ 255474 w 710303"/>
                <a:gd name="connsiteY241" fmla="*/ 487956 h 528885"/>
                <a:gd name="connsiteX242" fmla="*/ 256835 w 710303"/>
                <a:gd name="connsiteY242" fmla="*/ 489378 h 528885"/>
                <a:gd name="connsiteX243" fmla="*/ 257924 w 710303"/>
                <a:gd name="connsiteY243" fmla="*/ 491132 h 528885"/>
                <a:gd name="connsiteX244" fmla="*/ 260495 w 710303"/>
                <a:gd name="connsiteY244" fmla="*/ 500570 h 528885"/>
                <a:gd name="connsiteX245" fmla="*/ 261705 w 710303"/>
                <a:gd name="connsiteY245" fmla="*/ 502083 h 528885"/>
                <a:gd name="connsiteX246" fmla="*/ 264095 w 710303"/>
                <a:gd name="connsiteY246" fmla="*/ 501992 h 528885"/>
                <a:gd name="connsiteX247" fmla="*/ 265456 w 710303"/>
                <a:gd name="connsiteY247" fmla="*/ 501296 h 528885"/>
                <a:gd name="connsiteX248" fmla="*/ 266455 w 710303"/>
                <a:gd name="connsiteY248" fmla="*/ 499330 h 528885"/>
                <a:gd name="connsiteX249" fmla="*/ 276165 w 710303"/>
                <a:gd name="connsiteY249" fmla="*/ 469654 h 528885"/>
                <a:gd name="connsiteX250" fmla="*/ 281429 w 710303"/>
                <a:gd name="connsiteY250" fmla="*/ 459973 h 528885"/>
                <a:gd name="connsiteX251" fmla="*/ 283335 w 710303"/>
                <a:gd name="connsiteY251" fmla="*/ 454679 h 528885"/>
                <a:gd name="connsiteX252" fmla="*/ 288145 w 710303"/>
                <a:gd name="connsiteY252" fmla="*/ 434743 h 528885"/>
                <a:gd name="connsiteX253" fmla="*/ 285876 w 710303"/>
                <a:gd name="connsiteY253" fmla="*/ 433775 h 528885"/>
                <a:gd name="connsiteX254" fmla="*/ 282004 w 710303"/>
                <a:gd name="connsiteY254" fmla="*/ 439947 h 528885"/>
                <a:gd name="connsiteX255" fmla="*/ 708882 w 710303"/>
                <a:gd name="connsiteY255" fmla="*/ 440219 h 528885"/>
                <a:gd name="connsiteX256" fmla="*/ 709366 w 710303"/>
                <a:gd name="connsiteY256" fmla="*/ 439795 h 528885"/>
                <a:gd name="connsiteX257" fmla="*/ 709608 w 710303"/>
                <a:gd name="connsiteY257" fmla="*/ 439372 h 528885"/>
                <a:gd name="connsiteX258" fmla="*/ 709820 w 710303"/>
                <a:gd name="connsiteY258" fmla="*/ 438827 h 528885"/>
                <a:gd name="connsiteX259" fmla="*/ 710304 w 710303"/>
                <a:gd name="connsiteY259" fmla="*/ 438041 h 528885"/>
                <a:gd name="connsiteX260" fmla="*/ 708307 w 710303"/>
                <a:gd name="connsiteY260" fmla="*/ 436075 h 528885"/>
                <a:gd name="connsiteX261" fmla="*/ 703558 w 710303"/>
                <a:gd name="connsiteY261" fmla="*/ 434592 h 528885"/>
                <a:gd name="connsiteX262" fmla="*/ 696328 w 710303"/>
                <a:gd name="connsiteY262" fmla="*/ 429873 h 528885"/>
                <a:gd name="connsiteX263" fmla="*/ 695087 w 710303"/>
                <a:gd name="connsiteY263" fmla="*/ 429117 h 528885"/>
                <a:gd name="connsiteX264" fmla="*/ 694029 w 710303"/>
                <a:gd name="connsiteY264" fmla="*/ 427876 h 528885"/>
                <a:gd name="connsiteX265" fmla="*/ 692395 w 710303"/>
                <a:gd name="connsiteY265" fmla="*/ 424609 h 528885"/>
                <a:gd name="connsiteX266" fmla="*/ 690489 w 710303"/>
                <a:gd name="connsiteY266" fmla="*/ 424095 h 528885"/>
                <a:gd name="connsiteX267" fmla="*/ 687706 w 710303"/>
                <a:gd name="connsiteY267" fmla="*/ 424670 h 528885"/>
                <a:gd name="connsiteX268" fmla="*/ 683894 w 710303"/>
                <a:gd name="connsiteY268" fmla="*/ 421856 h 528885"/>
                <a:gd name="connsiteX269" fmla="*/ 680113 w 710303"/>
                <a:gd name="connsiteY269" fmla="*/ 419436 h 528885"/>
                <a:gd name="connsiteX270" fmla="*/ 677844 w 710303"/>
                <a:gd name="connsiteY270" fmla="*/ 417258 h 528885"/>
                <a:gd name="connsiteX271" fmla="*/ 676452 w 710303"/>
                <a:gd name="connsiteY271" fmla="*/ 415836 h 528885"/>
                <a:gd name="connsiteX272" fmla="*/ 672368 w 710303"/>
                <a:gd name="connsiteY272" fmla="*/ 410391 h 528885"/>
                <a:gd name="connsiteX273" fmla="*/ 670977 w 710303"/>
                <a:gd name="connsiteY273" fmla="*/ 409514 h 528885"/>
                <a:gd name="connsiteX274" fmla="*/ 670100 w 710303"/>
                <a:gd name="connsiteY274" fmla="*/ 411208 h 528885"/>
                <a:gd name="connsiteX275" fmla="*/ 669404 w 710303"/>
                <a:gd name="connsiteY275" fmla="*/ 413991 h 528885"/>
                <a:gd name="connsiteX276" fmla="*/ 668587 w 710303"/>
                <a:gd name="connsiteY276" fmla="*/ 416411 h 528885"/>
                <a:gd name="connsiteX277" fmla="*/ 666621 w 710303"/>
                <a:gd name="connsiteY277" fmla="*/ 419648 h 528885"/>
                <a:gd name="connsiteX278" fmla="*/ 665774 w 710303"/>
                <a:gd name="connsiteY278" fmla="*/ 421433 h 528885"/>
                <a:gd name="connsiteX279" fmla="*/ 665411 w 710303"/>
                <a:gd name="connsiteY279" fmla="*/ 423097 h 528885"/>
                <a:gd name="connsiteX280" fmla="*/ 664987 w 710303"/>
                <a:gd name="connsiteY280" fmla="*/ 432959 h 528885"/>
                <a:gd name="connsiteX281" fmla="*/ 664533 w 710303"/>
                <a:gd name="connsiteY281" fmla="*/ 439765 h 528885"/>
                <a:gd name="connsiteX282" fmla="*/ 663232 w 710303"/>
                <a:gd name="connsiteY282" fmla="*/ 443214 h 528885"/>
                <a:gd name="connsiteX283" fmla="*/ 664775 w 710303"/>
                <a:gd name="connsiteY283" fmla="*/ 445180 h 528885"/>
                <a:gd name="connsiteX284" fmla="*/ 672943 w 710303"/>
                <a:gd name="connsiteY284" fmla="*/ 451321 h 528885"/>
                <a:gd name="connsiteX285" fmla="*/ 680778 w 710303"/>
                <a:gd name="connsiteY285" fmla="*/ 453409 h 528885"/>
                <a:gd name="connsiteX286" fmla="*/ 687676 w 710303"/>
                <a:gd name="connsiteY286" fmla="*/ 457371 h 528885"/>
                <a:gd name="connsiteX287" fmla="*/ 693272 w 710303"/>
                <a:gd name="connsiteY287" fmla="*/ 459398 h 528885"/>
                <a:gd name="connsiteX288" fmla="*/ 697386 w 710303"/>
                <a:gd name="connsiteY288" fmla="*/ 459670 h 528885"/>
                <a:gd name="connsiteX289" fmla="*/ 702317 w 710303"/>
                <a:gd name="connsiteY289" fmla="*/ 460911 h 528885"/>
                <a:gd name="connsiteX290" fmla="*/ 703739 w 710303"/>
                <a:gd name="connsiteY290" fmla="*/ 459701 h 528885"/>
                <a:gd name="connsiteX291" fmla="*/ 704828 w 710303"/>
                <a:gd name="connsiteY291" fmla="*/ 458309 h 528885"/>
                <a:gd name="connsiteX292" fmla="*/ 706401 w 710303"/>
                <a:gd name="connsiteY292" fmla="*/ 456615 h 528885"/>
                <a:gd name="connsiteX293" fmla="*/ 706129 w 710303"/>
                <a:gd name="connsiteY293" fmla="*/ 454709 h 528885"/>
                <a:gd name="connsiteX294" fmla="*/ 706129 w 710303"/>
                <a:gd name="connsiteY294" fmla="*/ 453711 h 528885"/>
                <a:gd name="connsiteX295" fmla="*/ 705736 w 710303"/>
                <a:gd name="connsiteY295" fmla="*/ 452350 h 528885"/>
                <a:gd name="connsiteX296" fmla="*/ 706371 w 710303"/>
                <a:gd name="connsiteY296" fmla="*/ 450746 h 528885"/>
                <a:gd name="connsiteX297" fmla="*/ 708549 w 710303"/>
                <a:gd name="connsiteY297" fmla="*/ 447479 h 528885"/>
                <a:gd name="connsiteX298" fmla="*/ 709578 w 710303"/>
                <a:gd name="connsiteY298" fmla="*/ 445513 h 528885"/>
                <a:gd name="connsiteX299" fmla="*/ 709880 w 710303"/>
                <a:gd name="connsiteY299" fmla="*/ 444151 h 528885"/>
                <a:gd name="connsiteX300" fmla="*/ 709608 w 710303"/>
                <a:gd name="connsiteY300" fmla="*/ 442639 h 528885"/>
                <a:gd name="connsiteX301" fmla="*/ 708882 w 710303"/>
                <a:gd name="connsiteY301" fmla="*/ 440279 h 528885"/>
                <a:gd name="connsiteX302" fmla="*/ 37663 w 710303"/>
                <a:gd name="connsiteY302" fmla="*/ 402253 h 528885"/>
                <a:gd name="connsiteX303" fmla="*/ 36967 w 710303"/>
                <a:gd name="connsiteY303" fmla="*/ 399228 h 528885"/>
                <a:gd name="connsiteX304" fmla="*/ 36211 w 710303"/>
                <a:gd name="connsiteY304" fmla="*/ 397443 h 528885"/>
                <a:gd name="connsiteX305" fmla="*/ 35939 w 710303"/>
                <a:gd name="connsiteY305" fmla="*/ 395810 h 528885"/>
                <a:gd name="connsiteX306" fmla="*/ 37240 w 710303"/>
                <a:gd name="connsiteY306" fmla="*/ 392180 h 528885"/>
                <a:gd name="connsiteX307" fmla="*/ 37240 w 710303"/>
                <a:gd name="connsiteY307" fmla="*/ 390274 h 528885"/>
                <a:gd name="connsiteX308" fmla="*/ 35818 w 710303"/>
                <a:gd name="connsiteY308" fmla="*/ 388943 h 528885"/>
                <a:gd name="connsiteX309" fmla="*/ 33761 w 710303"/>
                <a:gd name="connsiteY309" fmla="*/ 389276 h 528885"/>
                <a:gd name="connsiteX310" fmla="*/ 32097 w 710303"/>
                <a:gd name="connsiteY310" fmla="*/ 388428 h 528885"/>
                <a:gd name="connsiteX311" fmla="*/ 31734 w 710303"/>
                <a:gd name="connsiteY311" fmla="*/ 383588 h 528885"/>
                <a:gd name="connsiteX312" fmla="*/ 28315 w 710303"/>
                <a:gd name="connsiteY312" fmla="*/ 384435 h 528885"/>
                <a:gd name="connsiteX313" fmla="*/ 27317 w 710303"/>
                <a:gd name="connsiteY313" fmla="*/ 386765 h 528885"/>
                <a:gd name="connsiteX314" fmla="*/ 27983 w 710303"/>
                <a:gd name="connsiteY314" fmla="*/ 390274 h 528885"/>
                <a:gd name="connsiteX315" fmla="*/ 31159 w 710303"/>
                <a:gd name="connsiteY315" fmla="*/ 397988 h 528885"/>
                <a:gd name="connsiteX316" fmla="*/ 33458 w 710303"/>
                <a:gd name="connsiteY316" fmla="*/ 401981 h 528885"/>
                <a:gd name="connsiteX317" fmla="*/ 36120 w 710303"/>
                <a:gd name="connsiteY317" fmla="*/ 404552 h 528885"/>
                <a:gd name="connsiteX318" fmla="*/ 38601 w 710303"/>
                <a:gd name="connsiteY318" fmla="*/ 403615 h 528885"/>
                <a:gd name="connsiteX319" fmla="*/ 37694 w 710303"/>
                <a:gd name="connsiteY319" fmla="*/ 402284 h 528885"/>
                <a:gd name="connsiteX320" fmla="*/ 254414 w 710303"/>
                <a:gd name="connsiteY320" fmla="*/ 449143 h 528885"/>
                <a:gd name="connsiteX321" fmla="*/ 258922 w 710303"/>
                <a:gd name="connsiteY321" fmla="*/ 449143 h 528885"/>
                <a:gd name="connsiteX322" fmla="*/ 262885 w 710303"/>
                <a:gd name="connsiteY322" fmla="*/ 449415 h 528885"/>
                <a:gd name="connsiteX323" fmla="*/ 264095 w 710303"/>
                <a:gd name="connsiteY323" fmla="*/ 449143 h 528885"/>
                <a:gd name="connsiteX324" fmla="*/ 265699 w 710303"/>
                <a:gd name="connsiteY324" fmla="*/ 447903 h 528885"/>
                <a:gd name="connsiteX325" fmla="*/ 266606 w 710303"/>
                <a:gd name="connsiteY325" fmla="*/ 446330 h 528885"/>
                <a:gd name="connsiteX326" fmla="*/ 267271 w 710303"/>
                <a:gd name="connsiteY326" fmla="*/ 444484 h 528885"/>
                <a:gd name="connsiteX327" fmla="*/ 268209 w 710303"/>
                <a:gd name="connsiteY327" fmla="*/ 442518 h 528885"/>
                <a:gd name="connsiteX328" fmla="*/ 270690 w 710303"/>
                <a:gd name="connsiteY328" fmla="*/ 439463 h 528885"/>
                <a:gd name="connsiteX329" fmla="*/ 271023 w 710303"/>
                <a:gd name="connsiteY329" fmla="*/ 438616 h 528885"/>
                <a:gd name="connsiteX330" fmla="*/ 271144 w 710303"/>
                <a:gd name="connsiteY330" fmla="*/ 435379 h 528885"/>
                <a:gd name="connsiteX331" fmla="*/ 271416 w 710303"/>
                <a:gd name="connsiteY331" fmla="*/ 434169 h 528885"/>
                <a:gd name="connsiteX332" fmla="*/ 272959 w 710303"/>
                <a:gd name="connsiteY332" fmla="*/ 430841 h 528885"/>
                <a:gd name="connsiteX333" fmla="*/ 273624 w 710303"/>
                <a:gd name="connsiteY333" fmla="*/ 428118 h 528885"/>
                <a:gd name="connsiteX334" fmla="*/ 273866 w 710303"/>
                <a:gd name="connsiteY334" fmla="*/ 424912 h 528885"/>
                <a:gd name="connsiteX335" fmla="*/ 273655 w 710303"/>
                <a:gd name="connsiteY335" fmla="*/ 421403 h 528885"/>
                <a:gd name="connsiteX336" fmla="*/ 272868 w 710303"/>
                <a:gd name="connsiteY336" fmla="*/ 418982 h 528885"/>
                <a:gd name="connsiteX337" fmla="*/ 270176 w 710303"/>
                <a:gd name="connsiteY337" fmla="*/ 415019 h 528885"/>
                <a:gd name="connsiteX338" fmla="*/ 269601 w 710303"/>
                <a:gd name="connsiteY338" fmla="*/ 413023 h 528885"/>
                <a:gd name="connsiteX339" fmla="*/ 270327 w 710303"/>
                <a:gd name="connsiteY339" fmla="*/ 410119 h 528885"/>
                <a:gd name="connsiteX340" fmla="*/ 271991 w 710303"/>
                <a:gd name="connsiteY340" fmla="*/ 409665 h 528885"/>
                <a:gd name="connsiteX341" fmla="*/ 273836 w 710303"/>
                <a:gd name="connsiteY341" fmla="*/ 410784 h 528885"/>
                <a:gd name="connsiteX342" fmla="*/ 275016 w 710303"/>
                <a:gd name="connsiteY342" fmla="*/ 412509 h 528885"/>
                <a:gd name="connsiteX343" fmla="*/ 275742 w 710303"/>
                <a:gd name="connsiteY343" fmla="*/ 412509 h 528885"/>
                <a:gd name="connsiteX344" fmla="*/ 275137 w 710303"/>
                <a:gd name="connsiteY344" fmla="*/ 409846 h 528885"/>
                <a:gd name="connsiteX345" fmla="*/ 272596 w 710303"/>
                <a:gd name="connsiteY345" fmla="*/ 402828 h 528885"/>
                <a:gd name="connsiteX346" fmla="*/ 271960 w 710303"/>
                <a:gd name="connsiteY346" fmla="*/ 401406 h 528885"/>
                <a:gd name="connsiteX347" fmla="*/ 262008 w 710303"/>
                <a:gd name="connsiteY347" fmla="*/ 388096 h 528885"/>
                <a:gd name="connsiteX348" fmla="*/ 260495 w 710303"/>
                <a:gd name="connsiteY348" fmla="*/ 386855 h 528885"/>
                <a:gd name="connsiteX349" fmla="*/ 253719 w 710303"/>
                <a:gd name="connsiteY349" fmla="*/ 385403 h 528885"/>
                <a:gd name="connsiteX350" fmla="*/ 251722 w 710303"/>
                <a:gd name="connsiteY350" fmla="*/ 384950 h 528885"/>
                <a:gd name="connsiteX351" fmla="*/ 250966 w 710303"/>
                <a:gd name="connsiteY351" fmla="*/ 386613 h 528885"/>
                <a:gd name="connsiteX352" fmla="*/ 251087 w 710303"/>
                <a:gd name="connsiteY352" fmla="*/ 387128 h 528885"/>
                <a:gd name="connsiteX353" fmla="*/ 251571 w 710303"/>
                <a:gd name="connsiteY353" fmla="*/ 387975 h 528885"/>
                <a:gd name="connsiteX354" fmla="*/ 250089 w 710303"/>
                <a:gd name="connsiteY354" fmla="*/ 388822 h 528885"/>
                <a:gd name="connsiteX355" fmla="*/ 248455 w 710303"/>
                <a:gd name="connsiteY355" fmla="*/ 388761 h 528885"/>
                <a:gd name="connsiteX356" fmla="*/ 247517 w 710303"/>
                <a:gd name="connsiteY356" fmla="*/ 387733 h 528885"/>
                <a:gd name="connsiteX357" fmla="*/ 248062 w 710303"/>
                <a:gd name="connsiteY357" fmla="*/ 385645 h 528885"/>
                <a:gd name="connsiteX358" fmla="*/ 249242 w 710303"/>
                <a:gd name="connsiteY358" fmla="*/ 384677 h 528885"/>
                <a:gd name="connsiteX359" fmla="*/ 250966 w 710303"/>
                <a:gd name="connsiteY359" fmla="*/ 384345 h 528885"/>
                <a:gd name="connsiteX360" fmla="*/ 257924 w 710303"/>
                <a:gd name="connsiteY360" fmla="*/ 384950 h 528885"/>
                <a:gd name="connsiteX361" fmla="*/ 262613 w 710303"/>
                <a:gd name="connsiteY361" fmla="*/ 383074 h 528885"/>
                <a:gd name="connsiteX362" fmla="*/ 265547 w 710303"/>
                <a:gd name="connsiteY362" fmla="*/ 381319 h 528885"/>
                <a:gd name="connsiteX363" fmla="*/ 266485 w 710303"/>
                <a:gd name="connsiteY363" fmla="*/ 380412 h 528885"/>
                <a:gd name="connsiteX364" fmla="*/ 266697 w 710303"/>
                <a:gd name="connsiteY364" fmla="*/ 379111 h 528885"/>
                <a:gd name="connsiteX365" fmla="*/ 266062 w 710303"/>
                <a:gd name="connsiteY365" fmla="*/ 376872 h 528885"/>
                <a:gd name="connsiteX366" fmla="*/ 263913 w 710303"/>
                <a:gd name="connsiteY366" fmla="*/ 374906 h 528885"/>
                <a:gd name="connsiteX367" fmla="*/ 263672 w 710303"/>
                <a:gd name="connsiteY367" fmla="*/ 374543 h 528885"/>
                <a:gd name="connsiteX368" fmla="*/ 263157 w 710303"/>
                <a:gd name="connsiteY368" fmla="*/ 373999 h 528885"/>
                <a:gd name="connsiteX369" fmla="*/ 262915 w 710303"/>
                <a:gd name="connsiteY369" fmla="*/ 372698 h 528885"/>
                <a:gd name="connsiteX370" fmla="*/ 262824 w 710303"/>
                <a:gd name="connsiteY370" fmla="*/ 371246 h 528885"/>
                <a:gd name="connsiteX371" fmla="*/ 262613 w 710303"/>
                <a:gd name="connsiteY371" fmla="*/ 370187 h 528885"/>
                <a:gd name="connsiteX372" fmla="*/ 257863 w 710303"/>
                <a:gd name="connsiteY372" fmla="*/ 362896 h 528885"/>
                <a:gd name="connsiteX373" fmla="*/ 254929 w 710303"/>
                <a:gd name="connsiteY373" fmla="*/ 359841 h 528885"/>
                <a:gd name="connsiteX374" fmla="*/ 253023 w 710303"/>
                <a:gd name="connsiteY374" fmla="*/ 359962 h 528885"/>
                <a:gd name="connsiteX375" fmla="*/ 253023 w 710303"/>
                <a:gd name="connsiteY375" fmla="*/ 361051 h 528885"/>
                <a:gd name="connsiteX376" fmla="*/ 253688 w 710303"/>
                <a:gd name="connsiteY376" fmla="*/ 365104 h 528885"/>
                <a:gd name="connsiteX377" fmla="*/ 253628 w 710303"/>
                <a:gd name="connsiteY377" fmla="*/ 367857 h 528885"/>
                <a:gd name="connsiteX378" fmla="*/ 252055 w 710303"/>
                <a:gd name="connsiteY378" fmla="*/ 366375 h 528885"/>
                <a:gd name="connsiteX379" fmla="*/ 251571 w 710303"/>
                <a:gd name="connsiteY379" fmla="*/ 365619 h 528885"/>
                <a:gd name="connsiteX380" fmla="*/ 252206 w 710303"/>
                <a:gd name="connsiteY380" fmla="*/ 368402 h 528885"/>
                <a:gd name="connsiteX381" fmla="*/ 253174 w 710303"/>
                <a:gd name="connsiteY381" fmla="*/ 371276 h 528885"/>
                <a:gd name="connsiteX382" fmla="*/ 253507 w 710303"/>
                <a:gd name="connsiteY382" fmla="*/ 373847 h 528885"/>
                <a:gd name="connsiteX383" fmla="*/ 252236 w 710303"/>
                <a:gd name="connsiteY383" fmla="*/ 375662 h 528885"/>
                <a:gd name="connsiteX384" fmla="*/ 251692 w 710303"/>
                <a:gd name="connsiteY384" fmla="*/ 374906 h 528885"/>
                <a:gd name="connsiteX385" fmla="*/ 250361 w 710303"/>
                <a:gd name="connsiteY385" fmla="*/ 373636 h 528885"/>
                <a:gd name="connsiteX386" fmla="*/ 249091 w 710303"/>
                <a:gd name="connsiteY386" fmla="*/ 373091 h 528885"/>
                <a:gd name="connsiteX387" fmla="*/ 248818 w 710303"/>
                <a:gd name="connsiteY387" fmla="*/ 374513 h 528885"/>
                <a:gd name="connsiteX388" fmla="*/ 249211 w 710303"/>
                <a:gd name="connsiteY388" fmla="*/ 375329 h 528885"/>
                <a:gd name="connsiteX389" fmla="*/ 250028 w 710303"/>
                <a:gd name="connsiteY389" fmla="*/ 376086 h 528885"/>
                <a:gd name="connsiteX390" fmla="*/ 250996 w 710303"/>
                <a:gd name="connsiteY390" fmla="*/ 376630 h 528885"/>
                <a:gd name="connsiteX391" fmla="*/ 251904 w 710303"/>
                <a:gd name="connsiteY391" fmla="*/ 376842 h 528885"/>
                <a:gd name="connsiteX392" fmla="*/ 252358 w 710303"/>
                <a:gd name="connsiteY392" fmla="*/ 377356 h 528885"/>
                <a:gd name="connsiteX393" fmla="*/ 252842 w 710303"/>
                <a:gd name="connsiteY393" fmla="*/ 378476 h 528885"/>
                <a:gd name="connsiteX394" fmla="*/ 253023 w 710303"/>
                <a:gd name="connsiteY394" fmla="*/ 379595 h 528885"/>
                <a:gd name="connsiteX395" fmla="*/ 252569 w 710303"/>
                <a:gd name="connsiteY395" fmla="*/ 380109 h 528885"/>
                <a:gd name="connsiteX396" fmla="*/ 248757 w 710303"/>
                <a:gd name="connsiteY396" fmla="*/ 381229 h 528885"/>
                <a:gd name="connsiteX397" fmla="*/ 242254 w 710303"/>
                <a:gd name="connsiteY397" fmla="*/ 384345 h 528885"/>
                <a:gd name="connsiteX398" fmla="*/ 241134 w 710303"/>
                <a:gd name="connsiteY398" fmla="*/ 384072 h 528885"/>
                <a:gd name="connsiteX399" fmla="*/ 239138 w 710303"/>
                <a:gd name="connsiteY399" fmla="*/ 387702 h 528885"/>
                <a:gd name="connsiteX400" fmla="*/ 235568 w 710303"/>
                <a:gd name="connsiteY400" fmla="*/ 387854 h 528885"/>
                <a:gd name="connsiteX401" fmla="*/ 233904 w 710303"/>
                <a:gd name="connsiteY401" fmla="*/ 385131 h 528885"/>
                <a:gd name="connsiteX402" fmla="*/ 237686 w 710303"/>
                <a:gd name="connsiteY402" fmla="*/ 380140 h 528885"/>
                <a:gd name="connsiteX403" fmla="*/ 238744 w 710303"/>
                <a:gd name="connsiteY403" fmla="*/ 379716 h 528885"/>
                <a:gd name="connsiteX404" fmla="*/ 239743 w 710303"/>
                <a:gd name="connsiteY404" fmla="*/ 379656 h 528885"/>
                <a:gd name="connsiteX405" fmla="*/ 240590 w 710303"/>
                <a:gd name="connsiteY405" fmla="*/ 379293 h 528885"/>
                <a:gd name="connsiteX406" fmla="*/ 241104 w 710303"/>
                <a:gd name="connsiteY406" fmla="*/ 377931 h 528885"/>
                <a:gd name="connsiteX407" fmla="*/ 240892 w 710303"/>
                <a:gd name="connsiteY407" fmla="*/ 376963 h 528885"/>
                <a:gd name="connsiteX408" fmla="*/ 239410 w 710303"/>
                <a:gd name="connsiteY408" fmla="*/ 375874 h 528885"/>
                <a:gd name="connsiteX409" fmla="*/ 239047 w 710303"/>
                <a:gd name="connsiteY409" fmla="*/ 375148 h 528885"/>
                <a:gd name="connsiteX410" fmla="*/ 239501 w 710303"/>
                <a:gd name="connsiteY410" fmla="*/ 373242 h 528885"/>
                <a:gd name="connsiteX411" fmla="*/ 240650 w 710303"/>
                <a:gd name="connsiteY411" fmla="*/ 372395 h 528885"/>
                <a:gd name="connsiteX412" fmla="*/ 242223 w 710303"/>
                <a:gd name="connsiteY412" fmla="*/ 372395 h 528885"/>
                <a:gd name="connsiteX413" fmla="*/ 243857 w 710303"/>
                <a:gd name="connsiteY413" fmla="*/ 373000 h 528885"/>
                <a:gd name="connsiteX414" fmla="*/ 240832 w 710303"/>
                <a:gd name="connsiteY414" fmla="*/ 371034 h 528885"/>
                <a:gd name="connsiteX415" fmla="*/ 239168 w 710303"/>
                <a:gd name="connsiteY415" fmla="*/ 370459 h 528885"/>
                <a:gd name="connsiteX416" fmla="*/ 237323 w 710303"/>
                <a:gd name="connsiteY416" fmla="*/ 370247 h 528885"/>
                <a:gd name="connsiteX417" fmla="*/ 236385 w 710303"/>
                <a:gd name="connsiteY417" fmla="*/ 369763 h 528885"/>
                <a:gd name="connsiteX418" fmla="*/ 235477 w 710303"/>
                <a:gd name="connsiteY418" fmla="*/ 368705 h 528885"/>
                <a:gd name="connsiteX419" fmla="*/ 234237 w 710303"/>
                <a:gd name="connsiteY419" fmla="*/ 366708 h 528885"/>
                <a:gd name="connsiteX420" fmla="*/ 232664 w 710303"/>
                <a:gd name="connsiteY420" fmla="*/ 364923 h 528885"/>
                <a:gd name="connsiteX421" fmla="*/ 225706 w 710303"/>
                <a:gd name="connsiteY421" fmla="*/ 360476 h 528885"/>
                <a:gd name="connsiteX422" fmla="*/ 222621 w 710303"/>
                <a:gd name="connsiteY422" fmla="*/ 359145 h 528885"/>
                <a:gd name="connsiteX423" fmla="*/ 221229 w 710303"/>
                <a:gd name="connsiteY423" fmla="*/ 359508 h 528885"/>
                <a:gd name="connsiteX424" fmla="*/ 221561 w 710303"/>
                <a:gd name="connsiteY424" fmla="*/ 362866 h 528885"/>
                <a:gd name="connsiteX425" fmla="*/ 221198 w 710303"/>
                <a:gd name="connsiteY425" fmla="*/ 364106 h 528885"/>
                <a:gd name="connsiteX426" fmla="*/ 219807 w 710303"/>
                <a:gd name="connsiteY426" fmla="*/ 364590 h 528885"/>
                <a:gd name="connsiteX427" fmla="*/ 219746 w 710303"/>
                <a:gd name="connsiteY427" fmla="*/ 364076 h 528885"/>
                <a:gd name="connsiteX428" fmla="*/ 219111 w 710303"/>
                <a:gd name="connsiteY428" fmla="*/ 361747 h 528885"/>
                <a:gd name="connsiteX429" fmla="*/ 219051 w 710303"/>
                <a:gd name="connsiteY429" fmla="*/ 361263 h 528885"/>
                <a:gd name="connsiteX430" fmla="*/ 218234 w 710303"/>
                <a:gd name="connsiteY430" fmla="*/ 361081 h 528885"/>
                <a:gd name="connsiteX431" fmla="*/ 215541 w 710303"/>
                <a:gd name="connsiteY431" fmla="*/ 361263 h 528885"/>
                <a:gd name="connsiteX432" fmla="*/ 213061 w 710303"/>
                <a:gd name="connsiteY432" fmla="*/ 362079 h 528885"/>
                <a:gd name="connsiteX433" fmla="*/ 208644 w 710303"/>
                <a:gd name="connsiteY433" fmla="*/ 365104 h 528885"/>
                <a:gd name="connsiteX434" fmla="*/ 195636 w 710303"/>
                <a:gd name="connsiteY434" fmla="*/ 369098 h 528885"/>
                <a:gd name="connsiteX435" fmla="*/ 185653 w 710303"/>
                <a:gd name="connsiteY435" fmla="*/ 375390 h 528885"/>
                <a:gd name="connsiteX436" fmla="*/ 180420 w 710303"/>
                <a:gd name="connsiteY436" fmla="*/ 377114 h 528885"/>
                <a:gd name="connsiteX437" fmla="*/ 175579 w 710303"/>
                <a:gd name="connsiteY437" fmla="*/ 374664 h 528885"/>
                <a:gd name="connsiteX438" fmla="*/ 174702 w 710303"/>
                <a:gd name="connsiteY438" fmla="*/ 372849 h 528885"/>
                <a:gd name="connsiteX439" fmla="*/ 174641 w 710303"/>
                <a:gd name="connsiteY439" fmla="*/ 371488 h 528885"/>
                <a:gd name="connsiteX440" fmla="*/ 174278 w 710303"/>
                <a:gd name="connsiteY440" fmla="*/ 370610 h 528885"/>
                <a:gd name="connsiteX441" fmla="*/ 172433 w 710303"/>
                <a:gd name="connsiteY441" fmla="*/ 370308 h 528885"/>
                <a:gd name="connsiteX442" fmla="*/ 166988 w 710303"/>
                <a:gd name="connsiteY442" fmla="*/ 371306 h 528885"/>
                <a:gd name="connsiteX443" fmla="*/ 163237 w 710303"/>
                <a:gd name="connsiteY443" fmla="*/ 375783 h 528885"/>
                <a:gd name="connsiteX444" fmla="*/ 161936 w 710303"/>
                <a:gd name="connsiteY444" fmla="*/ 376509 h 528885"/>
                <a:gd name="connsiteX445" fmla="*/ 160786 w 710303"/>
                <a:gd name="connsiteY445" fmla="*/ 376872 h 528885"/>
                <a:gd name="connsiteX446" fmla="*/ 159819 w 710303"/>
                <a:gd name="connsiteY446" fmla="*/ 377538 h 528885"/>
                <a:gd name="connsiteX447" fmla="*/ 159062 w 710303"/>
                <a:gd name="connsiteY447" fmla="*/ 379232 h 528885"/>
                <a:gd name="connsiteX448" fmla="*/ 162783 w 710303"/>
                <a:gd name="connsiteY448" fmla="*/ 379988 h 528885"/>
                <a:gd name="connsiteX449" fmla="*/ 172736 w 710303"/>
                <a:gd name="connsiteY449" fmla="*/ 388126 h 528885"/>
                <a:gd name="connsiteX450" fmla="*/ 170134 w 710303"/>
                <a:gd name="connsiteY450" fmla="*/ 388761 h 528885"/>
                <a:gd name="connsiteX451" fmla="*/ 167351 w 710303"/>
                <a:gd name="connsiteY451" fmla="*/ 387097 h 528885"/>
                <a:gd name="connsiteX452" fmla="*/ 164507 w 710303"/>
                <a:gd name="connsiteY452" fmla="*/ 384828 h 528885"/>
                <a:gd name="connsiteX453" fmla="*/ 161815 w 710303"/>
                <a:gd name="connsiteY453" fmla="*/ 383709 h 528885"/>
                <a:gd name="connsiteX454" fmla="*/ 161815 w 710303"/>
                <a:gd name="connsiteY454" fmla="*/ 384738 h 528885"/>
                <a:gd name="connsiteX455" fmla="*/ 165233 w 710303"/>
                <a:gd name="connsiteY455" fmla="*/ 388640 h 528885"/>
                <a:gd name="connsiteX456" fmla="*/ 166655 w 710303"/>
                <a:gd name="connsiteY456" fmla="*/ 389185 h 528885"/>
                <a:gd name="connsiteX457" fmla="*/ 170648 w 710303"/>
                <a:gd name="connsiteY457" fmla="*/ 389669 h 528885"/>
                <a:gd name="connsiteX458" fmla="*/ 172494 w 710303"/>
                <a:gd name="connsiteY458" fmla="*/ 390697 h 528885"/>
                <a:gd name="connsiteX459" fmla="*/ 173522 w 710303"/>
                <a:gd name="connsiteY459" fmla="*/ 392603 h 528885"/>
                <a:gd name="connsiteX460" fmla="*/ 170921 w 710303"/>
                <a:gd name="connsiteY460" fmla="*/ 392754 h 528885"/>
                <a:gd name="connsiteX461" fmla="*/ 170104 w 710303"/>
                <a:gd name="connsiteY461" fmla="*/ 392603 h 528885"/>
                <a:gd name="connsiteX462" fmla="*/ 175579 w 710303"/>
                <a:gd name="connsiteY462" fmla="*/ 394842 h 528885"/>
                <a:gd name="connsiteX463" fmla="*/ 174581 w 710303"/>
                <a:gd name="connsiteY463" fmla="*/ 396657 h 528885"/>
                <a:gd name="connsiteX464" fmla="*/ 172917 w 710303"/>
                <a:gd name="connsiteY464" fmla="*/ 397262 h 528885"/>
                <a:gd name="connsiteX465" fmla="*/ 171042 w 710303"/>
                <a:gd name="connsiteY465" fmla="*/ 397474 h 528885"/>
                <a:gd name="connsiteX466" fmla="*/ 169347 w 710303"/>
                <a:gd name="connsiteY466" fmla="*/ 398048 h 528885"/>
                <a:gd name="connsiteX467" fmla="*/ 171798 w 710303"/>
                <a:gd name="connsiteY467" fmla="*/ 400953 h 528885"/>
                <a:gd name="connsiteX468" fmla="*/ 173220 w 710303"/>
                <a:gd name="connsiteY468" fmla="*/ 402102 h 528885"/>
                <a:gd name="connsiteX469" fmla="*/ 174551 w 710303"/>
                <a:gd name="connsiteY469" fmla="*/ 402586 h 528885"/>
                <a:gd name="connsiteX470" fmla="*/ 177485 w 710303"/>
                <a:gd name="connsiteY470" fmla="*/ 402284 h 528885"/>
                <a:gd name="connsiteX471" fmla="*/ 179058 w 710303"/>
                <a:gd name="connsiteY471" fmla="*/ 402405 h 528885"/>
                <a:gd name="connsiteX472" fmla="*/ 180087 w 710303"/>
                <a:gd name="connsiteY472" fmla="*/ 403131 h 528885"/>
                <a:gd name="connsiteX473" fmla="*/ 179784 w 710303"/>
                <a:gd name="connsiteY473" fmla="*/ 408727 h 528885"/>
                <a:gd name="connsiteX474" fmla="*/ 179996 w 710303"/>
                <a:gd name="connsiteY474" fmla="*/ 409635 h 528885"/>
                <a:gd name="connsiteX475" fmla="*/ 180934 w 710303"/>
                <a:gd name="connsiteY475" fmla="*/ 412478 h 528885"/>
                <a:gd name="connsiteX476" fmla="*/ 181146 w 710303"/>
                <a:gd name="connsiteY476" fmla="*/ 414263 h 528885"/>
                <a:gd name="connsiteX477" fmla="*/ 180934 w 710303"/>
                <a:gd name="connsiteY477" fmla="*/ 415171 h 528885"/>
                <a:gd name="connsiteX478" fmla="*/ 179996 w 710303"/>
                <a:gd name="connsiteY478" fmla="*/ 416623 h 528885"/>
                <a:gd name="connsiteX479" fmla="*/ 179784 w 710303"/>
                <a:gd name="connsiteY479" fmla="*/ 417621 h 528885"/>
                <a:gd name="connsiteX480" fmla="*/ 179996 w 710303"/>
                <a:gd name="connsiteY480" fmla="*/ 418589 h 528885"/>
                <a:gd name="connsiteX481" fmla="*/ 180934 w 710303"/>
                <a:gd name="connsiteY481" fmla="*/ 420041 h 528885"/>
                <a:gd name="connsiteX482" fmla="*/ 181146 w 710303"/>
                <a:gd name="connsiteY482" fmla="*/ 420919 h 528885"/>
                <a:gd name="connsiteX483" fmla="*/ 181630 w 710303"/>
                <a:gd name="connsiteY483" fmla="*/ 421705 h 528885"/>
                <a:gd name="connsiteX484" fmla="*/ 182749 w 710303"/>
                <a:gd name="connsiteY484" fmla="*/ 422612 h 528885"/>
                <a:gd name="connsiteX485" fmla="*/ 184020 w 710303"/>
                <a:gd name="connsiteY485" fmla="*/ 423338 h 528885"/>
                <a:gd name="connsiteX486" fmla="*/ 188043 w 710303"/>
                <a:gd name="connsiteY486" fmla="*/ 424276 h 528885"/>
                <a:gd name="connsiteX487" fmla="*/ 189586 w 710303"/>
                <a:gd name="connsiteY487" fmla="*/ 425154 h 528885"/>
                <a:gd name="connsiteX488" fmla="*/ 189707 w 710303"/>
                <a:gd name="connsiteY488" fmla="*/ 426424 h 528885"/>
                <a:gd name="connsiteX489" fmla="*/ 189071 w 710303"/>
                <a:gd name="connsiteY489" fmla="*/ 427967 h 528885"/>
                <a:gd name="connsiteX490" fmla="*/ 188860 w 710303"/>
                <a:gd name="connsiteY490" fmla="*/ 429691 h 528885"/>
                <a:gd name="connsiteX491" fmla="*/ 189071 w 710303"/>
                <a:gd name="connsiteY491" fmla="*/ 431416 h 528885"/>
                <a:gd name="connsiteX492" fmla="*/ 190523 w 710303"/>
                <a:gd name="connsiteY492" fmla="*/ 435016 h 528885"/>
                <a:gd name="connsiteX493" fmla="*/ 190614 w 710303"/>
                <a:gd name="connsiteY493" fmla="*/ 436377 h 528885"/>
                <a:gd name="connsiteX494" fmla="*/ 190342 w 710303"/>
                <a:gd name="connsiteY494" fmla="*/ 437012 h 528885"/>
                <a:gd name="connsiteX495" fmla="*/ 190070 w 710303"/>
                <a:gd name="connsiteY495" fmla="*/ 436891 h 528885"/>
                <a:gd name="connsiteX496" fmla="*/ 190070 w 710303"/>
                <a:gd name="connsiteY496" fmla="*/ 437768 h 528885"/>
                <a:gd name="connsiteX497" fmla="*/ 189949 w 710303"/>
                <a:gd name="connsiteY497" fmla="*/ 438434 h 528885"/>
                <a:gd name="connsiteX498" fmla="*/ 190221 w 710303"/>
                <a:gd name="connsiteY498" fmla="*/ 438888 h 528885"/>
                <a:gd name="connsiteX499" fmla="*/ 193761 w 710303"/>
                <a:gd name="connsiteY499" fmla="*/ 439402 h 528885"/>
                <a:gd name="connsiteX500" fmla="*/ 194275 w 710303"/>
                <a:gd name="connsiteY500" fmla="*/ 439190 h 528885"/>
                <a:gd name="connsiteX501" fmla="*/ 194638 w 710303"/>
                <a:gd name="connsiteY501" fmla="*/ 436498 h 528885"/>
                <a:gd name="connsiteX502" fmla="*/ 191129 w 710303"/>
                <a:gd name="connsiteY502" fmla="*/ 431567 h 528885"/>
                <a:gd name="connsiteX503" fmla="*/ 190857 w 710303"/>
                <a:gd name="connsiteY503" fmla="*/ 429026 h 528885"/>
                <a:gd name="connsiteX504" fmla="*/ 192066 w 710303"/>
                <a:gd name="connsiteY504" fmla="*/ 427574 h 528885"/>
                <a:gd name="connsiteX505" fmla="*/ 193367 w 710303"/>
                <a:gd name="connsiteY505" fmla="*/ 428058 h 528885"/>
                <a:gd name="connsiteX506" fmla="*/ 195636 w 710303"/>
                <a:gd name="connsiteY506" fmla="*/ 430206 h 528885"/>
                <a:gd name="connsiteX507" fmla="*/ 197300 w 710303"/>
                <a:gd name="connsiteY507" fmla="*/ 430418 h 528885"/>
                <a:gd name="connsiteX508" fmla="*/ 198480 w 710303"/>
                <a:gd name="connsiteY508" fmla="*/ 429994 h 528885"/>
                <a:gd name="connsiteX509" fmla="*/ 199629 w 710303"/>
                <a:gd name="connsiteY509" fmla="*/ 429389 h 528885"/>
                <a:gd name="connsiteX510" fmla="*/ 201142 w 710303"/>
                <a:gd name="connsiteY510" fmla="*/ 428995 h 528885"/>
                <a:gd name="connsiteX511" fmla="*/ 203048 w 710303"/>
                <a:gd name="connsiteY511" fmla="*/ 429752 h 528885"/>
                <a:gd name="connsiteX512" fmla="*/ 204379 w 710303"/>
                <a:gd name="connsiteY512" fmla="*/ 431900 h 528885"/>
                <a:gd name="connsiteX513" fmla="*/ 205649 w 710303"/>
                <a:gd name="connsiteY513" fmla="*/ 434532 h 528885"/>
                <a:gd name="connsiteX514" fmla="*/ 207404 w 710303"/>
                <a:gd name="connsiteY514" fmla="*/ 436831 h 528885"/>
                <a:gd name="connsiteX515" fmla="*/ 206042 w 710303"/>
                <a:gd name="connsiteY515" fmla="*/ 439130 h 528885"/>
                <a:gd name="connsiteX516" fmla="*/ 198329 w 710303"/>
                <a:gd name="connsiteY516" fmla="*/ 444545 h 528885"/>
                <a:gd name="connsiteX517" fmla="*/ 200113 w 710303"/>
                <a:gd name="connsiteY517" fmla="*/ 445392 h 528885"/>
                <a:gd name="connsiteX518" fmla="*/ 203895 w 710303"/>
                <a:gd name="connsiteY518" fmla="*/ 444514 h 528885"/>
                <a:gd name="connsiteX519" fmla="*/ 205982 w 710303"/>
                <a:gd name="connsiteY519" fmla="*/ 444514 h 528885"/>
                <a:gd name="connsiteX520" fmla="*/ 207646 w 710303"/>
                <a:gd name="connsiteY520" fmla="*/ 445452 h 528885"/>
                <a:gd name="connsiteX521" fmla="*/ 210006 w 710303"/>
                <a:gd name="connsiteY521" fmla="*/ 447993 h 528885"/>
                <a:gd name="connsiteX522" fmla="*/ 211518 w 710303"/>
                <a:gd name="connsiteY522" fmla="*/ 449052 h 528885"/>
                <a:gd name="connsiteX523" fmla="*/ 211579 w 710303"/>
                <a:gd name="connsiteY523" fmla="*/ 445543 h 528885"/>
                <a:gd name="connsiteX524" fmla="*/ 212335 w 710303"/>
                <a:gd name="connsiteY524" fmla="*/ 444303 h 528885"/>
                <a:gd name="connsiteX525" fmla="*/ 215269 w 710303"/>
                <a:gd name="connsiteY525" fmla="*/ 444545 h 528885"/>
                <a:gd name="connsiteX526" fmla="*/ 223165 w 710303"/>
                <a:gd name="connsiteY526" fmla="*/ 449173 h 528885"/>
                <a:gd name="connsiteX527" fmla="*/ 224496 w 710303"/>
                <a:gd name="connsiteY527" fmla="*/ 449294 h 528885"/>
                <a:gd name="connsiteX528" fmla="*/ 227007 w 710303"/>
                <a:gd name="connsiteY528" fmla="*/ 449082 h 528885"/>
                <a:gd name="connsiteX529" fmla="*/ 228187 w 710303"/>
                <a:gd name="connsiteY529" fmla="*/ 449325 h 528885"/>
                <a:gd name="connsiteX530" fmla="*/ 229064 w 710303"/>
                <a:gd name="connsiteY530" fmla="*/ 449930 h 528885"/>
                <a:gd name="connsiteX531" fmla="*/ 229850 w 710303"/>
                <a:gd name="connsiteY531" fmla="*/ 450656 h 528885"/>
                <a:gd name="connsiteX532" fmla="*/ 230849 w 710303"/>
                <a:gd name="connsiteY532" fmla="*/ 451261 h 528885"/>
                <a:gd name="connsiteX533" fmla="*/ 233057 w 710303"/>
                <a:gd name="connsiteY533" fmla="*/ 451866 h 528885"/>
                <a:gd name="connsiteX534" fmla="*/ 239803 w 710303"/>
                <a:gd name="connsiteY534" fmla="*/ 452350 h 528885"/>
                <a:gd name="connsiteX535" fmla="*/ 243766 w 710303"/>
                <a:gd name="connsiteY535" fmla="*/ 454376 h 528885"/>
                <a:gd name="connsiteX536" fmla="*/ 245914 w 710303"/>
                <a:gd name="connsiteY536" fmla="*/ 454619 h 528885"/>
                <a:gd name="connsiteX537" fmla="*/ 247759 w 710303"/>
                <a:gd name="connsiteY537" fmla="*/ 452955 h 528885"/>
                <a:gd name="connsiteX538" fmla="*/ 249030 w 710303"/>
                <a:gd name="connsiteY538" fmla="*/ 451382 h 528885"/>
                <a:gd name="connsiteX539" fmla="*/ 250754 w 710303"/>
                <a:gd name="connsiteY539" fmla="*/ 450141 h 528885"/>
                <a:gd name="connsiteX540" fmla="*/ 252630 w 710303"/>
                <a:gd name="connsiteY540" fmla="*/ 449325 h 528885"/>
                <a:gd name="connsiteX541" fmla="*/ 254324 w 710303"/>
                <a:gd name="connsiteY541" fmla="*/ 449052 h 528885"/>
                <a:gd name="connsiteX542" fmla="*/ 455103 w 710303"/>
                <a:gd name="connsiteY542" fmla="*/ 347680 h 528885"/>
                <a:gd name="connsiteX543" fmla="*/ 454951 w 710303"/>
                <a:gd name="connsiteY543" fmla="*/ 346984 h 528885"/>
                <a:gd name="connsiteX544" fmla="*/ 454800 w 710303"/>
                <a:gd name="connsiteY544" fmla="*/ 346530 h 528885"/>
                <a:gd name="connsiteX545" fmla="*/ 454377 w 710303"/>
                <a:gd name="connsiteY545" fmla="*/ 345532 h 528885"/>
                <a:gd name="connsiteX546" fmla="*/ 453045 w 710303"/>
                <a:gd name="connsiteY546" fmla="*/ 347135 h 528885"/>
                <a:gd name="connsiteX547" fmla="*/ 451352 w 710303"/>
                <a:gd name="connsiteY547" fmla="*/ 351219 h 528885"/>
                <a:gd name="connsiteX548" fmla="*/ 450263 w 710303"/>
                <a:gd name="connsiteY548" fmla="*/ 353276 h 528885"/>
                <a:gd name="connsiteX549" fmla="*/ 449204 w 710303"/>
                <a:gd name="connsiteY549" fmla="*/ 354426 h 528885"/>
                <a:gd name="connsiteX550" fmla="*/ 447903 w 710303"/>
                <a:gd name="connsiteY550" fmla="*/ 355515 h 528885"/>
                <a:gd name="connsiteX551" fmla="*/ 446602 w 710303"/>
                <a:gd name="connsiteY551" fmla="*/ 356906 h 528885"/>
                <a:gd name="connsiteX552" fmla="*/ 445513 w 710303"/>
                <a:gd name="connsiteY552" fmla="*/ 358994 h 528885"/>
                <a:gd name="connsiteX553" fmla="*/ 445573 w 710303"/>
                <a:gd name="connsiteY553" fmla="*/ 362684 h 528885"/>
                <a:gd name="connsiteX554" fmla="*/ 446995 w 710303"/>
                <a:gd name="connsiteY554" fmla="*/ 367162 h 528885"/>
                <a:gd name="connsiteX555" fmla="*/ 449173 w 710303"/>
                <a:gd name="connsiteY555" fmla="*/ 370247 h 528885"/>
                <a:gd name="connsiteX556" fmla="*/ 451352 w 710303"/>
                <a:gd name="connsiteY556" fmla="*/ 369672 h 528885"/>
                <a:gd name="connsiteX557" fmla="*/ 452471 w 710303"/>
                <a:gd name="connsiteY557" fmla="*/ 368463 h 528885"/>
                <a:gd name="connsiteX558" fmla="*/ 454165 w 710303"/>
                <a:gd name="connsiteY558" fmla="*/ 367162 h 528885"/>
                <a:gd name="connsiteX559" fmla="*/ 456010 w 710303"/>
                <a:gd name="connsiteY559" fmla="*/ 366133 h 528885"/>
                <a:gd name="connsiteX560" fmla="*/ 457553 w 710303"/>
                <a:gd name="connsiteY560" fmla="*/ 365710 h 528885"/>
                <a:gd name="connsiteX561" fmla="*/ 461092 w 710303"/>
                <a:gd name="connsiteY561" fmla="*/ 361958 h 528885"/>
                <a:gd name="connsiteX562" fmla="*/ 461002 w 710303"/>
                <a:gd name="connsiteY562" fmla="*/ 361263 h 528885"/>
                <a:gd name="connsiteX563" fmla="*/ 455163 w 710303"/>
                <a:gd name="connsiteY563" fmla="*/ 347740 h 528885"/>
                <a:gd name="connsiteX564" fmla="*/ 257803 w 710303"/>
                <a:gd name="connsiteY564" fmla="*/ 318548 h 528885"/>
                <a:gd name="connsiteX565" fmla="*/ 259225 w 710303"/>
                <a:gd name="connsiteY565" fmla="*/ 316127 h 528885"/>
                <a:gd name="connsiteX566" fmla="*/ 258922 w 710303"/>
                <a:gd name="connsiteY566" fmla="*/ 315038 h 528885"/>
                <a:gd name="connsiteX567" fmla="*/ 258196 w 710303"/>
                <a:gd name="connsiteY567" fmla="*/ 316006 h 528885"/>
                <a:gd name="connsiteX568" fmla="*/ 257319 w 710303"/>
                <a:gd name="connsiteY568" fmla="*/ 317761 h 528885"/>
                <a:gd name="connsiteX569" fmla="*/ 256109 w 710303"/>
                <a:gd name="connsiteY569" fmla="*/ 318427 h 528885"/>
                <a:gd name="connsiteX570" fmla="*/ 254385 w 710303"/>
                <a:gd name="connsiteY570" fmla="*/ 316158 h 528885"/>
                <a:gd name="connsiteX571" fmla="*/ 253870 w 710303"/>
                <a:gd name="connsiteY571" fmla="*/ 314524 h 528885"/>
                <a:gd name="connsiteX572" fmla="*/ 253779 w 710303"/>
                <a:gd name="connsiteY572" fmla="*/ 312800 h 528885"/>
                <a:gd name="connsiteX573" fmla="*/ 254173 w 710303"/>
                <a:gd name="connsiteY573" fmla="*/ 311045 h 528885"/>
                <a:gd name="connsiteX574" fmla="*/ 255050 w 710303"/>
                <a:gd name="connsiteY574" fmla="*/ 309412 h 528885"/>
                <a:gd name="connsiteX575" fmla="*/ 252479 w 710303"/>
                <a:gd name="connsiteY575" fmla="*/ 308686 h 528885"/>
                <a:gd name="connsiteX576" fmla="*/ 250210 w 710303"/>
                <a:gd name="connsiteY576" fmla="*/ 306810 h 528885"/>
                <a:gd name="connsiteX577" fmla="*/ 248606 w 710303"/>
                <a:gd name="connsiteY577" fmla="*/ 303936 h 528885"/>
                <a:gd name="connsiteX578" fmla="*/ 247850 w 710303"/>
                <a:gd name="connsiteY578" fmla="*/ 297009 h 528885"/>
                <a:gd name="connsiteX579" fmla="*/ 246549 w 710303"/>
                <a:gd name="connsiteY579" fmla="*/ 296645 h 528885"/>
                <a:gd name="connsiteX580" fmla="*/ 245006 w 710303"/>
                <a:gd name="connsiteY580" fmla="*/ 298098 h 528885"/>
                <a:gd name="connsiteX581" fmla="*/ 243978 w 710303"/>
                <a:gd name="connsiteY581" fmla="*/ 300245 h 528885"/>
                <a:gd name="connsiteX582" fmla="*/ 243645 w 710303"/>
                <a:gd name="connsiteY582" fmla="*/ 304360 h 528885"/>
                <a:gd name="connsiteX583" fmla="*/ 244946 w 710303"/>
                <a:gd name="connsiteY583" fmla="*/ 306114 h 528885"/>
                <a:gd name="connsiteX584" fmla="*/ 247003 w 710303"/>
                <a:gd name="connsiteY584" fmla="*/ 306901 h 528885"/>
                <a:gd name="connsiteX585" fmla="*/ 248848 w 710303"/>
                <a:gd name="connsiteY585" fmla="*/ 308141 h 528885"/>
                <a:gd name="connsiteX586" fmla="*/ 250180 w 710303"/>
                <a:gd name="connsiteY586" fmla="*/ 310894 h 528885"/>
                <a:gd name="connsiteX587" fmla="*/ 250270 w 710303"/>
                <a:gd name="connsiteY587" fmla="*/ 313707 h 528885"/>
                <a:gd name="connsiteX588" fmla="*/ 249454 w 710303"/>
                <a:gd name="connsiteY588" fmla="*/ 316279 h 528885"/>
                <a:gd name="connsiteX589" fmla="*/ 248092 w 710303"/>
                <a:gd name="connsiteY589" fmla="*/ 318366 h 528885"/>
                <a:gd name="connsiteX590" fmla="*/ 246338 w 710303"/>
                <a:gd name="connsiteY590" fmla="*/ 319697 h 528885"/>
                <a:gd name="connsiteX591" fmla="*/ 244886 w 710303"/>
                <a:gd name="connsiteY591" fmla="*/ 320393 h 528885"/>
                <a:gd name="connsiteX592" fmla="*/ 243857 w 710303"/>
                <a:gd name="connsiteY592" fmla="*/ 321785 h 528885"/>
                <a:gd name="connsiteX593" fmla="*/ 243282 w 710303"/>
                <a:gd name="connsiteY593" fmla="*/ 325112 h 528885"/>
                <a:gd name="connsiteX594" fmla="*/ 244160 w 710303"/>
                <a:gd name="connsiteY594" fmla="*/ 331162 h 528885"/>
                <a:gd name="connsiteX595" fmla="*/ 246852 w 710303"/>
                <a:gd name="connsiteY595" fmla="*/ 335004 h 528885"/>
                <a:gd name="connsiteX596" fmla="*/ 250391 w 710303"/>
                <a:gd name="connsiteY596" fmla="*/ 335912 h 528885"/>
                <a:gd name="connsiteX597" fmla="*/ 253658 w 710303"/>
                <a:gd name="connsiteY597" fmla="*/ 333099 h 528885"/>
                <a:gd name="connsiteX598" fmla="*/ 254657 w 710303"/>
                <a:gd name="connsiteY598" fmla="*/ 330225 h 528885"/>
                <a:gd name="connsiteX599" fmla="*/ 254566 w 710303"/>
                <a:gd name="connsiteY599" fmla="*/ 324749 h 528885"/>
                <a:gd name="connsiteX600" fmla="*/ 255050 w 710303"/>
                <a:gd name="connsiteY600" fmla="*/ 321785 h 528885"/>
                <a:gd name="connsiteX601" fmla="*/ 257742 w 710303"/>
                <a:gd name="connsiteY601" fmla="*/ 318548 h 528885"/>
                <a:gd name="connsiteX602" fmla="*/ 404401 w 710303"/>
                <a:gd name="connsiteY602" fmla="*/ 477277 h 528885"/>
                <a:gd name="connsiteX603" fmla="*/ 402858 w 710303"/>
                <a:gd name="connsiteY603" fmla="*/ 475915 h 528885"/>
                <a:gd name="connsiteX604" fmla="*/ 401043 w 710303"/>
                <a:gd name="connsiteY604" fmla="*/ 475915 h 528885"/>
                <a:gd name="connsiteX605" fmla="*/ 399107 w 710303"/>
                <a:gd name="connsiteY605" fmla="*/ 476521 h 528885"/>
                <a:gd name="connsiteX606" fmla="*/ 397232 w 710303"/>
                <a:gd name="connsiteY606" fmla="*/ 476732 h 528885"/>
                <a:gd name="connsiteX607" fmla="*/ 395568 w 710303"/>
                <a:gd name="connsiteY607" fmla="*/ 475915 h 528885"/>
                <a:gd name="connsiteX608" fmla="*/ 392301 w 710303"/>
                <a:gd name="connsiteY608" fmla="*/ 472981 h 528885"/>
                <a:gd name="connsiteX609" fmla="*/ 391363 w 710303"/>
                <a:gd name="connsiteY609" fmla="*/ 472346 h 528885"/>
                <a:gd name="connsiteX610" fmla="*/ 391181 w 710303"/>
                <a:gd name="connsiteY610" fmla="*/ 471711 h 528885"/>
                <a:gd name="connsiteX611" fmla="*/ 389760 w 710303"/>
                <a:gd name="connsiteY611" fmla="*/ 468776 h 528885"/>
                <a:gd name="connsiteX612" fmla="*/ 388943 w 710303"/>
                <a:gd name="connsiteY612" fmla="*/ 467869 h 528885"/>
                <a:gd name="connsiteX613" fmla="*/ 386371 w 710303"/>
                <a:gd name="connsiteY613" fmla="*/ 468928 h 528885"/>
                <a:gd name="connsiteX614" fmla="*/ 385494 w 710303"/>
                <a:gd name="connsiteY614" fmla="*/ 469049 h 528885"/>
                <a:gd name="connsiteX615" fmla="*/ 385978 w 710303"/>
                <a:gd name="connsiteY615" fmla="*/ 470561 h 528885"/>
                <a:gd name="connsiteX616" fmla="*/ 386250 w 710303"/>
                <a:gd name="connsiteY616" fmla="*/ 471166 h 528885"/>
                <a:gd name="connsiteX617" fmla="*/ 384980 w 710303"/>
                <a:gd name="connsiteY617" fmla="*/ 472104 h 528885"/>
                <a:gd name="connsiteX618" fmla="*/ 383467 w 710303"/>
                <a:gd name="connsiteY618" fmla="*/ 471922 h 528885"/>
                <a:gd name="connsiteX619" fmla="*/ 382136 w 710303"/>
                <a:gd name="connsiteY619" fmla="*/ 470864 h 528885"/>
                <a:gd name="connsiteX620" fmla="*/ 381410 w 710303"/>
                <a:gd name="connsiteY620" fmla="*/ 469079 h 528885"/>
                <a:gd name="connsiteX621" fmla="*/ 381652 w 710303"/>
                <a:gd name="connsiteY621" fmla="*/ 466780 h 528885"/>
                <a:gd name="connsiteX622" fmla="*/ 382590 w 710303"/>
                <a:gd name="connsiteY622" fmla="*/ 465207 h 528885"/>
                <a:gd name="connsiteX623" fmla="*/ 383316 w 710303"/>
                <a:gd name="connsiteY623" fmla="*/ 463361 h 528885"/>
                <a:gd name="connsiteX624" fmla="*/ 382862 w 710303"/>
                <a:gd name="connsiteY624" fmla="*/ 460306 h 528885"/>
                <a:gd name="connsiteX625" fmla="*/ 383619 w 710303"/>
                <a:gd name="connsiteY625" fmla="*/ 460124 h 528885"/>
                <a:gd name="connsiteX626" fmla="*/ 383982 w 710303"/>
                <a:gd name="connsiteY626" fmla="*/ 459792 h 528885"/>
                <a:gd name="connsiteX627" fmla="*/ 384284 w 710303"/>
                <a:gd name="connsiteY627" fmla="*/ 459429 h 528885"/>
                <a:gd name="connsiteX628" fmla="*/ 384829 w 710303"/>
                <a:gd name="connsiteY628" fmla="*/ 459126 h 528885"/>
                <a:gd name="connsiteX629" fmla="*/ 384526 w 710303"/>
                <a:gd name="connsiteY629" fmla="*/ 458975 h 528885"/>
                <a:gd name="connsiteX630" fmla="*/ 384254 w 710303"/>
                <a:gd name="connsiteY630" fmla="*/ 458975 h 528885"/>
                <a:gd name="connsiteX631" fmla="*/ 384102 w 710303"/>
                <a:gd name="connsiteY631" fmla="*/ 458793 h 528885"/>
                <a:gd name="connsiteX632" fmla="*/ 384163 w 710303"/>
                <a:gd name="connsiteY632" fmla="*/ 458037 h 528885"/>
                <a:gd name="connsiteX633" fmla="*/ 387551 w 710303"/>
                <a:gd name="connsiteY633" fmla="*/ 458612 h 528885"/>
                <a:gd name="connsiteX634" fmla="*/ 392996 w 710303"/>
                <a:gd name="connsiteY634" fmla="*/ 463392 h 528885"/>
                <a:gd name="connsiteX635" fmla="*/ 396506 w 710303"/>
                <a:gd name="connsiteY635" fmla="*/ 464753 h 528885"/>
                <a:gd name="connsiteX636" fmla="*/ 398805 w 710303"/>
                <a:gd name="connsiteY636" fmla="*/ 464329 h 528885"/>
                <a:gd name="connsiteX637" fmla="*/ 402193 w 710303"/>
                <a:gd name="connsiteY637" fmla="*/ 461939 h 528885"/>
                <a:gd name="connsiteX638" fmla="*/ 403766 w 710303"/>
                <a:gd name="connsiteY638" fmla="*/ 461365 h 528885"/>
                <a:gd name="connsiteX639" fmla="*/ 406125 w 710303"/>
                <a:gd name="connsiteY639" fmla="*/ 461244 h 528885"/>
                <a:gd name="connsiteX640" fmla="*/ 408183 w 710303"/>
                <a:gd name="connsiteY640" fmla="*/ 460578 h 528885"/>
                <a:gd name="connsiteX641" fmla="*/ 409514 w 710303"/>
                <a:gd name="connsiteY641" fmla="*/ 458914 h 528885"/>
                <a:gd name="connsiteX642" fmla="*/ 409635 w 710303"/>
                <a:gd name="connsiteY642" fmla="*/ 455859 h 528885"/>
                <a:gd name="connsiteX643" fmla="*/ 405853 w 710303"/>
                <a:gd name="connsiteY643" fmla="*/ 448175 h 528885"/>
                <a:gd name="connsiteX644" fmla="*/ 405127 w 710303"/>
                <a:gd name="connsiteY644" fmla="*/ 447782 h 528885"/>
                <a:gd name="connsiteX645" fmla="*/ 406125 w 710303"/>
                <a:gd name="connsiteY645" fmla="*/ 446935 h 528885"/>
                <a:gd name="connsiteX646" fmla="*/ 408213 w 710303"/>
                <a:gd name="connsiteY646" fmla="*/ 445876 h 528885"/>
                <a:gd name="connsiteX647" fmla="*/ 409090 w 710303"/>
                <a:gd name="connsiteY647" fmla="*/ 445271 h 528885"/>
                <a:gd name="connsiteX648" fmla="*/ 409816 w 710303"/>
                <a:gd name="connsiteY648" fmla="*/ 444938 h 528885"/>
                <a:gd name="connsiteX649" fmla="*/ 410452 w 710303"/>
                <a:gd name="connsiteY649" fmla="*/ 444273 h 528885"/>
                <a:gd name="connsiteX650" fmla="*/ 411026 w 710303"/>
                <a:gd name="connsiteY650" fmla="*/ 442669 h 528885"/>
                <a:gd name="connsiteX651" fmla="*/ 410179 w 710303"/>
                <a:gd name="connsiteY651" fmla="*/ 438918 h 528885"/>
                <a:gd name="connsiteX652" fmla="*/ 406337 w 710303"/>
                <a:gd name="connsiteY652" fmla="*/ 437738 h 528885"/>
                <a:gd name="connsiteX653" fmla="*/ 397897 w 710303"/>
                <a:gd name="connsiteY653" fmla="*/ 437073 h 528885"/>
                <a:gd name="connsiteX654" fmla="*/ 394993 w 710303"/>
                <a:gd name="connsiteY654" fmla="*/ 434985 h 528885"/>
                <a:gd name="connsiteX655" fmla="*/ 394448 w 710303"/>
                <a:gd name="connsiteY655" fmla="*/ 434320 h 528885"/>
                <a:gd name="connsiteX656" fmla="*/ 394660 w 710303"/>
                <a:gd name="connsiteY656" fmla="*/ 432656 h 528885"/>
                <a:gd name="connsiteX657" fmla="*/ 395205 w 710303"/>
                <a:gd name="connsiteY657" fmla="*/ 432081 h 528885"/>
                <a:gd name="connsiteX658" fmla="*/ 395991 w 710303"/>
                <a:gd name="connsiteY658" fmla="*/ 431809 h 528885"/>
                <a:gd name="connsiteX659" fmla="*/ 396899 w 710303"/>
                <a:gd name="connsiteY659" fmla="*/ 431022 h 528885"/>
                <a:gd name="connsiteX660" fmla="*/ 398865 w 710303"/>
                <a:gd name="connsiteY660" fmla="*/ 429691 h 528885"/>
                <a:gd name="connsiteX661" fmla="*/ 400892 w 710303"/>
                <a:gd name="connsiteY661" fmla="*/ 430296 h 528885"/>
                <a:gd name="connsiteX662" fmla="*/ 402042 w 710303"/>
                <a:gd name="connsiteY662" fmla="*/ 432505 h 528885"/>
                <a:gd name="connsiteX663" fmla="*/ 401316 w 710303"/>
                <a:gd name="connsiteY663" fmla="*/ 435984 h 528885"/>
                <a:gd name="connsiteX664" fmla="*/ 402253 w 710303"/>
                <a:gd name="connsiteY664" fmla="*/ 436740 h 528885"/>
                <a:gd name="connsiteX665" fmla="*/ 403131 w 710303"/>
                <a:gd name="connsiteY665" fmla="*/ 436861 h 528885"/>
                <a:gd name="connsiteX666" fmla="*/ 403978 w 710303"/>
                <a:gd name="connsiteY666" fmla="*/ 436256 h 528885"/>
                <a:gd name="connsiteX667" fmla="*/ 404734 w 710303"/>
                <a:gd name="connsiteY667" fmla="*/ 434864 h 528885"/>
                <a:gd name="connsiteX668" fmla="*/ 404129 w 710303"/>
                <a:gd name="connsiteY668" fmla="*/ 432111 h 528885"/>
                <a:gd name="connsiteX669" fmla="*/ 405339 w 710303"/>
                <a:gd name="connsiteY669" fmla="*/ 428814 h 528885"/>
                <a:gd name="connsiteX670" fmla="*/ 407366 w 710303"/>
                <a:gd name="connsiteY670" fmla="*/ 426061 h 528885"/>
                <a:gd name="connsiteX671" fmla="*/ 409937 w 710303"/>
                <a:gd name="connsiteY671" fmla="*/ 424549 h 528885"/>
                <a:gd name="connsiteX672" fmla="*/ 411541 w 710303"/>
                <a:gd name="connsiteY672" fmla="*/ 422945 h 528885"/>
                <a:gd name="connsiteX673" fmla="*/ 432656 w 710303"/>
                <a:gd name="connsiteY673" fmla="*/ 418377 h 528885"/>
                <a:gd name="connsiteX674" fmla="*/ 437920 w 710303"/>
                <a:gd name="connsiteY674" fmla="*/ 414929 h 528885"/>
                <a:gd name="connsiteX675" fmla="*/ 438495 w 710303"/>
                <a:gd name="connsiteY675" fmla="*/ 414414 h 528885"/>
                <a:gd name="connsiteX676" fmla="*/ 439977 w 710303"/>
                <a:gd name="connsiteY676" fmla="*/ 412690 h 528885"/>
                <a:gd name="connsiteX677" fmla="*/ 438555 w 710303"/>
                <a:gd name="connsiteY677" fmla="*/ 408334 h 528885"/>
                <a:gd name="connsiteX678" fmla="*/ 438101 w 710303"/>
                <a:gd name="connsiteY678" fmla="*/ 405974 h 528885"/>
                <a:gd name="connsiteX679" fmla="*/ 437920 w 710303"/>
                <a:gd name="connsiteY679" fmla="*/ 403191 h 528885"/>
                <a:gd name="connsiteX680" fmla="*/ 436922 w 710303"/>
                <a:gd name="connsiteY680" fmla="*/ 400771 h 528885"/>
                <a:gd name="connsiteX681" fmla="*/ 434622 w 710303"/>
                <a:gd name="connsiteY681" fmla="*/ 398260 h 528885"/>
                <a:gd name="connsiteX682" fmla="*/ 430266 w 710303"/>
                <a:gd name="connsiteY682" fmla="*/ 394842 h 528885"/>
                <a:gd name="connsiteX683" fmla="*/ 428572 w 710303"/>
                <a:gd name="connsiteY683" fmla="*/ 394146 h 528885"/>
                <a:gd name="connsiteX684" fmla="*/ 422401 w 710303"/>
                <a:gd name="connsiteY684" fmla="*/ 393753 h 528885"/>
                <a:gd name="connsiteX685" fmla="*/ 420677 w 710303"/>
                <a:gd name="connsiteY685" fmla="*/ 393238 h 528885"/>
                <a:gd name="connsiteX686" fmla="*/ 415776 w 710303"/>
                <a:gd name="connsiteY686" fmla="*/ 389215 h 528885"/>
                <a:gd name="connsiteX687" fmla="*/ 413083 w 710303"/>
                <a:gd name="connsiteY687" fmla="*/ 380654 h 528885"/>
                <a:gd name="connsiteX688" fmla="*/ 418135 w 710303"/>
                <a:gd name="connsiteY688" fmla="*/ 371094 h 528885"/>
                <a:gd name="connsiteX689" fmla="*/ 418135 w 710303"/>
                <a:gd name="connsiteY689" fmla="*/ 371094 h 528885"/>
                <a:gd name="connsiteX690" fmla="*/ 424549 w 710303"/>
                <a:gd name="connsiteY690" fmla="*/ 364923 h 528885"/>
                <a:gd name="connsiteX691" fmla="*/ 426485 w 710303"/>
                <a:gd name="connsiteY691" fmla="*/ 363047 h 528885"/>
                <a:gd name="connsiteX692" fmla="*/ 433745 w 710303"/>
                <a:gd name="connsiteY692" fmla="*/ 359145 h 528885"/>
                <a:gd name="connsiteX693" fmla="*/ 435772 w 710303"/>
                <a:gd name="connsiteY693" fmla="*/ 359206 h 528885"/>
                <a:gd name="connsiteX694" fmla="*/ 437103 w 710303"/>
                <a:gd name="connsiteY694" fmla="*/ 359932 h 528885"/>
                <a:gd name="connsiteX695" fmla="*/ 438313 w 710303"/>
                <a:gd name="connsiteY695" fmla="*/ 360839 h 528885"/>
                <a:gd name="connsiteX696" fmla="*/ 439977 w 710303"/>
                <a:gd name="connsiteY696" fmla="*/ 361384 h 528885"/>
                <a:gd name="connsiteX697" fmla="*/ 442216 w 710303"/>
                <a:gd name="connsiteY697" fmla="*/ 360688 h 528885"/>
                <a:gd name="connsiteX698" fmla="*/ 443183 w 710303"/>
                <a:gd name="connsiteY698" fmla="*/ 358721 h 528885"/>
                <a:gd name="connsiteX699" fmla="*/ 443819 w 710303"/>
                <a:gd name="connsiteY699" fmla="*/ 356725 h 528885"/>
                <a:gd name="connsiteX700" fmla="*/ 447630 w 710303"/>
                <a:gd name="connsiteY700" fmla="*/ 354305 h 528885"/>
                <a:gd name="connsiteX701" fmla="*/ 451654 w 710303"/>
                <a:gd name="connsiteY701" fmla="*/ 347075 h 528885"/>
                <a:gd name="connsiteX702" fmla="*/ 453771 w 710303"/>
                <a:gd name="connsiteY702" fmla="*/ 344534 h 528885"/>
                <a:gd name="connsiteX703" fmla="*/ 452834 w 710303"/>
                <a:gd name="connsiteY703" fmla="*/ 342809 h 528885"/>
                <a:gd name="connsiteX704" fmla="*/ 452471 w 710303"/>
                <a:gd name="connsiteY704" fmla="*/ 341962 h 528885"/>
                <a:gd name="connsiteX705" fmla="*/ 452350 w 710303"/>
                <a:gd name="connsiteY705" fmla="*/ 341176 h 528885"/>
                <a:gd name="connsiteX706" fmla="*/ 452471 w 710303"/>
                <a:gd name="connsiteY706" fmla="*/ 340087 h 528885"/>
                <a:gd name="connsiteX707" fmla="*/ 453045 w 710303"/>
                <a:gd name="connsiteY707" fmla="*/ 337243 h 528885"/>
                <a:gd name="connsiteX708" fmla="*/ 453167 w 710303"/>
                <a:gd name="connsiteY708" fmla="*/ 333764 h 528885"/>
                <a:gd name="connsiteX709" fmla="*/ 453378 w 710303"/>
                <a:gd name="connsiteY709" fmla="*/ 331586 h 528885"/>
                <a:gd name="connsiteX710" fmla="*/ 453802 w 710303"/>
                <a:gd name="connsiteY710" fmla="*/ 329983 h 528885"/>
                <a:gd name="connsiteX711" fmla="*/ 452531 w 710303"/>
                <a:gd name="connsiteY711" fmla="*/ 327986 h 528885"/>
                <a:gd name="connsiteX712" fmla="*/ 451170 w 710303"/>
                <a:gd name="connsiteY712" fmla="*/ 324749 h 528885"/>
                <a:gd name="connsiteX713" fmla="*/ 450081 w 710303"/>
                <a:gd name="connsiteY713" fmla="*/ 321119 h 528885"/>
                <a:gd name="connsiteX714" fmla="*/ 449627 w 710303"/>
                <a:gd name="connsiteY714" fmla="*/ 318003 h 528885"/>
                <a:gd name="connsiteX715" fmla="*/ 448992 w 710303"/>
                <a:gd name="connsiteY715" fmla="*/ 315886 h 528885"/>
                <a:gd name="connsiteX716" fmla="*/ 447570 w 710303"/>
                <a:gd name="connsiteY716" fmla="*/ 313344 h 528885"/>
                <a:gd name="connsiteX717" fmla="*/ 444787 w 710303"/>
                <a:gd name="connsiteY717" fmla="*/ 309623 h 528885"/>
                <a:gd name="connsiteX718" fmla="*/ 444787 w 710303"/>
                <a:gd name="connsiteY718" fmla="*/ 308383 h 528885"/>
                <a:gd name="connsiteX719" fmla="*/ 446088 w 710303"/>
                <a:gd name="connsiteY719" fmla="*/ 306477 h 528885"/>
                <a:gd name="connsiteX720" fmla="*/ 448841 w 710303"/>
                <a:gd name="connsiteY720" fmla="*/ 299913 h 528885"/>
                <a:gd name="connsiteX721" fmla="*/ 450323 w 710303"/>
                <a:gd name="connsiteY721" fmla="*/ 297130 h 528885"/>
                <a:gd name="connsiteX722" fmla="*/ 454437 w 710303"/>
                <a:gd name="connsiteY722" fmla="*/ 291926 h 528885"/>
                <a:gd name="connsiteX723" fmla="*/ 455798 w 710303"/>
                <a:gd name="connsiteY723" fmla="*/ 289325 h 528885"/>
                <a:gd name="connsiteX724" fmla="*/ 450565 w 710303"/>
                <a:gd name="connsiteY724" fmla="*/ 285271 h 528885"/>
                <a:gd name="connsiteX725" fmla="*/ 447570 w 710303"/>
                <a:gd name="connsiteY725" fmla="*/ 284091 h 528885"/>
                <a:gd name="connsiteX726" fmla="*/ 444061 w 710303"/>
                <a:gd name="connsiteY726" fmla="*/ 281157 h 528885"/>
                <a:gd name="connsiteX727" fmla="*/ 442125 w 710303"/>
                <a:gd name="connsiteY727" fmla="*/ 280189 h 528885"/>
                <a:gd name="connsiteX728" fmla="*/ 434955 w 710303"/>
                <a:gd name="connsiteY728" fmla="*/ 280189 h 528885"/>
                <a:gd name="connsiteX729" fmla="*/ 426273 w 710303"/>
                <a:gd name="connsiteY729" fmla="*/ 275560 h 528885"/>
                <a:gd name="connsiteX730" fmla="*/ 417893 w 710303"/>
                <a:gd name="connsiteY730" fmla="*/ 275258 h 528885"/>
                <a:gd name="connsiteX731" fmla="*/ 409877 w 710303"/>
                <a:gd name="connsiteY731" fmla="*/ 279402 h 528885"/>
                <a:gd name="connsiteX732" fmla="*/ 394509 w 710303"/>
                <a:gd name="connsiteY732" fmla="*/ 291503 h 528885"/>
                <a:gd name="connsiteX733" fmla="*/ 384919 w 710303"/>
                <a:gd name="connsiteY733" fmla="*/ 296978 h 528885"/>
                <a:gd name="connsiteX734" fmla="*/ 379716 w 710303"/>
                <a:gd name="connsiteY734" fmla="*/ 301093 h 528885"/>
                <a:gd name="connsiteX735" fmla="*/ 378022 w 710303"/>
                <a:gd name="connsiteY735" fmla="*/ 305146 h 528885"/>
                <a:gd name="connsiteX736" fmla="*/ 379716 w 710303"/>
                <a:gd name="connsiteY736" fmla="*/ 306598 h 528885"/>
                <a:gd name="connsiteX737" fmla="*/ 382620 w 710303"/>
                <a:gd name="connsiteY737" fmla="*/ 306114 h 528885"/>
                <a:gd name="connsiteX738" fmla="*/ 390304 w 710303"/>
                <a:gd name="connsiteY738" fmla="*/ 303210 h 528885"/>
                <a:gd name="connsiteX739" fmla="*/ 392482 w 710303"/>
                <a:gd name="connsiteY739" fmla="*/ 303089 h 528885"/>
                <a:gd name="connsiteX740" fmla="*/ 394297 w 710303"/>
                <a:gd name="connsiteY740" fmla="*/ 303966 h 528885"/>
                <a:gd name="connsiteX741" fmla="*/ 395870 w 710303"/>
                <a:gd name="connsiteY741" fmla="*/ 306265 h 528885"/>
                <a:gd name="connsiteX742" fmla="*/ 398260 w 710303"/>
                <a:gd name="connsiteY742" fmla="*/ 315069 h 528885"/>
                <a:gd name="connsiteX743" fmla="*/ 398623 w 710303"/>
                <a:gd name="connsiteY743" fmla="*/ 317428 h 528885"/>
                <a:gd name="connsiteX744" fmla="*/ 398623 w 710303"/>
                <a:gd name="connsiteY744" fmla="*/ 323267 h 528885"/>
                <a:gd name="connsiteX745" fmla="*/ 402798 w 710303"/>
                <a:gd name="connsiteY745" fmla="*/ 341236 h 528885"/>
                <a:gd name="connsiteX746" fmla="*/ 402495 w 710303"/>
                <a:gd name="connsiteY746" fmla="*/ 344897 h 528885"/>
                <a:gd name="connsiteX747" fmla="*/ 400196 w 710303"/>
                <a:gd name="connsiteY747" fmla="*/ 350100 h 528885"/>
                <a:gd name="connsiteX748" fmla="*/ 399319 w 710303"/>
                <a:gd name="connsiteY748" fmla="*/ 353549 h 528885"/>
                <a:gd name="connsiteX749" fmla="*/ 395931 w 710303"/>
                <a:gd name="connsiteY749" fmla="*/ 352218 h 528885"/>
                <a:gd name="connsiteX750" fmla="*/ 394388 w 710303"/>
                <a:gd name="connsiteY750" fmla="*/ 351068 h 528885"/>
                <a:gd name="connsiteX751" fmla="*/ 393753 w 710303"/>
                <a:gd name="connsiteY751" fmla="*/ 349555 h 528885"/>
                <a:gd name="connsiteX752" fmla="*/ 394176 w 710303"/>
                <a:gd name="connsiteY752" fmla="*/ 349192 h 528885"/>
                <a:gd name="connsiteX753" fmla="*/ 397292 w 710303"/>
                <a:gd name="connsiteY753" fmla="*/ 350191 h 528885"/>
                <a:gd name="connsiteX754" fmla="*/ 396445 w 710303"/>
                <a:gd name="connsiteY754" fmla="*/ 348103 h 528885"/>
                <a:gd name="connsiteX755" fmla="*/ 395023 w 710303"/>
                <a:gd name="connsiteY755" fmla="*/ 346712 h 528885"/>
                <a:gd name="connsiteX756" fmla="*/ 393359 w 710303"/>
                <a:gd name="connsiteY756" fmla="*/ 346228 h 528885"/>
                <a:gd name="connsiteX757" fmla="*/ 391756 w 710303"/>
                <a:gd name="connsiteY757" fmla="*/ 346863 h 528885"/>
                <a:gd name="connsiteX758" fmla="*/ 391454 w 710303"/>
                <a:gd name="connsiteY758" fmla="*/ 349465 h 528885"/>
                <a:gd name="connsiteX759" fmla="*/ 389124 w 710303"/>
                <a:gd name="connsiteY759" fmla="*/ 351733 h 528885"/>
                <a:gd name="connsiteX760" fmla="*/ 386220 w 710303"/>
                <a:gd name="connsiteY760" fmla="*/ 352974 h 528885"/>
                <a:gd name="connsiteX761" fmla="*/ 384193 w 710303"/>
                <a:gd name="connsiteY761" fmla="*/ 352550 h 528885"/>
                <a:gd name="connsiteX762" fmla="*/ 385494 w 710303"/>
                <a:gd name="connsiteY762" fmla="*/ 350251 h 528885"/>
                <a:gd name="connsiteX763" fmla="*/ 389033 w 710303"/>
                <a:gd name="connsiteY763" fmla="*/ 347105 h 528885"/>
                <a:gd name="connsiteX764" fmla="*/ 389760 w 710303"/>
                <a:gd name="connsiteY764" fmla="*/ 345229 h 528885"/>
                <a:gd name="connsiteX765" fmla="*/ 390486 w 710303"/>
                <a:gd name="connsiteY765" fmla="*/ 342507 h 528885"/>
                <a:gd name="connsiteX766" fmla="*/ 392240 w 710303"/>
                <a:gd name="connsiteY766" fmla="*/ 342265 h 528885"/>
                <a:gd name="connsiteX767" fmla="*/ 395870 w 710303"/>
                <a:gd name="connsiteY767" fmla="*/ 343475 h 528885"/>
                <a:gd name="connsiteX768" fmla="*/ 398472 w 710303"/>
                <a:gd name="connsiteY768" fmla="*/ 339996 h 528885"/>
                <a:gd name="connsiteX769" fmla="*/ 398169 w 710303"/>
                <a:gd name="connsiteY769" fmla="*/ 333643 h 528885"/>
                <a:gd name="connsiteX770" fmla="*/ 396385 w 710303"/>
                <a:gd name="connsiteY770" fmla="*/ 326867 h 528885"/>
                <a:gd name="connsiteX771" fmla="*/ 394479 w 710303"/>
                <a:gd name="connsiteY771" fmla="*/ 322057 h 528885"/>
                <a:gd name="connsiteX772" fmla="*/ 393722 w 710303"/>
                <a:gd name="connsiteY772" fmla="*/ 320786 h 528885"/>
                <a:gd name="connsiteX773" fmla="*/ 393238 w 710303"/>
                <a:gd name="connsiteY773" fmla="*/ 320272 h 528885"/>
                <a:gd name="connsiteX774" fmla="*/ 392845 w 710303"/>
                <a:gd name="connsiteY774" fmla="*/ 319516 h 528885"/>
                <a:gd name="connsiteX775" fmla="*/ 392422 w 710303"/>
                <a:gd name="connsiteY775" fmla="*/ 317428 h 528885"/>
                <a:gd name="connsiteX776" fmla="*/ 392603 w 710303"/>
                <a:gd name="connsiteY776" fmla="*/ 316158 h 528885"/>
                <a:gd name="connsiteX777" fmla="*/ 393027 w 710303"/>
                <a:gd name="connsiteY777" fmla="*/ 314312 h 528885"/>
                <a:gd name="connsiteX778" fmla="*/ 393027 w 710303"/>
                <a:gd name="connsiteY778" fmla="*/ 312649 h 528885"/>
                <a:gd name="connsiteX779" fmla="*/ 392089 w 710303"/>
                <a:gd name="connsiteY779" fmla="*/ 311923 h 528885"/>
                <a:gd name="connsiteX780" fmla="*/ 390213 w 710303"/>
                <a:gd name="connsiteY780" fmla="*/ 311015 h 528885"/>
                <a:gd name="connsiteX781" fmla="*/ 386674 w 710303"/>
                <a:gd name="connsiteY781" fmla="*/ 307536 h 528885"/>
                <a:gd name="connsiteX782" fmla="*/ 384859 w 710303"/>
                <a:gd name="connsiteY782" fmla="*/ 307385 h 528885"/>
                <a:gd name="connsiteX783" fmla="*/ 384133 w 710303"/>
                <a:gd name="connsiteY783" fmla="*/ 310531 h 528885"/>
                <a:gd name="connsiteX784" fmla="*/ 386492 w 710303"/>
                <a:gd name="connsiteY784" fmla="*/ 315371 h 528885"/>
                <a:gd name="connsiteX785" fmla="*/ 388550 w 710303"/>
                <a:gd name="connsiteY785" fmla="*/ 320756 h 528885"/>
                <a:gd name="connsiteX786" fmla="*/ 386916 w 710303"/>
                <a:gd name="connsiteY786" fmla="*/ 325415 h 528885"/>
                <a:gd name="connsiteX787" fmla="*/ 385101 w 710303"/>
                <a:gd name="connsiteY787" fmla="*/ 326383 h 528885"/>
                <a:gd name="connsiteX788" fmla="*/ 381531 w 710303"/>
                <a:gd name="connsiteY788" fmla="*/ 327320 h 528885"/>
                <a:gd name="connsiteX789" fmla="*/ 380018 w 710303"/>
                <a:gd name="connsiteY789" fmla="*/ 328773 h 528885"/>
                <a:gd name="connsiteX790" fmla="*/ 378385 w 710303"/>
                <a:gd name="connsiteY790" fmla="*/ 332463 h 528885"/>
                <a:gd name="connsiteX791" fmla="*/ 377599 w 710303"/>
                <a:gd name="connsiteY791" fmla="*/ 334823 h 528885"/>
                <a:gd name="connsiteX792" fmla="*/ 377266 w 710303"/>
                <a:gd name="connsiteY792" fmla="*/ 336699 h 528885"/>
                <a:gd name="connsiteX793" fmla="*/ 377508 w 710303"/>
                <a:gd name="connsiteY793" fmla="*/ 337304 h 528885"/>
                <a:gd name="connsiteX794" fmla="*/ 378445 w 710303"/>
                <a:gd name="connsiteY794" fmla="*/ 339391 h 528885"/>
                <a:gd name="connsiteX795" fmla="*/ 378657 w 710303"/>
                <a:gd name="connsiteY795" fmla="*/ 340571 h 528885"/>
                <a:gd name="connsiteX796" fmla="*/ 378566 w 710303"/>
                <a:gd name="connsiteY796" fmla="*/ 340692 h 528885"/>
                <a:gd name="connsiteX797" fmla="*/ 378355 w 710303"/>
                <a:gd name="connsiteY797" fmla="*/ 340903 h 528885"/>
                <a:gd name="connsiteX798" fmla="*/ 374150 w 710303"/>
                <a:gd name="connsiteY798" fmla="*/ 349404 h 528885"/>
                <a:gd name="connsiteX799" fmla="*/ 372849 w 710303"/>
                <a:gd name="connsiteY799" fmla="*/ 350947 h 528885"/>
                <a:gd name="connsiteX800" fmla="*/ 371034 w 710303"/>
                <a:gd name="connsiteY800" fmla="*/ 352490 h 528885"/>
                <a:gd name="connsiteX801" fmla="*/ 371851 w 710303"/>
                <a:gd name="connsiteY801" fmla="*/ 349737 h 528885"/>
                <a:gd name="connsiteX802" fmla="*/ 372456 w 710303"/>
                <a:gd name="connsiteY802" fmla="*/ 348739 h 528885"/>
                <a:gd name="connsiteX803" fmla="*/ 372516 w 710303"/>
                <a:gd name="connsiteY803" fmla="*/ 347922 h 528885"/>
                <a:gd name="connsiteX804" fmla="*/ 371790 w 710303"/>
                <a:gd name="connsiteY804" fmla="*/ 345774 h 528885"/>
                <a:gd name="connsiteX805" fmla="*/ 369370 w 710303"/>
                <a:gd name="connsiteY805" fmla="*/ 342446 h 528885"/>
                <a:gd name="connsiteX806" fmla="*/ 367706 w 710303"/>
                <a:gd name="connsiteY806" fmla="*/ 340843 h 528885"/>
                <a:gd name="connsiteX807" fmla="*/ 366950 w 710303"/>
                <a:gd name="connsiteY807" fmla="*/ 341660 h 528885"/>
                <a:gd name="connsiteX808" fmla="*/ 366012 w 710303"/>
                <a:gd name="connsiteY808" fmla="*/ 342053 h 528885"/>
                <a:gd name="connsiteX809" fmla="*/ 361474 w 710303"/>
                <a:gd name="connsiteY809" fmla="*/ 342386 h 528885"/>
                <a:gd name="connsiteX810" fmla="*/ 360022 w 710303"/>
                <a:gd name="connsiteY810" fmla="*/ 342174 h 528885"/>
                <a:gd name="connsiteX811" fmla="*/ 358752 w 710303"/>
                <a:gd name="connsiteY811" fmla="*/ 340843 h 528885"/>
                <a:gd name="connsiteX812" fmla="*/ 359478 w 710303"/>
                <a:gd name="connsiteY812" fmla="*/ 339814 h 528885"/>
                <a:gd name="connsiteX813" fmla="*/ 361263 w 710303"/>
                <a:gd name="connsiteY813" fmla="*/ 339119 h 528885"/>
                <a:gd name="connsiteX814" fmla="*/ 369340 w 710303"/>
                <a:gd name="connsiteY814" fmla="*/ 337788 h 528885"/>
                <a:gd name="connsiteX815" fmla="*/ 369430 w 710303"/>
                <a:gd name="connsiteY815" fmla="*/ 336577 h 528885"/>
                <a:gd name="connsiteX816" fmla="*/ 368644 w 710303"/>
                <a:gd name="connsiteY816" fmla="*/ 333946 h 528885"/>
                <a:gd name="connsiteX817" fmla="*/ 367585 w 710303"/>
                <a:gd name="connsiteY817" fmla="*/ 331253 h 528885"/>
                <a:gd name="connsiteX818" fmla="*/ 366889 w 710303"/>
                <a:gd name="connsiteY818" fmla="*/ 329952 h 528885"/>
                <a:gd name="connsiteX819" fmla="*/ 365044 w 710303"/>
                <a:gd name="connsiteY819" fmla="*/ 329741 h 528885"/>
                <a:gd name="connsiteX820" fmla="*/ 363259 w 710303"/>
                <a:gd name="connsiteY820" fmla="*/ 330618 h 528885"/>
                <a:gd name="connsiteX821" fmla="*/ 361656 w 710303"/>
                <a:gd name="connsiteY821" fmla="*/ 331768 h 528885"/>
                <a:gd name="connsiteX822" fmla="*/ 360294 w 710303"/>
                <a:gd name="connsiteY822" fmla="*/ 332342 h 528885"/>
                <a:gd name="connsiteX823" fmla="*/ 355334 w 710303"/>
                <a:gd name="connsiteY823" fmla="*/ 332826 h 528885"/>
                <a:gd name="connsiteX824" fmla="*/ 353670 w 710303"/>
                <a:gd name="connsiteY824" fmla="*/ 332342 h 528885"/>
                <a:gd name="connsiteX825" fmla="*/ 353670 w 710303"/>
                <a:gd name="connsiteY825" fmla="*/ 331102 h 528885"/>
                <a:gd name="connsiteX826" fmla="*/ 355515 w 710303"/>
                <a:gd name="connsiteY826" fmla="*/ 331102 h 528885"/>
                <a:gd name="connsiteX827" fmla="*/ 356695 w 710303"/>
                <a:gd name="connsiteY827" fmla="*/ 330164 h 528885"/>
                <a:gd name="connsiteX828" fmla="*/ 358540 w 710303"/>
                <a:gd name="connsiteY828" fmla="*/ 327714 h 528885"/>
                <a:gd name="connsiteX829" fmla="*/ 360053 w 710303"/>
                <a:gd name="connsiteY829" fmla="*/ 327169 h 528885"/>
                <a:gd name="connsiteX830" fmla="*/ 363199 w 710303"/>
                <a:gd name="connsiteY830" fmla="*/ 327956 h 528885"/>
                <a:gd name="connsiteX831" fmla="*/ 364711 w 710303"/>
                <a:gd name="connsiteY831" fmla="*/ 327714 h 528885"/>
                <a:gd name="connsiteX832" fmla="*/ 366103 w 710303"/>
                <a:gd name="connsiteY832" fmla="*/ 324477 h 528885"/>
                <a:gd name="connsiteX833" fmla="*/ 364197 w 710303"/>
                <a:gd name="connsiteY833" fmla="*/ 319969 h 528885"/>
                <a:gd name="connsiteX834" fmla="*/ 359205 w 710303"/>
                <a:gd name="connsiteY834" fmla="*/ 311892 h 528885"/>
                <a:gd name="connsiteX835" fmla="*/ 360174 w 710303"/>
                <a:gd name="connsiteY835" fmla="*/ 310440 h 528885"/>
                <a:gd name="connsiteX836" fmla="*/ 361474 w 710303"/>
                <a:gd name="connsiteY836" fmla="*/ 309775 h 528885"/>
                <a:gd name="connsiteX837" fmla="*/ 364681 w 710303"/>
                <a:gd name="connsiteY837" fmla="*/ 309623 h 528885"/>
                <a:gd name="connsiteX838" fmla="*/ 364288 w 710303"/>
                <a:gd name="connsiteY838" fmla="*/ 311287 h 528885"/>
                <a:gd name="connsiteX839" fmla="*/ 364076 w 710303"/>
                <a:gd name="connsiteY839" fmla="*/ 311892 h 528885"/>
                <a:gd name="connsiteX840" fmla="*/ 365740 w 710303"/>
                <a:gd name="connsiteY840" fmla="*/ 312709 h 528885"/>
                <a:gd name="connsiteX841" fmla="*/ 367343 w 710303"/>
                <a:gd name="connsiteY841" fmla="*/ 312467 h 528885"/>
                <a:gd name="connsiteX842" fmla="*/ 368009 w 710303"/>
                <a:gd name="connsiteY842" fmla="*/ 311378 h 528885"/>
                <a:gd name="connsiteX843" fmla="*/ 366829 w 710303"/>
                <a:gd name="connsiteY843" fmla="*/ 309654 h 528885"/>
                <a:gd name="connsiteX844" fmla="*/ 367706 w 710303"/>
                <a:gd name="connsiteY844" fmla="*/ 307687 h 528885"/>
                <a:gd name="connsiteX845" fmla="*/ 370519 w 710303"/>
                <a:gd name="connsiteY845" fmla="*/ 304541 h 528885"/>
                <a:gd name="connsiteX846" fmla="*/ 370943 w 710303"/>
                <a:gd name="connsiteY846" fmla="*/ 302877 h 528885"/>
                <a:gd name="connsiteX847" fmla="*/ 369793 w 710303"/>
                <a:gd name="connsiteY847" fmla="*/ 301456 h 528885"/>
                <a:gd name="connsiteX848" fmla="*/ 367706 w 710303"/>
                <a:gd name="connsiteY848" fmla="*/ 301819 h 528885"/>
                <a:gd name="connsiteX849" fmla="*/ 364046 w 710303"/>
                <a:gd name="connsiteY849" fmla="*/ 303906 h 528885"/>
                <a:gd name="connsiteX850" fmla="*/ 356967 w 710303"/>
                <a:gd name="connsiteY850" fmla="*/ 305933 h 528885"/>
                <a:gd name="connsiteX851" fmla="*/ 352792 w 710303"/>
                <a:gd name="connsiteY851" fmla="*/ 306144 h 528885"/>
                <a:gd name="connsiteX852" fmla="*/ 350947 w 710303"/>
                <a:gd name="connsiteY852" fmla="*/ 304541 h 528885"/>
                <a:gd name="connsiteX853" fmla="*/ 335428 w 710303"/>
                <a:gd name="connsiteY853" fmla="*/ 302272 h 528885"/>
                <a:gd name="connsiteX854" fmla="*/ 332766 w 710303"/>
                <a:gd name="connsiteY854" fmla="*/ 302847 h 528885"/>
                <a:gd name="connsiteX855" fmla="*/ 319909 w 710303"/>
                <a:gd name="connsiteY855" fmla="*/ 297130 h 528885"/>
                <a:gd name="connsiteX856" fmla="*/ 320847 w 710303"/>
                <a:gd name="connsiteY856" fmla="*/ 300034 h 528885"/>
                <a:gd name="connsiteX857" fmla="*/ 323116 w 710303"/>
                <a:gd name="connsiteY857" fmla="*/ 301879 h 528885"/>
                <a:gd name="connsiteX858" fmla="*/ 331132 w 710303"/>
                <a:gd name="connsiteY858" fmla="*/ 304692 h 528885"/>
                <a:gd name="connsiteX859" fmla="*/ 337576 w 710303"/>
                <a:gd name="connsiteY859" fmla="*/ 305116 h 528885"/>
                <a:gd name="connsiteX860" fmla="*/ 340480 w 710303"/>
                <a:gd name="connsiteY860" fmla="*/ 306235 h 528885"/>
                <a:gd name="connsiteX861" fmla="*/ 343808 w 710303"/>
                <a:gd name="connsiteY861" fmla="*/ 311681 h 528885"/>
                <a:gd name="connsiteX862" fmla="*/ 343293 w 710303"/>
                <a:gd name="connsiteY862" fmla="*/ 318215 h 528885"/>
                <a:gd name="connsiteX863" fmla="*/ 340510 w 710303"/>
                <a:gd name="connsiteY863" fmla="*/ 322692 h 528885"/>
                <a:gd name="connsiteX864" fmla="*/ 337062 w 710303"/>
                <a:gd name="connsiteY864" fmla="*/ 321996 h 528885"/>
                <a:gd name="connsiteX865" fmla="*/ 334884 w 710303"/>
                <a:gd name="connsiteY865" fmla="*/ 324265 h 528885"/>
                <a:gd name="connsiteX866" fmla="*/ 332554 w 710303"/>
                <a:gd name="connsiteY866" fmla="*/ 325203 h 528885"/>
                <a:gd name="connsiteX867" fmla="*/ 330073 w 710303"/>
                <a:gd name="connsiteY867" fmla="*/ 324810 h 528885"/>
                <a:gd name="connsiteX868" fmla="*/ 327502 w 710303"/>
                <a:gd name="connsiteY868" fmla="*/ 323237 h 528885"/>
                <a:gd name="connsiteX869" fmla="*/ 328137 w 710303"/>
                <a:gd name="connsiteY869" fmla="*/ 324568 h 528885"/>
                <a:gd name="connsiteX870" fmla="*/ 329892 w 710303"/>
                <a:gd name="connsiteY870" fmla="*/ 326927 h 528885"/>
                <a:gd name="connsiteX871" fmla="*/ 330255 w 710303"/>
                <a:gd name="connsiteY871" fmla="*/ 328228 h 528885"/>
                <a:gd name="connsiteX872" fmla="*/ 330164 w 710303"/>
                <a:gd name="connsiteY872" fmla="*/ 329287 h 528885"/>
                <a:gd name="connsiteX873" fmla="*/ 329680 w 710303"/>
                <a:gd name="connsiteY873" fmla="*/ 331556 h 528885"/>
                <a:gd name="connsiteX874" fmla="*/ 329590 w 710303"/>
                <a:gd name="connsiteY874" fmla="*/ 332826 h 528885"/>
                <a:gd name="connsiteX875" fmla="*/ 329075 w 710303"/>
                <a:gd name="connsiteY875" fmla="*/ 335277 h 528885"/>
                <a:gd name="connsiteX876" fmla="*/ 327895 w 710303"/>
                <a:gd name="connsiteY876" fmla="*/ 336819 h 528885"/>
                <a:gd name="connsiteX877" fmla="*/ 326352 w 710303"/>
                <a:gd name="connsiteY877" fmla="*/ 337636 h 528885"/>
                <a:gd name="connsiteX878" fmla="*/ 322904 w 710303"/>
                <a:gd name="connsiteY878" fmla="*/ 338362 h 528885"/>
                <a:gd name="connsiteX879" fmla="*/ 319485 w 710303"/>
                <a:gd name="connsiteY879" fmla="*/ 340631 h 528885"/>
                <a:gd name="connsiteX880" fmla="*/ 317882 w 710303"/>
                <a:gd name="connsiteY880" fmla="*/ 341236 h 528885"/>
                <a:gd name="connsiteX881" fmla="*/ 314252 w 710303"/>
                <a:gd name="connsiteY881" fmla="*/ 341297 h 528885"/>
                <a:gd name="connsiteX882" fmla="*/ 312558 w 710303"/>
                <a:gd name="connsiteY882" fmla="*/ 340903 h 528885"/>
                <a:gd name="connsiteX883" fmla="*/ 311620 w 710303"/>
                <a:gd name="connsiteY883" fmla="*/ 340026 h 528885"/>
                <a:gd name="connsiteX884" fmla="*/ 310229 w 710303"/>
                <a:gd name="connsiteY884" fmla="*/ 341266 h 528885"/>
                <a:gd name="connsiteX885" fmla="*/ 314403 w 710303"/>
                <a:gd name="connsiteY885" fmla="*/ 344624 h 528885"/>
                <a:gd name="connsiteX886" fmla="*/ 311862 w 710303"/>
                <a:gd name="connsiteY886" fmla="*/ 345986 h 528885"/>
                <a:gd name="connsiteX887" fmla="*/ 308928 w 710303"/>
                <a:gd name="connsiteY887" fmla="*/ 345169 h 528885"/>
                <a:gd name="connsiteX888" fmla="*/ 306326 w 710303"/>
                <a:gd name="connsiteY888" fmla="*/ 342930 h 528885"/>
                <a:gd name="connsiteX889" fmla="*/ 304753 w 710303"/>
                <a:gd name="connsiteY889" fmla="*/ 340056 h 528885"/>
                <a:gd name="connsiteX890" fmla="*/ 305661 w 710303"/>
                <a:gd name="connsiteY890" fmla="*/ 339300 h 528885"/>
                <a:gd name="connsiteX891" fmla="*/ 306689 w 710303"/>
                <a:gd name="connsiteY891" fmla="*/ 338937 h 528885"/>
                <a:gd name="connsiteX892" fmla="*/ 307748 w 710303"/>
                <a:gd name="connsiteY892" fmla="*/ 338877 h 528885"/>
                <a:gd name="connsiteX893" fmla="*/ 308867 w 710303"/>
                <a:gd name="connsiteY893" fmla="*/ 339028 h 528885"/>
                <a:gd name="connsiteX894" fmla="*/ 308867 w 710303"/>
                <a:gd name="connsiteY894" fmla="*/ 337908 h 528885"/>
                <a:gd name="connsiteX895" fmla="*/ 305388 w 710303"/>
                <a:gd name="connsiteY895" fmla="*/ 338423 h 528885"/>
                <a:gd name="connsiteX896" fmla="*/ 299096 w 710303"/>
                <a:gd name="connsiteY896" fmla="*/ 340752 h 528885"/>
                <a:gd name="connsiteX897" fmla="*/ 295799 w 710303"/>
                <a:gd name="connsiteY897" fmla="*/ 341266 h 528885"/>
                <a:gd name="connsiteX898" fmla="*/ 279947 w 710303"/>
                <a:gd name="connsiteY898" fmla="*/ 339028 h 528885"/>
                <a:gd name="connsiteX899" fmla="*/ 279947 w 710303"/>
                <a:gd name="connsiteY899" fmla="*/ 340056 h 528885"/>
                <a:gd name="connsiteX900" fmla="*/ 281550 w 710303"/>
                <a:gd name="connsiteY900" fmla="*/ 340903 h 528885"/>
                <a:gd name="connsiteX901" fmla="*/ 286784 w 710303"/>
                <a:gd name="connsiteY901" fmla="*/ 341266 h 528885"/>
                <a:gd name="connsiteX902" fmla="*/ 288447 w 710303"/>
                <a:gd name="connsiteY902" fmla="*/ 342023 h 528885"/>
                <a:gd name="connsiteX903" fmla="*/ 289264 w 710303"/>
                <a:gd name="connsiteY903" fmla="*/ 342991 h 528885"/>
                <a:gd name="connsiteX904" fmla="*/ 289869 w 710303"/>
                <a:gd name="connsiteY904" fmla="*/ 344231 h 528885"/>
                <a:gd name="connsiteX905" fmla="*/ 290928 w 710303"/>
                <a:gd name="connsiteY905" fmla="*/ 345834 h 528885"/>
                <a:gd name="connsiteX906" fmla="*/ 293348 w 710303"/>
                <a:gd name="connsiteY906" fmla="*/ 347287 h 528885"/>
                <a:gd name="connsiteX907" fmla="*/ 299641 w 710303"/>
                <a:gd name="connsiteY907" fmla="*/ 349797 h 528885"/>
                <a:gd name="connsiteX908" fmla="*/ 301334 w 710303"/>
                <a:gd name="connsiteY908" fmla="*/ 352550 h 528885"/>
                <a:gd name="connsiteX909" fmla="*/ 285452 w 710303"/>
                <a:gd name="connsiteY909" fmla="*/ 351340 h 528885"/>
                <a:gd name="connsiteX910" fmla="*/ 285452 w 710303"/>
                <a:gd name="connsiteY910" fmla="*/ 352550 h 528885"/>
                <a:gd name="connsiteX911" fmla="*/ 296434 w 710303"/>
                <a:gd name="connsiteY911" fmla="*/ 355273 h 528885"/>
                <a:gd name="connsiteX912" fmla="*/ 301334 w 710303"/>
                <a:gd name="connsiteY912" fmla="*/ 357995 h 528885"/>
                <a:gd name="connsiteX913" fmla="*/ 305782 w 710303"/>
                <a:gd name="connsiteY913" fmla="*/ 363169 h 528885"/>
                <a:gd name="connsiteX914" fmla="*/ 307143 w 710303"/>
                <a:gd name="connsiteY914" fmla="*/ 366315 h 528885"/>
                <a:gd name="connsiteX915" fmla="*/ 307415 w 710303"/>
                <a:gd name="connsiteY915" fmla="*/ 369370 h 528885"/>
                <a:gd name="connsiteX916" fmla="*/ 306356 w 710303"/>
                <a:gd name="connsiteY916" fmla="*/ 371730 h 528885"/>
                <a:gd name="connsiteX917" fmla="*/ 303694 w 710303"/>
                <a:gd name="connsiteY917" fmla="*/ 372637 h 528885"/>
                <a:gd name="connsiteX918" fmla="*/ 302333 w 710303"/>
                <a:gd name="connsiteY918" fmla="*/ 372728 h 528885"/>
                <a:gd name="connsiteX919" fmla="*/ 301365 w 710303"/>
                <a:gd name="connsiteY919" fmla="*/ 373182 h 528885"/>
                <a:gd name="connsiteX920" fmla="*/ 300790 w 710303"/>
                <a:gd name="connsiteY920" fmla="*/ 374362 h 528885"/>
                <a:gd name="connsiteX921" fmla="*/ 300608 w 710303"/>
                <a:gd name="connsiteY921" fmla="*/ 376570 h 528885"/>
                <a:gd name="connsiteX922" fmla="*/ 301123 w 710303"/>
                <a:gd name="connsiteY922" fmla="*/ 377477 h 528885"/>
                <a:gd name="connsiteX923" fmla="*/ 302272 w 710303"/>
                <a:gd name="connsiteY923" fmla="*/ 377145 h 528885"/>
                <a:gd name="connsiteX924" fmla="*/ 304057 w 710303"/>
                <a:gd name="connsiteY924" fmla="*/ 375965 h 528885"/>
                <a:gd name="connsiteX925" fmla="*/ 306114 w 710303"/>
                <a:gd name="connsiteY925" fmla="*/ 376237 h 528885"/>
                <a:gd name="connsiteX926" fmla="*/ 307688 w 710303"/>
                <a:gd name="connsiteY926" fmla="*/ 377024 h 528885"/>
                <a:gd name="connsiteX927" fmla="*/ 308958 w 710303"/>
                <a:gd name="connsiteY927" fmla="*/ 378415 h 528885"/>
                <a:gd name="connsiteX928" fmla="*/ 310229 w 710303"/>
                <a:gd name="connsiteY928" fmla="*/ 380442 h 528885"/>
                <a:gd name="connsiteX929" fmla="*/ 312255 w 710303"/>
                <a:gd name="connsiteY929" fmla="*/ 386250 h 528885"/>
                <a:gd name="connsiteX930" fmla="*/ 313102 w 710303"/>
                <a:gd name="connsiteY930" fmla="*/ 389911 h 528885"/>
                <a:gd name="connsiteX931" fmla="*/ 312709 w 710303"/>
                <a:gd name="connsiteY931" fmla="*/ 391574 h 528885"/>
                <a:gd name="connsiteX932" fmla="*/ 313919 w 710303"/>
                <a:gd name="connsiteY932" fmla="*/ 392452 h 528885"/>
                <a:gd name="connsiteX933" fmla="*/ 314040 w 710303"/>
                <a:gd name="connsiteY933" fmla="*/ 394388 h 528885"/>
                <a:gd name="connsiteX934" fmla="*/ 313042 w 710303"/>
                <a:gd name="connsiteY934" fmla="*/ 396324 h 528885"/>
                <a:gd name="connsiteX935" fmla="*/ 310924 w 710303"/>
                <a:gd name="connsiteY935" fmla="*/ 397201 h 528885"/>
                <a:gd name="connsiteX936" fmla="*/ 309775 w 710303"/>
                <a:gd name="connsiteY936" fmla="*/ 397413 h 528885"/>
                <a:gd name="connsiteX937" fmla="*/ 308534 w 710303"/>
                <a:gd name="connsiteY937" fmla="*/ 398018 h 528885"/>
                <a:gd name="connsiteX938" fmla="*/ 307385 w 710303"/>
                <a:gd name="connsiteY938" fmla="*/ 398895 h 528885"/>
                <a:gd name="connsiteX939" fmla="*/ 306508 w 710303"/>
                <a:gd name="connsiteY939" fmla="*/ 399954 h 528885"/>
                <a:gd name="connsiteX940" fmla="*/ 305509 w 710303"/>
                <a:gd name="connsiteY940" fmla="*/ 400650 h 528885"/>
                <a:gd name="connsiteX941" fmla="*/ 304057 w 710303"/>
                <a:gd name="connsiteY941" fmla="*/ 400771 h 528885"/>
                <a:gd name="connsiteX942" fmla="*/ 301365 w 710303"/>
                <a:gd name="connsiteY942" fmla="*/ 400529 h 528885"/>
                <a:gd name="connsiteX943" fmla="*/ 301365 w 710303"/>
                <a:gd name="connsiteY943" fmla="*/ 401739 h 528885"/>
                <a:gd name="connsiteX944" fmla="*/ 302787 w 710303"/>
                <a:gd name="connsiteY944" fmla="*/ 405339 h 528885"/>
                <a:gd name="connsiteX945" fmla="*/ 303422 w 710303"/>
                <a:gd name="connsiteY945" fmla="*/ 406065 h 528885"/>
                <a:gd name="connsiteX946" fmla="*/ 304995 w 710303"/>
                <a:gd name="connsiteY946" fmla="*/ 406065 h 528885"/>
                <a:gd name="connsiteX947" fmla="*/ 305751 w 710303"/>
                <a:gd name="connsiteY947" fmla="*/ 405006 h 528885"/>
                <a:gd name="connsiteX948" fmla="*/ 306205 w 710303"/>
                <a:gd name="connsiteY948" fmla="*/ 403645 h 528885"/>
                <a:gd name="connsiteX949" fmla="*/ 306901 w 710303"/>
                <a:gd name="connsiteY949" fmla="*/ 402768 h 528885"/>
                <a:gd name="connsiteX950" fmla="*/ 307929 w 710303"/>
                <a:gd name="connsiteY950" fmla="*/ 402616 h 528885"/>
                <a:gd name="connsiteX951" fmla="*/ 309472 w 710303"/>
                <a:gd name="connsiteY951" fmla="*/ 402707 h 528885"/>
                <a:gd name="connsiteX952" fmla="*/ 310924 w 710303"/>
                <a:gd name="connsiteY952" fmla="*/ 403070 h 528885"/>
                <a:gd name="connsiteX953" fmla="*/ 311711 w 710303"/>
                <a:gd name="connsiteY953" fmla="*/ 403887 h 528885"/>
                <a:gd name="connsiteX954" fmla="*/ 311529 w 710303"/>
                <a:gd name="connsiteY954" fmla="*/ 405551 h 528885"/>
                <a:gd name="connsiteX955" fmla="*/ 310350 w 710303"/>
                <a:gd name="connsiteY955" fmla="*/ 406095 h 528885"/>
                <a:gd name="connsiteX956" fmla="*/ 308897 w 710303"/>
                <a:gd name="connsiteY956" fmla="*/ 406247 h 528885"/>
                <a:gd name="connsiteX957" fmla="*/ 307990 w 710303"/>
                <a:gd name="connsiteY957" fmla="*/ 406640 h 528885"/>
                <a:gd name="connsiteX958" fmla="*/ 308928 w 710303"/>
                <a:gd name="connsiteY958" fmla="*/ 408152 h 528885"/>
                <a:gd name="connsiteX959" fmla="*/ 314464 w 710303"/>
                <a:gd name="connsiteY959" fmla="*/ 412841 h 528885"/>
                <a:gd name="connsiteX960" fmla="*/ 316279 w 710303"/>
                <a:gd name="connsiteY960" fmla="*/ 413870 h 528885"/>
                <a:gd name="connsiteX961" fmla="*/ 316944 w 710303"/>
                <a:gd name="connsiteY961" fmla="*/ 414747 h 528885"/>
                <a:gd name="connsiteX962" fmla="*/ 316672 w 710303"/>
                <a:gd name="connsiteY962" fmla="*/ 418680 h 528885"/>
                <a:gd name="connsiteX963" fmla="*/ 317005 w 710303"/>
                <a:gd name="connsiteY963" fmla="*/ 419557 h 528885"/>
                <a:gd name="connsiteX964" fmla="*/ 319365 w 710303"/>
                <a:gd name="connsiteY964" fmla="*/ 419436 h 528885"/>
                <a:gd name="connsiteX965" fmla="*/ 320454 w 710303"/>
                <a:gd name="connsiteY965" fmla="*/ 419073 h 528885"/>
                <a:gd name="connsiteX966" fmla="*/ 321482 w 710303"/>
                <a:gd name="connsiteY966" fmla="*/ 418347 h 528885"/>
                <a:gd name="connsiteX967" fmla="*/ 320847 w 710303"/>
                <a:gd name="connsiteY967" fmla="*/ 420586 h 528885"/>
                <a:gd name="connsiteX968" fmla="*/ 319606 w 710303"/>
                <a:gd name="connsiteY968" fmla="*/ 421614 h 528885"/>
                <a:gd name="connsiteX969" fmla="*/ 318124 w 710303"/>
                <a:gd name="connsiteY969" fmla="*/ 421554 h 528885"/>
                <a:gd name="connsiteX970" fmla="*/ 316672 w 710303"/>
                <a:gd name="connsiteY970" fmla="*/ 420556 h 528885"/>
                <a:gd name="connsiteX971" fmla="*/ 317338 w 710303"/>
                <a:gd name="connsiteY971" fmla="*/ 425033 h 528885"/>
                <a:gd name="connsiteX972" fmla="*/ 318911 w 710303"/>
                <a:gd name="connsiteY972" fmla="*/ 427332 h 528885"/>
                <a:gd name="connsiteX973" fmla="*/ 321421 w 710303"/>
                <a:gd name="connsiteY973" fmla="*/ 428179 h 528885"/>
                <a:gd name="connsiteX974" fmla="*/ 324900 w 710303"/>
                <a:gd name="connsiteY974" fmla="*/ 428300 h 528885"/>
                <a:gd name="connsiteX975" fmla="*/ 322843 w 710303"/>
                <a:gd name="connsiteY975" fmla="*/ 427180 h 528885"/>
                <a:gd name="connsiteX976" fmla="*/ 322843 w 710303"/>
                <a:gd name="connsiteY976" fmla="*/ 426061 h 528885"/>
                <a:gd name="connsiteX977" fmla="*/ 329771 w 710303"/>
                <a:gd name="connsiteY977" fmla="*/ 426061 h 528885"/>
                <a:gd name="connsiteX978" fmla="*/ 331193 w 710303"/>
                <a:gd name="connsiteY978" fmla="*/ 425607 h 528885"/>
                <a:gd name="connsiteX979" fmla="*/ 333946 w 710303"/>
                <a:gd name="connsiteY979" fmla="*/ 424155 h 528885"/>
                <a:gd name="connsiteX980" fmla="*/ 335247 w 710303"/>
                <a:gd name="connsiteY980" fmla="*/ 423883 h 528885"/>
                <a:gd name="connsiteX981" fmla="*/ 342204 w 710303"/>
                <a:gd name="connsiteY981" fmla="*/ 426757 h 528885"/>
                <a:gd name="connsiteX982" fmla="*/ 343596 w 710303"/>
                <a:gd name="connsiteY982" fmla="*/ 426091 h 528885"/>
                <a:gd name="connsiteX983" fmla="*/ 345411 w 710303"/>
                <a:gd name="connsiteY983" fmla="*/ 427090 h 528885"/>
                <a:gd name="connsiteX984" fmla="*/ 352974 w 710303"/>
                <a:gd name="connsiteY984" fmla="*/ 428844 h 528885"/>
                <a:gd name="connsiteX985" fmla="*/ 356695 w 710303"/>
                <a:gd name="connsiteY985" fmla="*/ 430418 h 528885"/>
                <a:gd name="connsiteX986" fmla="*/ 358026 w 710303"/>
                <a:gd name="connsiteY986" fmla="*/ 430538 h 528885"/>
                <a:gd name="connsiteX987" fmla="*/ 359478 w 710303"/>
                <a:gd name="connsiteY987" fmla="*/ 429359 h 528885"/>
                <a:gd name="connsiteX988" fmla="*/ 360930 w 710303"/>
                <a:gd name="connsiteY988" fmla="*/ 427574 h 528885"/>
                <a:gd name="connsiteX989" fmla="*/ 362624 w 710303"/>
                <a:gd name="connsiteY989" fmla="*/ 426182 h 528885"/>
                <a:gd name="connsiteX990" fmla="*/ 364893 w 710303"/>
                <a:gd name="connsiteY990" fmla="*/ 426182 h 528885"/>
                <a:gd name="connsiteX991" fmla="*/ 366466 w 710303"/>
                <a:gd name="connsiteY991" fmla="*/ 427483 h 528885"/>
                <a:gd name="connsiteX992" fmla="*/ 366617 w 710303"/>
                <a:gd name="connsiteY992" fmla="*/ 429328 h 528885"/>
                <a:gd name="connsiteX993" fmla="*/ 365770 w 710303"/>
                <a:gd name="connsiteY993" fmla="*/ 431234 h 528885"/>
                <a:gd name="connsiteX994" fmla="*/ 364288 w 710303"/>
                <a:gd name="connsiteY994" fmla="*/ 432686 h 528885"/>
                <a:gd name="connsiteX995" fmla="*/ 366012 w 710303"/>
                <a:gd name="connsiteY995" fmla="*/ 434804 h 528885"/>
                <a:gd name="connsiteX996" fmla="*/ 371730 w 710303"/>
                <a:gd name="connsiteY996" fmla="*/ 434411 h 528885"/>
                <a:gd name="connsiteX997" fmla="*/ 373908 w 710303"/>
                <a:gd name="connsiteY997" fmla="*/ 436075 h 528885"/>
                <a:gd name="connsiteX998" fmla="*/ 374180 w 710303"/>
                <a:gd name="connsiteY998" fmla="*/ 437375 h 528885"/>
                <a:gd name="connsiteX999" fmla="*/ 373635 w 710303"/>
                <a:gd name="connsiteY999" fmla="*/ 438041 h 528885"/>
                <a:gd name="connsiteX1000" fmla="*/ 364923 w 710303"/>
                <a:gd name="connsiteY1000" fmla="*/ 439523 h 528885"/>
                <a:gd name="connsiteX1001" fmla="*/ 367525 w 710303"/>
                <a:gd name="connsiteY1001" fmla="*/ 443607 h 528885"/>
                <a:gd name="connsiteX1002" fmla="*/ 373757 w 710303"/>
                <a:gd name="connsiteY1002" fmla="*/ 447903 h 528885"/>
                <a:gd name="connsiteX1003" fmla="*/ 375995 w 710303"/>
                <a:gd name="connsiteY1003" fmla="*/ 451654 h 528885"/>
                <a:gd name="connsiteX1004" fmla="*/ 370731 w 710303"/>
                <a:gd name="connsiteY1004" fmla="*/ 450565 h 528885"/>
                <a:gd name="connsiteX1005" fmla="*/ 360083 w 710303"/>
                <a:gd name="connsiteY1005" fmla="*/ 446027 h 528885"/>
                <a:gd name="connsiteX1006" fmla="*/ 354668 w 710303"/>
                <a:gd name="connsiteY1006" fmla="*/ 444968 h 528885"/>
                <a:gd name="connsiteX1007" fmla="*/ 356120 w 710303"/>
                <a:gd name="connsiteY1007" fmla="*/ 446753 h 528885"/>
                <a:gd name="connsiteX1008" fmla="*/ 357753 w 710303"/>
                <a:gd name="connsiteY1008" fmla="*/ 448175 h 528885"/>
                <a:gd name="connsiteX1009" fmla="*/ 359659 w 710303"/>
                <a:gd name="connsiteY1009" fmla="*/ 449143 h 528885"/>
                <a:gd name="connsiteX1010" fmla="*/ 366012 w 710303"/>
                <a:gd name="connsiteY1010" fmla="*/ 449506 h 528885"/>
                <a:gd name="connsiteX1011" fmla="*/ 366859 w 710303"/>
                <a:gd name="connsiteY1011" fmla="*/ 449839 h 528885"/>
                <a:gd name="connsiteX1012" fmla="*/ 368190 w 710303"/>
                <a:gd name="connsiteY1012" fmla="*/ 451351 h 528885"/>
                <a:gd name="connsiteX1013" fmla="*/ 368735 w 710303"/>
                <a:gd name="connsiteY1013" fmla="*/ 451684 h 528885"/>
                <a:gd name="connsiteX1014" fmla="*/ 370641 w 710303"/>
                <a:gd name="connsiteY1014" fmla="*/ 452017 h 528885"/>
                <a:gd name="connsiteX1015" fmla="*/ 377387 w 710303"/>
                <a:gd name="connsiteY1015" fmla="*/ 454982 h 528885"/>
                <a:gd name="connsiteX1016" fmla="*/ 378566 w 710303"/>
                <a:gd name="connsiteY1016" fmla="*/ 456615 h 528885"/>
                <a:gd name="connsiteX1017" fmla="*/ 380442 w 710303"/>
                <a:gd name="connsiteY1017" fmla="*/ 461516 h 528885"/>
                <a:gd name="connsiteX1018" fmla="*/ 381501 w 710303"/>
                <a:gd name="connsiteY1018" fmla="*/ 462756 h 528885"/>
                <a:gd name="connsiteX1019" fmla="*/ 381501 w 710303"/>
                <a:gd name="connsiteY1019" fmla="*/ 463755 h 528885"/>
                <a:gd name="connsiteX1020" fmla="*/ 379474 w 710303"/>
                <a:gd name="connsiteY1020" fmla="*/ 465660 h 528885"/>
                <a:gd name="connsiteX1021" fmla="*/ 378052 w 710303"/>
                <a:gd name="connsiteY1021" fmla="*/ 466387 h 528885"/>
                <a:gd name="connsiteX1022" fmla="*/ 377387 w 710303"/>
                <a:gd name="connsiteY1022" fmla="*/ 465509 h 528885"/>
                <a:gd name="connsiteX1023" fmla="*/ 376963 w 710303"/>
                <a:gd name="connsiteY1023" fmla="*/ 465267 h 528885"/>
                <a:gd name="connsiteX1024" fmla="*/ 374694 w 710303"/>
                <a:gd name="connsiteY1024" fmla="*/ 467536 h 528885"/>
                <a:gd name="connsiteX1025" fmla="*/ 373605 w 710303"/>
                <a:gd name="connsiteY1025" fmla="*/ 468171 h 528885"/>
                <a:gd name="connsiteX1026" fmla="*/ 372486 w 710303"/>
                <a:gd name="connsiteY1026" fmla="*/ 467657 h 528885"/>
                <a:gd name="connsiteX1027" fmla="*/ 370519 w 710303"/>
                <a:gd name="connsiteY1027" fmla="*/ 465449 h 528885"/>
                <a:gd name="connsiteX1028" fmla="*/ 369098 w 710303"/>
                <a:gd name="connsiteY1028" fmla="*/ 464964 h 528885"/>
                <a:gd name="connsiteX1029" fmla="*/ 368130 w 710303"/>
                <a:gd name="connsiteY1029" fmla="*/ 465358 h 528885"/>
                <a:gd name="connsiteX1030" fmla="*/ 364258 w 710303"/>
                <a:gd name="connsiteY1030" fmla="*/ 468171 h 528885"/>
                <a:gd name="connsiteX1031" fmla="*/ 364258 w 710303"/>
                <a:gd name="connsiteY1031" fmla="*/ 469351 h 528885"/>
                <a:gd name="connsiteX1032" fmla="*/ 366315 w 710303"/>
                <a:gd name="connsiteY1032" fmla="*/ 470228 h 528885"/>
                <a:gd name="connsiteX1033" fmla="*/ 367313 w 710303"/>
                <a:gd name="connsiteY1033" fmla="*/ 471801 h 528885"/>
                <a:gd name="connsiteX1034" fmla="*/ 367646 w 710303"/>
                <a:gd name="connsiteY1034" fmla="*/ 474070 h 528885"/>
                <a:gd name="connsiteX1035" fmla="*/ 367646 w 710303"/>
                <a:gd name="connsiteY1035" fmla="*/ 477035 h 528885"/>
                <a:gd name="connsiteX1036" fmla="*/ 368069 w 710303"/>
                <a:gd name="connsiteY1036" fmla="*/ 480211 h 528885"/>
                <a:gd name="connsiteX1037" fmla="*/ 369158 w 710303"/>
                <a:gd name="connsiteY1037" fmla="*/ 481815 h 528885"/>
                <a:gd name="connsiteX1038" fmla="*/ 370731 w 710303"/>
                <a:gd name="connsiteY1038" fmla="*/ 482934 h 528885"/>
                <a:gd name="connsiteX1039" fmla="*/ 372486 w 710303"/>
                <a:gd name="connsiteY1039" fmla="*/ 484810 h 528885"/>
                <a:gd name="connsiteX1040" fmla="*/ 373121 w 710303"/>
                <a:gd name="connsiteY1040" fmla="*/ 486080 h 528885"/>
                <a:gd name="connsiteX1041" fmla="*/ 373121 w 710303"/>
                <a:gd name="connsiteY1041" fmla="*/ 486927 h 528885"/>
                <a:gd name="connsiteX1042" fmla="*/ 373031 w 710303"/>
                <a:gd name="connsiteY1042" fmla="*/ 487774 h 528885"/>
                <a:gd name="connsiteX1043" fmla="*/ 373212 w 710303"/>
                <a:gd name="connsiteY1043" fmla="*/ 489045 h 528885"/>
                <a:gd name="connsiteX1044" fmla="*/ 373666 w 710303"/>
                <a:gd name="connsiteY1044" fmla="*/ 490376 h 528885"/>
                <a:gd name="connsiteX1045" fmla="*/ 374029 w 710303"/>
                <a:gd name="connsiteY1045" fmla="*/ 491102 h 528885"/>
                <a:gd name="connsiteX1046" fmla="*/ 378688 w 710303"/>
                <a:gd name="connsiteY1046" fmla="*/ 495579 h 528885"/>
                <a:gd name="connsiteX1047" fmla="*/ 379686 w 710303"/>
                <a:gd name="connsiteY1047" fmla="*/ 497425 h 528885"/>
                <a:gd name="connsiteX1048" fmla="*/ 380321 w 710303"/>
                <a:gd name="connsiteY1048" fmla="*/ 498241 h 528885"/>
                <a:gd name="connsiteX1049" fmla="*/ 381471 w 710303"/>
                <a:gd name="connsiteY1049" fmla="*/ 498877 h 528885"/>
                <a:gd name="connsiteX1050" fmla="*/ 380412 w 710303"/>
                <a:gd name="connsiteY1050" fmla="*/ 501508 h 528885"/>
                <a:gd name="connsiteX1051" fmla="*/ 380775 w 710303"/>
                <a:gd name="connsiteY1051" fmla="*/ 503142 h 528885"/>
                <a:gd name="connsiteX1052" fmla="*/ 382197 w 710303"/>
                <a:gd name="connsiteY1052" fmla="*/ 504019 h 528885"/>
                <a:gd name="connsiteX1053" fmla="*/ 384223 w 710303"/>
                <a:gd name="connsiteY1053" fmla="*/ 504412 h 528885"/>
                <a:gd name="connsiteX1054" fmla="*/ 381471 w 710303"/>
                <a:gd name="connsiteY1054" fmla="*/ 508436 h 528885"/>
                <a:gd name="connsiteX1055" fmla="*/ 380261 w 710303"/>
                <a:gd name="connsiteY1055" fmla="*/ 511007 h 528885"/>
                <a:gd name="connsiteX1056" fmla="*/ 380109 w 710303"/>
                <a:gd name="connsiteY1056" fmla="*/ 514335 h 528885"/>
                <a:gd name="connsiteX1057" fmla="*/ 380866 w 710303"/>
                <a:gd name="connsiteY1057" fmla="*/ 516362 h 528885"/>
                <a:gd name="connsiteX1058" fmla="*/ 384163 w 710303"/>
                <a:gd name="connsiteY1058" fmla="*/ 522352 h 528885"/>
                <a:gd name="connsiteX1059" fmla="*/ 385585 w 710303"/>
                <a:gd name="connsiteY1059" fmla="*/ 524167 h 528885"/>
                <a:gd name="connsiteX1060" fmla="*/ 386038 w 710303"/>
                <a:gd name="connsiteY1060" fmla="*/ 526436 h 528885"/>
                <a:gd name="connsiteX1061" fmla="*/ 388126 w 710303"/>
                <a:gd name="connsiteY1061" fmla="*/ 528886 h 528885"/>
                <a:gd name="connsiteX1062" fmla="*/ 390123 w 710303"/>
                <a:gd name="connsiteY1062" fmla="*/ 528674 h 528885"/>
                <a:gd name="connsiteX1063" fmla="*/ 390365 w 710303"/>
                <a:gd name="connsiteY1063" fmla="*/ 522957 h 528885"/>
                <a:gd name="connsiteX1064" fmla="*/ 389245 w 710303"/>
                <a:gd name="connsiteY1064" fmla="*/ 513911 h 528885"/>
                <a:gd name="connsiteX1065" fmla="*/ 389245 w 710303"/>
                <a:gd name="connsiteY1065" fmla="*/ 508859 h 528885"/>
                <a:gd name="connsiteX1066" fmla="*/ 390758 w 710303"/>
                <a:gd name="connsiteY1066" fmla="*/ 506621 h 528885"/>
                <a:gd name="connsiteX1067" fmla="*/ 391817 w 710303"/>
                <a:gd name="connsiteY1067" fmla="*/ 505925 h 528885"/>
                <a:gd name="connsiteX1068" fmla="*/ 394509 w 710303"/>
                <a:gd name="connsiteY1068" fmla="*/ 502930 h 528885"/>
                <a:gd name="connsiteX1069" fmla="*/ 395507 w 710303"/>
                <a:gd name="connsiteY1069" fmla="*/ 502265 h 528885"/>
                <a:gd name="connsiteX1070" fmla="*/ 396052 w 710303"/>
                <a:gd name="connsiteY1070" fmla="*/ 500933 h 528885"/>
                <a:gd name="connsiteX1071" fmla="*/ 399984 w 710303"/>
                <a:gd name="connsiteY1071" fmla="*/ 494006 h 528885"/>
                <a:gd name="connsiteX1072" fmla="*/ 401467 w 710303"/>
                <a:gd name="connsiteY1072" fmla="*/ 492463 h 528885"/>
                <a:gd name="connsiteX1073" fmla="*/ 410361 w 710303"/>
                <a:gd name="connsiteY1073" fmla="*/ 485747 h 528885"/>
                <a:gd name="connsiteX1074" fmla="*/ 410361 w 710303"/>
                <a:gd name="connsiteY1074" fmla="*/ 484749 h 528885"/>
                <a:gd name="connsiteX1075" fmla="*/ 407336 w 710303"/>
                <a:gd name="connsiteY1075" fmla="*/ 481482 h 528885"/>
                <a:gd name="connsiteX1076" fmla="*/ 404492 w 710303"/>
                <a:gd name="connsiteY1076" fmla="*/ 477519 h 528885"/>
                <a:gd name="connsiteX1077" fmla="*/ 345320 w 710303"/>
                <a:gd name="connsiteY1077" fmla="*/ 182174 h 528885"/>
                <a:gd name="connsiteX1078" fmla="*/ 347256 w 710303"/>
                <a:gd name="connsiteY1078" fmla="*/ 183202 h 528885"/>
                <a:gd name="connsiteX1079" fmla="*/ 349313 w 710303"/>
                <a:gd name="connsiteY1079" fmla="*/ 183414 h 528885"/>
                <a:gd name="connsiteX1080" fmla="*/ 351007 w 710303"/>
                <a:gd name="connsiteY1080" fmla="*/ 182779 h 528885"/>
                <a:gd name="connsiteX1081" fmla="*/ 352157 w 710303"/>
                <a:gd name="connsiteY1081" fmla="*/ 181327 h 528885"/>
                <a:gd name="connsiteX1082" fmla="*/ 353337 w 710303"/>
                <a:gd name="connsiteY1082" fmla="*/ 179421 h 528885"/>
                <a:gd name="connsiteX1083" fmla="*/ 354698 w 710303"/>
                <a:gd name="connsiteY1083" fmla="*/ 177697 h 528885"/>
                <a:gd name="connsiteX1084" fmla="*/ 356483 w 710303"/>
                <a:gd name="connsiteY1084" fmla="*/ 176910 h 528885"/>
                <a:gd name="connsiteX1085" fmla="*/ 357118 w 710303"/>
                <a:gd name="connsiteY1085" fmla="*/ 176124 h 528885"/>
                <a:gd name="connsiteX1086" fmla="*/ 357451 w 710303"/>
                <a:gd name="connsiteY1086" fmla="*/ 175912 h 528885"/>
                <a:gd name="connsiteX1087" fmla="*/ 357875 w 710303"/>
                <a:gd name="connsiteY1087" fmla="*/ 175912 h 528885"/>
                <a:gd name="connsiteX1088" fmla="*/ 357875 w 710303"/>
                <a:gd name="connsiteY1088" fmla="*/ 174611 h 528885"/>
                <a:gd name="connsiteX1089" fmla="*/ 353518 w 710303"/>
                <a:gd name="connsiteY1089" fmla="*/ 176184 h 528885"/>
                <a:gd name="connsiteX1090" fmla="*/ 344957 w 710303"/>
                <a:gd name="connsiteY1090" fmla="*/ 177031 h 528885"/>
                <a:gd name="connsiteX1091" fmla="*/ 343808 w 710303"/>
                <a:gd name="connsiteY1091" fmla="*/ 177908 h 528885"/>
                <a:gd name="connsiteX1092" fmla="*/ 344080 w 710303"/>
                <a:gd name="connsiteY1092" fmla="*/ 180389 h 528885"/>
                <a:gd name="connsiteX1093" fmla="*/ 345320 w 710303"/>
                <a:gd name="connsiteY1093" fmla="*/ 182204 h 528885"/>
                <a:gd name="connsiteX1094" fmla="*/ 44923 w 710303"/>
                <a:gd name="connsiteY1094" fmla="*/ 169075 h 528885"/>
                <a:gd name="connsiteX1095" fmla="*/ 44016 w 710303"/>
                <a:gd name="connsiteY1095" fmla="*/ 169620 h 528885"/>
                <a:gd name="connsiteX1096" fmla="*/ 43260 w 710303"/>
                <a:gd name="connsiteY1096" fmla="*/ 170346 h 528885"/>
                <a:gd name="connsiteX1097" fmla="*/ 42776 w 710303"/>
                <a:gd name="connsiteY1097" fmla="*/ 171193 h 528885"/>
                <a:gd name="connsiteX1098" fmla="*/ 42413 w 710303"/>
                <a:gd name="connsiteY1098" fmla="*/ 173189 h 528885"/>
                <a:gd name="connsiteX1099" fmla="*/ 43441 w 710303"/>
                <a:gd name="connsiteY1099" fmla="*/ 173341 h 528885"/>
                <a:gd name="connsiteX1100" fmla="*/ 46557 w 710303"/>
                <a:gd name="connsiteY1100" fmla="*/ 172222 h 528885"/>
                <a:gd name="connsiteX1101" fmla="*/ 47192 w 710303"/>
                <a:gd name="connsiteY1101" fmla="*/ 172342 h 528885"/>
                <a:gd name="connsiteX1102" fmla="*/ 49612 w 710303"/>
                <a:gd name="connsiteY1102" fmla="*/ 173492 h 528885"/>
                <a:gd name="connsiteX1103" fmla="*/ 52093 w 710303"/>
                <a:gd name="connsiteY1103" fmla="*/ 175912 h 528885"/>
                <a:gd name="connsiteX1104" fmla="*/ 53182 w 710303"/>
                <a:gd name="connsiteY1104" fmla="*/ 177304 h 528885"/>
                <a:gd name="connsiteX1105" fmla="*/ 55874 w 710303"/>
                <a:gd name="connsiteY1105" fmla="*/ 182839 h 528885"/>
                <a:gd name="connsiteX1106" fmla="*/ 56873 w 710303"/>
                <a:gd name="connsiteY1106" fmla="*/ 183324 h 528885"/>
                <a:gd name="connsiteX1107" fmla="*/ 59686 w 710303"/>
                <a:gd name="connsiteY1107" fmla="*/ 181902 h 528885"/>
                <a:gd name="connsiteX1108" fmla="*/ 67703 w 710303"/>
                <a:gd name="connsiteY1108" fmla="*/ 179845 h 528885"/>
                <a:gd name="connsiteX1109" fmla="*/ 68217 w 710303"/>
                <a:gd name="connsiteY1109" fmla="*/ 176941 h 528885"/>
                <a:gd name="connsiteX1110" fmla="*/ 72392 w 710303"/>
                <a:gd name="connsiteY1110" fmla="*/ 173794 h 528885"/>
                <a:gd name="connsiteX1111" fmla="*/ 73723 w 710303"/>
                <a:gd name="connsiteY1111" fmla="*/ 172222 h 528885"/>
                <a:gd name="connsiteX1112" fmla="*/ 75054 w 710303"/>
                <a:gd name="connsiteY1112" fmla="*/ 169953 h 528885"/>
                <a:gd name="connsiteX1113" fmla="*/ 76567 w 710303"/>
                <a:gd name="connsiteY1113" fmla="*/ 166141 h 528885"/>
                <a:gd name="connsiteX1114" fmla="*/ 77897 w 710303"/>
                <a:gd name="connsiteY1114" fmla="*/ 164265 h 528885"/>
                <a:gd name="connsiteX1115" fmla="*/ 77202 w 710303"/>
                <a:gd name="connsiteY1115" fmla="*/ 163600 h 528885"/>
                <a:gd name="connsiteX1116" fmla="*/ 76445 w 710303"/>
                <a:gd name="connsiteY1116" fmla="*/ 163116 h 528885"/>
                <a:gd name="connsiteX1117" fmla="*/ 77262 w 710303"/>
                <a:gd name="connsiteY1117" fmla="*/ 163116 h 528885"/>
                <a:gd name="connsiteX1118" fmla="*/ 77988 w 710303"/>
                <a:gd name="connsiteY1118" fmla="*/ 163055 h 528885"/>
                <a:gd name="connsiteX1119" fmla="*/ 78623 w 710303"/>
                <a:gd name="connsiteY1119" fmla="*/ 162662 h 528885"/>
                <a:gd name="connsiteX1120" fmla="*/ 79259 w 710303"/>
                <a:gd name="connsiteY1120" fmla="*/ 161815 h 528885"/>
                <a:gd name="connsiteX1121" fmla="*/ 77534 w 710303"/>
                <a:gd name="connsiteY1121" fmla="*/ 161119 h 528885"/>
                <a:gd name="connsiteX1122" fmla="*/ 76657 w 710303"/>
                <a:gd name="connsiteY1122" fmla="*/ 159395 h 528885"/>
                <a:gd name="connsiteX1123" fmla="*/ 75841 w 710303"/>
                <a:gd name="connsiteY1123" fmla="*/ 153768 h 528885"/>
                <a:gd name="connsiteX1124" fmla="*/ 75508 w 710303"/>
                <a:gd name="connsiteY1124" fmla="*/ 152921 h 528885"/>
                <a:gd name="connsiteX1125" fmla="*/ 75054 w 710303"/>
                <a:gd name="connsiteY1125" fmla="*/ 152135 h 528885"/>
                <a:gd name="connsiteX1126" fmla="*/ 74781 w 710303"/>
                <a:gd name="connsiteY1126" fmla="*/ 151046 h 528885"/>
                <a:gd name="connsiteX1127" fmla="*/ 75115 w 710303"/>
                <a:gd name="connsiteY1127" fmla="*/ 149260 h 528885"/>
                <a:gd name="connsiteX1128" fmla="*/ 75538 w 710303"/>
                <a:gd name="connsiteY1128" fmla="*/ 148656 h 528885"/>
                <a:gd name="connsiteX1129" fmla="*/ 77928 w 710303"/>
                <a:gd name="connsiteY1129" fmla="*/ 146871 h 528885"/>
                <a:gd name="connsiteX1130" fmla="*/ 78684 w 710303"/>
                <a:gd name="connsiteY1130" fmla="*/ 147385 h 528885"/>
                <a:gd name="connsiteX1131" fmla="*/ 79471 w 710303"/>
                <a:gd name="connsiteY1131" fmla="*/ 148171 h 528885"/>
                <a:gd name="connsiteX1132" fmla="*/ 79985 w 710303"/>
                <a:gd name="connsiteY1132" fmla="*/ 149472 h 528885"/>
                <a:gd name="connsiteX1133" fmla="*/ 79985 w 710303"/>
                <a:gd name="connsiteY1133" fmla="*/ 151469 h 528885"/>
                <a:gd name="connsiteX1134" fmla="*/ 80741 w 710303"/>
                <a:gd name="connsiteY1134" fmla="*/ 150894 h 528885"/>
                <a:gd name="connsiteX1135" fmla="*/ 81255 w 710303"/>
                <a:gd name="connsiteY1135" fmla="*/ 150138 h 528885"/>
                <a:gd name="connsiteX1136" fmla="*/ 82072 w 710303"/>
                <a:gd name="connsiteY1136" fmla="*/ 148050 h 528885"/>
                <a:gd name="connsiteX1137" fmla="*/ 83282 w 710303"/>
                <a:gd name="connsiteY1137" fmla="*/ 142514 h 528885"/>
                <a:gd name="connsiteX1138" fmla="*/ 83524 w 710303"/>
                <a:gd name="connsiteY1138" fmla="*/ 142151 h 528885"/>
                <a:gd name="connsiteX1139" fmla="*/ 83282 w 710303"/>
                <a:gd name="connsiteY1139" fmla="*/ 140730 h 528885"/>
                <a:gd name="connsiteX1140" fmla="*/ 82284 w 710303"/>
                <a:gd name="connsiteY1140" fmla="*/ 138370 h 528885"/>
                <a:gd name="connsiteX1141" fmla="*/ 82102 w 710303"/>
                <a:gd name="connsiteY1141" fmla="*/ 137644 h 528885"/>
                <a:gd name="connsiteX1142" fmla="*/ 82405 w 710303"/>
                <a:gd name="connsiteY1142" fmla="*/ 136374 h 528885"/>
                <a:gd name="connsiteX1143" fmla="*/ 83585 w 710303"/>
                <a:gd name="connsiteY1143" fmla="*/ 134256 h 528885"/>
                <a:gd name="connsiteX1144" fmla="*/ 84160 w 710303"/>
                <a:gd name="connsiteY1144" fmla="*/ 132895 h 528885"/>
                <a:gd name="connsiteX1145" fmla="*/ 82889 w 710303"/>
                <a:gd name="connsiteY1145" fmla="*/ 132471 h 528885"/>
                <a:gd name="connsiteX1146" fmla="*/ 81739 w 710303"/>
                <a:gd name="connsiteY1146" fmla="*/ 134679 h 528885"/>
                <a:gd name="connsiteX1147" fmla="*/ 80257 w 710303"/>
                <a:gd name="connsiteY1147" fmla="*/ 136585 h 528885"/>
                <a:gd name="connsiteX1148" fmla="*/ 77958 w 710303"/>
                <a:gd name="connsiteY1148" fmla="*/ 135194 h 528885"/>
                <a:gd name="connsiteX1149" fmla="*/ 74570 w 710303"/>
                <a:gd name="connsiteY1149" fmla="*/ 141668 h 528885"/>
                <a:gd name="connsiteX1150" fmla="*/ 72543 w 710303"/>
                <a:gd name="connsiteY1150" fmla="*/ 144118 h 528885"/>
                <a:gd name="connsiteX1151" fmla="*/ 70335 w 710303"/>
                <a:gd name="connsiteY1151" fmla="*/ 143422 h 528885"/>
                <a:gd name="connsiteX1152" fmla="*/ 67400 w 710303"/>
                <a:gd name="connsiteY1152" fmla="*/ 144965 h 528885"/>
                <a:gd name="connsiteX1153" fmla="*/ 61501 w 710303"/>
                <a:gd name="connsiteY1153" fmla="*/ 145872 h 528885"/>
                <a:gd name="connsiteX1154" fmla="*/ 58597 w 710303"/>
                <a:gd name="connsiteY1154" fmla="*/ 146871 h 528885"/>
                <a:gd name="connsiteX1155" fmla="*/ 57901 w 710303"/>
                <a:gd name="connsiteY1155" fmla="*/ 146931 h 528885"/>
                <a:gd name="connsiteX1156" fmla="*/ 57024 w 710303"/>
                <a:gd name="connsiteY1156" fmla="*/ 146810 h 528885"/>
                <a:gd name="connsiteX1157" fmla="*/ 56238 w 710303"/>
                <a:gd name="connsiteY1157" fmla="*/ 146810 h 528885"/>
                <a:gd name="connsiteX1158" fmla="*/ 55905 w 710303"/>
                <a:gd name="connsiteY1158" fmla="*/ 147445 h 528885"/>
                <a:gd name="connsiteX1159" fmla="*/ 56026 w 710303"/>
                <a:gd name="connsiteY1159" fmla="*/ 150229 h 528885"/>
                <a:gd name="connsiteX1160" fmla="*/ 56238 w 710303"/>
                <a:gd name="connsiteY1160" fmla="*/ 151620 h 528885"/>
                <a:gd name="connsiteX1161" fmla="*/ 56570 w 710303"/>
                <a:gd name="connsiteY1161" fmla="*/ 151499 h 528885"/>
                <a:gd name="connsiteX1162" fmla="*/ 55723 w 710303"/>
                <a:gd name="connsiteY1162" fmla="*/ 153284 h 528885"/>
                <a:gd name="connsiteX1163" fmla="*/ 53727 w 710303"/>
                <a:gd name="connsiteY1163" fmla="*/ 155795 h 528885"/>
                <a:gd name="connsiteX1164" fmla="*/ 53152 w 710303"/>
                <a:gd name="connsiteY1164" fmla="*/ 157398 h 528885"/>
                <a:gd name="connsiteX1165" fmla="*/ 54241 w 710303"/>
                <a:gd name="connsiteY1165" fmla="*/ 158064 h 528885"/>
                <a:gd name="connsiteX1166" fmla="*/ 55421 w 710303"/>
                <a:gd name="connsiteY1166" fmla="*/ 158427 h 528885"/>
                <a:gd name="connsiteX1167" fmla="*/ 56691 w 710303"/>
                <a:gd name="connsiteY1167" fmla="*/ 158548 h 528885"/>
                <a:gd name="connsiteX1168" fmla="*/ 57962 w 710303"/>
                <a:gd name="connsiteY1168" fmla="*/ 158427 h 528885"/>
                <a:gd name="connsiteX1169" fmla="*/ 55451 w 710303"/>
                <a:gd name="connsiteY1169" fmla="*/ 161422 h 528885"/>
                <a:gd name="connsiteX1170" fmla="*/ 48311 w 710303"/>
                <a:gd name="connsiteY1170" fmla="*/ 162360 h 528885"/>
                <a:gd name="connsiteX1171" fmla="*/ 45529 w 710303"/>
                <a:gd name="connsiteY1171" fmla="*/ 164295 h 528885"/>
                <a:gd name="connsiteX1172" fmla="*/ 45801 w 710303"/>
                <a:gd name="connsiteY1172" fmla="*/ 164931 h 528885"/>
                <a:gd name="connsiteX1173" fmla="*/ 46164 w 710303"/>
                <a:gd name="connsiteY1173" fmla="*/ 166534 h 528885"/>
                <a:gd name="connsiteX1174" fmla="*/ 46315 w 710303"/>
                <a:gd name="connsiteY1174" fmla="*/ 168168 h 528885"/>
                <a:gd name="connsiteX1175" fmla="*/ 45861 w 710303"/>
                <a:gd name="connsiteY1175" fmla="*/ 168894 h 528885"/>
                <a:gd name="connsiteX1176" fmla="*/ 44923 w 710303"/>
                <a:gd name="connsiteY1176" fmla="*/ 169106 h 528885"/>
                <a:gd name="connsiteX1177" fmla="*/ 281369 w 710303"/>
                <a:gd name="connsiteY1177" fmla="*/ 87124 h 528885"/>
                <a:gd name="connsiteX1178" fmla="*/ 284152 w 710303"/>
                <a:gd name="connsiteY1178" fmla="*/ 88485 h 528885"/>
                <a:gd name="connsiteX1179" fmla="*/ 287691 w 710303"/>
                <a:gd name="connsiteY1179" fmla="*/ 89091 h 528885"/>
                <a:gd name="connsiteX1180" fmla="*/ 290323 w 710303"/>
                <a:gd name="connsiteY1180" fmla="*/ 93719 h 528885"/>
                <a:gd name="connsiteX1181" fmla="*/ 292350 w 710303"/>
                <a:gd name="connsiteY1181" fmla="*/ 95231 h 528885"/>
                <a:gd name="connsiteX1182" fmla="*/ 295466 w 710303"/>
                <a:gd name="connsiteY1182" fmla="*/ 94536 h 528885"/>
                <a:gd name="connsiteX1183" fmla="*/ 297100 w 710303"/>
                <a:gd name="connsiteY1183" fmla="*/ 92690 h 528885"/>
                <a:gd name="connsiteX1184" fmla="*/ 297946 w 710303"/>
                <a:gd name="connsiteY1184" fmla="*/ 90391 h 528885"/>
                <a:gd name="connsiteX1185" fmla="*/ 299338 w 710303"/>
                <a:gd name="connsiteY1185" fmla="*/ 88304 h 528885"/>
                <a:gd name="connsiteX1186" fmla="*/ 301728 w 710303"/>
                <a:gd name="connsiteY1186" fmla="*/ 85823 h 528885"/>
                <a:gd name="connsiteX1187" fmla="*/ 302031 w 710303"/>
                <a:gd name="connsiteY1187" fmla="*/ 83071 h 528885"/>
                <a:gd name="connsiteX1188" fmla="*/ 300881 w 710303"/>
                <a:gd name="connsiteY1188" fmla="*/ 80529 h 528885"/>
                <a:gd name="connsiteX1189" fmla="*/ 299247 w 710303"/>
                <a:gd name="connsiteY1189" fmla="*/ 79259 h 528885"/>
                <a:gd name="connsiteX1190" fmla="*/ 306961 w 710303"/>
                <a:gd name="connsiteY1190" fmla="*/ 77534 h 528885"/>
                <a:gd name="connsiteX1191" fmla="*/ 309351 w 710303"/>
                <a:gd name="connsiteY1191" fmla="*/ 78321 h 528885"/>
                <a:gd name="connsiteX1192" fmla="*/ 311590 w 710303"/>
                <a:gd name="connsiteY1192" fmla="*/ 78744 h 528885"/>
                <a:gd name="connsiteX1193" fmla="*/ 312316 w 710303"/>
                <a:gd name="connsiteY1193" fmla="*/ 77292 h 528885"/>
                <a:gd name="connsiteX1194" fmla="*/ 312407 w 710303"/>
                <a:gd name="connsiteY1194" fmla="*/ 75477 h 528885"/>
                <a:gd name="connsiteX1195" fmla="*/ 311681 w 710303"/>
                <a:gd name="connsiteY1195" fmla="*/ 73390 h 528885"/>
                <a:gd name="connsiteX1196" fmla="*/ 310803 w 710303"/>
                <a:gd name="connsiteY1196" fmla="*/ 72573 h 528885"/>
                <a:gd name="connsiteX1197" fmla="*/ 309623 w 710303"/>
                <a:gd name="connsiteY1197" fmla="*/ 72150 h 528885"/>
                <a:gd name="connsiteX1198" fmla="*/ 306840 w 710303"/>
                <a:gd name="connsiteY1198" fmla="*/ 72210 h 528885"/>
                <a:gd name="connsiteX1199" fmla="*/ 302757 w 710303"/>
                <a:gd name="connsiteY1199" fmla="*/ 74237 h 528885"/>
                <a:gd name="connsiteX1200" fmla="*/ 295314 w 710303"/>
                <a:gd name="connsiteY1200" fmla="*/ 74237 h 528885"/>
                <a:gd name="connsiteX1201" fmla="*/ 293560 w 710303"/>
                <a:gd name="connsiteY1201" fmla="*/ 76052 h 528885"/>
                <a:gd name="connsiteX1202" fmla="*/ 291231 w 710303"/>
                <a:gd name="connsiteY1202" fmla="*/ 76718 h 528885"/>
                <a:gd name="connsiteX1203" fmla="*/ 287177 w 710303"/>
                <a:gd name="connsiteY1203" fmla="*/ 76960 h 528885"/>
                <a:gd name="connsiteX1204" fmla="*/ 284636 w 710303"/>
                <a:gd name="connsiteY1204" fmla="*/ 79077 h 528885"/>
                <a:gd name="connsiteX1205" fmla="*/ 281338 w 710303"/>
                <a:gd name="connsiteY1205" fmla="*/ 82042 h 528885"/>
                <a:gd name="connsiteX1206" fmla="*/ 277980 w 710303"/>
                <a:gd name="connsiteY1206" fmla="*/ 82738 h 528885"/>
                <a:gd name="connsiteX1207" fmla="*/ 277980 w 710303"/>
                <a:gd name="connsiteY1207" fmla="*/ 83797 h 528885"/>
                <a:gd name="connsiteX1208" fmla="*/ 279584 w 710303"/>
                <a:gd name="connsiteY1208" fmla="*/ 85521 h 528885"/>
                <a:gd name="connsiteX1209" fmla="*/ 281369 w 710303"/>
                <a:gd name="connsiteY1209" fmla="*/ 87094 h 528885"/>
                <a:gd name="connsiteX1210" fmla="*/ 165627 w 710303"/>
                <a:gd name="connsiteY1210" fmla="*/ 462605 h 528885"/>
                <a:gd name="connsiteX1211" fmla="*/ 164870 w 710303"/>
                <a:gd name="connsiteY1211" fmla="*/ 460245 h 528885"/>
                <a:gd name="connsiteX1212" fmla="*/ 163509 w 710303"/>
                <a:gd name="connsiteY1212" fmla="*/ 459338 h 528885"/>
                <a:gd name="connsiteX1213" fmla="*/ 157973 w 710303"/>
                <a:gd name="connsiteY1213" fmla="*/ 457946 h 528885"/>
                <a:gd name="connsiteX1214" fmla="*/ 155886 w 710303"/>
                <a:gd name="connsiteY1214" fmla="*/ 456343 h 528885"/>
                <a:gd name="connsiteX1215" fmla="*/ 151832 w 710303"/>
                <a:gd name="connsiteY1215" fmla="*/ 452198 h 528885"/>
                <a:gd name="connsiteX1216" fmla="*/ 149654 w 710303"/>
                <a:gd name="connsiteY1216" fmla="*/ 451351 h 528885"/>
                <a:gd name="connsiteX1217" fmla="*/ 148505 w 710303"/>
                <a:gd name="connsiteY1217" fmla="*/ 451654 h 528885"/>
                <a:gd name="connsiteX1218" fmla="*/ 147657 w 710303"/>
                <a:gd name="connsiteY1218" fmla="*/ 452350 h 528885"/>
                <a:gd name="connsiteX1219" fmla="*/ 146962 w 710303"/>
                <a:gd name="connsiteY1219" fmla="*/ 453136 h 528885"/>
                <a:gd name="connsiteX1220" fmla="*/ 146236 w 710303"/>
                <a:gd name="connsiteY1220" fmla="*/ 453650 h 528885"/>
                <a:gd name="connsiteX1221" fmla="*/ 145389 w 710303"/>
                <a:gd name="connsiteY1221" fmla="*/ 453802 h 528885"/>
                <a:gd name="connsiteX1222" fmla="*/ 142817 w 710303"/>
                <a:gd name="connsiteY1222" fmla="*/ 453650 h 528885"/>
                <a:gd name="connsiteX1223" fmla="*/ 137130 w 710303"/>
                <a:gd name="connsiteY1223" fmla="*/ 455768 h 528885"/>
                <a:gd name="connsiteX1224" fmla="*/ 135890 w 710303"/>
                <a:gd name="connsiteY1224" fmla="*/ 455768 h 528885"/>
                <a:gd name="connsiteX1225" fmla="*/ 135042 w 710303"/>
                <a:gd name="connsiteY1225" fmla="*/ 453439 h 528885"/>
                <a:gd name="connsiteX1226" fmla="*/ 136857 w 710303"/>
                <a:gd name="connsiteY1226" fmla="*/ 452168 h 528885"/>
                <a:gd name="connsiteX1227" fmla="*/ 141456 w 710303"/>
                <a:gd name="connsiteY1227" fmla="*/ 451321 h 528885"/>
                <a:gd name="connsiteX1228" fmla="*/ 143331 w 710303"/>
                <a:gd name="connsiteY1228" fmla="*/ 450383 h 528885"/>
                <a:gd name="connsiteX1229" fmla="*/ 145056 w 710303"/>
                <a:gd name="connsiteY1229" fmla="*/ 448871 h 528885"/>
                <a:gd name="connsiteX1230" fmla="*/ 147657 w 710303"/>
                <a:gd name="connsiteY1230" fmla="*/ 445725 h 528885"/>
                <a:gd name="connsiteX1231" fmla="*/ 145267 w 710303"/>
                <a:gd name="connsiteY1231" fmla="*/ 442246 h 528885"/>
                <a:gd name="connsiteX1232" fmla="*/ 143815 w 710303"/>
                <a:gd name="connsiteY1232" fmla="*/ 440794 h 528885"/>
                <a:gd name="connsiteX1233" fmla="*/ 142484 w 710303"/>
                <a:gd name="connsiteY1233" fmla="*/ 440189 h 528885"/>
                <a:gd name="connsiteX1234" fmla="*/ 139580 w 710303"/>
                <a:gd name="connsiteY1234" fmla="*/ 440189 h 528885"/>
                <a:gd name="connsiteX1235" fmla="*/ 138309 w 710303"/>
                <a:gd name="connsiteY1235" fmla="*/ 439886 h 528885"/>
                <a:gd name="connsiteX1236" fmla="*/ 137281 w 710303"/>
                <a:gd name="connsiteY1236" fmla="*/ 439190 h 528885"/>
                <a:gd name="connsiteX1237" fmla="*/ 138521 w 710303"/>
                <a:gd name="connsiteY1237" fmla="*/ 438222 h 528885"/>
                <a:gd name="connsiteX1238" fmla="*/ 139883 w 710303"/>
                <a:gd name="connsiteY1238" fmla="*/ 437890 h 528885"/>
                <a:gd name="connsiteX1239" fmla="*/ 142847 w 710303"/>
                <a:gd name="connsiteY1239" fmla="*/ 437980 h 528885"/>
                <a:gd name="connsiteX1240" fmla="*/ 142847 w 710303"/>
                <a:gd name="connsiteY1240" fmla="*/ 436861 h 528885"/>
                <a:gd name="connsiteX1241" fmla="*/ 141123 w 710303"/>
                <a:gd name="connsiteY1241" fmla="*/ 436861 h 528885"/>
                <a:gd name="connsiteX1242" fmla="*/ 140276 w 710303"/>
                <a:gd name="connsiteY1242" fmla="*/ 435681 h 528885"/>
                <a:gd name="connsiteX1243" fmla="*/ 140276 w 710303"/>
                <a:gd name="connsiteY1243" fmla="*/ 434259 h 528885"/>
                <a:gd name="connsiteX1244" fmla="*/ 141093 w 710303"/>
                <a:gd name="connsiteY1244" fmla="*/ 433563 h 528885"/>
                <a:gd name="connsiteX1245" fmla="*/ 142394 w 710303"/>
                <a:gd name="connsiteY1245" fmla="*/ 433352 h 528885"/>
                <a:gd name="connsiteX1246" fmla="*/ 143876 w 710303"/>
                <a:gd name="connsiteY1246" fmla="*/ 432777 h 528885"/>
                <a:gd name="connsiteX1247" fmla="*/ 146296 w 710303"/>
                <a:gd name="connsiteY1247" fmla="*/ 431355 h 528885"/>
                <a:gd name="connsiteX1248" fmla="*/ 147204 w 710303"/>
                <a:gd name="connsiteY1248" fmla="*/ 430327 h 528885"/>
                <a:gd name="connsiteX1249" fmla="*/ 147869 w 710303"/>
                <a:gd name="connsiteY1249" fmla="*/ 429238 h 528885"/>
                <a:gd name="connsiteX1250" fmla="*/ 148716 w 710303"/>
                <a:gd name="connsiteY1250" fmla="*/ 428391 h 528885"/>
                <a:gd name="connsiteX1251" fmla="*/ 150077 w 710303"/>
                <a:gd name="connsiteY1251" fmla="*/ 428058 h 528885"/>
                <a:gd name="connsiteX1252" fmla="*/ 155977 w 710303"/>
                <a:gd name="connsiteY1252" fmla="*/ 429056 h 528885"/>
                <a:gd name="connsiteX1253" fmla="*/ 157368 w 710303"/>
                <a:gd name="connsiteY1253" fmla="*/ 428905 h 528885"/>
                <a:gd name="connsiteX1254" fmla="*/ 158971 w 710303"/>
                <a:gd name="connsiteY1254" fmla="*/ 428421 h 528885"/>
                <a:gd name="connsiteX1255" fmla="*/ 160272 w 710303"/>
                <a:gd name="connsiteY1255" fmla="*/ 427604 h 528885"/>
                <a:gd name="connsiteX1256" fmla="*/ 160817 w 710303"/>
                <a:gd name="connsiteY1256" fmla="*/ 426424 h 528885"/>
                <a:gd name="connsiteX1257" fmla="*/ 161119 w 710303"/>
                <a:gd name="connsiteY1257" fmla="*/ 423823 h 528885"/>
                <a:gd name="connsiteX1258" fmla="*/ 161785 w 710303"/>
                <a:gd name="connsiteY1258" fmla="*/ 422401 h 528885"/>
                <a:gd name="connsiteX1259" fmla="*/ 162481 w 710303"/>
                <a:gd name="connsiteY1259" fmla="*/ 421221 h 528885"/>
                <a:gd name="connsiteX1260" fmla="*/ 162844 w 710303"/>
                <a:gd name="connsiteY1260" fmla="*/ 419315 h 528885"/>
                <a:gd name="connsiteX1261" fmla="*/ 162420 w 710303"/>
                <a:gd name="connsiteY1261" fmla="*/ 416653 h 528885"/>
                <a:gd name="connsiteX1262" fmla="*/ 161240 w 710303"/>
                <a:gd name="connsiteY1262" fmla="*/ 415594 h 528885"/>
                <a:gd name="connsiteX1263" fmla="*/ 160000 w 710303"/>
                <a:gd name="connsiteY1263" fmla="*/ 415110 h 528885"/>
                <a:gd name="connsiteX1264" fmla="*/ 156279 w 710303"/>
                <a:gd name="connsiteY1264" fmla="*/ 409211 h 528885"/>
                <a:gd name="connsiteX1265" fmla="*/ 155251 w 710303"/>
                <a:gd name="connsiteY1265" fmla="*/ 408122 h 528885"/>
                <a:gd name="connsiteX1266" fmla="*/ 155251 w 710303"/>
                <a:gd name="connsiteY1266" fmla="*/ 406912 h 528885"/>
                <a:gd name="connsiteX1267" fmla="*/ 156612 w 710303"/>
                <a:gd name="connsiteY1267" fmla="*/ 405641 h 528885"/>
                <a:gd name="connsiteX1268" fmla="*/ 156309 w 710303"/>
                <a:gd name="connsiteY1268" fmla="*/ 404038 h 528885"/>
                <a:gd name="connsiteX1269" fmla="*/ 155129 w 710303"/>
                <a:gd name="connsiteY1269" fmla="*/ 402525 h 528885"/>
                <a:gd name="connsiteX1270" fmla="*/ 153889 w 710303"/>
                <a:gd name="connsiteY1270" fmla="*/ 401467 h 528885"/>
                <a:gd name="connsiteX1271" fmla="*/ 151862 w 710303"/>
                <a:gd name="connsiteY1271" fmla="*/ 400257 h 528885"/>
                <a:gd name="connsiteX1272" fmla="*/ 151711 w 710303"/>
                <a:gd name="connsiteY1272" fmla="*/ 399047 h 528885"/>
                <a:gd name="connsiteX1273" fmla="*/ 152286 w 710303"/>
                <a:gd name="connsiteY1273" fmla="*/ 397625 h 528885"/>
                <a:gd name="connsiteX1274" fmla="*/ 152558 w 710303"/>
                <a:gd name="connsiteY1274" fmla="*/ 395810 h 528885"/>
                <a:gd name="connsiteX1275" fmla="*/ 152195 w 710303"/>
                <a:gd name="connsiteY1275" fmla="*/ 394509 h 528885"/>
                <a:gd name="connsiteX1276" fmla="*/ 150955 w 710303"/>
                <a:gd name="connsiteY1276" fmla="*/ 392028 h 528885"/>
                <a:gd name="connsiteX1277" fmla="*/ 150410 w 710303"/>
                <a:gd name="connsiteY1277" fmla="*/ 390213 h 528885"/>
                <a:gd name="connsiteX1278" fmla="*/ 151893 w 710303"/>
                <a:gd name="connsiteY1278" fmla="*/ 389487 h 528885"/>
                <a:gd name="connsiteX1279" fmla="*/ 155311 w 710303"/>
                <a:gd name="connsiteY1279" fmla="*/ 388852 h 528885"/>
                <a:gd name="connsiteX1280" fmla="*/ 156672 w 710303"/>
                <a:gd name="connsiteY1280" fmla="*/ 387975 h 528885"/>
                <a:gd name="connsiteX1281" fmla="*/ 157792 w 710303"/>
                <a:gd name="connsiteY1281" fmla="*/ 386008 h 528885"/>
                <a:gd name="connsiteX1282" fmla="*/ 158215 w 710303"/>
                <a:gd name="connsiteY1282" fmla="*/ 383800 h 528885"/>
                <a:gd name="connsiteX1283" fmla="*/ 157792 w 710303"/>
                <a:gd name="connsiteY1283" fmla="*/ 381955 h 528885"/>
                <a:gd name="connsiteX1284" fmla="*/ 151983 w 710303"/>
                <a:gd name="connsiteY1284" fmla="*/ 379051 h 528885"/>
                <a:gd name="connsiteX1285" fmla="*/ 151015 w 710303"/>
                <a:gd name="connsiteY1285" fmla="*/ 379293 h 528885"/>
                <a:gd name="connsiteX1286" fmla="*/ 150108 w 710303"/>
                <a:gd name="connsiteY1286" fmla="*/ 379807 h 528885"/>
                <a:gd name="connsiteX1287" fmla="*/ 145146 w 710303"/>
                <a:gd name="connsiteY1287" fmla="*/ 381017 h 528885"/>
                <a:gd name="connsiteX1288" fmla="*/ 143271 w 710303"/>
                <a:gd name="connsiteY1288" fmla="*/ 381138 h 528885"/>
                <a:gd name="connsiteX1289" fmla="*/ 141486 w 710303"/>
                <a:gd name="connsiteY1289" fmla="*/ 380109 h 528885"/>
                <a:gd name="connsiteX1290" fmla="*/ 143180 w 710303"/>
                <a:gd name="connsiteY1290" fmla="*/ 378688 h 528885"/>
                <a:gd name="connsiteX1291" fmla="*/ 146901 w 710303"/>
                <a:gd name="connsiteY1291" fmla="*/ 377568 h 528885"/>
                <a:gd name="connsiteX1292" fmla="*/ 148353 w 710303"/>
                <a:gd name="connsiteY1292" fmla="*/ 375662 h 528885"/>
                <a:gd name="connsiteX1293" fmla="*/ 147930 w 710303"/>
                <a:gd name="connsiteY1293" fmla="*/ 375209 h 528885"/>
                <a:gd name="connsiteX1294" fmla="*/ 147657 w 710303"/>
                <a:gd name="connsiteY1294" fmla="*/ 374543 h 528885"/>
                <a:gd name="connsiteX1295" fmla="*/ 148988 w 710303"/>
                <a:gd name="connsiteY1295" fmla="*/ 374483 h 528885"/>
                <a:gd name="connsiteX1296" fmla="*/ 151227 w 710303"/>
                <a:gd name="connsiteY1296" fmla="*/ 375390 h 528885"/>
                <a:gd name="connsiteX1297" fmla="*/ 152437 w 710303"/>
                <a:gd name="connsiteY1297" fmla="*/ 375662 h 528885"/>
                <a:gd name="connsiteX1298" fmla="*/ 153828 w 710303"/>
                <a:gd name="connsiteY1298" fmla="*/ 375299 h 528885"/>
                <a:gd name="connsiteX1299" fmla="*/ 156128 w 710303"/>
                <a:gd name="connsiteY1299" fmla="*/ 373757 h 528885"/>
                <a:gd name="connsiteX1300" fmla="*/ 162481 w 710303"/>
                <a:gd name="connsiteY1300" fmla="*/ 372304 h 528885"/>
                <a:gd name="connsiteX1301" fmla="*/ 162813 w 710303"/>
                <a:gd name="connsiteY1301" fmla="*/ 371609 h 528885"/>
                <a:gd name="connsiteX1302" fmla="*/ 162813 w 710303"/>
                <a:gd name="connsiteY1302" fmla="*/ 370096 h 528885"/>
                <a:gd name="connsiteX1303" fmla="*/ 163025 w 710303"/>
                <a:gd name="connsiteY1303" fmla="*/ 368583 h 528885"/>
                <a:gd name="connsiteX1304" fmla="*/ 163872 w 710303"/>
                <a:gd name="connsiteY1304" fmla="*/ 367888 h 528885"/>
                <a:gd name="connsiteX1305" fmla="*/ 166202 w 710303"/>
                <a:gd name="connsiteY1305" fmla="*/ 367615 h 528885"/>
                <a:gd name="connsiteX1306" fmla="*/ 167563 w 710303"/>
                <a:gd name="connsiteY1306" fmla="*/ 366768 h 528885"/>
                <a:gd name="connsiteX1307" fmla="*/ 170376 w 710303"/>
                <a:gd name="connsiteY1307" fmla="*/ 363441 h 528885"/>
                <a:gd name="connsiteX1308" fmla="*/ 175610 w 710303"/>
                <a:gd name="connsiteY1308" fmla="*/ 359629 h 528885"/>
                <a:gd name="connsiteX1309" fmla="*/ 177273 w 710303"/>
                <a:gd name="connsiteY1309" fmla="*/ 357753 h 528885"/>
                <a:gd name="connsiteX1310" fmla="*/ 167654 w 710303"/>
                <a:gd name="connsiteY1310" fmla="*/ 357753 h 528885"/>
                <a:gd name="connsiteX1311" fmla="*/ 165657 w 710303"/>
                <a:gd name="connsiteY1311" fmla="*/ 357239 h 528885"/>
                <a:gd name="connsiteX1312" fmla="*/ 164628 w 710303"/>
                <a:gd name="connsiteY1312" fmla="*/ 355969 h 528885"/>
                <a:gd name="connsiteX1313" fmla="*/ 163902 w 710303"/>
                <a:gd name="connsiteY1313" fmla="*/ 354214 h 528885"/>
                <a:gd name="connsiteX1314" fmla="*/ 162813 w 710303"/>
                <a:gd name="connsiteY1314" fmla="*/ 352248 h 528885"/>
                <a:gd name="connsiteX1315" fmla="*/ 157610 w 710303"/>
                <a:gd name="connsiteY1315" fmla="*/ 347287 h 528885"/>
                <a:gd name="connsiteX1316" fmla="*/ 156309 w 710303"/>
                <a:gd name="connsiteY1316" fmla="*/ 346560 h 528885"/>
                <a:gd name="connsiteX1317" fmla="*/ 149079 w 710303"/>
                <a:gd name="connsiteY1317" fmla="*/ 346470 h 528885"/>
                <a:gd name="connsiteX1318" fmla="*/ 146992 w 710303"/>
                <a:gd name="connsiteY1318" fmla="*/ 345532 h 528885"/>
                <a:gd name="connsiteX1319" fmla="*/ 147082 w 710303"/>
                <a:gd name="connsiteY1319" fmla="*/ 344776 h 528885"/>
                <a:gd name="connsiteX1320" fmla="*/ 147204 w 710303"/>
                <a:gd name="connsiteY1320" fmla="*/ 344291 h 528885"/>
                <a:gd name="connsiteX1321" fmla="*/ 147385 w 710303"/>
                <a:gd name="connsiteY1321" fmla="*/ 343838 h 528885"/>
                <a:gd name="connsiteX1322" fmla="*/ 147718 w 710303"/>
                <a:gd name="connsiteY1322" fmla="*/ 343202 h 528885"/>
                <a:gd name="connsiteX1323" fmla="*/ 150077 w 710303"/>
                <a:gd name="connsiteY1323" fmla="*/ 344261 h 528885"/>
                <a:gd name="connsiteX1324" fmla="*/ 160484 w 710303"/>
                <a:gd name="connsiteY1324" fmla="*/ 344322 h 528885"/>
                <a:gd name="connsiteX1325" fmla="*/ 161391 w 710303"/>
                <a:gd name="connsiteY1325" fmla="*/ 344776 h 528885"/>
                <a:gd name="connsiteX1326" fmla="*/ 164961 w 710303"/>
                <a:gd name="connsiteY1326" fmla="*/ 347680 h 528885"/>
                <a:gd name="connsiteX1327" fmla="*/ 171133 w 710303"/>
                <a:gd name="connsiteY1327" fmla="*/ 349918 h 528885"/>
                <a:gd name="connsiteX1328" fmla="*/ 174097 w 710303"/>
                <a:gd name="connsiteY1328" fmla="*/ 349676 h 528885"/>
                <a:gd name="connsiteX1329" fmla="*/ 179119 w 710303"/>
                <a:gd name="connsiteY1329" fmla="*/ 347165 h 528885"/>
                <a:gd name="connsiteX1330" fmla="*/ 190160 w 710303"/>
                <a:gd name="connsiteY1330" fmla="*/ 344171 h 528885"/>
                <a:gd name="connsiteX1331" fmla="*/ 192520 w 710303"/>
                <a:gd name="connsiteY1331" fmla="*/ 345532 h 528885"/>
                <a:gd name="connsiteX1332" fmla="*/ 193458 w 710303"/>
                <a:gd name="connsiteY1332" fmla="*/ 344594 h 528885"/>
                <a:gd name="connsiteX1333" fmla="*/ 193821 w 710303"/>
                <a:gd name="connsiteY1333" fmla="*/ 344322 h 528885"/>
                <a:gd name="connsiteX1334" fmla="*/ 192672 w 710303"/>
                <a:gd name="connsiteY1334" fmla="*/ 341630 h 528885"/>
                <a:gd name="connsiteX1335" fmla="*/ 193882 w 710303"/>
                <a:gd name="connsiteY1335" fmla="*/ 339784 h 528885"/>
                <a:gd name="connsiteX1336" fmla="*/ 197996 w 710303"/>
                <a:gd name="connsiteY1336" fmla="*/ 337636 h 528885"/>
                <a:gd name="connsiteX1337" fmla="*/ 197996 w 710303"/>
                <a:gd name="connsiteY1337" fmla="*/ 336487 h 528885"/>
                <a:gd name="connsiteX1338" fmla="*/ 195364 w 710303"/>
                <a:gd name="connsiteY1338" fmla="*/ 336547 h 528885"/>
                <a:gd name="connsiteX1339" fmla="*/ 193972 w 710303"/>
                <a:gd name="connsiteY1339" fmla="*/ 336245 h 528885"/>
                <a:gd name="connsiteX1340" fmla="*/ 193730 w 710303"/>
                <a:gd name="connsiteY1340" fmla="*/ 334974 h 528885"/>
                <a:gd name="connsiteX1341" fmla="*/ 194577 w 710303"/>
                <a:gd name="connsiteY1341" fmla="*/ 332100 h 528885"/>
                <a:gd name="connsiteX1342" fmla="*/ 196241 w 710303"/>
                <a:gd name="connsiteY1342" fmla="*/ 328742 h 528885"/>
                <a:gd name="connsiteX1343" fmla="*/ 196604 w 710303"/>
                <a:gd name="connsiteY1343" fmla="*/ 327018 h 528885"/>
                <a:gd name="connsiteX1344" fmla="*/ 195606 w 710303"/>
                <a:gd name="connsiteY1344" fmla="*/ 326292 h 528885"/>
                <a:gd name="connsiteX1345" fmla="*/ 181206 w 710303"/>
                <a:gd name="connsiteY1345" fmla="*/ 323358 h 528885"/>
                <a:gd name="connsiteX1346" fmla="*/ 178665 w 710303"/>
                <a:gd name="connsiteY1346" fmla="*/ 320756 h 528885"/>
                <a:gd name="connsiteX1347" fmla="*/ 181115 w 710303"/>
                <a:gd name="connsiteY1347" fmla="*/ 320211 h 528885"/>
                <a:gd name="connsiteX1348" fmla="*/ 186409 w 710303"/>
                <a:gd name="connsiteY1348" fmla="*/ 320514 h 528885"/>
                <a:gd name="connsiteX1349" fmla="*/ 189041 w 710303"/>
                <a:gd name="connsiteY1349" fmla="*/ 319546 h 528885"/>
                <a:gd name="connsiteX1350" fmla="*/ 189737 w 710303"/>
                <a:gd name="connsiteY1350" fmla="*/ 318699 h 528885"/>
                <a:gd name="connsiteX1351" fmla="*/ 190372 w 710303"/>
                <a:gd name="connsiteY1351" fmla="*/ 317580 h 528885"/>
                <a:gd name="connsiteX1352" fmla="*/ 191189 w 710303"/>
                <a:gd name="connsiteY1352" fmla="*/ 316612 h 528885"/>
                <a:gd name="connsiteX1353" fmla="*/ 192490 w 710303"/>
                <a:gd name="connsiteY1353" fmla="*/ 316218 h 528885"/>
                <a:gd name="connsiteX1354" fmla="*/ 202261 w 710303"/>
                <a:gd name="connsiteY1354" fmla="*/ 315795 h 528885"/>
                <a:gd name="connsiteX1355" fmla="*/ 203532 w 710303"/>
                <a:gd name="connsiteY1355" fmla="*/ 316218 h 528885"/>
                <a:gd name="connsiteX1356" fmla="*/ 204470 w 710303"/>
                <a:gd name="connsiteY1356" fmla="*/ 317307 h 528885"/>
                <a:gd name="connsiteX1357" fmla="*/ 204893 w 710303"/>
                <a:gd name="connsiteY1357" fmla="*/ 318517 h 528885"/>
                <a:gd name="connsiteX1358" fmla="*/ 205196 w 710303"/>
                <a:gd name="connsiteY1358" fmla="*/ 319727 h 528885"/>
                <a:gd name="connsiteX1359" fmla="*/ 205649 w 710303"/>
                <a:gd name="connsiteY1359" fmla="*/ 320786 h 528885"/>
                <a:gd name="connsiteX1360" fmla="*/ 207222 w 710303"/>
                <a:gd name="connsiteY1360" fmla="*/ 323055 h 528885"/>
                <a:gd name="connsiteX1361" fmla="*/ 208160 w 710303"/>
                <a:gd name="connsiteY1361" fmla="*/ 323842 h 528885"/>
                <a:gd name="connsiteX1362" fmla="*/ 209400 w 710303"/>
                <a:gd name="connsiteY1362" fmla="*/ 324144 h 528885"/>
                <a:gd name="connsiteX1363" fmla="*/ 210338 w 710303"/>
                <a:gd name="connsiteY1363" fmla="*/ 323781 h 528885"/>
                <a:gd name="connsiteX1364" fmla="*/ 210853 w 710303"/>
                <a:gd name="connsiteY1364" fmla="*/ 322964 h 528885"/>
                <a:gd name="connsiteX1365" fmla="*/ 211185 w 710303"/>
                <a:gd name="connsiteY1365" fmla="*/ 322148 h 528885"/>
                <a:gd name="connsiteX1366" fmla="*/ 212062 w 710303"/>
                <a:gd name="connsiteY1366" fmla="*/ 320937 h 528885"/>
                <a:gd name="connsiteX1367" fmla="*/ 211699 w 710303"/>
                <a:gd name="connsiteY1367" fmla="*/ 319183 h 528885"/>
                <a:gd name="connsiteX1368" fmla="*/ 210943 w 710303"/>
                <a:gd name="connsiteY1368" fmla="*/ 317549 h 528885"/>
                <a:gd name="connsiteX1369" fmla="*/ 210459 w 710303"/>
                <a:gd name="connsiteY1369" fmla="*/ 317126 h 528885"/>
                <a:gd name="connsiteX1370" fmla="*/ 211155 w 710303"/>
                <a:gd name="connsiteY1370" fmla="*/ 316158 h 528885"/>
                <a:gd name="connsiteX1371" fmla="*/ 212335 w 710303"/>
                <a:gd name="connsiteY1371" fmla="*/ 315129 h 528885"/>
                <a:gd name="connsiteX1372" fmla="*/ 213424 w 710303"/>
                <a:gd name="connsiteY1372" fmla="*/ 314464 h 528885"/>
                <a:gd name="connsiteX1373" fmla="*/ 213908 w 710303"/>
                <a:gd name="connsiteY1373" fmla="*/ 314464 h 528885"/>
                <a:gd name="connsiteX1374" fmla="*/ 214301 w 710303"/>
                <a:gd name="connsiteY1374" fmla="*/ 313314 h 528885"/>
                <a:gd name="connsiteX1375" fmla="*/ 216691 w 710303"/>
                <a:gd name="connsiteY1375" fmla="*/ 310410 h 528885"/>
                <a:gd name="connsiteX1376" fmla="*/ 217084 w 710303"/>
                <a:gd name="connsiteY1376" fmla="*/ 309018 h 528885"/>
                <a:gd name="connsiteX1377" fmla="*/ 217236 w 710303"/>
                <a:gd name="connsiteY1377" fmla="*/ 307748 h 528885"/>
                <a:gd name="connsiteX1378" fmla="*/ 217327 w 710303"/>
                <a:gd name="connsiteY1378" fmla="*/ 304874 h 528885"/>
                <a:gd name="connsiteX1379" fmla="*/ 217145 w 710303"/>
                <a:gd name="connsiteY1379" fmla="*/ 300699 h 528885"/>
                <a:gd name="connsiteX1380" fmla="*/ 217387 w 710303"/>
                <a:gd name="connsiteY1380" fmla="*/ 298582 h 528885"/>
                <a:gd name="connsiteX1381" fmla="*/ 219898 w 710303"/>
                <a:gd name="connsiteY1381" fmla="*/ 293378 h 528885"/>
                <a:gd name="connsiteX1382" fmla="*/ 219414 w 710303"/>
                <a:gd name="connsiteY1382" fmla="*/ 292199 h 528885"/>
                <a:gd name="connsiteX1383" fmla="*/ 217629 w 710303"/>
                <a:gd name="connsiteY1383" fmla="*/ 292410 h 528885"/>
                <a:gd name="connsiteX1384" fmla="*/ 215209 w 710303"/>
                <a:gd name="connsiteY1384" fmla="*/ 293499 h 528885"/>
                <a:gd name="connsiteX1385" fmla="*/ 217024 w 710303"/>
                <a:gd name="connsiteY1385" fmla="*/ 290202 h 528885"/>
                <a:gd name="connsiteX1386" fmla="*/ 218264 w 710303"/>
                <a:gd name="connsiteY1386" fmla="*/ 287298 h 528885"/>
                <a:gd name="connsiteX1387" fmla="*/ 218688 w 710303"/>
                <a:gd name="connsiteY1387" fmla="*/ 284091 h 528885"/>
                <a:gd name="connsiteX1388" fmla="*/ 218022 w 710303"/>
                <a:gd name="connsiteY1388" fmla="*/ 279886 h 528885"/>
                <a:gd name="connsiteX1389" fmla="*/ 216449 w 710303"/>
                <a:gd name="connsiteY1389" fmla="*/ 276498 h 528885"/>
                <a:gd name="connsiteX1390" fmla="*/ 214785 w 710303"/>
                <a:gd name="connsiteY1390" fmla="*/ 274229 h 528885"/>
                <a:gd name="connsiteX1391" fmla="*/ 214120 w 710303"/>
                <a:gd name="connsiteY1391" fmla="*/ 271779 h 528885"/>
                <a:gd name="connsiteX1392" fmla="*/ 215511 w 710303"/>
                <a:gd name="connsiteY1392" fmla="*/ 267877 h 528885"/>
                <a:gd name="connsiteX1393" fmla="*/ 217962 w 710303"/>
                <a:gd name="connsiteY1393" fmla="*/ 264730 h 528885"/>
                <a:gd name="connsiteX1394" fmla="*/ 223407 w 710303"/>
                <a:gd name="connsiteY1394" fmla="*/ 260586 h 528885"/>
                <a:gd name="connsiteX1395" fmla="*/ 225888 w 710303"/>
                <a:gd name="connsiteY1395" fmla="*/ 257652 h 528885"/>
                <a:gd name="connsiteX1396" fmla="*/ 228580 w 710303"/>
                <a:gd name="connsiteY1396" fmla="*/ 252176 h 528885"/>
                <a:gd name="connsiteX1397" fmla="*/ 229306 w 710303"/>
                <a:gd name="connsiteY1397" fmla="*/ 251268 h 528885"/>
                <a:gd name="connsiteX1398" fmla="*/ 230697 w 710303"/>
                <a:gd name="connsiteY1398" fmla="*/ 251057 h 528885"/>
                <a:gd name="connsiteX1399" fmla="*/ 231575 w 710303"/>
                <a:gd name="connsiteY1399" fmla="*/ 250331 h 528885"/>
                <a:gd name="connsiteX1400" fmla="*/ 232119 w 710303"/>
                <a:gd name="connsiteY1400" fmla="*/ 248939 h 528885"/>
                <a:gd name="connsiteX1401" fmla="*/ 232512 w 710303"/>
                <a:gd name="connsiteY1401" fmla="*/ 246701 h 528885"/>
                <a:gd name="connsiteX1402" fmla="*/ 233874 w 710303"/>
                <a:gd name="connsiteY1402" fmla="*/ 247759 h 528885"/>
                <a:gd name="connsiteX1403" fmla="*/ 236476 w 710303"/>
                <a:gd name="connsiteY1403" fmla="*/ 246640 h 528885"/>
                <a:gd name="connsiteX1404" fmla="*/ 237595 w 710303"/>
                <a:gd name="connsiteY1404" fmla="*/ 247336 h 528885"/>
                <a:gd name="connsiteX1405" fmla="*/ 238593 w 710303"/>
                <a:gd name="connsiteY1405" fmla="*/ 248606 h 528885"/>
                <a:gd name="connsiteX1406" fmla="*/ 239924 w 710303"/>
                <a:gd name="connsiteY1406" fmla="*/ 249605 h 528885"/>
                <a:gd name="connsiteX1407" fmla="*/ 241376 w 710303"/>
                <a:gd name="connsiteY1407" fmla="*/ 250149 h 528885"/>
                <a:gd name="connsiteX1408" fmla="*/ 242737 w 710303"/>
                <a:gd name="connsiteY1408" fmla="*/ 250149 h 528885"/>
                <a:gd name="connsiteX1409" fmla="*/ 239803 w 710303"/>
                <a:gd name="connsiteY1409" fmla="*/ 255625 h 528885"/>
                <a:gd name="connsiteX1410" fmla="*/ 239682 w 710303"/>
                <a:gd name="connsiteY1410" fmla="*/ 257682 h 528885"/>
                <a:gd name="connsiteX1411" fmla="*/ 241407 w 710303"/>
                <a:gd name="connsiteY1411" fmla="*/ 260344 h 528885"/>
                <a:gd name="connsiteX1412" fmla="*/ 240045 w 710303"/>
                <a:gd name="connsiteY1412" fmla="*/ 262673 h 528885"/>
                <a:gd name="connsiteX1413" fmla="*/ 238321 w 710303"/>
                <a:gd name="connsiteY1413" fmla="*/ 262038 h 528885"/>
                <a:gd name="connsiteX1414" fmla="*/ 236566 w 710303"/>
                <a:gd name="connsiteY1414" fmla="*/ 260314 h 528885"/>
                <a:gd name="connsiteX1415" fmla="*/ 235144 w 710303"/>
                <a:gd name="connsiteY1415" fmla="*/ 259345 h 528885"/>
                <a:gd name="connsiteX1416" fmla="*/ 233238 w 710303"/>
                <a:gd name="connsiteY1416" fmla="*/ 260011 h 528885"/>
                <a:gd name="connsiteX1417" fmla="*/ 229881 w 710303"/>
                <a:gd name="connsiteY1417" fmla="*/ 262522 h 528885"/>
                <a:gd name="connsiteX1418" fmla="*/ 227642 w 710303"/>
                <a:gd name="connsiteY1418" fmla="*/ 262734 h 528885"/>
                <a:gd name="connsiteX1419" fmla="*/ 229820 w 710303"/>
                <a:gd name="connsiteY1419" fmla="*/ 265305 h 528885"/>
                <a:gd name="connsiteX1420" fmla="*/ 231363 w 710303"/>
                <a:gd name="connsiteY1420" fmla="*/ 267634 h 528885"/>
                <a:gd name="connsiteX1421" fmla="*/ 233087 w 710303"/>
                <a:gd name="connsiteY1421" fmla="*/ 268935 h 528885"/>
                <a:gd name="connsiteX1422" fmla="*/ 235901 w 710303"/>
                <a:gd name="connsiteY1422" fmla="*/ 268421 h 528885"/>
                <a:gd name="connsiteX1423" fmla="*/ 238139 w 710303"/>
                <a:gd name="connsiteY1423" fmla="*/ 267060 h 528885"/>
                <a:gd name="connsiteX1424" fmla="*/ 239047 w 710303"/>
                <a:gd name="connsiteY1424" fmla="*/ 266908 h 528885"/>
                <a:gd name="connsiteX1425" fmla="*/ 243222 w 710303"/>
                <a:gd name="connsiteY1425" fmla="*/ 268058 h 528885"/>
                <a:gd name="connsiteX1426" fmla="*/ 244099 w 710303"/>
                <a:gd name="connsiteY1426" fmla="*/ 268935 h 528885"/>
                <a:gd name="connsiteX1427" fmla="*/ 244825 w 710303"/>
                <a:gd name="connsiteY1427" fmla="*/ 270781 h 528885"/>
                <a:gd name="connsiteX1428" fmla="*/ 243887 w 710303"/>
                <a:gd name="connsiteY1428" fmla="*/ 271113 h 528885"/>
                <a:gd name="connsiteX1429" fmla="*/ 242193 w 710303"/>
                <a:gd name="connsiteY1429" fmla="*/ 272263 h 528885"/>
                <a:gd name="connsiteX1430" fmla="*/ 241407 w 710303"/>
                <a:gd name="connsiteY1430" fmla="*/ 273049 h 528885"/>
                <a:gd name="connsiteX1431" fmla="*/ 242133 w 710303"/>
                <a:gd name="connsiteY1431" fmla="*/ 274683 h 528885"/>
                <a:gd name="connsiteX1432" fmla="*/ 243131 w 710303"/>
                <a:gd name="connsiteY1432" fmla="*/ 277859 h 528885"/>
                <a:gd name="connsiteX1433" fmla="*/ 244160 w 710303"/>
                <a:gd name="connsiteY1433" fmla="*/ 279251 h 528885"/>
                <a:gd name="connsiteX1434" fmla="*/ 245400 w 710303"/>
                <a:gd name="connsiteY1434" fmla="*/ 279674 h 528885"/>
                <a:gd name="connsiteX1435" fmla="*/ 247124 w 710303"/>
                <a:gd name="connsiteY1435" fmla="*/ 279493 h 528885"/>
                <a:gd name="connsiteX1436" fmla="*/ 248727 w 710303"/>
                <a:gd name="connsiteY1436" fmla="*/ 278767 h 528885"/>
                <a:gd name="connsiteX1437" fmla="*/ 249695 w 710303"/>
                <a:gd name="connsiteY1437" fmla="*/ 277617 h 528885"/>
                <a:gd name="connsiteX1438" fmla="*/ 249272 w 710303"/>
                <a:gd name="connsiteY1438" fmla="*/ 274834 h 528885"/>
                <a:gd name="connsiteX1439" fmla="*/ 247941 w 710303"/>
                <a:gd name="connsiteY1439" fmla="*/ 270599 h 528885"/>
                <a:gd name="connsiteX1440" fmla="*/ 247245 w 710303"/>
                <a:gd name="connsiteY1440" fmla="*/ 266727 h 528885"/>
                <a:gd name="connsiteX1441" fmla="*/ 250452 w 710303"/>
                <a:gd name="connsiteY1441" fmla="*/ 263248 h 528885"/>
                <a:gd name="connsiteX1442" fmla="*/ 252721 w 710303"/>
                <a:gd name="connsiteY1442" fmla="*/ 259618 h 528885"/>
                <a:gd name="connsiteX1443" fmla="*/ 255201 w 710303"/>
                <a:gd name="connsiteY1443" fmla="*/ 256865 h 528885"/>
                <a:gd name="connsiteX1444" fmla="*/ 257621 w 710303"/>
                <a:gd name="connsiteY1444" fmla="*/ 257682 h 528885"/>
                <a:gd name="connsiteX1445" fmla="*/ 258831 w 710303"/>
                <a:gd name="connsiteY1445" fmla="*/ 258529 h 528885"/>
                <a:gd name="connsiteX1446" fmla="*/ 260132 w 710303"/>
                <a:gd name="connsiteY1446" fmla="*/ 258741 h 528885"/>
                <a:gd name="connsiteX1447" fmla="*/ 261161 w 710303"/>
                <a:gd name="connsiteY1447" fmla="*/ 259406 h 528885"/>
                <a:gd name="connsiteX1448" fmla="*/ 261433 w 710303"/>
                <a:gd name="connsiteY1448" fmla="*/ 261614 h 528885"/>
                <a:gd name="connsiteX1449" fmla="*/ 260919 w 710303"/>
                <a:gd name="connsiteY1449" fmla="*/ 263702 h 528885"/>
                <a:gd name="connsiteX1450" fmla="*/ 259860 w 710303"/>
                <a:gd name="connsiteY1450" fmla="*/ 264609 h 528885"/>
                <a:gd name="connsiteX1451" fmla="*/ 257289 w 710303"/>
                <a:gd name="connsiteY1451" fmla="*/ 265003 h 528885"/>
                <a:gd name="connsiteX1452" fmla="*/ 259618 w 710303"/>
                <a:gd name="connsiteY1452" fmla="*/ 268844 h 528885"/>
                <a:gd name="connsiteX1453" fmla="*/ 263127 w 710303"/>
                <a:gd name="connsiteY1453" fmla="*/ 271234 h 528885"/>
                <a:gd name="connsiteX1454" fmla="*/ 266303 w 710303"/>
                <a:gd name="connsiteY1454" fmla="*/ 270629 h 528885"/>
                <a:gd name="connsiteX1455" fmla="*/ 267725 w 710303"/>
                <a:gd name="connsiteY1455" fmla="*/ 265577 h 528885"/>
                <a:gd name="connsiteX1456" fmla="*/ 267453 w 710303"/>
                <a:gd name="connsiteY1456" fmla="*/ 260404 h 528885"/>
                <a:gd name="connsiteX1457" fmla="*/ 267998 w 710303"/>
                <a:gd name="connsiteY1457" fmla="*/ 258196 h 528885"/>
                <a:gd name="connsiteX1458" fmla="*/ 269782 w 710303"/>
                <a:gd name="connsiteY1458" fmla="*/ 255927 h 528885"/>
                <a:gd name="connsiteX1459" fmla="*/ 274471 w 710303"/>
                <a:gd name="connsiteY1459" fmla="*/ 252932 h 528885"/>
                <a:gd name="connsiteX1460" fmla="*/ 283728 w 710303"/>
                <a:gd name="connsiteY1460" fmla="*/ 240741 h 528885"/>
                <a:gd name="connsiteX1461" fmla="*/ 284848 w 710303"/>
                <a:gd name="connsiteY1461" fmla="*/ 237050 h 528885"/>
                <a:gd name="connsiteX1462" fmla="*/ 284938 w 710303"/>
                <a:gd name="connsiteY1462" fmla="*/ 233117 h 528885"/>
                <a:gd name="connsiteX1463" fmla="*/ 285422 w 710303"/>
                <a:gd name="connsiteY1463" fmla="*/ 228670 h 528885"/>
                <a:gd name="connsiteX1464" fmla="*/ 286693 w 710303"/>
                <a:gd name="connsiteY1464" fmla="*/ 224828 h 528885"/>
                <a:gd name="connsiteX1465" fmla="*/ 289022 w 710303"/>
                <a:gd name="connsiteY1465" fmla="*/ 222711 h 528885"/>
                <a:gd name="connsiteX1466" fmla="*/ 289022 w 710303"/>
                <a:gd name="connsiteY1466" fmla="*/ 221683 h 528885"/>
                <a:gd name="connsiteX1467" fmla="*/ 282790 w 710303"/>
                <a:gd name="connsiteY1467" fmla="*/ 215874 h 528885"/>
                <a:gd name="connsiteX1468" fmla="*/ 279554 w 710303"/>
                <a:gd name="connsiteY1468" fmla="*/ 210610 h 528885"/>
                <a:gd name="connsiteX1469" fmla="*/ 278041 w 710303"/>
                <a:gd name="connsiteY1469" fmla="*/ 209037 h 528885"/>
                <a:gd name="connsiteX1470" fmla="*/ 274744 w 710303"/>
                <a:gd name="connsiteY1470" fmla="*/ 207343 h 528885"/>
                <a:gd name="connsiteX1471" fmla="*/ 271386 w 710303"/>
                <a:gd name="connsiteY1471" fmla="*/ 206980 h 528885"/>
                <a:gd name="connsiteX1472" fmla="*/ 247487 w 710303"/>
                <a:gd name="connsiteY1472" fmla="*/ 210459 h 528885"/>
                <a:gd name="connsiteX1473" fmla="*/ 239259 w 710303"/>
                <a:gd name="connsiteY1473" fmla="*/ 209582 h 528885"/>
                <a:gd name="connsiteX1474" fmla="*/ 231726 w 710303"/>
                <a:gd name="connsiteY1474" fmla="*/ 205589 h 528885"/>
                <a:gd name="connsiteX1475" fmla="*/ 228761 w 710303"/>
                <a:gd name="connsiteY1475" fmla="*/ 203289 h 528885"/>
                <a:gd name="connsiteX1476" fmla="*/ 228307 w 710303"/>
                <a:gd name="connsiteY1476" fmla="*/ 202745 h 528885"/>
                <a:gd name="connsiteX1477" fmla="*/ 228217 w 710303"/>
                <a:gd name="connsiteY1477" fmla="*/ 201686 h 528885"/>
                <a:gd name="connsiteX1478" fmla="*/ 227672 w 710303"/>
                <a:gd name="connsiteY1478" fmla="*/ 198086 h 528885"/>
                <a:gd name="connsiteX1479" fmla="*/ 227309 w 710303"/>
                <a:gd name="connsiteY1479" fmla="*/ 197028 h 528885"/>
                <a:gd name="connsiteX1480" fmla="*/ 225252 w 710303"/>
                <a:gd name="connsiteY1480" fmla="*/ 195787 h 528885"/>
                <a:gd name="connsiteX1481" fmla="*/ 223467 w 710303"/>
                <a:gd name="connsiteY1481" fmla="*/ 196876 h 528885"/>
                <a:gd name="connsiteX1482" fmla="*/ 220140 w 710303"/>
                <a:gd name="connsiteY1482" fmla="*/ 201021 h 528885"/>
                <a:gd name="connsiteX1483" fmla="*/ 215904 w 710303"/>
                <a:gd name="connsiteY1483" fmla="*/ 203986 h 528885"/>
                <a:gd name="connsiteX1484" fmla="*/ 214906 w 710303"/>
                <a:gd name="connsiteY1484" fmla="*/ 206224 h 528885"/>
                <a:gd name="connsiteX1485" fmla="*/ 214574 w 710303"/>
                <a:gd name="connsiteY1485" fmla="*/ 210822 h 528885"/>
                <a:gd name="connsiteX1486" fmla="*/ 214694 w 710303"/>
                <a:gd name="connsiteY1486" fmla="*/ 217175 h 528885"/>
                <a:gd name="connsiteX1487" fmla="*/ 213545 w 710303"/>
                <a:gd name="connsiteY1487" fmla="*/ 218052 h 528885"/>
                <a:gd name="connsiteX1488" fmla="*/ 210459 w 710303"/>
                <a:gd name="connsiteY1488" fmla="*/ 218204 h 528885"/>
                <a:gd name="connsiteX1489" fmla="*/ 211699 w 710303"/>
                <a:gd name="connsiteY1489" fmla="*/ 216842 h 528885"/>
                <a:gd name="connsiteX1490" fmla="*/ 212849 w 710303"/>
                <a:gd name="connsiteY1490" fmla="*/ 214634 h 528885"/>
                <a:gd name="connsiteX1491" fmla="*/ 213303 w 710303"/>
                <a:gd name="connsiteY1491" fmla="*/ 212214 h 528885"/>
                <a:gd name="connsiteX1492" fmla="*/ 212547 w 710303"/>
                <a:gd name="connsiteY1492" fmla="*/ 210308 h 528885"/>
                <a:gd name="connsiteX1493" fmla="*/ 212879 w 710303"/>
                <a:gd name="connsiteY1493" fmla="*/ 208795 h 528885"/>
                <a:gd name="connsiteX1494" fmla="*/ 213575 w 710303"/>
                <a:gd name="connsiteY1494" fmla="*/ 203350 h 528885"/>
                <a:gd name="connsiteX1495" fmla="*/ 214483 w 710303"/>
                <a:gd name="connsiteY1495" fmla="*/ 202957 h 528885"/>
                <a:gd name="connsiteX1496" fmla="*/ 219474 w 710303"/>
                <a:gd name="connsiteY1496" fmla="*/ 197754 h 528885"/>
                <a:gd name="connsiteX1497" fmla="*/ 226251 w 710303"/>
                <a:gd name="connsiteY1497" fmla="*/ 192944 h 528885"/>
                <a:gd name="connsiteX1498" fmla="*/ 228005 w 710303"/>
                <a:gd name="connsiteY1498" fmla="*/ 188164 h 528885"/>
                <a:gd name="connsiteX1499" fmla="*/ 227491 w 710303"/>
                <a:gd name="connsiteY1499" fmla="*/ 182598 h 528885"/>
                <a:gd name="connsiteX1500" fmla="*/ 225646 w 710303"/>
                <a:gd name="connsiteY1500" fmla="*/ 178877 h 528885"/>
                <a:gd name="connsiteX1501" fmla="*/ 223225 w 710303"/>
                <a:gd name="connsiteY1501" fmla="*/ 179724 h 528885"/>
                <a:gd name="connsiteX1502" fmla="*/ 220533 w 710303"/>
                <a:gd name="connsiteY1502" fmla="*/ 181267 h 528885"/>
                <a:gd name="connsiteX1503" fmla="*/ 216358 w 710303"/>
                <a:gd name="connsiteY1503" fmla="*/ 181509 h 528885"/>
                <a:gd name="connsiteX1504" fmla="*/ 211458 w 710303"/>
                <a:gd name="connsiteY1504" fmla="*/ 180631 h 528885"/>
                <a:gd name="connsiteX1505" fmla="*/ 209703 w 710303"/>
                <a:gd name="connsiteY1505" fmla="*/ 180329 h 528885"/>
                <a:gd name="connsiteX1506" fmla="*/ 210217 w 710303"/>
                <a:gd name="connsiteY1506" fmla="*/ 178756 h 528885"/>
                <a:gd name="connsiteX1507" fmla="*/ 210459 w 710303"/>
                <a:gd name="connsiteY1507" fmla="*/ 178120 h 528885"/>
                <a:gd name="connsiteX1508" fmla="*/ 207162 w 710303"/>
                <a:gd name="connsiteY1508" fmla="*/ 177122 h 528885"/>
                <a:gd name="connsiteX1509" fmla="*/ 205559 w 710303"/>
                <a:gd name="connsiteY1509" fmla="*/ 177455 h 528885"/>
                <a:gd name="connsiteX1510" fmla="*/ 204893 w 710303"/>
                <a:gd name="connsiteY1510" fmla="*/ 179724 h 528885"/>
                <a:gd name="connsiteX1511" fmla="*/ 204470 w 710303"/>
                <a:gd name="connsiteY1511" fmla="*/ 180813 h 528885"/>
                <a:gd name="connsiteX1512" fmla="*/ 203441 w 710303"/>
                <a:gd name="connsiteY1512" fmla="*/ 181750 h 528885"/>
                <a:gd name="connsiteX1513" fmla="*/ 202201 w 710303"/>
                <a:gd name="connsiteY1513" fmla="*/ 182416 h 528885"/>
                <a:gd name="connsiteX1514" fmla="*/ 201111 w 710303"/>
                <a:gd name="connsiteY1514" fmla="*/ 182658 h 528885"/>
                <a:gd name="connsiteX1515" fmla="*/ 200476 w 710303"/>
                <a:gd name="connsiteY1515" fmla="*/ 182476 h 528885"/>
                <a:gd name="connsiteX1516" fmla="*/ 199145 w 710303"/>
                <a:gd name="connsiteY1516" fmla="*/ 181599 h 528885"/>
                <a:gd name="connsiteX1517" fmla="*/ 198329 w 710303"/>
                <a:gd name="connsiteY1517" fmla="*/ 181387 h 528885"/>
                <a:gd name="connsiteX1518" fmla="*/ 197572 w 710303"/>
                <a:gd name="connsiteY1518" fmla="*/ 181750 h 528885"/>
                <a:gd name="connsiteX1519" fmla="*/ 197391 w 710303"/>
                <a:gd name="connsiteY1519" fmla="*/ 182537 h 528885"/>
                <a:gd name="connsiteX1520" fmla="*/ 197330 w 710303"/>
                <a:gd name="connsiteY1520" fmla="*/ 183324 h 528885"/>
                <a:gd name="connsiteX1521" fmla="*/ 196997 w 710303"/>
                <a:gd name="connsiteY1521" fmla="*/ 183687 h 528885"/>
                <a:gd name="connsiteX1522" fmla="*/ 195515 w 710303"/>
                <a:gd name="connsiteY1522" fmla="*/ 184050 h 528885"/>
                <a:gd name="connsiteX1523" fmla="*/ 192157 w 710303"/>
                <a:gd name="connsiteY1523" fmla="*/ 185986 h 528885"/>
                <a:gd name="connsiteX1524" fmla="*/ 177031 w 710303"/>
                <a:gd name="connsiteY1524" fmla="*/ 190282 h 528885"/>
                <a:gd name="connsiteX1525" fmla="*/ 172463 w 710303"/>
                <a:gd name="connsiteY1525" fmla="*/ 189525 h 528885"/>
                <a:gd name="connsiteX1526" fmla="*/ 172463 w 710303"/>
                <a:gd name="connsiteY1526" fmla="*/ 188376 h 528885"/>
                <a:gd name="connsiteX1527" fmla="*/ 186500 w 710303"/>
                <a:gd name="connsiteY1527" fmla="*/ 186500 h 528885"/>
                <a:gd name="connsiteX1528" fmla="*/ 191068 w 710303"/>
                <a:gd name="connsiteY1528" fmla="*/ 183354 h 528885"/>
                <a:gd name="connsiteX1529" fmla="*/ 194759 w 710303"/>
                <a:gd name="connsiteY1529" fmla="*/ 182113 h 528885"/>
                <a:gd name="connsiteX1530" fmla="*/ 197844 w 710303"/>
                <a:gd name="connsiteY1530" fmla="*/ 179754 h 528885"/>
                <a:gd name="connsiteX1531" fmla="*/ 199387 w 710303"/>
                <a:gd name="connsiteY1531" fmla="*/ 179058 h 528885"/>
                <a:gd name="connsiteX1532" fmla="*/ 201021 w 710303"/>
                <a:gd name="connsiteY1532" fmla="*/ 178786 h 528885"/>
                <a:gd name="connsiteX1533" fmla="*/ 201959 w 710303"/>
                <a:gd name="connsiteY1533" fmla="*/ 178423 h 528885"/>
                <a:gd name="connsiteX1534" fmla="*/ 204197 w 710303"/>
                <a:gd name="connsiteY1534" fmla="*/ 176759 h 528885"/>
                <a:gd name="connsiteX1535" fmla="*/ 206739 w 710303"/>
                <a:gd name="connsiteY1535" fmla="*/ 175700 h 528885"/>
                <a:gd name="connsiteX1536" fmla="*/ 208917 w 710303"/>
                <a:gd name="connsiteY1536" fmla="*/ 176093 h 528885"/>
                <a:gd name="connsiteX1537" fmla="*/ 210822 w 710303"/>
                <a:gd name="connsiteY1537" fmla="*/ 177425 h 528885"/>
                <a:gd name="connsiteX1538" fmla="*/ 212516 w 710303"/>
                <a:gd name="connsiteY1538" fmla="*/ 179088 h 528885"/>
                <a:gd name="connsiteX1539" fmla="*/ 214331 w 710303"/>
                <a:gd name="connsiteY1539" fmla="*/ 177455 h 528885"/>
                <a:gd name="connsiteX1540" fmla="*/ 215935 w 710303"/>
                <a:gd name="connsiteY1540" fmla="*/ 176789 h 528885"/>
                <a:gd name="connsiteX1541" fmla="*/ 220442 w 710303"/>
                <a:gd name="connsiteY1541" fmla="*/ 176789 h 528885"/>
                <a:gd name="connsiteX1542" fmla="*/ 221713 w 710303"/>
                <a:gd name="connsiteY1542" fmla="*/ 177062 h 528885"/>
                <a:gd name="connsiteX1543" fmla="*/ 224073 w 710303"/>
                <a:gd name="connsiteY1543" fmla="*/ 178090 h 528885"/>
                <a:gd name="connsiteX1544" fmla="*/ 224889 w 710303"/>
                <a:gd name="connsiteY1544" fmla="*/ 178030 h 528885"/>
                <a:gd name="connsiteX1545" fmla="*/ 226281 w 710303"/>
                <a:gd name="connsiteY1545" fmla="*/ 176547 h 528885"/>
                <a:gd name="connsiteX1546" fmla="*/ 226039 w 710303"/>
                <a:gd name="connsiteY1546" fmla="*/ 175428 h 528885"/>
                <a:gd name="connsiteX1547" fmla="*/ 225071 w 710303"/>
                <a:gd name="connsiteY1547" fmla="*/ 174430 h 528885"/>
                <a:gd name="connsiteX1548" fmla="*/ 224224 w 710303"/>
                <a:gd name="connsiteY1548" fmla="*/ 173311 h 528885"/>
                <a:gd name="connsiteX1549" fmla="*/ 221743 w 710303"/>
                <a:gd name="connsiteY1549" fmla="*/ 166171 h 528885"/>
                <a:gd name="connsiteX1550" fmla="*/ 221047 w 710303"/>
                <a:gd name="connsiteY1550" fmla="*/ 162601 h 528885"/>
                <a:gd name="connsiteX1551" fmla="*/ 220594 w 710303"/>
                <a:gd name="connsiteY1551" fmla="*/ 155795 h 528885"/>
                <a:gd name="connsiteX1552" fmla="*/ 219505 w 710303"/>
                <a:gd name="connsiteY1552" fmla="*/ 147173 h 528885"/>
                <a:gd name="connsiteX1553" fmla="*/ 218779 w 710303"/>
                <a:gd name="connsiteY1553" fmla="*/ 144420 h 528885"/>
                <a:gd name="connsiteX1554" fmla="*/ 219111 w 710303"/>
                <a:gd name="connsiteY1554" fmla="*/ 143180 h 528885"/>
                <a:gd name="connsiteX1555" fmla="*/ 219656 w 710303"/>
                <a:gd name="connsiteY1555" fmla="*/ 138552 h 528885"/>
                <a:gd name="connsiteX1556" fmla="*/ 220140 w 710303"/>
                <a:gd name="connsiteY1556" fmla="*/ 136313 h 528885"/>
                <a:gd name="connsiteX1557" fmla="*/ 220745 w 710303"/>
                <a:gd name="connsiteY1557" fmla="*/ 134921 h 528885"/>
                <a:gd name="connsiteX1558" fmla="*/ 223558 w 710303"/>
                <a:gd name="connsiteY1558" fmla="*/ 131684 h 528885"/>
                <a:gd name="connsiteX1559" fmla="*/ 221683 w 710303"/>
                <a:gd name="connsiteY1559" fmla="*/ 130717 h 528885"/>
                <a:gd name="connsiteX1560" fmla="*/ 213545 w 710303"/>
                <a:gd name="connsiteY1560" fmla="*/ 130535 h 528885"/>
                <a:gd name="connsiteX1561" fmla="*/ 211336 w 710303"/>
                <a:gd name="connsiteY1561" fmla="*/ 129809 h 528885"/>
                <a:gd name="connsiteX1562" fmla="*/ 207465 w 710303"/>
                <a:gd name="connsiteY1562" fmla="*/ 126542 h 528885"/>
                <a:gd name="connsiteX1563" fmla="*/ 204167 w 710303"/>
                <a:gd name="connsiteY1563" fmla="*/ 125029 h 528885"/>
                <a:gd name="connsiteX1564" fmla="*/ 194245 w 710303"/>
                <a:gd name="connsiteY1564" fmla="*/ 115349 h 528885"/>
                <a:gd name="connsiteX1565" fmla="*/ 192157 w 710303"/>
                <a:gd name="connsiteY1565" fmla="*/ 114532 h 528885"/>
                <a:gd name="connsiteX1566" fmla="*/ 190372 w 710303"/>
                <a:gd name="connsiteY1566" fmla="*/ 115349 h 528885"/>
                <a:gd name="connsiteX1567" fmla="*/ 188588 w 710303"/>
                <a:gd name="connsiteY1567" fmla="*/ 116498 h 528885"/>
                <a:gd name="connsiteX1568" fmla="*/ 186470 w 710303"/>
                <a:gd name="connsiteY1568" fmla="*/ 119039 h 528885"/>
                <a:gd name="connsiteX1569" fmla="*/ 184594 w 710303"/>
                <a:gd name="connsiteY1569" fmla="*/ 118828 h 528885"/>
                <a:gd name="connsiteX1570" fmla="*/ 186530 w 710303"/>
                <a:gd name="connsiteY1570" fmla="*/ 118374 h 528885"/>
                <a:gd name="connsiteX1571" fmla="*/ 189374 w 710303"/>
                <a:gd name="connsiteY1571" fmla="*/ 114078 h 528885"/>
                <a:gd name="connsiteX1572" fmla="*/ 191401 w 710303"/>
                <a:gd name="connsiteY1572" fmla="*/ 113019 h 528885"/>
                <a:gd name="connsiteX1573" fmla="*/ 193882 w 710303"/>
                <a:gd name="connsiteY1573" fmla="*/ 113745 h 528885"/>
                <a:gd name="connsiteX1574" fmla="*/ 197240 w 710303"/>
                <a:gd name="connsiteY1574" fmla="*/ 116922 h 528885"/>
                <a:gd name="connsiteX1575" fmla="*/ 201384 w 710303"/>
                <a:gd name="connsiteY1575" fmla="*/ 118495 h 528885"/>
                <a:gd name="connsiteX1576" fmla="*/ 207616 w 710303"/>
                <a:gd name="connsiteY1576" fmla="*/ 124727 h 528885"/>
                <a:gd name="connsiteX1577" fmla="*/ 216056 w 710303"/>
                <a:gd name="connsiteY1577" fmla="*/ 129990 h 528885"/>
                <a:gd name="connsiteX1578" fmla="*/ 217901 w 710303"/>
                <a:gd name="connsiteY1578" fmla="*/ 129476 h 528885"/>
                <a:gd name="connsiteX1579" fmla="*/ 219353 w 710303"/>
                <a:gd name="connsiteY1579" fmla="*/ 129143 h 528885"/>
                <a:gd name="connsiteX1580" fmla="*/ 224103 w 710303"/>
                <a:gd name="connsiteY1580" fmla="*/ 129204 h 528885"/>
                <a:gd name="connsiteX1581" fmla="*/ 225222 w 710303"/>
                <a:gd name="connsiteY1581" fmla="*/ 128901 h 528885"/>
                <a:gd name="connsiteX1582" fmla="*/ 226039 w 710303"/>
                <a:gd name="connsiteY1582" fmla="*/ 128236 h 528885"/>
                <a:gd name="connsiteX1583" fmla="*/ 226886 w 710303"/>
                <a:gd name="connsiteY1583" fmla="*/ 127056 h 528885"/>
                <a:gd name="connsiteX1584" fmla="*/ 228096 w 710303"/>
                <a:gd name="connsiteY1584" fmla="*/ 124364 h 528885"/>
                <a:gd name="connsiteX1585" fmla="*/ 230576 w 710303"/>
                <a:gd name="connsiteY1585" fmla="*/ 116196 h 528885"/>
                <a:gd name="connsiteX1586" fmla="*/ 231726 w 710303"/>
                <a:gd name="connsiteY1586" fmla="*/ 108875 h 528885"/>
                <a:gd name="connsiteX1587" fmla="*/ 233329 w 710303"/>
                <a:gd name="connsiteY1587" fmla="*/ 104247 h 528885"/>
                <a:gd name="connsiteX1588" fmla="*/ 236869 w 710303"/>
                <a:gd name="connsiteY1588" fmla="*/ 97349 h 528885"/>
                <a:gd name="connsiteX1589" fmla="*/ 239289 w 710303"/>
                <a:gd name="connsiteY1589" fmla="*/ 94566 h 528885"/>
                <a:gd name="connsiteX1590" fmla="*/ 244432 w 710303"/>
                <a:gd name="connsiteY1590" fmla="*/ 91057 h 528885"/>
                <a:gd name="connsiteX1591" fmla="*/ 246156 w 710303"/>
                <a:gd name="connsiteY1591" fmla="*/ 88485 h 528885"/>
                <a:gd name="connsiteX1592" fmla="*/ 244038 w 710303"/>
                <a:gd name="connsiteY1592" fmla="*/ 70970 h 528885"/>
                <a:gd name="connsiteX1593" fmla="*/ 244038 w 710303"/>
                <a:gd name="connsiteY1593" fmla="*/ 62046 h 528885"/>
                <a:gd name="connsiteX1594" fmla="*/ 246912 w 710303"/>
                <a:gd name="connsiteY1594" fmla="*/ 54483 h 528885"/>
                <a:gd name="connsiteX1595" fmla="*/ 243131 w 710303"/>
                <a:gd name="connsiteY1595" fmla="*/ 46103 h 528885"/>
                <a:gd name="connsiteX1596" fmla="*/ 238049 w 710303"/>
                <a:gd name="connsiteY1596" fmla="*/ 38964 h 528885"/>
                <a:gd name="connsiteX1597" fmla="*/ 235235 w 710303"/>
                <a:gd name="connsiteY1597" fmla="*/ 31189 h 528885"/>
                <a:gd name="connsiteX1598" fmla="*/ 238260 w 710303"/>
                <a:gd name="connsiteY1598" fmla="*/ 20843 h 528885"/>
                <a:gd name="connsiteX1599" fmla="*/ 246519 w 710303"/>
                <a:gd name="connsiteY1599" fmla="*/ 9045 h 528885"/>
                <a:gd name="connsiteX1600" fmla="*/ 251752 w 710303"/>
                <a:gd name="connsiteY1600" fmla="*/ 4356 h 528885"/>
                <a:gd name="connsiteX1601" fmla="*/ 257228 w 710303"/>
                <a:gd name="connsiteY1601" fmla="*/ 2450 h 528885"/>
                <a:gd name="connsiteX1602" fmla="*/ 254808 w 710303"/>
                <a:gd name="connsiteY1602" fmla="*/ 635 h 528885"/>
                <a:gd name="connsiteX1603" fmla="*/ 251904 w 710303"/>
                <a:gd name="connsiteY1603" fmla="*/ 0 h 528885"/>
                <a:gd name="connsiteX1604" fmla="*/ 248909 w 710303"/>
                <a:gd name="connsiteY1604" fmla="*/ 302 h 528885"/>
                <a:gd name="connsiteX1605" fmla="*/ 246186 w 710303"/>
                <a:gd name="connsiteY1605" fmla="*/ 1271 h 528885"/>
                <a:gd name="connsiteX1606" fmla="*/ 239501 w 710303"/>
                <a:gd name="connsiteY1606" fmla="*/ 5929 h 528885"/>
                <a:gd name="connsiteX1607" fmla="*/ 227249 w 710303"/>
                <a:gd name="connsiteY1607" fmla="*/ 17667 h 528885"/>
                <a:gd name="connsiteX1608" fmla="*/ 220109 w 710303"/>
                <a:gd name="connsiteY1608" fmla="*/ 22507 h 528885"/>
                <a:gd name="connsiteX1609" fmla="*/ 211851 w 710303"/>
                <a:gd name="connsiteY1609" fmla="*/ 25926 h 528885"/>
                <a:gd name="connsiteX1610" fmla="*/ 202806 w 710303"/>
                <a:gd name="connsiteY1610" fmla="*/ 27347 h 528885"/>
                <a:gd name="connsiteX1611" fmla="*/ 193518 w 710303"/>
                <a:gd name="connsiteY1611" fmla="*/ 26712 h 528885"/>
                <a:gd name="connsiteX1612" fmla="*/ 188648 w 710303"/>
                <a:gd name="connsiteY1612" fmla="*/ 27620 h 528885"/>
                <a:gd name="connsiteX1613" fmla="*/ 186258 w 710303"/>
                <a:gd name="connsiteY1613" fmla="*/ 30887 h 528885"/>
                <a:gd name="connsiteX1614" fmla="*/ 184927 w 710303"/>
                <a:gd name="connsiteY1614" fmla="*/ 31764 h 528885"/>
                <a:gd name="connsiteX1615" fmla="*/ 181448 w 710303"/>
                <a:gd name="connsiteY1615" fmla="*/ 37935 h 528885"/>
                <a:gd name="connsiteX1616" fmla="*/ 174521 w 710303"/>
                <a:gd name="connsiteY1616" fmla="*/ 45105 h 528885"/>
                <a:gd name="connsiteX1617" fmla="*/ 170679 w 710303"/>
                <a:gd name="connsiteY1617" fmla="*/ 50369 h 528885"/>
                <a:gd name="connsiteX1618" fmla="*/ 149019 w 710303"/>
                <a:gd name="connsiteY1618" fmla="*/ 87427 h 528885"/>
                <a:gd name="connsiteX1619" fmla="*/ 141425 w 710303"/>
                <a:gd name="connsiteY1619" fmla="*/ 95262 h 528885"/>
                <a:gd name="connsiteX1620" fmla="*/ 132804 w 710303"/>
                <a:gd name="connsiteY1620" fmla="*/ 100647 h 528885"/>
                <a:gd name="connsiteX1621" fmla="*/ 123698 w 710303"/>
                <a:gd name="connsiteY1621" fmla="*/ 103793 h 528885"/>
                <a:gd name="connsiteX1622" fmla="*/ 114562 w 710303"/>
                <a:gd name="connsiteY1622" fmla="*/ 104791 h 528885"/>
                <a:gd name="connsiteX1623" fmla="*/ 89393 w 710303"/>
                <a:gd name="connsiteY1623" fmla="*/ 101403 h 528885"/>
                <a:gd name="connsiteX1624" fmla="*/ 87578 w 710303"/>
                <a:gd name="connsiteY1624" fmla="*/ 102159 h 528885"/>
                <a:gd name="connsiteX1625" fmla="*/ 82738 w 710303"/>
                <a:gd name="connsiteY1625" fmla="*/ 107120 h 528885"/>
                <a:gd name="connsiteX1626" fmla="*/ 78684 w 710303"/>
                <a:gd name="connsiteY1626" fmla="*/ 109056 h 528885"/>
                <a:gd name="connsiteX1627" fmla="*/ 69578 w 710303"/>
                <a:gd name="connsiteY1627" fmla="*/ 110993 h 528885"/>
                <a:gd name="connsiteX1628" fmla="*/ 64859 w 710303"/>
                <a:gd name="connsiteY1628" fmla="*/ 110720 h 528885"/>
                <a:gd name="connsiteX1629" fmla="*/ 56480 w 710303"/>
                <a:gd name="connsiteY1629" fmla="*/ 107967 h 528885"/>
                <a:gd name="connsiteX1630" fmla="*/ 52879 w 710303"/>
                <a:gd name="connsiteY1630" fmla="*/ 107907 h 528885"/>
                <a:gd name="connsiteX1631" fmla="*/ 49673 w 710303"/>
                <a:gd name="connsiteY1631" fmla="*/ 110720 h 528885"/>
                <a:gd name="connsiteX1632" fmla="*/ 41354 w 710303"/>
                <a:gd name="connsiteY1632" fmla="*/ 122912 h 528885"/>
                <a:gd name="connsiteX1633" fmla="*/ 35939 w 710303"/>
                <a:gd name="connsiteY1633" fmla="*/ 128115 h 528885"/>
                <a:gd name="connsiteX1634" fmla="*/ 17909 w 710303"/>
                <a:gd name="connsiteY1634" fmla="*/ 155341 h 528885"/>
                <a:gd name="connsiteX1635" fmla="*/ 15640 w 710303"/>
                <a:gd name="connsiteY1635" fmla="*/ 160544 h 528885"/>
                <a:gd name="connsiteX1636" fmla="*/ 14460 w 710303"/>
                <a:gd name="connsiteY1636" fmla="*/ 167502 h 528885"/>
                <a:gd name="connsiteX1637" fmla="*/ 14672 w 710303"/>
                <a:gd name="connsiteY1637" fmla="*/ 175277 h 528885"/>
                <a:gd name="connsiteX1638" fmla="*/ 15428 w 710303"/>
                <a:gd name="connsiteY1638" fmla="*/ 178816 h 528885"/>
                <a:gd name="connsiteX1639" fmla="*/ 16941 w 710303"/>
                <a:gd name="connsiteY1639" fmla="*/ 178574 h 528885"/>
                <a:gd name="connsiteX1640" fmla="*/ 17183 w 710303"/>
                <a:gd name="connsiteY1640" fmla="*/ 176305 h 528885"/>
                <a:gd name="connsiteX1641" fmla="*/ 16669 w 710303"/>
                <a:gd name="connsiteY1641" fmla="*/ 172675 h 528885"/>
                <a:gd name="connsiteX1642" fmla="*/ 15217 w 710303"/>
                <a:gd name="connsiteY1642" fmla="*/ 166474 h 528885"/>
                <a:gd name="connsiteX1643" fmla="*/ 16881 w 710303"/>
                <a:gd name="connsiteY1643" fmla="*/ 166594 h 528885"/>
                <a:gd name="connsiteX1644" fmla="*/ 19724 w 710303"/>
                <a:gd name="connsiteY1644" fmla="*/ 168349 h 528885"/>
                <a:gd name="connsiteX1645" fmla="*/ 21085 w 710303"/>
                <a:gd name="connsiteY1645" fmla="*/ 168773 h 528885"/>
                <a:gd name="connsiteX1646" fmla="*/ 21721 w 710303"/>
                <a:gd name="connsiteY1646" fmla="*/ 169710 h 528885"/>
                <a:gd name="connsiteX1647" fmla="*/ 22840 w 710303"/>
                <a:gd name="connsiteY1647" fmla="*/ 175791 h 528885"/>
                <a:gd name="connsiteX1648" fmla="*/ 24141 w 710303"/>
                <a:gd name="connsiteY1648" fmla="*/ 178120 h 528885"/>
                <a:gd name="connsiteX1649" fmla="*/ 26137 w 710303"/>
                <a:gd name="connsiteY1649" fmla="*/ 180722 h 528885"/>
                <a:gd name="connsiteX1650" fmla="*/ 28255 w 710303"/>
                <a:gd name="connsiteY1650" fmla="*/ 182870 h 528885"/>
                <a:gd name="connsiteX1651" fmla="*/ 30040 w 710303"/>
                <a:gd name="connsiteY1651" fmla="*/ 183747 h 528885"/>
                <a:gd name="connsiteX1652" fmla="*/ 32611 w 710303"/>
                <a:gd name="connsiteY1652" fmla="*/ 184231 h 528885"/>
                <a:gd name="connsiteX1653" fmla="*/ 35425 w 710303"/>
                <a:gd name="connsiteY1653" fmla="*/ 185592 h 528885"/>
                <a:gd name="connsiteX1654" fmla="*/ 37694 w 710303"/>
                <a:gd name="connsiteY1654" fmla="*/ 187619 h 528885"/>
                <a:gd name="connsiteX1655" fmla="*/ 38601 w 710303"/>
                <a:gd name="connsiteY1655" fmla="*/ 190130 h 528885"/>
                <a:gd name="connsiteX1656" fmla="*/ 39660 w 710303"/>
                <a:gd name="connsiteY1656" fmla="*/ 192127 h 528885"/>
                <a:gd name="connsiteX1657" fmla="*/ 42140 w 710303"/>
                <a:gd name="connsiteY1657" fmla="*/ 195182 h 528885"/>
                <a:gd name="connsiteX1658" fmla="*/ 44954 w 710303"/>
                <a:gd name="connsiteY1658" fmla="*/ 197572 h 528885"/>
                <a:gd name="connsiteX1659" fmla="*/ 46981 w 710303"/>
                <a:gd name="connsiteY1659" fmla="*/ 197512 h 528885"/>
                <a:gd name="connsiteX1660" fmla="*/ 45710 w 710303"/>
                <a:gd name="connsiteY1660" fmla="*/ 196755 h 528885"/>
                <a:gd name="connsiteX1661" fmla="*/ 45710 w 710303"/>
                <a:gd name="connsiteY1661" fmla="*/ 196059 h 528885"/>
                <a:gd name="connsiteX1662" fmla="*/ 46557 w 710303"/>
                <a:gd name="connsiteY1662" fmla="*/ 195515 h 528885"/>
                <a:gd name="connsiteX1663" fmla="*/ 47979 w 710303"/>
                <a:gd name="connsiteY1663" fmla="*/ 195303 h 528885"/>
                <a:gd name="connsiteX1664" fmla="*/ 49310 w 710303"/>
                <a:gd name="connsiteY1664" fmla="*/ 194759 h 528885"/>
                <a:gd name="connsiteX1665" fmla="*/ 50338 w 710303"/>
                <a:gd name="connsiteY1665" fmla="*/ 193579 h 528885"/>
                <a:gd name="connsiteX1666" fmla="*/ 51821 w 710303"/>
                <a:gd name="connsiteY1666" fmla="*/ 191129 h 528885"/>
                <a:gd name="connsiteX1667" fmla="*/ 51125 w 710303"/>
                <a:gd name="connsiteY1667" fmla="*/ 189525 h 528885"/>
                <a:gd name="connsiteX1668" fmla="*/ 49612 w 710303"/>
                <a:gd name="connsiteY1668" fmla="*/ 187287 h 528885"/>
                <a:gd name="connsiteX1669" fmla="*/ 49612 w 710303"/>
                <a:gd name="connsiteY1669" fmla="*/ 185865 h 528885"/>
                <a:gd name="connsiteX1670" fmla="*/ 49885 w 710303"/>
                <a:gd name="connsiteY1670" fmla="*/ 182658 h 528885"/>
                <a:gd name="connsiteX1671" fmla="*/ 49612 w 710303"/>
                <a:gd name="connsiteY1671" fmla="*/ 181418 h 528885"/>
                <a:gd name="connsiteX1672" fmla="*/ 48130 w 710303"/>
                <a:gd name="connsiteY1672" fmla="*/ 180873 h 528885"/>
                <a:gd name="connsiteX1673" fmla="*/ 41021 w 710303"/>
                <a:gd name="connsiteY1673" fmla="*/ 183717 h 528885"/>
                <a:gd name="connsiteX1674" fmla="*/ 40023 w 710303"/>
                <a:gd name="connsiteY1674" fmla="*/ 183384 h 528885"/>
                <a:gd name="connsiteX1675" fmla="*/ 37905 w 710303"/>
                <a:gd name="connsiteY1675" fmla="*/ 181841 h 528885"/>
                <a:gd name="connsiteX1676" fmla="*/ 36453 w 710303"/>
                <a:gd name="connsiteY1676" fmla="*/ 181418 h 528885"/>
                <a:gd name="connsiteX1677" fmla="*/ 31643 w 710303"/>
                <a:gd name="connsiteY1677" fmla="*/ 182658 h 528885"/>
                <a:gd name="connsiteX1678" fmla="*/ 31643 w 710303"/>
                <a:gd name="connsiteY1678" fmla="*/ 181418 h 528885"/>
                <a:gd name="connsiteX1679" fmla="*/ 32914 w 710303"/>
                <a:gd name="connsiteY1679" fmla="*/ 180964 h 528885"/>
                <a:gd name="connsiteX1680" fmla="*/ 34941 w 710303"/>
                <a:gd name="connsiteY1680" fmla="*/ 179451 h 528885"/>
                <a:gd name="connsiteX1681" fmla="*/ 36120 w 710303"/>
                <a:gd name="connsiteY1681" fmla="*/ 179119 h 528885"/>
                <a:gd name="connsiteX1682" fmla="*/ 37421 w 710303"/>
                <a:gd name="connsiteY1682" fmla="*/ 179482 h 528885"/>
                <a:gd name="connsiteX1683" fmla="*/ 39781 w 710303"/>
                <a:gd name="connsiteY1683" fmla="*/ 181055 h 528885"/>
                <a:gd name="connsiteX1684" fmla="*/ 40961 w 710303"/>
                <a:gd name="connsiteY1684" fmla="*/ 181387 h 528885"/>
                <a:gd name="connsiteX1685" fmla="*/ 42261 w 710303"/>
                <a:gd name="connsiteY1685" fmla="*/ 181115 h 528885"/>
                <a:gd name="connsiteX1686" fmla="*/ 43562 w 710303"/>
                <a:gd name="connsiteY1686" fmla="*/ 180268 h 528885"/>
                <a:gd name="connsiteX1687" fmla="*/ 44167 w 710303"/>
                <a:gd name="connsiteY1687" fmla="*/ 178846 h 528885"/>
                <a:gd name="connsiteX1688" fmla="*/ 43411 w 710303"/>
                <a:gd name="connsiteY1688" fmla="*/ 176789 h 528885"/>
                <a:gd name="connsiteX1689" fmla="*/ 42473 w 710303"/>
                <a:gd name="connsiteY1689" fmla="*/ 176426 h 528885"/>
                <a:gd name="connsiteX1690" fmla="*/ 38450 w 710303"/>
                <a:gd name="connsiteY1690" fmla="*/ 176789 h 528885"/>
                <a:gd name="connsiteX1691" fmla="*/ 38450 w 710303"/>
                <a:gd name="connsiteY1691" fmla="*/ 175761 h 528885"/>
                <a:gd name="connsiteX1692" fmla="*/ 39962 w 710303"/>
                <a:gd name="connsiteY1692" fmla="*/ 174218 h 528885"/>
                <a:gd name="connsiteX1693" fmla="*/ 40053 w 710303"/>
                <a:gd name="connsiteY1693" fmla="*/ 171556 h 528885"/>
                <a:gd name="connsiteX1694" fmla="*/ 39176 w 710303"/>
                <a:gd name="connsiteY1694" fmla="*/ 165838 h 528885"/>
                <a:gd name="connsiteX1695" fmla="*/ 39932 w 710303"/>
                <a:gd name="connsiteY1695" fmla="*/ 163630 h 528885"/>
                <a:gd name="connsiteX1696" fmla="*/ 41596 w 710303"/>
                <a:gd name="connsiteY1696" fmla="*/ 162480 h 528885"/>
                <a:gd name="connsiteX1697" fmla="*/ 43260 w 710303"/>
                <a:gd name="connsiteY1697" fmla="*/ 161845 h 528885"/>
                <a:gd name="connsiteX1698" fmla="*/ 44016 w 710303"/>
                <a:gd name="connsiteY1698" fmla="*/ 161180 h 528885"/>
                <a:gd name="connsiteX1699" fmla="*/ 44470 w 710303"/>
                <a:gd name="connsiteY1699" fmla="*/ 160211 h 528885"/>
                <a:gd name="connsiteX1700" fmla="*/ 45559 w 710303"/>
                <a:gd name="connsiteY1700" fmla="*/ 159728 h 528885"/>
                <a:gd name="connsiteX1701" fmla="*/ 47828 w 710303"/>
                <a:gd name="connsiteY1701" fmla="*/ 159546 h 528885"/>
                <a:gd name="connsiteX1702" fmla="*/ 51004 w 710303"/>
                <a:gd name="connsiteY1702" fmla="*/ 154948 h 528885"/>
                <a:gd name="connsiteX1703" fmla="*/ 51670 w 710303"/>
                <a:gd name="connsiteY1703" fmla="*/ 154252 h 528885"/>
                <a:gd name="connsiteX1704" fmla="*/ 52153 w 710303"/>
                <a:gd name="connsiteY1704" fmla="*/ 153405 h 528885"/>
                <a:gd name="connsiteX1705" fmla="*/ 52335 w 710303"/>
                <a:gd name="connsiteY1705" fmla="*/ 151953 h 528885"/>
                <a:gd name="connsiteX1706" fmla="*/ 52456 w 710303"/>
                <a:gd name="connsiteY1706" fmla="*/ 151560 h 528885"/>
                <a:gd name="connsiteX1707" fmla="*/ 53031 w 710303"/>
                <a:gd name="connsiteY1707" fmla="*/ 146750 h 528885"/>
                <a:gd name="connsiteX1708" fmla="*/ 54332 w 710303"/>
                <a:gd name="connsiteY1708" fmla="*/ 144874 h 528885"/>
                <a:gd name="connsiteX1709" fmla="*/ 55905 w 710303"/>
                <a:gd name="connsiteY1709" fmla="*/ 143362 h 528885"/>
                <a:gd name="connsiteX1710" fmla="*/ 57266 w 710303"/>
                <a:gd name="connsiteY1710" fmla="*/ 141365 h 528885"/>
                <a:gd name="connsiteX1711" fmla="*/ 57810 w 710303"/>
                <a:gd name="connsiteY1711" fmla="*/ 138068 h 528885"/>
                <a:gd name="connsiteX1712" fmla="*/ 58899 w 710303"/>
                <a:gd name="connsiteY1712" fmla="*/ 136827 h 528885"/>
                <a:gd name="connsiteX1713" fmla="*/ 61259 w 710303"/>
                <a:gd name="connsiteY1713" fmla="*/ 135829 h 528885"/>
                <a:gd name="connsiteX1714" fmla="*/ 63619 w 710303"/>
                <a:gd name="connsiteY1714" fmla="*/ 135345 h 528885"/>
                <a:gd name="connsiteX1715" fmla="*/ 67219 w 710303"/>
                <a:gd name="connsiteY1715" fmla="*/ 136313 h 528885"/>
                <a:gd name="connsiteX1716" fmla="*/ 72210 w 710303"/>
                <a:gd name="connsiteY1716" fmla="*/ 133863 h 528885"/>
                <a:gd name="connsiteX1717" fmla="*/ 75871 w 710303"/>
                <a:gd name="connsiteY1717" fmla="*/ 130717 h 528885"/>
                <a:gd name="connsiteX1718" fmla="*/ 74389 w 710303"/>
                <a:gd name="connsiteY1718" fmla="*/ 129234 h 528885"/>
                <a:gd name="connsiteX1719" fmla="*/ 76113 w 710303"/>
                <a:gd name="connsiteY1719" fmla="*/ 128145 h 528885"/>
                <a:gd name="connsiteX1720" fmla="*/ 78412 w 710303"/>
                <a:gd name="connsiteY1720" fmla="*/ 127903 h 528885"/>
                <a:gd name="connsiteX1721" fmla="*/ 80409 w 710303"/>
                <a:gd name="connsiteY1721" fmla="*/ 128780 h 528885"/>
                <a:gd name="connsiteX1722" fmla="*/ 81286 w 710303"/>
                <a:gd name="connsiteY1722" fmla="*/ 131049 h 528885"/>
                <a:gd name="connsiteX1723" fmla="*/ 82042 w 710303"/>
                <a:gd name="connsiteY1723" fmla="*/ 130717 h 528885"/>
                <a:gd name="connsiteX1724" fmla="*/ 83797 w 710303"/>
                <a:gd name="connsiteY1724" fmla="*/ 128690 h 528885"/>
                <a:gd name="connsiteX1725" fmla="*/ 85854 w 710303"/>
                <a:gd name="connsiteY1725" fmla="*/ 126814 h 528885"/>
                <a:gd name="connsiteX1726" fmla="*/ 87487 w 710303"/>
                <a:gd name="connsiteY1726" fmla="*/ 126965 h 528885"/>
                <a:gd name="connsiteX1727" fmla="*/ 89151 w 710303"/>
                <a:gd name="connsiteY1727" fmla="*/ 125241 h 528885"/>
                <a:gd name="connsiteX1728" fmla="*/ 90875 w 710303"/>
                <a:gd name="connsiteY1728" fmla="*/ 123970 h 528885"/>
                <a:gd name="connsiteX1729" fmla="*/ 92600 w 710303"/>
                <a:gd name="connsiteY1729" fmla="*/ 123607 h 528885"/>
                <a:gd name="connsiteX1730" fmla="*/ 94415 w 710303"/>
                <a:gd name="connsiteY1730" fmla="*/ 124696 h 528885"/>
                <a:gd name="connsiteX1731" fmla="*/ 93779 w 710303"/>
                <a:gd name="connsiteY1731" fmla="*/ 125755 h 528885"/>
                <a:gd name="connsiteX1732" fmla="*/ 95474 w 710303"/>
                <a:gd name="connsiteY1732" fmla="*/ 125755 h 528885"/>
                <a:gd name="connsiteX1733" fmla="*/ 96744 w 710303"/>
                <a:gd name="connsiteY1733" fmla="*/ 125150 h 528885"/>
                <a:gd name="connsiteX1734" fmla="*/ 99195 w 710303"/>
                <a:gd name="connsiteY1734" fmla="*/ 123426 h 528885"/>
                <a:gd name="connsiteX1735" fmla="*/ 102522 w 710303"/>
                <a:gd name="connsiteY1735" fmla="*/ 122155 h 528885"/>
                <a:gd name="connsiteX1736" fmla="*/ 103339 w 710303"/>
                <a:gd name="connsiteY1736" fmla="*/ 121006 h 528885"/>
                <a:gd name="connsiteX1737" fmla="*/ 102704 w 710303"/>
                <a:gd name="connsiteY1737" fmla="*/ 118767 h 528885"/>
                <a:gd name="connsiteX1738" fmla="*/ 113957 w 710303"/>
                <a:gd name="connsiteY1738" fmla="*/ 127510 h 528885"/>
                <a:gd name="connsiteX1739" fmla="*/ 115863 w 710303"/>
                <a:gd name="connsiteY1739" fmla="*/ 128296 h 528885"/>
                <a:gd name="connsiteX1740" fmla="*/ 117860 w 710303"/>
                <a:gd name="connsiteY1740" fmla="*/ 128115 h 528885"/>
                <a:gd name="connsiteX1741" fmla="*/ 140881 w 710303"/>
                <a:gd name="connsiteY1741" fmla="*/ 120431 h 528885"/>
                <a:gd name="connsiteX1742" fmla="*/ 149624 w 710303"/>
                <a:gd name="connsiteY1742" fmla="*/ 120310 h 528885"/>
                <a:gd name="connsiteX1743" fmla="*/ 153677 w 710303"/>
                <a:gd name="connsiteY1743" fmla="*/ 118737 h 528885"/>
                <a:gd name="connsiteX1744" fmla="*/ 157187 w 710303"/>
                <a:gd name="connsiteY1744" fmla="*/ 115712 h 528885"/>
                <a:gd name="connsiteX1745" fmla="*/ 159093 w 710303"/>
                <a:gd name="connsiteY1745" fmla="*/ 115228 h 528885"/>
                <a:gd name="connsiteX1746" fmla="*/ 160908 w 710303"/>
                <a:gd name="connsiteY1746" fmla="*/ 116922 h 528885"/>
                <a:gd name="connsiteX1747" fmla="*/ 162783 w 710303"/>
                <a:gd name="connsiteY1747" fmla="*/ 118253 h 528885"/>
                <a:gd name="connsiteX1748" fmla="*/ 164931 w 710303"/>
                <a:gd name="connsiteY1748" fmla="*/ 117315 h 528885"/>
                <a:gd name="connsiteX1749" fmla="*/ 166867 w 710303"/>
                <a:gd name="connsiteY1749" fmla="*/ 115439 h 528885"/>
                <a:gd name="connsiteX1750" fmla="*/ 170407 w 710303"/>
                <a:gd name="connsiteY1750" fmla="*/ 110993 h 528885"/>
                <a:gd name="connsiteX1751" fmla="*/ 171223 w 710303"/>
                <a:gd name="connsiteY1751" fmla="*/ 110569 h 528885"/>
                <a:gd name="connsiteX1752" fmla="*/ 172312 w 710303"/>
                <a:gd name="connsiteY1752" fmla="*/ 110932 h 528885"/>
                <a:gd name="connsiteX1753" fmla="*/ 174339 w 710303"/>
                <a:gd name="connsiteY1753" fmla="*/ 112535 h 528885"/>
                <a:gd name="connsiteX1754" fmla="*/ 177364 w 710303"/>
                <a:gd name="connsiteY1754" fmla="*/ 113594 h 528885"/>
                <a:gd name="connsiteX1755" fmla="*/ 183324 w 710303"/>
                <a:gd name="connsiteY1755" fmla="*/ 118707 h 528885"/>
                <a:gd name="connsiteX1756" fmla="*/ 172585 w 710303"/>
                <a:gd name="connsiteY1756" fmla="*/ 119856 h 528885"/>
                <a:gd name="connsiteX1757" fmla="*/ 167775 w 710303"/>
                <a:gd name="connsiteY1757" fmla="*/ 118707 h 528885"/>
                <a:gd name="connsiteX1758" fmla="*/ 164447 w 710303"/>
                <a:gd name="connsiteY1758" fmla="*/ 120673 h 528885"/>
                <a:gd name="connsiteX1759" fmla="*/ 160514 w 710303"/>
                <a:gd name="connsiteY1759" fmla="*/ 122034 h 528885"/>
                <a:gd name="connsiteX1760" fmla="*/ 158669 w 710303"/>
                <a:gd name="connsiteY1760" fmla="*/ 124454 h 528885"/>
                <a:gd name="connsiteX1761" fmla="*/ 157005 w 710303"/>
                <a:gd name="connsiteY1761" fmla="*/ 127510 h 528885"/>
                <a:gd name="connsiteX1762" fmla="*/ 153345 w 710303"/>
                <a:gd name="connsiteY1762" fmla="*/ 132895 h 528885"/>
                <a:gd name="connsiteX1763" fmla="*/ 152376 w 710303"/>
                <a:gd name="connsiteY1763" fmla="*/ 133772 h 528885"/>
                <a:gd name="connsiteX1764" fmla="*/ 151015 w 710303"/>
                <a:gd name="connsiteY1764" fmla="*/ 133893 h 528885"/>
                <a:gd name="connsiteX1765" fmla="*/ 149654 w 710303"/>
                <a:gd name="connsiteY1765" fmla="*/ 133258 h 528885"/>
                <a:gd name="connsiteX1766" fmla="*/ 148868 w 710303"/>
                <a:gd name="connsiteY1766" fmla="*/ 132259 h 528885"/>
                <a:gd name="connsiteX1767" fmla="*/ 148958 w 710303"/>
                <a:gd name="connsiteY1767" fmla="*/ 131200 h 528885"/>
                <a:gd name="connsiteX1768" fmla="*/ 150229 w 710303"/>
                <a:gd name="connsiteY1768" fmla="*/ 130414 h 528885"/>
                <a:gd name="connsiteX1769" fmla="*/ 150229 w 710303"/>
                <a:gd name="connsiteY1769" fmla="*/ 129143 h 528885"/>
                <a:gd name="connsiteX1770" fmla="*/ 138491 w 710303"/>
                <a:gd name="connsiteY1770" fmla="*/ 124606 h 528885"/>
                <a:gd name="connsiteX1771" fmla="*/ 135164 w 710303"/>
                <a:gd name="connsiteY1771" fmla="*/ 124515 h 528885"/>
                <a:gd name="connsiteX1772" fmla="*/ 120249 w 710303"/>
                <a:gd name="connsiteY1772" fmla="*/ 129143 h 528885"/>
                <a:gd name="connsiteX1773" fmla="*/ 119917 w 710303"/>
                <a:gd name="connsiteY1773" fmla="*/ 129688 h 528885"/>
                <a:gd name="connsiteX1774" fmla="*/ 119372 w 710303"/>
                <a:gd name="connsiteY1774" fmla="*/ 132078 h 528885"/>
                <a:gd name="connsiteX1775" fmla="*/ 118828 w 710303"/>
                <a:gd name="connsiteY1775" fmla="*/ 132622 h 528885"/>
                <a:gd name="connsiteX1776" fmla="*/ 117950 w 710303"/>
                <a:gd name="connsiteY1776" fmla="*/ 132683 h 528885"/>
                <a:gd name="connsiteX1777" fmla="*/ 117194 w 710303"/>
                <a:gd name="connsiteY1777" fmla="*/ 132925 h 528885"/>
                <a:gd name="connsiteX1778" fmla="*/ 116498 w 710303"/>
                <a:gd name="connsiteY1778" fmla="*/ 133318 h 528885"/>
                <a:gd name="connsiteX1779" fmla="*/ 113382 w 710303"/>
                <a:gd name="connsiteY1779" fmla="*/ 136283 h 528885"/>
                <a:gd name="connsiteX1780" fmla="*/ 111325 w 710303"/>
                <a:gd name="connsiteY1780" fmla="*/ 139005 h 528885"/>
                <a:gd name="connsiteX1781" fmla="*/ 109450 w 710303"/>
                <a:gd name="connsiteY1781" fmla="*/ 142363 h 528885"/>
                <a:gd name="connsiteX1782" fmla="*/ 107574 w 710303"/>
                <a:gd name="connsiteY1782" fmla="*/ 146599 h 528885"/>
                <a:gd name="connsiteX1783" fmla="*/ 109208 w 710303"/>
                <a:gd name="connsiteY1783" fmla="*/ 148202 h 528885"/>
                <a:gd name="connsiteX1784" fmla="*/ 110085 w 710303"/>
                <a:gd name="connsiteY1784" fmla="*/ 148777 h 528885"/>
                <a:gd name="connsiteX1785" fmla="*/ 111265 w 710303"/>
                <a:gd name="connsiteY1785" fmla="*/ 149019 h 528885"/>
                <a:gd name="connsiteX1786" fmla="*/ 111900 w 710303"/>
                <a:gd name="connsiteY1786" fmla="*/ 149896 h 528885"/>
                <a:gd name="connsiteX1787" fmla="*/ 112384 w 710303"/>
                <a:gd name="connsiteY1787" fmla="*/ 151832 h 528885"/>
                <a:gd name="connsiteX1788" fmla="*/ 112475 w 710303"/>
                <a:gd name="connsiteY1788" fmla="*/ 153798 h 528885"/>
                <a:gd name="connsiteX1789" fmla="*/ 111991 w 710303"/>
                <a:gd name="connsiteY1789" fmla="*/ 154676 h 528885"/>
                <a:gd name="connsiteX1790" fmla="*/ 111719 w 710303"/>
                <a:gd name="connsiteY1790" fmla="*/ 155462 h 528885"/>
                <a:gd name="connsiteX1791" fmla="*/ 109420 w 710303"/>
                <a:gd name="connsiteY1791" fmla="*/ 158820 h 528885"/>
                <a:gd name="connsiteX1792" fmla="*/ 108905 w 710303"/>
                <a:gd name="connsiteY1792" fmla="*/ 159365 h 528885"/>
                <a:gd name="connsiteX1793" fmla="*/ 108784 w 710303"/>
                <a:gd name="connsiteY1793" fmla="*/ 161452 h 528885"/>
                <a:gd name="connsiteX1794" fmla="*/ 109147 w 710303"/>
                <a:gd name="connsiteY1794" fmla="*/ 163479 h 528885"/>
                <a:gd name="connsiteX1795" fmla="*/ 109722 w 710303"/>
                <a:gd name="connsiteY1795" fmla="*/ 165173 h 528885"/>
                <a:gd name="connsiteX1796" fmla="*/ 110267 w 710303"/>
                <a:gd name="connsiteY1796" fmla="*/ 166292 h 528885"/>
                <a:gd name="connsiteX1797" fmla="*/ 110962 w 710303"/>
                <a:gd name="connsiteY1797" fmla="*/ 167472 h 528885"/>
                <a:gd name="connsiteX1798" fmla="*/ 111839 w 710303"/>
                <a:gd name="connsiteY1798" fmla="*/ 168591 h 528885"/>
                <a:gd name="connsiteX1799" fmla="*/ 112868 w 710303"/>
                <a:gd name="connsiteY1799" fmla="*/ 169438 h 528885"/>
                <a:gd name="connsiteX1800" fmla="*/ 115379 w 710303"/>
                <a:gd name="connsiteY1800" fmla="*/ 170255 h 528885"/>
                <a:gd name="connsiteX1801" fmla="*/ 115591 w 710303"/>
                <a:gd name="connsiteY1801" fmla="*/ 171405 h 528885"/>
                <a:gd name="connsiteX1802" fmla="*/ 115016 w 710303"/>
                <a:gd name="connsiteY1802" fmla="*/ 173764 h 528885"/>
                <a:gd name="connsiteX1803" fmla="*/ 113957 w 710303"/>
                <a:gd name="connsiteY1803" fmla="*/ 176608 h 528885"/>
                <a:gd name="connsiteX1804" fmla="*/ 109329 w 710303"/>
                <a:gd name="connsiteY1804" fmla="*/ 179209 h 528885"/>
                <a:gd name="connsiteX1805" fmla="*/ 108209 w 710303"/>
                <a:gd name="connsiteY1805" fmla="*/ 181236 h 528885"/>
                <a:gd name="connsiteX1806" fmla="*/ 109087 w 710303"/>
                <a:gd name="connsiteY1806" fmla="*/ 183384 h 528885"/>
                <a:gd name="connsiteX1807" fmla="*/ 111204 w 710303"/>
                <a:gd name="connsiteY1807" fmla="*/ 183263 h 528885"/>
                <a:gd name="connsiteX1808" fmla="*/ 113382 w 710303"/>
                <a:gd name="connsiteY1808" fmla="*/ 181962 h 528885"/>
                <a:gd name="connsiteX1809" fmla="*/ 114381 w 710303"/>
                <a:gd name="connsiteY1809" fmla="*/ 180631 h 528885"/>
                <a:gd name="connsiteX1810" fmla="*/ 118434 w 710303"/>
                <a:gd name="connsiteY1810" fmla="*/ 178907 h 528885"/>
                <a:gd name="connsiteX1811" fmla="*/ 120431 w 710303"/>
                <a:gd name="connsiteY1811" fmla="*/ 178665 h 528885"/>
                <a:gd name="connsiteX1812" fmla="*/ 120945 w 710303"/>
                <a:gd name="connsiteY1812" fmla="*/ 179058 h 528885"/>
                <a:gd name="connsiteX1813" fmla="*/ 121913 w 710303"/>
                <a:gd name="connsiteY1813" fmla="*/ 180087 h 528885"/>
                <a:gd name="connsiteX1814" fmla="*/ 123940 w 710303"/>
                <a:gd name="connsiteY1814" fmla="*/ 184443 h 528885"/>
                <a:gd name="connsiteX1815" fmla="*/ 123940 w 710303"/>
                <a:gd name="connsiteY1815" fmla="*/ 184443 h 528885"/>
                <a:gd name="connsiteX1816" fmla="*/ 123033 w 710303"/>
                <a:gd name="connsiteY1816" fmla="*/ 189253 h 528885"/>
                <a:gd name="connsiteX1817" fmla="*/ 121369 w 710303"/>
                <a:gd name="connsiteY1817" fmla="*/ 194638 h 528885"/>
                <a:gd name="connsiteX1818" fmla="*/ 121187 w 710303"/>
                <a:gd name="connsiteY1818" fmla="*/ 200870 h 528885"/>
                <a:gd name="connsiteX1819" fmla="*/ 120915 w 710303"/>
                <a:gd name="connsiteY1819" fmla="*/ 200930 h 528885"/>
                <a:gd name="connsiteX1820" fmla="*/ 120612 w 710303"/>
                <a:gd name="connsiteY1820" fmla="*/ 201747 h 528885"/>
                <a:gd name="connsiteX1821" fmla="*/ 120673 w 710303"/>
                <a:gd name="connsiteY1821" fmla="*/ 202715 h 528885"/>
                <a:gd name="connsiteX1822" fmla="*/ 121550 w 710303"/>
                <a:gd name="connsiteY1822" fmla="*/ 203169 h 528885"/>
                <a:gd name="connsiteX1823" fmla="*/ 122609 w 710303"/>
                <a:gd name="connsiteY1823" fmla="*/ 203259 h 528885"/>
                <a:gd name="connsiteX1824" fmla="*/ 123063 w 710303"/>
                <a:gd name="connsiteY1824" fmla="*/ 203108 h 528885"/>
                <a:gd name="connsiteX1825" fmla="*/ 123275 w 710303"/>
                <a:gd name="connsiteY1825" fmla="*/ 202594 h 528885"/>
                <a:gd name="connsiteX1826" fmla="*/ 126391 w 710303"/>
                <a:gd name="connsiteY1826" fmla="*/ 200870 h 528885"/>
                <a:gd name="connsiteX1827" fmla="*/ 128659 w 710303"/>
                <a:gd name="connsiteY1827" fmla="*/ 201989 h 528885"/>
                <a:gd name="connsiteX1828" fmla="*/ 128659 w 710303"/>
                <a:gd name="connsiteY1828" fmla="*/ 204106 h 528885"/>
                <a:gd name="connsiteX1829" fmla="*/ 127449 w 710303"/>
                <a:gd name="connsiteY1829" fmla="*/ 205438 h 528885"/>
                <a:gd name="connsiteX1830" fmla="*/ 126028 w 710303"/>
                <a:gd name="connsiteY1830" fmla="*/ 204197 h 528885"/>
                <a:gd name="connsiteX1831" fmla="*/ 125423 w 710303"/>
                <a:gd name="connsiteY1831" fmla="*/ 205044 h 528885"/>
                <a:gd name="connsiteX1832" fmla="*/ 123970 w 710303"/>
                <a:gd name="connsiteY1832" fmla="*/ 207857 h 528885"/>
                <a:gd name="connsiteX1833" fmla="*/ 122972 w 710303"/>
                <a:gd name="connsiteY1833" fmla="*/ 207767 h 528885"/>
                <a:gd name="connsiteX1834" fmla="*/ 122549 w 710303"/>
                <a:gd name="connsiteY1834" fmla="*/ 207071 h 528885"/>
                <a:gd name="connsiteX1835" fmla="*/ 122307 w 710303"/>
                <a:gd name="connsiteY1835" fmla="*/ 206164 h 528885"/>
                <a:gd name="connsiteX1836" fmla="*/ 121913 w 710303"/>
                <a:gd name="connsiteY1836" fmla="*/ 205468 h 528885"/>
                <a:gd name="connsiteX1837" fmla="*/ 119372 w 710303"/>
                <a:gd name="connsiteY1837" fmla="*/ 204106 h 528885"/>
                <a:gd name="connsiteX1838" fmla="*/ 118404 w 710303"/>
                <a:gd name="connsiteY1838" fmla="*/ 203199 h 528885"/>
                <a:gd name="connsiteX1839" fmla="*/ 117708 w 710303"/>
                <a:gd name="connsiteY1839" fmla="*/ 201928 h 528885"/>
                <a:gd name="connsiteX1840" fmla="*/ 117648 w 710303"/>
                <a:gd name="connsiteY1840" fmla="*/ 200900 h 528885"/>
                <a:gd name="connsiteX1841" fmla="*/ 117436 w 710303"/>
                <a:gd name="connsiteY1841" fmla="*/ 200144 h 528885"/>
                <a:gd name="connsiteX1842" fmla="*/ 116317 w 710303"/>
                <a:gd name="connsiteY1842" fmla="*/ 199750 h 528885"/>
                <a:gd name="connsiteX1843" fmla="*/ 117224 w 710303"/>
                <a:gd name="connsiteY1843" fmla="*/ 197542 h 528885"/>
                <a:gd name="connsiteX1844" fmla="*/ 119523 w 710303"/>
                <a:gd name="connsiteY1844" fmla="*/ 194426 h 528885"/>
                <a:gd name="connsiteX1845" fmla="*/ 119826 w 710303"/>
                <a:gd name="connsiteY1845" fmla="*/ 192792 h 528885"/>
                <a:gd name="connsiteX1846" fmla="*/ 118919 w 710303"/>
                <a:gd name="connsiteY1846" fmla="*/ 190675 h 528885"/>
                <a:gd name="connsiteX1847" fmla="*/ 117527 w 710303"/>
                <a:gd name="connsiteY1847" fmla="*/ 190554 h 528885"/>
                <a:gd name="connsiteX1848" fmla="*/ 115984 w 710303"/>
                <a:gd name="connsiteY1848" fmla="*/ 190826 h 528885"/>
                <a:gd name="connsiteX1849" fmla="*/ 114623 w 710303"/>
                <a:gd name="connsiteY1849" fmla="*/ 189949 h 528885"/>
                <a:gd name="connsiteX1850" fmla="*/ 112354 w 710303"/>
                <a:gd name="connsiteY1850" fmla="*/ 189676 h 528885"/>
                <a:gd name="connsiteX1851" fmla="*/ 108754 w 710303"/>
                <a:gd name="connsiteY1851" fmla="*/ 190251 h 528885"/>
                <a:gd name="connsiteX1852" fmla="*/ 106122 w 710303"/>
                <a:gd name="connsiteY1852" fmla="*/ 189676 h 528885"/>
                <a:gd name="connsiteX1853" fmla="*/ 106727 w 710303"/>
                <a:gd name="connsiteY1853" fmla="*/ 185895 h 528885"/>
                <a:gd name="connsiteX1854" fmla="*/ 106031 w 710303"/>
                <a:gd name="connsiteY1854" fmla="*/ 185895 h 528885"/>
                <a:gd name="connsiteX1855" fmla="*/ 105547 w 710303"/>
                <a:gd name="connsiteY1855" fmla="*/ 188194 h 528885"/>
                <a:gd name="connsiteX1856" fmla="*/ 104852 w 710303"/>
                <a:gd name="connsiteY1856" fmla="*/ 189646 h 528885"/>
                <a:gd name="connsiteX1857" fmla="*/ 104065 w 710303"/>
                <a:gd name="connsiteY1857" fmla="*/ 190947 h 528885"/>
                <a:gd name="connsiteX1858" fmla="*/ 103309 w 710303"/>
                <a:gd name="connsiteY1858" fmla="*/ 192792 h 528885"/>
                <a:gd name="connsiteX1859" fmla="*/ 104337 w 710303"/>
                <a:gd name="connsiteY1859" fmla="*/ 192036 h 528885"/>
                <a:gd name="connsiteX1860" fmla="*/ 105305 w 710303"/>
                <a:gd name="connsiteY1860" fmla="*/ 191824 h 528885"/>
                <a:gd name="connsiteX1861" fmla="*/ 106122 w 710303"/>
                <a:gd name="connsiteY1861" fmla="*/ 192429 h 528885"/>
                <a:gd name="connsiteX1862" fmla="*/ 106757 w 710303"/>
                <a:gd name="connsiteY1862" fmla="*/ 194033 h 528885"/>
                <a:gd name="connsiteX1863" fmla="*/ 105154 w 710303"/>
                <a:gd name="connsiteY1863" fmla="*/ 194365 h 528885"/>
                <a:gd name="connsiteX1864" fmla="*/ 103339 w 710303"/>
                <a:gd name="connsiteY1864" fmla="*/ 194033 h 528885"/>
                <a:gd name="connsiteX1865" fmla="*/ 101857 w 710303"/>
                <a:gd name="connsiteY1865" fmla="*/ 194396 h 528885"/>
                <a:gd name="connsiteX1866" fmla="*/ 100525 w 710303"/>
                <a:gd name="connsiteY1866" fmla="*/ 199871 h 528885"/>
                <a:gd name="connsiteX1867" fmla="*/ 98862 w 710303"/>
                <a:gd name="connsiteY1867" fmla="*/ 201656 h 528885"/>
                <a:gd name="connsiteX1868" fmla="*/ 97198 w 710303"/>
                <a:gd name="connsiteY1868" fmla="*/ 201928 h 528885"/>
                <a:gd name="connsiteX1869" fmla="*/ 96442 w 710303"/>
                <a:gd name="connsiteY1869" fmla="*/ 200325 h 528885"/>
                <a:gd name="connsiteX1870" fmla="*/ 96018 w 710303"/>
                <a:gd name="connsiteY1870" fmla="*/ 195001 h 528885"/>
                <a:gd name="connsiteX1871" fmla="*/ 96139 w 710303"/>
                <a:gd name="connsiteY1871" fmla="*/ 192883 h 528885"/>
                <a:gd name="connsiteX1872" fmla="*/ 97077 w 710303"/>
                <a:gd name="connsiteY1872" fmla="*/ 190493 h 528885"/>
                <a:gd name="connsiteX1873" fmla="*/ 99830 w 710303"/>
                <a:gd name="connsiteY1873" fmla="*/ 187861 h 528885"/>
                <a:gd name="connsiteX1874" fmla="*/ 100919 w 710303"/>
                <a:gd name="connsiteY1874" fmla="*/ 186379 h 528885"/>
                <a:gd name="connsiteX1875" fmla="*/ 100495 w 710303"/>
                <a:gd name="connsiteY1875" fmla="*/ 184836 h 528885"/>
                <a:gd name="connsiteX1876" fmla="*/ 100495 w 710303"/>
                <a:gd name="connsiteY1876" fmla="*/ 183596 h 528885"/>
                <a:gd name="connsiteX1877" fmla="*/ 103037 w 710303"/>
                <a:gd name="connsiteY1877" fmla="*/ 182961 h 528885"/>
                <a:gd name="connsiteX1878" fmla="*/ 106001 w 710303"/>
                <a:gd name="connsiteY1878" fmla="*/ 178605 h 528885"/>
                <a:gd name="connsiteX1879" fmla="*/ 108814 w 710303"/>
                <a:gd name="connsiteY1879" fmla="*/ 177969 h 528885"/>
                <a:gd name="connsiteX1880" fmla="*/ 107483 w 710303"/>
                <a:gd name="connsiteY1880" fmla="*/ 174430 h 528885"/>
                <a:gd name="connsiteX1881" fmla="*/ 106243 w 710303"/>
                <a:gd name="connsiteY1881" fmla="*/ 172524 h 528885"/>
                <a:gd name="connsiteX1882" fmla="*/ 104610 w 710303"/>
                <a:gd name="connsiteY1882" fmla="*/ 170890 h 528885"/>
                <a:gd name="connsiteX1883" fmla="*/ 103188 w 710303"/>
                <a:gd name="connsiteY1883" fmla="*/ 168531 h 528885"/>
                <a:gd name="connsiteX1884" fmla="*/ 102583 w 710303"/>
                <a:gd name="connsiteY1884" fmla="*/ 164598 h 528885"/>
                <a:gd name="connsiteX1885" fmla="*/ 101736 w 710303"/>
                <a:gd name="connsiteY1885" fmla="*/ 162541 h 528885"/>
                <a:gd name="connsiteX1886" fmla="*/ 99739 w 710303"/>
                <a:gd name="connsiteY1886" fmla="*/ 161149 h 528885"/>
                <a:gd name="connsiteX1887" fmla="*/ 97440 w 710303"/>
                <a:gd name="connsiteY1887" fmla="*/ 160454 h 528885"/>
                <a:gd name="connsiteX1888" fmla="*/ 95685 w 710303"/>
                <a:gd name="connsiteY1888" fmla="*/ 160514 h 528885"/>
                <a:gd name="connsiteX1889" fmla="*/ 94899 w 710303"/>
                <a:gd name="connsiteY1889" fmla="*/ 161149 h 528885"/>
                <a:gd name="connsiteX1890" fmla="*/ 94415 w 710303"/>
                <a:gd name="connsiteY1890" fmla="*/ 161936 h 528885"/>
                <a:gd name="connsiteX1891" fmla="*/ 93810 w 710303"/>
                <a:gd name="connsiteY1891" fmla="*/ 162632 h 528885"/>
                <a:gd name="connsiteX1892" fmla="*/ 92630 w 710303"/>
                <a:gd name="connsiteY1892" fmla="*/ 162934 h 528885"/>
                <a:gd name="connsiteX1893" fmla="*/ 91511 w 710303"/>
                <a:gd name="connsiteY1893" fmla="*/ 162723 h 528885"/>
                <a:gd name="connsiteX1894" fmla="*/ 89665 w 710303"/>
                <a:gd name="connsiteY1894" fmla="*/ 161875 h 528885"/>
                <a:gd name="connsiteX1895" fmla="*/ 88576 w 710303"/>
                <a:gd name="connsiteY1895" fmla="*/ 161663 h 528885"/>
                <a:gd name="connsiteX1896" fmla="*/ 86701 w 710303"/>
                <a:gd name="connsiteY1896" fmla="*/ 162057 h 528885"/>
                <a:gd name="connsiteX1897" fmla="*/ 81951 w 710303"/>
                <a:gd name="connsiteY1897" fmla="*/ 166353 h 528885"/>
                <a:gd name="connsiteX1898" fmla="*/ 78745 w 710303"/>
                <a:gd name="connsiteY1898" fmla="*/ 168561 h 528885"/>
                <a:gd name="connsiteX1899" fmla="*/ 77534 w 710303"/>
                <a:gd name="connsiteY1899" fmla="*/ 169983 h 528885"/>
                <a:gd name="connsiteX1900" fmla="*/ 76052 w 710303"/>
                <a:gd name="connsiteY1900" fmla="*/ 172614 h 528885"/>
                <a:gd name="connsiteX1901" fmla="*/ 75115 w 710303"/>
                <a:gd name="connsiteY1901" fmla="*/ 175610 h 528885"/>
                <a:gd name="connsiteX1902" fmla="*/ 76143 w 710303"/>
                <a:gd name="connsiteY1902" fmla="*/ 176547 h 528885"/>
                <a:gd name="connsiteX1903" fmla="*/ 80560 w 710303"/>
                <a:gd name="connsiteY1903" fmla="*/ 176668 h 528885"/>
                <a:gd name="connsiteX1904" fmla="*/ 82950 w 710303"/>
                <a:gd name="connsiteY1904" fmla="*/ 177516 h 528885"/>
                <a:gd name="connsiteX1905" fmla="*/ 82768 w 710303"/>
                <a:gd name="connsiteY1905" fmla="*/ 177879 h 528885"/>
                <a:gd name="connsiteX1906" fmla="*/ 77202 w 710303"/>
                <a:gd name="connsiteY1906" fmla="*/ 178090 h 528885"/>
                <a:gd name="connsiteX1907" fmla="*/ 73057 w 710303"/>
                <a:gd name="connsiteY1907" fmla="*/ 179270 h 528885"/>
                <a:gd name="connsiteX1908" fmla="*/ 71545 w 710303"/>
                <a:gd name="connsiteY1908" fmla="*/ 180087 h 528885"/>
                <a:gd name="connsiteX1909" fmla="*/ 65071 w 710303"/>
                <a:gd name="connsiteY1909" fmla="*/ 190282 h 528885"/>
                <a:gd name="connsiteX1910" fmla="*/ 60473 w 710303"/>
                <a:gd name="connsiteY1910" fmla="*/ 190554 h 528885"/>
                <a:gd name="connsiteX1911" fmla="*/ 59142 w 710303"/>
                <a:gd name="connsiteY1911" fmla="*/ 191673 h 528885"/>
                <a:gd name="connsiteX1912" fmla="*/ 59142 w 710303"/>
                <a:gd name="connsiteY1912" fmla="*/ 193398 h 528885"/>
                <a:gd name="connsiteX1913" fmla="*/ 60805 w 710303"/>
                <a:gd name="connsiteY1913" fmla="*/ 194244 h 528885"/>
                <a:gd name="connsiteX1914" fmla="*/ 61259 w 710303"/>
                <a:gd name="connsiteY1914" fmla="*/ 195727 h 528885"/>
                <a:gd name="connsiteX1915" fmla="*/ 61411 w 710303"/>
                <a:gd name="connsiteY1915" fmla="*/ 197179 h 528885"/>
                <a:gd name="connsiteX1916" fmla="*/ 61864 w 710303"/>
                <a:gd name="connsiteY1916" fmla="*/ 198026 h 528885"/>
                <a:gd name="connsiteX1917" fmla="*/ 62621 w 710303"/>
                <a:gd name="connsiteY1917" fmla="*/ 198419 h 528885"/>
                <a:gd name="connsiteX1918" fmla="*/ 63649 w 710303"/>
                <a:gd name="connsiteY1918" fmla="*/ 198510 h 528885"/>
                <a:gd name="connsiteX1919" fmla="*/ 66765 w 710303"/>
                <a:gd name="connsiteY1919" fmla="*/ 200809 h 528885"/>
                <a:gd name="connsiteX1920" fmla="*/ 67279 w 710303"/>
                <a:gd name="connsiteY1920" fmla="*/ 202261 h 528885"/>
                <a:gd name="connsiteX1921" fmla="*/ 67068 w 710303"/>
                <a:gd name="connsiteY1921" fmla="*/ 202806 h 528885"/>
                <a:gd name="connsiteX1922" fmla="*/ 66523 w 710303"/>
                <a:gd name="connsiteY1922" fmla="*/ 203199 h 528885"/>
                <a:gd name="connsiteX1923" fmla="*/ 66099 w 710303"/>
                <a:gd name="connsiteY1923" fmla="*/ 204167 h 528885"/>
                <a:gd name="connsiteX1924" fmla="*/ 65494 w 710303"/>
                <a:gd name="connsiteY1924" fmla="*/ 207585 h 528885"/>
                <a:gd name="connsiteX1925" fmla="*/ 65373 w 710303"/>
                <a:gd name="connsiteY1925" fmla="*/ 209249 h 528885"/>
                <a:gd name="connsiteX1926" fmla="*/ 65373 w 710303"/>
                <a:gd name="connsiteY1926" fmla="*/ 211699 h 528885"/>
                <a:gd name="connsiteX1927" fmla="*/ 65222 w 710303"/>
                <a:gd name="connsiteY1927" fmla="*/ 213273 h 528885"/>
                <a:gd name="connsiteX1928" fmla="*/ 64859 w 710303"/>
                <a:gd name="connsiteY1928" fmla="*/ 214543 h 528885"/>
                <a:gd name="connsiteX1929" fmla="*/ 64315 w 710303"/>
                <a:gd name="connsiteY1929" fmla="*/ 215390 h 528885"/>
                <a:gd name="connsiteX1930" fmla="*/ 63649 w 710303"/>
                <a:gd name="connsiteY1930" fmla="*/ 215693 h 528885"/>
                <a:gd name="connsiteX1931" fmla="*/ 57508 w 710303"/>
                <a:gd name="connsiteY1931" fmla="*/ 216933 h 528885"/>
                <a:gd name="connsiteX1932" fmla="*/ 55784 w 710303"/>
                <a:gd name="connsiteY1932" fmla="*/ 216933 h 528885"/>
                <a:gd name="connsiteX1933" fmla="*/ 54634 w 710303"/>
                <a:gd name="connsiteY1933" fmla="*/ 216298 h 528885"/>
                <a:gd name="connsiteX1934" fmla="*/ 52668 w 710303"/>
                <a:gd name="connsiteY1934" fmla="*/ 213938 h 528885"/>
                <a:gd name="connsiteX1935" fmla="*/ 51034 w 710303"/>
                <a:gd name="connsiteY1935" fmla="*/ 212698 h 528885"/>
                <a:gd name="connsiteX1936" fmla="*/ 50369 w 710303"/>
                <a:gd name="connsiteY1936" fmla="*/ 211125 h 528885"/>
                <a:gd name="connsiteX1937" fmla="*/ 50217 w 710303"/>
                <a:gd name="connsiteY1937" fmla="*/ 209552 h 528885"/>
                <a:gd name="connsiteX1938" fmla="*/ 50611 w 710303"/>
                <a:gd name="connsiteY1938" fmla="*/ 208856 h 528885"/>
                <a:gd name="connsiteX1939" fmla="*/ 50550 w 710303"/>
                <a:gd name="connsiteY1939" fmla="*/ 207585 h 528885"/>
                <a:gd name="connsiteX1940" fmla="*/ 47495 w 710303"/>
                <a:gd name="connsiteY1940" fmla="*/ 199720 h 528885"/>
                <a:gd name="connsiteX1941" fmla="*/ 46859 w 710303"/>
                <a:gd name="connsiteY1941" fmla="*/ 199720 h 528885"/>
                <a:gd name="connsiteX1942" fmla="*/ 46103 w 710303"/>
                <a:gd name="connsiteY1942" fmla="*/ 201535 h 528885"/>
                <a:gd name="connsiteX1943" fmla="*/ 45014 w 710303"/>
                <a:gd name="connsiteY1943" fmla="*/ 203411 h 528885"/>
                <a:gd name="connsiteX1944" fmla="*/ 43714 w 710303"/>
                <a:gd name="connsiteY1944" fmla="*/ 204863 h 528885"/>
                <a:gd name="connsiteX1945" fmla="*/ 42322 w 710303"/>
                <a:gd name="connsiteY1945" fmla="*/ 205438 h 528885"/>
                <a:gd name="connsiteX1946" fmla="*/ 37331 w 710303"/>
                <a:gd name="connsiteY1946" fmla="*/ 201717 h 528885"/>
                <a:gd name="connsiteX1947" fmla="*/ 36393 w 710303"/>
                <a:gd name="connsiteY1947" fmla="*/ 201444 h 528885"/>
                <a:gd name="connsiteX1948" fmla="*/ 34456 w 710303"/>
                <a:gd name="connsiteY1948" fmla="*/ 199478 h 528885"/>
                <a:gd name="connsiteX1949" fmla="*/ 29979 w 710303"/>
                <a:gd name="connsiteY1949" fmla="*/ 198631 h 528885"/>
                <a:gd name="connsiteX1950" fmla="*/ 25079 w 710303"/>
                <a:gd name="connsiteY1950" fmla="*/ 198752 h 528885"/>
                <a:gd name="connsiteX1951" fmla="*/ 21902 w 710303"/>
                <a:gd name="connsiteY1951" fmla="*/ 199720 h 528885"/>
                <a:gd name="connsiteX1952" fmla="*/ 21902 w 710303"/>
                <a:gd name="connsiteY1952" fmla="*/ 200870 h 528885"/>
                <a:gd name="connsiteX1953" fmla="*/ 22507 w 710303"/>
                <a:gd name="connsiteY1953" fmla="*/ 202261 h 528885"/>
                <a:gd name="connsiteX1954" fmla="*/ 22205 w 710303"/>
                <a:gd name="connsiteY1954" fmla="*/ 203380 h 528885"/>
                <a:gd name="connsiteX1955" fmla="*/ 21418 w 710303"/>
                <a:gd name="connsiteY1955" fmla="*/ 203804 h 528885"/>
                <a:gd name="connsiteX1956" fmla="*/ 20511 w 710303"/>
                <a:gd name="connsiteY1956" fmla="*/ 203138 h 528885"/>
                <a:gd name="connsiteX1957" fmla="*/ 19936 w 710303"/>
                <a:gd name="connsiteY1957" fmla="*/ 201565 h 528885"/>
                <a:gd name="connsiteX1958" fmla="*/ 20208 w 710303"/>
                <a:gd name="connsiteY1958" fmla="*/ 198873 h 528885"/>
                <a:gd name="connsiteX1959" fmla="*/ 19845 w 710303"/>
                <a:gd name="connsiteY1959" fmla="*/ 197330 h 528885"/>
                <a:gd name="connsiteX1960" fmla="*/ 21297 w 710303"/>
                <a:gd name="connsiteY1960" fmla="*/ 196543 h 528885"/>
                <a:gd name="connsiteX1961" fmla="*/ 20178 w 710303"/>
                <a:gd name="connsiteY1961" fmla="*/ 195848 h 528885"/>
                <a:gd name="connsiteX1962" fmla="*/ 16064 w 710303"/>
                <a:gd name="connsiteY1962" fmla="*/ 195152 h 528885"/>
                <a:gd name="connsiteX1963" fmla="*/ 15247 w 710303"/>
                <a:gd name="connsiteY1963" fmla="*/ 194426 h 528885"/>
                <a:gd name="connsiteX1964" fmla="*/ 14702 w 710303"/>
                <a:gd name="connsiteY1964" fmla="*/ 192792 h 528885"/>
                <a:gd name="connsiteX1965" fmla="*/ 14309 w 710303"/>
                <a:gd name="connsiteY1965" fmla="*/ 191159 h 528885"/>
                <a:gd name="connsiteX1966" fmla="*/ 13946 w 710303"/>
                <a:gd name="connsiteY1966" fmla="*/ 190433 h 528885"/>
                <a:gd name="connsiteX1967" fmla="*/ 12131 w 710303"/>
                <a:gd name="connsiteY1967" fmla="*/ 190282 h 528885"/>
                <a:gd name="connsiteX1968" fmla="*/ 11465 w 710303"/>
                <a:gd name="connsiteY1968" fmla="*/ 189979 h 528885"/>
                <a:gd name="connsiteX1969" fmla="*/ 10830 w 710303"/>
                <a:gd name="connsiteY1969" fmla="*/ 189404 h 528885"/>
                <a:gd name="connsiteX1970" fmla="*/ 10830 w 710303"/>
                <a:gd name="connsiteY1970" fmla="*/ 188255 h 528885"/>
                <a:gd name="connsiteX1971" fmla="*/ 11617 w 710303"/>
                <a:gd name="connsiteY1971" fmla="*/ 186772 h 528885"/>
                <a:gd name="connsiteX1972" fmla="*/ 13855 w 710303"/>
                <a:gd name="connsiteY1972" fmla="*/ 181327 h 528885"/>
                <a:gd name="connsiteX1973" fmla="*/ 13946 w 710303"/>
                <a:gd name="connsiteY1973" fmla="*/ 180117 h 528885"/>
                <a:gd name="connsiteX1974" fmla="*/ 13008 w 710303"/>
                <a:gd name="connsiteY1974" fmla="*/ 179270 h 528885"/>
                <a:gd name="connsiteX1975" fmla="*/ 12615 w 710303"/>
                <a:gd name="connsiteY1975" fmla="*/ 177818 h 528885"/>
                <a:gd name="connsiteX1976" fmla="*/ 11980 w 710303"/>
                <a:gd name="connsiteY1976" fmla="*/ 177364 h 528885"/>
                <a:gd name="connsiteX1977" fmla="*/ 10497 w 710303"/>
                <a:gd name="connsiteY1977" fmla="*/ 179542 h 528885"/>
                <a:gd name="connsiteX1978" fmla="*/ 8471 w 710303"/>
                <a:gd name="connsiteY1978" fmla="*/ 184050 h 528885"/>
                <a:gd name="connsiteX1979" fmla="*/ 3963 w 710303"/>
                <a:gd name="connsiteY1979" fmla="*/ 198570 h 528885"/>
                <a:gd name="connsiteX1980" fmla="*/ 3237 w 710303"/>
                <a:gd name="connsiteY1980" fmla="*/ 201444 h 528885"/>
                <a:gd name="connsiteX1981" fmla="*/ 2814 w 710303"/>
                <a:gd name="connsiteY1981" fmla="*/ 204258 h 528885"/>
                <a:gd name="connsiteX1982" fmla="*/ 3963 w 710303"/>
                <a:gd name="connsiteY1982" fmla="*/ 262038 h 528885"/>
                <a:gd name="connsiteX1983" fmla="*/ 3630 w 710303"/>
                <a:gd name="connsiteY1983" fmla="*/ 265940 h 528885"/>
                <a:gd name="connsiteX1984" fmla="*/ 1210 w 710303"/>
                <a:gd name="connsiteY1984" fmla="*/ 276317 h 528885"/>
                <a:gd name="connsiteX1985" fmla="*/ 908 w 710303"/>
                <a:gd name="connsiteY1985" fmla="*/ 280068 h 528885"/>
                <a:gd name="connsiteX1986" fmla="*/ 1362 w 710303"/>
                <a:gd name="connsiteY1986" fmla="*/ 292078 h 528885"/>
                <a:gd name="connsiteX1987" fmla="*/ 1755 w 710303"/>
                <a:gd name="connsiteY1987" fmla="*/ 294074 h 528885"/>
                <a:gd name="connsiteX1988" fmla="*/ 2178 w 710303"/>
                <a:gd name="connsiteY1988" fmla="*/ 295799 h 528885"/>
                <a:gd name="connsiteX1989" fmla="*/ 2602 w 710303"/>
                <a:gd name="connsiteY1989" fmla="*/ 296676 h 528885"/>
                <a:gd name="connsiteX1990" fmla="*/ 4084 w 710303"/>
                <a:gd name="connsiteY1990" fmla="*/ 297099 h 528885"/>
                <a:gd name="connsiteX1991" fmla="*/ 4356 w 710303"/>
                <a:gd name="connsiteY1991" fmla="*/ 296041 h 528885"/>
                <a:gd name="connsiteX1992" fmla="*/ 3993 w 710303"/>
                <a:gd name="connsiteY1992" fmla="*/ 293288 h 528885"/>
                <a:gd name="connsiteX1993" fmla="*/ 4598 w 710303"/>
                <a:gd name="connsiteY1993" fmla="*/ 289536 h 528885"/>
                <a:gd name="connsiteX1994" fmla="*/ 4780 w 710303"/>
                <a:gd name="connsiteY1994" fmla="*/ 286179 h 528885"/>
                <a:gd name="connsiteX1995" fmla="*/ 4689 w 710303"/>
                <a:gd name="connsiteY1995" fmla="*/ 279100 h 528885"/>
                <a:gd name="connsiteX1996" fmla="*/ 5596 w 710303"/>
                <a:gd name="connsiteY1996" fmla="*/ 277708 h 528885"/>
                <a:gd name="connsiteX1997" fmla="*/ 7714 w 710303"/>
                <a:gd name="connsiteY1997" fmla="*/ 277980 h 528885"/>
                <a:gd name="connsiteX1998" fmla="*/ 15489 w 710303"/>
                <a:gd name="connsiteY1998" fmla="*/ 281248 h 528885"/>
                <a:gd name="connsiteX1999" fmla="*/ 18968 w 710303"/>
                <a:gd name="connsiteY1999" fmla="*/ 283547 h 528885"/>
                <a:gd name="connsiteX2000" fmla="*/ 21569 w 710303"/>
                <a:gd name="connsiteY2000" fmla="*/ 287358 h 528885"/>
                <a:gd name="connsiteX2001" fmla="*/ 22719 w 710303"/>
                <a:gd name="connsiteY2001" fmla="*/ 293288 h 528885"/>
                <a:gd name="connsiteX2002" fmla="*/ 22719 w 710303"/>
                <a:gd name="connsiteY2002" fmla="*/ 298430 h 528885"/>
                <a:gd name="connsiteX2003" fmla="*/ 26500 w 710303"/>
                <a:gd name="connsiteY2003" fmla="*/ 302938 h 528885"/>
                <a:gd name="connsiteX2004" fmla="*/ 28104 w 710303"/>
                <a:gd name="connsiteY2004" fmla="*/ 305449 h 528885"/>
                <a:gd name="connsiteX2005" fmla="*/ 29525 w 710303"/>
                <a:gd name="connsiteY2005" fmla="*/ 308232 h 528885"/>
                <a:gd name="connsiteX2006" fmla="*/ 30161 w 710303"/>
                <a:gd name="connsiteY2006" fmla="*/ 311075 h 528885"/>
                <a:gd name="connsiteX2007" fmla="*/ 29586 w 710303"/>
                <a:gd name="connsiteY2007" fmla="*/ 313768 h 528885"/>
                <a:gd name="connsiteX2008" fmla="*/ 25563 w 710303"/>
                <a:gd name="connsiteY2008" fmla="*/ 317640 h 528885"/>
                <a:gd name="connsiteX2009" fmla="*/ 21630 w 710303"/>
                <a:gd name="connsiteY2009" fmla="*/ 320484 h 528885"/>
                <a:gd name="connsiteX2010" fmla="*/ 19361 w 710303"/>
                <a:gd name="connsiteY2010" fmla="*/ 321240 h 528885"/>
                <a:gd name="connsiteX2011" fmla="*/ 14551 w 710303"/>
                <a:gd name="connsiteY2011" fmla="*/ 324779 h 528885"/>
                <a:gd name="connsiteX2012" fmla="*/ 10044 w 710303"/>
                <a:gd name="connsiteY2012" fmla="*/ 327109 h 528885"/>
                <a:gd name="connsiteX2013" fmla="*/ 9197 w 710303"/>
                <a:gd name="connsiteY2013" fmla="*/ 326655 h 528885"/>
                <a:gd name="connsiteX2014" fmla="*/ 8864 w 710303"/>
                <a:gd name="connsiteY2014" fmla="*/ 324386 h 528885"/>
                <a:gd name="connsiteX2015" fmla="*/ 9075 w 710303"/>
                <a:gd name="connsiteY2015" fmla="*/ 322541 h 528885"/>
                <a:gd name="connsiteX2016" fmla="*/ 10074 w 710303"/>
                <a:gd name="connsiteY2016" fmla="*/ 320272 h 528885"/>
                <a:gd name="connsiteX2017" fmla="*/ 10316 w 710303"/>
                <a:gd name="connsiteY2017" fmla="*/ 318699 h 528885"/>
                <a:gd name="connsiteX2018" fmla="*/ 10044 w 710303"/>
                <a:gd name="connsiteY2018" fmla="*/ 316884 h 528885"/>
                <a:gd name="connsiteX2019" fmla="*/ 8259 w 710303"/>
                <a:gd name="connsiteY2019" fmla="*/ 312527 h 528885"/>
                <a:gd name="connsiteX2020" fmla="*/ 5748 w 710303"/>
                <a:gd name="connsiteY2020" fmla="*/ 299882 h 528885"/>
                <a:gd name="connsiteX2021" fmla="*/ 5082 w 710303"/>
                <a:gd name="connsiteY2021" fmla="*/ 299005 h 528885"/>
                <a:gd name="connsiteX2022" fmla="*/ 4780 w 710303"/>
                <a:gd name="connsiteY2022" fmla="*/ 298824 h 528885"/>
                <a:gd name="connsiteX2023" fmla="*/ 4598 w 710303"/>
                <a:gd name="connsiteY2023" fmla="*/ 298400 h 528885"/>
                <a:gd name="connsiteX2024" fmla="*/ 4326 w 710303"/>
                <a:gd name="connsiteY2024" fmla="*/ 297977 h 528885"/>
                <a:gd name="connsiteX2025" fmla="*/ 3721 w 710303"/>
                <a:gd name="connsiteY2025" fmla="*/ 297795 h 528885"/>
                <a:gd name="connsiteX2026" fmla="*/ 3418 w 710303"/>
                <a:gd name="connsiteY2026" fmla="*/ 298158 h 528885"/>
                <a:gd name="connsiteX2027" fmla="*/ 3328 w 710303"/>
                <a:gd name="connsiteY2027" fmla="*/ 298914 h 528885"/>
                <a:gd name="connsiteX2028" fmla="*/ 3418 w 710303"/>
                <a:gd name="connsiteY2028" fmla="*/ 299701 h 528885"/>
                <a:gd name="connsiteX2029" fmla="*/ 3721 w 710303"/>
                <a:gd name="connsiteY2029" fmla="*/ 300034 h 528885"/>
                <a:gd name="connsiteX2030" fmla="*/ 4205 w 710303"/>
                <a:gd name="connsiteY2030" fmla="*/ 301698 h 528885"/>
                <a:gd name="connsiteX2031" fmla="*/ 9015 w 710303"/>
                <a:gd name="connsiteY2031" fmla="*/ 334067 h 528885"/>
                <a:gd name="connsiteX2032" fmla="*/ 8834 w 710303"/>
                <a:gd name="connsiteY2032" fmla="*/ 340722 h 528885"/>
                <a:gd name="connsiteX2033" fmla="*/ 7563 w 710303"/>
                <a:gd name="connsiteY2033" fmla="*/ 347468 h 528885"/>
                <a:gd name="connsiteX2034" fmla="*/ 5657 w 710303"/>
                <a:gd name="connsiteY2034" fmla="*/ 353821 h 528885"/>
                <a:gd name="connsiteX2035" fmla="*/ 0 w 710303"/>
                <a:gd name="connsiteY2035" fmla="*/ 367767 h 528885"/>
                <a:gd name="connsiteX2036" fmla="*/ 121 w 710303"/>
                <a:gd name="connsiteY2036" fmla="*/ 370187 h 528885"/>
                <a:gd name="connsiteX2037" fmla="*/ 1664 w 710303"/>
                <a:gd name="connsiteY2037" fmla="*/ 371639 h 528885"/>
                <a:gd name="connsiteX2038" fmla="*/ 7563 w 710303"/>
                <a:gd name="connsiteY2038" fmla="*/ 372637 h 528885"/>
                <a:gd name="connsiteX2039" fmla="*/ 10013 w 710303"/>
                <a:gd name="connsiteY2039" fmla="*/ 373968 h 528885"/>
                <a:gd name="connsiteX2040" fmla="*/ 22053 w 710303"/>
                <a:gd name="connsiteY2040" fmla="*/ 383195 h 528885"/>
                <a:gd name="connsiteX2041" fmla="*/ 23354 w 710303"/>
                <a:gd name="connsiteY2041" fmla="*/ 382741 h 528885"/>
                <a:gd name="connsiteX2042" fmla="*/ 22386 w 710303"/>
                <a:gd name="connsiteY2042" fmla="*/ 379928 h 528885"/>
                <a:gd name="connsiteX2043" fmla="*/ 20087 w 710303"/>
                <a:gd name="connsiteY2043" fmla="*/ 377508 h 528885"/>
                <a:gd name="connsiteX2044" fmla="*/ 17364 w 710303"/>
                <a:gd name="connsiteY2044" fmla="*/ 375874 h 528885"/>
                <a:gd name="connsiteX2045" fmla="*/ 15035 w 710303"/>
                <a:gd name="connsiteY2045" fmla="*/ 375481 h 528885"/>
                <a:gd name="connsiteX2046" fmla="*/ 16306 w 710303"/>
                <a:gd name="connsiteY2046" fmla="*/ 373847 h 528885"/>
                <a:gd name="connsiteX2047" fmla="*/ 16911 w 710303"/>
                <a:gd name="connsiteY2047" fmla="*/ 373454 h 528885"/>
                <a:gd name="connsiteX2048" fmla="*/ 17848 w 710303"/>
                <a:gd name="connsiteY2048" fmla="*/ 373242 h 528885"/>
                <a:gd name="connsiteX2049" fmla="*/ 14854 w 710303"/>
                <a:gd name="connsiteY2049" fmla="*/ 370278 h 528885"/>
                <a:gd name="connsiteX2050" fmla="*/ 14551 w 710303"/>
                <a:gd name="connsiteY2050" fmla="*/ 368735 h 528885"/>
                <a:gd name="connsiteX2051" fmla="*/ 15701 w 710303"/>
                <a:gd name="connsiteY2051" fmla="*/ 366436 h 528885"/>
                <a:gd name="connsiteX2052" fmla="*/ 17455 w 710303"/>
                <a:gd name="connsiteY2052" fmla="*/ 365044 h 528885"/>
                <a:gd name="connsiteX2053" fmla="*/ 19724 w 710303"/>
                <a:gd name="connsiteY2053" fmla="*/ 364500 h 528885"/>
                <a:gd name="connsiteX2054" fmla="*/ 22023 w 710303"/>
                <a:gd name="connsiteY2054" fmla="*/ 364681 h 528885"/>
                <a:gd name="connsiteX2055" fmla="*/ 23959 w 710303"/>
                <a:gd name="connsiteY2055" fmla="*/ 365407 h 528885"/>
                <a:gd name="connsiteX2056" fmla="*/ 23959 w 710303"/>
                <a:gd name="connsiteY2056" fmla="*/ 366436 h 528885"/>
                <a:gd name="connsiteX2057" fmla="*/ 21841 w 710303"/>
                <a:gd name="connsiteY2057" fmla="*/ 366799 h 528885"/>
                <a:gd name="connsiteX2058" fmla="*/ 21751 w 710303"/>
                <a:gd name="connsiteY2058" fmla="*/ 367948 h 528885"/>
                <a:gd name="connsiteX2059" fmla="*/ 30887 w 710303"/>
                <a:gd name="connsiteY2059" fmla="*/ 380533 h 528885"/>
                <a:gd name="connsiteX2060" fmla="*/ 34971 w 710303"/>
                <a:gd name="connsiteY2060" fmla="*/ 384072 h 528885"/>
                <a:gd name="connsiteX2061" fmla="*/ 39811 w 710303"/>
                <a:gd name="connsiteY2061" fmla="*/ 385464 h 528885"/>
                <a:gd name="connsiteX2062" fmla="*/ 46527 w 710303"/>
                <a:gd name="connsiteY2062" fmla="*/ 385645 h 528885"/>
                <a:gd name="connsiteX2063" fmla="*/ 50127 w 710303"/>
                <a:gd name="connsiteY2063" fmla="*/ 386462 h 528885"/>
                <a:gd name="connsiteX2064" fmla="*/ 52668 w 710303"/>
                <a:gd name="connsiteY2064" fmla="*/ 388307 h 528885"/>
                <a:gd name="connsiteX2065" fmla="*/ 54120 w 710303"/>
                <a:gd name="connsiteY2065" fmla="*/ 391423 h 528885"/>
                <a:gd name="connsiteX2066" fmla="*/ 54846 w 710303"/>
                <a:gd name="connsiteY2066" fmla="*/ 394902 h 528885"/>
                <a:gd name="connsiteX2067" fmla="*/ 55754 w 710303"/>
                <a:gd name="connsiteY2067" fmla="*/ 402253 h 528885"/>
                <a:gd name="connsiteX2068" fmla="*/ 56873 w 710303"/>
                <a:gd name="connsiteY2068" fmla="*/ 406337 h 528885"/>
                <a:gd name="connsiteX2069" fmla="*/ 57054 w 710303"/>
                <a:gd name="connsiteY2069" fmla="*/ 408425 h 528885"/>
                <a:gd name="connsiteX2070" fmla="*/ 56843 w 710303"/>
                <a:gd name="connsiteY2070" fmla="*/ 409816 h 528885"/>
                <a:gd name="connsiteX2071" fmla="*/ 55935 w 710303"/>
                <a:gd name="connsiteY2071" fmla="*/ 412085 h 528885"/>
                <a:gd name="connsiteX2072" fmla="*/ 55723 w 710303"/>
                <a:gd name="connsiteY2072" fmla="*/ 413961 h 528885"/>
                <a:gd name="connsiteX2073" fmla="*/ 56480 w 710303"/>
                <a:gd name="connsiteY2073" fmla="*/ 420888 h 528885"/>
                <a:gd name="connsiteX2074" fmla="*/ 57780 w 710303"/>
                <a:gd name="connsiteY2074" fmla="*/ 427816 h 528885"/>
                <a:gd name="connsiteX2075" fmla="*/ 59626 w 710303"/>
                <a:gd name="connsiteY2075" fmla="*/ 433322 h 528885"/>
                <a:gd name="connsiteX2076" fmla="*/ 59868 w 710303"/>
                <a:gd name="connsiteY2076" fmla="*/ 436407 h 528885"/>
                <a:gd name="connsiteX2077" fmla="*/ 57841 w 710303"/>
                <a:gd name="connsiteY2077" fmla="*/ 437164 h 528885"/>
                <a:gd name="connsiteX2078" fmla="*/ 52365 w 710303"/>
                <a:gd name="connsiteY2078" fmla="*/ 435953 h 528885"/>
                <a:gd name="connsiteX2079" fmla="*/ 46376 w 710303"/>
                <a:gd name="connsiteY2079" fmla="*/ 435137 h 528885"/>
                <a:gd name="connsiteX2080" fmla="*/ 46073 w 710303"/>
                <a:gd name="connsiteY2080" fmla="*/ 433322 h 528885"/>
                <a:gd name="connsiteX2081" fmla="*/ 47828 w 710303"/>
                <a:gd name="connsiteY2081" fmla="*/ 431174 h 528885"/>
                <a:gd name="connsiteX2082" fmla="*/ 48917 w 710303"/>
                <a:gd name="connsiteY2082" fmla="*/ 430327 h 528885"/>
                <a:gd name="connsiteX2083" fmla="*/ 50278 w 710303"/>
                <a:gd name="connsiteY2083" fmla="*/ 429994 h 528885"/>
                <a:gd name="connsiteX2084" fmla="*/ 48160 w 710303"/>
                <a:gd name="connsiteY2084" fmla="*/ 427937 h 528885"/>
                <a:gd name="connsiteX2085" fmla="*/ 43925 w 710303"/>
                <a:gd name="connsiteY2085" fmla="*/ 426787 h 528885"/>
                <a:gd name="connsiteX2086" fmla="*/ 39750 w 710303"/>
                <a:gd name="connsiteY2086" fmla="*/ 427362 h 528885"/>
                <a:gd name="connsiteX2087" fmla="*/ 37875 w 710303"/>
                <a:gd name="connsiteY2087" fmla="*/ 430538 h 528885"/>
                <a:gd name="connsiteX2088" fmla="*/ 37512 w 710303"/>
                <a:gd name="connsiteY2088" fmla="*/ 434743 h 528885"/>
                <a:gd name="connsiteX2089" fmla="*/ 36877 w 710303"/>
                <a:gd name="connsiteY2089" fmla="*/ 438646 h 528885"/>
                <a:gd name="connsiteX2090" fmla="*/ 36725 w 710303"/>
                <a:gd name="connsiteY2090" fmla="*/ 442518 h 528885"/>
                <a:gd name="connsiteX2091" fmla="*/ 37875 w 710303"/>
                <a:gd name="connsiteY2091" fmla="*/ 446541 h 528885"/>
                <a:gd name="connsiteX2092" fmla="*/ 39266 w 710303"/>
                <a:gd name="connsiteY2092" fmla="*/ 448326 h 528885"/>
                <a:gd name="connsiteX2093" fmla="*/ 40839 w 710303"/>
                <a:gd name="connsiteY2093" fmla="*/ 448659 h 528885"/>
                <a:gd name="connsiteX2094" fmla="*/ 42382 w 710303"/>
                <a:gd name="connsiteY2094" fmla="*/ 447812 h 528885"/>
                <a:gd name="connsiteX2095" fmla="*/ 43774 w 710303"/>
                <a:gd name="connsiteY2095" fmla="*/ 445997 h 528885"/>
                <a:gd name="connsiteX2096" fmla="*/ 45044 w 710303"/>
                <a:gd name="connsiteY2096" fmla="*/ 444666 h 528885"/>
                <a:gd name="connsiteX2097" fmla="*/ 46013 w 710303"/>
                <a:gd name="connsiteY2097" fmla="*/ 444484 h 528885"/>
                <a:gd name="connsiteX2098" fmla="*/ 46648 w 710303"/>
                <a:gd name="connsiteY2098" fmla="*/ 443668 h 528885"/>
                <a:gd name="connsiteX2099" fmla="*/ 46890 w 710303"/>
                <a:gd name="connsiteY2099" fmla="*/ 437405 h 528885"/>
                <a:gd name="connsiteX2100" fmla="*/ 47253 w 710303"/>
                <a:gd name="connsiteY2100" fmla="*/ 436075 h 528885"/>
                <a:gd name="connsiteX2101" fmla="*/ 48463 w 710303"/>
                <a:gd name="connsiteY2101" fmla="*/ 435953 h 528885"/>
                <a:gd name="connsiteX2102" fmla="*/ 59172 w 710303"/>
                <a:gd name="connsiteY2102" fmla="*/ 437738 h 528885"/>
                <a:gd name="connsiteX2103" fmla="*/ 58053 w 710303"/>
                <a:gd name="connsiteY2103" fmla="*/ 441943 h 528885"/>
                <a:gd name="connsiteX2104" fmla="*/ 56601 w 710303"/>
                <a:gd name="connsiteY2104" fmla="*/ 445937 h 528885"/>
                <a:gd name="connsiteX2105" fmla="*/ 55421 w 710303"/>
                <a:gd name="connsiteY2105" fmla="*/ 450262 h 528885"/>
                <a:gd name="connsiteX2106" fmla="*/ 55028 w 710303"/>
                <a:gd name="connsiteY2106" fmla="*/ 455465 h 528885"/>
                <a:gd name="connsiteX2107" fmla="*/ 55995 w 710303"/>
                <a:gd name="connsiteY2107" fmla="*/ 459550 h 528885"/>
                <a:gd name="connsiteX2108" fmla="*/ 57599 w 710303"/>
                <a:gd name="connsiteY2108" fmla="*/ 463512 h 528885"/>
                <a:gd name="connsiteX2109" fmla="*/ 58446 w 710303"/>
                <a:gd name="connsiteY2109" fmla="*/ 467596 h 528885"/>
                <a:gd name="connsiteX2110" fmla="*/ 57084 w 710303"/>
                <a:gd name="connsiteY2110" fmla="*/ 472044 h 528885"/>
                <a:gd name="connsiteX2111" fmla="*/ 57841 w 710303"/>
                <a:gd name="connsiteY2111" fmla="*/ 473133 h 528885"/>
                <a:gd name="connsiteX2112" fmla="*/ 57024 w 710303"/>
                <a:gd name="connsiteY2112" fmla="*/ 475885 h 528885"/>
                <a:gd name="connsiteX2113" fmla="*/ 57024 w 710303"/>
                <a:gd name="connsiteY2113" fmla="*/ 475885 h 528885"/>
                <a:gd name="connsiteX2114" fmla="*/ 60563 w 710303"/>
                <a:gd name="connsiteY2114" fmla="*/ 476914 h 528885"/>
                <a:gd name="connsiteX2115" fmla="*/ 64284 w 710303"/>
                <a:gd name="connsiteY2115" fmla="*/ 477065 h 528885"/>
                <a:gd name="connsiteX2116" fmla="*/ 71151 w 710303"/>
                <a:gd name="connsiteY2116" fmla="*/ 474675 h 528885"/>
                <a:gd name="connsiteX2117" fmla="*/ 73511 w 710303"/>
                <a:gd name="connsiteY2117" fmla="*/ 474343 h 528885"/>
                <a:gd name="connsiteX2118" fmla="*/ 81558 w 710303"/>
                <a:gd name="connsiteY2118" fmla="*/ 475613 h 528885"/>
                <a:gd name="connsiteX2119" fmla="*/ 89454 w 710303"/>
                <a:gd name="connsiteY2119" fmla="*/ 478608 h 528885"/>
                <a:gd name="connsiteX2120" fmla="*/ 110781 w 710303"/>
                <a:gd name="connsiteY2120" fmla="*/ 483267 h 528885"/>
                <a:gd name="connsiteX2121" fmla="*/ 112475 w 710303"/>
                <a:gd name="connsiteY2121" fmla="*/ 484658 h 528885"/>
                <a:gd name="connsiteX2122" fmla="*/ 112929 w 710303"/>
                <a:gd name="connsiteY2122" fmla="*/ 486262 h 528885"/>
                <a:gd name="connsiteX2123" fmla="*/ 113231 w 710303"/>
                <a:gd name="connsiteY2123" fmla="*/ 488500 h 528885"/>
                <a:gd name="connsiteX2124" fmla="*/ 113988 w 710303"/>
                <a:gd name="connsiteY2124" fmla="*/ 490406 h 528885"/>
                <a:gd name="connsiteX2125" fmla="*/ 115772 w 710303"/>
                <a:gd name="connsiteY2125" fmla="*/ 491071 h 528885"/>
                <a:gd name="connsiteX2126" fmla="*/ 123093 w 710303"/>
                <a:gd name="connsiteY2126" fmla="*/ 491071 h 528885"/>
                <a:gd name="connsiteX2127" fmla="*/ 124606 w 710303"/>
                <a:gd name="connsiteY2127" fmla="*/ 490830 h 528885"/>
                <a:gd name="connsiteX2128" fmla="*/ 125574 w 710303"/>
                <a:gd name="connsiteY2128" fmla="*/ 489892 h 528885"/>
                <a:gd name="connsiteX2129" fmla="*/ 126995 w 710303"/>
                <a:gd name="connsiteY2129" fmla="*/ 489529 h 528885"/>
                <a:gd name="connsiteX2130" fmla="*/ 128115 w 710303"/>
                <a:gd name="connsiteY2130" fmla="*/ 488621 h 528885"/>
                <a:gd name="connsiteX2131" fmla="*/ 129930 w 710303"/>
                <a:gd name="connsiteY2131" fmla="*/ 488228 h 528885"/>
                <a:gd name="connsiteX2132" fmla="*/ 131957 w 710303"/>
                <a:gd name="connsiteY2132" fmla="*/ 489982 h 528885"/>
                <a:gd name="connsiteX2133" fmla="*/ 133651 w 710303"/>
                <a:gd name="connsiteY2133" fmla="*/ 490164 h 528885"/>
                <a:gd name="connsiteX2134" fmla="*/ 135133 w 710303"/>
                <a:gd name="connsiteY2134" fmla="*/ 489680 h 528885"/>
                <a:gd name="connsiteX2135" fmla="*/ 135194 w 710303"/>
                <a:gd name="connsiteY2135" fmla="*/ 489680 h 528885"/>
                <a:gd name="connsiteX2136" fmla="*/ 135073 w 710303"/>
                <a:gd name="connsiteY2136" fmla="*/ 489619 h 528885"/>
                <a:gd name="connsiteX2137" fmla="*/ 135738 w 710303"/>
                <a:gd name="connsiteY2137" fmla="*/ 486231 h 528885"/>
                <a:gd name="connsiteX2138" fmla="*/ 137100 w 710303"/>
                <a:gd name="connsiteY2138" fmla="*/ 484265 h 528885"/>
                <a:gd name="connsiteX2139" fmla="*/ 141274 w 710303"/>
                <a:gd name="connsiteY2139" fmla="*/ 480968 h 528885"/>
                <a:gd name="connsiteX2140" fmla="*/ 142999 w 710303"/>
                <a:gd name="connsiteY2140" fmla="*/ 479092 h 528885"/>
                <a:gd name="connsiteX2141" fmla="*/ 143694 w 710303"/>
                <a:gd name="connsiteY2141" fmla="*/ 478547 h 528885"/>
                <a:gd name="connsiteX2142" fmla="*/ 145328 w 710303"/>
                <a:gd name="connsiteY2142" fmla="*/ 478759 h 528885"/>
                <a:gd name="connsiteX2143" fmla="*/ 146084 w 710303"/>
                <a:gd name="connsiteY2143" fmla="*/ 478517 h 528885"/>
                <a:gd name="connsiteX2144" fmla="*/ 146568 w 710303"/>
                <a:gd name="connsiteY2144" fmla="*/ 477973 h 528885"/>
                <a:gd name="connsiteX2145" fmla="*/ 147204 w 710303"/>
                <a:gd name="connsiteY2145" fmla="*/ 476763 h 528885"/>
                <a:gd name="connsiteX2146" fmla="*/ 148353 w 710303"/>
                <a:gd name="connsiteY2146" fmla="*/ 474978 h 528885"/>
                <a:gd name="connsiteX2147" fmla="*/ 149684 w 710303"/>
                <a:gd name="connsiteY2147" fmla="*/ 471711 h 528885"/>
                <a:gd name="connsiteX2148" fmla="*/ 150229 w 710303"/>
                <a:gd name="connsiteY2148" fmla="*/ 470743 h 528885"/>
                <a:gd name="connsiteX2149" fmla="*/ 153072 w 710303"/>
                <a:gd name="connsiteY2149" fmla="*/ 469926 h 528885"/>
                <a:gd name="connsiteX2150" fmla="*/ 155462 w 710303"/>
                <a:gd name="connsiteY2150" fmla="*/ 471196 h 528885"/>
                <a:gd name="connsiteX2151" fmla="*/ 156007 w 710303"/>
                <a:gd name="connsiteY2151" fmla="*/ 473042 h 528885"/>
                <a:gd name="connsiteX2152" fmla="*/ 153314 w 710303"/>
                <a:gd name="connsiteY2152" fmla="*/ 474010 h 528885"/>
                <a:gd name="connsiteX2153" fmla="*/ 152588 w 710303"/>
                <a:gd name="connsiteY2153" fmla="*/ 474675 h 528885"/>
                <a:gd name="connsiteX2154" fmla="*/ 153254 w 710303"/>
                <a:gd name="connsiteY2154" fmla="*/ 476127 h 528885"/>
                <a:gd name="connsiteX2155" fmla="*/ 155039 w 710303"/>
                <a:gd name="connsiteY2155" fmla="*/ 478517 h 528885"/>
                <a:gd name="connsiteX2156" fmla="*/ 154857 w 710303"/>
                <a:gd name="connsiteY2156" fmla="*/ 479516 h 528885"/>
                <a:gd name="connsiteX2157" fmla="*/ 154040 w 710303"/>
                <a:gd name="connsiteY2157" fmla="*/ 480120 h 528885"/>
                <a:gd name="connsiteX2158" fmla="*/ 153919 w 710303"/>
                <a:gd name="connsiteY2158" fmla="*/ 480756 h 528885"/>
                <a:gd name="connsiteX2159" fmla="*/ 155795 w 710303"/>
                <a:gd name="connsiteY2159" fmla="*/ 481784 h 528885"/>
                <a:gd name="connsiteX2160" fmla="*/ 157096 w 710303"/>
                <a:gd name="connsiteY2160" fmla="*/ 482087 h 528885"/>
                <a:gd name="connsiteX2161" fmla="*/ 161271 w 710303"/>
                <a:gd name="connsiteY2161" fmla="*/ 481784 h 528885"/>
                <a:gd name="connsiteX2162" fmla="*/ 162148 w 710303"/>
                <a:gd name="connsiteY2162" fmla="*/ 482480 h 528885"/>
                <a:gd name="connsiteX2163" fmla="*/ 163570 w 710303"/>
                <a:gd name="connsiteY2163" fmla="*/ 485475 h 528885"/>
                <a:gd name="connsiteX2164" fmla="*/ 164750 w 710303"/>
                <a:gd name="connsiteY2164" fmla="*/ 486171 h 528885"/>
                <a:gd name="connsiteX2165" fmla="*/ 166232 w 710303"/>
                <a:gd name="connsiteY2165" fmla="*/ 485445 h 528885"/>
                <a:gd name="connsiteX2166" fmla="*/ 166655 w 710303"/>
                <a:gd name="connsiteY2166" fmla="*/ 483811 h 528885"/>
                <a:gd name="connsiteX2167" fmla="*/ 166474 w 710303"/>
                <a:gd name="connsiteY2167" fmla="*/ 481935 h 528885"/>
                <a:gd name="connsiteX2168" fmla="*/ 166080 w 710303"/>
                <a:gd name="connsiteY2168" fmla="*/ 480574 h 528885"/>
                <a:gd name="connsiteX2169" fmla="*/ 165415 w 710303"/>
                <a:gd name="connsiteY2169" fmla="*/ 479425 h 528885"/>
                <a:gd name="connsiteX2170" fmla="*/ 164416 w 710303"/>
                <a:gd name="connsiteY2170" fmla="*/ 478487 h 528885"/>
                <a:gd name="connsiteX2171" fmla="*/ 163207 w 710303"/>
                <a:gd name="connsiteY2171" fmla="*/ 477791 h 528885"/>
                <a:gd name="connsiteX2172" fmla="*/ 161936 w 710303"/>
                <a:gd name="connsiteY2172" fmla="*/ 477398 h 528885"/>
                <a:gd name="connsiteX2173" fmla="*/ 162753 w 710303"/>
                <a:gd name="connsiteY2173" fmla="*/ 475401 h 528885"/>
                <a:gd name="connsiteX2174" fmla="*/ 163902 w 710303"/>
                <a:gd name="connsiteY2174" fmla="*/ 475552 h 528885"/>
                <a:gd name="connsiteX2175" fmla="*/ 165324 w 710303"/>
                <a:gd name="connsiteY2175" fmla="*/ 476339 h 528885"/>
                <a:gd name="connsiteX2176" fmla="*/ 166837 w 710303"/>
                <a:gd name="connsiteY2176" fmla="*/ 476339 h 528885"/>
                <a:gd name="connsiteX2177" fmla="*/ 167805 w 710303"/>
                <a:gd name="connsiteY2177" fmla="*/ 475583 h 528885"/>
                <a:gd name="connsiteX2178" fmla="*/ 167956 w 710303"/>
                <a:gd name="connsiteY2178" fmla="*/ 475099 h 528885"/>
                <a:gd name="connsiteX2179" fmla="*/ 167714 w 710303"/>
                <a:gd name="connsiteY2179" fmla="*/ 474373 h 528885"/>
                <a:gd name="connsiteX2180" fmla="*/ 165506 w 710303"/>
                <a:gd name="connsiteY2180" fmla="*/ 462151 h 52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Lst>
              <a:rect l="l" t="t" r="r" b="b"/>
              <a:pathLst>
                <a:path w="710303" h="528885">
                  <a:moveTo>
                    <a:pt x="377871" y="495912"/>
                  </a:moveTo>
                  <a:lnTo>
                    <a:pt x="376751" y="494369"/>
                  </a:lnTo>
                  <a:lnTo>
                    <a:pt x="371699" y="490497"/>
                  </a:lnTo>
                  <a:lnTo>
                    <a:pt x="370217" y="487623"/>
                  </a:lnTo>
                  <a:lnTo>
                    <a:pt x="370641" y="487411"/>
                  </a:lnTo>
                  <a:lnTo>
                    <a:pt x="371639" y="486534"/>
                  </a:lnTo>
                  <a:lnTo>
                    <a:pt x="369975" y="486080"/>
                  </a:lnTo>
                  <a:lnTo>
                    <a:pt x="368463" y="484991"/>
                  </a:lnTo>
                  <a:lnTo>
                    <a:pt x="366073" y="482147"/>
                  </a:lnTo>
                  <a:lnTo>
                    <a:pt x="365437" y="479818"/>
                  </a:lnTo>
                  <a:lnTo>
                    <a:pt x="357753" y="473374"/>
                  </a:lnTo>
                  <a:lnTo>
                    <a:pt x="357451" y="475189"/>
                  </a:lnTo>
                  <a:lnTo>
                    <a:pt x="357300" y="477216"/>
                  </a:lnTo>
                  <a:lnTo>
                    <a:pt x="357542" y="479213"/>
                  </a:lnTo>
                  <a:lnTo>
                    <a:pt x="358449" y="480968"/>
                  </a:lnTo>
                  <a:lnTo>
                    <a:pt x="357451" y="481119"/>
                  </a:lnTo>
                  <a:lnTo>
                    <a:pt x="355000" y="482147"/>
                  </a:lnTo>
                  <a:lnTo>
                    <a:pt x="352248" y="482147"/>
                  </a:lnTo>
                  <a:lnTo>
                    <a:pt x="350040" y="483902"/>
                  </a:lnTo>
                  <a:lnTo>
                    <a:pt x="350130" y="485294"/>
                  </a:lnTo>
                  <a:lnTo>
                    <a:pt x="351280" y="487018"/>
                  </a:lnTo>
                  <a:lnTo>
                    <a:pt x="352248" y="489801"/>
                  </a:lnTo>
                  <a:lnTo>
                    <a:pt x="334339" y="480453"/>
                  </a:lnTo>
                  <a:lnTo>
                    <a:pt x="331919" y="479939"/>
                  </a:lnTo>
                  <a:lnTo>
                    <a:pt x="329529" y="478578"/>
                  </a:lnTo>
                  <a:lnTo>
                    <a:pt x="326504" y="472467"/>
                  </a:lnTo>
                  <a:lnTo>
                    <a:pt x="324719" y="471075"/>
                  </a:lnTo>
                  <a:lnTo>
                    <a:pt x="322934" y="470319"/>
                  </a:lnTo>
                  <a:lnTo>
                    <a:pt x="318154" y="466750"/>
                  </a:lnTo>
                  <a:lnTo>
                    <a:pt x="315704" y="465690"/>
                  </a:lnTo>
                  <a:lnTo>
                    <a:pt x="301244" y="468443"/>
                  </a:lnTo>
                  <a:lnTo>
                    <a:pt x="299822" y="467808"/>
                  </a:lnTo>
                  <a:lnTo>
                    <a:pt x="295647" y="472467"/>
                  </a:lnTo>
                  <a:lnTo>
                    <a:pt x="294286" y="475008"/>
                  </a:lnTo>
                  <a:lnTo>
                    <a:pt x="294286" y="477761"/>
                  </a:lnTo>
                  <a:lnTo>
                    <a:pt x="294951" y="478850"/>
                  </a:lnTo>
                  <a:lnTo>
                    <a:pt x="300306" y="484991"/>
                  </a:lnTo>
                  <a:lnTo>
                    <a:pt x="301697" y="485959"/>
                  </a:lnTo>
                  <a:lnTo>
                    <a:pt x="303301" y="486534"/>
                  </a:lnTo>
                  <a:lnTo>
                    <a:pt x="301456" y="489892"/>
                  </a:lnTo>
                  <a:lnTo>
                    <a:pt x="298612" y="490104"/>
                  </a:lnTo>
                  <a:lnTo>
                    <a:pt x="295526" y="489650"/>
                  </a:lnTo>
                  <a:lnTo>
                    <a:pt x="292985" y="491011"/>
                  </a:lnTo>
                  <a:lnTo>
                    <a:pt x="292350" y="493703"/>
                  </a:lnTo>
                  <a:lnTo>
                    <a:pt x="293378" y="496124"/>
                  </a:lnTo>
                  <a:lnTo>
                    <a:pt x="295526" y="497878"/>
                  </a:lnTo>
                  <a:lnTo>
                    <a:pt x="300971" y="499088"/>
                  </a:lnTo>
                  <a:lnTo>
                    <a:pt x="306356" y="501418"/>
                  </a:lnTo>
                  <a:lnTo>
                    <a:pt x="311348" y="502446"/>
                  </a:lnTo>
                  <a:lnTo>
                    <a:pt x="322420" y="508950"/>
                  </a:lnTo>
                  <a:lnTo>
                    <a:pt x="328561" y="513881"/>
                  </a:lnTo>
                  <a:lnTo>
                    <a:pt x="337939" y="519024"/>
                  </a:lnTo>
                  <a:lnTo>
                    <a:pt x="340208" y="519387"/>
                  </a:lnTo>
                  <a:lnTo>
                    <a:pt x="344019" y="516120"/>
                  </a:lnTo>
                  <a:lnTo>
                    <a:pt x="348829" y="514033"/>
                  </a:lnTo>
                  <a:lnTo>
                    <a:pt x="353911" y="512943"/>
                  </a:lnTo>
                  <a:lnTo>
                    <a:pt x="369582" y="516120"/>
                  </a:lnTo>
                  <a:lnTo>
                    <a:pt x="374089" y="514759"/>
                  </a:lnTo>
                  <a:lnTo>
                    <a:pt x="377296" y="511401"/>
                  </a:lnTo>
                  <a:lnTo>
                    <a:pt x="377689" y="507952"/>
                  </a:lnTo>
                  <a:lnTo>
                    <a:pt x="373726" y="506318"/>
                  </a:lnTo>
                  <a:lnTo>
                    <a:pt x="374513" y="504594"/>
                  </a:lnTo>
                  <a:lnTo>
                    <a:pt x="375390" y="504049"/>
                  </a:lnTo>
                  <a:lnTo>
                    <a:pt x="376419" y="503656"/>
                  </a:lnTo>
                  <a:lnTo>
                    <a:pt x="377568" y="502476"/>
                  </a:lnTo>
                  <a:lnTo>
                    <a:pt x="378597" y="500601"/>
                  </a:lnTo>
                  <a:lnTo>
                    <a:pt x="378597" y="499663"/>
                  </a:lnTo>
                  <a:lnTo>
                    <a:pt x="378173" y="498483"/>
                  </a:lnTo>
                  <a:lnTo>
                    <a:pt x="377901" y="495882"/>
                  </a:lnTo>
                  <a:close/>
                  <a:moveTo>
                    <a:pt x="242042" y="482178"/>
                  </a:moveTo>
                  <a:lnTo>
                    <a:pt x="242042" y="479667"/>
                  </a:lnTo>
                  <a:lnTo>
                    <a:pt x="240741" y="478215"/>
                  </a:lnTo>
                  <a:lnTo>
                    <a:pt x="238835" y="477126"/>
                  </a:lnTo>
                  <a:lnTo>
                    <a:pt x="237202" y="475643"/>
                  </a:lnTo>
                  <a:lnTo>
                    <a:pt x="238563" y="478427"/>
                  </a:lnTo>
                  <a:lnTo>
                    <a:pt x="238291" y="479697"/>
                  </a:lnTo>
                  <a:lnTo>
                    <a:pt x="236869" y="480030"/>
                  </a:lnTo>
                  <a:lnTo>
                    <a:pt x="234781" y="480030"/>
                  </a:lnTo>
                  <a:lnTo>
                    <a:pt x="233692" y="479062"/>
                  </a:lnTo>
                  <a:lnTo>
                    <a:pt x="232482" y="474252"/>
                  </a:lnTo>
                  <a:lnTo>
                    <a:pt x="231060" y="472346"/>
                  </a:lnTo>
                  <a:lnTo>
                    <a:pt x="231756" y="475038"/>
                  </a:lnTo>
                  <a:lnTo>
                    <a:pt x="231303" y="476339"/>
                  </a:lnTo>
                  <a:lnTo>
                    <a:pt x="230093" y="476732"/>
                  </a:lnTo>
                  <a:lnTo>
                    <a:pt x="228580" y="476732"/>
                  </a:lnTo>
                  <a:lnTo>
                    <a:pt x="227128" y="476127"/>
                  </a:lnTo>
                  <a:lnTo>
                    <a:pt x="225888" y="474645"/>
                  </a:lnTo>
                  <a:lnTo>
                    <a:pt x="223528" y="471136"/>
                  </a:lnTo>
                  <a:lnTo>
                    <a:pt x="221017" y="469049"/>
                  </a:lnTo>
                  <a:lnTo>
                    <a:pt x="212486" y="464632"/>
                  </a:lnTo>
                  <a:lnTo>
                    <a:pt x="211004" y="463119"/>
                  </a:lnTo>
                  <a:lnTo>
                    <a:pt x="211609" y="465630"/>
                  </a:lnTo>
                  <a:lnTo>
                    <a:pt x="213242" y="469260"/>
                  </a:lnTo>
                  <a:lnTo>
                    <a:pt x="230576" y="486715"/>
                  </a:lnTo>
                  <a:lnTo>
                    <a:pt x="232875" y="487683"/>
                  </a:lnTo>
                  <a:lnTo>
                    <a:pt x="234116" y="487200"/>
                  </a:lnTo>
                  <a:lnTo>
                    <a:pt x="236294" y="484991"/>
                  </a:lnTo>
                  <a:lnTo>
                    <a:pt x="244189" y="483297"/>
                  </a:lnTo>
                  <a:lnTo>
                    <a:pt x="243131" y="482813"/>
                  </a:lnTo>
                  <a:lnTo>
                    <a:pt x="242163" y="482178"/>
                  </a:lnTo>
                  <a:close/>
                  <a:moveTo>
                    <a:pt x="443910" y="456313"/>
                  </a:moveTo>
                  <a:lnTo>
                    <a:pt x="435107" y="454619"/>
                  </a:lnTo>
                  <a:lnTo>
                    <a:pt x="426878" y="454135"/>
                  </a:lnTo>
                  <a:lnTo>
                    <a:pt x="423520" y="452713"/>
                  </a:lnTo>
                  <a:lnTo>
                    <a:pt x="421342" y="449143"/>
                  </a:lnTo>
                  <a:lnTo>
                    <a:pt x="419527" y="449143"/>
                  </a:lnTo>
                  <a:lnTo>
                    <a:pt x="418408" y="449718"/>
                  </a:lnTo>
                  <a:lnTo>
                    <a:pt x="418075" y="450837"/>
                  </a:lnTo>
                  <a:lnTo>
                    <a:pt x="418589" y="452440"/>
                  </a:lnTo>
                  <a:lnTo>
                    <a:pt x="419466" y="453560"/>
                  </a:lnTo>
                  <a:lnTo>
                    <a:pt x="422764" y="455738"/>
                  </a:lnTo>
                  <a:lnTo>
                    <a:pt x="422764" y="456857"/>
                  </a:lnTo>
                  <a:lnTo>
                    <a:pt x="421887" y="457402"/>
                  </a:lnTo>
                  <a:lnTo>
                    <a:pt x="421433" y="458370"/>
                  </a:lnTo>
                  <a:lnTo>
                    <a:pt x="421433" y="459670"/>
                  </a:lnTo>
                  <a:lnTo>
                    <a:pt x="422007" y="461244"/>
                  </a:lnTo>
                  <a:lnTo>
                    <a:pt x="420767" y="462030"/>
                  </a:lnTo>
                  <a:lnTo>
                    <a:pt x="417500" y="463301"/>
                  </a:lnTo>
                  <a:lnTo>
                    <a:pt x="416472" y="463482"/>
                  </a:lnTo>
                  <a:lnTo>
                    <a:pt x="414989" y="462968"/>
                  </a:lnTo>
                  <a:lnTo>
                    <a:pt x="412539" y="461395"/>
                  </a:lnTo>
                  <a:lnTo>
                    <a:pt x="410936" y="461244"/>
                  </a:lnTo>
                  <a:lnTo>
                    <a:pt x="411662" y="463452"/>
                  </a:lnTo>
                  <a:lnTo>
                    <a:pt x="410936" y="464632"/>
                  </a:lnTo>
                  <a:lnTo>
                    <a:pt x="409665" y="463906"/>
                  </a:lnTo>
                  <a:lnTo>
                    <a:pt x="408364" y="464511"/>
                  </a:lnTo>
                  <a:lnTo>
                    <a:pt x="406125" y="466840"/>
                  </a:lnTo>
                  <a:lnTo>
                    <a:pt x="406670" y="467294"/>
                  </a:lnTo>
                  <a:lnTo>
                    <a:pt x="407638" y="468534"/>
                  </a:lnTo>
                  <a:lnTo>
                    <a:pt x="408152" y="469018"/>
                  </a:lnTo>
                  <a:lnTo>
                    <a:pt x="407063" y="469593"/>
                  </a:lnTo>
                  <a:lnTo>
                    <a:pt x="406125" y="470501"/>
                  </a:lnTo>
                  <a:lnTo>
                    <a:pt x="405702" y="471771"/>
                  </a:lnTo>
                  <a:lnTo>
                    <a:pt x="406156" y="473405"/>
                  </a:lnTo>
                  <a:lnTo>
                    <a:pt x="404734" y="473405"/>
                  </a:lnTo>
                  <a:lnTo>
                    <a:pt x="404734" y="474403"/>
                  </a:lnTo>
                  <a:lnTo>
                    <a:pt x="411147" y="477338"/>
                  </a:lnTo>
                  <a:lnTo>
                    <a:pt x="414051" y="477791"/>
                  </a:lnTo>
                  <a:lnTo>
                    <a:pt x="415957" y="476732"/>
                  </a:lnTo>
                  <a:lnTo>
                    <a:pt x="421312" y="470017"/>
                  </a:lnTo>
                  <a:lnTo>
                    <a:pt x="424730" y="467385"/>
                  </a:lnTo>
                  <a:lnTo>
                    <a:pt x="428179" y="465902"/>
                  </a:lnTo>
                  <a:lnTo>
                    <a:pt x="431809" y="465418"/>
                  </a:lnTo>
                  <a:lnTo>
                    <a:pt x="443698" y="467808"/>
                  </a:lnTo>
                  <a:lnTo>
                    <a:pt x="446058" y="467717"/>
                  </a:lnTo>
                  <a:lnTo>
                    <a:pt x="447721" y="467324"/>
                  </a:lnTo>
                  <a:lnTo>
                    <a:pt x="448629" y="466356"/>
                  </a:lnTo>
                  <a:lnTo>
                    <a:pt x="448841" y="464601"/>
                  </a:lnTo>
                  <a:lnTo>
                    <a:pt x="447207" y="459096"/>
                  </a:lnTo>
                  <a:lnTo>
                    <a:pt x="443879" y="456282"/>
                  </a:lnTo>
                  <a:close/>
                  <a:moveTo>
                    <a:pt x="193035" y="463452"/>
                  </a:moveTo>
                  <a:lnTo>
                    <a:pt x="190523" y="459882"/>
                  </a:lnTo>
                  <a:lnTo>
                    <a:pt x="187952" y="457099"/>
                  </a:lnTo>
                  <a:lnTo>
                    <a:pt x="184746" y="455314"/>
                  </a:lnTo>
                  <a:lnTo>
                    <a:pt x="180298" y="454679"/>
                  </a:lnTo>
                  <a:lnTo>
                    <a:pt x="177092" y="453076"/>
                  </a:lnTo>
                  <a:lnTo>
                    <a:pt x="171102" y="446511"/>
                  </a:lnTo>
                  <a:lnTo>
                    <a:pt x="166928" y="445755"/>
                  </a:lnTo>
                  <a:lnTo>
                    <a:pt x="163358" y="446269"/>
                  </a:lnTo>
                  <a:lnTo>
                    <a:pt x="154464" y="450171"/>
                  </a:lnTo>
                  <a:lnTo>
                    <a:pt x="154464" y="451351"/>
                  </a:lnTo>
                  <a:lnTo>
                    <a:pt x="156188" y="452289"/>
                  </a:lnTo>
                  <a:lnTo>
                    <a:pt x="157822" y="452017"/>
                  </a:lnTo>
                  <a:lnTo>
                    <a:pt x="159485" y="451442"/>
                  </a:lnTo>
                  <a:lnTo>
                    <a:pt x="161331" y="451351"/>
                  </a:lnTo>
                  <a:lnTo>
                    <a:pt x="160786" y="452622"/>
                  </a:lnTo>
                  <a:lnTo>
                    <a:pt x="158881" y="453923"/>
                  </a:lnTo>
                  <a:lnTo>
                    <a:pt x="158518" y="454649"/>
                  </a:lnTo>
                  <a:lnTo>
                    <a:pt x="159062" y="456131"/>
                  </a:lnTo>
                  <a:lnTo>
                    <a:pt x="160121" y="456525"/>
                  </a:lnTo>
                  <a:lnTo>
                    <a:pt x="161331" y="456676"/>
                  </a:lnTo>
                  <a:lnTo>
                    <a:pt x="162329" y="457371"/>
                  </a:lnTo>
                  <a:lnTo>
                    <a:pt x="163721" y="457492"/>
                  </a:lnTo>
                  <a:lnTo>
                    <a:pt x="171616" y="456797"/>
                  </a:lnTo>
                  <a:lnTo>
                    <a:pt x="171616" y="457886"/>
                  </a:lnTo>
                  <a:lnTo>
                    <a:pt x="170376" y="459429"/>
                  </a:lnTo>
                  <a:lnTo>
                    <a:pt x="171072" y="460699"/>
                  </a:lnTo>
                  <a:lnTo>
                    <a:pt x="175247" y="463452"/>
                  </a:lnTo>
                  <a:lnTo>
                    <a:pt x="175942" y="464238"/>
                  </a:lnTo>
                  <a:lnTo>
                    <a:pt x="175398" y="464601"/>
                  </a:lnTo>
                  <a:lnTo>
                    <a:pt x="175004" y="465086"/>
                  </a:lnTo>
                  <a:lnTo>
                    <a:pt x="175398" y="466144"/>
                  </a:lnTo>
                  <a:lnTo>
                    <a:pt x="176064" y="467233"/>
                  </a:lnTo>
                  <a:lnTo>
                    <a:pt x="176487" y="467808"/>
                  </a:lnTo>
                  <a:lnTo>
                    <a:pt x="174460" y="468232"/>
                  </a:lnTo>
                  <a:lnTo>
                    <a:pt x="172100" y="466356"/>
                  </a:lnTo>
                  <a:lnTo>
                    <a:pt x="169710" y="463845"/>
                  </a:lnTo>
                  <a:lnTo>
                    <a:pt x="167472" y="462393"/>
                  </a:lnTo>
                  <a:lnTo>
                    <a:pt x="167472" y="463392"/>
                  </a:lnTo>
                  <a:lnTo>
                    <a:pt x="168107" y="463392"/>
                  </a:lnTo>
                  <a:lnTo>
                    <a:pt x="167805" y="468625"/>
                  </a:lnTo>
                  <a:lnTo>
                    <a:pt x="169801" y="472860"/>
                  </a:lnTo>
                  <a:lnTo>
                    <a:pt x="173189" y="475401"/>
                  </a:lnTo>
                  <a:lnTo>
                    <a:pt x="177122" y="475613"/>
                  </a:lnTo>
                  <a:lnTo>
                    <a:pt x="178090" y="475099"/>
                  </a:lnTo>
                  <a:lnTo>
                    <a:pt x="179542" y="473768"/>
                  </a:lnTo>
                  <a:lnTo>
                    <a:pt x="180541" y="473405"/>
                  </a:lnTo>
                  <a:lnTo>
                    <a:pt x="181569" y="473496"/>
                  </a:lnTo>
                  <a:lnTo>
                    <a:pt x="186137" y="475008"/>
                  </a:lnTo>
                  <a:lnTo>
                    <a:pt x="190947" y="478910"/>
                  </a:lnTo>
                  <a:lnTo>
                    <a:pt x="190947" y="480000"/>
                  </a:lnTo>
                  <a:lnTo>
                    <a:pt x="188164" y="478820"/>
                  </a:lnTo>
                  <a:lnTo>
                    <a:pt x="184988" y="476763"/>
                  </a:lnTo>
                  <a:lnTo>
                    <a:pt x="181811" y="475492"/>
                  </a:lnTo>
                  <a:lnTo>
                    <a:pt x="179149" y="476732"/>
                  </a:lnTo>
                  <a:lnTo>
                    <a:pt x="179149" y="477821"/>
                  </a:lnTo>
                  <a:lnTo>
                    <a:pt x="180843" y="478941"/>
                  </a:lnTo>
                  <a:lnTo>
                    <a:pt x="185472" y="480272"/>
                  </a:lnTo>
                  <a:lnTo>
                    <a:pt x="187135" y="481603"/>
                  </a:lnTo>
                  <a:lnTo>
                    <a:pt x="188588" y="482087"/>
                  </a:lnTo>
                  <a:lnTo>
                    <a:pt x="190554" y="481058"/>
                  </a:lnTo>
                  <a:lnTo>
                    <a:pt x="192520" y="479637"/>
                  </a:lnTo>
                  <a:lnTo>
                    <a:pt x="194033" y="478910"/>
                  </a:lnTo>
                  <a:lnTo>
                    <a:pt x="196907" y="479001"/>
                  </a:lnTo>
                  <a:lnTo>
                    <a:pt x="198329" y="478638"/>
                  </a:lnTo>
                  <a:lnTo>
                    <a:pt x="198389" y="477065"/>
                  </a:lnTo>
                  <a:lnTo>
                    <a:pt x="194456" y="465963"/>
                  </a:lnTo>
                  <a:lnTo>
                    <a:pt x="193004" y="463422"/>
                  </a:lnTo>
                  <a:close/>
                  <a:moveTo>
                    <a:pt x="282004" y="439916"/>
                  </a:moveTo>
                  <a:lnTo>
                    <a:pt x="278616" y="447903"/>
                  </a:lnTo>
                  <a:lnTo>
                    <a:pt x="277920" y="452471"/>
                  </a:lnTo>
                  <a:lnTo>
                    <a:pt x="272202" y="460094"/>
                  </a:lnTo>
                  <a:lnTo>
                    <a:pt x="269782" y="461697"/>
                  </a:lnTo>
                  <a:lnTo>
                    <a:pt x="264156" y="467717"/>
                  </a:lnTo>
                  <a:lnTo>
                    <a:pt x="262008" y="470591"/>
                  </a:lnTo>
                  <a:lnTo>
                    <a:pt x="260586" y="474463"/>
                  </a:lnTo>
                  <a:lnTo>
                    <a:pt x="261494" y="475159"/>
                  </a:lnTo>
                  <a:lnTo>
                    <a:pt x="262340" y="475371"/>
                  </a:lnTo>
                  <a:lnTo>
                    <a:pt x="263218" y="475159"/>
                  </a:lnTo>
                  <a:lnTo>
                    <a:pt x="264095" y="474463"/>
                  </a:lnTo>
                  <a:lnTo>
                    <a:pt x="264549" y="476248"/>
                  </a:lnTo>
                  <a:lnTo>
                    <a:pt x="264791" y="477852"/>
                  </a:lnTo>
                  <a:lnTo>
                    <a:pt x="262220" y="478668"/>
                  </a:lnTo>
                  <a:lnTo>
                    <a:pt x="261735" y="478396"/>
                  </a:lnTo>
                  <a:lnTo>
                    <a:pt x="260798" y="477579"/>
                  </a:lnTo>
                  <a:lnTo>
                    <a:pt x="260193" y="478366"/>
                  </a:lnTo>
                  <a:lnTo>
                    <a:pt x="259255" y="481058"/>
                  </a:lnTo>
                  <a:lnTo>
                    <a:pt x="257652" y="483418"/>
                  </a:lnTo>
                  <a:lnTo>
                    <a:pt x="256381" y="484779"/>
                  </a:lnTo>
                  <a:lnTo>
                    <a:pt x="254808" y="485414"/>
                  </a:lnTo>
                  <a:lnTo>
                    <a:pt x="252358" y="485566"/>
                  </a:lnTo>
                  <a:lnTo>
                    <a:pt x="255474" y="487956"/>
                  </a:lnTo>
                  <a:lnTo>
                    <a:pt x="256835" y="489378"/>
                  </a:lnTo>
                  <a:lnTo>
                    <a:pt x="257924" y="491132"/>
                  </a:lnTo>
                  <a:lnTo>
                    <a:pt x="260495" y="500570"/>
                  </a:lnTo>
                  <a:lnTo>
                    <a:pt x="261705" y="502083"/>
                  </a:lnTo>
                  <a:lnTo>
                    <a:pt x="264095" y="501992"/>
                  </a:lnTo>
                  <a:lnTo>
                    <a:pt x="265456" y="501296"/>
                  </a:lnTo>
                  <a:lnTo>
                    <a:pt x="266455" y="499330"/>
                  </a:lnTo>
                  <a:lnTo>
                    <a:pt x="276165" y="469654"/>
                  </a:lnTo>
                  <a:lnTo>
                    <a:pt x="281429" y="459973"/>
                  </a:lnTo>
                  <a:lnTo>
                    <a:pt x="283335" y="454679"/>
                  </a:lnTo>
                  <a:lnTo>
                    <a:pt x="288145" y="434743"/>
                  </a:lnTo>
                  <a:lnTo>
                    <a:pt x="285876" y="433775"/>
                  </a:lnTo>
                  <a:lnTo>
                    <a:pt x="282004" y="439947"/>
                  </a:lnTo>
                  <a:close/>
                  <a:moveTo>
                    <a:pt x="708882" y="440219"/>
                  </a:moveTo>
                  <a:lnTo>
                    <a:pt x="709366" y="439795"/>
                  </a:lnTo>
                  <a:lnTo>
                    <a:pt x="709608" y="439372"/>
                  </a:lnTo>
                  <a:lnTo>
                    <a:pt x="709820" y="438827"/>
                  </a:lnTo>
                  <a:lnTo>
                    <a:pt x="710304" y="438041"/>
                  </a:lnTo>
                  <a:lnTo>
                    <a:pt x="708307" y="436075"/>
                  </a:lnTo>
                  <a:lnTo>
                    <a:pt x="703558" y="434592"/>
                  </a:lnTo>
                  <a:lnTo>
                    <a:pt x="696328" y="429873"/>
                  </a:lnTo>
                  <a:lnTo>
                    <a:pt x="695087" y="429117"/>
                  </a:lnTo>
                  <a:lnTo>
                    <a:pt x="694029" y="427876"/>
                  </a:lnTo>
                  <a:lnTo>
                    <a:pt x="692395" y="424609"/>
                  </a:lnTo>
                  <a:lnTo>
                    <a:pt x="690489" y="424095"/>
                  </a:lnTo>
                  <a:lnTo>
                    <a:pt x="687706" y="424670"/>
                  </a:lnTo>
                  <a:lnTo>
                    <a:pt x="683894" y="421856"/>
                  </a:lnTo>
                  <a:lnTo>
                    <a:pt x="680113" y="419436"/>
                  </a:lnTo>
                  <a:lnTo>
                    <a:pt x="677844" y="417258"/>
                  </a:lnTo>
                  <a:lnTo>
                    <a:pt x="676452" y="415836"/>
                  </a:lnTo>
                  <a:lnTo>
                    <a:pt x="672368" y="410391"/>
                  </a:lnTo>
                  <a:lnTo>
                    <a:pt x="670977" y="409514"/>
                  </a:lnTo>
                  <a:lnTo>
                    <a:pt x="670100" y="411208"/>
                  </a:lnTo>
                  <a:lnTo>
                    <a:pt x="669404" y="413991"/>
                  </a:lnTo>
                  <a:lnTo>
                    <a:pt x="668587" y="416411"/>
                  </a:lnTo>
                  <a:lnTo>
                    <a:pt x="666621" y="419648"/>
                  </a:lnTo>
                  <a:lnTo>
                    <a:pt x="665774" y="421433"/>
                  </a:lnTo>
                  <a:lnTo>
                    <a:pt x="665411" y="423097"/>
                  </a:lnTo>
                  <a:lnTo>
                    <a:pt x="664987" y="432959"/>
                  </a:lnTo>
                  <a:lnTo>
                    <a:pt x="664533" y="439765"/>
                  </a:lnTo>
                  <a:lnTo>
                    <a:pt x="663232" y="443214"/>
                  </a:lnTo>
                  <a:lnTo>
                    <a:pt x="664775" y="445180"/>
                  </a:lnTo>
                  <a:lnTo>
                    <a:pt x="672943" y="451321"/>
                  </a:lnTo>
                  <a:lnTo>
                    <a:pt x="680778" y="453409"/>
                  </a:lnTo>
                  <a:lnTo>
                    <a:pt x="687676" y="457371"/>
                  </a:lnTo>
                  <a:lnTo>
                    <a:pt x="693272" y="459398"/>
                  </a:lnTo>
                  <a:lnTo>
                    <a:pt x="697386" y="459670"/>
                  </a:lnTo>
                  <a:lnTo>
                    <a:pt x="702317" y="460911"/>
                  </a:lnTo>
                  <a:lnTo>
                    <a:pt x="703739" y="459701"/>
                  </a:lnTo>
                  <a:lnTo>
                    <a:pt x="704828" y="458309"/>
                  </a:lnTo>
                  <a:lnTo>
                    <a:pt x="706401" y="456615"/>
                  </a:lnTo>
                  <a:lnTo>
                    <a:pt x="706129" y="454709"/>
                  </a:lnTo>
                  <a:lnTo>
                    <a:pt x="706129" y="453711"/>
                  </a:lnTo>
                  <a:lnTo>
                    <a:pt x="705736" y="452350"/>
                  </a:lnTo>
                  <a:lnTo>
                    <a:pt x="706371" y="450746"/>
                  </a:lnTo>
                  <a:lnTo>
                    <a:pt x="708549" y="447479"/>
                  </a:lnTo>
                  <a:lnTo>
                    <a:pt x="709578" y="445513"/>
                  </a:lnTo>
                  <a:lnTo>
                    <a:pt x="709880" y="444151"/>
                  </a:lnTo>
                  <a:lnTo>
                    <a:pt x="709608" y="442639"/>
                  </a:lnTo>
                  <a:lnTo>
                    <a:pt x="708882" y="440279"/>
                  </a:lnTo>
                  <a:close/>
                  <a:moveTo>
                    <a:pt x="37663" y="402253"/>
                  </a:moveTo>
                  <a:lnTo>
                    <a:pt x="36967" y="399228"/>
                  </a:lnTo>
                  <a:lnTo>
                    <a:pt x="36211" y="397443"/>
                  </a:lnTo>
                  <a:lnTo>
                    <a:pt x="35939" y="395810"/>
                  </a:lnTo>
                  <a:lnTo>
                    <a:pt x="37240" y="392180"/>
                  </a:lnTo>
                  <a:lnTo>
                    <a:pt x="37240" y="390274"/>
                  </a:lnTo>
                  <a:lnTo>
                    <a:pt x="35818" y="388943"/>
                  </a:lnTo>
                  <a:lnTo>
                    <a:pt x="33761" y="389276"/>
                  </a:lnTo>
                  <a:lnTo>
                    <a:pt x="32097" y="388428"/>
                  </a:lnTo>
                  <a:lnTo>
                    <a:pt x="31734" y="383588"/>
                  </a:lnTo>
                  <a:lnTo>
                    <a:pt x="28315" y="384435"/>
                  </a:lnTo>
                  <a:lnTo>
                    <a:pt x="27317" y="386765"/>
                  </a:lnTo>
                  <a:lnTo>
                    <a:pt x="27983" y="390274"/>
                  </a:lnTo>
                  <a:lnTo>
                    <a:pt x="31159" y="397988"/>
                  </a:lnTo>
                  <a:lnTo>
                    <a:pt x="33458" y="401981"/>
                  </a:lnTo>
                  <a:lnTo>
                    <a:pt x="36120" y="404552"/>
                  </a:lnTo>
                  <a:lnTo>
                    <a:pt x="38601" y="403615"/>
                  </a:lnTo>
                  <a:lnTo>
                    <a:pt x="37694" y="402284"/>
                  </a:lnTo>
                  <a:close/>
                  <a:moveTo>
                    <a:pt x="254414" y="449143"/>
                  </a:moveTo>
                  <a:lnTo>
                    <a:pt x="258922" y="449143"/>
                  </a:lnTo>
                  <a:lnTo>
                    <a:pt x="262885" y="449415"/>
                  </a:lnTo>
                  <a:lnTo>
                    <a:pt x="264095" y="449143"/>
                  </a:lnTo>
                  <a:lnTo>
                    <a:pt x="265699" y="447903"/>
                  </a:lnTo>
                  <a:lnTo>
                    <a:pt x="266606" y="446330"/>
                  </a:lnTo>
                  <a:lnTo>
                    <a:pt x="267271" y="444484"/>
                  </a:lnTo>
                  <a:lnTo>
                    <a:pt x="268209" y="442518"/>
                  </a:lnTo>
                  <a:lnTo>
                    <a:pt x="270690" y="439463"/>
                  </a:lnTo>
                  <a:lnTo>
                    <a:pt x="271023" y="438616"/>
                  </a:lnTo>
                  <a:lnTo>
                    <a:pt x="271144" y="435379"/>
                  </a:lnTo>
                  <a:lnTo>
                    <a:pt x="271416" y="434169"/>
                  </a:lnTo>
                  <a:lnTo>
                    <a:pt x="272959" y="430841"/>
                  </a:lnTo>
                  <a:lnTo>
                    <a:pt x="273624" y="428118"/>
                  </a:lnTo>
                  <a:lnTo>
                    <a:pt x="273866" y="424912"/>
                  </a:lnTo>
                  <a:lnTo>
                    <a:pt x="273655" y="421403"/>
                  </a:lnTo>
                  <a:lnTo>
                    <a:pt x="272868" y="418982"/>
                  </a:lnTo>
                  <a:lnTo>
                    <a:pt x="270176" y="415019"/>
                  </a:lnTo>
                  <a:lnTo>
                    <a:pt x="269601" y="413023"/>
                  </a:lnTo>
                  <a:lnTo>
                    <a:pt x="270327" y="410119"/>
                  </a:lnTo>
                  <a:lnTo>
                    <a:pt x="271991" y="409665"/>
                  </a:lnTo>
                  <a:lnTo>
                    <a:pt x="273836" y="410784"/>
                  </a:lnTo>
                  <a:lnTo>
                    <a:pt x="275016" y="412509"/>
                  </a:lnTo>
                  <a:lnTo>
                    <a:pt x="275742" y="412509"/>
                  </a:lnTo>
                  <a:lnTo>
                    <a:pt x="275137" y="409846"/>
                  </a:lnTo>
                  <a:lnTo>
                    <a:pt x="272596" y="402828"/>
                  </a:lnTo>
                  <a:lnTo>
                    <a:pt x="271960" y="401406"/>
                  </a:lnTo>
                  <a:lnTo>
                    <a:pt x="262008" y="388096"/>
                  </a:lnTo>
                  <a:lnTo>
                    <a:pt x="260495" y="386855"/>
                  </a:lnTo>
                  <a:lnTo>
                    <a:pt x="253719" y="385403"/>
                  </a:lnTo>
                  <a:lnTo>
                    <a:pt x="251722" y="384950"/>
                  </a:lnTo>
                  <a:lnTo>
                    <a:pt x="250966" y="386613"/>
                  </a:lnTo>
                  <a:lnTo>
                    <a:pt x="251087" y="387128"/>
                  </a:lnTo>
                  <a:lnTo>
                    <a:pt x="251571" y="387975"/>
                  </a:lnTo>
                  <a:lnTo>
                    <a:pt x="250089" y="388822"/>
                  </a:lnTo>
                  <a:lnTo>
                    <a:pt x="248455" y="388761"/>
                  </a:lnTo>
                  <a:lnTo>
                    <a:pt x="247517" y="387733"/>
                  </a:lnTo>
                  <a:lnTo>
                    <a:pt x="248062" y="385645"/>
                  </a:lnTo>
                  <a:lnTo>
                    <a:pt x="249242" y="384677"/>
                  </a:lnTo>
                  <a:lnTo>
                    <a:pt x="250966" y="384345"/>
                  </a:lnTo>
                  <a:lnTo>
                    <a:pt x="257924" y="384950"/>
                  </a:lnTo>
                  <a:lnTo>
                    <a:pt x="262613" y="383074"/>
                  </a:lnTo>
                  <a:lnTo>
                    <a:pt x="265547" y="381319"/>
                  </a:lnTo>
                  <a:lnTo>
                    <a:pt x="266485" y="380412"/>
                  </a:lnTo>
                  <a:lnTo>
                    <a:pt x="266697" y="379111"/>
                  </a:lnTo>
                  <a:lnTo>
                    <a:pt x="266062" y="376872"/>
                  </a:lnTo>
                  <a:lnTo>
                    <a:pt x="263913" y="374906"/>
                  </a:lnTo>
                  <a:lnTo>
                    <a:pt x="263672" y="374543"/>
                  </a:lnTo>
                  <a:lnTo>
                    <a:pt x="263157" y="373999"/>
                  </a:lnTo>
                  <a:lnTo>
                    <a:pt x="262915" y="372698"/>
                  </a:lnTo>
                  <a:lnTo>
                    <a:pt x="262824" y="371246"/>
                  </a:lnTo>
                  <a:lnTo>
                    <a:pt x="262613" y="370187"/>
                  </a:lnTo>
                  <a:lnTo>
                    <a:pt x="257863" y="362896"/>
                  </a:lnTo>
                  <a:lnTo>
                    <a:pt x="254929" y="359841"/>
                  </a:lnTo>
                  <a:lnTo>
                    <a:pt x="253023" y="359962"/>
                  </a:lnTo>
                  <a:lnTo>
                    <a:pt x="253023" y="361051"/>
                  </a:lnTo>
                  <a:lnTo>
                    <a:pt x="253688" y="365104"/>
                  </a:lnTo>
                  <a:lnTo>
                    <a:pt x="253628" y="367857"/>
                  </a:lnTo>
                  <a:lnTo>
                    <a:pt x="252055" y="366375"/>
                  </a:lnTo>
                  <a:lnTo>
                    <a:pt x="251571" y="365619"/>
                  </a:lnTo>
                  <a:lnTo>
                    <a:pt x="252206" y="368402"/>
                  </a:lnTo>
                  <a:lnTo>
                    <a:pt x="253174" y="371276"/>
                  </a:lnTo>
                  <a:lnTo>
                    <a:pt x="253507" y="373847"/>
                  </a:lnTo>
                  <a:lnTo>
                    <a:pt x="252236" y="375662"/>
                  </a:lnTo>
                  <a:lnTo>
                    <a:pt x="251692" y="374906"/>
                  </a:lnTo>
                  <a:lnTo>
                    <a:pt x="250361" y="373636"/>
                  </a:lnTo>
                  <a:lnTo>
                    <a:pt x="249091" y="373091"/>
                  </a:lnTo>
                  <a:lnTo>
                    <a:pt x="248818" y="374513"/>
                  </a:lnTo>
                  <a:lnTo>
                    <a:pt x="249211" y="375329"/>
                  </a:lnTo>
                  <a:lnTo>
                    <a:pt x="250028" y="376086"/>
                  </a:lnTo>
                  <a:lnTo>
                    <a:pt x="250996" y="376630"/>
                  </a:lnTo>
                  <a:lnTo>
                    <a:pt x="251904" y="376842"/>
                  </a:lnTo>
                  <a:lnTo>
                    <a:pt x="252358" y="377356"/>
                  </a:lnTo>
                  <a:lnTo>
                    <a:pt x="252842" y="378476"/>
                  </a:lnTo>
                  <a:lnTo>
                    <a:pt x="253023" y="379595"/>
                  </a:lnTo>
                  <a:lnTo>
                    <a:pt x="252569" y="380109"/>
                  </a:lnTo>
                  <a:lnTo>
                    <a:pt x="248757" y="381229"/>
                  </a:lnTo>
                  <a:lnTo>
                    <a:pt x="242254" y="384345"/>
                  </a:lnTo>
                  <a:lnTo>
                    <a:pt x="241134" y="384072"/>
                  </a:lnTo>
                  <a:lnTo>
                    <a:pt x="239138" y="387702"/>
                  </a:lnTo>
                  <a:lnTo>
                    <a:pt x="235568" y="387854"/>
                  </a:lnTo>
                  <a:lnTo>
                    <a:pt x="233904" y="385131"/>
                  </a:lnTo>
                  <a:lnTo>
                    <a:pt x="237686" y="380140"/>
                  </a:lnTo>
                  <a:lnTo>
                    <a:pt x="238744" y="379716"/>
                  </a:lnTo>
                  <a:lnTo>
                    <a:pt x="239743" y="379656"/>
                  </a:lnTo>
                  <a:lnTo>
                    <a:pt x="240590" y="379293"/>
                  </a:lnTo>
                  <a:lnTo>
                    <a:pt x="241104" y="377931"/>
                  </a:lnTo>
                  <a:lnTo>
                    <a:pt x="240892" y="376963"/>
                  </a:lnTo>
                  <a:lnTo>
                    <a:pt x="239410" y="375874"/>
                  </a:lnTo>
                  <a:lnTo>
                    <a:pt x="239047" y="375148"/>
                  </a:lnTo>
                  <a:lnTo>
                    <a:pt x="239501" y="373242"/>
                  </a:lnTo>
                  <a:lnTo>
                    <a:pt x="240650" y="372395"/>
                  </a:lnTo>
                  <a:lnTo>
                    <a:pt x="242223" y="372395"/>
                  </a:lnTo>
                  <a:lnTo>
                    <a:pt x="243857" y="373000"/>
                  </a:lnTo>
                  <a:lnTo>
                    <a:pt x="240832" y="371034"/>
                  </a:lnTo>
                  <a:lnTo>
                    <a:pt x="239168" y="370459"/>
                  </a:lnTo>
                  <a:lnTo>
                    <a:pt x="237323" y="370247"/>
                  </a:lnTo>
                  <a:lnTo>
                    <a:pt x="236385" y="369763"/>
                  </a:lnTo>
                  <a:lnTo>
                    <a:pt x="235477" y="368705"/>
                  </a:lnTo>
                  <a:lnTo>
                    <a:pt x="234237" y="366708"/>
                  </a:lnTo>
                  <a:lnTo>
                    <a:pt x="232664" y="364923"/>
                  </a:lnTo>
                  <a:lnTo>
                    <a:pt x="225706" y="360476"/>
                  </a:lnTo>
                  <a:lnTo>
                    <a:pt x="222621" y="359145"/>
                  </a:lnTo>
                  <a:lnTo>
                    <a:pt x="221229" y="359508"/>
                  </a:lnTo>
                  <a:lnTo>
                    <a:pt x="221561" y="362866"/>
                  </a:lnTo>
                  <a:lnTo>
                    <a:pt x="221198" y="364106"/>
                  </a:lnTo>
                  <a:lnTo>
                    <a:pt x="219807" y="364590"/>
                  </a:lnTo>
                  <a:lnTo>
                    <a:pt x="219746" y="364076"/>
                  </a:lnTo>
                  <a:lnTo>
                    <a:pt x="219111" y="361747"/>
                  </a:lnTo>
                  <a:lnTo>
                    <a:pt x="219051" y="361263"/>
                  </a:lnTo>
                  <a:lnTo>
                    <a:pt x="218234" y="361081"/>
                  </a:lnTo>
                  <a:lnTo>
                    <a:pt x="215541" y="361263"/>
                  </a:lnTo>
                  <a:lnTo>
                    <a:pt x="213061" y="362079"/>
                  </a:lnTo>
                  <a:lnTo>
                    <a:pt x="208644" y="365104"/>
                  </a:lnTo>
                  <a:lnTo>
                    <a:pt x="195636" y="369098"/>
                  </a:lnTo>
                  <a:lnTo>
                    <a:pt x="185653" y="375390"/>
                  </a:lnTo>
                  <a:lnTo>
                    <a:pt x="180420" y="377114"/>
                  </a:lnTo>
                  <a:lnTo>
                    <a:pt x="175579" y="374664"/>
                  </a:lnTo>
                  <a:lnTo>
                    <a:pt x="174702" y="372849"/>
                  </a:lnTo>
                  <a:lnTo>
                    <a:pt x="174641" y="371488"/>
                  </a:lnTo>
                  <a:lnTo>
                    <a:pt x="174278" y="370610"/>
                  </a:lnTo>
                  <a:lnTo>
                    <a:pt x="172433" y="370308"/>
                  </a:lnTo>
                  <a:lnTo>
                    <a:pt x="166988" y="371306"/>
                  </a:lnTo>
                  <a:lnTo>
                    <a:pt x="163237" y="375783"/>
                  </a:lnTo>
                  <a:lnTo>
                    <a:pt x="161936" y="376509"/>
                  </a:lnTo>
                  <a:lnTo>
                    <a:pt x="160786" y="376872"/>
                  </a:lnTo>
                  <a:lnTo>
                    <a:pt x="159819" y="377538"/>
                  </a:lnTo>
                  <a:lnTo>
                    <a:pt x="159062" y="379232"/>
                  </a:lnTo>
                  <a:lnTo>
                    <a:pt x="162783" y="379988"/>
                  </a:lnTo>
                  <a:lnTo>
                    <a:pt x="172736" y="388126"/>
                  </a:lnTo>
                  <a:lnTo>
                    <a:pt x="170134" y="388761"/>
                  </a:lnTo>
                  <a:lnTo>
                    <a:pt x="167351" y="387097"/>
                  </a:lnTo>
                  <a:lnTo>
                    <a:pt x="164507" y="384828"/>
                  </a:lnTo>
                  <a:lnTo>
                    <a:pt x="161815" y="383709"/>
                  </a:lnTo>
                  <a:lnTo>
                    <a:pt x="161815" y="384738"/>
                  </a:lnTo>
                  <a:lnTo>
                    <a:pt x="165233" y="388640"/>
                  </a:lnTo>
                  <a:lnTo>
                    <a:pt x="166655" y="389185"/>
                  </a:lnTo>
                  <a:lnTo>
                    <a:pt x="170648" y="389669"/>
                  </a:lnTo>
                  <a:lnTo>
                    <a:pt x="172494" y="390697"/>
                  </a:lnTo>
                  <a:lnTo>
                    <a:pt x="173522" y="392603"/>
                  </a:lnTo>
                  <a:lnTo>
                    <a:pt x="170921" y="392754"/>
                  </a:lnTo>
                  <a:lnTo>
                    <a:pt x="170104" y="392603"/>
                  </a:lnTo>
                  <a:lnTo>
                    <a:pt x="175579" y="394842"/>
                  </a:lnTo>
                  <a:lnTo>
                    <a:pt x="174581" y="396657"/>
                  </a:lnTo>
                  <a:lnTo>
                    <a:pt x="172917" y="397262"/>
                  </a:lnTo>
                  <a:lnTo>
                    <a:pt x="171042" y="397474"/>
                  </a:lnTo>
                  <a:lnTo>
                    <a:pt x="169347" y="398048"/>
                  </a:lnTo>
                  <a:lnTo>
                    <a:pt x="171798" y="400953"/>
                  </a:lnTo>
                  <a:lnTo>
                    <a:pt x="173220" y="402102"/>
                  </a:lnTo>
                  <a:lnTo>
                    <a:pt x="174551" y="402586"/>
                  </a:lnTo>
                  <a:lnTo>
                    <a:pt x="177485" y="402284"/>
                  </a:lnTo>
                  <a:lnTo>
                    <a:pt x="179058" y="402405"/>
                  </a:lnTo>
                  <a:lnTo>
                    <a:pt x="180087" y="403131"/>
                  </a:lnTo>
                  <a:lnTo>
                    <a:pt x="179784" y="408727"/>
                  </a:lnTo>
                  <a:lnTo>
                    <a:pt x="179996" y="409635"/>
                  </a:lnTo>
                  <a:lnTo>
                    <a:pt x="180934" y="412478"/>
                  </a:lnTo>
                  <a:lnTo>
                    <a:pt x="181146" y="414263"/>
                  </a:lnTo>
                  <a:lnTo>
                    <a:pt x="180934" y="415171"/>
                  </a:lnTo>
                  <a:lnTo>
                    <a:pt x="179996" y="416623"/>
                  </a:lnTo>
                  <a:lnTo>
                    <a:pt x="179784" y="417621"/>
                  </a:lnTo>
                  <a:lnTo>
                    <a:pt x="179996" y="418589"/>
                  </a:lnTo>
                  <a:lnTo>
                    <a:pt x="180934" y="420041"/>
                  </a:lnTo>
                  <a:lnTo>
                    <a:pt x="181146" y="420919"/>
                  </a:lnTo>
                  <a:lnTo>
                    <a:pt x="181630" y="421705"/>
                  </a:lnTo>
                  <a:lnTo>
                    <a:pt x="182749" y="422612"/>
                  </a:lnTo>
                  <a:lnTo>
                    <a:pt x="184020" y="423338"/>
                  </a:lnTo>
                  <a:lnTo>
                    <a:pt x="188043" y="424276"/>
                  </a:lnTo>
                  <a:lnTo>
                    <a:pt x="189586" y="425154"/>
                  </a:lnTo>
                  <a:lnTo>
                    <a:pt x="189707" y="426424"/>
                  </a:lnTo>
                  <a:lnTo>
                    <a:pt x="189071" y="427967"/>
                  </a:lnTo>
                  <a:lnTo>
                    <a:pt x="188860" y="429691"/>
                  </a:lnTo>
                  <a:lnTo>
                    <a:pt x="189071" y="431416"/>
                  </a:lnTo>
                  <a:lnTo>
                    <a:pt x="190523" y="435016"/>
                  </a:lnTo>
                  <a:lnTo>
                    <a:pt x="190614" y="436377"/>
                  </a:lnTo>
                  <a:lnTo>
                    <a:pt x="190342" y="437012"/>
                  </a:lnTo>
                  <a:lnTo>
                    <a:pt x="190070" y="436891"/>
                  </a:lnTo>
                  <a:lnTo>
                    <a:pt x="190070" y="437768"/>
                  </a:lnTo>
                  <a:lnTo>
                    <a:pt x="189949" y="438434"/>
                  </a:lnTo>
                  <a:lnTo>
                    <a:pt x="190221" y="438888"/>
                  </a:lnTo>
                  <a:lnTo>
                    <a:pt x="193761" y="439402"/>
                  </a:lnTo>
                  <a:lnTo>
                    <a:pt x="194275" y="439190"/>
                  </a:lnTo>
                  <a:lnTo>
                    <a:pt x="194638" y="436498"/>
                  </a:lnTo>
                  <a:lnTo>
                    <a:pt x="191129" y="431567"/>
                  </a:lnTo>
                  <a:lnTo>
                    <a:pt x="190857" y="429026"/>
                  </a:lnTo>
                  <a:lnTo>
                    <a:pt x="192066" y="427574"/>
                  </a:lnTo>
                  <a:lnTo>
                    <a:pt x="193367" y="428058"/>
                  </a:lnTo>
                  <a:lnTo>
                    <a:pt x="195636" y="430206"/>
                  </a:lnTo>
                  <a:lnTo>
                    <a:pt x="197300" y="430418"/>
                  </a:lnTo>
                  <a:lnTo>
                    <a:pt x="198480" y="429994"/>
                  </a:lnTo>
                  <a:lnTo>
                    <a:pt x="199629" y="429389"/>
                  </a:lnTo>
                  <a:lnTo>
                    <a:pt x="201142" y="428995"/>
                  </a:lnTo>
                  <a:lnTo>
                    <a:pt x="203048" y="429752"/>
                  </a:lnTo>
                  <a:lnTo>
                    <a:pt x="204379" y="431900"/>
                  </a:lnTo>
                  <a:lnTo>
                    <a:pt x="205649" y="434532"/>
                  </a:lnTo>
                  <a:lnTo>
                    <a:pt x="207404" y="436831"/>
                  </a:lnTo>
                  <a:lnTo>
                    <a:pt x="206042" y="439130"/>
                  </a:lnTo>
                  <a:lnTo>
                    <a:pt x="198329" y="444545"/>
                  </a:lnTo>
                  <a:lnTo>
                    <a:pt x="200113" y="445392"/>
                  </a:lnTo>
                  <a:lnTo>
                    <a:pt x="203895" y="444514"/>
                  </a:lnTo>
                  <a:lnTo>
                    <a:pt x="205982" y="444514"/>
                  </a:lnTo>
                  <a:lnTo>
                    <a:pt x="207646" y="445452"/>
                  </a:lnTo>
                  <a:lnTo>
                    <a:pt x="210006" y="447993"/>
                  </a:lnTo>
                  <a:lnTo>
                    <a:pt x="211518" y="449052"/>
                  </a:lnTo>
                  <a:lnTo>
                    <a:pt x="211579" y="445543"/>
                  </a:lnTo>
                  <a:lnTo>
                    <a:pt x="212335" y="444303"/>
                  </a:lnTo>
                  <a:lnTo>
                    <a:pt x="215269" y="444545"/>
                  </a:lnTo>
                  <a:lnTo>
                    <a:pt x="223165" y="449173"/>
                  </a:lnTo>
                  <a:lnTo>
                    <a:pt x="224496" y="449294"/>
                  </a:lnTo>
                  <a:lnTo>
                    <a:pt x="227007" y="449082"/>
                  </a:lnTo>
                  <a:lnTo>
                    <a:pt x="228187" y="449325"/>
                  </a:lnTo>
                  <a:lnTo>
                    <a:pt x="229064" y="449930"/>
                  </a:lnTo>
                  <a:lnTo>
                    <a:pt x="229850" y="450656"/>
                  </a:lnTo>
                  <a:lnTo>
                    <a:pt x="230849" y="451261"/>
                  </a:lnTo>
                  <a:lnTo>
                    <a:pt x="233057" y="451866"/>
                  </a:lnTo>
                  <a:lnTo>
                    <a:pt x="239803" y="452350"/>
                  </a:lnTo>
                  <a:lnTo>
                    <a:pt x="243766" y="454376"/>
                  </a:lnTo>
                  <a:lnTo>
                    <a:pt x="245914" y="454619"/>
                  </a:lnTo>
                  <a:lnTo>
                    <a:pt x="247759" y="452955"/>
                  </a:lnTo>
                  <a:lnTo>
                    <a:pt x="249030" y="451382"/>
                  </a:lnTo>
                  <a:lnTo>
                    <a:pt x="250754" y="450141"/>
                  </a:lnTo>
                  <a:lnTo>
                    <a:pt x="252630" y="449325"/>
                  </a:lnTo>
                  <a:lnTo>
                    <a:pt x="254324" y="449052"/>
                  </a:lnTo>
                  <a:close/>
                  <a:moveTo>
                    <a:pt x="455103" y="347680"/>
                  </a:moveTo>
                  <a:lnTo>
                    <a:pt x="454951" y="346984"/>
                  </a:lnTo>
                  <a:lnTo>
                    <a:pt x="454800" y="346530"/>
                  </a:lnTo>
                  <a:lnTo>
                    <a:pt x="454377" y="345532"/>
                  </a:lnTo>
                  <a:lnTo>
                    <a:pt x="453045" y="347135"/>
                  </a:lnTo>
                  <a:lnTo>
                    <a:pt x="451352" y="351219"/>
                  </a:lnTo>
                  <a:lnTo>
                    <a:pt x="450263" y="353276"/>
                  </a:lnTo>
                  <a:lnTo>
                    <a:pt x="449204" y="354426"/>
                  </a:lnTo>
                  <a:lnTo>
                    <a:pt x="447903" y="355515"/>
                  </a:lnTo>
                  <a:lnTo>
                    <a:pt x="446602" y="356906"/>
                  </a:lnTo>
                  <a:lnTo>
                    <a:pt x="445513" y="358994"/>
                  </a:lnTo>
                  <a:lnTo>
                    <a:pt x="445573" y="362684"/>
                  </a:lnTo>
                  <a:lnTo>
                    <a:pt x="446995" y="367162"/>
                  </a:lnTo>
                  <a:lnTo>
                    <a:pt x="449173" y="370247"/>
                  </a:lnTo>
                  <a:lnTo>
                    <a:pt x="451352" y="369672"/>
                  </a:lnTo>
                  <a:lnTo>
                    <a:pt x="452471" y="368463"/>
                  </a:lnTo>
                  <a:lnTo>
                    <a:pt x="454165" y="367162"/>
                  </a:lnTo>
                  <a:lnTo>
                    <a:pt x="456010" y="366133"/>
                  </a:lnTo>
                  <a:lnTo>
                    <a:pt x="457553" y="365710"/>
                  </a:lnTo>
                  <a:lnTo>
                    <a:pt x="461092" y="361958"/>
                  </a:lnTo>
                  <a:lnTo>
                    <a:pt x="461002" y="361263"/>
                  </a:lnTo>
                  <a:lnTo>
                    <a:pt x="455163" y="347740"/>
                  </a:lnTo>
                  <a:close/>
                  <a:moveTo>
                    <a:pt x="257803" y="318548"/>
                  </a:moveTo>
                  <a:lnTo>
                    <a:pt x="259225" y="316127"/>
                  </a:lnTo>
                  <a:lnTo>
                    <a:pt x="258922" y="315038"/>
                  </a:lnTo>
                  <a:lnTo>
                    <a:pt x="258196" y="316006"/>
                  </a:lnTo>
                  <a:lnTo>
                    <a:pt x="257319" y="317761"/>
                  </a:lnTo>
                  <a:lnTo>
                    <a:pt x="256109" y="318427"/>
                  </a:lnTo>
                  <a:lnTo>
                    <a:pt x="254385" y="316158"/>
                  </a:lnTo>
                  <a:lnTo>
                    <a:pt x="253870" y="314524"/>
                  </a:lnTo>
                  <a:lnTo>
                    <a:pt x="253779" y="312800"/>
                  </a:lnTo>
                  <a:lnTo>
                    <a:pt x="254173" y="311045"/>
                  </a:lnTo>
                  <a:lnTo>
                    <a:pt x="255050" y="309412"/>
                  </a:lnTo>
                  <a:lnTo>
                    <a:pt x="252479" y="308686"/>
                  </a:lnTo>
                  <a:lnTo>
                    <a:pt x="250210" y="306810"/>
                  </a:lnTo>
                  <a:lnTo>
                    <a:pt x="248606" y="303936"/>
                  </a:lnTo>
                  <a:lnTo>
                    <a:pt x="247850" y="297009"/>
                  </a:lnTo>
                  <a:lnTo>
                    <a:pt x="246549" y="296645"/>
                  </a:lnTo>
                  <a:lnTo>
                    <a:pt x="245006" y="298098"/>
                  </a:lnTo>
                  <a:lnTo>
                    <a:pt x="243978" y="300245"/>
                  </a:lnTo>
                  <a:lnTo>
                    <a:pt x="243645" y="304360"/>
                  </a:lnTo>
                  <a:lnTo>
                    <a:pt x="244946" y="306114"/>
                  </a:lnTo>
                  <a:lnTo>
                    <a:pt x="247003" y="306901"/>
                  </a:lnTo>
                  <a:lnTo>
                    <a:pt x="248848" y="308141"/>
                  </a:lnTo>
                  <a:lnTo>
                    <a:pt x="250180" y="310894"/>
                  </a:lnTo>
                  <a:lnTo>
                    <a:pt x="250270" y="313707"/>
                  </a:lnTo>
                  <a:lnTo>
                    <a:pt x="249454" y="316279"/>
                  </a:lnTo>
                  <a:lnTo>
                    <a:pt x="248092" y="318366"/>
                  </a:lnTo>
                  <a:lnTo>
                    <a:pt x="246338" y="319697"/>
                  </a:lnTo>
                  <a:lnTo>
                    <a:pt x="244886" y="320393"/>
                  </a:lnTo>
                  <a:lnTo>
                    <a:pt x="243857" y="321785"/>
                  </a:lnTo>
                  <a:lnTo>
                    <a:pt x="243282" y="325112"/>
                  </a:lnTo>
                  <a:lnTo>
                    <a:pt x="244160" y="331162"/>
                  </a:lnTo>
                  <a:lnTo>
                    <a:pt x="246852" y="335004"/>
                  </a:lnTo>
                  <a:lnTo>
                    <a:pt x="250391" y="335912"/>
                  </a:lnTo>
                  <a:lnTo>
                    <a:pt x="253658" y="333099"/>
                  </a:lnTo>
                  <a:lnTo>
                    <a:pt x="254657" y="330225"/>
                  </a:lnTo>
                  <a:lnTo>
                    <a:pt x="254566" y="324749"/>
                  </a:lnTo>
                  <a:lnTo>
                    <a:pt x="255050" y="321785"/>
                  </a:lnTo>
                  <a:lnTo>
                    <a:pt x="257742" y="318548"/>
                  </a:lnTo>
                  <a:close/>
                  <a:moveTo>
                    <a:pt x="404401" y="477277"/>
                  </a:moveTo>
                  <a:lnTo>
                    <a:pt x="402858" y="475915"/>
                  </a:lnTo>
                  <a:lnTo>
                    <a:pt x="401043" y="475915"/>
                  </a:lnTo>
                  <a:lnTo>
                    <a:pt x="399107" y="476521"/>
                  </a:lnTo>
                  <a:lnTo>
                    <a:pt x="397232" y="476732"/>
                  </a:lnTo>
                  <a:lnTo>
                    <a:pt x="395568" y="475915"/>
                  </a:lnTo>
                  <a:lnTo>
                    <a:pt x="392301" y="472981"/>
                  </a:lnTo>
                  <a:lnTo>
                    <a:pt x="391363" y="472346"/>
                  </a:lnTo>
                  <a:lnTo>
                    <a:pt x="391181" y="471711"/>
                  </a:lnTo>
                  <a:lnTo>
                    <a:pt x="389760" y="468776"/>
                  </a:lnTo>
                  <a:lnTo>
                    <a:pt x="388943" y="467869"/>
                  </a:lnTo>
                  <a:lnTo>
                    <a:pt x="386371" y="468928"/>
                  </a:lnTo>
                  <a:lnTo>
                    <a:pt x="385494" y="469049"/>
                  </a:lnTo>
                  <a:lnTo>
                    <a:pt x="385978" y="470561"/>
                  </a:lnTo>
                  <a:lnTo>
                    <a:pt x="386250" y="471166"/>
                  </a:lnTo>
                  <a:lnTo>
                    <a:pt x="384980" y="472104"/>
                  </a:lnTo>
                  <a:lnTo>
                    <a:pt x="383467" y="471922"/>
                  </a:lnTo>
                  <a:lnTo>
                    <a:pt x="382136" y="470864"/>
                  </a:lnTo>
                  <a:lnTo>
                    <a:pt x="381410" y="469079"/>
                  </a:lnTo>
                  <a:lnTo>
                    <a:pt x="381652" y="466780"/>
                  </a:lnTo>
                  <a:lnTo>
                    <a:pt x="382590" y="465207"/>
                  </a:lnTo>
                  <a:lnTo>
                    <a:pt x="383316" y="463361"/>
                  </a:lnTo>
                  <a:lnTo>
                    <a:pt x="382862" y="460306"/>
                  </a:lnTo>
                  <a:lnTo>
                    <a:pt x="383619" y="460124"/>
                  </a:lnTo>
                  <a:lnTo>
                    <a:pt x="383982" y="459792"/>
                  </a:lnTo>
                  <a:lnTo>
                    <a:pt x="384284" y="459429"/>
                  </a:lnTo>
                  <a:lnTo>
                    <a:pt x="384829" y="459126"/>
                  </a:lnTo>
                  <a:lnTo>
                    <a:pt x="384526" y="458975"/>
                  </a:lnTo>
                  <a:lnTo>
                    <a:pt x="384254" y="458975"/>
                  </a:lnTo>
                  <a:lnTo>
                    <a:pt x="384102" y="458793"/>
                  </a:lnTo>
                  <a:lnTo>
                    <a:pt x="384163" y="458037"/>
                  </a:lnTo>
                  <a:lnTo>
                    <a:pt x="387551" y="458612"/>
                  </a:lnTo>
                  <a:lnTo>
                    <a:pt x="392996" y="463392"/>
                  </a:lnTo>
                  <a:lnTo>
                    <a:pt x="396506" y="464753"/>
                  </a:lnTo>
                  <a:lnTo>
                    <a:pt x="398805" y="464329"/>
                  </a:lnTo>
                  <a:lnTo>
                    <a:pt x="402193" y="461939"/>
                  </a:lnTo>
                  <a:lnTo>
                    <a:pt x="403766" y="461365"/>
                  </a:lnTo>
                  <a:lnTo>
                    <a:pt x="406125" y="461244"/>
                  </a:lnTo>
                  <a:lnTo>
                    <a:pt x="408183" y="460578"/>
                  </a:lnTo>
                  <a:lnTo>
                    <a:pt x="409514" y="458914"/>
                  </a:lnTo>
                  <a:lnTo>
                    <a:pt x="409635" y="455859"/>
                  </a:lnTo>
                  <a:lnTo>
                    <a:pt x="405853" y="448175"/>
                  </a:lnTo>
                  <a:lnTo>
                    <a:pt x="405127" y="447782"/>
                  </a:lnTo>
                  <a:lnTo>
                    <a:pt x="406125" y="446935"/>
                  </a:lnTo>
                  <a:lnTo>
                    <a:pt x="408213" y="445876"/>
                  </a:lnTo>
                  <a:lnTo>
                    <a:pt x="409090" y="445271"/>
                  </a:lnTo>
                  <a:lnTo>
                    <a:pt x="409816" y="444938"/>
                  </a:lnTo>
                  <a:lnTo>
                    <a:pt x="410452" y="444273"/>
                  </a:lnTo>
                  <a:lnTo>
                    <a:pt x="411026" y="442669"/>
                  </a:lnTo>
                  <a:lnTo>
                    <a:pt x="410179" y="438918"/>
                  </a:lnTo>
                  <a:lnTo>
                    <a:pt x="406337" y="437738"/>
                  </a:lnTo>
                  <a:lnTo>
                    <a:pt x="397897" y="437073"/>
                  </a:lnTo>
                  <a:lnTo>
                    <a:pt x="394993" y="434985"/>
                  </a:lnTo>
                  <a:lnTo>
                    <a:pt x="394448" y="434320"/>
                  </a:lnTo>
                  <a:lnTo>
                    <a:pt x="394660" y="432656"/>
                  </a:lnTo>
                  <a:lnTo>
                    <a:pt x="395205" y="432081"/>
                  </a:lnTo>
                  <a:lnTo>
                    <a:pt x="395991" y="431809"/>
                  </a:lnTo>
                  <a:lnTo>
                    <a:pt x="396899" y="431022"/>
                  </a:lnTo>
                  <a:lnTo>
                    <a:pt x="398865" y="429691"/>
                  </a:lnTo>
                  <a:lnTo>
                    <a:pt x="400892" y="430296"/>
                  </a:lnTo>
                  <a:lnTo>
                    <a:pt x="402042" y="432505"/>
                  </a:lnTo>
                  <a:lnTo>
                    <a:pt x="401316" y="435984"/>
                  </a:lnTo>
                  <a:lnTo>
                    <a:pt x="402253" y="436740"/>
                  </a:lnTo>
                  <a:lnTo>
                    <a:pt x="403131" y="436861"/>
                  </a:lnTo>
                  <a:lnTo>
                    <a:pt x="403978" y="436256"/>
                  </a:lnTo>
                  <a:lnTo>
                    <a:pt x="404734" y="434864"/>
                  </a:lnTo>
                  <a:lnTo>
                    <a:pt x="404129" y="432111"/>
                  </a:lnTo>
                  <a:lnTo>
                    <a:pt x="405339" y="428814"/>
                  </a:lnTo>
                  <a:lnTo>
                    <a:pt x="407366" y="426061"/>
                  </a:lnTo>
                  <a:lnTo>
                    <a:pt x="409937" y="424549"/>
                  </a:lnTo>
                  <a:lnTo>
                    <a:pt x="411541" y="422945"/>
                  </a:lnTo>
                  <a:lnTo>
                    <a:pt x="432656" y="418377"/>
                  </a:lnTo>
                  <a:lnTo>
                    <a:pt x="437920" y="414929"/>
                  </a:lnTo>
                  <a:lnTo>
                    <a:pt x="438495" y="414414"/>
                  </a:lnTo>
                  <a:lnTo>
                    <a:pt x="439977" y="412690"/>
                  </a:lnTo>
                  <a:lnTo>
                    <a:pt x="438555" y="408334"/>
                  </a:lnTo>
                  <a:lnTo>
                    <a:pt x="438101" y="405974"/>
                  </a:lnTo>
                  <a:lnTo>
                    <a:pt x="437920" y="403191"/>
                  </a:lnTo>
                  <a:lnTo>
                    <a:pt x="436922" y="400771"/>
                  </a:lnTo>
                  <a:lnTo>
                    <a:pt x="434622" y="398260"/>
                  </a:lnTo>
                  <a:lnTo>
                    <a:pt x="430266" y="394842"/>
                  </a:lnTo>
                  <a:lnTo>
                    <a:pt x="428572" y="394146"/>
                  </a:lnTo>
                  <a:lnTo>
                    <a:pt x="422401" y="393753"/>
                  </a:lnTo>
                  <a:lnTo>
                    <a:pt x="420677" y="393238"/>
                  </a:lnTo>
                  <a:lnTo>
                    <a:pt x="415776" y="389215"/>
                  </a:lnTo>
                  <a:lnTo>
                    <a:pt x="413083" y="380654"/>
                  </a:lnTo>
                  <a:lnTo>
                    <a:pt x="418135" y="371094"/>
                  </a:lnTo>
                  <a:lnTo>
                    <a:pt x="418135" y="371094"/>
                  </a:lnTo>
                  <a:lnTo>
                    <a:pt x="424549" y="364923"/>
                  </a:lnTo>
                  <a:lnTo>
                    <a:pt x="426485" y="363047"/>
                  </a:lnTo>
                  <a:lnTo>
                    <a:pt x="433745" y="359145"/>
                  </a:lnTo>
                  <a:lnTo>
                    <a:pt x="435772" y="359206"/>
                  </a:lnTo>
                  <a:lnTo>
                    <a:pt x="437103" y="359932"/>
                  </a:lnTo>
                  <a:lnTo>
                    <a:pt x="438313" y="360839"/>
                  </a:lnTo>
                  <a:lnTo>
                    <a:pt x="439977" y="361384"/>
                  </a:lnTo>
                  <a:lnTo>
                    <a:pt x="442216" y="360688"/>
                  </a:lnTo>
                  <a:lnTo>
                    <a:pt x="443183" y="358721"/>
                  </a:lnTo>
                  <a:lnTo>
                    <a:pt x="443819" y="356725"/>
                  </a:lnTo>
                  <a:lnTo>
                    <a:pt x="447630" y="354305"/>
                  </a:lnTo>
                  <a:lnTo>
                    <a:pt x="451654" y="347075"/>
                  </a:lnTo>
                  <a:lnTo>
                    <a:pt x="453771" y="344534"/>
                  </a:lnTo>
                  <a:lnTo>
                    <a:pt x="452834" y="342809"/>
                  </a:lnTo>
                  <a:lnTo>
                    <a:pt x="452471" y="341962"/>
                  </a:lnTo>
                  <a:lnTo>
                    <a:pt x="452350" y="341176"/>
                  </a:lnTo>
                  <a:lnTo>
                    <a:pt x="452471" y="340087"/>
                  </a:lnTo>
                  <a:lnTo>
                    <a:pt x="453045" y="337243"/>
                  </a:lnTo>
                  <a:lnTo>
                    <a:pt x="453167" y="333764"/>
                  </a:lnTo>
                  <a:lnTo>
                    <a:pt x="453378" y="331586"/>
                  </a:lnTo>
                  <a:lnTo>
                    <a:pt x="453802" y="329983"/>
                  </a:lnTo>
                  <a:lnTo>
                    <a:pt x="452531" y="327986"/>
                  </a:lnTo>
                  <a:lnTo>
                    <a:pt x="451170" y="324749"/>
                  </a:lnTo>
                  <a:lnTo>
                    <a:pt x="450081" y="321119"/>
                  </a:lnTo>
                  <a:lnTo>
                    <a:pt x="449627" y="318003"/>
                  </a:lnTo>
                  <a:lnTo>
                    <a:pt x="448992" y="315886"/>
                  </a:lnTo>
                  <a:lnTo>
                    <a:pt x="447570" y="313344"/>
                  </a:lnTo>
                  <a:lnTo>
                    <a:pt x="444787" y="309623"/>
                  </a:lnTo>
                  <a:lnTo>
                    <a:pt x="444787" y="308383"/>
                  </a:lnTo>
                  <a:lnTo>
                    <a:pt x="446088" y="306477"/>
                  </a:lnTo>
                  <a:lnTo>
                    <a:pt x="448841" y="299913"/>
                  </a:lnTo>
                  <a:lnTo>
                    <a:pt x="450323" y="297130"/>
                  </a:lnTo>
                  <a:lnTo>
                    <a:pt x="454437" y="291926"/>
                  </a:lnTo>
                  <a:lnTo>
                    <a:pt x="455798" y="289325"/>
                  </a:lnTo>
                  <a:lnTo>
                    <a:pt x="450565" y="285271"/>
                  </a:lnTo>
                  <a:lnTo>
                    <a:pt x="447570" y="284091"/>
                  </a:lnTo>
                  <a:lnTo>
                    <a:pt x="444061" y="281157"/>
                  </a:lnTo>
                  <a:lnTo>
                    <a:pt x="442125" y="280189"/>
                  </a:lnTo>
                  <a:lnTo>
                    <a:pt x="434955" y="280189"/>
                  </a:lnTo>
                  <a:lnTo>
                    <a:pt x="426273" y="275560"/>
                  </a:lnTo>
                  <a:lnTo>
                    <a:pt x="417893" y="275258"/>
                  </a:lnTo>
                  <a:lnTo>
                    <a:pt x="409877" y="279402"/>
                  </a:lnTo>
                  <a:lnTo>
                    <a:pt x="394509" y="291503"/>
                  </a:lnTo>
                  <a:lnTo>
                    <a:pt x="384919" y="296978"/>
                  </a:lnTo>
                  <a:lnTo>
                    <a:pt x="379716" y="301093"/>
                  </a:lnTo>
                  <a:lnTo>
                    <a:pt x="378022" y="305146"/>
                  </a:lnTo>
                  <a:lnTo>
                    <a:pt x="379716" y="306598"/>
                  </a:lnTo>
                  <a:lnTo>
                    <a:pt x="382620" y="306114"/>
                  </a:lnTo>
                  <a:lnTo>
                    <a:pt x="390304" y="303210"/>
                  </a:lnTo>
                  <a:lnTo>
                    <a:pt x="392482" y="303089"/>
                  </a:lnTo>
                  <a:lnTo>
                    <a:pt x="394297" y="303966"/>
                  </a:lnTo>
                  <a:lnTo>
                    <a:pt x="395870" y="306265"/>
                  </a:lnTo>
                  <a:lnTo>
                    <a:pt x="398260" y="315069"/>
                  </a:lnTo>
                  <a:lnTo>
                    <a:pt x="398623" y="317428"/>
                  </a:lnTo>
                  <a:lnTo>
                    <a:pt x="398623" y="323267"/>
                  </a:lnTo>
                  <a:lnTo>
                    <a:pt x="402798" y="341236"/>
                  </a:lnTo>
                  <a:lnTo>
                    <a:pt x="402495" y="344897"/>
                  </a:lnTo>
                  <a:lnTo>
                    <a:pt x="400196" y="350100"/>
                  </a:lnTo>
                  <a:lnTo>
                    <a:pt x="399319" y="353549"/>
                  </a:lnTo>
                  <a:lnTo>
                    <a:pt x="395931" y="352218"/>
                  </a:lnTo>
                  <a:lnTo>
                    <a:pt x="394388" y="351068"/>
                  </a:lnTo>
                  <a:lnTo>
                    <a:pt x="393753" y="349555"/>
                  </a:lnTo>
                  <a:lnTo>
                    <a:pt x="394176" y="349192"/>
                  </a:lnTo>
                  <a:lnTo>
                    <a:pt x="397292" y="350191"/>
                  </a:lnTo>
                  <a:lnTo>
                    <a:pt x="396445" y="348103"/>
                  </a:lnTo>
                  <a:lnTo>
                    <a:pt x="395023" y="346712"/>
                  </a:lnTo>
                  <a:lnTo>
                    <a:pt x="393359" y="346228"/>
                  </a:lnTo>
                  <a:lnTo>
                    <a:pt x="391756" y="346863"/>
                  </a:lnTo>
                  <a:lnTo>
                    <a:pt x="391454" y="349465"/>
                  </a:lnTo>
                  <a:lnTo>
                    <a:pt x="389124" y="351733"/>
                  </a:lnTo>
                  <a:lnTo>
                    <a:pt x="386220" y="352974"/>
                  </a:lnTo>
                  <a:lnTo>
                    <a:pt x="384193" y="352550"/>
                  </a:lnTo>
                  <a:lnTo>
                    <a:pt x="385494" y="350251"/>
                  </a:lnTo>
                  <a:lnTo>
                    <a:pt x="389033" y="347105"/>
                  </a:lnTo>
                  <a:lnTo>
                    <a:pt x="389760" y="345229"/>
                  </a:lnTo>
                  <a:lnTo>
                    <a:pt x="390486" y="342507"/>
                  </a:lnTo>
                  <a:lnTo>
                    <a:pt x="392240" y="342265"/>
                  </a:lnTo>
                  <a:lnTo>
                    <a:pt x="395870" y="343475"/>
                  </a:lnTo>
                  <a:lnTo>
                    <a:pt x="398472" y="339996"/>
                  </a:lnTo>
                  <a:lnTo>
                    <a:pt x="398169" y="333643"/>
                  </a:lnTo>
                  <a:lnTo>
                    <a:pt x="396385" y="326867"/>
                  </a:lnTo>
                  <a:lnTo>
                    <a:pt x="394479" y="322057"/>
                  </a:lnTo>
                  <a:lnTo>
                    <a:pt x="393722" y="320786"/>
                  </a:lnTo>
                  <a:lnTo>
                    <a:pt x="393238" y="320272"/>
                  </a:lnTo>
                  <a:lnTo>
                    <a:pt x="392845" y="319516"/>
                  </a:lnTo>
                  <a:lnTo>
                    <a:pt x="392422" y="317428"/>
                  </a:lnTo>
                  <a:lnTo>
                    <a:pt x="392603" y="316158"/>
                  </a:lnTo>
                  <a:lnTo>
                    <a:pt x="393027" y="314312"/>
                  </a:lnTo>
                  <a:lnTo>
                    <a:pt x="393027" y="312649"/>
                  </a:lnTo>
                  <a:lnTo>
                    <a:pt x="392089" y="311923"/>
                  </a:lnTo>
                  <a:lnTo>
                    <a:pt x="390213" y="311015"/>
                  </a:lnTo>
                  <a:lnTo>
                    <a:pt x="386674" y="307536"/>
                  </a:lnTo>
                  <a:lnTo>
                    <a:pt x="384859" y="307385"/>
                  </a:lnTo>
                  <a:lnTo>
                    <a:pt x="384133" y="310531"/>
                  </a:lnTo>
                  <a:lnTo>
                    <a:pt x="386492" y="315371"/>
                  </a:lnTo>
                  <a:lnTo>
                    <a:pt x="388550" y="320756"/>
                  </a:lnTo>
                  <a:lnTo>
                    <a:pt x="386916" y="325415"/>
                  </a:lnTo>
                  <a:lnTo>
                    <a:pt x="385101" y="326383"/>
                  </a:lnTo>
                  <a:lnTo>
                    <a:pt x="381531" y="327320"/>
                  </a:lnTo>
                  <a:lnTo>
                    <a:pt x="380018" y="328773"/>
                  </a:lnTo>
                  <a:lnTo>
                    <a:pt x="378385" y="332463"/>
                  </a:lnTo>
                  <a:lnTo>
                    <a:pt x="377599" y="334823"/>
                  </a:lnTo>
                  <a:lnTo>
                    <a:pt x="377266" y="336699"/>
                  </a:lnTo>
                  <a:lnTo>
                    <a:pt x="377508" y="337304"/>
                  </a:lnTo>
                  <a:lnTo>
                    <a:pt x="378445" y="339391"/>
                  </a:lnTo>
                  <a:lnTo>
                    <a:pt x="378657" y="340571"/>
                  </a:lnTo>
                  <a:lnTo>
                    <a:pt x="378566" y="340692"/>
                  </a:lnTo>
                  <a:lnTo>
                    <a:pt x="378355" y="340903"/>
                  </a:lnTo>
                  <a:lnTo>
                    <a:pt x="374150" y="349404"/>
                  </a:lnTo>
                  <a:lnTo>
                    <a:pt x="372849" y="350947"/>
                  </a:lnTo>
                  <a:lnTo>
                    <a:pt x="371034" y="352490"/>
                  </a:lnTo>
                  <a:lnTo>
                    <a:pt x="371851" y="349737"/>
                  </a:lnTo>
                  <a:lnTo>
                    <a:pt x="372456" y="348739"/>
                  </a:lnTo>
                  <a:lnTo>
                    <a:pt x="372516" y="347922"/>
                  </a:lnTo>
                  <a:lnTo>
                    <a:pt x="371790" y="345774"/>
                  </a:lnTo>
                  <a:lnTo>
                    <a:pt x="369370" y="342446"/>
                  </a:lnTo>
                  <a:lnTo>
                    <a:pt x="367706" y="340843"/>
                  </a:lnTo>
                  <a:lnTo>
                    <a:pt x="366950" y="341660"/>
                  </a:lnTo>
                  <a:lnTo>
                    <a:pt x="366012" y="342053"/>
                  </a:lnTo>
                  <a:lnTo>
                    <a:pt x="361474" y="342386"/>
                  </a:lnTo>
                  <a:lnTo>
                    <a:pt x="360022" y="342174"/>
                  </a:lnTo>
                  <a:lnTo>
                    <a:pt x="358752" y="340843"/>
                  </a:lnTo>
                  <a:lnTo>
                    <a:pt x="359478" y="339814"/>
                  </a:lnTo>
                  <a:lnTo>
                    <a:pt x="361263" y="339119"/>
                  </a:lnTo>
                  <a:lnTo>
                    <a:pt x="369340" y="337788"/>
                  </a:lnTo>
                  <a:lnTo>
                    <a:pt x="369430" y="336577"/>
                  </a:lnTo>
                  <a:lnTo>
                    <a:pt x="368644" y="333946"/>
                  </a:lnTo>
                  <a:lnTo>
                    <a:pt x="367585" y="331253"/>
                  </a:lnTo>
                  <a:lnTo>
                    <a:pt x="366889" y="329952"/>
                  </a:lnTo>
                  <a:lnTo>
                    <a:pt x="365044" y="329741"/>
                  </a:lnTo>
                  <a:lnTo>
                    <a:pt x="363259" y="330618"/>
                  </a:lnTo>
                  <a:lnTo>
                    <a:pt x="361656" y="331768"/>
                  </a:lnTo>
                  <a:lnTo>
                    <a:pt x="360294" y="332342"/>
                  </a:lnTo>
                  <a:lnTo>
                    <a:pt x="355334" y="332826"/>
                  </a:lnTo>
                  <a:lnTo>
                    <a:pt x="353670" y="332342"/>
                  </a:lnTo>
                  <a:lnTo>
                    <a:pt x="353670" y="331102"/>
                  </a:lnTo>
                  <a:lnTo>
                    <a:pt x="355515" y="331102"/>
                  </a:lnTo>
                  <a:lnTo>
                    <a:pt x="356695" y="330164"/>
                  </a:lnTo>
                  <a:lnTo>
                    <a:pt x="358540" y="327714"/>
                  </a:lnTo>
                  <a:lnTo>
                    <a:pt x="360053" y="327169"/>
                  </a:lnTo>
                  <a:lnTo>
                    <a:pt x="363199" y="327956"/>
                  </a:lnTo>
                  <a:lnTo>
                    <a:pt x="364711" y="327714"/>
                  </a:lnTo>
                  <a:lnTo>
                    <a:pt x="366103" y="324477"/>
                  </a:lnTo>
                  <a:lnTo>
                    <a:pt x="364197" y="319969"/>
                  </a:lnTo>
                  <a:lnTo>
                    <a:pt x="359205" y="311892"/>
                  </a:lnTo>
                  <a:lnTo>
                    <a:pt x="360174" y="310440"/>
                  </a:lnTo>
                  <a:lnTo>
                    <a:pt x="361474" y="309775"/>
                  </a:lnTo>
                  <a:lnTo>
                    <a:pt x="364681" y="309623"/>
                  </a:lnTo>
                  <a:lnTo>
                    <a:pt x="364288" y="311287"/>
                  </a:lnTo>
                  <a:lnTo>
                    <a:pt x="364076" y="311892"/>
                  </a:lnTo>
                  <a:lnTo>
                    <a:pt x="365740" y="312709"/>
                  </a:lnTo>
                  <a:lnTo>
                    <a:pt x="367343" y="312467"/>
                  </a:lnTo>
                  <a:lnTo>
                    <a:pt x="368009" y="311378"/>
                  </a:lnTo>
                  <a:lnTo>
                    <a:pt x="366829" y="309654"/>
                  </a:lnTo>
                  <a:lnTo>
                    <a:pt x="367706" y="307687"/>
                  </a:lnTo>
                  <a:lnTo>
                    <a:pt x="370519" y="304541"/>
                  </a:lnTo>
                  <a:lnTo>
                    <a:pt x="370943" y="302877"/>
                  </a:lnTo>
                  <a:lnTo>
                    <a:pt x="369793" y="301456"/>
                  </a:lnTo>
                  <a:lnTo>
                    <a:pt x="367706" y="301819"/>
                  </a:lnTo>
                  <a:lnTo>
                    <a:pt x="364046" y="303906"/>
                  </a:lnTo>
                  <a:lnTo>
                    <a:pt x="356967" y="305933"/>
                  </a:lnTo>
                  <a:lnTo>
                    <a:pt x="352792" y="306144"/>
                  </a:lnTo>
                  <a:lnTo>
                    <a:pt x="350947" y="304541"/>
                  </a:lnTo>
                  <a:lnTo>
                    <a:pt x="335428" y="302272"/>
                  </a:lnTo>
                  <a:lnTo>
                    <a:pt x="332766" y="302847"/>
                  </a:lnTo>
                  <a:lnTo>
                    <a:pt x="319909" y="297130"/>
                  </a:lnTo>
                  <a:lnTo>
                    <a:pt x="320847" y="300034"/>
                  </a:lnTo>
                  <a:lnTo>
                    <a:pt x="323116" y="301879"/>
                  </a:lnTo>
                  <a:lnTo>
                    <a:pt x="331132" y="304692"/>
                  </a:lnTo>
                  <a:lnTo>
                    <a:pt x="337576" y="305116"/>
                  </a:lnTo>
                  <a:lnTo>
                    <a:pt x="340480" y="306235"/>
                  </a:lnTo>
                  <a:lnTo>
                    <a:pt x="343808" y="311681"/>
                  </a:lnTo>
                  <a:lnTo>
                    <a:pt x="343293" y="318215"/>
                  </a:lnTo>
                  <a:lnTo>
                    <a:pt x="340510" y="322692"/>
                  </a:lnTo>
                  <a:lnTo>
                    <a:pt x="337062" y="321996"/>
                  </a:lnTo>
                  <a:lnTo>
                    <a:pt x="334884" y="324265"/>
                  </a:lnTo>
                  <a:lnTo>
                    <a:pt x="332554" y="325203"/>
                  </a:lnTo>
                  <a:lnTo>
                    <a:pt x="330073" y="324810"/>
                  </a:lnTo>
                  <a:lnTo>
                    <a:pt x="327502" y="323237"/>
                  </a:lnTo>
                  <a:lnTo>
                    <a:pt x="328137" y="324568"/>
                  </a:lnTo>
                  <a:lnTo>
                    <a:pt x="329892" y="326927"/>
                  </a:lnTo>
                  <a:lnTo>
                    <a:pt x="330255" y="328228"/>
                  </a:lnTo>
                  <a:lnTo>
                    <a:pt x="330164" y="329287"/>
                  </a:lnTo>
                  <a:lnTo>
                    <a:pt x="329680" y="331556"/>
                  </a:lnTo>
                  <a:lnTo>
                    <a:pt x="329590" y="332826"/>
                  </a:lnTo>
                  <a:lnTo>
                    <a:pt x="329075" y="335277"/>
                  </a:lnTo>
                  <a:lnTo>
                    <a:pt x="327895" y="336819"/>
                  </a:lnTo>
                  <a:lnTo>
                    <a:pt x="326352" y="337636"/>
                  </a:lnTo>
                  <a:lnTo>
                    <a:pt x="322904" y="338362"/>
                  </a:lnTo>
                  <a:lnTo>
                    <a:pt x="319485" y="340631"/>
                  </a:lnTo>
                  <a:lnTo>
                    <a:pt x="317882" y="341236"/>
                  </a:lnTo>
                  <a:lnTo>
                    <a:pt x="314252" y="341297"/>
                  </a:lnTo>
                  <a:lnTo>
                    <a:pt x="312558" y="340903"/>
                  </a:lnTo>
                  <a:lnTo>
                    <a:pt x="311620" y="340026"/>
                  </a:lnTo>
                  <a:lnTo>
                    <a:pt x="310229" y="341266"/>
                  </a:lnTo>
                  <a:lnTo>
                    <a:pt x="314403" y="344624"/>
                  </a:lnTo>
                  <a:lnTo>
                    <a:pt x="311862" y="345986"/>
                  </a:lnTo>
                  <a:lnTo>
                    <a:pt x="308928" y="345169"/>
                  </a:lnTo>
                  <a:lnTo>
                    <a:pt x="306326" y="342930"/>
                  </a:lnTo>
                  <a:lnTo>
                    <a:pt x="304753" y="340056"/>
                  </a:lnTo>
                  <a:lnTo>
                    <a:pt x="305661" y="339300"/>
                  </a:lnTo>
                  <a:lnTo>
                    <a:pt x="306689" y="338937"/>
                  </a:lnTo>
                  <a:lnTo>
                    <a:pt x="307748" y="338877"/>
                  </a:lnTo>
                  <a:lnTo>
                    <a:pt x="308867" y="339028"/>
                  </a:lnTo>
                  <a:lnTo>
                    <a:pt x="308867" y="337908"/>
                  </a:lnTo>
                  <a:lnTo>
                    <a:pt x="305388" y="338423"/>
                  </a:lnTo>
                  <a:lnTo>
                    <a:pt x="299096" y="340752"/>
                  </a:lnTo>
                  <a:lnTo>
                    <a:pt x="295799" y="341266"/>
                  </a:lnTo>
                  <a:lnTo>
                    <a:pt x="279947" y="339028"/>
                  </a:lnTo>
                  <a:lnTo>
                    <a:pt x="279947" y="340056"/>
                  </a:lnTo>
                  <a:lnTo>
                    <a:pt x="281550" y="340903"/>
                  </a:lnTo>
                  <a:lnTo>
                    <a:pt x="286784" y="341266"/>
                  </a:lnTo>
                  <a:lnTo>
                    <a:pt x="288447" y="342023"/>
                  </a:lnTo>
                  <a:lnTo>
                    <a:pt x="289264" y="342991"/>
                  </a:lnTo>
                  <a:lnTo>
                    <a:pt x="289869" y="344231"/>
                  </a:lnTo>
                  <a:lnTo>
                    <a:pt x="290928" y="345834"/>
                  </a:lnTo>
                  <a:lnTo>
                    <a:pt x="293348" y="347287"/>
                  </a:lnTo>
                  <a:lnTo>
                    <a:pt x="299641" y="349797"/>
                  </a:lnTo>
                  <a:lnTo>
                    <a:pt x="301334" y="352550"/>
                  </a:lnTo>
                  <a:lnTo>
                    <a:pt x="285452" y="351340"/>
                  </a:lnTo>
                  <a:lnTo>
                    <a:pt x="285452" y="352550"/>
                  </a:lnTo>
                  <a:lnTo>
                    <a:pt x="296434" y="355273"/>
                  </a:lnTo>
                  <a:lnTo>
                    <a:pt x="301334" y="357995"/>
                  </a:lnTo>
                  <a:lnTo>
                    <a:pt x="305782" y="363169"/>
                  </a:lnTo>
                  <a:lnTo>
                    <a:pt x="307143" y="366315"/>
                  </a:lnTo>
                  <a:lnTo>
                    <a:pt x="307415" y="369370"/>
                  </a:lnTo>
                  <a:lnTo>
                    <a:pt x="306356" y="371730"/>
                  </a:lnTo>
                  <a:lnTo>
                    <a:pt x="303694" y="372637"/>
                  </a:lnTo>
                  <a:lnTo>
                    <a:pt x="302333" y="372728"/>
                  </a:lnTo>
                  <a:lnTo>
                    <a:pt x="301365" y="373182"/>
                  </a:lnTo>
                  <a:lnTo>
                    <a:pt x="300790" y="374362"/>
                  </a:lnTo>
                  <a:lnTo>
                    <a:pt x="300608" y="376570"/>
                  </a:lnTo>
                  <a:lnTo>
                    <a:pt x="301123" y="377477"/>
                  </a:lnTo>
                  <a:lnTo>
                    <a:pt x="302272" y="377145"/>
                  </a:lnTo>
                  <a:lnTo>
                    <a:pt x="304057" y="375965"/>
                  </a:lnTo>
                  <a:lnTo>
                    <a:pt x="306114" y="376237"/>
                  </a:lnTo>
                  <a:lnTo>
                    <a:pt x="307688" y="377024"/>
                  </a:lnTo>
                  <a:lnTo>
                    <a:pt x="308958" y="378415"/>
                  </a:lnTo>
                  <a:lnTo>
                    <a:pt x="310229" y="380442"/>
                  </a:lnTo>
                  <a:lnTo>
                    <a:pt x="312255" y="386250"/>
                  </a:lnTo>
                  <a:lnTo>
                    <a:pt x="313102" y="389911"/>
                  </a:lnTo>
                  <a:lnTo>
                    <a:pt x="312709" y="391574"/>
                  </a:lnTo>
                  <a:lnTo>
                    <a:pt x="313919" y="392452"/>
                  </a:lnTo>
                  <a:lnTo>
                    <a:pt x="314040" y="394388"/>
                  </a:lnTo>
                  <a:lnTo>
                    <a:pt x="313042" y="396324"/>
                  </a:lnTo>
                  <a:lnTo>
                    <a:pt x="310924" y="397201"/>
                  </a:lnTo>
                  <a:lnTo>
                    <a:pt x="309775" y="397413"/>
                  </a:lnTo>
                  <a:lnTo>
                    <a:pt x="308534" y="398018"/>
                  </a:lnTo>
                  <a:lnTo>
                    <a:pt x="307385" y="398895"/>
                  </a:lnTo>
                  <a:lnTo>
                    <a:pt x="306508" y="399954"/>
                  </a:lnTo>
                  <a:lnTo>
                    <a:pt x="305509" y="400650"/>
                  </a:lnTo>
                  <a:lnTo>
                    <a:pt x="304057" y="400771"/>
                  </a:lnTo>
                  <a:lnTo>
                    <a:pt x="301365" y="400529"/>
                  </a:lnTo>
                  <a:lnTo>
                    <a:pt x="301365" y="401739"/>
                  </a:lnTo>
                  <a:lnTo>
                    <a:pt x="302787" y="405339"/>
                  </a:lnTo>
                  <a:lnTo>
                    <a:pt x="303422" y="406065"/>
                  </a:lnTo>
                  <a:lnTo>
                    <a:pt x="304995" y="406065"/>
                  </a:lnTo>
                  <a:lnTo>
                    <a:pt x="305751" y="405006"/>
                  </a:lnTo>
                  <a:lnTo>
                    <a:pt x="306205" y="403645"/>
                  </a:lnTo>
                  <a:lnTo>
                    <a:pt x="306901" y="402768"/>
                  </a:lnTo>
                  <a:lnTo>
                    <a:pt x="307929" y="402616"/>
                  </a:lnTo>
                  <a:lnTo>
                    <a:pt x="309472" y="402707"/>
                  </a:lnTo>
                  <a:lnTo>
                    <a:pt x="310924" y="403070"/>
                  </a:lnTo>
                  <a:lnTo>
                    <a:pt x="311711" y="403887"/>
                  </a:lnTo>
                  <a:lnTo>
                    <a:pt x="311529" y="405551"/>
                  </a:lnTo>
                  <a:lnTo>
                    <a:pt x="310350" y="406095"/>
                  </a:lnTo>
                  <a:lnTo>
                    <a:pt x="308897" y="406247"/>
                  </a:lnTo>
                  <a:lnTo>
                    <a:pt x="307990" y="406640"/>
                  </a:lnTo>
                  <a:lnTo>
                    <a:pt x="308928" y="408152"/>
                  </a:lnTo>
                  <a:lnTo>
                    <a:pt x="314464" y="412841"/>
                  </a:lnTo>
                  <a:lnTo>
                    <a:pt x="316279" y="413870"/>
                  </a:lnTo>
                  <a:lnTo>
                    <a:pt x="316944" y="414747"/>
                  </a:lnTo>
                  <a:lnTo>
                    <a:pt x="316672" y="418680"/>
                  </a:lnTo>
                  <a:lnTo>
                    <a:pt x="317005" y="419557"/>
                  </a:lnTo>
                  <a:lnTo>
                    <a:pt x="319365" y="419436"/>
                  </a:lnTo>
                  <a:lnTo>
                    <a:pt x="320454" y="419073"/>
                  </a:lnTo>
                  <a:lnTo>
                    <a:pt x="321482" y="418347"/>
                  </a:lnTo>
                  <a:lnTo>
                    <a:pt x="320847" y="420586"/>
                  </a:lnTo>
                  <a:lnTo>
                    <a:pt x="319606" y="421614"/>
                  </a:lnTo>
                  <a:lnTo>
                    <a:pt x="318124" y="421554"/>
                  </a:lnTo>
                  <a:lnTo>
                    <a:pt x="316672" y="420556"/>
                  </a:lnTo>
                  <a:lnTo>
                    <a:pt x="317338" y="425033"/>
                  </a:lnTo>
                  <a:lnTo>
                    <a:pt x="318911" y="427332"/>
                  </a:lnTo>
                  <a:lnTo>
                    <a:pt x="321421" y="428179"/>
                  </a:lnTo>
                  <a:lnTo>
                    <a:pt x="324900" y="428300"/>
                  </a:lnTo>
                  <a:lnTo>
                    <a:pt x="322843" y="427180"/>
                  </a:lnTo>
                  <a:lnTo>
                    <a:pt x="322843" y="426061"/>
                  </a:lnTo>
                  <a:lnTo>
                    <a:pt x="329771" y="426061"/>
                  </a:lnTo>
                  <a:lnTo>
                    <a:pt x="331193" y="425607"/>
                  </a:lnTo>
                  <a:lnTo>
                    <a:pt x="333946" y="424155"/>
                  </a:lnTo>
                  <a:lnTo>
                    <a:pt x="335247" y="423883"/>
                  </a:lnTo>
                  <a:lnTo>
                    <a:pt x="342204" y="426757"/>
                  </a:lnTo>
                  <a:lnTo>
                    <a:pt x="343596" y="426091"/>
                  </a:lnTo>
                  <a:lnTo>
                    <a:pt x="345411" y="427090"/>
                  </a:lnTo>
                  <a:lnTo>
                    <a:pt x="352974" y="428844"/>
                  </a:lnTo>
                  <a:lnTo>
                    <a:pt x="356695" y="430418"/>
                  </a:lnTo>
                  <a:lnTo>
                    <a:pt x="358026" y="430538"/>
                  </a:lnTo>
                  <a:lnTo>
                    <a:pt x="359478" y="429359"/>
                  </a:lnTo>
                  <a:lnTo>
                    <a:pt x="360930" y="427574"/>
                  </a:lnTo>
                  <a:lnTo>
                    <a:pt x="362624" y="426182"/>
                  </a:lnTo>
                  <a:lnTo>
                    <a:pt x="364893" y="426182"/>
                  </a:lnTo>
                  <a:lnTo>
                    <a:pt x="366466" y="427483"/>
                  </a:lnTo>
                  <a:lnTo>
                    <a:pt x="366617" y="429328"/>
                  </a:lnTo>
                  <a:lnTo>
                    <a:pt x="365770" y="431234"/>
                  </a:lnTo>
                  <a:lnTo>
                    <a:pt x="364288" y="432686"/>
                  </a:lnTo>
                  <a:lnTo>
                    <a:pt x="366012" y="434804"/>
                  </a:lnTo>
                  <a:lnTo>
                    <a:pt x="371730" y="434411"/>
                  </a:lnTo>
                  <a:lnTo>
                    <a:pt x="373908" y="436075"/>
                  </a:lnTo>
                  <a:lnTo>
                    <a:pt x="374180" y="437375"/>
                  </a:lnTo>
                  <a:lnTo>
                    <a:pt x="373635" y="438041"/>
                  </a:lnTo>
                  <a:lnTo>
                    <a:pt x="364923" y="439523"/>
                  </a:lnTo>
                  <a:lnTo>
                    <a:pt x="367525" y="443607"/>
                  </a:lnTo>
                  <a:lnTo>
                    <a:pt x="373757" y="447903"/>
                  </a:lnTo>
                  <a:lnTo>
                    <a:pt x="375995" y="451654"/>
                  </a:lnTo>
                  <a:lnTo>
                    <a:pt x="370731" y="450565"/>
                  </a:lnTo>
                  <a:lnTo>
                    <a:pt x="360083" y="446027"/>
                  </a:lnTo>
                  <a:lnTo>
                    <a:pt x="354668" y="444968"/>
                  </a:lnTo>
                  <a:lnTo>
                    <a:pt x="356120" y="446753"/>
                  </a:lnTo>
                  <a:lnTo>
                    <a:pt x="357753" y="448175"/>
                  </a:lnTo>
                  <a:lnTo>
                    <a:pt x="359659" y="449143"/>
                  </a:lnTo>
                  <a:lnTo>
                    <a:pt x="366012" y="449506"/>
                  </a:lnTo>
                  <a:lnTo>
                    <a:pt x="366859" y="449839"/>
                  </a:lnTo>
                  <a:lnTo>
                    <a:pt x="368190" y="451351"/>
                  </a:lnTo>
                  <a:lnTo>
                    <a:pt x="368735" y="451684"/>
                  </a:lnTo>
                  <a:lnTo>
                    <a:pt x="370641" y="452017"/>
                  </a:lnTo>
                  <a:lnTo>
                    <a:pt x="377387" y="454982"/>
                  </a:lnTo>
                  <a:lnTo>
                    <a:pt x="378566" y="456615"/>
                  </a:lnTo>
                  <a:lnTo>
                    <a:pt x="380442" y="461516"/>
                  </a:lnTo>
                  <a:lnTo>
                    <a:pt x="381501" y="462756"/>
                  </a:lnTo>
                  <a:lnTo>
                    <a:pt x="381501" y="463755"/>
                  </a:lnTo>
                  <a:lnTo>
                    <a:pt x="379474" y="465660"/>
                  </a:lnTo>
                  <a:lnTo>
                    <a:pt x="378052" y="466387"/>
                  </a:lnTo>
                  <a:lnTo>
                    <a:pt x="377387" y="465509"/>
                  </a:lnTo>
                  <a:lnTo>
                    <a:pt x="376963" y="465267"/>
                  </a:lnTo>
                  <a:lnTo>
                    <a:pt x="374694" y="467536"/>
                  </a:lnTo>
                  <a:lnTo>
                    <a:pt x="373605" y="468171"/>
                  </a:lnTo>
                  <a:lnTo>
                    <a:pt x="372486" y="467657"/>
                  </a:lnTo>
                  <a:lnTo>
                    <a:pt x="370519" y="465449"/>
                  </a:lnTo>
                  <a:lnTo>
                    <a:pt x="369098" y="464964"/>
                  </a:lnTo>
                  <a:lnTo>
                    <a:pt x="368130" y="465358"/>
                  </a:lnTo>
                  <a:lnTo>
                    <a:pt x="364258" y="468171"/>
                  </a:lnTo>
                  <a:lnTo>
                    <a:pt x="364258" y="469351"/>
                  </a:lnTo>
                  <a:lnTo>
                    <a:pt x="366315" y="470228"/>
                  </a:lnTo>
                  <a:lnTo>
                    <a:pt x="367313" y="471801"/>
                  </a:lnTo>
                  <a:lnTo>
                    <a:pt x="367646" y="474070"/>
                  </a:lnTo>
                  <a:lnTo>
                    <a:pt x="367646" y="477035"/>
                  </a:lnTo>
                  <a:lnTo>
                    <a:pt x="368069" y="480211"/>
                  </a:lnTo>
                  <a:lnTo>
                    <a:pt x="369158" y="481815"/>
                  </a:lnTo>
                  <a:lnTo>
                    <a:pt x="370731" y="482934"/>
                  </a:lnTo>
                  <a:lnTo>
                    <a:pt x="372486" y="484810"/>
                  </a:lnTo>
                  <a:lnTo>
                    <a:pt x="373121" y="486080"/>
                  </a:lnTo>
                  <a:lnTo>
                    <a:pt x="373121" y="486927"/>
                  </a:lnTo>
                  <a:lnTo>
                    <a:pt x="373031" y="487774"/>
                  </a:lnTo>
                  <a:lnTo>
                    <a:pt x="373212" y="489045"/>
                  </a:lnTo>
                  <a:lnTo>
                    <a:pt x="373666" y="490376"/>
                  </a:lnTo>
                  <a:lnTo>
                    <a:pt x="374029" y="491102"/>
                  </a:lnTo>
                  <a:lnTo>
                    <a:pt x="378688" y="495579"/>
                  </a:lnTo>
                  <a:lnTo>
                    <a:pt x="379686" y="497425"/>
                  </a:lnTo>
                  <a:lnTo>
                    <a:pt x="380321" y="498241"/>
                  </a:lnTo>
                  <a:lnTo>
                    <a:pt x="381471" y="498877"/>
                  </a:lnTo>
                  <a:lnTo>
                    <a:pt x="380412" y="501508"/>
                  </a:lnTo>
                  <a:lnTo>
                    <a:pt x="380775" y="503142"/>
                  </a:lnTo>
                  <a:lnTo>
                    <a:pt x="382197" y="504019"/>
                  </a:lnTo>
                  <a:lnTo>
                    <a:pt x="384223" y="504412"/>
                  </a:lnTo>
                  <a:lnTo>
                    <a:pt x="381471" y="508436"/>
                  </a:lnTo>
                  <a:lnTo>
                    <a:pt x="380261" y="511007"/>
                  </a:lnTo>
                  <a:lnTo>
                    <a:pt x="380109" y="514335"/>
                  </a:lnTo>
                  <a:lnTo>
                    <a:pt x="380866" y="516362"/>
                  </a:lnTo>
                  <a:lnTo>
                    <a:pt x="384163" y="522352"/>
                  </a:lnTo>
                  <a:lnTo>
                    <a:pt x="385585" y="524167"/>
                  </a:lnTo>
                  <a:lnTo>
                    <a:pt x="386038" y="526436"/>
                  </a:lnTo>
                  <a:lnTo>
                    <a:pt x="388126" y="528886"/>
                  </a:lnTo>
                  <a:lnTo>
                    <a:pt x="390123" y="528674"/>
                  </a:lnTo>
                  <a:lnTo>
                    <a:pt x="390365" y="522957"/>
                  </a:lnTo>
                  <a:lnTo>
                    <a:pt x="389245" y="513911"/>
                  </a:lnTo>
                  <a:lnTo>
                    <a:pt x="389245" y="508859"/>
                  </a:lnTo>
                  <a:lnTo>
                    <a:pt x="390758" y="506621"/>
                  </a:lnTo>
                  <a:lnTo>
                    <a:pt x="391817" y="505925"/>
                  </a:lnTo>
                  <a:lnTo>
                    <a:pt x="394509" y="502930"/>
                  </a:lnTo>
                  <a:lnTo>
                    <a:pt x="395507" y="502265"/>
                  </a:lnTo>
                  <a:lnTo>
                    <a:pt x="396052" y="500933"/>
                  </a:lnTo>
                  <a:lnTo>
                    <a:pt x="399984" y="494006"/>
                  </a:lnTo>
                  <a:lnTo>
                    <a:pt x="401467" y="492463"/>
                  </a:lnTo>
                  <a:lnTo>
                    <a:pt x="410361" y="485747"/>
                  </a:lnTo>
                  <a:lnTo>
                    <a:pt x="410361" y="484749"/>
                  </a:lnTo>
                  <a:lnTo>
                    <a:pt x="407336" y="481482"/>
                  </a:lnTo>
                  <a:lnTo>
                    <a:pt x="404492" y="477519"/>
                  </a:lnTo>
                  <a:close/>
                  <a:moveTo>
                    <a:pt x="345320" y="182174"/>
                  </a:moveTo>
                  <a:lnTo>
                    <a:pt x="347256" y="183202"/>
                  </a:lnTo>
                  <a:lnTo>
                    <a:pt x="349313" y="183414"/>
                  </a:lnTo>
                  <a:lnTo>
                    <a:pt x="351007" y="182779"/>
                  </a:lnTo>
                  <a:lnTo>
                    <a:pt x="352157" y="181327"/>
                  </a:lnTo>
                  <a:lnTo>
                    <a:pt x="353337" y="179421"/>
                  </a:lnTo>
                  <a:lnTo>
                    <a:pt x="354698" y="177697"/>
                  </a:lnTo>
                  <a:lnTo>
                    <a:pt x="356483" y="176910"/>
                  </a:lnTo>
                  <a:lnTo>
                    <a:pt x="357118" y="176124"/>
                  </a:lnTo>
                  <a:lnTo>
                    <a:pt x="357451" y="175912"/>
                  </a:lnTo>
                  <a:lnTo>
                    <a:pt x="357875" y="175912"/>
                  </a:lnTo>
                  <a:lnTo>
                    <a:pt x="357875" y="174611"/>
                  </a:lnTo>
                  <a:lnTo>
                    <a:pt x="353518" y="176184"/>
                  </a:lnTo>
                  <a:lnTo>
                    <a:pt x="344957" y="177031"/>
                  </a:lnTo>
                  <a:lnTo>
                    <a:pt x="343808" y="177908"/>
                  </a:lnTo>
                  <a:lnTo>
                    <a:pt x="344080" y="180389"/>
                  </a:lnTo>
                  <a:lnTo>
                    <a:pt x="345320" y="182204"/>
                  </a:lnTo>
                  <a:close/>
                  <a:moveTo>
                    <a:pt x="44923" y="169075"/>
                  </a:moveTo>
                  <a:lnTo>
                    <a:pt x="44016" y="169620"/>
                  </a:lnTo>
                  <a:lnTo>
                    <a:pt x="43260" y="170346"/>
                  </a:lnTo>
                  <a:lnTo>
                    <a:pt x="42776" y="171193"/>
                  </a:lnTo>
                  <a:lnTo>
                    <a:pt x="42413" y="173189"/>
                  </a:lnTo>
                  <a:lnTo>
                    <a:pt x="43441" y="173341"/>
                  </a:lnTo>
                  <a:lnTo>
                    <a:pt x="46557" y="172222"/>
                  </a:lnTo>
                  <a:lnTo>
                    <a:pt x="47192" y="172342"/>
                  </a:lnTo>
                  <a:lnTo>
                    <a:pt x="49612" y="173492"/>
                  </a:lnTo>
                  <a:lnTo>
                    <a:pt x="52093" y="175912"/>
                  </a:lnTo>
                  <a:lnTo>
                    <a:pt x="53182" y="177304"/>
                  </a:lnTo>
                  <a:lnTo>
                    <a:pt x="55874" y="182839"/>
                  </a:lnTo>
                  <a:lnTo>
                    <a:pt x="56873" y="183324"/>
                  </a:lnTo>
                  <a:lnTo>
                    <a:pt x="59686" y="181902"/>
                  </a:lnTo>
                  <a:lnTo>
                    <a:pt x="67703" y="179845"/>
                  </a:lnTo>
                  <a:lnTo>
                    <a:pt x="68217" y="176941"/>
                  </a:lnTo>
                  <a:lnTo>
                    <a:pt x="72392" y="173794"/>
                  </a:lnTo>
                  <a:lnTo>
                    <a:pt x="73723" y="172222"/>
                  </a:lnTo>
                  <a:lnTo>
                    <a:pt x="75054" y="169953"/>
                  </a:lnTo>
                  <a:lnTo>
                    <a:pt x="76567" y="166141"/>
                  </a:lnTo>
                  <a:lnTo>
                    <a:pt x="77897" y="164265"/>
                  </a:lnTo>
                  <a:lnTo>
                    <a:pt x="77202" y="163600"/>
                  </a:lnTo>
                  <a:lnTo>
                    <a:pt x="76445" y="163116"/>
                  </a:lnTo>
                  <a:lnTo>
                    <a:pt x="77262" y="163116"/>
                  </a:lnTo>
                  <a:lnTo>
                    <a:pt x="77988" y="163055"/>
                  </a:lnTo>
                  <a:lnTo>
                    <a:pt x="78623" y="162662"/>
                  </a:lnTo>
                  <a:lnTo>
                    <a:pt x="79259" y="161815"/>
                  </a:lnTo>
                  <a:lnTo>
                    <a:pt x="77534" y="161119"/>
                  </a:lnTo>
                  <a:lnTo>
                    <a:pt x="76657" y="159395"/>
                  </a:lnTo>
                  <a:lnTo>
                    <a:pt x="75841" y="153768"/>
                  </a:lnTo>
                  <a:lnTo>
                    <a:pt x="75508" y="152921"/>
                  </a:lnTo>
                  <a:lnTo>
                    <a:pt x="75054" y="152135"/>
                  </a:lnTo>
                  <a:lnTo>
                    <a:pt x="74781" y="151046"/>
                  </a:lnTo>
                  <a:lnTo>
                    <a:pt x="75115" y="149260"/>
                  </a:lnTo>
                  <a:lnTo>
                    <a:pt x="75538" y="148656"/>
                  </a:lnTo>
                  <a:lnTo>
                    <a:pt x="77928" y="146871"/>
                  </a:lnTo>
                  <a:lnTo>
                    <a:pt x="78684" y="147385"/>
                  </a:lnTo>
                  <a:lnTo>
                    <a:pt x="79471" y="148171"/>
                  </a:lnTo>
                  <a:lnTo>
                    <a:pt x="79985" y="149472"/>
                  </a:lnTo>
                  <a:lnTo>
                    <a:pt x="79985" y="151469"/>
                  </a:lnTo>
                  <a:lnTo>
                    <a:pt x="80741" y="150894"/>
                  </a:lnTo>
                  <a:lnTo>
                    <a:pt x="81255" y="150138"/>
                  </a:lnTo>
                  <a:lnTo>
                    <a:pt x="82072" y="148050"/>
                  </a:lnTo>
                  <a:lnTo>
                    <a:pt x="83282" y="142514"/>
                  </a:lnTo>
                  <a:lnTo>
                    <a:pt x="83524" y="142151"/>
                  </a:lnTo>
                  <a:lnTo>
                    <a:pt x="83282" y="140730"/>
                  </a:lnTo>
                  <a:lnTo>
                    <a:pt x="82284" y="138370"/>
                  </a:lnTo>
                  <a:lnTo>
                    <a:pt x="82102" y="137644"/>
                  </a:lnTo>
                  <a:lnTo>
                    <a:pt x="82405" y="136374"/>
                  </a:lnTo>
                  <a:lnTo>
                    <a:pt x="83585" y="134256"/>
                  </a:lnTo>
                  <a:lnTo>
                    <a:pt x="84160" y="132895"/>
                  </a:lnTo>
                  <a:lnTo>
                    <a:pt x="82889" y="132471"/>
                  </a:lnTo>
                  <a:lnTo>
                    <a:pt x="81739" y="134679"/>
                  </a:lnTo>
                  <a:lnTo>
                    <a:pt x="80257" y="136585"/>
                  </a:lnTo>
                  <a:lnTo>
                    <a:pt x="77958" y="135194"/>
                  </a:lnTo>
                  <a:lnTo>
                    <a:pt x="74570" y="141668"/>
                  </a:lnTo>
                  <a:lnTo>
                    <a:pt x="72543" y="144118"/>
                  </a:lnTo>
                  <a:lnTo>
                    <a:pt x="70335" y="143422"/>
                  </a:lnTo>
                  <a:lnTo>
                    <a:pt x="67400" y="144965"/>
                  </a:lnTo>
                  <a:lnTo>
                    <a:pt x="61501" y="145872"/>
                  </a:lnTo>
                  <a:lnTo>
                    <a:pt x="58597" y="146871"/>
                  </a:lnTo>
                  <a:lnTo>
                    <a:pt x="57901" y="146931"/>
                  </a:lnTo>
                  <a:lnTo>
                    <a:pt x="57024" y="146810"/>
                  </a:lnTo>
                  <a:lnTo>
                    <a:pt x="56238" y="146810"/>
                  </a:lnTo>
                  <a:lnTo>
                    <a:pt x="55905" y="147445"/>
                  </a:lnTo>
                  <a:lnTo>
                    <a:pt x="56026" y="150229"/>
                  </a:lnTo>
                  <a:lnTo>
                    <a:pt x="56238" y="151620"/>
                  </a:lnTo>
                  <a:lnTo>
                    <a:pt x="56570" y="151499"/>
                  </a:lnTo>
                  <a:lnTo>
                    <a:pt x="55723" y="153284"/>
                  </a:lnTo>
                  <a:lnTo>
                    <a:pt x="53727" y="155795"/>
                  </a:lnTo>
                  <a:lnTo>
                    <a:pt x="53152" y="157398"/>
                  </a:lnTo>
                  <a:lnTo>
                    <a:pt x="54241" y="158064"/>
                  </a:lnTo>
                  <a:lnTo>
                    <a:pt x="55421" y="158427"/>
                  </a:lnTo>
                  <a:lnTo>
                    <a:pt x="56691" y="158548"/>
                  </a:lnTo>
                  <a:lnTo>
                    <a:pt x="57962" y="158427"/>
                  </a:lnTo>
                  <a:lnTo>
                    <a:pt x="55451" y="161422"/>
                  </a:lnTo>
                  <a:lnTo>
                    <a:pt x="48311" y="162360"/>
                  </a:lnTo>
                  <a:lnTo>
                    <a:pt x="45529" y="164295"/>
                  </a:lnTo>
                  <a:lnTo>
                    <a:pt x="45801" y="164931"/>
                  </a:lnTo>
                  <a:lnTo>
                    <a:pt x="46164" y="166534"/>
                  </a:lnTo>
                  <a:lnTo>
                    <a:pt x="46315" y="168168"/>
                  </a:lnTo>
                  <a:lnTo>
                    <a:pt x="45861" y="168894"/>
                  </a:lnTo>
                  <a:lnTo>
                    <a:pt x="44923" y="169106"/>
                  </a:lnTo>
                  <a:close/>
                  <a:moveTo>
                    <a:pt x="281369" y="87124"/>
                  </a:moveTo>
                  <a:lnTo>
                    <a:pt x="284152" y="88485"/>
                  </a:lnTo>
                  <a:lnTo>
                    <a:pt x="287691" y="89091"/>
                  </a:lnTo>
                  <a:lnTo>
                    <a:pt x="290323" y="93719"/>
                  </a:lnTo>
                  <a:lnTo>
                    <a:pt x="292350" y="95231"/>
                  </a:lnTo>
                  <a:lnTo>
                    <a:pt x="295466" y="94536"/>
                  </a:lnTo>
                  <a:lnTo>
                    <a:pt x="297100" y="92690"/>
                  </a:lnTo>
                  <a:lnTo>
                    <a:pt x="297946" y="90391"/>
                  </a:lnTo>
                  <a:lnTo>
                    <a:pt x="299338" y="88304"/>
                  </a:lnTo>
                  <a:lnTo>
                    <a:pt x="301728" y="85823"/>
                  </a:lnTo>
                  <a:lnTo>
                    <a:pt x="302031" y="83071"/>
                  </a:lnTo>
                  <a:lnTo>
                    <a:pt x="300881" y="80529"/>
                  </a:lnTo>
                  <a:lnTo>
                    <a:pt x="299247" y="79259"/>
                  </a:lnTo>
                  <a:lnTo>
                    <a:pt x="306961" y="77534"/>
                  </a:lnTo>
                  <a:lnTo>
                    <a:pt x="309351" y="78321"/>
                  </a:lnTo>
                  <a:lnTo>
                    <a:pt x="311590" y="78744"/>
                  </a:lnTo>
                  <a:lnTo>
                    <a:pt x="312316" y="77292"/>
                  </a:lnTo>
                  <a:lnTo>
                    <a:pt x="312407" y="75477"/>
                  </a:lnTo>
                  <a:lnTo>
                    <a:pt x="311681" y="73390"/>
                  </a:lnTo>
                  <a:lnTo>
                    <a:pt x="310803" y="72573"/>
                  </a:lnTo>
                  <a:lnTo>
                    <a:pt x="309623" y="72150"/>
                  </a:lnTo>
                  <a:lnTo>
                    <a:pt x="306840" y="72210"/>
                  </a:lnTo>
                  <a:lnTo>
                    <a:pt x="302757" y="74237"/>
                  </a:lnTo>
                  <a:lnTo>
                    <a:pt x="295314" y="74237"/>
                  </a:lnTo>
                  <a:lnTo>
                    <a:pt x="293560" y="76052"/>
                  </a:lnTo>
                  <a:lnTo>
                    <a:pt x="291231" y="76718"/>
                  </a:lnTo>
                  <a:lnTo>
                    <a:pt x="287177" y="76960"/>
                  </a:lnTo>
                  <a:lnTo>
                    <a:pt x="284636" y="79077"/>
                  </a:lnTo>
                  <a:lnTo>
                    <a:pt x="281338" y="82042"/>
                  </a:lnTo>
                  <a:lnTo>
                    <a:pt x="277980" y="82738"/>
                  </a:lnTo>
                  <a:lnTo>
                    <a:pt x="277980" y="83797"/>
                  </a:lnTo>
                  <a:lnTo>
                    <a:pt x="279584" y="85521"/>
                  </a:lnTo>
                  <a:lnTo>
                    <a:pt x="281369" y="87094"/>
                  </a:lnTo>
                  <a:close/>
                  <a:moveTo>
                    <a:pt x="165627" y="462605"/>
                  </a:moveTo>
                  <a:lnTo>
                    <a:pt x="164870" y="460245"/>
                  </a:lnTo>
                  <a:lnTo>
                    <a:pt x="163509" y="459338"/>
                  </a:lnTo>
                  <a:lnTo>
                    <a:pt x="157973" y="457946"/>
                  </a:lnTo>
                  <a:lnTo>
                    <a:pt x="155886" y="456343"/>
                  </a:lnTo>
                  <a:lnTo>
                    <a:pt x="151832" y="452198"/>
                  </a:lnTo>
                  <a:lnTo>
                    <a:pt x="149654" y="451351"/>
                  </a:lnTo>
                  <a:lnTo>
                    <a:pt x="148505" y="451654"/>
                  </a:lnTo>
                  <a:lnTo>
                    <a:pt x="147657" y="452350"/>
                  </a:lnTo>
                  <a:lnTo>
                    <a:pt x="146962" y="453136"/>
                  </a:lnTo>
                  <a:lnTo>
                    <a:pt x="146236" y="453650"/>
                  </a:lnTo>
                  <a:lnTo>
                    <a:pt x="145389" y="453802"/>
                  </a:lnTo>
                  <a:lnTo>
                    <a:pt x="142817" y="453650"/>
                  </a:lnTo>
                  <a:lnTo>
                    <a:pt x="137130" y="455768"/>
                  </a:lnTo>
                  <a:lnTo>
                    <a:pt x="135890" y="455768"/>
                  </a:lnTo>
                  <a:lnTo>
                    <a:pt x="135042" y="453439"/>
                  </a:lnTo>
                  <a:lnTo>
                    <a:pt x="136857" y="452168"/>
                  </a:lnTo>
                  <a:lnTo>
                    <a:pt x="141456" y="451321"/>
                  </a:lnTo>
                  <a:lnTo>
                    <a:pt x="143331" y="450383"/>
                  </a:lnTo>
                  <a:lnTo>
                    <a:pt x="145056" y="448871"/>
                  </a:lnTo>
                  <a:lnTo>
                    <a:pt x="147657" y="445725"/>
                  </a:lnTo>
                  <a:lnTo>
                    <a:pt x="145267" y="442246"/>
                  </a:lnTo>
                  <a:lnTo>
                    <a:pt x="143815" y="440794"/>
                  </a:lnTo>
                  <a:lnTo>
                    <a:pt x="142484" y="440189"/>
                  </a:lnTo>
                  <a:lnTo>
                    <a:pt x="139580" y="440189"/>
                  </a:lnTo>
                  <a:lnTo>
                    <a:pt x="138309" y="439886"/>
                  </a:lnTo>
                  <a:lnTo>
                    <a:pt x="137281" y="439190"/>
                  </a:lnTo>
                  <a:lnTo>
                    <a:pt x="138521" y="438222"/>
                  </a:lnTo>
                  <a:lnTo>
                    <a:pt x="139883" y="437890"/>
                  </a:lnTo>
                  <a:lnTo>
                    <a:pt x="142847" y="437980"/>
                  </a:lnTo>
                  <a:lnTo>
                    <a:pt x="142847" y="436861"/>
                  </a:lnTo>
                  <a:lnTo>
                    <a:pt x="141123" y="436861"/>
                  </a:lnTo>
                  <a:lnTo>
                    <a:pt x="140276" y="435681"/>
                  </a:lnTo>
                  <a:lnTo>
                    <a:pt x="140276" y="434259"/>
                  </a:lnTo>
                  <a:lnTo>
                    <a:pt x="141093" y="433563"/>
                  </a:lnTo>
                  <a:lnTo>
                    <a:pt x="142394" y="433352"/>
                  </a:lnTo>
                  <a:lnTo>
                    <a:pt x="143876" y="432777"/>
                  </a:lnTo>
                  <a:lnTo>
                    <a:pt x="146296" y="431355"/>
                  </a:lnTo>
                  <a:lnTo>
                    <a:pt x="147204" y="430327"/>
                  </a:lnTo>
                  <a:lnTo>
                    <a:pt x="147869" y="429238"/>
                  </a:lnTo>
                  <a:lnTo>
                    <a:pt x="148716" y="428391"/>
                  </a:lnTo>
                  <a:lnTo>
                    <a:pt x="150077" y="428058"/>
                  </a:lnTo>
                  <a:lnTo>
                    <a:pt x="155977" y="429056"/>
                  </a:lnTo>
                  <a:lnTo>
                    <a:pt x="157368" y="428905"/>
                  </a:lnTo>
                  <a:lnTo>
                    <a:pt x="158971" y="428421"/>
                  </a:lnTo>
                  <a:lnTo>
                    <a:pt x="160272" y="427604"/>
                  </a:lnTo>
                  <a:lnTo>
                    <a:pt x="160817" y="426424"/>
                  </a:lnTo>
                  <a:lnTo>
                    <a:pt x="161119" y="423823"/>
                  </a:lnTo>
                  <a:lnTo>
                    <a:pt x="161785" y="422401"/>
                  </a:lnTo>
                  <a:lnTo>
                    <a:pt x="162481" y="421221"/>
                  </a:lnTo>
                  <a:lnTo>
                    <a:pt x="162844" y="419315"/>
                  </a:lnTo>
                  <a:lnTo>
                    <a:pt x="162420" y="416653"/>
                  </a:lnTo>
                  <a:lnTo>
                    <a:pt x="161240" y="415594"/>
                  </a:lnTo>
                  <a:lnTo>
                    <a:pt x="160000" y="415110"/>
                  </a:lnTo>
                  <a:lnTo>
                    <a:pt x="156279" y="409211"/>
                  </a:lnTo>
                  <a:lnTo>
                    <a:pt x="155251" y="408122"/>
                  </a:lnTo>
                  <a:lnTo>
                    <a:pt x="155251" y="406912"/>
                  </a:lnTo>
                  <a:lnTo>
                    <a:pt x="156612" y="405641"/>
                  </a:lnTo>
                  <a:lnTo>
                    <a:pt x="156309" y="404038"/>
                  </a:lnTo>
                  <a:lnTo>
                    <a:pt x="155129" y="402525"/>
                  </a:lnTo>
                  <a:lnTo>
                    <a:pt x="153889" y="401467"/>
                  </a:lnTo>
                  <a:lnTo>
                    <a:pt x="151862" y="400257"/>
                  </a:lnTo>
                  <a:lnTo>
                    <a:pt x="151711" y="399047"/>
                  </a:lnTo>
                  <a:lnTo>
                    <a:pt x="152286" y="397625"/>
                  </a:lnTo>
                  <a:lnTo>
                    <a:pt x="152558" y="395810"/>
                  </a:lnTo>
                  <a:lnTo>
                    <a:pt x="152195" y="394509"/>
                  </a:lnTo>
                  <a:lnTo>
                    <a:pt x="150955" y="392028"/>
                  </a:lnTo>
                  <a:lnTo>
                    <a:pt x="150410" y="390213"/>
                  </a:lnTo>
                  <a:lnTo>
                    <a:pt x="151893" y="389487"/>
                  </a:lnTo>
                  <a:lnTo>
                    <a:pt x="155311" y="388852"/>
                  </a:lnTo>
                  <a:lnTo>
                    <a:pt x="156672" y="387975"/>
                  </a:lnTo>
                  <a:lnTo>
                    <a:pt x="157792" y="386008"/>
                  </a:lnTo>
                  <a:lnTo>
                    <a:pt x="158215" y="383800"/>
                  </a:lnTo>
                  <a:lnTo>
                    <a:pt x="157792" y="381955"/>
                  </a:lnTo>
                  <a:lnTo>
                    <a:pt x="151983" y="379051"/>
                  </a:lnTo>
                  <a:lnTo>
                    <a:pt x="151015" y="379293"/>
                  </a:lnTo>
                  <a:lnTo>
                    <a:pt x="150108" y="379807"/>
                  </a:lnTo>
                  <a:lnTo>
                    <a:pt x="145146" y="381017"/>
                  </a:lnTo>
                  <a:lnTo>
                    <a:pt x="143271" y="381138"/>
                  </a:lnTo>
                  <a:lnTo>
                    <a:pt x="141486" y="380109"/>
                  </a:lnTo>
                  <a:lnTo>
                    <a:pt x="143180" y="378688"/>
                  </a:lnTo>
                  <a:lnTo>
                    <a:pt x="146901" y="377568"/>
                  </a:lnTo>
                  <a:lnTo>
                    <a:pt x="148353" y="375662"/>
                  </a:lnTo>
                  <a:lnTo>
                    <a:pt x="147930" y="375209"/>
                  </a:lnTo>
                  <a:lnTo>
                    <a:pt x="147657" y="374543"/>
                  </a:lnTo>
                  <a:lnTo>
                    <a:pt x="148988" y="374483"/>
                  </a:lnTo>
                  <a:lnTo>
                    <a:pt x="151227" y="375390"/>
                  </a:lnTo>
                  <a:lnTo>
                    <a:pt x="152437" y="375662"/>
                  </a:lnTo>
                  <a:lnTo>
                    <a:pt x="153828" y="375299"/>
                  </a:lnTo>
                  <a:lnTo>
                    <a:pt x="156128" y="373757"/>
                  </a:lnTo>
                  <a:lnTo>
                    <a:pt x="162481" y="372304"/>
                  </a:lnTo>
                  <a:lnTo>
                    <a:pt x="162813" y="371609"/>
                  </a:lnTo>
                  <a:lnTo>
                    <a:pt x="162813" y="370096"/>
                  </a:lnTo>
                  <a:lnTo>
                    <a:pt x="163025" y="368583"/>
                  </a:lnTo>
                  <a:lnTo>
                    <a:pt x="163872" y="367888"/>
                  </a:lnTo>
                  <a:lnTo>
                    <a:pt x="166202" y="367615"/>
                  </a:lnTo>
                  <a:lnTo>
                    <a:pt x="167563" y="366768"/>
                  </a:lnTo>
                  <a:lnTo>
                    <a:pt x="170376" y="363441"/>
                  </a:lnTo>
                  <a:lnTo>
                    <a:pt x="175610" y="359629"/>
                  </a:lnTo>
                  <a:lnTo>
                    <a:pt x="177273" y="357753"/>
                  </a:lnTo>
                  <a:lnTo>
                    <a:pt x="167654" y="357753"/>
                  </a:lnTo>
                  <a:lnTo>
                    <a:pt x="165657" y="357239"/>
                  </a:lnTo>
                  <a:lnTo>
                    <a:pt x="164628" y="355969"/>
                  </a:lnTo>
                  <a:lnTo>
                    <a:pt x="163902" y="354214"/>
                  </a:lnTo>
                  <a:lnTo>
                    <a:pt x="162813" y="352248"/>
                  </a:lnTo>
                  <a:lnTo>
                    <a:pt x="157610" y="347287"/>
                  </a:lnTo>
                  <a:lnTo>
                    <a:pt x="156309" y="346560"/>
                  </a:lnTo>
                  <a:lnTo>
                    <a:pt x="149079" y="346470"/>
                  </a:lnTo>
                  <a:lnTo>
                    <a:pt x="146992" y="345532"/>
                  </a:lnTo>
                  <a:lnTo>
                    <a:pt x="147082" y="344776"/>
                  </a:lnTo>
                  <a:lnTo>
                    <a:pt x="147204" y="344291"/>
                  </a:lnTo>
                  <a:lnTo>
                    <a:pt x="147385" y="343838"/>
                  </a:lnTo>
                  <a:lnTo>
                    <a:pt x="147718" y="343202"/>
                  </a:lnTo>
                  <a:lnTo>
                    <a:pt x="150077" y="344261"/>
                  </a:lnTo>
                  <a:lnTo>
                    <a:pt x="160484" y="344322"/>
                  </a:lnTo>
                  <a:lnTo>
                    <a:pt x="161391" y="344776"/>
                  </a:lnTo>
                  <a:lnTo>
                    <a:pt x="164961" y="347680"/>
                  </a:lnTo>
                  <a:lnTo>
                    <a:pt x="171133" y="349918"/>
                  </a:lnTo>
                  <a:lnTo>
                    <a:pt x="174097" y="349676"/>
                  </a:lnTo>
                  <a:lnTo>
                    <a:pt x="179119" y="347165"/>
                  </a:lnTo>
                  <a:lnTo>
                    <a:pt x="190160" y="344171"/>
                  </a:lnTo>
                  <a:lnTo>
                    <a:pt x="192520" y="345532"/>
                  </a:lnTo>
                  <a:lnTo>
                    <a:pt x="193458" y="344594"/>
                  </a:lnTo>
                  <a:lnTo>
                    <a:pt x="193821" y="344322"/>
                  </a:lnTo>
                  <a:lnTo>
                    <a:pt x="192672" y="341630"/>
                  </a:lnTo>
                  <a:lnTo>
                    <a:pt x="193882" y="339784"/>
                  </a:lnTo>
                  <a:lnTo>
                    <a:pt x="197996" y="337636"/>
                  </a:lnTo>
                  <a:lnTo>
                    <a:pt x="197996" y="336487"/>
                  </a:lnTo>
                  <a:lnTo>
                    <a:pt x="195364" y="336547"/>
                  </a:lnTo>
                  <a:lnTo>
                    <a:pt x="193972" y="336245"/>
                  </a:lnTo>
                  <a:lnTo>
                    <a:pt x="193730" y="334974"/>
                  </a:lnTo>
                  <a:lnTo>
                    <a:pt x="194577" y="332100"/>
                  </a:lnTo>
                  <a:lnTo>
                    <a:pt x="196241" y="328742"/>
                  </a:lnTo>
                  <a:lnTo>
                    <a:pt x="196604" y="327018"/>
                  </a:lnTo>
                  <a:lnTo>
                    <a:pt x="195606" y="326292"/>
                  </a:lnTo>
                  <a:lnTo>
                    <a:pt x="181206" y="323358"/>
                  </a:lnTo>
                  <a:lnTo>
                    <a:pt x="178665" y="320756"/>
                  </a:lnTo>
                  <a:lnTo>
                    <a:pt x="181115" y="320211"/>
                  </a:lnTo>
                  <a:lnTo>
                    <a:pt x="186409" y="320514"/>
                  </a:lnTo>
                  <a:lnTo>
                    <a:pt x="189041" y="319546"/>
                  </a:lnTo>
                  <a:lnTo>
                    <a:pt x="189737" y="318699"/>
                  </a:lnTo>
                  <a:lnTo>
                    <a:pt x="190372" y="317580"/>
                  </a:lnTo>
                  <a:lnTo>
                    <a:pt x="191189" y="316612"/>
                  </a:lnTo>
                  <a:lnTo>
                    <a:pt x="192490" y="316218"/>
                  </a:lnTo>
                  <a:lnTo>
                    <a:pt x="202261" y="315795"/>
                  </a:lnTo>
                  <a:lnTo>
                    <a:pt x="203532" y="316218"/>
                  </a:lnTo>
                  <a:lnTo>
                    <a:pt x="204470" y="317307"/>
                  </a:lnTo>
                  <a:lnTo>
                    <a:pt x="204893" y="318517"/>
                  </a:lnTo>
                  <a:lnTo>
                    <a:pt x="205196" y="319727"/>
                  </a:lnTo>
                  <a:lnTo>
                    <a:pt x="205649" y="320786"/>
                  </a:lnTo>
                  <a:lnTo>
                    <a:pt x="207222" y="323055"/>
                  </a:lnTo>
                  <a:lnTo>
                    <a:pt x="208160" y="323842"/>
                  </a:lnTo>
                  <a:lnTo>
                    <a:pt x="209400" y="324144"/>
                  </a:lnTo>
                  <a:lnTo>
                    <a:pt x="210338" y="323781"/>
                  </a:lnTo>
                  <a:lnTo>
                    <a:pt x="210853" y="322964"/>
                  </a:lnTo>
                  <a:lnTo>
                    <a:pt x="211185" y="322148"/>
                  </a:lnTo>
                  <a:lnTo>
                    <a:pt x="212062" y="320937"/>
                  </a:lnTo>
                  <a:lnTo>
                    <a:pt x="211699" y="319183"/>
                  </a:lnTo>
                  <a:lnTo>
                    <a:pt x="210943" y="317549"/>
                  </a:lnTo>
                  <a:lnTo>
                    <a:pt x="210459" y="317126"/>
                  </a:lnTo>
                  <a:lnTo>
                    <a:pt x="211155" y="316158"/>
                  </a:lnTo>
                  <a:lnTo>
                    <a:pt x="212335" y="315129"/>
                  </a:lnTo>
                  <a:lnTo>
                    <a:pt x="213424" y="314464"/>
                  </a:lnTo>
                  <a:lnTo>
                    <a:pt x="213908" y="314464"/>
                  </a:lnTo>
                  <a:lnTo>
                    <a:pt x="214301" y="313314"/>
                  </a:lnTo>
                  <a:lnTo>
                    <a:pt x="216691" y="310410"/>
                  </a:lnTo>
                  <a:lnTo>
                    <a:pt x="217084" y="309018"/>
                  </a:lnTo>
                  <a:lnTo>
                    <a:pt x="217236" y="307748"/>
                  </a:lnTo>
                  <a:lnTo>
                    <a:pt x="217327" y="304874"/>
                  </a:lnTo>
                  <a:lnTo>
                    <a:pt x="217145" y="300699"/>
                  </a:lnTo>
                  <a:lnTo>
                    <a:pt x="217387" y="298582"/>
                  </a:lnTo>
                  <a:lnTo>
                    <a:pt x="219898" y="293378"/>
                  </a:lnTo>
                  <a:lnTo>
                    <a:pt x="219414" y="292199"/>
                  </a:lnTo>
                  <a:lnTo>
                    <a:pt x="217629" y="292410"/>
                  </a:lnTo>
                  <a:lnTo>
                    <a:pt x="215209" y="293499"/>
                  </a:lnTo>
                  <a:lnTo>
                    <a:pt x="217024" y="290202"/>
                  </a:lnTo>
                  <a:lnTo>
                    <a:pt x="218264" y="287298"/>
                  </a:lnTo>
                  <a:lnTo>
                    <a:pt x="218688" y="284091"/>
                  </a:lnTo>
                  <a:lnTo>
                    <a:pt x="218022" y="279886"/>
                  </a:lnTo>
                  <a:lnTo>
                    <a:pt x="216449" y="276498"/>
                  </a:lnTo>
                  <a:lnTo>
                    <a:pt x="214785" y="274229"/>
                  </a:lnTo>
                  <a:lnTo>
                    <a:pt x="214120" y="271779"/>
                  </a:lnTo>
                  <a:lnTo>
                    <a:pt x="215511" y="267877"/>
                  </a:lnTo>
                  <a:lnTo>
                    <a:pt x="217962" y="264730"/>
                  </a:lnTo>
                  <a:lnTo>
                    <a:pt x="223407" y="260586"/>
                  </a:lnTo>
                  <a:lnTo>
                    <a:pt x="225888" y="257652"/>
                  </a:lnTo>
                  <a:lnTo>
                    <a:pt x="228580" y="252176"/>
                  </a:lnTo>
                  <a:lnTo>
                    <a:pt x="229306" y="251268"/>
                  </a:lnTo>
                  <a:lnTo>
                    <a:pt x="230697" y="251057"/>
                  </a:lnTo>
                  <a:lnTo>
                    <a:pt x="231575" y="250331"/>
                  </a:lnTo>
                  <a:lnTo>
                    <a:pt x="232119" y="248939"/>
                  </a:lnTo>
                  <a:lnTo>
                    <a:pt x="232512" y="246701"/>
                  </a:lnTo>
                  <a:lnTo>
                    <a:pt x="233874" y="247759"/>
                  </a:lnTo>
                  <a:lnTo>
                    <a:pt x="236476" y="246640"/>
                  </a:lnTo>
                  <a:lnTo>
                    <a:pt x="237595" y="247336"/>
                  </a:lnTo>
                  <a:lnTo>
                    <a:pt x="238593" y="248606"/>
                  </a:lnTo>
                  <a:lnTo>
                    <a:pt x="239924" y="249605"/>
                  </a:lnTo>
                  <a:lnTo>
                    <a:pt x="241376" y="250149"/>
                  </a:lnTo>
                  <a:lnTo>
                    <a:pt x="242737" y="250149"/>
                  </a:lnTo>
                  <a:lnTo>
                    <a:pt x="239803" y="255625"/>
                  </a:lnTo>
                  <a:lnTo>
                    <a:pt x="239682" y="257682"/>
                  </a:lnTo>
                  <a:lnTo>
                    <a:pt x="241407" y="260344"/>
                  </a:lnTo>
                  <a:lnTo>
                    <a:pt x="240045" y="262673"/>
                  </a:lnTo>
                  <a:lnTo>
                    <a:pt x="238321" y="262038"/>
                  </a:lnTo>
                  <a:lnTo>
                    <a:pt x="236566" y="260314"/>
                  </a:lnTo>
                  <a:lnTo>
                    <a:pt x="235144" y="259345"/>
                  </a:lnTo>
                  <a:lnTo>
                    <a:pt x="233238" y="260011"/>
                  </a:lnTo>
                  <a:lnTo>
                    <a:pt x="229881" y="262522"/>
                  </a:lnTo>
                  <a:lnTo>
                    <a:pt x="227642" y="262734"/>
                  </a:lnTo>
                  <a:lnTo>
                    <a:pt x="229820" y="265305"/>
                  </a:lnTo>
                  <a:lnTo>
                    <a:pt x="231363" y="267634"/>
                  </a:lnTo>
                  <a:lnTo>
                    <a:pt x="233087" y="268935"/>
                  </a:lnTo>
                  <a:lnTo>
                    <a:pt x="235901" y="268421"/>
                  </a:lnTo>
                  <a:lnTo>
                    <a:pt x="238139" y="267060"/>
                  </a:lnTo>
                  <a:lnTo>
                    <a:pt x="239047" y="266908"/>
                  </a:lnTo>
                  <a:lnTo>
                    <a:pt x="243222" y="268058"/>
                  </a:lnTo>
                  <a:lnTo>
                    <a:pt x="244099" y="268935"/>
                  </a:lnTo>
                  <a:lnTo>
                    <a:pt x="244825" y="270781"/>
                  </a:lnTo>
                  <a:lnTo>
                    <a:pt x="243887" y="271113"/>
                  </a:lnTo>
                  <a:lnTo>
                    <a:pt x="242193" y="272263"/>
                  </a:lnTo>
                  <a:lnTo>
                    <a:pt x="241407" y="273049"/>
                  </a:lnTo>
                  <a:lnTo>
                    <a:pt x="242133" y="274683"/>
                  </a:lnTo>
                  <a:lnTo>
                    <a:pt x="243131" y="277859"/>
                  </a:lnTo>
                  <a:lnTo>
                    <a:pt x="244160" y="279251"/>
                  </a:lnTo>
                  <a:lnTo>
                    <a:pt x="245400" y="279674"/>
                  </a:lnTo>
                  <a:lnTo>
                    <a:pt x="247124" y="279493"/>
                  </a:lnTo>
                  <a:lnTo>
                    <a:pt x="248727" y="278767"/>
                  </a:lnTo>
                  <a:lnTo>
                    <a:pt x="249695" y="277617"/>
                  </a:lnTo>
                  <a:lnTo>
                    <a:pt x="249272" y="274834"/>
                  </a:lnTo>
                  <a:lnTo>
                    <a:pt x="247941" y="270599"/>
                  </a:lnTo>
                  <a:lnTo>
                    <a:pt x="247245" y="266727"/>
                  </a:lnTo>
                  <a:lnTo>
                    <a:pt x="250452" y="263248"/>
                  </a:lnTo>
                  <a:lnTo>
                    <a:pt x="252721" y="259618"/>
                  </a:lnTo>
                  <a:lnTo>
                    <a:pt x="255201" y="256865"/>
                  </a:lnTo>
                  <a:lnTo>
                    <a:pt x="257621" y="257682"/>
                  </a:lnTo>
                  <a:lnTo>
                    <a:pt x="258831" y="258529"/>
                  </a:lnTo>
                  <a:lnTo>
                    <a:pt x="260132" y="258741"/>
                  </a:lnTo>
                  <a:lnTo>
                    <a:pt x="261161" y="259406"/>
                  </a:lnTo>
                  <a:lnTo>
                    <a:pt x="261433" y="261614"/>
                  </a:lnTo>
                  <a:lnTo>
                    <a:pt x="260919" y="263702"/>
                  </a:lnTo>
                  <a:lnTo>
                    <a:pt x="259860" y="264609"/>
                  </a:lnTo>
                  <a:lnTo>
                    <a:pt x="257289" y="265003"/>
                  </a:lnTo>
                  <a:lnTo>
                    <a:pt x="259618" y="268844"/>
                  </a:lnTo>
                  <a:lnTo>
                    <a:pt x="263127" y="271234"/>
                  </a:lnTo>
                  <a:lnTo>
                    <a:pt x="266303" y="270629"/>
                  </a:lnTo>
                  <a:lnTo>
                    <a:pt x="267725" y="265577"/>
                  </a:lnTo>
                  <a:lnTo>
                    <a:pt x="267453" y="260404"/>
                  </a:lnTo>
                  <a:lnTo>
                    <a:pt x="267998" y="258196"/>
                  </a:lnTo>
                  <a:lnTo>
                    <a:pt x="269782" y="255927"/>
                  </a:lnTo>
                  <a:lnTo>
                    <a:pt x="274471" y="252932"/>
                  </a:lnTo>
                  <a:lnTo>
                    <a:pt x="283728" y="240741"/>
                  </a:lnTo>
                  <a:lnTo>
                    <a:pt x="284848" y="237050"/>
                  </a:lnTo>
                  <a:lnTo>
                    <a:pt x="284938" y="233117"/>
                  </a:lnTo>
                  <a:lnTo>
                    <a:pt x="285422" y="228670"/>
                  </a:lnTo>
                  <a:lnTo>
                    <a:pt x="286693" y="224828"/>
                  </a:lnTo>
                  <a:lnTo>
                    <a:pt x="289022" y="222711"/>
                  </a:lnTo>
                  <a:lnTo>
                    <a:pt x="289022" y="221683"/>
                  </a:lnTo>
                  <a:lnTo>
                    <a:pt x="282790" y="215874"/>
                  </a:lnTo>
                  <a:lnTo>
                    <a:pt x="279554" y="210610"/>
                  </a:lnTo>
                  <a:lnTo>
                    <a:pt x="278041" y="209037"/>
                  </a:lnTo>
                  <a:lnTo>
                    <a:pt x="274744" y="207343"/>
                  </a:lnTo>
                  <a:lnTo>
                    <a:pt x="271386" y="206980"/>
                  </a:lnTo>
                  <a:lnTo>
                    <a:pt x="247487" y="210459"/>
                  </a:lnTo>
                  <a:lnTo>
                    <a:pt x="239259" y="209582"/>
                  </a:lnTo>
                  <a:lnTo>
                    <a:pt x="231726" y="205589"/>
                  </a:lnTo>
                  <a:lnTo>
                    <a:pt x="228761" y="203289"/>
                  </a:lnTo>
                  <a:lnTo>
                    <a:pt x="228307" y="202745"/>
                  </a:lnTo>
                  <a:lnTo>
                    <a:pt x="228217" y="201686"/>
                  </a:lnTo>
                  <a:lnTo>
                    <a:pt x="227672" y="198086"/>
                  </a:lnTo>
                  <a:lnTo>
                    <a:pt x="227309" y="197028"/>
                  </a:lnTo>
                  <a:lnTo>
                    <a:pt x="225252" y="195787"/>
                  </a:lnTo>
                  <a:lnTo>
                    <a:pt x="223467" y="196876"/>
                  </a:lnTo>
                  <a:lnTo>
                    <a:pt x="220140" y="201021"/>
                  </a:lnTo>
                  <a:lnTo>
                    <a:pt x="215904" y="203986"/>
                  </a:lnTo>
                  <a:lnTo>
                    <a:pt x="214906" y="206224"/>
                  </a:lnTo>
                  <a:lnTo>
                    <a:pt x="214574" y="210822"/>
                  </a:lnTo>
                  <a:lnTo>
                    <a:pt x="214694" y="217175"/>
                  </a:lnTo>
                  <a:lnTo>
                    <a:pt x="213545" y="218052"/>
                  </a:lnTo>
                  <a:lnTo>
                    <a:pt x="210459" y="218204"/>
                  </a:lnTo>
                  <a:lnTo>
                    <a:pt x="211699" y="216842"/>
                  </a:lnTo>
                  <a:lnTo>
                    <a:pt x="212849" y="214634"/>
                  </a:lnTo>
                  <a:lnTo>
                    <a:pt x="213303" y="212214"/>
                  </a:lnTo>
                  <a:lnTo>
                    <a:pt x="212547" y="210308"/>
                  </a:lnTo>
                  <a:lnTo>
                    <a:pt x="212879" y="208795"/>
                  </a:lnTo>
                  <a:lnTo>
                    <a:pt x="213575" y="203350"/>
                  </a:lnTo>
                  <a:lnTo>
                    <a:pt x="214483" y="202957"/>
                  </a:lnTo>
                  <a:lnTo>
                    <a:pt x="219474" y="197754"/>
                  </a:lnTo>
                  <a:lnTo>
                    <a:pt x="226251" y="192944"/>
                  </a:lnTo>
                  <a:lnTo>
                    <a:pt x="228005" y="188164"/>
                  </a:lnTo>
                  <a:lnTo>
                    <a:pt x="227491" y="182598"/>
                  </a:lnTo>
                  <a:lnTo>
                    <a:pt x="225646" y="178877"/>
                  </a:lnTo>
                  <a:lnTo>
                    <a:pt x="223225" y="179724"/>
                  </a:lnTo>
                  <a:lnTo>
                    <a:pt x="220533" y="181267"/>
                  </a:lnTo>
                  <a:lnTo>
                    <a:pt x="216358" y="181509"/>
                  </a:lnTo>
                  <a:lnTo>
                    <a:pt x="211458" y="180631"/>
                  </a:lnTo>
                  <a:lnTo>
                    <a:pt x="209703" y="180329"/>
                  </a:lnTo>
                  <a:lnTo>
                    <a:pt x="210217" y="178756"/>
                  </a:lnTo>
                  <a:lnTo>
                    <a:pt x="210459" y="178120"/>
                  </a:lnTo>
                  <a:lnTo>
                    <a:pt x="207162" y="177122"/>
                  </a:lnTo>
                  <a:lnTo>
                    <a:pt x="205559" y="177455"/>
                  </a:lnTo>
                  <a:lnTo>
                    <a:pt x="204893" y="179724"/>
                  </a:lnTo>
                  <a:lnTo>
                    <a:pt x="204470" y="180813"/>
                  </a:lnTo>
                  <a:lnTo>
                    <a:pt x="203441" y="181750"/>
                  </a:lnTo>
                  <a:lnTo>
                    <a:pt x="202201" y="182416"/>
                  </a:lnTo>
                  <a:lnTo>
                    <a:pt x="201111" y="182658"/>
                  </a:lnTo>
                  <a:lnTo>
                    <a:pt x="200476" y="182476"/>
                  </a:lnTo>
                  <a:lnTo>
                    <a:pt x="199145" y="181599"/>
                  </a:lnTo>
                  <a:lnTo>
                    <a:pt x="198329" y="181387"/>
                  </a:lnTo>
                  <a:lnTo>
                    <a:pt x="197572" y="181750"/>
                  </a:lnTo>
                  <a:lnTo>
                    <a:pt x="197391" y="182537"/>
                  </a:lnTo>
                  <a:lnTo>
                    <a:pt x="197330" y="183324"/>
                  </a:lnTo>
                  <a:lnTo>
                    <a:pt x="196997" y="183687"/>
                  </a:lnTo>
                  <a:lnTo>
                    <a:pt x="195515" y="184050"/>
                  </a:lnTo>
                  <a:lnTo>
                    <a:pt x="192157" y="185986"/>
                  </a:lnTo>
                  <a:lnTo>
                    <a:pt x="177031" y="190282"/>
                  </a:lnTo>
                  <a:lnTo>
                    <a:pt x="172463" y="189525"/>
                  </a:lnTo>
                  <a:lnTo>
                    <a:pt x="172463" y="188376"/>
                  </a:lnTo>
                  <a:lnTo>
                    <a:pt x="186500" y="186500"/>
                  </a:lnTo>
                  <a:lnTo>
                    <a:pt x="191068" y="183354"/>
                  </a:lnTo>
                  <a:lnTo>
                    <a:pt x="194759" y="182113"/>
                  </a:lnTo>
                  <a:lnTo>
                    <a:pt x="197844" y="179754"/>
                  </a:lnTo>
                  <a:lnTo>
                    <a:pt x="199387" y="179058"/>
                  </a:lnTo>
                  <a:lnTo>
                    <a:pt x="201021" y="178786"/>
                  </a:lnTo>
                  <a:lnTo>
                    <a:pt x="201959" y="178423"/>
                  </a:lnTo>
                  <a:lnTo>
                    <a:pt x="204197" y="176759"/>
                  </a:lnTo>
                  <a:lnTo>
                    <a:pt x="206739" y="175700"/>
                  </a:lnTo>
                  <a:lnTo>
                    <a:pt x="208917" y="176093"/>
                  </a:lnTo>
                  <a:lnTo>
                    <a:pt x="210822" y="177425"/>
                  </a:lnTo>
                  <a:lnTo>
                    <a:pt x="212516" y="179088"/>
                  </a:lnTo>
                  <a:lnTo>
                    <a:pt x="214331" y="177455"/>
                  </a:lnTo>
                  <a:lnTo>
                    <a:pt x="215935" y="176789"/>
                  </a:lnTo>
                  <a:lnTo>
                    <a:pt x="220442" y="176789"/>
                  </a:lnTo>
                  <a:lnTo>
                    <a:pt x="221713" y="177062"/>
                  </a:lnTo>
                  <a:lnTo>
                    <a:pt x="224073" y="178090"/>
                  </a:lnTo>
                  <a:lnTo>
                    <a:pt x="224889" y="178030"/>
                  </a:lnTo>
                  <a:lnTo>
                    <a:pt x="226281" y="176547"/>
                  </a:lnTo>
                  <a:lnTo>
                    <a:pt x="226039" y="175428"/>
                  </a:lnTo>
                  <a:lnTo>
                    <a:pt x="225071" y="174430"/>
                  </a:lnTo>
                  <a:lnTo>
                    <a:pt x="224224" y="173311"/>
                  </a:lnTo>
                  <a:lnTo>
                    <a:pt x="221743" y="166171"/>
                  </a:lnTo>
                  <a:lnTo>
                    <a:pt x="221047" y="162601"/>
                  </a:lnTo>
                  <a:lnTo>
                    <a:pt x="220594" y="155795"/>
                  </a:lnTo>
                  <a:lnTo>
                    <a:pt x="219505" y="147173"/>
                  </a:lnTo>
                  <a:lnTo>
                    <a:pt x="218779" y="144420"/>
                  </a:lnTo>
                  <a:lnTo>
                    <a:pt x="219111" y="143180"/>
                  </a:lnTo>
                  <a:lnTo>
                    <a:pt x="219656" y="138552"/>
                  </a:lnTo>
                  <a:lnTo>
                    <a:pt x="220140" y="136313"/>
                  </a:lnTo>
                  <a:lnTo>
                    <a:pt x="220745" y="134921"/>
                  </a:lnTo>
                  <a:lnTo>
                    <a:pt x="223558" y="131684"/>
                  </a:lnTo>
                  <a:lnTo>
                    <a:pt x="221683" y="130717"/>
                  </a:lnTo>
                  <a:lnTo>
                    <a:pt x="213545" y="130535"/>
                  </a:lnTo>
                  <a:lnTo>
                    <a:pt x="211336" y="129809"/>
                  </a:lnTo>
                  <a:lnTo>
                    <a:pt x="207465" y="126542"/>
                  </a:lnTo>
                  <a:lnTo>
                    <a:pt x="204167" y="125029"/>
                  </a:lnTo>
                  <a:lnTo>
                    <a:pt x="194245" y="115349"/>
                  </a:lnTo>
                  <a:lnTo>
                    <a:pt x="192157" y="114532"/>
                  </a:lnTo>
                  <a:lnTo>
                    <a:pt x="190372" y="115349"/>
                  </a:lnTo>
                  <a:lnTo>
                    <a:pt x="188588" y="116498"/>
                  </a:lnTo>
                  <a:lnTo>
                    <a:pt x="186470" y="119039"/>
                  </a:lnTo>
                  <a:lnTo>
                    <a:pt x="184594" y="118828"/>
                  </a:lnTo>
                  <a:lnTo>
                    <a:pt x="186530" y="118374"/>
                  </a:lnTo>
                  <a:lnTo>
                    <a:pt x="189374" y="114078"/>
                  </a:lnTo>
                  <a:lnTo>
                    <a:pt x="191401" y="113019"/>
                  </a:lnTo>
                  <a:lnTo>
                    <a:pt x="193882" y="113745"/>
                  </a:lnTo>
                  <a:lnTo>
                    <a:pt x="197240" y="116922"/>
                  </a:lnTo>
                  <a:lnTo>
                    <a:pt x="201384" y="118495"/>
                  </a:lnTo>
                  <a:lnTo>
                    <a:pt x="207616" y="124727"/>
                  </a:lnTo>
                  <a:lnTo>
                    <a:pt x="216056" y="129990"/>
                  </a:lnTo>
                  <a:lnTo>
                    <a:pt x="217901" y="129476"/>
                  </a:lnTo>
                  <a:lnTo>
                    <a:pt x="219353" y="129143"/>
                  </a:lnTo>
                  <a:lnTo>
                    <a:pt x="224103" y="129204"/>
                  </a:lnTo>
                  <a:lnTo>
                    <a:pt x="225222" y="128901"/>
                  </a:lnTo>
                  <a:lnTo>
                    <a:pt x="226039" y="128236"/>
                  </a:lnTo>
                  <a:lnTo>
                    <a:pt x="226886" y="127056"/>
                  </a:lnTo>
                  <a:lnTo>
                    <a:pt x="228096" y="124364"/>
                  </a:lnTo>
                  <a:lnTo>
                    <a:pt x="230576" y="116196"/>
                  </a:lnTo>
                  <a:lnTo>
                    <a:pt x="231726" y="108875"/>
                  </a:lnTo>
                  <a:lnTo>
                    <a:pt x="233329" y="104247"/>
                  </a:lnTo>
                  <a:lnTo>
                    <a:pt x="236869" y="97349"/>
                  </a:lnTo>
                  <a:lnTo>
                    <a:pt x="239289" y="94566"/>
                  </a:lnTo>
                  <a:lnTo>
                    <a:pt x="244432" y="91057"/>
                  </a:lnTo>
                  <a:lnTo>
                    <a:pt x="246156" y="88485"/>
                  </a:lnTo>
                  <a:lnTo>
                    <a:pt x="244038" y="70970"/>
                  </a:lnTo>
                  <a:lnTo>
                    <a:pt x="244038" y="62046"/>
                  </a:lnTo>
                  <a:lnTo>
                    <a:pt x="246912" y="54483"/>
                  </a:lnTo>
                  <a:lnTo>
                    <a:pt x="243131" y="46103"/>
                  </a:lnTo>
                  <a:lnTo>
                    <a:pt x="238049" y="38964"/>
                  </a:lnTo>
                  <a:lnTo>
                    <a:pt x="235235" y="31189"/>
                  </a:lnTo>
                  <a:lnTo>
                    <a:pt x="238260" y="20843"/>
                  </a:lnTo>
                  <a:lnTo>
                    <a:pt x="246519" y="9045"/>
                  </a:lnTo>
                  <a:lnTo>
                    <a:pt x="251752" y="4356"/>
                  </a:lnTo>
                  <a:lnTo>
                    <a:pt x="257228" y="2450"/>
                  </a:lnTo>
                  <a:lnTo>
                    <a:pt x="254808" y="635"/>
                  </a:lnTo>
                  <a:lnTo>
                    <a:pt x="251904" y="0"/>
                  </a:lnTo>
                  <a:lnTo>
                    <a:pt x="248909" y="302"/>
                  </a:lnTo>
                  <a:lnTo>
                    <a:pt x="246186" y="1271"/>
                  </a:lnTo>
                  <a:lnTo>
                    <a:pt x="239501" y="5929"/>
                  </a:lnTo>
                  <a:lnTo>
                    <a:pt x="227249" y="17667"/>
                  </a:lnTo>
                  <a:lnTo>
                    <a:pt x="220109" y="22507"/>
                  </a:lnTo>
                  <a:lnTo>
                    <a:pt x="211851" y="25926"/>
                  </a:lnTo>
                  <a:lnTo>
                    <a:pt x="202806" y="27347"/>
                  </a:lnTo>
                  <a:lnTo>
                    <a:pt x="193518" y="26712"/>
                  </a:lnTo>
                  <a:lnTo>
                    <a:pt x="188648" y="27620"/>
                  </a:lnTo>
                  <a:lnTo>
                    <a:pt x="186258" y="30887"/>
                  </a:lnTo>
                  <a:lnTo>
                    <a:pt x="184927" y="31764"/>
                  </a:lnTo>
                  <a:lnTo>
                    <a:pt x="181448" y="37935"/>
                  </a:lnTo>
                  <a:lnTo>
                    <a:pt x="174521" y="45105"/>
                  </a:lnTo>
                  <a:lnTo>
                    <a:pt x="170679" y="50369"/>
                  </a:lnTo>
                  <a:lnTo>
                    <a:pt x="149019" y="87427"/>
                  </a:lnTo>
                  <a:lnTo>
                    <a:pt x="141425" y="95262"/>
                  </a:lnTo>
                  <a:lnTo>
                    <a:pt x="132804" y="100647"/>
                  </a:lnTo>
                  <a:lnTo>
                    <a:pt x="123698" y="103793"/>
                  </a:lnTo>
                  <a:lnTo>
                    <a:pt x="114562" y="104791"/>
                  </a:lnTo>
                  <a:lnTo>
                    <a:pt x="89393" y="101403"/>
                  </a:lnTo>
                  <a:lnTo>
                    <a:pt x="87578" y="102159"/>
                  </a:lnTo>
                  <a:lnTo>
                    <a:pt x="82738" y="107120"/>
                  </a:lnTo>
                  <a:lnTo>
                    <a:pt x="78684" y="109056"/>
                  </a:lnTo>
                  <a:lnTo>
                    <a:pt x="69578" y="110993"/>
                  </a:lnTo>
                  <a:lnTo>
                    <a:pt x="64859" y="110720"/>
                  </a:lnTo>
                  <a:lnTo>
                    <a:pt x="56480" y="107967"/>
                  </a:lnTo>
                  <a:lnTo>
                    <a:pt x="52879" y="107907"/>
                  </a:lnTo>
                  <a:lnTo>
                    <a:pt x="49673" y="110720"/>
                  </a:lnTo>
                  <a:lnTo>
                    <a:pt x="41354" y="122912"/>
                  </a:lnTo>
                  <a:lnTo>
                    <a:pt x="35939" y="128115"/>
                  </a:lnTo>
                  <a:lnTo>
                    <a:pt x="17909" y="155341"/>
                  </a:lnTo>
                  <a:lnTo>
                    <a:pt x="15640" y="160544"/>
                  </a:lnTo>
                  <a:lnTo>
                    <a:pt x="14460" y="167502"/>
                  </a:lnTo>
                  <a:lnTo>
                    <a:pt x="14672" y="175277"/>
                  </a:lnTo>
                  <a:lnTo>
                    <a:pt x="15428" y="178816"/>
                  </a:lnTo>
                  <a:lnTo>
                    <a:pt x="16941" y="178574"/>
                  </a:lnTo>
                  <a:lnTo>
                    <a:pt x="17183" y="176305"/>
                  </a:lnTo>
                  <a:lnTo>
                    <a:pt x="16669" y="172675"/>
                  </a:lnTo>
                  <a:lnTo>
                    <a:pt x="15217" y="166474"/>
                  </a:lnTo>
                  <a:lnTo>
                    <a:pt x="16881" y="166594"/>
                  </a:lnTo>
                  <a:lnTo>
                    <a:pt x="19724" y="168349"/>
                  </a:lnTo>
                  <a:lnTo>
                    <a:pt x="21085" y="168773"/>
                  </a:lnTo>
                  <a:lnTo>
                    <a:pt x="21721" y="169710"/>
                  </a:lnTo>
                  <a:lnTo>
                    <a:pt x="22840" y="175791"/>
                  </a:lnTo>
                  <a:lnTo>
                    <a:pt x="24141" y="178120"/>
                  </a:lnTo>
                  <a:lnTo>
                    <a:pt x="26137" y="180722"/>
                  </a:lnTo>
                  <a:lnTo>
                    <a:pt x="28255" y="182870"/>
                  </a:lnTo>
                  <a:lnTo>
                    <a:pt x="30040" y="183747"/>
                  </a:lnTo>
                  <a:lnTo>
                    <a:pt x="32611" y="184231"/>
                  </a:lnTo>
                  <a:lnTo>
                    <a:pt x="35425" y="185592"/>
                  </a:lnTo>
                  <a:lnTo>
                    <a:pt x="37694" y="187619"/>
                  </a:lnTo>
                  <a:lnTo>
                    <a:pt x="38601" y="190130"/>
                  </a:lnTo>
                  <a:lnTo>
                    <a:pt x="39660" y="192127"/>
                  </a:lnTo>
                  <a:lnTo>
                    <a:pt x="42140" y="195182"/>
                  </a:lnTo>
                  <a:lnTo>
                    <a:pt x="44954" y="197572"/>
                  </a:lnTo>
                  <a:lnTo>
                    <a:pt x="46981" y="197512"/>
                  </a:lnTo>
                  <a:lnTo>
                    <a:pt x="45710" y="196755"/>
                  </a:lnTo>
                  <a:lnTo>
                    <a:pt x="45710" y="196059"/>
                  </a:lnTo>
                  <a:lnTo>
                    <a:pt x="46557" y="195515"/>
                  </a:lnTo>
                  <a:lnTo>
                    <a:pt x="47979" y="195303"/>
                  </a:lnTo>
                  <a:lnTo>
                    <a:pt x="49310" y="194759"/>
                  </a:lnTo>
                  <a:lnTo>
                    <a:pt x="50338" y="193579"/>
                  </a:lnTo>
                  <a:lnTo>
                    <a:pt x="51821" y="191129"/>
                  </a:lnTo>
                  <a:lnTo>
                    <a:pt x="51125" y="189525"/>
                  </a:lnTo>
                  <a:lnTo>
                    <a:pt x="49612" y="187287"/>
                  </a:lnTo>
                  <a:lnTo>
                    <a:pt x="49612" y="185865"/>
                  </a:lnTo>
                  <a:lnTo>
                    <a:pt x="49885" y="182658"/>
                  </a:lnTo>
                  <a:lnTo>
                    <a:pt x="49612" y="181418"/>
                  </a:lnTo>
                  <a:lnTo>
                    <a:pt x="48130" y="180873"/>
                  </a:lnTo>
                  <a:lnTo>
                    <a:pt x="41021" y="183717"/>
                  </a:lnTo>
                  <a:lnTo>
                    <a:pt x="40023" y="183384"/>
                  </a:lnTo>
                  <a:lnTo>
                    <a:pt x="37905" y="181841"/>
                  </a:lnTo>
                  <a:lnTo>
                    <a:pt x="36453" y="181418"/>
                  </a:lnTo>
                  <a:lnTo>
                    <a:pt x="31643" y="182658"/>
                  </a:lnTo>
                  <a:lnTo>
                    <a:pt x="31643" y="181418"/>
                  </a:lnTo>
                  <a:lnTo>
                    <a:pt x="32914" y="180964"/>
                  </a:lnTo>
                  <a:lnTo>
                    <a:pt x="34941" y="179451"/>
                  </a:lnTo>
                  <a:lnTo>
                    <a:pt x="36120" y="179119"/>
                  </a:lnTo>
                  <a:lnTo>
                    <a:pt x="37421" y="179482"/>
                  </a:lnTo>
                  <a:lnTo>
                    <a:pt x="39781" y="181055"/>
                  </a:lnTo>
                  <a:lnTo>
                    <a:pt x="40961" y="181387"/>
                  </a:lnTo>
                  <a:lnTo>
                    <a:pt x="42261" y="181115"/>
                  </a:lnTo>
                  <a:lnTo>
                    <a:pt x="43562" y="180268"/>
                  </a:lnTo>
                  <a:lnTo>
                    <a:pt x="44167" y="178846"/>
                  </a:lnTo>
                  <a:lnTo>
                    <a:pt x="43411" y="176789"/>
                  </a:lnTo>
                  <a:lnTo>
                    <a:pt x="42473" y="176426"/>
                  </a:lnTo>
                  <a:lnTo>
                    <a:pt x="38450" y="176789"/>
                  </a:lnTo>
                  <a:lnTo>
                    <a:pt x="38450" y="175761"/>
                  </a:lnTo>
                  <a:lnTo>
                    <a:pt x="39962" y="174218"/>
                  </a:lnTo>
                  <a:lnTo>
                    <a:pt x="40053" y="171556"/>
                  </a:lnTo>
                  <a:lnTo>
                    <a:pt x="39176" y="165838"/>
                  </a:lnTo>
                  <a:lnTo>
                    <a:pt x="39932" y="163630"/>
                  </a:lnTo>
                  <a:lnTo>
                    <a:pt x="41596" y="162480"/>
                  </a:lnTo>
                  <a:lnTo>
                    <a:pt x="43260" y="161845"/>
                  </a:lnTo>
                  <a:lnTo>
                    <a:pt x="44016" y="161180"/>
                  </a:lnTo>
                  <a:lnTo>
                    <a:pt x="44470" y="160211"/>
                  </a:lnTo>
                  <a:lnTo>
                    <a:pt x="45559" y="159728"/>
                  </a:lnTo>
                  <a:lnTo>
                    <a:pt x="47828" y="159546"/>
                  </a:lnTo>
                  <a:lnTo>
                    <a:pt x="51004" y="154948"/>
                  </a:lnTo>
                  <a:lnTo>
                    <a:pt x="51670" y="154252"/>
                  </a:lnTo>
                  <a:lnTo>
                    <a:pt x="52153" y="153405"/>
                  </a:lnTo>
                  <a:lnTo>
                    <a:pt x="52335" y="151953"/>
                  </a:lnTo>
                  <a:lnTo>
                    <a:pt x="52456" y="151560"/>
                  </a:lnTo>
                  <a:lnTo>
                    <a:pt x="53031" y="146750"/>
                  </a:lnTo>
                  <a:lnTo>
                    <a:pt x="54332" y="144874"/>
                  </a:lnTo>
                  <a:lnTo>
                    <a:pt x="55905" y="143362"/>
                  </a:lnTo>
                  <a:lnTo>
                    <a:pt x="57266" y="141365"/>
                  </a:lnTo>
                  <a:lnTo>
                    <a:pt x="57810" y="138068"/>
                  </a:lnTo>
                  <a:lnTo>
                    <a:pt x="58899" y="136827"/>
                  </a:lnTo>
                  <a:lnTo>
                    <a:pt x="61259" y="135829"/>
                  </a:lnTo>
                  <a:lnTo>
                    <a:pt x="63619" y="135345"/>
                  </a:lnTo>
                  <a:lnTo>
                    <a:pt x="67219" y="136313"/>
                  </a:lnTo>
                  <a:lnTo>
                    <a:pt x="72210" y="133863"/>
                  </a:lnTo>
                  <a:lnTo>
                    <a:pt x="75871" y="130717"/>
                  </a:lnTo>
                  <a:lnTo>
                    <a:pt x="74389" y="129234"/>
                  </a:lnTo>
                  <a:lnTo>
                    <a:pt x="76113" y="128145"/>
                  </a:lnTo>
                  <a:lnTo>
                    <a:pt x="78412" y="127903"/>
                  </a:lnTo>
                  <a:lnTo>
                    <a:pt x="80409" y="128780"/>
                  </a:lnTo>
                  <a:lnTo>
                    <a:pt x="81286" y="131049"/>
                  </a:lnTo>
                  <a:lnTo>
                    <a:pt x="82042" y="130717"/>
                  </a:lnTo>
                  <a:lnTo>
                    <a:pt x="83797" y="128690"/>
                  </a:lnTo>
                  <a:lnTo>
                    <a:pt x="85854" y="126814"/>
                  </a:lnTo>
                  <a:lnTo>
                    <a:pt x="87487" y="126965"/>
                  </a:lnTo>
                  <a:lnTo>
                    <a:pt x="89151" y="125241"/>
                  </a:lnTo>
                  <a:lnTo>
                    <a:pt x="90875" y="123970"/>
                  </a:lnTo>
                  <a:lnTo>
                    <a:pt x="92600" y="123607"/>
                  </a:lnTo>
                  <a:lnTo>
                    <a:pt x="94415" y="124696"/>
                  </a:lnTo>
                  <a:lnTo>
                    <a:pt x="93779" y="125755"/>
                  </a:lnTo>
                  <a:lnTo>
                    <a:pt x="95474" y="125755"/>
                  </a:lnTo>
                  <a:lnTo>
                    <a:pt x="96744" y="125150"/>
                  </a:lnTo>
                  <a:lnTo>
                    <a:pt x="99195" y="123426"/>
                  </a:lnTo>
                  <a:lnTo>
                    <a:pt x="102522" y="122155"/>
                  </a:lnTo>
                  <a:lnTo>
                    <a:pt x="103339" y="121006"/>
                  </a:lnTo>
                  <a:lnTo>
                    <a:pt x="102704" y="118767"/>
                  </a:lnTo>
                  <a:lnTo>
                    <a:pt x="113957" y="127510"/>
                  </a:lnTo>
                  <a:lnTo>
                    <a:pt x="115863" y="128296"/>
                  </a:lnTo>
                  <a:lnTo>
                    <a:pt x="117860" y="128115"/>
                  </a:lnTo>
                  <a:lnTo>
                    <a:pt x="140881" y="120431"/>
                  </a:lnTo>
                  <a:lnTo>
                    <a:pt x="149624" y="120310"/>
                  </a:lnTo>
                  <a:lnTo>
                    <a:pt x="153677" y="118737"/>
                  </a:lnTo>
                  <a:lnTo>
                    <a:pt x="157187" y="115712"/>
                  </a:lnTo>
                  <a:lnTo>
                    <a:pt x="159093" y="115228"/>
                  </a:lnTo>
                  <a:lnTo>
                    <a:pt x="160908" y="116922"/>
                  </a:lnTo>
                  <a:lnTo>
                    <a:pt x="162783" y="118253"/>
                  </a:lnTo>
                  <a:lnTo>
                    <a:pt x="164931" y="117315"/>
                  </a:lnTo>
                  <a:lnTo>
                    <a:pt x="166867" y="115439"/>
                  </a:lnTo>
                  <a:lnTo>
                    <a:pt x="170407" y="110993"/>
                  </a:lnTo>
                  <a:lnTo>
                    <a:pt x="171223" y="110569"/>
                  </a:lnTo>
                  <a:lnTo>
                    <a:pt x="172312" y="110932"/>
                  </a:lnTo>
                  <a:lnTo>
                    <a:pt x="174339" y="112535"/>
                  </a:lnTo>
                  <a:lnTo>
                    <a:pt x="177364" y="113594"/>
                  </a:lnTo>
                  <a:lnTo>
                    <a:pt x="183324" y="118707"/>
                  </a:lnTo>
                  <a:lnTo>
                    <a:pt x="172585" y="119856"/>
                  </a:lnTo>
                  <a:lnTo>
                    <a:pt x="167775" y="118707"/>
                  </a:lnTo>
                  <a:lnTo>
                    <a:pt x="164447" y="120673"/>
                  </a:lnTo>
                  <a:lnTo>
                    <a:pt x="160514" y="122034"/>
                  </a:lnTo>
                  <a:lnTo>
                    <a:pt x="158669" y="124454"/>
                  </a:lnTo>
                  <a:lnTo>
                    <a:pt x="157005" y="127510"/>
                  </a:lnTo>
                  <a:lnTo>
                    <a:pt x="153345" y="132895"/>
                  </a:lnTo>
                  <a:lnTo>
                    <a:pt x="152376" y="133772"/>
                  </a:lnTo>
                  <a:lnTo>
                    <a:pt x="151015" y="133893"/>
                  </a:lnTo>
                  <a:lnTo>
                    <a:pt x="149654" y="133258"/>
                  </a:lnTo>
                  <a:lnTo>
                    <a:pt x="148868" y="132259"/>
                  </a:lnTo>
                  <a:lnTo>
                    <a:pt x="148958" y="131200"/>
                  </a:lnTo>
                  <a:lnTo>
                    <a:pt x="150229" y="130414"/>
                  </a:lnTo>
                  <a:lnTo>
                    <a:pt x="150229" y="129143"/>
                  </a:lnTo>
                  <a:lnTo>
                    <a:pt x="138491" y="124606"/>
                  </a:lnTo>
                  <a:lnTo>
                    <a:pt x="135164" y="124515"/>
                  </a:lnTo>
                  <a:lnTo>
                    <a:pt x="120249" y="129143"/>
                  </a:lnTo>
                  <a:lnTo>
                    <a:pt x="119917" y="129688"/>
                  </a:lnTo>
                  <a:lnTo>
                    <a:pt x="119372" y="132078"/>
                  </a:lnTo>
                  <a:lnTo>
                    <a:pt x="118828" y="132622"/>
                  </a:lnTo>
                  <a:lnTo>
                    <a:pt x="117950" y="132683"/>
                  </a:lnTo>
                  <a:lnTo>
                    <a:pt x="117194" y="132925"/>
                  </a:lnTo>
                  <a:lnTo>
                    <a:pt x="116498" y="133318"/>
                  </a:lnTo>
                  <a:lnTo>
                    <a:pt x="113382" y="136283"/>
                  </a:lnTo>
                  <a:lnTo>
                    <a:pt x="111325" y="139005"/>
                  </a:lnTo>
                  <a:lnTo>
                    <a:pt x="109450" y="142363"/>
                  </a:lnTo>
                  <a:lnTo>
                    <a:pt x="107574" y="146599"/>
                  </a:lnTo>
                  <a:lnTo>
                    <a:pt x="109208" y="148202"/>
                  </a:lnTo>
                  <a:lnTo>
                    <a:pt x="110085" y="148777"/>
                  </a:lnTo>
                  <a:lnTo>
                    <a:pt x="111265" y="149019"/>
                  </a:lnTo>
                  <a:lnTo>
                    <a:pt x="111900" y="149896"/>
                  </a:lnTo>
                  <a:lnTo>
                    <a:pt x="112384" y="151832"/>
                  </a:lnTo>
                  <a:lnTo>
                    <a:pt x="112475" y="153798"/>
                  </a:lnTo>
                  <a:lnTo>
                    <a:pt x="111991" y="154676"/>
                  </a:lnTo>
                  <a:lnTo>
                    <a:pt x="111719" y="155462"/>
                  </a:lnTo>
                  <a:lnTo>
                    <a:pt x="109420" y="158820"/>
                  </a:lnTo>
                  <a:lnTo>
                    <a:pt x="108905" y="159365"/>
                  </a:lnTo>
                  <a:lnTo>
                    <a:pt x="108784" y="161452"/>
                  </a:lnTo>
                  <a:lnTo>
                    <a:pt x="109147" y="163479"/>
                  </a:lnTo>
                  <a:lnTo>
                    <a:pt x="109722" y="165173"/>
                  </a:lnTo>
                  <a:lnTo>
                    <a:pt x="110267" y="166292"/>
                  </a:lnTo>
                  <a:lnTo>
                    <a:pt x="110962" y="167472"/>
                  </a:lnTo>
                  <a:lnTo>
                    <a:pt x="111839" y="168591"/>
                  </a:lnTo>
                  <a:lnTo>
                    <a:pt x="112868" y="169438"/>
                  </a:lnTo>
                  <a:lnTo>
                    <a:pt x="115379" y="170255"/>
                  </a:lnTo>
                  <a:lnTo>
                    <a:pt x="115591" y="171405"/>
                  </a:lnTo>
                  <a:lnTo>
                    <a:pt x="115016" y="173764"/>
                  </a:lnTo>
                  <a:lnTo>
                    <a:pt x="113957" y="176608"/>
                  </a:lnTo>
                  <a:lnTo>
                    <a:pt x="109329" y="179209"/>
                  </a:lnTo>
                  <a:lnTo>
                    <a:pt x="108209" y="181236"/>
                  </a:lnTo>
                  <a:lnTo>
                    <a:pt x="109087" y="183384"/>
                  </a:lnTo>
                  <a:lnTo>
                    <a:pt x="111204" y="183263"/>
                  </a:lnTo>
                  <a:lnTo>
                    <a:pt x="113382" y="181962"/>
                  </a:lnTo>
                  <a:lnTo>
                    <a:pt x="114381" y="180631"/>
                  </a:lnTo>
                  <a:lnTo>
                    <a:pt x="118434" y="178907"/>
                  </a:lnTo>
                  <a:lnTo>
                    <a:pt x="120431" y="178665"/>
                  </a:lnTo>
                  <a:lnTo>
                    <a:pt x="120945" y="179058"/>
                  </a:lnTo>
                  <a:lnTo>
                    <a:pt x="121913" y="180087"/>
                  </a:lnTo>
                  <a:lnTo>
                    <a:pt x="123940" y="184443"/>
                  </a:lnTo>
                  <a:lnTo>
                    <a:pt x="123940" y="184443"/>
                  </a:lnTo>
                  <a:lnTo>
                    <a:pt x="123033" y="189253"/>
                  </a:lnTo>
                  <a:lnTo>
                    <a:pt x="121369" y="194638"/>
                  </a:lnTo>
                  <a:lnTo>
                    <a:pt x="121187" y="200870"/>
                  </a:lnTo>
                  <a:lnTo>
                    <a:pt x="120915" y="200930"/>
                  </a:lnTo>
                  <a:lnTo>
                    <a:pt x="120612" y="201747"/>
                  </a:lnTo>
                  <a:lnTo>
                    <a:pt x="120673" y="202715"/>
                  </a:lnTo>
                  <a:lnTo>
                    <a:pt x="121550" y="203169"/>
                  </a:lnTo>
                  <a:lnTo>
                    <a:pt x="122609" y="203259"/>
                  </a:lnTo>
                  <a:lnTo>
                    <a:pt x="123063" y="203108"/>
                  </a:lnTo>
                  <a:lnTo>
                    <a:pt x="123275" y="202594"/>
                  </a:lnTo>
                  <a:lnTo>
                    <a:pt x="126391" y="200870"/>
                  </a:lnTo>
                  <a:lnTo>
                    <a:pt x="128659" y="201989"/>
                  </a:lnTo>
                  <a:lnTo>
                    <a:pt x="128659" y="204106"/>
                  </a:lnTo>
                  <a:lnTo>
                    <a:pt x="127449" y="205438"/>
                  </a:lnTo>
                  <a:lnTo>
                    <a:pt x="126028" y="204197"/>
                  </a:lnTo>
                  <a:lnTo>
                    <a:pt x="125423" y="205044"/>
                  </a:lnTo>
                  <a:lnTo>
                    <a:pt x="123970" y="207857"/>
                  </a:lnTo>
                  <a:lnTo>
                    <a:pt x="122972" y="207767"/>
                  </a:lnTo>
                  <a:lnTo>
                    <a:pt x="122549" y="207071"/>
                  </a:lnTo>
                  <a:lnTo>
                    <a:pt x="122307" y="206164"/>
                  </a:lnTo>
                  <a:lnTo>
                    <a:pt x="121913" y="205468"/>
                  </a:lnTo>
                  <a:lnTo>
                    <a:pt x="119372" y="204106"/>
                  </a:lnTo>
                  <a:lnTo>
                    <a:pt x="118404" y="203199"/>
                  </a:lnTo>
                  <a:lnTo>
                    <a:pt x="117708" y="201928"/>
                  </a:lnTo>
                  <a:lnTo>
                    <a:pt x="117648" y="200900"/>
                  </a:lnTo>
                  <a:lnTo>
                    <a:pt x="117436" y="200144"/>
                  </a:lnTo>
                  <a:lnTo>
                    <a:pt x="116317" y="199750"/>
                  </a:lnTo>
                  <a:lnTo>
                    <a:pt x="117224" y="197542"/>
                  </a:lnTo>
                  <a:lnTo>
                    <a:pt x="119523" y="194426"/>
                  </a:lnTo>
                  <a:lnTo>
                    <a:pt x="119826" y="192792"/>
                  </a:lnTo>
                  <a:lnTo>
                    <a:pt x="118919" y="190675"/>
                  </a:lnTo>
                  <a:lnTo>
                    <a:pt x="117527" y="190554"/>
                  </a:lnTo>
                  <a:lnTo>
                    <a:pt x="115984" y="190826"/>
                  </a:lnTo>
                  <a:lnTo>
                    <a:pt x="114623" y="189949"/>
                  </a:lnTo>
                  <a:lnTo>
                    <a:pt x="112354" y="189676"/>
                  </a:lnTo>
                  <a:lnTo>
                    <a:pt x="108754" y="190251"/>
                  </a:lnTo>
                  <a:lnTo>
                    <a:pt x="106122" y="189676"/>
                  </a:lnTo>
                  <a:lnTo>
                    <a:pt x="106727" y="185895"/>
                  </a:lnTo>
                  <a:lnTo>
                    <a:pt x="106031" y="185895"/>
                  </a:lnTo>
                  <a:lnTo>
                    <a:pt x="105547" y="188194"/>
                  </a:lnTo>
                  <a:lnTo>
                    <a:pt x="104852" y="189646"/>
                  </a:lnTo>
                  <a:lnTo>
                    <a:pt x="104065" y="190947"/>
                  </a:lnTo>
                  <a:lnTo>
                    <a:pt x="103309" y="192792"/>
                  </a:lnTo>
                  <a:lnTo>
                    <a:pt x="104337" y="192036"/>
                  </a:lnTo>
                  <a:lnTo>
                    <a:pt x="105305" y="191824"/>
                  </a:lnTo>
                  <a:lnTo>
                    <a:pt x="106122" y="192429"/>
                  </a:lnTo>
                  <a:lnTo>
                    <a:pt x="106757" y="194033"/>
                  </a:lnTo>
                  <a:lnTo>
                    <a:pt x="105154" y="194365"/>
                  </a:lnTo>
                  <a:lnTo>
                    <a:pt x="103339" y="194033"/>
                  </a:lnTo>
                  <a:lnTo>
                    <a:pt x="101857" y="194396"/>
                  </a:lnTo>
                  <a:lnTo>
                    <a:pt x="100525" y="199871"/>
                  </a:lnTo>
                  <a:lnTo>
                    <a:pt x="98862" y="201656"/>
                  </a:lnTo>
                  <a:lnTo>
                    <a:pt x="97198" y="201928"/>
                  </a:lnTo>
                  <a:lnTo>
                    <a:pt x="96442" y="200325"/>
                  </a:lnTo>
                  <a:lnTo>
                    <a:pt x="96018" y="195001"/>
                  </a:lnTo>
                  <a:lnTo>
                    <a:pt x="96139" y="192883"/>
                  </a:lnTo>
                  <a:lnTo>
                    <a:pt x="97077" y="190493"/>
                  </a:lnTo>
                  <a:lnTo>
                    <a:pt x="99830" y="187861"/>
                  </a:lnTo>
                  <a:lnTo>
                    <a:pt x="100919" y="186379"/>
                  </a:lnTo>
                  <a:lnTo>
                    <a:pt x="100495" y="184836"/>
                  </a:lnTo>
                  <a:lnTo>
                    <a:pt x="100495" y="183596"/>
                  </a:lnTo>
                  <a:lnTo>
                    <a:pt x="103037" y="182961"/>
                  </a:lnTo>
                  <a:lnTo>
                    <a:pt x="106001" y="178605"/>
                  </a:lnTo>
                  <a:lnTo>
                    <a:pt x="108814" y="177969"/>
                  </a:lnTo>
                  <a:lnTo>
                    <a:pt x="107483" y="174430"/>
                  </a:lnTo>
                  <a:lnTo>
                    <a:pt x="106243" y="172524"/>
                  </a:lnTo>
                  <a:lnTo>
                    <a:pt x="104610" y="170890"/>
                  </a:lnTo>
                  <a:lnTo>
                    <a:pt x="103188" y="168531"/>
                  </a:lnTo>
                  <a:lnTo>
                    <a:pt x="102583" y="164598"/>
                  </a:lnTo>
                  <a:lnTo>
                    <a:pt x="101736" y="162541"/>
                  </a:lnTo>
                  <a:lnTo>
                    <a:pt x="99739" y="161149"/>
                  </a:lnTo>
                  <a:lnTo>
                    <a:pt x="97440" y="160454"/>
                  </a:lnTo>
                  <a:lnTo>
                    <a:pt x="95685" y="160514"/>
                  </a:lnTo>
                  <a:lnTo>
                    <a:pt x="94899" y="161149"/>
                  </a:lnTo>
                  <a:lnTo>
                    <a:pt x="94415" y="161936"/>
                  </a:lnTo>
                  <a:lnTo>
                    <a:pt x="93810" y="162632"/>
                  </a:lnTo>
                  <a:lnTo>
                    <a:pt x="92630" y="162934"/>
                  </a:lnTo>
                  <a:lnTo>
                    <a:pt x="91511" y="162723"/>
                  </a:lnTo>
                  <a:lnTo>
                    <a:pt x="89665" y="161875"/>
                  </a:lnTo>
                  <a:lnTo>
                    <a:pt x="88576" y="161663"/>
                  </a:lnTo>
                  <a:lnTo>
                    <a:pt x="86701" y="162057"/>
                  </a:lnTo>
                  <a:lnTo>
                    <a:pt x="81951" y="166353"/>
                  </a:lnTo>
                  <a:lnTo>
                    <a:pt x="78745" y="168561"/>
                  </a:lnTo>
                  <a:lnTo>
                    <a:pt x="77534" y="169983"/>
                  </a:lnTo>
                  <a:lnTo>
                    <a:pt x="76052" y="172614"/>
                  </a:lnTo>
                  <a:lnTo>
                    <a:pt x="75115" y="175610"/>
                  </a:lnTo>
                  <a:lnTo>
                    <a:pt x="76143" y="176547"/>
                  </a:lnTo>
                  <a:lnTo>
                    <a:pt x="80560" y="176668"/>
                  </a:lnTo>
                  <a:lnTo>
                    <a:pt x="82950" y="177516"/>
                  </a:lnTo>
                  <a:lnTo>
                    <a:pt x="82768" y="177879"/>
                  </a:lnTo>
                  <a:lnTo>
                    <a:pt x="77202" y="178090"/>
                  </a:lnTo>
                  <a:lnTo>
                    <a:pt x="73057" y="179270"/>
                  </a:lnTo>
                  <a:lnTo>
                    <a:pt x="71545" y="180087"/>
                  </a:lnTo>
                  <a:lnTo>
                    <a:pt x="65071" y="190282"/>
                  </a:lnTo>
                  <a:lnTo>
                    <a:pt x="60473" y="190554"/>
                  </a:lnTo>
                  <a:lnTo>
                    <a:pt x="59142" y="191673"/>
                  </a:lnTo>
                  <a:lnTo>
                    <a:pt x="59142" y="193398"/>
                  </a:lnTo>
                  <a:lnTo>
                    <a:pt x="60805" y="194244"/>
                  </a:lnTo>
                  <a:lnTo>
                    <a:pt x="61259" y="195727"/>
                  </a:lnTo>
                  <a:lnTo>
                    <a:pt x="61411" y="197179"/>
                  </a:lnTo>
                  <a:lnTo>
                    <a:pt x="61864" y="198026"/>
                  </a:lnTo>
                  <a:lnTo>
                    <a:pt x="62621" y="198419"/>
                  </a:lnTo>
                  <a:lnTo>
                    <a:pt x="63649" y="198510"/>
                  </a:lnTo>
                  <a:lnTo>
                    <a:pt x="66765" y="200809"/>
                  </a:lnTo>
                  <a:lnTo>
                    <a:pt x="67279" y="202261"/>
                  </a:lnTo>
                  <a:lnTo>
                    <a:pt x="67068" y="202806"/>
                  </a:lnTo>
                  <a:lnTo>
                    <a:pt x="66523" y="203199"/>
                  </a:lnTo>
                  <a:lnTo>
                    <a:pt x="66099" y="204167"/>
                  </a:lnTo>
                  <a:lnTo>
                    <a:pt x="65494" y="207585"/>
                  </a:lnTo>
                  <a:lnTo>
                    <a:pt x="65373" y="209249"/>
                  </a:lnTo>
                  <a:lnTo>
                    <a:pt x="65373" y="211699"/>
                  </a:lnTo>
                  <a:lnTo>
                    <a:pt x="65222" y="213273"/>
                  </a:lnTo>
                  <a:lnTo>
                    <a:pt x="64859" y="214543"/>
                  </a:lnTo>
                  <a:lnTo>
                    <a:pt x="64315" y="215390"/>
                  </a:lnTo>
                  <a:lnTo>
                    <a:pt x="63649" y="215693"/>
                  </a:lnTo>
                  <a:lnTo>
                    <a:pt x="57508" y="216933"/>
                  </a:lnTo>
                  <a:lnTo>
                    <a:pt x="55784" y="216933"/>
                  </a:lnTo>
                  <a:lnTo>
                    <a:pt x="54634" y="216298"/>
                  </a:lnTo>
                  <a:lnTo>
                    <a:pt x="52668" y="213938"/>
                  </a:lnTo>
                  <a:lnTo>
                    <a:pt x="51034" y="212698"/>
                  </a:lnTo>
                  <a:lnTo>
                    <a:pt x="50369" y="211125"/>
                  </a:lnTo>
                  <a:lnTo>
                    <a:pt x="50217" y="209552"/>
                  </a:lnTo>
                  <a:lnTo>
                    <a:pt x="50611" y="208856"/>
                  </a:lnTo>
                  <a:lnTo>
                    <a:pt x="50550" y="207585"/>
                  </a:lnTo>
                  <a:lnTo>
                    <a:pt x="47495" y="199720"/>
                  </a:lnTo>
                  <a:lnTo>
                    <a:pt x="46859" y="199720"/>
                  </a:lnTo>
                  <a:lnTo>
                    <a:pt x="46103" y="201535"/>
                  </a:lnTo>
                  <a:lnTo>
                    <a:pt x="45014" y="203411"/>
                  </a:lnTo>
                  <a:lnTo>
                    <a:pt x="43714" y="204863"/>
                  </a:lnTo>
                  <a:lnTo>
                    <a:pt x="42322" y="205438"/>
                  </a:lnTo>
                  <a:lnTo>
                    <a:pt x="37331" y="201717"/>
                  </a:lnTo>
                  <a:lnTo>
                    <a:pt x="36393" y="201444"/>
                  </a:lnTo>
                  <a:lnTo>
                    <a:pt x="34456" y="199478"/>
                  </a:lnTo>
                  <a:lnTo>
                    <a:pt x="29979" y="198631"/>
                  </a:lnTo>
                  <a:lnTo>
                    <a:pt x="25079" y="198752"/>
                  </a:lnTo>
                  <a:lnTo>
                    <a:pt x="21902" y="199720"/>
                  </a:lnTo>
                  <a:lnTo>
                    <a:pt x="21902" y="200870"/>
                  </a:lnTo>
                  <a:lnTo>
                    <a:pt x="22507" y="202261"/>
                  </a:lnTo>
                  <a:lnTo>
                    <a:pt x="22205" y="203380"/>
                  </a:lnTo>
                  <a:lnTo>
                    <a:pt x="21418" y="203804"/>
                  </a:lnTo>
                  <a:lnTo>
                    <a:pt x="20511" y="203138"/>
                  </a:lnTo>
                  <a:lnTo>
                    <a:pt x="19936" y="201565"/>
                  </a:lnTo>
                  <a:lnTo>
                    <a:pt x="20208" y="198873"/>
                  </a:lnTo>
                  <a:lnTo>
                    <a:pt x="19845" y="197330"/>
                  </a:lnTo>
                  <a:lnTo>
                    <a:pt x="21297" y="196543"/>
                  </a:lnTo>
                  <a:lnTo>
                    <a:pt x="20178" y="195848"/>
                  </a:lnTo>
                  <a:lnTo>
                    <a:pt x="16064" y="195152"/>
                  </a:lnTo>
                  <a:lnTo>
                    <a:pt x="15247" y="194426"/>
                  </a:lnTo>
                  <a:lnTo>
                    <a:pt x="14702" y="192792"/>
                  </a:lnTo>
                  <a:lnTo>
                    <a:pt x="14309" y="191159"/>
                  </a:lnTo>
                  <a:lnTo>
                    <a:pt x="13946" y="190433"/>
                  </a:lnTo>
                  <a:lnTo>
                    <a:pt x="12131" y="190282"/>
                  </a:lnTo>
                  <a:lnTo>
                    <a:pt x="11465" y="189979"/>
                  </a:lnTo>
                  <a:lnTo>
                    <a:pt x="10830" y="189404"/>
                  </a:lnTo>
                  <a:lnTo>
                    <a:pt x="10830" y="188255"/>
                  </a:lnTo>
                  <a:lnTo>
                    <a:pt x="11617" y="186772"/>
                  </a:lnTo>
                  <a:lnTo>
                    <a:pt x="13855" y="181327"/>
                  </a:lnTo>
                  <a:lnTo>
                    <a:pt x="13946" y="180117"/>
                  </a:lnTo>
                  <a:lnTo>
                    <a:pt x="13008" y="179270"/>
                  </a:lnTo>
                  <a:lnTo>
                    <a:pt x="12615" y="177818"/>
                  </a:lnTo>
                  <a:lnTo>
                    <a:pt x="11980" y="177364"/>
                  </a:lnTo>
                  <a:lnTo>
                    <a:pt x="10497" y="179542"/>
                  </a:lnTo>
                  <a:lnTo>
                    <a:pt x="8471" y="184050"/>
                  </a:lnTo>
                  <a:lnTo>
                    <a:pt x="3963" y="198570"/>
                  </a:lnTo>
                  <a:lnTo>
                    <a:pt x="3237" y="201444"/>
                  </a:lnTo>
                  <a:lnTo>
                    <a:pt x="2814" y="204258"/>
                  </a:lnTo>
                  <a:lnTo>
                    <a:pt x="3963" y="262038"/>
                  </a:lnTo>
                  <a:lnTo>
                    <a:pt x="3630" y="265940"/>
                  </a:lnTo>
                  <a:lnTo>
                    <a:pt x="1210" y="276317"/>
                  </a:lnTo>
                  <a:lnTo>
                    <a:pt x="908" y="280068"/>
                  </a:lnTo>
                  <a:lnTo>
                    <a:pt x="1362" y="292078"/>
                  </a:lnTo>
                  <a:lnTo>
                    <a:pt x="1755" y="294074"/>
                  </a:lnTo>
                  <a:lnTo>
                    <a:pt x="2178" y="295799"/>
                  </a:lnTo>
                  <a:lnTo>
                    <a:pt x="2602" y="296676"/>
                  </a:lnTo>
                  <a:lnTo>
                    <a:pt x="4084" y="297099"/>
                  </a:lnTo>
                  <a:lnTo>
                    <a:pt x="4356" y="296041"/>
                  </a:lnTo>
                  <a:lnTo>
                    <a:pt x="3993" y="293288"/>
                  </a:lnTo>
                  <a:lnTo>
                    <a:pt x="4598" y="289536"/>
                  </a:lnTo>
                  <a:lnTo>
                    <a:pt x="4780" y="286179"/>
                  </a:lnTo>
                  <a:lnTo>
                    <a:pt x="4689" y="279100"/>
                  </a:lnTo>
                  <a:lnTo>
                    <a:pt x="5596" y="277708"/>
                  </a:lnTo>
                  <a:lnTo>
                    <a:pt x="7714" y="277980"/>
                  </a:lnTo>
                  <a:lnTo>
                    <a:pt x="15489" y="281248"/>
                  </a:lnTo>
                  <a:lnTo>
                    <a:pt x="18968" y="283547"/>
                  </a:lnTo>
                  <a:lnTo>
                    <a:pt x="21569" y="287358"/>
                  </a:lnTo>
                  <a:lnTo>
                    <a:pt x="22719" y="293288"/>
                  </a:lnTo>
                  <a:lnTo>
                    <a:pt x="22719" y="298430"/>
                  </a:lnTo>
                  <a:lnTo>
                    <a:pt x="26500" y="302938"/>
                  </a:lnTo>
                  <a:lnTo>
                    <a:pt x="28104" y="305449"/>
                  </a:lnTo>
                  <a:lnTo>
                    <a:pt x="29525" y="308232"/>
                  </a:lnTo>
                  <a:lnTo>
                    <a:pt x="30161" y="311075"/>
                  </a:lnTo>
                  <a:lnTo>
                    <a:pt x="29586" y="313768"/>
                  </a:lnTo>
                  <a:lnTo>
                    <a:pt x="25563" y="317640"/>
                  </a:lnTo>
                  <a:lnTo>
                    <a:pt x="21630" y="320484"/>
                  </a:lnTo>
                  <a:lnTo>
                    <a:pt x="19361" y="321240"/>
                  </a:lnTo>
                  <a:lnTo>
                    <a:pt x="14551" y="324779"/>
                  </a:lnTo>
                  <a:lnTo>
                    <a:pt x="10044" y="327109"/>
                  </a:lnTo>
                  <a:lnTo>
                    <a:pt x="9197" y="326655"/>
                  </a:lnTo>
                  <a:lnTo>
                    <a:pt x="8864" y="324386"/>
                  </a:lnTo>
                  <a:lnTo>
                    <a:pt x="9075" y="322541"/>
                  </a:lnTo>
                  <a:lnTo>
                    <a:pt x="10074" y="320272"/>
                  </a:lnTo>
                  <a:lnTo>
                    <a:pt x="10316" y="318699"/>
                  </a:lnTo>
                  <a:lnTo>
                    <a:pt x="10044" y="316884"/>
                  </a:lnTo>
                  <a:lnTo>
                    <a:pt x="8259" y="312527"/>
                  </a:lnTo>
                  <a:lnTo>
                    <a:pt x="5748" y="299882"/>
                  </a:lnTo>
                  <a:lnTo>
                    <a:pt x="5082" y="299005"/>
                  </a:lnTo>
                  <a:lnTo>
                    <a:pt x="4780" y="298824"/>
                  </a:lnTo>
                  <a:lnTo>
                    <a:pt x="4598" y="298400"/>
                  </a:lnTo>
                  <a:lnTo>
                    <a:pt x="4326" y="297977"/>
                  </a:lnTo>
                  <a:lnTo>
                    <a:pt x="3721" y="297795"/>
                  </a:lnTo>
                  <a:lnTo>
                    <a:pt x="3418" y="298158"/>
                  </a:lnTo>
                  <a:lnTo>
                    <a:pt x="3328" y="298914"/>
                  </a:lnTo>
                  <a:lnTo>
                    <a:pt x="3418" y="299701"/>
                  </a:lnTo>
                  <a:lnTo>
                    <a:pt x="3721" y="300034"/>
                  </a:lnTo>
                  <a:lnTo>
                    <a:pt x="4205" y="301698"/>
                  </a:lnTo>
                  <a:lnTo>
                    <a:pt x="9015" y="334067"/>
                  </a:lnTo>
                  <a:lnTo>
                    <a:pt x="8834" y="340722"/>
                  </a:lnTo>
                  <a:lnTo>
                    <a:pt x="7563" y="347468"/>
                  </a:lnTo>
                  <a:lnTo>
                    <a:pt x="5657" y="353821"/>
                  </a:lnTo>
                  <a:lnTo>
                    <a:pt x="0" y="367767"/>
                  </a:lnTo>
                  <a:lnTo>
                    <a:pt x="121" y="370187"/>
                  </a:lnTo>
                  <a:lnTo>
                    <a:pt x="1664" y="371639"/>
                  </a:lnTo>
                  <a:lnTo>
                    <a:pt x="7563" y="372637"/>
                  </a:lnTo>
                  <a:lnTo>
                    <a:pt x="10013" y="373968"/>
                  </a:lnTo>
                  <a:lnTo>
                    <a:pt x="22053" y="383195"/>
                  </a:lnTo>
                  <a:lnTo>
                    <a:pt x="23354" y="382741"/>
                  </a:lnTo>
                  <a:lnTo>
                    <a:pt x="22386" y="379928"/>
                  </a:lnTo>
                  <a:lnTo>
                    <a:pt x="20087" y="377508"/>
                  </a:lnTo>
                  <a:lnTo>
                    <a:pt x="17364" y="375874"/>
                  </a:lnTo>
                  <a:lnTo>
                    <a:pt x="15035" y="375481"/>
                  </a:lnTo>
                  <a:lnTo>
                    <a:pt x="16306" y="373847"/>
                  </a:lnTo>
                  <a:lnTo>
                    <a:pt x="16911" y="373454"/>
                  </a:lnTo>
                  <a:lnTo>
                    <a:pt x="17848" y="373242"/>
                  </a:lnTo>
                  <a:lnTo>
                    <a:pt x="14854" y="370278"/>
                  </a:lnTo>
                  <a:lnTo>
                    <a:pt x="14551" y="368735"/>
                  </a:lnTo>
                  <a:lnTo>
                    <a:pt x="15701" y="366436"/>
                  </a:lnTo>
                  <a:lnTo>
                    <a:pt x="17455" y="365044"/>
                  </a:lnTo>
                  <a:lnTo>
                    <a:pt x="19724" y="364500"/>
                  </a:lnTo>
                  <a:lnTo>
                    <a:pt x="22023" y="364681"/>
                  </a:lnTo>
                  <a:lnTo>
                    <a:pt x="23959" y="365407"/>
                  </a:lnTo>
                  <a:lnTo>
                    <a:pt x="23959" y="366436"/>
                  </a:lnTo>
                  <a:lnTo>
                    <a:pt x="21841" y="366799"/>
                  </a:lnTo>
                  <a:lnTo>
                    <a:pt x="21751" y="367948"/>
                  </a:lnTo>
                  <a:lnTo>
                    <a:pt x="30887" y="380533"/>
                  </a:lnTo>
                  <a:lnTo>
                    <a:pt x="34971" y="384072"/>
                  </a:lnTo>
                  <a:lnTo>
                    <a:pt x="39811" y="385464"/>
                  </a:lnTo>
                  <a:lnTo>
                    <a:pt x="46527" y="385645"/>
                  </a:lnTo>
                  <a:lnTo>
                    <a:pt x="50127" y="386462"/>
                  </a:lnTo>
                  <a:lnTo>
                    <a:pt x="52668" y="388307"/>
                  </a:lnTo>
                  <a:lnTo>
                    <a:pt x="54120" y="391423"/>
                  </a:lnTo>
                  <a:lnTo>
                    <a:pt x="54846" y="394902"/>
                  </a:lnTo>
                  <a:lnTo>
                    <a:pt x="55754" y="402253"/>
                  </a:lnTo>
                  <a:lnTo>
                    <a:pt x="56873" y="406337"/>
                  </a:lnTo>
                  <a:lnTo>
                    <a:pt x="57054" y="408425"/>
                  </a:lnTo>
                  <a:lnTo>
                    <a:pt x="56843" y="409816"/>
                  </a:lnTo>
                  <a:lnTo>
                    <a:pt x="55935" y="412085"/>
                  </a:lnTo>
                  <a:lnTo>
                    <a:pt x="55723" y="413961"/>
                  </a:lnTo>
                  <a:lnTo>
                    <a:pt x="56480" y="420888"/>
                  </a:lnTo>
                  <a:lnTo>
                    <a:pt x="57780" y="427816"/>
                  </a:lnTo>
                  <a:lnTo>
                    <a:pt x="59626" y="433322"/>
                  </a:lnTo>
                  <a:lnTo>
                    <a:pt x="59868" y="436407"/>
                  </a:lnTo>
                  <a:lnTo>
                    <a:pt x="57841" y="437164"/>
                  </a:lnTo>
                  <a:lnTo>
                    <a:pt x="52365" y="435953"/>
                  </a:lnTo>
                  <a:lnTo>
                    <a:pt x="46376" y="435137"/>
                  </a:lnTo>
                  <a:lnTo>
                    <a:pt x="46073" y="433322"/>
                  </a:lnTo>
                  <a:lnTo>
                    <a:pt x="47828" y="431174"/>
                  </a:lnTo>
                  <a:lnTo>
                    <a:pt x="48917" y="430327"/>
                  </a:lnTo>
                  <a:lnTo>
                    <a:pt x="50278" y="429994"/>
                  </a:lnTo>
                  <a:lnTo>
                    <a:pt x="48160" y="427937"/>
                  </a:lnTo>
                  <a:lnTo>
                    <a:pt x="43925" y="426787"/>
                  </a:lnTo>
                  <a:lnTo>
                    <a:pt x="39750" y="427362"/>
                  </a:lnTo>
                  <a:lnTo>
                    <a:pt x="37875" y="430538"/>
                  </a:lnTo>
                  <a:lnTo>
                    <a:pt x="37512" y="434743"/>
                  </a:lnTo>
                  <a:lnTo>
                    <a:pt x="36877" y="438646"/>
                  </a:lnTo>
                  <a:lnTo>
                    <a:pt x="36725" y="442518"/>
                  </a:lnTo>
                  <a:lnTo>
                    <a:pt x="37875" y="446541"/>
                  </a:lnTo>
                  <a:lnTo>
                    <a:pt x="39266" y="448326"/>
                  </a:lnTo>
                  <a:lnTo>
                    <a:pt x="40839" y="448659"/>
                  </a:lnTo>
                  <a:lnTo>
                    <a:pt x="42382" y="447812"/>
                  </a:lnTo>
                  <a:lnTo>
                    <a:pt x="43774" y="445997"/>
                  </a:lnTo>
                  <a:lnTo>
                    <a:pt x="45044" y="444666"/>
                  </a:lnTo>
                  <a:lnTo>
                    <a:pt x="46013" y="444484"/>
                  </a:lnTo>
                  <a:lnTo>
                    <a:pt x="46648" y="443668"/>
                  </a:lnTo>
                  <a:lnTo>
                    <a:pt x="46890" y="437405"/>
                  </a:lnTo>
                  <a:lnTo>
                    <a:pt x="47253" y="436075"/>
                  </a:lnTo>
                  <a:lnTo>
                    <a:pt x="48463" y="435953"/>
                  </a:lnTo>
                  <a:lnTo>
                    <a:pt x="59172" y="437738"/>
                  </a:lnTo>
                  <a:lnTo>
                    <a:pt x="58053" y="441943"/>
                  </a:lnTo>
                  <a:lnTo>
                    <a:pt x="56601" y="445937"/>
                  </a:lnTo>
                  <a:lnTo>
                    <a:pt x="55421" y="450262"/>
                  </a:lnTo>
                  <a:lnTo>
                    <a:pt x="55028" y="455465"/>
                  </a:lnTo>
                  <a:lnTo>
                    <a:pt x="55995" y="459550"/>
                  </a:lnTo>
                  <a:lnTo>
                    <a:pt x="57599" y="463512"/>
                  </a:lnTo>
                  <a:lnTo>
                    <a:pt x="58446" y="467596"/>
                  </a:lnTo>
                  <a:lnTo>
                    <a:pt x="57084" y="472044"/>
                  </a:lnTo>
                  <a:lnTo>
                    <a:pt x="57841" y="473133"/>
                  </a:lnTo>
                  <a:lnTo>
                    <a:pt x="57024" y="475885"/>
                  </a:lnTo>
                  <a:lnTo>
                    <a:pt x="57024" y="475885"/>
                  </a:lnTo>
                  <a:lnTo>
                    <a:pt x="60563" y="476914"/>
                  </a:lnTo>
                  <a:lnTo>
                    <a:pt x="64284" y="477065"/>
                  </a:lnTo>
                  <a:lnTo>
                    <a:pt x="71151" y="474675"/>
                  </a:lnTo>
                  <a:lnTo>
                    <a:pt x="73511" y="474343"/>
                  </a:lnTo>
                  <a:lnTo>
                    <a:pt x="81558" y="475613"/>
                  </a:lnTo>
                  <a:lnTo>
                    <a:pt x="89454" y="478608"/>
                  </a:lnTo>
                  <a:lnTo>
                    <a:pt x="110781" y="483267"/>
                  </a:lnTo>
                  <a:lnTo>
                    <a:pt x="112475" y="484658"/>
                  </a:lnTo>
                  <a:lnTo>
                    <a:pt x="112929" y="486262"/>
                  </a:lnTo>
                  <a:lnTo>
                    <a:pt x="113231" y="488500"/>
                  </a:lnTo>
                  <a:lnTo>
                    <a:pt x="113988" y="490406"/>
                  </a:lnTo>
                  <a:lnTo>
                    <a:pt x="115772" y="491071"/>
                  </a:lnTo>
                  <a:lnTo>
                    <a:pt x="123093" y="491071"/>
                  </a:lnTo>
                  <a:lnTo>
                    <a:pt x="124606" y="490830"/>
                  </a:lnTo>
                  <a:lnTo>
                    <a:pt x="125574" y="489892"/>
                  </a:lnTo>
                  <a:lnTo>
                    <a:pt x="126995" y="489529"/>
                  </a:lnTo>
                  <a:lnTo>
                    <a:pt x="128115" y="488621"/>
                  </a:lnTo>
                  <a:lnTo>
                    <a:pt x="129930" y="488228"/>
                  </a:lnTo>
                  <a:lnTo>
                    <a:pt x="131957" y="489982"/>
                  </a:lnTo>
                  <a:lnTo>
                    <a:pt x="133651" y="490164"/>
                  </a:lnTo>
                  <a:lnTo>
                    <a:pt x="135133" y="489680"/>
                  </a:lnTo>
                  <a:lnTo>
                    <a:pt x="135194" y="489680"/>
                  </a:lnTo>
                  <a:lnTo>
                    <a:pt x="135073" y="489619"/>
                  </a:lnTo>
                  <a:lnTo>
                    <a:pt x="135738" y="486231"/>
                  </a:lnTo>
                  <a:lnTo>
                    <a:pt x="137100" y="484265"/>
                  </a:lnTo>
                  <a:lnTo>
                    <a:pt x="141274" y="480968"/>
                  </a:lnTo>
                  <a:lnTo>
                    <a:pt x="142999" y="479092"/>
                  </a:lnTo>
                  <a:lnTo>
                    <a:pt x="143694" y="478547"/>
                  </a:lnTo>
                  <a:lnTo>
                    <a:pt x="145328" y="478759"/>
                  </a:lnTo>
                  <a:lnTo>
                    <a:pt x="146084" y="478517"/>
                  </a:lnTo>
                  <a:lnTo>
                    <a:pt x="146568" y="477973"/>
                  </a:lnTo>
                  <a:lnTo>
                    <a:pt x="147204" y="476763"/>
                  </a:lnTo>
                  <a:lnTo>
                    <a:pt x="148353" y="474978"/>
                  </a:lnTo>
                  <a:lnTo>
                    <a:pt x="149684" y="471711"/>
                  </a:lnTo>
                  <a:lnTo>
                    <a:pt x="150229" y="470743"/>
                  </a:lnTo>
                  <a:lnTo>
                    <a:pt x="153072" y="469926"/>
                  </a:lnTo>
                  <a:lnTo>
                    <a:pt x="155462" y="471196"/>
                  </a:lnTo>
                  <a:lnTo>
                    <a:pt x="156007" y="473042"/>
                  </a:lnTo>
                  <a:lnTo>
                    <a:pt x="153314" y="474010"/>
                  </a:lnTo>
                  <a:lnTo>
                    <a:pt x="152588" y="474675"/>
                  </a:lnTo>
                  <a:lnTo>
                    <a:pt x="153254" y="476127"/>
                  </a:lnTo>
                  <a:lnTo>
                    <a:pt x="155039" y="478517"/>
                  </a:lnTo>
                  <a:lnTo>
                    <a:pt x="154857" y="479516"/>
                  </a:lnTo>
                  <a:lnTo>
                    <a:pt x="154040" y="480120"/>
                  </a:lnTo>
                  <a:lnTo>
                    <a:pt x="153919" y="480756"/>
                  </a:lnTo>
                  <a:lnTo>
                    <a:pt x="155795" y="481784"/>
                  </a:lnTo>
                  <a:lnTo>
                    <a:pt x="157096" y="482087"/>
                  </a:lnTo>
                  <a:lnTo>
                    <a:pt x="161271" y="481784"/>
                  </a:lnTo>
                  <a:lnTo>
                    <a:pt x="162148" y="482480"/>
                  </a:lnTo>
                  <a:lnTo>
                    <a:pt x="163570" y="485475"/>
                  </a:lnTo>
                  <a:lnTo>
                    <a:pt x="164750" y="486171"/>
                  </a:lnTo>
                  <a:lnTo>
                    <a:pt x="166232" y="485445"/>
                  </a:lnTo>
                  <a:lnTo>
                    <a:pt x="166655" y="483811"/>
                  </a:lnTo>
                  <a:lnTo>
                    <a:pt x="166474" y="481935"/>
                  </a:lnTo>
                  <a:lnTo>
                    <a:pt x="166080" y="480574"/>
                  </a:lnTo>
                  <a:lnTo>
                    <a:pt x="165415" y="479425"/>
                  </a:lnTo>
                  <a:lnTo>
                    <a:pt x="164416" y="478487"/>
                  </a:lnTo>
                  <a:lnTo>
                    <a:pt x="163207" y="477791"/>
                  </a:lnTo>
                  <a:lnTo>
                    <a:pt x="161936" y="477398"/>
                  </a:lnTo>
                  <a:lnTo>
                    <a:pt x="162753" y="475401"/>
                  </a:lnTo>
                  <a:lnTo>
                    <a:pt x="163902" y="475552"/>
                  </a:lnTo>
                  <a:lnTo>
                    <a:pt x="165324" y="476339"/>
                  </a:lnTo>
                  <a:lnTo>
                    <a:pt x="166837" y="476339"/>
                  </a:lnTo>
                  <a:lnTo>
                    <a:pt x="167805" y="475583"/>
                  </a:lnTo>
                  <a:lnTo>
                    <a:pt x="167956" y="475099"/>
                  </a:lnTo>
                  <a:lnTo>
                    <a:pt x="167714" y="474373"/>
                  </a:lnTo>
                  <a:lnTo>
                    <a:pt x="165506" y="462151"/>
                  </a:lnTo>
                  <a:close/>
                </a:path>
              </a:pathLst>
            </a:custGeom>
            <a:solidFill>
              <a:srgbClr val="96A3AC"/>
            </a:solidFill>
            <a:ln w="3175" cap="rnd">
              <a:solidFill>
                <a:schemeClr val="bg1"/>
              </a:solidFill>
              <a:prstDash val="solid"/>
              <a:round/>
            </a:ln>
          </p:spPr>
          <p:txBody>
            <a:bodyPr rtlCol="0" anchor="ctr"/>
            <a:lstStyle/>
            <a:p>
              <a:endParaRPr lang="en-ID"/>
            </a:p>
          </p:txBody>
        </p:sp>
        <p:sp>
          <p:nvSpPr>
            <p:cNvPr id="57" name="Freeform: Shape 56">
              <a:extLst>
                <a:ext uri="{FF2B5EF4-FFF2-40B4-BE49-F238E27FC236}">
                  <a16:creationId xmlns:a16="http://schemas.microsoft.com/office/drawing/2014/main" id="{2724FB2B-B706-AF0D-22E9-17B591C7E884}"/>
                </a:ext>
              </a:extLst>
            </p:cNvPr>
            <p:cNvSpPr/>
            <p:nvPr/>
          </p:nvSpPr>
          <p:spPr>
            <a:xfrm>
              <a:off x="9101429" y="3934664"/>
              <a:ext cx="528855" cy="276125"/>
            </a:xfrm>
            <a:custGeom>
              <a:avLst/>
              <a:gdLst>
                <a:gd name="connsiteX0" fmla="*/ 680113 w 680385"/>
                <a:gd name="connsiteY0" fmla="*/ 215753 h 355242"/>
                <a:gd name="connsiteX1" fmla="*/ 678661 w 680385"/>
                <a:gd name="connsiteY1" fmla="*/ 209703 h 355242"/>
                <a:gd name="connsiteX2" fmla="*/ 678207 w 680385"/>
                <a:gd name="connsiteY2" fmla="*/ 208402 h 355242"/>
                <a:gd name="connsiteX3" fmla="*/ 677027 w 680385"/>
                <a:gd name="connsiteY3" fmla="*/ 205921 h 355242"/>
                <a:gd name="connsiteX4" fmla="*/ 676573 w 680385"/>
                <a:gd name="connsiteY4" fmla="*/ 204530 h 355242"/>
                <a:gd name="connsiteX5" fmla="*/ 675878 w 680385"/>
                <a:gd name="connsiteY5" fmla="*/ 199629 h 355242"/>
                <a:gd name="connsiteX6" fmla="*/ 675454 w 680385"/>
                <a:gd name="connsiteY6" fmla="*/ 198510 h 355242"/>
                <a:gd name="connsiteX7" fmla="*/ 673942 w 680385"/>
                <a:gd name="connsiteY7" fmla="*/ 197481 h 355242"/>
                <a:gd name="connsiteX8" fmla="*/ 672368 w 680385"/>
                <a:gd name="connsiteY8" fmla="*/ 197754 h 355242"/>
                <a:gd name="connsiteX9" fmla="*/ 670826 w 680385"/>
                <a:gd name="connsiteY9" fmla="*/ 198358 h 355242"/>
                <a:gd name="connsiteX10" fmla="*/ 669343 w 680385"/>
                <a:gd name="connsiteY10" fmla="*/ 198480 h 355242"/>
                <a:gd name="connsiteX11" fmla="*/ 668073 w 680385"/>
                <a:gd name="connsiteY11" fmla="*/ 197784 h 355242"/>
                <a:gd name="connsiteX12" fmla="*/ 666107 w 680385"/>
                <a:gd name="connsiteY12" fmla="*/ 195636 h 355242"/>
                <a:gd name="connsiteX13" fmla="*/ 664775 w 680385"/>
                <a:gd name="connsiteY13" fmla="*/ 194638 h 355242"/>
                <a:gd name="connsiteX14" fmla="*/ 663354 w 680385"/>
                <a:gd name="connsiteY14" fmla="*/ 194244 h 355242"/>
                <a:gd name="connsiteX15" fmla="*/ 660238 w 680385"/>
                <a:gd name="connsiteY15" fmla="*/ 194002 h 355242"/>
                <a:gd name="connsiteX16" fmla="*/ 658937 w 680385"/>
                <a:gd name="connsiteY16" fmla="*/ 193125 h 355242"/>
                <a:gd name="connsiteX17" fmla="*/ 658271 w 680385"/>
                <a:gd name="connsiteY17" fmla="*/ 192066 h 355242"/>
                <a:gd name="connsiteX18" fmla="*/ 657273 w 680385"/>
                <a:gd name="connsiteY18" fmla="*/ 187892 h 355242"/>
                <a:gd name="connsiteX19" fmla="*/ 654913 w 680385"/>
                <a:gd name="connsiteY19" fmla="*/ 183414 h 355242"/>
                <a:gd name="connsiteX20" fmla="*/ 653159 w 680385"/>
                <a:gd name="connsiteY20" fmla="*/ 179058 h 355242"/>
                <a:gd name="connsiteX21" fmla="*/ 653129 w 680385"/>
                <a:gd name="connsiteY21" fmla="*/ 175216 h 355242"/>
                <a:gd name="connsiteX22" fmla="*/ 655882 w 680385"/>
                <a:gd name="connsiteY22" fmla="*/ 172282 h 355242"/>
                <a:gd name="connsiteX23" fmla="*/ 653189 w 680385"/>
                <a:gd name="connsiteY23" fmla="*/ 170951 h 355242"/>
                <a:gd name="connsiteX24" fmla="*/ 652766 w 680385"/>
                <a:gd name="connsiteY24" fmla="*/ 169196 h 355242"/>
                <a:gd name="connsiteX25" fmla="*/ 653008 w 680385"/>
                <a:gd name="connsiteY25" fmla="*/ 166988 h 355242"/>
                <a:gd name="connsiteX26" fmla="*/ 652403 w 680385"/>
                <a:gd name="connsiteY26" fmla="*/ 164386 h 355242"/>
                <a:gd name="connsiteX27" fmla="*/ 650920 w 680385"/>
                <a:gd name="connsiteY27" fmla="*/ 163569 h 355242"/>
                <a:gd name="connsiteX28" fmla="*/ 646957 w 680385"/>
                <a:gd name="connsiteY28" fmla="*/ 165899 h 355242"/>
                <a:gd name="connsiteX29" fmla="*/ 644598 w 680385"/>
                <a:gd name="connsiteY29" fmla="*/ 165899 h 355242"/>
                <a:gd name="connsiteX30" fmla="*/ 637126 w 680385"/>
                <a:gd name="connsiteY30" fmla="*/ 162117 h 355242"/>
                <a:gd name="connsiteX31" fmla="*/ 633223 w 680385"/>
                <a:gd name="connsiteY31" fmla="*/ 160817 h 355242"/>
                <a:gd name="connsiteX32" fmla="*/ 629170 w 680385"/>
                <a:gd name="connsiteY32" fmla="*/ 161300 h 355242"/>
                <a:gd name="connsiteX33" fmla="*/ 629381 w 680385"/>
                <a:gd name="connsiteY33" fmla="*/ 161300 h 355242"/>
                <a:gd name="connsiteX34" fmla="*/ 629563 w 680385"/>
                <a:gd name="connsiteY34" fmla="*/ 161361 h 355242"/>
                <a:gd name="connsiteX35" fmla="*/ 629714 w 680385"/>
                <a:gd name="connsiteY35" fmla="*/ 161543 h 355242"/>
                <a:gd name="connsiteX36" fmla="*/ 629805 w 680385"/>
                <a:gd name="connsiteY36" fmla="*/ 161785 h 355242"/>
                <a:gd name="connsiteX37" fmla="*/ 626991 w 680385"/>
                <a:gd name="connsiteY37" fmla="*/ 164053 h 355242"/>
                <a:gd name="connsiteX38" fmla="*/ 625539 w 680385"/>
                <a:gd name="connsiteY38" fmla="*/ 164296 h 355242"/>
                <a:gd name="connsiteX39" fmla="*/ 623543 w 680385"/>
                <a:gd name="connsiteY39" fmla="*/ 162813 h 355242"/>
                <a:gd name="connsiteX40" fmla="*/ 622998 w 680385"/>
                <a:gd name="connsiteY40" fmla="*/ 161845 h 355242"/>
                <a:gd name="connsiteX41" fmla="*/ 622272 w 680385"/>
                <a:gd name="connsiteY41" fmla="*/ 159607 h 355242"/>
                <a:gd name="connsiteX42" fmla="*/ 621849 w 680385"/>
                <a:gd name="connsiteY42" fmla="*/ 158820 h 355242"/>
                <a:gd name="connsiteX43" fmla="*/ 620669 w 680385"/>
                <a:gd name="connsiteY43" fmla="*/ 158003 h 355242"/>
                <a:gd name="connsiteX44" fmla="*/ 618309 w 680385"/>
                <a:gd name="connsiteY44" fmla="*/ 157549 h 355242"/>
                <a:gd name="connsiteX45" fmla="*/ 617129 w 680385"/>
                <a:gd name="connsiteY45" fmla="*/ 157066 h 355242"/>
                <a:gd name="connsiteX46" fmla="*/ 613953 w 680385"/>
                <a:gd name="connsiteY46" fmla="*/ 154554 h 355242"/>
                <a:gd name="connsiteX47" fmla="*/ 612410 w 680385"/>
                <a:gd name="connsiteY47" fmla="*/ 153768 h 355242"/>
                <a:gd name="connsiteX48" fmla="*/ 605997 w 680385"/>
                <a:gd name="connsiteY48" fmla="*/ 152649 h 355242"/>
                <a:gd name="connsiteX49" fmla="*/ 604696 w 680385"/>
                <a:gd name="connsiteY49" fmla="*/ 151257 h 355242"/>
                <a:gd name="connsiteX50" fmla="*/ 605331 w 680385"/>
                <a:gd name="connsiteY50" fmla="*/ 148595 h 355242"/>
                <a:gd name="connsiteX51" fmla="*/ 599463 w 680385"/>
                <a:gd name="connsiteY51" fmla="*/ 145055 h 355242"/>
                <a:gd name="connsiteX52" fmla="*/ 598041 w 680385"/>
                <a:gd name="connsiteY52" fmla="*/ 144753 h 355242"/>
                <a:gd name="connsiteX53" fmla="*/ 596377 w 680385"/>
                <a:gd name="connsiteY53" fmla="*/ 144360 h 355242"/>
                <a:gd name="connsiteX54" fmla="*/ 596800 w 680385"/>
                <a:gd name="connsiteY54" fmla="*/ 147597 h 355242"/>
                <a:gd name="connsiteX55" fmla="*/ 597345 w 680385"/>
                <a:gd name="connsiteY55" fmla="*/ 147808 h 355242"/>
                <a:gd name="connsiteX56" fmla="*/ 598162 w 680385"/>
                <a:gd name="connsiteY56" fmla="*/ 147597 h 355242"/>
                <a:gd name="connsiteX57" fmla="*/ 599009 w 680385"/>
                <a:gd name="connsiteY57" fmla="*/ 147597 h 355242"/>
                <a:gd name="connsiteX58" fmla="*/ 599704 w 680385"/>
                <a:gd name="connsiteY58" fmla="*/ 148595 h 355242"/>
                <a:gd name="connsiteX59" fmla="*/ 599886 w 680385"/>
                <a:gd name="connsiteY59" fmla="*/ 150047 h 355242"/>
                <a:gd name="connsiteX60" fmla="*/ 599372 w 680385"/>
                <a:gd name="connsiteY60" fmla="*/ 150683 h 355242"/>
                <a:gd name="connsiteX61" fmla="*/ 596105 w 680385"/>
                <a:gd name="connsiteY61" fmla="*/ 151560 h 355242"/>
                <a:gd name="connsiteX62" fmla="*/ 592051 w 680385"/>
                <a:gd name="connsiteY62" fmla="*/ 151681 h 355242"/>
                <a:gd name="connsiteX63" fmla="*/ 590236 w 680385"/>
                <a:gd name="connsiteY63" fmla="*/ 152104 h 355242"/>
                <a:gd name="connsiteX64" fmla="*/ 587271 w 680385"/>
                <a:gd name="connsiteY64" fmla="*/ 154554 h 355242"/>
                <a:gd name="connsiteX65" fmla="*/ 583611 w 680385"/>
                <a:gd name="connsiteY65" fmla="*/ 155583 h 355242"/>
                <a:gd name="connsiteX66" fmla="*/ 579950 w 680385"/>
                <a:gd name="connsiteY66" fmla="*/ 154857 h 355242"/>
                <a:gd name="connsiteX67" fmla="*/ 573416 w 680385"/>
                <a:gd name="connsiteY67" fmla="*/ 148897 h 355242"/>
                <a:gd name="connsiteX68" fmla="*/ 572297 w 680385"/>
                <a:gd name="connsiteY68" fmla="*/ 147445 h 355242"/>
                <a:gd name="connsiteX69" fmla="*/ 571510 w 680385"/>
                <a:gd name="connsiteY69" fmla="*/ 145721 h 355242"/>
                <a:gd name="connsiteX70" fmla="*/ 570966 w 680385"/>
                <a:gd name="connsiteY70" fmla="*/ 143966 h 355242"/>
                <a:gd name="connsiteX71" fmla="*/ 570270 w 680385"/>
                <a:gd name="connsiteY71" fmla="*/ 142363 h 355242"/>
                <a:gd name="connsiteX72" fmla="*/ 569151 w 680385"/>
                <a:gd name="connsiteY72" fmla="*/ 141123 h 355242"/>
                <a:gd name="connsiteX73" fmla="*/ 568183 w 680385"/>
                <a:gd name="connsiteY73" fmla="*/ 140276 h 355242"/>
                <a:gd name="connsiteX74" fmla="*/ 567880 w 680385"/>
                <a:gd name="connsiteY74" fmla="*/ 139429 h 355242"/>
                <a:gd name="connsiteX75" fmla="*/ 568213 w 680385"/>
                <a:gd name="connsiteY75" fmla="*/ 138642 h 355242"/>
                <a:gd name="connsiteX76" fmla="*/ 569151 w 680385"/>
                <a:gd name="connsiteY76" fmla="*/ 137916 h 355242"/>
                <a:gd name="connsiteX77" fmla="*/ 569181 w 680385"/>
                <a:gd name="connsiteY77" fmla="*/ 137826 h 355242"/>
                <a:gd name="connsiteX78" fmla="*/ 569211 w 680385"/>
                <a:gd name="connsiteY78" fmla="*/ 137705 h 355242"/>
                <a:gd name="connsiteX79" fmla="*/ 569181 w 680385"/>
                <a:gd name="connsiteY79" fmla="*/ 137583 h 355242"/>
                <a:gd name="connsiteX80" fmla="*/ 569151 w 680385"/>
                <a:gd name="connsiteY80" fmla="*/ 137432 h 355242"/>
                <a:gd name="connsiteX81" fmla="*/ 567729 w 680385"/>
                <a:gd name="connsiteY81" fmla="*/ 137160 h 355242"/>
                <a:gd name="connsiteX82" fmla="*/ 565006 w 680385"/>
                <a:gd name="connsiteY82" fmla="*/ 135920 h 355242"/>
                <a:gd name="connsiteX83" fmla="*/ 563675 w 680385"/>
                <a:gd name="connsiteY83" fmla="*/ 135587 h 355242"/>
                <a:gd name="connsiteX84" fmla="*/ 562616 w 680385"/>
                <a:gd name="connsiteY84" fmla="*/ 135799 h 355242"/>
                <a:gd name="connsiteX85" fmla="*/ 561739 w 680385"/>
                <a:gd name="connsiteY85" fmla="*/ 136253 h 355242"/>
                <a:gd name="connsiteX86" fmla="*/ 560741 w 680385"/>
                <a:gd name="connsiteY86" fmla="*/ 136434 h 355242"/>
                <a:gd name="connsiteX87" fmla="*/ 559168 w 680385"/>
                <a:gd name="connsiteY87" fmla="*/ 135768 h 355242"/>
                <a:gd name="connsiteX88" fmla="*/ 554267 w 680385"/>
                <a:gd name="connsiteY88" fmla="*/ 130081 h 355242"/>
                <a:gd name="connsiteX89" fmla="*/ 554085 w 680385"/>
                <a:gd name="connsiteY89" fmla="*/ 129022 h 355242"/>
                <a:gd name="connsiteX90" fmla="*/ 554811 w 680385"/>
                <a:gd name="connsiteY90" fmla="*/ 127570 h 355242"/>
                <a:gd name="connsiteX91" fmla="*/ 555900 w 680385"/>
                <a:gd name="connsiteY91" fmla="*/ 127056 h 355242"/>
                <a:gd name="connsiteX92" fmla="*/ 560771 w 680385"/>
                <a:gd name="connsiteY92" fmla="*/ 126905 h 355242"/>
                <a:gd name="connsiteX93" fmla="*/ 563433 w 680385"/>
                <a:gd name="connsiteY93" fmla="*/ 125906 h 355242"/>
                <a:gd name="connsiteX94" fmla="*/ 567729 w 680385"/>
                <a:gd name="connsiteY94" fmla="*/ 123547 h 355242"/>
                <a:gd name="connsiteX95" fmla="*/ 569786 w 680385"/>
                <a:gd name="connsiteY95" fmla="*/ 121944 h 355242"/>
                <a:gd name="connsiteX96" fmla="*/ 570724 w 680385"/>
                <a:gd name="connsiteY96" fmla="*/ 119735 h 355242"/>
                <a:gd name="connsiteX97" fmla="*/ 569151 w 680385"/>
                <a:gd name="connsiteY97" fmla="*/ 117073 h 355242"/>
                <a:gd name="connsiteX98" fmla="*/ 568092 w 680385"/>
                <a:gd name="connsiteY98" fmla="*/ 116105 h 355242"/>
                <a:gd name="connsiteX99" fmla="*/ 567850 w 680385"/>
                <a:gd name="connsiteY99" fmla="*/ 114653 h 355242"/>
                <a:gd name="connsiteX100" fmla="*/ 568062 w 680385"/>
                <a:gd name="connsiteY100" fmla="*/ 113352 h 355242"/>
                <a:gd name="connsiteX101" fmla="*/ 569151 w 680385"/>
                <a:gd name="connsiteY101" fmla="*/ 110629 h 355242"/>
                <a:gd name="connsiteX102" fmla="*/ 569393 w 680385"/>
                <a:gd name="connsiteY102" fmla="*/ 110176 h 355242"/>
                <a:gd name="connsiteX103" fmla="*/ 569453 w 680385"/>
                <a:gd name="connsiteY103" fmla="*/ 109722 h 355242"/>
                <a:gd name="connsiteX104" fmla="*/ 569393 w 680385"/>
                <a:gd name="connsiteY104" fmla="*/ 109359 h 355242"/>
                <a:gd name="connsiteX105" fmla="*/ 569151 w 680385"/>
                <a:gd name="connsiteY105" fmla="*/ 109026 h 355242"/>
                <a:gd name="connsiteX106" fmla="*/ 567305 w 680385"/>
                <a:gd name="connsiteY106" fmla="*/ 106727 h 355242"/>
                <a:gd name="connsiteX107" fmla="*/ 566731 w 680385"/>
                <a:gd name="connsiteY107" fmla="*/ 106243 h 355242"/>
                <a:gd name="connsiteX108" fmla="*/ 565036 w 680385"/>
                <a:gd name="connsiteY108" fmla="*/ 105638 h 355242"/>
                <a:gd name="connsiteX109" fmla="*/ 564371 w 680385"/>
                <a:gd name="connsiteY109" fmla="*/ 106031 h 355242"/>
                <a:gd name="connsiteX110" fmla="*/ 564129 w 680385"/>
                <a:gd name="connsiteY110" fmla="*/ 107030 h 355242"/>
                <a:gd name="connsiteX111" fmla="*/ 563554 w 680385"/>
                <a:gd name="connsiteY111" fmla="*/ 108209 h 355242"/>
                <a:gd name="connsiteX112" fmla="*/ 560559 w 680385"/>
                <a:gd name="connsiteY112" fmla="*/ 111991 h 355242"/>
                <a:gd name="connsiteX113" fmla="*/ 558835 w 680385"/>
                <a:gd name="connsiteY113" fmla="*/ 113322 h 355242"/>
                <a:gd name="connsiteX114" fmla="*/ 556506 w 680385"/>
                <a:gd name="connsiteY114" fmla="*/ 113866 h 355242"/>
                <a:gd name="connsiteX115" fmla="*/ 547521 w 680385"/>
                <a:gd name="connsiteY115" fmla="*/ 112414 h 355242"/>
                <a:gd name="connsiteX116" fmla="*/ 542711 w 680385"/>
                <a:gd name="connsiteY116" fmla="*/ 112808 h 355242"/>
                <a:gd name="connsiteX117" fmla="*/ 539776 w 680385"/>
                <a:gd name="connsiteY117" fmla="*/ 116105 h 355242"/>
                <a:gd name="connsiteX118" fmla="*/ 539232 w 680385"/>
                <a:gd name="connsiteY118" fmla="*/ 116438 h 355242"/>
                <a:gd name="connsiteX119" fmla="*/ 538718 w 680385"/>
                <a:gd name="connsiteY119" fmla="*/ 116529 h 355242"/>
                <a:gd name="connsiteX120" fmla="*/ 538173 w 680385"/>
                <a:gd name="connsiteY120" fmla="*/ 116407 h 355242"/>
                <a:gd name="connsiteX121" fmla="*/ 537659 w 680385"/>
                <a:gd name="connsiteY121" fmla="*/ 116105 h 355242"/>
                <a:gd name="connsiteX122" fmla="*/ 536721 w 680385"/>
                <a:gd name="connsiteY122" fmla="*/ 113413 h 355242"/>
                <a:gd name="connsiteX123" fmla="*/ 534543 w 680385"/>
                <a:gd name="connsiteY123" fmla="*/ 111779 h 355242"/>
                <a:gd name="connsiteX124" fmla="*/ 532304 w 680385"/>
                <a:gd name="connsiteY124" fmla="*/ 111930 h 355242"/>
                <a:gd name="connsiteX125" fmla="*/ 531215 w 680385"/>
                <a:gd name="connsiteY125" fmla="*/ 114592 h 355242"/>
                <a:gd name="connsiteX126" fmla="*/ 529884 w 680385"/>
                <a:gd name="connsiteY126" fmla="*/ 113654 h 355242"/>
                <a:gd name="connsiteX127" fmla="*/ 529188 w 680385"/>
                <a:gd name="connsiteY127" fmla="*/ 112172 h 355242"/>
                <a:gd name="connsiteX128" fmla="*/ 528977 w 680385"/>
                <a:gd name="connsiteY128" fmla="*/ 110327 h 355242"/>
                <a:gd name="connsiteX129" fmla="*/ 529098 w 680385"/>
                <a:gd name="connsiteY129" fmla="*/ 108451 h 355242"/>
                <a:gd name="connsiteX130" fmla="*/ 528644 w 680385"/>
                <a:gd name="connsiteY130" fmla="*/ 108088 h 355242"/>
                <a:gd name="connsiteX131" fmla="*/ 528251 w 680385"/>
                <a:gd name="connsiteY131" fmla="*/ 107695 h 355242"/>
                <a:gd name="connsiteX132" fmla="*/ 527888 w 680385"/>
                <a:gd name="connsiteY132" fmla="*/ 107181 h 355242"/>
                <a:gd name="connsiteX133" fmla="*/ 527585 w 680385"/>
                <a:gd name="connsiteY133" fmla="*/ 106636 h 355242"/>
                <a:gd name="connsiteX134" fmla="*/ 529430 w 680385"/>
                <a:gd name="connsiteY134" fmla="*/ 105941 h 355242"/>
                <a:gd name="connsiteX135" fmla="*/ 527373 w 680385"/>
                <a:gd name="connsiteY135" fmla="*/ 105154 h 355242"/>
                <a:gd name="connsiteX136" fmla="*/ 522654 w 680385"/>
                <a:gd name="connsiteY136" fmla="*/ 105275 h 355242"/>
                <a:gd name="connsiteX137" fmla="*/ 520264 w 680385"/>
                <a:gd name="connsiteY137" fmla="*/ 104640 h 355242"/>
                <a:gd name="connsiteX138" fmla="*/ 516695 w 680385"/>
                <a:gd name="connsiteY138" fmla="*/ 102583 h 355242"/>
                <a:gd name="connsiteX139" fmla="*/ 515696 w 680385"/>
                <a:gd name="connsiteY139" fmla="*/ 101584 h 355242"/>
                <a:gd name="connsiteX140" fmla="*/ 515121 w 680385"/>
                <a:gd name="connsiteY140" fmla="*/ 100314 h 355242"/>
                <a:gd name="connsiteX141" fmla="*/ 514486 w 680385"/>
                <a:gd name="connsiteY141" fmla="*/ 98438 h 355242"/>
                <a:gd name="connsiteX142" fmla="*/ 514154 w 680385"/>
                <a:gd name="connsiteY142" fmla="*/ 96865 h 355242"/>
                <a:gd name="connsiteX143" fmla="*/ 514365 w 680385"/>
                <a:gd name="connsiteY143" fmla="*/ 96472 h 355242"/>
                <a:gd name="connsiteX144" fmla="*/ 513185 w 680385"/>
                <a:gd name="connsiteY144" fmla="*/ 96139 h 355242"/>
                <a:gd name="connsiteX145" fmla="*/ 510130 w 680385"/>
                <a:gd name="connsiteY145" fmla="*/ 96744 h 355242"/>
                <a:gd name="connsiteX146" fmla="*/ 508738 w 680385"/>
                <a:gd name="connsiteY146" fmla="*/ 96714 h 355242"/>
                <a:gd name="connsiteX147" fmla="*/ 507438 w 680385"/>
                <a:gd name="connsiteY147" fmla="*/ 96079 h 355242"/>
                <a:gd name="connsiteX148" fmla="*/ 505108 w 680385"/>
                <a:gd name="connsiteY148" fmla="*/ 94264 h 355242"/>
                <a:gd name="connsiteX149" fmla="*/ 504019 w 680385"/>
                <a:gd name="connsiteY149" fmla="*/ 93658 h 355242"/>
                <a:gd name="connsiteX150" fmla="*/ 493673 w 680385"/>
                <a:gd name="connsiteY150" fmla="*/ 90996 h 355242"/>
                <a:gd name="connsiteX151" fmla="*/ 491344 w 680385"/>
                <a:gd name="connsiteY151" fmla="*/ 91238 h 355242"/>
                <a:gd name="connsiteX152" fmla="*/ 489862 w 680385"/>
                <a:gd name="connsiteY152" fmla="*/ 90422 h 355242"/>
                <a:gd name="connsiteX153" fmla="*/ 487018 w 680385"/>
                <a:gd name="connsiteY153" fmla="*/ 88848 h 355242"/>
                <a:gd name="connsiteX154" fmla="*/ 484719 w 680385"/>
                <a:gd name="connsiteY154" fmla="*/ 88576 h 355242"/>
                <a:gd name="connsiteX155" fmla="*/ 481966 w 680385"/>
                <a:gd name="connsiteY155" fmla="*/ 90119 h 355242"/>
                <a:gd name="connsiteX156" fmla="*/ 481996 w 680385"/>
                <a:gd name="connsiteY156" fmla="*/ 92146 h 355242"/>
                <a:gd name="connsiteX157" fmla="*/ 485203 w 680385"/>
                <a:gd name="connsiteY157" fmla="*/ 96502 h 355242"/>
                <a:gd name="connsiteX158" fmla="*/ 486352 w 680385"/>
                <a:gd name="connsiteY158" fmla="*/ 99164 h 355242"/>
                <a:gd name="connsiteX159" fmla="*/ 487109 w 680385"/>
                <a:gd name="connsiteY159" fmla="*/ 102250 h 355242"/>
                <a:gd name="connsiteX160" fmla="*/ 488107 w 680385"/>
                <a:gd name="connsiteY160" fmla="*/ 105063 h 355242"/>
                <a:gd name="connsiteX161" fmla="*/ 489983 w 680385"/>
                <a:gd name="connsiteY161" fmla="*/ 106848 h 355242"/>
                <a:gd name="connsiteX162" fmla="*/ 492433 w 680385"/>
                <a:gd name="connsiteY162" fmla="*/ 108149 h 355242"/>
                <a:gd name="connsiteX163" fmla="*/ 494248 w 680385"/>
                <a:gd name="connsiteY163" fmla="*/ 109994 h 355242"/>
                <a:gd name="connsiteX164" fmla="*/ 495307 w 680385"/>
                <a:gd name="connsiteY164" fmla="*/ 112596 h 355242"/>
                <a:gd name="connsiteX165" fmla="*/ 495488 w 680385"/>
                <a:gd name="connsiteY165" fmla="*/ 116105 h 355242"/>
                <a:gd name="connsiteX166" fmla="*/ 496789 w 680385"/>
                <a:gd name="connsiteY166" fmla="*/ 117708 h 355242"/>
                <a:gd name="connsiteX167" fmla="*/ 496971 w 680385"/>
                <a:gd name="connsiteY167" fmla="*/ 119614 h 355242"/>
                <a:gd name="connsiteX168" fmla="*/ 496335 w 680385"/>
                <a:gd name="connsiteY168" fmla="*/ 120854 h 355242"/>
                <a:gd name="connsiteX169" fmla="*/ 495125 w 680385"/>
                <a:gd name="connsiteY169" fmla="*/ 120401 h 355242"/>
                <a:gd name="connsiteX170" fmla="*/ 494036 w 680385"/>
                <a:gd name="connsiteY170" fmla="*/ 118948 h 355242"/>
                <a:gd name="connsiteX171" fmla="*/ 493582 w 680385"/>
                <a:gd name="connsiteY171" fmla="*/ 118071 h 355242"/>
                <a:gd name="connsiteX172" fmla="*/ 492978 w 680385"/>
                <a:gd name="connsiteY172" fmla="*/ 117678 h 355242"/>
                <a:gd name="connsiteX173" fmla="*/ 491495 w 680385"/>
                <a:gd name="connsiteY173" fmla="*/ 117648 h 355242"/>
                <a:gd name="connsiteX174" fmla="*/ 491223 w 680385"/>
                <a:gd name="connsiteY174" fmla="*/ 118071 h 355242"/>
                <a:gd name="connsiteX175" fmla="*/ 491253 w 680385"/>
                <a:gd name="connsiteY175" fmla="*/ 119796 h 355242"/>
                <a:gd name="connsiteX176" fmla="*/ 490981 w 680385"/>
                <a:gd name="connsiteY176" fmla="*/ 120340 h 355242"/>
                <a:gd name="connsiteX177" fmla="*/ 490103 w 680385"/>
                <a:gd name="connsiteY177" fmla="*/ 120401 h 355242"/>
                <a:gd name="connsiteX178" fmla="*/ 488228 w 680385"/>
                <a:gd name="connsiteY178" fmla="*/ 119796 h 355242"/>
                <a:gd name="connsiteX179" fmla="*/ 487321 w 680385"/>
                <a:gd name="connsiteY179" fmla="*/ 119796 h 355242"/>
                <a:gd name="connsiteX180" fmla="*/ 486141 w 680385"/>
                <a:gd name="connsiteY180" fmla="*/ 120582 h 355242"/>
                <a:gd name="connsiteX181" fmla="*/ 484446 w 680385"/>
                <a:gd name="connsiteY181" fmla="*/ 122730 h 355242"/>
                <a:gd name="connsiteX182" fmla="*/ 483509 w 680385"/>
                <a:gd name="connsiteY182" fmla="*/ 123486 h 355242"/>
                <a:gd name="connsiteX183" fmla="*/ 482390 w 680385"/>
                <a:gd name="connsiteY183" fmla="*/ 123759 h 355242"/>
                <a:gd name="connsiteX184" fmla="*/ 481149 w 680385"/>
                <a:gd name="connsiteY184" fmla="*/ 124031 h 355242"/>
                <a:gd name="connsiteX185" fmla="*/ 479152 w 680385"/>
                <a:gd name="connsiteY185" fmla="*/ 123940 h 355242"/>
                <a:gd name="connsiteX186" fmla="*/ 477156 w 680385"/>
                <a:gd name="connsiteY186" fmla="*/ 124182 h 355242"/>
                <a:gd name="connsiteX187" fmla="*/ 474887 w 680385"/>
                <a:gd name="connsiteY187" fmla="*/ 125967 h 355242"/>
                <a:gd name="connsiteX188" fmla="*/ 473072 w 680385"/>
                <a:gd name="connsiteY188" fmla="*/ 128478 h 355242"/>
                <a:gd name="connsiteX189" fmla="*/ 471983 w 680385"/>
                <a:gd name="connsiteY189" fmla="*/ 130444 h 355242"/>
                <a:gd name="connsiteX190" fmla="*/ 470773 w 680385"/>
                <a:gd name="connsiteY190" fmla="*/ 132048 h 355242"/>
                <a:gd name="connsiteX191" fmla="*/ 468504 w 680385"/>
                <a:gd name="connsiteY191" fmla="*/ 133530 h 355242"/>
                <a:gd name="connsiteX192" fmla="*/ 465419 w 680385"/>
                <a:gd name="connsiteY192" fmla="*/ 137432 h 355242"/>
                <a:gd name="connsiteX193" fmla="*/ 461334 w 680385"/>
                <a:gd name="connsiteY193" fmla="*/ 137705 h 355242"/>
                <a:gd name="connsiteX194" fmla="*/ 457130 w 680385"/>
                <a:gd name="connsiteY194" fmla="*/ 135678 h 355242"/>
                <a:gd name="connsiteX195" fmla="*/ 453651 w 680385"/>
                <a:gd name="connsiteY195" fmla="*/ 132743 h 355242"/>
                <a:gd name="connsiteX196" fmla="*/ 451896 w 680385"/>
                <a:gd name="connsiteY196" fmla="*/ 130596 h 355242"/>
                <a:gd name="connsiteX197" fmla="*/ 450928 w 680385"/>
                <a:gd name="connsiteY197" fmla="*/ 128810 h 355242"/>
                <a:gd name="connsiteX198" fmla="*/ 449778 w 680385"/>
                <a:gd name="connsiteY198" fmla="*/ 123879 h 355242"/>
                <a:gd name="connsiteX199" fmla="*/ 448689 w 680385"/>
                <a:gd name="connsiteY199" fmla="*/ 121157 h 355242"/>
                <a:gd name="connsiteX200" fmla="*/ 445664 w 680385"/>
                <a:gd name="connsiteY200" fmla="*/ 118222 h 355242"/>
                <a:gd name="connsiteX201" fmla="*/ 444363 w 680385"/>
                <a:gd name="connsiteY201" fmla="*/ 116105 h 355242"/>
                <a:gd name="connsiteX202" fmla="*/ 442911 w 680385"/>
                <a:gd name="connsiteY202" fmla="*/ 114290 h 355242"/>
                <a:gd name="connsiteX203" fmla="*/ 440370 w 680385"/>
                <a:gd name="connsiteY203" fmla="*/ 109994 h 355242"/>
                <a:gd name="connsiteX204" fmla="*/ 438918 w 680385"/>
                <a:gd name="connsiteY204" fmla="*/ 108119 h 355242"/>
                <a:gd name="connsiteX205" fmla="*/ 436680 w 680385"/>
                <a:gd name="connsiteY205" fmla="*/ 106697 h 355242"/>
                <a:gd name="connsiteX206" fmla="*/ 432202 w 680385"/>
                <a:gd name="connsiteY206" fmla="*/ 105184 h 355242"/>
                <a:gd name="connsiteX207" fmla="*/ 430387 w 680385"/>
                <a:gd name="connsiteY207" fmla="*/ 102976 h 355242"/>
                <a:gd name="connsiteX208" fmla="*/ 430145 w 680385"/>
                <a:gd name="connsiteY208" fmla="*/ 101705 h 355242"/>
                <a:gd name="connsiteX209" fmla="*/ 430236 w 680385"/>
                <a:gd name="connsiteY209" fmla="*/ 100404 h 355242"/>
                <a:gd name="connsiteX210" fmla="*/ 430145 w 680385"/>
                <a:gd name="connsiteY210" fmla="*/ 99073 h 355242"/>
                <a:gd name="connsiteX211" fmla="*/ 429450 w 680385"/>
                <a:gd name="connsiteY211" fmla="*/ 97712 h 355242"/>
                <a:gd name="connsiteX212" fmla="*/ 428481 w 680385"/>
                <a:gd name="connsiteY212" fmla="*/ 97440 h 355242"/>
                <a:gd name="connsiteX213" fmla="*/ 423913 w 680385"/>
                <a:gd name="connsiteY213" fmla="*/ 97440 h 355242"/>
                <a:gd name="connsiteX214" fmla="*/ 422733 w 680385"/>
                <a:gd name="connsiteY214" fmla="*/ 97772 h 355242"/>
                <a:gd name="connsiteX215" fmla="*/ 422007 w 680385"/>
                <a:gd name="connsiteY215" fmla="*/ 98378 h 355242"/>
                <a:gd name="connsiteX216" fmla="*/ 421281 w 680385"/>
                <a:gd name="connsiteY216" fmla="*/ 98499 h 355242"/>
                <a:gd name="connsiteX217" fmla="*/ 419981 w 680385"/>
                <a:gd name="connsiteY217" fmla="*/ 97561 h 355242"/>
                <a:gd name="connsiteX218" fmla="*/ 419527 w 680385"/>
                <a:gd name="connsiteY218" fmla="*/ 96714 h 355242"/>
                <a:gd name="connsiteX219" fmla="*/ 418196 w 680385"/>
                <a:gd name="connsiteY219" fmla="*/ 92993 h 355242"/>
                <a:gd name="connsiteX220" fmla="*/ 414929 w 680385"/>
                <a:gd name="connsiteY220" fmla="*/ 92449 h 355242"/>
                <a:gd name="connsiteX221" fmla="*/ 413991 w 680385"/>
                <a:gd name="connsiteY221" fmla="*/ 89847 h 355242"/>
                <a:gd name="connsiteX222" fmla="*/ 414778 w 680385"/>
                <a:gd name="connsiteY222" fmla="*/ 87547 h 355242"/>
                <a:gd name="connsiteX223" fmla="*/ 416774 w 680385"/>
                <a:gd name="connsiteY223" fmla="*/ 87971 h 355242"/>
                <a:gd name="connsiteX224" fmla="*/ 416593 w 680385"/>
                <a:gd name="connsiteY224" fmla="*/ 87547 h 355242"/>
                <a:gd name="connsiteX225" fmla="*/ 416109 w 680385"/>
                <a:gd name="connsiteY225" fmla="*/ 85944 h 355242"/>
                <a:gd name="connsiteX226" fmla="*/ 416744 w 680385"/>
                <a:gd name="connsiteY226" fmla="*/ 85884 h 355242"/>
                <a:gd name="connsiteX227" fmla="*/ 417651 w 680385"/>
                <a:gd name="connsiteY227" fmla="*/ 85339 h 355242"/>
                <a:gd name="connsiteX228" fmla="*/ 418196 w 680385"/>
                <a:gd name="connsiteY228" fmla="*/ 85128 h 355242"/>
                <a:gd name="connsiteX229" fmla="*/ 419739 w 680385"/>
                <a:gd name="connsiteY229" fmla="*/ 83948 h 355242"/>
                <a:gd name="connsiteX230" fmla="*/ 421524 w 680385"/>
                <a:gd name="connsiteY230" fmla="*/ 82950 h 355242"/>
                <a:gd name="connsiteX231" fmla="*/ 423036 w 680385"/>
                <a:gd name="connsiteY231" fmla="*/ 81770 h 355242"/>
                <a:gd name="connsiteX232" fmla="*/ 423823 w 680385"/>
                <a:gd name="connsiteY232" fmla="*/ 79894 h 355242"/>
                <a:gd name="connsiteX233" fmla="*/ 425396 w 680385"/>
                <a:gd name="connsiteY233" fmla="*/ 79440 h 355242"/>
                <a:gd name="connsiteX234" fmla="*/ 428602 w 680385"/>
                <a:gd name="connsiteY234" fmla="*/ 80257 h 355242"/>
                <a:gd name="connsiteX235" fmla="*/ 430357 w 680385"/>
                <a:gd name="connsiteY235" fmla="*/ 79894 h 355242"/>
                <a:gd name="connsiteX236" fmla="*/ 431295 w 680385"/>
                <a:gd name="connsiteY236" fmla="*/ 78684 h 355242"/>
                <a:gd name="connsiteX237" fmla="*/ 433352 w 680385"/>
                <a:gd name="connsiteY237" fmla="*/ 76808 h 355242"/>
                <a:gd name="connsiteX238" fmla="*/ 434229 w 680385"/>
                <a:gd name="connsiteY238" fmla="*/ 75689 h 355242"/>
                <a:gd name="connsiteX239" fmla="*/ 433957 w 680385"/>
                <a:gd name="connsiteY239" fmla="*/ 75780 h 355242"/>
                <a:gd name="connsiteX240" fmla="*/ 433927 w 680385"/>
                <a:gd name="connsiteY240" fmla="*/ 74903 h 355242"/>
                <a:gd name="connsiteX241" fmla="*/ 434078 w 680385"/>
                <a:gd name="connsiteY241" fmla="*/ 73783 h 355242"/>
                <a:gd name="connsiteX242" fmla="*/ 434229 w 680385"/>
                <a:gd name="connsiteY242" fmla="*/ 73057 h 355242"/>
                <a:gd name="connsiteX243" fmla="*/ 434653 w 680385"/>
                <a:gd name="connsiteY243" fmla="*/ 72210 h 355242"/>
                <a:gd name="connsiteX244" fmla="*/ 434955 w 680385"/>
                <a:gd name="connsiteY244" fmla="*/ 71817 h 355242"/>
                <a:gd name="connsiteX245" fmla="*/ 434955 w 680385"/>
                <a:gd name="connsiteY245" fmla="*/ 71333 h 355242"/>
                <a:gd name="connsiteX246" fmla="*/ 434562 w 680385"/>
                <a:gd name="connsiteY246" fmla="*/ 70244 h 355242"/>
                <a:gd name="connsiteX247" fmla="*/ 437708 w 680385"/>
                <a:gd name="connsiteY247" fmla="*/ 69034 h 355242"/>
                <a:gd name="connsiteX248" fmla="*/ 436800 w 680385"/>
                <a:gd name="connsiteY248" fmla="*/ 66251 h 355242"/>
                <a:gd name="connsiteX249" fmla="*/ 428239 w 680385"/>
                <a:gd name="connsiteY249" fmla="*/ 57901 h 355242"/>
                <a:gd name="connsiteX250" fmla="*/ 425154 w 680385"/>
                <a:gd name="connsiteY250" fmla="*/ 56298 h 355242"/>
                <a:gd name="connsiteX251" fmla="*/ 421856 w 680385"/>
                <a:gd name="connsiteY251" fmla="*/ 55511 h 355242"/>
                <a:gd name="connsiteX252" fmla="*/ 418196 w 680385"/>
                <a:gd name="connsiteY252" fmla="*/ 55451 h 355242"/>
                <a:gd name="connsiteX253" fmla="*/ 416895 w 680385"/>
                <a:gd name="connsiteY253" fmla="*/ 55723 h 355242"/>
                <a:gd name="connsiteX254" fmla="*/ 416169 w 680385"/>
                <a:gd name="connsiteY254" fmla="*/ 57175 h 355242"/>
                <a:gd name="connsiteX255" fmla="*/ 415443 w 680385"/>
                <a:gd name="connsiteY255" fmla="*/ 59021 h 355242"/>
                <a:gd name="connsiteX256" fmla="*/ 414203 w 680385"/>
                <a:gd name="connsiteY256" fmla="*/ 60442 h 355242"/>
                <a:gd name="connsiteX257" fmla="*/ 412509 w 680385"/>
                <a:gd name="connsiteY257" fmla="*/ 60805 h 355242"/>
                <a:gd name="connsiteX258" fmla="*/ 410996 w 680385"/>
                <a:gd name="connsiteY258" fmla="*/ 60140 h 355242"/>
                <a:gd name="connsiteX259" fmla="*/ 407820 w 680385"/>
                <a:gd name="connsiteY259" fmla="*/ 57901 h 355242"/>
                <a:gd name="connsiteX260" fmla="*/ 403584 w 680385"/>
                <a:gd name="connsiteY260" fmla="*/ 57508 h 355242"/>
                <a:gd name="connsiteX261" fmla="*/ 397323 w 680385"/>
                <a:gd name="connsiteY261" fmla="*/ 63074 h 355242"/>
                <a:gd name="connsiteX262" fmla="*/ 393057 w 680385"/>
                <a:gd name="connsiteY262" fmla="*/ 63800 h 355242"/>
                <a:gd name="connsiteX263" fmla="*/ 392845 w 680385"/>
                <a:gd name="connsiteY263" fmla="*/ 63346 h 355242"/>
                <a:gd name="connsiteX264" fmla="*/ 392755 w 680385"/>
                <a:gd name="connsiteY264" fmla="*/ 62893 h 355242"/>
                <a:gd name="connsiteX265" fmla="*/ 392845 w 680385"/>
                <a:gd name="connsiteY265" fmla="*/ 62409 h 355242"/>
                <a:gd name="connsiteX266" fmla="*/ 393057 w 680385"/>
                <a:gd name="connsiteY266" fmla="*/ 61955 h 355242"/>
                <a:gd name="connsiteX267" fmla="*/ 394479 w 680385"/>
                <a:gd name="connsiteY267" fmla="*/ 60866 h 355242"/>
                <a:gd name="connsiteX268" fmla="*/ 394721 w 680385"/>
                <a:gd name="connsiteY268" fmla="*/ 59142 h 355242"/>
                <a:gd name="connsiteX269" fmla="*/ 394176 w 680385"/>
                <a:gd name="connsiteY269" fmla="*/ 57115 h 355242"/>
                <a:gd name="connsiteX270" fmla="*/ 393299 w 680385"/>
                <a:gd name="connsiteY270" fmla="*/ 55148 h 355242"/>
                <a:gd name="connsiteX271" fmla="*/ 391998 w 680385"/>
                <a:gd name="connsiteY271" fmla="*/ 52879 h 355242"/>
                <a:gd name="connsiteX272" fmla="*/ 390637 w 680385"/>
                <a:gd name="connsiteY272" fmla="*/ 51669 h 355242"/>
                <a:gd name="connsiteX273" fmla="*/ 388973 w 680385"/>
                <a:gd name="connsiteY273" fmla="*/ 51458 h 355242"/>
                <a:gd name="connsiteX274" fmla="*/ 383014 w 680385"/>
                <a:gd name="connsiteY274" fmla="*/ 53515 h 355242"/>
                <a:gd name="connsiteX275" fmla="*/ 380230 w 680385"/>
                <a:gd name="connsiteY275" fmla="*/ 53575 h 355242"/>
                <a:gd name="connsiteX276" fmla="*/ 379565 w 680385"/>
                <a:gd name="connsiteY276" fmla="*/ 53394 h 355242"/>
                <a:gd name="connsiteX277" fmla="*/ 374483 w 680385"/>
                <a:gd name="connsiteY277" fmla="*/ 45407 h 355242"/>
                <a:gd name="connsiteX278" fmla="*/ 374180 w 680385"/>
                <a:gd name="connsiteY278" fmla="*/ 44530 h 355242"/>
                <a:gd name="connsiteX279" fmla="*/ 373968 w 680385"/>
                <a:gd name="connsiteY279" fmla="*/ 43532 h 355242"/>
                <a:gd name="connsiteX280" fmla="*/ 371457 w 680385"/>
                <a:gd name="connsiteY280" fmla="*/ 43290 h 355242"/>
                <a:gd name="connsiteX281" fmla="*/ 363108 w 680385"/>
                <a:gd name="connsiteY281" fmla="*/ 45166 h 355242"/>
                <a:gd name="connsiteX282" fmla="*/ 362019 w 680385"/>
                <a:gd name="connsiteY282" fmla="*/ 44863 h 355242"/>
                <a:gd name="connsiteX283" fmla="*/ 361293 w 680385"/>
                <a:gd name="connsiteY283" fmla="*/ 44197 h 355242"/>
                <a:gd name="connsiteX284" fmla="*/ 359962 w 680385"/>
                <a:gd name="connsiteY284" fmla="*/ 42322 h 355242"/>
                <a:gd name="connsiteX285" fmla="*/ 358813 w 680385"/>
                <a:gd name="connsiteY285" fmla="*/ 41626 h 355242"/>
                <a:gd name="connsiteX286" fmla="*/ 338695 w 680385"/>
                <a:gd name="connsiteY286" fmla="*/ 35122 h 355242"/>
                <a:gd name="connsiteX287" fmla="*/ 334490 w 680385"/>
                <a:gd name="connsiteY287" fmla="*/ 35455 h 355242"/>
                <a:gd name="connsiteX288" fmla="*/ 333552 w 680385"/>
                <a:gd name="connsiteY288" fmla="*/ 36513 h 355242"/>
                <a:gd name="connsiteX289" fmla="*/ 332615 w 680385"/>
                <a:gd name="connsiteY289" fmla="*/ 38056 h 355242"/>
                <a:gd name="connsiteX290" fmla="*/ 331495 w 680385"/>
                <a:gd name="connsiteY290" fmla="*/ 39145 h 355242"/>
                <a:gd name="connsiteX291" fmla="*/ 331314 w 680385"/>
                <a:gd name="connsiteY291" fmla="*/ 39115 h 355242"/>
                <a:gd name="connsiteX292" fmla="*/ 330074 w 680385"/>
                <a:gd name="connsiteY292" fmla="*/ 38752 h 355242"/>
                <a:gd name="connsiteX293" fmla="*/ 329408 w 680385"/>
                <a:gd name="connsiteY293" fmla="*/ 37542 h 355242"/>
                <a:gd name="connsiteX294" fmla="*/ 329499 w 680385"/>
                <a:gd name="connsiteY294" fmla="*/ 36150 h 355242"/>
                <a:gd name="connsiteX295" fmla="*/ 329771 w 680385"/>
                <a:gd name="connsiteY295" fmla="*/ 34668 h 355242"/>
                <a:gd name="connsiteX296" fmla="*/ 329771 w 680385"/>
                <a:gd name="connsiteY296" fmla="*/ 33246 h 355242"/>
                <a:gd name="connsiteX297" fmla="*/ 328561 w 680385"/>
                <a:gd name="connsiteY297" fmla="*/ 30524 h 355242"/>
                <a:gd name="connsiteX298" fmla="*/ 327018 w 680385"/>
                <a:gd name="connsiteY298" fmla="*/ 29344 h 355242"/>
                <a:gd name="connsiteX299" fmla="*/ 325203 w 680385"/>
                <a:gd name="connsiteY299" fmla="*/ 28618 h 355242"/>
                <a:gd name="connsiteX300" fmla="*/ 323176 w 680385"/>
                <a:gd name="connsiteY300" fmla="*/ 27135 h 355242"/>
                <a:gd name="connsiteX301" fmla="*/ 322118 w 680385"/>
                <a:gd name="connsiteY301" fmla="*/ 25532 h 355242"/>
                <a:gd name="connsiteX302" fmla="*/ 320938 w 680385"/>
                <a:gd name="connsiteY302" fmla="*/ 23112 h 355242"/>
                <a:gd name="connsiteX303" fmla="*/ 320000 w 680385"/>
                <a:gd name="connsiteY303" fmla="*/ 20541 h 355242"/>
                <a:gd name="connsiteX304" fmla="*/ 319697 w 680385"/>
                <a:gd name="connsiteY304" fmla="*/ 18453 h 355242"/>
                <a:gd name="connsiteX305" fmla="*/ 320393 w 680385"/>
                <a:gd name="connsiteY305" fmla="*/ 15761 h 355242"/>
                <a:gd name="connsiteX306" fmla="*/ 321270 w 680385"/>
                <a:gd name="connsiteY306" fmla="*/ 14218 h 355242"/>
                <a:gd name="connsiteX307" fmla="*/ 321391 w 680385"/>
                <a:gd name="connsiteY307" fmla="*/ 12796 h 355242"/>
                <a:gd name="connsiteX308" fmla="*/ 319758 w 680385"/>
                <a:gd name="connsiteY308" fmla="*/ 10406 h 355242"/>
                <a:gd name="connsiteX309" fmla="*/ 317065 w 680385"/>
                <a:gd name="connsiteY309" fmla="*/ 9166 h 355242"/>
                <a:gd name="connsiteX310" fmla="*/ 311348 w 680385"/>
                <a:gd name="connsiteY310" fmla="*/ 9106 h 355242"/>
                <a:gd name="connsiteX311" fmla="*/ 310410 w 680385"/>
                <a:gd name="connsiteY311" fmla="*/ 6958 h 355242"/>
                <a:gd name="connsiteX312" fmla="*/ 309956 w 680385"/>
                <a:gd name="connsiteY312" fmla="*/ 4719 h 355242"/>
                <a:gd name="connsiteX313" fmla="*/ 308777 w 680385"/>
                <a:gd name="connsiteY313" fmla="*/ 4175 h 355242"/>
                <a:gd name="connsiteX314" fmla="*/ 307476 w 680385"/>
                <a:gd name="connsiteY314" fmla="*/ 5022 h 355242"/>
                <a:gd name="connsiteX315" fmla="*/ 306568 w 680385"/>
                <a:gd name="connsiteY315" fmla="*/ 6928 h 355242"/>
                <a:gd name="connsiteX316" fmla="*/ 306568 w 680385"/>
                <a:gd name="connsiteY316" fmla="*/ 6958 h 355242"/>
                <a:gd name="connsiteX317" fmla="*/ 306236 w 680385"/>
                <a:gd name="connsiteY317" fmla="*/ 8440 h 355242"/>
                <a:gd name="connsiteX318" fmla="*/ 305086 w 680385"/>
                <a:gd name="connsiteY318" fmla="*/ 8652 h 355242"/>
                <a:gd name="connsiteX319" fmla="*/ 303694 w 680385"/>
                <a:gd name="connsiteY319" fmla="*/ 7986 h 355242"/>
                <a:gd name="connsiteX320" fmla="*/ 302484 w 680385"/>
                <a:gd name="connsiteY320" fmla="*/ 6928 h 355242"/>
                <a:gd name="connsiteX321" fmla="*/ 301637 w 680385"/>
                <a:gd name="connsiteY321" fmla="*/ 5476 h 355242"/>
                <a:gd name="connsiteX322" fmla="*/ 296555 w 680385"/>
                <a:gd name="connsiteY322" fmla="*/ 4447 h 355242"/>
                <a:gd name="connsiteX323" fmla="*/ 294619 w 680385"/>
                <a:gd name="connsiteY323" fmla="*/ 2843 h 355242"/>
                <a:gd name="connsiteX324" fmla="*/ 294347 w 680385"/>
                <a:gd name="connsiteY324" fmla="*/ 4023 h 355242"/>
                <a:gd name="connsiteX325" fmla="*/ 293893 w 680385"/>
                <a:gd name="connsiteY325" fmla="*/ 4719 h 355242"/>
                <a:gd name="connsiteX326" fmla="*/ 292441 w 680385"/>
                <a:gd name="connsiteY326" fmla="*/ 5687 h 355242"/>
                <a:gd name="connsiteX327" fmla="*/ 291866 w 680385"/>
                <a:gd name="connsiteY327" fmla="*/ 5808 h 355242"/>
                <a:gd name="connsiteX328" fmla="*/ 291291 w 680385"/>
                <a:gd name="connsiteY328" fmla="*/ 6050 h 355242"/>
                <a:gd name="connsiteX329" fmla="*/ 290777 w 680385"/>
                <a:gd name="connsiteY329" fmla="*/ 6444 h 355242"/>
                <a:gd name="connsiteX330" fmla="*/ 290323 w 680385"/>
                <a:gd name="connsiteY330" fmla="*/ 6958 h 355242"/>
                <a:gd name="connsiteX331" fmla="*/ 290293 w 680385"/>
                <a:gd name="connsiteY331" fmla="*/ 6958 h 355242"/>
                <a:gd name="connsiteX332" fmla="*/ 290717 w 680385"/>
                <a:gd name="connsiteY332" fmla="*/ 8591 h 355242"/>
                <a:gd name="connsiteX333" fmla="*/ 292350 w 680385"/>
                <a:gd name="connsiteY333" fmla="*/ 9771 h 355242"/>
                <a:gd name="connsiteX334" fmla="*/ 293893 w 680385"/>
                <a:gd name="connsiteY334" fmla="*/ 11859 h 355242"/>
                <a:gd name="connsiteX335" fmla="*/ 294014 w 680385"/>
                <a:gd name="connsiteY335" fmla="*/ 16094 h 355242"/>
                <a:gd name="connsiteX336" fmla="*/ 293711 w 680385"/>
                <a:gd name="connsiteY336" fmla="*/ 16850 h 355242"/>
                <a:gd name="connsiteX337" fmla="*/ 292713 w 680385"/>
                <a:gd name="connsiteY337" fmla="*/ 17879 h 355242"/>
                <a:gd name="connsiteX338" fmla="*/ 292441 w 680385"/>
                <a:gd name="connsiteY338" fmla="*/ 18393 h 355242"/>
                <a:gd name="connsiteX339" fmla="*/ 292350 w 680385"/>
                <a:gd name="connsiteY339" fmla="*/ 19210 h 355242"/>
                <a:gd name="connsiteX340" fmla="*/ 292380 w 680385"/>
                <a:gd name="connsiteY340" fmla="*/ 19754 h 355242"/>
                <a:gd name="connsiteX341" fmla="*/ 292501 w 680385"/>
                <a:gd name="connsiteY341" fmla="*/ 20178 h 355242"/>
                <a:gd name="connsiteX342" fmla="*/ 292622 w 680385"/>
                <a:gd name="connsiteY342" fmla="*/ 25260 h 355242"/>
                <a:gd name="connsiteX343" fmla="*/ 292441 w 680385"/>
                <a:gd name="connsiteY343" fmla="*/ 26531 h 355242"/>
                <a:gd name="connsiteX344" fmla="*/ 280945 w 680385"/>
                <a:gd name="connsiteY344" fmla="*/ 25744 h 355242"/>
                <a:gd name="connsiteX345" fmla="*/ 277285 w 680385"/>
                <a:gd name="connsiteY345" fmla="*/ 26682 h 355242"/>
                <a:gd name="connsiteX346" fmla="*/ 275137 w 680385"/>
                <a:gd name="connsiteY346" fmla="*/ 26621 h 355242"/>
                <a:gd name="connsiteX347" fmla="*/ 273564 w 680385"/>
                <a:gd name="connsiteY347" fmla="*/ 30524 h 355242"/>
                <a:gd name="connsiteX348" fmla="*/ 272596 w 680385"/>
                <a:gd name="connsiteY348" fmla="*/ 32218 h 355242"/>
                <a:gd name="connsiteX349" fmla="*/ 271628 w 680385"/>
                <a:gd name="connsiteY349" fmla="*/ 33246 h 355242"/>
                <a:gd name="connsiteX350" fmla="*/ 269994 w 680385"/>
                <a:gd name="connsiteY350" fmla="*/ 33670 h 355242"/>
                <a:gd name="connsiteX351" fmla="*/ 267816 w 680385"/>
                <a:gd name="connsiteY351" fmla="*/ 33579 h 355242"/>
                <a:gd name="connsiteX352" fmla="*/ 264095 w 680385"/>
                <a:gd name="connsiteY352" fmla="*/ 32823 h 355242"/>
                <a:gd name="connsiteX353" fmla="*/ 260253 w 680385"/>
                <a:gd name="connsiteY353" fmla="*/ 30130 h 355242"/>
                <a:gd name="connsiteX354" fmla="*/ 258801 w 680385"/>
                <a:gd name="connsiteY354" fmla="*/ 29404 h 355242"/>
                <a:gd name="connsiteX355" fmla="*/ 255292 w 680385"/>
                <a:gd name="connsiteY355" fmla="*/ 28497 h 355242"/>
                <a:gd name="connsiteX356" fmla="*/ 254838 w 680385"/>
                <a:gd name="connsiteY356" fmla="*/ 27408 h 355242"/>
                <a:gd name="connsiteX357" fmla="*/ 255171 w 680385"/>
                <a:gd name="connsiteY357" fmla="*/ 24776 h 355242"/>
                <a:gd name="connsiteX358" fmla="*/ 256865 w 680385"/>
                <a:gd name="connsiteY358" fmla="*/ 21085 h 355242"/>
                <a:gd name="connsiteX359" fmla="*/ 257470 w 680385"/>
                <a:gd name="connsiteY359" fmla="*/ 19149 h 355242"/>
                <a:gd name="connsiteX360" fmla="*/ 256926 w 680385"/>
                <a:gd name="connsiteY360" fmla="*/ 17485 h 355242"/>
                <a:gd name="connsiteX361" fmla="*/ 255715 w 680385"/>
                <a:gd name="connsiteY361" fmla="*/ 17455 h 355242"/>
                <a:gd name="connsiteX362" fmla="*/ 250149 w 680385"/>
                <a:gd name="connsiteY362" fmla="*/ 19573 h 355242"/>
                <a:gd name="connsiteX363" fmla="*/ 248969 w 680385"/>
                <a:gd name="connsiteY363" fmla="*/ 18756 h 355242"/>
                <a:gd name="connsiteX364" fmla="*/ 249544 w 680385"/>
                <a:gd name="connsiteY364" fmla="*/ 16971 h 355242"/>
                <a:gd name="connsiteX365" fmla="*/ 250754 w 680385"/>
                <a:gd name="connsiteY365" fmla="*/ 14884 h 355242"/>
                <a:gd name="connsiteX366" fmla="*/ 251510 w 680385"/>
                <a:gd name="connsiteY366" fmla="*/ 13099 h 355242"/>
                <a:gd name="connsiteX367" fmla="*/ 251692 w 680385"/>
                <a:gd name="connsiteY367" fmla="*/ 10890 h 355242"/>
                <a:gd name="connsiteX368" fmla="*/ 251390 w 680385"/>
                <a:gd name="connsiteY368" fmla="*/ 9469 h 355242"/>
                <a:gd name="connsiteX369" fmla="*/ 250633 w 680385"/>
                <a:gd name="connsiteY369" fmla="*/ 8289 h 355242"/>
                <a:gd name="connsiteX370" fmla="*/ 249393 w 680385"/>
                <a:gd name="connsiteY370" fmla="*/ 6958 h 355242"/>
                <a:gd name="connsiteX371" fmla="*/ 248183 w 680385"/>
                <a:gd name="connsiteY371" fmla="*/ 6050 h 355242"/>
                <a:gd name="connsiteX372" fmla="*/ 245460 w 680385"/>
                <a:gd name="connsiteY372" fmla="*/ 5415 h 355242"/>
                <a:gd name="connsiteX373" fmla="*/ 244220 w 680385"/>
                <a:gd name="connsiteY373" fmla="*/ 4598 h 355242"/>
                <a:gd name="connsiteX374" fmla="*/ 243252 w 680385"/>
                <a:gd name="connsiteY374" fmla="*/ 3418 h 355242"/>
                <a:gd name="connsiteX375" fmla="*/ 242919 w 680385"/>
                <a:gd name="connsiteY375" fmla="*/ 2541 h 355242"/>
                <a:gd name="connsiteX376" fmla="*/ 242708 w 680385"/>
                <a:gd name="connsiteY376" fmla="*/ 1634 h 355242"/>
                <a:gd name="connsiteX377" fmla="*/ 242102 w 680385"/>
                <a:gd name="connsiteY377" fmla="*/ 393 h 355242"/>
                <a:gd name="connsiteX378" fmla="*/ 241255 w 680385"/>
                <a:gd name="connsiteY378" fmla="*/ 2420 h 355242"/>
                <a:gd name="connsiteX379" fmla="*/ 240106 w 680385"/>
                <a:gd name="connsiteY379" fmla="*/ 2965 h 355242"/>
                <a:gd name="connsiteX380" fmla="*/ 236445 w 680385"/>
                <a:gd name="connsiteY380" fmla="*/ 2783 h 355242"/>
                <a:gd name="connsiteX381" fmla="*/ 233632 w 680385"/>
                <a:gd name="connsiteY381" fmla="*/ 3933 h 355242"/>
                <a:gd name="connsiteX382" fmla="*/ 232513 w 680385"/>
                <a:gd name="connsiteY382" fmla="*/ 3903 h 355242"/>
                <a:gd name="connsiteX383" fmla="*/ 231423 w 680385"/>
                <a:gd name="connsiteY383" fmla="*/ 3358 h 355242"/>
                <a:gd name="connsiteX384" fmla="*/ 230758 w 680385"/>
                <a:gd name="connsiteY384" fmla="*/ 2571 h 355242"/>
                <a:gd name="connsiteX385" fmla="*/ 230244 w 680385"/>
                <a:gd name="connsiteY385" fmla="*/ 1754 h 355242"/>
                <a:gd name="connsiteX386" fmla="*/ 229488 w 680385"/>
                <a:gd name="connsiteY386" fmla="*/ 1119 h 355242"/>
                <a:gd name="connsiteX387" fmla="*/ 225736 w 680385"/>
                <a:gd name="connsiteY387" fmla="*/ 0 h 355242"/>
                <a:gd name="connsiteX388" fmla="*/ 222530 w 680385"/>
                <a:gd name="connsiteY388" fmla="*/ 454 h 355242"/>
                <a:gd name="connsiteX389" fmla="*/ 220140 w 680385"/>
                <a:gd name="connsiteY389" fmla="*/ 2723 h 355242"/>
                <a:gd name="connsiteX390" fmla="*/ 218718 w 680385"/>
                <a:gd name="connsiteY390" fmla="*/ 6958 h 355242"/>
                <a:gd name="connsiteX391" fmla="*/ 217599 w 680385"/>
                <a:gd name="connsiteY391" fmla="*/ 8440 h 355242"/>
                <a:gd name="connsiteX392" fmla="*/ 218748 w 680385"/>
                <a:gd name="connsiteY392" fmla="*/ 9136 h 355242"/>
                <a:gd name="connsiteX393" fmla="*/ 222167 w 680385"/>
                <a:gd name="connsiteY393" fmla="*/ 9560 h 355242"/>
                <a:gd name="connsiteX394" fmla="*/ 224163 w 680385"/>
                <a:gd name="connsiteY394" fmla="*/ 10316 h 355242"/>
                <a:gd name="connsiteX395" fmla="*/ 224012 w 680385"/>
                <a:gd name="connsiteY395" fmla="*/ 10618 h 355242"/>
                <a:gd name="connsiteX396" fmla="*/ 223165 w 680385"/>
                <a:gd name="connsiteY396" fmla="*/ 11133 h 355242"/>
                <a:gd name="connsiteX397" fmla="*/ 223074 w 680385"/>
                <a:gd name="connsiteY397" fmla="*/ 12675 h 355242"/>
                <a:gd name="connsiteX398" fmla="*/ 225646 w 680385"/>
                <a:gd name="connsiteY398" fmla="*/ 15035 h 355242"/>
                <a:gd name="connsiteX399" fmla="*/ 229336 w 680385"/>
                <a:gd name="connsiteY399" fmla="*/ 16033 h 355242"/>
                <a:gd name="connsiteX400" fmla="*/ 232029 w 680385"/>
                <a:gd name="connsiteY400" fmla="*/ 17455 h 355242"/>
                <a:gd name="connsiteX401" fmla="*/ 231423 w 680385"/>
                <a:gd name="connsiteY401" fmla="*/ 21115 h 355242"/>
                <a:gd name="connsiteX402" fmla="*/ 228489 w 680385"/>
                <a:gd name="connsiteY402" fmla="*/ 23415 h 355242"/>
                <a:gd name="connsiteX403" fmla="*/ 220563 w 680385"/>
                <a:gd name="connsiteY403" fmla="*/ 22840 h 355242"/>
                <a:gd name="connsiteX404" fmla="*/ 216964 w 680385"/>
                <a:gd name="connsiteY404" fmla="*/ 23536 h 355242"/>
                <a:gd name="connsiteX405" fmla="*/ 215875 w 680385"/>
                <a:gd name="connsiteY405" fmla="*/ 24534 h 355242"/>
                <a:gd name="connsiteX406" fmla="*/ 214029 w 680385"/>
                <a:gd name="connsiteY406" fmla="*/ 27105 h 355242"/>
                <a:gd name="connsiteX407" fmla="*/ 212819 w 680385"/>
                <a:gd name="connsiteY407" fmla="*/ 28164 h 355242"/>
                <a:gd name="connsiteX408" fmla="*/ 197118 w 680385"/>
                <a:gd name="connsiteY408" fmla="*/ 34789 h 355242"/>
                <a:gd name="connsiteX409" fmla="*/ 195182 w 680385"/>
                <a:gd name="connsiteY409" fmla="*/ 34910 h 355242"/>
                <a:gd name="connsiteX410" fmla="*/ 191492 w 680385"/>
                <a:gd name="connsiteY410" fmla="*/ 34456 h 355242"/>
                <a:gd name="connsiteX411" fmla="*/ 189525 w 680385"/>
                <a:gd name="connsiteY411" fmla="*/ 34850 h 355242"/>
                <a:gd name="connsiteX412" fmla="*/ 188467 w 680385"/>
                <a:gd name="connsiteY412" fmla="*/ 35576 h 355242"/>
                <a:gd name="connsiteX413" fmla="*/ 186893 w 680385"/>
                <a:gd name="connsiteY413" fmla="*/ 37391 h 355242"/>
                <a:gd name="connsiteX414" fmla="*/ 185895 w 680385"/>
                <a:gd name="connsiteY414" fmla="*/ 38086 h 355242"/>
                <a:gd name="connsiteX415" fmla="*/ 184625 w 680385"/>
                <a:gd name="connsiteY415" fmla="*/ 38268 h 355242"/>
                <a:gd name="connsiteX416" fmla="*/ 183626 w 680385"/>
                <a:gd name="connsiteY416" fmla="*/ 37996 h 355242"/>
                <a:gd name="connsiteX417" fmla="*/ 182779 w 680385"/>
                <a:gd name="connsiteY417" fmla="*/ 38026 h 355242"/>
                <a:gd name="connsiteX418" fmla="*/ 181872 w 680385"/>
                <a:gd name="connsiteY418" fmla="*/ 39055 h 355242"/>
                <a:gd name="connsiteX419" fmla="*/ 181448 w 680385"/>
                <a:gd name="connsiteY419" fmla="*/ 40476 h 355242"/>
                <a:gd name="connsiteX420" fmla="*/ 181569 w 680385"/>
                <a:gd name="connsiteY420" fmla="*/ 41717 h 355242"/>
                <a:gd name="connsiteX421" fmla="*/ 181781 w 680385"/>
                <a:gd name="connsiteY421" fmla="*/ 42745 h 355242"/>
                <a:gd name="connsiteX422" fmla="*/ 181751 w 680385"/>
                <a:gd name="connsiteY422" fmla="*/ 43502 h 355242"/>
                <a:gd name="connsiteX423" fmla="*/ 181055 w 680385"/>
                <a:gd name="connsiteY423" fmla="*/ 44439 h 355242"/>
                <a:gd name="connsiteX424" fmla="*/ 180480 w 680385"/>
                <a:gd name="connsiteY424" fmla="*/ 44621 h 355242"/>
                <a:gd name="connsiteX425" fmla="*/ 179875 w 680385"/>
                <a:gd name="connsiteY425" fmla="*/ 44621 h 355242"/>
                <a:gd name="connsiteX426" fmla="*/ 176971 w 680385"/>
                <a:gd name="connsiteY426" fmla="*/ 46285 h 355242"/>
                <a:gd name="connsiteX427" fmla="*/ 175126 w 680385"/>
                <a:gd name="connsiteY427" fmla="*/ 46648 h 355242"/>
                <a:gd name="connsiteX428" fmla="*/ 170527 w 680385"/>
                <a:gd name="connsiteY428" fmla="*/ 46164 h 355242"/>
                <a:gd name="connsiteX429" fmla="*/ 168349 w 680385"/>
                <a:gd name="connsiteY429" fmla="*/ 46375 h 355242"/>
                <a:gd name="connsiteX430" fmla="*/ 164507 w 680385"/>
                <a:gd name="connsiteY430" fmla="*/ 47676 h 355242"/>
                <a:gd name="connsiteX431" fmla="*/ 162601 w 680385"/>
                <a:gd name="connsiteY431" fmla="*/ 48039 h 355242"/>
                <a:gd name="connsiteX432" fmla="*/ 153556 w 680385"/>
                <a:gd name="connsiteY432" fmla="*/ 47979 h 355242"/>
                <a:gd name="connsiteX433" fmla="*/ 148988 w 680385"/>
                <a:gd name="connsiteY433" fmla="*/ 48765 h 355242"/>
                <a:gd name="connsiteX434" fmla="*/ 144874 w 680385"/>
                <a:gd name="connsiteY434" fmla="*/ 51064 h 355242"/>
                <a:gd name="connsiteX435" fmla="*/ 146024 w 680385"/>
                <a:gd name="connsiteY435" fmla="*/ 53303 h 355242"/>
                <a:gd name="connsiteX436" fmla="*/ 145630 w 680385"/>
                <a:gd name="connsiteY436" fmla="*/ 55269 h 355242"/>
                <a:gd name="connsiteX437" fmla="*/ 144269 w 680385"/>
                <a:gd name="connsiteY437" fmla="*/ 56873 h 355242"/>
                <a:gd name="connsiteX438" fmla="*/ 142605 w 680385"/>
                <a:gd name="connsiteY438" fmla="*/ 58022 h 355242"/>
                <a:gd name="connsiteX439" fmla="*/ 143180 w 680385"/>
                <a:gd name="connsiteY439" fmla="*/ 59202 h 355242"/>
                <a:gd name="connsiteX440" fmla="*/ 143120 w 680385"/>
                <a:gd name="connsiteY440" fmla="*/ 60079 h 355242"/>
                <a:gd name="connsiteX441" fmla="*/ 142485 w 680385"/>
                <a:gd name="connsiteY441" fmla="*/ 60745 h 355242"/>
                <a:gd name="connsiteX442" fmla="*/ 141516 w 680385"/>
                <a:gd name="connsiteY442" fmla="*/ 61289 h 355242"/>
                <a:gd name="connsiteX443" fmla="*/ 139762 w 680385"/>
                <a:gd name="connsiteY443" fmla="*/ 63286 h 355242"/>
                <a:gd name="connsiteX444" fmla="*/ 138037 w 680385"/>
                <a:gd name="connsiteY444" fmla="*/ 64738 h 355242"/>
                <a:gd name="connsiteX445" fmla="*/ 136162 w 680385"/>
                <a:gd name="connsiteY445" fmla="*/ 65131 h 355242"/>
                <a:gd name="connsiteX446" fmla="*/ 133923 w 680385"/>
                <a:gd name="connsiteY446" fmla="*/ 64133 h 355242"/>
                <a:gd name="connsiteX447" fmla="*/ 133258 w 680385"/>
                <a:gd name="connsiteY447" fmla="*/ 63377 h 355242"/>
                <a:gd name="connsiteX448" fmla="*/ 131836 w 680385"/>
                <a:gd name="connsiteY448" fmla="*/ 61168 h 355242"/>
                <a:gd name="connsiteX449" fmla="*/ 131291 w 680385"/>
                <a:gd name="connsiteY449" fmla="*/ 60624 h 355242"/>
                <a:gd name="connsiteX450" fmla="*/ 130081 w 680385"/>
                <a:gd name="connsiteY450" fmla="*/ 60200 h 355242"/>
                <a:gd name="connsiteX451" fmla="*/ 129809 w 680385"/>
                <a:gd name="connsiteY451" fmla="*/ 60382 h 355242"/>
                <a:gd name="connsiteX452" fmla="*/ 129748 w 680385"/>
                <a:gd name="connsiteY452" fmla="*/ 60896 h 355242"/>
                <a:gd name="connsiteX453" fmla="*/ 129144 w 680385"/>
                <a:gd name="connsiteY453" fmla="*/ 61501 h 355242"/>
                <a:gd name="connsiteX454" fmla="*/ 125362 w 680385"/>
                <a:gd name="connsiteY454" fmla="*/ 63952 h 355242"/>
                <a:gd name="connsiteX455" fmla="*/ 124787 w 680385"/>
                <a:gd name="connsiteY455" fmla="*/ 64889 h 355242"/>
                <a:gd name="connsiteX456" fmla="*/ 123728 w 680385"/>
                <a:gd name="connsiteY456" fmla="*/ 67854 h 355242"/>
                <a:gd name="connsiteX457" fmla="*/ 121611 w 680385"/>
                <a:gd name="connsiteY457" fmla="*/ 68822 h 355242"/>
                <a:gd name="connsiteX458" fmla="*/ 119947 w 680385"/>
                <a:gd name="connsiteY458" fmla="*/ 68157 h 355242"/>
                <a:gd name="connsiteX459" fmla="*/ 118314 w 680385"/>
                <a:gd name="connsiteY459" fmla="*/ 67098 h 355242"/>
                <a:gd name="connsiteX460" fmla="*/ 116347 w 680385"/>
                <a:gd name="connsiteY460" fmla="*/ 66916 h 355242"/>
                <a:gd name="connsiteX461" fmla="*/ 113020 w 680385"/>
                <a:gd name="connsiteY461" fmla="*/ 75175 h 355242"/>
                <a:gd name="connsiteX462" fmla="*/ 111567 w 680385"/>
                <a:gd name="connsiteY462" fmla="*/ 77595 h 355242"/>
                <a:gd name="connsiteX463" fmla="*/ 109087 w 680385"/>
                <a:gd name="connsiteY463" fmla="*/ 79289 h 355242"/>
                <a:gd name="connsiteX464" fmla="*/ 103793 w 680385"/>
                <a:gd name="connsiteY464" fmla="*/ 78986 h 355242"/>
                <a:gd name="connsiteX465" fmla="*/ 100949 w 680385"/>
                <a:gd name="connsiteY465" fmla="*/ 79894 h 355242"/>
                <a:gd name="connsiteX466" fmla="*/ 100919 w 680385"/>
                <a:gd name="connsiteY466" fmla="*/ 79924 h 355242"/>
                <a:gd name="connsiteX467" fmla="*/ 100919 w 680385"/>
                <a:gd name="connsiteY467" fmla="*/ 79924 h 355242"/>
                <a:gd name="connsiteX468" fmla="*/ 99981 w 680385"/>
                <a:gd name="connsiteY468" fmla="*/ 80136 h 355242"/>
                <a:gd name="connsiteX469" fmla="*/ 99043 w 680385"/>
                <a:gd name="connsiteY469" fmla="*/ 80227 h 355242"/>
                <a:gd name="connsiteX470" fmla="*/ 98106 w 680385"/>
                <a:gd name="connsiteY470" fmla="*/ 80136 h 355242"/>
                <a:gd name="connsiteX471" fmla="*/ 97228 w 680385"/>
                <a:gd name="connsiteY471" fmla="*/ 79894 h 355242"/>
                <a:gd name="connsiteX472" fmla="*/ 96442 w 680385"/>
                <a:gd name="connsiteY472" fmla="*/ 79380 h 355242"/>
                <a:gd name="connsiteX473" fmla="*/ 95625 w 680385"/>
                <a:gd name="connsiteY473" fmla="*/ 79198 h 355242"/>
                <a:gd name="connsiteX474" fmla="*/ 94778 w 680385"/>
                <a:gd name="connsiteY474" fmla="*/ 79380 h 355242"/>
                <a:gd name="connsiteX475" fmla="*/ 93931 w 680385"/>
                <a:gd name="connsiteY475" fmla="*/ 79924 h 355242"/>
                <a:gd name="connsiteX476" fmla="*/ 93296 w 680385"/>
                <a:gd name="connsiteY476" fmla="*/ 85854 h 355242"/>
                <a:gd name="connsiteX477" fmla="*/ 92630 w 680385"/>
                <a:gd name="connsiteY477" fmla="*/ 88485 h 355242"/>
                <a:gd name="connsiteX478" fmla="*/ 91208 w 680385"/>
                <a:gd name="connsiteY478" fmla="*/ 90028 h 355242"/>
                <a:gd name="connsiteX479" fmla="*/ 89030 w 680385"/>
                <a:gd name="connsiteY479" fmla="*/ 92025 h 355242"/>
                <a:gd name="connsiteX480" fmla="*/ 88183 w 680385"/>
                <a:gd name="connsiteY480" fmla="*/ 92751 h 355242"/>
                <a:gd name="connsiteX481" fmla="*/ 84765 w 680385"/>
                <a:gd name="connsiteY481" fmla="*/ 92569 h 355242"/>
                <a:gd name="connsiteX482" fmla="*/ 75417 w 680385"/>
                <a:gd name="connsiteY482" fmla="*/ 87366 h 355242"/>
                <a:gd name="connsiteX483" fmla="*/ 74600 w 680385"/>
                <a:gd name="connsiteY483" fmla="*/ 87124 h 355242"/>
                <a:gd name="connsiteX484" fmla="*/ 73693 w 680385"/>
                <a:gd name="connsiteY484" fmla="*/ 87306 h 355242"/>
                <a:gd name="connsiteX485" fmla="*/ 72271 w 680385"/>
                <a:gd name="connsiteY485" fmla="*/ 88153 h 355242"/>
                <a:gd name="connsiteX486" fmla="*/ 71666 w 680385"/>
                <a:gd name="connsiteY486" fmla="*/ 88395 h 355242"/>
                <a:gd name="connsiteX487" fmla="*/ 69851 w 680385"/>
                <a:gd name="connsiteY487" fmla="*/ 88153 h 355242"/>
                <a:gd name="connsiteX488" fmla="*/ 68247 w 680385"/>
                <a:gd name="connsiteY488" fmla="*/ 88244 h 355242"/>
                <a:gd name="connsiteX489" fmla="*/ 66583 w 680385"/>
                <a:gd name="connsiteY489" fmla="*/ 88788 h 355242"/>
                <a:gd name="connsiteX490" fmla="*/ 65313 w 680385"/>
                <a:gd name="connsiteY490" fmla="*/ 89968 h 355242"/>
                <a:gd name="connsiteX491" fmla="*/ 63075 w 680385"/>
                <a:gd name="connsiteY491" fmla="*/ 93144 h 355242"/>
                <a:gd name="connsiteX492" fmla="*/ 61955 w 680385"/>
                <a:gd name="connsiteY492" fmla="*/ 94142 h 355242"/>
                <a:gd name="connsiteX493" fmla="*/ 60654 w 680385"/>
                <a:gd name="connsiteY493" fmla="*/ 94264 h 355242"/>
                <a:gd name="connsiteX494" fmla="*/ 55269 w 680385"/>
                <a:gd name="connsiteY494" fmla="*/ 93356 h 355242"/>
                <a:gd name="connsiteX495" fmla="*/ 47737 w 680385"/>
                <a:gd name="connsiteY495" fmla="*/ 93901 h 355242"/>
                <a:gd name="connsiteX496" fmla="*/ 43683 w 680385"/>
                <a:gd name="connsiteY496" fmla="*/ 94990 h 355242"/>
                <a:gd name="connsiteX497" fmla="*/ 40900 w 680385"/>
                <a:gd name="connsiteY497" fmla="*/ 97198 h 355242"/>
                <a:gd name="connsiteX498" fmla="*/ 40144 w 680385"/>
                <a:gd name="connsiteY498" fmla="*/ 97772 h 355242"/>
                <a:gd name="connsiteX499" fmla="*/ 39781 w 680385"/>
                <a:gd name="connsiteY499" fmla="*/ 98499 h 355242"/>
                <a:gd name="connsiteX500" fmla="*/ 39569 w 680385"/>
                <a:gd name="connsiteY500" fmla="*/ 99255 h 355242"/>
                <a:gd name="connsiteX501" fmla="*/ 39297 w 680385"/>
                <a:gd name="connsiteY501" fmla="*/ 99890 h 355242"/>
                <a:gd name="connsiteX502" fmla="*/ 39357 w 680385"/>
                <a:gd name="connsiteY502" fmla="*/ 100193 h 355242"/>
                <a:gd name="connsiteX503" fmla="*/ 39478 w 680385"/>
                <a:gd name="connsiteY503" fmla="*/ 100677 h 355242"/>
                <a:gd name="connsiteX504" fmla="*/ 39539 w 680385"/>
                <a:gd name="connsiteY504" fmla="*/ 101251 h 355242"/>
                <a:gd name="connsiteX505" fmla="*/ 39297 w 680385"/>
                <a:gd name="connsiteY505" fmla="*/ 101766 h 355242"/>
                <a:gd name="connsiteX506" fmla="*/ 38904 w 680385"/>
                <a:gd name="connsiteY506" fmla="*/ 101977 h 355242"/>
                <a:gd name="connsiteX507" fmla="*/ 38026 w 680385"/>
                <a:gd name="connsiteY507" fmla="*/ 101947 h 355242"/>
                <a:gd name="connsiteX508" fmla="*/ 37633 w 680385"/>
                <a:gd name="connsiteY508" fmla="*/ 102129 h 355242"/>
                <a:gd name="connsiteX509" fmla="*/ 36453 w 680385"/>
                <a:gd name="connsiteY509" fmla="*/ 103127 h 355242"/>
                <a:gd name="connsiteX510" fmla="*/ 33489 w 680385"/>
                <a:gd name="connsiteY510" fmla="*/ 104670 h 355242"/>
                <a:gd name="connsiteX511" fmla="*/ 32400 w 680385"/>
                <a:gd name="connsiteY511" fmla="*/ 105638 h 355242"/>
                <a:gd name="connsiteX512" fmla="*/ 29284 w 680385"/>
                <a:gd name="connsiteY512" fmla="*/ 110872 h 355242"/>
                <a:gd name="connsiteX513" fmla="*/ 28134 w 680385"/>
                <a:gd name="connsiteY513" fmla="*/ 111961 h 355242"/>
                <a:gd name="connsiteX514" fmla="*/ 27045 w 680385"/>
                <a:gd name="connsiteY514" fmla="*/ 112687 h 355242"/>
                <a:gd name="connsiteX515" fmla="*/ 26198 w 680385"/>
                <a:gd name="connsiteY515" fmla="*/ 113806 h 355242"/>
                <a:gd name="connsiteX516" fmla="*/ 25926 w 680385"/>
                <a:gd name="connsiteY516" fmla="*/ 116105 h 355242"/>
                <a:gd name="connsiteX517" fmla="*/ 23929 w 680385"/>
                <a:gd name="connsiteY517" fmla="*/ 118465 h 355242"/>
                <a:gd name="connsiteX518" fmla="*/ 23415 w 680385"/>
                <a:gd name="connsiteY518" fmla="*/ 119796 h 355242"/>
                <a:gd name="connsiteX519" fmla="*/ 23082 w 680385"/>
                <a:gd name="connsiteY519" fmla="*/ 122397 h 355242"/>
                <a:gd name="connsiteX520" fmla="*/ 23415 w 680385"/>
                <a:gd name="connsiteY520" fmla="*/ 124182 h 355242"/>
                <a:gd name="connsiteX521" fmla="*/ 23990 w 680385"/>
                <a:gd name="connsiteY521" fmla="*/ 125725 h 355242"/>
                <a:gd name="connsiteX522" fmla="*/ 23990 w 680385"/>
                <a:gd name="connsiteY522" fmla="*/ 126995 h 355242"/>
                <a:gd name="connsiteX523" fmla="*/ 22568 w 680385"/>
                <a:gd name="connsiteY523" fmla="*/ 127933 h 355242"/>
                <a:gd name="connsiteX524" fmla="*/ 20874 w 680385"/>
                <a:gd name="connsiteY524" fmla="*/ 127721 h 355242"/>
                <a:gd name="connsiteX525" fmla="*/ 19845 w 680385"/>
                <a:gd name="connsiteY525" fmla="*/ 126269 h 355242"/>
                <a:gd name="connsiteX526" fmla="*/ 18635 w 680385"/>
                <a:gd name="connsiteY526" fmla="*/ 122307 h 355242"/>
                <a:gd name="connsiteX527" fmla="*/ 18514 w 680385"/>
                <a:gd name="connsiteY527" fmla="*/ 121550 h 355242"/>
                <a:gd name="connsiteX528" fmla="*/ 18363 w 680385"/>
                <a:gd name="connsiteY528" fmla="*/ 120703 h 355242"/>
                <a:gd name="connsiteX529" fmla="*/ 17939 w 680385"/>
                <a:gd name="connsiteY529" fmla="*/ 119765 h 355242"/>
                <a:gd name="connsiteX530" fmla="*/ 17485 w 680385"/>
                <a:gd name="connsiteY530" fmla="*/ 119221 h 355242"/>
                <a:gd name="connsiteX531" fmla="*/ 15731 w 680385"/>
                <a:gd name="connsiteY531" fmla="*/ 117587 h 355242"/>
                <a:gd name="connsiteX532" fmla="*/ 15489 w 680385"/>
                <a:gd name="connsiteY532" fmla="*/ 117255 h 355242"/>
                <a:gd name="connsiteX533" fmla="*/ 15368 w 680385"/>
                <a:gd name="connsiteY533" fmla="*/ 116922 h 355242"/>
                <a:gd name="connsiteX534" fmla="*/ 15489 w 680385"/>
                <a:gd name="connsiteY534" fmla="*/ 116650 h 355242"/>
                <a:gd name="connsiteX535" fmla="*/ 15731 w 680385"/>
                <a:gd name="connsiteY535" fmla="*/ 116377 h 355242"/>
                <a:gd name="connsiteX536" fmla="*/ 15882 w 680385"/>
                <a:gd name="connsiteY536" fmla="*/ 116256 h 355242"/>
                <a:gd name="connsiteX537" fmla="*/ 16003 w 680385"/>
                <a:gd name="connsiteY537" fmla="*/ 116166 h 355242"/>
                <a:gd name="connsiteX538" fmla="*/ 16155 w 680385"/>
                <a:gd name="connsiteY538" fmla="*/ 116135 h 355242"/>
                <a:gd name="connsiteX539" fmla="*/ 16306 w 680385"/>
                <a:gd name="connsiteY539" fmla="*/ 116105 h 355242"/>
                <a:gd name="connsiteX540" fmla="*/ 16729 w 680385"/>
                <a:gd name="connsiteY540" fmla="*/ 115288 h 355242"/>
                <a:gd name="connsiteX541" fmla="*/ 16790 w 680385"/>
                <a:gd name="connsiteY541" fmla="*/ 114623 h 355242"/>
                <a:gd name="connsiteX542" fmla="*/ 16457 w 680385"/>
                <a:gd name="connsiteY542" fmla="*/ 114108 h 355242"/>
                <a:gd name="connsiteX543" fmla="*/ 15731 w 680385"/>
                <a:gd name="connsiteY543" fmla="*/ 113745 h 355242"/>
                <a:gd name="connsiteX544" fmla="*/ 12857 w 680385"/>
                <a:gd name="connsiteY544" fmla="*/ 113685 h 355242"/>
                <a:gd name="connsiteX545" fmla="*/ 11405 w 680385"/>
                <a:gd name="connsiteY545" fmla="*/ 113261 h 355242"/>
                <a:gd name="connsiteX546" fmla="*/ 10255 w 680385"/>
                <a:gd name="connsiteY546" fmla="*/ 112354 h 355242"/>
                <a:gd name="connsiteX547" fmla="*/ 9862 w 680385"/>
                <a:gd name="connsiteY547" fmla="*/ 111235 h 355242"/>
                <a:gd name="connsiteX548" fmla="*/ 9892 w 680385"/>
                <a:gd name="connsiteY548" fmla="*/ 108754 h 355242"/>
                <a:gd name="connsiteX549" fmla="*/ 9318 w 680385"/>
                <a:gd name="connsiteY549" fmla="*/ 107393 h 355242"/>
                <a:gd name="connsiteX550" fmla="*/ 7351 w 680385"/>
                <a:gd name="connsiteY550" fmla="*/ 106122 h 355242"/>
                <a:gd name="connsiteX551" fmla="*/ 2541 w 680385"/>
                <a:gd name="connsiteY551" fmla="*/ 105819 h 355242"/>
                <a:gd name="connsiteX552" fmla="*/ 0 w 680385"/>
                <a:gd name="connsiteY552" fmla="*/ 105638 h 355242"/>
                <a:gd name="connsiteX553" fmla="*/ 2329 w 680385"/>
                <a:gd name="connsiteY553" fmla="*/ 107877 h 355242"/>
                <a:gd name="connsiteX554" fmla="*/ 3116 w 680385"/>
                <a:gd name="connsiteY554" fmla="*/ 109147 h 355242"/>
                <a:gd name="connsiteX555" fmla="*/ 3509 w 680385"/>
                <a:gd name="connsiteY555" fmla="*/ 111204 h 355242"/>
                <a:gd name="connsiteX556" fmla="*/ 3328 w 680385"/>
                <a:gd name="connsiteY556" fmla="*/ 113050 h 355242"/>
                <a:gd name="connsiteX557" fmla="*/ 2632 w 680385"/>
                <a:gd name="connsiteY557" fmla="*/ 113745 h 355242"/>
                <a:gd name="connsiteX558" fmla="*/ 1603 w 680385"/>
                <a:gd name="connsiteY558" fmla="*/ 114381 h 355242"/>
                <a:gd name="connsiteX559" fmla="*/ 333 w 680385"/>
                <a:gd name="connsiteY559" fmla="*/ 116105 h 355242"/>
                <a:gd name="connsiteX560" fmla="*/ 1392 w 680385"/>
                <a:gd name="connsiteY560" fmla="*/ 117829 h 355242"/>
                <a:gd name="connsiteX561" fmla="*/ 6353 w 680385"/>
                <a:gd name="connsiteY561" fmla="*/ 120673 h 355242"/>
                <a:gd name="connsiteX562" fmla="*/ 8834 w 680385"/>
                <a:gd name="connsiteY562" fmla="*/ 123184 h 355242"/>
                <a:gd name="connsiteX563" fmla="*/ 9953 w 680385"/>
                <a:gd name="connsiteY563" fmla="*/ 124787 h 355242"/>
                <a:gd name="connsiteX564" fmla="*/ 10739 w 680385"/>
                <a:gd name="connsiteY564" fmla="*/ 126481 h 355242"/>
                <a:gd name="connsiteX565" fmla="*/ 11012 w 680385"/>
                <a:gd name="connsiteY565" fmla="*/ 128659 h 355242"/>
                <a:gd name="connsiteX566" fmla="*/ 10316 w 680385"/>
                <a:gd name="connsiteY566" fmla="*/ 131957 h 355242"/>
                <a:gd name="connsiteX567" fmla="*/ 10376 w 680385"/>
                <a:gd name="connsiteY567" fmla="*/ 134104 h 355242"/>
                <a:gd name="connsiteX568" fmla="*/ 11254 w 680385"/>
                <a:gd name="connsiteY568" fmla="*/ 136283 h 355242"/>
                <a:gd name="connsiteX569" fmla="*/ 12676 w 680385"/>
                <a:gd name="connsiteY569" fmla="*/ 137493 h 355242"/>
                <a:gd name="connsiteX570" fmla="*/ 14279 w 680385"/>
                <a:gd name="connsiteY570" fmla="*/ 138340 h 355242"/>
                <a:gd name="connsiteX571" fmla="*/ 15731 w 680385"/>
                <a:gd name="connsiteY571" fmla="*/ 139489 h 355242"/>
                <a:gd name="connsiteX572" fmla="*/ 16638 w 680385"/>
                <a:gd name="connsiteY572" fmla="*/ 140911 h 355242"/>
                <a:gd name="connsiteX573" fmla="*/ 16850 w 680385"/>
                <a:gd name="connsiteY573" fmla="*/ 142393 h 355242"/>
                <a:gd name="connsiteX574" fmla="*/ 16881 w 680385"/>
                <a:gd name="connsiteY574" fmla="*/ 143694 h 355242"/>
                <a:gd name="connsiteX575" fmla="*/ 17183 w 680385"/>
                <a:gd name="connsiteY575" fmla="*/ 144602 h 355242"/>
                <a:gd name="connsiteX576" fmla="*/ 32400 w 680385"/>
                <a:gd name="connsiteY576" fmla="*/ 152104 h 355242"/>
                <a:gd name="connsiteX577" fmla="*/ 32520 w 680385"/>
                <a:gd name="connsiteY577" fmla="*/ 152104 h 355242"/>
                <a:gd name="connsiteX578" fmla="*/ 34063 w 680385"/>
                <a:gd name="connsiteY578" fmla="*/ 153526 h 355242"/>
                <a:gd name="connsiteX579" fmla="*/ 37754 w 680385"/>
                <a:gd name="connsiteY579" fmla="*/ 153859 h 355242"/>
                <a:gd name="connsiteX580" fmla="*/ 39448 w 680385"/>
                <a:gd name="connsiteY580" fmla="*/ 155341 h 355242"/>
                <a:gd name="connsiteX581" fmla="*/ 39720 w 680385"/>
                <a:gd name="connsiteY581" fmla="*/ 157459 h 355242"/>
                <a:gd name="connsiteX582" fmla="*/ 39024 w 680385"/>
                <a:gd name="connsiteY582" fmla="*/ 159395 h 355242"/>
                <a:gd name="connsiteX583" fmla="*/ 38904 w 680385"/>
                <a:gd name="connsiteY583" fmla="*/ 160937 h 355242"/>
                <a:gd name="connsiteX584" fmla="*/ 43018 w 680385"/>
                <a:gd name="connsiteY584" fmla="*/ 163176 h 355242"/>
                <a:gd name="connsiteX585" fmla="*/ 44470 w 680385"/>
                <a:gd name="connsiteY585" fmla="*/ 163660 h 355242"/>
                <a:gd name="connsiteX586" fmla="*/ 45075 w 680385"/>
                <a:gd name="connsiteY586" fmla="*/ 164719 h 355242"/>
                <a:gd name="connsiteX587" fmla="*/ 44772 w 680385"/>
                <a:gd name="connsiteY587" fmla="*/ 167502 h 355242"/>
                <a:gd name="connsiteX588" fmla="*/ 43955 w 680385"/>
                <a:gd name="connsiteY588" fmla="*/ 169710 h 355242"/>
                <a:gd name="connsiteX589" fmla="*/ 41626 w 680385"/>
                <a:gd name="connsiteY589" fmla="*/ 173643 h 355242"/>
                <a:gd name="connsiteX590" fmla="*/ 40900 w 680385"/>
                <a:gd name="connsiteY590" fmla="*/ 175852 h 355242"/>
                <a:gd name="connsiteX591" fmla="*/ 38873 w 680385"/>
                <a:gd name="connsiteY591" fmla="*/ 175277 h 355242"/>
                <a:gd name="connsiteX592" fmla="*/ 38268 w 680385"/>
                <a:gd name="connsiteY592" fmla="*/ 177304 h 355242"/>
                <a:gd name="connsiteX593" fmla="*/ 38208 w 680385"/>
                <a:gd name="connsiteY593" fmla="*/ 180298 h 355242"/>
                <a:gd name="connsiteX594" fmla="*/ 37905 w 680385"/>
                <a:gd name="connsiteY594" fmla="*/ 182658 h 355242"/>
                <a:gd name="connsiteX595" fmla="*/ 36302 w 680385"/>
                <a:gd name="connsiteY595" fmla="*/ 184140 h 355242"/>
                <a:gd name="connsiteX596" fmla="*/ 32127 w 680385"/>
                <a:gd name="connsiteY596" fmla="*/ 185774 h 355242"/>
                <a:gd name="connsiteX597" fmla="*/ 30948 w 680385"/>
                <a:gd name="connsiteY597" fmla="*/ 187922 h 355242"/>
                <a:gd name="connsiteX598" fmla="*/ 31431 w 680385"/>
                <a:gd name="connsiteY598" fmla="*/ 189434 h 355242"/>
                <a:gd name="connsiteX599" fmla="*/ 32490 w 680385"/>
                <a:gd name="connsiteY599" fmla="*/ 191249 h 355242"/>
                <a:gd name="connsiteX600" fmla="*/ 34578 w 680385"/>
                <a:gd name="connsiteY600" fmla="*/ 194002 h 355242"/>
                <a:gd name="connsiteX601" fmla="*/ 35999 w 680385"/>
                <a:gd name="connsiteY601" fmla="*/ 195213 h 355242"/>
                <a:gd name="connsiteX602" fmla="*/ 37542 w 680385"/>
                <a:gd name="connsiteY602" fmla="*/ 196180 h 355242"/>
                <a:gd name="connsiteX603" fmla="*/ 40900 w 680385"/>
                <a:gd name="connsiteY603" fmla="*/ 197663 h 355242"/>
                <a:gd name="connsiteX604" fmla="*/ 42292 w 680385"/>
                <a:gd name="connsiteY604" fmla="*/ 198329 h 355242"/>
                <a:gd name="connsiteX605" fmla="*/ 43139 w 680385"/>
                <a:gd name="connsiteY605" fmla="*/ 199841 h 355242"/>
                <a:gd name="connsiteX606" fmla="*/ 43199 w 680385"/>
                <a:gd name="connsiteY606" fmla="*/ 201747 h 355242"/>
                <a:gd name="connsiteX607" fmla="*/ 42352 w 680385"/>
                <a:gd name="connsiteY607" fmla="*/ 203501 h 355242"/>
                <a:gd name="connsiteX608" fmla="*/ 42594 w 680385"/>
                <a:gd name="connsiteY608" fmla="*/ 203652 h 355242"/>
                <a:gd name="connsiteX609" fmla="*/ 43411 w 680385"/>
                <a:gd name="connsiteY609" fmla="*/ 204015 h 355242"/>
                <a:gd name="connsiteX610" fmla="*/ 42927 w 680385"/>
                <a:gd name="connsiteY610" fmla="*/ 205165 h 355242"/>
                <a:gd name="connsiteX611" fmla="*/ 42866 w 680385"/>
                <a:gd name="connsiteY611" fmla="*/ 205498 h 355242"/>
                <a:gd name="connsiteX612" fmla="*/ 43865 w 680385"/>
                <a:gd name="connsiteY612" fmla="*/ 206648 h 355242"/>
                <a:gd name="connsiteX613" fmla="*/ 46285 w 680385"/>
                <a:gd name="connsiteY613" fmla="*/ 207857 h 355242"/>
                <a:gd name="connsiteX614" fmla="*/ 47344 w 680385"/>
                <a:gd name="connsiteY614" fmla="*/ 208946 h 355242"/>
                <a:gd name="connsiteX615" fmla="*/ 48039 w 680385"/>
                <a:gd name="connsiteY615" fmla="*/ 210489 h 355242"/>
                <a:gd name="connsiteX616" fmla="*/ 48523 w 680385"/>
                <a:gd name="connsiteY616" fmla="*/ 213636 h 355242"/>
                <a:gd name="connsiteX617" fmla="*/ 48917 w 680385"/>
                <a:gd name="connsiteY617" fmla="*/ 215300 h 355242"/>
                <a:gd name="connsiteX618" fmla="*/ 49552 w 680385"/>
                <a:gd name="connsiteY618" fmla="*/ 217024 h 355242"/>
                <a:gd name="connsiteX619" fmla="*/ 50187 w 680385"/>
                <a:gd name="connsiteY619" fmla="*/ 218294 h 355242"/>
                <a:gd name="connsiteX620" fmla="*/ 51004 w 680385"/>
                <a:gd name="connsiteY620" fmla="*/ 219353 h 355242"/>
                <a:gd name="connsiteX621" fmla="*/ 52093 w 680385"/>
                <a:gd name="connsiteY621" fmla="*/ 220412 h 355242"/>
                <a:gd name="connsiteX622" fmla="*/ 53213 w 680385"/>
                <a:gd name="connsiteY622" fmla="*/ 220714 h 355242"/>
                <a:gd name="connsiteX623" fmla="*/ 54302 w 680385"/>
                <a:gd name="connsiteY623" fmla="*/ 220594 h 355242"/>
                <a:gd name="connsiteX624" fmla="*/ 55028 w 680385"/>
                <a:gd name="connsiteY624" fmla="*/ 221138 h 355242"/>
                <a:gd name="connsiteX625" fmla="*/ 55179 w 680385"/>
                <a:gd name="connsiteY625" fmla="*/ 223528 h 355242"/>
                <a:gd name="connsiteX626" fmla="*/ 55451 w 680385"/>
                <a:gd name="connsiteY626" fmla="*/ 228217 h 355242"/>
                <a:gd name="connsiteX627" fmla="*/ 55965 w 680385"/>
                <a:gd name="connsiteY627" fmla="*/ 230486 h 355242"/>
                <a:gd name="connsiteX628" fmla="*/ 57115 w 680385"/>
                <a:gd name="connsiteY628" fmla="*/ 232573 h 355242"/>
                <a:gd name="connsiteX629" fmla="*/ 59081 w 680385"/>
                <a:gd name="connsiteY629" fmla="*/ 234055 h 355242"/>
                <a:gd name="connsiteX630" fmla="*/ 63710 w 680385"/>
                <a:gd name="connsiteY630" fmla="*/ 236082 h 355242"/>
                <a:gd name="connsiteX631" fmla="*/ 65737 w 680385"/>
                <a:gd name="connsiteY631" fmla="*/ 238018 h 355242"/>
                <a:gd name="connsiteX632" fmla="*/ 69034 w 680385"/>
                <a:gd name="connsiteY632" fmla="*/ 244795 h 355242"/>
                <a:gd name="connsiteX633" fmla="*/ 70637 w 680385"/>
                <a:gd name="connsiteY633" fmla="*/ 246307 h 355242"/>
                <a:gd name="connsiteX634" fmla="*/ 72634 w 680385"/>
                <a:gd name="connsiteY634" fmla="*/ 246973 h 355242"/>
                <a:gd name="connsiteX635" fmla="*/ 78563 w 680385"/>
                <a:gd name="connsiteY635" fmla="*/ 247790 h 355242"/>
                <a:gd name="connsiteX636" fmla="*/ 80439 w 680385"/>
                <a:gd name="connsiteY636" fmla="*/ 247547 h 355242"/>
                <a:gd name="connsiteX637" fmla="*/ 79985 w 680385"/>
                <a:gd name="connsiteY637" fmla="*/ 245732 h 355242"/>
                <a:gd name="connsiteX638" fmla="*/ 81376 w 680385"/>
                <a:gd name="connsiteY638" fmla="*/ 245309 h 355242"/>
                <a:gd name="connsiteX639" fmla="*/ 85218 w 680385"/>
                <a:gd name="connsiteY639" fmla="*/ 246307 h 355242"/>
                <a:gd name="connsiteX640" fmla="*/ 86913 w 680385"/>
                <a:gd name="connsiteY640" fmla="*/ 247124 h 355242"/>
                <a:gd name="connsiteX641" fmla="*/ 88365 w 680385"/>
                <a:gd name="connsiteY641" fmla="*/ 248213 h 355242"/>
                <a:gd name="connsiteX642" fmla="*/ 91208 w 680385"/>
                <a:gd name="connsiteY642" fmla="*/ 250966 h 355242"/>
                <a:gd name="connsiteX643" fmla="*/ 92963 w 680385"/>
                <a:gd name="connsiteY643" fmla="*/ 251632 h 355242"/>
                <a:gd name="connsiteX644" fmla="*/ 93507 w 680385"/>
                <a:gd name="connsiteY644" fmla="*/ 252781 h 355242"/>
                <a:gd name="connsiteX645" fmla="*/ 93659 w 680385"/>
                <a:gd name="connsiteY645" fmla="*/ 254173 h 355242"/>
                <a:gd name="connsiteX646" fmla="*/ 94113 w 680385"/>
                <a:gd name="connsiteY646" fmla="*/ 255473 h 355242"/>
                <a:gd name="connsiteX647" fmla="*/ 97319 w 680385"/>
                <a:gd name="connsiteY647" fmla="*/ 259013 h 355242"/>
                <a:gd name="connsiteX648" fmla="*/ 97319 w 680385"/>
                <a:gd name="connsiteY648" fmla="*/ 259013 h 355242"/>
                <a:gd name="connsiteX649" fmla="*/ 97349 w 680385"/>
                <a:gd name="connsiteY649" fmla="*/ 259013 h 355242"/>
                <a:gd name="connsiteX650" fmla="*/ 98590 w 680385"/>
                <a:gd name="connsiteY650" fmla="*/ 259678 h 355242"/>
                <a:gd name="connsiteX651" fmla="*/ 107998 w 680385"/>
                <a:gd name="connsiteY651" fmla="*/ 271446 h 355242"/>
                <a:gd name="connsiteX652" fmla="*/ 109329 w 680385"/>
                <a:gd name="connsiteY652" fmla="*/ 274229 h 355242"/>
                <a:gd name="connsiteX653" fmla="*/ 110932 w 680385"/>
                <a:gd name="connsiteY653" fmla="*/ 276589 h 355242"/>
                <a:gd name="connsiteX654" fmla="*/ 113776 w 680385"/>
                <a:gd name="connsiteY654" fmla="*/ 278132 h 355242"/>
                <a:gd name="connsiteX655" fmla="*/ 119886 w 680385"/>
                <a:gd name="connsiteY655" fmla="*/ 278404 h 355242"/>
                <a:gd name="connsiteX656" fmla="*/ 121883 w 680385"/>
                <a:gd name="connsiteY656" fmla="*/ 279100 h 355242"/>
                <a:gd name="connsiteX657" fmla="*/ 123093 w 680385"/>
                <a:gd name="connsiteY657" fmla="*/ 280098 h 355242"/>
                <a:gd name="connsiteX658" fmla="*/ 126179 w 680385"/>
                <a:gd name="connsiteY658" fmla="*/ 283849 h 355242"/>
                <a:gd name="connsiteX659" fmla="*/ 130444 w 680385"/>
                <a:gd name="connsiteY659" fmla="*/ 287873 h 355242"/>
                <a:gd name="connsiteX660" fmla="*/ 131563 w 680385"/>
                <a:gd name="connsiteY660" fmla="*/ 290323 h 355242"/>
                <a:gd name="connsiteX661" fmla="*/ 131624 w 680385"/>
                <a:gd name="connsiteY661" fmla="*/ 294256 h 355242"/>
                <a:gd name="connsiteX662" fmla="*/ 133076 w 680385"/>
                <a:gd name="connsiteY662" fmla="*/ 296404 h 355242"/>
                <a:gd name="connsiteX663" fmla="*/ 135980 w 680385"/>
                <a:gd name="connsiteY663" fmla="*/ 298915 h 355242"/>
                <a:gd name="connsiteX664" fmla="*/ 139157 w 680385"/>
                <a:gd name="connsiteY664" fmla="*/ 301002 h 355242"/>
                <a:gd name="connsiteX665" fmla="*/ 141516 w 680385"/>
                <a:gd name="connsiteY665" fmla="*/ 302061 h 355242"/>
                <a:gd name="connsiteX666" fmla="*/ 142545 w 680385"/>
                <a:gd name="connsiteY666" fmla="*/ 299610 h 355242"/>
                <a:gd name="connsiteX667" fmla="*/ 143513 w 680385"/>
                <a:gd name="connsiteY667" fmla="*/ 298067 h 355242"/>
                <a:gd name="connsiteX668" fmla="*/ 144874 w 680385"/>
                <a:gd name="connsiteY668" fmla="*/ 297462 h 355242"/>
                <a:gd name="connsiteX669" fmla="*/ 145540 w 680385"/>
                <a:gd name="connsiteY669" fmla="*/ 297583 h 355242"/>
                <a:gd name="connsiteX670" fmla="*/ 147204 w 680385"/>
                <a:gd name="connsiteY670" fmla="*/ 297916 h 355242"/>
                <a:gd name="connsiteX671" fmla="*/ 148988 w 680385"/>
                <a:gd name="connsiteY671" fmla="*/ 298915 h 355242"/>
                <a:gd name="connsiteX672" fmla="*/ 150683 w 680385"/>
                <a:gd name="connsiteY672" fmla="*/ 300155 h 355242"/>
                <a:gd name="connsiteX673" fmla="*/ 152407 w 680385"/>
                <a:gd name="connsiteY673" fmla="*/ 301032 h 355242"/>
                <a:gd name="connsiteX674" fmla="*/ 154222 w 680385"/>
                <a:gd name="connsiteY674" fmla="*/ 300850 h 355242"/>
                <a:gd name="connsiteX675" fmla="*/ 154464 w 680385"/>
                <a:gd name="connsiteY675" fmla="*/ 303513 h 355242"/>
                <a:gd name="connsiteX676" fmla="*/ 155553 w 680385"/>
                <a:gd name="connsiteY676" fmla="*/ 306054 h 355242"/>
                <a:gd name="connsiteX677" fmla="*/ 157126 w 680385"/>
                <a:gd name="connsiteY677" fmla="*/ 308262 h 355242"/>
                <a:gd name="connsiteX678" fmla="*/ 158820 w 680385"/>
                <a:gd name="connsiteY678" fmla="*/ 309835 h 355242"/>
                <a:gd name="connsiteX679" fmla="*/ 160726 w 680385"/>
                <a:gd name="connsiteY679" fmla="*/ 310652 h 355242"/>
                <a:gd name="connsiteX680" fmla="*/ 164477 w 680385"/>
                <a:gd name="connsiteY680" fmla="*/ 311196 h 355242"/>
                <a:gd name="connsiteX681" fmla="*/ 165899 w 680385"/>
                <a:gd name="connsiteY681" fmla="*/ 311923 h 355242"/>
                <a:gd name="connsiteX682" fmla="*/ 168229 w 680385"/>
                <a:gd name="connsiteY682" fmla="*/ 315280 h 355242"/>
                <a:gd name="connsiteX683" fmla="*/ 173099 w 680385"/>
                <a:gd name="connsiteY683" fmla="*/ 324205 h 355242"/>
                <a:gd name="connsiteX684" fmla="*/ 175065 w 680385"/>
                <a:gd name="connsiteY684" fmla="*/ 326080 h 355242"/>
                <a:gd name="connsiteX685" fmla="*/ 179119 w 680385"/>
                <a:gd name="connsiteY685" fmla="*/ 327079 h 355242"/>
                <a:gd name="connsiteX686" fmla="*/ 180995 w 680385"/>
                <a:gd name="connsiteY686" fmla="*/ 328046 h 355242"/>
                <a:gd name="connsiteX687" fmla="*/ 182840 w 680385"/>
                <a:gd name="connsiteY687" fmla="*/ 329347 h 355242"/>
                <a:gd name="connsiteX688" fmla="*/ 185048 w 680385"/>
                <a:gd name="connsiteY688" fmla="*/ 331042 h 355242"/>
                <a:gd name="connsiteX689" fmla="*/ 191824 w 680385"/>
                <a:gd name="connsiteY689" fmla="*/ 334460 h 355242"/>
                <a:gd name="connsiteX690" fmla="*/ 192702 w 680385"/>
                <a:gd name="connsiteY690" fmla="*/ 335337 h 355242"/>
                <a:gd name="connsiteX691" fmla="*/ 194365 w 680385"/>
                <a:gd name="connsiteY691" fmla="*/ 337727 h 355242"/>
                <a:gd name="connsiteX692" fmla="*/ 195031 w 680385"/>
                <a:gd name="connsiteY692" fmla="*/ 338877 h 355242"/>
                <a:gd name="connsiteX693" fmla="*/ 195545 w 680385"/>
                <a:gd name="connsiteY693" fmla="*/ 339300 h 355242"/>
                <a:gd name="connsiteX694" fmla="*/ 196241 w 680385"/>
                <a:gd name="connsiteY694" fmla="*/ 339572 h 355242"/>
                <a:gd name="connsiteX695" fmla="*/ 196846 w 680385"/>
                <a:gd name="connsiteY695" fmla="*/ 339935 h 355242"/>
                <a:gd name="connsiteX696" fmla="*/ 197088 w 680385"/>
                <a:gd name="connsiteY696" fmla="*/ 340813 h 355242"/>
                <a:gd name="connsiteX697" fmla="*/ 196907 w 680385"/>
                <a:gd name="connsiteY697" fmla="*/ 341690 h 355242"/>
                <a:gd name="connsiteX698" fmla="*/ 196453 w 680385"/>
                <a:gd name="connsiteY698" fmla="*/ 341811 h 355242"/>
                <a:gd name="connsiteX699" fmla="*/ 195969 w 680385"/>
                <a:gd name="connsiteY699" fmla="*/ 341720 h 355242"/>
                <a:gd name="connsiteX700" fmla="*/ 195666 w 680385"/>
                <a:gd name="connsiteY700" fmla="*/ 341932 h 355242"/>
                <a:gd name="connsiteX701" fmla="*/ 194971 w 680385"/>
                <a:gd name="connsiteY701" fmla="*/ 343233 h 355242"/>
                <a:gd name="connsiteX702" fmla="*/ 194426 w 680385"/>
                <a:gd name="connsiteY702" fmla="*/ 343445 h 355242"/>
                <a:gd name="connsiteX703" fmla="*/ 194214 w 680385"/>
                <a:gd name="connsiteY703" fmla="*/ 343838 h 355242"/>
                <a:gd name="connsiteX704" fmla="*/ 194699 w 680385"/>
                <a:gd name="connsiteY704" fmla="*/ 345744 h 355242"/>
                <a:gd name="connsiteX705" fmla="*/ 195122 w 680385"/>
                <a:gd name="connsiteY705" fmla="*/ 346500 h 355242"/>
                <a:gd name="connsiteX706" fmla="*/ 196877 w 680385"/>
                <a:gd name="connsiteY706" fmla="*/ 348496 h 355242"/>
                <a:gd name="connsiteX707" fmla="*/ 197724 w 680385"/>
                <a:gd name="connsiteY707" fmla="*/ 349192 h 355242"/>
                <a:gd name="connsiteX708" fmla="*/ 201142 w 680385"/>
                <a:gd name="connsiteY708" fmla="*/ 350523 h 355242"/>
                <a:gd name="connsiteX709" fmla="*/ 215390 w 680385"/>
                <a:gd name="connsiteY709" fmla="*/ 351975 h 355242"/>
                <a:gd name="connsiteX710" fmla="*/ 225373 w 680385"/>
                <a:gd name="connsiteY710" fmla="*/ 355243 h 355242"/>
                <a:gd name="connsiteX711" fmla="*/ 226341 w 680385"/>
                <a:gd name="connsiteY711" fmla="*/ 355122 h 355242"/>
                <a:gd name="connsiteX712" fmla="*/ 227128 w 680385"/>
                <a:gd name="connsiteY712" fmla="*/ 354849 h 355242"/>
                <a:gd name="connsiteX713" fmla="*/ 229155 w 680385"/>
                <a:gd name="connsiteY713" fmla="*/ 353337 h 355242"/>
                <a:gd name="connsiteX714" fmla="*/ 234388 w 680385"/>
                <a:gd name="connsiteY714" fmla="*/ 351249 h 355242"/>
                <a:gd name="connsiteX715" fmla="*/ 235991 w 680385"/>
                <a:gd name="connsiteY715" fmla="*/ 349767 h 355242"/>
                <a:gd name="connsiteX716" fmla="*/ 238260 w 680385"/>
                <a:gd name="connsiteY716" fmla="*/ 344261 h 355242"/>
                <a:gd name="connsiteX717" fmla="*/ 239712 w 680385"/>
                <a:gd name="connsiteY717" fmla="*/ 343324 h 355242"/>
                <a:gd name="connsiteX718" fmla="*/ 242102 w 680385"/>
                <a:gd name="connsiteY718" fmla="*/ 345955 h 355242"/>
                <a:gd name="connsiteX719" fmla="*/ 246126 w 680385"/>
                <a:gd name="connsiteY719" fmla="*/ 347861 h 355242"/>
                <a:gd name="connsiteX720" fmla="*/ 247336 w 680385"/>
                <a:gd name="connsiteY720" fmla="*/ 348133 h 355242"/>
                <a:gd name="connsiteX721" fmla="*/ 248818 w 680385"/>
                <a:gd name="connsiteY721" fmla="*/ 347831 h 355242"/>
                <a:gd name="connsiteX722" fmla="*/ 251843 w 680385"/>
                <a:gd name="connsiteY722" fmla="*/ 346500 h 355242"/>
                <a:gd name="connsiteX723" fmla="*/ 253386 w 680385"/>
                <a:gd name="connsiteY723" fmla="*/ 346379 h 355242"/>
                <a:gd name="connsiteX724" fmla="*/ 254052 w 680385"/>
                <a:gd name="connsiteY724" fmla="*/ 346893 h 355242"/>
                <a:gd name="connsiteX725" fmla="*/ 254173 w 680385"/>
                <a:gd name="connsiteY725" fmla="*/ 347801 h 355242"/>
                <a:gd name="connsiteX726" fmla="*/ 254173 w 680385"/>
                <a:gd name="connsiteY726" fmla="*/ 348708 h 355242"/>
                <a:gd name="connsiteX727" fmla="*/ 254505 w 680385"/>
                <a:gd name="connsiteY727" fmla="*/ 349313 h 355242"/>
                <a:gd name="connsiteX728" fmla="*/ 255262 w 680385"/>
                <a:gd name="connsiteY728" fmla="*/ 349374 h 355242"/>
                <a:gd name="connsiteX729" fmla="*/ 256804 w 680385"/>
                <a:gd name="connsiteY729" fmla="*/ 348890 h 355242"/>
                <a:gd name="connsiteX730" fmla="*/ 257470 w 680385"/>
                <a:gd name="connsiteY730" fmla="*/ 349041 h 355242"/>
                <a:gd name="connsiteX731" fmla="*/ 258559 w 680385"/>
                <a:gd name="connsiteY731" fmla="*/ 350342 h 355242"/>
                <a:gd name="connsiteX732" fmla="*/ 259134 w 680385"/>
                <a:gd name="connsiteY732" fmla="*/ 351643 h 355242"/>
                <a:gd name="connsiteX733" fmla="*/ 259920 w 680385"/>
                <a:gd name="connsiteY733" fmla="*/ 352581 h 355242"/>
                <a:gd name="connsiteX734" fmla="*/ 261584 w 680385"/>
                <a:gd name="connsiteY734" fmla="*/ 352671 h 355242"/>
                <a:gd name="connsiteX735" fmla="*/ 263157 w 680385"/>
                <a:gd name="connsiteY735" fmla="*/ 351249 h 355242"/>
                <a:gd name="connsiteX736" fmla="*/ 263611 w 680385"/>
                <a:gd name="connsiteY736" fmla="*/ 350826 h 355242"/>
                <a:gd name="connsiteX737" fmla="*/ 264125 w 680385"/>
                <a:gd name="connsiteY737" fmla="*/ 347196 h 355242"/>
                <a:gd name="connsiteX738" fmla="*/ 264065 w 680385"/>
                <a:gd name="connsiteY738" fmla="*/ 342900 h 355242"/>
                <a:gd name="connsiteX739" fmla="*/ 264428 w 680385"/>
                <a:gd name="connsiteY739" fmla="*/ 339149 h 355242"/>
                <a:gd name="connsiteX740" fmla="*/ 266334 w 680385"/>
                <a:gd name="connsiteY740" fmla="*/ 336305 h 355242"/>
                <a:gd name="connsiteX741" fmla="*/ 271628 w 680385"/>
                <a:gd name="connsiteY741" fmla="*/ 332009 h 355242"/>
                <a:gd name="connsiteX742" fmla="*/ 272142 w 680385"/>
                <a:gd name="connsiteY742" fmla="*/ 329347 h 355242"/>
                <a:gd name="connsiteX743" fmla="*/ 273140 w 680385"/>
                <a:gd name="connsiteY743" fmla="*/ 327683 h 355242"/>
                <a:gd name="connsiteX744" fmla="*/ 273534 w 680385"/>
                <a:gd name="connsiteY744" fmla="*/ 325989 h 355242"/>
                <a:gd name="connsiteX745" fmla="*/ 274138 w 680385"/>
                <a:gd name="connsiteY745" fmla="*/ 324658 h 355242"/>
                <a:gd name="connsiteX746" fmla="*/ 275651 w 680385"/>
                <a:gd name="connsiteY746" fmla="*/ 324144 h 355242"/>
                <a:gd name="connsiteX747" fmla="*/ 280915 w 680385"/>
                <a:gd name="connsiteY747" fmla="*/ 324810 h 355242"/>
                <a:gd name="connsiteX748" fmla="*/ 286118 w 680385"/>
                <a:gd name="connsiteY748" fmla="*/ 326746 h 355242"/>
                <a:gd name="connsiteX749" fmla="*/ 288145 w 680385"/>
                <a:gd name="connsiteY749" fmla="*/ 326594 h 355242"/>
                <a:gd name="connsiteX750" fmla="*/ 289294 w 680385"/>
                <a:gd name="connsiteY750" fmla="*/ 324144 h 355242"/>
                <a:gd name="connsiteX751" fmla="*/ 289083 w 680385"/>
                <a:gd name="connsiteY751" fmla="*/ 323872 h 355242"/>
                <a:gd name="connsiteX752" fmla="*/ 288659 w 680385"/>
                <a:gd name="connsiteY752" fmla="*/ 322964 h 355242"/>
                <a:gd name="connsiteX753" fmla="*/ 288205 w 680385"/>
                <a:gd name="connsiteY753" fmla="*/ 321845 h 355242"/>
                <a:gd name="connsiteX754" fmla="*/ 288024 w 680385"/>
                <a:gd name="connsiteY754" fmla="*/ 320968 h 355242"/>
                <a:gd name="connsiteX755" fmla="*/ 288175 w 680385"/>
                <a:gd name="connsiteY755" fmla="*/ 320000 h 355242"/>
                <a:gd name="connsiteX756" fmla="*/ 288901 w 680385"/>
                <a:gd name="connsiteY756" fmla="*/ 318245 h 355242"/>
                <a:gd name="connsiteX757" fmla="*/ 291019 w 680385"/>
                <a:gd name="connsiteY757" fmla="*/ 309442 h 355242"/>
                <a:gd name="connsiteX758" fmla="*/ 291049 w 680385"/>
                <a:gd name="connsiteY758" fmla="*/ 305570 h 355242"/>
                <a:gd name="connsiteX759" fmla="*/ 290626 w 680385"/>
                <a:gd name="connsiteY759" fmla="*/ 301244 h 355242"/>
                <a:gd name="connsiteX760" fmla="*/ 290686 w 680385"/>
                <a:gd name="connsiteY760" fmla="*/ 297251 h 355242"/>
                <a:gd name="connsiteX761" fmla="*/ 292047 w 680385"/>
                <a:gd name="connsiteY761" fmla="*/ 294286 h 355242"/>
                <a:gd name="connsiteX762" fmla="*/ 291957 w 680385"/>
                <a:gd name="connsiteY762" fmla="*/ 293530 h 355242"/>
                <a:gd name="connsiteX763" fmla="*/ 291957 w 680385"/>
                <a:gd name="connsiteY763" fmla="*/ 292864 h 355242"/>
                <a:gd name="connsiteX764" fmla="*/ 292108 w 680385"/>
                <a:gd name="connsiteY764" fmla="*/ 292380 h 355242"/>
                <a:gd name="connsiteX765" fmla="*/ 292441 w 680385"/>
                <a:gd name="connsiteY765" fmla="*/ 292168 h 355242"/>
                <a:gd name="connsiteX766" fmla="*/ 294619 w 680385"/>
                <a:gd name="connsiteY766" fmla="*/ 291896 h 355242"/>
                <a:gd name="connsiteX767" fmla="*/ 300215 w 680385"/>
                <a:gd name="connsiteY767" fmla="*/ 293681 h 355242"/>
                <a:gd name="connsiteX768" fmla="*/ 308051 w 680385"/>
                <a:gd name="connsiteY768" fmla="*/ 294256 h 355242"/>
                <a:gd name="connsiteX769" fmla="*/ 308807 w 680385"/>
                <a:gd name="connsiteY769" fmla="*/ 296252 h 355242"/>
                <a:gd name="connsiteX770" fmla="*/ 309230 w 680385"/>
                <a:gd name="connsiteY770" fmla="*/ 298158 h 355242"/>
                <a:gd name="connsiteX771" fmla="*/ 309170 w 680385"/>
                <a:gd name="connsiteY771" fmla="*/ 300064 h 355242"/>
                <a:gd name="connsiteX772" fmla="*/ 308504 w 680385"/>
                <a:gd name="connsiteY772" fmla="*/ 302061 h 355242"/>
                <a:gd name="connsiteX773" fmla="*/ 310501 w 680385"/>
                <a:gd name="connsiteY773" fmla="*/ 302121 h 355242"/>
                <a:gd name="connsiteX774" fmla="*/ 318185 w 680385"/>
                <a:gd name="connsiteY774" fmla="*/ 300215 h 355242"/>
                <a:gd name="connsiteX775" fmla="*/ 318699 w 680385"/>
                <a:gd name="connsiteY775" fmla="*/ 299882 h 355242"/>
                <a:gd name="connsiteX776" fmla="*/ 320091 w 680385"/>
                <a:gd name="connsiteY776" fmla="*/ 298340 h 355242"/>
                <a:gd name="connsiteX777" fmla="*/ 320454 w 680385"/>
                <a:gd name="connsiteY777" fmla="*/ 297614 h 355242"/>
                <a:gd name="connsiteX778" fmla="*/ 320665 w 680385"/>
                <a:gd name="connsiteY778" fmla="*/ 295738 h 355242"/>
                <a:gd name="connsiteX779" fmla="*/ 321089 w 680385"/>
                <a:gd name="connsiteY779" fmla="*/ 295163 h 355242"/>
                <a:gd name="connsiteX780" fmla="*/ 321875 w 680385"/>
                <a:gd name="connsiteY780" fmla="*/ 295133 h 355242"/>
                <a:gd name="connsiteX781" fmla="*/ 322359 w 680385"/>
                <a:gd name="connsiteY781" fmla="*/ 295738 h 355242"/>
                <a:gd name="connsiteX782" fmla="*/ 322783 w 680385"/>
                <a:gd name="connsiteY782" fmla="*/ 296404 h 355242"/>
                <a:gd name="connsiteX783" fmla="*/ 323297 w 680385"/>
                <a:gd name="connsiteY783" fmla="*/ 296736 h 355242"/>
                <a:gd name="connsiteX784" fmla="*/ 327986 w 680385"/>
                <a:gd name="connsiteY784" fmla="*/ 296797 h 355242"/>
                <a:gd name="connsiteX785" fmla="*/ 330255 w 680385"/>
                <a:gd name="connsiteY785" fmla="*/ 297372 h 355242"/>
                <a:gd name="connsiteX786" fmla="*/ 335065 w 680385"/>
                <a:gd name="connsiteY786" fmla="*/ 299641 h 355242"/>
                <a:gd name="connsiteX787" fmla="*/ 339542 w 680385"/>
                <a:gd name="connsiteY787" fmla="*/ 301032 h 355242"/>
                <a:gd name="connsiteX788" fmla="*/ 341720 w 680385"/>
                <a:gd name="connsiteY788" fmla="*/ 302182 h 355242"/>
                <a:gd name="connsiteX789" fmla="*/ 346682 w 680385"/>
                <a:gd name="connsiteY789" fmla="*/ 306144 h 355242"/>
                <a:gd name="connsiteX790" fmla="*/ 348981 w 680385"/>
                <a:gd name="connsiteY790" fmla="*/ 306961 h 355242"/>
                <a:gd name="connsiteX791" fmla="*/ 355001 w 680385"/>
                <a:gd name="connsiteY791" fmla="*/ 309109 h 355242"/>
                <a:gd name="connsiteX792" fmla="*/ 362806 w 680385"/>
                <a:gd name="connsiteY792" fmla="*/ 313163 h 355242"/>
                <a:gd name="connsiteX793" fmla="*/ 365044 w 680385"/>
                <a:gd name="connsiteY793" fmla="*/ 313677 h 355242"/>
                <a:gd name="connsiteX794" fmla="*/ 367374 w 680385"/>
                <a:gd name="connsiteY794" fmla="*/ 313677 h 355242"/>
                <a:gd name="connsiteX795" fmla="*/ 369067 w 680385"/>
                <a:gd name="connsiteY795" fmla="*/ 313163 h 355242"/>
                <a:gd name="connsiteX796" fmla="*/ 372637 w 680385"/>
                <a:gd name="connsiteY796" fmla="*/ 311438 h 355242"/>
                <a:gd name="connsiteX797" fmla="*/ 373515 w 680385"/>
                <a:gd name="connsiteY797" fmla="*/ 311227 h 355242"/>
                <a:gd name="connsiteX798" fmla="*/ 376600 w 680385"/>
                <a:gd name="connsiteY798" fmla="*/ 311227 h 355242"/>
                <a:gd name="connsiteX799" fmla="*/ 377175 w 680385"/>
                <a:gd name="connsiteY799" fmla="*/ 311620 h 355242"/>
                <a:gd name="connsiteX800" fmla="*/ 377599 w 680385"/>
                <a:gd name="connsiteY800" fmla="*/ 313375 h 355242"/>
                <a:gd name="connsiteX801" fmla="*/ 378083 w 680385"/>
                <a:gd name="connsiteY801" fmla="*/ 314070 h 355242"/>
                <a:gd name="connsiteX802" fmla="*/ 378778 w 680385"/>
                <a:gd name="connsiteY802" fmla="*/ 314343 h 355242"/>
                <a:gd name="connsiteX803" fmla="*/ 380684 w 680385"/>
                <a:gd name="connsiteY803" fmla="*/ 314464 h 355242"/>
                <a:gd name="connsiteX804" fmla="*/ 381804 w 680385"/>
                <a:gd name="connsiteY804" fmla="*/ 315220 h 355242"/>
                <a:gd name="connsiteX805" fmla="*/ 382530 w 680385"/>
                <a:gd name="connsiteY805" fmla="*/ 315523 h 355242"/>
                <a:gd name="connsiteX806" fmla="*/ 383377 w 680385"/>
                <a:gd name="connsiteY806" fmla="*/ 315492 h 355242"/>
                <a:gd name="connsiteX807" fmla="*/ 382348 w 680385"/>
                <a:gd name="connsiteY807" fmla="*/ 316732 h 355242"/>
                <a:gd name="connsiteX808" fmla="*/ 383619 w 680385"/>
                <a:gd name="connsiteY808" fmla="*/ 316460 h 355242"/>
                <a:gd name="connsiteX809" fmla="*/ 384738 w 680385"/>
                <a:gd name="connsiteY809" fmla="*/ 316490 h 355242"/>
                <a:gd name="connsiteX810" fmla="*/ 385494 w 680385"/>
                <a:gd name="connsiteY810" fmla="*/ 317126 h 355242"/>
                <a:gd name="connsiteX811" fmla="*/ 385615 w 680385"/>
                <a:gd name="connsiteY811" fmla="*/ 318608 h 355242"/>
                <a:gd name="connsiteX812" fmla="*/ 387309 w 680385"/>
                <a:gd name="connsiteY812" fmla="*/ 318215 h 355242"/>
                <a:gd name="connsiteX813" fmla="*/ 387854 w 680385"/>
                <a:gd name="connsiteY813" fmla="*/ 318820 h 355242"/>
                <a:gd name="connsiteX814" fmla="*/ 387854 w 680385"/>
                <a:gd name="connsiteY814" fmla="*/ 319758 h 355242"/>
                <a:gd name="connsiteX815" fmla="*/ 388005 w 680385"/>
                <a:gd name="connsiteY815" fmla="*/ 320484 h 355242"/>
                <a:gd name="connsiteX816" fmla="*/ 398109 w 680385"/>
                <a:gd name="connsiteY816" fmla="*/ 327260 h 355242"/>
                <a:gd name="connsiteX817" fmla="*/ 403463 w 680385"/>
                <a:gd name="connsiteY817" fmla="*/ 329378 h 355242"/>
                <a:gd name="connsiteX818" fmla="*/ 412751 w 680385"/>
                <a:gd name="connsiteY818" fmla="*/ 328863 h 355242"/>
                <a:gd name="connsiteX819" fmla="*/ 426818 w 680385"/>
                <a:gd name="connsiteY819" fmla="*/ 330799 h 355242"/>
                <a:gd name="connsiteX820" fmla="*/ 426938 w 680385"/>
                <a:gd name="connsiteY820" fmla="*/ 330679 h 355242"/>
                <a:gd name="connsiteX821" fmla="*/ 429026 w 680385"/>
                <a:gd name="connsiteY821" fmla="*/ 330406 h 355242"/>
                <a:gd name="connsiteX822" fmla="*/ 430357 w 680385"/>
                <a:gd name="connsiteY822" fmla="*/ 331405 h 355242"/>
                <a:gd name="connsiteX823" fmla="*/ 430902 w 680385"/>
                <a:gd name="connsiteY823" fmla="*/ 331556 h 355242"/>
                <a:gd name="connsiteX824" fmla="*/ 432505 w 680385"/>
                <a:gd name="connsiteY824" fmla="*/ 331132 h 355242"/>
                <a:gd name="connsiteX825" fmla="*/ 433624 w 680385"/>
                <a:gd name="connsiteY825" fmla="*/ 330194 h 355242"/>
                <a:gd name="connsiteX826" fmla="*/ 438706 w 680385"/>
                <a:gd name="connsiteY826" fmla="*/ 322148 h 355242"/>
                <a:gd name="connsiteX827" fmla="*/ 440461 w 680385"/>
                <a:gd name="connsiteY827" fmla="*/ 321058 h 355242"/>
                <a:gd name="connsiteX828" fmla="*/ 443365 w 680385"/>
                <a:gd name="connsiteY828" fmla="*/ 321452 h 355242"/>
                <a:gd name="connsiteX829" fmla="*/ 444394 w 680385"/>
                <a:gd name="connsiteY829" fmla="*/ 321421 h 355242"/>
                <a:gd name="connsiteX830" fmla="*/ 446209 w 680385"/>
                <a:gd name="connsiteY830" fmla="*/ 320695 h 355242"/>
                <a:gd name="connsiteX831" fmla="*/ 447147 w 680385"/>
                <a:gd name="connsiteY831" fmla="*/ 320574 h 355242"/>
                <a:gd name="connsiteX832" fmla="*/ 448084 w 680385"/>
                <a:gd name="connsiteY832" fmla="*/ 320877 h 355242"/>
                <a:gd name="connsiteX833" fmla="*/ 449778 w 680385"/>
                <a:gd name="connsiteY833" fmla="*/ 321875 h 355242"/>
                <a:gd name="connsiteX834" fmla="*/ 455798 w 680385"/>
                <a:gd name="connsiteY834" fmla="*/ 323509 h 355242"/>
                <a:gd name="connsiteX835" fmla="*/ 457644 w 680385"/>
                <a:gd name="connsiteY835" fmla="*/ 323690 h 355242"/>
                <a:gd name="connsiteX836" fmla="*/ 459580 w 680385"/>
                <a:gd name="connsiteY836" fmla="*/ 324416 h 355242"/>
                <a:gd name="connsiteX837" fmla="*/ 460366 w 680385"/>
                <a:gd name="connsiteY837" fmla="*/ 326111 h 355242"/>
                <a:gd name="connsiteX838" fmla="*/ 460760 w 680385"/>
                <a:gd name="connsiteY838" fmla="*/ 328137 h 355242"/>
                <a:gd name="connsiteX839" fmla="*/ 461455 w 680385"/>
                <a:gd name="connsiteY839" fmla="*/ 329771 h 355242"/>
                <a:gd name="connsiteX840" fmla="*/ 462787 w 680385"/>
                <a:gd name="connsiteY840" fmla="*/ 330618 h 355242"/>
                <a:gd name="connsiteX841" fmla="*/ 464390 w 680385"/>
                <a:gd name="connsiteY841" fmla="*/ 330890 h 355242"/>
                <a:gd name="connsiteX842" fmla="*/ 468232 w 680385"/>
                <a:gd name="connsiteY842" fmla="*/ 330739 h 355242"/>
                <a:gd name="connsiteX843" fmla="*/ 469775 w 680385"/>
                <a:gd name="connsiteY843" fmla="*/ 331223 h 355242"/>
                <a:gd name="connsiteX844" fmla="*/ 473405 w 680385"/>
                <a:gd name="connsiteY844" fmla="*/ 333462 h 355242"/>
                <a:gd name="connsiteX845" fmla="*/ 475250 w 680385"/>
                <a:gd name="connsiteY845" fmla="*/ 334097 h 355242"/>
                <a:gd name="connsiteX846" fmla="*/ 477186 w 680385"/>
                <a:gd name="connsiteY846" fmla="*/ 333855 h 355242"/>
                <a:gd name="connsiteX847" fmla="*/ 481058 w 680385"/>
                <a:gd name="connsiteY847" fmla="*/ 332584 h 355242"/>
                <a:gd name="connsiteX848" fmla="*/ 482722 w 680385"/>
                <a:gd name="connsiteY848" fmla="*/ 332705 h 355242"/>
                <a:gd name="connsiteX849" fmla="*/ 485112 w 680385"/>
                <a:gd name="connsiteY849" fmla="*/ 335791 h 355242"/>
                <a:gd name="connsiteX850" fmla="*/ 486504 w 680385"/>
                <a:gd name="connsiteY850" fmla="*/ 345048 h 355242"/>
                <a:gd name="connsiteX851" fmla="*/ 489952 w 680385"/>
                <a:gd name="connsiteY851" fmla="*/ 348769 h 355242"/>
                <a:gd name="connsiteX852" fmla="*/ 490194 w 680385"/>
                <a:gd name="connsiteY852" fmla="*/ 346107 h 355242"/>
                <a:gd name="connsiteX853" fmla="*/ 491798 w 680385"/>
                <a:gd name="connsiteY853" fmla="*/ 344322 h 355242"/>
                <a:gd name="connsiteX854" fmla="*/ 492947 w 680385"/>
                <a:gd name="connsiteY854" fmla="*/ 342386 h 355242"/>
                <a:gd name="connsiteX855" fmla="*/ 498060 w 680385"/>
                <a:gd name="connsiteY855" fmla="*/ 328894 h 355242"/>
                <a:gd name="connsiteX856" fmla="*/ 500510 w 680385"/>
                <a:gd name="connsiteY856" fmla="*/ 325021 h 355242"/>
                <a:gd name="connsiteX857" fmla="*/ 503989 w 680385"/>
                <a:gd name="connsiteY857" fmla="*/ 322238 h 355242"/>
                <a:gd name="connsiteX858" fmla="*/ 505411 w 680385"/>
                <a:gd name="connsiteY858" fmla="*/ 320574 h 355242"/>
                <a:gd name="connsiteX859" fmla="*/ 506016 w 680385"/>
                <a:gd name="connsiteY859" fmla="*/ 317912 h 355242"/>
                <a:gd name="connsiteX860" fmla="*/ 506923 w 680385"/>
                <a:gd name="connsiteY860" fmla="*/ 316612 h 355242"/>
                <a:gd name="connsiteX861" fmla="*/ 512339 w 680385"/>
                <a:gd name="connsiteY861" fmla="*/ 312981 h 355242"/>
                <a:gd name="connsiteX862" fmla="*/ 516846 w 680385"/>
                <a:gd name="connsiteY862" fmla="*/ 312104 h 355242"/>
                <a:gd name="connsiteX863" fmla="*/ 521686 w 680385"/>
                <a:gd name="connsiteY863" fmla="*/ 313284 h 355242"/>
                <a:gd name="connsiteX864" fmla="*/ 533151 w 680385"/>
                <a:gd name="connsiteY864" fmla="*/ 318608 h 355242"/>
                <a:gd name="connsiteX865" fmla="*/ 534906 w 680385"/>
                <a:gd name="connsiteY865" fmla="*/ 318336 h 355242"/>
                <a:gd name="connsiteX866" fmla="*/ 536872 w 680385"/>
                <a:gd name="connsiteY866" fmla="*/ 317126 h 355242"/>
                <a:gd name="connsiteX867" fmla="*/ 538718 w 680385"/>
                <a:gd name="connsiteY867" fmla="*/ 316037 h 355242"/>
                <a:gd name="connsiteX868" fmla="*/ 541107 w 680385"/>
                <a:gd name="connsiteY868" fmla="*/ 315371 h 355242"/>
                <a:gd name="connsiteX869" fmla="*/ 542560 w 680385"/>
                <a:gd name="connsiteY869" fmla="*/ 316037 h 355242"/>
                <a:gd name="connsiteX870" fmla="*/ 545645 w 680385"/>
                <a:gd name="connsiteY870" fmla="*/ 319032 h 355242"/>
                <a:gd name="connsiteX871" fmla="*/ 549336 w 680385"/>
                <a:gd name="connsiteY871" fmla="*/ 319546 h 355242"/>
                <a:gd name="connsiteX872" fmla="*/ 568667 w 680385"/>
                <a:gd name="connsiteY872" fmla="*/ 312558 h 355242"/>
                <a:gd name="connsiteX873" fmla="*/ 570451 w 680385"/>
                <a:gd name="connsiteY873" fmla="*/ 311196 h 355242"/>
                <a:gd name="connsiteX874" fmla="*/ 573900 w 680385"/>
                <a:gd name="connsiteY874" fmla="*/ 305691 h 355242"/>
                <a:gd name="connsiteX875" fmla="*/ 575534 w 680385"/>
                <a:gd name="connsiteY875" fmla="*/ 304450 h 355242"/>
                <a:gd name="connsiteX876" fmla="*/ 578014 w 680385"/>
                <a:gd name="connsiteY876" fmla="*/ 304057 h 355242"/>
                <a:gd name="connsiteX877" fmla="*/ 580132 w 680385"/>
                <a:gd name="connsiteY877" fmla="*/ 304390 h 355242"/>
                <a:gd name="connsiteX878" fmla="*/ 582068 w 680385"/>
                <a:gd name="connsiteY878" fmla="*/ 304299 h 355242"/>
                <a:gd name="connsiteX879" fmla="*/ 583913 w 680385"/>
                <a:gd name="connsiteY879" fmla="*/ 302635 h 355242"/>
                <a:gd name="connsiteX880" fmla="*/ 584730 w 680385"/>
                <a:gd name="connsiteY880" fmla="*/ 300699 h 355242"/>
                <a:gd name="connsiteX881" fmla="*/ 585517 w 680385"/>
                <a:gd name="connsiteY881" fmla="*/ 296343 h 355242"/>
                <a:gd name="connsiteX882" fmla="*/ 586152 w 680385"/>
                <a:gd name="connsiteY882" fmla="*/ 294256 h 355242"/>
                <a:gd name="connsiteX883" fmla="*/ 587483 w 680385"/>
                <a:gd name="connsiteY883" fmla="*/ 291805 h 355242"/>
                <a:gd name="connsiteX884" fmla="*/ 589570 w 680385"/>
                <a:gd name="connsiteY884" fmla="*/ 290535 h 355242"/>
                <a:gd name="connsiteX885" fmla="*/ 592021 w 680385"/>
                <a:gd name="connsiteY885" fmla="*/ 290202 h 355242"/>
                <a:gd name="connsiteX886" fmla="*/ 597406 w 680385"/>
                <a:gd name="connsiteY886" fmla="*/ 290595 h 355242"/>
                <a:gd name="connsiteX887" fmla="*/ 600763 w 680385"/>
                <a:gd name="connsiteY887" fmla="*/ 289173 h 355242"/>
                <a:gd name="connsiteX888" fmla="*/ 603728 w 680385"/>
                <a:gd name="connsiteY888" fmla="*/ 286632 h 355242"/>
                <a:gd name="connsiteX889" fmla="*/ 605815 w 680385"/>
                <a:gd name="connsiteY889" fmla="*/ 283365 h 355242"/>
                <a:gd name="connsiteX890" fmla="*/ 606481 w 680385"/>
                <a:gd name="connsiteY890" fmla="*/ 280280 h 355242"/>
                <a:gd name="connsiteX891" fmla="*/ 606360 w 680385"/>
                <a:gd name="connsiteY891" fmla="*/ 273987 h 355242"/>
                <a:gd name="connsiteX892" fmla="*/ 606330 w 680385"/>
                <a:gd name="connsiteY892" fmla="*/ 273140 h 355242"/>
                <a:gd name="connsiteX893" fmla="*/ 606693 w 680385"/>
                <a:gd name="connsiteY893" fmla="*/ 269329 h 355242"/>
                <a:gd name="connsiteX894" fmla="*/ 607994 w 680385"/>
                <a:gd name="connsiteY894" fmla="*/ 264700 h 355242"/>
                <a:gd name="connsiteX895" fmla="*/ 609839 w 680385"/>
                <a:gd name="connsiteY895" fmla="*/ 260374 h 355242"/>
                <a:gd name="connsiteX896" fmla="*/ 612289 w 680385"/>
                <a:gd name="connsiteY896" fmla="*/ 256774 h 355242"/>
                <a:gd name="connsiteX897" fmla="*/ 615223 w 680385"/>
                <a:gd name="connsiteY897" fmla="*/ 254173 h 355242"/>
                <a:gd name="connsiteX898" fmla="*/ 628776 w 680385"/>
                <a:gd name="connsiteY898" fmla="*/ 249332 h 355242"/>
                <a:gd name="connsiteX899" fmla="*/ 632497 w 680385"/>
                <a:gd name="connsiteY899" fmla="*/ 246640 h 355242"/>
                <a:gd name="connsiteX900" fmla="*/ 634887 w 680385"/>
                <a:gd name="connsiteY900" fmla="*/ 244946 h 355242"/>
                <a:gd name="connsiteX901" fmla="*/ 635129 w 680385"/>
                <a:gd name="connsiteY901" fmla="*/ 238200 h 355242"/>
                <a:gd name="connsiteX902" fmla="*/ 638063 w 680385"/>
                <a:gd name="connsiteY902" fmla="*/ 238805 h 355242"/>
                <a:gd name="connsiteX903" fmla="*/ 640302 w 680385"/>
                <a:gd name="connsiteY903" fmla="*/ 237443 h 355242"/>
                <a:gd name="connsiteX904" fmla="*/ 644598 w 680385"/>
                <a:gd name="connsiteY904" fmla="*/ 232603 h 355242"/>
                <a:gd name="connsiteX905" fmla="*/ 647925 w 680385"/>
                <a:gd name="connsiteY905" fmla="*/ 230970 h 355242"/>
                <a:gd name="connsiteX906" fmla="*/ 648742 w 680385"/>
                <a:gd name="connsiteY906" fmla="*/ 230213 h 355242"/>
                <a:gd name="connsiteX907" fmla="*/ 649256 w 680385"/>
                <a:gd name="connsiteY907" fmla="*/ 228973 h 355242"/>
                <a:gd name="connsiteX908" fmla="*/ 649499 w 680385"/>
                <a:gd name="connsiteY908" fmla="*/ 226311 h 355242"/>
                <a:gd name="connsiteX909" fmla="*/ 650013 w 680385"/>
                <a:gd name="connsiteY909" fmla="*/ 225162 h 355242"/>
                <a:gd name="connsiteX910" fmla="*/ 652100 w 680385"/>
                <a:gd name="connsiteY910" fmla="*/ 223921 h 355242"/>
                <a:gd name="connsiteX911" fmla="*/ 656547 w 680385"/>
                <a:gd name="connsiteY911" fmla="*/ 224526 h 355242"/>
                <a:gd name="connsiteX912" fmla="*/ 659421 w 680385"/>
                <a:gd name="connsiteY912" fmla="*/ 223135 h 355242"/>
                <a:gd name="connsiteX913" fmla="*/ 660117 w 680385"/>
                <a:gd name="connsiteY913" fmla="*/ 223013 h 355242"/>
                <a:gd name="connsiteX914" fmla="*/ 660813 w 680385"/>
                <a:gd name="connsiteY914" fmla="*/ 223135 h 355242"/>
                <a:gd name="connsiteX915" fmla="*/ 664110 w 680385"/>
                <a:gd name="connsiteY915" fmla="*/ 224677 h 355242"/>
                <a:gd name="connsiteX916" fmla="*/ 667014 w 680385"/>
                <a:gd name="connsiteY916" fmla="*/ 225494 h 355242"/>
                <a:gd name="connsiteX917" fmla="*/ 669827 w 680385"/>
                <a:gd name="connsiteY917" fmla="*/ 225343 h 355242"/>
                <a:gd name="connsiteX918" fmla="*/ 673972 w 680385"/>
                <a:gd name="connsiteY918" fmla="*/ 221834 h 355242"/>
                <a:gd name="connsiteX919" fmla="*/ 675847 w 680385"/>
                <a:gd name="connsiteY919" fmla="*/ 221168 h 355242"/>
                <a:gd name="connsiteX920" fmla="*/ 679962 w 680385"/>
                <a:gd name="connsiteY920" fmla="*/ 221077 h 355242"/>
                <a:gd name="connsiteX921" fmla="*/ 680385 w 680385"/>
                <a:gd name="connsiteY921" fmla="*/ 218688 h 355242"/>
                <a:gd name="connsiteX922" fmla="*/ 680113 w 680385"/>
                <a:gd name="connsiteY922" fmla="*/ 215753 h 35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680385" h="355242">
                  <a:moveTo>
                    <a:pt x="680113" y="215753"/>
                  </a:moveTo>
                  <a:lnTo>
                    <a:pt x="678661" y="209703"/>
                  </a:lnTo>
                  <a:lnTo>
                    <a:pt x="678207" y="208402"/>
                  </a:lnTo>
                  <a:lnTo>
                    <a:pt x="677027" y="205921"/>
                  </a:lnTo>
                  <a:lnTo>
                    <a:pt x="676573" y="204530"/>
                  </a:lnTo>
                  <a:lnTo>
                    <a:pt x="675878" y="199629"/>
                  </a:lnTo>
                  <a:lnTo>
                    <a:pt x="675454" y="198510"/>
                  </a:lnTo>
                  <a:lnTo>
                    <a:pt x="673942" y="197481"/>
                  </a:lnTo>
                  <a:lnTo>
                    <a:pt x="672368" y="197754"/>
                  </a:lnTo>
                  <a:lnTo>
                    <a:pt x="670826" y="198358"/>
                  </a:lnTo>
                  <a:lnTo>
                    <a:pt x="669343" y="198480"/>
                  </a:lnTo>
                  <a:lnTo>
                    <a:pt x="668073" y="197784"/>
                  </a:lnTo>
                  <a:lnTo>
                    <a:pt x="666107" y="195636"/>
                  </a:lnTo>
                  <a:lnTo>
                    <a:pt x="664775" y="194638"/>
                  </a:lnTo>
                  <a:lnTo>
                    <a:pt x="663354" y="194244"/>
                  </a:lnTo>
                  <a:lnTo>
                    <a:pt x="660238" y="194002"/>
                  </a:lnTo>
                  <a:lnTo>
                    <a:pt x="658937" y="193125"/>
                  </a:lnTo>
                  <a:lnTo>
                    <a:pt x="658271" y="192066"/>
                  </a:lnTo>
                  <a:lnTo>
                    <a:pt x="657273" y="187892"/>
                  </a:lnTo>
                  <a:lnTo>
                    <a:pt x="654913" y="183414"/>
                  </a:lnTo>
                  <a:lnTo>
                    <a:pt x="653159" y="179058"/>
                  </a:lnTo>
                  <a:lnTo>
                    <a:pt x="653129" y="175216"/>
                  </a:lnTo>
                  <a:lnTo>
                    <a:pt x="655882" y="172282"/>
                  </a:lnTo>
                  <a:lnTo>
                    <a:pt x="653189" y="170951"/>
                  </a:lnTo>
                  <a:lnTo>
                    <a:pt x="652766" y="169196"/>
                  </a:lnTo>
                  <a:lnTo>
                    <a:pt x="653008" y="166988"/>
                  </a:lnTo>
                  <a:lnTo>
                    <a:pt x="652403" y="164386"/>
                  </a:lnTo>
                  <a:lnTo>
                    <a:pt x="650920" y="163569"/>
                  </a:lnTo>
                  <a:lnTo>
                    <a:pt x="646957" y="165899"/>
                  </a:lnTo>
                  <a:lnTo>
                    <a:pt x="644598" y="165899"/>
                  </a:lnTo>
                  <a:lnTo>
                    <a:pt x="637126" y="162117"/>
                  </a:lnTo>
                  <a:lnTo>
                    <a:pt x="633223" y="160817"/>
                  </a:lnTo>
                  <a:lnTo>
                    <a:pt x="629170" y="161300"/>
                  </a:lnTo>
                  <a:lnTo>
                    <a:pt x="629381" y="161300"/>
                  </a:lnTo>
                  <a:lnTo>
                    <a:pt x="629563" y="161361"/>
                  </a:lnTo>
                  <a:lnTo>
                    <a:pt x="629714" y="161543"/>
                  </a:lnTo>
                  <a:lnTo>
                    <a:pt x="629805" y="161785"/>
                  </a:lnTo>
                  <a:lnTo>
                    <a:pt x="626991" y="164053"/>
                  </a:lnTo>
                  <a:lnTo>
                    <a:pt x="625539" y="164296"/>
                  </a:lnTo>
                  <a:lnTo>
                    <a:pt x="623543" y="162813"/>
                  </a:lnTo>
                  <a:lnTo>
                    <a:pt x="622998" y="161845"/>
                  </a:lnTo>
                  <a:lnTo>
                    <a:pt x="622272" y="159607"/>
                  </a:lnTo>
                  <a:lnTo>
                    <a:pt x="621849" y="158820"/>
                  </a:lnTo>
                  <a:lnTo>
                    <a:pt x="620669" y="158003"/>
                  </a:lnTo>
                  <a:lnTo>
                    <a:pt x="618309" y="157549"/>
                  </a:lnTo>
                  <a:lnTo>
                    <a:pt x="617129" y="157066"/>
                  </a:lnTo>
                  <a:lnTo>
                    <a:pt x="613953" y="154554"/>
                  </a:lnTo>
                  <a:lnTo>
                    <a:pt x="612410" y="153768"/>
                  </a:lnTo>
                  <a:lnTo>
                    <a:pt x="605997" y="152649"/>
                  </a:lnTo>
                  <a:lnTo>
                    <a:pt x="604696" y="151257"/>
                  </a:lnTo>
                  <a:lnTo>
                    <a:pt x="605331" y="148595"/>
                  </a:lnTo>
                  <a:lnTo>
                    <a:pt x="599463" y="145055"/>
                  </a:lnTo>
                  <a:lnTo>
                    <a:pt x="598041" y="144753"/>
                  </a:lnTo>
                  <a:lnTo>
                    <a:pt x="596377" y="144360"/>
                  </a:lnTo>
                  <a:lnTo>
                    <a:pt x="596800" y="147597"/>
                  </a:lnTo>
                  <a:lnTo>
                    <a:pt x="597345" y="147808"/>
                  </a:lnTo>
                  <a:lnTo>
                    <a:pt x="598162" y="147597"/>
                  </a:lnTo>
                  <a:lnTo>
                    <a:pt x="599009" y="147597"/>
                  </a:lnTo>
                  <a:lnTo>
                    <a:pt x="599704" y="148595"/>
                  </a:lnTo>
                  <a:lnTo>
                    <a:pt x="599886" y="150047"/>
                  </a:lnTo>
                  <a:lnTo>
                    <a:pt x="599372" y="150683"/>
                  </a:lnTo>
                  <a:lnTo>
                    <a:pt x="596105" y="151560"/>
                  </a:lnTo>
                  <a:lnTo>
                    <a:pt x="592051" y="151681"/>
                  </a:lnTo>
                  <a:lnTo>
                    <a:pt x="590236" y="152104"/>
                  </a:lnTo>
                  <a:lnTo>
                    <a:pt x="587271" y="154554"/>
                  </a:lnTo>
                  <a:lnTo>
                    <a:pt x="583611" y="155583"/>
                  </a:lnTo>
                  <a:lnTo>
                    <a:pt x="579950" y="154857"/>
                  </a:lnTo>
                  <a:lnTo>
                    <a:pt x="573416" y="148897"/>
                  </a:lnTo>
                  <a:lnTo>
                    <a:pt x="572297" y="147445"/>
                  </a:lnTo>
                  <a:lnTo>
                    <a:pt x="571510" y="145721"/>
                  </a:lnTo>
                  <a:lnTo>
                    <a:pt x="570966" y="143966"/>
                  </a:lnTo>
                  <a:lnTo>
                    <a:pt x="570270" y="142363"/>
                  </a:lnTo>
                  <a:lnTo>
                    <a:pt x="569151" y="141123"/>
                  </a:lnTo>
                  <a:lnTo>
                    <a:pt x="568183" y="140276"/>
                  </a:lnTo>
                  <a:lnTo>
                    <a:pt x="567880" y="139429"/>
                  </a:lnTo>
                  <a:lnTo>
                    <a:pt x="568213" y="138642"/>
                  </a:lnTo>
                  <a:lnTo>
                    <a:pt x="569151" y="137916"/>
                  </a:lnTo>
                  <a:lnTo>
                    <a:pt x="569181" y="137826"/>
                  </a:lnTo>
                  <a:lnTo>
                    <a:pt x="569211" y="137705"/>
                  </a:lnTo>
                  <a:lnTo>
                    <a:pt x="569181" y="137583"/>
                  </a:lnTo>
                  <a:lnTo>
                    <a:pt x="569151" y="137432"/>
                  </a:lnTo>
                  <a:lnTo>
                    <a:pt x="567729" y="137160"/>
                  </a:lnTo>
                  <a:lnTo>
                    <a:pt x="565006" y="135920"/>
                  </a:lnTo>
                  <a:lnTo>
                    <a:pt x="563675" y="135587"/>
                  </a:lnTo>
                  <a:lnTo>
                    <a:pt x="562616" y="135799"/>
                  </a:lnTo>
                  <a:lnTo>
                    <a:pt x="561739" y="136253"/>
                  </a:lnTo>
                  <a:lnTo>
                    <a:pt x="560741" y="136434"/>
                  </a:lnTo>
                  <a:lnTo>
                    <a:pt x="559168" y="135768"/>
                  </a:lnTo>
                  <a:lnTo>
                    <a:pt x="554267" y="130081"/>
                  </a:lnTo>
                  <a:lnTo>
                    <a:pt x="554085" y="129022"/>
                  </a:lnTo>
                  <a:lnTo>
                    <a:pt x="554811" y="127570"/>
                  </a:lnTo>
                  <a:lnTo>
                    <a:pt x="555900" y="127056"/>
                  </a:lnTo>
                  <a:lnTo>
                    <a:pt x="560771" y="126905"/>
                  </a:lnTo>
                  <a:lnTo>
                    <a:pt x="563433" y="125906"/>
                  </a:lnTo>
                  <a:lnTo>
                    <a:pt x="567729" y="123547"/>
                  </a:lnTo>
                  <a:lnTo>
                    <a:pt x="569786" y="121944"/>
                  </a:lnTo>
                  <a:lnTo>
                    <a:pt x="570724" y="119735"/>
                  </a:lnTo>
                  <a:lnTo>
                    <a:pt x="569151" y="117073"/>
                  </a:lnTo>
                  <a:lnTo>
                    <a:pt x="568092" y="116105"/>
                  </a:lnTo>
                  <a:lnTo>
                    <a:pt x="567850" y="114653"/>
                  </a:lnTo>
                  <a:lnTo>
                    <a:pt x="568062" y="113352"/>
                  </a:lnTo>
                  <a:lnTo>
                    <a:pt x="569151" y="110629"/>
                  </a:lnTo>
                  <a:lnTo>
                    <a:pt x="569393" y="110176"/>
                  </a:lnTo>
                  <a:lnTo>
                    <a:pt x="569453" y="109722"/>
                  </a:lnTo>
                  <a:lnTo>
                    <a:pt x="569393" y="109359"/>
                  </a:lnTo>
                  <a:lnTo>
                    <a:pt x="569151" y="109026"/>
                  </a:lnTo>
                  <a:lnTo>
                    <a:pt x="567305" y="106727"/>
                  </a:lnTo>
                  <a:lnTo>
                    <a:pt x="566731" y="106243"/>
                  </a:lnTo>
                  <a:lnTo>
                    <a:pt x="565036" y="105638"/>
                  </a:lnTo>
                  <a:lnTo>
                    <a:pt x="564371" y="106031"/>
                  </a:lnTo>
                  <a:lnTo>
                    <a:pt x="564129" y="107030"/>
                  </a:lnTo>
                  <a:lnTo>
                    <a:pt x="563554" y="108209"/>
                  </a:lnTo>
                  <a:lnTo>
                    <a:pt x="560559" y="111991"/>
                  </a:lnTo>
                  <a:lnTo>
                    <a:pt x="558835" y="113322"/>
                  </a:lnTo>
                  <a:lnTo>
                    <a:pt x="556506" y="113866"/>
                  </a:lnTo>
                  <a:lnTo>
                    <a:pt x="547521" y="112414"/>
                  </a:lnTo>
                  <a:lnTo>
                    <a:pt x="542711" y="112808"/>
                  </a:lnTo>
                  <a:lnTo>
                    <a:pt x="539776" y="116105"/>
                  </a:lnTo>
                  <a:lnTo>
                    <a:pt x="539232" y="116438"/>
                  </a:lnTo>
                  <a:lnTo>
                    <a:pt x="538718" y="116529"/>
                  </a:lnTo>
                  <a:lnTo>
                    <a:pt x="538173" y="116407"/>
                  </a:lnTo>
                  <a:lnTo>
                    <a:pt x="537659" y="116105"/>
                  </a:lnTo>
                  <a:lnTo>
                    <a:pt x="536721" y="113413"/>
                  </a:lnTo>
                  <a:lnTo>
                    <a:pt x="534543" y="111779"/>
                  </a:lnTo>
                  <a:lnTo>
                    <a:pt x="532304" y="111930"/>
                  </a:lnTo>
                  <a:lnTo>
                    <a:pt x="531215" y="114592"/>
                  </a:lnTo>
                  <a:lnTo>
                    <a:pt x="529884" y="113654"/>
                  </a:lnTo>
                  <a:lnTo>
                    <a:pt x="529188" y="112172"/>
                  </a:lnTo>
                  <a:lnTo>
                    <a:pt x="528977" y="110327"/>
                  </a:lnTo>
                  <a:lnTo>
                    <a:pt x="529098" y="108451"/>
                  </a:lnTo>
                  <a:lnTo>
                    <a:pt x="528644" y="108088"/>
                  </a:lnTo>
                  <a:lnTo>
                    <a:pt x="528251" y="107695"/>
                  </a:lnTo>
                  <a:lnTo>
                    <a:pt x="527888" y="107181"/>
                  </a:lnTo>
                  <a:lnTo>
                    <a:pt x="527585" y="106636"/>
                  </a:lnTo>
                  <a:lnTo>
                    <a:pt x="529430" y="105941"/>
                  </a:lnTo>
                  <a:lnTo>
                    <a:pt x="527373" y="105154"/>
                  </a:lnTo>
                  <a:lnTo>
                    <a:pt x="522654" y="105275"/>
                  </a:lnTo>
                  <a:lnTo>
                    <a:pt x="520264" y="104640"/>
                  </a:lnTo>
                  <a:lnTo>
                    <a:pt x="516695" y="102583"/>
                  </a:lnTo>
                  <a:lnTo>
                    <a:pt x="515696" y="101584"/>
                  </a:lnTo>
                  <a:lnTo>
                    <a:pt x="515121" y="100314"/>
                  </a:lnTo>
                  <a:lnTo>
                    <a:pt x="514486" y="98438"/>
                  </a:lnTo>
                  <a:lnTo>
                    <a:pt x="514154" y="96865"/>
                  </a:lnTo>
                  <a:lnTo>
                    <a:pt x="514365" y="96472"/>
                  </a:lnTo>
                  <a:lnTo>
                    <a:pt x="513185" y="96139"/>
                  </a:lnTo>
                  <a:lnTo>
                    <a:pt x="510130" y="96744"/>
                  </a:lnTo>
                  <a:lnTo>
                    <a:pt x="508738" y="96714"/>
                  </a:lnTo>
                  <a:lnTo>
                    <a:pt x="507438" y="96079"/>
                  </a:lnTo>
                  <a:lnTo>
                    <a:pt x="505108" y="94264"/>
                  </a:lnTo>
                  <a:lnTo>
                    <a:pt x="504019" y="93658"/>
                  </a:lnTo>
                  <a:lnTo>
                    <a:pt x="493673" y="90996"/>
                  </a:lnTo>
                  <a:lnTo>
                    <a:pt x="491344" y="91238"/>
                  </a:lnTo>
                  <a:lnTo>
                    <a:pt x="489862" y="90422"/>
                  </a:lnTo>
                  <a:lnTo>
                    <a:pt x="487018" y="88848"/>
                  </a:lnTo>
                  <a:lnTo>
                    <a:pt x="484719" y="88576"/>
                  </a:lnTo>
                  <a:lnTo>
                    <a:pt x="481966" y="90119"/>
                  </a:lnTo>
                  <a:lnTo>
                    <a:pt x="481996" y="92146"/>
                  </a:lnTo>
                  <a:lnTo>
                    <a:pt x="485203" y="96502"/>
                  </a:lnTo>
                  <a:lnTo>
                    <a:pt x="486352" y="99164"/>
                  </a:lnTo>
                  <a:lnTo>
                    <a:pt x="487109" y="102250"/>
                  </a:lnTo>
                  <a:lnTo>
                    <a:pt x="488107" y="105063"/>
                  </a:lnTo>
                  <a:lnTo>
                    <a:pt x="489983" y="106848"/>
                  </a:lnTo>
                  <a:lnTo>
                    <a:pt x="492433" y="108149"/>
                  </a:lnTo>
                  <a:lnTo>
                    <a:pt x="494248" y="109994"/>
                  </a:lnTo>
                  <a:lnTo>
                    <a:pt x="495307" y="112596"/>
                  </a:lnTo>
                  <a:lnTo>
                    <a:pt x="495488" y="116105"/>
                  </a:lnTo>
                  <a:lnTo>
                    <a:pt x="496789" y="117708"/>
                  </a:lnTo>
                  <a:lnTo>
                    <a:pt x="496971" y="119614"/>
                  </a:lnTo>
                  <a:lnTo>
                    <a:pt x="496335" y="120854"/>
                  </a:lnTo>
                  <a:lnTo>
                    <a:pt x="495125" y="120401"/>
                  </a:lnTo>
                  <a:lnTo>
                    <a:pt x="494036" y="118948"/>
                  </a:lnTo>
                  <a:lnTo>
                    <a:pt x="493582" y="118071"/>
                  </a:lnTo>
                  <a:lnTo>
                    <a:pt x="492978" y="117678"/>
                  </a:lnTo>
                  <a:lnTo>
                    <a:pt x="491495" y="117648"/>
                  </a:lnTo>
                  <a:lnTo>
                    <a:pt x="491223" y="118071"/>
                  </a:lnTo>
                  <a:lnTo>
                    <a:pt x="491253" y="119796"/>
                  </a:lnTo>
                  <a:lnTo>
                    <a:pt x="490981" y="120340"/>
                  </a:lnTo>
                  <a:lnTo>
                    <a:pt x="490103" y="120401"/>
                  </a:lnTo>
                  <a:lnTo>
                    <a:pt x="488228" y="119796"/>
                  </a:lnTo>
                  <a:lnTo>
                    <a:pt x="487321" y="119796"/>
                  </a:lnTo>
                  <a:lnTo>
                    <a:pt x="486141" y="120582"/>
                  </a:lnTo>
                  <a:lnTo>
                    <a:pt x="484446" y="122730"/>
                  </a:lnTo>
                  <a:lnTo>
                    <a:pt x="483509" y="123486"/>
                  </a:lnTo>
                  <a:lnTo>
                    <a:pt x="482390" y="123759"/>
                  </a:lnTo>
                  <a:lnTo>
                    <a:pt x="481149" y="124031"/>
                  </a:lnTo>
                  <a:lnTo>
                    <a:pt x="479152" y="123940"/>
                  </a:lnTo>
                  <a:lnTo>
                    <a:pt x="477156" y="124182"/>
                  </a:lnTo>
                  <a:lnTo>
                    <a:pt x="474887" y="125967"/>
                  </a:lnTo>
                  <a:lnTo>
                    <a:pt x="473072" y="128478"/>
                  </a:lnTo>
                  <a:lnTo>
                    <a:pt x="471983" y="130444"/>
                  </a:lnTo>
                  <a:lnTo>
                    <a:pt x="470773" y="132048"/>
                  </a:lnTo>
                  <a:lnTo>
                    <a:pt x="468504" y="133530"/>
                  </a:lnTo>
                  <a:lnTo>
                    <a:pt x="465419" y="137432"/>
                  </a:lnTo>
                  <a:lnTo>
                    <a:pt x="461334" y="137705"/>
                  </a:lnTo>
                  <a:lnTo>
                    <a:pt x="457130" y="135678"/>
                  </a:lnTo>
                  <a:lnTo>
                    <a:pt x="453651" y="132743"/>
                  </a:lnTo>
                  <a:lnTo>
                    <a:pt x="451896" y="130596"/>
                  </a:lnTo>
                  <a:lnTo>
                    <a:pt x="450928" y="128810"/>
                  </a:lnTo>
                  <a:lnTo>
                    <a:pt x="449778" y="123879"/>
                  </a:lnTo>
                  <a:lnTo>
                    <a:pt x="448689" y="121157"/>
                  </a:lnTo>
                  <a:lnTo>
                    <a:pt x="445664" y="118222"/>
                  </a:lnTo>
                  <a:lnTo>
                    <a:pt x="444363" y="116105"/>
                  </a:lnTo>
                  <a:lnTo>
                    <a:pt x="442911" y="114290"/>
                  </a:lnTo>
                  <a:lnTo>
                    <a:pt x="440370" y="109994"/>
                  </a:lnTo>
                  <a:lnTo>
                    <a:pt x="438918" y="108119"/>
                  </a:lnTo>
                  <a:lnTo>
                    <a:pt x="436680" y="106697"/>
                  </a:lnTo>
                  <a:lnTo>
                    <a:pt x="432202" y="105184"/>
                  </a:lnTo>
                  <a:lnTo>
                    <a:pt x="430387" y="102976"/>
                  </a:lnTo>
                  <a:lnTo>
                    <a:pt x="430145" y="101705"/>
                  </a:lnTo>
                  <a:lnTo>
                    <a:pt x="430236" y="100404"/>
                  </a:lnTo>
                  <a:lnTo>
                    <a:pt x="430145" y="99073"/>
                  </a:lnTo>
                  <a:lnTo>
                    <a:pt x="429450" y="97712"/>
                  </a:lnTo>
                  <a:lnTo>
                    <a:pt x="428481" y="97440"/>
                  </a:lnTo>
                  <a:lnTo>
                    <a:pt x="423913" y="97440"/>
                  </a:lnTo>
                  <a:lnTo>
                    <a:pt x="422733" y="97772"/>
                  </a:lnTo>
                  <a:lnTo>
                    <a:pt x="422007" y="98378"/>
                  </a:lnTo>
                  <a:lnTo>
                    <a:pt x="421281" y="98499"/>
                  </a:lnTo>
                  <a:lnTo>
                    <a:pt x="419981" y="97561"/>
                  </a:lnTo>
                  <a:lnTo>
                    <a:pt x="419527" y="96714"/>
                  </a:lnTo>
                  <a:lnTo>
                    <a:pt x="418196" y="92993"/>
                  </a:lnTo>
                  <a:lnTo>
                    <a:pt x="414929" y="92449"/>
                  </a:lnTo>
                  <a:lnTo>
                    <a:pt x="413991" y="89847"/>
                  </a:lnTo>
                  <a:lnTo>
                    <a:pt x="414778" y="87547"/>
                  </a:lnTo>
                  <a:lnTo>
                    <a:pt x="416774" y="87971"/>
                  </a:lnTo>
                  <a:lnTo>
                    <a:pt x="416593" y="87547"/>
                  </a:lnTo>
                  <a:lnTo>
                    <a:pt x="416109" y="85944"/>
                  </a:lnTo>
                  <a:lnTo>
                    <a:pt x="416744" y="85884"/>
                  </a:lnTo>
                  <a:lnTo>
                    <a:pt x="417651" y="85339"/>
                  </a:lnTo>
                  <a:lnTo>
                    <a:pt x="418196" y="85128"/>
                  </a:lnTo>
                  <a:lnTo>
                    <a:pt x="419739" y="83948"/>
                  </a:lnTo>
                  <a:lnTo>
                    <a:pt x="421524" y="82950"/>
                  </a:lnTo>
                  <a:lnTo>
                    <a:pt x="423036" y="81770"/>
                  </a:lnTo>
                  <a:lnTo>
                    <a:pt x="423823" y="79894"/>
                  </a:lnTo>
                  <a:lnTo>
                    <a:pt x="425396" y="79440"/>
                  </a:lnTo>
                  <a:lnTo>
                    <a:pt x="428602" y="80257"/>
                  </a:lnTo>
                  <a:lnTo>
                    <a:pt x="430357" y="79894"/>
                  </a:lnTo>
                  <a:lnTo>
                    <a:pt x="431295" y="78684"/>
                  </a:lnTo>
                  <a:lnTo>
                    <a:pt x="433352" y="76808"/>
                  </a:lnTo>
                  <a:lnTo>
                    <a:pt x="434229" y="75689"/>
                  </a:lnTo>
                  <a:lnTo>
                    <a:pt x="433957" y="75780"/>
                  </a:lnTo>
                  <a:lnTo>
                    <a:pt x="433927" y="74903"/>
                  </a:lnTo>
                  <a:lnTo>
                    <a:pt x="434078" y="73783"/>
                  </a:lnTo>
                  <a:lnTo>
                    <a:pt x="434229" y="73057"/>
                  </a:lnTo>
                  <a:lnTo>
                    <a:pt x="434653" y="72210"/>
                  </a:lnTo>
                  <a:lnTo>
                    <a:pt x="434955" y="71817"/>
                  </a:lnTo>
                  <a:lnTo>
                    <a:pt x="434955" y="71333"/>
                  </a:lnTo>
                  <a:lnTo>
                    <a:pt x="434562" y="70244"/>
                  </a:lnTo>
                  <a:lnTo>
                    <a:pt x="437708" y="69034"/>
                  </a:lnTo>
                  <a:lnTo>
                    <a:pt x="436800" y="66251"/>
                  </a:lnTo>
                  <a:lnTo>
                    <a:pt x="428239" y="57901"/>
                  </a:lnTo>
                  <a:lnTo>
                    <a:pt x="425154" y="56298"/>
                  </a:lnTo>
                  <a:lnTo>
                    <a:pt x="421856" y="55511"/>
                  </a:lnTo>
                  <a:lnTo>
                    <a:pt x="418196" y="55451"/>
                  </a:lnTo>
                  <a:lnTo>
                    <a:pt x="416895" y="55723"/>
                  </a:lnTo>
                  <a:lnTo>
                    <a:pt x="416169" y="57175"/>
                  </a:lnTo>
                  <a:lnTo>
                    <a:pt x="415443" y="59021"/>
                  </a:lnTo>
                  <a:lnTo>
                    <a:pt x="414203" y="60442"/>
                  </a:lnTo>
                  <a:lnTo>
                    <a:pt x="412509" y="60805"/>
                  </a:lnTo>
                  <a:lnTo>
                    <a:pt x="410996" y="60140"/>
                  </a:lnTo>
                  <a:lnTo>
                    <a:pt x="407820" y="57901"/>
                  </a:lnTo>
                  <a:lnTo>
                    <a:pt x="403584" y="57508"/>
                  </a:lnTo>
                  <a:lnTo>
                    <a:pt x="397323" y="63074"/>
                  </a:lnTo>
                  <a:lnTo>
                    <a:pt x="393057" y="63800"/>
                  </a:lnTo>
                  <a:lnTo>
                    <a:pt x="392845" y="63346"/>
                  </a:lnTo>
                  <a:lnTo>
                    <a:pt x="392755" y="62893"/>
                  </a:lnTo>
                  <a:lnTo>
                    <a:pt x="392845" y="62409"/>
                  </a:lnTo>
                  <a:lnTo>
                    <a:pt x="393057" y="61955"/>
                  </a:lnTo>
                  <a:lnTo>
                    <a:pt x="394479" y="60866"/>
                  </a:lnTo>
                  <a:lnTo>
                    <a:pt x="394721" y="59142"/>
                  </a:lnTo>
                  <a:lnTo>
                    <a:pt x="394176" y="57115"/>
                  </a:lnTo>
                  <a:lnTo>
                    <a:pt x="393299" y="55148"/>
                  </a:lnTo>
                  <a:lnTo>
                    <a:pt x="391998" y="52879"/>
                  </a:lnTo>
                  <a:lnTo>
                    <a:pt x="390637" y="51669"/>
                  </a:lnTo>
                  <a:lnTo>
                    <a:pt x="388973" y="51458"/>
                  </a:lnTo>
                  <a:lnTo>
                    <a:pt x="383014" y="53515"/>
                  </a:lnTo>
                  <a:lnTo>
                    <a:pt x="380230" y="53575"/>
                  </a:lnTo>
                  <a:lnTo>
                    <a:pt x="379565" y="53394"/>
                  </a:lnTo>
                  <a:lnTo>
                    <a:pt x="374483" y="45407"/>
                  </a:lnTo>
                  <a:lnTo>
                    <a:pt x="374180" y="44530"/>
                  </a:lnTo>
                  <a:lnTo>
                    <a:pt x="373968" y="43532"/>
                  </a:lnTo>
                  <a:lnTo>
                    <a:pt x="371457" y="43290"/>
                  </a:lnTo>
                  <a:lnTo>
                    <a:pt x="363108" y="45166"/>
                  </a:lnTo>
                  <a:lnTo>
                    <a:pt x="362019" y="44863"/>
                  </a:lnTo>
                  <a:lnTo>
                    <a:pt x="361293" y="44197"/>
                  </a:lnTo>
                  <a:lnTo>
                    <a:pt x="359962" y="42322"/>
                  </a:lnTo>
                  <a:lnTo>
                    <a:pt x="358813" y="41626"/>
                  </a:lnTo>
                  <a:lnTo>
                    <a:pt x="338695" y="35122"/>
                  </a:lnTo>
                  <a:lnTo>
                    <a:pt x="334490" y="35455"/>
                  </a:lnTo>
                  <a:lnTo>
                    <a:pt x="333552" y="36513"/>
                  </a:lnTo>
                  <a:lnTo>
                    <a:pt x="332615" y="38056"/>
                  </a:lnTo>
                  <a:lnTo>
                    <a:pt x="331495" y="39145"/>
                  </a:lnTo>
                  <a:lnTo>
                    <a:pt x="331314" y="39115"/>
                  </a:lnTo>
                  <a:lnTo>
                    <a:pt x="330074" y="38752"/>
                  </a:lnTo>
                  <a:lnTo>
                    <a:pt x="329408" y="37542"/>
                  </a:lnTo>
                  <a:lnTo>
                    <a:pt x="329499" y="36150"/>
                  </a:lnTo>
                  <a:lnTo>
                    <a:pt x="329771" y="34668"/>
                  </a:lnTo>
                  <a:lnTo>
                    <a:pt x="329771" y="33246"/>
                  </a:lnTo>
                  <a:lnTo>
                    <a:pt x="328561" y="30524"/>
                  </a:lnTo>
                  <a:lnTo>
                    <a:pt x="327018" y="29344"/>
                  </a:lnTo>
                  <a:lnTo>
                    <a:pt x="325203" y="28618"/>
                  </a:lnTo>
                  <a:lnTo>
                    <a:pt x="323176" y="27135"/>
                  </a:lnTo>
                  <a:lnTo>
                    <a:pt x="322118" y="25532"/>
                  </a:lnTo>
                  <a:lnTo>
                    <a:pt x="320938" y="23112"/>
                  </a:lnTo>
                  <a:lnTo>
                    <a:pt x="320000" y="20541"/>
                  </a:lnTo>
                  <a:lnTo>
                    <a:pt x="319697" y="18453"/>
                  </a:lnTo>
                  <a:lnTo>
                    <a:pt x="320393" y="15761"/>
                  </a:lnTo>
                  <a:lnTo>
                    <a:pt x="321270" y="14218"/>
                  </a:lnTo>
                  <a:lnTo>
                    <a:pt x="321391" y="12796"/>
                  </a:lnTo>
                  <a:lnTo>
                    <a:pt x="319758" y="10406"/>
                  </a:lnTo>
                  <a:lnTo>
                    <a:pt x="317065" y="9166"/>
                  </a:lnTo>
                  <a:lnTo>
                    <a:pt x="311348" y="9106"/>
                  </a:lnTo>
                  <a:lnTo>
                    <a:pt x="310410" y="6958"/>
                  </a:lnTo>
                  <a:lnTo>
                    <a:pt x="309956" y="4719"/>
                  </a:lnTo>
                  <a:lnTo>
                    <a:pt x="308777" y="4175"/>
                  </a:lnTo>
                  <a:lnTo>
                    <a:pt x="307476" y="5022"/>
                  </a:lnTo>
                  <a:lnTo>
                    <a:pt x="306568" y="6928"/>
                  </a:lnTo>
                  <a:lnTo>
                    <a:pt x="306568" y="6958"/>
                  </a:lnTo>
                  <a:lnTo>
                    <a:pt x="306236" y="8440"/>
                  </a:lnTo>
                  <a:lnTo>
                    <a:pt x="305086" y="8652"/>
                  </a:lnTo>
                  <a:lnTo>
                    <a:pt x="303694" y="7986"/>
                  </a:lnTo>
                  <a:lnTo>
                    <a:pt x="302484" y="6928"/>
                  </a:lnTo>
                  <a:lnTo>
                    <a:pt x="301637" y="5476"/>
                  </a:lnTo>
                  <a:lnTo>
                    <a:pt x="296555" y="4447"/>
                  </a:lnTo>
                  <a:lnTo>
                    <a:pt x="294619" y="2843"/>
                  </a:lnTo>
                  <a:lnTo>
                    <a:pt x="294347" y="4023"/>
                  </a:lnTo>
                  <a:lnTo>
                    <a:pt x="293893" y="4719"/>
                  </a:lnTo>
                  <a:lnTo>
                    <a:pt x="292441" y="5687"/>
                  </a:lnTo>
                  <a:lnTo>
                    <a:pt x="291866" y="5808"/>
                  </a:lnTo>
                  <a:lnTo>
                    <a:pt x="291291" y="6050"/>
                  </a:lnTo>
                  <a:lnTo>
                    <a:pt x="290777" y="6444"/>
                  </a:lnTo>
                  <a:lnTo>
                    <a:pt x="290323" y="6958"/>
                  </a:lnTo>
                  <a:lnTo>
                    <a:pt x="290293" y="6958"/>
                  </a:lnTo>
                  <a:lnTo>
                    <a:pt x="290717" y="8591"/>
                  </a:lnTo>
                  <a:lnTo>
                    <a:pt x="292350" y="9771"/>
                  </a:lnTo>
                  <a:lnTo>
                    <a:pt x="293893" y="11859"/>
                  </a:lnTo>
                  <a:lnTo>
                    <a:pt x="294014" y="16094"/>
                  </a:lnTo>
                  <a:lnTo>
                    <a:pt x="293711" y="16850"/>
                  </a:lnTo>
                  <a:lnTo>
                    <a:pt x="292713" y="17879"/>
                  </a:lnTo>
                  <a:lnTo>
                    <a:pt x="292441" y="18393"/>
                  </a:lnTo>
                  <a:lnTo>
                    <a:pt x="292350" y="19210"/>
                  </a:lnTo>
                  <a:lnTo>
                    <a:pt x="292380" y="19754"/>
                  </a:lnTo>
                  <a:lnTo>
                    <a:pt x="292501" y="20178"/>
                  </a:lnTo>
                  <a:lnTo>
                    <a:pt x="292622" y="25260"/>
                  </a:lnTo>
                  <a:lnTo>
                    <a:pt x="292441" y="26531"/>
                  </a:lnTo>
                  <a:lnTo>
                    <a:pt x="280945" y="25744"/>
                  </a:lnTo>
                  <a:lnTo>
                    <a:pt x="277285" y="26682"/>
                  </a:lnTo>
                  <a:lnTo>
                    <a:pt x="275137" y="26621"/>
                  </a:lnTo>
                  <a:lnTo>
                    <a:pt x="273564" y="30524"/>
                  </a:lnTo>
                  <a:lnTo>
                    <a:pt x="272596" y="32218"/>
                  </a:lnTo>
                  <a:lnTo>
                    <a:pt x="271628" y="33246"/>
                  </a:lnTo>
                  <a:lnTo>
                    <a:pt x="269994" y="33670"/>
                  </a:lnTo>
                  <a:lnTo>
                    <a:pt x="267816" y="33579"/>
                  </a:lnTo>
                  <a:lnTo>
                    <a:pt x="264095" y="32823"/>
                  </a:lnTo>
                  <a:lnTo>
                    <a:pt x="260253" y="30130"/>
                  </a:lnTo>
                  <a:lnTo>
                    <a:pt x="258801" y="29404"/>
                  </a:lnTo>
                  <a:lnTo>
                    <a:pt x="255292" y="28497"/>
                  </a:lnTo>
                  <a:lnTo>
                    <a:pt x="254838" y="27408"/>
                  </a:lnTo>
                  <a:lnTo>
                    <a:pt x="255171" y="24776"/>
                  </a:lnTo>
                  <a:lnTo>
                    <a:pt x="256865" y="21085"/>
                  </a:lnTo>
                  <a:lnTo>
                    <a:pt x="257470" y="19149"/>
                  </a:lnTo>
                  <a:lnTo>
                    <a:pt x="256926" y="17485"/>
                  </a:lnTo>
                  <a:lnTo>
                    <a:pt x="255715" y="17455"/>
                  </a:lnTo>
                  <a:lnTo>
                    <a:pt x="250149" y="19573"/>
                  </a:lnTo>
                  <a:lnTo>
                    <a:pt x="248969" y="18756"/>
                  </a:lnTo>
                  <a:lnTo>
                    <a:pt x="249544" y="16971"/>
                  </a:lnTo>
                  <a:lnTo>
                    <a:pt x="250754" y="14884"/>
                  </a:lnTo>
                  <a:lnTo>
                    <a:pt x="251510" y="13099"/>
                  </a:lnTo>
                  <a:lnTo>
                    <a:pt x="251692" y="10890"/>
                  </a:lnTo>
                  <a:lnTo>
                    <a:pt x="251390" y="9469"/>
                  </a:lnTo>
                  <a:lnTo>
                    <a:pt x="250633" y="8289"/>
                  </a:lnTo>
                  <a:lnTo>
                    <a:pt x="249393" y="6958"/>
                  </a:lnTo>
                  <a:lnTo>
                    <a:pt x="248183" y="6050"/>
                  </a:lnTo>
                  <a:lnTo>
                    <a:pt x="245460" y="5415"/>
                  </a:lnTo>
                  <a:lnTo>
                    <a:pt x="244220" y="4598"/>
                  </a:lnTo>
                  <a:lnTo>
                    <a:pt x="243252" y="3418"/>
                  </a:lnTo>
                  <a:lnTo>
                    <a:pt x="242919" y="2541"/>
                  </a:lnTo>
                  <a:lnTo>
                    <a:pt x="242708" y="1634"/>
                  </a:lnTo>
                  <a:lnTo>
                    <a:pt x="242102" y="393"/>
                  </a:lnTo>
                  <a:lnTo>
                    <a:pt x="241255" y="2420"/>
                  </a:lnTo>
                  <a:lnTo>
                    <a:pt x="240106" y="2965"/>
                  </a:lnTo>
                  <a:lnTo>
                    <a:pt x="236445" y="2783"/>
                  </a:lnTo>
                  <a:lnTo>
                    <a:pt x="233632" y="3933"/>
                  </a:lnTo>
                  <a:lnTo>
                    <a:pt x="232513" y="3903"/>
                  </a:lnTo>
                  <a:lnTo>
                    <a:pt x="231423" y="3358"/>
                  </a:lnTo>
                  <a:lnTo>
                    <a:pt x="230758" y="2571"/>
                  </a:lnTo>
                  <a:lnTo>
                    <a:pt x="230244" y="1754"/>
                  </a:lnTo>
                  <a:lnTo>
                    <a:pt x="229488" y="1119"/>
                  </a:lnTo>
                  <a:lnTo>
                    <a:pt x="225736" y="0"/>
                  </a:lnTo>
                  <a:lnTo>
                    <a:pt x="222530" y="454"/>
                  </a:lnTo>
                  <a:lnTo>
                    <a:pt x="220140" y="2723"/>
                  </a:lnTo>
                  <a:lnTo>
                    <a:pt x="218718" y="6958"/>
                  </a:lnTo>
                  <a:lnTo>
                    <a:pt x="217599" y="8440"/>
                  </a:lnTo>
                  <a:lnTo>
                    <a:pt x="218748" y="9136"/>
                  </a:lnTo>
                  <a:lnTo>
                    <a:pt x="222167" y="9560"/>
                  </a:lnTo>
                  <a:lnTo>
                    <a:pt x="224163" y="10316"/>
                  </a:lnTo>
                  <a:lnTo>
                    <a:pt x="224012" y="10618"/>
                  </a:lnTo>
                  <a:lnTo>
                    <a:pt x="223165" y="11133"/>
                  </a:lnTo>
                  <a:lnTo>
                    <a:pt x="223074" y="12675"/>
                  </a:lnTo>
                  <a:lnTo>
                    <a:pt x="225646" y="15035"/>
                  </a:lnTo>
                  <a:lnTo>
                    <a:pt x="229336" y="16033"/>
                  </a:lnTo>
                  <a:lnTo>
                    <a:pt x="232029" y="17455"/>
                  </a:lnTo>
                  <a:lnTo>
                    <a:pt x="231423" y="21115"/>
                  </a:lnTo>
                  <a:lnTo>
                    <a:pt x="228489" y="23415"/>
                  </a:lnTo>
                  <a:lnTo>
                    <a:pt x="220563" y="22840"/>
                  </a:lnTo>
                  <a:lnTo>
                    <a:pt x="216964" y="23536"/>
                  </a:lnTo>
                  <a:lnTo>
                    <a:pt x="215875" y="24534"/>
                  </a:lnTo>
                  <a:lnTo>
                    <a:pt x="214029" y="27105"/>
                  </a:lnTo>
                  <a:lnTo>
                    <a:pt x="212819" y="28164"/>
                  </a:lnTo>
                  <a:lnTo>
                    <a:pt x="197118" y="34789"/>
                  </a:lnTo>
                  <a:lnTo>
                    <a:pt x="195182" y="34910"/>
                  </a:lnTo>
                  <a:lnTo>
                    <a:pt x="191492" y="34456"/>
                  </a:lnTo>
                  <a:lnTo>
                    <a:pt x="189525" y="34850"/>
                  </a:lnTo>
                  <a:lnTo>
                    <a:pt x="188467" y="35576"/>
                  </a:lnTo>
                  <a:lnTo>
                    <a:pt x="186893" y="37391"/>
                  </a:lnTo>
                  <a:lnTo>
                    <a:pt x="185895" y="38086"/>
                  </a:lnTo>
                  <a:lnTo>
                    <a:pt x="184625" y="38268"/>
                  </a:lnTo>
                  <a:lnTo>
                    <a:pt x="183626" y="37996"/>
                  </a:lnTo>
                  <a:lnTo>
                    <a:pt x="182779" y="38026"/>
                  </a:lnTo>
                  <a:lnTo>
                    <a:pt x="181872" y="39055"/>
                  </a:lnTo>
                  <a:lnTo>
                    <a:pt x="181448" y="40476"/>
                  </a:lnTo>
                  <a:lnTo>
                    <a:pt x="181569" y="41717"/>
                  </a:lnTo>
                  <a:lnTo>
                    <a:pt x="181781" y="42745"/>
                  </a:lnTo>
                  <a:lnTo>
                    <a:pt x="181751" y="43502"/>
                  </a:lnTo>
                  <a:lnTo>
                    <a:pt x="181055" y="44439"/>
                  </a:lnTo>
                  <a:lnTo>
                    <a:pt x="180480" y="44621"/>
                  </a:lnTo>
                  <a:lnTo>
                    <a:pt x="179875" y="44621"/>
                  </a:lnTo>
                  <a:lnTo>
                    <a:pt x="176971" y="46285"/>
                  </a:lnTo>
                  <a:lnTo>
                    <a:pt x="175126" y="46648"/>
                  </a:lnTo>
                  <a:lnTo>
                    <a:pt x="170527" y="46164"/>
                  </a:lnTo>
                  <a:lnTo>
                    <a:pt x="168349" y="46375"/>
                  </a:lnTo>
                  <a:lnTo>
                    <a:pt x="164507" y="47676"/>
                  </a:lnTo>
                  <a:lnTo>
                    <a:pt x="162601" y="48039"/>
                  </a:lnTo>
                  <a:lnTo>
                    <a:pt x="153556" y="47979"/>
                  </a:lnTo>
                  <a:lnTo>
                    <a:pt x="148988" y="48765"/>
                  </a:lnTo>
                  <a:lnTo>
                    <a:pt x="144874" y="51064"/>
                  </a:lnTo>
                  <a:lnTo>
                    <a:pt x="146024" y="53303"/>
                  </a:lnTo>
                  <a:lnTo>
                    <a:pt x="145630" y="55269"/>
                  </a:lnTo>
                  <a:lnTo>
                    <a:pt x="144269" y="56873"/>
                  </a:lnTo>
                  <a:lnTo>
                    <a:pt x="142605" y="58022"/>
                  </a:lnTo>
                  <a:lnTo>
                    <a:pt x="143180" y="59202"/>
                  </a:lnTo>
                  <a:lnTo>
                    <a:pt x="143120" y="60079"/>
                  </a:lnTo>
                  <a:lnTo>
                    <a:pt x="142485" y="60745"/>
                  </a:lnTo>
                  <a:lnTo>
                    <a:pt x="141516" y="61289"/>
                  </a:lnTo>
                  <a:lnTo>
                    <a:pt x="139762" y="63286"/>
                  </a:lnTo>
                  <a:lnTo>
                    <a:pt x="138037" y="64738"/>
                  </a:lnTo>
                  <a:lnTo>
                    <a:pt x="136162" y="65131"/>
                  </a:lnTo>
                  <a:lnTo>
                    <a:pt x="133923" y="64133"/>
                  </a:lnTo>
                  <a:lnTo>
                    <a:pt x="133258" y="63377"/>
                  </a:lnTo>
                  <a:lnTo>
                    <a:pt x="131836" y="61168"/>
                  </a:lnTo>
                  <a:lnTo>
                    <a:pt x="131291" y="60624"/>
                  </a:lnTo>
                  <a:lnTo>
                    <a:pt x="130081" y="60200"/>
                  </a:lnTo>
                  <a:lnTo>
                    <a:pt x="129809" y="60382"/>
                  </a:lnTo>
                  <a:lnTo>
                    <a:pt x="129748" y="60896"/>
                  </a:lnTo>
                  <a:lnTo>
                    <a:pt x="129144" y="61501"/>
                  </a:lnTo>
                  <a:lnTo>
                    <a:pt x="125362" y="63952"/>
                  </a:lnTo>
                  <a:lnTo>
                    <a:pt x="124787" y="64889"/>
                  </a:lnTo>
                  <a:lnTo>
                    <a:pt x="123728" y="67854"/>
                  </a:lnTo>
                  <a:lnTo>
                    <a:pt x="121611" y="68822"/>
                  </a:lnTo>
                  <a:lnTo>
                    <a:pt x="119947" y="68157"/>
                  </a:lnTo>
                  <a:lnTo>
                    <a:pt x="118314" y="67098"/>
                  </a:lnTo>
                  <a:lnTo>
                    <a:pt x="116347" y="66916"/>
                  </a:lnTo>
                  <a:lnTo>
                    <a:pt x="113020" y="75175"/>
                  </a:lnTo>
                  <a:lnTo>
                    <a:pt x="111567" y="77595"/>
                  </a:lnTo>
                  <a:lnTo>
                    <a:pt x="109087" y="79289"/>
                  </a:lnTo>
                  <a:lnTo>
                    <a:pt x="103793" y="78986"/>
                  </a:lnTo>
                  <a:lnTo>
                    <a:pt x="100949" y="79894"/>
                  </a:lnTo>
                  <a:lnTo>
                    <a:pt x="100919" y="79924"/>
                  </a:lnTo>
                  <a:lnTo>
                    <a:pt x="100919" y="79924"/>
                  </a:lnTo>
                  <a:lnTo>
                    <a:pt x="99981" y="80136"/>
                  </a:lnTo>
                  <a:lnTo>
                    <a:pt x="99043" y="80227"/>
                  </a:lnTo>
                  <a:lnTo>
                    <a:pt x="98106" y="80136"/>
                  </a:lnTo>
                  <a:lnTo>
                    <a:pt x="97228" y="79894"/>
                  </a:lnTo>
                  <a:lnTo>
                    <a:pt x="96442" y="79380"/>
                  </a:lnTo>
                  <a:lnTo>
                    <a:pt x="95625" y="79198"/>
                  </a:lnTo>
                  <a:lnTo>
                    <a:pt x="94778" y="79380"/>
                  </a:lnTo>
                  <a:lnTo>
                    <a:pt x="93931" y="79924"/>
                  </a:lnTo>
                  <a:lnTo>
                    <a:pt x="93296" y="85854"/>
                  </a:lnTo>
                  <a:lnTo>
                    <a:pt x="92630" y="88485"/>
                  </a:lnTo>
                  <a:lnTo>
                    <a:pt x="91208" y="90028"/>
                  </a:lnTo>
                  <a:lnTo>
                    <a:pt x="89030" y="92025"/>
                  </a:lnTo>
                  <a:lnTo>
                    <a:pt x="88183" y="92751"/>
                  </a:lnTo>
                  <a:lnTo>
                    <a:pt x="84765" y="92569"/>
                  </a:lnTo>
                  <a:lnTo>
                    <a:pt x="75417" y="87366"/>
                  </a:lnTo>
                  <a:lnTo>
                    <a:pt x="74600" y="87124"/>
                  </a:lnTo>
                  <a:lnTo>
                    <a:pt x="73693" y="87306"/>
                  </a:lnTo>
                  <a:lnTo>
                    <a:pt x="72271" y="88153"/>
                  </a:lnTo>
                  <a:lnTo>
                    <a:pt x="71666" y="88395"/>
                  </a:lnTo>
                  <a:lnTo>
                    <a:pt x="69851" y="88153"/>
                  </a:lnTo>
                  <a:lnTo>
                    <a:pt x="68247" y="88244"/>
                  </a:lnTo>
                  <a:lnTo>
                    <a:pt x="66583" y="88788"/>
                  </a:lnTo>
                  <a:lnTo>
                    <a:pt x="65313" y="89968"/>
                  </a:lnTo>
                  <a:lnTo>
                    <a:pt x="63075" y="93144"/>
                  </a:lnTo>
                  <a:lnTo>
                    <a:pt x="61955" y="94142"/>
                  </a:lnTo>
                  <a:lnTo>
                    <a:pt x="60654" y="94264"/>
                  </a:lnTo>
                  <a:lnTo>
                    <a:pt x="55269" y="93356"/>
                  </a:lnTo>
                  <a:lnTo>
                    <a:pt x="47737" y="93901"/>
                  </a:lnTo>
                  <a:lnTo>
                    <a:pt x="43683" y="94990"/>
                  </a:lnTo>
                  <a:lnTo>
                    <a:pt x="40900" y="97198"/>
                  </a:lnTo>
                  <a:lnTo>
                    <a:pt x="40144" y="97772"/>
                  </a:lnTo>
                  <a:lnTo>
                    <a:pt x="39781" y="98499"/>
                  </a:lnTo>
                  <a:lnTo>
                    <a:pt x="39569" y="99255"/>
                  </a:lnTo>
                  <a:lnTo>
                    <a:pt x="39297" y="99890"/>
                  </a:lnTo>
                  <a:lnTo>
                    <a:pt x="39357" y="100193"/>
                  </a:lnTo>
                  <a:lnTo>
                    <a:pt x="39478" y="100677"/>
                  </a:lnTo>
                  <a:lnTo>
                    <a:pt x="39539" y="101251"/>
                  </a:lnTo>
                  <a:lnTo>
                    <a:pt x="39297" y="101766"/>
                  </a:lnTo>
                  <a:lnTo>
                    <a:pt x="38904" y="101977"/>
                  </a:lnTo>
                  <a:lnTo>
                    <a:pt x="38026" y="101947"/>
                  </a:lnTo>
                  <a:lnTo>
                    <a:pt x="37633" y="102129"/>
                  </a:lnTo>
                  <a:lnTo>
                    <a:pt x="36453" y="103127"/>
                  </a:lnTo>
                  <a:lnTo>
                    <a:pt x="33489" y="104670"/>
                  </a:lnTo>
                  <a:lnTo>
                    <a:pt x="32400" y="105638"/>
                  </a:lnTo>
                  <a:lnTo>
                    <a:pt x="29284" y="110872"/>
                  </a:lnTo>
                  <a:lnTo>
                    <a:pt x="28134" y="111961"/>
                  </a:lnTo>
                  <a:lnTo>
                    <a:pt x="27045" y="112687"/>
                  </a:lnTo>
                  <a:lnTo>
                    <a:pt x="26198" y="113806"/>
                  </a:lnTo>
                  <a:lnTo>
                    <a:pt x="25926" y="116105"/>
                  </a:lnTo>
                  <a:lnTo>
                    <a:pt x="23929" y="118465"/>
                  </a:lnTo>
                  <a:lnTo>
                    <a:pt x="23415" y="119796"/>
                  </a:lnTo>
                  <a:lnTo>
                    <a:pt x="23082" y="122397"/>
                  </a:lnTo>
                  <a:lnTo>
                    <a:pt x="23415" y="124182"/>
                  </a:lnTo>
                  <a:lnTo>
                    <a:pt x="23990" y="125725"/>
                  </a:lnTo>
                  <a:lnTo>
                    <a:pt x="23990" y="126995"/>
                  </a:lnTo>
                  <a:lnTo>
                    <a:pt x="22568" y="127933"/>
                  </a:lnTo>
                  <a:lnTo>
                    <a:pt x="20874" y="127721"/>
                  </a:lnTo>
                  <a:lnTo>
                    <a:pt x="19845" y="126269"/>
                  </a:lnTo>
                  <a:lnTo>
                    <a:pt x="18635" y="122307"/>
                  </a:lnTo>
                  <a:lnTo>
                    <a:pt x="18514" y="121550"/>
                  </a:lnTo>
                  <a:lnTo>
                    <a:pt x="18363" y="120703"/>
                  </a:lnTo>
                  <a:lnTo>
                    <a:pt x="17939" y="119765"/>
                  </a:lnTo>
                  <a:lnTo>
                    <a:pt x="17485" y="119221"/>
                  </a:lnTo>
                  <a:lnTo>
                    <a:pt x="15731" y="117587"/>
                  </a:lnTo>
                  <a:lnTo>
                    <a:pt x="15489" y="117255"/>
                  </a:lnTo>
                  <a:lnTo>
                    <a:pt x="15368" y="116922"/>
                  </a:lnTo>
                  <a:lnTo>
                    <a:pt x="15489" y="116650"/>
                  </a:lnTo>
                  <a:lnTo>
                    <a:pt x="15731" y="116377"/>
                  </a:lnTo>
                  <a:lnTo>
                    <a:pt x="15882" y="116256"/>
                  </a:lnTo>
                  <a:lnTo>
                    <a:pt x="16003" y="116166"/>
                  </a:lnTo>
                  <a:lnTo>
                    <a:pt x="16155" y="116135"/>
                  </a:lnTo>
                  <a:lnTo>
                    <a:pt x="16306" y="116105"/>
                  </a:lnTo>
                  <a:lnTo>
                    <a:pt x="16729" y="115288"/>
                  </a:lnTo>
                  <a:lnTo>
                    <a:pt x="16790" y="114623"/>
                  </a:lnTo>
                  <a:lnTo>
                    <a:pt x="16457" y="114108"/>
                  </a:lnTo>
                  <a:lnTo>
                    <a:pt x="15731" y="113745"/>
                  </a:lnTo>
                  <a:lnTo>
                    <a:pt x="12857" y="113685"/>
                  </a:lnTo>
                  <a:lnTo>
                    <a:pt x="11405" y="113261"/>
                  </a:lnTo>
                  <a:lnTo>
                    <a:pt x="10255" y="112354"/>
                  </a:lnTo>
                  <a:lnTo>
                    <a:pt x="9862" y="111235"/>
                  </a:lnTo>
                  <a:lnTo>
                    <a:pt x="9892" y="108754"/>
                  </a:lnTo>
                  <a:lnTo>
                    <a:pt x="9318" y="107393"/>
                  </a:lnTo>
                  <a:lnTo>
                    <a:pt x="7351" y="106122"/>
                  </a:lnTo>
                  <a:lnTo>
                    <a:pt x="2541" y="105819"/>
                  </a:lnTo>
                  <a:lnTo>
                    <a:pt x="0" y="105638"/>
                  </a:lnTo>
                  <a:lnTo>
                    <a:pt x="2329" y="107877"/>
                  </a:lnTo>
                  <a:lnTo>
                    <a:pt x="3116" y="109147"/>
                  </a:lnTo>
                  <a:lnTo>
                    <a:pt x="3509" y="111204"/>
                  </a:lnTo>
                  <a:lnTo>
                    <a:pt x="3328" y="113050"/>
                  </a:lnTo>
                  <a:lnTo>
                    <a:pt x="2632" y="113745"/>
                  </a:lnTo>
                  <a:lnTo>
                    <a:pt x="1603" y="114381"/>
                  </a:lnTo>
                  <a:lnTo>
                    <a:pt x="333" y="116105"/>
                  </a:lnTo>
                  <a:lnTo>
                    <a:pt x="1392" y="117829"/>
                  </a:lnTo>
                  <a:lnTo>
                    <a:pt x="6353" y="120673"/>
                  </a:lnTo>
                  <a:lnTo>
                    <a:pt x="8834" y="123184"/>
                  </a:lnTo>
                  <a:lnTo>
                    <a:pt x="9953" y="124787"/>
                  </a:lnTo>
                  <a:lnTo>
                    <a:pt x="10739" y="126481"/>
                  </a:lnTo>
                  <a:lnTo>
                    <a:pt x="11012" y="128659"/>
                  </a:lnTo>
                  <a:lnTo>
                    <a:pt x="10316" y="131957"/>
                  </a:lnTo>
                  <a:lnTo>
                    <a:pt x="10376" y="134104"/>
                  </a:lnTo>
                  <a:lnTo>
                    <a:pt x="11254" y="136283"/>
                  </a:lnTo>
                  <a:lnTo>
                    <a:pt x="12676" y="137493"/>
                  </a:lnTo>
                  <a:lnTo>
                    <a:pt x="14279" y="138340"/>
                  </a:lnTo>
                  <a:lnTo>
                    <a:pt x="15731" y="139489"/>
                  </a:lnTo>
                  <a:lnTo>
                    <a:pt x="16638" y="140911"/>
                  </a:lnTo>
                  <a:lnTo>
                    <a:pt x="16850" y="142393"/>
                  </a:lnTo>
                  <a:lnTo>
                    <a:pt x="16881" y="143694"/>
                  </a:lnTo>
                  <a:lnTo>
                    <a:pt x="17183" y="144602"/>
                  </a:lnTo>
                  <a:lnTo>
                    <a:pt x="32400" y="152104"/>
                  </a:lnTo>
                  <a:lnTo>
                    <a:pt x="32520" y="152104"/>
                  </a:lnTo>
                  <a:lnTo>
                    <a:pt x="34063" y="153526"/>
                  </a:lnTo>
                  <a:lnTo>
                    <a:pt x="37754" y="153859"/>
                  </a:lnTo>
                  <a:lnTo>
                    <a:pt x="39448" y="155341"/>
                  </a:lnTo>
                  <a:lnTo>
                    <a:pt x="39720" y="157459"/>
                  </a:lnTo>
                  <a:lnTo>
                    <a:pt x="39024" y="159395"/>
                  </a:lnTo>
                  <a:lnTo>
                    <a:pt x="38904" y="160937"/>
                  </a:lnTo>
                  <a:lnTo>
                    <a:pt x="43018" y="163176"/>
                  </a:lnTo>
                  <a:lnTo>
                    <a:pt x="44470" y="163660"/>
                  </a:lnTo>
                  <a:lnTo>
                    <a:pt x="45075" y="164719"/>
                  </a:lnTo>
                  <a:lnTo>
                    <a:pt x="44772" y="167502"/>
                  </a:lnTo>
                  <a:lnTo>
                    <a:pt x="43955" y="169710"/>
                  </a:lnTo>
                  <a:lnTo>
                    <a:pt x="41626" y="173643"/>
                  </a:lnTo>
                  <a:lnTo>
                    <a:pt x="40900" y="175852"/>
                  </a:lnTo>
                  <a:lnTo>
                    <a:pt x="38873" y="175277"/>
                  </a:lnTo>
                  <a:lnTo>
                    <a:pt x="38268" y="177304"/>
                  </a:lnTo>
                  <a:lnTo>
                    <a:pt x="38208" y="180298"/>
                  </a:lnTo>
                  <a:lnTo>
                    <a:pt x="37905" y="182658"/>
                  </a:lnTo>
                  <a:lnTo>
                    <a:pt x="36302" y="184140"/>
                  </a:lnTo>
                  <a:lnTo>
                    <a:pt x="32127" y="185774"/>
                  </a:lnTo>
                  <a:lnTo>
                    <a:pt x="30948" y="187922"/>
                  </a:lnTo>
                  <a:lnTo>
                    <a:pt x="31431" y="189434"/>
                  </a:lnTo>
                  <a:lnTo>
                    <a:pt x="32490" y="191249"/>
                  </a:lnTo>
                  <a:lnTo>
                    <a:pt x="34578" y="194002"/>
                  </a:lnTo>
                  <a:lnTo>
                    <a:pt x="35999" y="195213"/>
                  </a:lnTo>
                  <a:lnTo>
                    <a:pt x="37542" y="196180"/>
                  </a:lnTo>
                  <a:lnTo>
                    <a:pt x="40900" y="197663"/>
                  </a:lnTo>
                  <a:lnTo>
                    <a:pt x="42292" y="198329"/>
                  </a:lnTo>
                  <a:lnTo>
                    <a:pt x="43139" y="199841"/>
                  </a:lnTo>
                  <a:lnTo>
                    <a:pt x="43199" y="201747"/>
                  </a:lnTo>
                  <a:lnTo>
                    <a:pt x="42352" y="203501"/>
                  </a:lnTo>
                  <a:lnTo>
                    <a:pt x="42594" y="203652"/>
                  </a:lnTo>
                  <a:lnTo>
                    <a:pt x="43411" y="204015"/>
                  </a:lnTo>
                  <a:lnTo>
                    <a:pt x="42927" y="205165"/>
                  </a:lnTo>
                  <a:lnTo>
                    <a:pt x="42866" y="205498"/>
                  </a:lnTo>
                  <a:lnTo>
                    <a:pt x="43865" y="206648"/>
                  </a:lnTo>
                  <a:lnTo>
                    <a:pt x="46285" y="207857"/>
                  </a:lnTo>
                  <a:lnTo>
                    <a:pt x="47344" y="208946"/>
                  </a:lnTo>
                  <a:lnTo>
                    <a:pt x="48039" y="210489"/>
                  </a:lnTo>
                  <a:lnTo>
                    <a:pt x="48523" y="213636"/>
                  </a:lnTo>
                  <a:lnTo>
                    <a:pt x="48917" y="215300"/>
                  </a:lnTo>
                  <a:lnTo>
                    <a:pt x="49552" y="217024"/>
                  </a:lnTo>
                  <a:lnTo>
                    <a:pt x="50187" y="218294"/>
                  </a:lnTo>
                  <a:lnTo>
                    <a:pt x="51004" y="219353"/>
                  </a:lnTo>
                  <a:lnTo>
                    <a:pt x="52093" y="220412"/>
                  </a:lnTo>
                  <a:lnTo>
                    <a:pt x="53213" y="220714"/>
                  </a:lnTo>
                  <a:lnTo>
                    <a:pt x="54302" y="220594"/>
                  </a:lnTo>
                  <a:lnTo>
                    <a:pt x="55028" y="221138"/>
                  </a:lnTo>
                  <a:lnTo>
                    <a:pt x="55179" y="223528"/>
                  </a:lnTo>
                  <a:lnTo>
                    <a:pt x="55451" y="228217"/>
                  </a:lnTo>
                  <a:lnTo>
                    <a:pt x="55965" y="230486"/>
                  </a:lnTo>
                  <a:lnTo>
                    <a:pt x="57115" y="232573"/>
                  </a:lnTo>
                  <a:lnTo>
                    <a:pt x="59081" y="234055"/>
                  </a:lnTo>
                  <a:lnTo>
                    <a:pt x="63710" y="236082"/>
                  </a:lnTo>
                  <a:lnTo>
                    <a:pt x="65737" y="238018"/>
                  </a:lnTo>
                  <a:lnTo>
                    <a:pt x="69034" y="244795"/>
                  </a:lnTo>
                  <a:lnTo>
                    <a:pt x="70637" y="246307"/>
                  </a:lnTo>
                  <a:lnTo>
                    <a:pt x="72634" y="246973"/>
                  </a:lnTo>
                  <a:lnTo>
                    <a:pt x="78563" y="247790"/>
                  </a:lnTo>
                  <a:lnTo>
                    <a:pt x="80439" y="247547"/>
                  </a:lnTo>
                  <a:lnTo>
                    <a:pt x="79985" y="245732"/>
                  </a:lnTo>
                  <a:lnTo>
                    <a:pt x="81376" y="245309"/>
                  </a:lnTo>
                  <a:lnTo>
                    <a:pt x="85218" y="246307"/>
                  </a:lnTo>
                  <a:lnTo>
                    <a:pt x="86913" y="247124"/>
                  </a:lnTo>
                  <a:lnTo>
                    <a:pt x="88365" y="248213"/>
                  </a:lnTo>
                  <a:lnTo>
                    <a:pt x="91208" y="250966"/>
                  </a:lnTo>
                  <a:lnTo>
                    <a:pt x="92963" y="251632"/>
                  </a:lnTo>
                  <a:lnTo>
                    <a:pt x="93507" y="252781"/>
                  </a:lnTo>
                  <a:lnTo>
                    <a:pt x="93659" y="254173"/>
                  </a:lnTo>
                  <a:lnTo>
                    <a:pt x="94113" y="255473"/>
                  </a:lnTo>
                  <a:lnTo>
                    <a:pt x="97319" y="259013"/>
                  </a:lnTo>
                  <a:lnTo>
                    <a:pt x="97319" y="259013"/>
                  </a:lnTo>
                  <a:lnTo>
                    <a:pt x="97349" y="259013"/>
                  </a:lnTo>
                  <a:lnTo>
                    <a:pt x="98590" y="259678"/>
                  </a:lnTo>
                  <a:lnTo>
                    <a:pt x="107998" y="271446"/>
                  </a:lnTo>
                  <a:lnTo>
                    <a:pt x="109329" y="274229"/>
                  </a:lnTo>
                  <a:lnTo>
                    <a:pt x="110932" y="276589"/>
                  </a:lnTo>
                  <a:lnTo>
                    <a:pt x="113776" y="278132"/>
                  </a:lnTo>
                  <a:lnTo>
                    <a:pt x="119886" y="278404"/>
                  </a:lnTo>
                  <a:lnTo>
                    <a:pt x="121883" y="279100"/>
                  </a:lnTo>
                  <a:lnTo>
                    <a:pt x="123093" y="280098"/>
                  </a:lnTo>
                  <a:lnTo>
                    <a:pt x="126179" y="283849"/>
                  </a:lnTo>
                  <a:lnTo>
                    <a:pt x="130444" y="287873"/>
                  </a:lnTo>
                  <a:lnTo>
                    <a:pt x="131563" y="290323"/>
                  </a:lnTo>
                  <a:lnTo>
                    <a:pt x="131624" y="294256"/>
                  </a:lnTo>
                  <a:lnTo>
                    <a:pt x="133076" y="296404"/>
                  </a:lnTo>
                  <a:lnTo>
                    <a:pt x="135980" y="298915"/>
                  </a:lnTo>
                  <a:lnTo>
                    <a:pt x="139157" y="301002"/>
                  </a:lnTo>
                  <a:lnTo>
                    <a:pt x="141516" y="302061"/>
                  </a:lnTo>
                  <a:lnTo>
                    <a:pt x="142545" y="299610"/>
                  </a:lnTo>
                  <a:lnTo>
                    <a:pt x="143513" y="298067"/>
                  </a:lnTo>
                  <a:lnTo>
                    <a:pt x="144874" y="297462"/>
                  </a:lnTo>
                  <a:lnTo>
                    <a:pt x="145540" y="297583"/>
                  </a:lnTo>
                  <a:lnTo>
                    <a:pt x="147204" y="297916"/>
                  </a:lnTo>
                  <a:lnTo>
                    <a:pt x="148988" y="298915"/>
                  </a:lnTo>
                  <a:lnTo>
                    <a:pt x="150683" y="300155"/>
                  </a:lnTo>
                  <a:lnTo>
                    <a:pt x="152407" y="301032"/>
                  </a:lnTo>
                  <a:lnTo>
                    <a:pt x="154222" y="300850"/>
                  </a:lnTo>
                  <a:lnTo>
                    <a:pt x="154464" y="303513"/>
                  </a:lnTo>
                  <a:lnTo>
                    <a:pt x="155553" y="306054"/>
                  </a:lnTo>
                  <a:lnTo>
                    <a:pt x="157126" y="308262"/>
                  </a:lnTo>
                  <a:lnTo>
                    <a:pt x="158820" y="309835"/>
                  </a:lnTo>
                  <a:lnTo>
                    <a:pt x="160726" y="310652"/>
                  </a:lnTo>
                  <a:lnTo>
                    <a:pt x="164477" y="311196"/>
                  </a:lnTo>
                  <a:lnTo>
                    <a:pt x="165899" y="311923"/>
                  </a:lnTo>
                  <a:lnTo>
                    <a:pt x="168229" y="315280"/>
                  </a:lnTo>
                  <a:lnTo>
                    <a:pt x="173099" y="324205"/>
                  </a:lnTo>
                  <a:lnTo>
                    <a:pt x="175065" y="326080"/>
                  </a:lnTo>
                  <a:lnTo>
                    <a:pt x="179119" y="327079"/>
                  </a:lnTo>
                  <a:lnTo>
                    <a:pt x="180995" y="328046"/>
                  </a:lnTo>
                  <a:lnTo>
                    <a:pt x="182840" y="329347"/>
                  </a:lnTo>
                  <a:lnTo>
                    <a:pt x="185048" y="331042"/>
                  </a:lnTo>
                  <a:lnTo>
                    <a:pt x="191824" y="334460"/>
                  </a:lnTo>
                  <a:lnTo>
                    <a:pt x="192702" y="335337"/>
                  </a:lnTo>
                  <a:lnTo>
                    <a:pt x="194365" y="337727"/>
                  </a:lnTo>
                  <a:lnTo>
                    <a:pt x="195031" y="338877"/>
                  </a:lnTo>
                  <a:lnTo>
                    <a:pt x="195545" y="339300"/>
                  </a:lnTo>
                  <a:lnTo>
                    <a:pt x="196241" y="339572"/>
                  </a:lnTo>
                  <a:lnTo>
                    <a:pt x="196846" y="339935"/>
                  </a:lnTo>
                  <a:lnTo>
                    <a:pt x="197088" y="340813"/>
                  </a:lnTo>
                  <a:lnTo>
                    <a:pt x="196907" y="341690"/>
                  </a:lnTo>
                  <a:lnTo>
                    <a:pt x="196453" y="341811"/>
                  </a:lnTo>
                  <a:lnTo>
                    <a:pt x="195969" y="341720"/>
                  </a:lnTo>
                  <a:lnTo>
                    <a:pt x="195666" y="341932"/>
                  </a:lnTo>
                  <a:lnTo>
                    <a:pt x="194971" y="343233"/>
                  </a:lnTo>
                  <a:lnTo>
                    <a:pt x="194426" y="343445"/>
                  </a:lnTo>
                  <a:lnTo>
                    <a:pt x="194214" y="343838"/>
                  </a:lnTo>
                  <a:lnTo>
                    <a:pt x="194699" y="345744"/>
                  </a:lnTo>
                  <a:lnTo>
                    <a:pt x="195122" y="346500"/>
                  </a:lnTo>
                  <a:lnTo>
                    <a:pt x="196877" y="348496"/>
                  </a:lnTo>
                  <a:lnTo>
                    <a:pt x="197724" y="349192"/>
                  </a:lnTo>
                  <a:lnTo>
                    <a:pt x="201142" y="350523"/>
                  </a:lnTo>
                  <a:lnTo>
                    <a:pt x="215390" y="351975"/>
                  </a:lnTo>
                  <a:lnTo>
                    <a:pt x="225373" y="355243"/>
                  </a:lnTo>
                  <a:lnTo>
                    <a:pt x="226341" y="355122"/>
                  </a:lnTo>
                  <a:lnTo>
                    <a:pt x="227128" y="354849"/>
                  </a:lnTo>
                  <a:lnTo>
                    <a:pt x="229155" y="353337"/>
                  </a:lnTo>
                  <a:lnTo>
                    <a:pt x="234388" y="351249"/>
                  </a:lnTo>
                  <a:lnTo>
                    <a:pt x="235991" y="349767"/>
                  </a:lnTo>
                  <a:lnTo>
                    <a:pt x="238260" y="344261"/>
                  </a:lnTo>
                  <a:lnTo>
                    <a:pt x="239712" y="343324"/>
                  </a:lnTo>
                  <a:lnTo>
                    <a:pt x="242102" y="345955"/>
                  </a:lnTo>
                  <a:lnTo>
                    <a:pt x="246126" y="347861"/>
                  </a:lnTo>
                  <a:lnTo>
                    <a:pt x="247336" y="348133"/>
                  </a:lnTo>
                  <a:lnTo>
                    <a:pt x="248818" y="347831"/>
                  </a:lnTo>
                  <a:lnTo>
                    <a:pt x="251843" y="346500"/>
                  </a:lnTo>
                  <a:lnTo>
                    <a:pt x="253386" y="346379"/>
                  </a:lnTo>
                  <a:lnTo>
                    <a:pt x="254052" y="346893"/>
                  </a:lnTo>
                  <a:lnTo>
                    <a:pt x="254173" y="347801"/>
                  </a:lnTo>
                  <a:lnTo>
                    <a:pt x="254173" y="348708"/>
                  </a:lnTo>
                  <a:lnTo>
                    <a:pt x="254505" y="349313"/>
                  </a:lnTo>
                  <a:lnTo>
                    <a:pt x="255262" y="349374"/>
                  </a:lnTo>
                  <a:lnTo>
                    <a:pt x="256804" y="348890"/>
                  </a:lnTo>
                  <a:lnTo>
                    <a:pt x="257470" y="349041"/>
                  </a:lnTo>
                  <a:lnTo>
                    <a:pt x="258559" y="350342"/>
                  </a:lnTo>
                  <a:lnTo>
                    <a:pt x="259134" y="351643"/>
                  </a:lnTo>
                  <a:lnTo>
                    <a:pt x="259920" y="352581"/>
                  </a:lnTo>
                  <a:lnTo>
                    <a:pt x="261584" y="352671"/>
                  </a:lnTo>
                  <a:lnTo>
                    <a:pt x="263157" y="351249"/>
                  </a:lnTo>
                  <a:lnTo>
                    <a:pt x="263611" y="350826"/>
                  </a:lnTo>
                  <a:lnTo>
                    <a:pt x="264125" y="347196"/>
                  </a:lnTo>
                  <a:lnTo>
                    <a:pt x="264065" y="342900"/>
                  </a:lnTo>
                  <a:lnTo>
                    <a:pt x="264428" y="339149"/>
                  </a:lnTo>
                  <a:lnTo>
                    <a:pt x="266334" y="336305"/>
                  </a:lnTo>
                  <a:lnTo>
                    <a:pt x="271628" y="332009"/>
                  </a:lnTo>
                  <a:lnTo>
                    <a:pt x="272142" y="329347"/>
                  </a:lnTo>
                  <a:lnTo>
                    <a:pt x="273140" y="327683"/>
                  </a:lnTo>
                  <a:lnTo>
                    <a:pt x="273534" y="325989"/>
                  </a:lnTo>
                  <a:lnTo>
                    <a:pt x="274138" y="324658"/>
                  </a:lnTo>
                  <a:lnTo>
                    <a:pt x="275651" y="324144"/>
                  </a:lnTo>
                  <a:lnTo>
                    <a:pt x="280915" y="324810"/>
                  </a:lnTo>
                  <a:lnTo>
                    <a:pt x="286118" y="326746"/>
                  </a:lnTo>
                  <a:lnTo>
                    <a:pt x="288145" y="326594"/>
                  </a:lnTo>
                  <a:lnTo>
                    <a:pt x="289294" y="324144"/>
                  </a:lnTo>
                  <a:lnTo>
                    <a:pt x="289083" y="323872"/>
                  </a:lnTo>
                  <a:lnTo>
                    <a:pt x="288659" y="322964"/>
                  </a:lnTo>
                  <a:lnTo>
                    <a:pt x="288205" y="321845"/>
                  </a:lnTo>
                  <a:lnTo>
                    <a:pt x="288024" y="320968"/>
                  </a:lnTo>
                  <a:lnTo>
                    <a:pt x="288175" y="320000"/>
                  </a:lnTo>
                  <a:lnTo>
                    <a:pt x="288901" y="318245"/>
                  </a:lnTo>
                  <a:lnTo>
                    <a:pt x="291019" y="309442"/>
                  </a:lnTo>
                  <a:lnTo>
                    <a:pt x="291049" y="305570"/>
                  </a:lnTo>
                  <a:lnTo>
                    <a:pt x="290626" y="301244"/>
                  </a:lnTo>
                  <a:lnTo>
                    <a:pt x="290686" y="297251"/>
                  </a:lnTo>
                  <a:lnTo>
                    <a:pt x="292047" y="294286"/>
                  </a:lnTo>
                  <a:lnTo>
                    <a:pt x="291957" y="293530"/>
                  </a:lnTo>
                  <a:lnTo>
                    <a:pt x="291957" y="292864"/>
                  </a:lnTo>
                  <a:lnTo>
                    <a:pt x="292108" y="292380"/>
                  </a:lnTo>
                  <a:lnTo>
                    <a:pt x="292441" y="292168"/>
                  </a:lnTo>
                  <a:lnTo>
                    <a:pt x="294619" y="291896"/>
                  </a:lnTo>
                  <a:lnTo>
                    <a:pt x="300215" y="293681"/>
                  </a:lnTo>
                  <a:lnTo>
                    <a:pt x="308051" y="294256"/>
                  </a:lnTo>
                  <a:lnTo>
                    <a:pt x="308807" y="296252"/>
                  </a:lnTo>
                  <a:lnTo>
                    <a:pt x="309230" y="298158"/>
                  </a:lnTo>
                  <a:lnTo>
                    <a:pt x="309170" y="300064"/>
                  </a:lnTo>
                  <a:lnTo>
                    <a:pt x="308504" y="302061"/>
                  </a:lnTo>
                  <a:lnTo>
                    <a:pt x="310501" y="302121"/>
                  </a:lnTo>
                  <a:lnTo>
                    <a:pt x="318185" y="300215"/>
                  </a:lnTo>
                  <a:lnTo>
                    <a:pt x="318699" y="299882"/>
                  </a:lnTo>
                  <a:lnTo>
                    <a:pt x="320091" y="298340"/>
                  </a:lnTo>
                  <a:lnTo>
                    <a:pt x="320454" y="297614"/>
                  </a:lnTo>
                  <a:lnTo>
                    <a:pt x="320665" y="295738"/>
                  </a:lnTo>
                  <a:lnTo>
                    <a:pt x="321089" y="295163"/>
                  </a:lnTo>
                  <a:lnTo>
                    <a:pt x="321875" y="295133"/>
                  </a:lnTo>
                  <a:lnTo>
                    <a:pt x="322359" y="295738"/>
                  </a:lnTo>
                  <a:lnTo>
                    <a:pt x="322783" y="296404"/>
                  </a:lnTo>
                  <a:lnTo>
                    <a:pt x="323297" y="296736"/>
                  </a:lnTo>
                  <a:lnTo>
                    <a:pt x="327986" y="296797"/>
                  </a:lnTo>
                  <a:lnTo>
                    <a:pt x="330255" y="297372"/>
                  </a:lnTo>
                  <a:lnTo>
                    <a:pt x="335065" y="299641"/>
                  </a:lnTo>
                  <a:lnTo>
                    <a:pt x="339542" y="301032"/>
                  </a:lnTo>
                  <a:lnTo>
                    <a:pt x="341720" y="302182"/>
                  </a:lnTo>
                  <a:lnTo>
                    <a:pt x="346682" y="306144"/>
                  </a:lnTo>
                  <a:lnTo>
                    <a:pt x="348981" y="306961"/>
                  </a:lnTo>
                  <a:lnTo>
                    <a:pt x="355001" y="309109"/>
                  </a:lnTo>
                  <a:lnTo>
                    <a:pt x="362806" y="313163"/>
                  </a:lnTo>
                  <a:lnTo>
                    <a:pt x="365044" y="313677"/>
                  </a:lnTo>
                  <a:lnTo>
                    <a:pt x="367374" y="313677"/>
                  </a:lnTo>
                  <a:lnTo>
                    <a:pt x="369067" y="313163"/>
                  </a:lnTo>
                  <a:lnTo>
                    <a:pt x="372637" y="311438"/>
                  </a:lnTo>
                  <a:lnTo>
                    <a:pt x="373515" y="311227"/>
                  </a:lnTo>
                  <a:lnTo>
                    <a:pt x="376600" y="311227"/>
                  </a:lnTo>
                  <a:lnTo>
                    <a:pt x="377175" y="311620"/>
                  </a:lnTo>
                  <a:lnTo>
                    <a:pt x="377599" y="313375"/>
                  </a:lnTo>
                  <a:lnTo>
                    <a:pt x="378083" y="314070"/>
                  </a:lnTo>
                  <a:lnTo>
                    <a:pt x="378778" y="314343"/>
                  </a:lnTo>
                  <a:lnTo>
                    <a:pt x="380684" y="314464"/>
                  </a:lnTo>
                  <a:lnTo>
                    <a:pt x="381804" y="315220"/>
                  </a:lnTo>
                  <a:lnTo>
                    <a:pt x="382530" y="315523"/>
                  </a:lnTo>
                  <a:lnTo>
                    <a:pt x="383377" y="315492"/>
                  </a:lnTo>
                  <a:lnTo>
                    <a:pt x="382348" y="316732"/>
                  </a:lnTo>
                  <a:lnTo>
                    <a:pt x="383619" y="316460"/>
                  </a:lnTo>
                  <a:lnTo>
                    <a:pt x="384738" y="316490"/>
                  </a:lnTo>
                  <a:lnTo>
                    <a:pt x="385494" y="317126"/>
                  </a:lnTo>
                  <a:lnTo>
                    <a:pt x="385615" y="318608"/>
                  </a:lnTo>
                  <a:lnTo>
                    <a:pt x="387309" y="318215"/>
                  </a:lnTo>
                  <a:lnTo>
                    <a:pt x="387854" y="318820"/>
                  </a:lnTo>
                  <a:lnTo>
                    <a:pt x="387854" y="319758"/>
                  </a:lnTo>
                  <a:lnTo>
                    <a:pt x="388005" y="320484"/>
                  </a:lnTo>
                  <a:lnTo>
                    <a:pt x="398109" y="327260"/>
                  </a:lnTo>
                  <a:lnTo>
                    <a:pt x="403463" y="329378"/>
                  </a:lnTo>
                  <a:lnTo>
                    <a:pt x="412751" y="328863"/>
                  </a:lnTo>
                  <a:lnTo>
                    <a:pt x="426818" y="330799"/>
                  </a:lnTo>
                  <a:lnTo>
                    <a:pt x="426938" y="330679"/>
                  </a:lnTo>
                  <a:lnTo>
                    <a:pt x="429026" y="330406"/>
                  </a:lnTo>
                  <a:lnTo>
                    <a:pt x="430357" y="331405"/>
                  </a:lnTo>
                  <a:lnTo>
                    <a:pt x="430902" y="331556"/>
                  </a:lnTo>
                  <a:lnTo>
                    <a:pt x="432505" y="331132"/>
                  </a:lnTo>
                  <a:lnTo>
                    <a:pt x="433624" y="330194"/>
                  </a:lnTo>
                  <a:lnTo>
                    <a:pt x="438706" y="322148"/>
                  </a:lnTo>
                  <a:lnTo>
                    <a:pt x="440461" y="321058"/>
                  </a:lnTo>
                  <a:lnTo>
                    <a:pt x="443365" y="321452"/>
                  </a:lnTo>
                  <a:lnTo>
                    <a:pt x="444394" y="321421"/>
                  </a:lnTo>
                  <a:lnTo>
                    <a:pt x="446209" y="320695"/>
                  </a:lnTo>
                  <a:lnTo>
                    <a:pt x="447147" y="320574"/>
                  </a:lnTo>
                  <a:lnTo>
                    <a:pt x="448084" y="320877"/>
                  </a:lnTo>
                  <a:lnTo>
                    <a:pt x="449778" y="321875"/>
                  </a:lnTo>
                  <a:lnTo>
                    <a:pt x="455798" y="323509"/>
                  </a:lnTo>
                  <a:lnTo>
                    <a:pt x="457644" y="323690"/>
                  </a:lnTo>
                  <a:lnTo>
                    <a:pt x="459580" y="324416"/>
                  </a:lnTo>
                  <a:lnTo>
                    <a:pt x="460366" y="326111"/>
                  </a:lnTo>
                  <a:lnTo>
                    <a:pt x="460760" y="328137"/>
                  </a:lnTo>
                  <a:lnTo>
                    <a:pt x="461455" y="329771"/>
                  </a:lnTo>
                  <a:lnTo>
                    <a:pt x="462787" y="330618"/>
                  </a:lnTo>
                  <a:lnTo>
                    <a:pt x="464390" y="330890"/>
                  </a:lnTo>
                  <a:lnTo>
                    <a:pt x="468232" y="330739"/>
                  </a:lnTo>
                  <a:lnTo>
                    <a:pt x="469775" y="331223"/>
                  </a:lnTo>
                  <a:lnTo>
                    <a:pt x="473405" y="333462"/>
                  </a:lnTo>
                  <a:lnTo>
                    <a:pt x="475250" y="334097"/>
                  </a:lnTo>
                  <a:lnTo>
                    <a:pt x="477186" y="333855"/>
                  </a:lnTo>
                  <a:lnTo>
                    <a:pt x="481058" y="332584"/>
                  </a:lnTo>
                  <a:lnTo>
                    <a:pt x="482722" y="332705"/>
                  </a:lnTo>
                  <a:lnTo>
                    <a:pt x="485112" y="335791"/>
                  </a:lnTo>
                  <a:lnTo>
                    <a:pt x="486504" y="345048"/>
                  </a:lnTo>
                  <a:lnTo>
                    <a:pt x="489952" y="348769"/>
                  </a:lnTo>
                  <a:lnTo>
                    <a:pt x="490194" y="346107"/>
                  </a:lnTo>
                  <a:lnTo>
                    <a:pt x="491798" y="344322"/>
                  </a:lnTo>
                  <a:lnTo>
                    <a:pt x="492947" y="342386"/>
                  </a:lnTo>
                  <a:lnTo>
                    <a:pt x="498060" y="328894"/>
                  </a:lnTo>
                  <a:lnTo>
                    <a:pt x="500510" y="325021"/>
                  </a:lnTo>
                  <a:lnTo>
                    <a:pt x="503989" y="322238"/>
                  </a:lnTo>
                  <a:lnTo>
                    <a:pt x="505411" y="320574"/>
                  </a:lnTo>
                  <a:lnTo>
                    <a:pt x="506016" y="317912"/>
                  </a:lnTo>
                  <a:lnTo>
                    <a:pt x="506923" y="316612"/>
                  </a:lnTo>
                  <a:lnTo>
                    <a:pt x="512339" y="312981"/>
                  </a:lnTo>
                  <a:lnTo>
                    <a:pt x="516846" y="312104"/>
                  </a:lnTo>
                  <a:lnTo>
                    <a:pt x="521686" y="313284"/>
                  </a:lnTo>
                  <a:lnTo>
                    <a:pt x="533151" y="318608"/>
                  </a:lnTo>
                  <a:lnTo>
                    <a:pt x="534906" y="318336"/>
                  </a:lnTo>
                  <a:lnTo>
                    <a:pt x="536872" y="317126"/>
                  </a:lnTo>
                  <a:lnTo>
                    <a:pt x="538718" y="316037"/>
                  </a:lnTo>
                  <a:lnTo>
                    <a:pt x="541107" y="315371"/>
                  </a:lnTo>
                  <a:lnTo>
                    <a:pt x="542560" y="316037"/>
                  </a:lnTo>
                  <a:lnTo>
                    <a:pt x="545645" y="319032"/>
                  </a:lnTo>
                  <a:lnTo>
                    <a:pt x="549336" y="319546"/>
                  </a:lnTo>
                  <a:lnTo>
                    <a:pt x="568667" y="312558"/>
                  </a:lnTo>
                  <a:lnTo>
                    <a:pt x="570451" y="311196"/>
                  </a:lnTo>
                  <a:lnTo>
                    <a:pt x="573900" y="305691"/>
                  </a:lnTo>
                  <a:lnTo>
                    <a:pt x="575534" y="304450"/>
                  </a:lnTo>
                  <a:lnTo>
                    <a:pt x="578014" y="304057"/>
                  </a:lnTo>
                  <a:lnTo>
                    <a:pt x="580132" y="304390"/>
                  </a:lnTo>
                  <a:lnTo>
                    <a:pt x="582068" y="304299"/>
                  </a:lnTo>
                  <a:lnTo>
                    <a:pt x="583913" y="302635"/>
                  </a:lnTo>
                  <a:lnTo>
                    <a:pt x="584730" y="300699"/>
                  </a:lnTo>
                  <a:lnTo>
                    <a:pt x="585517" y="296343"/>
                  </a:lnTo>
                  <a:lnTo>
                    <a:pt x="586152" y="294256"/>
                  </a:lnTo>
                  <a:lnTo>
                    <a:pt x="587483" y="291805"/>
                  </a:lnTo>
                  <a:lnTo>
                    <a:pt x="589570" y="290535"/>
                  </a:lnTo>
                  <a:lnTo>
                    <a:pt x="592021" y="290202"/>
                  </a:lnTo>
                  <a:lnTo>
                    <a:pt x="597406" y="290595"/>
                  </a:lnTo>
                  <a:lnTo>
                    <a:pt x="600763" y="289173"/>
                  </a:lnTo>
                  <a:lnTo>
                    <a:pt x="603728" y="286632"/>
                  </a:lnTo>
                  <a:lnTo>
                    <a:pt x="605815" y="283365"/>
                  </a:lnTo>
                  <a:lnTo>
                    <a:pt x="606481" y="280280"/>
                  </a:lnTo>
                  <a:lnTo>
                    <a:pt x="606360" y="273987"/>
                  </a:lnTo>
                  <a:lnTo>
                    <a:pt x="606330" y="273140"/>
                  </a:lnTo>
                  <a:lnTo>
                    <a:pt x="606693" y="269329"/>
                  </a:lnTo>
                  <a:lnTo>
                    <a:pt x="607994" y="264700"/>
                  </a:lnTo>
                  <a:lnTo>
                    <a:pt x="609839" y="260374"/>
                  </a:lnTo>
                  <a:lnTo>
                    <a:pt x="612289" y="256774"/>
                  </a:lnTo>
                  <a:lnTo>
                    <a:pt x="615223" y="254173"/>
                  </a:lnTo>
                  <a:lnTo>
                    <a:pt x="628776" y="249332"/>
                  </a:lnTo>
                  <a:lnTo>
                    <a:pt x="632497" y="246640"/>
                  </a:lnTo>
                  <a:lnTo>
                    <a:pt x="634887" y="244946"/>
                  </a:lnTo>
                  <a:lnTo>
                    <a:pt x="635129" y="238200"/>
                  </a:lnTo>
                  <a:lnTo>
                    <a:pt x="638063" y="238805"/>
                  </a:lnTo>
                  <a:lnTo>
                    <a:pt x="640302" y="237443"/>
                  </a:lnTo>
                  <a:lnTo>
                    <a:pt x="644598" y="232603"/>
                  </a:lnTo>
                  <a:lnTo>
                    <a:pt x="647925" y="230970"/>
                  </a:lnTo>
                  <a:lnTo>
                    <a:pt x="648742" y="230213"/>
                  </a:lnTo>
                  <a:lnTo>
                    <a:pt x="649256" y="228973"/>
                  </a:lnTo>
                  <a:lnTo>
                    <a:pt x="649499" y="226311"/>
                  </a:lnTo>
                  <a:lnTo>
                    <a:pt x="650013" y="225162"/>
                  </a:lnTo>
                  <a:lnTo>
                    <a:pt x="652100" y="223921"/>
                  </a:lnTo>
                  <a:lnTo>
                    <a:pt x="656547" y="224526"/>
                  </a:lnTo>
                  <a:lnTo>
                    <a:pt x="659421" y="223135"/>
                  </a:lnTo>
                  <a:lnTo>
                    <a:pt x="660117" y="223013"/>
                  </a:lnTo>
                  <a:lnTo>
                    <a:pt x="660813" y="223135"/>
                  </a:lnTo>
                  <a:lnTo>
                    <a:pt x="664110" y="224677"/>
                  </a:lnTo>
                  <a:lnTo>
                    <a:pt x="667014" y="225494"/>
                  </a:lnTo>
                  <a:lnTo>
                    <a:pt x="669827" y="225343"/>
                  </a:lnTo>
                  <a:lnTo>
                    <a:pt x="673972" y="221834"/>
                  </a:lnTo>
                  <a:lnTo>
                    <a:pt x="675847" y="221168"/>
                  </a:lnTo>
                  <a:lnTo>
                    <a:pt x="679962" y="221077"/>
                  </a:lnTo>
                  <a:lnTo>
                    <a:pt x="680385" y="218688"/>
                  </a:lnTo>
                  <a:lnTo>
                    <a:pt x="680113" y="215753"/>
                  </a:lnTo>
                  <a:close/>
                </a:path>
              </a:pathLst>
            </a:custGeom>
            <a:solidFill>
              <a:srgbClr val="96A3AC"/>
            </a:solidFill>
            <a:ln w="3175" cap="rnd">
              <a:solidFill>
                <a:schemeClr val="bg1"/>
              </a:solidFill>
              <a:prstDash val="solid"/>
              <a:round/>
            </a:ln>
          </p:spPr>
          <p:txBody>
            <a:bodyPr rtlCol="0" anchor="ctr"/>
            <a:lstStyle/>
            <a:p>
              <a:endParaRPr lang="en-ID"/>
            </a:p>
          </p:txBody>
        </p:sp>
        <p:sp>
          <p:nvSpPr>
            <p:cNvPr id="58" name="Freeform: Shape 57">
              <a:extLst>
                <a:ext uri="{FF2B5EF4-FFF2-40B4-BE49-F238E27FC236}">
                  <a16:creationId xmlns:a16="http://schemas.microsoft.com/office/drawing/2014/main" id="{C7E9D26A-B48E-DBE8-A4BE-3D4A0C6B4221}"/>
                </a:ext>
              </a:extLst>
            </p:cNvPr>
            <p:cNvSpPr/>
            <p:nvPr/>
          </p:nvSpPr>
          <p:spPr>
            <a:xfrm>
              <a:off x="10681083" y="5461906"/>
              <a:ext cx="181528" cy="98430"/>
            </a:xfrm>
            <a:custGeom>
              <a:avLst/>
              <a:gdLst>
                <a:gd name="connsiteX0" fmla="*/ 232149 w 233540"/>
                <a:gd name="connsiteY0" fmla="*/ 272 h 126632"/>
                <a:gd name="connsiteX1" fmla="*/ 228671 w 233540"/>
                <a:gd name="connsiteY1" fmla="*/ 1543 h 126632"/>
                <a:gd name="connsiteX2" fmla="*/ 210308 w 233540"/>
                <a:gd name="connsiteY2" fmla="*/ 9499 h 126632"/>
                <a:gd name="connsiteX3" fmla="*/ 206103 w 233540"/>
                <a:gd name="connsiteY3" fmla="*/ 12010 h 126632"/>
                <a:gd name="connsiteX4" fmla="*/ 200869 w 233540"/>
                <a:gd name="connsiteY4" fmla="*/ 13583 h 126632"/>
                <a:gd name="connsiteX5" fmla="*/ 195091 w 233540"/>
                <a:gd name="connsiteY5" fmla="*/ 15065 h 126632"/>
                <a:gd name="connsiteX6" fmla="*/ 192218 w 233540"/>
                <a:gd name="connsiteY6" fmla="*/ 15640 h 126632"/>
                <a:gd name="connsiteX7" fmla="*/ 187136 w 233540"/>
                <a:gd name="connsiteY7" fmla="*/ 20480 h 126632"/>
                <a:gd name="connsiteX8" fmla="*/ 181599 w 233540"/>
                <a:gd name="connsiteY8" fmla="*/ 22416 h 126632"/>
                <a:gd name="connsiteX9" fmla="*/ 177515 w 233540"/>
                <a:gd name="connsiteY9" fmla="*/ 25018 h 126632"/>
                <a:gd name="connsiteX10" fmla="*/ 162662 w 233540"/>
                <a:gd name="connsiteY10" fmla="*/ 30373 h 126632"/>
                <a:gd name="connsiteX11" fmla="*/ 157277 w 233540"/>
                <a:gd name="connsiteY11" fmla="*/ 31946 h 126632"/>
                <a:gd name="connsiteX12" fmla="*/ 152135 w 233540"/>
                <a:gd name="connsiteY12" fmla="*/ 31189 h 126632"/>
                <a:gd name="connsiteX13" fmla="*/ 148050 w 233540"/>
                <a:gd name="connsiteY13" fmla="*/ 33337 h 126632"/>
                <a:gd name="connsiteX14" fmla="*/ 139731 w 233540"/>
                <a:gd name="connsiteY14" fmla="*/ 37693 h 126632"/>
                <a:gd name="connsiteX15" fmla="*/ 116317 w 233540"/>
                <a:gd name="connsiteY15" fmla="*/ 41112 h 126632"/>
                <a:gd name="connsiteX16" fmla="*/ 101554 w 233540"/>
                <a:gd name="connsiteY16" fmla="*/ 39599 h 126632"/>
                <a:gd name="connsiteX17" fmla="*/ 99709 w 233540"/>
                <a:gd name="connsiteY17" fmla="*/ 38812 h 126632"/>
                <a:gd name="connsiteX18" fmla="*/ 87396 w 233540"/>
                <a:gd name="connsiteY18" fmla="*/ 37360 h 126632"/>
                <a:gd name="connsiteX19" fmla="*/ 80318 w 233540"/>
                <a:gd name="connsiteY19" fmla="*/ 37754 h 126632"/>
                <a:gd name="connsiteX20" fmla="*/ 73904 w 233540"/>
                <a:gd name="connsiteY20" fmla="*/ 36513 h 126632"/>
                <a:gd name="connsiteX21" fmla="*/ 71817 w 233540"/>
                <a:gd name="connsiteY21" fmla="*/ 35969 h 126632"/>
                <a:gd name="connsiteX22" fmla="*/ 67703 w 233540"/>
                <a:gd name="connsiteY22" fmla="*/ 33730 h 126632"/>
                <a:gd name="connsiteX23" fmla="*/ 65283 w 233540"/>
                <a:gd name="connsiteY23" fmla="*/ 33337 h 126632"/>
                <a:gd name="connsiteX24" fmla="*/ 66462 w 233540"/>
                <a:gd name="connsiteY24" fmla="*/ 36907 h 126632"/>
                <a:gd name="connsiteX25" fmla="*/ 66856 w 233540"/>
                <a:gd name="connsiteY25" fmla="*/ 40265 h 126632"/>
                <a:gd name="connsiteX26" fmla="*/ 66735 w 233540"/>
                <a:gd name="connsiteY26" fmla="*/ 47707 h 126632"/>
                <a:gd name="connsiteX27" fmla="*/ 66191 w 233540"/>
                <a:gd name="connsiteY27" fmla="*/ 51972 h 126632"/>
                <a:gd name="connsiteX28" fmla="*/ 64707 w 233540"/>
                <a:gd name="connsiteY28" fmla="*/ 55602 h 126632"/>
                <a:gd name="connsiteX29" fmla="*/ 62499 w 233540"/>
                <a:gd name="connsiteY29" fmla="*/ 58506 h 126632"/>
                <a:gd name="connsiteX30" fmla="*/ 59747 w 233540"/>
                <a:gd name="connsiteY30" fmla="*/ 60563 h 126632"/>
                <a:gd name="connsiteX31" fmla="*/ 56026 w 233540"/>
                <a:gd name="connsiteY31" fmla="*/ 61471 h 126632"/>
                <a:gd name="connsiteX32" fmla="*/ 53334 w 233540"/>
                <a:gd name="connsiteY32" fmla="*/ 60503 h 126632"/>
                <a:gd name="connsiteX33" fmla="*/ 50792 w 233540"/>
                <a:gd name="connsiteY33" fmla="*/ 58990 h 126632"/>
                <a:gd name="connsiteX34" fmla="*/ 47676 w 233540"/>
                <a:gd name="connsiteY34" fmla="*/ 58143 h 126632"/>
                <a:gd name="connsiteX35" fmla="*/ 44258 w 233540"/>
                <a:gd name="connsiteY35" fmla="*/ 57750 h 126632"/>
                <a:gd name="connsiteX36" fmla="*/ 44258 w 233540"/>
                <a:gd name="connsiteY36" fmla="*/ 57750 h 126632"/>
                <a:gd name="connsiteX37" fmla="*/ 42261 w 233540"/>
                <a:gd name="connsiteY37" fmla="*/ 57538 h 126632"/>
                <a:gd name="connsiteX38" fmla="*/ 42261 w 233540"/>
                <a:gd name="connsiteY38" fmla="*/ 57508 h 126632"/>
                <a:gd name="connsiteX39" fmla="*/ 39085 w 233540"/>
                <a:gd name="connsiteY39" fmla="*/ 57145 h 126632"/>
                <a:gd name="connsiteX40" fmla="*/ 39054 w 233540"/>
                <a:gd name="connsiteY40" fmla="*/ 57145 h 126632"/>
                <a:gd name="connsiteX41" fmla="*/ 38117 w 233540"/>
                <a:gd name="connsiteY41" fmla="*/ 57024 h 126632"/>
                <a:gd name="connsiteX42" fmla="*/ 37149 w 233540"/>
                <a:gd name="connsiteY42" fmla="*/ 57145 h 126632"/>
                <a:gd name="connsiteX43" fmla="*/ 37149 w 233540"/>
                <a:gd name="connsiteY43" fmla="*/ 57145 h 126632"/>
                <a:gd name="connsiteX44" fmla="*/ 35001 w 233540"/>
                <a:gd name="connsiteY44" fmla="*/ 57387 h 126632"/>
                <a:gd name="connsiteX45" fmla="*/ 33246 w 233540"/>
                <a:gd name="connsiteY45" fmla="*/ 58083 h 126632"/>
                <a:gd name="connsiteX46" fmla="*/ 33246 w 233540"/>
                <a:gd name="connsiteY46" fmla="*/ 58083 h 126632"/>
                <a:gd name="connsiteX47" fmla="*/ 31522 w 233540"/>
                <a:gd name="connsiteY47" fmla="*/ 58779 h 126632"/>
                <a:gd name="connsiteX48" fmla="*/ 30494 w 233540"/>
                <a:gd name="connsiteY48" fmla="*/ 58990 h 126632"/>
                <a:gd name="connsiteX49" fmla="*/ 29828 w 233540"/>
                <a:gd name="connsiteY49" fmla="*/ 58869 h 126632"/>
                <a:gd name="connsiteX50" fmla="*/ 29677 w 233540"/>
                <a:gd name="connsiteY50" fmla="*/ 58748 h 126632"/>
                <a:gd name="connsiteX51" fmla="*/ 28921 w 233540"/>
                <a:gd name="connsiteY51" fmla="*/ 58295 h 126632"/>
                <a:gd name="connsiteX52" fmla="*/ 28406 w 233540"/>
                <a:gd name="connsiteY52" fmla="*/ 58143 h 126632"/>
                <a:gd name="connsiteX53" fmla="*/ 27831 w 233540"/>
                <a:gd name="connsiteY53" fmla="*/ 58385 h 126632"/>
                <a:gd name="connsiteX54" fmla="*/ 27559 w 233540"/>
                <a:gd name="connsiteY54" fmla="*/ 58930 h 126632"/>
                <a:gd name="connsiteX55" fmla="*/ 27347 w 233540"/>
                <a:gd name="connsiteY55" fmla="*/ 59474 h 126632"/>
                <a:gd name="connsiteX56" fmla="*/ 25744 w 233540"/>
                <a:gd name="connsiteY56" fmla="*/ 60533 h 126632"/>
                <a:gd name="connsiteX57" fmla="*/ 24685 w 233540"/>
                <a:gd name="connsiteY57" fmla="*/ 62409 h 126632"/>
                <a:gd name="connsiteX58" fmla="*/ 23172 w 233540"/>
                <a:gd name="connsiteY58" fmla="*/ 65918 h 126632"/>
                <a:gd name="connsiteX59" fmla="*/ 20934 w 233540"/>
                <a:gd name="connsiteY59" fmla="*/ 68883 h 126632"/>
                <a:gd name="connsiteX60" fmla="*/ 17939 w 233540"/>
                <a:gd name="connsiteY60" fmla="*/ 71605 h 126632"/>
                <a:gd name="connsiteX61" fmla="*/ 14309 w 233540"/>
                <a:gd name="connsiteY61" fmla="*/ 73360 h 126632"/>
                <a:gd name="connsiteX62" fmla="*/ 10135 w 233540"/>
                <a:gd name="connsiteY62" fmla="*/ 73541 h 126632"/>
                <a:gd name="connsiteX63" fmla="*/ 8228 w 233540"/>
                <a:gd name="connsiteY63" fmla="*/ 72845 h 126632"/>
                <a:gd name="connsiteX64" fmla="*/ 6564 w 233540"/>
                <a:gd name="connsiteY64" fmla="*/ 71605 h 126632"/>
                <a:gd name="connsiteX65" fmla="*/ 3539 w 233540"/>
                <a:gd name="connsiteY65" fmla="*/ 68580 h 126632"/>
                <a:gd name="connsiteX66" fmla="*/ 1513 w 233540"/>
                <a:gd name="connsiteY66" fmla="*/ 67279 h 126632"/>
                <a:gd name="connsiteX67" fmla="*/ 363 w 233540"/>
                <a:gd name="connsiteY67" fmla="*/ 67975 h 126632"/>
                <a:gd name="connsiteX68" fmla="*/ 0 w 233540"/>
                <a:gd name="connsiteY68" fmla="*/ 70032 h 126632"/>
                <a:gd name="connsiteX69" fmla="*/ 453 w 233540"/>
                <a:gd name="connsiteY69" fmla="*/ 72845 h 126632"/>
                <a:gd name="connsiteX70" fmla="*/ 1270 w 233540"/>
                <a:gd name="connsiteY70" fmla="*/ 74570 h 126632"/>
                <a:gd name="connsiteX71" fmla="*/ 3448 w 233540"/>
                <a:gd name="connsiteY71" fmla="*/ 78049 h 126632"/>
                <a:gd name="connsiteX72" fmla="*/ 3872 w 233540"/>
                <a:gd name="connsiteY72" fmla="*/ 80197 h 126632"/>
                <a:gd name="connsiteX73" fmla="*/ 3872 w 233540"/>
                <a:gd name="connsiteY73" fmla="*/ 82647 h 126632"/>
                <a:gd name="connsiteX74" fmla="*/ 4084 w 233540"/>
                <a:gd name="connsiteY74" fmla="*/ 83827 h 126632"/>
                <a:gd name="connsiteX75" fmla="*/ 6020 w 233540"/>
                <a:gd name="connsiteY75" fmla="*/ 86761 h 126632"/>
                <a:gd name="connsiteX76" fmla="*/ 5143 w 233540"/>
                <a:gd name="connsiteY76" fmla="*/ 88183 h 126632"/>
                <a:gd name="connsiteX77" fmla="*/ 5233 w 233540"/>
                <a:gd name="connsiteY77" fmla="*/ 89665 h 126632"/>
                <a:gd name="connsiteX78" fmla="*/ 5808 w 233540"/>
                <a:gd name="connsiteY78" fmla="*/ 90996 h 126632"/>
                <a:gd name="connsiteX79" fmla="*/ 6655 w 233540"/>
                <a:gd name="connsiteY79" fmla="*/ 92115 h 126632"/>
                <a:gd name="connsiteX80" fmla="*/ 7563 w 233540"/>
                <a:gd name="connsiteY80" fmla="*/ 92993 h 126632"/>
                <a:gd name="connsiteX81" fmla="*/ 9680 w 233540"/>
                <a:gd name="connsiteY81" fmla="*/ 94324 h 126632"/>
                <a:gd name="connsiteX82" fmla="*/ 10830 w 233540"/>
                <a:gd name="connsiteY82" fmla="*/ 95201 h 126632"/>
                <a:gd name="connsiteX83" fmla="*/ 13160 w 233540"/>
                <a:gd name="connsiteY83" fmla="*/ 101100 h 126632"/>
                <a:gd name="connsiteX84" fmla="*/ 13220 w 233540"/>
                <a:gd name="connsiteY84" fmla="*/ 102159 h 126632"/>
                <a:gd name="connsiteX85" fmla="*/ 13613 w 233540"/>
                <a:gd name="connsiteY85" fmla="*/ 102673 h 126632"/>
                <a:gd name="connsiteX86" fmla="*/ 14248 w 233540"/>
                <a:gd name="connsiteY86" fmla="*/ 105941 h 126632"/>
                <a:gd name="connsiteX87" fmla="*/ 14823 w 233540"/>
                <a:gd name="connsiteY87" fmla="*/ 106545 h 126632"/>
                <a:gd name="connsiteX88" fmla="*/ 18877 w 233540"/>
                <a:gd name="connsiteY88" fmla="*/ 109480 h 126632"/>
                <a:gd name="connsiteX89" fmla="*/ 20541 w 233540"/>
                <a:gd name="connsiteY89" fmla="*/ 110448 h 126632"/>
                <a:gd name="connsiteX90" fmla="*/ 22326 w 233540"/>
                <a:gd name="connsiteY90" fmla="*/ 111113 h 126632"/>
                <a:gd name="connsiteX91" fmla="*/ 26591 w 233540"/>
                <a:gd name="connsiteY91" fmla="*/ 111537 h 126632"/>
                <a:gd name="connsiteX92" fmla="*/ 28678 w 233540"/>
                <a:gd name="connsiteY92" fmla="*/ 111991 h 126632"/>
                <a:gd name="connsiteX93" fmla="*/ 30524 w 233540"/>
                <a:gd name="connsiteY93" fmla="*/ 112747 h 126632"/>
                <a:gd name="connsiteX94" fmla="*/ 35697 w 233540"/>
                <a:gd name="connsiteY94" fmla="*/ 115681 h 126632"/>
                <a:gd name="connsiteX95" fmla="*/ 39660 w 233540"/>
                <a:gd name="connsiteY95" fmla="*/ 117285 h 126632"/>
                <a:gd name="connsiteX96" fmla="*/ 43865 w 233540"/>
                <a:gd name="connsiteY96" fmla="*/ 118041 h 126632"/>
                <a:gd name="connsiteX97" fmla="*/ 48069 w 233540"/>
                <a:gd name="connsiteY97" fmla="*/ 117557 h 126632"/>
                <a:gd name="connsiteX98" fmla="*/ 49219 w 233540"/>
                <a:gd name="connsiteY98" fmla="*/ 117164 h 126632"/>
                <a:gd name="connsiteX99" fmla="*/ 54453 w 233540"/>
                <a:gd name="connsiteY99" fmla="*/ 115440 h 126632"/>
                <a:gd name="connsiteX100" fmla="*/ 56631 w 233540"/>
                <a:gd name="connsiteY100" fmla="*/ 115167 h 126632"/>
                <a:gd name="connsiteX101" fmla="*/ 58960 w 233540"/>
                <a:gd name="connsiteY101" fmla="*/ 115409 h 126632"/>
                <a:gd name="connsiteX102" fmla="*/ 64587 w 233540"/>
                <a:gd name="connsiteY102" fmla="*/ 116770 h 126632"/>
                <a:gd name="connsiteX103" fmla="*/ 64829 w 233540"/>
                <a:gd name="connsiteY103" fmla="*/ 118707 h 126632"/>
                <a:gd name="connsiteX104" fmla="*/ 67733 w 233540"/>
                <a:gd name="connsiteY104" fmla="*/ 123849 h 126632"/>
                <a:gd name="connsiteX105" fmla="*/ 67340 w 233540"/>
                <a:gd name="connsiteY105" fmla="*/ 125967 h 126632"/>
                <a:gd name="connsiteX106" fmla="*/ 67340 w 233540"/>
                <a:gd name="connsiteY106" fmla="*/ 126632 h 126632"/>
                <a:gd name="connsiteX107" fmla="*/ 76355 w 233540"/>
                <a:gd name="connsiteY107" fmla="*/ 126632 h 126632"/>
                <a:gd name="connsiteX108" fmla="*/ 76355 w 233540"/>
                <a:gd name="connsiteY108" fmla="*/ 125967 h 126632"/>
                <a:gd name="connsiteX109" fmla="*/ 74207 w 233540"/>
                <a:gd name="connsiteY109" fmla="*/ 123426 h 126632"/>
                <a:gd name="connsiteX110" fmla="*/ 74298 w 233540"/>
                <a:gd name="connsiteY110" fmla="*/ 120340 h 126632"/>
                <a:gd name="connsiteX111" fmla="*/ 74872 w 233540"/>
                <a:gd name="connsiteY111" fmla="*/ 119282 h 126632"/>
                <a:gd name="connsiteX112" fmla="*/ 74872 w 233540"/>
                <a:gd name="connsiteY112" fmla="*/ 119282 h 126632"/>
                <a:gd name="connsiteX113" fmla="*/ 75901 w 233540"/>
                <a:gd name="connsiteY113" fmla="*/ 117376 h 126632"/>
                <a:gd name="connsiteX114" fmla="*/ 80560 w 233540"/>
                <a:gd name="connsiteY114" fmla="*/ 113413 h 126632"/>
                <a:gd name="connsiteX115" fmla="*/ 81982 w 233540"/>
                <a:gd name="connsiteY115" fmla="*/ 112505 h 126632"/>
                <a:gd name="connsiteX116" fmla="*/ 83555 w 233540"/>
                <a:gd name="connsiteY116" fmla="*/ 112112 h 126632"/>
                <a:gd name="connsiteX117" fmla="*/ 90754 w 233540"/>
                <a:gd name="connsiteY117" fmla="*/ 111356 h 126632"/>
                <a:gd name="connsiteX118" fmla="*/ 98014 w 233540"/>
                <a:gd name="connsiteY118" fmla="*/ 112112 h 126632"/>
                <a:gd name="connsiteX119" fmla="*/ 99467 w 233540"/>
                <a:gd name="connsiteY119" fmla="*/ 111870 h 126632"/>
                <a:gd name="connsiteX120" fmla="*/ 100737 w 233540"/>
                <a:gd name="connsiteY120" fmla="*/ 111113 h 126632"/>
                <a:gd name="connsiteX121" fmla="*/ 101645 w 233540"/>
                <a:gd name="connsiteY121" fmla="*/ 110539 h 126632"/>
                <a:gd name="connsiteX122" fmla="*/ 103127 w 233540"/>
                <a:gd name="connsiteY122" fmla="*/ 109903 h 126632"/>
                <a:gd name="connsiteX123" fmla="*/ 110630 w 233540"/>
                <a:gd name="connsiteY123" fmla="*/ 108482 h 126632"/>
                <a:gd name="connsiteX124" fmla="*/ 113473 w 233540"/>
                <a:gd name="connsiteY124" fmla="*/ 106848 h 126632"/>
                <a:gd name="connsiteX125" fmla="*/ 113564 w 233540"/>
                <a:gd name="connsiteY125" fmla="*/ 103702 h 126632"/>
                <a:gd name="connsiteX126" fmla="*/ 115077 w 233540"/>
                <a:gd name="connsiteY126" fmla="*/ 105366 h 126632"/>
                <a:gd name="connsiteX127" fmla="*/ 117436 w 233540"/>
                <a:gd name="connsiteY127" fmla="*/ 104882 h 126632"/>
                <a:gd name="connsiteX128" fmla="*/ 120371 w 233540"/>
                <a:gd name="connsiteY128" fmla="*/ 103581 h 126632"/>
                <a:gd name="connsiteX129" fmla="*/ 123577 w 233540"/>
                <a:gd name="connsiteY129" fmla="*/ 102855 h 126632"/>
                <a:gd name="connsiteX130" fmla="*/ 124939 w 233540"/>
                <a:gd name="connsiteY130" fmla="*/ 102340 h 126632"/>
                <a:gd name="connsiteX131" fmla="*/ 126148 w 233540"/>
                <a:gd name="connsiteY131" fmla="*/ 101161 h 126632"/>
                <a:gd name="connsiteX132" fmla="*/ 127177 w 233540"/>
                <a:gd name="connsiteY132" fmla="*/ 99860 h 126632"/>
                <a:gd name="connsiteX133" fmla="*/ 128055 w 233540"/>
                <a:gd name="connsiteY133" fmla="*/ 99013 h 126632"/>
                <a:gd name="connsiteX134" fmla="*/ 129355 w 233540"/>
                <a:gd name="connsiteY134" fmla="*/ 98710 h 126632"/>
                <a:gd name="connsiteX135" fmla="*/ 132683 w 233540"/>
                <a:gd name="connsiteY135" fmla="*/ 98680 h 126632"/>
                <a:gd name="connsiteX136" fmla="*/ 134256 w 233540"/>
                <a:gd name="connsiteY136" fmla="*/ 98257 h 126632"/>
                <a:gd name="connsiteX137" fmla="*/ 134679 w 233540"/>
                <a:gd name="connsiteY137" fmla="*/ 97621 h 126632"/>
                <a:gd name="connsiteX138" fmla="*/ 135375 w 233540"/>
                <a:gd name="connsiteY138" fmla="*/ 95625 h 126632"/>
                <a:gd name="connsiteX139" fmla="*/ 136010 w 233540"/>
                <a:gd name="connsiteY139" fmla="*/ 95201 h 126632"/>
                <a:gd name="connsiteX140" fmla="*/ 136948 w 233540"/>
                <a:gd name="connsiteY140" fmla="*/ 94808 h 126632"/>
                <a:gd name="connsiteX141" fmla="*/ 137191 w 233540"/>
                <a:gd name="connsiteY141" fmla="*/ 93870 h 126632"/>
                <a:gd name="connsiteX142" fmla="*/ 136979 w 233540"/>
                <a:gd name="connsiteY142" fmla="*/ 91722 h 126632"/>
                <a:gd name="connsiteX143" fmla="*/ 137191 w 233540"/>
                <a:gd name="connsiteY143" fmla="*/ 89756 h 126632"/>
                <a:gd name="connsiteX144" fmla="*/ 137674 w 233540"/>
                <a:gd name="connsiteY144" fmla="*/ 87699 h 126632"/>
                <a:gd name="connsiteX145" fmla="*/ 138370 w 233540"/>
                <a:gd name="connsiteY145" fmla="*/ 85884 h 126632"/>
                <a:gd name="connsiteX146" fmla="*/ 139126 w 233540"/>
                <a:gd name="connsiteY146" fmla="*/ 84432 h 126632"/>
                <a:gd name="connsiteX147" fmla="*/ 141759 w 233540"/>
                <a:gd name="connsiteY147" fmla="*/ 82012 h 126632"/>
                <a:gd name="connsiteX148" fmla="*/ 143876 w 233540"/>
                <a:gd name="connsiteY148" fmla="*/ 81286 h 126632"/>
                <a:gd name="connsiteX149" fmla="*/ 143876 w 233540"/>
                <a:gd name="connsiteY149" fmla="*/ 81286 h 126632"/>
                <a:gd name="connsiteX150" fmla="*/ 145479 w 233540"/>
                <a:gd name="connsiteY150" fmla="*/ 80741 h 126632"/>
                <a:gd name="connsiteX151" fmla="*/ 149805 w 233540"/>
                <a:gd name="connsiteY151" fmla="*/ 80499 h 126632"/>
                <a:gd name="connsiteX152" fmla="*/ 151892 w 233540"/>
                <a:gd name="connsiteY152" fmla="*/ 80862 h 126632"/>
                <a:gd name="connsiteX153" fmla="*/ 151892 w 233540"/>
                <a:gd name="connsiteY153" fmla="*/ 80892 h 126632"/>
                <a:gd name="connsiteX154" fmla="*/ 151983 w 233540"/>
                <a:gd name="connsiteY154" fmla="*/ 80892 h 126632"/>
                <a:gd name="connsiteX155" fmla="*/ 151983 w 233540"/>
                <a:gd name="connsiteY155" fmla="*/ 80892 h 126632"/>
                <a:gd name="connsiteX156" fmla="*/ 154222 w 233540"/>
                <a:gd name="connsiteY156" fmla="*/ 81316 h 126632"/>
                <a:gd name="connsiteX157" fmla="*/ 155765 w 233540"/>
                <a:gd name="connsiteY157" fmla="*/ 82193 h 126632"/>
                <a:gd name="connsiteX158" fmla="*/ 158578 w 233540"/>
                <a:gd name="connsiteY158" fmla="*/ 84704 h 126632"/>
                <a:gd name="connsiteX159" fmla="*/ 160060 w 233540"/>
                <a:gd name="connsiteY159" fmla="*/ 85218 h 126632"/>
                <a:gd name="connsiteX160" fmla="*/ 161301 w 233540"/>
                <a:gd name="connsiteY160" fmla="*/ 84825 h 126632"/>
                <a:gd name="connsiteX161" fmla="*/ 162239 w 233540"/>
                <a:gd name="connsiteY161" fmla="*/ 83948 h 126632"/>
                <a:gd name="connsiteX162" fmla="*/ 163055 w 233540"/>
                <a:gd name="connsiteY162" fmla="*/ 82919 h 126632"/>
                <a:gd name="connsiteX163" fmla="*/ 163055 w 233540"/>
                <a:gd name="connsiteY163" fmla="*/ 82919 h 126632"/>
                <a:gd name="connsiteX164" fmla="*/ 163841 w 233540"/>
                <a:gd name="connsiteY164" fmla="*/ 82133 h 126632"/>
                <a:gd name="connsiteX165" fmla="*/ 164870 w 233540"/>
                <a:gd name="connsiteY165" fmla="*/ 81588 h 126632"/>
                <a:gd name="connsiteX166" fmla="*/ 169620 w 233540"/>
                <a:gd name="connsiteY166" fmla="*/ 80257 h 126632"/>
                <a:gd name="connsiteX167" fmla="*/ 175096 w 233540"/>
                <a:gd name="connsiteY167" fmla="*/ 79622 h 126632"/>
                <a:gd name="connsiteX168" fmla="*/ 176275 w 233540"/>
                <a:gd name="connsiteY168" fmla="*/ 80197 h 126632"/>
                <a:gd name="connsiteX169" fmla="*/ 177394 w 233540"/>
                <a:gd name="connsiteY169" fmla="*/ 81316 h 126632"/>
                <a:gd name="connsiteX170" fmla="*/ 179905 w 233540"/>
                <a:gd name="connsiteY170" fmla="*/ 81981 h 126632"/>
                <a:gd name="connsiteX171" fmla="*/ 182507 w 233540"/>
                <a:gd name="connsiteY171" fmla="*/ 82224 h 126632"/>
                <a:gd name="connsiteX172" fmla="*/ 183899 w 233540"/>
                <a:gd name="connsiteY172" fmla="*/ 82133 h 126632"/>
                <a:gd name="connsiteX173" fmla="*/ 182688 w 233540"/>
                <a:gd name="connsiteY173" fmla="*/ 81376 h 126632"/>
                <a:gd name="connsiteX174" fmla="*/ 181297 w 233540"/>
                <a:gd name="connsiteY174" fmla="*/ 79561 h 126632"/>
                <a:gd name="connsiteX175" fmla="*/ 180178 w 233540"/>
                <a:gd name="connsiteY175" fmla="*/ 77565 h 126632"/>
                <a:gd name="connsiteX176" fmla="*/ 179058 w 233540"/>
                <a:gd name="connsiteY176" fmla="*/ 74509 h 126632"/>
                <a:gd name="connsiteX177" fmla="*/ 177545 w 233540"/>
                <a:gd name="connsiteY177" fmla="*/ 72906 h 126632"/>
                <a:gd name="connsiteX178" fmla="*/ 176124 w 233540"/>
                <a:gd name="connsiteY178" fmla="*/ 71817 h 126632"/>
                <a:gd name="connsiteX179" fmla="*/ 176124 w 233540"/>
                <a:gd name="connsiteY179" fmla="*/ 71817 h 126632"/>
                <a:gd name="connsiteX180" fmla="*/ 175156 w 233540"/>
                <a:gd name="connsiteY180" fmla="*/ 71030 h 126632"/>
                <a:gd name="connsiteX181" fmla="*/ 175156 w 233540"/>
                <a:gd name="connsiteY181" fmla="*/ 71030 h 126632"/>
                <a:gd name="connsiteX182" fmla="*/ 171768 w 233540"/>
                <a:gd name="connsiteY182" fmla="*/ 68368 h 126632"/>
                <a:gd name="connsiteX183" fmla="*/ 170588 w 233540"/>
                <a:gd name="connsiteY183" fmla="*/ 66946 h 126632"/>
                <a:gd name="connsiteX184" fmla="*/ 170073 w 233540"/>
                <a:gd name="connsiteY184" fmla="*/ 65555 h 126632"/>
                <a:gd name="connsiteX185" fmla="*/ 169257 w 233540"/>
                <a:gd name="connsiteY185" fmla="*/ 64405 h 126632"/>
                <a:gd name="connsiteX186" fmla="*/ 165234 w 233540"/>
                <a:gd name="connsiteY186" fmla="*/ 60624 h 126632"/>
                <a:gd name="connsiteX187" fmla="*/ 163841 w 233540"/>
                <a:gd name="connsiteY187" fmla="*/ 59686 h 126632"/>
                <a:gd name="connsiteX188" fmla="*/ 164598 w 233540"/>
                <a:gd name="connsiteY188" fmla="*/ 50853 h 126632"/>
                <a:gd name="connsiteX189" fmla="*/ 165082 w 233540"/>
                <a:gd name="connsiteY189" fmla="*/ 48917 h 126632"/>
                <a:gd name="connsiteX190" fmla="*/ 166231 w 233540"/>
                <a:gd name="connsiteY190" fmla="*/ 46799 h 126632"/>
                <a:gd name="connsiteX191" fmla="*/ 169075 w 233540"/>
                <a:gd name="connsiteY191" fmla="*/ 43108 h 126632"/>
                <a:gd name="connsiteX192" fmla="*/ 171042 w 233540"/>
                <a:gd name="connsiteY192" fmla="*/ 41989 h 126632"/>
                <a:gd name="connsiteX193" fmla="*/ 173401 w 233540"/>
                <a:gd name="connsiteY193" fmla="*/ 42231 h 126632"/>
                <a:gd name="connsiteX194" fmla="*/ 175912 w 233540"/>
                <a:gd name="connsiteY194" fmla="*/ 42776 h 126632"/>
                <a:gd name="connsiteX195" fmla="*/ 178332 w 233540"/>
                <a:gd name="connsiteY195" fmla="*/ 42685 h 126632"/>
                <a:gd name="connsiteX196" fmla="*/ 179875 w 233540"/>
                <a:gd name="connsiteY196" fmla="*/ 41656 h 126632"/>
                <a:gd name="connsiteX197" fmla="*/ 180783 w 233540"/>
                <a:gd name="connsiteY197" fmla="*/ 40144 h 126632"/>
                <a:gd name="connsiteX198" fmla="*/ 182537 w 233540"/>
                <a:gd name="connsiteY198" fmla="*/ 36513 h 126632"/>
                <a:gd name="connsiteX199" fmla="*/ 184897 w 233540"/>
                <a:gd name="connsiteY199" fmla="*/ 33730 h 126632"/>
                <a:gd name="connsiteX200" fmla="*/ 187801 w 233540"/>
                <a:gd name="connsiteY200" fmla="*/ 31401 h 126632"/>
                <a:gd name="connsiteX201" fmla="*/ 209370 w 233540"/>
                <a:gd name="connsiteY201" fmla="*/ 19422 h 126632"/>
                <a:gd name="connsiteX202" fmla="*/ 218355 w 233540"/>
                <a:gd name="connsiteY202" fmla="*/ 12282 h 126632"/>
                <a:gd name="connsiteX203" fmla="*/ 228005 w 233540"/>
                <a:gd name="connsiteY203" fmla="*/ 6595 h 126632"/>
                <a:gd name="connsiteX204" fmla="*/ 228519 w 233540"/>
                <a:gd name="connsiteY204" fmla="*/ 6202 h 126632"/>
                <a:gd name="connsiteX205" fmla="*/ 230819 w 233540"/>
                <a:gd name="connsiteY205" fmla="*/ 5778 h 126632"/>
                <a:gd name="connsiteX206" fmla="*/ 231575 w 233540"/>
                <a:gd name="connsiteY206" fmla="*/ 5506 h 126632"/>
                <a:gd name="connsiteX207" fmla="*/ 231847 w 233540"/>
                <a:gd name="connsiteY207" fmla="*/ 4749 h 126632"/>
                <a:gd name="connsiteX208" fmla="*/ 232180 w 233540"/>
                <a:gd name="connsiteY208" fmla="*/ 1543 h 126632"/>
                <a:gd name="connsiteX209" fmla="*/ 232422 w 233540"/>
                <a:gd name="connsiteY209" fmla="*/ 1240 h 126632"/>
                <a:gd name="connsiteX210" fmla="*/ 232664 w 233540"/>
                <a:gd name="connsiteY210" fmla="*/ 817 h 126632"/>
                <a:gd name="connsiteX211" fmla="*/ 232997 w 233540"/>
                <a:gd name="connsiteY211" fmla="*/ 363 h 126632"/>
                <a:gd name="connsiteX212" fmla="*/ 233541 w 233540"/>
                <a:gd name="connsiteY212" fmla="*/ 0 h 126632"/>
                <a:gd name="connsiteX213" fmla="*/ 232149 w 233540"/>
                <a:gd name="connsiteY213" fmla="*/ 272 h 12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233540" h="126632">
                  <a:moveTo>
                    <a:pt x="232149" y="272"/>
                  </a:moveTo>
                  <a:lnTo>
                    <a:pt x="228671" y="1543"/>
                  </a:lnTo>
                  <a:lnTo>
                    <a:pt x="210308" y="9499"/>
                  </a:lnTo>
                  <a:lnTo>
                    <a:pt x="206103" y="12010"/>
                  </a:lnTo>
                  <a:lnTo>
                    <a:pt x="200869" y="13583"/>
                  </a:lnTo>
                  <a:lnTo>
                    <a:pt x="195091" y="15065"/>
                  </a:lnTo>
                  <a:lnTo>
                    <a:pt x="192218" y="15640"/>
                  </a:lnTo>
                  <a:lnTo>
                    <a:pt x="187136" y="20480"/>
                  </a:lnTo>
                  <a:lnTo>
                    <a:pt x="181599" y="22416"/>
                  </a:lnTo>
                  <a:lnTo>
                    <a:pt x="177515" y="25018"/>
                  </a:lnTo>
                  <a:lnTo>
                    <a:pt x="162662" y="30373"/>
                  </a:lnTo>
                  <a:lnTo>
                    <a:pt x="157277" y="31946"/>
                  </a:lnTo>
                  <a:lnTo>
                    <a:pt x="152135" y="31189"/>
                  </a:lnTo>
                  <a:lnTo>
                    <a:pt x="148050" y="33337"/>
                  </a:lnTo>
                  <a:lnTo>
                    <a:pt x="139731" y="37693"/>
                  </a:lnTo>
                  <a:lnTo>
                    <a:pt x="116317" y="41112"/>
                  </a:lnTo>
                  <a:lnTo>
                    <a:pt x="101554" y="39599"/>
                  </a:lnTo>
                  <a:lnTo>
                    <a:pt x="99709" y="38812"/>
                  </a:lnTo>
                  <a:lnTo>
                    <a:pt x="87396" y="37360"/>
                  </a:lnTo>
                  <a:lnTo>
                    <a:pt x="80318" y="37754"/>
                  </a:lnTo>
                  <a:lnTo>
                    <a:pt x="73904" y="36513"/>
                  </a:lnTo>
                  <a:lnTo>
                    <a:pt x="71817" y="35969"/>
                  </a:lnTo>
                  <a:lnTo>
                    <a:pt x="67703" y="33730"/>
                  </a:lnTo>
                  <a:lnTo>
                    <a:pt x="65283" y="33337"/>
                  </a:lnTo>
                  <a:lnTo>
                    <a:pt x="66462" y="36907"/>
                  </a:lnTo>
                  <a:lnTo>
                    <a:pt x="66856" y="40265"/>
                  </a:lnTo>
                  <a:lnTo>
                    <a:pt x="66735" y="47707"/>
                  </a:lnTo>
                  <a:lnTo>
                    <a:pt x="66191" y="51972"/>
                  </a:lnTo>
                  <a:lnTo>
                    <a:pt x="64707" y="55602"/>
                  </a:lnTo>
                  <a:lnTo>
                    <a:pt x="62499" y="58506"/>
                  </a:lnTo>
                  <a:lnTo>
                    <a:pt x="59747" y="60563"/>
                  </a:lnTo>
                  <a:lnTo>
                    <a:pt x="56026" y="61471"/>
                  </a:lnTo>
                  <a:lnTo>
                    <a:pt x="53334" y="60503"/>
                  </a:lnTo>
                  <a:lnTo>
                    <a:pt x="50792" y="58990"/>
                  </a:lnTo>
                  <a:lnTo>
                    <a:pt x="47676" y="58143"/>
                  </a:lnTo>
                  <a:lnTo>
                    <a:pt x="44258" y="57750"/>
                  </a:lnTo>
                  <a:lnTo>
                    <a:pt x="44258" y="57750"/>
                  </a:lnTo>
                  <a:lnTo>
                    <a:pt x="42261" y="57538"/>
                  </a:lnTo>
                  <a:lnTo>
                    <a:pt x="42261" y="57508"/>
                  </a:lnTo>
                  <a:lnTo>
                    <a:pt x="39085" y="57145"/>
                  </a:lnTo>
                  <a:lnTo>
                    <a:pt x="39054" y="57145"/>
                  </a:lnTo>
                  <a:lnTo>
                    <a:pt x="38117" y="57024"/>
                  </a:lnTo>
                  <a:lnTo>
                    <a:pt x="37149" y="57145"/>
                  </a:lnTo>
                  <a:lnTo>
                    <a:pt x="37149" y="57145"/>
                  </a:lnTo>
                  <a:lnTo>
                    <a:pt x="35001" y="57387"/>
                  </a:lnTo>
                  <a:lnTo>
                    <a:pt x="33246" y="58083"/>
                  </a:lnTo>
                  <a:lnTo>
                    <a:pt x="33246" y="58083"/>
                  </a:lnTo>
                  <a:lnTo>
                    <a:pt x="31522" y="58779"/>
                  </a:lnTo>
                  <a:lnTo>
                    <a:pt x="30494" y="58990"/>
                  </a:lnTo>
                  <a:lnTo>
                    <a:pt x="29828" y="58869"/>
                  </a:lnTo>
                  <a:lnTo>
                    <a:pt x="29677" y="58748"/>
                  </a:lnTo>
                  <a:lnTo>
                    <a:pt x="28921" y="58295"/>
                  </a:lnTo>
                  <a:lnTo>
                    <a:pt x="28406" y="58143"/>
                  </a:lnTo>
                  <a:lnTo>
                    <a:pt x="27831" y="58385"/>
                  </a:lnTo>
                  <a:lnTo>
                    <a:pt x="27559" y="58930"/>
                  </a:lnTo>
                  <a:lnTo>
                    <a:pt x="27347" y="59474"/>
                  </a:lnTo>
                  <a:lnTo>
                    <a:pt x="25744" y="60533"/>
                  </a:lnTo>
                  <a:lnTo>
                    <a:pt x="24685" y="62409"/>
                  </a:lnTo>
                  <a:lnTo>
                    <a:pt x="23172" y="65918"/>
                  </a:lnTo>
                  <a:lnTo>
                    <a:pt x="20934" y="68883"/>
                  </a:lnTo>
                  <a:lnTo>
                    <a:pt x="17939" y="71605"/>
                  </a:lnTo>
                  <a:lnTo>
                    <a:pt x="14309" y="73360"/>
                  </a:lnTo>
                  <a:lnTo>
                    <a:pt x="10135" y="73541"/>
                  </a:lnTo>
                  <a:lnTo>
                    <a:pt x="8228" y="72845"/>
                  </a:lnTo>
                  <a:lnTo>
                    <a:pt x="6564" y="71605"/>
                  </a:lnTo>
                  <a:lnTo>
                    <a:pt x="3539" y="68580"/>
                  </a:lnTo>
                  <a:lnTo>
                    <a:pt x="1513" y="67279"/>
                  </a:lnTo>
                  <a:lnTo>
                    <a:pt x="363" y="67975"/>
                  </a:lnTo>
                  <a:lnTo>
                    <a:pt x="0" y="70032"/>
                  </a:lnTo>
                  <a:lnTo>
                    <a:pt x="453" y="72845"/>
                  </a:lnTo>
                  <a:lnTo>
                    <a:pt x="1270" y="74570"/>
                  </a:lnTo>
                  <a:lnTo>
                    <a:pt x="3448" y="78049"/>
                  </a:lnTo>
                  <a:lnTo>
                    <a:pt x="3872" y="80197"/>
                  </a:lnTo>
                  <a:lnTo>
                    <a:pt x="3872" y="82647"/>
                  </a:lnTo>
                  <a:lnTo>
                    <a:pt x="4084" y="83827"/>
                  </a:lnTo>
                  <a:lnTo>
                    <a:pt x="6020" y="86761"/>
                  </a:lnTo>
                  <a:lnTo>
                    <a:pt x="5143" y="88183"/>
                  </a:lnTo>
                  <a:lnTo>
                    <a:pt x="5233" y="89665"/>
                  </a:lnTo>
                  <a:lnTo>
                    <a:pt x="5808" y="90996"/>
                  </a:lnTo>
                  <a:lnTo>
                    <a:pt x="6655" y="92115"/>
                  </a:lnTo>
                  <a:lnTo>
                    <a:pt x="7563" y="92993"/>
                  </a:lnTo>
                  <a:lnTo>
                    <a:pt x="9680" y="94324"/>
                  </a:lnTo>
                  <a:lnTo>
                    <a:pt x="10830" y="95201"/>
                  </a:lnTo>
                  <a:lnTo>
                    <a:pt x="13160" y="101100"/>
                  </a:lnTo>
                  <a:lnTo>
                    <a:pt x="13220" y="102159"/>
                  </a:lnTo>
                  <a:lnTo>
                    <a:pt x="13613" y="102673"/>
                  </a:lnTo>
                  <a:lnTo>
                    <a:pt x="14248" y="105941"/>
                  </a:lnTo>
                  <a:lnTo>
                    <a:pt x="14823" y="106545"/>
                  </a:lnTo>
                  <a:lnTo>
                    <a:pt x="18877" y="109480"/>
                  </a:lnTo>
                  <a:lnTo>
                    <a:pt x="20541" y="110448"/>
                  </a:lnTo>
                  <a:lnTo>
                    <a:pt x="22326" y="111113"/>
                  </a:lnTo>
                  <a:lnTo>
                    <a:pt x="26591" y="111537"/>
                  </a:lnTo>
                  <a:lnTo>
                    <a:pt x="28678" y="111991"/>
                  </a:lnTo>
                  <a:lnTo>
                    <a:pt x="30524" y="112747"/>
                  </a:lnTo>
                  <a:lnTo>
                    <a:pt x="35697" y="115681"/>
                  </a:lnTo>
                  <a:lnTo>
                    <a:pt x="39660" y="117285"/>
                  </a:lnTo>
                  <a:lnTo>
                    <a:pt x="43865" y="118041"/>
                  </a:lnTo>
                  <a:lnTo>
                    <a:pt x="48069" y="117557"/>
                  </a:lnTo>
                  <a:lnTo>
                    <a:pt x="49219" y="117164"/>
                  </a:lnTo>
                  <a:lnTo>
                    <a:pt x="54453" y="115440"/>
                  </a:lnTo>
                  <a:lnTo>
                    <a:pt x="56631" y="115167"/>
                  </a:lnTo>
                  <a:lnTo>
                    <a:pt x="58960" y="115409"/>
                  </a:lnTo>
                  <a:lnTo>
                    <a:pt x="64587" y="116770"/>
                  </a:lnTo>
                  <a:lnTo>
                    <a:pt x="64829" y="118707"/>
                  </a:lnTo>
                  <a:lnTo>
                    <a:pt x="67733" y="123849"/>
                  </a:lnTo>
                  <a:lnTo>
                    <a:pt x="67340" y="125967"/>
                  </a:lnTo>
                  <a:lnTo>
                    <a:pt x="67340" y="126632"/>
                  </a:lnTo>
                  <a:lnTo>
                    <a:pt x="76355" y="126632"/>
                  </a:lnTo>
                  <a:lnTo>
                    <a:pt x="76355" y="125967"/>
                  </a:lnTo>
                  <a:lnTo>
                    <a:pt x="74207" y="123426"/>
                  </a:lnTo>
                  <a:lnTo>
                    <a:pt x="74298" y="120340"/>
                  </a:lnTo>
                  <a:lnTo>
                    <a:pt x="74872" y="119282"/>
                  </a:lnTo>
                  <a:lnTo>
                    <a:pt x="74872" y="119282"/>
                  </a:lnTo>
                  <a:lnTo>
                    <a:pt x="75901" y="117376"/>
                  </a:lnTo>
                  <a:lnTo>
                    <a:pt x="80560" y="113413"/>
                  </a:lnTo>
                  <a:lnTo>
                    <a:pt x="81982" y="112505"/>
                  </a:lnTo>
                  <a:lnTo>
                    <a:pt x="83555" y="112112"/>
                  </a:lnTo>
                  <a:lnTo>
                    <a:pt x="90754" y="111356"/>
                  </a:lnTo>
                  <a:lnTo>
                    <a:pt x="98014" y="112112"/>
                  </a:lnTo>
                  <a:lnTo>
                    <a:pt x="99467" y="111870"/>
                  </a:lnTo>
                  <a:lnTo>
                    <a:pt x="100737" y="111113"/>
                  </a:lnTo>
                  <a:lnTo>
                    <a:pt x="101645" y="110539"/>
                  </a:lnTo>
                  <a:lnTo>
                    <a:pt x="103127" y="109903"/>
                  </a:lnTo>
                  <a:lnTo>
                    <a:pt x="110630" y="108482"/>
                  </a:lnTo>
                  <a:lnTo>
                    <a:pt x="113473" y="106848"/>
                  </a:lnTo>
                  <a:lnTo>
                    <a:pt x="113564" y="103702"/>
                  </a:lnTo>
                  <a:lnTo>
                    <a:pt x="115077" y="105366"/>
                  </a:lnTo>
                  <a:lnTo>
                    <a:pt x="117436" y="104882"/>
                  </a:lnTo>
                  <a:lnTo>
                    <a:pt x="120371" y="103581"/>
                  </a:lnTo>
                  <a:lnTo>
                    <a:pt x="123577" y="102855"/>
                  </a:lnTo>
                  <a:lnTo>
                    <a:pt x="124939" y="102340"/>
                  </a:lnTo>
                  <a:lnTo>
                    <a:pt x="126148" y="101161"/>
                  </a:lnTo>
                  <a:lnTo>
                    <a:pt x="127177" y="99860"/>
                  </a:lnTo>
                  <a:lnTo>
                    <a:pt x="128055" y="99013"/>
                  </a:lnTo>
                  <a:lnTo>
                    <a:pt x="129355" y="98710"/>
                  </a:lnTo>
                  <a:lnTo>
                    <a:pt x="132683" y="98680"/>
                  </a:lnTo>
                  <a:lnTo>
                    <a:pt x="134256" y="98257"/>
                  </a:lnTo>
                  <a:lnTo>
                    <a:pt x="134679" y="97621"/>
                  </a:lnTo>
                  <a:lnTo>
                    <a:pt x="135375" y="95625"/>
                  </a:lnTo>
                  <a:lnTo>
                    <a:pt x="136010" y="95201"/>
                  </a:lnTo>
                  <a:lnTo>
                    <a:pt x="136948" y="94808"/>
                  </a:lnTo>
                  <a:lnTo>
                    <a:pt x="137191" y="93870"/>
                  </a:lnTo>
                  <a:lnTo>
                    <a:pt x="136979" y="91722"/>
                  </a:lnTo>
                  <a:lnTo>
                    <a:pt x="137191" y="89756"/>
                  </a:lnTo>
                  <a:lnTo>
                    <a:pt x="137674" y="87699"/>
                  </a:lnTo>
                  <a:lnTo>
                    <a:pt x="138370" y="85884"/>
                  </a:lnTo>
                  <a:lnTo>
                    <a:pt x="139126" y="84432"/>
                  </a:lnTo>
                  <a:lnTo>
                    <a:pt x="141759" y="82012"/>
                  </a:lnTo>
                  <a:lnTo>
                    <a:pt x="143876" y="81286"/>
                  </a:lnTo>
                  <a:lnTo>
                    <a:pt x="143876" y="81286"/>
                  </a:lnTo>
                  <a:lnTo>
                    <a:pt x="145479" y="80741"/>
                  </a:lnTo>
                  <a:lnTo>
                    <a:pt x="149805" y="80499"/>
                  </a:lnTo>
                  <a:lnTo>
                    <a:pt x="151892" y="80862"/>
                  </a:lnTo>
                  <a:lnTo>
                    <a:pt x="151892" y="80892"/>
                  </a:lnTo>
                  <a:lnTo>
                    <a:pt x="151983" y="80892"/>
                  </a:lnTo>
                  <a:lnTo>
                    <a:pt x="151983" y="80892"/>
                  </a:lnTo>
                  <a:lnTo>
                    <a:pt x="154222" y="81316"/>
                  </a:lnTo>
                  <a:lnTo>
                    <a:pt x="155765" y="82193"/>
                  </a:lnTo>
                  <a:lnTo>
                    <a:pt x="158578" y="84704"/>
                  </a:lnTo>
                  <a:lnTo>
                    <a:pt x="160060" y="85218"/>
                  </a:lnTo>
                  <a:lnTo>
                    <a:pt x="161301" y="84825"/>
                  </a:lnTo>
                  <a:lnTo>
                    <a:pt x="162239" y="83948"/>
                  </a:lnTo>
                  <a:lnTo>
                    <a:pt x="163055" y="82919"/>
                  </a:lnTo>
                  <a:lnTo>
                    <a:pt x="163055" y="82919"/>
                  </a:lnTo>
                  <a:lnTo>
                    <a:pt x="163841" y="82133"/>
                  </a:lnTo>
                  <a:lnTo>
                    <a:pt x="164870" y="81588"/>
                  </a:lnTo>
                  <a:lnTo>
                    <a:pt x="169620" y="80257"/>
                  </a:lnTo>
                  <a:lnTo>
                    <a:pt x="175096" y="79622"/>
                  </a:lnTo>
                  <a:lnTo>
                    <a:pt x="176275" y="80197"/>
                  </a:lnTo>
                  <a:lnTo>
                    <a:pt x="177394" y="81316"/>
                  </a:lnTo>
                  <a:lnTo>
                    <a:pt x="179905" y="81981"/>
                  </a:lnTo>
                  <a:lnTo>
                    <a:pt x="182507" y="82224"/>
                  </a:lnTo>
                  <a:lnTo>
                    <a:pt x="183899" y="82133"/>
                  </a:lnTo>
                  <a:lnTo>
                    <a:pt x="182688" y="81376"/>
                  </a:lnTo>
                  <a:lnTo>
                    <a:pt x="181297" y="79561"/>
                  </a:lnTo>
                  <a:lnTo>
                    <a:pt x="180178" y="77565"/>
                  </a:lnTo>
                  <a:lnTo>
                    <a:pt x="179058" y="74509"/>
                  </a:lnTo>
                  <a:lnTo>
                    <a:pt x="177545" y="72906"/>
                  </a:lnTo>
                  <a:lnTo>
                    <a:pt x="176124" y="71817"/>
                  </a:lnTo>
                  <a:lnTo>
                    <a:pt x="176124" y="71817"/>
                  </a:lnTo>
                  <a:lnTo>
                    <a:pt x="175156" y="71030"/>
                  </a:lnTo>
                  <a:lnTo>
                    <a:pt x="175156" y="71030"/>
                  </a:lnTo>
                  <a:lnTo>
                    <a:pt x="171768" y="68368"/>
                  </a:lnTo>
                  <a:lnTo>
                    <a:pt x="170588" y="66946"/>
                  </a:lnTo>
                  <a:lnTo>
                    <a:pt x="170073" y="65555"/>
                  </a:lnTo>
                  <a:lnTo>
                    <a:pt x="169257" y="64405"/>
                  </a:lnTo>
                  <a:lnTo>
                    <a:pt x="165234" y="60624"/>
                  </a:lnTo>
                  <a:lnTo>
                    <a:pt x="163841" y="59686"/>
                  </a:lnTo>
                  <a:lnTo>
                    <a:pt x="164598" y="50853"/>
                  </a:lnTo>
                  <a:lnTo>
                    <a:pt x="165082" y="48917"/>
                  </a:lnTo>
                  <a:lnTo>
                    <a:pt x="166231" y="46799"/>
                  </a:lnTo>
                  <a:lnTo>
                    <a:pt x="169075" y="43108"/>
                  </a:lnTo>
                  <a:lnTo>
                    <a:pt x="171042" y="41989"/>
                  </a:lnTo>
                  <a:lnTo>
                    <a:pt x="173401" y="42231"/>
                  </a:lnTo>
                  <a:lnTo>
                    <a:pt x="175912" y="42776"/>
                  </a:lnTo>
                  <a:lnTo>
                    <a:pt x="178332" y="42685"/>
                  </a:lnTo>
                  <a:lnTo>
                    <a:pt x="179875" y="41656"/>
                  </a:lnTo>
                  <a:lnTo>
                    <a:pt x="180783" y="40144"/>
                  </a:lnTo>
                  <a:lnTo>
                    <a:pt x="182537" y="36513"/>
                  </a:lnTo>
                  <a:lnTo>
                    <a:pt x="184897" y="33730"/>
                  </a:lnTo>
                  <a:lnTo>
                    <a:pt x="187801" y="31401"/>
                  </a:lnTo>
                  <a:lnTo>
                    <a:pt x="209370" y="19422"/>
                  </a:lnTo>
                  <a:lnTo>
                    <a:pt x="218355" y="12282"/>
                  </a:lnTo>
                  <a:lnTo>
                    <a:pt x="228005" y="6595"/>
                  </a:lnTo>
                  <a:lnTo>
                    <a:pt x="228519" y="6202"/>
                  </a:lnTo>
                  <a:lnTo>
                    <a:pt x="230819" y="5778"/>
                  </a:lnTo>
                  <a:lnTo>
                    <a:pt x="231575" y="5506"/>
                  </a:lnTo>
                  <a:lnTo>
                    <a:pt x="231847" y="4749"/>
                  </a:lnTo>
                  <a:lnTo>
                    <a:pt x="232180" y="1543"/>
                  </a:lnTo>
                  <a:lnTo>
                    <a:pt x="232422" y="1240"/>
                  </a:lnTo>
                  <a:lnTo>
                    <a:pt x="232664" y="817"/>
                  </a:lnTo>
                  <a:lnTo>
                    <a:pt x="232997" y="363"/>
                  </a:lnTo>
                  <a:lnTo>
                    <a:pt x="233541" y="0"/>
                  </a:lnTo>
                  <a:lnTo>
                    <a:pt x="232149" y="272"/>
                  </a:lnTo>
                  <a:close/>
                </a:path>
              </a:pathLst>
            </a:custGeom>
            <a:solidFill>
              <a:srgbClr val="96A3AC"/>
            </a:solidFill>
            <a:ln w="3175" cap="rnd">
              <a:solidFill>
                <a:schemeClr val="bg1"/>
              </a:solidFill>
              <a:prstDash val="solid"/>
              <a:round/>
            </a:ln>
          </p:spPr>
          <p:txBody>
            <a:bodyPr rtlCol="0" anchor="ctr"/>
            <a:lstStyle/>
            <a:p>
              <a:endParaRPr lang="en-ID"/>
            </a:p>
          </p:txBody>
        </p:sp>
        <p:sp>
          <p:nvSpPr>
            <p:cNvPr id="59" name="Freeform: Shape 58">
              <a:extLst>
                <a:ext uri="{FF2B5EF4-FFF2-40B4-BE49-F238E27FC236}">
                  <a16:creationId xmlns:a16="http://schemas.microsoft.com/office/drawing/2014/main" id="{A5DE1692-4A0A-484A-BF48-A2A0A750DDC4}"/>
                </a:ext>
              </a:extLst>
            </p:cNvPr>
            <p:cNvSpPr/>
            <p:nvPr/>
          </p:nvSpPr>
          <p:spPr>
            <a:xfrm>
              <a:off x="9213075" y="4424841"/>
              <a:ext cx="462146" cy="415494"/>
            </a:xfrm>
            <a:custGeom>
              <a:avLst/>
              <a:gdLst>
                <a:gd name="connsiteX0" fmla="*/ 343928 w 594561"/>
                <a:gd name="connsiteY0" fmla="*/ 489196 h 534543"/>
                <a:gd name="connsiteX1" fmla="*/ 337576 w 594561"/>
                <a:gd name="connsiteY1" fmla="*/ 488349 h 534543"/>
                <a:gd name="connsiteX2" fmla="*/ 334551 w 594561"/>
                <a:gd name="connsiteY2" fmla="*/ 488712 h 534543"/>
                <a:gd name="connsiteX3" fmla="*/ 332735 w 594561"/>
                <a:gd name="connsiteY3" fmla="*/ 489408 h 534543"/>
                <a:gd name="connsiteX4" fmla="*/ 332009 w 594561"/>
                <a:gd name="connsiteY4" fmla="*/ 490890 h 534543"/>
                <a:gd name="connsiteX5" fmla="*/ 332675 w 594561"/>
                <a:gd name="connsiteY5" fmla="*/ 490890 h 534543"/>
                <a:gd name="connsiteX6" fmla="*/ 333582 w 594561"/>
                <a:gd name="connsiteY6" fmla="*/ 490164 h 534543"/>
                <a:gd name="connsiteX7" fmla="*/ 334097 w 594561"/>
                <a:gd name="connsiteY7" fmla="*/ 490830 h 534543"/>
                <a:gd name="connsiteX8" fmla="*/ 333915 w 594561"/>
                <a:gd name="connsiteY8" fmla="*/ 491949 h 534543"/>
                <a:gd name="connsiteX9" fmla="*/ 332645 w 594561"/>
                <a:gd name="connsiteY9" fmla="*/ 492615 h 534543"/>
                <a:gd name="connsiteX10" fmla="*/ 333764 w 594561"/>
                <a:gd name="connsiteY10" fmla="*/ 494339 h 534543"/>
                <a:gd name="connsiteX11" fmla="*/ 335125 w 594561"/>
                <a:gd name="connsiteY11" fmla="*/ 495004 h 534543"/>
                <a:gd name="connsiteX12" fmla="*/ 336487 w 594561"/>
                <a:gd name="connsiteY12" fmla="*/ 494672 h 534543"/>
                <a:gd name="connsiteX13" fmla="*/ 337545 w 594561"/>
                <a:gd name="connsiteY13" fmla="*/ 493492 h 534543"/>
                <a:gd name="connsiteX14" fmla="*/ 339149 w 594561"/>
                <a:gd name="connsiteY14" fmla="*/ 494157 h 534543"/>
                <a:gd name="connsiteX15" fmla="*/ 339966 w 594561"/>
                <a:gd name="connsiteY15" fmla="*/ 494309 h 534543"/>
                <a:gd name="connsiteX16" fmla="*/ 340238 w 594561"/>
                <a:gd name="connsiteY16" fmla="*/ 495186 h 534543"/>
                <a:gd name="connsiteX17" fmla="*/ 342295 w 594561"/>
                <a:gd name="connsiteY17" fmla="*/ 494883 h 534543"/>
                <a:gd name="connsiteX18" fmla="*/ 344231 w 594561"/>
                <a:gd name="connsiteY18" fmla="*/ 493673 h 534543"/>
                <a:gd name="connsiteX19" fmla="*/ 345411 w 594561"/>
                <a:gd name="connsiteY19" fmla="*/ 491889 h 534543"/>
                <a:gd name="connsiteX20" fmla="*/ 345169 w 594561"/>
                <a:gd name="connsiteY20" fmla="*/ 489952 h 534543"/>
                <a:gd name="connsiteX21" fmla="*/ 343898 w 594561"/>
                <a:gd name="connsiteY21" fmla="*/ 489166 h 534543"/>
                <a:gd name="connsiteX22" fmla="*/ 420222 w 594561"/>
                <a:gd name="connsiteY22" fmla="*/ 495156 h 534543"/>
                <a:gd name="connsiteX23" fmla="*/ 418166 w 594561"/>
                <a:gd name="connsiteY23" fmla="*/ 493522 h 534543"/>
                <a:gd name="connsiteX24" fmla="*/ 417076 w 594561"/>
                <a:gd name="connsiteY24" fmla="*/ 494097 h 534543"/>
                <a:gd name="connsiteX25" fmla="*/ 411298 w 594561"/>
                <a:gd name="connsiteY25" fmla="*/ 493522 h 534543"/>
                <a:gd name="connsiteX26" fmla="*/ 411571 w 594561"/>
                <a:gd name="connsiteY26" fmla="*/ 492978 h 534543"/>
                <a:gd name="connsiteX27" fmla="*/ 411661 w 594561"/>
                <a:gd name="connsiteY27" fmla="*/ 492917 h 534543"/>
                <a:gd name="connsiteX28" fmla="*/ 411964 w 594561"/>
                <a:gd name="connsiteY28" fmla="*/ 492645 h 534543"/>
                <a:gd name="connsiteX29" fmla="*/ 409634 w 594561"/>
                <a:gd name="connsiteY29" fmla="*/ 491677 h 534543"/>
                <a:gd name="connsiteX30" fmla="*/ 404522 w 594561"/>
                <a:gd name="connsiteY30" fmla="*/ 490739 h 534543"/>
                <a:gd name="connsiteX31" fmla="*/ 400741 w 594561"/>
                <a:gd name="connsiteY31" fmla="*/ 488561 h 534543"/>
                <a:gd name="connsiteX32" fmla="*/ 395810 w 594561"/>
                <a:gd name="connsiteY32" fmla="*/ 488500 h 534543"/>
                <a:gd name="connsiteX33" fmla="*/ 394115 w 594561"/>
                <a:gd name="connsiteY33" fmla="*/ 487472 h 534543"/>
                <a:gd name="connsiteX34" fmla="*/ 393359 w 594561"/>
                <a:gd name="connsiteY34" fmla="*/ 488349 h 534543"/>
                <a:gd name="connsiteX35" fmla="*/ 392452 w 594561"/>
                <a:gd name="connsiteY35" fmla="*/ 487744 h 534543"/>
                <a:gd name="connsiteX36" fmla="*/ 391423 w 594561"/>
                <a:gd name="connsiteY36" fmla="*/ 487441 h 534543"/>
                <a:gd name="connsiteX37" fmla="*/ 390334 w 594561"/>
                <a:gd name="connsiteY37" fmla="*/ 487381 h 534543"/>
                <a:gd name="connsiteX38" fmla="*/ 389215 w 594561"/>
                <a:gd name="connsiteY38" fmla="*/ 487472 h 534543"/>
                <a:gd name="connsiteX39" fmla="*/ 390243 w 594561"/>
                <a:gd name="connsiteY39" fmla="*/ 486595 h 534543"/>
                <a:gd name="connsiteX40" fmla="*/ 390818 w 594561"/>
                <a:gd name="connsiteY40" fmla="*/ 486292 h 534543"/>
                <a:gd name="connsiteX41" fmla="*/ 391302 w 594561"/>
                <a:gd name="connsiteY41" fmla="*/ 486110 h 534543"/>
                <a:gd name="connsiteX42" fmla="*/ 389427 w 594561"/>
                <a:gd name="connsiteY42" fmla="*/ 485989 h 534543"/>
                <a:gd name="connsiteX43" fmla="*/ 386190 w 594561"/>
                <a:gd name="connsiteY43" fmla="*/ 487139 h 534543"/>
                <a:gd name="connsiteX44" fmla="*/ 384375 w 594561"/>
                <a:gd name="connsiteY44" fmla="*/ 487472 h 534543"/>
                <a:gd name="connsiteX45" fmla="*/ 385464 w 594561"/>
                <a:gd name="connsiteY45" fmla="*/ 488803 h 534543"/>
                <a:gd name="connsiteX46" fmla="*/ 387400 w 594561"/>
                <a:gd name="connsiteY46" fmla="*/ 490527 h 534543"/>
                <a:gd name="connsiteX47" fmla="*/ 389427 w 594561"/>
                <a:gd name="connsiteY47" fmla="*/ 491344 h 534543"/>
                <a:gd name="connsiteX48" fmla="*/ 390637 w 594561"/>
                <a:gd name="connsiteY48" fmla="*/ 489952 h 534543"/>
                <a:gd name="connsiteX49" fmla="*/ 427180 w 594561"/>
                <a:gd name="connsiteY49" fmla="*/ 499572 h 534543"/>
                <a:gd name="connsiteX50" fmla="*/ 425305 w 594561"/>
                <a:gd name="connsiteY50" fmla="*/ 497183 h 534543"/>
                <a:gd name="connsiteX51" fmla="*/ 420162 w 594561"/>
                <a:gd name="connsiteY51" fmla="*/ 495125 h 534543"/>
                <a:gd name="connsiteX52" fmla="*/ 366829 w 594561"/>
                <a:gd name="connsiteY52" fmla="*/ 467113 h 534543"/>
                <a:gd name="connsiteX53" fmla="*/ 365135 w 594561"/>
                <a:gd name="connsiteY53" fmla="*/ 464965 h 534543"/>
                <a:gd name="connsiteX54" fmla="*/ 363047 w 594561"/>
                <a:gd name="connsiteY54" fmla="*/ 465630 h 534543"/>
                <a:gd name="connsiteX55" fmla="*/ 355091 w 594561"/>
                <a:gd name="connsiteY55" fmla="*/ 463331 h 534543"/>
                <a:gd name="connsiteX56" fmla="*/ 343354 w 594561"/>
                <a:gd name="connsiteY56" fmla="*/ 464360 h 534543"/>
                <a:gd name="connsiteX57" fmla="*/ 341055 w 594561"/>
                <a:gd name="connsiteY57" fmla="*/ 465509 h 534543"/>
                <a:gd name="connsiteX58" fmla="*/ 339663 w 594561"/>
                <a:gd name="connsiteY58" fmla="*/ 465902 h 534543"/>
                <a:gd name="connsiteX59" fmla="*/ 334157 w 594561"/>
                <a:gd name="connsiteY59" fmla="*/ 465902 h 534543"/>
                <a:gd name="connsiteX60" fmla="*/ 328591 w 594561"/>
                <a:gd name="connsiteY60" fmla="*/ 464632 h 534543"/>
                <a:gd name="connsiteX61" fmla="*/ 325868 w 594561"/>
                <a:gd name="connsiteY61" fmla="*/ 463573 h 534543"/>
                <a:gd name="connsiteX62" fmla="*/ 323751 w 594561"/>
                <a:gd name="connsiteY62" fmla="*/ 462363 h 534543"/>
                <a:gd name="connsiteX63" fmla="*/ 321451 w 594561"/>
                <a:gd name="connsiteY63" fmla="*/ 462363 h 534543"/>
                <a:gd name="connsiteX64" fmla="*/ 319183 w 594561"/>
                <a:gd name="connsiteY64" fmla="*/ 462000 h 534543"/>
                <a:gd name="connsiteX65" fmla="*/ 316944 w 594561"/>
                <a:gd name="connsiteY65" fmla="*/ 462060 h 534543"/>
                <a:gd name="connsiteX66" fmla="*/ 314827 w 594561"/>
                <a:gd name="connsiteY66" fmla="*/ 463301 h 534543"/>
                <a:gd name="connsiteX67" fmla="*/ 316490 w 594561"/>
                <a:gd name="connsiteY67" fmla="*/ 463906 h 534543"/>
                <a:gd name="connsiteX68" fmla="*/ 320453 w 594561"/>
                <a:gd name="connsiteY68" fmla="*/ 464390 h 534543"/>
                <a:gd name="connsiteX69" fmla="*/ 322359 w 594561"/>
                <a:gd name="connsiteY69" fmla="*/ 464934 h 534543"/>
                <a:gd name="connsiteX70" fmla="*/ 322359 w 594561"/>
                <a:gd name="connsiteY70" fmla="*/ 465872 h 534543"/>
                <a:gd name="connsiteX71" fmla="*/ 315492 w 594561"/>
                <a:gd name="connsiteY71" fmla="*/ 469321 h 534543"/>
                <a:gd name="connsiteX72" fmla="*/ 317216 w 594561"/>
                <a:gd name="connsiteY72" fmla="*/ 470380 h 534543"/>
                <a:gd name="connsiteX73" fmla="*/ 318941 w 594561"/>
                <a:gd name="connsiteY73" fmla="*/ 470924 h 534543"/>
                <a:gd name="connsiteX74" fmla="*/ 318941 w 594561"/>
                <a:gd name="connsiteY74" fmla="*/ 470289 h 534543"/>
                <a:gd name="connsiteX75" fmla="*/ 320816 w 594561"/>
                <a:gd name="connsiteY75" fmla="*/ 470107 h 534543"/>
                <a:gd name="connsiteX76" fmla="*/ 325687 w 594561"/>
                <a:gd name="connsiteY76" fmla="*/ 471499 h 534543"/>
                <a:gd name="connsiteX77" fmla="*/ 336910 w 594561"/>
                <a:gd name="connsiteY77" fmla="*/ 473586 h 534543"/>
                <a:gd name="connsiteX78" fmla="*/ 341690 w 594561"/>
                <a:gd name="connsiteY78" fmla="*/ 472951 h 534543"/>
                <a:gd name="connsiteX79" fmla="*/ 349132 w 594561"/>
                <a:gd name="connsiteY79" fmla="*/ 470319 h 534543"/>
                <a:gd name="connsiteX80" fmla="*/ 353397 w 594561"/>
                <a:gd name="connsiteY80" fmla="*/ 470077 h 534543"/>
                <a:gd name="connsiteX81" fmla="*/ 362654 w 594561"/>
                <a:gd name="connsiteY81" fmla="*/ 471892 h 534543"/>
                <a:gd name="connsiteX82" fmla="*/ 367252 w 594561"/>
                <a:gd name="connsiteY82" fmla="*/ 471015 h 534543"/>
                <a:gd name="connsiteX83" fmla="*/ 369400 w 594561"/>
                <a:gd name="connsiteY83" fmla="*/ 470924 h 534543"/>
                <a:gd name="connsiteX84" fmla="*/ 371306 w 594561"/>
                <a:gd name="connsiteY84" fmla="*/ 471892 h 534543"/>
                <a:gd name="connsiteX85" fmla="*/ 372002 w 594561"/>
                <a:gd name="connsiteY85" fmla="*/ 470954 h 534543"/>
                <a:gd name="connsiteX86" fmla="*/ 368402 w 594561"/>
                <a:gd name="connsiteY86" fmla="*/ 468474 h 534543"/>
                <a:gd name="connsiteX87" fmla="*/ 366829 w 594561"/>
                <a:gd name="connsiteY87" fmla="*/ 467052 h 534543"/>
                <a:gd name="connsiteX88" fmla="*/ 500328 w 594561"/>
                <a:gd name="connsiteY88" fmla="*/ 530247 h 534543"/>
                <a:gd name="connsiteX89" fmla="*/ 499542 w 594561"/>
                <a:gd name="connsiteY89" fmla="*/ 529793 h 534543"/>
                <a:gd name="connsiteX90" fmla="*/ 498241 w 594561"/>
                <a:gd name="connsiteY90" fmla="*/ 528372 h 534543"/>
                <a:gd name="connsiteX91" fmla="*/ 497152 w 594561"/>
                <a:gd name="connsiteY91" fmla="*/ 526738 h 534543"/>
                <a:gd name="connsiteX92" fmla="*/ 496456 w 594561"/>
                <a:gd name="connsiteY92" fmla="*/ 524802 h 534543"/>
                <a:gd name="connsiteX93" fmla="*/ 496396 w 594561"/>
                <a:gd name="connsiteY93" fmla="*/ 522624 h 534543"/>
                <a:gd name="connsiteX94" fmla="*/ 496940 w 594561"/>
                <a:gd name="connsiteY94" fmla="*/ 518601 h 534543"/>
                <a:gd name="connsiteX95" fmla="*/ 496487 w 594561"/>
                <a:gd name="connsiteY95" fmla="*/ 516574 h 534543"/>
                <a:gd name="connsiteX96" fmla="*/ 494853 w 594561"/>
                <a:gd name="connsiteY96" fmla="*/ 516029 h 534543"/>
                <a:gd name="connsiteX97" fmla="*/ 491253 w 594561"/>
                <a:gd name="connsiteY97" fmla="*/ 515666 h 534543"/>
                <a:gd name="connsiteX98" fmla="*/ 489770 w 594561"/>
                <a:gd name="connsiteY98" fmla="*/ 514789 h 534543"/>
                <a:gd name="connsiteX99" fmla="*/ 489710 w 594561"/>
                <a:gd name="connsiteY99" fmla="*/ 514698 h 534543"/>
                <a:gd name="connsiteX100" fmla="*/ 489710 w 594561"/>
                <a:gd name="connsiteY100" fmla="*/ 514698 h 534543"/>
                <a:gd name="connsiteX101" fmla="*/ 487683 w 594561"/>
                <a:gd name="connsiteY101" fmla="*/ 511945 h 534543"/>
                <a:gd name="connsiteX102" fmla="*/ 486564 w 594561"/>
                <a:gd name="connsiteY102" fmla="*/ 511159 h 534543"/>
                <a:gd name="connsiteX103" fmla="*/ 483841 w 594561"/>
                <a:gd name="connsiteY103" fmla="*/ 511310 h 534543"/>
                <a:gd name="connsiteX104" fmla="*/ 478366 w 594561"/>
                <a:gd name="connsiteY104" fmla="*/ 509616 h 534543"/>
                <a:gd name="connsiteX105" fmla="*/ 475038 w 594561"/>
                <a:gd name="connsiteY105" fmla="*/ 507952 h 534543"/>
                <a:gd name="connsiteX106" fmla="*/ 457462 w 594561"/>
                <a:gd name="connsiteY106" fmla="*/ 497061 h 534543"/>
                <a:gd name="connsiteX107" fmla="*/ 452017 w 594561"/>
                <a:gd name="connsiteY107" fmla="*/ 493824 h 534543"/>
                <a:gd name="connsiteX108" fmla="*/ 449657 w 594561"/>
                <a:gd name="connsiteY108" fmla="*/ 492009 h 534543"/>
                <a:gd name="connsiteX109" fmla="*/ 445331 w 594561"/>
                <a:gd name="connsiteY109" fmla="*/ 487502 h 534543"/>
                <a:gd name="connsiteX110" fmla="*/ 442881 w 594561"/>
                <a:gd name="connsiteY110" fmla="*/ 485778 h 534543"/>
                <a:gd name="connsiteX111" fmla="*/ 439342 w 594561"/>
                <a:gd name="connsiteY111" fmla="*/ 484870 h 534543"/>
                <a:gd name="connsiteX112" fmla="*/ 438252 w 594561"/>
                <a:gd name="connsiteY112" fmla="*/ 484235 h 534543"/>
                <a:gd name="connsiteX113" fmla="*/ 435106 w 594561"/>
                <a:gd name="connsiteY113" fmla="*/ 479667 h 534543"/>
                <a:gd name="connsiteX114" fmla="*/ 434894 w 594561"/>
                <a:gd name="connsiteY114" fmla="*/ 478245 h 534543"/>
                <a:gd name="connsiteX115" fmla="*/ 435015 w 594561"/>
                <a:gd name="connsiteY115" fmla="*/ 475220 h 534543"/>
                <a:gd name="connsiteX116" fmla="*/ 434713 w 594561"/>
                <a:gd name="connsiteY116" fmla="*/ 473980 h 534543"/>
                <a:gd name="connsiteX117" fmla="*/ 433533 w 594561"/>
                <a:gd name="connsiteY117" fmla="*/ 472528 h 534543"/>
                <a:gd name="connsiteX118" fmla="*/ 432625 w 594561"/>
                <a:gd name="connsiteY118" fmla="*/ 472528 h 534543"/>
                <a:gd name="connsiteX119" fmla="*/ 431839 w 594561"/>
                <a:gd name="connsiteY119" fmla="*/ 473193 h 534543"/>
                <a:gd name="connsiteX120" fmla="*/ 431053 w 594561"/>
                <a:gd name="connsiteY120" fmla="*/ 473586 h 534543"/>
                <a:gd name="connsiteX121" fmla="*/ 428905 w 594561"/>
                <a:gd name="connsiteY121" fmla="*/ 473223 h 534543"/>
                <a:gd name="connsiteX122" fmla="*/ 424700 w 594561"/>
                <a:gd name="connsiteY122" fmla="*/ 471711 h 534543"/>
                <a:gd name="connsiteX123" fmla="*/ 422491 w 594561"/>
                <a:gd name="connsiteY123" fmla="*/ 471317 h 534543"/>
                <a:gd name="connsiteX124" fmla="*/ 420253 w 594561"/>
                <a:gd name="connsiteY124" fmla="*/ 471802 h 534543"/>
                <a:gd name="connsiteX125" fmla="*/ 418892 w 594561"/>
                <a:gd name="connsiteY125" fmla="*/ 473133 h 534543"/>
                <a:gd name="connsiteX126" fmla="*/ 417621 w 594561"/>
                <a:gd name="connsiteY126" fmla="*/ 474917 h 534543"/>
                <a:gd name="connsiteX127" fmla="*/ 420192 w 594561"/>
                <a:gd name="connsiteY127" fmla="*/ 476370 h 534543"/>
                <a:gd name="connsiteX128" fmla="*/ 423066 w 594561"/>
                <a:gd name="connsiteY128" fmla="*/ 475401 h 534543"/>
                <a:gd name="connsiteX129" fmla="*/ 423701 w 594561"/>
                <a:gd name="connsiteY129" fmla="*/ 476188 h 534543"/>
                <a:gd name="connsiteX130" fmla="*/ 422522 w 594561"/>
                <a:gd name="connsiteY130" fmla="*/ 477731 h 534543"/>
                <a:gd name="connsiteX131" fmla="*/ 423429 w 594561"/>
                <a:gd name="connsiteY131" fmla="*/ 479243 h 534543"/>
                <a:gd name="connsiteX132" fmla="*/ 426485 w 594561"/>
                <a:gd name="connsiteY132" fmla="*/ 481421 h 534543"/>
                <a:gd name="connsiteX133" fmla="*/ 423943 w 594561"/>
                <a:gd name="connsiteY133" fmla="*/ 480816 h 534543"/>
                <a:gd name="connsiteX134" fmla="*/ 419678 w 594561"/>
                <a:gd name="connsiteY134" fmla="*/ 476944 h 534543"/>
                <a:gd name="connsiteX135" fmla="*/ 418196 w 594561"/>
                <a:gd name="connsiteY135" fmla="*/ 477156 h 534543"/>
                <a:gd name="connsiteX136" fmla="*/ 417560 w 594561"/>
                <a:gd name="connsiteY136" fmla="*/ 477156 h 534543"/>
                <a:gd name="connsiteX137" fmla="*/ 416441 w 594561"/>
                <a:gd name="connsiteY137" fmla="*/ 475764 h 534543"/>
                <a:gd name="connsiteX138" fmla="*/ 414565 w 594561"/>
                <a:gd name="connsiteY138" fmla="*/ 474917 h 534543"/>
                <a:gd name="connsiteX139" fmla="*/ 410633 w 594561"/>
                <a:gd name="connsiteY139" fmla="*/ 473738 h 534543"/>
                <a:gd name="connsiteX140" fmla="*/ 409060 w 594561"/>
                <a:gd name="connsiteY140" fmla="*/ 472679 h 534543"/>
                <a:gd name="connsiteX141" fmla="*/ 408152 w 594561"/>
                <a:gd name="connsiteY141" fmla="*/ 472225 h 534543"/>
                <a:gd name="connsiteX142" fmla="*/ 406912 w 594561"/>
                <a:gd name="connsiteY142" fmla="*/ 472044 h 534543"/>
                <a:gd name="connsiteX143" fmla="*/ 406398 w 594561"/>
                <a:gd name="connsiteY143" fmla="*/ 471892 h 534543"/>
                <a:gd name="connsiteX144" fmla="*/ 405460 w 594561"/>
                <a:gd name="connsiteY144" fmla="*/ 471257 h 534543"/>
                <a:gd name="connsiteX145" fmla="*/ 404855 w 594561"/>
                <a:gd name="connsiteY145" fmla="*/ 471106 h 534543"/>
                <a:gd name="connsiteX146" fmla="*/ 404462 w 594561"/>
                <a:gd name="connsiteY146" fmla="*/ 471378 h 534543"/>
                <a:gd name="connsiteX147" fmla="*/ 404522 w 594561"/>
                <a:gd name="connsiteY147" fmla="*/ 472558 h 534543"/>
                <a:gd name="connsiteX148" fmla="*/ 404159 w 594561"/>
                <a:gd name="connsiteY148" fmla="*/ 472830 h 534543"/>
                <a:gd name="connsiteX149" fmla="*/ 403010 w 594561"/>
                <a:gd name="connsiteY149" fmla="*/ 472709 h 534543"/>
                <a:gd name="connsiteX150" fmla="*/ 402162 w 594561"/>
                <a:gd name="connsiteY150" fmla="*/ 472376 h 534543"/>
                <a:gd name="connsiteX151" fmla="*/ 400378 w 594561"/>
                <a:gd name="connsiteY151" fmla="*/ 471106 h 534543"/>
                <a:gd name="connsiteX152" fmla="*/ 399894 w 594561"/>
                <a:gd name="connsiteY152" fmla="*/ 471045 h 534543"/>
                <a:gd name="connsiteX153" fmla="*/ 398714 w 594561"/>
                <a:gd name="connsiteY153" fmla="*/ 471257 h 534543"/>
                <a:gd name="connsiteX154" fmla="*/ 398230 w 594561"/>
                <a:gd name="connsiteY154" fmla="*/ 471136 h 534543"/>
                <a:gd name="connsiteX155" fmla="*/ 397897 w 594561"/>
                <a:gd name="connsiteY155" fmla="*/ 470501 h 534543"/>
                <a:gd name="connsiteX156" fmla="*/ 397806 w 594561"/>
                <a:gd name="connsiteY156" fmla="*/ 469744 h 534543"/>
                <a:gd name="connsiteX157" fmla="*/ 397806 w 594561"/>
                <a:gd name="connsiteY157" fmla="*/ 469049 h 534543"/>
                <a:gd name="connsiteX158" fmla="*/ 397625 w 594561"/>
                <a:gd name="connsiteY158" fmla="*/ 468565 h 534543"/>
                <a:gd name="connsiteX159" fmla="*/ 394781 w 594561"/>
                <a:gd name="connsiteY159" fmla="*/ 466205 h 534543"/>
                <a:gd name="connsiteX160" fmla="*/ 391242 w 594561"/>
                <a:gd name="connsiteY160" fmla="*/ 464087 h 534543"/>
                <a:gd name="connsiteX161" fmla="*/ 376116 w 594561"/>
                <a:gd name="connsiteY161" fmla="*/ 458400 h 534543"/>
                <a:gd name="connsiteX162" fmla="*/ 367918 w 594561"/>
                <a:gd name="connsiteY162" fmla="*/ 457372 h 534543"/>
                <a:gd name="connsiteX163" fmla="*/ 359326 w 594561"/>
                <a:gd name="connsiteY163" fmla="*/ 458249 h 534543"/>
                <a:gd name="connsiteX164" fmla="*/ 357542 w 594561"/>
                <a:gd name="connsiteY164" fmla="*/ 457644 h 534543"/>
                <a:gd name="connsiteX165" fmla="*/ 354274 w 594561"/>
                <a:gd name="connsiteY165" fmla="*/ 455163 h 534543"/>
                <a:gd name="connsiteX166" fmla="*/ 352096 w 594561"/>
                <a:gd name="connsiteY166" fmla="*/ 454800 h 534543"/>
                <a:gd name="connsiteX167" fmla="*/ 352732 w 594561"/>
                <a:gd name="connsiteY167" fmla="*/ 455587 h 534543"/>
                <a:gd name="connsiteX168" fmla="*/ 353246 w 594561"/>
                <a:gd name="connsiteY168" fmla="*/ 456343 h 534543"/>
                <a:gd name="connsiteX169" fmla="*/ 353821 w 594561"/>
                <a:gd name="connsiteY169" fmla="*/ 457009 h 534543"/>
                <a:gd name="connsiteX170" fmla="*/ 354758 w 594561"/>
                <a:gd name="connsiteY170" fmla="*/ 457372 h 534543"/>
                <a:gd name="connsiteX171" fmla="*/ 354758 w 594561"/>
                <a:gd name="connsiteY171" fmla="*/ 458249 h 534543"/>
                <a:gd name="connsiteX172" fmla="*/ 353730 w 594561"/>
                <a:gd name="connsiteY172" fmla="*/ 459550 h 534543"/>
                <a:gd name="connsiteX173" fmla="*/ 354698 w 594561"/>
                <a:gd name="connsiteY173" fmla="*/ 460851 h 534543"/>
                <a:gd name="connsiteX174" fmla="*/ 356574 w 594561"/>
                <a:gd name="connsiteY174" fmla="*/ 461909 h 534543"/>
                <a:gd name="connsiteX175" fmla="*/ 358207 w 594561"/>
                <a:gd name="connsiteY175" fmla="*/ 462545 h 534543"/>
                <a:gd name="connsiteX176" fmla="*/ 361535 w 594561"/>
                <a:gd name="connsiteY176" fmla="*/ 463271 h 534543"/>
                <a:gd name="connsiteX177" fmla="*/ 372244 w 594561"/>
                <a:gd name="connsiteY177" fmla="*/ 463271 h 534543"/>
                <a:gd name="connsiteX178" fmla="*/ 373424 w 594561"/>
                <a:gd name="connsiteY178" fmla="*/ 463482 h 534543"/>
                <a:gd name="connsiteX179" fmla="*/ 374210 w 594561"/>
                <a:gd name="connsiteY179" fmla="*/ 463845 h 534543"/>
                <a:gd name="connsiteX180" fmla="*/ 375813 w 594561"/>
                <a:gd name="connsiteY180" fmla="*/ 464934 h 534543"/>
                <a:gd name="connsiteX181" fmla="*/ 379232 w 594561"/>
                <a:gd name="connsiteY181" fmla="*/ 465933 h 534543"/>
                <a:gd name="connsiteX182" fmla="*/ 387248 w 594561"/>
                <a:gd name="connsiteY182" fmla="*/ 471166 h 534543"/>
                <a:gd name="connsiteX183" fmla="*/ 393934 w 594561"/>
                <a:gd name="connsiteY183" fmla="*/ 472497 h 534543"/>
                <a:gd name="connsiteX184" fmla="*/ 396475 w 594561"/>
                <a:gd name="connsiteY184" fmla="*/ 474070 h 534543"/>
                <a:gd name="connsiteX185" fmla="*/ 396233 w 594561"/>
                <a:gd name="connsiteY185" fmla="*/ 477247 h 534543"/>
                <a:gd name="connsiteX186" fmla="*/ 404764 w 594561"/>
                <a:gd name="connsiteY186" fmla="*/ 480363 h 534543"/>
                <a:gd name="connsiteX187" fmla="*/ 410270 w 594561"/>
                <a:gd name="connsiteY187" fmla="*/ 481301 h 534543"/>
                <a:gd name="connsiteX188" fmla="*/ 415654 w 594561"/>
                <a:gd name="connsiteY188" fmla="*/ 483599 h 534543"/>
                <a:gd name="connsiteX189" fmla="*/ 420192 w 594561"/>
                <a:gd name="connsiteY189" fmla="*/ 484447 h 534543"/>
                <a:gd name="connsiteX190" fmla="*/ 425244 w 594561"/>
                <a:gd name="connsiteY190" fmla="*/ 486383 h 534543"/>
                <a:gd name="connsiteX191" fmla="*/ 427271 w 594561"/>
                <a:gd name="connsiteY191" fmla="*/ 487623 h 534543"/>
                <a:gd name="connsiteX192" fmla="*/ 427422 w 594561"/>
                <a:gd name="connsiteY192" fmla="*/ 488258 h 534543"/>
                <a:gd name="connsiteX193" fmla="*/ 427271 w 594561"/>
                <a:gd name="connsiteY193" fmla="*/ 489196 h 534543"/>
                <a:gd name="connsiteX194" fmla="*/ 427271 w 594561"/>
                <a:gd name="connsiteY194" fmla="*/ 489983 h 534543"/>
                <a:gd name="connsiteX195" fmla="*/ 427906 w 594561"/>
                <a:gd name="connsiteY195" fmla="*/ 490104 h 534543"/>
                <a:gd name="connsiteX196" fmla="*/ 428602 w 594561"/>
                <a:gd name="connsiteY196" fmla="*/ 489680 h 534543"/>
                <a:gd name="connsiteX197" fmla="*/ 428602 w 594561"/>
                <a:gd name="connsiteY197" fmla="*/ 489136 h 534543"/>
                <a:gd name="connsiteX198" fmla="*/ 427271 w 594561"/>
                <a:gd name="connsiteY198" fmla="*/ 486020 h 534543"/>
                <a:gd name="connsiteX199" fmla="*/ 426364 w 594561"/>
                <a:gd name="connsiteY199" fmla="*/ 484810 h 534543"/>
                <a:gd name="connsiteX200" fmla="*/ 424488 w 594561"/>
                <a:gd name="connsiteY200" fmla="*/ 483146 h 534543"/>
                <a:gd name="connsiteX201" fmla="*/ 425910 w 594561"/>
                <a:gd name="connsiteY201" fmla="*/ 483690 h 534543"/>
                <a:gd name="connsiteX202" fmla="*/ 428300 w 594561"/>
                <a:gd name="connsiteY202" fmla="*/ 485505 h 534543"/>
                <a:gd name="connsiteX203" fmla="*/ 428965 w 594561"/>
                <a:gd name="connsiteY203" fmla="*/ 485899 h 534543"/>
                <a:gd name="connsiteX204" fmla="*/ 429207 w 594561"/>
                <a:gd name="connsiteY204" fmla="*/ 486171 h 534543"/>
                <a:gd name="connsiteX205" fmla="*/ 429812 w 594561"/>
                <a:gd name="connsiteY205" fmla="*/ 486655 h 534543"/>
                <a:gd name="connsiteX206" fmla="*/ 430447 w 594561"/>
                <a:gd name="connsiteY206" fmla="*/ 486867 h 534543"/>
                <a:gd name="connsiteX207" fmla="*/ 430992 w 594561"/>
                <a:gd name="connsiteY207" fmla="*/ 485838 h 534543"/>
                <a:gd name="connsiteX208" fmla="*/ 431658 w 594561"/>
                <a:gd name="connsiteY208" fmla="*/ 485415 h 534543"/>
                <a:gd name="connsiteX209" fmla="*/ 432444 w 594561"/>
                <a:gd name="connsiteY209" fmla="*/ 485112 h 534543"/>
                <a:gd name="connsiteX210" fmla="*/ 433110 w 594561"/>
                <a:gd name="connsiteY210" fmla="*/ 484991 h 534543"/>
                <a:gd name="connsiteX211" fmla="*/ 435953 w 594561"/>
                <a:gd name="connsiteY211" fmla="*/ 485566 h 534543"/>
                <a:gd name="connsiteX212" fmla="*/ 438979 w 594561"/>
                <a:gd name="connsiteY212" fmla="*/ 487714 h 534543"/>
                <a:gd name="connsiteX213" fmla="*/ 441761 w 594561"/>
                <a:gd name="connsiteY213" fmla="*/ 487623 h 534543"/>
                <a:gd name="connsiteX214" fmla="*/ 440552 w 594561"/>
                <a:gd name="connsiteY214" fmla="*/ 490406 h 534543"/>
                <a:gd name="connsiteX215" fmla="*/ 442669 w 594561"/>
                <a:gd name="connsiteY215" fmla="*/ 492524 h 534543"/>
                <a:gd name="connsiteX216" fmla="*/ 448659 w 594561"/>
                <a:gd name="connsiteY216" fmla="*/ 495337 h 534543"/>
                <a:gd name="connsiteX217" fmla="*/ 452894 w 594561"/>
                <a:gd name="connsiteY217" fmla="*/ 498937 h 534543"/>
                <a:gd name="connsiteX218" fmla="*/ 455405 w 594561"/>
                <a:gd name="connsiteY218" fmla="*/ 500117 h 534543"/>
                <a:gd name="connsiteX219" fmla="*/ 456917 w 594561"/>
                <a:gd name="connsiteY219" fmla="*/ 498786 h 534543"/>
                <a:gd name="connsiteX220" fmla="*/ 457371 w 594561"/>
                <a:gd name="connsiteY220" fmla="*/ 500238 h 534543"/>
                <a:gd name="connsiteX221" fmla="*/ 458188 w 594561"/>
                <a:gd name="connsiteY221" fmla="*/ 501176 h 534543"/>
                <a:gd name="connsiteX222" fmla="*/ 460336 w 594561"/>
                <a:gd name="connsiteY222" fmla="*/ 503082 h 534543"/>
                <a:gd name="connsiteX223" fmla="*/ 458309 w 594561"/>
                <a:gd name="connsiteY223" fmla="*/ 503082 h 534543"/>
                <a:gd name="connsiteX224" fmla="*/ 458975 w 594561"/>
                <a:gd name="connsiteY224" fmla="*/ 504382 h 534543"/>
                <a:gd name="connsiteX225" fmla="*/ 460185 w 594561"/>
                <a:gd name="connsiteY225" fmla="*/ 505169 h 534543"/>
                <a:gd name="connsiteX226" fmla="*/ 461758 w 594561"/>
                <a:gd name="connsiteY226" fmla="*/ 505562 h 534543"/>
                <a:gd name="connsiteX227" fmla="*/ 463482 w 594561"/>
                <a:gd name="connsiteY227" fmla="*/ 505653 h 534543"/>
                <a:gd name="connsiteX228" fmla="*/ 465116 w 594561"/>
                <a:gd name="connsiteY228" fmla="*/ 506016 h 534543"/>
                <a:gd name="connsiteX229" fmla="*/ 469260 w 594561"/>
                <a:gd name="connsiteY229" fmla="*/ 508224 h 534543"/>
                <a:gd name="connsiteX230" fmla="*/ 474433 w 594561"/>
                <a:gd name="connsiteY230" fmla="*/ 509071 h 534543"/>
                <a:gd name="connsiteX231" fmla="*/ 475038 w 594561"/>
                <a:gd name="connsiteY231" fmla="*/ 509737 h 534543"/>
                <a:gd name="connsiteX232" fmla="*/ 475038 w 594561"/>
                <a:gd name="connsiteY232" fmla="*/ 511310 h 534543"/>
                <a:gd name="connsiteX233" fmla="*/ 474766 w 594561"/>
                <a:gd name="connsiteY233" fmla="*/ 513034 h 534543"/>
                <a:gd name="connsiteX234" fmla="*/ 474766 w 594561"/>
                <a:gd name="connsiteY234" fmla="*/ 514184 h 534543"/>
                <a:gd name="connsiteX235" fmla="*/ 476581 w 594561"/>
                <a:gd name="connsiteY235" fmla="*/ 516695 h 534543"/>
                <a:gd name="connsiteX236" fmla="*/ 493975 w 594561"/>
                <a:gd name="connsiteY236" fmla="*/ 527071 h 534543"/>
                <a:gd name="connsiteX237" fmla="*/ 494097 w 594561"/>
                <a:gd name="connsiteY237" fmla="*/ 528856 h 534543"/>
                <a:gd name="connsiteX238" fmla="*/ 495549 w 594561"/>
                <a:gd name="connsiteY238" fmla="*/ 529673 h 534543"/>
                <a:gd name="connsiteX239" fmla="*/ 498906 w 594561"/>
                <a:gd name="connsiteY239" fmla="*/ 530580 h 534543"/>
                <a:gd name="connsiteX240" fmla="*/ 500268 w 594561"/>
                <a:gd name="connsiteY240" fmla="*/ 531397 h 534543"/>
                <a:gd name="connsiteX241" fmla="*/ 502476 w 594561"/>
                <a:gd name="connsiteY241" fmla="*/ 534543 h 534543"/>
                <a:gd name="connsiteX242" fmla="*/ 502627 w 594561"/>
                <a:gd name="connsiteY242" fmla="*/ 532698 h 534543"/>
                <a:gd name="connsiteX243" fmla="*/ 502144 w 594561"/>
                <a:gd name="connsiteY243" fmla="*/ 531306 h 534543"/>
                <a:gd name="connsiteX244" fmla="*/ 500389 w 594561"/>
                <a:gd name="connsiteY244" fmla="*/ 530368 h 534543"/>
                <a:gd name="connsiteX245" fmla="*/ 276377 w 594561"/>
                <a:gd name="connsiteY245" fmla="*/ 451109 h 534543"/>
                <a:gd name="connsiteX246" fmla="*/ 275923 w 594561"/>
                <a:gd name="connsiteY246" fmla="*/ 451503 h 534543"/>
                <a:gd name="connsiteX247" fmla="*/ 275500 w 594561"/>
                <a:gd name="connsiteY247" fmla="*/ 452047 h 534543"/>
                <a:gd name="connsiteX248" fmla="*/ 274169 w 594561"/>
                <a:gd name="connsiteY248" fmla="*/ 451200 h 534543"/>
                <a:gd name="connsiteX249" fmla="*/ 272928 w 594561"/>
                <a:gd name="connsiteY249" fmla="*/ 451140 h 534543"/>
                <a:gd name="connsiteX250" fmla="*/ 270599 w 594561"/>
                <a:gd name="connsiteY250" fmla="*/ 452047 h 534543"/>
                <a:gd name="connsiteX251" fmla="*/ 270780 w 594561"/>
                <a:gd name="connsiteY251" fmla="*/ 451745 h 534543"/>
                <a:gd name="connsiteX252" fmla="*/ 271295 w 594561"/>
                <a:gd name="connsiteY252" fmla="*/ 451109 h 534543"/>
                <a:gd name="connsiteX253" fmla="*/ 268330 w 594561"/>
                <a:gd name="connsiteY253" fmla="*/ 450081 h 534543"/>
                <a:gd name="connsiteX254" fmla="*/ 264307 w 594561"/>
                <a:gd name="connsiteY254" fmla="*/ 449960 h 534543"/>
                <a:gd name="connsiteX255" fmla="*/ 260525 w 594561"/>
                <a:gd name="connsiteY255" fmla="*/ 450686 h 534543"/>
                <a:gd name="connsiteX256" fmla="*/ 258196 w 594561"/>
                <a:gd name="connsiteY256" fmla="*/ 452047 h 534543"/>
                <a:gd name="connsiteX257" fmla="*/ 257500 w 594561"/>
                <a:gd name="connsiteY257" fmla="*/ 452138 h 534543"/>
                <a:gd name="connsiteX258" fmla="*/ 256986 w 594561"/>
                <a:gd name="connsiteY258" fmla="*/ 452259 h 534543"/>
                <a:gd name="connsiteX259" fmla="*/ 256562 w 594561"/>
                <a:gd name="connsiteY259" fmla="*/ 452501 h 534543"/>
                <a:gd name="connsiteX260" fmla="*/ 256139 w 594561"/>
                <a:gd name="connsiteY260" fmla="*/ 452894 h 534543"/>
                <a:gd name="connsiteX261" fmla="*/ 257591 w 594561"/>
                <a:gd name="connsiteY261" fmla="*/ 454619 h 534543"/>
                <a:gd name="connsiteX262" fmla="*/ 258226 w 594561"/>
                <a:gd name="connsiteY262" fmla="*/ 454619 h 534543"/>
                <a:gd name="connsiteX263" fmla="*/ 259224 w 594561"/>
                <a:gd name="connsiteY263" fmla="*/ 454407 h 534543"/>
                <a:gd name="connsiteX264" fmla="*/ 260041 w 594561"/>
                <a:gd name="connsiteY264" fmla="*/ 455920 h 534543"/>
                <a:gd name="connsiteX265" fmla="*/ 259769 w 594561"/>
                <a:gd name="connsiteY265" fmla="*/ 457856 h 534543"/>
                <a:gd name="connsiteX266" fmla="*/ 257621 w 594561"/>
                <a:gd name="connsiteY266" fmla="*/ 458945 h 534543"/>
                <a:gd name="connsiteX267" fmla="*/ 260041 w 594561"/>
                <a:gd name="connsiteY267" fmla="*/ 459701 h 534543"/>
                <a:gd name="connsiteX268" fmla="*/ 263490 w 594561"/>
                <a:gd name="connsiteY268" fmla="*/ 459459 h 534543"/>
                <a:gd name="connsiteX269" fmla="*/ 272444 w 594561"/>
                <a:gd name="connsiteY269" fmla="*/ 456948 h 534543"/>
                <a:gd name="connsiteX270" fmla="*/ 273624 w 594561"/>
                <a:gd name="connsiteY270" fmla="*/ 456071 h 534543"/>
                <a:gd name="connsiteX271" fmla="*/ 274804 w 594561"/>
                <a:gd name="connsiteY271" fmla="*/ 454649 h 534543"/>
                <a:gd name="connsiteX272" fmla="*/ 275984 w 594561"/>
                <a:gd name="connsiteY272" fmla="*/ 453862 h 534543"/>
                <a:gd name="connsiteX273" fmla="*/ 276649 w 594561"/>
                <a:gd name="connsiteY273" fmla="*/ 453288 h 534543"/>
                <a:gd name="connsiteX274" fmla="*/ 276921 w 594561"/>
                <a:gd name="connsiteY274" fmla="*/ 452501 h 534543"/>
                <a:gd name="connsiteX275" fmla="*/ 276770 w 594561"/>
                <a:gd name="connsiteY275" fmla="*/ 451321 h 534543"/>
                <a:gd name="connsiteX276" fmla="*/ 276407 w 594561"/>
                <a:gd name="connsiteY276" fmla="*/ 451140 h 534543"/>
                <a:gd name="connsiteX277" fmla="*/ 320968 w 594561"/>
                <a:gd name="connsiteY277" fmla="*/ 445059 h 534543"/>
                <a:gd name="connsiteX278" fmla="*/ 371306 w 594561"/>
                <a:gd name="connsiteY278" fmla="*/ 445059 h 534543"/>
                <a:gd name="connsiteX279" fmla="*/ 367464 w 594561"/>
                <a:gd name="connsiteY279" fmla="*/ 443426 h 534543"/>
                <a:gd name="connsiteX280" fmla="*/ 362896 w 594561"/>
                <a:gd name="connsiteY280" fmla="*/ 442972 h 534543"/>
                <a:gd name="connsiteX281" fmla="*/ 353700 w 594561"/>
                <a:gd name="connsiteY281" fmla="*/ 443365 h 534543"/>
                <a:gd name="connsiteX282" fmla="*/ 347680 w 594561"/>
                <a:gd name="connsiteY282" fmla="*/ 441913 h 534543"/>
                <a:gd name="connsiteX283" fmla="*/ 341448 w 594561"/>
                <a:gd name="connsiteY283" fmla="*/ 441610 h 534543"/>
                <a:gd name="connsiteX284" fmla="*/ 339602 w 594561"/>
                <a:gd name="connsiteY284" fmla="*/ 441096 h 534543"/>
                <a:gd name="connsiteX285" fmla="*/ 338211 w 594561"/>
                <a:gd name="connsiteY285" fmla="*/ 439826 h 534543"/>
                <a:gd name="connsiteX286" fmla="*/ 336577 w 594561"/>
                <a:gd name="connsiteY286" fmla="*/ 440643 h 534543"/>
                <a:gd name="connsiteX287" fmla="*/ 326806 w 594561"/>
                <a:gd name="connsiteY287" fmla="*/ 440703 h 534543"/>
                <a:gd name="connsiteX288" fmla="*/ 324447 w 594561"/>
                <a:gd name="connsiteY288" fmla="*/ 440370 h 534543"/>
                <a:gd name="connsiteX289" fmla="*/ 322238 w 594561"/>
                <a:gd name="connsiteY289" fmla="*/ 439584 h 534543"/>
                <a:gd name="connsiteX290" fmla="*/ 320272 w 594561"/>
                <a:gd name="connsiteY290" fmla="*/ 438192 h 534543"/>
                <a:gd name="connsiteX291" fmla="*/ 320574 w 594561"/>
                <a:gd name="connsiteY291" fmla="*/ 438071 h 534543"/>
                <a:gd name="connsiteX292" fmla="*/ 320847 w 594561"/>
                <a:gd name="connsiteY292" fmla="*/ 438071 h 534543"/>
                <a:gd name="connsiteX293" fmla="*/ 320998 w 594561"/>
                <a:gd name="connsiteY293" fmla="*/ 437920 h 534543"/>
                <a:gd name="connsiteX294" fmla="*/ 320937 w 594561"/>
                <a:gd name="connsiteY294" fmla="*/ 437345 h 534543"/>
                <a:gd name="connsiteX295" fmla="*/ 319697 w 594561"/>
                <a:gd name="connsiteY295" fmla="*/ 436589 h 534543"/>
                <a:gd name="connsiteX296" fmla="*/ 318880 w 594561"/>
                <a:gd name="connsiteY296" fmla="*/ 435530 h 534543"/>
                <a:gd name="connsiteX297" fmla="*/ 318245 w 594561"/>
                <a:gd name="connsiteY297" fmla="*/ 434532 h 534543"/>
                <a:gd name="connsiteX298" fmla="*/ 317579 w 594561"/>
                <a:gd name="connsiteY298" fmla="*/ 433896 h 534543"/>
                <a:gd name="connsiteX299" fmla="*/ 316218 w 594561"/>
                <a:gd name="connsiteY299" fmla="*/ 433382 h 534543"/>
                <a:gd name="connsiteX300" fmla="*/ 313223 w 594561"/>
                <a:gd name="connsiteY300" fmla="*/ 432928 h 534543"/>
                <a:gd name="connsiteX301" fmla="*/ 311953 w 594561"/>
                <a:gd name="connsiteY301" fmla="*/ 432928 h 534543"/>
                <a:gd name="connsiteX302" fmla="*/ 311287 w 594561"/>
                <a:gd name="connsiteY302" fmla="*/ 433140 h 534543"/>
                <a:gd name="connsiteX303" fmla="*/ 310289 w 594561"/>
                <a:gd name="connsiteY303" fmla="*/ 433836 h 534543"/>
                <a:gd name="connsiteX304" fmla="*/ 309896 w 594561"/>
                <a:gd name="connsiteY304" fmla="*/ 433836 h 534543"/>
                <a:gd name="connsiteX305" fmla="*/ 307838 w 594561"/>
                <a:gd name="connsiteY305" fmla="*/ 432202 h 534543"/>
                <a:gd name="connsiteX306" fmla="*/ 305055 w 594561"/>
                <a:gd name="connsiteY306" fmla="*/ 432354 h 534543"/>
                <a:gd name="connsiteX307" fmla="*/ 303603 w 594561"/>
                <a:gd name="connsiteY307" fmla="*/ 432202 h 534543"/>
                <a:gd name="connsiteX308" fmla="*/ 304511 w 594561"/>
                <a:gd name="connsiteY308" fmla="*/ 433140 h 534543"/>
                <a:gd name="connsiteX309" fmla="*/ 307173 w 594561"/>
                <a:gd name="connsiteY309" fmla="*/ 434622 h 534543"/>
                <a:gd name="connsiteX310" fmla="*/ 309926 w 594561"/>
                <a:gd name="connsiteY310" fmla="*/ 437285 h 534543"/>
                <a:gd name="connsiteX311" fmla="*/ 307082 w 594561"/>
                <a:gd name="connsiteY311" fmla="*/ 437375 h 534543"/>
                <a:gd name="connsiteX312" fmla="*/ 304269 w 594561"/>
                <a:gd name="connsiteY312" fmla="*/ 435318 h 534543"/>
                <a:gd name="connsiteX313" fmla="*/ 301183 w 594561"/>
                <a:gd name="connsiteY313" fmla="*/ 433564 h 534543"/>
                <a:gd name="connsiteX314" fmla="*/ 297553 w 594561"/>
                <a:gd name="connsiteY314" fmla="*/ 434622 h 534543"/>
                <a:gd name="connsiteX315" fmla="*/ 297553 w 594561"/>
                <a:gd name="connsiteY315" fmla="*/ 433836 h 534543"/>
                <a:gd name="connsiteX316" fmla="*/ 296403 w 594561"/>
                <a:gd name="connsiteY316" fmla="*/ 435016 h 534543"/>
                <a:gd name="connsiteX317" fmla="*/ 296101 w 594561"/>
                <a:gd name="connsiteY317" fmla="*/ 435560 h 534543"/>
                <a:gd name="connsiteX318" fmla="*/ 295496 w 594561"/>
                <a:gd name="connsiteY318" fmla="*/ 434622 h 534543"/>
                <a:gd name="connsiteX319" fmla="*/ 293015 w 594561"/>
                <a:gd name="connsiteY319" fmla="*/ 436044 h 534543"/>
                <a:gd name="connsiteX320" fmla="*/ 291866 w 594561"/>
                <a:gd name="connsiteY320" fmla="*/ 436226 h 534543"/>
                <a:gd name="connsiteX321" fmla="*/ 290595 w 594561"/>
                <a:gd name="connsiteY321" fmla="*/ 435560 h 534543"/>
                <a:gd name="connsiteX322" fmla="*/ 289476 w 594561"/>
                <a:gd name="connsiteY322" fmla="*/ 435560 h 534543"/>
                <a:gd name="connsiteX323" fmla="*/ 289022 w 594561"/>
                <a:gd name="connsiteY323" fmla="*/ 435863 h 534543"/>
                <a:gd name="connsiteX324" fmla="*/ 288598 w 594561"/>
                <a:gd name="connsiteY324" fmla="*/ 436407 h 534543"/>
                <a:gd name="connsiteX325" fmla="*/ 293076 w 594561"/>
                <a:gd name="connsiteY325" fmla="*/ 438162 h 534543"/>
                <a:gd name="connsiteX326" fmla="*/ 294225 w 594561"/>
                <a:gd name="connsiteY326" fmla="*/ 438404 h 534543"/>
                <a:gd name="connsiteX327" fmla="*/ 296010 w 594561"/>
                <a:gd name="connsiteY327" fmla="*/ 439553 h 534543"/>
                <a:gd name="connsiteX328" fmla="*/ 299035 w 594561"/>
                <a:gd name="connsiteY328" fmla="*/ 440098 h 534543"/>
                <a:gd name="connsiteX329" fmla="*/ 307536 w 594561"/>
                <a:gd name="connsiteY329" fmla="*/ 443063 h 534543"/>
                <a:gd name="connsiteX330" fmla="*/ 318638 w 594561"/>
                <a:gd name="connsiteY330" fmla="*/ 445271 h 534543"/>
                <a:gd name="connsiteX331" fmla="*/ 320937 w 594561"/>
                <a:gd name="connsiteY331" fmla="*/ 445029 h 534543"/>
                <a:gd name="connsiteX332" fmla="*/ 294467 w 594561"/>
                <a:gd name="connsiteY332" fmla="*/ 419073 h 534543"/>
                <a:gd name="connsiteX333" fmla="*/ 294165 w 594561"/>
                <a:gd name="connsiteY333" fmla="*/ 419194 h 534543"/>
                <a:gd name="connsiteX334" fmla="*/ 294165 w 594561"/>
                <a:gd name="connsiteY334" fmla="*/ 419981 h 534543"/>
                <a:gd name="connsiteX335" fmla="*/ 293409 w 594561"/>
                <a:gd name="connsiteY335" fmla="*/ 419981 h 534543"/>
                <a:gd name="connsiteX336" fmla="*/ 292834 w 594561"/>
                <a:gd name="connsiteY336" fmla="*/ 419497 h 534543"/>
                <a:gd name="connsiteX337" fmla="*/ 292017 w 594561"/>
                <a:gd name="connsiteY337" fmla="*/ 419013 h 534543"/>
                <a:gd name="connsiteX338" fmla="*/ 293651 w 594561"/>
                <a:gd name="connsiteY338" fmla="*/ 420919 h 534543"/>
                <a:gd name="connsiteX339" fmla="*/ 301607 w 594561"/>
                <a:gd name="connsiteY339" fmla="*/ 425154 h 534543"/>
                <a:gd name="connsiteX340" fmla="*/ 307959 w 594561"/>
                <a:gd name="connsiteY340" fmla="*/ 426939 h 534543"/>
                <a:gd name="connsiteX341" fmla="*/ 314433 w 594561"/>
                <a:gd name="connsiteY341" fmla="*/ 427755 h 534543"/>
                <a:gd name="connsiteX342" fmla="*/ 333038 w 594561"/>
                <a:gd name="connsiteY342" fmla="*/ 427241 h 534543"/>
                <a:gd name="connsiteX343" fmla="*/ 336366 w 594561"/>
                <a:gd name="connsiteY343" fmla="*/ 426515 h 534543"/>
                <a:gd name="connsiteX344" fmla="*/ 338211 w 594561"/>
                <a:gd name="connsiteY344" fmla="*/ 424186 h 534543"/>
                <a:gd name="connsiteX345" fmla="*/ 338997 w 594561"/>
                <a:gd name="connsiteY345" fmla="*/ 424639 h 534543"/>
                <a:gd name="connsiteX346" fmla="*/ 339723 w 594561"/>
                <a:gd name="connsiteY346" fmla="*/ 423913 h 534543"/>
                <a:gd name="connsiteX347" fmla="*/ 341024 w 594561"/>
                <a:gd name="connsiteY347" fmla="*/ 421584 h 534543"/>
                <a:gd name="connsiteX348" fmla="*/ 340298 w 594561"/>
                <a:gd name="connsiteY348" fmla="*/ 420344 h 534543"/>
                <a:gd name="connsiteX349" fmla="*/ 339542 w 594561"/>
                <a:gd name="connsiteY349" fmla="*/ 420162 h 534543"/>
                <a:gd name="connsiteX350" fmla="*/ 338665 w 594561"/>
                <a:gd name="connsiteY350" fmla="*/ 420253 h 534543"/>
                <a:gd name="connsiteX351" fmla="*/ 337576 w 594561"/>
                <a:gd name="connsiteY351" fmla="*/ 419920 h 534543"/>
                <a:gd name="connsiteX352" fmla="*/ 335700 w 594561"/>
                <a:gd name="connsiteY352" fmla="*/ 417924 h 534543"/>
                <a:gd name="connsiteX353" fmla="*/ 334792 w 594561"/>
                <a:gd name="connsiteY353" fmla="*/ 417228 h 534543"/>
                <a:gd name="connsiteX354" fmla="*/ 334157 w 594561"/>
                <a:gd name="connsiteY354" fmla="*/ 417893 h 534543"/>
                <a:gd name="connsiteX355" fmla="*/ 333371 w 594561"/>
                <a:gd name="connsiteY355" fmla="*/ 418014 h 534543"/>
                <a:gd name="connsiteX356" fmla="*/ 332433 w 594561"/>
                <a:gd name="connsiteY356" fmla="*/ 417742 h 534543"/>
                <a:gd name="connsiteX357" fmla="*/ 331374 w 594561"/>
                <a:gd name="connsiteY357" fmla="*/ 417228 h 534543"/>
                <a:gd name="connsiteX358" fmla="*/ 332735 w 594561"/>
                <a:gd name="connsiteY358" fmla="*/ 417228 h 534543"/>
                <a:gd name="connsiteX359" fmla="*/ 332735 w 594561"/>
                <a:gd name="connsiteY359" fmla="*/ 416351 h 534543"/>
                <a:gd name="connsiteX360" fmla="*/ 320453 w 594561"/>
                <a:gd name="connsiteY360" fmla="*/ 413325 h 534543"/>
                <a:gd name="connsiteX361" fmla="*/ 300971 w 594561"/>
                <a:gd name="connsiteY361" fmla="*/ 412660 h 534543"/>
                <a:gd name="connsiteX362" fmla="*/ 296918 w 594561"/>
                <a:gd name="connsiteY362" fmla="*/ 411178 h 534543"/>
                <a:gd name="connsiteX363" fmla="*/ 296282 w 594561"/>
                <a:gd name="connsiteY363" fmla="*/ 411057 h 534543"/>
                <a:gd name="connsiteX364" fmla="*/ 294195 w 594561"/>
                <a:gd name="connsiteY364" fmla="*/ 411178 h 534543"/>
                <a:gd name="connsiteX365" fmla="*/ 295556 w 594561"/>
                <a:gd name="connsiteY365" fmla="*/ 414112 h 534543"/>
                <a:gd name="connsiteX366" fmla="*/ 296948 w 594561"/>
                <a:gd name="connsiteY366" fmla="*/ 416381 h 534543"/>
                <a:gd name="connsiteX367" fmla="*/ 295738 w 594561"/>
                <a:gd name="connsiteY367" fmla="*/ 416623 h 534543"/>
                <a:gd name="connsiteX368" fmla="*/ 295072 w 594561"/>
                <a:gd name="connsiteY368" fmla="*/ 417228 h 534543"/>
                <a:gd name="connsiteX369" fmla="*/ 295012 w 594561"/>
                <a:gd name="connsiteY369" fmla="*/ 418045 h 534543"/>
                <a:gd name="connsiteX370" fmla="*/ 295587 w 594561"/>
                <a:gd name="connsiteY370" fmla="*/ 418952 h 534543"/>
                <a:gd name="connsiteX371" fmla="*/ 295042 w 594561"/>
                <a:gd name="connsiteY371" fmla="*/ 419073 h 534543"/>
                <a:gd name="connsiteX372" fmla="*/ 294588 w 594561"/>
                <a:gd name="connsiteY372" fmla="*/ 418982 h 534543"/>
                <a:gd name="connsiteX373" fmla="*/ 290625 w 594561"/>
                <a:gd name="connsiteY373" fmla="*/ 417319 h 534543"/>
                <a:gd name="connsiteX374" fmla="*/ 288145 w 594561"/>
                <a:gd name="connsiteY374" fmla="*/ 415443 h 534543"/>
                <a:gd name="connsiteX375" fmla="*/ 286330 w 594561"/>
                <a:gd name="connsiteY375" fmla="*/ 413265 h 534543"/>
                <a:gd name="connsiteX376" fmla="*/ 284424 w 594561"/>
                <a:gd name="connsiteY376" fmla="*/ 411813 h 534543"/>
                <a:gd name="connsiteX377" fmla="*/ 281701 w 594561"/>
                <a:gd name="connsiteY377" fmla="*/ 412146 h 534543"/>
                <a:gd name="connsiteX378" fmla="*/ 281247 w 594561"/>
                <a:gd name="connsiteY378" fmla="*/ 410058 h 534543"/>
                <a:gd name="connsiteX379" fmla="*/ 279099 w 594561"/>
                <a:gd name="connsiteY379" fmla="*/ 409000 h 534543"/>
                <a:gd name="connsiteX380" fmla="*/ 273352 w 594561"/>
                <a:gd name="connsiteY380" fmla="*/ 408576 h 534543"/>
                <a:gd name="connsiteX381" fmla="*/ 271900 w 594561"/>
                <a:gd name="connsiteY381" fmla="*/ 408878 h 534543"/>
                <a:gd name="connsiteX382" fmla="*/ 271355 w 594561"/>
                <a:gd name="connsiteY382" fmla="*/ 409635 h 534543"/>
                <a:gd name="connsiteX383" fmla="*/ 271658 w 594561"/>
                <a:gd name="connsiteY383" fmla="*/ 410542 h 534543"/>
                <a:gd name="connsiteX384" fmla="*/ 272656 w 594561"/>
                <a:gd name="connsiteY384" fmla="*/ 411299 h 534543"/>
                <a:gd name="connsiteX385" fmla="*/ 272353 w 594561"/>
                <a:gd name="connsiteY385" fmla="*/ 411389 h 534543"/>
                <a:gd name="connsiteX386" fmla="*/ 272112 w 594561"/>
                <a:gd name="connsiteY386" fmla="*/ 411389 h 534543"/>
                <a:gd name="connsiteX387" fmla="*/ 271960 w 594561"/>
                <a:gd name="connsiteY387" fmla="*/ 411571 h 534543"/>
                <a:gd name="connsiteX388" fmla="*/ 272021 w 594561"/>
                <a:gd name="connsiteY388" fmla="*/ 412146 h 534543"/>
                <a:gd name="connsiteX389" fmla="*/ 274562 w 594561"/>
                <a:gd name="connsiteY389" fmla="*/ 412509 h 534543"/>
                <a:gd name="connsiteX390" fmla="*/ 279553 w 594561"/>
                <a:gd name="connsiteY390" fmla="*/ 414445 h 534543"/>
                <a:gd name="connsiteX391" fmla="*/ 286299 w 594561"/>
                <a:gd name="connsiteY391" fmla="*/ 418347 h 534543"/>
                <a:gd name="connsiteX392" fmla="*/ 289052 w 594561"/>
                <a:gd name="connsiteY392" fmla="*/ 419013 h 534543"/>
                <a:gd name="connsiteX393" fmla="*/ 290595 w 594561"/>
                <a:gd name="connsiteY393" fmla="*/ 417379 h 534543"/>
                <a:gd name="connsiteX394" fmla="*/ 274380 w 594561"/>
                <a:gd name="connsiteY394" fmla="*/ 398290 h 534543"/>
                <a:gd name="connsiteX395" fmla="*/ 273685 w 594561"/>
                <a:gd name="connsiteY395" fmla="*/ 398139 h 534543"/>
                <a:gd name="connsiteX396" fmla="*/ 273261 w 594561"/>
                <a:gd name="connsiteY396" fmla="*/ 398139 h 534543"/>
                <a:gd name="connsiteX397" fmla="*/ 272535 w 594561"/>
                <a:gd name="connsiteY397" fmla="*/ 398381 h 534543"/>
                <a:gd name="connsiteX398" fmla="*/ 272535 w 594561"/>
                <a:gd name="connsiteY398" fmla="*/ 399077 h 534543"/>
                <a:gd name="connsiteX399" fmla="*/ 273201 w 594561"/>
                <a:gd name="connsiteY399" fmla="*/ 399561 h 534543"/>
                <a:gd name="connsiteX400" fmla="*/ 274441 w 594561"/>
                <a:gd name="connsiteY400" fmla="*/ 399954 h 534543"/>
                <a:gd name="connsiteX401" fmla="*/ 276044 w 594561"/>
                <a:gd name="connsiteY401" fmla="*/ 400166 h 534543"/>
                <a:gd name="connsiteX402" fmla="*/ 277284 w 594561"/>
                <a:gd name="connsiteY402" fmla="*/ 399894 h 534543"/>
                <a:gd name="connsiteX403" fmla="*/ 278162 w 594561"/>
                <a:gd name="connsiteY403" fmla="*/ 399470 h 534543"/>
                <a:gd name="connsiteX404" fmla="*/ 279644 w 594561"/>
                <a:gd name="connsiteY404" fmla="*/ 399349 h 534543"/>
                <a:gd name="connsiteX405" fmla="*/ 284817 w 594561"/>
                <a:gd name="connsiteY405" fmla="*/ 400196 h 534543"/>
                <a:gd name="connsiteX406" fmla="*/ 288598 w 594561"/>
                <a:gd name="connsiteY406" fmla="*/ 399833 h 534543"/>
                <a:gd name="connsiteX407" fmla="*/ 289052 w 594561"/>
                <a:gd name="connsiteY407" fmla="*/ 399077 h 534543"/>
                <a:gd name="connsiteX408" fmla="*/ 284908 w 594561"/>
                <a:gd name="connsiteY408" fmla="*/ 397625 h 534543"/>
                <a:gd name="connsiteX409" fmla="*/ 282518 w 594561"/>
                <a:gd name="connsiteY409" fmla="*/ 396838 h 534543"/>
                <a:gd name="connsiteX410" fmla="*/ 277890 w 594561"/>
                <a:gd name="connsiteY410" fmla="*/ 396203 h 534543"/>
                <a:gd name="connsiteX411" fmla="*/ 276226 w 594561"/>
                <a:gd name="connsiteY411" fmla="*/ 396778 h 534543"/>
                <a:gd name="connsiteX412" fmla="*/ 276649 w 594561"/>
                <a:gd name="connsiteY412" fmla="*/ 397837 h 534543"/>
                <a:gd name="connsiteX413" fmla="*/ 275772 w 594561"/>
                <a:gd name="connsiteY413" fmla="*/ 398472 h 534543"/>
                <a:gd name="connsiteX414" fmla="*/ 274411 w 594561"/>
                <a:gd name="connsiteY414" fmla="*/ 398321 h 534543"/>
                <a:gd name="connsiteX415" fmla="*/ 217992 w 594561"/>
                <a:gd name="connsiteY415" fmla="*/ 377962 h 534543"/>
                <a:gd name="connsiteX416" fmla="*/ 217175 w 594561"/>
                <a:gd name="connsiteY416" fmla="*/ 376721 h 534543"/>
                <a:gd name="connsiteX417" fmla="*/ 215995 w 594561"/>
                <a:gd name="connsiteY417" fmla="*/ 375753 h 534543"/>
                <a:gd name="connsiteX418" fmla="*/ 212940 w 594561"/>
                <a:gd name="connsiteY418" fmla="*/ 375451 h 534543"/>
                <a:gd name="connsiteX419" fmla="*/ 212516 w 594561"/>
                <a:gd name="connsiteY419" fmla="*/ 375239 h 534543"/>
                <a:gd name="connsiteX420" fmla="*/ 212093 w 594561"/>
                <a:gd name="connsiteY420" fmla="*/ 374573 h 534543"/>
                <a:gd name="connsiteX421" fmla="*/ 211336 w 594561"/>
                <a:gd name="connsiteY421" fmla="*/ 375541 h 534543"/>
                <a:gd name="connsiteX422" fmla="*/ 212940 w 594561"/>
                <a:gd name="connsiteY422" fmla="*/ 376267 h 534543"/>
                <a:gd name="connsiteX423" fmla="*/ 217296 w 594561"/>
                <a:gd name="connsiteY423" fmla="*/ 379232 h 534543"/>
                <a:gd name="connsiteX424" fmla="*/ 218204 w 594561"/>
                <a:gd name="connsiteY424" fmla="*/ 380291 h 534543"/>
                <a:gd name="connsiteX425" fmla="*/ 219141 w 594561"/>
                <a:gd name="connsiteY425" fmla="*/ 379928 h 534543"/>
                <a:gd name="connsiteX426" fmla="*/ 225070 w 594561"/>
                <a:gd name="connsiteY426" fmla="*/ 381561 h 534543"/>
                <a:gd name="connsiteX427" fmla="*/ 218869 w 594561"/>
                <a:gd name="connsiteY427" fmla="*/ 378960 h 534543"/>
                <a:gd name="connsiteX428" fmla="*/ 217931 w 594561"/>
                <a:gd name="connsiteY428" fmla="*/ 377962 h 534543"/>
                <a:gd name="connsiteX429" fmla="*/ 186258 w 594561"/>
                <a:gd name="connsiteY429" fmla="*/ 359478 h 534543"/>
                <a:gd name="connsiteX430" fmla="*/ 185078 w 594561"/>
                <a:gd name="connsiteY430" fmla="*/ 358026 h 534543"/>
                <a:gd name="connsiteX431" fmla="*/ 177424 w 594561"/>
                <a:gd name="connsiteY431" fmla="*/ 352248 h 534543"/>
                <a:gd name="connsiteX432" fmla="*/ 176910 w 594561"/>
                <a:gd name="connsiteY432" fmla="*/ 350947 h 534543"/>
                <a:gd name="connsiteX433" fmla="*/ 174853 w 594561"/>
                <a:gd name="connsiteY433" fmla="*/ 349192 h 534543"/>
                <a:gd name="connsiteX434" fmla="*/ 173552 w 594561"/>
                <a:gd name="connsiteY434" fmla="*/ 350009 h 534543"/>
                <a:gd name="connsiteX435" fmla="*/ 174127 w 594561"/>
                <a:gd name="connsiteY435" fmla="*/ 351582 h 534543"/>
                <a:gd name="connsiteX436" fmla="*/ 175579 w 594561"/>
                <a:gd name="connsiteY436" fmla="*/ 353276 h 534543"/>
                <a:gd name="connsiteX437" fmla="*/ 176941 w 594561"/>
                <a:gd name="connsiteY437" fmla="*/ 354456 h 534543"/>
                <a:gd name="connsiteX438" fmla="*/ 179663 w 594561"/>
                <a:gd name="connsiteY438" fmla="*/ 356301 h 534543"/>
                <a:gd name="connsiteX439" fmla="*/ 181720 w 594561"/>
                <a:gd name="connsiteY439" fmla="*/ 358843 h 534543"/>
                <a:gd name="connsiteX440" fmla="*/ 183626 w 594561"/>
                <a:gd name="connsiteY440" fmla="*/ 360022 h 534543"/>
                <a:gd name="connsiteX441" fmla="*/ 189555 w 594561"/>
                <a:gd name="connsiteY441" fmla="*/ 362503 h 534543"/>
                <a:gd name="connsiteX442" fmla="*/ 190433 w 594561"/>
                <a:gd name="connsiteY442" fmla="*/ 363078 h 534543"/>
                <a:gd name="connsiteX443" fmla="*/ 187589 w 594561"/>
                <a:gd name="connsiteY443" fmla="*/ 360809 h 534543"/>
                <a:gd name="connsiteX444" fmla="*/ 186288 w 594561"/>
                <a:gd name="connsiteY444" fmla="*/ 359478 h 534543"/>
                <a:gd name="connsiteX445" fmla="*/ 194426 w 594561"/>
                <a:gd name="connsiteY445" fmla="*/ 345290 h 534543"/>
                <a:gd name="connsiteX446" fmla="*/ 193549 w 594561"/>
                <a:gd name="connsiteY446" fmla="*/ 343929 h 534543"/>
                <a:gd name="connsiteX447" fmla="*/ 192762 w 594561"/>
                <a:gd name="connsiteY447" fmla="*/ 343021 h 534543"/>
                <a:gd name="connsiteX448" fmla="*/ 191975 w 594561"/>
                <a:gd name="connsiteY448" fmla="*/ 342537 h 534543"/>
                <a:gd name="connsiteX449" fmla="*/ 190614 w 594561"/>
                <a:gd name="connsiteY449" fmla="*/ 341993 h 534543"/>
                <a:gd name="connsiteX450" fmla="*/ 190009 w 594561"/>
                <a:gd name="connsiteY450" fmla="*/ 341357 h 534543"/>
                <a:gd name="connsiteX451" fmla="*/ 189767 w 594561"/>
                <a:gd name="connsiteY451" fmla="*/ 340661 h 534543"/>
                <a:gd name="connsiteX452" fmla="*/ 189495 w 594561"/>
                <a:gd name="connsiteY452" fmla="*/ 338514 h 534543"/>
                <a:gd name="connsiteX453" fmla="*/ 189253 w 594561"/>
                <a:gd name="connsiteY453" fmla="*/ 337788 h 534543"/>
                <a:gd name="connsiteX454" fmla="*/ 188708 w 594561"/>
                <a:gd name="connsiteY454" fmla="*/ 337606 h 534543"/>
                <a:gd name="connsiteX455" fmla="*/ 185834 w 594561"/>
                <a:gd name="connsiteY455" fmla="*/ 337001 h 534543"/>
                <a:gd name="connsiteX456" fmla="*/ 180450 w 594561"/>
                <a:gd name="connsiteY456" fmla="*/ 333250 h 534543"/>
                <a:gd name="connsiteX457" fmla="*/ 178816 w 594561"/>
                <a:gd name="connsiteY457" fmla="*/ 332584 h 534543"/>
                <a:gd name="connsiteX458" fmla="*/ 176910 w 594561"/>
                <a:gd name="connsiteY458" fmla="*/ 332584 h 534543"/>
                <a:gd name="connsiteX459" fmla="*/ 177818 w 594561"/>
                <a:gd name="connsiteY459" fmla="*/ 333915 h 534543"/>
                <a:gd name="connsiteX460" fmla="*/ 180540 w 594561"/>
                <a:gd name="connsiteY460" fmla="*/ 336759 h 534543"/>
                <a:gd name="connsiteX461" fmla="*/ 181115 w 594561"/>
                <a:gd name="connsiteY461" fmla="*/ 338272 h 534543"/>
                <a:gd name="connsiteX462" fmla="*/ 181811 w 594561"/>
                <a:gd name="connsiteY462" fmla="*/ 339300 h 534543"/>
                <a:gd name="connsiteX463" fmla="*/ 183384 w 594561"/>
                <a:gd name="connsiteY463" fmla="*/ 340601 h 534543"/>
                <a:gd name="connsiteX464" fmla="*/ 185199 w 594561"/>
                <a:gd name="connsiteY464" fmla="*/ 341720 h 534543"/>
                <a:gd name="connsiteX465" fmla="*/ 186560 w 594561"/>
                <a:gd name="connsiteY465" fmla="*/ 342265 h 534543"/>
                <a:gd name="connsiteX466" fmla="*/ 186318 w 594561"/>
                <a:gd name="connsiteY466" fmla="*/ 342779 h 534543"/>
                <a:gd name="connsiteX467" fmla="*/ 185895 w 594561"/>
                <a:gd name="connsiteY467" fmla="*/ 343082 h 534543"/>
                <a:gd name="connsiteX468" fmla="*/ 186772 w 594561"/>
                <a:gd name="connsiteY468" fmla="*/ 344352 h 534543"/>
                <a:gd name="connsiteX469" fmla="*/ 188103 w 594561"/>
                <a:gd name="connsiteY469" fmla="*/ 345048 h 534543"/>
                <a:gd name="connsiteX470" fmla="*/ 190675 w 594561"/>
                <a:gd name="connsiteY470" fmla="*/ 345804 h 534543"/>
                <a:gd name="connsiteX471" fmla="*/ 191068 w 594561"/>
                <a:gd name="connsiteY471" fmla="*/ 346228 h 534543"/>
                <a:gd name="connsiteX472" fmla="*/ 191280 w 594561"/>
                <a:gd name="connsiteY472" fmla="*/ 346802 h 534543"/>
                <a:gd name="connsiteX473" fmla="*/ 191612 w 594561"/>
                <a:gd name="connsiteY473" fmla="*/ 347317 h 534543"/>
                <a:gd name="connsiteX474" fmla="*/ 192429 w 594561"/>
                <a:gd name="connsiteY474" fmla="*/ 347528 h 534543"/>
                <a:gd name="connsiteX475" fmla="*/ 193306 w 594561"/>
                <a:gd name="connsiteY475" fmla="*/ 347589 h 534543"/>
                <a:gd name="connsiteX476" fmla="*/ 194093 w 594561"/>
                <a:gd name="connsiteY476" fmla="*/ 347740 h 534543"/>
                <a:gd name="connsiteX477" fmla="*/ 194819 w 594561"/>
                <a:gd name="connsiteY477" fmla="*/ 348013 h 534543"/>
                <a:gd name="connsiteX478" fmla="*/ 195545 w 594561"/>
                <a:gd name="connsiteY478" fmla="*/ 348406 h 534543"/>
                <a:gd name="connsiteX479" fmla="*/ 195212 w 594561"/>
                <a:gd name="connsiteY479" fmla="*/ 346954 h 534543"/>
                <a:gd name="connsiteX480" fmla="*/ 194486 w 594561"/>
                <a:gd name="connsiteY480" fmla="*/ 345381 h 534543"/>
                <a:gd name="connsiteX481" fmla="*/ 174944 w 594561"/>
                <a:gd name="connsiteY481" fmla="*/ 330346 h 534543"/>
                <a:gd name="connsiteX482" fmla="*/ 176215 w 594561"/>
                <a:gd name="connsiteY482" fmla="*/ 331616 h 534543"/>
                <a:gd name="connsiteX483" fmla="*/ 175488 w 594561"/>
                <a:gd name="connsiteY483" fmla="*/ 327926 h 534543"/>
                <a:gd name="connsiteX484" fmla="*/ 173340 w 594561"/>
                <a:gd name="connsiteY484" fmla="*/ 325415 h 534543"/>
                <a:gd name="connsiteX485" fmla="*/ 156914 w 594561"/>
                <a:gd name="connsiteY485" fmla="*/ 313133 h 534543"/>
                <a:gd name="connsiteX486" fmla="*/ 157821 w 594561"/>
                <a:gd name="connsiteY486" fmla="*/ 315129 h 534543"/>
                <a:gd name="connsiteX487" fmla="*/ 158245 w 594561"/>
                <a:gd name="connsiteY487" fmla="*/ 315855 h 534543"/>
                <a:gd name="connsiteX488" fmla="*/ 157882 w 594561"/>
                <a:gd name="connsiteY488" fmla="*/ 316127 h 534543"/>
                <a:gd name="connsiteX489" fmla="*/ 157791 w 594561"/>
                <a:gd name="connsiteY489" fmla="*/ 316127 h 534543"/>
                <a:gd name="connsiteX490" fmla="*/ 157791 w 594561"/>
                <a:gd name="connsiteY490" fmla="*/ 316279 h 534543"/>
                <a:gd name="connsiteX491" fmla="*/ 157549 w 594561"/>
                <a:gd name="connsiteY491" fmla="*/ 316733 h 534543"/>
                <a:gd name="connsiteX492" fmla="*/ 159425 w 594561"/>
                <a:gd name="connsiteY492" fmla="*/ 318064 h 534543"/>
                <a:gd name="connsiteX493" fmla="*/ 162904 w 594561"/>
                <a:gd name="connsiteY493" fmla="*/ 322117 h 534543"/>
                <a:gd name="connsiteX494" fmla="*/ 165627 w 594561"/>
                <a:gd name="connsiteY494" fmla="*/ 324144 h 534543"/>
                <a:gd name="connsiteX495" fmla="*/ 167714 w 594561"/>
                <a:gd name="connsiteY495" fmla="*/ 326413 h 534543"/>
                <a:gd name="connsiteX496" fmla="*/ 169680 w 594561"/>
                <a:gd name="connsiteY496" fmla="*/ 327805 h 534543"/>
                <a:gd name="connsiteX497" fmla="*/ 170678 w 594561"/>
                <a:gd name="connsiteY497" fmla="*/ 326383 h 534543"/>
                <a:gd name="connsiteX498" fmla="*/ 170921 w 594561"/>
                <a:gd name="connsiteY498" fmla="*/ 326867 h 534543"/>
                <a:gd name="connsiteX499" fmla="*/ 171132 w 594561"/>
                <a:gd name="connsiteY499" fmla="*/ 327200 h 534543"/>
                <a:gd name="connsiteX500" fmla="*/ 171344 w 594561"/>
                <a:gd name="connsiteY500" fmla="*/ 327532 h 534543"/>
                <a:gd name="connsiteX501" fmla="*/ 171465 w 594561"/>
                <a:gd name="connsiteY501" fmla="*/ 328107 h 534543"/>
                <a:gd name="connsiteX502" fmla="*/ 172070 w 594561"/>
                <a:gd name="connsiteY502" fmla="*/ 328107 h 534543"/>
                <a:gd name="connsiteX503" fmla="*/ 173129 w 594561"/>
                <a:gd name="connsiteY503" fmla="*/ 327442 h 534543"/>
                <a:gd name="connsiteX504" fmla="*/ 174036 w 594561"/>
                <a:gd name="connsiteY504" fmla="*/ 328591 h 534543"/>
                <a:gd name="connsiteX505" fmla="*/ 175004 w 594561"/>
                <a:gd name="connsiteY505" fmla="*/ 330346 h 534543"/>
                <a:gd name="connsiteX506" fmla="*/ 136252 w 594561"/>
                <a:gd name="connsiteY506" fmla="*/ 314373 h 534543"/>
                <a:gd name="connsiteX507" fmla="*/ 135556 w 594561"/>
                <a:gd name="connsiteY507" fmla="*/ 314373 h 534543"/>
                <a:gd name="connsiteX508" fmla="*/ 134770 w 594561"/>
                <a:gd name="connsiteY508" fmla="*/ 314857 h 534543"/>
                <a:gd name="connsiteX509" fmla="*/ 134014 w 594561"/>
                <a:gd name="connsiteY509" fmla="*/ 314494 h 534543"/>
                <a:gd name="connsiteX510" fmla="*/ 133197 w 594561"/>
                <a:gd name="connsiteY510" fmla="*/ 313617 h 534543"/>
                <a:gd name="connsiteX511" fmla="*/ 132713 w 594561"/>
                <a:gd name="connsiteY511" fmla="*/ 312225 h 534543"/>
                <a:gd name="connsiteX512" fmla="*/ 132440 w 594561"/>
                <a:gd name="connsiteY512" fmla="*/ 314252 h 534543"/>
                <a:gd name="connsiteX513" fmla="*/ 134014 w 594561"/>
                <a:gd name="connsiteY513" fmla="*/ 315704 h 534543"/>
                <a:gd name="connsiteX514" fmla="*/ 136101 w 594561"/>
                <a:gd name="connsiteY514" fmla="*/ 316309 h 534543"/>
                <a:gd name="connsiteX515" fmla="*/ 137402 w 594561"/>
                <a:gd name="connsiteY515" fmla="*/ 315825 h 534543"/>
                <a:gd name="connsiteX516" fmla="*/ 136857 w 594561"/>
                <a:gd name="connsiteY516" fmla="*/ 314857 h 534543"/>
                <a:gd name="connsiteX517" fmla="*/ 136222 w 594561"/>
                <a:gd name="connsiteY517" fmla="*/ 314343 h 534543"/>
                <a:gd name="connsiteX518" fmla="*/ 170285 w 594561"/>
                <a:gd name="connsiteY518" fmla="*/ 347347 h 534543"/>
                <a:gd name="connsiteX519" fmla="*/ 172766 w 594561"/>
                <a:gd name="connsiteY519" fmla="*/ 346591 h 534543"/>
                <a:gd name="connsiteX520" fmla="*/ 172403 w 594561"/>
                <a:gd name="connsiteY520" fmla="*/ 345109 h 534543"/>
                <a:gd name="connsiteX521" fmla="*/ 165142 w 594561"/>
                <a:gd name="connsiteY521" fmla="*/ 340389 h 534543"/>
                <a:gd name="connsiteX522" fmla="*/ 162359 w 594561"/>
                <a:gd name="connsiteY522" fmla="*/ 336638 h 534543"/>
                <a:gd name="connsiteX523" fmla="*/ 162026 w 594561"/>
                <a:gd name="connsiteY523" fmla="*/ 336003 h 534543"/>
                <a:gd name="connsiteX524" fmla="*/ 160544 w 594561"/>
                <a:gd name="connsiteY524" fmla="*/ 335821 h 534543"/>
                <a:gd name="connsiteX525" fmla="*/ 159455 w 594561"/>
                <a:gd name="connsiteY525" fmla="*/ 335247 h 534543"/>
                <a:gd name="connsiteX526" fmla="*/ 154736 w 594561"/>
                <a:gd name="connsiteY526" fmla="*/ 330527 h 534543"/>
                <a:gd name="connsiteX527" fmla="*/ 153798 w 594561"/>
                <a:gd name="connsiteY527" fmla="*/ 329257 h 534543"/>
                <a:gd name="connsiteX528" fmla="*/ 153375 w 594561"/>
                <a:gd name="connsiteY528" fmla="*/ 327684 h 534543"/>
                <a:gd name="connsiteX529" fmla="*/ 153253 w 594561"/>
                <a:gd name="connsiteY529" fmla="*/ 325929 h 534543"/>
                <a:gd name="connsiteX530" fmla="*/ 152860 w 594561"/>
                <a:gd name="connsiteY530" fmla="*/ 324659 h 534543"/>
                <a:gd name="connsiteX531" fmla="*/ 152013 w 594561"/>
                <a:gd name="connsiteY531" fmla="*/ 323902 h 534543"/>
                <a:gd name="connsiteX532" fmla="*/ 150622 w 594561"/>
                <a:gd name="connsiteY532" fmla="*/ 323721 h 534543"/>
                <a:gd name="connsiteX533" fmla="*/ 150864 w 594561"/>
                <a:gd name="connsiteY533" fmla="*/ 323237 h 534543"/>
                <a:gd name="connsiteX534" fmla="*/ 151317 w 594561"/>
                <a:gd name="connsiteY534" fmla="*/ 321966 h 534543"/>
                <a:gd name="connsiteX535" fmla="*/ 149956 w 594561"/>
                <a:gd name="connsiteY535" fmla="*/ 322632 h 534543"/>
                <a:gd name="connsiteX536" fmla="*/ 149079 w 594561"/>
                <a:gd name="connsiteY536" fmla="*/ 322238 h 534543"/>
                <a:gd name="connsiteX537" fmla="*/ 148202 w 594561"/>
                <a:gd name="connsiteY537" fmla="*/ 321512 h 534543"/>
                <a:gd name="connsiteX538" fmla="*/ 146810 w 594561"/>
                <a:gd name="connsiteY538" fmla="*/ 321119 h 534543"/>
                <a:gd name="connsiteX539" fmla="*/ 145993 w 594561"/>
                <a:gd name="connsiteY539" fmla="*/ 320665 h 534543"/>
                <a:gd name="connsiteX540" fmla="*/ 145418 w 594561"/>
                <a:gd name="connsiteY540" fmla="*/ 319637 h 534543"/>
                <a:gd name="connsiteX541" fmla="*/ 144965 w 594561"/>
                <a:gd name="connsiteY541" fmla="*/ 318457 h 534543"/>
                <a:gd name="connsiteX542" fmla="*/ 144451 w 594561"/>
                <a:gd name="connsiteY542" fmla="*/ 317580 h 534543"/>
                <a:gd name="connsiteX543" fmla="*/ 138794 w 594561"/>
                <a:gd name="connsiteY543" fmla="*/ 313465 h 534543"/>
                <a:gd name="connsiteX544" fmla="*/ 136827 w 594561"/>
                <a:gd name="connsiteY544" fmla="*/ 311348 h 534543"/>
                <a:gd name="connsiteX545" fmla="*/ 136464 w 594561"/>
                <a:gd name="connsiteY545" fmla="*/ 311287 h 534543"/>
                <a:gd name="connsiteX546" fmla="*/ 136010 w 594561"/>
                <a:gd name="connsiteY546" fmla="*/ 311227 h 534543"/>
                <a:gd name="connsiteX547" fmla="*/ 135435 w 594561"/>
                <a:gd name="connsiteY547" fmla="*/ 311348 h 534543"/>
                <a:gd name="connsiteX548" fmla="*/ 136767 w 594561"/>
                <a:gd name="connsiteY548" fmla="*/ 313223 h 534543"/>
                <a:gd name="connsiteX549" fmla="*/ 137251 w 594561"/>
                <a:gd name="connsiteY549" fmla="*/ 314373 h 534543"/>
                <a:gd name="connsiteX550" fmla="*/ 137462 w 594561"/>
                <a:gd name="connsiteY550" fmla="*/ 315825 h 534543"/>
                <a:gd name="connsiteX551" fmla="*/ 146023 w 594561"/>
                <a:gd name="connsiteY551" fmla="*/ 324205 h 534543"/>
                <a:gd name="connsiteX552" fmla="*/ 148837 w 594561"/>
                <a:gd name="connsiteY552" fmla="*/ 325415 h 534543"/>
                <a:gd name="connsiteX553" fmla="*/ 150864 w 594561"/>
                <a:gd name="connsiteY553" fmla="*/ 327200 h 534543"/>
                <a:gd name="connsiteX554" fmla="*/ 154857 w 594561"/>
                <a:gd name="connsiteY554" fmla="*/ 335156 h 534543"/>
                <a:gd name="connsiteX555" fmla="*/ 157277 w 594561"/>
                <a:gd name="connsiteY555" fmla="*/ 337848 h 534543"/>
                <a:gd name="connsiteX556" fmla="*/ 161270 w 594561"/>
                <a:gd name="connsiteY556" fmla="*/ 343505 h 534543"/>
                <a:gd name="connsiteX557" fmla="*/ 162752 w 594561"/>
                <a:gd name="connsiteY557" fmla="*/ 345169 h 534543"/>
                <a:gd name="connsiteX558" fmla="*/ 164265 w 594561"/>
                <a:gd name="connsiteY558" fmla="*/ 346379 h 534543"/>
                <a:gd name="connsiteX559" fmla="*/ 167895 w 594561"/>
                <a:gd name="connsiteY559" fmla="*/ 348376 h 534543"/>
                <a:gd name="connsiteX560" fmla="*/ 168168 w 594561"/>
                <a:gd name="connsiteY560" fmla="*/ 348799 h 534543"/>
                <a:gd name="connsiteX561" fmla="*/ 169105 w 594561"/>
                <a:gd name="connsiteY561" fmla="*/ 349707 h 534543"/>
                <a:gd name="connsiteX562" fmla="*/ 170104 w 594561"/>
                <a:gd name="connsiteY562" fmla="*/ 350281 h 534543"/>
                <a:gd name="connsiteX563" fmla="*/ 170558 w 594561"/>
                <a:gd name="connsiteY563" fmla="*/ 349646 h 534543"/>
                <a:gd name="connsiteX564" fmla="*/ 170315 w 594561"/>
                <a:gd name="connsiteY564" fmla="*/ 348527 h 534543"/>
                <a:gd name="connsiteX565" fmla="*/ 169741 w 594561"/>
                <a:gd name="connsiteY565" fmla="*/ 348376 h 534543"/>
                <a:gd name="connsiteX566" fmla="*/ 168984 w 594561"/>
                <a:gd name="connsiteY566" fmla="*/ 348466 h 534543"/>
                <a:gd name="connsiteX567" fmla="*/ 168198 w 594561"/>
                <a:gd name="connsiteY567" fmla="*/ 347952 h 534543"/>
                <a:gd name="connsiteX568" fmla="*/ 167593 w 594561"/>
                <a:gd name="connsiteY568" fmla="*/ 347438 h 534543"/>
                <a:gd name="connsiteX569" fmla="*/ 165082 w 594561"/>
                <a:gd name="connsiteY569" fmla="*/ 345774 h 534543"/>
                <a:gd name="connsiteX570" fmla="*/ 164658 w 594561"/>
                <a:gd name="connsiteY570" fmla="*/ 345139 h 534543"/>
                <a:gd name="connsiteX571" fmla="*/ 164386 w 594561"/>
                <a:gd name="connsiteY571" fmla="*/ 344534 h 534543"/>
                <a:gd name="connsiteX572" fmla="*/ 163932 w 594561"/>
                <a:gd name="connsiteY572" fmla="*/ 344110 h 534543"/>
                <a:gd name="connsiteX573" fmla="*/ 165142 w 594561"/>
                <a:gd name="connsiteY573" fmla="*/ 343777 h 534543"/>
                <a:gd name="connsiteX574" fmla="*/ 170194 w 594561"/>
                <a:gd name="connsiteY574" fmla="*/ 347438 h 534543"/>
                <a:gd name="connsiteX575" fmla="*/ 126420 w 594561"/>
                <a:gd name="connsiteY575" fmla="*/ 296343 h 534543"/>
                <a:gd name="connsiteX576" fmla="*/ 125755 w 594561"/>
                <a:gd name="connsiteY576" fmla="*/ 296464 h 534543"/>
                <a:gd name="connsiteX577" fmla="*/ 125755 w 594561"/>
                <a:gd name="connsiteY577" fmla="*/ 297432 h 534543"/>
                <a:gd name="connsiteX578" fmla="*/ 125422 w 594561"/>
                <a:gd name="connsiteY578" fmla="*/ 297856 h 534543"/>
                <a:gd name="connsiteX579" fmla="*/ 124394 w 594561"/>
                <a:gd name="connsiteY579" fmla="*/ 297856 h 534543"/>
                <a:gd name="connsiteX580" fmla="*/ 124242 w 594561"/>
                <a:gd name="connsiteY580" fmla="*/ 298884 h 534543"/>
                <a:gd name="connsiteX581" fmla="*/ 125271 w 594561"/>
                <a:gd name="connsiteY581" fmla="*/ 300215 h 534543"/>
                <a:gd name="connsiteX582" fmla="*/ 126420 w 594561"/>
                <a:gd name="connsiteY582" fmla="*/ 300457 h 534543"/>
                <a:gd name="connsiteX583" fmla="*/ 127026 w 594561"/>
                <a:gd name="connsiteY583" fmla="*/ 299792 h 534543"/>
                <a:gd name="connsiteX584" fmla="*/ 127963 w 594561"/>
                <a:gd name="connsiteY584" fmla="*/ 299580 h 534543"/>
                <a:gd name="connsiteX585" fmla="*/ 129415 w 594561"/>
                <a:gd name="connsiteY585" fmla="*/ 299580 h 534543"/>
                <a:gd name="connsiteX586" fmla="*/ 129627 w 594561"/>
                <a:gd name="connsiteY586" fmla="*/ 298824 h 534543"/>
                <a:gd name="connsiteX587" fmla="*/ 127782 w 594561"/>
                <a:gd name="connsiteY587" fmla="*/ 297190 h 534543"/>
                <a:gd name="connsiteX588" fmla="*/ 126390 w 594561"/>
                <a:gd name="connsiteY588" fmla="*/ 296313 h 534543"/>
                <a:gd name="connsiteX589" fmla="*/ 111718 w 594561"/>
                <a:gd name="connsiteY589" fmla="*/ 290051 h 534543"/>
                <a:gd name="connsiteX590" fmla="*/ 109843 w 594561"/>
                <a:gd name="connsiteY590" fmla="*/ 289234 h 534543"/>
                <a:gd name="connsiteX591" fmla="*/ 110236 w 594561"/>
                <a:gd name="connsiteY591" fmla="*/ 290263 h 534543"/>
                <a:gd name="connsiteX592" fmla="*/ 114441 w 594561"/>
                <a:gd name="connsiteY592" fmla="*/ 293772 h 534543"/>
                <a:gd name="connsiteX593" fmla="*/ 116105 w 594561"/>
                <a:gd name="connsiteY593" fmla="*/ 294619 h 534543"/>
                <a:gd name="connsiteX594" fmla="*/ 116498 w 594561"/>
                <a:gd name="connsiteY594" fmla="*/ 294195 h 534543"/>
                <a:gd name="connsiteX595" fmla="*/ 114713 w 594561"/>
                <a:gd name="connsiteY595" fmla="*/ 291987 h 534543"/>
                <a:gd name="connsiteX596" fmla="*/ 111688 w 594561"/>
                <a:gd name="connsiteY596" fmla="*/ 290051 h 534543"/>
                <a:gd name="connsiteX597" fmla="*/ 130262 w 594561"/>
                <a:gd name="connsiteY597" fmla="*/ 285271 h 534543"/>
                <a:gd name="connsiteX598" fmla="*/ 130141 w 594561"/>
                <a:gd name="connsiteY598" fmla="*/ 284787 h 534543"/>
                <a:gd name="connsiteX599" fmla="*/ 130444 w 594561"/>
                <a:gd name="connsiteY599" fmla="*/ 283970 h 534543"/>
                <a:gd name="connsiteX600" fmla="*/ 130988 w 594561"/>
                <a:gd name="connsiteY600" fmla="*/ 282911 h 534543"/>
                <a:gd name="connsiteX601" fmla="*/ 130807 w 594561"/>
                <a:gd name="connsiteY601" fmla="*/ 281641 h 534543"/>
                <a:gd name="connsiteX602" fmla="*/ 129930 w 594561"/>
                <a:gd name="connsiteY602" fmla="*/ 280492 h 534543"/>
                <a:gd name="connsiteX603" fmla="*/ 128750 w 594561"/>
                <a:gd name="connsiteY603" fmla="*/ 279917 h 534543"/>
                <a:gd name="connsiteX604" fmla="*/ 127631 w 594561"/>
                <a:gd name="connsiteY604" fmla="*/ 280038 h 534543"/>
                <a:gd name="connsiteX605" fmla="*/ 127177 w 594561"/>
                <a:gd name="connsiteY605" fmla="*/ 280189 h 534543"/>
                <a:gd name="connsiteX606" fmla="*/ 126814 w 594561"/>
                <a:gd name="connsiteY606" fmla="*/ 280340 h 534543"/>
                <a:gd name="connsiteX607" fmla="*/ 127298 w 594561"/>
                <a:gd name="connsiteY607" fmla="*/ 284363 h 534543"/>
                <a:gd name="connsiteX608" fmla="*/ 126239 w 594561"/>
                <a:gd name="connsiteY608" fmla="*/ 285906 h 534543"/>
                <a:gd name="connsiteX609" fmla="*/ 126088 w 594561"/>
                <a:gd name="connsiteY609" fmla="*/ 286965 h 534543"/>
                <a:gd name="connsiteX610" fmla="*/ 127872 w 594561"/>
                <a:gd name="connsiteY610" fmla="*/ 288448 h 534543"/>
                <a:gd name="connsiteX611" fmla="*/ 128992 w 594561"/>
                <a:gd name="connsiteY611" fmla="*/ 289174 h 534543"/>
                <a:gd name="connsiteX612" fmla="*/ 130595 w 594561"/>
                <a:gd name="connsiteY612" fmla="*/ 289657 h 534543"/>
                <a:gd name="connsiteX613" fmla="*/ 131624 w 594561"/>
                <a:gd name="connsiteY613" fmla="*/ 288780 h 534543"/>
                <a:gd name="connsiteX614" fmla="*/ 131079 w 594561"/>
                <a:gd name="connsiteY614" fmla="*/ 286481 h 534543"/>
                <a:gd name="connsiteX615" fmla="*/ 130293 w 594561"/>
                <a:gd name="connsiteY615" fmla="*/ 285211 h 534543"/>
                <a:gd name="connsiteX616" fmla="*/ 74539 w 594561"/>
                <a:gd name="connsiteY616" fmla="*/ 248546 h 534543"/>
                <a:gd name="connsiteX617" fmla="*/ 73692 w 594561"/>
                <a:gd name="connsiteY617" fmla="*/ 251026 h 534543"/>
                <a:gd name="connsiteX618" fmla="*/ 73480 w 594561"/>
                <a:gd name="connsiteY618" fmla="*/ 251995 h 534543"/>
                <a:gd name="connsiteX619" fmla="*/ 73390 w 594561"/>
                <a:gd name="connsiteY619" fmla="*/ 253144 h 534543"/>
                <a:gd name="connsiteX620" fmla="*/ 74116 w 594561"/>
                <a:gd name="connsiteY620" fmla="*/ 253961 h 534543"/>
                <a:gd name="connsiteX621" fmla="*/ 75386 w 594561"/>
                <a:gd name="connsiteY621" fmla="*/ 254354 h 534543"/>
                <a:gd name="connsiteX622" fmla="*/ 76566 w 594561"/>
                <a:gd name="connsiteY622" fmla="*/ 255050 h 534543"/>
                <a:gd name="connsiteX623" fmla="*/ 77292 w 594561"/>
                <a:gd name="connsiteY623" fmla="*/ 254929 h 534543"/>
                <a:gd name="connsiteX624" fmla="*/ 76748 w 594561"/>
                <a:gd name="connsiteY624" fmla="*/ 253265 h 534543"/>
                <a:gd name="connsiteX625" fmla="*/ 76082 w 594561"/>
                <a:gd name="connsiteY625" fmla="*/ 252146 h 534543"/>
                <a:gd name="connsiteX626" fmla="*/ 75840 w 594561"/>
                <a:gd name="connsiteY626" fmla="*/ 251753 h 534543"/>
                <a:gd name="connsiteX627" fmla="*/ 75840 w 594561"/>
                <a:gd name="connsiteY627" fmla="*/ 251057 h 534543"/>
                <a:gd name="connsiteX628" fmla="*/ 76022 w 594561"/>
                <a:gd name="connsiteY628" fmla="*/ 250361 h 534543"/>
                <a:gd name="connsiteX629" fmla="*/ 75870 w 594561"/>
                <a:gd name="connsiteY629" fmla="*/ 249665 h 534543"/>
                <a:gd name="connsiteX630" fmla="*/ 75931 w 594561"/>
                <a:gd name="connsiteY630" fmla="*/ 249211 h 534543"/>
                <a:gd name="connsiteX631" fmla="*/ 76143 w 594561"/>
                <a:gd name="connsiteY631" fmla="*/ 249030 h 534543"/>
                <a:gd name="connsiteX632" fmla="*/ 76294 w 594561"/>
                <a:gd name="connsiteY632" fmla="*/ 248848 h 534543"/>
                <a:gd name="connsiteX633" fmla="*/ 77625 w 594561"/>
                <a:gd name="connsiteY633" fmla="*/ 248576 h 534543"/>
                <a:gd name="connsiteX634" fmla="*/ 78230 w 594561"/>
                <a:gd name="connsiteY634" fmla="*/ 247790 h 534543"/>
                <a:gd name="connsiteX635" fmla="*/ 78230 w 594561"/>
                <a:gd name="connsiteY635" fmla="*/ 246519 h 534543"/>
                <a:gd name="connsiteX636" fmla="*/ 76808 w 594561"/>
                <a:gd name="connsiteY636" fmla="*/ 246277 h 534543"/>
                <a:gd name="connsiteX637" fmla="*/ 74630 w 594561"/>
                <a:gd name="connsiteY637" fmla="*/ 248637 h 534543"/>
                <a:gd name="connsiteX638" fmla="*/ 126602 w 594561"/>
                <a:gd name="connsiteY638" fmla="*/ 248909 h 534543"/>
                <a:gd name="connsiteX639" fmla="*/ 137099 w 594561"/>
                <a:gd name="connsiteY639" fmla="*/ 260858 h 534543"/>
                <a:gd name="connsiteX640" fmla="*/ 138219 w 594561"/>
                <a:gd name="connsiteY640" fmla="*/ 261705 h 534543"/>
                <a:gd name="connsiteX641" fmla="*/ 138279 w 594561"/>
                <a:gd name="connsiteY641" fmla="*/ 262794 h 534543"/>
                <a:gd name="connsiteX642" fmla="*/ 141183 w 594561"/>
                <a:gd name="connsiteY642" fmla="*/ 266727 h 534543"/>
                <a:gd name="connsiteX643" fmla="*/ 142424 w 594561"/>
                <a:gd name="connsiteY643" fmla="*/ 268844 h 534543"/>
                <a:gd name="connsiteX644" fmla="*/ 141849 w 594561"/>
                <a:gd name="connsiteY644" fmla="*/ 269056 h 534543"/>
                <a:gd name="connsiteX645" fmla="*/ 140881 w 594561"/>
                <a:gd name="connsiteY645" fmla="*/ 269601 h 534543"/>
                <a:gd name="connsiteX646" fmla="*/ 140306 w 594561"/>
                <a:gd name="connsiteY646" fmla="*/ 269782 h 534543"/>
                <a:gd name="connsiteX647" fmla="*/ 140306 w 594561"/>
                <a:gd name="connsiteY647" fmla="*/ 270569 h 534543"/>
                <a:gd name="connsiteX648" fmla="*/ 145570 w 594561"/>
                <a:gd name="connsiteY648" fmla="*/ 273503 h 534543"/>
                <a:gd name="connsiteX649" fmla="*/ 146507 w 594561"/>
                <a:gd name="connsiteY649" fmla="*/ 273685 h 534543"/>
                <a:gd name="connsiteX650" fmla="*/ 152739 w 594561"/>
                <a:gd name="connsiteY650" fmla="*/ 278434 h 534543"/>
                <a:gd name="connsiteX651" fmla="*/ 154524 w 594561"/>
                <a:gd name="connsiteY651" fmla="*/ 281883 h 534543"/>
                <a:gd name="connsiteX652" fmla="*/ 155613 w 594561"/>
                <a:gd name="connsiteY652" fmla="*/ 283002 h 534543"/>
                <a:gd name="connsiteX653" fmla="*/ 156491 w 594561"/>
                <a:gd name="connsiteY653" fmla="*/ 283063 h 534543"/>
                <a:gd name="connsiteX654" fmla="*/ 158064 w 594561"/>
                <a:gd name="connsiteY654" fmla="*/ 282246 h 534543"/>
                <a:gd name="connsiteX655" fmla="*/ 159032 w 594561"/>
                <a:gd name="connsiteY655" fmla="*/ 282095 h 534543"/>
                <a:gd name="connsiteX656" fmla="*/ 159879 w 594561"/>
                <a:gd name="connsiteY656" fmla="*/ 282367 h 534543"/>
                <a:gd name="connsiteX657" fmla="*/ 162450 w 594561"/>
                <a:gd name="connsiteY657" fmla="*/ 283940 h 534543"/>
                <a:gd name="connsiteX658" fmla="*/ 161966 w 594561"/>
                <a:gd name="connsiteY658" fmla="*/ 284908 h 534543"/>
                <a:gd name="connsiteX659" fmla="*/ 161452 w 594561"/>
                <a:gd name="connsiteY659" fmla="*/ 285483 h 534543"/>
                <a:gd name="connsiteX660" fmla="*/ 160726 w 594561"/>
                <a:gd name="connsiteY660" fmla="*/ 285695 h 534543"/>
                <a:gd name="connsiteX661" fmla="*/ 159667 w 594561"/>
                <a:gd name="connsiteY661" fmla="*/ 285604 h 534543"/>
                <a:gd name="connsiteX662" fmla="*/ 160453 w 594561"/>
                <a:gd name="connsiteY662" fmla="*/ 287268 h 534543"/>
                <a:gd name="connsiteX663" fmla="*/ 160968 w 594561"/>
                <a:gd name="connsiteY663" fmla="*/ 287782 h 534543"/>
                <a:gd name="connsiteX664" fmla="*/ 161785 w 594561"/>
                <a:gd name="connsiteY664" fmla="*/ 288236 h 534543"/>
                <a:gd name="connsiteX665" fmla="*/ 161785 w 594561"/>
                <a:gd name="connsiteY665" fmla="*/ 289204 h 534543"/>
                <a:gd name="connsiteX666" fmla="*/ 160393 w 594561"/>
                <a:gd name="connsiteY666" fmla="*/ 289204 h 534543"/>
                <a:gd name="connsiteX667" fmla="*/ 160393 w 594561"/>
                <a:gd name="connsiteY667" fmla="*/ 290020 h 534543"/>
                <a:gd name="connsiteX668" fmla="*/ 161845 w 594561"/>
                <a:gd name="connsiteY668" fmla="*/ 291987 h 534543"/>
                <a:gd name="connsiteX669" fmla="*/ 163600 w 594561"/>
                <a:gd name="connsiteY669" fmla="*/ 293621 h 534543"/>
                <a:gd name="connsiteX670" fmla="*/ 165657 w 594561"/>
                <a:gd name="connsiteY670" fmla="*/ 294770 h 534543"/>
                <a:gd name="connsiteX671" fmla="*/ 167986 w 594561"/>
                <a:gd name="connsiteY671" fmla="*/ 295284 h 534543"/>
                <a:gd name="connsiteX672" fmla="*/ 167986 w 594561"/>
                <a:gd name="connsiteY672" fmla="*/ 294498 h 534543"/>
                <a:gd name="connsiteX673" fmla="*/ 163811 w 594561"/>
                <a:gd name="connsiteY673" fmla="*/ 291775 h 534543"/>
                <a:gd name="connsiteX674" fmla="*/ 163811 w 594561"/>
                <a:gd name="connsiteY674" fmla="*/ 290958 h 534543"/>
                <a:gd name="connsiteX675" fmla="*/ 166201 w 594561"/>
                <a:gd name="connsiteY675" fmla="*/ 291170 h 534543"/>
                <a:gd name="connsiteX676" fmla="*/ 170648 w 594561"/>
                <a:gd name="connsiteY676" fmla="*/ 292985 h 534543"/>
                <a:gd name="connsiteX677" fmla="*/ 172796 w 594561"/>
                <a:gd name="connsiteY677" fmla="*/ 293530 h 534543"/>
                <a:gd name="connsiteX678" fmla="*/ 172282 w 594561"/>
                <a:gd name="connsiteY678" fmla="*/ 293258 h 534543"/>
                <a:gd name="connsiteX679" fmla="*/ 171888 w 594561"/>
                <a:gd name="connsiteY679" fmla="*/ 292955 h 534543"/>
                <a:gd name="connsiteX680" fmla="*/ 171616 w 594561"/>
                <a:gd name="connsiteY680" fmla="*/ 292501 h 534543"/>
                <a:gd name="connsiteX681" fmla="*/ 171435 w 594561"/>
                <a:gd name="connsiteY681" fmla="*/ 291775 h 534543"/>
                <a:gd name="connsiteX682" fmla="*/ 173492 w 594561"/>
                <a:gd name="connsiteY682" fmla="*/ 291775 h 534543"/>
                <a:gd name="connsiteX683" fmla="*/ 172342 w 594561"/>
                <a:gd name="connsiteY683" fmla="*/ 290232 h 534543"/>
                <a:gd name="connsiteX684" fmla="*/ 170799 w 594561"/>
                <a:gd name="connsiteY684" fmla="*/ 288780 h 534543"/>
                <a:gd name="connsiteX685" fmla="*/ 169015 w 594561"/>
                <a:gd name="connsiteY685" fmla="*/ 287691 h 534543"/>
                <a:gd name="connsiteX686" fmla="*/ 167230 w 594561"/>
                <a:gd name="connsiteY686" fmla="*/ 287358 h 534543"/>
                <a:gd name="connsiteX687" fmla="*/ 167230 w 594561"/>
                <a:gd name="connsiteY687" fmla="*/ 286451 h 534543"/>
                <a:gd name="connsiteX688" fmla="*/ 169468 w 594561"/>
                <a:gd name="connsiteY688" fmla="*/ 287419 h 534543"/>
                <a:gd name="connsiteX689" fmla="*/ 171919 w 594561"/>
                <a:gd name="connsiteY689" fmla="*/ 289174 h 534543"/>
                <a:gd name="connsiteX690" fmla="*/ 174278 w 594561"/>
                <a:gd name="connsiteY690" fmla="*/ 290444 h 534543"/>
                <a:gd name="connsiteX691" fmla="*/ 176215 w 594561"/>
                <a:gd name="connsiteY691" fmla="*/ 289960 h 534543"/>
                <a:gd name="connsiteX692" fmla="*/ 174914 w 594561"/>
                <a:gd name="connsiteY692" fmla="*/ 288508 h 534543"/>
                <a:gd name="connsiteX693" fmla="*/ 172070 w 594561"/>
                <a:gd name="connsiteY693" fmla="*/ 286179 h 534543"/>
                <a:gd name="connsiteX694" fmla="*/ 170648 w 594561"/>
                <a:gd name="connsiteY694" fmla="*/ 284666 h 534543"/>
                <a:gd name="connsiteX695" fmla="*/ 168379 w 594561"/>
                <a:gd name="connsiteY695" fmla="*/ 283335 h 534543"/>
                <a:gd name="connsiteX696" fmla="*/ 159001 w 594561"/>
                <a:gd name="connsiteY696" fmla="*/ 274229 h 534543"/>
                <a:gd name="connsiteX697" fmla="*/ 154796 w 594561"/>
                <a:gd name="connsiteY697" fmla="*/ 272323 h 534543"/>
                <a:gd name="connsiteX698" fmla="*/ 155765 w 594561"/>
                <a:gd name="connsiteY698" fmla="*/ 275076 h 534543"/>
                <a:gd name="connsiteX699" fmla="*/ 157156 w 594561"/>
                <a:gd name="connsiteY699" fmla="*/ 277315 h 534543"/>
                <a:gd name="connsiteX700" fmla="*/ 158729 w 594561"/>
                <a:gd name="connsiteY700" fmla="*/ 279039 h 534543"/>
                <a:gd name="connsiteX701" fmla="*/ 160333 w 594561"/>
                <a:gd name="connsiteY701" fmla="*/ 280249 h 534543"/>
                <a:gd name="connsiteX702" fmla="*/ 155432 w 594561"/>
                <a:gd name="connsiteY702" fmla="*/ 277103 h 534543"/>
                <a:gd name="connsiteX703" fmla="*/ 147173 w 594561"/>
                <a:gd name="connsiteY703" fmla="*/ 266182 h 534543"/>
                <a:gd name="connsiteX704" fmla="*/ 141637 w 594561"/>
                <a:gd name="connsiteY704" fmla="*/ 263399 h 534543"/>
                <a:gd name="connsiteX705" fmla="*/ 141637 w 594561"/>
                <a:gd name="connsiteY705" fmla="*/ 262522 h 534543"/>
                <a:gd name="connsiteX706" fmla="*/ 143392 w 594561"/>
                <a:gd name="connsiteY706" fmla="*/ 262522 h 534543"/>
                <a:gd name="connsiteX707" fmla="*/ 144753 w 594561"/>
                <a:gd name="connsiteY707" fmla="*/ 263157 h 534543"/>
                <a:gd name="connsiteX708" fmla="*/ 145842 w 594561"/>
                <a:gd name="connsiteY708" fmla="*/ 263944 h 534543"/>
                <a:gd name="connsiteX709" fmla="*/ 147869 w 594561"/>
                <a:gd name="connsiteY709" fmla="*/ 264639 h 534543"/>
                <a:gd name="connsiteX710" fmla="*/ 152013 w 594561"/>
                <a:gd name="connsiteY710" fmla="*/ 266908 h 534543"/>
                <a:gd name="connsiteX711" fmla="*/ 151771 w 594561"/>
                <a:gd name="connsiteY711" fmla="*/ 267392 h 534543"/>
                <a:gd name="connsiteX712" fmla="*/ 151317 w 594561"/>
                <a:gd name="connsiteY712" fmla="*/ 268724 h 534543"/>
                <a:gd name="connsiteX713" fmla="*/ 153435 w 594561"/>
                <a:gd name="connsiteY713" fmla="*/ 268905 h 534543"/>
                <a:gd name="connsiteX714" fmla="*/ 156218 w 594561"/>
                <a:gd name="connsiteY714" fmla="*/ 271083 h 534543"/>
                <a:gd name="connsiteX715" fmla="*/ 158184 w 594561"/>
                <a:gd name="connsiteY715" fmla="*/ 271386 h 534543"/>
                <a:gd name="connsiteX716" fmla="*/ 156793 w 594561"/>
                <a:gd name="connsiteY716" fmla="*/ 269238 h 534543"/>
                <a:gd name="connsiteX717" fmla="*/ 155795 w 594561"/>
                <a:gd name="connsiteY717" fmla="*/ 267241 h 534543"/>
                <a:gd name="connsiteX718" fmla="*/ 154736 w 594561"/>
                <a:gd name="connsiteY718" fmla="*/ 265789 h 534543"/>
                <a:gd name="connsiteX719" fmla="*/ 150985 w 594561"/>
                <a:gd name="connsiteY719" fmla="*/ 264670 h 534543"/>
                <a:gd name="connsiteX720" fmla="*/ 149472 w 594561"/>
                <a:gd name="connsiteY720" fmla="*/ 263309 h 534543"/>
                <a:gd name="connsiteX721" fmla="*/ 147203 w 594561"/>
                <a:gd name="connsiteY721" fmla="*/ 259830 h 534543"/>
                <a:gd name="connsiteX722" fmla="*/ 144390 w 594561"/>
                <a:gd name="connsiteY722" fmla="*/ 257167 h 534543"/>
                <a:gd name="connsiteX723" fmla="*/ 140941 w 594561"/>
                <a:gd name="connsiteY723" fmla="*/ 255111 h 534543"/>
                <a:gd name="connsiteX724" fmla="*/ 138521 w 594561"/>
                <a:gd name="connsiteY724" fmla="*/ 255201 h 534543"/>
                <a:gd name="connsiteX725" fmla="*/ 138884 w 594561"/>
                <a:gd name="connsiteY725" fmla="*/ 259013 h 534543"/>
                <a:gd name="connsiteX726" fmla="*/ 135012 w 594561"/>
                <a:gd name="connsiteY726" fmla="*/ 256320 h 534543"/>
                <a:gd name="connsiteX727" fmla="*/ 128447 w 594561"/>
                <a:gd name="connsiteY727" fmla="*/ 247396 h 534543"/>
                <a:gd name="connsiteX728" fmla="*/ 124575 w 594561"/>
                <a:gd name="connsiteY728" fmla="*/ 243222 h 534543"/>
                <a:gd name="connsiteX729" fmla="*/ 124273 w 594561"/>
                <a:gd name="connsiteY729" fmla="*/ 243040 h 534543"/>
                <a:gd name="connsiteX730" fmla="*/ 123819 w 594561"/>
                <a:gd name="connsiteY730" fmla="*/ 243040 h 534543"/>
                <a:gd name="connsiteX731" fmla="*/ 124817 w 594561"/>
                <a:gd name="connsiteY731" fmla="*/ 245975 h 534543"/>
                <a:gd name="connsiteX732" fmla="*/ 126602 w 594561"/>
                <a:gd name="connsiteY732" fmla="*/ 248818 h 534543"/>
                <a:gd name="connsiteX733" fmla="*/ 94838 w 594561"/>
                <a:gd name="connsiteY733" fmla="*/ 260919 h 534543"/>
                <a:gd name="connsiteX734" fmla="*/ 91238 w 594561"/>
                <a:gd name="connsiteY734" fmla="*/ 256381 h 534543"/>
                <a:gd name="connsiteX735" fmla="*/ 90633 w 594561"/>
                <a:gd name="connsiteY735" fmla="*/ 255171 h 534543"/>
                <a:gd name="connsiteX736" fmla="*/ 90179 w 594561"/>
                <a:gd name="connsiteY736" fmla="*/ 251632 h 534543"/>
                <a:gd name="connsiteX737" fmla="*/ 89725 w 594561"/>
                <a:gd name="connsiteY737" fmla="*/ 249574 h 534543"/>
                <a:gd name="connsiteX738" fmla="*/ 89242 w 594561"/>
                <a:gd name="connsiteY738" fmla="*/ 248425 h 534543"/>
                <a:gd name="connsiteX739" fmla="*/ 89937 w 594561"/>
                <a:gd name="connsiteY739" fmla="*/ 245369 h 534543"/>
                <a:gd name="connsiteX740" fmla="*/ 88304 w 594561"/>
                <a:gd name="connsiteY740" fmla="*/ 243675 h 534543"/>
                <a:gd name="connsiteX741" fmla="*/ 85763 w 594561"/>
                <a:gd name="connsiteY741" fmla="*/ 242586 h 534543"/>
                <a:gd name="connsiteX742" fmla="*/ 83766 w 594561"/>
                <a:gd name="connsiteY742" fmla="*/ 241316 h 534543"/>
                <a:gd name="connsiteX743" fmla="*/ 83887 w 594561"/>
                <a:gd name="connsiteY743" fmla="*/ 243554 h 534543"/>
                <a:gd name="connsiteX744" fmla="*/ 84643 w 594561"/>
                <a:gd name="connsiteY744" fmla="*/ 247578 h 534543"/>
                <a:gd name="connsiteX745" fmla="*/ 85127 w 594561"/>
                <a:gd name="connsiteY745" fmla="*/ 249272 h 534543"/>
                <a:gd name="connsiteX746" fmla="*/ 87820 w 594561"/>
                <a:gd name="connsiteY746" fmla="*/ 253477 h 534543"/>
                <a:gd name="connsiteX747" fmla="*/ 88485 w 594561"/>
                <a:gd name="connsiteY747" fmla="*/ 256048 h 534543"/>
                <a:gd name="connsiteX748" fmla="*/ 86670 w 594561"/>
                <a:gd name="connsiteY748" fmla="*/ 258105 h 534543"/>
                <a:gd name="connsiteX749" fmla="*/ 87063 w 594561"/>
                <a:gd name="connsiteY749" fmla="*/ 258771 h 534543"/>
                <a:gd name="connsiteX750" fmla="*/ 87184 w 594561"/>
                <a:gd name="connsiteY750" fmla="*/ 259073 h 534543"/>
                <a:gd name="connsiteX751" fmla="*/ 86489 w 594561"/>
                <a:gd name="connsiteY751" fmla="*/ 259073 h 534543"/>
                <a:gd name="connsiteX752" fmla="*/ 86489 w 594561"/>
                <a:gd name="connsiteY752" fmla="*/ 259890 h 534543"/>
                <a:gd name="connsiteX753" fmla="*/ 87669 w 594561"/>
                <a:gd name="connsiteY753" fmla="*/ 260646 h 534543"/>
                <a:gd name="connsiteX754" fmla="*/ 88848 w 594561"/>
                <a:gd name="connsiteY754" fmla="*/ 260919 h 534543"/>
                <a:gd name="connsiteX755" fmla="*/ 89907 w 594561"/>
                <a:gd name="connsiteY755" fmla="*/ 260465 h 534543"/>
                <a:gd name="connsiteX756" fmla="*/ 90603 w 594561"/>
                <a:gd name="connsiteY756" fmla="*/ 259104 h 534543"/>
                <a:gd name="connsiteX757" fmla="*/ 92478 w 594561"/>
                <a:gd name="connsiteY757" fmla="*/ 259860 h 534543"/>
                <a:gd name="connsiteX758" fmla="*/ 94021 w 594561"/>
                <a:gd name="connsiteY758" fmla="*/ 261040 h 534543"/>
                <a:gd name="connsiteX759" fmla="*/ 96834 w 594561"/>
                <a:gd name="connsiteY759" fmla="*/ 264398 h 534543"/>
                <a:gd name="connsiteX760" fmla="*/ 96169 w 594561"/>
                <a:gd name="connsiteY760" fmla="*/ 264065 h 534543"/>
                <a:gd name="connsiteX761" fmla="*/ 94052 w 594561"/>
                <a:gd name="connsiteY761" fmla="*/ 263520 h 534543"/>
                <a:gd name="connsiteX762" fmla="*/ 94052 w 594561"/>
                <a:gd name="connsiteY762" fmla="*/ 264398 h 534543"/>
                <a:gd name="connsiteX763" fmla="*/ 95443 w 594561"/>
                <a:gd name="connsiteY763" fmla="*/ 265275 h 534543"/>
                <a:gd name="connsiteX764" fmla="*/ 98771 w 594561"/>
                <a:gd name="connsiteY764" fmla="*/ 269329 h 534543"/>
                <a:gd name="connsiteX765" fmla="*/ 101493 w 594561"/>
                <a:gd name="connsiteY765" fmla="*/ 271719 h 534543"/>
                <a:gd name="connsiteX766" fmla="*/ 103732 w 594561"/>
                <a:gd name="connsiteY766" fmla="*/ 271476 h 534543"/>
                <a:gd name="connsiteX767" fmla="*/ 102945 w 594561"/>
                <a:gd name="connsiteY767" fmla="*/ 268935 h 534543"/>
                <a:gd name="connsiteX768" fmla="*/ 94778 w 594561"/>
                <a:gd name="connsiteY768" fmla="*/ 260858 h 534543"/>
                <a:gd name="connsiteX769" fmla="*/ 125876 w 594561"/>
                <a:gd name="connsiteY769" fmla="*/ 236022 h 534543"/>
                <a:gd name="connsiteX770" fmla="*/ 124757 w 594561"/>
                <a:gd name="connsiteY770" fmla="*/ 234963 h 534543"/>
                <a:gd name="connsiteX771" fmla="*/ 124515 w 594561"/>
                <a:gd name="connsiteY771" fmla="*/ 234358 h 534543"/>
                <a:gd name="connsiteX772" fmla="*/ 124515 w 594561"/>
                <a:gd name="connsiteY772" fmla="*/ 233360 h 534543"/>
                <a:gd name="connsiteX773" fmla="*/ 127782 w 594561"/>
                <a:gd name="connsiteY773" fmla="*/ 235689 h 534543"/>
                <a:gd name="connsiteX774" fmla="*/ 132652 w 594561"/>
                <a:gd name="connsiteY774" fmla="*/ 240832 h 534543"/>
                <a:gd name="connsiteX775" fmla="*/ 135496 w 594561"/>
                <a:gd name="connsiteY775" fmla="*/ 243100 h 534543"/>
                <a:gd name="connsiteX776" fmla="*/ 136434 w 594561"/>
                <a:gd name="connsiteY776" fmla="*/ 241255 h 534543"/>
                <a:gd name="connsiteX777" fmla="*/ 135647 w 594561"/>
                <a:gd name="connsiteY777" fmla="*/ 238654 h 534543"/>
                <a:gd name="connsiteX778" fmla="*/ 132743 w 594561"/>
                <a:gd name="connsiteY778" fmla="*/ 234207 h 534543"/>
                <a:gd name="connsiteX779" fmla="*/ 131624 w 594561"/>
                <a:gd name="connsiteY779" fmla="*/ 233209 h 534543"/>
                <a:gd name="connsiteX780" fmla="*/ 129204 w 594561"/>
                <a:gd name="connsiteY780" fmla="*/ 231908 h 534543"/>
                <a:gd name="connsiteX781" fmla="*/ 125241 w 594561"/>
                <a:gd name="connsiteY781" fmla="*/ 228308 h 534543"/>
                <a:gd name="connsiteX782" fmla="*/ 124484 w 594561"/>
                <a:gd name="connsiteY782" fmla="*/ 227824 h 534543"/>
                <a:gd name="connsiteX783" fmla="*/ 124484 w 594561"/>
                <a:gd name="connsiteY783" fmla="*/ 227037 h 534543"/>
                <a:gd name="connsiteX784" fmla="*/ 126057 w 594561"/>
                <a:gd name="connsiteY784" fmla="*/ 225857 h 534543"/>
                <a:gd name="connsiteX785" fmla="*/ 125755 w 594561"/>
                <a:gd name="connsiteY785" fmla="*/ 224526 h 534543"/>
                <a:gd name="connsiteX786" fmla="*/ 124333 w 594561"/>
                <a:gd name="connsiteY786" fmla="*/ 223558 h 534543"/>
                <a:gd name="connsiteX787" fmla="*/ 122427 w 594561"/>
                <a:gd name="connsiteY787" fmla="*/ 223407 h 534543"/>
                <a:gd name="connsiteX788" fmla="*/ 122851 w 594561"/>
                <a:gd name="connsiteY788" fmla="*/ 224738 h 534543"/>
                <a:gd name="connsiteX789" fmla="*/ 123123 w 594561"/>
                <a:gd name="connsiteY789" fmla="*/ 225283 h 534543"/>
                <a:gd name="connsiteX790" fmla="*/ 121096 w 594561"/>
                <a:gd name="connsiteY790" fmla="*/ 224677 h 534543"/>
                <a:gd name="connsiteX791" fmla="*/ 118979 w 594561"/>
                <a:gd name="connsiteY791" fmla="*/ 224375 h 534543"/>
                <a:gd name="connsiteX792" fmla="*/ 119402 w 594561"/>
                <a:gd name="connsiteY792" fmla="*/ 225736 h 534543"/>
                <a:gd name="connsiteX793" fmla="*/ 119644 w 594561"/>
                <a:gd name="connsiteY793" fmla="*/ 226160 h 534543"/>
                <a:gd name="connsiteX794" fmla="*/ 121006 w 594561"/>
                <a:gd name="connsiteY794" fmla="*/ 227037 h 534543"/>
                <a:gd name="connsiteX795" fmla="*/ 121852 w 594561"/>
                <a:gd name="connsiteY795" fmla="*/ 228126 h 534543"/>
                <a:gd name="connsiteX796" fmla="*/ 123123 w 594561"/>
                <a:gd name="connsiteY796" fmla="*/ 230667 h 534543"/>
                <a:gd name="connsiteX797" fmla="*/ 122427 w 594561"/>
                <a:gd name="connsiteY797" fmla="*/ 230667 h 534543"/>
                <a:gd name="connsiteX798" fmla="*/ 122004 w 594561"/>
                <a:gd name="connsiteY798" fmla="*/ 230093 h 534543"/>
                <a:gd name="connsiteX799" fmla="*/ 120370 w 594561"/>
                <a:gd name="connsiteY799" fmla="*/ 228792 h 534543"/>
                <a:gd name="connsiteX800" fmla="*/ 120582 w 594561"/>
                <a:gd name="connsiteY800" fmla="*/ 229548 h 534543"/>
                <a:gd name="connsiteX801" fmla="*/ 120582 w 594561"/>
                <a:gd name="connsiteY801" fmla="*/ 229941 h 534543"/>
                <a:gd name="connsiteX802" fmla="*/ 120673 w 594561"/>
                <a:gd name="connsiteY802" fmla="*/ 230214 h 534543"/>
                <a:gd name="connsiteX803" fmla="*/ 121006 w 594561"/>
                <a:gd name="connsiteY803" fmla="*/ 230667 h 534543"/>
                <a:gd name="connsiteX804" fmla="*/ 121006 w 594561"/>
                <a:gd name="connsiteY804" fmla="*/ 231484 h 534543"/>
                <a:gd name="connsiteX805" fmla="*/ 119916 w 594561"/>
                <a:gd name="connsiteY805" fmla="*/ 230970 h 534543"/>
                <a:gd name="connsiteX806" fmla="*/ 118707 w 594561"/>
                <a:gd name="connsiteY806" fmla="*/ 230667 h 534543"/>
                <a:gd name="connsiteX807" fmla="*/ 117466 w 594561"/>
                <a:gd name="connsiteY807" fmla="*/ 230577 h 534543"/>
                <a:gd name="connsiteX808" fmla="*/ 116195 w 594561"/>
                <a:gd name="connsiteY808" fmla="*/ 230667 h 534543"/>
                <a:gd name="connsiteX809" fmla="*/ 120370 w 594561"/>
                <a:gd name="connsiteY809" fmla="*/ 235024 h 534543"/>
                <a:gd name="connsiteX810" fmla="*/ 121429 w 594561"/>
                <a:gd name="connsiteY810" fmla="*/ 234691 h 534543"/>
                <a:gd name="connsiteX811" fmla="*/ 122941 w 594561"/>
                <a:gd name="connsiteY811" fmla="*/ 234691 h 534543"/>
                <a:gd name="connsiteX812" fmla="*/ 124545 w 594561"/>
                <a:gd name="connsiteY812" fmla="*/ 235144 h 534543"/>
                <a:gd name="connsiteX813" fmla="*/ 125876 w 594561"/>
                <a:gd name="connsiteY813" fmla="*/ 236022 h 534543"/>
                <a:gd name="connsiteX814" fmla="*/ 101796 w 594561"/>
                <a:gd name="connsiteY814" fmla="*/ 251026 h 534543"/>
                <a:gd name="connsiteX815" fmla="*/ 101161 w 594561"/>
                <a:gd name="connsiteY815" fmla="*/ 250603 h 534543"/>
                <a:gd name="connsiteX816" fmla="*/ 101100 w 594561"/>
                <a:gd name="connsiteY816" fmla="*/ 249574 h 534543"/>
                <a:gd name="connsiteX817" fmla="*/ 101705 w 594561"/>
                <a:gd name="connsiteY817" fmla="*/ 248425 h 534543"/>
                <a:gd name="connsiteX818" fmla="*/ 100435 w 594561"/>
                <a:gd name="connsiteY818" fmla="*/ 246338 h 534543"/>
                <a:gd name="connsiteX819" fmla="*/ 98861 w 594561"/>
                <a:gd name="connsiteY819" fmla="*/ 244523 h 534543"/>
                <a:gd name="connsiteX820" fmla="*/ 97500 w 594561"/>
                <a:gd name="connsiteY820" fmla="*/ 242465 h 534543"/>
                <a:gd name="connsiteX821" fmla="*/ 96895 w 594561"/>
                <a:gd name="connsiteY821" fmla="*/ 239622 h 534543"/>
                <a:gd name="connsiteX822" fmla="*/ 97046 w 594561"/>
                <a:gd name="connsiteY822" fmla="*/ 238018 h 534543"/>
                <a:gd name="connsiteX823" fmla="*/ 97682 w 594561"/>
                <a:gd name="connsiteY823" fmla="*/ 236385 h 534543"/>
                <a:gd name="connsiteX824" fmla="*/ 97591 w 594561"/>
                <a:gd name="connsiteY824" fmla="*/ 234993 h 534543"/>
                <a:gd name="connsiteX825" fmla="*/ 97228 w 594561"/>
                <a:gd name="connsiteY825" fmla="*/ 233965 h 534543"/>
                <a:gd name="connsiteX826" fmla="*/ 95988 w 594561"/>
                <a:gd name="connsiteY826" fmla="*/ 232059 h 534543"/>
                <a:gd name="connsiteX827" fmla="*/ 95473 w 594561"/>
                <a:gd name="connsiteY827" fmla="*/ 230637 h 534543"/>
                <a:gd name="connsiteX828" fmla="*/ 96956 w 594561"/>
                <a:gd name="connsiteY828" fmla="*/ 229850 h 534543"/>
                <a:gd name="connsiteX829" fmla="*/ 96774 w 594561"/>
                <a:gd name="connsiteY829" fmla="*/ 227703 h 534543"/>
                <a:gd name="connsiteX830" fmla="*/ 95473 w 594561"/>
                <a:gd name="connsiteY830" fmla="*/ 223861 h 534543"/>
                <a:gd name="connsiteX831" fmla="*/ 95110 w 594561"/>
                <a:gd name="connsiteY831" fmla="*/ 219595 h 534543"/>
                <a:gd name="connsiteX832" fmla="*/ 95262 w 594561"/>
                <a:gd name="connsiteY832" fmla="*/ 217750 h 534543"/>
                <a:gd name="connsiteX833" fmla="*/ 96199 w 594561"/>
                <a:gd name="connsiteY833" fmla="*/ 215481 h 534543"/>
                <a:gd name="connsiteX834" fmla="*/ 95473 w 594561"/>
                <a:gd name="connsiteY834" fmla="*/ 214574 h 534543"/>
                <a:gd name="connsiteX835" fmla="*/ 96532 w 594561"/>
                <a:gd name="connsiteY835" fmla="*/ 212789 h 534543"/>
                <a:gd name="connsiteX836" fmla="*/ 97379 w 594561"/>
                <a:gd name="connsiteY836" fmla="*/ 210429 h 534543"/>
                <a:gd name="connsiteX837" fmla="*/ 97621 w 594561"/>
                <a:gd name="connsiteY837" fmla="*/ 208160 h 534543"/>
                <a:gd name="connsiteX838" fmla="*/ 96865 w 594561"/>
                <a:gd name="connsiteY838" fmla="*/ 206557 h 534543"/>
                <a:gd name="connsiteX839" fmla="*/ 95625 w 594561"/>
                <a:gd name="connsiteY839" fmla="*/ 206013 h 534543"/>
                <a:gd name="connsiteX840" fmla="*/ 93295 w 594561"/>
                <a:gd name="connsiteY840" fmla="*/ 205710 h 534543"/>
                <a:gd name="connsiteX841" fmla="*/ 91964 w 594561"/>
                <a:gd name="connsiteY841" fmla="*/ 204712 h 534543"/>
                <a:gd name="connsiteX842" fmla="*/ 91420 w 594561"/>
                <a:gd name="connsiteY842" fmla="*/ 203955 h 534543"/>
                <a:gd name="connsiteX843" fmla="*/ 88969 w 594561"/>
                <a:gd name="connsiteY843" fmla="*/ 199327 h 534543"/>
                <a:gd name="connsiteX844" fmla="*/ 87154 w 594561"/>
                <a:gd name="connsiteY844" fmla="*/ 194547 h 534543"/>
                <a:gd name="connsiteX845" fmla="*/ 86489 w 594561"/>
                <a:gd name="connsiteY845" fmla="*/ 192187 h 534543"/>
                <a:gd name="connsiteX846" fmla="*/ 86246 w 594561"/>
                <a:gd name="connsiteY846" fmla="*/ 189041 h 534543"/>
                <a:gd name="connsiteX847" fmla="*/ 86610 w 594561"/>
                <a:gd name="connsiteY847" fmla="*/ 183808 h 534543"/>
                <a:gd name="connsiteX848" fmla="*/ 85823 w 594561"/>
                <a:gd name="connsiteY848" fmla="*/ 182295 h 534543"/>
                <a:gd name="connsiteX849" fmla="*/ 83373 w 594561"/>
                <a:gd name="connsiteY849" fmla="*/ 181418 h 534543"/>
                <a:gd name="connsiteX850" fmla="*/ 81527 w 594561"/>
                <a:gd name="connsiteY850" fmla="*/ 181872 h 534543"/>
                <a:gd name="connsiteX851" fmla="*/ 80136 w 594561"/>
                <a:gd name="connsiteY851" fmla="*/ 183203 h 534543"/>
                <a:gd name="connsiteX852" fmla="*/ 79017 w 594561"/>
                <a:gd name="connsiteY852" fmla="*/ 184957 h 534543"/>
                <a:gd name="connsiteX853" fmla="*/ 77897 w 594561"/>
                <a:gd name="connsiteY853" fmla="*/ 187680 h 534543"/>
                <a:gd name="connsiteX854" fmla="*/ 77988 w 594561"/>
                <a:gd name="connsiteY854" fmla="*/ 189586 h 534543"/>
                <a:gd name="connsiteX855" fmla="*/ 78896 w 594561"/>
                <a:gd name="connsiteY855" fmla="*/ 191189 h 534543"/>
                <a:gd name="connsiteX856" fmla="*/ 84250 w 594561"/>
                <a:gd name="connsiteY856" fmla="*/ 197118 h 534543"/>
                <a:gd name="connsiteX857" fmla="*/ 84855 w 594561"/>
                <a:gd name="connsiteY857" fmla="*/ 198177 h 534543"/>
                <a:gd name="connsiteX858" fmla="*/ 87880 w 594561"/>
                <a:gd name="connsiteY858" fmla="*/ 206103 h 534543"/>
                <a:gd name="connsiteX859" fmla="*/ 89362 w 594561"/>
                <a:gd name="connsiteY859" fmla="*/ 208372 h 534543"/>
                <a:gd name="connsiteX860" fmla="*/ 91359 w 594561"/>
                <a:gd name="connsiteY860" fmla="*/ 210066 h 534543"/>
                <a:gd name="connsiteX861" fmla="*/ 90633 w 594561"/>
                <a:gd name="connsiteY861" fmla="*/ 210943 h 534543"/>
                <a:gd name="connsiteX862" fmla="*/ 89242 w 594561"/>
                <a:gd name="connsiteY862" fmla="*/ 209552 h 534543"/>
                <a:gd name="connsiteX863" fmla="*/ 89121 w 594561"/>
                <a:gd name="connsiteY863" fmla="*/ 210853 h 534543"/>
                <a:gd name="connsiteX864" fmla="*/ 89605 w 594561"/>
                <a:gd name="connsiteY864" fmla="*/ 212879 h 534543"/>
                <a:gd name="connsiteX865" fmla="*/ 89968 w 594561"/>
                <a:gd name="connsiteY865" fmla="*/ 213605 h 534543"/>
                <a:gd name="connsiteX866" fmla="*/ 89544 w 594561"/>
                <a:gd name="connsiteY866" fmla="*/ 215481 h 534543"/>
                <a:gd name="connsiteX867" fmla="*/ 88969 w 594561"/>
                <a:gd name="connsiteY867" fmla="*/ 216237 h 534543"/>
                <a:gd name="connsiteX868" fmla="*/ 87941 w 594561"/>
                <a:gd name="connsiteY868" fmla="*/ 216358 h 534543"/>
                <a:gd name="connsiteX869" fmla="*/ 86186 w 594561"/>
                <a:gd name="connsiteY869" fmla="*/ 216298 h 534543"/>
                <a:gd name="connsiteX870" fmla="*/ 85248 w 594561"/>
                <a:gd name="connsiteY870" fmla="*/ 215723 h 534543"/>
                <a:gd name="connsiteX871" fmla="*/ 83433 w 594561"/>
                <a:gd name="connsiteY871" fmla="*/ 213212 h 534543"/>
                <a:gd name="connsiteX872" fmla="*/ 82707 w 594561"/>
                <a:gd name="connsiteY872" fmla="*/ 212668 h 534543"/>
                <a:gd name="connsiteX873" fmla="*/ 80317 w 594561"/>
                <a:gd name="connsiteY873" fmla="*/ 211760 h 534543"/>
                <a:gd name="connsiteX874" fmla="*/ 79410 w 594561"/>
                <a:gd name="connsiteY874" fmla="*/ 212153 h 534543"/>
                <a:gd name="connsiteX875" fmla="*/ 80317 w 594561"/>
                <a:gd name="connsiteY875" fmla="*/ 214513 h 534543"/>
                <a:gd name="connsiteX876" fmla="*/ 79803 w 594561"/>
                <a:gd name="connsiteY876" fmla="*/ 215360 h 534543"/>
                <a:gd name="connsiteX877" fmla="*/ 79682 w 594561"/>
                <a:gd name="connsiteY877" fmla="*/ 215723 h 534543"/>
                <a:gd name="connsiteX878" fmla="*/ 79591 w 594561"/>
                <a:gd name="connsiteY878" fmla="*/ 216328 h 534543"/>
                <a:gd name="connsiteX879" fmla="*/ 81618 w 594561"/>
                <a:gd name="connsiteY879" fmla="*/ 218264 h 534543"/>
                <a:gd name="connsiteX880" fmla="*/ 83191 w 594561"/>
                <a:gd name="connsiteY880" fmla="*/ 226069 h 534543"/>
                <a:gd name="connsiteX881" fmla="*/ 84825 w 594561"/>
                <a:gd name="connsiteY881" fmla="*/ 227824 h 534543"/>
                <a:gd name="connsiteX882" fmla="*/ 85883 w 594561"/>
                <a:gd name="connsiteY882" fmla="*/ 227915 h 534543"/>
                <a:gd name="connsiteX883" fmla="*/ 86398 w 594561"/>
                <a:gd name="connsiteY883" fmla="*/ 228429 h 534543"/>
                <a:gd name="connsiteX884" fmla="*/ 86549 w 594561"/>
                <a:gd name="connsiteY884" fmla="*/ 229669 h 534543"/>
                <a:gd name="connsiteX885" fmla="*/ 86670 w 594561"/>
                <a:gd name="connsiteY885" fmla="*/ 233844 h 534543"/>
                <a:gd name="connsiteX886" fmla="*/ 87063 w 594561"/>
                <a:gd name="connsiteY886" fmla="*/ 235568 h 534543"/>
                <a:gd name="connsiteX887" fmla="*/ 87699 w 594561"/>
                <a:gd name="connsiteY887" fmla="*/ 236506 h 534543"/>
                <a:gd name="connsiteX888" fmla="*/ 88606 w 594561"/>
                <a:gd name="connsiteY888" fmla="*/ 235991 h 534543"/>
                <a:gd name="connsiteX889" fmla="*/ 88999 w 594561"/>
                <a:gd name="connsiteY889" fmla="*/ 236234 h 534543"/>
                <a:gd name="connsiteX890" fmla="*/ 89242 w 594561"/>
                <a:gd name="connsiteY890" fmla="*/ 236445 h 534543"/>
                <a:gd name="connsiteX891" fmla="*/ 89514 w 594561"/>
                <a:gd name="connsiteY891" fmla="*/ 236657 h 534543"/>
                <a:gd name="connsiteX892" fmla="*/ 89968 w 594561"/>
                <a:gd name="connsiteY892" fmla="*/ 236778 h 534543"/>
                <a:gd name="connsiteX893" fmla="*/ 89695 w 594561"/>
                <a:gd name="connsiteY893" fmla="*/ 242496 h 534543"/>
                <a:gd name="connsiteX894" fmla="*/ 93053 w 594561"/>
                <a:gd name="connsiteY894" fmla="*/ 249121 h 534543"/>
                <a:gd name="connsiteX895" fmla="*/ 97591 w 594561"/>
                <a:gd name="connsiteY895" fmla="*/ 253840 h 534543"/>
                <a:gd name="connsiteX896" fmla="*/ 100525 w 594561"/>
                <a:gd name="connsiteY896" fmla="*/ 253840 h 534543"/>
                <a:gd name="connsiteX897" fmla="*/ 101645 w 594561"/>
                <a:gd name="connsiteY897" fmla="*/ 254022 h 534543"/>
                <a:gd name="connsiteX898" fmla="*/ 102340 w 594561"/>
                <a:gd name="connsiteY898" fmla="*/ 253688 h 534543"/>
                <a:gd name="connsiteX899" fmla="*/ 103066 w 594561"/>
                <a:gd name="connsiteY899" fmla="*/ 252962 h 534543"/>
                <a:gd name="connsiteX900" fmla="*/ 103762 w 594561"/>
                <a:gd name="connsiteY900" fmla="*/ 252025 h 534543"/>
                <a:gd name="connsiteX901" fmla="*/ 103066 w 594561"/>
                <a:gd name="connsiteY901" fmla="*/ 250240 h 534543"/>
                <a:gd name="connsiteX902" fmla="*/ 101796 w 594561"/>
                <a:gd name="connsiteY902" fmla="*/ 250996 h 534543"/>
                <a:gd name="connsiteX903" fmla="*/ 110690 w 594561"/>
                <a:gd name="connsiteY903" fmla="*/ 200265 h 534543"/>
                <a:gd name="connsiteX904" fmla="*/ 110690 w 594561"/>
                <a:gd name="connsiteY904" fmla="*/ 199387 h 534543"/>
                <a:gd name="connsiteX905" fmla="*/ 112444 w 594561"/>
                <a:gd name="connsiteY905" fmla="*/ 198510 h 534543"/>
                <a:gd name="connsiteX906" fmla="*/ 112989 w 594561"/>
                <a:gd name="connsiteY906" fmla="*/ 199599 h 534543"/>
                <a:gd name="connsiteX907" fmla="*/ 112747 w 594561"/>
                <a:gd name="connsiteY907" fmla="*/ 204288 h 534543"/>
                <a:gd name="connsiteX908" fmla="*/ 112807 w 594561"/>
                <a:gd name="connsiteY908" fmla="*/ 206376 h 534543"/>
                <a:gd name="connsiteX909" fmla="*/ 113261 w 594561"/>
                <a:gd name="connsiteY909" fmla="*/ 207313 h 534543"/>
                <a:gd name="connsiteX910" fmla="*/ 116165 w 594561"/>
                <a:gd name="connsiteY910" fmla="*/ 208372 h 534543"/>
                <a:gd name="connsiteX911" fmla="*/ 121036 w 594561"/>
                <a:gd name="connsiteY911" fmla="*/ 211397 h 534543"/>
                <a:gd name="connsiteX912" fmla="*/ 122760 w 594561"/>
                <a:gd name="connsiteY912" fmla="*/ 211821 h 534543"/>
                <a:gd name="connsiteX913" fmla="*/ 124636 w 594561"/>
                <a:gd name="connsiteY913" fmla="*/ 211639 h 534543"/>
                <a:gd name="connsiteX914" fmla="*/ 126118 w 594561"/>
                <a:gd name="connsiteY914" fmla="*/ 211125 h 534543"/>
                <a:gd name="connsiteX915" fmla="*/ 126511 w 594561"/>
                <a:gd name="connsiteY915" fmla="*/ 210278 h 534543"/>
                <a:gd name="connsiteX916" fmla="*/ 125150 w 594561"/>
                <a:gd name="connsiteY916" fmla="*/ 209158 h 534543"/>
                <a:gd name="connsiteX917" fmla="*/ 125150 w 594561"/>
                <a:gd name="connsiteY917" fmla="*/ 208342 h 534543"/>
                <a:gd name="connsiteX918" fmla="*/ 126511 w 594561"/>
                <a:gd name="connsiteY918" fmla="*/ 207374 h 534543"/>
                <a:gd name="connsiteX919" fmla="*/ 127661 w 594561"/>
                <a:gd name="connsiteY919" fmla="*/ 208160 h 534543"/>
                <a:gd name="connsiteX920" fmla="*/ 128932 w 594561"/>
                <a:gd name="connsiteY920" fmla="*/ 208432 h 534543"/>
                <a:gd name="connsiteX921" fmla="*/ 130202 w 594561"/>
                <a:gd name="connsiteY921" fmla="*/ 208160 h 534543"/>
                <a:gd name="connsiteX922" fmla="*/ 131382 w 594561"/>
                <a:gd name="connsiteY922" fmla="*/ 207374 h 534543"/>
                <a:gd name="connsiteX923" fmla="*/ 132017 w 594561"/>
                <a:gd name="connsiteY923" fmla="*/ 207374 h 534543"/>
                <a:gd name="connsiteX924" fmla="*/ 130474 w 594561"/>
                <a:gd name="connsiteY924" fmla="*/ 203774 h 534543"/>
                <a:gd name="connsiteX925" fmla="*/ 124454 w 594561"/>
                <a:gd name="connsiteY925" fmla="*/ 198661 h 534543"/>
                <a:gd name="connsiteX926" fmla="*/ 124454 w 594561"/>
                <a:gd name="connsiteY926" fmla="*/ 194910 h 534543"/>
                <a:gd name="connsiteX927" fmla="*/ 120007 w 594561"/>
                <a:gd name="connsiteY927" fmla="*/ 194910 h 534543"/>
                <a:gd name="connsiteX928" fmla="*/ 118192 w 594561"/>
                <a:gd name="connsiteY928" fmla="*/ 194335 h 534543"/>
                <a:gd name="connsiteX929" fmla="*/ 116921 w 594561"/>
                <a:gd name="connsiteY929" fmla="*/ 193035 h 534543"/>
                <a:gd name="connsiteX930" fmla="*/ 116286 w 594561"/>
                <a:gd name="connsiteY930" fmla="*/ 190282 h 534543"/>
                <a:gd name="connsiteX931" fmla="*/ 117496 w 594561"/>
                <a:gd name="connsiteY931" fmla="*/ 185683 h 534543"/>
                <a:gd name="connsiteX932" fmla="*/ 116921 w 594561"/>
                <a:gd name="connsiteY932" fmla="*/ 183294 h 534543"/>
                <a:gd name="connsiteX933" fmla="*/ 114774 w 594561"/>
                <a:gd name="connsiteY933" fmla="*/ 183929 h 534543"/>
                <a:gd name="connsiteX934" fmla="*/ 111627 w 594561"/>
                <a:gd name="connsiteY934" fmla="*/ 183626 h 534543"/>
                <a:gd name="connsiteX935" fmla="*/ 110085 w 594561"/>
                <a:gd name="connsiteY935" fmla="*/ 182688 h 534543"/>
                <a:gd name="connsiteX936" fmla="*/ 112747 w 594561"/>
                <a:gd name="connsiteY936" fmla="*/ 181509 h 534543"/>
                <a:gd name="connsiteX937" fmla="*/ 111416 w 594561"/>
                <a:gd name="connsiteY937" fmla="*/ 178544 h 534543"/>
                <a:gd name="connsiteX938" fmla="*/ 109934 w 594561"/>
                <a:gd name="connsiteY938" fmla="*/ 176124 h 534543"/>
                <a:gd name="connsiteX939" fmla="*/ 109480 w 594561"/>
                <a:gd name="connsiteY939" fmla="*/ 175701 h 534543"/>
                <a:gd name="connsiteX940" fmla="*/ 109056 w 594561"/>
                <a:gd name="connsiteY940" fmla="*/ 175126 h 534543"/>
                <a:gd name="connsiteX941" fmla="*/ 108754 w 594561"/>
                <a:gd name="connsiteY941" fmla="*/ 174369 h 534543"/>
                <a:gd name="connsiteX942" fmla="*/ 108572 w 594561"/>
                <a:gd name="connsiteY942" fmla="*/ 173401 h 534543"/>
                <a:gd name="connsiteX943" fmla="*/ 109964 w 594561"/>
                <a:gd name="connsiteY943" fmla="*/ 173401 h 534543"/>
                <a:gd name="connsiteX944" fmla="*/ 106696 w 594561"/>
                <a:gd name="connsiteY944" fmla="*/ 171798 h 534543"/>
                <a:gd name="connsiteX945" fmla="*/ 105244 w 594561"/>
                <a:gd name="connsiteY945" fmla="*/ 171949 h 534543"/>
                <a:gd name="connsiteX946" fmla="*/ 103792 w 594561"/>
                <a:gd name="connsiteY946" fmla="*/ 173401 h 534543"/>
                <a:gd name="connsiteX947" fmla="*/ 104730 w 594561"/>
                <a:gd name="connsiteY947" fmla="*/ 173643 h 534543"/>
                <a:gd name="connsiteX948" fmla="*/ 105214 w 594561"/>
                <a:gd name="connsiteY948" fmla="*/ 174369 h 534543"/>
                <a:gd name="connsiteX949" fmla="*/ 105305 w 594561"/>
                <a:gd name="connsiteY949" fmla="*/ 175519 h 534543"/>
                <a:gd name="connsiteX950" fmla="*/ 105124 w 594561"/>
                <a:gd name="connsiteY950" fmla="*/ 176971 h 534543"/>
                <a:gd name="connsiteX951" fmla="*/ 104004 w 594561"/>
                <a:gd name="connsiteY951" fmla="*/ 178090 h 534543"/>
                <a:gd name="connsiteX952" fmla="*/ 103914 w 594561"/>
                <a:gd name="connsiteY952" fmla="*/ 179058 h 534543"/>
                <a:gd name="connsiteX953" fmla="*/ 104246 w 594561"/>
                <a:gd name="connsiteY953" fmla="*/ 180026 h 534543"/>
                <a:gd name="connsiteX954" fmla="*/ 104488 w 594561"/>
                <a:gd name="connsiteY954" fmla="*/ 181055 h 534543"/>
                <a:gd name="connsiteX955" fmla="*/ 104277 w 594561"/>
                <a:gd name="connsiteY955" fmla="*/ 182174 h 534543"/>
                <a:gd name="connsiteX956" fmla="*/ 103732 w 594561"/>
                <a:gd name="connsiteY956" fmla="*/ 183263 h 534543"/>
                <a:gd name="connsiteX957" fmla="*/ 102431 w 594561"/>
                <a:gd name="connsiteY957" fmla="*/ 185018 h 534543"/>
                <a:gd name="connsiteX958" fmla="*/ 103308 w 594561"/>
                <a:gd name="connsiteY958" fmla="*/ 186863 h 534543"/>
                <a:gd name="connsiteX959" fmla="*/ 101675 w 594561"/>
                <a:gd name="connsiteY959" fmla="*/ 187619 h 534543"/>
                <a:gd name="connsiteX960" fmla="*/ 97894 w 594561"/>
                <a:gd name="connsiteY960" fmla="*/ 187710 h 534543"/>
                <a:gd name="connsiteX961" fmla="*/ 96956 w 594561"/>
                <a:gd name="connsiteY961" fmla="*/ 188255 h 534543"/>
                <a:gd name="connsiteX962" fmla="*/ 96834 w 594561"/>
                <a:gd name="connsiteY962" fmla="*/ 189465 h 534543"/>
                <a:gd name="connsiteX963" fmla="*/ 96895 w 594561"/>
                <a:gd name="connsiteY963" fmla="*/ 190705 h 534543"/>
                <a:gd name="connsiteX964" fmla="*/ 96532 w 594561"/>
                <a:gd name="connsiteY964" fmla="*/ 191250 h 534543"/>
                <a:gd name="connsiteX965" fmla="*/ 95382 w 594561"/>
                <a:gd name="connsiteY965" fmla="*/ 191250 h 534543"/>
                <a:gd name="connsiteX966" fmla="*/ 94415 w 594561"/>
                <a:gd name="connsiteY966" fmla="*/ 191431 h 534543"/>
                <a:gd name="connsiteX967" fmla="*/ 93567 w 594561"/>
                <a:gd name="connsiteY967" fmla="*/ 191946 h 534543"/>
                <a:gd name="connsiteX968" fmla="*/ 92751 w 594561"/>
                <a:gd name="connsiteY968" fmla="*/ 193065 h 534543"/>
                <a:gd name="connsiteX969" fmla="*/ 94142 w 594561"/>
                <a:gd name="connsiteY969" fmla="*/ 195273 h 534543"/>
                <a:gd name="connsiteX970" fmla="*/ 96290 w 594561"/>
                <a:gd name="connsiteY970" fmla="*/ 197633 h 534543"/>
                <a:gd name="connsiteX971" fmla="*/ 98831 w 594561"/>
                <a:gd name="connsiteY971" fmla="*/ 199508 h 534543"/>
                <a:gd name="connsiteX972" fmla="*/ 101342 w 594561"/>
                <a:gd name="connsiteY972" fmla="*/ 200295 h 534543"/>
                <a:gd name="connsiteX973" fmla="*/ 109419 w 594561"/>
                <a:gd name="connsiteY973" fmla="*/ 201445 h 534543"/>
                <a:gd name="connsiteX974" fmla="*/ 112081 w 594561"/>
                <a:gd name="connsiteY974" fmla="*/ 201263 h 534543"/>
                <a:gd name="connsiteX975" fmla="*/ 110720 w 594561"/>
                <a:gd name="connsiteY975" fmla="*/ 200295 h 534543"/>
                <a:gd name="connsiteX976" fmla="*/ 593109 w 594561"/>
                <a:gd name="connsiteY976" fmla="*/ 175247 h 534543"/>
                <a:gd name="connsiteX977" fmla="*/ 591173 w 594561"/>
                <a:gd name="connsiteY977" fmla="*/ 174430 h 534543"/>
                <a:gd name="connsiteX978" fmla="*/ 589661 w 594561"/>
                <a:gd name="connsiteY978" fmla="*/ 171980 h 534543"/>
                <a:gd name="connsiteX979" fmla="*/ 569423 w 594561"/>
                <a:gd name="connsiteY979" fmla="*/ 167169 h 534543"/>
                <a:gd name="connsiteX980" fmla="*/ 565672 w 594561"/>
                <a:gd name="connsiteY980" fmla="*/ 165445 h 534543"/>
                <a:gd name="connsiteX981" fmla="*/ 563070 w 594561"/>
                <a:gd name="connsiteY981" fmla="*/ 162601 h 534543"/>
                <a:gd name="connsiteX982" fmla="*/ 562828 w 594561"/>
                <a:gd name="connsiteY982" fmla="*/ 161392 h 534543"/>
                <a:gd name="connsiteX983" fmla="*/ 562737 w 594561"/>
                <a:gd name="connsiteY983" fmla="*/ 159909 h 534543"/>
                <a:gd name="connsiteX984" fmla="*/ 562404 w 594561"/>
                <a:gd name="connsiteY984" fmla="*/ 158669 h 534543"/>
                <a:gd name="connsiteX985" fmla="*/ 561406 w 594561"/>
                <a:gd name="connsiteY985" fmla="*/ 158155 h 534543"/>
                <a:gd name="connsiteX986" fmla="*/ 557262 w 594561"/>
                <a:gd name="connsiteY986" fmla="*/ 158155 h 534543"/>
                <a:gd name="connsiteX987" fmla="*/ 555265 w 594561"/>
                <a:gd name="connsiteY987" fmla="*/ 157731 h 534543"/>
                <a:gd name="connsiteX988" fmla="*/ 553510 w 594561"/>
                <a:gd name="connsiteY988" fmla="*/ 156551 h 534543"/>
                <a:gd name="connsiteX989" fmla="*/ 552028 w 594561"/>
                <a:gd name="connsiteY989" fmla="*/ 154827 h 534543"/>
                <a:gd name="connsiteX990" fmla="*/ 550727 w 594561"/>
                <a:gd name="connsiteY990" fmla="*/ 152770 h 534543"/>
                <a:gd name="connsiteX991" fmla="*/ 556021 w 594561"/>
                <a:gd name="connsiteY991" fmla="*/ 150501 h 534543"/>
                <a:gd name="connsiteX992" fmla="*/ 556899 w 594561"/>
                <a:gd name="connsiteY992" fmla="*/ 149170 h 534543"/>
                <a:gd name="connsiteX993" fmla="*/ 556324 w 594561"/>
                <a:gd name="connsiteY993" fmla="*/ 147627 h 534543"/>
                <a:gd name="connsiteX994" fmla="*/ 554387 w 594561"/>
                <a:gd name="connsiteY994" fmla="*/ 145721 h 534543"/>
                <a:gd name="connsiteX995" fmla="*/ 553450 w 594561"/>
                <a:gd name="connsiteY995" fmla="*/ 144814 h 534543"/>
                <a:gd name="connsiteX996" fmla="*/ 552784 w 594561"/>
                <a:gd name="connsiteY996" fmla="*/ 142394 h 534543"/>
                <a:gd name="connsiteX997" fmla="*/ 554115 w 594561"/>
                <a:gd name="connsiteY997" fmla="*/ 139126 h 534543"/>
                <a:gd name="connsiteX998" fmla="*/ 554932 w 594561"/>
                <a:gd name="connsiteY998" fmla="*/ 139247 h 534543"/>
                <a:gd name="connsiteX999" fmla="*/ 560922 w 594561"/>
                <a:gd name="connsiteY999" fmla="*/ 140064 h 534543"/>
                <a:gd name="connsiteX1000" fmla="*/ 563856 w 594561"/>
                <a:gd name="connsiteY1000" fmla="*/ 137432 h 534543"/>
                <a:gd name="connsiteX1001" fmla="*/ 562737 w 594561"/>
                <a:gd name="connsiteY1001" fmla="*/ 135557 h 534543"/>
                <a:gd name="connsiteX1002" fmla="*/ 561436 w 594561"/>
                <a:gd name="connsiteY1002" fmla="*/ 134891 h 534543"/>
                <a:gd name="connsiteX1003" fmla="*/ 559984 w 594561"/>
                <a:gd name="connsiteY1003" fmla="*/ 134589 h 534543"/>
                <a:gd name="connsiteX1004" fmla="*/ 558290 w 594561"/>
                <a:gd name="connsiteY1004" fmla="*/ 133863 h 534543"/>
                <a:gd name="connsiteX1005" fmla="*/ 557292 w 594561"/>
                <a:gd name="connsiteY1005" fmla="*/ 133046 h 534543"/>
                <a:gd name="connsiteX1006" fmla="*/ 556868 w 594561"/>
                <a:gd name="connsiteY1006" fmla="*/ 132471 h 534543"/>
                <a:gd name="connsiteX1007" fmla="*/ 556566 w 594561"/>
                <a:gd name="connsiteY1007" fmla="*/ 131806 h 534543"/>
                <a:gd name="connsiteX1008" fmla="*/ 555930 w 594561"/>
                <a:gd name="connsiteY1008" fmla="*/ 130777 h 534543"/>
                <a:gd name="connsiteX1009" fmla="*/ 555023 w 594561"/>
                <a:gd name="connsiteY1009" fmla="*/ 130142 h 534543"/>
                <a:gd name="connsiteX1010" fmla="*/ 554146 w 594561"/>
                <a:gd name="connsiteY1010" fmla="*/ 130414 h 534543"/>
                <a:gd name="connsiteX1011" fmla="*/ 553268 w 594561"/>
                <a:gd name="connsiteY1011" fmla="*/ 130959 h 534543"/>
                <a:gd name="connsiteX1012" fmla="*/ 551514 w 594561"/>
                <a:gd name="connsiteY1012" fmla="*/ 131806 h 534543"/>
                <a:gd name="connsiteX1013" fmla="*/ 550485 w 594561"/>
                <a:gd name="connsiteY1013" fmla="*/ 132925 h 534543"/>
                <a:gd name="connsiteX1014" fmla="*/ 549184 w 594561"/>
                <a:gd name="connsiteY1014" fmla="*/ 133863 h 534543"/>
                <a:gd name="connsiteX1015" fmla="*/ 547339 w 594561"/>
                <a:gd name="connsiteY1015" fmla="*/ 133863 h 534543"/>
                <a:gd name="connsiteX1016" fmla="*/ 546371 w 594561"/>
                <a:gd name="connsiteY1016" fmla="*/ 133016 h 534543"/>
                <a:gd name="connsiteX1017" fmla="*/ 544374 w 594561"/>
                <a:gd name="connsiteY1017" fmla="*/ 130021 h 534543"/>
                <a:gd name="connsiteX1018" fmla="*/ 543527 w 594561"/>
                <a:gd name="connsiteY1018" fmla="*/ 129385 h 534543"/>
                <a:gd name="connsiteX1019" fmla="*/ 543890 w 594561"/>
                <a:gd name="connsiteY1019" fmla="*/ 128236 h 534543"/>
                <a:gd name="connsiteX1020" fmla="*/ 544011 w 594561"/>
                <a:gd name="connsiteY1020" fmla="*/ 125786 h 534543"/>
                <a:gd name="connsiteX1021" fmla="*/ 544405 w 594561"/>
                <a:gd name="connsiteY1021" fmla="*/ 123305 h 534543"/>
                <a:gd name="connsiteX1022" fmla="*/ 545615 w 594561"/>
                <a:gd name="connsiteY1022" fmla="*/ 122186 h 534543"/>
                <a:gd name="connsiteX1023" fmla="*/ 546704 w 594561"/>
                <a:gd name="connsiteY1023" fmla="*/ 121429 h 534543"/>
                <a:gd name="connsiteX1024" fmla="*/ 549457 w 594561"/>
                <a:gd name="connsiteY1024" fmla="*/ 117920 h 534543"/>
                <a:gd name="connsiteX1025" fmla="*/ 550031 w 594561"/>
                <a:gd name="connsiteY1025" fmla="*/ 116771 h 534543"/>
                <a:gd name="connsiteX1026" fmla="*/ 549457 w 594561"/>
                <a:gd name="connsiteY1026" fmla="*/ 114895 h 534543"/>
                <a:gd name="connsiteX1027" fmla="*/ 548004 w 594561"/>
                <a:gd name="connsiteY1027" fmla="*/ 113715 h 534543"/>
                <a:gd name="connsiteX1028" fmla="*/ 546280 w 594561"/>
                <a:gd name="connsiteY1028" fmla="*/ 112808 h 534543"/>
                <a:gd name="connsiteX1029" fmla="*/ 544889 w 594561"/>
                <a:gd name="connsiteY1029" fmla="*/ 111810 h 534543"/>
                <a:gd name="connsiteX1030" fmla="*/ 544042 w 594561"/>
                <a:gd name="connsiteY1030" fmla="*/ 110115 h 534543"/>
                <a:gd name="connsiteX1031" fmla="*/ 543618 w 594561"/>
                <a:gd name="connsiteY1031" fmla="*/ 106092 h 534543"/>
                <a:gd name="connsiteX1032" fmla="*/ 543134 w 594561"/>
                <a:gd name="connsiteY1032" fmla="*/ 104095 h 534543"/>
                <a:gd name="connsiteX1033" fmla="*/ 540200 w 594561"/>
                <a:gd name="connsiteY1033" fmla="*/ 100768 h 534543"/>
                <a:gd name="connsiteX1034" fmla="*/ 539504 w 594561"/>
                <a:gd name="connsiteY1034" fmla="*/ 99648 h 534543"/>
                <a:gd name="connsiteX1035" fmla="*/ 537961 w 594561"/>
                <a:gd name="connsiteY1035" fmla="*/ 98196 h 534543"/>
                <a:gd name="connsiteX1036" fmla="*/ 537598 w 594561"/>
                <a:gd name="connsiteY1036" fmla="*/ 97380 h 534543"/>
                <a:gd name="connsiteX1037" fmla="*/ 537779 w 594561"/>
                <a:gd name="connsiteY1037" fmla="*/ 96805 h 534543"/>
                <a:gd name="connsiteX1038" fmla="*/ 538142 w 594561"/>
                <a:gd name="connsiteY1038" fmla="*/ 96260 h 534543"/>
                <a:gd name="connsiteX1039" fmla="*/ 538354 w 594561"/>
                <a:gd name="connsiteY1039" fmla="*/ 95474 h 534543"/>
                <a:gd name="connsiteX1040" fmla="*/ 538627 w 594561"/>
                <a:gd name="connsiteY1040" fmla="*/ 91843 h 534543"/>
                <a:gd name="connsiteX1041" fmla="*/ 541833 w 594561"/>
                <a:gd name="connsiteY1041" fmla="*/ 91571 h 534543"/>
                <a:gd name="connsiteX1042" fmla="*/ 543104 w 594561"/>
                <a:gd name="connsiteY1042" fmla="*/ 91299 h 534543"/>
                <a:gd name="connsiteX1043" fmla="*/ 543830 w 594561"/>
                <a:gd name="connsiteY1043" fmla="*/ 90422 h 534543"/>
                <a:gd name="connsiteX1044" fmla="*/ 543527 w 594561"/>
                <a:gd name="connsiteY1044" fmla="*/ 89393 h 534543"/>
                <a:gd name="connsiteX1045" fmla="*/ 542499 w 594561"/>
                <a:gd name="connsiteY1045" fmla="*/ 88304 h 534543"/>
                <a:gd name="connsiteX1046" fmla="*/ 540411 w 594561"/>
                <a:gd name="connsiteY1046" fmla="*/ 86792 h 534543"/>
                <a:gd name="connsiteX1047" fmla="*/ 541319 w 594561"/>
                <a:gd name="connsiteY1047" fmla="*/ 85823 h 534543"/>
                <a:gd name="connsiteX1048" fmla="*/ 542106 w 594561"/>
                <a:gd name="connsiteY1048" fmla="*/ 85128 h 534543"/>
                <a:gd name="connsiteX1049" fmla="*/ 543830 w 594561"/>
                <a:gd name="connsiteY1049" fmla="*/ 84069 h 534543"/>
                <a:gd name="connsiteX1050" fmla="*/ 543255 w 594561"/>
                <a:gd name="connsiteY1050" fmla="*/ 82012 h 534543"/>
                <a:gd name="connsiteX1051" fmla="*/ 541773 w 594561"/>
                <a:gd name="connsiteY1051" fmla="*/ 82133 h 534543"/>
                <a:gd name="connsiteX1052" fmla="*/ 540774 w 594561"/>
                <a:gd name="connsiteY1052" fmla="*/ 83191 h 534543"/>
                <a:gd name="connsiteX1053" fmla="*/ 539655 w 594561"/>
                <a:gd name="connsiteY1053" fmla="*/ 83766 h 534543"/>
                <a:gd name="connsiteX1054" fmla="*/ 537659 w 594561"/>
                <a:gd name="connsiteY1054" fmla="*/ 84311 h 534543"/>
                <a:gd name="connsiteX1055" fmla="*/ 535934 w 594561"/>
                <a:gd name="connsiteY1055" fmla="*/ 85400 h 534543"/>
                <a:gd name="connsiteX1056" fmla="*/ 534875 w 594561"/>
                <a:gd name="connsiteY1056" fmla="*/ 85400 h 534543"/>
                <a:gd name="connsiteX1057" fmla="*/ 533575 w 594561"/>
                <a:gd name="connsiteY1057" fmla="*/ 84341 h 534543"/>
                <a:gd name="connsiteX1058" fmla="*/ 532576 w 594561"/>
                <a:gd name="connsiteY1058" fmla="*/ 85733 h 534543"/>
                <a:gd name="connsiteX1059" fmla="*/ 532122 w 594561"/>
                <a:gd name="connsiteY1059" fmla="*/ 86943 h 534543"/>
                <a:gd name="connsiteX1060" fmla="*/ 531669 w 594561"/>
                <a:gd name="connsiteY1060" fmla="*/ 87881 h 534543"/>
                <a:gd name="connsiteX1061" fmla="*/ 530610 w 594561"/>
                <a:gd name="connsiteY1061" fmla="*/ 88425 h 534543"/>
                <a:gd name="connsiteX1062" fmla="*/ 529370 w 594561"/>
                <a:gd name="connsiteY1062" fmla="*/ 88274 h 534543"/>
                <a:gd name="connsiteX1063" fmla="*/ 525407 w 594561"/>
                <a:gd name="connsiteY1063" fmla="*/ 86368 h 534543"/>
                <a:gd name="connsiteX1064" fmla="*/ 520445 w 594561"/>
                <a:gd name="connsiteY1064" fmla="*/ 84795 h 534543"/>
                <a:gd name="connsiteX1065" fmla="*/ 518570 w 594561"/>
                <a:gd name="connsiteY1065" fmla="*/ 85158 h 534543"/>
                <a:gd name="connsiteX1066" fmla="*/ 516301 w 594561"/>
                <a:gd name="connsiteY1066" fmla="*/ 87245 h 534543"/>
                <a:gd name="connsiteX1067" fmla="*/ 515938 w 594561"/>
                <a:gd name="connsiteY1067" fmla="*/ 87911 h 534543"/>
                <a:gd name="connsiteX1068" fmla="*/ 515636 w 594561"/>
                <a:gd name="connsiteY1068" fmla="*/ 89514 h 534543"/>
                <a:gd name="connsiteX1069" fmla="*/ 515363 w 594561"/>
                <a:gd name="connsiteY1069" fmla="*/ 90331 h 534543"/>
                <a:gd name="connsiteX1070" fmla="*/ 515212 w 594561"/>
                <a:gd name="connsiteY1070" fmla="*/ 90331 h 534543"/>
                <a:gd name="connsiteX1071" fmla="*/ 513730 w 594561"/>
                <a:gd name="connsiteY1071" fmla="*/ 91934 h 534543"/>
                <a:gd name="connsiteX1072" fmla="*/ 511521 w 594561"/>
                <a:gd name="connsiteY1072" fmla="*/ 95867 h 534543"/>
                <a:gd name="connsiteX1073" fmla="*/ 510311 w 594561"/>
                <a:gd name="connsiteY1073" fmla="*/ 97228 h 534543"/>
                <a:gd name="connsiteX1074" fmla="*/ 505985 w 594561"/>
                <a:gd name="connsiteY1074" fmla="*/ 100647 h 534543"/>
                <a:gd name="connsiteX1075" fmla="*/ 503353 w 594561"/>
                <a:gd name="connsiteY1075" fmla="*/ 101554 h 534543"/>
                <a:gd name="connsiteX1076" fmla="*/ 501084 w 594561"/>
                <a:gd name="connsiteY1076" fmla="*/ 100586 h 534543"/>
                <a:gd name="connsiteX1077" fmla="*/ 499451 w 594561"/>
                <a:gd name="connsiteY1077" fmla="*/ 101615 h 534543"/>
                <a:gd name="connsiteX1078" fmla="*/ 495942 w 594561"/>
                <a:gd name="connsiteY1078" fmla="*/ 105608 h 534543"/>
                <a:gd name="connsiteX1079" fmla="*/ 494036 w 594561"/>
                <a:gd name="connsiteY1079" fmla="*/ 106969 h 534543"/>
                <a:gd name="connsiteX1080" fmla="*/ 493280 w 594561"/>
                <a:gd name="connsiteY1080" fmla="*/ 107151 h 534543"/>
                <a:gd name="connsiteX1081" fmla="*/ 492584 w 594561"/>
                <a:gd name="connsiteY1081" fmla="*/ 107211 h 534543"/>
                <a:gd name="connsiteX1082" fmla="*/ 491888 w 594561"/>
                <a:gd name="connsiteY1082" fmla="*/ 107151 h 534543"/>
                <a:gd name="connsiteX1083" fmla="*/ 491223 w 594561"/>
                <a:gd name="connsiteY1083" fmla="*/ 106969 h 534543"/>
                <a:gd name="connsiteX1084" fmla="*/ 491223 w 594561"/>
                <a:gd name="connsiteY1084" fmla="*/ 106969 h 534543"/>
                <a:gd name="connsiteX1085" fmla="*/ 489559 w 594561"/>
                <a:gd name="connsiteY1085" fmla="*/ 104973 h 534543"/>
                <a:gd name="connsiteX1086" fmla="*/ 487955 w 594561"/>
                <a:gd name="connsiteY1086" fmla="*/ 104973 h 534543"/>
                <a:gd name="connsiteX1087" fmla="*/ 486322 w 594561"/>
                <a:gd name="connsiteY1087" fmla="*/ 105790 h 534543"/>
                <a:gd name="connsiteX1088" fmla="*/ 484598 w 594561"/>
                <a:gd name="connsiteY1088" fmla="*/ 106425 h 534543"/>
                <a:gd name="connsiteX1089" fmla="*/ 482873 w 594561"/>
                <a:gd name="connsiteY1089" fmla="*/ 105819 h 534543"/>
                <a:gd name="connsiteX1090" fmla="*/ 481149 w 594561"/>
                <a:gd name="connsiteY1090" fmla="*/ 104095 h 534543"/>
                <a:gd name="connsiteX1091" fmla="*/ 478850 w 594561"/>
                <a:gd name="connsiteY1091" fmla="*/ 104095 h 534543"/>
                <a:gd name="connsiteX1092" fmla="*/ 475764 w 594561"/>
                <a:gd name="connsiteY1092" fmla="*/ 101948 h 534543"/>
                <a:gd name="connsiteX1093" fmla="*/ 473888 w 594561"/>
                <a:gd name="connsiteY1093" fmla="*/ 101403 h 534543"/>
                <a:gd name="connsiteX1094" fmla="*/ 465600 w 594561"/>
                <a:gd name="connsiteY1094" fmla="*/ 101403 h 534543"/>
                <a:gd name="connsiteX1095" fmla="*/ 464723 w 594561"/>
                <a:gd name="connsiteY1095" fmla="*/ 101645 h 534543"/>
                <a:gd name="connsiteX1096" fmla="*/ 462968 w 594561"/>
                <a:gd name="connsiteY1096" fmla="*/ 102794 h 534543"/>
                <a:gd name="connsiteX1097" fmla="*/ 461879 w 594561"/>
                <a:gd name="connsiteY1097" fmla="*/ 103188 h 534543"/>
                <a:gd name="connsiteX1098" fmla="*/ 460699 w 594561"/>
                <a:gd name="connsiteY1098" fmla="*/ 103188 h 534543"/>
                <a:gd name="connsiteX1099" fmla="*/ 450141 w 594561"/>
                <a:gd name="connsiteY1099" fmla="*/ 100496 h 534543"/>
                <a:gd name="connsiteX1100" fmla="*/ 441550 w 594561"/>
                <a:gd name="connsiteY1100" fmla="*/ 100496 h 534543"/>
                <a:gd name="connsiteX1101" fmla="*/ 440612 w 594561"/>
                <a:gd name="connsiteY1101" fmla="*/ 100979 h 534543"/>
                <a:gd name="connsiteX1102" fmla="*/ 440128 w 594561"/>
                <a:gd name="connsiteY1102" fmla="*/ 102038 h 534543"/>
                <a:gd name="connsiteX1103" fmla="*/ 439553 w 594561"/>
                <a:gd name="connsiteY1103" fmla="*/ 102976 h 534543"/>
                <a:gd name="connsiteX1104" fmla="*/ 438343 w 594561"/>
                <a:gd name="connsiteY1104" fmla="*/ 103218 h 534543"/>
                <a:gd name="connsiteX1105" fmla="*/ 438343 w 594561"/>
                <a:gd name="connsiteY1105" fmla="*/ 102674 h 534543"/>
                <a:gd name="connsiteX1106" fmla="*/ 436347 w 594561"/>
                <a:gd name="connsiteY1106" fmla="*/ 99527 h 534543"/>
                <a:gd name="connsiteX1107" fmla="*/ 433442 w 594561"/>
                <a:gd name="connsiteY1107" fmla="*/ 97561 h 534543"/>
                <a:gd name="connsiteX1108" fmla="*/ 421191 w 594561"/>
                <a:gd name="connsiteY1108" fmla="*/ 94082 h 534543"/>
                <a:gd name="connsiteX1109" fmla="*/ 418892 w 594561"/>
                <a:gd name="connsiteY1109" fmla="*/ 93961 h 534543"/>
                <a:gd name="connsiteX1110" fmla="*/ 418075 w 594561"/>
                <a:gd name="connsiteY1110" fmla="*/ 93447 h 534543"/>
                <a:gd name="connsiteX1111" fmla="*/ 417863 w 594561"/>
                <a:gd name="connsiteY1111" fmla="*/ 92570 h 534543"/>
                <a:gd name="connsiteX1112" fmla="*/ 417712 w 594561"/>
                <a:gd name="connsiteY1112" fmla="*/ 91874 h 534543"/>
                <a:gd name="connsiteX1113" fmla="*/ 417591 w 594561"/>
                <a:gd name="connsiteY1113" fmla="*/ 90361 h 534543"/>
                <a:gd name="connsiteX1114" fmla="*/ 417076 w 594561"/>
                <a:gd name="connsiteY1114" fmla="*/ 88395 h 534543"/>
                <a:gd name="connsiteX1115" fmla="*/ 416955 w 594561"/>
                <a:gd name="connsiteY1115" fmla="*/ 87306 h 534543"/>
                <a:gd name="connsiteX1116" fmla="*/ 416199 w 594561"/>
                <a:gd name="connsiteY1116" fmla="*/ 86035 h 534543"/>
                <a:gd name="connsiteX1117" fmla="*/ 411449 w 594561"/>
                <a:gd name="connsiteY1117" fmla="*/ 81407 h 534543"/>
                <a:gd name="connsiteX1118" fmla="*/ 407759 w 594561"/>
                <a:gd name="connsiteY1118" fmla="*/ 79864 h 534543"/>
                <a:gd name="connsiteX1119" fmla="*/ 403494 w 594561"/>
                <a:gd name="connsiteY1119" fmla="*/ 79047 h 534543"/>
                <a:gd name="connsiteX1120" fmla="*/ 394932 w 594561"/>
                <a:gd name="connsiteY1120" fmla="*/ 78684 h 534543"/>
                <a:gd name="connsiteX1121" fmla="*/ 394085 w 594561"/>
                <a:gd name="connsiteY1121" fmla="*/ 79168 h 534543"/>
                <a:gd name="connsiteX1122" fmla="*/ 393813 w 594561"/>
                <a:gd name="connsiteY1122" fmla="*/ 79622 h 534543"/>
                <a:gd name="connsiteX1123" fmla="*/ 393420 w 594561"/>
                <a:gd name="connsiteY1123" fmla="*/ 80015 h 534543"/>
                <a:gd name="connsiteX1124" fmla="*/ 392875 w 594561"/>
                <a:gd name="connsiteY1124" fmla="*/ 80409 h 534543"/>
                <a:gd name="connsiteX1125" fmla="*/ 392240 w 594561"/>
                <a:gd name="connsiteY1125" fmla="*/ 78260 h 534543"/>
                <a:gd name="connsiteX1126" fmla="*/ 391181 w 594561"/>
                <a:gd name="connsiteY1126" fmla="*/ 77837 h 534543"/>
                <a:gd name="connsiteX1127" fmla="*/ 388791 w 594561"/>
                <a:gd name="connsiteY1127" fmla="*/ 78684 h 534543"/>
                <a:gd name="connsiteX1128" fmla="*/ 386765 w 594561"/>
                <a:gd name="connsiteY1128" fmla="*/ 78835 h 534543"/>
                <a:gd name="connsiteX1129" fmla="*/ 386462 w 594561"/>
                <a:gd name="connsiteY1129" fmla="*/ 78442 h 534543"/>
                <a:gd name="connsiteX1130" fmla="*/ 386613 w 594561"/>
                <a:gd name="connsiteY1130" fmla="*/ 77262 h 534543"/>
                <a:gd name="connsiteX1131" fmla="*/ 386038 w 594561"/>
                <a:gd name="connsiteY1131" fmla="*/ 74993 h 534543"/>
                <a:gd name="connsiteX1132" fmla="*/ 384949 w 594561"/>
                <a:gd name="connsiteY1132" fmla="*/ 76657 h 534543"/>
                <a:gd name="connsiteX1133" fmla="*/ 383890 w 594561"/>
                <a:gd name="connsiteY1133" fmla="*/ 76445 h 534543"/>
                <a:gd name="connsiteX1134" fmla="*/ 382862 w 594561"/>
                <a:gd name="connsiteY1134" fmla="*/ 75629 h 534543"/>
                <a:gd name="connsiteX1135" fmla="*/ 382681 w 594561"/>
                <a:gd name="connsiteY1135" fmla="*/ 75478 h 534543"/>
                <a:gd name="connsiteX1136" fmla="*/ 381228 w 594561"/>
                <a:gd name="connsiteY1136" fmla="*/ 74993 h 534543"/>
                <a:gd name="connsiteX1137" fmla="*/ 381228 w 594561"/>
                <a:gd name="connsiteY1137" fmla="*/ 74086 h 534543"/>
                <a:gd name="connsiteX1138" fmla="*/ 381894 w 594561"/>
                <a:gd name="connsiteY1138" fmla="*/ 73935 h 534543"/>
                <a:gd name="connsiteX1139" fmla="*/ 383134 w 594561"/>
                <a:gd name="connsiteY1139" fmla="*/ 73390 h 534543"/>
                <a:gd name="connsiteX1140" fmla="*/ 383890 w 594561"/>
                <a:gd name="connsiteY1140" fmla="*/ 73269 h 534543"/>
                <a:gd name="connsiteX1141" fmla="*/ 382983 w 594561"/>
                <a:gd name="connsiteY1141" fmla="*/ 72120 h 534543"/>
                <a:gd name="connsiteX1142" fmla="*/ 381349 w 594561"/>
                <a:gd name="connsiteY1142" fmla="*/ 71908 h 534543"/>
                <a:gd name="connsiteX1143" fmla="*/ 379776 w 594561"/>
                <a:gd name="connsiteY1143" fmla="*/ 71363 h 534543"/>
                <a:gd name="connsiteX1144" fmla="*/ 379081 w 594561"/>
                <a:gd name="connsiteY1144" fmla="*/ 69155 h 534543"/>
                <a:gd name="connsiteX1145" fmla="*/ 378839 w 594561"/>
                <a:gd name="connsiteY1145" fmla="*/ 67824 h 534543"/>
                <a:gd name="connsiteX1146" fmla="*/ 377598 w 594561"/>
                <a:gd name="connsiteY1146" fmla="*/ 63558 h 534543"/>
                <a:gd name="connsiteX1147" fmla="*/ 377054 w 594561"/>
                <a:gd name="connsiteY1147" fmla="*/ 62288 h 534543"/>
                <a:gd name="connsiteX1148" fmla="*/ 373030 w 594561"/>
                <a:gd name="connsiteY1148" fmla="*/ 57447 h 534543"/>
                <a:gd name="connsiteX1149" fmla="*/ 371881 w 594561"/>
                <a:gd name="connsiteY1149" fmla="*/ 56843 h 534543"/>
                <a:gd name="connsiteX1150" fmla="*/ 363713 w 594561"/>
                <a:gd name="connsiteY1150" fmla="*/ 56570 h 534543"/>
                <a:gd name="connsiteX1151" fmla="*/ 362200 w 594561"/>
                <a:gd name="connsiteY1151" fmla="*/ 55905 h 534543"/>
                <a:gd name="connsiteX1152" fmla="*/ 357330 w 594561"/>
                <a:gd name="connsiteY1152" fmla="*/ 52547 h 534543"/>
                <a:gd name="connsiteX1153" fmla="*/ 356180 w 594561"/>
                <a:gd name="connsiteY1153" fmla="*/ 51367 h 534543"/>
                <a:gd name="connsiteX1154" fmla="*/ 355666 w 594561"/>
                <a:gd name="connsiteY1154" fmla="*/ 49945 h 534543"/>
                <a:gd name="connsiteX1155" fmla="*/ 354849 w 594561"/>
                <a:gd name="connsiteY1155" fmla="*/ 48947 h 534543"/>
                <a:gd name="connsiteX1156" fmla="*/ 349495 w 594561"/>
                <a:gd name="connsiteY1156" fmla="*/ 44954 h 534543"/>
                <a:gd name="connsiteX1157" fmla="*/ 348557 w 594561"/>
                <a:gd name="connsiteY1157" fmla="*/ 43774 h 534543"/>
                <a:gd name="connsiteX1158" fmla="*/ 346076 w 594561"/>
                <a:gd name="connsiteY1158" fmla="*/ 39509 h 534543"/>
                <a:gd name="connsiteX1159" fmla="*/ 342325 w 594561"/>
                <a:gd name="connsiteY1159" fmla="*/ 35455 h 534543"/>
                <a:gd name="connsiteX1160" fmla="*/ 341599 w 594561"/>
                <a:gd name="connsiteY1160" fmla="*/ 34880 h 534543"/>
                <a:gd name="connsiteX1161" fmla="*/ 340903 w 594561"/>
                <a:gd name="connsiteY1161" fmla="*/ 34093 h 534543"/>
                <a:gd name="connsiteX1162" fmla="*/ 339905 w 594561"/>
                <a:gd name="connsiteY1162" fmla="*/ 31431 h 534543"/>
                <a:gd name="connsiteX1163" fmla="*/ 339149 w 594561"/>
                <a:gd name="connsiteY1163" fmla="*/ 29405 h 534543"/>
                <a:gd name="connsiteX1164" fmla="*/ 339481 w 594561"/>
                <a:gd name="connsiteY1164" fmla="*/ 27317 h 534543"/>
                <a:gd name="connsiteX1165" fmla="*/ 338513 w 594561"/>
                <a:gd name="connsiteY1165" fmla="*/ 25139 h 534543"/>
                <a:gd name="connsiteX1166" fmla="*/ 337908 w 594561"/>
                <a:gd name="connsiteY1166" fmla="*/ 24383 h 534543"/>
                <a:gd name="connsiteX1167" fmla="*/ 337031 w 594561"/>
                <a:gd name="connsiteY1167" fmla="*/ 23264 h 534543"/>
                <a:gd name="connsiteX1168" fmla="*/ 335730 w 594561"/>
                <a:gd name="connsiteY1168" fmla="*/ 22084 h 534543"/>
                <a:gd name="connsiteX1169" fmla="*/ 335186 w 594561"/>
                <a:gd name="connsiteY1169" fmla="*/ 22084 h 534543"/>
                <a:gd name="connsiteX1170" fmla="*/ 334974 w 594561"/>
                <a:gd name="connsiteY1170" fmla="*/ 22689 h 534543"/>
                <a:gd name="connsiteX1171" fmla="*/ 334702 w 594561"/>
                <a:gd name="connsiteY1171" fmla="*/ 23142 h 534543"/>
                <a:gd name="connsiteX1172" fmla="*/ 334036 w 594561"/>
                <a:gd name="connsiteY1172" fmla="*/ 22598 h 534543"/>
                <a:gd name="connsiteX1173" fmla="*/ 333582 w 594561"/>
                <a:gd name="connsiteY1173" fmla="*/ 22084 h 534543"/>
                <a:gd name="connsiteX1174" fmla="*/ 333159 w 594561"/>
                <a:gd name="connsiteY1174" fmla="*/ 21690 h 534543"/>
                <a:gd name="connsiteX1175" fmla="*/ 332705 w 594561"/>
                <a:gd name="connsiteY1175" fmla="*/ 21388 h 534543"/>
                <a:gd name="connsiteX1176" fmla="*/ 332251 w 594561"/>
                <a:gd name="connsiteY1176" fmla="*/ 21206 h 534543"/>
                <a:gd name="connsiteX1177" fmla="*/ 329559 w 594561"/>
                <a:gd name="connsiteY1177" fmla="*/ 20632 h 534543"/>
                <a:gd name="connsiteX1178" fmla="*/ 328833 w 594561"/>
                <a:gd name="connsiteY1178" fmla="*/ 20208 h 534543"/>
                <a:gd name="connsiteX1179" fmla="*/ 328077 w 594561"/>
                <a:gd name="connsiteY1179" fmla="*/ 22114 h 534543"/>
                <a:gd name="connsiteX1180" fmla="*/ 327411 w 594561"/>
                <a:gd name="connsiteY1180" fmla="*/ 22114 h 534543"/>
                <a:gd name="connsiteX1181" fmla="*/ 326171 w 594561"/>
                <a:gd name="connsiteY1181" fmla="*/ 19754 h 534543"/>
                <a:gd name="connsiteX1182" fmla="*/ 323115 w 594561"/>
                <a:gd name="connsiteY1182" fmla="*/ 18000 h 534543"/>
                <a:gd name="connsiteX1183" fmla="*/ 321210 w 594561"/>
                <a:gd name="connsiteY1183" fmla="*/ 15731 h 534543"/>
                <a:gd name="connsiteX1184" fmla="*/ 319576 w 594561"/>
                <a:gd name="connsiteY1184" fmla="*/ 13160 h 534543"/>
                <a:gd name="connsiteX1185" fmla="*/ 317761 w 594561"/>
                <a:gd name="connsiteY1185" fmla="*/ 11072 h 534543"/>
                <a:gd name="connsiteX1186" fmla="*/ 315583 w 594561"/>
                <a:gd name="connsiteY1186" fmla="*/ 9711 h 534543"/>
                <a:gd name="connsiteX1187" fmla="*/ 312921 w 594561"/>
                <a:gd name="connsiteY1187" fmla="*/ 9227 h 534543"/>
                <a:gd name="connsiteX1188" fmla="*/ 312013 w 594561"/>
                <a:gd name="connsiteY1188" fmla="*/ 8682 h 534543"/>
                <a:gd name="connsiteX1189" fmla="*/ 311227 w 594561"/>
                <a:gd name="connsiteY1189" fmla="*/ 8561 h 534543"/>
                <a:gd name="connsiteX1190" fmla="*/ 310591 w 594561"/>
                <a:gd name="connsiteY1190" fmla="*/ 9015 h 534543"/>
                <a:gd name="connsiteX1191" fmla="*/ 310137 w 594561"/>
                <a:gd name="connsiteY1191" fmla="*/ 10225 h 534543"/>
                <a:gd name="connsiteX1192" fmla="*/ 309533 w 594561"/>
                <a:gd name="connsiteY1192" fmla="*/ 10225 h 534543"/>
                <a:gd name="connsiteX1193" fmla="*/ 308171 w 594561"/>
                <a:gd name="connsiteY1193" fmla="*/ 8985 h 534543"/>
                <a:gd name="connsiteX1194" fmla="*/ 303815 w 594561"/>
                <a:gd name="connsiteY1194" fmla="*/ 6474 h 534543"/>
                <a:gd name="connsiteX1195" fmla="*/ 303240 w 594561"/>
                <a:gd name="connsiteY1195" fmla="*/ 6050 h 534543"/>
                <a:gd name="connsiteX1196" fmla="*/ 300820 w 594561"/>
                <a:gd name="connsiteY1196" fmla="*/ 4266 h 534543"/>
                <a:gd name="connsiteX1197" fmla="*/ 299822 w 594561"/>
                <a:gd name="connsiteY1197" fmla="*/ 3751 h 534543"/>
                <a:gd name="connsiteX1198" fmla="*/ 298763 w 594561"/>
                <a:gd name="connsiteY1198" fmla="*/ 3570 h 534543"/>
                <a:gd name="connsiteX1199" fmla="*/ 296585 w 594561"/>
                <a:gd name="connsiteY1199" fmla="*/ 3842 h 534543"/>
                <a:gd name="connsiteX1200" fmla="*/ 295738 w 594561"/>
                <a:gd name="connsiteY1200" fmla="*/ 3751 h 534543"/>
                <a:gd name="connsiteX1201" fmla="*/ 294891 w 594561"/>
                <a:gd name="connsiteY1201" fmla="*/ 3177 h 534543"/>
                <a:gd name="connsiteX1202" fmla="*/ 293197 w 594561"/>
                <a:gd name="connsiteY1202" fmla="*/ 1513 h 534543"/>
                <a:gd name="connsiteX1203" fmla="*/ 292289 w 594561"/>
                <a:gd name="connsiteY1203" fmla="*/ 999 h 534543"/>
                <a:gd name="connsiteX1204" fmla="*/ 291140 w 594561"/>
                <a:gd name="connsiteY1204" fmla="*/ 908 h 534543"/>
                <a:gd name="connsiteX1205" fmla="*/ 289869 w 594561"/>
                <a:gd name="connsiteY1205" fmla="*/ 1029 h 534543"/>
                <a:gd name="connsiteX1206" fmla="*/ 288598 w 594561"/>
                <a:gd name="connsiteY1206" fmla="*/ 847 h 534543"/>
                <a:gd name="connsiteX1207" fmla="*/ 287419 w 594561"/>
                <a:gd name="connsiteY1207" fmla="*/ 0 h 534543"/>
                <a:gd name="connsiteX1208" fmla="*/ 286783 w 594561"/>
                <a:gd name="connsiteY1208" fmla="*/ 1029 h 534543"/>
                <a:gd name="connsiteX1209" fmla="*/ 286783 w 594561"/>
                <a:gd name="connsiteY1209" fmla="*/ 968 h 534543"/>
                <a:gd name="connsiteX1210" fmla="*/ 286027 w 594561"/>
                <a:gd name="connsiteY1210" fmla="*/ 30 h 534543"/>
                <a:gd name="connsiteX1211" fmla="*/ 285634 w 594561"/>
                <a:gd name="connsiteY1211" fmla="*/ 454 h 534543"/>
                <a:gd name="connsiteX1212" fmla="*/ 284605 w 594561"/>
                <a:gd name="connsiteY1212" fmla="*/ 1573 h 534543"/>
                <a:gd name="connsiteX1213" fmla="*/ 282669 w 594561"/>
                <a:gd name="connsiteY1213" fmla="*/ 2178 h 534543"/>
                <a:gd name="connsiteX1214" fmla="*/ 281126 w 594561"/>
                <a:gd name="connsiteY1214" fmla="*/ 3055 h 534543"/>
                <a:gd name="connsiteX1215" fmla="*/ 277980 w 594561"/>
                <a:gd name="connsiteY1215" fmla="*/ 4205 h 534543"/>
                <a:gd name="connsiteX1216" fmla="*/ 277678 w 594561"/>
                <a:gd name="connsiteY1216" fmla="*/ 4507 h 534543"/>
                <a:gd name="connsiteX1217" fmla="*/ 275076 w 594561"/>
                <a:gd name="connsiteY1217" fmla="*/ 7230 h 534543"/>
                <a:gd name="connsiteX1218" fmla="*/ 275016 w 594561"/>
                <a:gd name="connsiteY1218" fmla="*/ 8380 h 534543"/>
                <a:gd name="connsiteX1219" fmla="*/ 274955 w 594561"/>
                <a:gd name="connsiteY1219" fmla="*/ 9197 h 534543"/>
                <a:gd name="connsiteX1220" fmla="*/ 275348 w 594561"/>
                <a:gd name="connsiteY1220" fmla="*/ 11012 h 534543"/>
                <a:gd name="connsiteX1221" fmla="*/ 276558 w 594561"/>
                <a:gd name="connsiteY1221" fmla="*/ 14702 h 534543"/>
                <a:gd name="connsiteX1222" fmla="*/ 276649 w 594561"/>
                <a:gd name="connsiteY1222" fmla="*/ 15792 h 534543"/>
                <a:gd name="connsiteX1223" fmla="*/ 276438 w 594561"/>
                <a:gd name="connsiteY1223" fmla="*/ 17939 h 534543"/>
                <a:gd name="connsiteX1224" fmla="*/ 276710 w 594561"/>
                <a:gd name="connsiteY1224" fmla="*/ 19059 h 534543"/>
                <a:gd name="connsiteX1225" fmla="*/ 277345 w 594561"/>
                <a:gd name="connsiteY1225" fmla="*/ 19724 h 534543"/>
                <a:gd name="connsiteX1226" fmla="*/ 279069 w 594561"/>
                <a:gd name="connsiteY1226" fmla="*/ 20783 h 534543"/>
                <a:gd name="connsiteX1227" fmla="*/ 279553 w 594561"/>
                <a:gd name="connsiteY1227" fmla="*/ 21418 h 534543"/>
                <a:gd name="connsiteX1228" fmla="*/ 279674 w 594561"/>
                <a:gd name="connsiteY1228" fmla="*/ 22598 h 534543"/>
                <a:gd name="connsiteX1229" fmla="*/ 279674 w 594561"/>
                <a:gd name="connsiteY1229" fmla="*/ 22931 h 534543"/>
                <a:gd name="connsiteX1230" fmla="*/ 279251 w 594561"/>
                <a:gd name="connsiteY1230" fmla="*/ 23324 h 534543"/>
                <a:gd name="connsiteX1231" fmla="*/ 276952 w 594561"/>
                <a:gd name="connsiteY1231" fmla="*/ 23324 h 534543"/>
                <a:gd name="connsiteX1232" fmla="*/ 273352 w 594561"/>
                <a:gd name="connsiteY1232" fmla="*/ 24111 h 534543"/>
                <a:gd name="connsiteX1233" fmla="*/ 272475 w 594561"/>
                <a:gd name="connsiteY1233" fmla="*/ 24111 h 534543"/>
                <a:gd name="connsiteX1234" fmla="*/ 270780 w 594561"/>
                <a:gd name="connsiteY1234" fmla="*/ 23778 h 534543"/>
                <a:gd name="connsiteX1235" fmla="*/ 269359 w 594561"/>
                <a:gd name="connsiteY1235" fmla="*/ 22991 h 534543"/>
                <a:gd name="connsiteX1236" fmla="*/ 266939 w 594561"/>
                <a:gd name="connsiteY1236" fmla="*/ 20874 h 534543"/>
                <a:gd name="connsiteX1237" fmla="*/ 265970 w 594561"/>
                <a:gd name="connsiteY1237" fmla="*/ 20420 h 534543"/>
                <a:gd name="connsiteX1238" fmla="*/ 264730 w 594561"/>
                <a:gd name="connsiteY1238" fmla="*/ 20632 h 534543"/>
                <a:gd name="connsiteX1239" fmla="*/ 263883 w 594561"/>
                <a:gd name="connsiteY1239" fmla="*/ 21479 h 534543"/>
                <a:gd name="connsiteX1240" fmla="*/ 263127 w 594561"/>
                <a:gd name="connsiteY1240" fmla="*/ 22477 h 534543"/>
                <a:gd name="connsiteX1241" fmla="*/ 262159 w 594561"/>
                <a:gd name="connsiteY1241" fmla="*/ 23233 h 534543"/>
                <a:gd name="connsiteX1242" fmla="*/ 260979 w 594561"/>
                <a:gd name="connsiteY1242" fmla="*/ 23445 h 534543"/>
                <a:gd name="connsiteX1243" fmla="*/ 260404 w 594561"/>
                <a:gd name="connsiteY1243" fmla="*/ 23324 h 534543"/>
                <a:gd name="connsiteX1244" fmla="*/ 257318 w 594561"/>
                <a:gd name="connsiteY1244" fmla="*/ 22719 h 534543"/>
                <a:gd name="connsiteX1245" fmla="*/ 257258 w 594561"/>
                <a:gd name="connsiteY1245" fmla="*/ 25109 h 534543"/>
                <a:gd name="connsiteX1246" fmla="*/ 257500 w 594561"/>
                <a:gd name="connsiteY1246" fmla="*/ 27015 h 534543"/>
                <a:gd name="connsiteX1247" fmla="*/ 257500 w 594561"/>
                <a:gd name="connsiteY1247" fmla="*/ 28769 h 534543"/>
                <a:gd name="connsiteX1248" fmla="*/ 256774 w 594561"/>
                <a:gd name="connsiteY1248" fmla="*/ 30584 h 534543"/>
                <a:gd name="connsiteX1249" fmla="*/ 256532 w 594561"/>
                <a:gd name="connsiteY1249" fmla="*/ 30826 h 534543"/>
                <a:gd name="connsiteX1250" fmla="*/ 255413 w 594561"/>
                <a:gd name="connsiteY1250" fmla="*/ 31946 h 534543"/>
                <a:gd name="connsiteX1251" fmla="*/ 253416 w 594561"/>
                <a:gd name="connsiteY1251" fmla="*/ 33246 h 534543"/>
                <a:gd name="connsiteX1252" fmla="*/ 251329 w 594561"/>
                <a:gd name="connsiteY1252" fmla="*/ 34215 h 534543"/>
                <a:gd name="connsiteX1253" fmla="*/ 250845 w 594561"/>
                <a:gd name="connsiteY1253" fmla="*/ 34336 h 534543"/>
                <a:gd name="connsiteX1254" fmla="*/ 249665 w 594561"/>
                <a:gd name="connsiteY1254" fmla="*/ 34638 h 534543"/>
                <a:gd name="connsiteX1255" fmla="*/ 246307 w 594561"/>
                <a:gd name="connsiteY1255" fmla="*/ 35182 h 534543"/>
                <a:gd name="connsiteX1256" fmla="*/ 243312 w 594561"/>
                <a:gd name="connsiteY1256" fmla="*/ 36695 h 534543"/>
                <a:gd name="connsiteX1257" fmla="*/ 239773 w 594561"/>
                <a:gd name="connsiteY1257" fmla="*/ 38480 h 534543"/>
                <a:gd name="connsiteX1258" fmla="*/ 239349 w 594561"/>
                <a:gd name="connsiteY1258" fmla="*/ 38480 h 534543"/>
                <a:gd name="connsiteX1259" fmla="*/ 234812 w 594561"/>
                <a:gd name="connsiteY1259" fmla="*/ 38631 h 534543"/>
                <a:gd name="connsiteX1260" fmla="*/ 233208 w 594561"/>
                <a:gd name="connsiteY1260" fmla="*/ 38994 h 534543"/>
                <a:gd name="connsiteX1261" fmla="*/ 231696 w 594561"/>
                <a:gd name="connsiteY1261" fmla="*/ 39660 h 534543"/>
                <a:gd name="connsiteX1262" fmla="*/ 231333 w 594561"/>
                <a:gd name="connsiteY1262" fmla="*/ 39932 h 534543"/>
                <a:gd name="connsiteX1263" fmla="*/ 230304 w 594561"/>
                <a:gd name="connsiteY1263" fmla="*/ 40658 h 534543"/>
                <a:gd name="connsiteX1264" fmla="*/ 228247 w 594561"/>
                <a:gd name="connsiteY1264" fmla="*/ 43834 h 534543"/>
                <a:gd name="connsiteX1265" fmla="*/ 226311 w 594561"/>
                <a:gd name="connsiteY1265" fmla="*/ 44984 h 534543"/>
                <a:gd name="connsiteX1266" fmla="*/ 219111 w 594561"/>
                <a:gd name="connsiteY1266" fmla="*/ 44470 h 534543"/>
                <a:gd name="connsiteX1267" fmla="*/ 217417 w 594561"/>
                <a:gd name="connsiteY1267" fmla="*/ 44349 h 534543"/>
                <a:gd name="connsiteX1268" fmla="*/ 215269 w 594561"/>
                <a:gd name="connsiteY1268" fmla="*/ 45347 h 534543"/>
                <a:gd name="connsiteX1269" fmla="*/ 213938 w 594561"/>
                <a:gd name="connsiteY1269" fmla="*/ 47011 h 534543"/>
                <a:gd name="connsiteX1270" fmla="*/ 213575 w 594561"/>
                <a:gd name="connsiteY1270" fmla="*/ 47465 h 534543"/>
                <a:gd name="connsiteX1271" fmla="*/ 211699 w 594561"/>
                <a:gd name="connsiteY1271" fmla="*/ 50762 h 534543"/>
                <a:gd name="connsiteX1272" fmla="*/ 210247 w 594561"/>
                <a:gd name="connsiteY1272" fmla="*/ 54543 h 534543"/>
                <a:gd name="connsiteX1273" fmla="*/ 210247 w 594561"/>
                <a:gd name="connsiteY1273" fmla="*/ 57901 h 534543"/>
                <a:gd name="connsiteX1274" fmla="*/ 211639 w 594561"/>
                <a:gd name="connsiteY1274" fmla="*/ 60896 h 534543"/>
                <a:gd name="connsiteX1275" fmla="*/ 213636 w 594561"/>
                <a:gd name="connsiteY1275" fmla="*/ 62832 h 534543"/>
                <a:gd name="connsiteX1276" fmla="*/ 214422 w 594561"/>
                <a:gd name="connsiteY1276" fmla="*/ 63619 h 534543"/>
                <a:gd name="connsiteX1277" fmla="*/ 215662 w 594561"/>
                <a:gd name="connsiteY1277" fmla="*/ 64284 h 534543"/>
                <a:gd name="connsiteX1278" fmla="*/ 218476 w 594561"/>
                <a:gd name="connsiteY1278" fmla="*/ 65373 h 534543"/>
                <a:gd name="connsiteX1279" fmla="*/ 219716 w 594561"/>
                <a:gd name="connsiteY1279" fmla="*/ 66220 h 534543"/>
                <a:gd name="connsiteX1280" fmla="*/ 220623 w 594561"/>
                <a:gd name="connsiteY1280" fmla="*/ 67491 h 534543"/>
                <a:gd name="connsiteX1281" fmla="*/ 221138 w 594561"/>
                <a:gd name="connsiteY1281" fmla="*/ 68217 h 534543"/>
                <a:gd name="connsiteX1282" fmla="*/ 220684 w 594561"/>
                <a:gd name="connsiteY1282" fmla="*/ 69609 h 534543"/>
                <a:gd name="connsiteX1283" fmla="*/ 219504 w 594561"/>
                <a:gd name="connsiteY1283" fmla="*/ 71242 h 534543"/>
                <a:gd name="connsiteX1284" fmla="*/ 218748 w 594561"/>
                <a:gd name="connsiteY1284" fmla="*/ 73935 h 534543"/>
                <a:gd name="connsiteX1285" fmla="*/ 218748 w 594561"/>
                <a:gd name="connsiteY1285" fmla="*/ 73935 h 534543"/>
                <a:gd name="connsiteX1286" fmla="*/ 218869 w 594561"/>
                <a:gd name="connsiteY1286" fmla="*/ 76688 h 534543"/>
                <a:gd name="connsiteX1287" fmla="*/ 219050 w 594561"/>
                <a:gd name="connsiteY1287" fmla="*/ 80741 h 534543"/>
                <a:gd name="connsiteX1288" fmla="*/ 218899 w 594561"/>
                <a:gd name="connsiteY1288" fmla="*/ 82950 h 534543"/>
                <a:gd name="connsiteX1289" fmla="*/ 218385 w 594561"/>
                <a:gd name="connsiteY1289" fmla="*/ 84614 h 534543"/>
                <a:gd name="connsiteX1290" fmla="*/ 217689 w 594561"/>
                <a:gd name="connsiteY1290" fmla="*/ 86186 h 534543"/>
                <a:gd name="connsiteX1291" fmla="*/ 217296 w 594561"/>
                <a:gd name="connsiteY1291" fmla="*/ 87790 h 534543"/>
                <a:gd name="connsiteX1292" fmla="*/ 217719 w 594561"/>
                <a:gd name="connsiteY1292" fmla="*/ 89484 h 534543"/>
                <a:gd name="connsiteX1293" fmla="*/ 218899 w 594561"/>
                <a:gd name="connsiteY1293" fmla="*/ 92146 h 534543"/>
                <a:gd name="connsiteX1294" fmla="*/ 218960 w 594561"/>
                <a:gd name="connsiteY1294" fmla="*/ 94022 h 534543"/>
                <a:gd name="connsiteX1295" fmla="*/ 217961 w 594561"/>
                <a:gd name="connsiteY1295" fmla="*/ 95353 h 534543"/>
                <a:gd name="connsiteX1296" fmla="*/ 215904 w 594561"/>
                <a:gd name="connsiteY1296" fmla="*/ 96351 h 534543"/>
                <a:gd name="connsiteX1297" fmla="*/ 213938 w 594561"/>
                <a:gd name="connsiteY1297" fmla="*/ 96865 h 534543"/>
                <a:gd name="connsiteX1298" fmla="*/ 210035 w 594561"/>
                <a:gd name="connsiteY1298" fmla="*/ 96986 h 534543"/>
                <a:gd name="connsiteX1299" fmla="*/ 206254 w 594561"/>
                <a:gd name="connsiteY1299" fmla="*/ 96411 h 534543"/>
                <a:gd name="connsiteX1300" fmla="*/ 203622 w 594561"/>
                <a:gd name="connsiteY1300" fmla="*/ 95988 h 534543"/>
                <a:gd name="connsiteX1301" fmla="*/ 202654 w 594561"/>
                <a:gd name="connsiteY1301" fmla="*/ 96442 h 534543"/>
                <a:gd name="connsiteX1302" fmla="*/ 200779 w 594561"/>
                <a:gd name="connsiteY1302" fmla="*/ 97864 h 534543"/>
                <a:gd name="connsiteX1303" fmla="*/ 199780 w 594561"/>
                <a:gd name="connsiteY1303" fmla="*/ 98196 h 534543"/>
                <a:gd name="connsiteX1304" fmla="*/ 198631 w 594561"/>
                <a:gd name="connsiteY1304" fmla="*/ 98015 h 534543"/>
                <a:gd name="connsiteX1305" fmla="*/ 197481 w 594561"/>
                <a:gd name="connsiteY1305" fmla="*/ 97652 h 534543"/>
                <a:gd name="connsiteX1306" fmla="*/ 196332 w 594561"/>
                <a:gd name="connsiteY1306" fmla="*/ 97531 h 534543"/>
                <a:gd name="connsiteX1307" fmla="*/ 195212 w 594561"/>
                <a:gd name="connsiteY1307" fmla="*/ 98015 h 534543"/>
                <a:gd name="connsiteX1308" fmla="*/ 194728 w 594561"/>
                <a:gd name="connsiteY1308" fmla="*/ 99255 h 534543"/>
                <a:gd name="connsiteX1309" fmla="*/ 195122 w 594561"/>
                <a:gd name="connsiteY1309" fmla="*/ 100647 h 534543"/>
                <a:gd name="connsiteX1310" fmla="*/ 195273 w 594561"/>
                <a:gd name="connsiteY1310" fmla="*/ 101887 h 534543"/>
                <a:gd name="connsiteX1311" fmla="*/ 194123 w 594561"/>
                <a:gd name="connsiteY1311" fmla="*/ 102764 h 534543"/>
                <a:gd name="connsiteX1312" fmla="*/ 194063 w 594561"/>
                <a:gd name="connsiteY1312" fmla="*/ 102825 h 534543"/>
                <a:gd name="connsiteX1313" fmla="*/ 184201 w 594561"/>
                <a:gd name="connsiteY1313" fmla="*/ 105850 h 534543"/>
                <a:gd name="connsiteX1314" fmla="*/ 181448 w 594561"/>
                <a:gd name="connsiteY1314" fmla="*/ 106697 h 534543"/>
                <a:gd name="connsiteX1315" fmla="*/ 177394 w 594561"/>
                <a:gd name="connsiteY1315" fmla="*/ 108784 h 534543"/>
                <a:gd name="connsiteX1316" fmla="*/ 176547 w 594561"/>
                <a:gd name="connsiteY1316" fmla="*/ 109692 h 534543"/>
                <a:gd name="connsiteX1317" fmla="*/ 176033 w 594561"/>
                <a:gd name="connsiteY1317" fmla="*/ 110993 h 534543"/>
                <a:gd name="connsiteX1318" fmla="*/ 175942 w 594561"/>
                <a:gd name="connsiteY1318" fmla="*/ 111235 h 534543"/>
                <a:gd name="connsiteX1319" fmla="*/ 176154 w 594561"/>
                <a:gd name="connsiteY1319" fmla="*/ 111810 h 534543"/>
                <a:gd name="connsiteX1320" fmla="*/ 176880 w 594561"/>
                <a:gd name="connsiteY1320" fmla="*/ 112142 h 534543"/>
                <a:gd name="connsiteX1321" fmla="*/ 177848 w 594561"/>
                <a:gd name="connsiteY1321" fmla="*/ 113019 h 534543"/>
                <a:gd name="connsiteX1322" fmla="*/ 178846 w 594561"/>
                <a:gd name="connsiteY1322" fmla="*/ 114804 h 534543"/>
                <a:gd name="connsiteX1323" fmla="*/ 179360 w 594561"/>
                <a:gd name="connsiteY1323" fmla="*/ 115440 h 534543"/>
                <a:gd name="connsiteX1324" fmla="*/ 180238 w 594561"/>
                <a:gd name="connsiteY1324" fmla="*/ 116044 h 534543"/>
                <a:gd name="connsiteX1325" fmla="*/ 181569 w 594561"/>
                <a:gd name="connsiteY1325" fmla="*/ 116498 h 534543"/>
                <a:gd name="connsiteX1326" fmla="*/ 181962 w 594561"/>
                <a:gd name="connsiteY1326" fmla="*/ 116226 h 534543"/>
                <a:gd name="connsiteX1327" fmla="*/ 182113 w 594561"/>
                <a:gd name="connsiteY1327" fmla="*/ 115681 h 534543"/>
                <a:gd name="connsiteX1328" fmla="*/ 182567 w 594561"/>
                <a:gd name="connsiteY1328" fmla="*/ 115318 h 534543"/>
                <a:gd name="connsiteX1329" fmla="*/ 183777 w 594561"/>
                <a:gd name="connsiteY1329" fmla="*/ 115016 h 534543"/>
                <a:gd name="connsiteX1330" fmla="*/ 184140 w 594561"/>
                <a:gd name="connsiteY1330" fmla="*/ 114835 h 534543"/>
                <a:gd name="connsiteX1331" fmla="*/ 184443 w 594561"/>
                <a:gd name="connsiteY1331" fmla="*/ 115107 h 534543"/>
                <a:gd name="connsiteX1332" fmla="*/ 186076 w 594561"/>
                <a:gd name="connsiteY1332" fmla="*/ 116831 h 534543"/>
                <a:gd name="connsiteX1333" fmla="*/ 186258 w 594561"/>
                <a:gd name="connsiteY1333" fmla="*/ 117043 h 534543"/>
                <a:gd name="connsiteX1334" fmla="*/ 187892 w 594561"/>
                <a:gd name="connsiteY1334" fmla="*/ 119554 h 534543"/>
                <a:gd name="connsiteX1335" fmla="*/ 188436 w 594561"/>
                <a:gd name="connsiteY1335" fmla="*/ 120703 h 534543"/>
                <a:gd name="connsiteX1336" fmla="*/ 186349 w 594561"/>
                <a:gd name="connsiteY1336" fmla="*/ 120703 h 534543"/>
                <a:gd name="connsiteX1337" fmla="*/ 184957 w 594561"/>
                <a:gd name="connsiteY1337" fmla="*/ 121157 h 534543"/>
                <a:gd name="connsiteX1338" fmla="*/ 183717 w 594561"/>
                <a:gd name="connsiteY1338" fmla="*/ 121762 h 534543"/>
                <a:gd name="connsiteX1339" fmla="*/ 180752 w 594561"/>
                <a:gd name="connsiteY1339" fmla="*/ 122609 h 534543"/>
                <a:gd name="connsiteX1340" fmla="*/ 180177 w 594561"/>
                <a:gd name="connsiteY1340" fmla="*/ 123577 h 534543"/>
                <a:gd name="connsiteX1341" fmla="*/ 179814 w 594561"/>
                <a:gd name="connsiteY1341" fmla="*/ 124636 h 534543"/>
                <a:gd name="connsiteX1342" fmla="*/ 179119 w 594561"/>
                <a:gd name="connsiteY1342" fmla="*/ 125180 h 534543"/>
                <a:gd name="connsiteX1343" fmla="*/ 177848 w 594561"/>
                <a:gd name="connsiteY1343" fmla="*/ 125786 h 534543"/>
                <a:gd name="connsiteX1344" fmla="*/ 177969 w 594561"/>
                <a:gd name="connsiteY1344" fmla="*/ 126875 h 534543"/>
                <a:gd name="connsiteX1345" fmla="*/ 178665 w 594561"/>
                <a:gd name="connsiteY1345" fmla="*/ 128296 h 534543"/>
                <a:gd name="connsiteX1346" fmla="*/ 179209 w 594561"/>
                <a:gd name="connsiteY1346" fmla="*/ 129779 h 534543"/>
                <a:gd name="connsiteX1347" fmla="*/ 179209 w 594561"/>
                <a:gd name="connsiteY1347" fmla="*/ 129900 h 534543"/>
                <a:gd name="connsiteX1348" fmla="*/ 179845 w 594561"/>
                <a:gd name="connsiteY1348" fmla="*/ 133318 h 534543"/>
                <a:gd name="connsiteX1349" fmla="*/ 180661 w 594561"/>
                <a:gd name="connsiteY1349" fmla="*/ 136162 h 534543"/>
                <a:gd name="connsiteX1350" fmla="*/ 182113 w 594561"/>
                <a:gd name="connsiteY1350" fmla="*/ 138400 h 534543"/>
                <a:gd name="connsiteX1351" fmla="*/ 187166 w 594561"/>
                <a:gd name="connsiteY1351" fmla="*/ 141547 h 534543"/>
                <a:gd name="connsiteX1352" fmla="*/ 186197 w 594561"/>
                <a:gd name="connsiteY1352" fmla="*/ 142303 h 534543"/>
                <a:gd name="connsiteX1353" fmla="*/ 184382 w 594561"/>
                <a:gd name="connsiteY1353" fmla="*/ 144632 h 534543"/>
                <a:gd name="connsiteX1354" fmla="*/ 183505 w 594561"/>
                <a:gd name="connsiteY1354" fmla="*/ 145389 h 534543"/>
                <a:gd name="connsiteX1355" fmla="*/ 182386 w 594561"/>
                <a:gd name="connsiteY1355" fmla="*/ 145691 h 534543"/>
                <a:gd name="connsiteX1356" fmla="*/ 179119 w 594561"/>
                <a:gd name="connsiteY1356" fmla="*/ 145630 h 534543"/>
                <a:gd name="connsiteX1357" fmla="*/ 173492 w 594561"/>
                <a:gd name="connsiteY1357" fmla="*/ 147536 h 534543"/>
                <a:gd name="connsiteX1358" fmla="*/ 169317 w 594561"/>
                <a:gd name="connsiteY1358" fmla="*/ 148958 h 534543"/>
                <a:gd name="connsiteX1359" fmla="*/ 164779 w 594561"/>
                <a:gd name="connsiteY1359" fmla="*/ 148383 h 534543"/>
                <a:gd name="connsiteX1360" fmla="*/ 157428 w 594561"/>
                <a:gd name="connsiteY1360" fmla="*/ 142605 h 534543"/>
                <a:gd name="connsiteX1361" fmla="*/ 156430 w 594561"/>
                <a:gd name="connsiteY1361" fmla="*/ 141819 h 534543"/>
                <a:gd name="connsiteX1362" fmla="*/ 151529 w 594561"/>
                <a:gd name="connsiteY1362" fmla="*/ 141698 h 534543"/>
                <a:gd name="connsiteX1363" fmla="*/ 150531 w 594561"/>
                <a:gd name="connsiteY1363" fmla="*/ 140851 h 534543"/>
                <a:gd name="connsiteX1364" fmla="*/ 149412 w 594561"/>
                <a:gd name="connsiteY1364" fmla="*/ 140367 h 534543"/>
                <a:gd name="connsiteX1365" fmla="*/ 148504 w 594561"/>
                <a:gd name="connsiteY1365" fmla="*/ 140246 h 534543"/>
                <a:gd name="connsiteX1366" fmla="*/ 147022 w 594561"/>
                <a:gd name="connsiteY1366" fmla="*/ 140064 h 534543"/>
                <a:gd name="connsiteX1367" fmla="*/ 145267 w 594561"/>
                <a:gd name="connsiteY1367" fmla="*/ 138552 h 534543"/>
                <a:gd name="connsiteX1368" fmla="*/ 142968 w 594561"/>
                <a:gd name="connsiteY1368" fmla="*/ 137191 h 534543"/>
                <a:gd name="connsiteX1369" fmla="*/ 141153 w 594561"/>
                <a:gd name="connsiteY1369" fmla="*/ 137251 h 534543"/>
                <a:gd name="connsiteX1370" fmla="*/ 140790 w 594561"/>
                <a:gd name="connsiteY1370" fmla="*/ 140064 h 534543"/>
                <a:gd name="connsiteX1371" fmla="*/ 138854 w 594561"/>
                <a:gd name="connsiteY1371" fmla="*/ 143150 h 534543"/>
                <a:gd name="connsiteX1372" fmla="*/ 134528 w 594561"/>
                <a:gd name="connsiteY1372" fmla="*/ 144572 h 534543"/>
                <a:gd name="connsiteX1373" fmla="*/ 130323 w 594561"/>
                <a:gd name="connsiteY1373" fmla="*/ 143755 h 534543"/>
                <a:gd name="connsiteX1374" fmla="*/ 128750 w 594561"/>
                <a:gd name="connsiteY1374" fmla="*/ 140064 h 534543"/>
                <a:gd name="connsiteX1375" fmla="*/ 128720 w 594561"/>
                <a:gd name="connsiteY1375" fmla="*/ 140064 h 534543"/>
                <a:gd name="connsiteX1376" fmla="*/ 119372 w 594561"/>
                <a:gd name="connsiteY1376" fmla="*/ 136253 h 534543"/>
                <a:gd name="connsiteX1377" fmla="*/ 117375 w 594561"/>
                <a:gd name="connsiteY1377" fmla="*/ 134679 h 534543"/>
                <a:gd name="connsiteX1378" fmla="*/ 117375 w 594561"/>
                <a:gd name="connsiteY1378" fmla="*/ 134014 h 534543"/>
                <a:gd name="connsiteX1379" fmla="*/ 117708 w 594561"/>
                <a:gd name="connsiteY1379" fmla="*/ 131685 h 534543"/>
                <a:gd name="connsiteX1380" fmla="*/ 117527 w 594561"/>
                <a:gd name="connsiteY1380" fmla="*/ 130656 h 534543"/>
                <a:gd name="connsiteX1381" fmla="*/ 116952 w 594561"/>
                <a:gd name="connsiteY1381" fmla="*/ 129930 h 534543"/>
                <a:gd name="connsiteX1382" fmla="*/ 116921 w 594561"/>
                <a:gd name="connsiteY1382" fmla="*/ 129930 h 534543"/>
                <a:gd name="connsiteX1383" fmla="*/ 116286 w 594561"/>
                <a:gd name="connsiteY1383" fmla="*/ 129567 h 534543"/>
                <a:gd name="connsiteX1384" fmla="*/ 115591 w 594561"/>
                <a:gd name="connsiteY1384" fmla="*/ 129295 h 534543"/>
                <a:gd name="connsiteX1385" fmla="*/ 112142 w 594561"/>
                <a:gd name="connsiteY1385" fmla="*/ 126754 h 534543"/>
                <a:gd name="connsiteX1386" fmla="*/ 110841 w 594561"/>
                <a:gd name="connsiteY1386" fmla="*/ 125513 h 534543"/>
                <a:gd name="connsiteX1387" fmla="*/ 109934 w 594561"/>
                <a:gd name="connsiteY1387" fmla="*/ 123850 h 534543"/>
                <a:gd name="connsiteX1388" fmla="*/ 109843 w 594561"/>
                <a:gd name="connsiteY1388" fmla="*/ 122065 h 534543"/>
                <a:gd name="connsiteX1389" fmla="*/ 109964 w 594561"/>
                <a:gd name="connsiteY1389" fmla="*/ 119645 h 534543"/>
                <a:gd name="connsiteX1390" fmla="*/ 109752 w 594561"/>
                <a:gd name="connsiteY1390" fmla="*/ 117618 h 534543"/>
                <a:gd name="connsiteX1391" fmla="*/ 108633 w 594561"/>
                <a:gd name="connsiteY1391" fmla="*/ 117043 h 534543"/>
                <a:gd name="connsiteX1392" fmla="*/ 107453 w 594561"/>
                <a:gd name="connsiteY1392" fmla="*/ 117497 h 534543"/>
                <a:gd name="connsiteX1393" fmla="*/ 106939 w 594561"/>
                <a:gd name="connsiteY1393" fmla="*/ 117708 h 534543"/>
                <a:gd name="connsiteX1394" fmla="*/ 106182 w 594561"/>
                <a:gd name="connsiteY1394" fmla="*/ 118495 h 534543"/>
                <a:gd name="connsiteX1395" fmla="*/ 104912 w 594561"/>
                <a:gd name="connsiteY1395" fmla="*/ 121187 h 534543"/>
                <a:gd name="connsiteX1396" fmla="*/ 103853 w 594561"/>
                <a:gd name="connsiteY1396" fmla="*/ 122609 h 534543"/>
                <a:gd name="connsiteX1397" fmla="*/ 101312 w 594561"/>
                <a:gd name="connsiteY1397" fmla="*/ 125241 h 534543"/>
                <a:gd name="connsiteX1398" fmla="*/ 100374 w 594561"/>
                <a:gd name="connsiteY1398" fmla="*/ 126512 h 534543"/>
                <a:gd name="connsiteX1399" fmla="*/ 99739 w 594561"/>
                <a:gd name="connsiteY1399" fmla="*/ 128206 h 534543"/>
                <a:gd name="connsiteX1400" fmla="*/ 99678 w 594561"/>
                <a:gd name="connsiteY1400" fmla="*/ 128750 h 534543"/>
                <a:gd name="connsiteX1401" fmla="*/ 99255 w 594561"/>
                <a:gd name="connsiteY1401" fmla="*/ 131715 h 534543"/>
                <a:gd name="connsiteX1402" fmla="*/ 98710 w 594561"/>
                <a:gd name="connsiteY1402" fmla="*/ 133590 h 534543"/>
                <a:gd name="connsiteX1403" fmla="*/ 97379 w 594561"/>
                <a:gd name="connsiteY1403" fmla="*/ 135799 h 534543"/>
                <a:gd name="connsiteX1404" fmla="*/ 93446 w 594561"/>
                <a:gd name="connsiteY1404" fmla="*/ 138461 h 534543"/>
                <a:gd name="connsiteX1405" fmla="*/ 91571 w 594561"/>
                <a:gd name="connsiteY1405" fmla="*/ 140064 h 534543"/>
                <a:gd name="connsiteX1406" fmla="*/ 87699 w 594561"/>
                <a:gd name="connsiteY1406" fmla="*/ 142091 h 534543"/>
                <a:gd name="connsiteX1407" fmla="*/ 83070 w 594561"/>
                <a:gd name="connsiteY1407" fmla="*/ 142485 h 534543"/>
                <a:gd name="connsiteX1408" fmla="*/ 78381 w 594561"/>
                <a:gd name="connsiteY1408" fmla="*/ 141668 h 534543"/>
                <a:gd name="connsiteX1409" fmla="*/ 74388 w 594561"/>
                <a:gd name="connsiteY1409" fmla="*/ 140064 h 534543"/>
                <a:gd name="connsiteX1410" fmla="*/ 72180 w 594561"/>
                <a:gd name="connsiteY1410" fmla="*/ 139550 h 534543"/>
                <a:gd name="connsiteX1411" fmla="*/ 69608 w 594561"/>
                <a:gd name="connsiteY1411" fmla="*/ 140246 h 534543"/>
                <a:gd name="connsiteX1412" fmla="*/ 64798 w 594561"/>
                <a:gd name="connsiteY1412" fmla="*/ 142303 h 534543"/>
                <a:gd name="connsiteX1413" fmla="*/ 62197 w 594561"/>
                <a:gd name="connsiteY1413" fmla="*/ 142757 h 534543"/>
                <a:gd name="connsiteX1414" fmla="*/ 61894 w 594561"/>
                <a:gd name="connsiteY1414" fmla="*/ 142757 h 534543"/>
                <a:gd name="connsiteX1415" fmla="*/ 59504 w 594561"/>
                <a:gd name="connsiteY1415" fmla="*/ 142636 h 534543"/>
                <a:gd name="connsiteX1416" fmla="*/ 56872 w 594561"/>
                <a:gd name="connsiteY1416" fmla="*/ 141788 h 534543"/>
                <a:gd name="connsiteX1417" fmla="*/ 54331 w 594561"/>
                <a:gd name="connsiteY1417" fmla="*/ 140095 h 534543"/>
                <a:gd name="connsiteX1418" fmla="*/ 54331 w 594561"/>
                <a:gd name="connsiteY1418" fmla="*/ 140095 h 534543"/>
                <a:gd name="connsiteX1419" fmla="*/ 53000 w 594561"/>
                <a:gd name="connsiteY1419" fmla="*/ 138854 h 534543"/>
                <a:gd name="connsiteX1420" fmla="*/ 51548 w 594561"/>
                <a:gd name="connsiteY1420" fmla="*/ 138158 h 534543"/>
                <a:gd name="connsiteX1421" fmla="*/ 48886 w 594561"/>
                <a:gd name="connsiteY1421" fmla="*/ 137644 h 534543"/>
                <a:gd name="connsiteX1422" fmla="*/ 47313 w 594561"/>
                <a:gd name="connsiteY1422" fmla="*/ 137342 h 534543"/>
                <a:gd name="connsiteX1423" fmla="*/ 46617 w 594561"/>
                <a:gd name="connsiteY1423" fmla="*/ 137765 h 534543"/>
                <a:gd name="connsiteX1424" fmla="*/ 46254 w 594561"/>
                <a:gd name="connsiteY1424" fmla="*/ 138703 h 534543"/>
                <a:gd name="connsiteX1425" fmla="*/ 46254 w 594561"/>
                <a:gd name="connsiteY1425" fmla="*/ 140125 h 534543"/>
                <a:gd name="connsiteX1426" fmla="*/ 48402 w 594561"/>
                <a:gd name="connsiteY1426" fmla="*/ 142485 h 534543"/>
                <a:gd name="connsiteX1427" fmla="*/ 47101 w 594561"/>
                <a:gd name="connsiteY1427" fmla="*/ 144088 h 534543"/>
                <a:gd name="connsiteX1428" fmla="*/ 42382 w 594561"/>
                <a:gd name="connsiteY1428" fmla="*/ 145933 h 534543"/>
                <a:gd name="connsiteX1429" fmla="*/ 40930 w 594561"/>
                <a:gd name="connsiteY1429" fmla="*/ 147264 h 534543"/>
                <a:gd name="connsiteX1430" fmla="*/ 40053 w 594561"/>
                <a:gd name="connsiteY1430" fmla="*/ 148535 h 534543"/>
                <a:gd name="connsiteX1431" fmla="*/ 38964 w 594561"/>
                <a:gd name="connsiteY1431" fmla="*/ 149261 h 534543"/>
                <a:gd name="connsiteX1432" fmla="*/ 33609 w 594561"/>
                <a:gd name="connsiteY1432" fmla="*/ 148535 h 534543"/>
                <a:gd name="connsiteX1433" fmla="*/ 32036 w 594561"/>
                <a:gd name="connsiteY1433" fmla="*/ 148051 h 534543"/>
                <a:gd name="connsiteX1434" fmla="*/ 30675 w 594561"/>
                <a:gd name="connsiteY1434" fmla="*/ 146810 h 534543"/>
                <a:gd name="connsiteX1435" fmla="*/ 25925 w 594561"/>
                <a:gd name="connsiteY1435" fmla="*/ 144027 h 534543"/>
                <a:gd name="connsiteX1436" fmla="*/ 15942 w 594561"/>
                <a:gd name="connsiteY1436" fmla="*/ 144451 h 534543"/>
                <a:gd name="connsiteX1437" fmla="*/ 12827 w 594561"/>
                <a:gd name="connsiteY1437" fmla="*/ 144572 h 534543"/>
                <a:gd name="connsiteX1438" fmla="*/ 8863 w 594561"/>
                <a:gd name="connsiteY1438" fmla="*/ 140639 h 534543"/>
                <a:gd name="connsiteX1439" fmla="*/ 6776 w 594561"/>
                <a:gd name="connsiteY1439" fmla="*/ 140397 h 534543"/>
                <a:gd name="connsiteX1440" fmla="*/ 2178 w 594561"/>
                <a:gd name="connsiteY1440" fmla="*/ 138370 h 534543"/>
                <a:gd name="connsiteX1441" fmla="*/ 1210 w 594561"/>
                <a:gd name="connsiteY1441" fmla="*/ 137614 h 534543"/>
                <a:gd name="connsiteX1442" fmla="*/ 575 w 594561"/>
                <a:gd name="connsiteY1442" fmla="*/ 137614 h 534543"/>
                <a:gd name="connsiteX1443" fmla="*/ 0 w 594561"/>
                <a:gd name="connsiteY1443" fmla="*/ 139369 h 534543"/>
                <a:gd name="connsiteX1444" fmla="*/ 302 w 594561"/>
                <a:gd name="connsiteY1444" fmla="*/ 141305 h 534543"/>
                <a:gd name="connsiteX1445" fmla="*/ 1936 w 594561"/>
                <a:gd name="connsiteY1445" fmla="*/ 144814 h 534543"/>
                <a:gd name="connsiteX1446" fmla="*/ 1633 w 594561"/>
                <a:gd name="connsiteY1446" fmla="*/ 145782 h 534543"/>
                <a:gd name="connsiteX1447" fmla="*/ 1422 w 594561"/>
                <a:gd name="connsiteY1447" fmla="*/ 145993 h 534543"/>
                <a:gd name="connsiteX1448" fmla="*/ 1422 w 594561"/>
                <a:gd name="connsiteY1448" fmla="*/ 146084 h 534543"/>
                <a:gd name="connsiteX1449" fmla="*/ 1936 w 594561"/>
                <a:gd name="connsiteY1449" fmla="*/ 146659 h 534543"/>
                <a:gd name="connsiteX1450" fmla="*/ 1724 w 594561"/>
                <a:gd name="connsiteY1450" fmla="*/ 147022 h 534543"/>
                <a:gd name="connsiteX1451" fmla="*/ 1391 w 594561"/>
                <a:gd name="connsiteY1451" fmla="*/ 147325 h 534543"/>
                <a:gd name="connsiteX1452" fmla="*/ 1179 w 594561"/>
                <a:gd name="connsiteY1452" fmla="*/ 147567 h 534543"/>
                <a:gd name="connsiteX1453" fmla="*/ 4175 w 594561"/>
                <a:gd name="connsiteY1453" fmla="*/ 155462 h 534543"/>
                <a:gd name="connsiteX1454" fmla="*/ 5354 w 594561"/>
                <a:gd name="connsiteY1454" fmla="*/ 156612 h 534543"/>
                <a:gd name="connsiteX1455" fmla="*/ 5354 w 594561"/>
                <a:gd name="connsiteY1455" fmla="*/ 157429 h 534543"/>
                <a:gd name="connsiteX1456" fmla="*/ 3902 w 594561"/>
                <a:gd name="connsiteY1456" fmla="*/ 157973 h 534543"/>
                <a:gd name="connsiteX1457" fmla="*/ 3963 w 594561"/>
                <a:gd name="connsiteY1457" fmla="*/ 159365 h 534543"/>
                <a:gd name="connsiteX1458" fmla="*/ 4901 w 594561"/>
                <a:gd name="connsiteY1458" fmla="*/ 160908 h 534543"/>
                <a:gd name="connsiteX1459" fmla="*/ 6020 w 594561"/>
                <a:gd name="connsiteY1459" fmla="*/ 161966 h 534543"/>
                <a:gd name="connsiteX1460" fmla="*/ 6958 w 594561"/>
                <a:gd name="connsiteY1460" fmla="*/ 162148 h 534543"/>
                <a:gd name="connsiteX1461" fmla="*/ 9680 w 594561"/>
                <a:gd name="connsiteY1461" fmla="*/ 162238 h 534543"/>
                <a:gd name="connsiteX1462" fmla="*/ 10830 w 594561"/>
                <a:gd name="connsiteY1462" fmla="*/ 162813 h 534543"/>
                <a:gd name="connsiteX1463" fmla="*/ 9317 w 594561"/>
                <a:gd name="connsiteY1463" fmla="*/ 163993 h 534543"/>
                <a:gd name="connsiteX1464" fmla="*/ 8440 w 594561"/>
                <a:gd name="connsiteY1464" fmla="*/ 164417 h 534543"/>
                <a:gd name="connsiteX1465" fmla="*/ 7411 w 594561"/>
                <a:gd name="connsiteY1465" fmla="*/ 164598 h 534543"/>
                <a:gd name="connsiteX1466" fmla="*/ 7774 w 594561"/>
                <a:gd name="connsiteY1466" fmla="*/ 165566 h 534543"/>
                <a:gd name="connsiteX1467" fmla="*/ 8349 w 594561"/>
                <a:gd name="connsiteY1467" fmla="*/ 166322 h 534543"/>
                <a:gd name="connsiteX1468" fmla="*/ 9136 w 594561"/>
                <a:gd name="connsiteY1468" fmla="*/ 166897 h 534543"/>
                <a:gd name="connsiteX1469" fmla="*/ 10164 w 594561"/>
                <a:gd name="connsiteY1469" fmla="*/ 167351 h 534543"/>
                <a:gd name="connsiteX1470" fmla="*/ 10164 w 594561"/>
                <a:gd name="connsiteY1470" fmla="*/ 168168 h 534543"/>
                <a:gd name="connsiteX1471" fmla="*/ 9075 w 594561"/>
                <a:gd name="connsiteY1471" fmla="*/ 168168 h 534543"/>
                <a:gd name="connsiteX1472" fmla="*/ 8289 w 594561"/>
                <a:gd name="connsiteY1472" fmla="*/ 168561 h 534543"/>
                <a:gd name="connsiteX1473" fmla="*/ 7744 w 594561"/>
                <a:gd name="connsiteY1473" fmla="*/ 169227 h 534543"/>
                <a:gd name="connsiteX1474" fmla="*/ 7411 w 594561"/>
                <a:gd name="connsiteY1474" fmla="*/ 170013 h 534543"/>
                <a:gd name="connsiteX1475" fmla="*/ 8712 w 594561"/>
                <a:gd name="connsiteY1475" fmla="*/ 170709 h 534543"/>
                <a:gd name="connsiteX1476" fmla="*/ 9408 w 594561"/>
                <a:gd name="connsiteY1476" fmla="*/ 171859 h 534543"/>
                <a:gd name="connsiteX1477" fmla="*/ 9408 w 594561"/>
                <a:gd name="connsiteY1477" fmla="*/ 173189 h 534543"/>
                <a:gd name="connsiteX1478" fmla="*/ 8773 w 594561"/>
                <a:gd name="connsiteY1478" fmla="*/ 174490 h 534543"/>
                <a:gd name="connsiteX1479" fmla="*/ 9287 w 594561"/>
                <a:gd name="connsiteY1479" fmla="*/ 175791 h 534543"/>
                <a:gd name="connsiteX1480" fmla="*/ 9287 w 594561"/>
                <a:gd name="connsiteY1480" fmla="*/ 176850 h 534543"/>
                <a:gd name="connsiteX1481" fmla="*/ 8924 w 594561"/>
                <a:gd name="connsiteY1481" fmla="*/ 177667 h 534543"/>
                <a:gd name="connsiteX1482" fmla="*/ 8107 w 594561"/>
                <a:gd name="connsiteY1482" fmla="*/ 178151 h 534543"/>
                <a:gd name="connsiteX1483" fmla="*/ 8107 w 594561"/>
                <a:gd name="connsiteY1483" fmla="*/ 178968 h 534543"/>
                <a:gd name="connsiteX1484" fmla="*/ 8954 w 594561"/>
                <a:gd name="connsiteY1484" fmla="*/ 179603 h 534543"/>
                <a:gd name="connsiteX1485" fmla="*/ 9317 w 594561"/>
                <a:gd name="connsiteY1485" fmla="*/ 180178 h 534543"/>
                <a:gd name="connsiteX1486" fmla="*/ 9257 w 594561"/>
                <a:gd name="connsiteY1486" fmla="*/ 180843 h 534543"/>
                <a:gd name="connsiteX1487" fmla="*/ 8803 w 594561"/>
                <a:gd name="connsiteY1487" fmla="*/ 181721 h 534543"/>
                <a:gd name="connsiteX1488" fmla="*/ 9832 w 594561"/>
                <a:gd name="connsiteY1488" fmla="*/ 182265 h 534543"/>
                <a:gd name="connsiteX1489" fmla="*/ 9952 w 594561"/>
                <a:gd name="connsiteY1489" fmla="*/ 183142 h 534543"/>
                <a:gd name="connsiteX1490" fmla="*/ 9680 w 594561"/>
                <a:gd name="connsiteY1490" fmla="*/ 184292 h 534543"/>
                <a:gd name="connsiteX1491" fmla="*/ 9469 w 594561"/>
                <a:gd name="connsiteY1491" fmla="*/ 185653 h 534543"/>
                <a:gd name="connsiteX1492" fmla="*/ 9952 w 594561"/>
                <a:gd name="connsiteY1492" fmla="*/ 186712 h 534543"/>
                <a:gd name="connsiteX1493" fmla="*/ 11102 w 594561"/>
                <a:gd name="connsiteY1493" fmla="*/ 186772 h 534543"/>
                <a:gd name="connsiteX1494" fmla="*/ 13613 w 594561"/>
                <a:gd name="connsiteY1494" fmla="*/ 186077 h 534543"/>
                <a:gd name="connsiteX1495" fmla="*/ 18332 w 594561"/>
                <a:gd name="connsiteY1495" fmla="*/ 185895 h 534543"/>
                <a:gd name="connsiteX1496" fmla="*/ 20662 w 594561"/>
                <a:gd name="connsiteY1496" fmla="*/ 186198 h 534543"/>
                <a:gd name="connsiteX1497" fmla="*/ 22628 w 594561"/>
                <a:gd name="connsiteY1497" fmla="*/ 187075 h 534543"/>
                <a:gd name="connsiteX1498" fmla="*/ 13794 w 594561"/>
                <a:gd name="connsiteY1498" fmla="*/ 187650 h 534543"/>
                <a:gd name="connsiteX1499" fmla="*/ 11193 w 594561"/>
                <a:gd name="connsiteY1499" fmla="*/ 189253 h 534543"/>
                <a:gd name="connsiteX1500" fmla="*/ 13643 w 594561"/>
                <a:gd name="connsiteY1500" fmla="*/ 192429 h 534543"/>
                <a:gd name="connsiteX1501" fmla="*/ 13250 w 594561"/>
                <a:gd name="connsiteY1501" fmla="*/ 192974 h 534543"/>
                <a:gd name="connsiteX1502" fmla="*/ 12705 w 594561"/>
                <a:gd name="connsiteY1502" fmla="*/ 194275 h 534543"/>
                <a:gd name="connsiteX1503" fmla="*/ 12252 w 594561"/>
                <a:gd name="connsiteY1503" fmla="*/ 195091 h 534543"/>
                <a:gd name="connsiteX1504" fmla="*/ 14309 w 594561"/>
                <a:gd name="connsiteY1504" fmla="*/ 195425 h 534543"/>
                <a:gd name="connsiteX1505" fmla="*/ 16033 w 594561"/>
                <a:gd name="connsiteY1505" fmla="*/ 196634 h 534543"/>
                <a:gd name="connsiteX1506" fmla="*/ 17304 w 594561"/>
                <a:gd name="connsiteY1506" fmla="*/ 197966 h 534543"/>
                <a:gd name="connsiteX1507" fmla="*/ 18090 w 594561"/>
                <a:gd name="connsiteY1507" fmla="*/ 198601 h 534543"/>
                <a:gd name="connsiteX1508" fmla="*/ 23293 w 594561"/>
                <a:gd name="connsiteY1508" fmla="*/ 205316 h 534543"/>
                <a:gd name="connsiteX1509" fmla="*/ 27438 w 594561"/>
                <a:gd name="connsiteY1509" fmla="*/ 209370 h 534543"/>
                <a:gd name="connsiteX1510" fmla="*/ 29707 w 594561"/>
                <a:gd name="connsiteY1510" fmla="*/ 214452 h 534543"/>
                <a:gd name="connsiteX1511" fmla="*/ 30856 w 594561"/>
                <a:gd name="connsiteY1511" fmla="*/ 215663 h 534543"/>
                <a:gd name="connsiteX1512" fmla="*/ 30372 w 594561"/>
                <a:gd name="connsiteY1512" fmla="*/ 216298 h 534543"/>
                <a:gd name="connsiteX1513" fmla="*/ 29888 w 594561"/>
                <a:gd name="connsiteY1513" fmla="*/ 217145 h 534543"/>
                <a:gd name="connsiteX1514" fmla="*/ 29465 w 594561"/>
                <a:gd name="connsiteY1514" fmla="*/ 217538 h 534543"/>
                <a:gd name="connsiteX1515" fmla="*/ 29465 w 594561"/>
                <a:gd name="connsiteY1515" fmla="*/ 218325 h 534543"/>
                <a:gd name="connsiteX1516" fmla="*/ 30493 w 594561"/>
                <a:gd name="connsiteY1516" fmla="*/ 219565 h 534543"/>
                <a:gd name="connsiteX1517" fmla="*/ 31522 w 594561"/>
                <a:gd name="connsiteY1517" fmla="*/ 219807 h 534543"/>
                <a:gd name="connsiteX1518" fmla="*/ 34244 w 594561"/>
                <a:gd name="connsiteY1518" fmla="*/ 219202 h 534543"/>
                <a:gd name="connsiteX1519" fmla="*/ 33367 w 594561"/>
                <a:gd name="connsiteY1519" fmla="*/ 221138 h 534543"/>
                <a:gd name="connsiteX1520" fmla="*/ 31945 w 594561"/>
                <a:gd name="connsiteY1520" fmla="*/ 221895 h 534543"/>
                <a:gd name="connsiteX1521" fmla="*/ 30463 w 594561"/>
                <a:gd name="connsiteY1521" fmla="*/ 221531 h 534543"/>
                <a:gd name="connsiteX1522" fmla="*/ 29435 w 594561"/>
                <a:gd name="connsiteY1522" fmla="*/ 220140 h 534543"/>
                <a:gd name="connsiteX1523" fmla="*/ 28678 w 594561"/>
                <a:gd name="connsiteY1523" fmla="*/ 220957 h 534543"/>
                <a:gd name="connsiteX1524" fmla="*/ 29918 w 594561"/>
                <a:gd name="connsiteY1524" fmla="*/ 222318 h 534543"/>
                <a:gd name="connsiteX1525" fmla="*/ 31552 w 594561"/>
                <a:gd name="connsiteY1525" fmla="*/ 223347 h 534543"/>
                <a:gd name="connsiteX1526" fmla="*/ 33125 w 594561"/>
                <a:gd name="connsiteY1526" fmla="*/ 223861 h 534543"/>
                <a:gd name="connsiteX1527" fmla="*/ 34214 w 594561"/>
                <a:gd name="connsiteY1527" fmla="*/ 223619 h 534543"/>
                <a:gd name="connsiteX1528" fmla="*/ 34880 w 594561"/>
                <a:gd name="connsiteY1528" fmla="*/ 224587 h 534543"/>
                <a:gd name="connsiteX1529" fmla="*/ 34214 w 594561"/>
                <a:gd name="connsiteY1529" fmla="*/ 225494 h 534543"/>
                <a:gd name="connsiteX1530" fmla="*/ 34547 w 594561"/>
                <a:gd name="connsiteY1530" fmla="*/ 225494 h 534543"/>
                <a:gd name="connsiteX1531" fmla="*/ 35273 w 594561"/>
                <a:gd name="connsiteY1531" fmla="*/ 225434 h 534543"/>
                <a:gd name="connsiteX1532" fmla="*/ 35606 w 594561"/>
                <a:gd name="connsiteY1532" fmla="*/ 225494 h 534543"/>
                <a:gd name="connsiteX1533" fmla="*/ 35394 w 594561"/>
                <a:gd name="connsiteY1533" fmla="*/ 225918 h 534543"/>
                <a:gd name="connsiteX1534" fmla="*/ 35122 w 594561"/>
                <a:gd name="connsiteY1534" fmla="*/ 226825 h 534543"/>
                <a:gd name="connsiteX1535" fmla="*/ 34910 w 594561"/>
                <a:gd name="connsiteY1535" fmla="*/ 227279 h 534543"/>
                <a:gd name="connsiteX1536" fmla="*/ 36029 w 594561"/>
                <a:gd name="connsiteY1536" fmla="*/ 227400 h 534543"/>
                <a:gd name="connsiteX1537" fmla="*/ 38994 w 594561"/>
                <a:gd name="connsiteY1537" fmla="*/ 228519 h 534543"/>
                <a:gd name="connsiteX1538" fmla="*/ 39750 w 594561"/>
                <a:gd name="connsiteY1538" fmla="*/ 229034 h 534543"/>
                <a:gd name="connsiteX1539" fmla="*/ 40023 w 594561"/>
                <a:gd name="connsiteY1539" fmla="*/ 230970 h 534543"/>
                <a:gd name="connsiteX1540" fmla="*/ 40023 w 594561"/>
                <a:gd name="connsiteY1540" fmla="*/ 233087 h 534543"/>
                <a:gd name="connsiteX1541" fmla="*/ 40355 w 594561"/>
                <a:gd name="connsiteY1541" fmla="*/ 234328 h 534543"/>
                <a:gd name="connsiteX1542" fmla="*/ 41838 w 594561"/>
                <a:gd name="connsiteY1542" fmla="*/ 233572 h 534543"/>
                <a:gd name="connsiteX1543" fmla="*/ 41384 w 594561"/>
                <a:gd name="connsiteY1543" fmla="*/ 233027 h 534543"/>
                <a:gd name="connsiteX1544" fmla="*/ 40476 w 594561"/>
                <a:gd name="connsiteY1544" fmla="*/ 230909 h 534543"/>
                <a:gd name="connsiteX1545" fmla="*/ 40960 w 594561"/>
                <a:gd name="connsiteY1545" fmla="*/ 229578 h 534543"/>
                <a:gd name="connsiteX1546" fmla="*/ 40446 w 594561"/>
                <a:gd name="connsiteY1546" fmla="*/ 228489 h 534543"/>
                <a:gd name="connsiteX1547" fmla="*/ 39387 w 594561"/>
                <a:gd name="connsiteY1547" fmla="*/ 227703 h 534543"/>
                <a:gd name="connsiteX1548" fmla="*/ 38328 w 594561"/>
                <a:gd name="connsiteY1548" fmla="*/ 227279 h 534543"/>
                <a:gd name="connsiteX1549" fmla="*/ 39024 w 594561"/>
                <a:gd name="connsiteY1549" fmla="*/ 226402 h 534543"/>
                <a:gd name="connsiteX1550" fmla="*/ 39962 w 594561"/>
                <a:gd name="connsiteY1550" fmla="*/ 226977 h 534543"/>
                <a:gd name="connsiteX1551" fmla="*/ 40990 w 594561"/>
                <a:gd name="connsiteY1551" fmla="*/ 226735 h 534543"/>
                <a:gd name="connsiteX1552" fmla="*/ 41898 w 594561"/>
                <a:gd name="connsiteY1552" fmla="*/ 226977 h 534543"/>
                <a:gd name="connsiteX1553" fmla="*/ 42503 w 594561"/>
                <a:gd name="connsiteY1553" fmla="*/ 229064 h 534543"/>
                <a:gd name="connsiteX1554" fmla="*/ 42987 w 594561"/>
                <a:gd name="connsiteY1554" fmla="*/ 228792 h 534543"/>
                <a:gd name="connsiteX1555" fmla="*/ 42987 w 594561"/>
                <a:gd name="connsiteY1555" fmla="*/ 228641 h 534543"/>
                <a:gd name="connsiteX1556" fmla="*/ 43199 w 594561"/>
                <a:gd name="connsiteY1556" fmla="*/ 228096 h 534543"/>
                <a:gd name="connsiteX1557" fmla="*/ 44681 w 594561"/>
                <a:gd name="connsiteY1557" fmla="*/ 228973 h 534543"/>
                <a:gd name="connsiteX1558" fmla="*/ 46436 w 594561"/>
                <a:gd name="connsiteY1558" fmla="*/ 229245 h 534543"/>
                <a:gd name="connsiteX1559" fmla="*/ 50066 w 594561"/>
                <a:gd name="connsiteY1559" fmla="*/ 229064 h 534543"/>
                <a:gd name="connsiteX1560" fmla="*/ 49461 w 594561"/>
                <a:gd name="connsiteY1560" fmla="*/ 228096 h 534543"/>
                <a:gd name="connsiteX1561" fmla="*/ 49007 w 594561"/>
                <a:gd name="connsiteY1561" fmla="*/ 227491 h 534543"/>
                <a:gd name="connsiteX1562" fmla="*/ 48372 w 594561"/>
                <a:gd name="connsiteY1562" fmla="*/ 227249 h 534543"/>
                <a:gd name="connsiteX1563" fmla="*/ 47313 w 594561"/>
                <a:gd name="connsiteY1563" fmla="*/ 227309 h 534543"/>
                <a:gd name="connsiteX1564" fmla="*/ 47676 w 594561"/>
                <a:gd name="connsiteY1564" fmla="*/ 226251 h 534543"/>
                <a:gd name="connsiteX1565" fmla="*/ 47676 w 594561"/>
                <a:gd name="connsiteY1565" fmla="*/ 225918 h 534543"/>
                <a:gd name="connsiteX1566" fmla="*/ 47525 w 594561"/>
                <a:gd name="connsiteY1566" fmla="*/ 225646 h 534543"/>
                <a:gd name="connsiteX1567" fmla="*/ 47313 w 594561"/>
                <a:gd name="connsiteY1567" fmla="*/ 224677 h 534543"/>
                <a:gd name="connsiteX1568" fmla="*/ 48190 w 594561"/>
                <a:gd name="connsiteY1568" fmla="*/ 223044 h 534543"/>
                <a:gd name="connsiteX1569" fmla="*/ 48674 w 594561"/>
                <a:gd name="connsiteY1569" fmla="*/ 222469 h 534543"/>
                <a:gd name="connsiteX1570" fmla="*/ 49370 w 594561"/>
                <a:gd name="connsiteY1570" fmla="*/ 222015 h 534543"/>
                <a:gd name="connsiteX1571" fmla="*/ 49370 w 594561"/>
                <a:gd name="connsiteY1571" fmla="*/ 221047 h 534543"/>
                <a:gd name="connsiteX1572" fmla="*/ 48705 w 594561"/>
                <a:gd name="connsiteY1572" fmla="*/ 221047 h 534543"/>
                <a:gd name="connsiteX1573" fmla="*/ 48705 w 594561"/>
                <a:gd name="connsiteY1573" fmla="*/ 220231 h 534543"/>
                <a:gd name="connsiteX1574" fmla="*/ 49370 w 594561"/>
                <a:gd name="connsiteY1574" fmla="*/ 220231 h 534543"/>
                <a:gd name="connsiteX1575" fmla="*/ 48674 w 594561"/>
                <a:gd name="connsiteY1575" fmla="*/ 218839 h 534543"/>
                <a:gd name="connsiteX1576" fmla="*/ 48160 w 594561"/>
                <a:gd name="connsiteY1576" fmla="*/ 218264 h 534543"/>
                <a:gd name="connsiteX1577" fmla="*/ 47343 w 594561"/>
                <a:gd name="connsiteY1577" fmla="*/ 217690 h 534543"/>
                <a:gd name="connsiteX1578" fmla="*/ 48947 w 594561"/>
                <a:gd name="connsiteY1578" fmla="*/ 217690 h 534543"/>
                <a:gd name="connsiteX1579" fmla="*/ 51185 w 594561"/>
                <a:gd name="connsiteY1579" fmla="*/ 217145 h 534543"/>
                <a:gd name="connsiteX1580" fmla="*/ 52184 w 594561"/>
                <a:gd name="connsiteY1580" fmla="*/ 217690 h 534543"/>
                <a:gd name="connsiteX1581" fmla="*/ 52304 w 594561"/>
                <a:gd name="connsiteY1581" fmla="*/ 217175 h 534543"/>
                <a:gd name="connsiteX1582" fmla="*/ 52304 w 594561"/>
                <a:gd name="connsiteY1582" fmla="*/ 216873 h 534543"/>
                <a:gd name="connsiteX1583" fmla="*/ 52395 w 594561"/>
                <a:gd name="connsiteY1583" fmla="*/ 216752 h 534543"/>
                <a:gd name="connsiteX1584" fmla="*/ 52910 w 594561"/>
                <a:gd name="connsiteY1584" fmla="*/ 216752 h 534543"/>
                <a:gd name="connsiteX1585" fmla="*/ 52910 w 594561"/>
                <a:gd name="connsiteY1585" fmla="*/ 215814 h 534543"/>
                <a:gd name="connsiteX1586" fmla="*/ 52395 w 594561"/>
                <a:gd name="connsiteY1586" fmla="*/ 215148 h 534543"/>
                <a:gd name="connsiteX1587" fmla="*/ 52395 w 594561"/>
                <a:gd name="connsiteY1587" fmla="*/ 214785 h 534543"/>
                <a:gd name="connsiteX1588" fmla="*/ 52789 w 594561"/>
                <a:gd name="connsiteY1588" fmla="*/ 214725 h 534543"/>
                <a:gd name="connsiteX1589" fmla="*/ 53605 w 594561"/>
                <a:gd name="connsiteY1589" fmla="*/ 214937 h 534543"/>
                <a:gd name="connsiteX1590" fmla="*/ 54029 w 594561"/>
                <a:gd name="connsiteY1590" fmla="*/ 213696 h 534543"/>
                <a:gd name="connsiteX1591" fmla="*/ 54150 w 594561"/>
                <a:gd name="connsiteY1591" fmla="*/ 212486 h 534543"/>
                <a:gd name="connsiteX1592" fmla="*/ 53999 w 594561"/>
                <a:gd name="connsiteY1592" fmla="*/ 211397 h 534543"/>
                <a:gd name="connsiteX1593" fmla="*/ 53575 w 594561"/>
                <a:gd name="connsiteY1593" fmla="*/ 210490 h 534543"/>
                <a:gd name="connsiteX1594" fmla="*/ 54150 w 594561"/>
                <a:gd name="connsiteY1594" fmla="*/ 210490 h 534543"/>
                <a:gd name="connsiteX1595" fmla="*/ 54573 w 594561"/>
                <a:gd name="connsiteY1595" fmla="*/ 211125 h 534543"/>
                <a:gd name="connsiteX1596" fmla="*/ 55209 w 594561"/>
                <a:gd name="connsiteY1596" fmla="*/ 210459 h 534543"/>
                <a:gd name="connsiteX1597" fmla="*/ 56631 w 594561"/>
                <a:gd name="connsiteY1597" fmla="*/ 207888 h 534543"/>
                <a:gd name="connsiteX1598" fmla="*/ 57720 w 594561"/>
                <a:gd name="connsiteY1598" fmla="*/ 206920 h 534543"/>
                <a:gd name="connsiteX1599" fmla="*/ 57296 w 594561"/>
                <a:gd name="connsiteY1599" fmla="*/ 205649 h 534543"/>
                <a:gd name="connsiteX1600" fmla="*/ 56570 w 594561"/>
                <a:gd name="connsiteY1600" fmla="*/ 205347 h 534543"/>
                <a:gd name="connsiteX1601" fmla="*/ 55602 w 594561"/>
                <a:gd name="connsiteY1601" fmla="*/ 205226 h 534543"/>
                <a:gd name="connsiteX1602" fmla="*/ 54543 w 594561"/>
                <a:gd name="connsiteY1602" fmla="*/ 204590 h 534543"/>
                <a:gd name="connsiteX1603" fmla="*/ 54090 w 594561"/>
                <a:gd name="connsiteY1603" fmla="*/ 203532 h 534543"/>
                <a:gd name="connsiteX1604" fmla="*/ 54513 w 594561"/>
                <a:gd name="connsiteY1604" fmla="*/ 201233 h 534543"/>
                <a:gd name="connsiteX1605" fmla="*/ 54150 w 594561"/>
                <a:gd name="connsiteY1605" fmla="*/ 199690 h 534543"/>
                <a:gd name="connsiteX1606" fmla="*/ 55299 w 594561"/>
                <a:gd name="connsiteY1606" fmla="*/ 199811 h 534543"/>
                <a:gd name="connsiteX1607" fmla="*/ 55420 w 594561"/>
                <a:gd name="connsiteY1607" fmla="*/ 200446 h 534543"/>
                <a:gd name="connsiteX1608" fmla="*/ 55269 w 594561"/>
                <a:gd name="connsiteY1608" fmla="*/ 201384 h 534543"/>
                <a:gd name="connsiteX1609" fmla="*/ 55572 w 594561"/>
                <a:gd name="connsiteY1609" fmla="*/ 202382 h 534543"/>
                <a:gd name="connsiteX1610" fmla="*/ 57689 w 594561"/>
                <a:gd name="connsiteY1610" fmla="*/ 204167 h 534543"/>
                <a:gd name="connsiteX1611" fmla="*/ 58506 w 594561"/>
                <a:gd name="connsiteY1611" fmla="*/ 206587 h 534543"/>
                <a:gd name="connsiteX1612" fmla="*/ 58083 w 594561"/>
                <a:gd name="connsiteY1612" fmla="*/ 207676 h 534543"/>
                <a:gd name="connsiteX1613" fmla="*/ 57266 w 594561"/>
                <a:gd name="connsiteY1613" fmla="*/ 208826 h 534543"/>
                <a:gd name="connsiteX1614" fmla="*/ 56994 w 594561"/>
                <a:gd name="connsiteY1614" fmla="*/ 211367 h 534543"/>
                <a:gd name="connsiteX1615" fmla="*/ 57689 w 594561"/>
                <a:gd name="connsiteY1615" fmla="*/ 211367 h 534543"/>
                <a:gd name="connsiteX1616" fmla="*/ 58173 w 594561"/>
                <a:gd name="connsiteY1616" fmla="*/ 210369 h 534543"/>
                <a:gd name="connsiteX1617" fmla="*/ 59111 w 594561"/>
                <a:gd name="connsiteY1617" fmla="*/ 209158 h 534543"/>
                <a:gd name="connsiteX1618" fmla="*/ 60291 w 594561"/>
                <a:gd name="connsiteY1618" fmla="*/ 208130 h 534543"/>
                <a:gd name="connsiteX1619" fmla="*/ 61501 w 594561"/>
                <a:gd name="connsiteY1619" fmla="*/ 207706 h 534543"/>
                <a:gd name="connsiteX1620" fmla="*/ 62590 w 594561"/>
                <a:gd name="connsiteY1620" fmla="*/ 207979 h 534543"/>
                <a:gd name="connsiteX1621" fmla="*/ 63346 w 594561"/>
                <a:gd name="connsiteY1621" fmla="*/ 208402 h 534543"/>
                <a:gd name="connsiteX1622" fmla="*/ 64163 w 594561"/>
                <a:gd name="connsiteY1622" fmla="*/ 208493 h 534543"/>
                <a:gd name="connsiteX1623" fmla="*/ 65313 w 594561"/>
                <a:gd name="connsiteY1623" fmla="*/ 207706 h 534543"/>
                <a:gd name="connsiteX1624" fmla="*/ 66583 w 594561"/>
                <a:gd name="connsiteY1624" fmla="*/ 205316 h 534543"/>
                <a:gd name="connsiteX1625" fmla="*/ 66825 w 594561"/>
                <a:gd name="connsiteY1625" fmla="*/ 202291 h 534543"/>
                <a:gd name="connsiteX1626" fmla="*/ 66160 w 594561"/>
                <a:gd name="connsiteY1626" fmla="*/ 199508 h 534543"/>
                <a:gd name="connsiteX1627" fmla="*/ 64587 w 594561"/>
                <a:gd name="connsiteY1627" fmla="*/ 197814 h 534543"/>
                <a:gd name="connsiteX1628" fmla="*/ 64587 w 594561"/>
                <a:gd name="connsiteY1628" fmla="*/ 196997 h 534543"/>
                <a:gd name="connsiteX1629" fmla="*/ 64950 w 594561"/>
                <a:gd name="connsiteY1629" fmla="*/ 197300 h 534543"/>
                <a:gd name="connsiteX1630" fmla="*/ 65645 w 594561"/>
                <a:gd name="connsiteY1630" fmla="*/ 197572 h 534543"/>
                <a:gd name="connsiteX1631" fmla="*/ 66039 w 594561"/>
                <a:gd name="connsiteY1631" fmla="*/ 197814 h 534543"/>
                <a:gd name="connsiteX1632" fmla="*/ 65615 w 594561"/>
                <a:gd name="connsiteY1632" fmla="*/ 195364 h 534543"/>
                <a:gd name="connsiteX1633" fmla="*/ 65615 w 594561"/>
                <a:gd name="connsiteY1633" fmla="*/ 194456 h 534543"/>
                <a:gd name="connsiteX1634" fmla="*/ 66039 w 594561"/>
                <a:gd name="connsiteY1634" fmla="*/ 193337 h 534543"/>
                <a:gd name="connsiteX1635" fmla="*/ 66644 w 594561"/>
                <a:gd name="connsiteY1635" fmla="*/ 194305 h 534543"/>
                <a:gd name="connsiteX1636" fmla="*/ 68247 w 594561"/>
                <a:gd name="connsiteY1636" fmla="*/ 192792 h 534543"/>
                <a:gd name="connsiteX1637" fmla="*/ 69518 w 594561"/>
                <a:gd name="connsiteY1637" fmla="*/ 190947 h 534543"/>
                <a:gd name="connsiteX1638" fmla="*/ 69729 w 594561"/>
                <a:gd name="connsiteY1638" fmla="*/ 188981 h 534543"/>
                <a:gd name="connsiteX1639" fmla="*/ 68126 w 594561"/>
                <a:gd name="connsiteY1639" fmla="*/ 187166 h 534543"/>
                <a:gd name="connsiteX1640" fmla="*/ 71151 w 594561"/>
                <a:gd name="connsiteY1640" fmla="*/ 188225 h 534543"/>
                <a:gd name="connsiteX1641" fmla="*/ 73480 w 594561"/>
                <a:gd name="connsiteY1641" fmla="*/ 185229 h 534543"/>
                <a:gd name="connsiteX1642" fmla="*/ 73632 w 594561"/>
                <a:gd name="connsiteY1642" fmla="*/ 184746 h 534543"/>
                <a:gd name="connsiteX1643" fmla="*/ 73692 w 594561"/>
                <a:gd name="connsiteY1643" fmla="*/ 184564 h 534543"/>
                <a:gd name="connsiteX1644" fmla="*/ 74993 w 594561"/>
                <a:gd name="connsiteY1644" fmla="*/ 180389 h 534543"/>
                <a:gd name="connsiteX1645" fmla="*/ 76082 w 594561"/>
                <a:gd name="connsiteY1645" fmla="*/ 171314 h 534543"/>
                <a:gd name="connsiteX1646" fmla="*/ 77444 w 594561"/>
                <a:gd name="connsiteY1646" fmla="*/ 166806 h 534543"/>
                <a:gd name="connsiteX1647" fmla="*/ 79319 w 594561"/>
                <a:gd name="connsiteY1647" fmla="*/ 162813 h 534543"/>
                <a:gd name="connsiteX1648" fmla="*/ 81406 w 594561"/>
                <a:gd name="connsiteY1648" fmla="*/ 159728 h 534543"/>
                <a:gd name="connsiteX1649" fmla="*/ 83252 w 594561"/>
                <a:gd name="connsiteY1649" fmla="*/ 158396 h 534543"/>
                <a:gd name="connsiteX1650" fmla="*/ 84855 w 594561"/>
                <a:gd name="connsiteY1650" fmla="*/ 158699 h 534543"/>
                <a:gd name="connsiteX1651" fmla="*/ 86640 w 594561"/>
                <a:gd name="connsiteY1651" fmla="*/ 159607 h 534543"/>
                <a:gd name="connsiteX1652" fmla="*/ 90542 w 594561"/>
                <a:gd name="connsiteY1652" fmla="*/ 160393 h 534543"/>
                <a:gd name="connsiteX1653" fmla="*/ 101402 w 594561"/>
                <a:gd name="connsiteY1653" fmla="*/ 165506 h 534543"/>
                <a:gd name="connsiteX1654" fmla="*/ 102794 w 594561"/>
                <a:gd name="connsiteY1654" fmla="*/ 166928 h 534543"/>
                <a:gd name="connsiteX1655" fmla="*/ 103671 w 594561"/>
                <a:gd name="connsiteY1655" fmla="*/ 167563 h 534543"/>
                <a:gd name="connsiteX1656" fmla="*/ 104700 w 594561"/>
                <a:gd name="connsiteY1656" fmla="*/ 167563 h 534543"/>
                <a:gd name="connsiteX1657" fmla="*/ 105577 w 594561"/>
                <a:gd name="connsiteY1657" fmla="*/ 167018 h 534543"/>
                <a:gd name="connsiteX1658" fmla="*/ 105940 w 594561"/>
                <a:gd name="connsiteY1658" fmla="*/ 165990 h 534543"/>
                <a:gd name="connsiteX1659" fmla="*/ 105607 w 594561"/>
                <a:gd name="connsiteY1659" fmla="*/ 165748 h 534543"/>
                <a:gd name="connsiteX1660" fmla="*/ 103792 w 594561"/>
                <a:gd name="connsiteY1660" fmla="*/ 163781 h 534543"/>
                <a:gd name="connsiteX1661" fmla="*/ 107453 w 594561"/>
                <a:gd name="connsiteY1661" fmla="*/ 166262 h 534543"/>
                <a:gd name="connsiteX1662" fmla="*/ 108602 w 594561"/>
                <a:gd name="connsiteY1662" fmla="*/ 167351 h 534543"/>
                <a:gd name="connsiteX1663" fmla="*/ 107241 w 594561"/>
                <a:gd name="connsiteY1663" fmla="*/ 168591 h 534543"/>
                <a:gd name="connsiteX1664" fmla="*/ 107967 w 594561"/>
                <a:gd name="connsiteY1664" fmla="*/ 170376 h 534543"/>
                <a:gd name="connsiteX1665" fmla="*/ 109661 w 594561"/>
                <a:gd name="connsiteY1665" fmla="*/ 172010 h 534543"/>
                <a:gd name="connsiteX1666" fmla="*/ 111083 w 594561"/>
                <a:gd name="connsiteY1666" fmla="*/ 172706 h 534543"/>
                <a:gd name="connsiteX1667" fmla="*/ 116226 w 594561"/>
                <a:gd name="connsiteY1667" fmla="*/ 178968 h 534543"/>
                <a:gd name="connsiteX1668" fmla="*/ 127116 w 594561"/>
                <a:gd name="connsiteY1668" fmla="*/ 186712 h 534543"/>
                <a:gd name="connsiteX1669" fmla="*/ 133288 w 594561"/>
                <a:gd name="connsiteY1669" fmla="*/ 189767 h 534543"/>
                <a:gd name="connsiteX1670" fmla="*/ 134830 w 594561"/>
                <a:gd name="connsiteY1670" fmla="*/ 190857 h 534543"/>
                <a:gd name="connsiteX1671" fmla="*/ 135859 w 594561"/>
                <a:gd name="connsiteY1671" fmla="*/ 192399 h 534543"/>
                <a:gd name="connsiteX1672" fmla="*/ 136222 w 594561"/>
                <a:gd name="connsiteY1672" fmla="*/ 194638 h 534543"/>
                <a:gd name="connsiteX1673" fmla="*/ 142061 w 594561"/>
                <a:gd name="connsiteY1673" fmla="*/ 207041 h 534543"/>
                <a:gd name="connsiteX1674" fmla="*/ 142817 w 594561"/>
                <a:gd name="connsiteY1674" fmla="*/ 210006 h 534543"/>
                <a:gd name="connsiteX1675" fmla="*/ 142121 w 594561"/>
                <a:gd name="connsiteY1675" fmla="*/ 212456 h 534543"/>
                <a:gd name="connsiteX1676" fmla="*/ 141153 w 594561"/>
                <a:gd name="connsiteY1676" fmla="*/ 214452 h 534543"/>
                <a:gd name="connsiteX1677" fmla="*/ 138975 w 594561"/>
                <a:gd name="connsiteY1677" fmla="*/ 222681 h 534543"/>
                <a:gd name="connsiteX1678" fmla="*/ 138733 w 594561"/>
                <a:gd name="connsiteY1678" fmla="*/ 224950 h 534543"/>
                <a:gd name="connsiteX1679" fmla="*/ 138975 w 594561"/>
                <a:gd name="connsiteY1679" fmla="*/ 232149 h 534543"/>
                <a:gd name="connsiteX1680" fmla="*/ 139338 w 594561"/>
                <a:gd name="connsiteY1680" fmla="*/ 234812 h 534543"/>
                <a:gd name="connsiteX1681" fmla="*/ 140003 w 594561"/>
                <a:gd name="connsiteY1681" fmla="*/ 237080 h 534543"/>
                <a:gd name="connsiteX1682" fmla="*/ 140124 w 594561"/>
                <a:gd name="connsiteY1682" fmla="*/ 238986 h 534543"/>
                <a:gd name="connsiteX1683" fmla="*/ 138975 w 594561"/>
                <a:gd name="connsiteY1683" fmla="*/ 240620 h 534543"/>
                <a:gd name="connsiteX1684" fmla="*/ 140760 w 594561"/>
                <a:gd name="connsiteY1684" fmla="*/ 244976 h 534543"/>
                <a:gd name="connsiteX1685" fmla="*/ 150803 w 594561"/>
                <a:gd name="connsiteY1685" fmla="*/ 259467 h 534543"/>
                <a:gd name="connsiteX1686" fmla="*/ 151408 w 594561"/>
                <a:gd name="connsiteY1686" fmla="*/ 260616 h 534543"/>
                <a:gd name="connsiteX1687" fmla="*/ 152195 w 594561"/>
                <a:gd name="connsiteY1687" fmla="*/ 260707 h 534543"/>
                <a:gd name="connsiteX1688" fmla="*/ 155462 w 594561"/>
                <a:gd name="connsiteY1688" fmla="*/ 263127 h 534543"/>
                <a:gd name="connsiteX1689" fmla="*/ 155885 w 594561"/>
                <a:gd name="connsiteY1689" fmla="*/ 263762 h 534543"/>
                <a:gd name="connsiteX1690" fmla="*/ 158699 w 594561"/>
                <a:gd name="connsiteY1690" fmla="*/ 264973 h 534543"/>
                <a:gd name="connsiteX1691" fmla="*/ 161512 w 594561"/>
                <a:gd name="connsiteY1691" fmla="*/ 267846 h 534543"/>
                <a:gd name="connsiteX1692" fmla="*/ 166231 w 594561"/>
                <a:gd name="connsiteY1692" fmla="*/ 273957 h 534543"/>
                <a:gd name="connsiteX1693" fmla="*/ 180208 w 594561"/>
                <a:gd name="connsiteY1693" fmla="*/ 287116 h 534543"/>
                <a:gd name="connsiteX1694" fmla="*/ 181629 w 594561"/>
                <a:gd name="connsiteY1694" fmla="*/ 288448 h 534543"/>
                <a:gd name="connsiteX1695" fmla="*/ 191491 w 594561"/>
                <a:gd name="connsiteY1695" fmla="*/ 292804 h 534543"/>
                <a:gd name="connsiteX1696" fmla="*/ 192308 w 594561"/>
                <a:gd name="connsiteY1696" fmla="*/ 293348 h 534543"/>
                <a:gd name="connsiteX1697" fmla="*/ 195333 w 594561"/>
                <a:gd name="connsiteY1697" fmla="*/ 296978 h 534543"/>
                <a:gd name="connsiteX1698" fmla="*/ 195817 w 594561"/>
                <a:gd name="connsiteY1698" fmla="*/ 297372 h 534543"/>
                <a:gd name="connsiteX1699" fmla="*/ 202442 w 594561"/>
                <a:gd name="connsiteY1699" fmla="*/ 298249 h 534543"/>
                <a:gd name="connsiteX1700" fmla="*/ 203834 w 594561"/>
                <a:gd name="connsiteY1700" fmla="*/ 299126 h 534543"/>
                <a:gd name="connsiteX1701" fmla="*/ 203501 w 594561"/>
                <a:gd name="connsiteY1701" fmla="*/ 300578 h 534543"/>
                <a:gd name="connsiteX1702" fmla="*/ 201323 w 594561"/>
                <a:gd name="connsiteY1702" fmla="*/ 300760 h 534543"/>
                <a:gd name="connsiteX1703" fmla="*/ 193367 w 594561"/>
                <a:gd name="connsiteY1703" fmla="*/ 299641 h 534543"/>
                <a:gd name="connsiteX1704" fmla="*/ 191764 w 594561"/>
                <a:gd name="connsiteY1704" fmla="*/ 299066 h 534543"/>
                <a:gd name="connsiteX1705" fmla="*/ 184564 w 594561"/>
                <a:gd name="connsiteY1705" fmla="*/ 295284 h 534543"/>
                <a:gd name="connsiteX1706" fmla="*/ 181720 w 594561"/>
                <a:gd name="connsiteY1706" fmla="*/ 294316 h 534543"/>
                <a:gd name="connsiteX1707" fmla="*/ 178877 w 594561"/>
                <a:gd name="connsiteY1707" fmla="*/ 291957 h 534543"/>
                <a:gd name="connsiteX1708" fmla="*/ 176941 w 594561"/>
                <a:gd name="connsiteY1708" fmla="*/ 291321 h 534543"/>
                <a:gd name="connsiteX1709" fmla="*/ 177697 w 594561"/>
                <a:gd name="connsiteY1709" fmla="*/ 292895 h 534543"/>
                <a:gd name="connsiteX1710" fmla="*/ 178634 w 594561"/>
                <a:gd name="connsiteY1710" fmla="*/ 294256 h 534543"/>
                <a:gd name="connsiteX1711" fmla="*/ 179754 w 594561"/>
                <a:gd name="connsiteY1711" fmla="*/ 295254 h 534543"/>
                <a:gd name="connsiteX1712" fmla="*/ 181085 w 594561"/>
                <a:gd name="connsiteY1712" fmla="*/ 295647 h 534543"/>
                <a:gd name="connsiteX1713" fmla="*/ 180601 w 594561"/>
                <a:gd name="connsiteY1713" fmla="*/ 296313 h 534543"/>
                <a:gd name="connsiteX1714" fmla="*/ 180298 w 594561"/>
                <a:gd name="connsiteY1714" fmla="*/ 296797 h 534543"/>
                <a:gd name="connsiteX1715" fmla="*/ 179845 w 594561"/>
                <a:gd name="connsiteY1715" fmla="*/ 297160 h 534543"/>
                <a:gd name="connsiteX1716" fmla="*/ 178967 w 594561"/>
                <a:gd name="connsiteY1716" fmla="*/ 297432 h 534543"/>
                <a:gd name="connsiteX1717" fmla="*/ 180329 w 594561"/>
                <a:gd name="connsiteY1717" fmla="*/ 301909 h 534543"/>
                <a:gd name="connsiteX1718" fmla="*/ 178756 w 594561"/>
                <a:gd name="connsiteY1718" fmla="*/ 301788 h 534543"/>
                <a:gd name="connsiteX1719" fmla="*/ 177636 w 594561"/>
                <a:gd name="connsiteY1719" fmla="*/ 300941 h 534543"/>
                <a:gd name="connsiteX1720" fmla="*/ 175549 w 594561"/>
                <a:gd name="connsiteY1720" fmla="*/ 298430 h 534543"/>
                <a:gd name="connsiteX1721" fmla="*/ 170588 w 594561"/>
                <a:gd name="connsiteY1721" fmla="*/ 295375 h 534543"/>
                <a:gd name="connsiteX1722" fmla="*/ 170890 w 594561"/>
                <a:gd name="connsiteY1722" fmla="*/ 295920 h 534543"/>
                <a:gd name="connsiteX1723" fmla="*/ 171435 w 594561"/>
                <a:gd name="connsiteY1723" fmla="*/ 297493 h 534543"/>
                <a:gd name="connsiteX1724" fmla="*/ 170678 w 594561"/>
                <a:gd name="connsiteY1724" fmla="*/ 297493 h 534543"/>
                <a:gd name="connsiteX1725" fmla="*/ 170255 w 594561"/>
                <a:gd name="connsiteY1725" fmla="*/ 297039 h 534543"/>
                <a:gd name="connsiteX1726" fmla="*/ 170194 w 594561"/>
                <a:gd name="connsiteY1726" fmla="*/ 297039 h 534543"/>
                <a:gd name="connsiteX1727" fmla="*/ 170073 w 594561"/>
                <a:gd name="connsiteY1727" fmla="*/ 297281 h 534543"/>
                <a:gd name="connsiteX1728" fmla="*/ 169287 w 594561"/>
                <a:gd name="connsiteY1728" fmla="*/ 297463 h 534543"/>
                <a:gd name="connsiteX1729" fmla="*/ 171556 w 594561"/>
                <a:gd name="connsiteY1729" fmla="*/ 299066 h 534543"/>
                <a:gd name="connsiteX1730" fmla="*/ 170558 w 594561"/>
                <a:gd name="connsiteY1730" fmla="*/ 301062 h 534543"/>
                <a:gd name="connsiteX1731" fmla="*/ 168409 w 594561"/>
                <a:gd name="connsiteY1731" fmla="*/ 302000 h 534543"/>
                <a:gd name="connsiteX1732" fmla="*/ 167260 w 594561"/>
                <a:gd name="connsiteY1732" fmla="*/ 300548 h 534543"/>
                <a:gd name="connsiteX1733" fmla="*/ 166504 w 594561"/>
                <a:gd name="connsiteY1733" fmla="*/ 298098 h 534543"/>
                <a:gd name="connsiteX1734" fmla="*/ 164810 w 594561"/>
                <a:gd name="connsiteY1734" fmla="*/ 297826 h 534543"/>
                <a:gd name="connsiteX1735" fmla="*/ 162964 w 594561"/>
                <a:gd name="connsiteY1735" fmla="*/ 298793 h 534543"/>
                <a:gd name="connsiteX1736" fmla="*/ 161785 w 594561"/>
                <a:gd name="connsiteY1736" fmla="*/ 300125 h 534543"/>
                <a:gd name="connsiteX1737" fmla="*/ 163902 w 594561"/>
                <a:gd name="connsiteY1737" fmla="*/ 301395 h 534543"/>
                <a:gd name="connsiteX1738" fmla="*/ 165990 w 594561"/>
                <a:gd name="connsiteY1738" fmla="*/ 303876 h 534543"/>
                <a:gd name="connsiteX1739" fmla="*/ 166806 w 594561"/>
                <a:gd name="connsiteY1739" fmla="*/ 306719 h 534543"/>
                <a:gd name="connsiteX1740" fmla="*/ 165233 w 594561"/>
                <a:gd name="connsiteY1740" fmla="*/ 308988 h 534543"/>
                <a:gd name="connsiteX1741" fmla="*/ 170497 w 594561"/>
                <a:gd name="connsiteY1741" fmla="*/ 314010 h 534543"/>
                <a:gd name="connsiteX1742" fmla="*/ 172070 w 594561"/>
                <a:gd name="connsiteY1742" fmla="*/ 315069 h 534543"/>
                <a:gd name="connsiteX1743" fmla="*/ 171677 w 594561"/>
                <a:gd name="connsiteY1743" fmla="*/ 316370 h 534543"/>
                <a:gd name="connsiteX1744" fmla="*/ 172100 w 594561"/>
                <a:gd name="connsiteY1744" fmla="*/ 317277 h 534543"/>
                <a:gd name="connsiteX1745" fmla="*/ 173008 w 594561"/>
                <a:gd name="connsiteY1745" fmla="*/ 317973 h 534543"/>
                <a:gd name="connsiteX1746" fmla="*/ 174127 w 594561"/>
                <a:gd name="connsiteY1746" fmla="*/ 318578 h 534543"/>
                <a:gd name="connsiteX1747" fmla="*/ 178665 w 594561"/>
                <a:gd name="connsiteY1747" fmla="*/ 323116 h 534543"/>
                <a:gd name="connsiteX1748" fmla="*/ 178604 w 594561"/>
                <a:gd name="connsiteY1748" fmla="*/ 323539 h 534543"/>
                <a:gd name="connsiteX1749" fmla="*/ 182809 w 594561"/>
                <a:gd name="connsiteY1749" fmla="*/ 328289 h 534543"/>
                <a:gd name="connsiteX1750" fmla="*/ 184836 w 594561"/>
                <a:gd name="connsiteY1750" fmla="*/ 329045 h 534543"/>
                <a:gd name="connsiteX1751" fmla="*/ 186681 w 594561"/>
                <a:gd name="connsiteY1751" fmla="*/ 330800 h 534543"/>
                <a:gd name="connsiteX1752" fmla="*/ 189283 w 594561"/>
                <a:gd name="connsiteY1752" fmla="*/ 334430 h 534543"/>
                <a:gd name="connsiteX1753" fmla="*/ 194789 w 594561"/>
                <a:gd name="connsiteY1753" fmla="*/ 340541 h 534543"/>
                <a:gd name="connsiteX1754" fmla="*/ 195485 w 594561"/>
                <a:gd name="connsiteY1754" fmla="*/ 341599 h 534543"/>
                <a:gd name="connsiteX1755" fmla="*/ 195908 w 594561"/>
                <a:gd name="connsiteY1755" fmla="*/ 342477 h 534543"/>
                <a:gd name="connsiteX1756" fmla="*/ 196453 w 594561"/>
                <a:gd name="connsiteY1756" fmla="*/ 343293 h 534543"/>
                <a:gd name="connsiteX1757" fmla="*/ 197572 w 594561"/>
                <a:gd name="connsiteY1757" fmla="*/ 344110 h 534543"/>
                <a:gd name="connsiteX1758" fmla="*/ 198328 w 594561"/>
                <a:gd name="connsiteY1758" fmla="*/ 344443 h 534543"/>
                <a:gd name="connsiteX1759" fmla="*/ 199206 w 594561"/>
                <a:gd name="connsiteY1759" fmla="*/ 344715 h 534543"/>
                <a:gd name="connsiteX1760" fmla="*/ 200748 w 594561"/>
                <a:gd name="connsiteY1760" fmla="*/ 344927 h 534543"/>
                <a:gd name="connsiteX1761" fmla="*/ 202200 w 594561"/>
                <a:gd name="connsiteY1761" fmla="*/ 345502 h 534543"/>
                <a:gd name="connsiteX1762" fmla="*/ 203501 w 594561"/>
                <a:gd name="connsiteY1762" fmla="*/ 346863 h 534543"/>
                <a:gd name="connsiteX1763" fmla="*/ 205528 w 594561"/>
                <a:gd name="connsiteY1763" fmla="*/ 349797 h 534543"/>
                <a:gd name="connsiteX1764" fmla="*/ 205710 w 594561"/>
                <a:gd name="connsiteY1764" fmla="*/ 349918 h 534543"/>
                <a:gd name="connsiteX1765" fmla="*/ 208462 w 594561"/>
                <a:gd name="connsiteY1765" fmla="*/ 352096 h 534543"/>
                <a:gd name="connsiteX1766" fmla="*/ 214997 w 594561"/>
                <a:gd name="connsiteY1766" fmla="*/ 355091 h 534543"/>
                <a:gd name="connsiteX1767" fmla="*/ 217719 w 594561"/>
                <a:gd name="connsiteY1767" fmla="*/ 357239 h 534543"/>
                <a:gd name="connsiteX1768" fmla="*/ 217810 w 594561"/>
                <a:gd name="connsiteY1768" fmla="*/ 357149 h 534543"/>
                <a:gd name="connsiteX1769" fmla="*/ 218022 w 594561"/>
                <a:gd name="connsiteY1769" fmla="*/ 357027 h 534543"/>
                <a:gd name="connsiteX1770" fmla="*/ 218445 w 594561"/>
                <a:gd name="connsiteY1770" fmla="*/ 357027 h 534543"/>
                <a:gd name="connsiteX1771" fmla="*/ 219020 w 594561"/>
                <a:gd name="connsiteY1771" fmla="*/ 357239 h 534543"/>
                <a:gd name="connsiteX1772" fmla="*/ 219020 w 594561"/>
                <a:gd name="connsiteY1772" fmla="*/ 358177 h 534543"/>
                <a:gd name="connsiteX1773" fmla="*/ 217417 w 594561"/>
                <a:gd name="connsiteY1773" fmla="*/ 358026 h 534543"/>
                <a:gd name="connsiteX1774" fmla="*/ 215814 w 594561"/>
                <a:gd name="connsiteY1774" fmla="*/ 357663 h 534543"/>
                <a:gd name="connsiteX1775" fmla="*/ 212819 w 594561"/>
                <a:gd name="connsiteY1775" fmla="*/ 356423 h 534543"/>
                <a:gd name="connsiteX1776" fmla="*/ 214362 w 594561"/>
                <a:gd name="connsiteY1776" fmla="*/ 358328 h 534543"/>
                <a:gd name="connsiteX1777" fmla="*/ 216933 w 594561"/>
                <a:gd name="connsiteY1777" fmla="*/ 359024 h 534543"/>
                <a:gd name="connsiteX1778" fmla="*/ 219323 w 594561"/>
                <a:gd name="connsiteY1778" fmla="*/ 360022 h 534543"/>
                <a:gd name="connsiteX1779" fmla="*/ 220382 w 594561"/>
                <a:gd name="connsiteY1779" fmla="*/ 362896 h 534543"/>
                <a:gd name="connsiteX1780" fmla="*/ 221743 w 594561"/>
                <a:gd name="connsiteY1780" fmla="*/ 364348 h 534543"/>
                <a:gd name="connsiteX1781" fmla="*/ 228247 w 594561"/>
                <a:gd name="connsiteY1781" fmla="*/ 364802 h 534543"/>
                <a:gd name="connsiteX1782" fmla="*/ 230364 w 594561"/>
                <a:gd name="connsiteY1782" fmla="*/ 365498 h 534543"/>
                <a:gd name="connsiteX1783" fmla="*/ 231514 w 594561"/>
                <a:gd name="connsiteY1783" fmla="*/ 366526 h 534543"/>
                <a:gd name="connsiteX1784" fmla="*/ 235598 w 594561"/>
                <a:gd name="connsiteY1784" fmla="*/ 368644 h 534543"/>
                <a:gd name="connsiteX1785" fmla="*/ 236294 w 594561"/>
                <a:gd name="connsiteY1785" fmla="*/ 369400 h 534543"/>
                <a:gd name="connsiteX1786" fmla="*/ 237655 w 594561"/>
                <a:gd name="connsiteY1786" fmla="*/ 371427 h 534543"/>
                <a:gd name="connsiteX1787" fmla="*/ 238290 w 594561"/>
                <a:gd name="connsiteY1787" fmla="*/ 372062 h 534543"/>
                <a:gd name="connsiteX1788" fmla="*/ 238895 w 594561"/>
                <a:gd name="connsiteY1788" fmla="*/ 372274 h 534543"/>
                <a:gd name="connsiteX1789" fmla="*/ 239803 w 594561"/>
                <a:gd name="connsiteY1789" fmla="*/ 372456 h 534543"/>
                <a:gd name="connsiteX1790" fmla="*/ 240499 w 594561"/>
                <a:gd name="connsiteY1790" fmla="*/ 372456 h 534543"/>
                <a:gd name="connsiteX1791" fmla="*/ 241890 w 594561"/>
                <a:gd name="connsiteY1791" fmla="*/ 373605 h 534543"/>
                <a:gd name="connsiteX1792" fmla="*/ 244341 w 594561"/>
                <a:gd name="connsiteY1792" fmla="*/ 375511 h 534543"/>
                <a:gd name="connsiteX1793" fmla="*/ 245218 w 594561"/>
                <a:gd name="connsiteY1793" fmla="*/ 375360 h 534543"/>
                <a:gd name="connsiteX1794" fmla="*/ 245157 w 594561"/>
                <a:gd name="connsiteY1794" fmla="*/ 372970 h 534543"/>
                <a:gd name="connsiteX1795" fmla="*/ 246307 w 594561"/>
                <a:gd name="connsiteY1795" fmla="*/ 373999 h 534543"/>
                <a:gd name="connsiteX1796" fmla="*/ 246489 w 594561"/>
                <a:gd name="connsiteY1796" fmla="*/ 375118 h 534543"/>
                <a:gd name="connsiteX1797" fmla="*/ 245823 w 594561"/>
                <a:gd name="connsiteY1797" fmla="*/ 376086 h 534543"/>
                <a:gd name="connsiteX1798" fmla="*/ 244431 w 594561"/>
                <a:gd name="connsiteY1798" fmla="*/ 376570 h 534543"/>
                <a:gd name="connsiteX1799" fmla="*/ 245490 w 594561"/>
                <a:gd name="connsiteY1799" fmla="*/ 377114 h 534543"/>
                <a:gd name="connsiteX1800" fmla="*/ 246367 w 594561"/>
                <a:gd name="connsiteY1800" fmla="*/ 377992 h 534543"/>
                <a:gd name="connsiteX1801" fmla="*/ 246519 w 594561"/>
                <a:gd name="connsiteY1801" fmla="*/ 378839 h 534543"/>
                <a:gd name="connsiteX1802" fmla="*/ 245460 w 594561"/>
                <a:gd name="connsiteY1802" fmla="*/ 379202 h 534543"/>
                <a:gd name="connsiteX1803" fmla="*/ 244704 w 594561"/>
                <a:gd name="connsiteY1803" fmla="*/ 378960 h 534543"/>
                <a:gd name="connsiteX1804" fmla="*/ 243887 w 594561"/>
                <a:gd name="connsiteY1804" fmla="*/ 378567 h 534543"/>
                <a:gd name="connsiteX1805" fmla="*/ 242889 w 594561"/>
                <a:gd name="connsiteY1805" fmla="*/ 378476 h 534543"/>
                <a:gd name="connsiteX1806" fmla="*/ 241678 w 594561"/>
                <a:gd name="connsiteY1806" fmla="*/ 379202 h 534543"/>
                <a:gd name="connsiteX1807" fmla="*/ 243342 w 594561"/>
                <a:gd name="connsiteY1807" fmla="*/ 379202 h 534543"/>
                <a:gd name="connsiteX1808" fmla="*/ 247880 w 594561"/>
                <a:gd name="connsiteY1808" fmla="*/ 380049 h 534543"/>
                <a:gd name="connsiteX1809" fmla="*/ 247880 w 594561"/>
                <a:gd name="connsiteY1809" fmla="*/ 380987 h 534543"/>
                <a:gd name="connsiteX1810" fmla="*/ 244189 w 594561"/>
                <a:gd name="connsiteY1810" fmla="*/ 380926 h 534543"/>
                <a:gd name="connsiteX1811" fmla="*/ 243131 w 594561"/>
                <a:gd name="connsiteY1811" fmla="*/ 381622 h 534543"/>
                <a:gd name="connsiteX1812" fmla="*/ 243766 w 594561"/>
                <a:gd name="connsiteY1812" fmla="*/ 383528 h 534543"/>
                <a:gd name="connsiteX1813" fmla="*/ 243040 w 594561"/>
                <a:gd name="connsiteY1813" fmla="*/ 384466 h 534543"/>
                <a:gd name="connsiteX1814" fmla="*/ 243766 w 594561"/>
                <a:gd name="connsiteY1814" fmla="*/ 385343 h 534543"/>
                <a:gd name="connsiteX1815" fmla="*/ 243040 w 594561"/>
                <a:gd name="connsiteY1815" fmla="*/ 386129 h 534543"/>
                <a:gd name="connsiteX1816" fmla="*/ 243463 w 594561"/>
                <a:gd name="connsiteY1816" fmla="*/ 386311 h 534543"/>
                <a:gd name="connsiteX1817" fmla="*/ 244462 w 594561"/>
                <a:gd name="connsiteY1817" fmla="*/ 387007 h 534543"/>
                <a:gd name="connsiteX1818" fmla="*/ 244008 w 594561"/>
                <a:gd name="connsiteY1818" fmla="*/ 387279 h 534543"/>
                <a:gd name="connsiteX1819" fmla="*/ 243524 w 594561"/>
                <a:gd name="connsiteY1819" fmla="*/ 387672 h 534543"/>
                <a:gd name="connsiteX1820" fmla="*/ 243070 w 594561"/>
                <a:gd name="connsiteY1820" fmla="*/ 387944 h 534543"/>
                <a:gd name="connsiteX1821" fmla="*/ 243070 w 594561"/>
                <a:gd name="connsiteY1821" fmla="*/ 388731 h 534543"/>
                <a:gd name="connsiteX1822" fmla="*/ 244825 w 594561"/>
                <a:gd name="connsiteY1822" fmla="*/ 388731 h 534543"/>
                <a:gd name="connsiteX1823" fmla="*/ 245702 w 594561"/>
                <a:gd name="connsiteY1823" fmla="*/ 389518 h 534543"/>
                <a:gd name="connsiteX1824" fmla="*/ 245490 w 594561"/>
                <a:gd name="connsiteY1824" fmla="*/ 390365 h 534543"/>
                <a:gd name="connsiteX1825" fmla="*/ 243826 w 594561"/>
                <a:gd name="connsiteY1825" fmla="*/ 390546 h 534543"/>
                <a:gd name="connsiteX1826" fmla="*/ 246095 w 594561"/>
                <a:gd name="connsiteY1826" fmla="*/ 391272 h 534543"/>
                <a:gd name="connsiteX1827" fmla="*/ 246912 w 594561"/>
                <a:gd name="connsiteY1827" fmla="*/ 391907 h 534543"/>
                <a:gd name="connsiteX1828" fmla="*/ 247245 w 594561"/>
                <a:gd name="connsiteY1828" fmla="*/ 393148 h 534543"/>
                <a:gd name="connsiteX1829" fmla="*/ 247820 w 594561"/>
                <a:gd name="connsiteY1829" fmla="*/ 392664 h 534543"/>
                <a:gd name="connsiteX1830" fmla="*/ 248425 w 594561"/>
                <a:gd name="connsiteY1830" fmla="*/ 392482 h 534543"/>
                <a:gd name="connsiteX1831" fmla="*/ 250058 w 594561"/>
                <a:gd name="connsiteY1831" fmla="*/ 392301 h 534543"/>
                <a:gd name="connsiteX1832" fmla="*/ 249544 w 594561"/>
                <a:gd name="connsiteY1832" fmla="*/ 393269 h 534543"/>
                <a:gd name="connsiteX1833" fmla="*/ 249756 w 594561"/>
                <a:gd name="connsiteY1833" fmla="*/ 393934 h 534543"/>
                <a:gd name="connsiteX1834" fmla="*/ 250028 w 594561"/>
                <a:gd name="connsiteY1834" fmla="*/ 394539 h 534543"/>
                <a:gd name="connsiteX1835" fmla="*/ 249695 w 594561"/>
                <a:gd name="connsiteY1835" fmla="*/ 395326 h 534543"/>
                <a:gd name="connsiteX1836" fmla="*/ 248757 w 594561"/>
                <a:gd name="connsiteY1836" fmla="*/ 395870 h 534543"/>
                <a:gd name="connsiteX1837" fmla="*/ 247971 w 594561"/>
                <a:gd name="connsiteY1837" fmla="*/ 395870 h 534543"/>
                <a:gd name="connsiteX1838" fmla="*/ 247457 w 594561"/>
                <a:gd name="connsiteY1838" fmla="*/ 396082 h 534543"/>
                <a:gd name="connsiteX1839" fmla="*/ 247275 w 594561"/>
                <a:gd name="connsiteY1839" fmla="*/ 397504 h 534543"/>
                <a:gd name="connsiteX1840" fmla="*/ 247759 w 594561"/>
                <a:gd name="connsiteY1840" fmla="*/ 397504 h 534543"/>
                <a:gd name="connsiteX1841" fmla="*/ 247880 w 594561"/>
                <a:gd name="connsiteY1841" fmla="*/ 397232 h 534543"/>
                <a:gd name="connsiteX1842" fmla="*/ 247880 w 594561"/>
                <a:gd name="connsiteY1842" fmla="*/ 396869 h 534543"/>
                <a:gd name="connsiteX1843" fmla="*/ 247941 w 594561"/>
                <a:gd name="connsiteY1843" fmla="*/ 396657 h 534543"/>
                <a:gd name="connsiteX1844" fmla="*/ 248667 w 594561"/>
                <a:gd name="connsiteY1844" fmla="*/ 397655 h 534543"/>
                <a:gd name="connsiteX1845" fmla="*/ 250905 w 594561"/>
                <a:gd name="connsiteY1845" fmla="*/ 397655 h 534543"/>
                <a:gd name="connsiteX1846" fmla="*/ 252115 w 594561"/>
                <a:gd name="connsiteY1846" fmla="*/ 398412 h 534543"/>
                <a:gd name="connsiteX1847" fmla="*/ 252115 w 594561"/>
                <a:gd name="connsiteY1847" fmla="*/ 397564 h 534543"/>
                <a:gd name="connsiteX1848" fmla="*/ 252751 w 594561"/>
                <a:gd name="connsiteY1848" fmla="*/ 397564 h 534543"/>
                <a:gd name="connsiteX1849" fmla="*/ 254203 w 594561"/>
                <a:gd name="connsiteY1849" fmla="*/ 398714 h 534543"/>
                <a:gd name="connsiteX1850" fmla="*/ 255352 w 594561"/>
                <a:gd name="connsiteY1850" fmla="*/ 399228 h 534543"/>
                <a:gd name="connsiteX1851" fmla="*/ 258014 w 594561"/>
                <a:gd name="connsiteY1851" fmla="*/ 399380 h 534543"/>
                <a:gd name="connsiteX1852" fmla="*/ 261282 w 594561"/>
                <a:gd name="connsiteY1852" fmla="*/ 400620 h 534543"/>
                <a:gd name="connsiteX1853" fmla="*/ 262764 w 594561"/>
                <a:gd name="connsiteY1853" fmla="*/ 400771 h 534543"/>
                <a:gd name="connsiteX1854" fmla="*/ 262522 w 594561"/>
                <a:gd name="connsiteY1854" fmla="*/ 399410 h 534543"/>
                <a:gd name="connsiteX1855" fmla="*/ 268723 w 594561"/>
                <a:gd name="connsiteY1855" fmla="*/ 399410 h 534543"/>
                <a:gd name="connsiteX1856" fmla="*/ 267967 w 594561"/>
                <a:gd name="connsiteY1856" fmla="*/ 397564 h 534543"/>
                <a:gd name="connsiteX1857" fmla="*/ 266545 w 594561"/>
                <a:gd name="connsiteY1857" fmla="*/ 396627 h 534543"/>
                <a:gd name="connsiteX1858" fmla="*/ 263217 w 594561"/>
                <a:gd name="connsiteY1858" fmla="*/ 395840 h 534543"/>
                <a:gd name="connsiteX1859" fmla="*/ 263217 w 594561"/>
                <a:gd name="connsiteY1859" fmla="*/ 394963 h 534543"/>
                <a:gd name="connsiteX1860" fmla="*/ 275500 w 594561"/>
                <a:gd name="connsiteY1860" fmla="*/ 394691 h 534543"/>
                <a:gd name="connsiteX1861" fmla="*/ 279674 w 594561"/>
                <a:gd name="connsiteY1861" fmla="*/ 393481 h 534543"/>
                <a:gd name="connsiteX1862" fmla="*/ 281520 w 594561"/>
                <a:gd name="connsiteY1862" fmla="*/ 393208 h 534543"/>
                <a:gd name="connsiteX1863" fmla="*/ 282215 w 594561"/>
                <a:gd name="connsiteY1863" fmla="*/ 392996 h 534543"/>
                <a:gd name="connsiteX1864" fmla="*/ 284091 w 594561"/>
                <a:gd name="connsiteY1864" fmla="*/ 391907 h 534543"/>
                <a:gd name="connsiteX1865" fmla="*/ 285271 w 594561"/>
                <a:gd name="connsiteY1865" fmla="*/ 391575 h 534543"/>
                <a:gd name="connsiteX1866" fmla="*/ 295042 w 594561"/>
                <a:gd name="connsiteY1866" fmla="*/ 391756 h 534543"/>
                <a:gd name="connsiteX1867" fmla="*/ 297341 w 594561"/>
                <a:gd name="connsiteY1867" fmla="*/ 392240 h 534543"/>
                <a:gd name="connsiteX1868" fmla="*/ 299005 w 594561"/>
                <a:gd name="connsiteY1868" fmla="*/ 393208 h 534543"/>
                <a:gd name="connsiteX1869" fmla="*/ 297250 w 594561"/>
                <a:gd name="connsiteY1869" fmla="*/ 394388 h 534543"/>
                <a:gd name="connsiteX1870" fmla="*/ 295072 w 594561"/>
                <a:gd name="connsiteY1870" fmla="*/ 395296 h 534543"/>
                <a:gd name="connsiteX1871" fmla="*/ 292773 w 594561"/>
                <a:gd name="connsiteY1871" fmla="*/ 395810 h 534543"/>
                <a:gd name="connsiteX1872" fmla="*/ 290746 w 594561"/>
                <a:gd name="connsiteY1872" fmla="*/ 395810 h 534543"/>
                <a:gd name="connsiteX1873" fmla="*/ 290746 w 594561"/>
                <a:gd name="connsiteY1873" fmla="*/ 396687 h 534543"/>
                <a:gd name="connsiteX1874" fmla="*/ 298309 w 594561"/>
                <a:gd name="connsiteY1874" fmla="*/ 396687 h 534543"/>
                <a:gd name="connsiteX1875" fmla="*/ 302121 w 594561"/>
                <a:gd name="connsiteY1875" fmla="*/ 397564 h 534543"/>
                <a:gd name="connsiteX1876" fmla="*/ 302635 w 594561"/>
                <a:gd name="connsiteY1876" fmla="*/ 397413 h 534543"/>
                <a:gd name="connsiteX1877" fmla="*/ 303573 w 594561"/>
                <a:gd name="connsiteY1877" fmla="*/ 396808 h 534543"/>
                <a:gd name="connsiteX1878" fmla="*/ 304178 w 594561"/>
                <a:gd name="connsiteY1878" fmla="*/ 396657 h 534543"/>
                <a:gd name="connsiteX1879" fmla="*/ 304723 w 594561"/>
                <a:gd name="connsiteY1879" fmla="*/ 396929 h 534543"/>
                <a:gd name="connsiteX1880" fmla="*/ 304965 w 594561"/>
                <a:gd name="connsiteY1880" fmla="*/ 397504 h 534543"/>
                <a:gd name="connsiteX1881" fmla="*/ 305055 w 594561"/>
                <a:gd name="connsiteY1881" fmla="*/ 398079 h 534543"/>
                <a:gd name="connsiteX1882" fmla="*/ 305206 w 594561"/>
                <a:gd name="connsiteY1882" fmla="*/ 398412 h 534543"/>
                <a:gd name="connsiteX1883" fmla="*/ 314373 w 594561"/>
                <a:gd name="connsiteY1883" fmla="*/ 404522 h 534543"/>
                <a:gd name="connsiteX1884" fmla="*/ 321210 w 594561"/>
                <a:gd name="connsiteY1884" fmla="*/ 405884 h 534543"/>
                <a:gd name="connsiteX1885" fmla="*/ 327109 w 594561"/>
                <a:gd name="connsiteY1885" fmla="*/ 408274 h 534543"/>
                <a:gd name="connsiteX1886" fmla="*/ 340026 w 594561"/>
                <a:gd name="connsiteY1886" fmla="*/ 409998 h 534543"/>
                <a:gd name="connsiteX1887" fmla="*/ 340812 w 594561"/>
                <a:gd name="connsiteY1887" fmla="*/ 410603 h 534543"/>
                <a:gd name="connsiteX1888" fmla="*/ 341538 w 594561"/>
                <a:gd name="connsiteY1888" fmla="*/ 411450 h 534543"/>
                <a:gd name="connsiteX1889" fmla="*/ 342567 w 594561"/>
                <a:gd name="connsiteY1889" fmla="*/ 412388 h 534543"/>
                <a:gd name="connsiteX1890" fmla="*/ 345380 w 594561"/>
                <a:gd name="connsiteY1890" fmla="*/ 414112 h 534543"/>
                <a:gd name="connsiteX1891" fmla="*/ 354879 w 594561"/>
                <a:gd name="connsiteY1891" fmla="*/ 425456 h 534543"/>
                <a:gd name="connsiteX1892" fmla="*/ 355303 w 594561"/>
                <a:gd name="connsiteY1892" fmla="*/ 425698 h 534543"/>
                <a:gd name="connsiteX1893" fmla="*/ 356574 w 594561"/>
                <a:gd name="connsiteY1893" fmla="*/ 426031 h 534543"/>
                <a:gd name="connsiteX1894" fmla="*/ 356997 w 594561"/>
                <a:gd name="connsiteY1894" fmla="*/ 426243 h 534543"/>
                <a:gd name="connsiteX1895" fmla="*/ 357179 w 594561"/>
                <a:gd name="connsiteY1895" fmla="*/ 426727 h 534543"/>
                <a:gd name="connsiteX1896" fmla="*/ 357511 w 594561"/>
                <a:gd name="connsiteY1896" fmla="*/ 428361 h 534543"/>
                <a:gd name="connsiteX1897" fmla="*/ 357693 w 594561"/>
                <a:gd name="connsiteY1897" fmla="*/ 428905 h 534543"/>
                <a:gd name="connsiteX1898" fmla="*/ 358752 w 594561"/>
                <a:gd name="connsiteY1898" fmla="*/ 430448 h 534543"/>
                <a:gd name="connsiteX1899" fmla="*/ 359417 w 594561"/>
                <a:gd name="connsiteY1899" fmla="*/ 431204 h 534543"/>
                <a:gd name="connsiteX1900" fmla="*/ 360083 w 594561"/>
                <a:gd name="connsiteY1900" fmla="*/ 431507 h 534543"/>
                <a:gd name="connsiteX1901" fmla="*/ 361111 w 594561"/>
                <a:gd name="connsiteY1901" fmla="*/ 431688 h 534543"/>
                <a:gd name="connsiteX1902" fmla="*/ 362110 w 594561"/>
                <a:gd name="connsiteY1902" fmla="*/ 432142 h 534543"/>
                <a:gd name="connsiteX1903" fmla="*/ 362866 w 594561"/>
                <a:gd name="connsiteY1903" fmla="*/ 432807 h 534543"/>
                <a:gd name="connsiteX1904" fmla="*/ 363501 w 594561"/>
                <a:gd name="connsiteY1904" fmla="*/ 434471 h 534543"/>
                <a:gd name="connsiteX1905" fmla="*/ 364257 w 594561"/>
                <a:gd name="connsiteY1905" fmla="*/ 435046 h 534543"/>
                <a:gd name="connsiteX1906" fmla="*/ 365921 w 594561"/>
                <a:gd name="connsiteY1906" fmla="*/ 435863 h 534543"/>
                <a:gd name="connsiteX1907" fmla="*/ 369400 w 594561"/>
                <a:gd name="connsiteY1907" fmla="*/ 438464 h 534543"/>
                <a:gd name="connsiteX1908" fmla="*/ 383890 w 594561"/>
                <a:gd name="connsiteY1908" fmla="*/ 445362 h 534543"/>
                <a:gd name="connsiteX1909" fmla="*/ 389366 w 594561"/>
                <a:gd name="connsiteY1909" fmla="*/ 452138 h 534543"/>
                <a:gd name="connsiteX1910" fmla="*/ 392754 w 594561"/>
                <a:gd name="connsiteY1910" fmla="*/ 454951 h 534543"/>
                <a:gd name="connsiteX1911" fmla="*/ 394932 w 594561"/>
                <a:gd name="connsiteY1911" fmla="*/ 453227 h 534543"/>
                <a:gd name="connsiteX1912" fmla="*/ 395053 w 594561"/>
                <a:gd name="connsiteY1912" fmla="*/ 453772 h 534543"/>
                <a:gd name="connsiteX1913" fmla="*/ 395689 w 594561"/>
                <a:gd name="connsiteY1913" fmla="*/ 454951 h 534543"/>
                <a:gd name="connsiteX1914" fmla="*/ 394932 w 594561"/>
                <a:gd name="connsiteY1914" fmla="*/ 455829 h 534543"/>
                <a:gd name="connsiteX1915" fmla="*/ 395537 w 594561"/>
                <a:gd name="connsiteY1915" fmla="*/ 456888 h 534543"/>
                <a:gd name="connsiteX1916" fmla="*/ 396384 w 594561"/>
                <a:gd name="connsiteY1916" fmla="*/ 457372 h 534543"/>
                <a:gd name="connsiteX1917" fmla="*/ 397383 w 594561"/>
                <a:gd name="connsiteY1917" fmla="*/ 457523 h 534543"/>
                <a:gd name="connsiteX1918" fmla="*/ 398351 w 594561"/>
                <a:gd name="connsiteY1918" fmla="*/ 457523 h 534543"/>
                <a:gd name="connsiteX1919" fmla="*/ 396384 w 594561"/>
                <a:gd name="connsiteY1919" fmla="*/ 458945 h 534543"/>
                <a:gd name="connsiteX1920" fmla="*/ 395689 w 594561"/>
                <a:gd name="connsiteY1920" fmla="*/ 459277 h 534543"/>
                <a:gd name="connsiteX1921" fmla="*/ 397685 w 594561"/>
                <a:gd name="connsiteY1921" fmla="*/ 458612 h 534543"/>
                <a:gd name="connsiteX1922" fmla="*/ 399531 w 594561"/>
                <a:gd name="connsiteY1922" fmla="*/ 457644 h 534543"/>
                <a:gd name="connsiteX1923" fmla="*/ 401164 w 594561"/>
                <a:gd name="connsiteY1923" fmla="*/ 457069 h 534543"/>
                <a:gd name="connsiteX1924" fmla="*/ 402586 w 594561"/>
                <a:gd name="connsiteY1924" fmla="*/ 457553 h 534543"/>
                <a:gd name="connsiteX1925" fmla="*/ 400287 w 594561"/>
                <a:gd name="connsiteY1925" fmla="*/ 458642 h 534543"/>
                <a:gd name="connsiteX1926" fmla="*/ 399440 w 594561"/>
                <a:gd name="connsiteY1926" fmla="*/ 459792 h 534543"/>
                <a:gd name="connsiteX1927" fmla="*/ 399833 w 594561"/>
                <a:gd name="connsiteY1927" fmla="*/ 461334 h 534543"/>
                <a:gd name="connsiteX1928" fmla="*/ 401194 w 594561"/>
                <a:gd name="connsiteY1928" fmla="*/ 463664 h 534543"/>
                <a:gd name="connsiteX1929" fmla="*/ 402223 w 594561"/>
                <a:gd name="connsiteY1929" fmla="*/ 464995 h 534543"/>
                <a:gd name="connsiteX1930" fmla="*/ 403947 w 594561"/>
                <a:gd name="connsiteY1930" fmla="*/ 466659 h 534543"/>
                <a:gd name="connsiteX1931" fmla="*/ 405853 w 594561"/>
                <a:gd name="connsiteY1931" fmla="*/ 467687 h 534543"/>
                <a:gd name="connsiteX1932" fmla="*/ 407366 w 594561"/>
                <a:gd name="connsiteY1932" fmla="*/ 467113 h 534543"/>
                <a:gd name="connsiteX1933" fmla="*/ 410421 w 594561"/>
                <a:gd name="connsiteY1933" fmla="*/ 468746 h 534543"/>
                <a:gd name="connsiteX1934" fmla="*/ 410482 w 594561"/>
                <a:gd name="connsiteY1934" fmla="*/ 468746 h 534543"/>
                <a:gd name="connsiteX1935" fmla="*/ 415897 w 594561"/>
                <a:gd name="connsiteY1935" fmla="*/ 467748 h 534543"/>
                <a:gd name="connsiteX1936" fmla="*/ 418740 w 594561"/>
                <a:gd name="connsiteY1936" fmla="*/ 465812 h 534543"/>
                <a:gd name="connsiteX1937" fmla="*/ 418377 w 594561"/>
                <a:gd name="connsiteY1937" fmla="*/ 462303 h 534543"/>
                <a:gd name="connsiteX1938" fmla="*/ 418377 w 594561"/>
                <a:gd name="connsiteY1938" fmla="*/ 462303 h 534543"/>
                <a:gd name="connsiteX1939" fmla="*/ 415291 w 594561"/>
                <a:gd name="connsiteY1939" fmla="*/ 455587 h 534543"/>
                <a:gd name="connsiteX1940" fmla="*/ 412236 w 594561"/>
                <a:gd name="connsiteY1940" fmla="*/ 452259 h 534543"/>
                <a:gd name="connsiteX1941" fmla="*/ 411177 w 594561"/>
                <a:gd name="connsiteY1941" fmla="*/ 451109 h 534543"/>
                <a:gd name="connsiteX1942" fmla="*/ 397443 w 594561"/>
                <a:gd name="connsiteY1942" fmla="*/ 442760 h 534543"/>
                <a:gd name="connsiteX1943" fmla="*/ 396566 w 594561"/>
                <a:gd name="connsiteY1943" fmla="*/ 442216 h 534543"/>
                <a:gd name="connsiteX1944" fmla="*/ 395023 w 594561"/>
                <a:gd name="connsiteY1944" fmla="*/ 440552 h 534543"/>
                <a:gd name="connsiteX1945" fmla="*/ 393874 w 594561"/>
                <a:gd name="connsiteY1945" fmla="*/ 438101 h 534543"/>
                <a:gd name="connsiteX1946" fmla="*/ 393057 w 594561"/>
                <a:gd name="connsiteY1946" fmla="*/ 435500 h 534543"/>
                <a:gd name="connsiteX1947" fmla="*/ 392391 w 594561"/>
                <a:gd name="connsiteY1947" fmla="*/ 434169 h 534543"/>
                <a:gd name="connsiteX1948" fmla="*/ 391332 w 594561"/>
                <a:gd name="connsiteY1948" fmla="*/ 433261 h 534543"/>
                <a:gd name="connsiteX1949" fmla="*/ 389275 w 594561"/>
                <a:gd name="connsiteY1949" fmla="*/ 432081 h 534543"/>
                <a:gd name="connsiteX1950" fmla="*/ 385191 w 594561"/>
                <a:gd name="connsiteY1950" fmla="*/ 428542 h 534543"/>
                <a:gd name="connsiteX1951" fmla="*/ 381289 w 594561"/>
                <a:gd name="connsiteY1951" fmla="*/ 423067 h 534543"/>
                <a:gd name="connsiteX1952" fmla="*/ 379050 w 594561"/>
                <a:gd name="connsiteY1952" fmla="*/ 416744 h 534543"/>
                <a:gd name="connsiteX1953" fmla="*/ 380926 w 594561"/>
                <a:gd name="connsiteY1953" fmla="*/ 406065 h 534543"/>
                <a:gd name="connsiteX1954" fmla="*/ 379322 w 594561"/>
                <a:gd name="connsiteY1954" fmla="*/ 402798 h 534543"/>
                <a:gd name="connsiteX1955" fmla="*/ 376207 w 594561"/>
                <a:gd name="connsiteY1955" fmla="*/ 400862 h 534543"/>
                <a:gd name="connsiteX1956" fmla="*/ 366466 w 594561"/>
                <a:gd name="connsiteY1956" fmla="*/ 399470 h 534543"/>
                <a:gd name="connsiteX1957" fmla="*/ 360597 w 594561"/>
                <a:gd name="connsiteY1957" fmla="*/ 396415 h 534543"/>
                <a:gd name="connsiteX1958" fmla="*/ 358358 w 594561"/>
                <a:gd name="connsiteY1958" fmla="*/ 394570 h 534543"/>
                <a:gd name="connsiteX1959" fmla="*/ 355152 w 594561"/>
                <a:gd name="connsiteY1959" fmla="*/ 391938 h 534543"/>
                <a:gd name="connsiteX1960" fmla="*/ 350281 w 594561"/>
                <a:gd name="connsiteY1960" fmla="*/ 386674 h 534543"/>
                <a:gd name="connsiteX1961" fmla="*/ 334369 w 594561"/>
                <a:gd name="connsiteY1961" fmla="*/ 371669 h 534543"/>
                <a:gd name="connsiteX1962" fmla="*/ 323176 w 594561"/>
                <a:gd name="connsiteY1962" fmla="*/ 363471 h 534543"/>
                <a:gd name="connsiteX1963" fmla="*/ 321754 w 594561"/>
                <a:gd name="connsiteY1963" fmla="*/ 361354 h 534543"/>
                <a:gd name="connsiteX1964" fmla="*/ 320877 w 594561"/>
                <a:gd name="connsiteY1964" fmla="*/ 358631 h 534543"/>
                <a:gd name="connsiteX1965" fmla="*/ 320514 w 594561"/>
                <a:gd name="connsiteY1965" fmla="*/ 356483 h 534543"/>
                <a:gd name="connsiteX1966" fmla="*/ 319758 w 594561"/>
                <a:gd name="connsiteY1966" fmla="*/ 354638 h 534543"/>
                <a:gd name="connsiteX1967" fmla="*/ 315613 w 594561"/>
                <a:gd name="connsiteY1967" fmla="*/ 351098 h 534543"/>
                <a:gd name="connsiteX1968" fmla="*/ 312316 w 594561"/>
                <a:gd name="connsiteY1968" fmla="*/ 346924 h 534543"/>
                <a:gd name="connsiteX1969" fmla="*/ 307385 w 594561"/>
                <a:gd name="connsiteY1969" fmla="*/ 342265 h 534543"/>
                <a:gd name="connsiteX1970" fmla="*/ 304541 w 594561"/>
                <a:gd name="connsiteY1970" fmla="*/ 338363 h 534543"/>
                <a:gd name="connsiteX1971" fmla="*/ 303422 w 594561"/>
                <a:gd name="connsiteY1971" fmla="*/ 336850 h 534543"/>
                <a:gd name="connsiteX1972" fmla="*/ 301849 w 594561"/>
                <a:gd name="connsiteY1972" fmla="*/ 335156 h 534543"/>
                <a:gd name="connsiteX1973" fmla="*/ 300094 w 594561"/>
                <a:gd name="connsiteY1973" fmla="*/ 333885 h 534543"/>
                <a:gd name="connsiteX1974" fmla="*/ 295677 w 594561"/>
                <a:gd name="connsiteY1974" fmla="*/ 332403 h 534543"/>
                <a:gd name="connsiteX1975" fmla="*/ 294861 w 594561"/>
                <a:gd name="connsiteY1975" fmla="*/ 330890 h 534543"/>
                <a:gd name="connsiteX1976" fmla="*/ 294407 w 594561"/>
                <a:gd name="connsiteY1976" fmla="*/ 328984 h 534543"/>
                <a:gd name="connsiteX1977" fmla="*/ 293106 w 594561"/>
                <a:gd name="connsiteY1977" fmla="*/ 327018 h 534543"/>
                <a:gd name="connsiteX1978" fmla="*/ 292108 w 594561"/>
                <a:gd name="connsiteY1978" fmla="*/ 326655 h 534543"/>
                <a:gd name="connsiteX1979" fmla="*/ 289476 w 594561"/>
                <a:gd name="connsiteY1979" fmla="*/ 326837 h 534543"/>
                <a:gd name="connsiteX1980" fmla="*/ 288387 w 594561"/>
                <a:gd name="connsiteY1980" fmla="*/ 326746 h 534543"/>
                <a:gd name="connsiteX1981" fmla="*/ 287419 w 594561"/>
                <a:gd name="connsiteY1981" fmla="*/ 326232 h 534543"/>
                <a:gd name="connsiteX1982" fmla="*/ 286299 w 594561"/>
                <a:gd name="connsiteY1982" fmla="*/ 325415 h 534543"/>
                <a:gd name="connsiteX1983" fmla="*/ 284363 w 594561"/>
                <a:gd name="connsiteY1983" fmla="*/ 323660 h 534543"/>
                <a:gd name="connsiteX1984" fmla="*/ 282881 w 594561"/>
                <a:gd name="connsiteY1984" fmla="*/ 321391 h 534543"/>
                <a:gd name="connsiteX1985" fmla="*/ 280642 w 594561"/>
                <a:gd name="connsiteY1985" fmla="*/ 316370 h 534543"/>
                <a:gd name="connsiteX1986" fmla="*/ 279190 w 594561"/>
                <a:gd name="connsiteY1986" fmla="*/ 314010 h 534543"/>
                <a:gd name="connsiteX1987" fmla="*/ 274834 w 594561"/>
                <a:gd name="connsiteY1987" fmla="*/ 309684 h 534543"/>
                <a:gd name="connsiteX1988" fmla="*/ 273201 w 594561"/>
                <a:gd name="connsiteY1988" fmla="*/ 307476 h 534543"/>
                <a:gd name="connsiteX1989" fmla="*/ 271325 w 594561"/>
                <a:gd name="connsiteY1989" fmla="*/ 301940 h 534543"/>
                <a:gd name="connsiteX1990" fmla="*/ 270387 w 594561"/>
                <a:gd name="connsiteY1990" fmla="*/ 297916 h 534543"/>
                <a:gd name="connsiteX1991" fmla="*/ 270296 w 594561"/>
                <a:gd name="connsiteY1991" fmla="*/ 295950 h 534543"/>
                <a:gd name="connsiteX1992" fmla="*/ 270599 w 594561"/>
                <a:gd name="connsiteY1992" fmla="*/ 294528 h 534543"/>
                <a:gd name="connsiteX1993" fmla="*/ 271627 w 594561"/>
                <a:gd name="connsiteY1993" fmla="*/ 292441 h 534543"/>
                <a:gd name="connsiteX1994" fmla="*/ 271960 w 594561"/>
                <a:gd name="connsiteY1994" fmla="*/ 291382 h 534543"/>
                <a:gd name="connsiteX1995" fmla="*/ 272233 w 594561"/>
                <a:gd name="connsiteY1995" fmla="*/ 289204 h 534543"/>
                <a:gd name="connsiteX1996" fmla="*/ 272233 w 594561"/>
                <a:gd name="connsiteY1996" fmla="*/ 289113 h 534543"/>
                <a:gd name="connsiteX1997" fmla="*/ 271930 w 594561"/>
                <a:gd name="connsiteY1997" fmla="*/ 287903 h 534543"/>
                <a:gd name="connsiteX1998" fmla="*/ 270841 w 594561"/>
                <a:gd name="connsiteY1998" fmla="*/ 286935 h 534543"/>
                <a:gd name="connsiteX1999" fmla="*/ 268754 w 594561"/>
                <a:gd name="connsiteY1999" fmla="*/ 285695 h 534543"/>
                <a:gd name="connsiteX2000" fmla="*/ 266939 w 594561"/>
                <a:gd name="connsiteY2000" fmla="*/ 285271 h 534543"/>
                <a:gd name="connsiteX2001" fmla="*/ 265789 w 594561"/>
                <a:gd name="connsiteY2001" fmla="*/ 285271 h 534543"/>
                <a:gd name="connsiteX2002" fmla="*/ 265426 w 594561"/>
                <a:gd name="connsiteY2002" fmla="*/ 285634 h 534543"/>
                <a:gd name="connsiteX2003" fmla="*/ 265486 w 594561"/>
                <a:gd name="connsiteY2003" fmla="*/ 284636 h 534543"/>
                <a:gd name="connsiteX2004" fmla="*/ 266152 w 594561"/>
                <a:gd name="connsiteY2004" fmla="*/ 284091 h 534543"/>
                <a:gd name="connsiteX2005" fmla="*/ 266999 w 594561"/>
                <a:gd name="connsiteY2005" fmla="*/ 283577 h 534543"/>
                <a:gd name="connsiteX2006" fmla="*/ 267604 w 594561"/>
                <a:gd name="connsiteY2006" fmla="*/ 282639 h 534543"/>
                <a:gd name="connsiteX2007" fmla="*/ 267604 w 594561"/>
                <a:gd name="connsiteY2007" fmla="*/ 280643 h 534543"/>
                <a:gd name="connsiteX2008" fmla="*/ 266908 w 594561"/>
                <a:gd name="connsiteY2008" fmla="*/ 278192 h 534543"/>
                <a:gd name="connsiteX2009" fmla="*/ 264428 w 594561"/>
                <a:gd name="connsiteY2009" fmla="*/ 271809 h 534543"/>
                <a:gd name="connsiteX2010" fmla="*/ 263883 w 594561"/>
                <a:gd name="connsiteY2010" fmla="*/ 269268 h 534543"/>
                <a:gd name="connsiteX2011" fmla="*/ 263217 w 594561"/>
                <a:gd name="connsiteY2011" fmla="*/ 266999 h 534543"/>
                <a:gd name="connsiteX2012" fmla="*/ 262038 w 594561"/>
                <a:gd name="connsiteY2012" fmla="*/ 265577 h 534543"/>
                <a:gd name="connsiteX2013" fmla="*/ 259920 w 594561"/>
                <a:gd name="connsiteY2013" fmla="*/ 265245 h 534543"/>
                <a:gd name="connsiteX2014" fmla="*/ 256260 w 594561"/>
                <a:gd name="connsiteY2014" fmla="*/ 266757 h 534543"/>
                <a:gd name="connsiteX2015" fmla="*/ 254172 w 594561"/>
                <a:gd name="connsiteY2015" fmla="*/ 266515 h 534543"/>
                <a:gd name="connsiteX2016" fmla="*/ 252115 w 594561"/>
                <a:gd name="connsiteY2016" fmla="*/ 264458 h 534543"/>
                <a:gd name="connsiteX2017" fmla="*/ 252902 w 594561"/>
                <a:gd name="connsiteY2017" fmla="*/ 262401 h 534543"/>
                <a:gd name="connsiteX2018" fmla="*/ 254566 w 594561"/>
                <a:gd name="connsiteY2018" fmla="*/ 260435 h 534543"/>
                <a:gd name="connsiteX2019" fmla="*/ 255019 w 594561"/>
                <a:gd name="connsiteY2019" fmla="*/ 258710 h 534543"/>
                <a:gd name="connsiteX2020" fmla="*/ 255866 w 594561"/>
                <a:gd name="connsiteY2020" fmla="*/ 258317 h 534543"/>
                <a:gd name="connsiteX2021" fmla="*/ 256018 w 594561"/>
                <a:gd name="connsiteY2021" fmla="*/ 258196 h 534543"/>
                <a:gd name="connsiteX2022" fmla="*/ 255655 w 594561"/>
                <a:gd name="connsiteY2022" fmla="*/ 256441 h 534543"/>
                <a:gd name="connsiteX2023" fmla="*/ 255140 w 594561"/>
                <a:gd name="connsiteY2023" fmla="*/ 254838 h 534543"/>
                <a:gd name="connsiteX2024" fmla="*/ 254354 w 594561"/>
                <a:gd name="connsiteY2024" fmla="*/ 253628 h 534543"/>
                <a:gd name="connsiteX2025" fmla="*/ 253114 w 594561"/>
                <a:gd name="connsiteY2025" fmla="*/ 253084 h 534543"/>
                <a:gd name="connsiteX2026" fmla="*/ 250663 w 594561"/>
                <a:gd name="connsiteY2026" fmla="*/ 252751 h 534543"/>
                <a:gd name="connsiteX2027" fmla="*/ 249423 w 594561"/>
                <a:gd name="connsiteY2027" fmla="*/ 252358 h 534543"/>
                <a:gd name="connsiteX2028" fmla="*/ 248394 w 594561"/>
                <a:gd name="connsiteY2028" fmla="*/ 251722 h 534543"/>
                <a:gd name="connsiteX2029" fmla="*/ 247033 w 594561"/>
                <a:gd name="connsiteY2029" fmla="*/ 249907 h 534543"/>
                <a:gd name="connsiteX2030" fmla="*/ 246277 w 594561"/>
                <a:gd name="connsiteY2030" fmla="*/ 246670 h 534543"/>
                <a:gd name="connsiteX2031" fmla="*/ 245188 w 594561"/>
                <a:gd name="connsiteY2031" fmla="*/ 245249 h 534543"/>
                <a:gd name="connsiteX2032" fmla="*/ 244431 w 594561"/>
                <a:gd name="connsiteY2032" fmla="*/ 245188 h 534543"/>
                <a:gd name="connsiteX2033" fmla="*/ 243584 w 594561"/>
                <a:gd name="connsiteY2033" fmla="*/ 245612 h 534543"/>
                <a:gd name="connsiteX2034" fmla="*/ 242737 w 594561"/>
                <a:gd name="connsiteY2034" fmla="*/ 245823 h 534543"/>
                <a:gd name="connsiteX2035" fmla="*/ 241981 w 594561"/>
                <a:gd name="connsiteY2035" fmla="*/ 245097 h 534543"/>
                <a:gd name="connsiteX2036" fmla="*/ 241618 w 594561"/>
                <a:gd name="connsiteY2036" fmla="*/ 243978 h 534543"/>
                <a:gd name="connsiteX2037" fmla="*/ 241346 w 594561"/>
                <a:gd name="connsiteY2037" fmla="*/ 242647 h 534543"/>
                <a:gd name="connsiteX2038" fmla="*/ 240983 w 594561"/>
                <a:gd name="connsiteY2038" fmla="*/ 241437 h 534543"/>
                <a:gd name="connsiteX2039" fmla="*/ 240287 w 594561"/>
                <a:gd name="connsiteY2039" fmla="*/ 240681 h 534543"/>
                <a:gd name="connsiteX2040" fmla="*/ 239016 w 594561"/>
                <a:gd name="connsiteY2040" fmla="*/ 240590 h 534543"/>
                <a:gd name="connsiteX2041" fmla="*/ 238321 w 594561"/>
                <a:gd name="connsiteY2041" fmla="*/ 241407 h 534543"/>
                <a:gd name="connsiteX2042" fmla="*/ 237776 w 594561"/>
                <a:gd name="connsiteY2042" fmla="*/ 242526 h 534543"/>
                <a:gd name="connsiteX2043" fmla="*/ 237020 w 594561"/>
                <a:gd name="connsiteY2043" fmla="*/ 243373 h 534543"/>
                <a:gd name="connsiteX2044" fmla="*/ 236173 w 594561"/>
                <a:gd name="connsiteY2044" fmla="*/ 243645 h 534543"/>
                <a:gd name="connsiteX2045" fmla="*/ 234358 w 594561"/>
                <a:gd name="connsiteY2045" fmla="*/ 243766 h 534543"/>
                <a:gd name="connsiteX2046" fmla="*/ 233390 w 594561"/>
                <a:gd name="connsiteY2046" fmla="*/ 244069 h 534543"/>
                <a:gd name="connsiteX2047" fmla="*/ 231907 w 594561"/>
                <a:gd name="connsiteY2047" fmla="*/ 244280 h 534543"/>
                <a:gd name="connsiteX2048" fmla="*/ 231030 w 594561"/>
                <a:gd name="connsiteY2048" fmla="*/ 243403 h 534543"/>
                <a:gd name="connsiteX2049" fmla="*/ 230395 w 594561"/>
                <a:gd name="connsiteY2049" fmla="*/ 242102 h 534543"/>
                <a:gd name="connsiteX2050" fmla="*/ 229638 w 594561"/>
                <a:gd name="connsiteY2050" fmla="*/ 240892 h 534543"/>
                <a:gd name="connsiteX2051" fmla="*/ 227279 w 594561"/>
                <a:gd name="connsiteY2051" fmla="*/ 239380 h 534543"/>
                <a:gd name="connsiteX2052" fmla="*/ 226704 w 594561"/>
                <a:gd name="connsiteY2052" fmla="*/ 238714 h 534543"/>
                <a:gd name="connsiteX2053" fmla="*/ 224163 w 594561"/>
                <a:gd name="connsiteY2053" fmla="*/ 234842 h 534543"/>
                <a:gd name="connsiteX2054" fmla="*/ 223044 w 594561"/>
                <a:gd name="connsiteY2054" fmla="*/ 232573 h 534543"/>
                <a:gd name="connsiteX2055" fmla="*/ 222923 w 594561"/>
                <a:gd name="connsiteY2055" fmla="*/ 230395 h 534543"/>
                <a:gd name="connsiteX2056" fmla="*/ 224405 w 594561"/>
                <a:gd name="connsiteY2056" fmla="*/ 228580 h 534543"/>
                <a:gd name="connsiteX2057" fmla="*/ 226462 w 594561"/>
                <a:gd name="connsiteY2057" fmla="*/ 228005 h 534543"/>
                <a:gd name="connsiteX2058" fmla="*/ 228217 w 594561"/>
                <a:gd name="connsiteY2058" fmla="*/ 227249 h 534543"/>
                <a:gd name="connsiteX2059" fmla="*/ 228701 w 594561"/>
                <a:gd name="connsiteY2059" fmla="*/ 224950 h 534543"/>
                <a:gd name="connsiteX2060" fmla="*/ 227763 w 594561"/>
                <a:gd name="connsiteY2060" fmla="*/ 222469 h 534543"/>
                <a:gd name="connsiteX2061" fmla="*/ 226159 w 594561"/>
                <a:gd name="connsiteY2061" fmla="*/ 220109 h 534543"/>
                <a:gd name="connsiteX2062" fmla="*/ 224768 w 594561"/>
                <a:gd name="connsiteY2062" fmla="*/ 217508 h 534543"/>
                <a:gd name="connsiteX2063" fmla="*/ 224435 w 594561"/>
                <a:gd name="connsiteY2063" fmla="*/ 214241 h 534543"/>
                <a:gd name="connsiteX2064" fmla="*/ 224768 w 594561"/>
                <a:gd name="connsiteY2064" fmla="*/ 213303 h 534543"/>
                <a:gd name="connsiteX2065" fmla="*/ 225252 w 594561"/>
                <a:gd name="connsiteY2065" fmla="*/ 211942 h 534543"/>
                <a:gd name="connsiteX2066" fmla="*/ 227733 w 594561"/>
                <a:gd name="connsiteY2066" fmla="*/ 207918 h 534543"/>
                <a:gd name="connsiteX2067" fmla="*/ 228126 w 594561"/>
                <a:gd name="connsiteY2067" fmla="*/ 205619 h 534543"/>
                <a:gd name="connsiteX2068" fmla="*/ 226916 w 594561"/>
                <a:gd name="connsiteY2068" fmla="*/ 201656 h 534543"/>
                <a:gd name="connsiteX2069" fmla="*/ 226916 w 594561"/>
                <a:gd name="connsiteY2069" fmla="*/ 199206 h 534543"/>
                <a:gd name="connsiteX2070" fmla="*/ 229336 w 594561"/>
                <a:gd name="connsiteY2070" fmla="*/ 193579 h 534543"/>
                <a:gd name="connsiteX2071" fmla="*/ 229759 w 594561"/>
                <a:gd name="connsiteY2071" fmla="*/ 191552 h 534543"/>
                <a:gd name="connsiteX2072" fmla="*/ 229396 w 594561"/>
                <a:gd name="connsiteY2072" fmla="*/ 183777 h 534543"/>
                <a:gd name="connsiteX2073" fmla="*/ 229487 w 594561"/>
                <a:gd name="connsiteY2073" fmla="*/ 182779 h 534543"/>
                <a:gd name="connsiteX2074" fmla="*/ 230637 w 594561"/>
                <a:gd name="connsiteY2074" fmla="*/ 179935 h 534543"/>
                <a:gd name="connsiteX2075" fmla="*/ 231665 w 594561"/>
                <a:gd name="connsiteY2075" fmla="*/ 179058 h 534543"/>
                <a:gd name="connsiteX2076" fmla="*/ 233904 w 594561"/>
                <a:gd name="connsiteY2076" fmla="*/ 177153 h 534543"/>
                <a:gd name="connsiteX2077" fmla="*/ 239349 w 594561"/>
                <a:gd name="connsiteY2077" fmla="*/ 176336 h 534543"/>
                <a:gd name="connsiteX2078" fmla="*/ 248969 w 594561"/>
                <a:gd name="connsiteY2078" fmla="*/ 176578 h 534543"/>
                <a:gd name="connsiteX2079" fmla="*/ 251268 w 594561"/>
                <a:gd name="connsiteY2079" fmla="*/ 176184 h 534543"/>
                <a:gd name="connsiteX2080" fmla="*/ 252387 w 594561"/>
                <a:gd name="connsiteY2080" fmla="*/ 176184 h 534543"/>
                <a:gd name="connsiteX2081" fmla="*/ 253598 w 594561"/>
                <a:gd name="connsiteY2081" fmla="*/ 176790 h 534543"/>
                <a:gd name="connsiteX2082" fmla="*/ 254475 w 594561"/>
                <a:gd name="connsiteY2082" fmla="*/ 177939 h 534543"/>
                <a:gd name="connsiteX2083" fmla="*/ 254475 w 594561"/>
                <a:gd name="connsiteY2083" fmla="*/ 179089 h 534543"/>
                <a:gd name="connsiteX2084" fmla="*/ 254051 w 594561"/>
                <a:gd name="connsiteY2084" fmla="*/ 180057 h 534543"/>
                <a:gd name="connsiteX2085" fmla="*/ 253991 w 594561"/>
                <a:gd name="connsiteY2085" fmla="*/ 180662 h 534543"/>
                <a:gd name="connsiteX2086" fmla="*/ 254868 w 594561"/>
                <a:gd name="connsiteY2086" fmla="*/ 181267 h 534543"/>
                <a:gd name="connsiteX2087" fmla="*/ 257077 w 594561"/>
                <a:gd name="connsiteY2087" fmla="*/ 181690 h 534543"/>
                <a:gd name="connsiteX2088" fmla="*/ 258347 w 594561"/>
                <a:gd name="connsiteY2088" fmla="*/ 182598 h 534543"/>
                <a:gd name="connsiteX2089" fmla="*/ 259890 w 594561"/>
                <a:gd name="connsiteY2089" fmla="*/ 184957 h 534543"/>
                <a:gd name="connsiteX2090" fmla="*/ 262038 w 594561"/>
                <a:gd name="connsiteY2090" fmla="*/ 190070 h 534543"/>
                <a:gd name="connsiteX2091" fmla="*/ 263792 w 594561"/>
                <a:gd name="connsiteY2091" fmla="*/ 192218 h 534543"/>
                <a:gd name="connsiteX2092" fmla="*/ 272989 w 594561"/>
                <a:gd name="connsiteY2092" fmla="*/ 200658 h 534543"/>
                <a:gd name="connsiteX2093" fmla="*/ 275832 w 594561"/>
                <a:gd name="connsiteY2093" fmla="*/ 202291 h 534543"/>
                <a:gd name="connsiteX2094" fmla="*/ 279674 w 594561"/>
                <a:gd name="connsiteY2094" fmla="*/ 203834 h 534543"/>
                <a:gd name="connsiteX2095" fmla="*/ 283395 w 594561"/>
                <a:gd name="connsiteY2095" fmla="*/ 204590 h 534543"/>
                <a:gd name="connsiteX2096" fmla="*/ 285846 w 594561"/>
                <a:gd name="connsiteY2096" fmla="*/ 203986 h 534543"/>
                <a:gd name="connsiteX2097" fmla="*/ 286390 w 594561"/>
                <a:gd name="connsiteY2097" fmla="*/ 202140 h 534543"/>
                <a:gd name="connsiteX2098" fmla="*/ 286390 w 594561"/>
                <a:gd name="connsiteY2098" fmla="*/ 202140 h 534543"/>
                <a:gd name="connsiteX2099" fmla="*/ 287509 w 594561"/>
                <a:gd name="connsiteY2099" fmla="*/ 198419 h 534543"/>
                <a:gd name="connsiteX2100" fmla="*/ 289536 w 594561"/>
                <a:gd name="connsiteY2100" fmla="*/ 194910 h 534543"/>
                <a:gd name="connsiteX2101" fmla="*/ 290020 w 594561"/>
                <a:gd name="connsiteY2101" fmla="*/ 193851 h 534543"/>
                <a:gd name="connsiteX2102" fmla="*/ 290232 w 594561"/>
                <a:gd name="connsiteY2102" fmla="*/ 192309 h 534543"/>
                <a:gd name="connsiteX2103" fmla="*/ 290020 w 594561"/>
                <a:gd name="connsiteY2103" fmla="*/ 191461 h 534543"/>
                <a:gd name="connsiteX2104" fmla="*/ 290020 w 594561"/>
                <a:gd name="connsiteY2104" fmla="*/ 190735 h 534543"/>
                <a:gd name="connsiteX2105" fmla="*/ 290746 w 594561"/>
                <a:gd name="connsiteY2105" fmla="*/ 189525 h 534543"/>
                <a:gd name="connsiteX2106" fmla="*/ 291684 w 594561"/>
                <a:gd name="connsiteY2106" fmla="*/ 188920 h 534543"/>
                <a:gd name="connsiteX2107" fmla="*/ 294316 w 594561"/>
                <a:gd name="connsiteY2107" fmla="*/ 188164 h 534543"/>
                <a:gd name="connsiteX2108" fmla="*/ 295405 w 594561"/>
                <a:gd name="connsiteY2108" fmla="*/ 187438 h 534543"/>
                <a:gd name="connsiteX2109" fmla="*/ 296797 w 594561"/>
                <a:gd name="connsiteY2109" fmla="*/ 185441 h 534543"/>
                <a:gd name="connsiteX2110" fmla="*/ 300094 w 594561"/>
                <a:gd name="connsiteY2110" fmla="*/ 178695 h 534543"/>
                <a:gd name="connsiteX2111" fmla="*/ 304813 w 594561"/>
                <a:gd name="connsiteY2111" fmla="*/ 175701 h 534543"/>
                <a:gd name="connsiteX2112" fmla="*/ 310652 w 594561"/>
                <a:gd name="connsiteY2112" fmla="*/ 175882 h 534543"/>
                <a:gd name="connsiteX2113" fmla="*/ 330709 w 594561"/>
                <a:gd name="connsiteY2113" fmla="*/ 181388 h 534543"/>
                <a:gd name="connsiteX2114" fmla="*/ 333280 w 594561"/>
                <a:gd name="connsiteY2114" fmla="*/ 181085 h 534543"/>
                <a:gd name="connsiteX2115" fmla="*/ 334520 w 594561"/>
                <a:gd name="connsiteY2115" fmla="*/ 180057 h 534543"/>
                <a:gd name="connsiteX2116" fmla="*/ 334672 w 594561"/>
                <a:gd name="connsiteY2116" fmla="*/ 179119 h 534543"/>
                <a:gd name="connsiteX2117" fmla="*/ 334611 w 594561"/>
                <a:gd name="connsiteY2117" fmla="*/ 177969 h 534543"/>
                <a:gd name="connsiteX2118" fmla="*/ 335186 w 594561"/>
                <a:gd name="connsiteY2118" fmla="*/ 176396 h 534543"/>
                <a:gd name="connsiteX2119" fmla="*/ 336184 w 594561"/>
                <a:gd name="connsiteY2119" fmla="*/ 175489 h 534543"/>
                <a:gd name="connsiteX2120" fmla="*/ 337303 w 594561"/>
                <a:gd name="connsiteY2120" fmla="*/ 175035 h 534543"/>
                <a:gd name="connsiteX2121" fmla="*/ 338302 w 594561"/>
                <a:gd name="connsiteY2121" fmla="*/ 174400 h 534543"/>
                <a:gd name="connsiteX2122" fmla="*/ 338846 w 594561"/>
                <a:gd name="connsiteY2122" fmla="*/ 172948 h 534543"/>
                <a:gd name="connsiteX2123" fmla="*/ 339663 w 594561"/>
                <a:gd name="connsiteY2123" fmla="*/ 172463 h 534543"/>
                <a:gd name="connsiteX2124" fmla="*/ 340722 w 594561"/>
                <a:gd name="connsiteY2124" fmla="*/ 171374 h 534543"/>
                <a:gd name="connsiteX2125" fmla="*/ 341538 w 594561"/>
                <a:gd name="connsiteY2125" fmla="*/ 170285 h 534543"/>
                <a:gd name="connsiteX2126" fmla="*/ 341841 w 594561"/>
                <a:gd name="connsiteY2126" fmla="*/ 169681 h 534543"/>
                <a:gd name="connsiteX2127" fmla="*/ 344594 w 594561"/>
                <a:gd name="connsiteY2127" fmla="*/ 167532 h 534543"/>
                <a:gd name="connsiteX2128" fmla="*/ 345441 w 594561"/>
                <a:gd name="connsiteY2128" fmla="*/ 168289 h 534543"/>
                <a:gd name="connsiteX2129" fmla="*/ 346258 w 594561"/>
                <a:gd name="connsiteY2129" fmla="*/ 171042 h 534543"/>
                <a:gd name="connsiteX2130" fmla="*/ 346409 w 594561"/>
                <a:gd name="connsiteY2130" fmla="*/ 172070 h 534543"/>
                <a:gd name="connsiteX2131" fmla="*/ 346349 w 594561"/>
                <a:gd name="connsiteY2131" fmla="*/ 173220 h 534543"/>
                <a:gd name="connsiteX2132" fmla="*/ 346923 w 594561"/>
                <a:gd name="connsiteY2132" fmla="*/ 173946 h 534543"/>
                <a:gd name="connsiteX2133" fmla="*/ 349011 w 594561"/>
                <a:gd name="connsiteY2133" fmla="*/ 173734 h 534543"/>
                <a:gd name="connsiteX2134" fmla="*/ 348738 w 594561"/>
                <a:gd name="connsiteY2134" fmla="*/ 172857 h 534543"/>
                <a:gd name="connsiteX2135" fmla="*/ 348315 w 594561"/>
                <a:gd name="connsiteY2135" fmla="*/ 171949 h 534543"/>
                <a:gd name="connsiteX2136" fmla="*/ 349797 w 594561"/>
                <a:gd name="connsiteY2136" fmla="*/ 172433 h 534543"/>
                <a:gd name="connsiteX2137" fmla="*/ 351037 w 594561"/>
                <a:gd name="connsiteY2137" fmla="*/ 173825 h 534543"/>
                <a:gd name="connsiteX2138" fmla="*/ 352096 w 594561"/>
                <a:gd name="connsiteY2138" fmla="*/ 174490 h 534543"/>
                <a:gd name="connsiteX2139" fmla="*/ 353064 w 594561"/>
                <a:gd name="connsiteY2139" fmla="*/ 172826 h 534543"/>
                <a:gd name="connsiteX2140" fmla="*/ 353427 w 594561"/>
                <a:gd name="connsiteY2140" fmla="*/ 173825 h 534543"/>
                <a:gd name="connsiteX2141" fmla="*/ 353579 w 594561"/>
                <a:gd name="connsiteY2141" fmla="*/ 174612 h 534543"/>
                <a:gd name="connsiteX2142" fmla="*/ 353488 w 594561"/>
                <a:gd name="connsiteY2142" fmla="*/ 175398 h 534543"/>
                <a:gd name="connsiteX2143" fmla="*/ 353064 w 594561"/>
                <a:gd name="connsiteY2143" fmla="*/ 176487 h 534543"/>
                <a:gd name="connsiteX2144" fmla="*/ 353669 w 594561"/>
                <a:gd name="connsiteY2144" fmla="*/ 176003 h 534543"/>
                <a:gd name="connsiteX2145" fmla="*/ 355242 w 594561"/>
                <a:gd name="connsiteY2145" fmla="*/ 175065 h 534543"/>
                <a:gd name="connsiteX2146" fmla="*/ 355848 w 594561"/>
                <a:gd name="connsiteY2146" fmla="*/ 174612 h 534543"/>
                <a:gd name="connsiteX2147" fmla="*/ 357814 w 594561"/>
                <a:gd name="connsiteY2147" fmla="*/ 178544 h 534543"/>
                <a:gd name="connsiteX2148" fmla="*/ 362110 w 594561"/>
                <a:gd name="connsiteY2148" fmla="*/ 181539 h 534543"/>
                <a:gd name="connsiteX2149" fmla="*/ 364741 w 594561"/>
                <a:gd name="connsiteY2149" fmla="*/ 182658 h 534543"/>
                <a:gd name="connsiteX2150" fmla="*/ 371034 w 594561"/>
                <a:gd name="connsiteY2150" fmla="*/ 185351 h 534543"/>
                <a:gd name="connsiteX2151" fmla="*/ 372123 w 594561"/>
                <a:gd name="connsiteY2151" fmla="*/ 184776 h 534543"/>
                <a:gd name="connsiteX2152" fmla="*/ 376903 w 594561"/>
                <a:gd name="connsiteY2152" fmla="*/ 184473 h 534543"/>
                <a:gd name="connsiteX2153" fmla="*/ 377326 w 594561"/>
                <a:gd name="connsiteY2153" fmla="*/ 183868 h 534543"/>
                <a:gd name="connsiteX2154" fmla="*/ 379232 w 594561"/>
                <a:gd name="connsiteY2154" fmla="*/ 179996 h 534543"/>
                <a:gd name="connsiteX2155" fmla="*/ 383164 w 594561"/>
                <a:gd name="connsiteY2155" fmla="*/ 182386 h 534543"/>
                <a:gd name="connsiteX2156" fmla="*/ 385040 w 594561"/>
                <a:gd name="connsiteY2156" fmla="*/ 183112 h 534543"/>
                <a:gd name="connsiteX2157" fmla="*/ 388338 w 594561"/>
                <a:gd name="connsiteY2157" fmla="*/ 185109 h 534543"/>
                <a:gd name="connsiteX2158" fmla="*/ 389275 w 594561"/>
                <a:gd name="connsiteY2158" fmla="*/ 185835 h 534543"/>
                <a:gd name="connsiteX2159" fmla="*/ 390667 w 594561"/>
                <a:gd name="connsiteY2159" fmla="*/ 186561 h 534543"/>
                <a:gd name="connsiteX2160" fmla="*/ 392512 w 594561"/>
                <a:gd name="connsiteY2160" fmla="*/ 186379 h 534543"/>
                <a:gd name="connsiteX2161" fmla="*/ 395870 w 594561"/>
                <a:gd name="connsiteY2161" fmla="*/ 185381 h 534543"/>
                <a:gd name="connsiteX2162" fmla="*/ 396082 w 594561"/>
                <a:gd name="connsiteY2162" fmla="*/ 184927 h 534543"/>
                <a:gd name="connsiteX2163" fmla="*/ 396324 w 594561"/>
                <a:gd name="connsiteY2163" fmla="*/ 184110 h 534543"/>
                <a:gd name="connsiteX2164" fmla="*/ 396778 w 594561"/>
                <a:gd name="connsiteY2164" fmla="*/ 183596 h 534543"/>
                <a:gd name="connsiteX2165" fmla="*/ 397564 w 594561"/>
                <a:gd name="connsiteY2165" fmla="*/ 184050 h 534543"/>
                <a:gd name="connsiteX2166" fmla="*/ 398139 w 594561"/>
                <a:gd name="connsiteY2166" fmla="*/ 184927 h 534543"/>
                <a:gd name="connsiteX2167" fmla="*/ 398260 w 594561"/>
                <a:gd name="connsiteY2167" fmla="*/ 185683 h 534543"/>
                <a:gd name="connsiteX2168" fmla="*/ 397957 w 594561"/>
                <a:gd name="connsiteY2168" fmla="*/ 186409 h 534543"/>
                <a:gd name="connsiteX2169" fmla="*/ 397231 w 594561"/>
                <a:gd name="connsiteY2169" fmla="*/ 187226 h 534543"/>
                <a:gd name="connsiteX2170" fmla="*/ 398502 w 594561"/>
                <a:gd name="connsiteY2170" fmla="*/ 187619 h 534543"/>
                <a:gd name="connsiteX2171" fmla="*/ 399712 w 594561"/>
                <a:gd name="connsiteY2171" fmla="*/ 187408 h 534543"/>
                <a:gd name="connsiteX2172" fmla="*/ 402102 w 594561"/>
                <a:gd name="connsiteY2172" fmla="*/ 186258 h 534543"/>
                <a:gd name="connsiteX2173" fmla="*/ 401194 w 594561"/>
                <a:gd name="connsiteY2173" fmla="*/ 188981 h 534543"/>
                <a:gd name="connsiteX2174" fmla="*/ 400680 w 594561"/>
                <a:gd name="connsiteY2174" fmla="*/ 189828 h 534543"/>
                <a:gd name="connsiteX2175" fmla="*/ 401436 w 594561"/>
                <a:gd name="connsiteY2175" fmla="*/ 189586 h 534543"/>
                <a:gd name="connsiteX2176" fmla="*/ 406488 w 594561"/>
                <a:gd name="connsiteY2176" fmla="*/ 188981 h 534543"/>
                <a:gd name="connsiteX2177" fmla="*/ 408697 w 594561"/>
                <a:gd name="connsiteY2177" fmla="*/ 189193 h 534543"/>
                <a:gd name="connsiteX2178" fmla="*/ 409786 w 594561"/>
                <a:gd name="connsiteY2178" fmla="*/ 189041 h 534543"/>
                <a:gd name="connsiteX2179" fmla="*/ 411873 w 594561"/>
                <a:gd name="connsiteY2179" fmla="*/ 187831 h 534543"/>
                <a:gd name="connsiteX2180" fmla="*/ 415594 w 594561"/>
                <a:gd name="connsiteY2180" fmla="*/ 184201 h 534543"/>
                <a:gd name="connsiteX2181" fmla="*/ 417772 w 594561"/>
                <a:gd name="connsiteY2181" fmla="*/ 183142 h 534543"/>
                <a:gd name="connsiteX2182" fmla="*/ 421130 w 594561"/>
                <a:gd name="connsiteY2182" fmla="*/ 183324 h 534543"/>
                <a:gd name="connsiteX2183" fmla="*/ 424125 w 594561"/>
                <a:gd name="connsiteY2183" fmla="*/ 184897 h 534543"/>
                <a:gd name="connsiteX2184" fmla="*/ 426817 w 594561"/>
                <a:gd name="connsiteY2184" fmla="*/ 187347 h 534543"/>
                <a:gd name="connsiteX2185" fmla="*/ 432474 w 594561"/>
                <a:gd name="connsiteY2185" fmla="*/ 194063 h 534543"/>
                <a:gd name="connsiteX2186" fmla="*/ 434289 w 594561"/>
                <a:gd name="connsiteY2186" fmla="*/ 195606 h 534543"/>
                <a:gd name="connsiteX2187" fmla="*/ 436316 w 594561"/>
                <a:gd name="connsiteY2187" fmla="*/ 196362 h 534543"/>
                <a:gd name="connsiteX2188" fmla="*/ 437315 w 594561"/>
                <a:gd name="connsiteY2188" fmla="*/ 196271 h 534543"/>
                <a:gd name="connsiteX2189" fmla="*/ 440279 w 594561"/>
                <a:gd name="connsiteY2189" fmla="*/ 195122 h 534543"/>
                <a:gd name="connsiteX2190" fmla="*/ 443032 w 594561"/>
                <a:gd name="connsiteY2190" fmla="*/ 194638 h 534543"/>
                <a:gd name="connsiteX2191" fmla="*/ 443910 w 594561"/>
                <a:gd name="connsiteY2191" fmla="*/ 194214 h 534543"/>
                <a:gd name="connsiteX2192" fmla="*/ 445573 w 594561"/>
                <a:gd name="connsiteY2192" fmla="*/ 192792 h 534543"/>
                <a:gd name="connsiteX2193" fmla="*/ 451684 w 594561"/>
                <a:gd name="connsiteY2193" fmla="*/ 186016 h 534543"/>
                <a:gd name="connsiteX2194" fmla="*/ 453197 w 594561"/>
                <a:gd name="connsiteY2194" fmla="*/ 185290 h 534543"/>
                <a:gd name="connsiteX2195" fmla="*/ 454770 w 594561"/>
                <a:gd name="connsiteY2195" fmla="*/ 185290 h 534543"/>
                <a:gd name="connsiteX2196" fmla="*/ 456373 w 594561"/>
                <a:gd name="connsiteY2196" fmla="*/ 186077 h 534543"/>
                <a:gd name="connsiteX2197" fmla="*/ 461939 w 594561"/>
                <a:gd name="connsiteY2197" fmla="*/ 190705 h 534543"/>
                <a:gd name="connsiteX2198" fmla="*/ 464178 w 594561"/>
                <a:gd name="connsiteY2198" fmla="*/ 191673 h 534543"/>
                <a:gd name="connsiteX2199" fmla="*/ 466114 w 594561"/>
                <a:gd name="connsiteY2199" fmla="*/ 192036 h 534543"/>
                <a:gd name="connsiteX2200" fmla="*/ 468322 w 594561"/>
                <a:gd name="connsiteY2200" fmla="*/ 192036 h 534543"/>
                <a:gd name="connsiteX2201" fmla="*/ 470470 w 594561"/>
                <a:gd name="connsiteY2201" fmla="*/ 191673 h 534543"/>
                <a:gd name="connsiteX2202" fmla="*/ 472255 w 594561"/>
                <a:gd name="connsiteY2202" fmla="*/ 190645 h 534543"/>
                <a:gd name="connsiteX2203" fmla="*/ 472921 w 594561"/>
                <a:gd name="connsiteY2203" fmla="*/ 189283 h 534543"/>
                <a:gd name="connsiteX2204" fmla="*/ 472981 w 594561"/>
                <a:gd name="connsiteY2204" fmla="*/ 187619 h 534543"/>
                <a:gd name="connsiteX2205" fmla="*/ 473223 w 594561"/>
                <a:gd name="connsiteY2205" fmla="*/ 185986 h 534543"/>
                <a:gd name="connsiteX2206" fmla="*/ 474312 w 594561"/>
                <a:gd name="connsiteY2206" fmla="*/ 184715 h 534543"/>
                <a:gd name="connsiteX2207" fmla="*/ 476793 w 594561"/>
                <a:gd name="connsiteY2207" fmla="*/ 184231 h 534543"/>
                <a:gd name="connsiteX2208" fmla="*/ 479213 w 594561"/>
                <a:gd name="connsiteY2208" fmla="*/ 185109 h 534543"/>
                <a:gd name="connsiteX2209" fmla="*/ 483781 w 594561"/>
                <a:gd name="connsiteY2209" fmla="*/ 188134 h 534543"/>
                <a:gd name="connsiteX2210" fmla="*/ 485293 w 594561"/>
                <a:gd name="connsiteY2210" fmla="*/ 188739 h 534543"/>
                <a:gd name="connsiteX2211" fmla="*/ 492402 w 594561"/>
                <a:gd name="connsiteY2211" fmla="*/ 189314 h 534543"/>
                <a:gd name="connsiteX2212" fmla="*/ 494338 w 594561"/>
                <a:gd name="connsiteY2212" fmla="*/ 190131 h 534543"/>
                <a:gd name="connsiteX2213" fmla="*/ 496063 w 594561"/>
                <a:gd name="connsiteY2213" fmla="*/ 191492 h 534543"/>
                <a:gd name="connsiteX2214" fmla="*/ 498332 w 594561"/>
                <a:gd name="connsiteY2214" fmla="*/ 193730 h 534543"/>
                <a:gd name="connsiteX2215" fmla="*/ 498332 w 594561"/>
                <a:gd name="connsiteY2215" fmla="*/ 193730 h 534543"/>
                <a:gd name="connsiteX2216" fmla="*/ 499784 w 594561"/>
                <a:gd name="connsiteY2216" fmla="*/ 195152 h 534543"/>
                <a:gd name="connsiteX2217" fmla="*/ 501357 w 594561"/>
                <a:gd name="connsiteY2217" fmla="*/ 196090 h 534543"/>
                <a:gd name="connsiteX2218" fmla="*/ 502264 w 594561"/>
                <a:gd name="connsiteY2218" fmla="*/ 196634 h 534543"/>
                <a:gd name="connsiteX2219" fmla="*/ 504926 w 594561"/>
                <a:gd name="connsiteY2219" fmla="*/ 197542 h 534543"/>
                <a:gd name="connsiteX2220" fmla="*/ 507347 w 594561"/>
                <a:gd name="connsiteY2220" fmla="*/ 197633 h 534543"/>
                <a:gd name="connsiteX2221" fmla="*/ 507135 w 594561"/>
                <a:gd name="connsiteY2221" fmla="*/ 195788 h 534543"/>
                <a:gd name="connsiteX2222" fmla="*/ 506651 w 594561"/>
                <a:gd name="connsiteY2222" fmla="*/ 194184 h 534543"/>
                <a:gd name="connsiteX2223" fmla="*/ 506651 w 594561"/>
                <a:gd name="connsiteY2223" fmla="*/ 193276 h 534543"/>
                <a:gd name="connsiteX2224" fmla="*/ 506712 w 594561"/>
                <a:gd name="connsiteY2224" fmla="*/ 193004 h 534543"/>
                <a:gd name="connsiteX2225" fmla="*/ 508194 w 594561"/>
                <a:gd name="connsiteY2225" fmla="*/ 192429 h 534543"/>
                <a:gd name="connsiteX2226" fmla="*/ 509010 w 594561"/>
                <a:gd name="connsiteY2226" fmla="*/ 192490 h 534543"/>
                <a:gd name="connsiteX2227" fmla="*/ 510614 w 594561"/>
                <a:gd name="connsiteY2227" fmla="*/ 192853 h 534543"/>
                <a:gd name="connsiteX2228" fmla="*/ 511431 w 594561"/>
                <a:gd name="connsiteY2228" fmla="*/ 192853 h 534543"/>
                <a:gd name="connsiteX2229" fmla="*/ 512096 w 594561"/>
                <a:gd name="connsiteY2229" fmla="*/ 192641 h 534543"/>
                <a:gd name="connsiteX2230" fmla="*/ 513518 w 594561"/>
                <a:gd name="connsiteY2230" fmla="*/ 191855 h 534543"/>
                <a:gd name="connsiteX2231" fmla="*/ 514184 w 594561"/>
                <a:gd name="connsiteY2231" fmla="*/ 191764 h 534543"/>
                <a:gd name="connsiteX2232" fmla="*/ 514940 w 594561"/>
                <a:gd name="connsiteY2232" fmla="*/ 192066 h 534543"/>
                <a:gd name="connsiteX2233" fmla="*/ 515394 w 594561"/>
                <a:gd name="connsiteY2233" fmla="*/ 192672 h 534543"/>
                <a:gd name="connsiteX2234" fmla="*/ 516089 w 594561"/>
                <a:gd name="connsiteY2234" fmla="*/ 194396 h 534543"/>
                <a:gd name="connsiteX2235" fmla="*/ 516664 w 594561"/>
                <a:gd name="connsiteY2235" fmla="*/ 195425 h 534543"/>
                <a:gd name="connsiteX2236" fmla="*/ 517360 w 594561"/>
                <a:gd name="connsiteY2236" fmla="*/ 196302 h 534543"/>
                <a:gd name="connsiteX2237" fmla="*/ 518207 w 594561"/>
                <a:gd name="connsiteY2237" fmla="*/ 196665 h 534543"/>
                <a:gd name="connsiteX2238" fmla="*/ 519145 w 594561"/>
                <a:gd name="connsiteY2238" fmla="*/ 196181 h 534543"/>
                <a:gd name="connsiteX2239" fmla="*/ 519447 w 594561"/>
                <a:gd name="connsiteY2239" fmla="*/ 195545 h 534543"/>
                <a:gd name="connsiteX2240" fmla="*/ 519659 w 594561"/>
                <a:gd name="connsiteY2240" fmla="*/ 194759 h 534543"/>
                <a:gd name="connsiteX2241" fmla="*/ 519931 w 594561"/>
                <a:gd name="connsiteY2241" fmla="*/ 193972 h 534543"/>
                <a:gd name="connsiteX2242" fmla="*/ 520476 w 594561"/>
                <a:gd name="connsiteY2242" fmla="*/ 193458 h 534543"/>
                <a:gd name="connsiteX2243" fmla="*/ 521141 w 594561"/>
                <a:gd name="connsiteY2243" fmla="*/ 193398 h 534543"/>
                <a:gd name="connsiteX2244" fmla="*/ 521746 w 594561"/>
                <a:gd name="connsiteY2244" fmla="*/ 193730 h 534543"/>
                <a:gd name="connsiteX2245" fmla="*/ 522231 w 594561"/>
                <a:gd name="connsiteY2245" fmla="*/ 194335 h 534543"/>
                <a:gd name="connsiteX2246" fmla="*/ 525982 w 594561"/>
                <a:gd name="connsiteY2246" fmla="*/ 201384 h 534543"/>
                <a:gd name="connsiteX2247" fmla="*/ 527191 w 594561"/>
                <a:gd name="connsiteY2247" fmla="*/ 202745 h 534543"/>
                <a:gd name="connsiteX2248" fmla="*/ 528371 w 594561"/>
                <a:gd name="connsiteY2248" fmla="*/ 203199 h 534543"/>
                <a:gd name="connsiteX2249" fmla="*/ 531185 w 594561"/>
                <a:gd name="connsiteY2249" fmla="*/ 203441 h 534543"/>
                <a:gd name="connsiteX2250" fmla="*/ 531881 w 594561"/>
                <a:gd name="connsiteY2250" fmla="*/ 203683 h 534543"/>
                <a:gd name="connsiteX2251" fmla="*/ 532274 w 594561"/>
                <a:gd name="connsiteY2251" fmla="*/ 204046 h 534543"/>
                <a:gd name="connsiteX2252" fmla="*/ 532546 w 594561"/>
                <a:gd name="connsiteY2252" fmla="*/ 204590 h 534543"/>
                <a:gd name="connsiteX2253" fmla="*/ 532848 w 594561"/>
                <a:gd name="connsiteY2253" fmla="*/ 205377 h 534543"/>
                <a:gd name="connsiteX2254" fmla="*/ 532848 w 594561"/>
                <a:gd name="connsiteY2254" fmla="*/ 206345 h 534543"/>
                <a:gd name="connsiteX2255" fmla="*/ 532970 w 594561"/>
                <a:gd name="connsiteY2255" fmla="*/ 206708 h 534543"/>
                <a:gd name="connsiteX2256" fmla="*/ 533182 w 594561"/>
                <a:gd name="connsiteY2256" fmla="*/ 207071 h 534543"/>
                <a:gd name="connsiteX2257" fmla="*/ 533696 w 594561"/>
                <a:gd name="connsiteY2257" fmla="*/ 207737 h 534543"/>
                <a:gd name="connsiteX2258" fmla="*/ 533847 w 594561"/>
                <a:gd name="connsiteY2258" fmla="*/ 208191 h 534543"/>
                <a:gd name="connsiteX2259" fmla="*/ 533545 w 594561"/>
                <a:gd name="connsiteY2259" fmla="*/ 209491 h 534543"/>
                <a:gd name="connsiteX2260" fmla="*/ 531366 w 594561"/>
                <a:gd name="connsiteY2260" fmla="*/ 211034 h 534543"/>
                <a:gd name="connsiteX2261" fmla="*/ 530640 w 594561"/>
                <a:gd name="connsiteY2261" fmla="*/ 212305 h 534543"/>
                <a:gd name="connsiteX2262" fmla="*/ 531729 w 594561"/>
                <a:gd name="connsiteY2262" fmla="*/ 216056 h 534543"/>
                <a:gd name="connsiteX2263" fmla="*/ 535178 w 594561"/>
                <a:gd name="connsiteY2263" fmla="*/ 219444 h 534543"/>
                <a:gd name="connsiteX2264" fmla="*/ 537628 w 594561"/>
                <a:gd name="connsiteY2264" fmla="*/ 220926 h 534543"/>
                <a:gd name="connsiteX2265" fmla="*/ 537628 w 594561"/>
                <a:gd name="connsiteY2265" fmla="*/ 220926 h 534543"/>
                <a:gd name="connsiteX2266" fmla="*/ 539292 w 594561"/>
                <a:gd name="connsiteY2266" fmla="*/ 221924 h 534543"/>
                <a:gd name="connsiteX2267" fmla="*/ 542408 w 594561"/>
                <a:gd name="connsiteY2267" fmla="*/ 222862 h 534543"/>
                <a:gd name="connsiteX2268" fmla="*/ 553995 w 594561"/>
                <a:gd name="connsiteY2268" fmla="*/ 222590 h 534543"/>
                <a:gd name="connsiteX2269" fmla="*/ 555084 w 594561"/>
                <a:gd name="connsiteY2269" fmla="*/ 222287 h 534543"/>
                <a:gd name="connsiteX2270" fmla="*/ 552935 w 594561"/>
                <a:gd name="connsiteY2270" fmla="*/ 218506 h 534543"/>
                <a:gd name="connsiteX2271" fmla="*/ 552663 w 594561"/>
                <a:gd name="connsiteY2271" fmla="*/ 215874 h 534543"/>
                <a:gd name="connsiteX2272" fmla="*/ 555356 w 594561"/>
                <a:gd name="connsiteY2272" fmla="*/ 214483 h 534543"/>
                <a:gd name="connsiteX2273" fmla="*/ 556717 w 594561"/>
                <a:gd name="connsiteY2273" fmla="*/ 214876 h 534543"/>
                <a:gd name="connsiteX2274" fmla="*/ 558744 w 594561"/>
                <a:gd name="connsiteY2274" fmla="*/ 216903 h 534543"/>
                <a:gd name="connsiteX2275" fmla="*/ 560226 w 594561"/>
                <a:gd name="connsiteY2275" fmla="*/ 217084 h 534543"/>
                <a:gd name="connsiteX2276" fmla="*/ 561436 w 594561"/>
                <a:gd name="connsiteY2276" fmla="*/ 216419 h 534543"/>
                <a:gd name="connsiteX2277" fmla="*/ 562374 w 594561"/>
                <a:gd name="connsiteY2277" fmla="*/ 215300 h 534543"/>
                <a:gd name="connsiteX2278" fmla="*/ 563947 w 594561"/>
                <a:gd name="connsiteY2278" fmla="*/ 212819 h 534543"/>
                <a:gd name="connsiteX2279" fmla="*/ 564885 w 594561"/>
                <a:gd name="connsiteY2279" fmla="*/ 212274 h 534543"/>
                <a:gd name="connsiteX2280" fmla="*/ 566035 w 594561"/>
                <a:gd name="connsiteY2280" fmla="*/ 211821 h 534543"/>
                <a:gd name="connsiteX2281" fmla="*/ 566761 w 594561"/>
                <a:gd name="connsiteY2281" fmla="*/ 210883 h 534543"/>
                <a:gd name="connsiteX2282" fmla="*/ 566367 w 594561"/>
                <a:gd name="connsiteY2282" fmla="*/ 208886 h 534543"/>
                <a:gd name="connsiteX2283" fmla="*/ 565460 w 594561"/>
                <a:gd name="connsiteY2283" fmla="*/ 207948 h 534543"/>
                <a:gd name="connsiteX2284" fmla="*/ 563403 w 594561"/>
                <a:gd name="connsiteY2284" fmla="*/ 208674 h 534543"/>
                <a:gd name="connsiteX2285" fmla="*/ 562314 w 594561"/>
                <a:gd name="connsiteY2285" fmla="*/ 207767 h 534543"/>
                <a:gd name="connsiteX2286" fmla="*/ 562102 w 594561"/>
                <a:gd name="connsiteY2286" fmla="*/ 206436 h 534543"/>
                <a:gd name="connsiteX2287" fmla="*/ 562465 w 594561"/>
                <a:gd name="connsiteY2287" fmla="*/ 204833 h 534543"/>
                <a:gd name="connsiteX2288" fmla="*/ 562919 w 594561"/>
                <a:gd name="connsiteY2288" fmla="*/ 203260 h 534543"/>
                <a:gd name="connsiteX2289" fmla="*/ 563160 w 594561"/>
                <a:gd name="connsiteY2289" fmla="*/ 202019 h 534543"/>
                <a:gd name="connsiteX2290" fmla="*/ 563040 w 594561"/>
                <a:gd name="connsiteY2290" fmla="*/ 200658 h 534543"/>
                <a:gd name="connsiteX2291" fmla="*/ 562193 w 594561"/>
                <a:gd name="connsiteY2291" fmla="*/ 196816 h 534543"/>
                <a:gd name="connsiteX2292" fmla="*/ 561830 w 594561"/>
                <a:gd name="connsiteY2292" fmla="*/ 193670 h 534543"/>
                <a:gd name="connsiteX2293" fmla="*/ 561527 w 594561"/>
                <a:gd name="connsiteY2293" fmla="*/ 192429 h 534543"/>
                <a:gd name="connsiteX2294" fmla="*/ 560741 w 594561"/>
                <a:gd name="connsiteY2294" fmla="*/ 190796 h 534543"/>
                <a:gd name="connsiteX2295" fmla="*/ 560015 w 594561"/>
                <a:gd name="connsiteY2295" fmla="*/ 189949 h 534543"/>
                <a:gd name="connsiteX2296" fmla="*/ 559016 w 594561"/>
                <a:gd name="connsiteY2296" fmla="*/ 189011 h 534543"/>
                <a:gd name="connsiteX2297" fmla="*/ 558229 w 594561"/>
                <a:gd name="connsiteY2297" fmla="*/ 188013 h 534543"/>
                <a:gd name="connsiteX2298" fmla="*/ 558078 w 594561"/>
                <a:gd name="connsiteY2298" fmla="*/ 186833 h 534543"/>
                <a:gd name="connsiteX2299" fmla="*/ 559591 w 594561"/>
                <a:gd name="connsiteY2299" fmla="*/ 185593 h 534543"/>
                <a:gd name="connsiteX2300" fmla="*/ 565218 w 594561"/>
                <a:gd name="connsiteY2300" fmla="*/ 186107 h 534543"/>
                <a:gd name="connsiteX2301" fmla="*/ 567396 w 594561"/>
                <a:gd name="connsiteY2301" fmla="*/ 185683 h 534543"/>
                <a:gd name="connsiteX2302" fmla="*/ 567789 w 594561"/>
                <a:gd name="connsiteY2302" fmla="*/ 183596 h 534543"/>
                <a:gd name="connsiteX2303" fmla="*/ 566488 w 594561"/>
                <a:gd name="connsiteY2303" fmla="*/ 181115 h 534543"/>
                <a:gd name="connsiteX2304" fmla="*/ 565762 w 594561"/>
                <a:gd name="connsiteY2304" fmla="*/ 179179 h 534543"/>
                <a:gd name="connsiteX2305" fmla="*/ 568001 w 594561"/>
                <a:gd name="connsiteY2305" fmla="*/ 178695 h 534543"/>
                <a:gd name="connsiteX2306" fmla="*/ 569180 w 594561"/>
                <a:gd name="connsiteY2306" fmla="*/ 179270 h 534543"/>
                <a:gd name="connsiteX2307" fmla="*/ 571056 w 594561"/>
                <a:gd name="connsiteY2307" fmla="*/ 181781 h 534543"/>
                <a:gd name="connsiteX2308" fmla="*/ 572145 w 594561"/>
                <a:gd name="connsiteY2308" fmla="*/ 182779 h 534543"/>
                <a:gd name="connsiteX2309" fmla="*/ 574081 w 594561"/>
                <a:gd name="connsiteY2309" fmla="*/ 183445 h 534543"/>
                <a:gd name="connsiteX2310" fmla="*/ 576229 w 594561"/>
                <a:gd name="connsiteY2310" fmla="*/ 183596 h 534543"/>
                <a:gd name="connsiteX2311" fmla="*/ 580434 w 594561"/>
                <a:gd name="connsiteY2311" fmla="*/ 183082 h 534543"/>
                <a:gd name="connsiteX2312" fmla="*/ 580948 w 594561"/>
                <a:gd name="connsiteY2312" fmla="*/ 182749 h 534543"/>
                <a:gd name="connsiteX2313" fmla="*/ 581251 w 594561"/>
                <a:gd name="connsiteY2313" fmla="*/ 182174 h 534543"/>
                <a:gd name="connsiteX2314" fmla="*/ 581614 w 594561"/>
                <a:gd name="connsiteY2314" fmla="*/ 181599 h 534543"/>
                <a:gd name="connsiteX2315" fmla="*/ 582340 w 594561"/>
                <a:gd name="connsiteY2315" fmla="*/ 181297 h 534543"/>
                <a:gd name="connsiteX2316" fmla="*/ 582824 w 594561"/>
                <a:gd name="connsiteY2316" fmla="*/ 181539 h 534543"/>
                <a:gd name="connsiteX2317" fmla="*/ 583610 w 594561"/>
                <a:gd name="connsiteY2317" fmla="*/ 182688 h 534543"/>
                <a:gd name="connsiteX2318" fmla="*/ 584125 w 594561"/>
                <a:gd name="connsiteY2318" fmla="*/ 183021 h 534543"/>
                <a:gd name="connsiteX2319" fmla="*/ 592837 w 594561"/>
                <a:gd name="connsiteY2319" fmla="*/ 182658 h 534543"/>
                <a:gd name="connsiteX2320" fmla="*/ 593170 w 594561"/>
                <a:gd name="connsiteY2320" fmla="*/ 182356 h 534543"/>
                <a:gd name="connsiteX2321" fmla="*/ 594320 w 594561"/>
                <a:gd name="connsiteY2321" fmla="*/ 181297 h 534543"/>
                <a:gd name="connsiteX2322" fmla="*/ 594561 w 594561"/>
                <a:gd name="connsiteY2322" fmla="*/ 178211 h 534543"/>
                <a:gd name="connsiteX2323" fmla="*/ 593503 w 594561"/>
                <a:gd name="connsiteY2323" fmla="*/ 175579 h 53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Lst>
              <a:rect l="l" t="t" r="r" b="b"/>
              <a:pathLst>
                <a:path w="594561" h="534543">
                  <a:moveTo>
                    <a:pt x="343928" y="489196"/>
                  </a:moveTo>
                  <a:lnTo>
                    <a:pt x="337576" y="488349"/>
                  </a:lnTo>
                  <a:lnTo>
                    <a:pt x="334551" y="488712"/>
                  </a:lnTo>
                  <a:lnTo>
                    <a:pt x="332735" y="489408"/>
                  </a:lnTo>
                  <a:lnTo>
                    <a:pt x="332009" y="490890"/>
                  </a:lnTo>
                  <a:lnTo>
                    <a:pt x="332675" y="490890"/>
                  </a:lnTo>
                  <a:lnTo>
                    <a:pt x="333582" y="490164"/>
                  </a:lnTo>
                  <a:lnTo>
                    <a:pt x="334097" y="490830"/>
                  </a:lnTo>
                  <a:lnTo>
                    <a:pt x="333915" y="491949"/>
                  </a:lnTo>
                  <a:lnTo>
                    <a:pt x="332645" y="492615"/>
                  </a:lnTo>
                  <a:lnTo>
                    <a:pt x="333764" y="494339"/>
                  </a:lnTo>
                  <a:lnTo>
                    <a:pt x="335125" y="495004"/>
                  </a:lnTo>
                  <a:lnTo>
                    <a:pt x="336487" y="494672"/>
                  </a:lnTo>
                  <a:lnTo>
                    <a:pt x="337545" y="493492"/>
                  </a:lnTo>
                  <a:lnTo>
                    <a:pt x="339149" y="494157"/>
                  </a:lnTo>
                  <a:lnTo>
                    <a:pt x="339966" y="494309"/>
                  </a:lnTo>
                  <a:lnTo>
                    <a:pt x="340238" y="495186"/>
                  </a:lnTo>
                  <a:lnTo>
                    <a:pt x="342295" y="494883"/>
                  </a:lnTo>
                  <a:lnTo>
                    <a:pt x="344231" y="493673"/>
                  </a:lnTo>
                  <a:lnTo>
                    <a:pt x="345411" y="491889"/>
                  </a:lnTo>
                  <a:lnTo>
                    <a:pt x="345169" y="489952"/>
                  </a:lnTo>
                  <a:lnTo>
                    <a:pt x="343898" y="489166"/>
                  </a:lnTo>
                  <a:close/>
                  <a:moveTo>
                    <a:pt x="420222" y="495156"/>
                  </a:moveTo>
                  <a:lnTo>
                    <a:pt x="418166" y="493522"/>
                  </a:lnTo>
                  <a:lnTo>
                    <a:pt x="417076" y="494097"/>
                  </a:lnTo>
                  <a:lnTo>
                    <a:pt x="411298" y="493522"/>
                  </a:lnTo>
                  <a:lnTo>
                    <a:pt x="411571" y="492978"/>
                  </a:lnTo>
                  <a:lnTo>
                    <a:pt x="411661" y="492917"/>
                  </a:lnTo>
                  <a:lnTo>
                    <a:pt x="411964" y="492645"/>
                  </a:lnTo>
                  <a:lnTo>
                    <a:pt x="409634" y="491677"/>
                  </a:lnTo>
                  <a:lnTo>
                    <a:pt x="404522" y="490739"/>
                  </a:lnTo>
                  <a:lnTo>
                    <a:pt x="400741" y="488561"/>
                  </a:lnTo>
                  <a:lnTo>
                    <a:pt x="395810" y="488500"/>
                  </a:lnTo>
                  <a:lnTo>
                    <a:pt x="394115" y="487472"/>
                  </a:lnTo>
                  <a:lnTo>
                    <a:pt x="393359" y="488349"/>
                  </a:lnTo>
                  <a:lnTo>
                    <a:pt x="392452" y="487744"/>
                  </a:lnTo>
                  <a:lnTo>
                    <a:pt x="391423" y="487441"/>
                  </a:lnTo>
                  <a:lnTo>
                    <a:pt x="390334" y="487381"/>
                  </a:lnTo>
                  <a:lnTo>
                    <a:pt x="389215" y="487472"/>
                  </a:lnTo>
                  <a:lnTo>
                    <a:pt x="390243" y="486595"/>
                  </a:lnTo>
                  <a:lnTo>
                    <a:pt x="390818" y="486292"/>
                  </a:lnTo>
                  <a:lnTo>
                    <a:pt x="391302" y="486110"/>
                  </a:lnTo>
                  <a:lnTo>
                    <a:pt x="389427" y="485989"/>
                  </a:lnTo>
                  <a:lnTo>
                    <a:pt x="386190" y="487139"/>
                  </a:lnTo>
                  <a:lnTo>
                    <a:pt x="384375" y="487472"/>
                  </a:lnTo>
                  <a:lnTo>
                    <a:pt x="385464" y="488803"/>
                  </a:lnTo>
                  <a:lnTo>
                    <a:pt x="387400" y="490527"/>
                  </a:lnTo>
                  <a:lnTo>
                    <a:pt x="389427" y="491344"/>
                  </a:lnTo>
                  <a:lnTo>
                    <a:pt x="390637" y="489952"/>
                  </a:lnTo>
                  <a:lnTo>
                    <a:pt x="427180" y="499572"/>
                  </a:lnTo>
                  <a:lnTo>
                    <a:pt x="425305" y="497183"/>
                  </a:lnTo>
                  <a:lnTo>
                    <a:pt x="420162" y="495125"/>
                  </a:lnTo>
                  <a:close/>
                  <a:moveTo>
                    <a:pt x="366829" y="467113"/>
                  </a:moveTo>
                  <a:lnTo>
                    <a:pt x="365135" y="464965"/>
                  </a:lnTo>
                  <a:lnTo>
                    <a:pt x="363047" y="465630"/>
                  </a:lnTo>
                  <a:lnTo>
                    <a:pt x="355091" y="463331"/>
                  </a:lnTo>
                  <a:lnTo>
                    <a:pt x="343354" y="464360"/>
                  </a:lnTo>
                  <a:lnTo>
                    <a:pt x="341055" y="465509"/>
                  </a:lnTo>
                  <a:lnTo>
                    <a:pt x="339663" y="465902"/>
                  </a:lnTo>
                  <a:lnTo>
                    <a:pt x="334157" y="465902"/>
                  </a:lnTo>
                  <a:lnTo>
                    <a:pt x="328591" y="464632"/>
                  </a:lnTo>
                  <a:lnTo>
                    <a:pt x="325868" y="463573"/>
                  </a:lnTo>
                  <a:lnTo>
                    <a:pt x="323751" y="462363"/>
                  </a:lnTo>
                  <a:lnTo>
                    <a:pt x="321451" y="462363"/>
                  </a:lnTo>
                  <a:lnTo>
                    <a:pt x="319183" y="462000"/>
                  </a:lnTo>
                  <a:lnTo>
                    <a:pt x="316944" y="462060"/>
                  </a:lnTo>
                  <a:lnTo>
                    <a:pt x="314827" y="463301"/>
                  </a:lnTo>
                  <a:lnTo>
                    <a:pt x="316490" y="463906"/>
                  </a:lnTo>
                  <a:lnTo>
                    <a:pt x="320453" y="464390"/>
                  </a:lnTo>
                  <a:lnTo>
                    <a:pt x="322359" y="464934"/>
                  </a:lnTo>
                  <a:lnTo>
                    <a:pt x="322359" y="465872"/>
                  </a:lnTo>
                  <a:lnTo>
                    <a:pt x="315492" y="469321"/>
                  </a:lnTo>
                  <a:lnTo>
                    <a:pt x="317216" y="470380"/>
                  </a:lnTo>
                  <a:lnTo>
                    <a:pt x="318941" y="470924"/>
                  </a:lnTo>
                  <a:lnTo>
                    <a:pt x="318941" y="470289"/>
                  </a:lnTo>
                  <a:lnTo>
                    <a:pt x="320816" y="470107"/>
                  </a:lnTo>
                  <a:lnTo>
                    <a:pt x="325687" y="471499"/>
                  </a:lnTo>
                  <a:lnTo>
                    <a:pt x="336910" y="473586"/>
                  </a:lnTo>
                  <a:lnTo>
                    <a:pt x="341690" y="472951"/>
                  </a:lnTo>
                  <a:lnTo>
                    <a:pt x="349132" y="470319"/>
                  </a:lnTo>
                  <a:lnTo>
                    <a:pt x="353397" y="470077"/>
                  </a:lnTo>
                  <a:lnTo>
                    <a:pt x="362654" y="471892"/>
                  </a:lnTo>
                  <a:lnTo>
                    <a:pt x="367252" y="471015"/>
                  </a:lnTo>
                  <a:lnTo>
                    <a:pt x="369400" y="470924"/>
                  </a:lnTo>
                  <a:lnTo>
                    <a:pt x="371306" y="471892"/>
                  </a:lnTo>
                  <a:lnTo>
                    <a:pt x="372002" y="470954"/>
                  </a:lnTo>
                  <a:lnTo>
                    <a:pt x="368402" y="468474"/>
                  </a:lnTo>
                  <a:lnTo>
                    <a:pt x="366829" y="467052"/>
                  </a:lnTo>
                  <a:close/>
                  <a:moveTo>
                    <a:pt x="500328" y="530247"/>
                  </a:moveTo>
                  <a:lnTo>
                    <a:pt x="499542" y="529793"/>
                  </a:lnTo>
                  <a:lnTo>
                    <a:pt x="498241" y="528372"/>
                  </a:lnTo>
                  <a:lnTo>
                    <a:pt x="497152" y="526738"/>
                  </a:lnTo>
                  <a:lnTo>
                    <a:pt x="496456" y="524802"/>
                  </a:lnTo>
                  <a:lnTo>
                    <a:pt x="496396" y="522624"/>
                  </a:lnTo>
                  <a:lnTo>
                    <a:pt x="496940" y="518601"/>
                  </a:lnTo>
                  <a:lnTo>
                    <a:pt x="496487" y="516574"/>
                  </a:lnTo>
                  <a:lnTo>
                    <a:pt x="494853" y="516029"/>
                  </a:lnTo>
                  <a:lnTo>
                    <a:pt x="491253" y="515666"/>
                  </a:lnTo>
                  <a:lnTo>
                    <a:pt x="489770" y="514789"/>
                  </a:lnTo>
                  <a:lnTo>
                    <a:pt x="489710" y="514698"/>
                  </a:lnTo>
                  <a:lnTo>
                    <a:pt x="489710" y="514698"/>
                  </a:lnTo>
                  <a:lnTo>
                    <a:pt x="487683" y="511945"/>
                  </a:lnTo>
                  <a:lnTo>
                    <a:pt x="486564" y="511159"/>
                  </a:lnTo>
                  <a:lnTo>
                    <a:pt x="483841" y="511310"/>
                  </a:lnTo>
                  <a:lnTo>
                    <a:pt x="478366" y="509616"/>
                  </a:lnTo>
                  <a:lnTo>
                    <a:pt x="475038" y="507952"/>
                  </a:lnTo>
                  <a:lnTo>
                    <a:pt x="457462" y="497061"/>
                  </a:lnTo>
                  <a:lnTo>
                    <a:pt x="452017" y="493824"/>
                  </a:lnTo>
                  <a:lnTo>
                    <a:pt x="449657" y="492009"/>
                  </a:lnTo>
                  <a:lnTo>
                    <a:pt x="445331" y="487502"/>
                  </a:lnTo>
                  <a:lnTo>
                    <a:pt x="442881" y="485778"/>
                  </a:lnTo>
                  <a:lnTo>
                    <a:pt x="439342" y="484870"/>
                  </a:lnTo>
                  <a:lnTo>
                    <a:pt x="438252" y="484235"/>
                  </a:lnTo>
                  <a:lnTo>
                    <a:pt x="435106" y="479667"/>
                  </a:lnTo>
                  <a:lnTo>
                    <a:pt x="434894" y="478245"/>
                  </a:lnTo>
                  <a:lnTo>
                    <a:pt x="435015" y="475220"/>
                  </a:lnTo>
                  <a:lnTo>
                    <a:pt x="434713" y="473980"/>
                  </a:lnTo>
                  <a:lnTo>
                    <a:pt x="433533" y="472528"/>
                  </a:lnTo>
                  <a:lnTo>
                    <a:pt x="432625" y="472528"/>
                  </a:lnTo>
                  <a:lnTo>
                    <a:pt x="431839" y="473193"/>
                  </a:lnTo>
                  <a:lnTo>
                    <a:pt x="431053" y="473586"/>
                  </a:lnTo>
                  <a:lnTo>
                    <a:pt x="428905" y="473223"/>
                  </a:lnTo>
                  <a:lnTo>
                    <a:pt x="424700" y="471711"/>
                  </a:lnTo>
                  <a:lnTo>
                    <a:pt x="422491" y="471317"/>
                  </a:lnTo>
                  <a:lnTo>
                    <a:pt x="420253" y="471802"/>
                  </a:lnTo>
                  <a:lnTo>
                    <a:pt x="418892" y="473133"/>
                  </a:lnTo>
                  <a:lnTo>
                    <a:pt x="417621" y="474917"/>
                  </a:lnTo>
                  <a:lnTo>
                    <a:pt x="420192" y="476370"/>
                  </a:lnTo>
                  <a:lnTo>
                    <a:pt x="423066" y="475401"/>
                  </a:lnTo>
                  <a:lnTo>
                    <a:pt x="423701" y="476188"/>
                  </a:lnTo>
                  <a:lnTo>
                    <a:pt x="422522" y="477731"/>
                  </a:lnTo>
                  <a:lnTo>
                    <a:pt x="423429" y="479243"/>
                  </a:lnTo>
                  <a:lnTo>
                    <a:pt x="426485" y="481421"/>
                  </a:lnTo>
                  <a:lnTo>
                    <a:pt x="423943" y="480816"/>
                  </a:lnTo>
                  <a:lnTo>
                    <a:pt x="419678" y="476944"/>
                  </a:lnTo>
                  <a:lnTo>
                    <a:pt x="418196" y="477156"/>
                  </a:lnTo>
                  <a:lnTo>
                    <a:pt x="417560" y="477156"/>
                  </a:lnTo>
                  <a:lnTo>
                    <a:pt x="416441" y="475764"/>
                  </a:lnTo>
                  <a:lnTo>
                    <a:pt x="414565" y="474917"/>
                  </a:lnTo>
                  <a:lnTo>
                    <a:pt x="410633" y="473738"/>
                  </a:lnTo>
                  <a:lnTo>
                    <a:pt x="409060" y="472679"/>
                  </a:lnTo>
                  <a:lnTo>
                    <a:pt x="408152" y="472225"/>
                  </a:lnTo>
                  <a:lnTo>
                    <a:pt x="406912" y="472044"/>
                  </a:lnTo>
                  <a:lnTo>
                    <a:pt x="406398" y="471892"/>
                  </a:lnTo>
                  <a:lnTo>
                    <a:pt x="405460" y="471257"/>
                  </a:lnTo>
                  <a:lnTo>
                    <a:pt x="404855" y="471106"/>
                  </a:lnTo>
                  <a:lnTo>
                    <a:pt x="404462" y="471378"/>
                  </a:lnTo>
                  <a:lnTo>
                    <a:pt x="404522" y="472558"/>
                  </a:lnTo>
                  <a:lnTo>
                    <a:pt x="404159" y="472830"/>
                  </a:lnTo>
                  <a:lnTo>
                    <a:pt x="403010" y="472709"/>
                  </a:lnTo>
                  <a:lnTo>
                    <a:pt x="402162" y="472376"/>
                  </a:lnTo>
                  <a:lnTo>
                    <a:pt x="400378" y="471106"/>
                  </a:lnTo>
                  <a:lnTo>
                    <a:pt x="399894" y="471045"/>
                  </a:lnTo>
                  <a:lnTo>
                    <a:pt x="398714" y="471257"/>
                  </a:lnTo>
                  <a:lnTo>
                    <a:pt x="398230" y="471136"/>
                  </a:lnTo>
                  <a:lnTo>
                    <a:pt x="397897" y="470501"/>
                  </a:lnTo>
                  <a:lnTo>
                    <a:pt x="397806" y="469744"/>
                  </a:lnTo>
                  <a:lnTo>
                    <a:pt x="397806" y="469049"/>
                  </a:lnTo>
                  <a:lnTo>
                    <a:pt x="397625" y="468565"/>
                  </a:lnTo>
                  <a:lnTo>
                    <a:pt x="394781" y="466205"/>
                  </a:lnTo>
                  <a:lnTo>
                    <a:pt x="391242" y="464087"/>
                  </a:lnTo>
                  <a:lnTo>
                    <a:pt x="376116" y="458400"/>
                  </a:lnTo>
                  <a:lnTo>
                    <a:pt x="367918" y="457372"/>
                  </a:lnTo>
                  <a:lnTo>
                    <a:pt x="359326" y="458249"/>
                  </a:lnTo>
                  <a:lnTo>
                    <a:pt x="357542" y="457644"/>
                  </a:lnTo>
                  <a:lnTo>
                    <a:pt x="354274" y="455163"/>
                  </a:lnTo>
                  <a:lnTo>
                    <a:pt x="352096" y="454800"/>
                  </a:lnTo>
                  <a:lnTo>
                    <a:pt x="352732" y="455587"/>
                  </a:lnTo>
                  <a:lnTo>
                    <a:pt x="353246" y="456343"/>
                  </a:lnTo>
                  <a:lnTo>
                    <a:pt x="353821" y="457009"/>
                  </a:lnTo>
                  <a:lnTo>
                    <a:pt x="354758" y="457372"/>
                  </a:lnTo>
                  <a:lnTo>
                    <a:pt x="354758" y="458249"/>
                  </a:lnTo>
                  <a:lnTo>
                    <a:pt x="353730" y="459550"/>
                  </a:lnTo>
                  <a:lnTo>
                    <a:pt x="354698" y="460851"/>
                  </a:lnTo>
                  <a:lnTo>
                    <a:pt x="356574" y="461909"/>
                  </a:lnTo>
                  <a:lnTo>
                    <a:pt x="358207" y="462545"/>
                  </a:lnTo>
                  <a:lnTo>
                    <a:pt x="361535" y="463271"/>
                  </a:lnTo>
                  <a:lnTo>
                    <a:pt x="372244" y="463271"/>
                  </a:lnTo>
                  <a:lnTo>
                    <a:pt x="373424" y="463482"/>
                  </a:lnTo>
                  <a:lnTo>
                    <a:pt x="374210" y="463845"/>
                  </a:lnTo>
                  <a:lnTo>
                    <a:pt x="375813" y="464934"/>
                  </a:lnTo>
                  <a:lnTo>
                    <a:pt x="379232" y="465933"/>
                  </a:lnTo>
                  <a:lnTo>
                    <a:pt x="387248" y="471166"/>
                  </a:lnTo>
                  <a:lnTo>
                    <a:pt x="393934" y="472497"/>
                  </a:lnTo>
                  <a:lnTo>
                    <a:pt x="396475" y="474070"/>
                  </a:lnTo>
                  <a:lnTo>
                    <a:pt x="396233" y="477247"/>
                  </a:lnTo>
                  <a:lnTo>
                    <a:pt x="404764" y="480363"/>
                  </a:lnTo>
                  <a:lnTo>
                    <a:pt x="410270" y="481301"/>
                  </a:lnTo>
                  <a:lnTo>
                    <a:pt x="415654" y="483599"/>
                  </a:lnTo>
                  <a:lnTo>
                    <a:pt x="420192" y="484447"/>
                  </a:lnTo>
                  <a:lnTo>
                    <a:pt x="425244" y="486383"/>
                  </a:lnTo>
                  <a:lnTo>
                    <a:pt x="427271" y="487623"/>
                  </a:lnTo>
                  <a:lnTo>
                    <a:pt x="427422" y="488258"/>
                  </a:lnTo>
                  <a:lnTo>
                    <a:pt x="427271" y="489196"/>
                  </a:lnTo>
                  <a:lnTo>
                    <a:pt x="427271" y="489983"/>
                  </a:lnTo>
                  <a:lnTo>
                    <a:pt x="427906" y="490104"/>
                  </a:lnTo>
                  <a:lnTo>
                    <a:pt x="428602" y="489680"/>
                  </a:lnTo>
                  <a:lnTo>
                    <a:pt x="428602" y="489136"/>
                  </a:lnTo>
                  <a:lnTo>
                    <a:pt x="427271" y="486020"/>
                  </a:lnTo>
                  <a:lnTo>
                    <a:pt x="426364" y="484810"/>
                  </a:lnTo>
                  <a:lnTo>
                    <a:pt x="424488" y="483146"/>
                  </a:lnTo>
                  <a:lnTo>
                    <a:pt x="425910" y="483690"/>
                  </a:lnTo>
                  <a:lnTo>
                    <a:pt x="428300" y="485505"/>
                  </a:lnTo>
                  <a:lnTo>
                    <a:pt x="428965" y="485899"/>
                  </a:lnTo>
                  <a:lnTo>
                    <a:pt x="429207" y="486171"/>
                  </a:lnTo>
                  <a:lnTo>
                    <a:pt x="429812" y="486655"/>
                  </a:lnTo>
                  <a:lnTo>
                    <a:pt x="430447" y="486867"/>
                  </a:lnTo>
                  <a:lnTo>
                    <a:pt x="430992" y="485838"/>
                  </a:lnTo>
                  <a:lnTo>
                    <a:pt x="431658" y="485415"/>
                  </a:lnTo>
                  <a:lnTo>
                    <a:pt x="432444" y="485112"/>
                  </a:lnTo>
                  <a:lnTo>
                    <a:pt x="433110" y="484991"/>
                  </a:lnTo>
                  <a:lnTo>
                    <a:pt x="435953" y="485566"/>
                  </a:lnTo>
                  <a:lnTo>
                    <a:pt x="438979" y="487714"/>
                  </a:lnTo>
                  <a:lnTo>
                    <a:pt x="441761" y="487623"/>
                  </a:lnTo>
                  <a:lnTo>
                    <a:pt x="440552" y="490406"/>
                  </a:lnTo>
                  <a:lnTo>
                    <a:pt x="442669" y="492524"/>
                  </a:lnTo>
                  <a:lnTo>
                    <a:pt x="448659" y="495337"/>
                  </a:lnTo>
                  <a:lnTo>
                    <a:pt x="452894" y="498937"/>
                  </a:lnTo>
                  <a:lnTo>
                    <a:pt x="455405" y="500117"/>
                  </a:lnTo>
                  <a:lnTo>
                    <a:pt x="456917" y="498786"/>
                  </a:lnTo>
                  <a:lnTo>
                    <a:pt x="457371" y="500238"/>
                  </a:lnTo>
                  <a:lnTo>
                    <a:pt x="458188" y="501176"/>
                  </a:lnTo>
                  <a:lnTo>
                    <a:pt x="460336" y="503082"/>
                  </a:lnTo>
                  <a:lnTo>
                    <a:pt x="458309" y="503082"/>
                  </a:lnTo>
                  <a:lnTo>
                    <a:pt x="458975" y="504382"/>
                  </a:lnTo>
                  <a:lnTo>
                    <a:pt x="460185" y="505169"/>
                  </a:lnTo>
                  <a:lnTo>
                    <a:pt x="461758" y="505562"/>
                  </a:lnTo>
                  <a:lnTo>
                    <a:pt x="463482" y="505653"/>
                  </a:lnTo>
                  <a:lnTo>
                    <a:pt x="465116" y="506016"/>
                  </a:lnTo>
                  <a:lnTo>
                    <a:pt x="469260" y="508224"/>
                  </a:lnTo>
                  <a:lnTo>
                    <a:pt x="474433" y="509071"/>
                  </a:lnTo>
                  <a:lnTo>
                    <a:pt x="475038" y="509737"/>
                  </a:lnTo>
                  <a:lnTo>
                    <a:pt x="475038" y="511310"/>
                  </a:lnTo>
                  <a:lnTo>
                    <a:pt x="474766" y="513034"/>
                  </a:lnTo>
                  <a:lnTo>
                    <a:pt x="474766" y="514184"/>
                  </a:lnTo>
                  <a:lnTo>
                    <a:pt x="476581" y="516695"/>
                  </a:lnTo>
                  <a:lnTo>
                    <a:pt x="493975" y="527071"/>
                  </a:lnTo>
                  <a:lnTo>
                    <a:pt x="494097" y="528856"/>
                  </a:lnTo>
                  <a:lnTo>
                    <a:pt x="495549" y="529673"/>
                  </a:lnTo>
                  <a:lnTo>
                    <a:pt x="498906" y="530580"/>
                  </a:lnTo>
                  <a:lnTo>
                    <a:pt x="500268" y="531397"/>
                  </a:lnTo>
                  <a:lnTo>
                    <a:pt x="502476" y="534543"/>
                  </a:lnTo>
                  <a:lnTo>
                    <a:pt x="502627" y="532698"/>
                  </a:lnTo>
                  <a:lnTo>
                    <a:pt x="502144" y="531306"/>
                  </a:lnTo>
                  <a:lnTo>
                    <a:pt x="500389" y="530368"/>
                  </a:lnTo>
                  <a:close/>
                  <a:moveTo>
                    <a:pt x="276377" y="451109"/>
                  </a:moveTo>
                  <a:lnTo>
                    <a:pt x="275923" y="451503"/>
                  </a:lnTo>
                  <a:lnTo>
                    <a:pt x="275500" y="452047"/>
                  </a:lnTo>
                  <a:lnTo>
                    <a:pt x="274169" y="451200"/>
                  </a:lnTo>
                  <a:lnTo>
                    <a:pt x="272928" y="451140"/>
                  </a:lnTo>
                  <a:lnTo>
                    <a:pt x="270599" y="452047"/>
                  </a:lnTo>
                  <a:lnTo>
                    <a:pt x="270780" y="451745"/>
                  </a:lnTo>
                  <a:lnTo>
                    <a:pt x="271295" y="451109"/>
                  </a:lnTo>
                  <a:lnTo>
                    <a:pt x="268330" y="450081"/>
                  </a:lnTo>
                  <a:lnTo>
                    <a:pt x="264307" y="449960"/>
                  </a:lnTo>
                  <a:lnTo>
                    <a:pt x="260525" y="450686"/>
                  </a:lnTo>
                  <a:lnTo>
                    <a:pt x="258196" y="452047"/>
                  </a:lnTo>
                  <a:lnTo>
                    <a:pt x="257500" y="452138"/>
                  </a:lnTo>
                  <a:lnTo>
                    <a:pt x="256986" y="452259"/>
                  </a:lnTo>
                  <a:lnTo>
                    <a:pt x="256562" y="452501"/>
                  </a:lnTo>
                  <a:lnTo>
                    <a:pt x="256139" y="452894"/>
                  </a:lnTo>
                  <a:lnTo>
                    <a:pt x="257591" y="454619"/>
                  </a:lnTo>
                  <a:lnTo>
                    <a:pt x="258226" y="454619"/>
                  </a:lnTo>
                  <a:lnTo>
                    <a:pt x="259224" y="454407"/>
                  </a:lnTo>
                  <a:lnTo>
                    <a:pt x="260041" y="455920"/>
                  </a:lnTo>
                  <a:lnTo>
                    <a:pt x="259769" y="457856"/>
                  </a:lnTo>
                  <a:lnTo>
                    <a:pt x="257621" y="458945"/>
                  </a:lnTo>
                  <a:lnTo>
                    <a:pt x="260041" y="459701"/>
                  </a:lnTo>
                  <a:lnTo>
                    <a:pt x="263490" y="459459"/>
                  </a:lnTo>
                  <a:lnTo>
                    <a:pt x="272444" y="456948"/>
                  </a:lnTo>
                  <a:lnTo>
                    <a:pt x="273624" y="456071"/>
                  </a:lnTo>
                  <a:lnTo>
                    <a:pt x="274804" y="454649"/>
                  </a:lnTo>
                  <a:lnTo>
                    <a:pt x="275984" y="453862"/>
                  </a:lnTo>
                  <a:lnTo>
                    <a:pt x="276649" y="453288"/>
                  </a:lnTo>
                  <a:lnTo>
                    <a:pt x="276921" y="452501"/>
                  </a:lnTo>
                  <a:lnTo>
                    <a:pt x="276770" y="451321"/>
                  </a:lnTo>
                  <a:lnTo>
                    <a:pt x="276407" y="451140"/>
                  </a:lnTo>
                  <a:close/>
                  <a:moveTo>
                    <a:pt x="320968" y="445059"/>
                  </a:moveTo>
                  <a:lnTo>
                    <a:pt x="371306" y="445059"/>
                  </a:lnTo>
                  <a:lnTo>
                    <a:pt x="367464" y="443426"/>
                  </a:lnTo>
                  <a:lnTo>
                    <a:pt x="362896" y="442972"/>
                  </a:lnTo>
                  <a:lnTo>
                    <a:pt x="353700" y="443365"/>
                  </a:lnTo>
                  <a:lnTo>
                    <a:pt x="347680" y="441913"/>
                  </a:lnTo>
                  <a:lnTo>
                    <a:pt x="341448" y="441610"/>
                  </a:lnTo>
                  <a:lnTo>
                    <a:pt x="339602" y="441096"/>
                  </a:lnTo>
                  <a:lnTo>
                    <a:pt x="338211" y="439826"/>
                  </a:lnTo>
                  <a:lnTo>
                    <a:pt x="336577" y="440643"/>
                  </a:lnTo>
                  <a:lnTo>
                    <a:pt x="326806" y="440703"/>
                  </a:lnTo>
                  <a:lnTo>
                    <a:pt x="324447" y="440370"/>
                  </a:lnTo>
                  <a:lnTo>
                    <a:pt x="322238" y="439584"/>
                  </a:lnTo>
                  <a:lnTo>
                    <a:pt x="320272" y="438192"/>
                  </a:lnTo>
                  <a:lnTo>
                    <a:pt x="320574" y="438071"/>
                  </a:lnTo>
                  <a:lnTo>
                    <a:pt x="320847" y="438071"/>
                  </a:lnTo>
                  <a:lnTo>
                    <a:pt x="320998" y="437920"/>
                  </a:lnTo>
                  <a:lnTo>
                    <a:pt x="320937" y="437345"/>
                  </a:lnTo>
                  <a:lnTo>
                    <a:pt x="319697" y="436589"/>
                  </a:lnTo>
                  <a:lnTo>
                    <a:pt x="318880" y="435530"/>
                  </a:lnTo>
                  <a:lnTo>
                    <a:pt x="318245" y="434532"/>
                  </a:lnTo>
                  <a:lnTo>
                    <a:pt x="317579" y="433896"/>
                  </a:lnTo>
                  <a:lnTo>
                    <a:pt x="316218" y="433382"/>
                  </a:lnTo>
                  <a:lnTo>
                    <a:pt x="313223" y="432928"/>
                  </a:lnTo>
                  <a:lnTo>
                    <a:pt x="311953" y="432928"/>
                  </a:lnTo>
                  <a:lnTo>
                    <a:pt x="311287" y="433140"/>
                  </a:lnTo>
                  <a:lnTo>
                    <a:pt x="310289" y="433836"/>
                  </a:lnTo>
                  <a:lnTo>
                    <a:pt x="309896" y="433836"/>
                  </a:lnTo>
                  <a:lnTo>
                    <a:pt x="307838" y="432202"/>
                  </a:lnTo>
                  <a:lnTo>
                    <a:pt x="305055" y="432354"/>
                  </a:lnTo>
                  <a:lnTo>
                    <a:pt x="303603" y="432202"/>
                  </a:lnTo>
                  <a:lnTo>
                    <a:pt x="304511" y="433140"/>
                  </a:lnTo>
                  <a:lnTo>
                    <a:pt x="307173" y="434622"/>
                  </a:lnTo>
                  <a:lnTo>
                    <a:pt x="309926" y="437285"/>
                  </a:lnTo>
                  <a:lnTo>
                    <a:pt x="307082" y="437375"/>
                  </a:lnTo>
                  <a:lnTo>
                    <a:pt x="304269" y="435318"/>
                  </a:lnTo>
                  <a:lnTo>
                    <a:pt x="301183" y="433564"/>
                  </a:lnTo>
                  <a:lnTo>
                    <a:pt x="297553" y="434622"/>
                  </a:lnTo>
                  <a:lnTo>
                    <a:pt x="297553" y="433836"/>
                  </a:lnTo>
                  <a:lnTo>
                    <a:pt x="296403" y="435016"/>
                  </a:lnTo>
                  <a:lnTo>
                    <a:pt x="296101" y="435560"/>
                  </a:lnTo>
                  <a:lnTo>
                    <a:pt x="295496" y="434622"/>
                  </a:lnTo>
                  <a:lnTo>
                    <a:pt x="293015" y="436044"/>
                  </a:lnTo>
                  <a:lnTo>
                    <a:pt x="291866" y="436226"/>
                  </a:lnTo>
                  <a:lnTo>
                    <a:pt x="290595" y="435560"/>
                  </a:lnTo>
                  <a:lnTo>
                    <a:pt x="289476" y="435560"/>
                  </a:lnTo>
                  <a:lnTo>
                    <a:pt x="289022" y="435863"/>
                  </a:lnTo>
                  <a:lnTo>
                    <a:pt x="288598" y="436407"/>
                  </a:lnTo>
                  <a:lnTo>
                    <a:pt x="293076" y="438162"/>
                  </a:lnTo>
                  <a:lnTo>
                    <a:pt x="294225" y="438404"/>
                  </a:lnTo>
                  <a:lnTo>
                    <a:pt x="296010" y="439553"/>
                  </a:lnTo>
                  <a:lnTo>
                    <a:pt x="299035" y="440098"/>
                  </a:lnTo>
                  <a:lnTo>
                    <a:pt x="307536" y="443063"/>
                  </a:lnTo>
                  <a:lnTo>
                    <a:pt x="318638" y="445271"/>
                  </a:lnTo>
                  <a:lnTo>
                    <a:pt x="320937" y="445029"/>
                  </a:lnTo>
                  <a:close/>
                  <a:moveTo>
                    <a:pt x="294467" y="419073"/>
                  </a:moveTo>
                  <a:lnTo>
                    <a:pt x="294165" y="419194"/>
                  </a:lnTo>
                  <a:lnTo>
                    <a:pt x="294165" y="419981"/>
                  </a:lnTo>
                  <a:lnTo>
                    <a:pt x="293409" y="419981"/>
                  </a:lnTo>
                  <a:lnTo>
                    <a:pt x="292834" y="419497"/>
                  </a:lnTo>
                  <a:lnTo>
                    <a:pt x="292017" y="419013"/>
                  </a:lnTo>
                  <a:lnTo>
                    <a:pt x="293651" y="420919"/>
                  </a:lnTo>
                  <a:lnTo>
                    <a:pt x="301607" y="425154"/>
                  </a:lnTo>
                  <a:lnTo>
                    <a:pt x="307959" y="426939"/>
                  </a:lnTo>
                  <a:lnTo>
                    <a:pt x="314433" y="427755"/>
                  </a:lnTo>
                  <a:lnTo>
                    <a:pt x="333038" y="427241"/>
                  </a:lnTo>
                  <a:lnTo>
                    <a:pt x="336366" y="426515"/>
                  </a:lnTo>
                  <a:lnTo>
                    <a:pt x="338211" y="424186"/>
                  </a:lnTo>
                  <a:lnTo>
                    <a:pt x="338997" y="424639"/>
                  </a:lnTo>
                  <a:lnTo>
                    <a:pt x="339723" y="423913"/>
                  </a:lnTo>
                  <a:lnTo>
                    <a:pt x="341024" y="421584"/>
                  </a:lnTo>
                  <a:lnTo>
                    <a:pt x="340298" y="420344"/>
                  </a:lnTo>
                  <a:lnTo>
                    <a:pt x="339542" y="420162"/>
                  </a:lnTo>
                  <a:lnTo>
                    <a:pt x="338665" y="420253"/>
                  </a:lnTo>
                  <a:lnTo>
                    <a:pt x="337576" y="419920"/>
                  </a:lnTo>
                  <a:lnTo>
                    <a:pt x="335700" y="417924"/>
                  </a:lnTo>
                  <a:lnTo>
                    <a:pt x="334792" y="417228"/>
                  </a:lnTo>
                  <a:lnTo>
                    <a:pt x="334157" y="417893"/>
                  </a:lnTo>
                  <a:lnTo>
                    <a:pt x="333371" y="418014"/>
                  </a:lnTo>
                  <a:lnTo>
                    <a:pt x="332433" y="417742"/>
                  </a:lnTo>
                  <a:lnTo>
                    <a:pt x="331374" y="417228"/>
                  </a:lnTo>
                  <a:lnTo>
                    <a:pt x="332735" y="417228"/>
                  </a:lnTo>
                  <a:lnTo>
                    <a:pt x="332735" y="416351"/>
                  </a:lnTo>
                  <a:lnTo>
                    <a:pt x="320453" y="413325"/>
                  </a:lnTo>
                  <a:lnTo>
                    <a:pt x="300971" y="412660"/>
                  </a:lnTo>
                  <a:lnTo>
                    <a:pt x="296918" y="411178"/>
                  </a:lnTo>
                  <a:lnTo>
                    <a:pt x="296282" y="411057"/>
                  </a:lnTo>
                  <a:lnTo>
                    <a:pt x="294195" y="411178"/>
                  </a:lnTo>
                  <a:lnTo>
                    <a:pt x="295556" y="414112"/>
                  </a:lnTo>
                  <a:lnTo>
                    <a:pt x="296948" y="416381"/>
                  </a:lnTo>
                  <a:lnTo>
                    <a:pt x="295738" y="416623"/>
                  </a:lnTo>
                  <a:lnTo>
                    <a:pt x="295072" y="417228"/>
                  </a:lnTo>
                  <a:lnTo>
                    <a:pt x="295012" y="418045"/>
                  </a:lnTo>
                  <a:lnTo>
                    <a:pt x="295587" y="418952"/>
                  </a:lnTo>
                  <a:lnTo>
                    <a:pt x="295042" y="419073"/>
                  </a:lnTo>
                  <a:lnTo>
                    <a:pt x="294588" y="418982"/>
                  </a:lnTo>
                  <a:close/>
                  <a:moveTo>
                    <a:pt x="290625" y="417319"/>
                  </a:moveTo>
                  <a:lnTo>
                    <a:pt x="288145" y="415443"/>
                  </a:lnTo>
                  <a:lnTo>
                    <a:pt x="286330" y="413265"/>
                  </a:lnTo>
                  <a:lnTo>
                    <a:pt x="284424" y="411813"/>
                  </a:lnTo>
                  <a:lnTo>
                    <a:pt x="281701" y="412146"/>
                  </a:lnTo>
                  <a:lnTo>
                    <a:pt x="281247" y="410058"/>
                  </a:lnTo>
                  <a:lnTo>
                    <a:pt x="279099" y="409000"/>
                  </a:lnTo>
                  <a:lnTo>
                    <a:pt x="273352" y="408576"/>
                  </a:lnTo>
                  <a:lnTo>
                    <a:pt x="271900" y="408878"/>
                  </a:lnTo>
                  <a:lnTo>
                    <a:pt x="271355" y="409635"/>
                  </a:lnTo>
                  <a:lnTo>
                    <a:pt x="271658" y="410542"/>
                  </a:lnTo>
                  <a:lnTo>
                    <a:pt x="272656" y="411299"/>
                  </a:lnTo>
                  <a:lnTo>
                    <a:pt x="272353" y="411389"/>
                  </a:lnTo>
                  <a:lnTo>
                    <a:pt x="272112" y="411389"/>
                  </a:lnTo>
                  <a:lnTo>
                    <a:pt x="271960" y="411571"/>
                  </a:lnTo>
                  <a:lnTo>
                    <a:pt x="272021" y="412146"/>
                  </a:lnTo>
                  <a:lnTo>
                    <a:pt x="274562" y="412509"/>
                  </a:lnTo>
                  <a:lnTo>
                    <a:pt x="279553" y="414445"/>
                  </a:lnTo>
                  <a:lnTo>
                    <a:pt x="286299" y="418347"/>
                  </a:lnTo>
                  <a:lnTo>
                    <a:pt x="289052" y="419013"/>
                  </a:lnTo>
                  <a:lnTo>
                    <a:pt x="290595" y="417379"/>
                  </a:lnTo>
                  <a:close/>
                  <a:moveTo>
                    <a:pt x="274380" y="398290"/>
                  </a:moveTo>
                  <a:lnTo>
                    <a:pt x="273685" y="398139"/>
                  </a:lnTo>
                  <a:lnTo>
                    <a:pt x="273261" y="398139"/>
                  </a:lnTo>
                  <a:lnTo>
                    <a:pt x="272535" y="398381"/>
                  </a:lnTo>
                  <a:lnTo>
                    <a:pt x="272535" y="399077"/>
                  </a:lnTo>
                  <a:lnTo>
                    <a:pt x="273201" y="399561"/>
                  </a:lnTo>
                  <a:lnTo>
                    <a:pt x="274441" y="399954"/>
                  </a:lnTo>
                  <a:lnTo>
                    <a:pt x="276044" y="400166"/>
                  </a:lnTo>
                  <a:lnTo>
                    <a:pt x="277284" y="399894"/>
                  </a:lnTo>
                  <a:lnTo>
                    <a:pt x="278162" y="399470"/>
                  </a:lnTo>
                  <a:lnTo>
                    <a:pt x="279644" y="399349"/>
                  </a:lnTo>
                  <a:lnTo>
                    <a:pt x="284817" y="400196"/>
                  </a:lnTo>
                  <a:lnTo>
                    <a:pt x="288598" y="399833"/>
                  </a:lnTo>
                  <a:lnTo>
                    <a:pt x="289052" y="399077"/>
                  </a:lnTo>
                  <a:lnTo>
                    <a:pt x="284908" y="397625"/>
                  </a:lnTo>
                  <a:lnTo>
                    <a:pt x="282518" y="396838"/>
                  </a:lnTo>
                  <a:lnTo>
                    <a:pt x="277890" y="396203"/>
                  </a:lnTo>
                  <a:lnTo>
                    <a:pt x="276226" y="396778"/>
                  </a:lnTo>
                  <a:lnTo>
                    <a:pt x="276649" y="397837"/>
                  </a:lnTo>
                  <a:lnTo>
                    <a:pt x="275772" y="398472"/>
                  </a:lnTo>
                  <a:lnTo>
                    <a:pt x="274411" y="398321"/>
                  </a:lnTo>
                  <a:close/>
                  <a:moveTo>
                    <a:pt x="217992" y="377962"/>
                  </a:moveTo>
                  <a:lnTo>
                    <a:pt x="217175" y="376721"/>
                  </a:lnTo>
                  <a:lnTo>
                    <a:pt x="215995" y="375753"/>
                  </a:lnTo>
                  <a:lnTo>
                    <a:pt x="212940" y="375451"/>
                  </a:lnTo>
                  <a:lnTo>
                    <a:pt x="212516" y="375239"/>
                  </a:lnTo>
                  <a:lnTo>
                    <a:pt x="212093" y="374573"/>
                  </a:lnTo>
                  <a:lnTo>
                    <a:pt x="211336" y="375541"/>
                  </a:lnTo>
                  <a:lnTo>
                    <a:pt x="212940" y="376267"/>
                  </a:lnTo>
                  <a:lnTo>
                    <a:pt x="217296" y="379232"/>
                  </a:lnTo>
                  <a:lnTo>
                    <a:pt x="218204" y="380291"/>
                  </a:lnTo>
                  <a:lnTo>
                    <a:pt x="219141" y="379928"/>
                  </a:lnTo>
                  <a:lnTo>
                    <a:pt x="225070" y="381561"/>
                  </a:lnTo>
                  <a:lnTo>
                    <a:pt x="218869" y="378960"/>
                  </a:lnTo>
                  <a:lnTo>
                    <a:pt x="217931" y="377962"/>
                  </a:lnTo>
                  <a:close/>
                  <a:moveTo>
                    <a:pt x="186258" y="359478"/>
                  </a:moveTo>
                  <a:lnTo>
                    <a:pt x="185078" y="358026"/>
                  </a:lnTo>
                  <a:lnTo>
                    <a:pt x="177424" y="352248"/>
                  </a:lnTo>
                  <a:lnTo>
                    <a:pt x="176910" y="350947"/>
                  </a:lnTo>
                  <a:lnTo>
                    <a:pt x="174853" y="349192"/>
                  </a:lnTo>
                  <a:lnTo>
                    <a:pt x="173552" y="350009"/>
                  </a:lnTo>
                  <a:lnTo>
                    <a:pt x="174127" y="351582"/>
                  </a:lnTo>
                  <a:lnTo>
                    <a:pt x="175579" y="353276"/>
                  </a:lnTo>
                  <a:lnTo>
                    <a:pt x="176941" y="354456"/>
                  </a:lnTo>
                  <a:lnTo>
                    <a:pt x="179663" y="356301"/>
                  </a:lnTo>
                  <a:lnTo>
                    <a:pt x="181720" y="358843"/>
                  </a:lnTo>
                  <a:lnTo>
                    <a:pt x="183626" y="360022"/>
                  </a:lnTo>
                  <a:lnTo>
                    <a:pt x="189555" y="362503"/>
                  </a:lnTo>
                  <a:lnTo>
                    <a:pt x="190433" y="363078"/>
                  </a:lnTo>
                  <a:lnTo>
                    <a:pt x="187589" y="360809"/>
                  </a:lnTo>
                  <a:lnTo>
                    <a:pt x="186288" y="359478"/>
                  </a:lnTo>
                  <a:close/>
                  <a:moveTo>
                    <a:pt x="194426" y="345290"/>
                  </a:moveTo>
                  <a:lnTo>
                    <a:pt x="193549" y="343929"/>
                  </a:lnTo>
                  <a:lnTo>
                    <a:pt x="192762" y="343021"/>
                  </a:lnTo>
                  <a:lnTo>
                    <a:pt x="191975" y="342537"/>
                  </a:lnTo>
                  <a:lnTo>
                    <a:pt x="190614" y="341993"/>
                  </a:lnTo>
                  <a:lnTo>
                    <a:pt x="190009" y="341357"/>
                  </a:lnTo>
                  <a:lnTo>
                    <a:pt x="189767" y="340661"/>
                  </a:lnTo>
                  <a:lnTo>
                    <a:pt x="189495" y="338514"/>
                  </a:lnTo>
                  <a:lnTo>
                    <a:pt x="189253" y="337788"/>
                  </a:lnTo>
                  <a:lnTo>
                    <a:pt x="188708" y="337606"/>
                  </a:lnTo>
                  <a:lnTo>
                    <a:pt x="185834" y="337001"/>
                  </a:lnTo>
                  <a:lnTo>
                    <a:pt x="180450" y="333250"/>
                  </a:lnTo>
                  <a:lnTo>
                    <a:pt x="178816" y="332584"/>
                  </a:lnTo>
                  <a:lnTo>
                    <a:pt x="176910" y="332584"/>
                  </a:lnTo>
                  <a:lnTo>
                    <a:pt x="177818" y="333915"/>
                  </a:lnTo>
                  <a:lnTo>
                    <a:pt x="180540" y="336759"/>
                  </a:lnTo>
                  <a:lnTo>
                    <a:pt x="181115" y="338272"/>
                  </a:lnTo>
                  <a:lnTo>
                    <a:pt x="181811" y="339300"/>
                  </a:lnTo>
                  <a:lnTo>
                    <a:pt x="183384" y="340601"/>
                  </a:lnTo>
                  <a:lnTo>
                    <a:pt x="185199" y="341720"/>
                  </a:lnTo>
                  <a:lnTo>
                    <a:pt x="186560" y="342265"/>
                  </a:lnTo>
                  <a:lnTo>
                    <a:pt x="186318" y="342779"/>
                  </a:lnTo>
                  <a:lnTo>
                    <a:pt x="185895" y="343082"/>
                  </a:lnTo>
                  <a:lnTo>
                    <a:pt x="186772" y="344352"/>
                  </a:lnTo>
                  <a:lnTo>
                    <a:pt x="188103" y="345048"/>
                  </a:lnTo>
                  <a:lnTo>
                    <a:pt x="190675" y="345804"/>
                  </a:lnTo>
                  <a:lnTo>
                    <a:pt x="191068" y="346228"/>
                  </a:lnTo>
                  <a:lnTo>
                    <a:pt x="191280" y="346802"/>
                  </a:lnTo>
                  <a:lnTo>
                    <a:pt x="191612" y="347317"/>
                  </a:lnTo>
                  <a:lnTo>
                    <a:pt x="192429" y="347528"/>
                  </a:lnTo>
                  <a:lnTo>
                    <a:pt x="193306" y="347589"/>
                  </a:lnTo>
                  <a:lnTo>
                    <a:pt x="194093" y="347740"/>
                  </a:lnTo>
                  <a:lnTo>
                    <a:pt x="194819" y="348013"/>
                  </a:lnTo>
                  <a:lnTo>
                    <a:pt x="195545" y="348406"/>
                  </a:lnTo>
                  <a:lnTo>
                    <a:pt x="195212" y="346954"/>
                  </a:lnTo>
                  <a:lnTo>
                    <a:pt x="194486" y="345381"/>
                  </a:lnTo>
                  <a:close/>
                  <a:moveTo>
                    <a:pt x="174944" y="330346"/>
                  </a:moveTo>
                  <a:lnTo>
                    <a:pt x="176215" y="331616"/>
                  </a:lnTo>
                  <a:lnTo>
                    <a:pt x="175488" y="327926"/>
                  </a:lnTo>
                  <a:lnTo>
                    <a:pt x="173340" y="325415"/>
                  </a:lnTo>
                  <a:lnTo>
                    <a:pt x="156914" y="313133"/>
                  </a:lnTo>
                  <a:lnTo>
                    <a:pt x="157821" y="315129"/>
                  </a:lnTo>
                  <a:lnTo>
                    <a:pt x="158245" y="315855"/>
                  </a:lnTo>
                  <a:lnTo>
                    <a:pt x="157882" y="316127"/>
                  </a:lnTo>
                  <a:lnTo>
                    <a:pt x="157791" y="316127"/>
                  </a:lnTo>
                  <a:lnTo>
                    <a:pt x="157791" y="316279"/>
                  </a:lnTo>
                  <a:lnTo>
                    <a:pt x="157549" y="316733"/>
                  </a:lnTo>
                  <a:lnTo>
                    <a:pt x="159425" y="318064"/>
                  </a:lnTo>
                  <a:lnTo>
                    <a:pt x="162904" y="322117"/>
                  </a:lnTo>
                  <a:lnTo>
                    <a:pt x="165627" y="324144"/>
                  </a:lnTo>
                  <a:lnTo>
                    <a:pt x="167714" y="326413"/>
                  </a:lnTo>
                  <a:lnTo>
                    <a:pt x="169680" y="327805"/>
                  </a:lnTo>
                  <a:lnTo>
                    <a:pt x="170678" y="326383"/>
                  </a:lnTo>
                  <a:lnTo>
                    <a:pt x="170921" y="326867"/>
                  </a:lnTo>
                  <a:lnTo>
                    <a:pt x="171132" y="327200"/>
                  </a:lnTo>
                  <a:lnTo>
                    <a:pt x="171344" y="327532"/>
                  </a:lnTo>
                  <a:lnTo>
                    <a:pt x="171465" y="328107"/>
                  </a:lnTo>
                  <a:lnTo>
                    <a:pt x="172070" y="328107"/>
                  </a:lnTo>
                  <a:lnTo>
                    <a:pt x="173129" y="327442"/>
                  </a:lnTo>
                  <a:lnTo>
                    <a:pt x="174036" y="328591"/>
                  </a:lnTo>
                  <a:lnTo>
                    <a:pt x="175004" y="330346"/>
                  </a:lnTo>
                  <a:close/>
                  <a:moveTo>
                    <a:pt x="136252" y="314373"/>
                  </a:moveTo>
                  <a:lnTo>
                    <a:pt x="135556" y="314373"/>
                  </a:lnTo>
                  <a:lnTo>
                    <a:pt x="134770" y="314857"/>
                  </a:lnTo>
                  <a:lnTo>
                    <a:pt x="134014" y="314494"/>
                  </a:lnTo>
                  <a:lnTo>
                    <a:pt x="133197" y="313617"/>
                  </a:lnTo>
                  <a:lnTo>
                    <a:pt x="132713" y="312225"/>
                  </a:lnTo>
                  <a:lnTo>
                    <a:pt x="132440" y="314252"/>
                  </a:lnTo>
                  <a:lnTo>
                    <a:pt x="134014" y="315704"/>
                  </a:lnTo>
                  <a:lnTo>
                    <a:pt x="136101" y="316309"/>
                  </a:lnTo>
                  <a:lnTo>
                    <a:pt x="137402" y="315825"/>
                  </a:lnTo>
                  <a:lnTo>
                    <a:pt x="136857" y="314857"/>
                  </a:lnTo>
                  <a:lnTo>
                    <a:pt x="136222" y="314343"/>
                  </a:lnTo>
                  <a:close/>
                  <a:moveTo>
                    <a:pt x="170285" y="347347"/>
                  </a:moveTo>
                  <a:lnTo>
                    <a:pt x="172766" y="346591"/>
                  </a:lnTo>
                  <a:lnTo>
                    <a:pt x="172403" y="345109"/>
                  </a:lnTo>
                  <a:lnTo>
                    <a:pt x="165142" y="340389"/>
                  </a:lnTo>
                  <a:lnTo>
                    <a:pt x="162359" y="336638"/>
                  </a:lnTo>
                  <a:lnTo>
                    <a:pt x="162026" y="336003"/>
                  </a:lnTo>
                  <a:lnTo>
                    <a:pt x="160544" y="335821"/>
                  </a:lnTo>
                  <a:lnTo>
                    <a:pt x="159455" y="335247"/>
                  </a:lnTo>
                  <a:lnTo>
                    <a:pt x="154736" y="330527"/>
                  </a:lnTo>
                  <a:lnTo>
                    <a:pt x="153798" y="329257"/>
                  </a:lnTo>
                  <a:lnTo>
                    <a:pt x="153375" y="327684"/>
                  </a:lnTo>
                  <a:lnTo>
                    <a:pt x="153253" y="325929"/>
                  </a:lnTo>
                  <a:lnTo>
                    <a:pt x="152860" y="324659"/>
                  </a:lnTo>
                  <a:lnTo>
                    <a:pt x="152013" y="323902"/>
                  </a:lnTo>
                  <a:lnTo>
                    <a:pt x="150622" y="323721"/>
                  </a:lnTo>
                  <a:lnTo>
                    <a:pt x="150864" y="323237"/>
                  </a:lnTo>
                  <a:lnTo>
                    <a:pt x="151317" y="321966"/>
                  </a:lnTo>
                  <a:lnTo>
                    <a:pt x="149956" y="322632"/>
                  </a:lnTo>
                  <a:lnTo>
                    <a:pt x="149079" y="322238"/>
                  </a:lnTo>
                  <a:lnTo>
                    <a:pt x="148202" y="321512"/>
                  </a:lnTo>
                  <a:lnTo>
                    <a:pt x="146810" y="321119"/>
                  </a:lnTo>
                  <a:lnTo>
                    <a:pt x="145993" y="320665"/>
                  </a:lnTo>
                  <a:lnTo>
                    <a:pt x="145418" y="319637"/>
                  </a:lnTo>
                  <a:lnTo>
                    <a:pt x="144965" y="318457"/>
                  </a:lnTo>
                  <a:lnTo>
                    <a:pt x="144451" y="317580"/>
                  </a:lnTo>
                  <a:lnTo>
                    <a:pt x="138794" y="313465"/>
                  </a:lnTo>
                  <a:lnTo>
                    <a:pt x="136827" y="311348"/>
                  </a:lnTo>
                  <a:lnTo>
                    <a:pt x="136464" y="311287"/>
                  </a:lnTo>
                  <a:lnTo>
                    <a:pt x="136010" y="311227"/>
                  </a:lnTo>
                  <a:lnTo>
                    <a:pt x="135435" y="311348"/>
                  </a:lnTo>
                  <a:lnTo>
                    <a:pt x="136767" y="313223"/>
                  </a:lnTo>
                  <a:lnTo>
                    <a:pt x="137251" y="314373"/>
                  </a:lnTo>
                  <a:lnTo>
                    <a:pt x="137462" y="315825"/>
                  </a:lnTo>
                  <a:lnTo>
                    <a:pt x="146023" y="324205"/>
                  </a:lnTo>
                  <a:lnTo>
                    <a:pt x="148837" y="325415"/>
                  </a:lnTo>
                  <a:lnTo>
                    <a:pt x="150864" y="327200"/>
                  </a:lnTo>
                  <a:lnTo>
                    <a:pt x="154857" y="335156"/>
                  </a:lnTo>
                  <a:lnTo>
                    <a:pt x="157277" y="337848"/>
                  </a:lnTo>
                  <a:lnTo>
                    <a:pt x="161270" y="343505"/>
                  </a:lnTo>
                  <a:lnTo>
                    <a:pt x="162752" y="345169"/>
                  </a:lnTo>
                  <a:lnTo>
                    <a:pt x="164265" y="346379"/>
                  </a:lnTo>
                  <a:lnTo>
                    <a:pt x="167895" y="348376"/>
                  </a:lnTo>
                  <a:lnTo>
                    <a:pt x="168168" y="348799"/>
                  </a:lnTo>
                  <a:lnTo>
                    <a:pt x="169105" y="349707"/>
                  </a:lnTo>
                  <a:lnTo>
                    <a:pt x="170104" y="350281"/>
                  </a:lnTo>
                  <a:lnTo>
                    <a:pt x="170558" y="349646"/>
                  </a:lnTo>
                  <a:lnTo>
                    <a:pt x="170315" y="348527"/>
                  </a:lnTo>
                  <a:lnTo>
                    <a:pt x="169741" y="348376"/>
                  </a:lnTo>
                  <a:lnTo>
                    <a:pt x="168984" y="348466"/>
                  </a:lnTo>
                  <a:lnTo>
                    <a:pt x="168198" y="347952"/>
                  </a:lnTo>
                  <a:lnTo>
                    <a:pt x="167593" y="347438"/>
                  </a:lnTo>
                  <a:lnTo>
                    <a:pt x="165082" y="345774"/>
                  </a:lnTo>
                  <a:lnTo>
                    <a:pt x="164658" y="345139"/>
                  </a:lnTo>
                  <a:lnTo>
                    <a:pt x="164386" y="344534"/>
                  </a:lnTo>
                  <a:lnTo>
                    <a:pt x="163932" y="344110"/>
                  </a:lnTo>
                  <a:lnTo>
                    <a:pt x="165142" y="343777"/>
                  </a:lnTo>
                  <a:lnTo>
                    <a:pt x="170194" y="347438"/>
                  </a:lnTo>
                  <a:close/>
                  <a:moveTo>
                    <a:pt x="126420" y="296343"/>
                  </a:moveTo>
                  <a:lnTo>
                    <a:pt x="125755" y="296464"/>
                  </a:lnTo>
                  <a:lnTo>
                    <a:pt x="125755" y="297432"/>
                  </a:lnTo>
                  <a:lnTo>
                    <a:pt x="125422" y="297856"/>
                  </a:lnTo>
                  <a:lnTo>
                    <a:pt x="124394" y="297856"/>
                  </a:lnTo>
                  <a:lnTo>
                    <a:pt x="124242" y="298884"/>
                  </a:lnTo>
                  <a:lnTo>
                    <a:pt x="125271" y="300215"/>
                  </a:lnTo>
                  <a:lnTo>
                    <a:pt x="126420" y="300457"/>
                  </a:lnTo>
                  <a:lnTo>
                    <a:pt x="127026" y="299792"/>
                  </a:lnTo>
                  <a:lnTo>
                    <a:pt x="127963" y="299580"/>
                  </a:lnTo>
                  <a:lnTo>
                    <a:pt x="129415" y="299580"/>
                  </a:lnTo>
                  <a:lnTo>
                    <a:pt x="129627" y="298824"/>
                  </a:lnTo>
                  <a:lnTo>
                    <a:pt x="127782" y="297190"/>
                  </a:lnTo>
                  <a:lnTo>
                    <a:pt x="126390" y="296313"/>
                  </a:lnTo>
                  <a:close/>
                  <a:moveTo>
                    <a:pt x="111718" y="290051"/>
                  </a:moveTo>
                  <a:lnTo>
                    <a:pt x="109843" y="289234"/>
                  </a:lnTo>
                  <a:lnTo>
                    <a:pt x="110236" y="290263"/>
                  </a:lnTo>
                  <a:lnTo>
                    <a:pt x="114441" y="293772"/>
                  </a:lnTo>
                  <a:lnTo>
                    <a:pt x="116105" y="294619"/>
                  </a:lnTo>
                  <a:lnTo>
                    <a:pt x="116498" y="294195"/>
                  </a:lnTo>
                  <a:lnTo>
                    <a:pt x="114713" y="291987"/>
                  </a:lnTo>
                  <a:lnTo>
                    <a:pt x="111688" y="290051"/>
                  </a:lnTo>
                  <a:close/>
                  <a:moveTo>
                    <a:pt x="130262" y="285271"/>
                  </a:moveTo>
                  <a:lnTo>
                    <a:pt x="130141" y="284787"/>
                  </a:lnTo>
                  <a:lnTo>
                    <a:pt x="130444" y="283970"/>
                  </a:lnTo>
                  <a:lnTo>
                    <a:pt x="130988" y="282911"/>
                  </a:lnTo>
                  <a:lnTo>
                    <a:pt x="130807" y="281641"/>
                  </a:lnTo>
                  <a:lnTo>
                    <a:pt x="129930" y="280492"/>
                  </a:lnTo>
                  <a:lnTo>
                    <a:pt x="128750" y="279917"/>
                  </a:lnTo>
                  <a:lnTo>
                    <a:pt x="127631" y="280038"/>
                  </a:lnTo>
                  <a:lnTo>
                    <a:pt x="127177" y="280189"/>
                  </a:lnTo>
                  <a:lnTo>
                    <a:pt x="126814" y="280340"/>
                  </a:lnTo>
                  <a:lnTo>
                    <a:pt x="127298" y="284363"/>
                  </a:lnTo>
                  <a:lnTo>
                    <a:pt x="126239" y="285906"/>
                  </a:lnTo>
                  <a:lnTo>
                    <a:pt x="126088" y="286965"/>
                  </a:lnTo>
                  <a:lnTo>
                    <a:pt x="127872" y="288448"/>
                  </a:lnTo>
                  <a:lnTo>
                    <a:pt x="128992" y="289174"/>
                  </a:lnTo>
                  <a:lnTo>
                    <a:pt x="130595" y="289657"/>
                  </a:lnTo>
                  <a:lnTo>
                    <a:pt x="131624" y="288780"/>
                  </a:lnTo>
                  <a:lnTo>
                    <a:pt x="131079" y="286481"/>
                  </a:lnTo>
                  <a:lnTo>
                    <a:pt x="130293" y="285211"/>
                  </a:lnTo>
                  <a:close/>
                  <a:moveTo>
                    <a:pt x="74539" y="248546"/>
                  </a:moveTo>
                  <a:lnTo>
                    <a:pt x="73692" y="251026"/>
                  </a:lnTo>
                  <a:lnTo>
                    <a:pt x="73480" y="251995"/>
                  </a:lnTo>
                  <a:lnTo>
                    <a:pt x="73390" y="253144"/>
                  </a:lnTo>
                  <a:lnTo>
                    <a:pt x="74116" y="253961"/>
                  </a:lnTo>
                  <a:lnTo>
                    <a:pt x="75386" y="254354"/>
                  </a:lnTo>
                  <a:lnTo>
                    <a:pt x="76566" y="255050"/>
                  </a:lnTo>
                  <a:lnTo>
                    <a:pt x="77292" y="254929"/>
                  </a:lnTo>
                  <a:lnTo>
                    <a:pt x="76748" y="253265"/>
                  </a:lnTo>
                  <a:lnTo>
                    <a:pt x="76082" y="252146"/>
                  </a:lnTo>
                  <a:lnTo>
                    <a:pt x="75840" y="251753"/>
                  </a:lnTo>
                  <a:lnTo>
                    <a:pt x="75840" y="251057"/>
                  </a:lnTo>
                  <a:lnTo>
                    <a:pt x="76022" y="250361"/>
                  </a:lnTo>
                  <a:lnTo>
                    <a:pt x="75870" y="249665"/>
                  </a:lnTo>
                  <a:lnTo>
                    <a:pt x="75931" y="249211"/>
                  </a:lnTo>
                  <a:lnTo>
                    <a:pt x="76143" y="249030"/>
                  </a:lnTo>
                  <a:lnTo>
                    <a:pt x="76294" y="248848"/>
                  </a:lnTo>
                  <a:lnTo>
                    <a:pt x="77625" y="248576"/>
                  </a:lnTo>
                  <a:lnTo>
                    <a:pt x="78230" y="247790"/>
                  </a:lnTo>
                  <a:lnTo>
                    <a:pt x="78230" y="246519"/>
                  </a:lnTo>
                  <a:lnTo>
                    <a:pt x="76808" y="246277"/>
                  </a:lnTo>
                  <a:lnTo>
                    <a:pt x="74630" y="248637"/>
                  </a:lnTo>
                  <a:close/>
                  <a:moveTo>
                    <a:pt x="126602" y="248909"/>
                  </a:moveTo>
                  <a:lnTo>
                    <a:pt x="137099" y="260858"/>
                  </a:lnTo>
                  <a:lnTo>
                    <a:pt x="138219" y="261705"/>
                  </a:lnTo>
                  <a:lnTo>
                    <a:pt x="138279" y="262794"/>
                  </a:lnTo>
                  <a:lnTo>
                    <a:pt x="141183" y="266727"/>
                  </a:lnTo>
                  <a:lnTo>
                    <a:pt x="142424" y="268844"/>
                  </a:lnTo>
                  <a:lnTo>
                    <a:pt x="141849" y="269056"/>
                  </a:lnTo>
                  <a:lnTo>
                    <a:pt x="140881" y="269601"/>
                  </a:lnTo>
                  <a:lnTo>
                    <a:pt x="140306" y="269782"/>
                  </a:lnTo>
                  <a:lnTo>
                    <a:pt x="140306" y="270569"/>
                  </a:lnTo>
                  <a:lnTo>
                    <a:pt x="145570" y="273503"/>
                  </a:lnTo>
                  <a:lnTo>
                    <a:pt x="146507" y="273685"/>
                  </a:lnTo>
                  <a:lnTo>
                    <a:pt x="152739" y="278434"/>
                  </a:lnTo>
                  <a:lnTo>
                    <a:pt x="154524" y="281883"/>
                  </a:lnTo>
                  <a:lnTo>
                    <a:pt x="155613" y="283002"/>
                  </a:lnTo>
                  <a:lnTo>
                    <a:pt x="156491" y="283063"/>
                  </a:lnTo>
                  <a:lnTo>
                    <a:pt x="158064" y="282246"/>
                  </a:lnTo>
                  <a:lnTo>
                    <a:pt x="159032" y="282095"/>
                  </a:lnTo>
                  <a:lnTo>
                    <a:pt x="159879" y="282367"/>
                  </a:lnTo>
                  <a:lnTo>
                    <a:pt x="162450" y="283940"/>
                  </a:lnTo>
                  <a:lnTo>
                    <a:pt x="161966" y="284908"/>
                  </a:lnTo>
                  <a:lnTo>
                    <a:pt x="161452" y="285483"/>
                  </a:lnTo>
                  <a:lnTo>
                    <a:pt x="160726" y="285695"/>
                  </a:lnTo>
                  <a:lnTo>
                    <a:pt x="159667" y="285604"/>
                  </a:lnTo>
                  <a:lnTo>
                    <a:pt x="160453" y="287268"/>
                  </a:lnTo>
                  <a:lnTo>
                    <a:pt x="160968" y="287782"/>
                  </a:lnTo>
                  <a:lnTo>
                    <a:pt x="161785" y="288236"/>
                  </a:lnTo>
                  <a:lnTo>
                    <a:pt x="161785" y="289204"/>
                  </a:lnTo>
                  <a:lnTo>
                    <a:pt x="160393" y="289204"/>
                  </a:lnTo>
                  <a:lnTo>
                    <a:pt x="160393" y="290020"/>
                  </a:lnTo>
                  <a:lnTo>
                    <a:pt x="161845" y="291987"/>
                  </a:lnTo>
                  <a:lnTo>
                    <a:pt x="163600" y="293621"/>
                  </a:lnTo>
                  <a:lnTo>
                    <a:pt x="165657" y="294770"/>
                  </a:lnTo>
                  <a:lnTo>
                    <a:pt x="167986" y="295284"/>
                  </a:lnTo>
                  <a:lnTo>
                    <a:pt x="167986" y="294498"/>
                  </a:lnTo>
                  <a:lnTo>
                    <a:pt x="163811" y="291775"/>
                  </a:lnTo>
                  <a:lnTo>
                    <a:pt x="163811" y="290958"/>
                  </a:lnTo>
                  <a:lnTo>
                    <a:pt x="166201" y="291170"/>
                  </a:lnTo>
                  <a:lnTo>
                    <a:pt x="170648" y="292985"/>
                  </a:lnTo>
                  <a:lnTo>
                    <a:pt x="172796" y="293530"/>
                  </a:lnTo>
                  <a:lnTo>
                    <a:pt x="172282" y="293258"/>
                  </a:lnTo>
                  <a:lnTo>
                    <a:pt x="171888" y="292955"/>
                  </a:lnTo>
                  <a:lnTo>
                    <a:pt x="171616" y="292501"/>
                  </a:lnTo>
                  <a:lnTo>
                    <a:pt x="171435" y="291775"/>
                  </a:lnTo>
                  <a:lnTo>
                    <a:pt x="173492" y="291775"/>
                  </a:lnTo>
                  <a:lnTo>
                    <a:pt x="172342" y="290232"/>
                  </a:lnTo>
                  <a:lnTo>
                    <a:pt x="170799" y="288780"/>
                  </a:lnTo>
                  <a:lnTo>
                    <a:pt x="169015" y="287691"/>
                  </a:lnTo>
                  <a:lnTo>
                    <a:pt x="167230" y="287358"/>
                  </a:lnTo>
                  <a:lnTo>
                    <a:pt x="167230" y="286451"/>
                  </a:lnTo>
                  <a:lnTo>
                    <a:pt x="169468" y="287419"/>
                  </a:lnTo>
                  <a:lnTo>
                    <a:pt x="171919" y="289174"/>
                  </a:lnTo>
                  <a:lnTo>
                    <a:pt x="174278" y="290444"/>
                  </a:lnTo>
                  <a:lnTo>
                    <a:pt x="176215" y="289960"/>
                  </a:lnTo>
                  <a:lnTo>
                    <a:pt x="174914" y="288508"/>
                  </a:lnTo>
                  <a:lnTo>
                    <a:pt x="172070" y="286179"/>
                  </a:lnTo>
                  <a:lnTo>
                    <a:pt x="170648" y="284666"/>
                  </a:lnTo>
                  <a:lnTo>
                    <a:pt x="168379" y="283335"/>
                  </a:lnTo>
                  <a:lnTo>
                    <a:pt x="159001" y="274229"/>
                  </a:lnTo>
                  <a:lnTo>
                    <a:pt x="154796" y="272323"/>
                  </a:lnTo>
                  <a:lnTo>
                    <a:pt x="155765" y="275076"/>
                  </a:lnTo>
                  <a:lnTo>
                    <a:pt x="157156" y="277315"/>
                  </a:lnTo>
                  <a:lnTo>
                    <a:pt x="158729" y="279039"/>
                  </a:lnTo>
                  <a:lnTo>
                    <a:pt x="160333" y="280249"/>
                  </a:lnTo>
                  <a:lnTo>
                    <a:pt x="155432" y="277103"/>
                  </a:lnTo>
                  <a:lnTo>
                    <a:pt x="147173" y="266182"/>
                  </a:lnTo>
                  <a:lnTo>
                    <a:pt x="141637" y="263399"/>
                  </a:lnTo>
                  <a:lnTo>
                    <a:pt x="141637" y="262522"/>
                  </a:lnTo>
                  <a:lnTo>
                    <a:pt x="143392" y="262522"/>
                  </a:lnTo>
                  <a:lnTo>
                    <a:pt x="144753" y="263157"/>
                  </a:lnTo>
                  <a:lnTo>
                    <a:pt x="145842" y="263944"/>
                  </a:lnTo>
                  <a:lnTo>
                    <a:pt x="147869" y="264639"/>
                  </a:lnTo>
                  <a:lnTo>
                    <a:pt x="152013" y="266908"/>
                  </a:lnTo>
                  <a:lnTo>
                    <a:pt x="151771" y="267392"/>
                  </a:lnTo>
                  <a:lnTo>
                    <a:pt x="151317" y="268724"/>
                  </a:lnTo>
                  <a:lnTo>
                    <a:pt x="153435" y="268905"/>
                  </a:lnTo>
                  <a:lnTo>
                    <a:pt x="156218" y="271083"/>
                  </a:lnTo>
                  <a:lnTo>
                    <a:pt x="158184" y="271386"/>
                  </a:lnTo>
                  <a:lnTo>
                    <a:pt x="156793" y="269238"/>
                  </a:lnTo>
                  <a:lnTo>
                    <a:pt x="155795" y="267241"/>
                  </a:lnTo>
                  <a:lnTo>
                    <a:pt x="154736" y="265789"/>
                  </a:lnTo>
                  <a:lnTo>
                    <a:pt x="150985" y="264670"/>
                  </a:lnTo>
                  <a:lnTo>
                    <a:pt x="149472" y="263309"/>
                  </a:lnTo>
                  <a:lnTo>
                    <a:pt x="147203" y="259830"/>
                  </a:lnTo>
                  <a:lnTo>
                    <a:pt x="144390" y="257167"/>
                  </a:lnTo>
                  <a:lnTo>
                    <a:pt x="140941" y="255111"/>
                  </a:lnTo>
                  <a:lnTo>
                    <a:pt x="138521" y="255201"/>
                  </a:lnTo>
                  <a:lnTo>
                    <a:pt x="138884" y="259013"/>
                  </a:lnTo>
                  <a:lnTo>
                    <a:pt x="135012" y="256320"/>
                  </a:lnTo>
                  <a:lnTo>
                    <a:pt x="128447" y="247396"/>
                  </a:lnTo>
                  <a:lnTo>
                    <a:pt x="124575" y="243222"/>
                  </a:lnTo>
                  <a:lnTo>
                    <a:pt x="124273" y="243040"/>
                  </a:lnTo>
                  <a:lnTo>
                    <a:pt x="123819" y="243040"/>
                  </a:lnTo>
                  <a:lnTo>
                    <a:pt x="124817" y="245975"/>
                  </a:lnTo>
                  <a:lnTo>
                    <a:pt x="126602" y="248818"/>
                  </a:lnTo>
                  <a:close/>
                  <a:moveTo>
                    <a:pt x="94838" y="260919"/>
                  </a:moveTo>
                  <a:lnTo>
                    <a:pt x="91238" y="256381"/>
                  </a:lnTo>
                  <a:lnTo>
                    <a:pt x="90633" y="255171"/>
                  </a:lnTo>
                  <a:lnTo>
                    <a:pt x="90179" y="251632"/>
                  </a:lnTo>
                  <a:lnTo>
                    <a:pt x="89725" y="249574"/>
                  </a:lnTo>
                  <a:lnTo>
                    <a:pt x="89242" y="248425"/>
                  </a:lnTo>
                  <a:lnTo>
                    <a:pt x="89937" y="245369"/>
                  </a:lnTo>
                  <a:lnTo>
                    <a:pt x="88304" y="243675"/>
                  </a:lnTo>
                  <a:lnTo>
                    <a:pt x="85763" y="242586"/>
                  </a:lnTo>
                  <a:lnTo>
                    <a:pt x="83766" y="241316"/>
                  </a:lnTo>
                  <a:lnTo>
                    <a:pt x="83887" y="243554"/>
                  </a:lnTo>
                  <a:lnTo>
                    <a:pt x="84643" y="247578"/>
                  </a:lnTo>
                  <a:lnTo>
                    <a:pt x="85127" y="249272"/>
                  </a:lnTo>
                  <a:lnTo>
                    <a:pt x="87820" y="253477"/>
                  </a:lnTo>
                  <a:lnTo>
                    <a:pt x="88485" y="256048"/>
                  </a:lnTo>
                  <a:lnTo>
                    <a:pt x="86670" y="258105"/>
                  </a:lnTo>
                  <a:lnTo>
                    <a:pt x="87063" y="258771"/>
                  </a:lnTo>
                  <a:lnTo>
                    <a:pt x="87184" y="259073"/>
                  </a:lnTo>
                  <a:lnTo>
                    <a:pt x="86489" y="259073"/>
                  </a:lnTo>
                  <a:lnTo>
                    <a:pt x="86489" y="259890"/>
                  </a:lnTo>
                  <a:lnTo>
                    <a:pt x="87669" y="260646"/>
                  </a:lnTo>
                  <a:lnTo>
                    <a:pt x="88848" y="260919"/>
                  </a:lnTo>
                  <a:lnTo>
                    <a:pt x="89907" y="260465"/>
                  </a:lnTo>
                  <a:lnTo>
                    <a:pt x="90603" y="259104"/>
                  </a:lnTo>
                  <a:lnTo>
                    <a:pt x="92478" y="259860"/>
                  </a:lnTo>
                  <a:lnTo>
                    <a:pt x="94021" y="261040"/>
                  </a:lnTo>
                  <a:lnTo>
                    <a:pt x="96834" y="264398"/>
                  </a:lnTo>
                  <a:lnTo>
                    <a:pt x="96169" y="264065"/>
                  </a:lnTo>
                  <a:lnTo>
                    <a:pt x="94052" y="263520"/>
                  </a:lnTo>
                  <a:lnTo>
                    <a:pt x="94052" y="264398"/>
                  </a:lnTo>
                  <a:lnTo>
                    <a:pt x="95443" y="265275"/>
                  </a:lnTo>
                  <a:lnTo>
                    <a:pt x="98771" y="269329"/>
                  </a:lnTo>
                  <a:lnTo>
                    <a:pt x="101493" y="271719"/>
                  </a:lnTo>
                  <a:lnTo>
                    <a:pt x="103732" y="271476"/>
                  </a:lnTo>
                  <a:lnTo>
                    <a:pt x="102945" y="268935"/>
                  </a:lnTo>
                  <a:lnTo>
                    <a:pt x="94778" y="260858"/>
                  </a:lnTo>
                  <a:close/>
                  <a:moveTo>
                    <a:pt x="125876" y="236022"/>
                  </a:moveTo>
                  <a:lnTo>
                    <a:pt x="124757" y="234963"/>
                  </a:lnTo>
                  <a:lnTo>
                    <a:pt x="124515" y="234358"/>
                  </a:lnTo>
                  <a:lnTo>
                    <a:pt x="124515" y="233360"/>
                  </a:lnTo>
                  <a:lnTo>
                    <a:pt x="127782" y="235689"/>
                  </a:lnTo>
                  <a:lnTo>
                    <a:pt x="132652" y="240832"/>
                  </a:lnTo>
                  <a:lnTo>
                    <a:pt x="135496" y="243100"/>
                  </a:lnTo>
                  <a:lnTo>
                    <a:pt x="136434" y="241255"/>
                  </a:lnTo>
                  <a:lnTo>
                    <a:pt x="135647" y="238654"/>
                  </a:lnTo>
                  <a:lnTo>
                    <a:pt x="132743" y="234207"/>
                  </a:lnTo>
                  <a:lnTo>
                    <a:pt x="131624" y="233209"/>
                  </a:lnTo>
                  <a:lnTo>
                    <a:pt x="129204" y="231908"/>
                  </a:lnTo>
                  <a:lnTo>
                    <a:pt x="125241" y="228308"/>
                  </a:lnTo>
                  <a:lnTo>
                    <a:pt x="124484" y="227824"/>
                  </a:lnTo>
                  <a:lnTo>
                    <a:pt x="124484" y="227037"/>
                  </a:lnTo>
                  <a:lnTo>
                    <a:pt x="126057" y="225857"/>
                  </a:lnTo>
                  <a:lnTo>
                    <a:pt x="125755" y="224526"/>
                  </a:lnTo>
                  <a:lnTo>
                    <a:pt x="124333" y="223558"/>
                  </a:lnTo>
                  <a:lnTo>
                    <a:pt x="122427" y="223407"/>
                  </a:lnTo>
                  <a:lnTo>
                    <a:pt x="122851" y="224738"/>
                  </a:lnTo>
                  <a:lnTo>
                    <a:pt x="123123" y="225283"/>
                  </a:lnTo>
                  <a:lnTo>
                    <a:pt x="121096" y="224677"/>
                  </a:lnTo>
                  <a:lnTo>
                    <a:pt x="118979" y="224375"/>
                  </a:lnTo>
                  <a:lnTo>
                    <a:pt x="119402" y="225736"/>
                  </a:lnTo>
                  <a:lnTo>
                    <a:pt x="119644" y="226160"/>
                  </a:lnTo>
                  <a:lnTo>
                    <a:pt x="121006" y="227037"/>
                  </a:lnTo>
                  <a:lnTo>
                    <a:pt x="121852" y="228126"/>
                  </a:lnTo>
                  <a:lnTo>
                    <a:pt x="123123" y="230667"/>
                  </a:lnTo>
                  <a:lnTo>
                    <a:pt x="122427" y="230667"/>
                  </a:lnTo>
                  <a:lnTo>
                    <a:pt x="122004" y="230093"/>
                  </a:lnTo>
                  <a:lnTo>
                    <a:pt x="120370" y="228792"/>
                  </a:lnTo>
                  <a:lnTo>
                    <a:pt x="120582" y="229548"/>
                  </a:lnTo>
                  <a:lnTo>
                    <a:pt x="120582" y="229941"/>
                  </a:lnTo>
                  <a:lnTo>
                    <a:pt x="120673" y="230214"/>
                  </a:lnTo>
                  <a:lnTo>
                    <a:pt x="121006" y="230667"/>
                  </a:lnTo>
                  <a:lnTo>
                    <a:pt x="121006" y="231484"/>
                  </a:lnTo>
                  <a:lnTo>
                    <a:pt x="119916" y="230970"/>
                  </a:lnTo>
                  <a:lnTo>
                    <a:pt x="118707" y="230667"/>
                  </a:lnTo>
                  <a:lnTo>
                    <a:pt x="117466" y="230577"/>
                  </a:lnTo>
                  <a:lnTo>
                    <a:pt x="116195" y="230667"/>
                  </a:lnTo>
                  <a:lnTo>
                    <a:pt x="120370" y="235024"/>
                  </a:lnTo>
                  <a:lnTo>
                    <a:pt x="121429" y="234691"/>
                  </a:lnTo>
                  <a:lnTo>
                    <a:pt x="122941" y="234691"/>
                  </a:lnTo>
                  <a:lnTo>
                    <a:pt x="124545" y="235144"/>
                  </a:lnTo>
                  <a:lnTo>
                    <a:pt x="125876" y="236022"/>
                  </a:lnTo>
                  <a:close/>
                  <a:moveTo>
                    <a:pt x="101796" y="251026"/>
                  </a:moveTo>
                  <a:lnTo>
                    <a:pt x="101161" y="250603"/>
                  </a:lnTo>
                  <a:lnTo>
                    <a:pt x="101100" y="249574"/>
                  </a:lnTo>
                  <a:lnTo>
                    <a:pt x="101705" y="248425"/>
                  </a:lnTo>
                  <a:lnTo>
                    <a:pt x="100435" y="246338"/>
                  </a:lnTo>
                  <a:lnTo>
                    <a:pt x="98861" y="244523"/>
                  </a:lnTo>
                  <a:lnTo>
                    <a:pt x="97500" y="242465"/>
                  </a:lnTo>
                  <a:lnTo>
                    <a:pt x="96895" y="239622"/>
                  </a:lnTo>
                  <a:lnTo>
                    <a:pt x="97046" y="238018"/>
                  </a:lnTo>
                  <a:lnTo>
                    <a:pt x="97682" y="236385"/>
                  </a:lnTo>
                  <a:lnTo>
                    <a:pt x="97591" y="234993"/>
                  </a:lnTo>
                  <a:lnTo>
                    <a:pt x="97228" y="233965"/>
                  </a:lnTo>
                  <a:lnTo>
                    <a:pt x="95988" y="232059"/>
                  </a:lnTo>
                  <a:lnTo>
                    <a:pt x="95473" y="230637"/>
                  </a:lnTo>
                  <a:lnTo>
                    <a:pt x="96956" y="229850"/>
                  </a:lnTo>
                  <a:lnTo>
                    <a:pt x="96774" y="227703"/>
                  </a:lnTo>
                  <a:lnTo>
                    <a:pt x="95473" y="223861"/>
                  </a:lnTo>
                  <a:lnTo>
                    <a:pt x="95110" y="219595"/>
                  </a:lnTo>
                  <a:lnTo>
                    <a:pt x="95262" y="217750"/>
                  </a:lnTo>
                  <a:lnTo>
                    <a:pt x="96199" y="215481"/>
                  </a:lnTo>
                  <a:lnTo>
                    <a:pt x="95473" y="214574"/>
                  </a:lnTo>
                  <a:lnTo>
                    <a:pt x="96532" y="212789"/>
                  </a:lnTo>
                  <a:lnTo>
                    <a:pt x="97379" y="210429"/>
                  </a:lnTo>
                  <a:lnTo>
                    <a:pt x="97621" y="208160"/>
                  </a:lnTo>
                  <a:lnTo>
                    <a:pt x="96865" y="206557"/>
                  </a:lnTo>
                  <a:lnTo>
                    <a:pt x="95625" y="206013"/>
                  </a:lnTo>
                  <a:lnTo>
                    <a:pt x="93295" y="205710"/>
                  </a:lnTo>
                  <a:lnTo>
                    <a:pt x="91964" y="204712"/>
                  </a:lnTo>
                  <a:lnTo>
                    <a:pt x="91420" y="203955"/>
                  </a:lnTo>
                  <a:lnTo>
                    <a:pt x="88969" y="199327"/>
                  </a:lnTo>
                  <a:lnTo>
                    <a:pt x="87154" y="194547"/>
                  </a:lnTo>
                  <a:lnTo>
                    <a:pt x="86489" y="192187"/>
                  </a:lnTo>
                  <a:lnTo>
                    <a:pt x="86246" y="189041"/>
                  </a:lnTo>
                  <a:lnTo>
                    <a:pt x="86610" y="183808"/>
                  </a:lnTo>
                  <a:lnTo>
                    <a:pt x="85823" y="182295"/>
                  </a:lnTo>
                  <a:lnTo>
                    <a:pt x="83373" y="181418"/>
                  </a:lnTo>
                  <a:lnTo>
                    <a:pt x="81527" y="181872"/>
                  </a:lnTo>
                  <a:lnTo>
                    <a:pt x="80136" y="183203"/>
                  </a:lnTo>
                  <a:lnTo>
                    <a:pt x="79017" y="184957"/>
                  </a:lnTo>
                  <a:lnTo>
                    <a:pt x="77897" y="187680"/>
                  </a:lnTo>
                  <a:lnTo>
                    <a:pt x="77988" y="189586"/>
                  </a:lnTo>
                  <a:lnTo>
                    <a:pt x="78896" y="191189"/>
                  </a:lnTo>
                  <a:lnTo>
                    <a:pt x="84250" y="197118"/>
                  </a:lnTo>
                  <a:lnTo>
                    <a:pt x="84855" y="198177"/>
                  </a:lnTo>
                  <a:lnTo>
                    <a:pt x="87880" y="206103"/>
                  </a:lnTo>
                  <a:lnTo>
                    <a:pt x="89362" y="208372"/>
                  </a:lnTo>
                  <a:lnTo>
                    <a:pt x="91359" y="210066"/>
                  </a:lnTo>
                  <a:lnTo>
                    <a:pt x="90633" y="210943"/>
                  </a:lnTo>
                  <a:lnTo>
                    <a:pt x="89242" y="209552"/>
                  </a:lnTo>
                  <a:lnTo>
                    <a:pt x="89121" y="210853"/>
                  </a:lnTo>
                  <a:lnTo>
                    <a:pt x="89605" y="212879"/>
                  </a:lnTo>
                  <a:lnTo>
                    <a:pt x="89968" y="213605"/>
                  </a:lnTo>
                  <a:lnTo>
                    <a:pt x="89544" y="215481"/>
                  </a:lnTo>
                  <a:lnTo>
                    <a:pt x="88969" y="216237"/>
                  </a:lnTo>
                  <a:lnTo>
                    <a:pt x="87941" y="216358"/>
                  </a:lnTo>
                  <a:lnTo>
                    <a:pt x="86186" y="216298"/>
                  </a:lnTo>
                  <a:lnTo>
                    <a:pt x="85248" y="215723"/>
                  </a:lnTo>
                  <a:lnTo>
                    <a:pt x="83433" y="213212"/>
                  </a:lnTo>
                  <a:lnTo>
                    <a:pt x="82707" y="212668"/>
                  </a:lnTo>
                  <a:lnTo>
                    <a:pt x="80317" y="211760"/>
                  </a:lnTo>
                  <a:lnTo>
                    <a:pt x="79410" y="212153"/>
                  </a:lnTo>
                  <a:lnTo>
                    <a:pt x="80317" y="214513"/>
                  </a:lnTo>
                  <a:lnTo>
                    <a:pt x="79803" y="215360"/>
                  </a:lnTo>
                  <a:lnTo>
                    <a:pt x="79682" y="215723"/>
                  </a:lnTo>
                  <a:lnTo>
                    <a:pt x="79591" y="216328"/>
                  </a:lnTo>
                  <a:lnTo>
                    <a:pt x="81618" y="218264"/>
                  </a:lnTo>
                  <a:lnTo>
                    <a:pt x="83191" y="226069"/>
                  </a:lnTo>
                  <a:lnTo>
                    <a:pt x="84825" y="227824"/>
                  </a:lnTo>
                  <a:lnTo>
                    <a:pt x="85883" y="227915"/>
                  </a:lnTo>
                  <a:lnTo>
                    <a:pt x="86398" y="228429"/>
                  </a:lnTo>
                  <a:lnTo>
                    <a:pt x="86549" y="229669"/>
                  </a:lnTo>
                  <a:lnTo>
                    <a:pt x="86670" y="233844"/>
                  </a:lnTo>
                  <a:lnTo>
                    <a:pt x="87063" y="235568"/>
                  </a:lnTo>
                  <a:lnTo>
                    <a:pt x="87699" y="236506"/>
                  </a:lnTo>
                  <a:lnTo>
                    <a:pt x="88606" y="235991"/>
                  </a:lnTo>
                  <a:lnTo>
                    <a:pt x="88999" y="236234"/>
                  </a:lnTo>
                  <a:lnTo>
                    <a:pt x="89242" y="236445"/>
                  </a:lnTo>
                  <a:lnTo>
                    <a:pt x="89514" y="236657"/>
                  </a:lnTo>
                  <a:lnTo>
                    <a:pt x="89968" y="236778"/>
                  </a:lnTo>
                  <a:lnTo>
                    <a:pt x="89695" y="242496"/>
                  </a:lnTo>
                  <a:lnTo>
                    <a:pt x="93053" y="249121"/>
                  </a:lnTo>
                  <a:lnTo>
                    <a:pt x="97591" y="253840"/>
                  </a:lnTo>
                  <a:lnTo>
                    <a:pt x="100525" y="253840"/>
                  </a:lnTo>
                  <a:lnTo>
                    <a:pt x="101645" y="254022"/>
                  </a:lnTo>
                  <a:lnTo>
                    <a:pt x="102340" y="253688"/>
                  </a:lnTo>
                  <a:lnTo>
                    <a:pt x="103066" y="252962"/>
                  </a:lnTo>
                  <a:lnTo>
                    <a:pt x="103762" y="252025"/>
                  </a:lnTo>
                  <a:lnTo>
                    <a:pt x="103066" y="250240"/>
                  </a:lnTo>
                  <a:lnTo>
                    <a:pt x="101796" y="250996"/>
                  </a:lnTo>
                  <a:close/>
                  <a:moveTo>
                    <a:pt x="110690" y="200265"/>
                  </a:moveTo>
                  <a:lnTo>
                    <a:pt x="110690" y="199387"/>
                  </a:lnTo>
                  <a:lnTo>
                    <a:pt x="112444" y="198510"/>
                  </a:lnTo>
                  <a:lnTo>
                    <a:pt x="112989" y="199599"/>
                  </a:lnTo>
                  <a:lnTo>
                    <a:pt x="112747" y="204288"/>
                  </a:lnTo>
                  <a:lnTo>
                    <a:pt x="112807" y="206376"/>
                  </a:lnTo>
                  <a:lnTo>
                    <a:pt x="113261" y="207313"/>
                  </a:lnTo>
                  <a:lnTo>
                    <a:pt x="116165" y="208372"/>
                  </a:lnTo>
                  <a:lnTo>
                    <a:pt x="121036" y="211397"/>
                  </a:lnTo>
                  <a:lnTo>
                    <a:pt x="122760" y="211821"/>
                  </a:lnTo>
                  <a:lnTo>
                    <a:pt x="124636" y="211639"/>
                  </a:lnTo>
                  <a:lnTo>
                    <a:pt x="126118" y="211125"/>
                  </a:lnTo>
                  <a:lnTo>
                    <a:pt x="126511" y="210278"/>
                  </a:lnTo>
                  <a:lnTo>
                    <a:pt x="125150" y="209158"/>
                  </a:lnTo>
                  <a:lnTo>
                    <a:pt x="125150" y="208342"/>
                  </a:lnTo>
                  <a:lnTo>
                    <a:pt x="126511" y="207374"/>
                  </a:lnTo>
                  <a:lnTo>
                    <a:pt x="127661" y="208160"/>
                  </a:lnTo>
                  <a:lnTo>
                    <a:pt x="128932" y="208432"/>
                  </a:lnTo>
                  <a:lnTo>
                    <a:pt x="130202" y="208160"/>
                  </a:lnTo>
                  <a:lnTo>
                    <a:pt x="131382" y="207374"/>
                  </a:lnTo>
                  <a:lnTo>
                    <a:pt x="132017" y="207374"/>
                  </a:lnTo>
                  <a:lnTo>
                    <a:pt x="130474" y="203774"/>
                  </a:lnTo>
                  <a:lnTo>
                    <a:pt x="124454" y="198661"/>
                  </a:lnTo>
                  <a:lnTo>
                    <a:pt x="124454" y="194910"/>
                  </a:lnTo>
                  <a:lnTo>
                    <a:pt x="120007" y="194910"/>
                  </a:lnTo>
                  <a:lnTo>
                    <a:pt x="118192" y="194335"/>
                  </a:lnTo>
                  <a:lnTo>
                    <a:pt x="116921" y="193035"/>
                  </a:lnTo>
                  <a:lnTo>
                    <a:pt x="116286" y="190282"/>
                  </a:lnTo>
                  <a:lnTo>
                    <a:pt x="117496" y="185683"/>
                  </a:lnTo>
                  <a:lnTo>
                    <a:pt x="116921" y="183294"/>
                  </a:lnTo>
                  <a:lnTo>
                    <a:pt x="114774" y="183929"/>
                  </a:lnTo>
                  <a:lnTo>
                    <a:pt x="111627" y="183626"/>
                  </a:lnTo>
                  <a:lnTo>
                    <a:pt x="110085" y="182688"/>
                  </a:lnTo>
                  <a:lnTo>
                    <a:pt x="112747" y="181509"/>
                  </a:lnTo>
                  <a:lnTo>
                    <a:pt x="111416" y="178544"/>
                  </a:lnTo>
                  <a:lnTo>
                    <a:pt x="109934" y="176124"/>
                  </a:lnTo>
                  <a:lnTo>
                    <a:pt x="109480" y="175701"/>
                  </a:lnTo>
                  <a:lnTo>
                    <a:pt x="109056" y="175126"/>
                  </a:lnTo>
                  <a:lnTo>
                    <a:pt x="108754" y="174369"/>
                  </a:lnTo>
                  <a:lnTo>
                    <a:pt x="108572" y="173401"/>
                  </a:lnTo>
                  <a:lnTo>
                    <a:pt x="109964" y="173401"/>
                  </a:lnTo>
                  <a:lnTo>
                    <a:pt x="106696" y="171798"/>
                  </a:lnTo>
                  <a:lnTo>
                    <a:pt x="105244" y="171949"/>
                  </a:lnTo>
                  <a:lnTo>
                    <a:pt x="103792" y="173401"/>
                  </a:lnTo>
                  <a:lnTo>
                    <a:pt x="104730" y="173643"/>
                  </a:lnTo>
                  <a:lnTo>
                    <a:pt x="105214" y="174369"/>
                  </a:lnTo>
                  <a:lnTo>
                    <a:pt x="105305" y="175519"/>
                  </a:lnTo>
                  <a:lnTo>
                    <a:pt x="105124" y="176971"/>
                  </a:lnTo>
                  <a:lnTo>
                    <a:pt x="104004" y="178090"/>
                  </a:lnTo>
                  <a:lnTo>
                    <a:pt x="103914" y="179058"/>
                  </a:lnTo>
                  <a:lnTo>
                    <a:pt x="104246" y="180026"/>
                  </a:lnTo>
                  <a:lnTo>
                    <a:pt x="104488" y="181055"/>
                  </a:lnTo>
                  <a:lnTo>
                    <a:pt x="104277" y="182174"/>
                  </a:lnTo>
                  <a:lnTo>
                    <a:pt x="103732" y="183263"/>
                  </a:lnTo>
                  <a:lnTo>
                    <a:pt x="102431" y="185018"/>
                  </a:lnTo>
                  <a:lnTo>
                    <a:pt x="103308" y="186863"/>
                  </a:lnTo>
                  <a:lnTo>
                    <a:pt x="101675" y="187619"/>
                  </a:lnTo>
                  <a:lnTo>
                    <a:pt x="97894" y="187710"/>
                  </a:lnTo>
                  <a:lnTo>
                    <a:pt x="96956" y="188255"/>
                  </a:lnTo>
                  <a:lnTo>
                    <a:pt x="96834" y="189465"/>
                  </a:lnTo>
                  <a:lnTo>
                    <a:pt x="96895" y="190705"/>
                  </a:lnTo>
                  <a:lnTo>
                    <a:pt x="96532" y="191250"/>
                  </a:lnTo>
                  <a:lnTo>
                    <a:pt x="95382" y="191250"/>
                  </a:lnTo>
                  <a:lnTo>
                    <a:pt x="94415" y="191431"/>
                  </a:lnTo>
                  <a:lnTo>
                    <a:pt x="93567" y="191946"/>
                  </a:lnTo>
                  <a:lnTo>
                    <a:pt x="92751" y="193065"/>
                  </a:lnTo>
                  <a:lnTo>
                    <a:pt x="94142" y="195273"/>
                  </a:lnTo>
                  <a:lnTo>
                    <a:pt x="96290" y="197633"/>
                  </a:lnTo>
                  <a:lnTo>
                    <a:pt x="98831" y="199508"/>
                  </a:lnTo>
                  <a:lnTo>
                    <a:pt x="101342" y="200295"/>
                  </a:lnTo>
                  <a:lnTo>
                    <a:pt x="109419" y="201445"/>
                  </a:lnTo>
                  <a:lnTo>
                    <a:pt x="112081" y="201263"/>
                  </a:lnTo>
                  <a:lnTo>
                    <a:pt x="110720" y="200295"/>
                  </a:lnTo>
                  <a:close/>
                  <a:moveTo>
                    <a:pt x="593109" y="175247"/>
                  </a:moveTo>
                  <a:lnTo>
                    <a:pt x="591173" y="174430"/>
                  </a:lnTo>
                  <a:lnTo>
                    <a:pt x="589661" y="171980"/>
                  </a:lnTo>
                  <a:lnTo>
                    <a:pt x="569423" y="167169"/>
                  </a:lnTo>
                  <a:lnTo>
                    <a:pt x="565672" y="165445"/>
                  </a:lnTo>
                  <a:lnTo>
                    <a:pt x="563070" y="162601"/>
                  </a:lnTo>
                  <a:lnTo>
                    <a:pt x="562828" y="161392"/>
                  </a:lnTo>
                  <a:lnTo>
                    <a:pt x="562737" y="159909"/>
                  </a:lnTo>
                  <a:lnTo>
                    <a:pt x="562404" y="158669"/>
                  </a:lnTo>
                  <a:lnTo>
                    <a:pt x="561406" y="158155"/>
                  </a:lnTo>
                  <a:lnTo>
                    <a:pt x="557262" y="158155"/>
                  </a:lnTo>
                  <a:lnTo>
                    <a:pt x="555265" y="157731"/>
                  </a:lnTo>
                  <a:lnTo>
                    <a:pt x="553510" y="156551"/>
                  </a:lnTo>
                  <a:lnTo>
                    <a:pt x="552028" y="154827"/>
                  </a:lnTo>
                  <a:lnTo>
                    <a:pt x="550727" y="152770"/>
                  </a:lnTo>
                  <a:lnTo>
                    <a:pt x="556021" y="150501"/>
                  </a:lnTo>
                  <a:lnTo>
                    <a:pt x="556899" y="149170"/>
                  </a:lnTo>
                  <a:lnTo>
                    <a:pt x="556324" y="147627"/>
                  </a:lnTo>
                  <a:lnTo>
                    <a:pt x="554387" y="145721"/>
                  </a:lnTo>
                  <a:lnTo>
                    <a:pt x="553450" y="144814"/>
                  </a:lnTo>
                  <a:lnTo>
                    <a:pt x="552784" y="142394"/>
                  </a:lnTo>
                  <a:lnTo>
                    <a:pt x="554115" y="139126"/>
                  </a:lnTo>
                  <a:lnTo>
                    <a:pt x="554932" y="139247"/>
                  </a:lnTo>
                  <a:lnTo>
                    <a:pt x="560922" y="140064"/>
                  </a:lnTo>
                  <a:lnTo>
                    <a:pt x="563856" y="137432"/>
                  </a:lnTo>
                  <a:lnTo>
                    <a:pt x="562737" y="135557"/>
                  </a:lnTo>
                  <a:lnTo>
                    <a:pt x="561436" y="134891"/>
                  </a:lnTo>
                  <a:lnTo>
                    <a:pt x="559984" y="134589"/>
                  </a:lnTo>
                  <a:lnTo>
                    <a:pt x="558290" y="133863"/>
                  </a:lnTo>
                  <a:lnTo>
                    <a:pt x="557292" y="133046"/>
                  </a:lnTo>
                  <a:lnTo>
                    <a:pt x="556868" y="132471"/>
                  </a:lnTo>
                  <a:lnTo>
                    <a:pt x="556566" y="131806"/>
                  </a:lnTo>
                  <a:lnTo>
                    <a:pt x="555930" y="130777"/>
                  </a:lnTo>
                  <a:lnTo>
                    <a:pt x="555023" y="130142"/>
                  </a:lnTo>
                  <a:lnTo>
                    <a:pt x="554146" y="130414"/>
                  </a:lnTo>
                  <a:lnTo>
                    <a:pt x="553268" y="130959"/>
                  </a:lnTo>
                  <a:lnTo>
                    <a:pt x="551514" y="131806"/>
                  </a:lnTo>
                  <a:lnTo>
                    <a:pt x="550485" y="132925"/>
                  </a:lnTo>
                  <a:lnTo>
                    <a:pt x="549184" y="133863"/>
                  </a:lnTo>
                  <a:lnTo>
                    <a:pt x="547339" y="133863"/>
                  </a:lnTo>
                  <a:lnTo>
                    <a:pt x="546371" y="133016"/>
                  </a:lnTo>
                  <a:lnTo>
                    <a:pt x="544374" y="130021"/>
                  </a:lnTo>
                  <a:lnTo>
                    <a:pt x="543527" y="129385"/>
                  </a:lnTo>
                  <a:lnTo>
                    <a:pt x="543890" y="128236"/>
                  </a:lnTo>
                  <a:lnTo>
                    <a:pt x="544011" y="125786"/>
                  </a:lnTo>
                  <a:lnTo>
                    <a:pt x="544405" y="123305"/>
                  </a:lnTo>
                  <a:lnTo>
                    <a:pt x="545615" y="122186"/>
                  </a:lnTo>
                  <a:lnTo>
                    <a:pt x="546704" y="121429"/>
                  </a:lnTo>
                  <a:lnTo>
                    <a:pt x="549457" y="117920"/>
                  </a:lnTo>
                  <a:lnTo>
                    <a:pt x="550031" y="116771"/>
                  </a:lnTo>
                  <a:lnTo>
                    <a:pt x="549457" y="114895"/>
                  </a:lnTo>
                  <a:lnTo>
                    <a:pt x="548004" y="113715"/>
                  </a:lnTo>
                  <a:lnTo>
                    <a:pt x="546280" y="112808"/>
                  </a:lnTo>
                  <a:lnTo>
                    <a:pt x="544889" y="111810"/>
                  </a:lnTo>
                  <a:lnTo>
                    <a:pt x="544042" y="110115"/>
                  </a:lnTo>
                  <a:lnTo>
                    <a:pt x="543618" y="106092"/>
                  </a:lnTo>
                  <a:lnTo>
                    <a:pt x="543134" y="104095"/>
                  </a:lnTo>
                  <a:lnTo>
                    <a:pt x="540200" y="100768"/>
                  </a:lnTo>
                  <a:lnTo>
                    <a:pt x="539504" y="99648"/>
                  </a:lnTo>
                  <a:lnTo>
                    <a:pt x="537961" y="98196"/>
                  </a:lnTo>
                  <a:lnTo>
                    <a:pt x="537598" y="97380"/>
                  </a:lnTo>
                  <a:lnTo>
                    <a:pt x="537779" y="96805"/>
                  </a:lnTo>
                  <a:lnTo>
                    <a:pt x="538142" y="96260"/>
                  </a:lnTo>
                  <a:lnTo>
                    <a:pt x="538354" y="95474"/>
                  </a:lnTo>
                  <a:lnTo>
                    <a:pt x="538627" y="91843"/>
                  </a:lnTo>
                  <a:lnTo>
                    <a:pt x="541833" y="91571"/>
                  </a:lnTo>
                  <a:lnTo>
                    <a:pt x="543104" y="91299"/>
                  </a:lnTo>
                  <a:lnTo>
                    <a:pt x="543830" y="90422"/>
                  </a:lnTo>
                  <a:lnTo>
                    <a:pt x="543527" y="89393"/>
                  </a:lnTo>
                  <a:lnTo>
                    <a:pt x="542499" y="88304"/>
                  </a:lnTo>
                  <a:lnTo>
                    <a:pt x="540411" y="86792"/>
                  </a:lnTo>
                  <a:lnTo>
                    <a:pt x="541319" y="85823"/>
                  </a:lnTo>
                  <a:lnTo>
                    <a:pt x="542106" y="85128"/>
                  </a:lnTo>
                  <a:lnTo>
                    <a:pt x="543830" y="84069"/>
                  </a:lnTo>
                  <a:lnTo>
                    <a:pt x="543255" y="82012"/>
                  </a:lnTo>
                  <a:lnTo>
                    <a:pt x="541773" y="82133"/>
                  </a:lnTo>
                  <a:lnTo>
                    <a:pt x="540774" y="83191"/>
                  </a:lnTo>
                  <a:lnTo>
                    <a:pt x="539655" y="83766"/>
                  </a:lnTo>
                  <a:lnTo>
                    <a:pt x="537659" y="84311"/>
                  </a:lnTo>
                  <a:lnTo>
                    <a:pt x="535934" y="85400"/>
                  </a:lnTo>
                  <a:lnTo>
                    <a:pt x="534875" y="85400"/>
                  </a:lnTo>
                  <a:lnTo>
                    <a:pt x="533575" y="84341"/>
                  </a:lnTo>
                  <a:lnTo>
                    <a:pt x="532576" y="85733"/>
                  </a:lnTo>
                  <a:lnTo>
                    <a:pt x="532122" y="86943"/>
                  </a:lnTo>
                  <a:lnTo>
                    <a:pt x="531669" y="87881"/>
                  </a:lnTo>
                  <a:lnTo>
                    <a:pt x="530610" y="88425"/>
                  </a:lnTo>
                  <a:lnTo>
                    <a:pt x="529370" y="88274"/>
                  </a:lnTo>
                  <a:lnTo>
                    <a:pt x="525407" y="86368"/>
                  </a:lnTo>
                  <a:lnTo>
                    <a:pt x="520445" y="84795"/>
                  </a:lnTo>
                  <a:lnTo>
                    <a:pt x="518570" y="85158"/>
                  </a:lnTo>
                  <a:lnTo>
                    <a:pt x="516301" y="87245"/>
                  </a:lnTo>
                  <a:lnTo>
                    <a:pt x="515938" y="87911"/>
                  </a:lnTo>
                  <a:lnTo>
                    <a:pt x="515636" y="89514"/>
                  </a:lnTo>
                  <a:lnTo>
                    <a:pt x="515363" y="90331"/>
                  </a:lnTo>
                  <a:lnTo>
                    <a:pt x="515212" y="90331"/>
                  </a:lnTo>
                  <a:lnTo>
                    <a:pt x="513730" y="91934"/>
                  </a:lnTo>
                  <a:lnTo>
                    <a:pt x="511521" y="95867"/>
                  </a:lnTo>
                  <a:lnTo>
                    <a:pt x="510311" y="97228"/>
                  </a:lnTo>
                  <a:lnTo>
                    <a:pt x="505985" y="100647"/>
                  </a:lnTo>
                  <a:lnTo>
                    <a:pt x="503353" y="101554"/>
                  </a:lnTo>
                  <a:lnTo>
                    <a:pt x="501084" y="100586"/>
                  </a:lnTo>
                  <a:lnTo>
                    <a:pt x="499451" y="101615"/>
                  </a:lnTo>
                  <a:lnTo>
                    <a:pt x="495942" y="105608"/>
                  </a:lnTo>
                  <a:lnTo>
                    <a:pt x="494036" y="106969"/>
                  </a:lnTo>
                  <a:lnTo>
                    <a:pt x="493280" y="107151"/>
                  </a:lnTo>
                  <a:lnTo>
                    <a:pt x="492584" y="107211"/>
                  </a:lnTo>
                  <a:lnTo>
                    <a:pt x="491888" y="107151"/>
                  </a:lnTo>
                  <a:lnTo>
                    <a:pt x="491223" y="106969"/>
                  </a:lnTo>
                  <a:lnTo>
                    <a:pt x="491223" y="106969"/>
                  </a:lnTo>
                  <a:lnTo>
                    <a:pt x="489559" y="104973"/>
                  </a:lnTo>
                  <a:lnTo>
                    <a:pt x="487955" y="104973"/>
                  </a:lnTo>
                  <a:lnTo>
                    <a:pt x="486322" y="105790"/>
                  </a:lnTo>
                  <a:lnTo>
                    <a:pt x="484598" y="106425"/>
                  </a:lnTo>
                  <a:lnTo>
                    <a:pt x="482873" y="105819"/>
                  </a:lnTo>
                  <a:lnTo>
                    <a:pt x="481149" y="104095"/>
                  </a:lnTo>
                  <a:lnTo>
                    <a:pt x="478850" y="104095"/>
                  </a:lnTo>
                  <a:lnTo>
                    <a:pt x="475764" y="101948"/>
                  </a:lnTo>
                  <a:lnTo>
                    <a:pt x="473888" y="101403"/>
                  </a:lnTo>
                  <a:lnTo>
                    <a:pt x="465600" y="101403"/>
                  </a:lnTo>
                  <a:lnTo>
                    <a:pt x="464723" y="101645"/>
                  </a:lnTo>
                  <a:lnTo>
                    <a:pt x="462968" y="102794"/>
                  </a:lnTo>
                  <a:lnTo>
                    <a:pt x="461879" y="103188"/>
                  </a:lnTo>
                  <a:lnTo>
                    <a:pt x="460699" y="103188"/>
                  </a:lnTo>
                  <a:lnTo>
                    <a:pt x="450141" y="100496"/>
                  </a:lnTo>
                  <a:lnTo>
                    <a:pt x="441550" y="100496"/>
                  </a:lnTo>
                  <a:lnTo>
                    <a:pt x="440612" y="100979"/>
                  </a:lnTo>
                  <a:lnTo>
                    <a:pt x="440128" y="102038"/>
                  </a:lnTo>
                  <a:lnTo>
                    <a:pt x="439553" y="102976"/>
                  </a:lnTo>
                  <a:lnTo>
                    <a:pt x="438343" y="103218"/>
                  </a:lnTo>
                  <a:lnTo>
                    <a:pt x="438343" y="102674"/>
                  </a:lnTo>
                  <a:lnTo>
                    <a:pt x="436347" y="99527"/>
                  </a:lnTo>
                  <a:lnTo>
                    <a:pt x="433442" y="97561"/>
                  </a:lnTo>
                  <a:lnTo>
                    <a:pt x="421191" y="94082"/>
                  </a:lnTo>
                  <a:lnTo>
                    <a:pt x="418892" y="93961"/>
                  </a:lnTo>
                  <a:lnTo>
                    <a:pt x="418075" y="93447"/>
                  </a:lnTo>
                  <a:lnTo>
                    <a:pt x="417863" y="92570"/>
                  </a:lnTo>
                  <a:lnTo>
                    <a:pt x="417712" y="91874"/>
                  </a:lnTo>
                  <a:lnTo>
                    <a:pt x="417591" y="90361"/>
                  </a:lnTo>
                  <a:lnTo>
                    <a:pt x="417076" y="88395"/>
                  </a:lnTo>
                  <a:lnTo>
                    <a:pt x="416955" y="87306"/>
                  </a:lnTo>
                  <a:lnTo>
                    <a:pt x="416199" y="86035"/>
                  </a:lnTo>
                  <a:lnTo>
                    <a:pt x="411449" y="81407"/>
                  </a:lnTo>
                  <a:lnTo>
                    <a:pt x="407759" y="79864"/>
                  </a:lnTo>
                  <a:lnTo>
                    <a:pt x="403494" y="79047"/>
                  </a:lnTo>
                  <a:lnTo>
                    <a:pt x="394932" y="78684"/>
                  </a:lnTo>
                  <a:lnTo>
                    <a:pt x="394085" y="79168"/>
                  </a:lnTo>
                  <a:lnTo>
                    <a:pt x="393813" y="79622"/>
                  </a:lnTo>
                  <a:lnTo>
                    <a:pt x="393420" y="80015"/>
                  </a:lnTo>
                  <a:lnTo>
                    <a:pt x="392875" y="80409"/>
                  </a:lnTo>
                  <a:lnTo>
                    <a:pt x="392240" y="78260"/>
                  </a:lnTo>
                  <a:lnTo>
                    <a:pt x="391181" y="77837"/>
                  </a:lnTo>
                  <a:lnTo>
                    <a:pt x="388791" y="78684"/>
                  </a:lnTo>
                  <a:lnTo>
                    <a:pt x="386765" y="78835"/>
                  </a:lnTo>
                  <a:lnTo>
                    <a:pt x="386462" y="78442"/>
                  </a:lnTo>
                  <a:lnTo>
                    <a:pt x="386613" y="77262"/>
                  </a:lnTo>
                  <a:lnTo>
                    <a:pt x="386038" y="74993"/>
                  </a:lnTo>
                  <a:lnTo>
                    <a:pt x="384949" y="76657"/>
                  </a:lnTo>
                  <a:lnTo>
                    <a:pt x="383890" y="76445"/>
                  </a:lnTo>
                  <a:lnTo>
                    <a:pt x="382862" y="75629"/>
                  </a:lnTo>
                  <a:lnTo>
                    <a:pt x="382681" y="75478"/>
                  </a:lnTo>
                  <a:lnTo>
                    <a:pt x="381228" y="74993"/>
                  </a:lnTo>
                  <a:lnTo>
                    <a:pt x="381228" y="74086"/>
                  </a:lnTo>
                  <a:lnTo>
                    <a:pt x="381894" y="73935"/>
                  </a:lnTo>
                  <a:lnTo>
                    <a:pt x="383134" y="73390"/>
                  </a:lnTo>
                  <a:lnTo>
                    <a:pt x="383890" y="73269"/>
                  </a:lnTo>
                  <a:lnTo>
                    <a:pt x="382983" y="72120"/>
                  </a:lnTo>
                  <a:lnTo>
                    <a:pt x="381349" y="71908"/>
                  </a:lnTo>
                  <a:lnTo>
                    <a:pt x="379776" y="71363"/>
                  </a:lnTo>
                  <a:lnTo>
                    <a:pt x="379081" y="69155"/>
                  </a:lnTo>
                  <a:lnTo>
                    <a:pt x="378839" y="67824"/>
                  </a:lnTo>
                  <a:lnTo>
                    <a:pt x="377598" y="63558"/>
                  </a:lnTo>
                  <a:lnTo>
                    <a:pt x="377054" y="62288"/>
                  </a:lnTo>
                  <a:lnTo>
                    <a:pt x="373030" y="57447"/>
                  </a:lnTo>
                  <a:lnTo>
                    <a:pt x="371881" y="56843"/>
                  </a:lnTo>
                  <a:lnTo>
                    <a:pt x="363713" y="56570"/>
                  </a:lnTo>
                  <a:lnTo>
                    <a:pt x="362200" y="55905"/>
                  </a:lnTo>
                  <a:lnTo>
                    <a:pt x="357330" y="52547"/>
                  </a:lnTo>
                  <a:lnTo>
                    <a:pt x="356180" y="51367"/>
                  </a:lnTo>
                  <a:lnTo>
                    <a:pt x="355666" y="49945"/>
                  </a:lnTo>
                  <a:lnTo>
                    <a:pt x="354849" y="48947"/>
                  </a:lnTo>
                  <a:lnTo>
                    <a:pt x="349495" y="44954"/>
                  </a:lnTo>
                  <a:lnTo>
                    <a:pt x="348557" y="43774"/>
                  </a:lnTo>
                  <a:lnTo>
                    <a:pt x="346076" y="39509"/>
                  </a:lnTo>
                  <a:lnTo>
                    <a:pt x="342325" y="35455"/>
                  </a:lnTo>
                  <a:lnTo>
                    <a:pt x="341599" y="34880"/>
                  </a:lnTo>
                  <a:lnTo>
                    <a:pt x="340903" y="34093"/>
                  </a:lnTo>
                  <a:lnTo>
                    <a:pt x="339905" y="31431"/>
                  </a:lnTo>
                  <a:lnTo>
                    <a:pt x="339149" y="29405"/>
                  </a:lnTo>
                  <a:lnTo>
                    <a:pt x="339481" y="27317"/>
                  </a:lnTo>
                  <a:lnTo>
                    <a:pt x="338513" y="25139"/>
                  </a:lnTo>
                  <a:lnTo>
                    <a:pt x="337908" y="24383"/>
                  </a:lnTo>
                  <a:lnTo>
                    <a:pt x="337031" y="23264"/>
                  </a:lnTo>
                  <a:lnTo>
                    <a:pt x="335730" y="22084"/>
                  </a:lnTo>
                  <a:lnTo>
                    <a:pt x="335186" y="22084"/>
                  </a:lnTo>
                  <a:lnTo>
                    <a:pt x="334974" y="22689"/>
                  </a:lnTo>
                  <a:lnTo>
                    <a:pt x="334702" y="23142"/>
                  </a:lnTo>
                  <a:lnTo>
                    <a:pt x="334036" y="22598"/>
                  </a:lnTo>
                  <a:lnTo>
                    <a:pt x="333582" y="22084"/>
                  </a:lnTo>
                  <a:lnTo>
                    <a:pt x="333159" y="21690"/>
                  </a:lnTo>
                  <a:lnTo>
                    <a:pt x="332705" y="21388"/>
                  </a:lnTo>
                  <a:lnTo>
                    <a:pt x="332251" y="21206"/>
                  </a:lnTo>
                  <a:lnTo>
                    <a:pt x="329559" y="20632"/>
                  </a:lnTo>
                  <a:lnTo>
                    <a:pt x="328833" y="20208"/>
                  </a:lnTo>
                  <a:lnTo>
                    <a:pt x="328077" y="22114"/>
                  </a:lnTo>
                  <a:lnTo>
                    <a:pt x="327411" y="22114"/>
                  </a:lnTo>
                  <a:lnTo>
                    <a:pt x="326171" y="19754"/>
                  </a:lnTo>
                  <a:lnTo>
                    <a:pt x="323115" y="18000"/>
                  </a:lnTo>
                  <a:lnTo>
                    <a:pt x="321210" y="15731"/>
                  </a:lnTo>
                  <a:lnTo>
                    <a:pt x="319576" y="13160"/>
                  </a:lnTo>
                  <a:lnTo>
                    <a:pt x="317761" y="11072"/>
                  </a:lnTo>
                  <a:lnTo>
                    <a:pt x="315583" y="9711"/>
                  </a:lnTo>
                  <a:lnTo>
                    <a:pt x="312921" y="9227"/>
                  </a:lnTo>
                  <a:lnTo>
                    <a:pt x="312013" y="8682"/>
                  </a:lnTo>
                  <a:lnTo>
                    <a:pt x="311227" y="8561"/>
                  </a:lnTo>
                  <a:lnTo>
                    <a:pt x="310591" y="9015"/>
                  </a:lnTo>
                  <a:lnTo>
                    <a:pt x="310137" y="10225"/>
                  </a:lnTo>
                  <a:lnTo>
                    <a:pt x="309533" y="10225"/>
                  </a:lnTo>
                  <a:lnTo>
                    <a:pt x="308171" y="8985"/>
                  </a:lnTo>
                  <a:lnTo>
                    <a:pt x="303815" y="6474"/>
                  </a:lnTo>
                  <a:lnTo>
                    <a:pt x="303240" y="6050"/>
                  </a:lnTo>
                  <a:lnTo>
                    <a:pt x="300820" y="4266"/>
                  </a:lnTo>
                  <a:lnTo>
                    <a:pt x="299822" y="3751"/>
                  </a:lnTo>
                  <a:lnTo>
                    <a:pt x="298763" y="3570"/>
                  </a:lnTo>
                  <a:lnTo>
                    <a:pt x="296585" y="3842"/>
                  </a:lnTo>
                  <a:lnTo>
                    <a:pt x="295738" y="3751"/>
                  </a:lnTo>
                  <a:lnTo>
                    <a:pt x="294891" y="3177"/>
                  </a:lnTo>
                  <a:lnTo>
                    <a:pt x="293197" y="1513"/>
                  </a:lnTo>
                  <a:lnTo>
                    <a:pt x="292289" y="999"/>
                  </a:lnTo>
                  <a:lnTo>
                    <a:pt x="291140" y="908"/>
                  </a:lnTo>
                  <a:lnTo>
                    <a:pt x="289869" y="1029"/>
                  </a:lnTo>
                  <a:lnTo>
                    <a:pt x="288598" y="847"/>
                  </a:lnTo>
                  <a:lnTo>
                    <a:pt x="287419" y="0"/>
                  </a:lnTo>
                  <a:lnTo>
                    <a:pt x="286783" y="1029"/>
                  </a:lnTo>
                  <a:lnTo>
                    <a:pt x="286783" y="968"/>
                  </a:lnTo>
                  <a:lnTo>
                    <a:pt x="286027" y="30"/>
                  </a:lnTo>
                  <a:lnTo>
                    <a:pt x="285634" y="454"/>
                  </a:lnTo>
                  <a:lnTo>
                    <a:pt x="284605" y="1573"/>
                  </a:lnTo>
                  <a:lnTo>
                    <a:pt x="282669" y="2178"/>
                  </a:lnTo>
                  <a:lnTo>
                    <a:pt x="281126" y="3055"/>
                  </a:lnTo>
                  <a:lnTo>
                    <a:pt x="277980" y="4205"/>
                  </a:lnTo>
                  <a:lnTo>
                    <a:pt x="277678" y="4507"/>
                  </a:lnTo>
                  <a:lnTo>
                    <a:pt x="275076" y="7230"/>
                  </a:lnTo>
                  <a:lnTo>
                    <a:pt x="275016" y="8380"/>
                  </a:lnTo>
                  <a:lnTo>
                    <a:pt x="274955" y="9197"/>
                  </a:lnTo>
                  <a:lnTo>
                    <a:pt x="275348" y="11012"/>
                  </a:lnTo>
                  <a:lnTo>
                    <a:pt x="276558" y="14702"/>
                  </a:lnTo>
                  <a:lnTo>
                    <a:pt x="276649" y="15792"/>
                  </a:lnTo>
                  <a:lnTo>
                    <a:pt x="276438" y="17939"/>
                  </a:lnTo>
                  <a:lnTo>
                    <a:pt x="276710" y="19059"/>
                  </a:lnTo>
                  <a:lnTo>
                    <a:pt x="277345" y="19724"/>
                  </a:lnTo>
                  <a:lnTo>
                    <a:pt x="279069" y="20783"/>
                  </a:lnTo>
                  <a:lnTo>
                    <a:pt x="279553" y="21418"/>
                  </a:lnTo>
                  <a:lnTo>
                    <a:pt x="279674" y="22598"/>
                  </a:lnTo>
                  <a:lnTo>
                    <a:pt x="279674" y="22931"/>
                  </a:lnTo>
                  <a:lnTo>
                    <a:pt x="279251" y="23324"/>
                  </a:lnTo>
                  <a:lnTo>
                    <a:pt x="276952" y="23324"/>
                  </a:lnTo>
                  <a:lnTo>
                    <a:pt x="273352" y="24111"/>
                  </a:lnTo>
                  <a:lnTo>
                    <a:pt x="272475" y="24111"/>
                  </a:lnTo>
                  <a:lnTo>
                    <a:pt x="270780" y="23778"/>
                  </a:lnTo>
                  <a:lnTo>
                    <a:pt x="269359" y="22991"/>
                  </a:lnTo>
                  <a:lnTo>
                    <a:pt x="266939" y="20874"/>
                  </a:lnTo>
                  <a:lnTo>
                    <a:pt x="265970" y="20420"/>
                  </a:lnTo>
                  <a:lnTo>
                    <a:pt x="264730" y="20632"/>
                  </a:lnTo>
                  <a:lnTo>
                    <a:pt x="263883" y="21479"/>
                  </a:lnTo>
                  <a:lnTo>
                    <a:pt x="263127" y="22477"/>
                  </a:lnTo>
                  <a:lnTo>
                    <a:pt x="262159" y="23233"/>
                  </a:lnTo>
                  <a:lnTo>
                    <a:pt x="260979" y="23445"/>
                  </a:lnTo>
                  <a:lnTo>
                    <a:pt x="260404" y="23324"/>
                  </a:lnTo>
                  <a:lnTo>
                    <a:pt x="257318" y="22719"/>
                  </a:lnTo>
                  <a:lnTo>
                    <a:pt x="257258" y="25109"/>
                  </a:lnTo>
                  <a:lnTo>
                    <a:pt x="257500" y="27015"/>
                  </a:lnTo>
                  <a:lnTo>
                    <a:pt x="257500" y="28769"/>
                  </a:lnTo>
                  <a:lnTo>
                    <a:pt x="256774" y="30584"/>
                  </a:lnTo>
                  <a:lnTo>
                    <a:pt x="256532" y="30826"/>
                  </a:lnTo>
                  <a:lnTo>
                    <a:pt x="255413" y="31946"/>
                  </a:lnTo>
                  <a:lnTo>
                    <a:pt x="253416" y="33246"/>
                  </a:lnTo>
                  <a:lnTo>
                    <a:pt x="251329" y="34215"/>
                  </a:lnTo>
                  <a:lnTo>
                    <a:pt x="250845" y="34336"/>
                  </a:lnTo>
                  <a:lnTo>
                    <a:pt x="249665" y="34638"/>
                  </a:lnTo>
                  <a:lnTo>
                    <a:pt x="246307" y="35182"/>
                  </a:lnTo>
                  <a:lnTo>
                    <a:pt x="243312" y="36695"/>
                  </a:lnTo>
                  <a:lnTo>
                    <a:pt x="239773" y="38480"/>
                  </a:lnTo>
                  <a:lnTo>
                    <a:pt x="239349" y="38480"/>
                  </a:lnTo>
                  <a:lnTo>
                    <a:pt x="234812" y="38631"/>
                  </a:lnTo>
                  <a:lnTo>
                    <a:pt x="233208" y="38994"/>
                  </a:lnTo>
                  <a:lnTo>
                    <a:pt x="231696" y="39660"/>
                  </a:lnTo>
                  <a:lnTo>
                    <a:pt x="231333" y="39932"/>
                  </a:lnTo>
                  <a:lnTo>
                    <a:pt x="230304" y="40658"/>
                  </a:lnTo>
                  <a:lnTo>
                    <a:pt x="228247" y="43834"/>
                  </a:lnTo>
                  <a:lnTo>
                    <a:pt x="226311" y="44984"/>
                  </a:lnTo>
                  <a:lnTo>
                    <a:pt x="219111" y="44470"/>
                  </a:lnTo>
                  <a:lnTo>
                    <a:pt x="217417" y="44349"/>
                  </a:lnTo>
                  <a:lnTo>
                    <a:pt x="215269" y="45347"/>
                  </a:lnTo>
                  <a:lnTo>
                    <a:pt x="213938" y="47011"/>
                  </a:lnTo>
                  <a:lnTo>
                    <a:pt x="213575" y="47465"/>
                  </a:lnTo>
                  <a:lnTo>
                    <a:pt x="211699" y="50762"/>
                  </a:lnTo>
                  <a:lnTo>
                    <a:pt x="210247" y="54543"/>
                  </a:lnTo>
                  <a:lnTo>
                    <a:pt x="210247" y="57901"/>
                  </a:lnTo>
                  <a:lnTo>
                    <a:pt x="211639" y="60896"/>
                  </a:lnTo>
                  <a:lnTo>
                    <a:pt x="213636" y="62832"/>
                  </a:lnTo>
                  <a:lnTo>
                    <a:pt x="214422" y="63619"/>
                  </a:lnTo>
                  <a:lnTo>
                    <a:pt x="215662" y="64284"/>
                  </a:lnTo>
                  <a:lnTo>
                    <a:pt x="218476" y="65373"/>
                  </a:lnTo>
                  <a:lnTo>
                    <a:pt x="219716" y="66220"/>
                  </a:lnTo>
                  <a:lnTo>
                    <a:pt x="220623" y="67491"/>
                  </a:lnTo>
                  <a:lnTo>
                    <a:pt x="221138" y="68217"/>
                  </a:lnTo>
                  <a:lnTo>
                    <a:pt x="220684" y="69609"/>
                  </a:lnTo>
                  <a:lnTo>
                    <a:pt x="219504" y="71242"/>
                  </a:lnTo>
                  <a:lnTo>
                    <a:pt x="218748" y="73935"/>
                  </a:lnTo>
                  <a:lnTo>
                    <a:pt x="218748" y="73935"/>
                  </a:lnTo>
                  <a:lnTo>
                    <a:pt x="218869" y="76688"/>
                  </a:lnTo>
                  <a:lnTo>
                    <a:pt x="219050" y="80741"/>
                  </a:lnTo>
                  <a:lnTo>
                    <a:pt x="218899" y="82950"/>
                  </a:lnTo>
                  <a:lnTo>
                    <a:pt x="218385" y="84614"/>
                  </a:lnTo>
                  <a:lnTo>
                    <a:pt x="217689" y="86186"/>
                  </a:lnTo>
                  <a:lnTo>
                    <a:pt x="217296" y="87790"/>
                  </a:lnTo>
                  <a:lnTo>
                    <a:pt x="217719" y="89484"/>
                  </a:lnTo>
                  <a:lnTo>
                    <a:pt x="218899" y="92146"/>
                  </a:lnTo>
                  <a:lnTo>
                    <a:pt x="218960" y="94022"/>
                  </a:lnTo>
                  <a:lnTo>
                    <a:pt x="217961" y="95353"/>
                  </a:lnTo>
                  <a:lnTo>
                    <a:pt x="215904" y="96351"/>
                  </a:lnTo>
                  <a:lnTo>
                    <a:pt x="213938" y="96865"/>
                  </a:lnTo>
                  <a:lnTo>
                    <a:pt x="210035" y="96986"/>
                  </a:lnTo>
                  <a:lnTo>
                    <a:pt x="206254" y="96411"/>
                  </a:lnTo>
                  <a:lnTo>
                    <a:pt x="203622" y="95988"/>
                  </a:lnTo>
                  <a:lnTo>
                    <a:pt x="202654" y="96442"/>
                  </a:lnTo>
                  <a:lnTo>
                    <a:pt x="200779" y="97864"/>
                  </a:lnTo>
                  <a:lnTo>
                    <a:pt x="199780" y="98196"/>
                  </a:lnTo>
                  <a:lnTo>
                    <a:pt x="198631" y="98015"/>
                  </a:lnTo>
                  <a:lnTo>
                    <a:pt x="197481" y="97652"/>
                  </a:lnTo>
                  <a:lnTo>
                    <a:pt x="196332" y="97531"/>
                  </a:lnTo>
                  <a:lnTo>
                    <a:pt x="195212" y="98015"/>
                  </a:lnTo>
                  <a:lnTo>
                    <a:pt x="194728" y="99255"/>
                  </a:lnTo>
                  <a:lnTo>
                    <a:pt x="195122" y="100647"/>
                  </a:lnTo>
                  <a:lnTo>
                    <a:pt x="195273" y="101887"/>
                  </a:lnTo>
                  <a:lnTo>
                    <a:pt x="194123" y="102764"/>
                  </a:lnTo>
                  <a:lnTo>
                    <a:pt x="194063" y="102825"/>
                  </a:lnTo>
                  <a:lnTo>
                    <a:pt x="184201" y="105850"/>
                  </a:lnTo>
                  <a:lnTo>
                    <a:pt x="181448" y="106697"/>
                  </a:lnTo>
                  <a:lnTo>
                    <a:pt x="177394" y="108784"/>
                  </a:lnTo>
                  <a:lnTo>
                    <a:pt x="176547" y="109692"/>
                  </a:lnTo>
                  <a:lnTo>
                    <a:pt x="176033" y="110993"/>
                  </a:lnTo>
                  <a:lnTo>
                    <a:pt x="175942" y="111235"/>
                  </a:lnTo>
                  <a:lnTo>
                    <a:pt x="176154" y="111810"/>
                  </a:lnTo>
                  <a:lnTo>
                    <a:pt x="176880" y="112142"/>
                  </a:lnTo>
                  <a:lnTo>
                    <a:pt x="177848" y="113019"/>
                  </a:lnTo>
                  <a:lnTo>
                    <a:pt x="178846" y="114804"/>
                  </a:lnTo>
                  <a:lnTo>
                    <a:pt x="179360" y="115440"/>
                  </a:lnTo>
                  <a:lnTo>
                    <a:pt x="180238" y="116044"/>
                  </a:lnTo>
                  <a:lnTo>
                    <a:pt x="181569" y="116498"/>
                  </a:lnTo>
                  <a:lnTo>
                    <a:pt x="181962" y="116226"/>
                  </a:lnTo>
                  <a:lnTo>
                    <a:pt x="182113" y="115681"/>
                  </a:lnTo>
                  <a:lnTo>
                    <a:pt x="182567" y="115318"/>
                  </a:lnTo>
                  <a:lnTo>
                    <a:pt x="183777" y="115016"/>
                  </a:lnTo>
                  <a:lnTo>
                    <a:pt x="184140" y="114835"/>
                  </a:lnTo>
                  <a:lnTo>
                    <a:pt x="184443" y="115107"/>
                  </a:lnTo>
                  <a:lnTo>
                    <a:pt x="186076" y="116831"/>
                  </a:lnTo>
                  <a:lnTo>
                    <a:pt x="186258" y="117043"/>
                  </a:lnTo>
                  <a:lnTo>
                    <a:pt x="187892" y="119554"/>
                  </a:lnTo>
                  <a:lnTo>
                    <a:pt x="188436" y="120703"/>
                  </a:lnTo>
                  <a:lnTo>
                    <a:pt x="186349" y="120703"/>
                  </a:lnTo>
                  <a:lnTo>
                    <a:pt x="184957" y="121157"/>
                  </a:lnTo>
                  <a:lnTo>
                    <a:pt x="183717" y="121762"/>
                  </a:lnTo>
                  <a:lnTo>
                    <a:pt x="180752" y="122609"/>
                  </a:lnTo>
                  <a:lnTo>
                    <a:pt x="180177" y="123577"/>
                  </a:lnTo>
                  <a:lnTo>
                    <a:pt x="179814" y="124636"/>
                  </a:lnTo>
                  <a:lnTo>
                    <a:pt x="179119" y="125180"/>
                  </a:lnTo>
                  <a:lnTo>
                    <a:pt x="177848" y="125786"/>
                  </a:lnTo>
                  <a:lnTo>
                    <a:pt x="177969" y="126875"/>
                  </a:lnTo>
                  <a:lnTo>
                    <a:pt x="178665" y="128296"/>
                  </a:lnTo>
                  <a:lnTo>
                    <a:pt x="179209" y="129779"/>
                  </a:lnTo>
                  <a:lnTo>
                    <a:pt x="179209" y="129900"/>
                  </a:lnTo>
                  <a:lnTo>
                    <a:pt x="179845" y="133318"/>
                  </a:lnTo>
                  <a:lnTo>
                    <a:pt x="180661" y="136162"/>
                  </a:lnTo>
                  <a:lnTo>
                    <a:pt x="182113" y="138400"/>
                  </a:lnTo>
                  <a:lnTo>
                    <a:pt x="187166" y="141547"/>
                  </a:lnTo>
                  <a:lnTo>
                    <a:pt x="186197" y="142303"/>
                  </a:lnTo>
                  <a:lnTo>
                    <a:pt x="184382" y="144632"/>
                  </a:lnTo>
                  <a:lnTo>
                    <a:pt x="183505" y="145389"/>
                  </a:lnTo>
                  <a:lnTo>
                    <a:pt x="182386" y="145691"/>
                  </a:lnTo>
                  <a:lnTo>
                    <a:pt x="179119" y="145630"/>
                  </a:lnTo>
                  <a:lnTo>
                    <a:pt x="173492" y="147536"/>
                  </a:lnTo>
                  <a:lnTo>
                    <a:pt x="169317" y="148958"/>
                  </a:lnTo>
                  <a:lnTo>
                    <a:pt x="164779" y="148383"/>
                  </a:lnTo>
                  <a:lnTo>
                    <a:pt x="157428" y="142605"/>
                  </a:lnTo>
                  <a:lnTo>
                    <a:pt x="156430" y="141819"/>
                  </a:lnTo>
                  <a:lnTo>
                    <a:pt x="151529" y="141698"/>
                  </a:lnTo>
                  <a:lnTo>
                    <a:pt x="150531" y="140851"/>
                  </a:lnTo>
                  <a:lnTo>
                    <a:pt x="149412" y="140367"/>
                  </a:lnTo>
                  <a:lnTo>
                    <a:pt x="148504" y="140246"/>
                  </a:lnTo>
                  <a:lnTo>
                    <a:pt x="147022" y="140064"/>
                  </a:lnTo>
                  <a:lnTo>
                    <a:pt x="145267" y="138552"/>
                  </a:lnTo>
                  <a:lnTo>
                    <a:pt x="142968" y="137191"/>
                  </a:lnTo>
                  <a:lnTo>
                    <a:pt x="141153" y="137251"/>
                  </a:lnTo>
                  <a:lnTo>
                    <a:pt x="140790" y="140064"/>
                  </a:lnTo>
                  <a:lnTo>
                    <a:pt x="138854" y="143150"/>
                  </a:lnTo>
                  <a:lnTo>
                    <a:pt x="134528" y="144572"/>
                  </a:lnTo>
                  <a:lnTo>
                    <a:pt x="130323" y="143755"/>
                  </a:lnTo>
                  <a:lnTo>
                    <a:pt x="128750" y="140064"/>
                  </a:lnTo>
                  <a:lnTo>
                    <a:pt x="128720" y="140064"/>
                  </a:lnTo>
                  <a:lnTo>
                    <a:pt x="119372" y="136253"/>
                  </a:lnTo>
                  <a:lnTo>
                    <a:pt x="117375" y="134679"/>
                  </a:lnTo>
                  <a:lnTo>
                    <a:pt x="117375" y="134014"/>
                  </a:lnTo>
                  <a:lnTo>
                    <a:pt x="117708" y="131685"/>
                  </a:lnTo>
                  <a:lnTo>
                    <a:pt x="117527" y="130656"/>
                  </a:lnTo>
                  <a:lnTo>
                    <a:pt x="116952" y="129930"/>
                  </a:lnTo>
                  <a:lnTo>
                    <a:pt x="116921" y="129930"/>
                  </a:lnTo>
                  <a:lnTo>
                    <a:pt x="116286" y="129567"/>
                  </a:lnTo>
                  <a:lnTo>
                    <a:pt x="115591" y="129295"/>
                  </a:lnTo>
                  <a:lnTo>
                    <a:pt x="112142" y="126754"/>
                  </a:lnTo>
                  <a:lnTo>
                    <a:pt x="110841" y="125513"/>
                  </a:lnTo>
                  <a:lnTo>
                    <a:pt x="109934" y="123850"/>
                  </a:lnTo>
                  <a:lnTo>
                    <a:pt x="109843" y="122065"/>
                  </a:lnTo>
                  <a:lnTo>
                    <a:pt x="109964" y="119645"/>
                  </a:lnTo>
                  <a:lnTo>
                    <a:pt x="109752" y="117618"/>
                  </a:lnTo>
                  <a:lnTo>
                    <a:pt x="108633" y="117043"/>
                  </a:lnTo>
                  <a:lnTo>
                    <a:pt x="107453" y="117497"/>
                  </a:lnTo>
                  <a:lnTo>
                    <a:pt x="106939" y="117708"/>
                  </a:lnTo>
                  <a:lnTo>
                    <a:pt x="106182" y="118495"/>
                  </a:lnTo>
                  <a:lnTo>
                    <a:pt x="104912" y="121187"/>
                  </a:lnTo>
                  <a:lnTo>
                    <a:pt x="103853" y="122609"/>
                  </a:lnTo>
                  <a:lnTo>
                    <a:pt x="101312" y="125241"/>
                  </a:lnTo>
                  <a:lnTo>
                    <a:pt x="100374" y="126512"/>
                  </a:lnTo>
                  <a:lnTo>
                    <a:pt x="99739" y="128206"/>
                  </a:lnTo>
                  <a:lnTo>
                    <a:pt x="99678" y="128750"/>
                  </a:lnTo>
                  <a:lnTo>
                    <a:pt x="99255" y="131715"/>
                  </a:lnTo>
                  <a:lnTo>
                    <a:pt x="98710" y="133590"/>
                  </a:lnTo>
                  <a:lnTo>
                    <a:pt x="97379" y="135799"/>
                  </a:lnTo>
                  <a:lnTo>
                    <a:pt x="93446" y="138461"/>
                  </a:lnTo>
                  <a:lnTo>
                    <a:pt x="91571" y="140064"/>
                  </a:lnTo>
                  <a:lnTo>
                    <a:pt x="87699" y="142091"/>
                  </a:lnTo>
                  <a:lnTo>
                    <a:pt x="83070" y="142485"/>
                  </a:lnTo>
                  <a:lnTo>
                    <a:pt x="78381" y="141668"/>
                  </a:lnTo>
                  <a:lnTo>
                    <a:pt x="74388" y="140064"/>
                  </a:lnTo>
                  <a:lnTo>
                    <a:pt x="72180" y="139550"/>
                  </a:lnTo>
                  <a:lnTo>
                    <a:pt x="69608" y="140246"/>
                  </a:lnTo>
                  <a:lnTo>
                    <a:pt x="64798" y="142303"/>
                  </a:lnTo>
                  <a:lnTo>
                    <a:pt x="62197" y="142757"/>
                  </a:lnTo>
                  <a:lnTo>
                    <a:pt x="61894" y="142757"/>
                  </a:lnTo>
                  <a:lnTo>
                    <a:pt x="59504" y="142636"/>
                  </a:lnTo>
                  <a:lnTo>
                    <a:pt x="56872" y="141788"/>
                  </a:lnTo>
                  <a:lnTo>
                    <a:pt x="54331" y="140095"/>
                  </a:lnTo>
                  <a:lnTo>
                    <a:pt x="54331" y="140095"/>
                  </a:lnTo>
                  <a:lnTo>
                    <a:pt x="53000" y="138854"/>
                  </a:lnTo>
                  <a:lnTo>
                    <a:pt x="51548" y="138158"/>
                  </a:lnTo>
                  <a:lnTo>
                    <a:pt x="48886" y="137644"/>
                  </a:lnTo>
                  <a:lnTo>
                    <a:pt x="47313" y="137342"/>
                  </a:lnTo>
                  <a:lnTo>
                    <a:pt x="46617" y="137765"/>
                  </a:lnTo>
                  <a:lnTo>
                    <a:pt x="46254" y="138703"/>
                  </a:lnTo>
                  <a:lnTo>
                    <a:pt x="46254" y="140125"/>
                  </a:lnTo>
                  <a:lnTo>
                    <a:pt x="48402" y="142485"/>
                  </a:lnTo>
                  <a:lnTo>
                    <a:pt x="47101" y="144088"/>
                  </a:lnTo>
                  <a:lnTo>
                    <a:pt x="42382" y="145933"/>
                  </a:lnTo>
                  <a:lnTo>
                    <a:pt x="40930" y="147264"/>
                  </a:lnTo>
                  <a:lnTo>
                    <a:pt x="40053" y="148535"/>
                  </a:lnTo>
                  <a:lnTo>
                    <a:pt x="38964" y="149261"/>
                  </a:lnTo>
                  <a:lnTo>
                    <a:pt x="33609" y="148535"/>
                  </a:lnTo>
                  <a:lnTo>
                    <a:pt x="32036" y="148051"/>
                  </a:lnTo>
                  <a:lnTo>
                    <a:pt x="30675" y="146810"/>
                  </a:lnTo>
                  <a:lnTo>
                    <a:pt x="25925" y="144027"/>
                  </a:lnTo>
                  <a:lnTo>
                    <a:pt x="15942" y="144451"/>
                  </a:lnTo>
                  <a:lnTo>
                    <a:pt x="12827" y="144572"/>
                  </a:lnTo>
                  <a:lnTo>
                    <a:pt x="8863" y="140639"/>
                  </a:lnTo>
                  <a:lnTo>
                    <a:pt x="6776" y="140397"/>
                  </a:lnTo>
                  <a:lnTo>
                    <a:pt x="2178" y="138370"/>
                  </a:lnTo>
                  <a:lnTo>
                    <a:pt x="1210" y="137614"/>
                  </a:lnTo>
                  <a:lnTo>
                    <a:pt x="575" y="137614"/>
                  </a:lnTo>
                  <a:lnTo>
                    <a:pt x="0" y="139369"/>
                  </a:lnTo>
                  <a:lnTo>
                    <a:pt x="302" y="141305"/>
                  </a:lnTo>
                  <a:lnTo>
                    <a:pt x="1936" y="144814"/>
                  </a:lnTo>
                  <a:lnTo>
                    <a:pt x="1633" y="145782"/>
                  </a:lnTo>
                  <a:lnTo>
                    <a:pt x="1422" y="145993"/>
                  </a:lnTo>
                  <a:lnTo>
                    <a:pt x="1422" y="146084"/>
                  </a:lnTo>
                  <a:lnTo>
                    <a:pt x="1936" y="146659"/>
                  </a:lnTo>
                  <a:lnTo>
                    <a:pt x="1724" y="147022"/>
                  </a:lnTo>
                  <a:lnTo>
                    <a:pt x="1391" y="147325"/>
                  </a:lnTo>
                  <a:lnTo>
                    <a:pt x="1179" y="147567"/>
                  </a:lnTo>
                  <a:lnTo>
                    <a:pt x="4175" y="155462"/>
                  </a:lnTo>
                  <a:lnTo>
                    <a:pt x="5354" y="156612"/>
                  </a:lnTo>
                  <a:lnTo>
                    <a:pt x="5354" y="157429"/>
                  </a:lnTo>
                  <a:lnTo>
                    <a:pt x="3902" y="157973"/>
                  </a:lnTo>
                  <a:lnTo>
                    <a:pt x="3963" y="159365"/>
                  </a:lnTo>
                  <a:lnTo>
                    <a:pt x="4901" y="160908"/>
                  </a:lnTo>
                  <a:lnTo>
                    <a:pt x="6020" y="161966"/>
                  </a:lnTo>
                  <a:lnTo>
                    <a:pt x="6958" y="162148"/>
                  </a:lnTo>
                  <a:lnTo>
                    <a:pt x="9680" y="162238"/>
                  </a:lnTo>
                  <a:lnTo>
                    <a:pt x="10830" y="162813"/>
                  </a:lnTo>
                  <a:lnTo>
                    <a:pt x="9317" y="163993"/>
                  </a:lnTo>
                  <a:lnTo>
                    <a:pt x="8440" y="164417"/>
                  </a:lnTo>
                  <a:lnTo>
                    <a:pt x="7411" y="164598"/>
                  </a:lnTo>
                  <a:lnTo>
                    <a:pt x="7774" y="165566"/>
                  </a:lnTo>
                  <a:lnTo>
                    <a:pt x="8349" y="166322"/>
                  </a:lnTo>
                  <a:lnTo>
                    <a:pt x="9136" y="166897"/>
                  </a:lnTo>
                  <a:lnTo>
                    <a:pt x="10164" y="167351"/>
                  </a:lnTo>
                  <a:lnTo>
                    <a:pt x="10164" y="168168"/>
                  </a:lnTo>
                  <a:lnTo>
                    <a:pt x="9075" y="168168"/>
                  </a:lnTo>
                  <a:lnTo>
                    <a:pt x="8289" y="168561"/>
                  </a:lnTo>
                  <a:lnTo>
                    <a:pt x="7744" y="169227"/>
                  </a:lnTo>
                  <a:lnTo>
                    <a:pt x="7411" y="170013"/>
                  </a:lnTo>
                  <a:lnTo>
                    <a:pt x="8712" y="170709"/>
                  </a:lnTo>
                  <a:lnTo>
                    <a:pt x="9408" y="171859"/>
                  </a:lnTo>
                  <a:lnTo>
                    <a:pt x="9408" y="173189"/>
                  </a:lnTo>
                  <a:lnTo>
                    <a:pt x="8773" y="174490"/>
                  </a:lnTo>
                  <a:lnTo>
                    <a:pt x="9287" y="175791"/>
                  </a:lnTo>
                  <a:lnTo>
                    <a:pt x="9287" y="176850"/>
                  </a:lnTo>
                  <a:lnTo>
                    <a:pt x="8924" y="177667"/>
                  </a:lnTo>
                  <a:lnTo>
                    <a:pt x="8107" y="178151"/>
                  </a:lnTo>
                  <a:lnTo>
                    <a:pt x="8107" y="178968"/>
                  </a:lnTo>
                  <a:lnTo>
                    <a:pt x="8954" y="179603"/>
                  </a:lnTo>
                  <a:lnTo>
                    <a:pt x="9317" y="180178"/>
                  </a:lnTo>
                  <a:lnTo>
                    <a:pt x="9257" y="180843"/>
                  </a:lnTo>
                  <a:lnTo>
                    <a:pt x="8803" y="181721"/>
                  </a:lnTo>
                  <a:lnTo>
                    <a:pt x="9832" y="182265"/>
                  </a:lnTo>
                  <a:lnTo>
                    <a:pt x="9952" y="183142"/>
                  </a:lnTo>
                  <a:lnTo>
                    <a:pt x="9680" y="184292"/>
                  </a:lnTo>
                  <a:lnTo>
                    <a:pt x="9469" y="185653"/>
                  </a:lnTo>
                  <a:lnTo>
                    <a:pt x="9952" y="186712"/>
                  </a:lnTo>
                  <a:lnTo>
                    <a:pt x="11102" y="186772"/>
                  </a:lnTo>
                  <a:lnTo>
                    <a:pt x="13613" y="186077"/>
                  </a:lnTo>
                  <a:lnTo>
                    <a:pt x="18332" y="185895"/>
                  </a:lnTo>
                  <a:lnTo>
                    <a:pt x="20662" y="186198"/>
                  </a:lnTo>
                  <a:lnTo>
                    <a:pt x="22628" y="187075"/>
                  </a:lnTo>
                  <a:lnTo>
                    <a:pt x="13794" y="187650"/>
                  </a:lnTo>
                  <a:lnTo>
                    <a:pt x="11193" y="189253"/>
                  </a:lnTo>
                  <a:lnTo>
                    <a:pt x="13643" y="192429"/>
                  </a:lnTo>
                  <a:lnTo>
                    <a:pt x="13250" y="192974"/>
                  </a:lnTo>
                  <a:lnTo>
                    <a:pt x="12705" y="194275"/>
                  </a:lnTo>
                  <a:lnTo>
                    <a:pt x="12252" y="195091"/>
                  </a:lnTo>
                  <a:lnTo>
                    <a:pt x="14309" y="195425"/>
                  </a:lnTo>
                  <a:lnTo>
                    <a:pt x="16033" y="196634"/>
                  </a:lnTo>
                  <a:lnTo>
                    <a:pt x="17304" y="197966"/>
                  </a:lnTo>
                  <a:lnTo>
                    <a:pt x="18090" y="198601"/>
                  </a:lnTo>
                  <a:lnTo>
                    <a:pt x="23293" y="205316"/>
                  </a:lnTo>
                  <a:lnTo>
                    <a:pt x="27438" y="209370"/>
                  </a:lnTo>
                  <a:lnTo>
                    <a:pt x="29707" y="214452"/>
                  </a:lnTo>
                  <a:lnTo>
                    <a:pt x="30856" y="215663"/>
                  </a:lnTo>
                  <a:lnTo>
                    <a:pt x="30372" y="216298"/>
                  </a:lnTo>
                  <a:lnTo>
                    <a:pt x="29888" y="217145"/>
                  </a:lnTo>
                  <a:lnTo>
                    <a:pt x="29465" y="217538"/>
                  </a:lnTo>
                  <a:lnTo>
                    <a:pt x="29465" y="218325"/>
                  </a:lnTo>
                  <a:lnTo>
                    <a:pt x="30493" y="219565"/>
                  </a:lnTo>
                  <a:lnTo>
                    <a:pt x="31522" y="219807"/>
                  </a:lnTo>
                  <a:lnTo>
                    <a:pt x="34244" y="219202"/>
                  </a:lnTo>
                  <a:lnTo>
                    <a:pt x="33367" y="221138"/>
                  </a:lnTo>
                  <a:lnTo>
                    <a:pt x="31945" y="221895"/>
                  </a:lnTo>
                  <a:lnTo>
                    <a:pt x="30463" y="221531"/>
                  </a:lnTo>
                  <a:lnTo>
                    <a:pt x="29435" y="220140"/>
                  </a:lnTo>
                  <a:lnTo>
                    <a:pt x="28678" y="220957"/>
                  </a:lnTo>
                  <a:lnTo>
                    <a:pt x="29918" y="222318"/>
                  </a:lnTo>
                  <a:lnTo>
                    <a:pt x="31552" y="223347"/>
                  </a:lnTo>
                  <a:lnTo>
                    <a:pt x="33125" y="223861"/>
                  </a:lnTo>
                  <a:lnTo>
                    <a:pt x="34214" y="223619"/>
                  </a:lnTo>
                  <a:lnTo>
                    <a:pt x="34880" y="224587"/>
                  </a:lnTo>
                  <a:lnTo>
                    <a:pt x="34214" y="225494"/>
                  </a:lnTo>
                  <a:lnTo>
                    <a:pt x="34547" y="225494"/>
                  </a:lnTo>
                  <a:lnTo>
                    <a:pt x="35273" y="225434"/>
                  </a:lnTo>
                  <a:lnTo>
                    <a:pt x="35606" y="225494"/>
                  </a:lnTo>
                  <a:lnTo>
                    <a:pt x="35394" y="225918"/>
                  </a:lnTo>
                  <a:lnTo>
                    <a:pt x="35122" y="226825"/>
                  </a:lnTo>
                  <a:lnTo>
                    <a:pt x="34910" y="227279"/>
                  </a:lnTo>
                  <a:lnTo>
                    <a:pt x="36029" y="227400"/>
                  </a:lnTo>
                  <a:lnTo>
                    <a:pt x="38994" y="228519"/>
                  </a:lnTo>
                  <a:lnTo>
                    <a:pt x="39750" y="229034"/>
                  </a:lnTo>
                  <a:lnTo>
                    <a:pt x="40023" y="230970"/>
                  </a:lnTo>
                  <a:lnTo>
                    <a:pt x="40023" y="233087"/>
                  </a:lnTo>
                  <a:lnTo>
                    <a:pt x="40355" y="234328"/>
                  </a:lnTo>
                  <a:lnTo>
                    <a:pt x="41838" y="233572"/>
                  </a:lnTo>
                  <a:lnTo>
                    <a:pt x="41384" y="233027"/>
                  </a:lnTo>
                  <a:lnTo>
                    <a:pt x="40476" y="230909"/>
                  </a:lnTo>
                  <a:lnTo>
                    <a:pt x="40960" y="229578"/>
                  </a:lnTo>
                  <a:lnTo>
                    <a:pt x="40446" y="228489"/>
                  </a:lnTo>
                  <a:lnTo>
                    <a:pt x="39387" y="227703"/>
                  </a:lnTo>
                  <a:lnTo>
                    <a:pt x="38328" y="227279"/>
                  </a:lnTo>
                  <a:lnTo>
                    <a:pt x="39024" y="226402"/>
                  </a:lnTo>
                  <a:lnTo>
                    <a:pt x="39962" y="226977"/>
                  </a:lnTo>
                  <a:lnTo>
                    <a:pt x="40990" y="226735"/>
                  </a:lnTo>
                  <a:lnTo>
                    <a:pt x="41898" y="226977"/>
                  </a:lnTo>
                  <a:lnTo>
                    <a:pt x="42503" y="229064"/>
                  </a:lnTo>
                  <a:lnTo>
                    <a:pt x="42987" y="228792"/>
                  </a:lnTo>
                  <a:lnTo>
                    <a:pt x="42987" y="228641"/>
                  </a:lnTo>
                  <a:lnTo>
                    <a:pt x="43199" y="228096"/>
                  </a:lnTo>
                  <a:lnTo>
                    <a:pt x="44681" y="228973"/>
                  </a:lnTo>
                  <a:lnTo>
                    <a:pt x="46436" y="229245"/>
                  </a:lnTo>
                  <a:lnTo>
                    <a:pt x="50066" y="229064"/>
                  </a:lnTo>
                  <a:lnTo>
                    <a:pt x="49461" y="228096"/>
                  </a:lnTo>
                  <a:lnTo>
                    <a:pt x="49007" y="227491"/>
                  </a:lnTo>
                  <a:lnTo>
                    <a:pt x="48372" y="227249"/>
                  </a:lnTo>
                  <a:lnTo>
                    <a:pt x="47313" y="227309"/>
                  </a:lnTo>
                  <a:lnTo>
                    <a:pt x="47676" y="226251"/>
                  </a:lnTo>
                  <a:lnTo>
                    <a:pt x="47676" y="225918"/>
                  </a:lnTo>
                  <a:lnTo>
                    <a:pt x="47525" y="225646"/>
                  </a:lnTo>
                  <a:lnTo>
                    <a:pt x="47313" y="224677"/>
                  </a:lnTo>
                  <a:lnTo>
                    <a:pt x="48190" y="223044"/>
                  </a:lnTo>
                  <a:lnTo>
                    <a:pt x="48674" y="222469"/>
                  </a:lnTo>
                  <a:lnTo>
                    <a:pt x="49370" y="222015"/>
                  </a:lnTo>
                  <a:lnTo>
                    <a:pt x="49370" y="221047"/>
                  </a:lnTo>
                  <a:lnTo>
                    <a:pt x="48705" y="221047"/>
                  </a:lnTo>
                  <a:lnTo>
                    <a:pt x="48705" y="220231"/>
                  </a:lnTo>
                  <a:lnTo>
                    <a:pt x="49370" y="220231"/>
                  </a:lnTo>
                  <a:lnTo>
                    <a:pt x="48674" y="218839"/>
                  </a:lnTo>
                  <a:lnTo>
                    <a:pt x="48160" y="218264"/>
                  </a:lnTo>
                  <a:lnTo>
                    <a:pt x="47343" y="217690"/>
                  </a:lnTo>
                  <a:lnTo>
                    <a:pt x="48947" y="217690"/>
                  </a:lnTo>
                  <a:lnTo>
                    <a:pt x="51185" y="217145"/>
                  </a:lnTo>
                  <a:lnTo>
                    <a:pt x="52184" y="217690"/>
                  </a:lnTo>
                  <a:lnTo>
                    <a:pt x="52304" y="217175"/>
                  </a:lnTo>
                  <a:lnTo>
                    <a:pt x="52304" y="216873"/>
                  </a:lnTo>
                  <a:lnTo>
                    <a:pt x="52395" y="216752"/>
                  </a:lnTo>
                  <a:lnTo>
                    <a:pt x="52910" y="216752"/>
                  </a:lnTo>
                  <a:lnTo>
                    <a:pt x="52910" y="215814"/>
                  </a:lnTo>
                  <a:lnTo>
                    <a:pt x="52395" y="215148"/>
                  </a:lnTo>
                  <a:lnTo>
                    <a:pt x="52395" y="214785"/>
                  </a:lnTo>
                  <a:lnTo>
                    <a:pt x="52789" y="214725"/>
                  </a:lnTo>
                  <a:lnTo>
                    <a:pt x="53605" y="214937"/>
                  </a:lnTo>
                  <a:lnTo>
                    <a:pt x="54029" y="213696"/>
                  </a:lnTo>
                  <a:lnTo>
                    <a:pt x="54150" y="212486"/>
                  </a:lnTo>
                  <a:lnTo>
                    <a:pt x="53999" y="211397"/>
                  </a:lnTo>
                  <a:lnTo>
                    <a:pt x="53575" y="210490"/>
                  </a:lnTo>
                  <a:lnTo>
                    <a:pt x="54150" y="210490"/>
                  </a:lnTo>
                  <a:lnTo>
                    <a:pt x="54573" y="211125"/>
                  </a:lnTo>
                  <a:lnTo>
                    <a:pt x="55209" y="210459"/>
                  </a:lnTo>
                  <a:lnTo>
                    <a:pt x="56631" y="207888"/>
                  </a:lnTo>
                  <a:lnTo>
                    <a:pt x="57720" y="206920"/>
                  </a:lnTo>
                  <a:lnTo>
                    <a:pt x="57296" y="205649"/>
                  </a:lnTo>
                  <a:lnTo>
                    <a:pt x="56570" y="205347"/>
                  </a:lnTo>
                  <a:lnTo>
                    <a:pt x="55602" y="205226"/>
                  </a:lnTo>
                  <a:lnTo>
                    <a:pt x="54543" y="204590"/>
                  </a:lnTo>
                  <a:lnTo>
                    <a:pt x="54090" y="203532"/>
                  </a:lnTo>
                  <a:lnTo>
                    <a:pt x="54513" y="201233"/>
                  </a:lnTo>
                  <a:lnTo>
                    <a:pt x="54150" y="199690"/>
                  </a:lnTo>
                  <a:lnTo>
                    <a:pt x="55299" y="199811"/>
                  </a:lnTo>
                  <a:lnTo>
                    <a:pt x="55420" y="200446"/>
                  </a:lnTo>
                  <a:lnTo>
                    <a:pt x="55269" y="201384"/>
                  </a:lnTo>
                  <a:lnTo>
                    <a:pt x="55572" y="202382"/>
                  </a:lnTo>
                  <a:lnTo>
                    <a:pt x="57689" y="204167"/>
                  </a:lnTo>
                  <a:lnTo>
                    <a:pt x="58506" y="206587"/>
                  </a:lnTo>
                  <a:lnTo>
                    <a:pt x="58083" y="207676"/>
                  </a:lnTo>
                  <a:lnTo>
                    <a:pt x="57266" y="208826"/>
                  </a:lnTo>
                  <a:lnTo>
                    <a:pt x="56994" y="211367"/>
                  </a:lnTo>
                  <a:lnTo>
                    <a:pt x="57689" y="211367"/>
                  </a:lnTo>
                  <a:lnTo>
                    <a:pt x="58173" y="210369"/>
                  </a:lnTo>
                  <a:lnTo>
                    <a:pt x="59111" y="209158"/>
                  </a:lnTo>
                  <a:lnTo>
                    <a:pt x="60291" y="208130"/>
                  </a:lnTo>
                  <a:lnTo>
                    <a:pt x="61501" y="207706"/>
                  </a:lnTo>
                  <a:lnTo>
                    <a:pt x="62590" y="207979"/>
                  </a:lnTo>
                  <a:lnTo>
                    <a:pt x="63346" y="208402"/>
                  </a:lnTo>
                  <a:lnTo>
                    <a:pt x="64163" y="208493"/>
                  </a:lnTo>
                  <a:lnTo>
                    <a:pt x="65313" y="207706"/>
                  </a:lnTo>
                  <a:lnTo>
                    <a:pt x="66583" y="205316"/>
                  </a:lnTo>
                  <a:lnTo>
                    <a:pt x="66825" y="202291"/>
                  </a:lnTo>
                  <a:lnTo>
                    <a:pt x="66160" y="199508"/>
                  </a:lnTo>
                  <a:lnTo>
                    <a:pt x="64587" y="197814"/>
                  </a:lnTo>
                  <a:lnTo>
                    <a:pt x="64587" y="196997"/>
                  </a:lnTo>
                  <a:lnTo>
                    <a:pt x="64950" y="197300"/>
                  </a:lnTo>
                  <a:lnTo>
                    <a:pt x="65645" y="197572"/>
                  </a:lnTo>
                  <a:lnTo>
                    <a:pt x="66039" y="197814"/>
                  </a:lnTo>
                  <a:lnTo>
                    <a:pt x="65615" y="195364"/>
                  </a:lnTo>
                  <a:lnTo>
                    <a:pt x="65615" y="194456"/>
                  </a:lnTo>
                  <a:lnTo>
                    <a:pt x="66039" y="193337"/>
                  </a:lnTo>
                  <a:lnTo>
                    <a:pt x="66644" y="194305"/>
                  </a:lnTo>
                  <a:lnTo>
                    <a:pt x="68247" y="192792"/>
                  </a:lnTo>
                  <a:lnTo>
                    <a:pt x="69518" y="190947"/>
                  </a:lnTo>
                  <a:lnTo>
                    <a:pt x="69729" y="188981"/>
                  </a:lnTo>
                  <a:lnTo>
                    <a:pt x="68126" y="187166"/>
                  </a:lnTo>
                  <a:lnTo>
                    <a:pt x="71151" y="188225"/>
                  </a:lnTo>
                  <a:lnTo>
                    <a:pt x="73480" y="185229"/>
                  </a:lnTo>
                  <a:lnTo>
                    <a:pt x="73632" y="184746"/>
                  </a:lnTo>
                  <a:lnTo>
                    <a:pt x="73692" y="184564"/>
                  </a:lnTo>
                  <a:lnTo>
                    <a:pt x="74993" y="180389"/>
                  </a:lnTo>
                  <a:lnTo>
                    <a:pt x="76082" y="171314"/>
                  </a:lnTo>
                  <a:lnTo>
                    <a:pt x="77444" y="166806"/>
                  </a:lnTo>
                  <a:lnTo>
                    <a:pt x="79319" y="162813"/>
                  </a:lnTo>
                  <a:lnTo>
                    <a:pt x="81406" y="159728"/>
                  </a:lnTo>
                  <a:lnTo>
                    <a:pt x="83252" y="158396"/>
                  </a:lnTo>
                  <a:lnTo>
                    <a:pt x="84855" y="158699"/>
                  </a:lnTo>
                  <a:lnTo>
                    <a:pt x="86640" y="159607"/>
                  </a:lnTo>
                  <a:lnTo>
                    <a:pt x="90542" y="160393"/>
                  </a:lnTo>
                  <a:lnTo>
                    <a:pt x="101402" y="165506"/>
                  </a:lnTo>
                  <a:lnTo>
                    <a:pt x="102794" y="166928"/>
                  </a:lnTo>
                  <a:lnTo>
                    <a:pt x="103671" y="167563"/>
                  </a:lnTo>
                  <a:lnTo>
                    <a:pt x="104700" y="167563"/>
                  </a:lnTo>
                  <a:lnTo>
                    <a:pt x="105577" y="167018"/>
                  </a:lnTo>
                  <a:lnTo>
                    <a:pt x="105940" y="165990"/>
                  </a:lnTo>
                  <a:lnTo>
                    <a:pt x="105607" y="165748"/>
                  </a:lnTo>
                  <a:lnTo>
                    <a:pt x="103792" y="163781"/>
                  </a:lnTo>
                  <a:lnTo>
                    <a:pt x="107453" y="166262"/>
                  </a:lnTo>
                  <a:lnTo>
                    <a:pt x="108602" y="167351"/>
                  </a:lnTo>
                  <a:lnTo>
                    <a:pt x="107241" y="168591"/>
                  </a:lnTo>
                  <a:lnTo>
                    <a:pt x="107967" y="170376"/>
                  </a:lnTo>
                  <a:lnTo>
                    <a:pt x="109661" y="172010"/>
                  </a:lnTo>
                  <a:lnTo>
                    <a:pt x="111083" y="172706"/>
                  </a:lnTo>
                  <a:lnTo>
                    <a:pt x="116226" y="178968"/>
                  </a:lnTo>
                  <a:lnTo>
                    <a:pt x="127116" y="186712"/>
                  </a:lnTo>
                  <a:lnTo>
                    <a:pt x="133288" y="189767"/>
                  </a:lnTo>
                  <a:lnTo>
                    <a:pt x="134830" y="190857"/>
                  </a:lnTo>
                  <a:lnTo>
                    <a:pt x="135859" y="192399"/>
                  </a:lnTo>
                  <a:lnTo>
                    <a:pt x="136222" y="194638"/>
                  </a:lnTo>
                  <a:lnTo>
                    <a:pt x="142061" y="207041"/>
                  </a:lnTo>
                  <a:lnTo>
                    <a:pt x="142817" y="210006"/>
                  </a:lnTo>
                  <a:lnTo>
                    <a:pt x="142121" y="212456"/>
                  </a:lnTo>
                  <a:lnTo>
                    <a:pt x="141153" y="214452"/>
                  </a:lnTo>
                  <a:lnTo>
                    <a:pt x="138975" y="222681"/>
                  </a:lnTo>
                  <a:lnTo>
                    <a:pt x="138733" y="224950"/>
                  </a:lnTo>
                  <a:lnTo>
                    <a:pt x="138975" y="232149"/>
                  </a:lnTo>
                  <a:lnTo>
                    <a:pt x="139338" y="234812"/>
                  </a:lnTo>
                  <a:lnTo>
                    <a:pt x="140003" y="237080"/>
                  </a:lnTo>
                  <a:lnTo>
                    <a:pt x="140124" y="238986"/>
                  </a:lnTo>
                  <a:lnTo>
                    <a:pt x="138975" y="240620"/>
                  </a:lnTo>
                  <a:lnTo>
                    <a:pt x="140760" y="244976"/>
                  </a:lnTo>
                  <a:lnTo>
                    <a:pt x="150803" y="259467"/>
                  </a:lnTo>
                  <a:lnTo>
                    <a:pt x="151408" y="260616"/>
                  </a:lnTo>
                  <a:lnTo>
                    <a:pt x="152195" y="260707"/>
                  </a:lnTo>
                  <a:lnTo>
                    <a:pt x="155462" y="263127"/>
                  </a:lnTo>
                  <a:lnTo>
                    <a:pt x="155885" y="263762"/>
                  </a:lnTo>
                  <a:lnTo>
                    <a:pt x="158699" y="264973"/>
                  </a:lnTo>
                  <a:lnTo>
                    <a:pt x="161512" y="267846"/>
                  </a:lnTo>
                  <a:lnTo>
                    <a:pt x="166231" y="273957"/>
                  </a:lnTo>
                  <a:lnTo>
                    <a:pt x="180208" y="287116"/>
                  </a:lnTo>
                  <a:lnTo>
                    <a:pt x="181629" y="288448"/>
                  </a:lnTo>
                  <a:lnTo>
                    <a:pt x="191491" y="292804"/>
                  </a:lnTo>
                  <a:lnTo>
                    <a:pt x="192308" y="293348"/>
                  </a:lnTo>
                  <a:lnTo>
                    <a:pt x="195333" y="296978"/>
                  </a:lnTo>
                  <a:lnTo>
                    <a:pt x="195817" y="297372"/>
                  </a:lnTo>
                  <a:lnTo>
                    <a:pt x="202442" y="298249"/>
                  </a:lnTo>
                  <a:lnTo>
                    <a:pt x="203834" y="299126"/>
                  </a:lnTo>
                  <a:lnTo>
                    <a:pt x="203501" y="300578"/>
                  </a:lnTo>
                  <a:lnTo>
                    <a:pt x="201323" y="300760"/>
                  </a:lnTo>
                  <a:lnTo>
                    <a:pt x="193367" y="299641"/>
                  </a:lnTo>
                  <a:lnTo>
                    <a:pt x="191764" y="299066"/>
                  </a:lnTo>
                  <a:lnTo>
                    <a:pt x="184564" y="295284"/>
                  </a:lnTo>
                  <a:lnTo>
                    <a:pt x="181720" y="294316"/>
                  </a:lnTo>
                  <a:lnTo>
                    <a:pt x="178877" y="291957"/>
                  </a:lnTo>
                  <a:lnTo>
                    <a:pt x="176941" y="291321"/>
                  </a:lnTo>
                  <a:lnTo>
                    <a:pt x="177697" y="292895"/>
                  </a:lnTo>
                  <a:lnTo>
                    <a:pt x="178634" y="294256"/>
                  </a:lnTo>
                  <a:lnTo>
                    <a:pt x="179754" y="295254"/>
                  </a:lnTo>
                  <a:lnTo>
                    <a:pt x="181085" y="295647"/>
                  </a:lnTo>
                  <a:lnTo>
                    <a:pt x="180601" y="296313"/>
                  </a:lnTo>
                  <a:lnTo>
                    <a:pt x="180298" y="296797"/>
                  </a:lnTo>
                  <a:lnTo>
                    <a:pt x="179845" y="297160"/>
                  </a:lnTo>
                  <a:lnTo>
                    <a:pt x="178967" y="297432"/>
                  </a:lnTo>
                  <a:lnTo>
                    <a:pt x="180329" y="301909"/>
                  </a:lnTo>
                  <a:lnTo>
                    <a:pt x="178756" y="301788"/>
                  </a:lnTo>
                  <a:lnTo>
                    <a:pt x="177636" y="300941"/>
                  </a:lnTo>
                  <a:lnTo>
                    <a:pt x="175549" y="298430"/>
                  </a:lnTo>
                  <a:lnTo>
                    <a:pt x="170588" y="295375"/>
                  </a:lnTo>
                  <a:lnTo>
                    <a:pt x="170890" y="295920"/>
                  </a:lnTo>
                  <a:lnTo>
                    <a:pt x="171435" y="297493"/>
                  </a:lnTo>
                  <a:lnTo>
                    <a:pt x="170678" y="297493"/>
                  </a:lnTo>
                  <a:lnTo>
                    <a:pt x="170255" y="297039"/>
                  </a:lnTo>
                  <a:lnTo>
                    <a:pt x="170194" y="297039"/>
                  </a:lnTo>
                  <a:lnTo>
                    <a:pt x="170073" y="297281"/>
                  </a:lnTo>
                  <a:lnTo>
                    <a:pt x="169287" y="297463"/>
                  </a:lnTo>
                  <a:lnTo>
                    <a:pt x="171556" y="299066"/>
                  </a:lnTo>
                  <a:lnTo>
                    <a:pt x="170558" y="301062"/>
                  </a:lnTo>
                  <a:lnTo>
                    <a:pt x="168409" y="302000"/>
                  </a:lnTo>
                  <a:lnTo>
                    <a:pt x="167260" y="300548"/>
                  </a:lnTo>
                  <a:lnTo>
                    <a:pt x="166504" y="298098"/>
                  </a:lnTo>
                  <a:lnTo>
                    <a:pt x="164810" y="297826"/>
                  </a:lnTo>
                  <a:lnTo>
                    <a:pt x="162964" y="298793"/>
                  </a:lnTo>
                  <a:lnTo>
                    <a:pt x="161785" y="300125"/>
                  </a:lnTo>
                  <a:lnTo>
                    <a:pt x="163902" y="301395"/>
                  </a:lnTo>
                  <a:lnTo>
                    <a:pt x="165990" y="303876"/>
                  </a:lnTo>
                  <a:lnTo>
                    <a:pt x="166806" y="306719"/>
                  </a:lnTo>
                  <a:lnTo>
                    <a:pt x="165233" y="308988"/>
                  </a:lnTo>
                  <a:lnTo>
                    <a:pt x="170497" y="314010"/>
                  </a:lnTo>
                  <a:lnTo>
                    <a:pt x="172070" y="315069"/>
                  </a:lnTo>
                  <a:lnTo>
                    <a:pt x="171677" y="316370"/>
                  </a:lnTo>
                  <a:lnTo>
                    <a:pt x="172100" y="317277"/>
                  </a:lnTo>
                  <a:lnTo>
                    <a:pt x="173008" y="317973"/>
                  </a:lnTo>
                  <a:lnTo>
                    <a:pt x="174127" y="318578"/>
                  </a:lnTo>
                  <a:lnTo>
                    <a:pt x="178665" y="323116"/>
                  </a:lnTo>
                  <a:lnTo>
                    <a:pt x="178604" y="323539"/>
                  </a:lnTo>
                  <a:lnTo>
                    <a:pt x="182809" y="328289"/>
                  </a:lnTo>
                  <a:lnTo>
                    <a:pt x="184836" y="329045"/>
                  </a:lnTo>
                  <a:lnTo>
                    <a:pt x="186681" y="330800"/>
                  </a:lnTo>
                  <a:lnTo>
                    <a:pt x="189283" y="334430"/>
                  </a:lnTo>
                  <a:lnTo>
                    <a:pt x="194789" y="340541"/>
                  </a:lnTo>
                  <a:lnTo>
                    <a:pt x="195485" y="341599"/>
                  </a:lnTo>
                  <a:lnTo>
                    <a:pt x="195908" y="342477"/>
                  </a:lnTo>
                  <a:lnTo>
                    <a:pt x="196453" y="343293"/>
                  </a:lnTo>
                  <a:lnTo>
                    <a:pt x="197572" y="344110"/>
                  </a:lnTo>
                  <a:lnTo>
                    <a:pt x="198328" y="344443"/>
                  </a:lnTo>
                  <a:lnTo>
                    <a:pt x="199206" y="344715"/>
                  </a:lnTo>
                  <a:lnTo>
                    <a:pt x="200748" y="344927"/>
                  </a:lnTo>
                  <a:lnTo>
                    <a:pt x="202200" y="345502"/>
                  </a:lnTo>
                  <a:lnTo>
                    <a:pt x="203501" y="346863"/>
                  </a:lnTo>
                  <a:lnTo>
                    <a:pt x="205528" y="349797"/>
                  </a:lnTo>
                  <a:lnTo>
                    <a:pt x="205710" y="349918"/>
                  </a:lnTo>
                  <a:lnTo>
                    <a:pt x="208462" y="352096"/>
                  </a:lnTo>
                  <a:lnTo>
                    <a:pt x="214997" y="355091"/>
                  </a:lnTo>
                  <a:lnTo>
                    <a:pt x="217719" y="357239"/>
                  </a:lnTo>
                  <a:lnTo>
                    <a:pt x="217810" y="357149"/>
                  </a:lnTo>
                  <a:lnTo>
                    <a:pt x="218022" y="357027"/>
                  </a:lnTo>
                  <a:lnTo>
                    <a:pt x="218445" y="357027"/>
                  </a:lnTo>
                  <a:lnTo>
                    <a:pt x="219020" y="357239"/>
                  </a:lnTo>
                  <a:lnTo>
                    <a:pt x="219020" y="358177"/>
                  </a:lnTo>
                  <a:lnTo>
                    <a:pt x="217417" y="358026"/>
                  </a:lnTo>
                  <a:lnTo>
                    <a:pt x="215814" y="357663"/>
                  </a:lnTo>
                  <a:lnTo>
                    <a:pt x="212819" y="356423"/>
                  </a:lnTo>
                  <a:lnTo>
                    <a:pt x="214362" y="358328"/>
                  </a:lnTo>
                  <a:lnTo>
                    <a:pt x="216933" y="359024"/>
                  </a:lnTo>
                  <a:lnTo>
                    <a:pt x="219323" y="360022"/>
                  </a:lnTo>
                  <a:lnTo>
                    <a:pt x="220382" y="362896"/>
                  </a:lnTo>
                  <a:lnTo>
                    <a:pt x="221743" y="364348"/>
                  </a:lnTo>
                  <a:lnTo>
                    <a:pt x="228247" y="364802"/>
                  </a:lnTo>
                  <a:lnTo>
                    <a:pt x="230364" y="365498"/>
                  </a:lnTo>
                  <a:lnTo>
                    <a:pt x="231514" y="366526"/>
                  </a:lnTo>
                  <a:lnTo>
                    <a:pt x="235598" y="368644"/>
                  </a:lnTo>
                  <a:lnTo>
                    <a:pt x="236294" y="369400"/>
                  </a:lnTo>
                  <a:lnTo>
                    <a:pt x="237655" y="371427"/>
                  </a:lnTo>
                  <a:lnTo>
                    <a:pt x="238290" y="372062"/>
                  </a:lnTo>
                  <a:lnTo>
                    <a:pt x="238895" y="372274"/>
                  </a:lnTo>
                  <a:lnTo>
                    <a:pt x="239803" y="372456"/>
                  </a:lnTo>
                  <a:lnTo>
                    <a:pt x="240499" y="372456"/>
                  </a:lnTo>
                  <a:lnTo>
                    <a:pt x="241890" y="373605"/>
                  </a:lnTo>
                  <a:lnTo>
                    <a:pt x="244341" y="375511"/>
                  </a:lnTo>
                  <a:lnTo>
                    <a:pt x="245218" y="375360"/>
                  </a:lnTo>
                  <a:lnTo>
                    <a:pt x="245157" y="372970"/>
                  </a:lnTo>
                  <a:lnTo>
                    <a:pt x="246307" y="373999"/>
                  </a:lnTo>
                  <a:lnTo>
                    <a:pt x="246489" y="375118"/>
                  </a:lnTo>
                  <a:lnTo>
                    <a:pt x="245823" y="376086"/>
                  </a:lnTo>
                  <a:lnTo>
                    <a:pt x="244431" y="376570"/>
                  </a:lnTo>
                  <a:lnTo>
                    <a:pt x="245490" y="377114"/>
                  </a:lnTo>
                  <a:lnTo>
                    <a:pt x="246367" y="377992"/>
                  </a:lnTo>
                  <a:lnTo>
                    <a:pt x="246519" y="378839"/>
                  </a:lnTo>
                  <a:lnTo>
                    <a:pt x="245460" y="379202"/>
                  </a:lnTo>
                  <a:lnTo>
                    <a:pt x="244704" y="378960"/>
                  </a:lnTo>
                  <a:lnTo>
                    <a:pt x="243887" y="378567"/>
                  </a:lnTo>
                  <a:lnTo>
                    <a:pt x="242889" y="378476"/>
                  </a:lnTo>
                  <a:lnTo>
                    <a:pt x="241678" y="379202"/>
                  </a:lnTo>
                  <a:lnTo>
                    <a:pt x="243342" y="379202"/>
                  </a:lnTo>
                  <a:lnTo>
                    <a:pt x="247880" y="380049"/>
                  </a:lnTo>
                  <a:lnTo>
                    <a:pt x="247880" y="380987"/>
                  </a:lnTo>
                  <a:lnTo>
                    <a:pt x="244189" y="380926"/>
                  </a:lnTo>
                  <a:lnTo>
                    <a:pt x="243131" y="381622"/>
                  </a:lnTo>
                  <a:lnTo>
                    <a:pt x="243766" y="383528"/>
                  </a:lnTo>
                  <a:lnTo>
                    <a:pt x="243040" y="384466"/>
                  </a:lnTo>
                  <a:lnTo>
                    <a:pt x="243766" y="385343"/>
                  </a:lnTo>
                  <a:lnTo>
                    <a:pt x="243040" y="386129"/>
                  </a:lnTo>
                  <a:lnTo>
                    <a:pt x="243463" y="386311"/>
                  </a:lnTo>
                  <a:lnTo>
                    <a:pt x="244462" y="387007"/>
                  </a:lnTo>
                  <a:lnTo>
                    <a:pt x="244008" y="387279"/>
                  </a:lnTo>
                  <a:lnTo>
                    <a:pt x="243524" y="387672"/>
                  </a:lnTo>
                  <a:lnTo>
                    <a:pt x="243070" y="387944"/>
                  </a:lnTo>
                  <a:lnTo>
                    <a:pt x="243070" y="388731"/>
                  </a:lnTo>
                  <a:lnTo>
                    <a:pt x="244825" y="388731"/>
                  </a:lnTo>
                  <a:lnTo>
                    <a:pt x="245702" y="389518"/>
                  </a:lnTo>
                  <a:lnTo>
                    <a:pt x="245490" y="390365"/>
                  </a:lnTo>
                  <a:lnTo>
                    <a:pt x="243826" y="390546"/>
                  </a:lnTo>
                  <a:lnTo>
                    <a:pt x="246095" y="391272"/>
                  </a:lnTo>
                  <a:lnTo>
                    <a:pt x="246912" y="391907"/>
                  </a:lnTo>
                  <a:lnTo>
                    <a:pt x="247245" y="393148"/>
                  </a:lnTo>
                  <a:lnTo>
                    <a:pt x="247820" y="392664"/>
                  </a:lnTo>
                  <a:lnTo>
                    <a:pt x="248425" y="392482"/>
                  </a:lnTo>
                  <a:lnTo>
                    <a:pt x="250058" y="392301"/>
                  </a:lnTo>
                  <a:lnTo>
                    <a:pt x="249544" y="393269"/>
                  </a:lnTo>
                  <a:lnTo>
                    <a:pt x="249756" y="393934"/>
                  </a:lnTo>
                  <a:lnTo>
                    <a:pt x="250028" y="394539"/>
                  </a:lnTo>
                  <a:lnTo>
                    <a:pt x="249695" y="395326"/>
                  </a:lnTo>
                  <a:lnTo>
                    <a:pt x="248757" y="395870"/>
                  </a:lnTo>
                  <a:lnTo>
                    <a:pt x="247971" y="395870"/>
                  </a:lnTo>
                  <a:lnTo>
                    <a:pt x="247457" y="396082"/>
                  </a:lnTo>
                  <a:lnTo>
                    <a:pt x="247275" y="397504"/>
                  </a:lnTo>
                  <a:lnTo>
                    <a:pt x="247759" y="397504"/>
                  </a:lnTo>
                  <a:lnTo>
                    <a:pt x="247880" y="397232"/>
                  </a:lnTo>
                  <a:lnTo>
                    <a:pt x="247880" y="396869"/>
                  </a:lnTo>
                  <a:lnTo>
                    <a:pt x="247941" y="396657"/>
                  </a:lnTo>
                  <a:lnTo>
                    <a:pt x="248667" y="397655"/>
                  </a:lnTo>
                  <a:lnTo>
                    <a:pt x="250905" y="397655"/>
                  </a:lnTo>
                  <a:lnTo>
                    <a:pt x="252115" y="398412"/>
                  </a:lnTo>
                  <a:lnTo>
                    <a:pt x="252115" y="397564"/>
                  </a:lnTo>
                  <a:lnTo>
                    <a:pt x="252751" y="397564"/>
                  </a:lnTo>
                  <a:lnTo>
                    <a:pt x="254203" y="398714"/>
                  </a:lnTo>
                  <a:lnTo>
                    <a:pt x="255352" y="399228"/>
                  </a:lnTo>
                  <a:lnTo>
                    <a:pt x="258014" y="399380"/>
                  </a:lnTo>
                  <a:lnTo>
                    <a:pt x="261282" y="400620"/>
                  </a:lnTo>
                  <a:lnTo>
                    <a:pt x="262764" y="400771"/>
                  </a:lnTo>
                  <a:lnTo>
                    <a:pt x="262522" y="399410"/>
                  </a:lnTo>
                  <a:lnTo>
                    <a:pt x="268723" y="399410"/>
                  </a:lnTo>
                  <a:lnTo>
                    <a:pt x="267967" y="397564"/>
                  </a:lnTo>
                  <a:lnTo>
                    <a:pt x="266545" y="396627"/>
                  </a:lnTo>
                  <a:lnTo>
                    <a:pt x="263217" y="395840"/>
                  </a:lnTo>
                  <a:lnTo>
                    <a:pt x="263217" y="394963"/>
                  </a:lnTo>
                  <a:lnTo>
                    <a:pt x="275500" y="394691"/>
                  </a:lnTo>
                  <a:lnTo>
                    <a:pt x="279674" y="393481"/>
                  </a:lnTo>
                  <a:lnTo>
                    <a:pt x="281520" y="393208"/>
                  </a:lnTo>
                  <a:lnTo>
                    <a:pt x="282215" y="392996"/>
                  </a:lnTo>
                  <a:lnTo>
                    <a:pt x="284091" y="391907"/>
                  </a:lnTo>
                  <a:lnTo>
                    <a:pt x="285271" y="391575"/>
                  </a:lnTo>
                  <a:lnTo>
                    <a:pt x="295042" y="391756"/>
                  </a:lnTo>
                  <a:lnTo>
                    <a:pt x="297341" y="392240"/>
                  </a:lnTo>
                  <a:lnTo>
                    <a:pt x="299005" y="393208"/>
                  </a:lnTo>
                  <a:lnTo>
                    <a:pt x="297250" y="394388"/>
                  </a:lnTo>
                  <a:lnTo>
                    <a:pt x="295072" y="395296"/>
                  </a:lnTo>
                  <a:lnTo>
                    <a:pt x="292773" y="395810"/>
                  </a:lnTo>
                  <a:lnTo>
                    <a:pt x="290746" y="395810"/>
                  </a:lnTo>
                  <a:lnTo>
                    <a:pt x="290746" y="396687"/>
                  </a:lnTo>
                  <a:lnTo>
                    <a:pt x="298309" y="396687"/>
                  </a:lnTo>
                  <a:lnTo>
                    <a:pt x="302121" y="397564"/>
                  </a:lnTo>
                  <a:lnTo>
                    <a:pt x="302635" y="397413"/>
                  </a:lnTo>
                  <a:lnTo>
                    <a:pt x="303573" y="396808"/>
                  </a:lnTo>
                  <a:lnTo>
                    <a:pt x="304178" y="396657"/>
                  </a:lnTo>
                  <a:lnTo>
                    <a:pt x="304723" y="396929"/>
                  </a:lnTo>
                  <a:lnTo>
                    <a:pt x="304965" y="397504"/>
                  </a:lnTo>
                  <a:lnTo>
                    <a:pt x="305055" y="398079"/>
                  </a:lnTo>
                  <a:lnTo>
                    <a:pt x="305206" y="398412"/>
                  </a:lnTo>
                  <a:lnTo>
                    <a:pt x="314373" y="404522"/>
                  </a:lnTo>
                  <a:lnTo>
                    <a:pt x="321210" y="405884"/>
                  </a:lnTo>
                  <a:lnTo>
                    <a:pt x="327109" y="408274"/>
                  </a:lnTo>
                  <a:lnTo>
                    <a:pt x="340026" y="409998"/>
                  </a:lnTo>
                  <a:lnTo>
                    <a:pt x="340812" y="410603"/>
                  </a:lnTo>
                  <a:lnTo>
                    <a:pt x="341538" y="411450"/>
                  </a:lnTo>
                  <a:lnTo>
                    <a:pt x="342567" y="412388"/>
                  </a:lnTo>
                  <a:lnTo>
                    <a:pt x="345380" y="414112"/>
                  </a:lnTo>
                  <a:lnTo>
                    <a:pt x="354879" y="425456"/>
                  </a:lnTo>
                  <a:lnTo>
                    <a:pt x="355303" y="425698"/>
                  </a:lnTo>
                  <a:lnTo>
                    <a:pt x="356574" y="426031"/>
                  </a:lnTo>
                  <a:lnTo>
                    <a:pt x="356997" y="426243"/>
                  </a:lnTo>
                  <a:lnTo>
                    <a:pt x="357179" y="426727"/>
                  </a:lnTo>
                  <a:lnTo>
                    <a:pt x="357511" y="428361"/>
                  </a:lnTo>
                  <a:lnTo>
                    <a:pt x="357693" y="428905"/>
                  </a:lnTo>
                  <a:lnTo>
                    <a:pt x="358752" y="430448"/>
                  </a:lnTo>
                  <a:lnTo>
                    <a:pt x="359417" y="431204"/>
                  </a:lnTo>
                  <a:lnTo>
                    <a:pt x="360083" y="431507"/>
                  </a:lnTo>
                  <a:lnTo>
                    <a:pt x="361111" y="431688"/>
                  </a:lnTo>
                  <a:lnTo>
                    <a:pt x="362110" y="432142"/>
                  </a:lnTo>
                  <a:lnTo>
                    <a:pt x="362866" y="432807"/>
                  </a:lnTo>
                  <a:lnTo>
                    <a:pt x="363501" y="434471"/>
                  </a:lnTo>
                  <a:lnTo>
                    <a:pt x="364257" y="435046"/>
                  </a:lnTo>
                  <a:lnTo>
                    <a:pt x="365921" y="435863"/>
                  </a:lnTo>
                  <a:lnTo>
                    <a:pt x="369400" y="438464"/>
                  </a:lnTo>
                  <a:lnTo>
                    <a:pt x="383890" y="445362"/>
                  </a:lnTo>
                  <a:lnTo>
                    <a:pt x="389366" y="452138"/>
                  </a:lnTo>
                  <a:lnTo>
                    <a:pt x="392754" y="454951"/>
                  </a:lnTo>
                  <a:lnTo>
                    <a:pt x="394932" y="453227"/>
                  </a:lnTo>
                  <a:lnTo>
                    <a:pt x="395053" y="453772"/>
                  </a:lnTo>
                  <a:lnTo>
                    <a:pt x="395689" y="454951"/>
                  </a:lnTo>
                  <a:lnTo>
                    <a:pt x="394932" y="455829"/>
                  </a:lnTo>
                  <a:lnTo>
                    <a:pt x="395537" y="456888"/>
                  </a:lnTo>
                  <a:lnTo>
                    <a:pt x="396384" y="457372"/>
                  </a:lnTo>
                  <a:lnTo>
                    <a:pt x="397383" y="457523"/>
                  </a:lnTo>
                  <a:lnTo>
                    <a:pt x="398351" y="457523"/>
                  </a:lnTo>
                  <a:lnTo>
                    <a:pt x="396384" y="458945"/>
                  </a:lnTo>
                  <a:lnTo>
                    <a:pt x="395689" y="459277"/>
                  </a:lnTo>
                  <a:lnTo>
                    <a:pt x="397685" y="458612"/>
                  </a:lnTo>
                  <a:lnTo>
                    <a:pt x="399531" y="457644"/>
                  </a:lnTo>
                  <a:lnTo>
                    <a:pt x="401164" y="457069"/>
                  </a:lnTo>
                  <a:lnTo>
                    <a:pt x="402586" y="457553"/>
                  </a:lnTo>
                  <a:lnTo>
                    <a:pt x="400287" y="458642"/>
                  </a:lnTo>
                  <a:lnTo>
                    <a:pt x="399440" y="459792"/>
                  </a:lnTo>
                  <a:lnTo>
                    <a:pt x="399833" y="461334"/>
                  </a:lnTo>
                  <a:lnTo>
                    <a:pt x="401194" y="463664"/>
                  </a:lnTo>
                  <a:lnTo>
                    <a:pt x="402223" y="464995"/>
                  </a:lnTo>
                  <a:lnTo>
                    <a:pt x="403947" y="466659"/>
                  </a:lnTo>
                  <a:lnTo>
                    <a:pt x="405853" y="467687"/>
                  </a:lnTo>
                  <a:lnTo>
                    <a:pt x="407366" y="467113"/>
                  </a:lnTo>
                  <a:lnTo>
                    <a:pt x="410421" y="468746"/>
                  </a:lnTo>
                  <a:lnTo>
                    <a:pt x="410482" y="468746"/>
                  </a:lnTo>
                  <a:lnTo>
                    <a:pt x="415897" y="467748"/>
                  </a:lnTo>
                  <a:lnTo>
                    <a:pt x="418740" y="465812"/>
                  </a:lnTo>
                  <a:lnTo>
                    <a:pt x="418377" y="462303"/>
                  </a:lnTo>
                  <a:lnTo>
                    <a:pt x="418377" y="462303"/>
                  </a:lnTo>
                  <a:lnTo>
                    <a:pt x="415291" y="455587"/>
                  </a:lnTo>
                  <a:lnTo>
                    <a:pt x="412236" y="452259"/>
                  </a:lnTo>
                  <a:lnTo>
                    <a:pt x="411177" y="451109"/>
                  </a:lnTo>
                  <a:lnTo>
                    <a:pt x="397443" y="442760"/>
                  </a:lnTo>
                  <a:lnTo>
                    <a:pt x="396566" y="442216"/>
                  </a:lnTo>
                  <a:lnTo>
                    <a:pt x="395023" y="440552"/>
                  </a:lnTo>
                  <a:lnTo>
                    <a:pt x="393874" y="438101"/>
                  </a:lnTo>
                  <a:lnTo>
                    <a:pt x="393057" y="435500"/>
                  </a:lnTo>
                  <a:lnTo>
                    <a:pt x="392391" y="434169"/>
                  </a:lnTo>
                  <a:lnTo>
                    <a:pt x="391332" y="433261"/>
                  </a:lnTo>
                  <a:lnTo>
                    <a:pt x="389275" y="432081"/>
                  </a:lnTo>
                  <a:lnTo>
                    <a:pt x="385191" y="428542"/>
                  </a:lnTo>
                  <a:lnTo>
                    <a:pt x="381289" y="423067"/>
                  </a:lnTo>
                  <a:lnTo>
                    <a:pt x="379050" y="416744"/>
                  </a:lnTo>
                  <a:lnTo>
                    <a:pt x="380926" y="406065"/>
                  </a:lnTo>
                  <a:lnTo>
                    <a:pt x="379322" y="402798"/>
                  </a:lnTo>
                  <a:lnTo>
                    <a:pt x="376207" y="400862"/>
                  </a:lnTo>
                  <a:lnTo>
                    <a:pt x="366466" y="399470"/>
                  </a:lnTo>
                  <a:lnTo>
                    <a:pt x="360597" y="396415"/>
                  </a:lnTo>
                  <a:lnTo>
                    <a:pt x="358358" y="394570"/>
                  </a:lnTo>
                  <a:lnTo>
                    <a:pt x="355152" y="391938"/>
                  </a:lnTo>
                  <a:lnTo>
                    <a:pt x="350281" y="386674"/>
                  </a:lnTo>
                  <a:lnTo>
                    <a:pt x="334369" y="371669"/>
                  </a:lnTo>
                  <a:lnTo>
                    <a:pt x="323176" y="363471"/>
                  </a:lnTo>
                  <a:lnTo>
                    <a:pt x="321754" y="361354"/>
                  </a:lnTo>
                  <a:lnTo>
                    <a:pt x="320877" y="358631"/>
                  </a:lnTo>
                  <a:lnTo>
                    <a:pt x="320514" y="356483"/>
                  </a:lnTo>
                  <a:lnTo>
                    <a:pt x="319758" y="354638"/>
                  </a:lnTo>
                  <a:lnTo>
                    <a:pt x="315613" y="351098"/>
                  </a:lnTo>
                  <a:lnTo>
                    <a:pt x="312316" y="346924"/>
                  </a:lnTo>
                  <a:lnTo>
                    <a:pt x="307385" y="342265"/>
                  </a:lnTo>
                  <a:lnTo>
                    <a:pt x="304541" y="338363"/>
                  </a:lnTo>
                  <a:lnTo>
                    <a:pt x="303422" y="336850"/>
                  </a:lnTo>
                  <a:lnTo>
                    <a:pt x="301849" y="335156"/>
                  </a:lnTo>
                  <a:lnTo>
                    <a:pt x="300094" y="333885"/>
                  </a:lnTo>
                  <a:lnTo>
                    <a:pt x="295677" y="332403"/>
                  </a:lnTo>
                  <a:lnTo>
                    <a:pt x="294861" y="330890"/>
                  </a:lnTo>
                  <a:lnTo>
                    <a:pt x="294407" y="328984"/>
                  </a:lnTo>
                  <a:lnTo>
                    <a:pt x="293106" y="327018"/>
                  </a:lnTo>
                  <a:lnTo>
                    <a:pt x="292108" y="326655"/>
                  </a:lnTo>
                  <a:lnTo>
                    <a:pt x="289476" y="326837"/>
                  </a:lnTo>
                  <a:lnTo>
                    <a:pt x="288387" y="326746"/>
                  </a:lnTo>
                  <a:lnTo>
                    <a:pt x="287419" y="326232"/>
                  </a:lnTo>
                  <a:lnTo>
                    <a:pt x="286299" y="325415"/>
                  </a:lnTo>
                  <a:lnTo>
                    <a:pt x="284363" y="323660"/>
                  </a:lnTo>
                  <a:lnTo>
                    <a:pt x="282881" y="321391"/>
                  </a:lnTo>
                  <a:lnTo>
                    <a:pt x="280642" y="316370"/>
                  </a:lnTo>
                  <a:lnTo>
                    <a:pt x="279190" y="314010"/>
                  </a:lnTo>
                  <a:lnTo>
                    <a:pt x="274834" y="309684"/>
                  </a:lnTo>
                  <a:lnTo>
                    <a:pt x="273201" y="307476"/>
                  </a:lnTo>
                  <a:lnTo>
                    <a:pt x="271325" y="301940"/>
                  </a:lnTo>
                  <a:lnTo>
                    <a:pt x="270387" y="297916"/>
                  </a:lnTo>
                  <a:lnTo>
                    <a:pt x="270296" y="295950"/>
                  </a:lnTo>
                  <a:lnTo>
                    <a:pt x="270599" y="294528"/>
                  </a:lnTo>
                  <a:lnTo>
                    <a:pt x="271627" y="292441"/>
                  </a:lnTo>
                  <a:lnTo>
                    <a:pt x="271960" y="291382"/>
                  </a:lnTo>
                  <a:lnTo>
                    <a:pt x="272233" y="289204"/>
                  </a:lnTo>
                  <a:lnTo>
                    <a:pt x="272233" y="289113"/>
                  </a:lnTo>
                  <a:lnTo>
                    <a:pt x="271930" y="287903"/>
                  </a:lnTo>
                  <a:lnTo>
                    <a:pt x="270841" y="286935"/>
                  </a:lnTo>
                  <a:lnTo>
                    <a:pt x="268754" y="285695"/>
                  </a:lnTo>
                  <a:lnTo>
                    <a:pt x="266939" y="285271"/>
                  </a:lnTo>
                  <a:lnTo>
                    <a:pt x="265789" y="285271"/>
                  </a:lnTo>
                  <a:lnTo>
                    <a:pt x="265426" y="285634"/>
                  </a:lnTo>
                  <a:lnTo>
                    <a:pt x="265486" y="284636"/>
                  </a:lnTo>
                  <a:lnTo>
                    <a:pt x="266152" y="284091"/>
                  </a:lnTo>
                  <a:lnTo>
                    <a:pt x="266999" y="283577"/>
                  </a:lnTo>
                  <a:lnTo>
                    <a:pt x="267604" y="282639"/>
                  </a:lnTo>
                  <a:lnTo>
                    <a:pt x="267604" y="280643"/>
                  </a:lnTo>
                  <a:lnTo>
                    <a:pt x="266908" y="278192"/>
                  </a:lnTo>
                  <a:lnTo>
                    <a:pt x="264428" y="271809"/>
                  </a:lnTo>
                  <a:lnTo>
                    <a:pt x="263883" y="269268"/>
                  </a:lnTo>
                  <a:lnTo>
                    <a:pt x="263217" y="266999"/>
                  </a:lnTo>
                  <a:lnTo>
                    <a:pt x="262038" y="265577"/>
                  </a:lnTo>
                  <a:lnTo>
                    <a:pt x="259920" y="265245"/>
                  </a:lnTo>
                  <a:lnTo>
                    <a:pt x="256260" y="266757"/>
                  </a:lnTo>
                  <a:lnTo>
                    <a:pt x="254172" y="266515"/>
                  </a:lnTo>
                  <a:lnTo>
                    <a:pt x="252115" y="264458"/>
                  </a:lnTo>
                  <a:lnTo>
                    <a:pt x="252902" y="262401"/>
                  </a:lnTo>
                  <a:lnTo>
                    <a:pt x="254566" y="260435"/>
                  </a:lnTo>
                  <a:lnTo>
                    <a:pt x="255019" y="258710"/>
                  </a:lnTo>
                  <a:lnTo>
                    <a:pt x="255866" y="258317"/>
                  </a:lnTo>
                  <a:lnTo>
                    <a:pt x="256018" y="258196"/>
                  </a:lnTo>
                  <a:lnTo>
                    <a:pt x="255655" y="256441"/>
                  </a:lnTo>
                  <a:lnTo>
                    <a:pt x="255140" y="254838"/>
                  </a:lnTo>
                  <a:lnTo>
                    <a:pt x="254354" y="253628"/>
                  </a:lnTo>
                  <a:lnTo>
                    <a:pt x="253114" y="253084"/>
                  </a:lnTo>
                  <a:lnTo>
                    <a:pt x="250663" y="252751"/>
                  </a:lnTo>
                  <a:lnTo>
                    <a:pt x="249423" y="252358"/>
                  </a:lnTo>
                  <a:lnTo>
                    <a:pt x="248394" y="251722"/>
                  </a:lnTo>
                  <a:lnTo>
                    <a:pt x="247033" y="249907"/>
                  </a:lnTo>
                  <a:lnTo>
                    <a:pt x="246277" y="246670"/>
                  </a:lnTo>
                  <a:lnTo>
                    <a:pt x="245188" y="245249"/>
                  </a:lnTo>
                  <a:lnTo>
                    <a:pt x="244431" y="245188"/>
                  </a:lnTo>
                  <a:lnTo>
                    <a:pt x="243584" y="245612"/>
                  </a:lnTo>
                  <a:lnTo>
                    <a:pt x="242737" y="245823"/>
                  </a:lnTo>
                  <a:lnTo>
                    <a:pt x="241981" y="245097"/>
                  </a:lnTo>
                  <a:lnTo>
                    <a:pt x="241618" y="243978"/>
                  </a:lnTo>
                  <a:lnTo>
                    <a:pt x="241346" y="242647"/>
                  </a:lnTo>
                  <a:lnTo>
                    <a:pt x="240983" y="241437"/>
                  </a:lnTo>
                  <a:lnTo>
                    <a:pt x="240287" y="240681"/>
                  </a:lnTo>
                  <a:lnTo>
                    <a:pt x="239016" y="240590"/>
                  </a:lnTo>
                  <a:lnTo>
                    <a:pt x="238321" y="241407"/>
                  </a:lnTo>
                  <a:lnTo>
                    <a:pt x="237776" y="242526"/>
                  </a:lnTo>
                  <a:lnTo>
                    <a:pt x="237020" y="243373"/>
                  </a:lnTo>
                  <a:lnTo>
                    <a:pt x="236173" y="243645"/>
                  </a:lnTo>
                  <a:lnTo>
                    <a:pt x="234358" y="243766"/>
                  </a:lnTo>
                  <a:lnTo>
                    <a:pt x="233390" y="244069"/>
                  </a:lnTo>
                  <a:lnTo>
                    <a:pt x="231907" y="244280"/>
                  </a:lnTo>
                  <a:lnTo>
                    <a:pt x="231030" y="243403"/>
                  </a:lnTo>
                  <a:lnTo>
                    <a:pt x="230395" y="242102"/>
                  </a:lnTo>
                  <a:lnTo>
                    <a:pt x="229638" y="240892"/>
                  </a:lnTo>
                  <a:lnTo>
                    <a:pt x="227279" y="239380"/>
                  </a:lnTo>
                  <a:lnTo>
                    <a:pt x="226704" y="238714"/>
                  </a:lnTo>
                  <a:lnTo>
                    <a:pt x="224163" y="234842"/>
                  </a:lnTo>
                  <a:lnTo>
                    <a:pt x="223044" y="232573"/>
                  </a:lnTo>
                  <a:lnTo>
                    <a:pt x="222923" y="230395"/>
                  </a:lnTo>
                  <a:lnTo>
                    <a:pt x="224405" y="228580"/>
                  </a:lnTo>
                  <a:lnTo>
                    <a:pt x="226462" y="228005"/>
                  </a:lnTo>
                  <a:lnTo>
                    <a:pt x="228217" y="227249"/>
                  </a:lnTo>
                  <a:lnTo>
                    <a:pt x="228701" y="224950"/>
                  </a:lnTo>
                  <a:lnTo>
                    <a:pt x="227763" y="222469"/>
                  </a:lnTo>
                  <a:lnTo>
                    <a:pt x="226159" y="220109"/>
                  </a:lnTo>
                  <a:lnTo>
                    <a:pt x="224768" y="217508"/>
                  </a:lnTo>
                  <a:lnTo>
                    <a:pt x="224435" y="214241"/>
                  </a:lnTo>
                  <a:lnTo>
                    <a:pt x="224768" y="213303"/>
                  </a:lnTo>
                  <a:lnTo>
                    <a:pt x="225252" y="211942"/>
                  </a:lnTo>
                  <a:lnTo>
                    <a:pt x="227733" y="207918"/>
                  </a:lnTo>
                  <a:lnTo>
                    <a:pt x="228126" y="205619"/>
                  </a:lnTo>
                  <a:lnTo>
                    <a:pt x="226916" y="201656"/>
                  </a:lnTo>
                  <a:lnTo>
                    <a:pt x="226916" y="199206"/>
                  </a:lnTo>
                  <a:lnTo>
                    <a:pt x="229336" y="193579"/>
                  </a:lnTo>
                  <a:lnTo>
                    <a:pt x="229759" y="191552"/>
                  </a:lnTo>
                  <a:lnTo>
                    <a:pt x="229396" y="183777"/>
                  </a:lnTo>
                  <a:lnTo>
                    <a:pt x="229487" y="182779"/>
                  </a:lnTo>
                  <a:lnTo>
                    <a:pt x="230637" y="179935"/>
                  </a:lnTo>
                  <a:lnTo>
                    <a:pt x="231665" y="179058"/>
                  </a:lnTo>
                  <a:lnTo>
                    <a:pt x="233904" y="177153"/>
                  </a:lnTo>
                  <a:lnTo>
                    <a:pt x="239349" y="176336"/>
                  </a:lnTo>
                  <a:lnTo>
                    <a:pt x="248969" y="176578"/>
                  </a:lnTo>
                  <a:lnTo>
                    <a:pt x="251268" y="176184"/>
                  </a:lnTo>
                  <a:lnTo>
                    <a:pt x="252387" y="176184"/>
                  </a:lnTo>
                  <a:lnTo>
                    <a:pt x="253598" y="176790"/>
                  </a:lnTo>
                  <a:lnTo>
                    <a:pt x="254475" y="177939"/>
                  </a:lnTo>
                  <a:lnTo>
                    <a:pt x="254475" y="179089"/>
                  </a:lnTo>
                  <a:lnTo>
                    <a:pt x="254051" y="180057"/>
                  </a:lnTo>
                  <a:lnTo>
                    <a:pt x="253991" y="180662"/>
                  </a:lnTo>
                  <a:lnTo>
                    <a:pt x="254868" y="181267"/>
                  </a:lnTo>
                  <a:lnTo>
                    <a:pt x="257077" y="181690"/>
                  </a:lnTo>
                  <a:lnTo>
                    <a:pt x="258347" y="182598"/>
                  </a:lnTo>
                  <a:lnTo>
                    <a:pt x="259890" y="184957"/>
                  </a:lnTo>
                  <a:lnTo>
                    <a:pt x="262038" y="190070"/>
                  </a:lnTo>
                  <a:lnTo>
                    <a:pt x="263792" y="192218"/>
                  </a:lnTo>
                  <a:lnTo>
                    <a:pt x="272989" y="200658"/>
                  </a:lnTo>
                  <a:lnTo>
                    <a:pt x="275832" y="202291"/>
                  </a:lnTo>
                  <a:lnTo>
                    <a:pt x="279674" y="203834"/>
                  </a:lnTo>
                  <a:lnTo>
                    <a:pt x="283395" y="204590"/>
                  </a:lnTo>
                  <a:lnTo>
                    <a:pt x="285846" y="203986"/>
                  </a:lnTo>
                  <a:lnTo>
                    <a:pt x="286390" y="202140"/>
                  </a:lnTo>
                  <a:lnTo>
                    <a:pt x="286390" y="202140"/>
                  </a:lnTo>
                  <a:lnTo>
                    <a:pt x="287509" y="198419"/>
                  </a:lnTo>
                  <a:lnTo>
                    <a:pt x="289536" y="194910"/>
                  </a:lnTo>
                  <a:lnTo>
                    <a:pt x="290020" y="193851"/>
                  </a:lnTo>
                  <a:lnTo>
                    <a:pt x="290232" y="192309"/>
                  </a:lnTo>
                  <a:lnTo>
                    <a:pt x="290020" y="191461"/>
                  </a:lnTo>
                  <a:lnTo>
                    <a:pt x="290020" y="190735"/>
                  </a:lnTo>
                  <a:lnTo>
                    <a:pt x="290746" y="189525"/>
                  </a:lnTo>
                  <a:lnTo>
                    <a:pt x="291684" y="188920"/>
                  </a:lnTo>
                  <a:lnTo>
                    <a:pt x="294316" y="188164"/>
                  </a:lnTo>
                  <a:lnTo>
                    <a:pt x="295405" y="187438"/>
                  </a:lnTo>
                  <a:lnTo>
                    <a:pt x="296797" y="185441"/>
                  </a:lnTo>
                  <a:lnTo>
                    <a:pt x="300094" y="178695"/>
                  </a:lnTo>
                  <a:lnTo>
                    <a:pt x="304813" y="175701"/>
                  </a:lnTo>
                  <a:lnTo>
                    <a:pt x="310652" y="175882"/>
                  </a:lnTo>
                  <a:lnTo>
                    <a:pt x="330709" y="181388"/>
                  </a:lnTo>
                  <a:lnTo>
                    <a:pt x="333280" y="181085"/>
                  </a:lnTo>
                  <a:lnTo>
                    <a:pt x="334520" y="180057"/>
                  </a:lnTo>
                  <a:lnTo>
                    <a:pt x="334672" y="179119"/>
                  </a:lnTo>
                  <a:lnTo>
                    <a:pt x="334611" y="177969"/>
                  </a:lnTo>
                  <a:lnTo>
                    <a:pt x="335186" y="176396"/>
                  </a:lnTo>
                  <a:lnTo>
                    <a:pt x="336184" y="175489"/>
                  </a:lnTo>
                  <a:lnTo>
                    <a:pt x="337303" y="175035"/>
                  </a:lnTo>
                  <a:lnTo>
                    <a:pt x="338302" y="174400"/>
                  </a:lnTo>
                  <a:lnTo>
                    <a:pt x="338846" y="172948"/>
                  </a:lnTo>
                  <a:lnTo>
                    <a:pt x="339663" y="172463"/>
                  </a:lnTo>
                  <a:lnTo>
                    <a:pt x="340722" y="171374"/>
                  </a:lnTo>
                  <a:lnTo>
                    <a:pt x="341538" y="170285"/>
                  </a:lnTo>
                  <a:lnTo>
                    <a:pt x="341841" y="169681"/>
                  </a:lnTo>
                  <a:lnTo>
                    <a:pt x="344594" y="167532"/>
                  </a:lnTo>
                  <a:lnTo>
                    <a:pt x="345441" y="168289"/>
                  </a:lnTo>
                  <a:lnTo>
                    <a:pt x="346258" y="171042"/>
                  </a:lnTo>
                  <a:lnTo>
                    <a:pt x="346409" y="172070"/>
                  </a:lnTo>
                  <a:lnTo>
                    <a:pt x="346349" y="173220"/>
                  </a:lnTo>
                  <a:lnTo>
                    <a:pt x="346923" y="173946"/>
                  </a:lnTo>
                  <a:lnTo>
                    <a:pt x="349011" y="173734"/>
                  </a:lnTo>
                  <a:lnTo>
                    <a:pt x="348738" y="172857"/>
                  </a:lnTo>
                  <a:lnTo>
                    <a:pt x="348315" y="171949"/>
                  </a:lnTo>
                  <a:lnTo>
                    <a:pt x="349797" y="172433"/>
                  </a:lnTo>
                  <a:lnTo>
                    <a:pt x="351037" y="173825"/>
                  </a:lnTo>
                  <a:lnTo>
                    <a:pt x="352096" y="174490"/>
                  </a:lnTo>
                  <a:lnTo>
                    <a:pt x="353064" y="172826"/>
                  </a:lnTo>
                  <a:lnTo>
                    <a:pt x="353427" y="173825"/>
                  </a:lnTo>
                  <a:lnTo>
                    <a:pt x="353579" y="174612"/>
                  </a:lnTo>
                  <a:lnTo>
                    <a:pt x="353488" y="175398"/>
                  </a:lnTo>
                  <a:lnTo>
                    <a:pt x="353064" y="176487"/>
                  </a:lnTo>
                  <a:lnTo>
                    <a:pt x="353669" y="176003"/>
                  </a:lnTo>
                  <a:lnTo>
                    <a:pt x="355242" y="175065"/>
                  </a:lnTo>
                  <a:lnTo>
                    <a:pt x="355848" y="174612"/>
                  </a:lnTo>
                  <a:lnTo>
                    <a:pt x="357814" y="178544"/>
                  </a:lnTo>
                  <a:lnTo>
                    <a:pt x="362110" y="181539"/>
                  </a:lnTo>
                  <a:lnTo>
                    <a:pt x="364741" y="182658"/>
                  </a:lnTo>
                  <a:lnTo>
                    <a:pt x="371034" y="185351"/>
                  </a:lnTo>
                  <a:lnTo>
                    <a:pt x="372123" y="184776"/>
                  </a:lnTo>
                  <a:lnTo>
                    <a:pt x="376903" y="184473"/>
                  </a:lnTo>
                  <a:lnTo>
                    <a:pt x="377326" y="183868"/>
                  </a:lnTo>
                  <a:lnTo>
                    <a:pt x="379232" y="179996"/>
                  </a:lnTo>
                  <a:lnTo>
                    <a:pt x="383164" y="182386"/>
                  </a:lnTo>
                  <a:lnTo>
                    <a:pt x="385040" y="183112"/>
                  </a:lnTo>
                  <a:lnTo>
                    <a:pt x="388338" y="185109"/>
                  </a:lnTo>
                  <a:lnTo>
                    <a:pt x="389275" y="185835"/>
                  </a:lnTo>
                  <a:lnTo>
                    <a:pt x="390667" y="186561"/>
                  </a:lnTo>
                  <a:lnTo>
                    <a:pt x="392512" y="186379"/>
                  </a:lnTo>
                  <a:lnTo>
                    <a:pt x="395870" y="185381"/>
                  </a:lnTo>
                  <a:lnTo>
                    <a:pt x="396082" y="184927"/>
                  </a:lnTo>
                  <a:lnTo>
                    <a:pt x="396324" y="184110"/>
                  </a:lnTo>
                  <a:lnTo>
                    <a:pt x="396778" y="183596"/>
                  </a:lnTo>
                  <a:lnTo>
                    <a:pt x="397564" y="184050"/>
                  </a:lnTo>
                  <a:lnTo>
                    <a:pt x="398139" y="184927"/>
                  </a:lnTo>
                  <a:lnTo>
                    <a:pt x="398260" y="185683"/>
                  </a:lnTo>
                  <a:lnTo>
                    <a:pt x="397957" y="186409"/>
                  </a:lnTo>
                  <a:lnTo>
                    <a:pt x="397231" y="187226"/>
                  </a:lnTo>
                  <a:lnTo>
                    <a:pt x="398502" y="187619"/>
                  </a:lnTo>
                  <a:lnTo>
                    <a:pt x="399712" y="187408"/>
                  </a:lnTo>
                  <a:lnTo>
                    <a:pt x="402102" y="186258"/>
                  </a:lnTo>
                  <a:lnTo>
                    <a:pt x="401194" y="188981"/>
                  </a:lnTo>
                  <a:lnTo>
                    <a:pt x="400680" y="189828"/>
                  </a:lnTo>
                  <a:lnTo>
                    <a:pt x="401436" y="189586"/>
                  </a:lnTo>
                  <a:lnTo>
                    <a:pt x="406488" y="188981"/>
                  </a:lnTo>
                  <a:lnTo>
                    <a:pt x="408697" y="189193"/>
                  </a:lnTo>
                  <a:lnTo>
                    <a:pt x="409786" y="189041"/>
                  </a:lnTo>
                  <a:lnTo>
                    <a:pt x="411873" y="187831"/>
                  </a:lnTo>
                  <a:lnTo>
                    <a:pt x="415594" y="184201"/>
                  </a:lnTo>
                  <a:lnTo>
                    <a:pt x="417772" y="183142"/>
                  </a:lnTo>
                  <a:lnTo>
                    <a:pt x="421130" y="183324"/>
                  </a:lnTo>
                  <a:lnTo>
                    <a:pt x="424125" y="184897"/>
                  </a:lnTo>
                  <a:lnTo>
                    <a:pt x="426817" y="187347"/>
                  </a:lnTo>
                  <a:lnTo>
                    <a:pt x="432474" y="194063"/>
                  </a:lnTo>
                  <a:lnTo>
                    <a:pt x="434289" y="195606"/>
                  </a:lnTo>
                  <a:lnTo>
                    <a:pt x="436316" y="196362"/>
                  </a:lnTo>
                  <a:lnTo>
                    <a:pt x="437315" y="196271"/>
                  </a:lnTo>
                  <a:lnTo>
                    <a:pt x="440279" y="195122"/>
                  </a:lnTo>
                  <a:lnTo>
                    <a:pt x="443032" y="194638"/>
                  </a:lnTo>
                  <a:lnTo>
                    <a:pt x="443910" y="194214"/>
                  </a:lnTo>
                  <a:lnTo>
                    <a:pt x="445573" y="192792"/>
                  </a:lnTo>
                  <a:lnTo>
                    <a:pt x="451684" y="186016"/>
                  </a:lnTo>
                  <a:lnTo>
                    <a:pt x="453197" y="185290"/>
                  </a:lnTo>
                  <a:lnTo>
                    <a:pt x="454770" y="185290"/>
                  </a:lnTo>
                  <a:lnTo>
                    <a:pt x="456373" y="186077"/>
                  </a:lnTo>
                  <a:lnTo>
                    <a:pt x="461939" y="190705"/>
                  </a:lnTo>
                  <a:lnTo>
                    <a:pt x="464178" y="191673"/>
                  </a:lnTo>
                  <a:lnTo>
                    <a:pt x="466114" y="192036"/>
                  </a:lnTo>
                  <a:lnTo>
                    <a:pt x="468322" y="192036"/>
                  </a:lnTo>
                  <a:lnTo>
                    <a:pt x="470470" y="191673"/>
                  </a:lnTo>
                  <a:lnTo>
                    <a:pt x="472255" y="190645"/>
                  </a:lnTo>
                  <a:lnTo>
                    <a:pt x="472921" y="189283"/>
                  </a:lnTo>
                  <a:lnTo>
                    <a:pt x="472981" y="187619"/>
                  </a:lnTo>
                  <a:lnTo>
                    <a:pt x="473223" y="185986"/>
                  </a:lnTo>
                  <a:lnTo>
                    <a:pt x="474312" y="184715"/>
                  </a:lnTo>
                  <a:lnTo>
                    <a:pt x="476793" y="184231"/>
                  </a:lnTo>
                  <a:lnTo>
                    <a:pt x="479213" y="185109"/>
                  </a:lnTo>
                  <a:lnTo>
                    <a:pt x="483781" y="188134"/>
                  </a:lnTo>
                  <a:lnTo>
                    <a:pt x="485293" y="188739"/>
                  </a:lnTo>
                  <a:lnTo>
                    <a:pt x="492402" y="189314"/>
                  </a:lnTo>
                  <a:lnTo>
                    <a:pt x="494338" y="190131"/>
                  </a:lnTo>
                  <a:lnTo>
                    <a:pt x="496063" y="191492"/>
                  </a:lnTo>
                  <a:lnTo>
                    <a:pt x="498332" y="193730"/>
                  </a:lnTo>
                  <a:lnTo>
                    <a:pt x="498332" y="193730"/>
                  </a:lnTo>
                  <a:lnTo>
                    <a:pt x="499784" y="195152"/>
                  </a:lnTo>
                  <a:lnTo>
                    <a:pt x="501357" y="196090"/>
                  </a:lnTo>
                  <a:lnTo>
                    <a:pt x="502264" y="196634"/>
                  </a:lnTo>
                  <a:lnTo>
                    <a:pt x="504926" y="197542"/>
                  </a:lnTo>
                  <a:lnTo>
                    <a:pt x="507347" y="197633"/>
                  </a:lnTo>
                  <a:lnTo>
                    <a:pt x="507135" y="195788"/>
                  </a:lnTo>
                  <a:lnTo>
                    <a:pt x="506651" y="194184"/>
                  </a:lnTo>
                  <a:lnTo>
                    <a:pt x="506651" y="193276"/>
                  </a:lnTo>
                  <a:lnTo>
                    <a:pt x="506712" y="193004"/>
                  </a:lnTo>
                  <a:lnTo>
                    <a:pt x="508194" y="192429"/>
                  </a:lnTo>
                  <a:lnTo>
                    <a:pt x="509010" y="192490"/>
                  </a:lnTo>
                  <a:lnTo>
                    <a:pt x="510614" y="192853"/>
                  </a:lnTo>
                  <a:lnTo>
                    <a:pt x="511431" y="192853"/>
                  </a:lnTo>
                  <a:lnTo>
                    <a:pt x="512096" y="192641"/>
                  </a:lnTo>
                  <a:lnTo>
                    <a:pt x="513518" y="191855"/>
                  </a:lnTo>
                  <a:lnTo>
                    <a:pt x="514184" y="191764"/>
                  </a:lnTo>
                  <a:lnTo>
                    <a:pt x="514940" y="192066"/>
                  </a:lnTo>
                  <a:lnTo>
                    <a:pt x="515394" y="192672"/>
                  </a:lnTo>
                  <a:lnTo>
                    <a:pt x="516089" y="194396"/>
                  </a:lnTo>
                  <a:lnTo>
                    <a:pt x="516664" y="195425"/>
                  </a:lnTo>
                  <a:lnTo>
                    <a:pt x="517360" y="196302"/>
                  </a:lnTo>
                  <a:lnTo>
                    <a:pt x="518207" y="196665"/>
                  </a:lnTo>
                  <a:lnTo>
                    <a:pt x="519145" y="196181"/>
                  </a:lnTo>
                  <a:lnTo>
                    <a:pt x="519447" y="195545"/>
                  </a:lnTo>
                  <a:lnTo>
                    <a:pt x="519659" y="194759"/>
                  </a:lnTo>
                  <a:lnTo>
                    <a:pt x="519931" y="193972"/>
                  </a:lnTo>
                  <a:lnTo>
                    <a:pt x="520476" y="193458"/>
                  </a:lnTo>
                  <a:lnTo>
                    <a:pt x="521141" y="193398"/>
                  </a:lnTo>
                  <a:lnTo>
                    <a:pt x="521746" y="193730"/>
                  </a:lnTo>
                  <a:lnTo>
                    <a:pt x="522231" y="194335"/>
                  </a:lnTo>
                  <a:lnTo>
                    <a:pt x="525982" y="201384"/>
                  </a:lnTo>
                  <a:lnTo>
                    <a:pt x="527191" y="202745"/>
                  </a:lnTo>
                  <a:lnTo>
                    <a:pt x="528371" y="203199"/>
                  </a:lnTo>
                  <a:lnTo>
                    <a:pt x="531185" y="203441"/>
                  </a:lnTo>
                  <a:lnTo>
                    <a:pt x="531881" y="203683"/>
                  </a:lnTo>
                  <a:lnTo>
                    <a:pt x="532274" y="204046"/>
                  </a:lnTo>
                  <a:lnTo>
                    <a:pt x="532546" y="204590"/>
                  </a:lnTo>
                  <a:lnTo>
                    <a:pt x="532848" y="205377"/>
                  </a:lnTo>
                  <a:lnTo>
                    <a:pt x="532848" y="206345"/>
                  </a:lnTo>
                  <a:lnTo>
                    <a:pt x="532970" y="206708"/>
                  </a:lnTo>
                  <a:lnTo>
                    <a:pt x="533182" y="207071"/>
                  </a:lnTo>
                  <a:lnTo>
                    <a:pt x="533696" y="207737"/>
                  </a:lnTo>
                  <a:lnTo>
                    <a:pt x="533847" y="208191"/>
                  </a:lnTo>
                  <a:lnTo>
                    <a:pt x="533545" y="209491"/>
                  </a:lnTo>
                  <a:lnTo>
                    <a:pt x="531366" y="211034"/>
                  </a:lnTo>
                  <a:lnTo>
                    <a:pt x="530640" y="212305"/>
                  </a:lnTo>
                  <a:lnTo>
                    <a:pt x="531729" y="216056"/>
                  </a:lnTo>
                  <a:lnTo>
                    <a:pt x="535178" y="219444"/>
                  </a:lnTo>
                  <a:lnTo>
                    <a:pt x="537628" y="220926"/>
                  </a:lnTo>
                  <a:lnTo>
                    <a:pt x="537628" y="220926"/>
                  </a:lnTo>
                  <a:lnTo>
                    <a:pt x="539292" y="221924"/>
                  </a:lnTo>
                  <a:lnTo>
                    <a:pt x="542408" y="222862"/>
                  </a:lnTo>
                  <a:lnTo>
                    <a:pt x="553995" y="222590"/>
                  </a:lnTo>
                  <a:lnTo>
                    <a:pt x="555084" y="222287"/>
                  </a:lnTo>
                  <a:lnTo>
                    <a:pt x="552935" y="218506"/>
                  </a:lnTo>
                  <a:lnTo>
                    <a:pt x="552663" y="215874"/>
                  </a:lnTo>
                  <a:lnTo>
                    <a:pt x="555356" y="214483"/>
                  </a:lnTo>
                  <a:lnTo>
                    <a:pt x="556717" y="214876"/>
                  </a:lnTo>
                  <a:lnTo>
                    <a:pt x="558744" y="216903"/>
                  </a:lnTo>
                  <a:lnTo>
                    <a:pt x="560226" y="217084"/>
                  </a:lnTo>
                  <a:lnTo>
                    <a:pt x="561436" y="216419"/>
                  </a:lnTo>
                  <a:lnTo>
                    <a:pt x="562374" y="215300"/>
                  </a:lnTo>
                  <a:lnTo>
                    <a:pt x="563947" y="212819"/>
                  </a:lnTo>
                  <a:lnTo>
                    <a:pt x="564885" y="212274"/>
                  </a:lnTo>
                  <a:lnTo>
                    <a:pt x="566035" y="211821"/>
                  </a:lnTo>
                  <a:lnTo>
                    <a:pt x="566761" y="210883"/>
                  </a:lnTo>
                  <a:lnTo>
                    <a:pt x="566367" y="208886"/>
                  </a:lnTo>
                  <a:lnTo>
                    <a:pt x="565460" y="207948"/>
                  </a:lnTo>
                  <a:lnTo>
                    <a:pt x="563403" y="208674"/>
                  </a:lnTo>
                  <a:lnTo>
                    <a:pt x="562314" y="207767"/>
                  </a:lnTo>
                  <a:lnTo>
                    <a:pt x="562102" y="206436"/>
                  </a:lnTo>
                  <a:lnTo>
                    <a:pt x="562465" y="204833"/>
                  </a:lnTo>
                  <a:lnTo>
                    <a:pt x="562919" y="203260"/>
                  </a:lnTo>
                  <a:lnTo>
                    <a:pt x="563160" y="202019"/>
                  </a:lnTo>
                  <a:lnTo>
                    <a:pt x="563040" y="200658"/>
                  </a:lnTo>
                  <a:lnTo>
                    <a:pt x="562193" y="196816"/>
                  </a:lnTo>
                  <a:lnTo>
                    <a:pt x="561830" y="193670"/>
                  </a:lnTo>
                  <a:lnTo>
                    <a:pt x="561527" y="192429"/>
                  </a:lnTo>
                  <a:lnTo>
                    <a:pt x="560741" y="190796"/>
                  </a:lnTo>
                  <a:lnTo>
                    <a:pt x="560015" y="189949"/>
                  </a:lnTo>
                  <a:lnTo>
                    <a:pt x="559016" y="189011"/>
                  </a:lnTo>
                  <a:lnTo>
                    <a:pt x="558229" y="188013"/>
                  </a:lnTo>
                  <a:lnTo>
                    <a:pt x="558078" y="186833"/>
                  </a:lnTo>
                  <a:lnTo>
                    <a:pt x="559591" y="185593"/>
                  </a:lnTo>
                  <a:lnTo>
                    <a:pt x="565218" y="186107"/>
                  </a:lnTo>
                  <a:lnTo>
                    <a:pt x="567396" y="185683"/>
                  </a:lnTo>
                  <a:lnTo>
                    <a:pt x="567789" y="183596"/>
                  </a:lnTo>
                  <a:lnTo>
                    <a:pt x="566488" y="181115"/>
                  </a:lnTo>
                  <a:lnTo>
                    <a:pt x="565762" y="179179"/>
                  </a:lnTo>
                  <a:lnTo>
                    <a:pt x="568001" y="178695"/>
                  </a:lnTo>
                  <a:lnTo>
                    <a:pt x="569180" y="179270"/>
                  </a:lnTo>
                  <a:lnTo>
                    <a:pt x="571056" y="181781"/>
                  </a:lnTo>
                  <a:lnTo>
                    <a:pt x="572145" y="182779"/>
                  </a:lnTo>
                  <a:lnTo>
                    <a:pt x="574081" y="183445"/>
                  </a:lnTo>
                  <a:lnTo>
                    <a:pt x="576229" y="183596"/>
                  </a:lnTo>
                  <a:lnTo>
                    <a:pt x="580434" y="183082"/>
                  </a:lnTo>
                  <a:lnTo>
                    <a:pt x="580948" y="182749"/>
                  </a:lnTo>
                  <a:lnTo>
                    <a:pt x="581251" y="182174"/>
                  </a:lnTo>
                  <a:lnTo>
                    <a:pt x="581614" y="181599"/>
                  </a:lnTo>
                  <a:lnTo>
                    <a:pt x="582340" y="181297"/>
                  </a:lnTo>
                  <a:lnTo>
                    <a:pt x="582824" y="181539"/>
                  </a:lnTo>
                  <a:lnTo>
                    <a:pt x="583610" y="182688"/>
                  </a:lnTo>
                  <a:lnTo>
                    <a:pt x="584125" y="183021"/>
                  </a:lnTo>
                  <a:lnTo>
                    <a:pt x="592837" y="182658"/>
                  </a:lnTo>
                  <a:lnTo>
                    <a:pt x="593170" y="182356"/>
                  </a:lnTo>
                  <a:lnTo>
                    <a:pt x="594320" y="181297"/>
                  </a:lnTo>
                  <a:lnTo>
                    <a:pt x="594561" y="178211"/>
                  </a:lnTo>
                  <a:lnTo>
                    <a:pt x="593503" y="175579"/>
                  </a:lnTo>
                  <a:close/>
                </a:path>
              </a:pathLst>
            </a:custGeom>
            <a:solidFill>
              <a:srgbClr val="96A3AC"/>
            </a:solidFill>
            <a:ln w="3175" cap="rnd">
              <a:solidFill>
                <a:schemeClr val="bg1"/>
              </a:solidFill>
              <a:prstDash val="solid"/>
              <a:round/>
            </a:ln>
          </p:spPr>
          <p:txBody>
            <a:bodyPr rtlCol="0" anchor="ctr"/>
            <a:lstStyle/>
            <a:p>
              <a:endParaRPr lang="en-ID"/>
            </a:p>
          </p:txBody>
        </p:sp>
        <p:sp>
          <p:nvSpPr>
            <p:cNvPr id="60" name="Freeform: Shape 59">
              <a:extLst>
                <a:ext uri="{FF2B5EF4-FFF2-40B4-BE49-F238E27FC236}">
                  <a16:creationId xmlns:a16="http://schemas.microsoft.com/office/drawing/2014/main" id="{CEEA9BB2-F4A7-755B-EA29-237BAB3D45FF}"/>
                </a:ext>
              </a:extLst>
            </p:cNvPr>
            <p:cNvSpPr/>
            <p:nvPr/>
          </p:nvSpPr>
          <p:spPr>
            <a:xfrm>
              <a:off x="9904647" y="4661557"/>
              <a:ext cx="489516" cy="292091"/>
            </a:xfrm>
            <a:custGeom>
              <a:avLst/>
              <a:gdLst>
                <a:gd name="connsiteX0" fmla="*/ 629683 w 629774"/>
                <a:gd name="connsiteY0" fmla="*/ 86549 h 375783"/>
                <a:gd name="connsiteX1" fmla="*/ 629018 w 629774"/>
                <a:gd name="connsiteY1" fmla="*/ 85128 h 375783"/>
                <a:gd name="connsiteX2" fmla="*/ 627989 w 629774"/>
                <a:gd name="connsiteY2" fmla="*/ 83615 h 375783"/>
                <a:gd name="connsiteX3" fmla="*/ 626961 w 629774"/>
                <a:gd name="connsiteY3" fmla="*/ 81376 h 375783"/>
                <a:gd name="connsiteX4" fmla="*/ 626719 w 629774"/>
                <a:gd name="connsiteY4" fmla="*/ 79743 h 375783"/>
                <a:gd name="connsiteX5" fmla="*/ 627022 w 629774"/>
                <a:gd name="connsiteY5" fmla="*/ 64254 h 375783"/>
                <a:gd name="connsiteX6" fmla="*/ 627263 w 629774"/>
                <a:gd name="connsiteY6" fmla="*/ 62500 h 375783"/>
                <a:gd name="connsiteX7" fmla="*/ 612773 w 629774"/>
                <a:gd name="connsiteY7" fmla="*/ 63256 h 375783"/>
                <a:gd name="connsiteX8" fmla="*/ 591325 w 629774"/>
                <a:gd name="connsiteY8" fmla="*/ 59837 h 375783"/>
                <a:gd name="connsiteX9" fmla="*/ 570542 w 629774"/>
                <a:gd name="connsiteY9" fmla="*/ 51125 h 375783"/>
                <a:gd name="connsiteX10" fmla="*/ 567154 w 629774"/>
                <a:gd name="connsiteY10" fmla="*/ 48674 h 375783"/>
                <a:gd name="connsiteX11" fmla="*/ 562586 w 629774"/>
                <a:gd name="connsiteY11" fmla="*/ 33942 h 375783"/>
                <a:gd name="connsiteX12" fmla="*/ 560226 w 629774"/>
                <a:gd name="connsiteY12" fmla="*/ 30221 h 375783"/>
                <a:gd name="connsiteX13" fmla="*/ 560226 w 629774"/>
                <a:gd name="connsiteY13" fmla="*/ 30221 h 375783"/>
                <a:gd name="connsiteX14" fmla="*/ 554599 w 629774"/>
                <a:gd name="connsiteY14" fmla="*/ 30826 h 375783"/>
                <a:gd name="connsiteX15" fmla="*/ 547641 w 629774"/>
                <a:gd name="connsiteY15" fmla="*/ 34456 h 375783"/>
                <a:gd name="connsiteX16" fmla="*/ 541047 w 629774"/>
                <a:gd name="connsiteY16" fmla="*/ 35939 h 375783"/>
                <a:gd name="connsiteX17" fmla="*/ 537114 w 629774"/>
                <a:gd name="connsiteY17" fmla="*/ 31008 h 375783"/>
                <a:gd name="connsiteX18" fmla="*/ 536449 w 629774"/>
                <a:gd name="connsiteY18" fmla="*/ 30191 h 375783"/>
                <a:gd name="connsiteX19" fmla="*/ 534482 w 629774"/>
                <a:gd name="connsiteY19" fmla="*/ 26319 h 375783"/>
                <a:gd name="connsiteX20" fmla="*/ 532153 w 629774"/>
                <a:gd name="connsiteY20" fmla="*/ 25562 h 375783"/>
                <a:gd name="connsiteX21" fmla="*/ 526224 w 629774"/>
                <a:gd name="connsiteY21" fmla="*/ 27287 h 375783"/>
                <a:gd name="connsiteX22" fmla="*/ 507044 w 629774"/>
                <a:gd name="connsiteY22" fmla="*/ 27438 h 375783"/>
                <a:gd name="connsiteX23" fmla="*/ 505955 w 629774"/>
                <a:gd name="connsiteY23" fmla="*/ 26712 h 375783"/>
                <a:gd name="connsiteX24" fmla="*/ 503989 w 629774"/>
                <a:gd name="connsiteY24" fmla="*/ 23566 h 375783"/>
                <a:gd name="connsiteX25" fmla="*/ 502809 w 629774"/>
                <a:gd name="connsiteY25" fmla="*/ 22567 h 375783"/>
                <a:gd name="connsiteX26" fmla="*/ 497152 w 629774"/>
                <a:gd name="connsiteY26" fmla="*/ 20057 h 375783"/>
                <a:gd name="connsiteX27" fmla="*/ 495034 w 629774"/>
                <a:gd name="connsiteY27" fmla="*/ 17848 h 375783"/>
                <a:gd name="connsiteX28" fmla="*/ 495518 w 629774"/>
                <a:gd name="connsiteY28" fmla="*/ 14944 h 375783"/>
                <a:gd name="connsiteX29" fmla="*/ 493855 w 629774"/>
                <a:gd name="connsiteY29" fmla="*/ 13765 h 375783"/>
                <a:gd name="connsiteX30" fmla="*/ 493703 w 629774"/>
                <a:gd name="connsiteY30" fmla="*/ 13674 h 375783"/>
                <a:gd name="connsiteX31" fmla="*/ 491253 w 629774"/>
                <a:gd name="connsiteY31" fmla="*/ 13855 h 375783"/>
                <a:gd name="connsiteX32" fmla="*/ 489105 w 629774"/>
                <a:gd name="connsiteY32" fmla="*/ 12766 h 375783"/>
                <a:gd name="connsiteX33" fmla="*/ 478517 w 629774"/>
                <a:gd name="connsiteY33" fmla="*/ 10800 h 375783"/>
                <a:gd name="connsiteX34" fmla="*/ 471196 w 629774"/>
                <a:gd name="connsiteY34" fmla="*/ 6625 h 375783"/>
                <a:gd name="connsiteX35" fmla="*/ 468594 w 629774"/>
                <a:gd name="connsiteY35" fmla="*/ 8137 h 375783"/>
                <a:gd name="connsiteX36" fmla="*/ 456766 w 629774"/>
                <a:gd name="connsiteY36" fmla="*/ 9257 h 375783"/>
                <a:gd name="connsiteX37" fmla="*/ 447237 w 629774"/>
                <a:gd name="connsiteY37" fmla="*/ 14491 h 375783"/>
                <a:gd name="connsiteX38" fmla="*/ 443637 w 629774"/>
                <a:gd name="connsiteY38" fmla="*/ 15489 h 375783"/>
                <a:gd name="connsiteX39" fmla="*/ 439099 w 629774"/>
                <a:gd name="connsiteY39" fmla="*/ 15489 h 375783"/>
                <a:gd name="connsiteX40" fmla="*/ 437950 w 629774"/>
                <a:gd name="connsiteY40" fmla="*/ 15761 h 375783"/>
                <a:gd name="connsiteX41" fmla="*/ 435953 w 629774"/>
                <a:gd name="connsiteY41" fmla="*/ 16910 h 375783"/>
                <a:gd name="connsiteX42" fmla="*/ 434985 w 629774"/>
                <a:gd name="connsiteY42" fmla="*/ 17153 h 375783"/>
                <a:gd name="connsiteX43" fmla="*/ 432989 w 629774"/>
                <a:gd name="connsiteY43" fmla="*/ 17395 h 375783"/>
                <a:gd name="connsiteX44" fmla="*/ 429601 w 629774"/>
                <a:gd name="connsiteY44" fmla="*/ 18484 h 375783"/>
                <a:gd name="connsiteX45" fmla="*/ 409634 w 629774"/>
                <a:gd name="connsiteY45" fmla="*/ 21176 h 375783"/>
                <a:gd name="connsiteX46" fmla="*/ 401255 w 629774"/>
                <a:gd name="connsiteY46" fmla="*/ 22326 h 375783"/>
                <a:gd name="connsiteX47" fmla="*/ 399046 w 629774"/>
                <a:gd name="connsiteY47" fmla="*/ 22598 h 375783"/>
                <a:gd name="connsiteX48" fmla="*/ 391090 w 629774"/>
                <a:gd name="connsiteY48" fmla="*/ 25865 h 375783"/>
                <a:gd name="connsiteX49" fmla="*/ 382983 w 629774"/>
                <a:gd name="connsiteY49" fmla="*/ 27771 h 375783"/>
                <a:gd name="connsiteX50" fmla="*/ 379474 w 629774"/>
                <a:gd name="connsiteY50" fmla="*/ 29525 h 375783"/>
                <a:gd name="connsiteX51" fmla="*/ 375783 w 629774"/>
                <a:gd name="connsiteY51" fmla="*/ 33337 h 375783"/>
                <a:gd name="connsiteX52" fmla="*/ 373998 w 629774"/>
                <a:gd name="connsiteY52" fmla="*/ 35818 h 375783"/>
                <a:gd name="connsiteX53" fmla="*/ 373272 w 629774"/>
                <a:gd name="connsiteY53" fmla="*/ 37784 h 375783"/>
                <a:gd name="connsiteX54" fmla="*/ 361142 w 629774"/>
                <a:gd name="connsiteY54" fmla="*/ 45982 h 375783"/>
                <a:gd name="connsiteX55" fmla="*/ 360204 w 629774"/>
                <a:gd name="connsiteY55" fmla="*/ 47495 h 375783"/>
                <a:gd name="connsiteX56" fmla="*/ 359387 w 629774"/>
                <a:gd name="connsiteY56" fmla="*/ 49310 h 375783"/>
                <a:gd name="connsiteX57" fmla="*/ 354637 w 629774"/>
                <a:gd name="connsiteY57" fmla="*/ 54876 h 375783"/>
                <a:gd name="connsiteX58" fmla="*/ 351612 w 629774"/>
                <a:gd name="connsiteY58" fmla="*/ 56480 h 375783"/>
                <a:gd name="connsiteX59" fmla="*/ 348315 w 629774"/>
                <a:gd name="connsiteY59" fmla="*/ 59656 h 375783"/>
                <a:gd name="connsiteX60" fmla="*/ 348103 w 629774"/>
                <a:gd name="connsiteY60" fmla="*/ 60110 h 375783"/>
                <a:gd name="connsiteX61" fmla="*/ 345774 w 629774"/>
                <a:gd name="connsiteY61" fmla="*/ 63679 h 375783"/>
                <a:gd name="connsiteX62" fmla="*/ 341599 w 629774"/>
                <a:gd name="connsiteY62" fmla="*/ 65343 h 375783"/>
                <a:gd name="connsiteX63" fmla="*/ 340934 w 629774"/>
                <a:gd name="connsiteY63" fmla="*/ 65373 h 375783"/>
                <a:gd name="connsiteX64" fmla="*/ 334732 w 629774"/>
                <a:gd name="connsiteY64" fmla="*/ 65555 h 375783"/>
                <a:gd name="connsiteX65" fmla="*/ 332917 w 629774"/>
                <a:gd name="connsiteY65" fmla="*/ 66734 h 375783"/>
                <a:gd name="connsiteX66" fmla="*/ 331344 w 629774"/>
                <a:gd name="connsiteY66" fmla="*/ 68096 h 375783"/>
                <a:gd name="connsiteX67" fmla="*/ 329196 w 629774"/>
                <a:gd name="connsiteY67" fmla="*/ 69336 h 375783"/>
                <a:gd name="connsiteX68" fmla="*/ 326927 w 629774"/>
                <a:gd name="connsiteY68" fmla="*/ 70213 h 375783"/>
                <a:gd name="connsiteX69" fmla="*/ 325021 w 629774"/>
                <a:gd name="connsiteY69" fmla="*/ 70667 h 375783"/>
                <a:gd name="connsiteX70" fmla="*/ 323176 w 629774"/>
                <a:gd name="connsiteY70" fmla="*/ 71545 h 375783"/>
                <a:gd name="connsiteX71" fmla="*/ 320907 w 629774"/>
                <a:gd name="connsiteY71" fmla="*/ 71756 h 375783"/>
                <a:gd name="connsiteX72" fmla="*/ 316369 w 629774"/>
                <a:gd name="connsiteY72" fmla="*/ 71514 h 375783"/>
                <a:gd name="connsiteX73" fmla="*/ 315704 w 629774"/>
                <a:gd name="connsiteY73" fmla="*/ 71636 h 375783"/>
                <a:gd name="connsiteX74" fmla="*/ 314191 w 629774"/>
                <a:gd name="connsiteY74" fmla="*/ 71877 h 375783"/>
                <a:gd name="connsiteX75" fmla="*/ 310047 w 629774"/>
                <a:gd name="connsiteY75" fmla="*/ 73571 h 375783"/>
                <a:gd name="connsiteX76" fmla="*/ 307717 w 629774"/>
                <a:gd name="connsiteY76" fmla="*/ 74146 h 375783"/>
                <a:gd name="connsiteX77" fmla="*/ 303361 w 629774"/>
                <a:gd name="connsiteY77" fmla="*/ 73602 h 375783"/>
                <a:gd name="connsiteX78" fmla="*/ 299671 w 629774"/>
                <a:gd name="connsiteY78" fmla="*/ 71636 h 375783"/>
                <a:gd name="connsiteX79" fmla="*/ 296222 w 629774"/>
                <a:gd name="connsiteY79" fmla="*/ 69155 h 375783"/>
                <a:gd name="connsiteX80" fmla="*/ 295889 w 629774"/>
                <a:gd name="connsiteY80" fmla="*/ 68973 h 375783"/>
                <a:gd name="connsiteX81" fmla="*/ 292561 w 629774"/>
                <a:gd name="connsiteY81" fmla="*/ 67158 h 375783"/>
                <a:gd name="connsiteX82" fmla="*/ 288417 w 629774"/>
                <a:gd name="connsiteY82" fmla="*/ 66251 h 375783"/>
                <a:gd name="connsiteX83" fmla="*/ 275379 w 629774"/>
                <a:gd name="connsiteY83" fmla="*/ 65343 h 375783"/>
                <a:gd name="connsiteX84" fmla="*/ 263520 w 629774"/>
                <a:gd name="connsiteY84" fmla="*/ 61440 h 375783"/>
                <a:gd name="connsiteX85" fmla="*/ 242253 w 629774"/>
                <a:gd name="connsiteY85" fmla="*/ 62802 h 375783"/>
                <a:gd name="connsiteX86" fmla="*/ 237534 w 629774"/>
                <a:gd name="connsiteY86" fmla="*/ 62167 h 375783"/>
                <a:gd name="connsiteX87" fmla="*/ 233117 w 629774"/>
                <a:gd name="connsiteY87" fmla="*/ 60654 h 375783"/>
                <a:gd name="connsiteX88" fmla="*/ 216872 w 629774"/>
                <a:gd name="connsiteY88" fmla="*/ 55057 h 375783"/>
                <a:gd name="connsiteX89" fmla="*/ 213484 w 629774"/>
                <a:gd name="connsiteY89" fmla="*/ 54694 h 375783"/>
                <a:gd name="connsiteX90" fmla="*/ 209915 w 629774"/>
                <a:gd name="connsiteY90" fmla="*/ 55723 h 375783"/>
                <a:gd name="connsiteX91" fmla="*/ 204318 w 629774"/>
                <a:gd name="connsiteY91" fmla="*/ 59595 h 375783"/>
                <a:gd name="connsiteX92" fmla="*/ 202594 w 629774"/>
                <a:gd name="connsiteY92" fmla="*/ 60110 h 375783"/>
                <a:gd name="connsiteX93" fmla="*/ 200416 w 629774"/>
                <a:gd name="connsiteY93" fmla="*/ 60200 h 375783"/>
                <a:gd name="connsiteX94" fmla="*/ 182567 w 629774"/>
                <a:gd name="connsiteY94" fmla="*/ 60987 h 375783"/>
                <a:gd name="connsiteX95" fmla="*/ 181599 w 629774"/>
                <a:gd name="connsiteY95" fmla="*/ 60775 h 375783"/>
                <a:gd name="connsiteX96" fmla="*/ 146417 w 629774"/>
                <a:gd name="connsiteY96" fmla="*/ 52638 h 375783"/>
                <a:gd name="connsiteX97" fmla="*/ 140669 w 629774"/>
                <a:gd name="connsiteY97" fmla="*/ 49522 h 375783"/>
                <a:gd name="connsiteX98" fmla="*/ 138431 w 629774"/>
                <a:gd name="connsiteY98" fmla="*/ 49128 h 375783"/>
                <a:gd name="connsiteX99" fmla="*/ 129899 w 629774"/>
                <a:gd name="connsiteY99" fmla="*/ 50883 h 375783"/>
                <a:gd name="connsiteX100" fmla="*/ 128387 w 629774"/>
                <a:gd name="connsiteY100" fmla="*/ 50641 h 375783"/>
                <a:gd name="connsiteX101" fmla="*/ 125543 w 629774"/>
                <a:gd name="connsiteY101" fmla="*/ 50187 h 375783"/>
                <a:gd name="connsiteX102" fmla="*/ 114683 w 629774"/>
                <a:gd name="connsiteY102" fmla="*/ 44681 h 375783"/>
                <a:gd name="connsiteX103" fmla="*/ 98620 w 629774"/>
                <a:gd name="connsiteY103" fmla="*/ 43925 h 375783"/>
                <a:gd name="connsiteX104" fmla="*/ 89484 w 629774"/>
                <a:gd name="connsiteY104" fmla="*/ 45105 h 375783"/>
                <a:gd name="connsiteX105" fmla="*/ 85732 w 629774"/>
                <a:gd name="connsiteY105" fmla="*/ 46981 h 375783"/>
                <a:gd name="connsiteX106" fmla="*/ 82193 w 629774"/>
                <a:gd name="connsiteY106" fmla="*/ 47646 h 375783"/>
                <a:gd name="connsiteX107" fmla="*/ 79168 w 629774"/>
                <a:gd name="connsiteY107" fmla="*/ 48856 h 375783"/>
                <a:gd name="connsiteX108" fmla="*/ 71181 w 629774"/>
                <a:gd name="connsiteY108" fmla="*/ 49522 h 375783"/>
                <a:gd name="connsiteX109" fmla="*/ 57810 w 629774"/>
                <a:gd name="connsiteY109" fmla="*/ 50611 h 375783"/>
                <a:gd name="connsiteX110" fmla="*/ 54725 w 629774"/>
                <a:gd name="connsiteY110" fmla="*/ 49945 h 375783"/>
                <a:gd name="connsiteX111" fmla="*/ 52184 w 629774"/>
                <a:gd name="connsiteY111" fmla="*/ 47888 h 375783"/>
                <a:gd name="connsiteX112" fmla="*/ 50913 w 629774"/>
                <a:gd name="connsiteY112" fmla="*/ 45468 h 375783"/>
                <a:gd name="connsiteX113" fmla="*/ 50852 w 629774"/>
                <a:gd name="connsiteY113" fmla="*/ 42594 h 375783"/>
                <a:gd name="connsiteX114" fmla="*/ 53303 w 629774"/>
                <a:gd name="connsiteY114" fmla="*/ 32974 h 375783"/>
                <a:gd name="connsiteX115" fmla="*/ 54422 w 629774"/>
                <a:gd name="connsiteY115" fmla="*/ 30070 h 375783"/>
                <a:gd name="connsiteX116" fmla="*/ 56419 w 629774"/>
                <a:gd name="connsiteY116" fmla="*/ 28860 h 375783"/>
                <a:gd name="connsiteX117" fmla="*/ 58506 w 629774"/>
                <a:gd name="connsiteY117" fmla="*/ 28587 h 375783"/>
                <a:gd name="connsiteX118" fmla="*/ 62499 w 629774"/>
                <a:gd name="connsiteY118" fmla="*/ 27378 h 375783"/>
                <a:gd name="connsiteX119" fmla="*/ 64708 w 629774"/>
                <a:gd name="connsiteY119" fmla="*/ 27105 h 375783"/>
                <a:gd name="connsiteX120" fmla="*/ 68217 w 629774"/>
                <a:gd name="connsiteY120" fmla="*/ 25320 h 375783"/>
                <a:gd name="connsiteX121" fmla="*/ 69941 w 629774"/>
                <a:gd name="connsiteY121" fmla="*/ 21388 h 375783"/>
                <a:gd name="connsiteX122" fmla="*/ 69003 w 629774"/>
                <a:gd name="connsiteY122" fmla="*/ 17425 h 375783"/>
                <a:gd name="connsiteX123" fmla="*/ 66734 w 629774"/>
                <a:gd name="connsiteY123" fmla="*/ 16487 h 375783"/>
                <a:gd name="connsiteX124" fmla="*/ 64708 w 629774"/>
                <a:gd name="connsiteY124" fmla="*/ 15640 h 375783"/>
                <a:gd name="connsiteX125" fmla="*/ 60140 w 629774"/>
                <a:gd name="connsiteY125" fmla="*/ 15065 h 375783"/>
                <a:gd name="connsiteX126" fmla="*/ 56509 w 629774"/>
                <a:gd name="connsiteY126" fmla="*/ 13583 h 375783"/>
                <a:gd name="connsiteX127" fmla="*/ 34880 w 629774"/>
                <a:gd name="connsiteY127" fmla="*/ 0 h 375783"/>
                <a:gd name="connsiteX128" fmla="*/ 30554 w 629774"/>
                <a:gd name="connsiteY128" fmla="*/ 1845 h 375783"/>
                <a:gd name="connsiteX129" fmla="*/ 29676 w 629774"/>
                <a:gd name="connsiteY129" fmla="*/ 2723 h 375783"/>
                <a:gd name="connsiteX130" fmla="*/ 28134 w 629774"/>
                <a:gd name="connsiteY130" fmla="*/ 5022 h 375783"/>
                <a:gd name="connsiteX131" fmla="*/ 26531 w 629774"/>
                <a:gd name="connsiteY131" fmla="*/ 6776 h 375783"/>
                <a:gd name="connsiteX132" fmla="*/ 26258 w 629774"/>
                <a:gd name="connsiteY132" fmla="*/ 6928 h 375783"/>
                <a:gd name="connsiteX133" fmla="*/ 26137 w 629774"/>
                <a:gd name="connsiteY133" fmla="*/ 7714 h 375783"/>
                <a:gd name="connsiteX134" fmla="*/ 26258 w 629774"/>
                <a:gd name="connsiteY134" fmla="*/ 8410 h 375783"/>
                <a:gd name="connsiteX135" fmla="*/ 26470 w 629774"/>
                <a:gd name="connsiteY135" fmla="*/ 8803 h 375783"/>
                <a:gd name="connsiteX136" fmla="*/ 26591 w 629774"/>
                <a:gd name="connsiteY136" fmla="*/ 8803 h 375783"/>
                <a:gd name="connsiteX137" fmla="*/ 25562 w 629774"/>
                <a:gd name="connsiteY137" fmla="*/ 12615 h 375783"/>
                <a:gd name="connsiteX138" fmla="*/ 25381 w 629774"/>
                <a:gd name="connsiteY138" fmla="*/ 14067 h 375783"/>
                <a:gd name="connsiteX139" fmla="*/ 25471 w 629774"/>
                <a:gd name="connsiteY139" fmla="*/ 15337 h 375783"/>
                <a:gd name="connsiteX140" fmla="*/ 26107 w 629774"/>
                <a:gd name="connsiteY140" fmla="*/ 18060 h 375783"/>
                <a:gd name="connsiteX141" fmla="*/ 26137 w 629774"/>
                <a:gd name="connsiteY141" fmla="*/ 19179 h 375783"/>
                <a:gd name="connsiteX142" fmla="*/ 24927 w 629774"/>
                <a:gd name="connsiteY142" fmla="*/ 21176 h 375783"/>
                <a:gd name="connsiteX143" fmla="*/ 23172 w 629774"/>
                <a:gd name="connsiteY143" fmla="*/ 21478 h 375783"/>
                <a:gd name="connsiteX144" fmla="*/ 21085 w 629774"/>
                <a:gd name="connsiteY144" fmla="*/ 21357 h 375783"/>
                <a:gd name="connsiteX145" fmla="*/ 19028 w 629774"/>
                <a:gd name="connsiteY145" fmla="*/ 22023 h 375783"/>
                <a:gd name="connsiteX146" fmla="*/ 17878 w 629774"/>
                <a:gd name="connsiteY146" fmla="*/ 23626 h 375783"/>
                <a:gd name="connsiteX147" fmla="*/ 17092 w 629774"/>
                <a:gd name="connsiteY147" fmla="*/ 25472 h 375783"/>
                <a:gd name="connsiteX148" fmla="*/ 15972 w 629774"/>
                <a:gd name="connsiteY148" fmla="*/ 26803 h 375783"/>
                <a:gd name="connsiteX149" fmla="*/ 13734 w 629774"/>
                <a:gd name="connsiteY149" fmla="*/ 26894 h 375783"/>
                <a:gd name="connsiteX150" fmla="*/ 12161 w 629774"/>
                <a:gd name="connsiteY150" fmla="*/ 27105 h 375783"/>
                <a:gd name="connsiteX151" fmla="*/ 8985 w 629774"/>
                <a:gd name="connsiteY151" fmla="*/ 27589 h 375783"/>
                <a:gd name="connsiteX152" fmla="*/ 6716 w 629774"/>
                <a:gd name="connsiteY152" fmla="*/ 28497 h 375783"/>
                <a:gd name="connsiteX153" fmla="*/ 5475 w 629774"/>
                <a:gd name="connsiteY153" fmla="*/ 30221 h 375783"/>
                <a:gd name="connsiteX154" fmla="*/ 5264 w 629774"/>
                <a:gd name="connsiteY154" fmla="*/ 31825 h 375783"/>
                <a:gd name="connsiteX155" fmla="*/ 5203 w 629774"/>
                <a:gd name="connsiteY155" fmla="*/ 35545 h 375783"/>
                <a:gd name="connsiteX156" fmla="*/ 4961 w 629774"/>
                <a:gd name="connsiteY156" fmla="*/ 37542 h 375783"/>
                <a:gd name="connsiteX157" fmla="*/ 4719 w 629774"/>
                <a:gd name="connsiteY157" fmla="*/ 38117 h 375783"/>
                <a:gd name="connsiteX158" fmla="*/ 3721 w 629774"/>
                <a:gd name="connsiteY158" fmla="*/ 39811 h 375783"/>
                <a:gd name="connsiteX159" fmla="*/ 3418 w 629774"/>
                <a:gd name="connsiteY159" fmla="*/ 40476 h 375783"/>
                <a:gd name="connsiteX160" fmla="*/ 3206 w 629774"/>
                <a:gd name="connsiteY160" fmla="*/ 44288 h 375783"/>
                <a:gd name="connsiteX161" fmla="*/ 2269 w 629774"/>
                <a:gd name="connsiteY161" fmla="*/ 48251 h 375783"/>
                <a:gd name="connsiteX162" fmla="*/ 968 w 629774"/>
                <a:gd name="connsiteY162" fmla="*/ 51186 h 375783"/>
                <a:gd name="connsiteX163" fmla="*/ 453 w 629774"/>
                <a:gd name="connsiteY163" fmla="*/ 53968 h 375783"/>
                <a:gd name="connsiteX164" fmla="*/ 1754 w 629774"/>
                <a:gd name="connsiteY164" fmla="*/ 57417 h 375783"/>
                <a:gd name="connsiteX165" fmla="*/ 4386 w 629774"/>
                <a:gd name="connsiteY165" fmla="*/ 60321 h 375783"/>
                <a:gd name="connsiteX166" fmla="*/ 4477 w 629774"/>
                <a:gd name="connsiteY166" fmla="*/ 61320 h 375783"/>
                <a:gd name="connsiteX167" fmla="*/ 4114 w 629774"/>
                <a:gd name="connsiteY167" fmla="*/ 63437 h 375783"/>
                <a:gd name="connsiteX168" fmla="*/ 4114 w 629774"/>
                <a:gd name="connsiteY168" fmla="*/ 64496 h 375783"/>
                <a:gd name="connsiteX169" fmla="*/ 4568 w 629774"/>
                <a:gd name="connsiteY169" fmla="*/ 66190 h 375783"/>
                <a:gd name="connsiteX170" fmla="*/ 5203 w 629774"/>
                <a:gd name="connsiteY170" fmla="*/ 67824 h 375783"/>
                <a:gd name="connsiteX171" fmla="*/ 6020 w 629774"/>
                <a:gd name="connsiteY171" fmla="*/ 69397 h 375783"/>
                <a:gd name="connsiteX172" fmla="*/ 6927 w 629774"/>
                <a:gd name="connsiteY172" fmla="*/ 70758 h 375783"/>
                <a:gd name="connsiteX173" fmla="*/ 8198 w 629774"/>
                <a:gd name="connsiteY173" fmla="*/ 71817 h 375783"/>
                <a:gd name="connsiteX174" fmla="*/ 11163 w 629774"/>
                <a:gd name="connsiteY174" fmla="*/ 73329 h 375783"/>
                <a:gd name="connsiteX175" fmla="*/ 12191 w 629774"/>
                <a:gd name="connsiteY175" fmla="*/ 74267 h 375783"/>
                <a:gd name="connsiteX176" fmla="*/ 12857 w 629774"/>
                <a:gd name="connsiteY176" fmla="*/ 75931 h 375783"/>
                <a:gd name="connsiteX177" fmla="*/ 12947 w 629774"/>
                <a:gd name="connsiteY177" fmla="*/ 78865 h 375783"/>
                <a:gd name="connsiteX178" fmla="*/ 13734 w 629774"/>
                <a:gd name="connsiteY178" fmla="*/ 80438 h 375783"/>
                <a:gd name="connsiteX179" fmla="*/ 13764 w 629774"/>
                <a:gd name="connsiteY179" fmla="*/ 80529 h 375783"/>
                <a:gd name="connsiteX180" fmla="*/ 13794 w 629774"/>
                <a:gd name="connsiteY180" fmla="*/ 80590 h 375783"/>
                <a:gd name="connsiteX181" fmla="*/ 13764 w 629774"/>
                <a:gd name="connsiteY181" fmla="*/ 80650 h 375783"/>
                <a:gd name="connsiteX182" fmla="*/ 13734 w 629774"/>
                <a:gd name="connsiteY182" fmla="*/ 80711 h 375783"/>
                <a:gd name="connsiteX183" fmla="*/ 13401 w 629774"/>
                <a:gd name="connsiteY183" fmla="*/ 81164 h 375783"/>
                <a:gd name="connsiteX184" fmla="*/ 13280 w 629774"/>
                <a:gd name="connsiteY184" fmla="*/ 81618 h 375783"/>
                <a:gd name="connsiteX185" fmla="*/ 13401 w 629774"/>
                <a:gd name="connsiteY185" fmla="*/ 82102 h 375783"/>
                <a:gd name="connsiteX186" fmla="*/ 13734 w 629774"/>
                <a:gd name="connsiteY186" fmla="*/ 82556 h 375783"/>
                <a:gd name="connsiteX187" fmla="*/ 13855 w 629774"/>
                <a:gd name="connsiteY187" fmla="*/ 82828 h 375783"/>
                <a:gd name="connsiteX188" fmla="*/ 13885 w 629774"/>
                <a:gd name="connsiteY188" fmla="*/ 83161 h 375783"/>
                <a:gd name="connsiteX189" fmla="*/ 13855 w 629774"/>
                <a:gd name="connsiteY189" fmla="*/ 83494 h 375783"/>
                <a:gd name="connsiteX190" fmla="*/ 13734 w 629774"/>
                <a:gd name="connsiteY190" fmla="*/ 83827 h 375783"/>
                <a:gd name="connsiteX191" fmla="*/ 13431 w 629774"/>
                <a:gd name="connsiteY191" fmla="*/ 84462 h 375783"/>
                <a:gd name="connsiteX192" fmla="*/ 13341 w 629774"/>
                <a:gd name="connsiteY192" fmla="*/ 85097 h 375783"/>
                <a:gd name="connsiteX193" fmla="*/ 13431 w 629774"/>
                <a:gd name="connsiteY193" fmla="*/ 85702 h 375783"/>
                <a:gd name="connsiteX194" fmla="*/ 14642 w 629774"/>
                <a:gd name="connsiteY194" fmla="*/ 88062 h 375783"/>
                <a:gd name="connsiteX195" fmla="*/ 16547 w 629774"/>
                <a:gd name="connsiteY195" fmla="*/ 94082 h 375783"/>
                <a:gd name="connsiteX196" fmla="*/ 17485 w 629774"/>
                <a:gd name="connsiteY196" fmla="*/ 96532 h 375783"/>
                <a:gd name="connsiteX197" fmla="*/ 18877 w 629774"/>
                <a:gd name="connsiteY197" fmla="*/ 97712 h 375783"/>
                <a:gd name="connsiteX198" fmla="*/ 22204 w 629774"/>
                <a:gd name="connsiteY198" fmla="*/ 99195 h 375783"/>
                <a:gd name="connsiteX199" fmla="*/ 22900 w 629774"/>
                <a:gd name="connsiteY199" fmla="*/ 99860 h 375783"/>
                <a:gd name="connsiteX200" fmla="*/ 24322 w 629774"/>
                <a:gd name="connsiteY200" fmla="*/ 101584 h 375783"/>
                <a:gd name="connsiteX201" fmla="*/ 25290 w 629774"/>
                <a:gd name="connsiteY201" fmla="*/ 102250 h 375783"/>
                <a:gd name="connsiteX202" fmla="*/ 26349 w 629774"/>
                <a:gd name="connsiteY202" fmla="*/ 102492 h 375783"/>
                <a:gd name="connsiteX203" fmla="*/ 28527 w 629774"/>
                <a:gd name="connsiteY203" fmla="*/ 102371 h 375783"/>
                <a:gd name="connsiteX204" fmla="*/ 29465 w 629774"/>
                <a:gd name="connsiteY204" fmla="*/ 102613 h 375783"/>
                <a:gd name="connsiteX205" fmla="*/ 30221 w 629774"/>
                <a:gd name="connsiteY205" fmla="*/ 103369 h 375783"/>
                <a:gd name="connsiteX206" fmla="*/ 31340 w 629774"/>
                <a:gd name="connsiteY206" fmla="*/ 105547 h 375783"/>
                <a:gd name="connsiteX207" fmla="*/ 31582 w 629774"/>
                <a:gd name="connsiteY207" fmla="*/ 105789 h 375783"/>
                <a:gd name="connsiteX208" fmla="*/ 32157 w 629774"/>
                <a:gd name="connsiteY208" fmla="*/ 106364 h 375783"/>
                <a:gd name="connsiteX209" fmla="*/ 33125 w 629774"/>
                <a:gd name="connsiteY209" fmla="*/ 106697 h 375783"/>
                <a:gd name="connsiteX210" fmla="*/ 35031 w 629774"/>
                <a:gd name="connsiteY210" fmla="*/ 106606 h 375783"/>
                <a:gd name="connsiteX211" fmla="*/ 36029 w 629774"/>
                <a:gd name="connsiteY211" fmla="*/ 106727 h 375783"/>
                <a:gd name="connsiteX212" fmla="*/ 37663 w 629774"/>
                <a:gd name="connsiteY212" fmla="*/ 107423 h 375783"/>
                <a:gd name="connsiteX213" fmla="*/ 38177 w 629774"/>
                <a:gd name="connsiteY213" fmla="*/ 107725 h 375783"/>
                <a:gd name="connsiteX214" fmla="*/ 39024 w 629774"/>
                <a:gd name="connsiteY214" fmla="*/ 108300 h 375783"/>
                <a:gd name="connsiteX215" fmla="*/ 46254 w 629774"/>
                <a:gd name="connsiteY215" fmla="*/ 114986 h 375783"/>
                <a:gd name="connsiteX216" fmla="*/ 47495 w 629774"/>
                <a:gd name="connsiteY216" fmla="*/ 116680 h 375783"/>
                <a:gd name="connsiteX217" fmla="*/ 47858 w 629774"/>
                <a:gd name="connsiteY217" fmla="*/ 117678 h 375783"/>
                <a:gd name="connsiteX218" fmla="*/ 48190 w 629774"/>
                <a:gd name="connsiteY218" fmla="*/ 120008 h 375783"/>
                <a:gd name="connsiteX219" fmla="*/ 48493 w 629774"/>
                <a:gd name="connsiteY219" fmla="*/ 121006 h 375783"/>
                <a:gd name="connsiteX220" fmla="*/ 49128 w 629774"/>
                <a:gd name="connsiteY220" fmla="*/ 121883 h 375783"/>
                <a:gd name="connsiteX221" fmla="*/ 51548 w 629774"/>
                <a:gd name="connsiteY221" fmla="*/ 124122 h 375783"/>
                <a:gd name="connsiteX222" fmla="*/ 54210 w 629774"/>
                <a:gd name="connsiteY222" fmla="*/ 127449 h 375783"/>
                <a:gd name="connsiteX223" fmla="*/ 55632 w 629774"/>
                <a:gd name="connsiteY223" fmla="*/ 128750 h 375783"/>
                <a:gd name="connsiteX224" fmla="*/ 57387 w 629774"/>
                <a:gd name="connsiteY224" fmla="*/ 129779 h 375783"/>
                <a:gd name="connsiteX225" fmla="*/ 62348 w 629774"/>
                <a:gd name="connsiteY225" fmla="*/ 130777 h 375783"/>
                <a:gd name="connsiteX226" fmla="*/ 64042 w 629774"/>
                <a:gd name="connsiteY226" fmla="*/ 131442 h 375783"/>
                <a:gd name="connsiteX227" fmla="*/ 64193 w 629774"/>
                <a:gd name="connsiteY227" fmla="*/ 132925 h 375783"/>
                <a:gd name="connsiteX228" fmla="*/ 64345 w 629774"/>
                <a:gd name="connsiteY228" fmla="*/ 134528 h 375783"/>
                <a:gd name="connsiteX229" fmla="*/ 63286 w 629774"/>
                <a:gd name="connsiteY229" fmla="*/ 138763 h 375783"/>
                <a:gd name="connsiteX230" fmla="*/ 61440 w 629774"/>
                <a:gd name="connsiteY230" fmla="*/ 142908 h 375783"/>
                <a:gd name="connsiteX231" fmla="*/ 59384 w 629774"/>
                <a:gd name="connsiteY231" fmla="*/ 145781 h 375783"/>
                <a:gd name="connsiteX232" fmla="*/ 58567 w 629774"/>
                <a:gd name="connsiteY232" fmla="*/ 146356 h 375783"/>
                <a:gd name="connsiteX233" fmla="*/ 56872 w 629774"/>
                <a:gd name="connsiteY233" fmla="*/ 147082 h 375783"/>
                <a:gd name="connsiteX234" fmla="*/ 56026 w 629774"/>
                <a:gd name="connsiteY234" fmla="*/ 147778 h 375783"/>
                <a:gd name="connsiteX235" fmla="*/ 55511 w 629774"/>
                <a:gd name="connsiteY235" fmla="*/ 148686 h 375783"/>
                <a:gd name="connsiteX236" fmla="*/ 54785 w 629774"/>
                <a:gd name="connsiteY236" fmla="*/ 150985 h 375783"/>
                <a:gd name="connsiteX237" fmla="*/ 54271 w 629774"/>
                <a:gd name="connsiteY237" fmla="*/ 151983 h 375783"/>
                <a:gd name="connsiteX238" fmla="*/ 50036 w 629774"/>
                <a:gd name="connsiteY238" fmla="*/ 155643 h 375783"/>
                <a:gd name="connsiteX239" fmla="*/ 48705 w 629774"/>
                <a:gd name="connsiteY239" fmla="*/ 157398 h 375783"/>
                <a:gd name="connsiteX240" fmla="*/ 48705 w 629774"/>
                <a:gd name="connsiteY240" fmla="*/ 157429 h 375783"/>
                <a:gd name="connsiteX241" fmla="*/ 48705 w 629774"/>
                <a:gd name="connsiteY241" fmla="*/ 157429 h 375783"/>
                <a:gd name="connsiteX242" fmla="*/ 48674 w 629774"/>
                <a:gd name="connsiteY242" fmla="*/ 157429 h 375783"/>
                <a:gd name="connsiteX243" fmla="*/ 47373 w 629774"/>
                <a:gd name="connsiteY243" fmla="*/ 157912 h 375783"/>
                <a:gd name="connsiteX244" fmla="*/ 44591 w 629774"/>
                <a:gd name="connsiteY244" fmla="*/ 158487 h 375783"/>
                <a:gd name="connsiteX245" fmla="*/ 43411 w 629774"/>
                <a:gd name="connsiteY245" fmla="*/ 159153 h 375783"/>
                <a:gd name="connsiteX246" fmla="*/ 42715 w 629774"/>
                <a:gd name="connsiteY246" fmla="*/ 160242 h 375783"/>
                <a:gd name="connsiteX247" fmla="*/ 42079 w 629774"/>
                <a:gd name="connsiteY247" fmla="*/ 161815 h 375783"/>
                <a:gd name="connsiteX248" fmla="*/ 40295 w 629774"/>
                <a:gd name="connsiteY248" fmla="*/ 167956 h 375783"/>
                <a:gd name="connsiteX249" fmla="*/ 39690 w 629774"/>
                <a:gd name="connsiteY249" fmla="*/ 169347 h 375783"/>
                <a:gd name="connsiteX250" fmla="*/ 39629 w 629774"/>
                <a:gd name="connsiteY250" fmla="*/ 169529 h 375783"/>
                <a:gd name="connsiteX251" fmla="*/ 38449 w 629774"/>
                <a:gd name="connsiteY251" fmla="*/ 170860 h 375783"/>
                <a:gd name="connsiteX252" fmla="*/ 35364 w 629774"/>
                <a:gd name="connsiteY252" fmla="*/ 172040 h 375783"/>
                <a:gd name="connsiteX253" fmla="*/ 32308 w 629774"/>
                <a:gd name="connsiteY253" fmla="*/ 172736 h 375783"/>
                <a:gd name="connsiteX254" fmla="*/ 24745 w 629774"/>
                <a:gd name="connsiteY254" fmla="*/ 170860 h 375783"/>
                <a:gd name="connsiteX255" fmla="*/ 21993 w 629774"/>
                <a:gd name="connsiteY255" fmla="*/ 171193 h 375783"/>
                <a:gd name="connsiteX256" fmla="*/ 20631 w 629774"/>
                <a:gd name="connsiteY256" fmla="*/ 172070 h 375783"/>
                <a:gd name="connsiteX257" fmla="*/ 20087 w 629774"/>
                <a:gd name="connsiteY257" fmla="*/ 172766 h 375783"/>
                <a:gd name="connsiteX258" fmla="*/ 20057 w 629774"/>
                <a:gd name="connsiteY258" fmla="*/ 172796 h 375783"/>
                <a:gd name="connsiteX259" fmla="*/ 19361 w 629774"/>
                <a:gd name="connsiteY259" fmla="*/ 173189 h 375783"/>
                <a:gd name="connsiteX260" fmla="*/ 17576 w 629774"/>
                <a:gd name="connsiteY260" fmla="*/ 172948 h 375783"/>
                <a:gd name="connsiteX261" fmla="*/ 16215 w 629774"/>
                <a:gd name="connsiteY261" fmla="*/ 172978 h 375783"/>
                <a:gd name="connsiteX262" fmla="*/ 15307 w 629774"/>
                <a:gd name="connsiteY262" fmla="*/ 173704 h 375783"/>
                <a:gd name="connsiteX263" fmla="*/ 13734 w 629774"/>
                <a:gd name="connsiteY263" fmla="*/ 175912 h 375783"/>
                <a:gd name="connsiteX264" fmla="*/ 12675 w 629774"/>
                <a:gd name="connsiteY264" fmla="*/ 176759 h 375783"/>
                <a:gd name="connsiteX265" fmla="*/ 10104 w 629774"/>
                <a:gd name="connsiteY265" fmla="*/ 177999 h 375783"/>
                <a:gd name="connsiteX266" fmla="*/ 9226 w 629774"/>
                <a:gd name="connsiteY266" fmla="*/ 178725 h 375783"/>
                <a:gd name="connsiteX267" fmla="*/ 8591 w 629774"/>
                <a:gd name="connsiteY267" fmla="*/ 179633 h 375783"/>
                <a:gd name="connsiteX268" fmla="*/ 8289 w 629774"/>
                <a:gd name="connsiteY268" fmla="*/ 180087 h 375783"/>
                <a:gd name="connsiteX269" fmla="*/ 8137 w 629774"/>
                <a:gd name="connsiteY269" fmla="*/ 180571 h 375783"/>
                <a:gd name="connsiteX270" fmla="*/ 8470 w 629774"/>
                <a:gd name="connsiteY270" fmla="*/ 181024 h 375783"/>
                <a:gd name="connsiteX271" fmla="*/ 10890 w 629774"/>
                <a:gd name="connsiteY271" fmla="*/ 186379 h 375783"/>
                <a:gd name="connsiteX272" fmla="*/ 12221 w 629774"/>
                <a:gd name="connsiteY272" fmla="*/ 188255 h 375783"/>
                <a:gd name="connsiteX273" fmla="*/ 13734 w 629774"/>
                <a:gd name="connsiteY273" fmla="*/ 189344 h 375783"/>
                <a:gd name="connsiteX274" fmla="*/ 13825 w 629774"/>
                <a:gd name="connsiteY274" fmla="*/ 189737 h 375783"/>
                <a:gd name="connsiteX275" fmla="*/ 13855 w 629774"/>
                <a:gd name="connsiteY275" fmla="*/ 190100 h 375783"/>
                <a:gd name="connsiteX276" fmla="*/ 13825 w 629774"/>
                <a:gd name="connsiteY276" fmla="*/ 190493 h 375783"/>
                <a:gd name="connsiteX277" fmla="*/ 13734 w 629774"/>
                <a:gd name="connsiteY277" fmla="*/ 190886 h 375783"/>
                <a:gd name="connsiteX278" fmla="*/ 12373 w 629774"/>
                <a:gd name="connsiteY278" fmla="*/ 192066 h 375783"/>
                <a:gd name="connsiteX279" fmla="*/ 9771 w 629774"/>
                <a:gd name="connsiteY279" fmla="*/ 196665 h 375783"/>
                <a:gd name="connsiteX280" fmla="*/ 10467 w 629774"/>
                <a:gd name="connsiteY280" fmla="*/ 198358 h 375783"/>
                <a:gd name="connsiteX281" fmla="*/ 10013 w 629774"/>
                <a:gd name="connsiteY281" fmla="*/ 201474 h 375783"/>
                <a:gd name="connsiteX282" fmla="*/ 9680 w 629774"/>
                <a:gd name="connsiteY282" fmla="*/ 202775 h 375783"/>
                <a:gd name="connsiteX283" fmla="*/ 8440 w 629774"/>
                <a:gd name="connsiteY283" fmla="*/ 207797 h 375783"/>
                <a:gd name="connsiteX284" fmla="*/ 8077 w 629774"/>
                <a:gd name="connsiteY284" fmla="*/ 210308 h 375783"/>
                <a:gd name="connsiteX285" fmla="*/ 8531 w 629774"/>
                <a:gd name="connsiteY285" fmla="*/ 210489 h 375783"/>
                <a:gd name="connsiteX286" fmla="*/ 13734 w 629774"/>
                <a:gd name="connsiteY286" fmla="*/ 214967 h 375783"/>
                <a:gd name="connsiteX287" fmla="*/ 16820 w 629774"/>
                <a:gd name="connsiteY287" fmla="*/ 217024 h 375783"/>
                <a:gd name="connsiteX288" fmla="*/ 18090 w 629774"/>
                <a:gd name="connsiteY288" fmla="*/ 218476 h 375783"/>
                <a:gd name="connsiteX289" fmla="*/ 18847 w 629774"/>
                <a:gd name="connsiteY289" fmla="*/ 220231 h 375783"/>
                <a:gd name="connsiteX290" fmla="*/ 18847 w 629774"/>
                <a:gd name="connsiteY290" fmla="*/ 220261 h 375783"/>
                <a:gd name="connsiteX291" fmla="*/ 19270 w 629774"/>
                <a:gd name="connsiteY291" fmla="*/ 222136 h 375783"/>
                <a:gd name="connsiteX292" fmla="*/ 18937 w 629774"/>
                <a:gd name="connsiteY292" fmla="*/ 224738 h 375783"/>
                <a:gd name="connsiteX293" fmla="*/ 17546 w 629774"/>
                <a:gd name="connsiteY293" fmla="*/ 229306 h 375783"/>
                <a:gd name="connsiteX294" fmla="*/ 16487 w 629774"/>
                <a:gd name="connsiteY294" fmla="*/ 231333 h 375783"/>
                <a:gd name="connsiteX295" fmla="*/ 15337 w 629774"/>
                <a:gd name="connsiteY295" fmla="*/ 232028 h 375783"/>
                <a:gd name="connsiteX296" fmla="*/ 14097 w 629774"/>
                <a:gd name="connsiteY296" fmla="*/ 232301 h 375783"/>
                <a:gd name="connsiteX297" fmla="*/ 12554 w 629774"/>
                <a:gd name="connsiteY297" fmla="*/ 232966 h 375783"/>
                <a:gd name="connsiteX298" fmla="*/ 11012 w 629774"/>
                <a:gd name="connsiteY298" fmla="*/ 234842 h 375783"/>
                <a:gd name="connsiteX299" fmla="*/ 9408 w 629774"/>
                <a:gd name="connsiteY299" fmla="*/ 239410 h 375783"/>
                <a:gd name="connsiteX300" fmla="*/ 7926 w 629774"/>
                <a:gd name="connsiteY300" fmla="*/ 241195 h 375783"/>
                <a:gd name="connsiteX301" fmla="*/ 6111 w 629774"/>
                <a:gd name="connsiteY301" fmla="*/ 241739 h 375783"/>
                <a:gd name="connsiteX302" fmla="*/ 1936 w 629774"/>
                <a:gd name="connsiteY302" fmla="*/ 241800 h 375783"/>
                <a:gd name="connsiteX303" fmla="*/ 0 w 629774"/>
                <a:gd name="connsiteY303" fmla="*/ 242737 h 375783"/>
                <a:gd name="connsiteX304" fmla="*/ 9922 w 629774"/>
                <a:gd name="connsiteY304" fmla="*/ 255110 h 375783"/>
                <a:gd name="connsiteX305" fmla="*/ 13734 w 629774"/>
                <a:gd name="connsiteY305" fmla="*/ 257712 h 375783"/>
                <a:gd name="connsiteX306" fmla="*/ 15065 w 629774"/>
                <a:gd name="connsiteY306" fmla="*/ 261282 h 375783"/>
                <a:gd name="connsiteX307" fmla="*/ 16306 w 629774"/>
                <a:gd name="connsiteY307" fmla="*/ 263248 h 375783"/>
                <a:gd name="connsiteX308" fmla="*/ 16608 w 629774"/>
                <a:gd name="connsiteY308" fmla="*/ 263762 h 375783"/>
                <a:gd name="connsiteX309" fmla="*/ 18725 w 629774"/>
                <a:gd name="connsiteY309" fmla="*/ 265698 h 375783"/>
                <a:gd name="connsiteX310" fmla="*/ 27438 w 629774"/>
                <a:gd name="connsiteY310" fmla="*/ 271476 h 375783"/>
                <a:gd name="connsiteX311" fmla="*/ 28376 w 629774"/>
                <a:gd name="connsiteY311" fmla="*/ 271930 h 375783"/>
                <a:gd name="connsiteX312" fmla="*/ 33277 w 629774"/>
                <a:gd name="connsiteY312" fmla="*/ 274229 h 375783"/>
                <a:gd name="connsiteX313" fmla="*/ 36271 w 629774"/>
                <a:gd name="connsiteY313" fmla="*/ 274804 h 375783"/>
                <a:gd name="connsiteX314" fmla="*/ 36755 w 629774"/>
                <a:gd name="connsiteY314" fmla="*/ 275167 h 375783"/>
                <a:gd name="connsiteX315" fmla="*/ 37119 w 629774"/>
                <a:gd name="connsiteY315" fmla="*/ 275712 h 375783"/>
                <a:gd name="connsiteX316" fmla="*/ 37572 w 629774"/>
                <a:gd name="connsiteY316" fmla="*/ 276226 h 375783"/>
                <a:gd name="connsiteX317" fmla="*/ 38238 w 629774"/>
                <a:gd name="connsiteY317" fmla="*/ 276498 h 375783"/>
                <a:gd name="connsiteX318" fmla="*/ 42836 w 629774"/>
                <a:gd name="connsiteY318" fmla="*/ 276286 h 375783"/>
                <a:gd name="connsiteX319" fmla="*/ 43865 w 629774"/>
                <a:gd name="connsiteY319" fmla="*/ 276407 h 375783"/>
                <a:gd name="connsiteX320" fmla="*/ 44288 w 629774"/>
                <a:gd name="connsiteY320" fmla="*/ 276891 h 375783"/>
                <a:gd name="connsiteX321" fmla="*/ 44530 w 629774"/>
                <a:gd name="connsiteY321" fmla="*/ 277708 h 375783"/>
                <a:gd name="connsiteX322" fmla="*/ 44893 w 629774"/>
                <a:gd name="connsiteY322" fmla="*/ 278555 h 375783"/>
                <a:gd name="connsiteX323" fmla="*/ 45680 w 629774"/>
                <a:gd name="connsiteY323" fmla="*/ 279130 h 375783"/>
                <a:gd name="connsiteX324" fmla="*/ 46375 w 629774"/>
                <a:gd name="connsiteY324" fmla="*/ 279100 h 375783"/>
                <a:gd name="connsiteX325" fmla="*/ 47918 w 629774"/>
                <a:gd name="connsiteY325" fmla="*/ 278585 h 375783"/>
                <a:gd name="connsiteX326" fmla="*/ 48493 w 629774"/>
                <a:gd name="connsiteY326" fmla="*/ 278646 h 375783"/>
                <a:gd name="connsiteX327" fmla="*/ 49642 w 629774"/>
                <a:gd name="connsiteY327" fmla="*/ 279342 h 375783"/>
                <a:gd name="connsiteX328" fmla="*/ 50187 w 629774"/>
                <a:gd name="connsiteY328" fmla="*/ 279947 h 375783"/>
                <a:gd name="connsiteX329" fmla="*/ 50368 w 629774"/>
                <a:gd name="connsiteY329" fmla="*/ 280824 h 375783"/>
                <a:gd name="connsiteX330" fmla="*/ 50368 w 629774"/>
                <a:gd name="connsiteY330" fmla="*/ 280915 h 375783"/>
                <a:gd name="connsiteX331" fmla="*/ 50459 w 629774"/>
                <a:gd name="connsiteY331" fmla="*/ 282548 h 375783"/>
                <a:gd name="connsiteX332" fmla="*/ 50489 w 629774"/>
                <a:gd name="connsiteY332" fmla="*/ 282579 h 375783"/>
                <a:gd name="connsiteX333" fmla="*/ 51276 w 629774"/>
                <a:gd name="connsiteY333" fmla="*/ 283910 h 375783"/>
                <a:gd name="connsiteX334" fmla="*/ 51548 w 629774"/>
                <a:gd name="connsiteY334" fmla="*/ 285241 h 375783"/>
                <a:gd name="connsiteX335" fmla="*/ 51700 w 629774"/>
                <a:gd name="connsiteY335" fmla="*/ 288236 h 375783"/>
                <a:gd name="connsiteX336" fmla="*/ 52456 w 629774"/>
                <a:gd name="connsiteY336" fmla="*/ 291079 h 375783"/>
                <a:gd name="connsiteX337" fmla="*/ 53545 w 629774"/>
                <a:gd name="connsiteY337" fmla="*/ 293893 h 375783"/>
                <a:gd name="connsiteX338" fmla="*/ 53696 w 629774"/>
                <a:gd name="connsiteY338" fmla="*/ 294770 h 375783"/>
                <a:gd name="connsiteX339" fmla="*/ 53666 w 629774"/>
                <a:gd name="connsiteY339" fmla="*/ 296615 h 375783"/>
                <a:gd name="connsiteX340" fmla="*/ 53908 w 629774"/>
                <a:gd name="connsiteY340" fmla="*/ 297553 h 375783"/>
                <a:gd name="connsiteX341" fmla="*/ 54029 w 629774"/>
                <a:gd name="connsiteY341" fmla="*/ 297674 h 375783"/>
                <a:gd name="connsiteX342" fmla="*/ 54331 w 629774"/>
                <a:gd name="connsiteY342" fmla="*/ 297977 h 375783"/>
                <a:gd name="connsiteX343" fmla="*/ 55511 w 629774"/>
                <a:gd name="connsiteY343" fmla="*/ 298582 h 375783"/>
                <a:gd name="connsiteX344" fmla="*/ 55995 w 629774"/>
                <a:gd name="connsiteY344" fmla="*/ 299066 h 375783"/>
                <a:gd name="connsiteX345" fmla="*/ 56631 w 629774"/>
                <a:gd name="connsiteY345" fmla="*/ 300548 h 375783"/>
                <a:gd name="connsiteX346" fmla="*/ 57689 w 629774"/>
                <a:gd name="connsiteY346" fmla="*/ 304783 h 375783"/>
                <a:gd name="connsiteX347" fmla="*/ 59837 w 629774"/>
                <a:gd name="connsiteY347" fmla="*/ 309442 h 375783"/>
                <a:gd name="connsiteX348" fmla="*/ 60473 w 629774"/>
                <a:gd name="connsiteY348" fmla="*/ 310349 h 375783"/>
                <a:gd name="connsiteX349" fmla="*/ 61562 w 629774"/>
                <a:gd name="connsiteY349" fmla="*/ 310803 h 375783"/>
                <a:gd name="connsiteX350" fmla="*/ 63952 w 629774"/>
                <a:gd name="connsiteY350" fmla="*/ 310924 h 375783"/>
                <a:gd name="connsiteX351" fmla="*/ 65010 w 629774"/>
                <a:gd name="connsiteY351" fmla="*/ 311378 h 375783"/>
                <a:gd name="connsiteX352" fmla="*/ 66795 w 629774"/>
                <a:gd name="connsiteY352" fmla="*/ 313980 h 375783"/>
                <a:gd name="connsiteX353" fmla="*/ 66886 w 629774"/>
                <a:gd name="connsiteY353" fmla="*/ 316884 h 375783"/>
                <a:gd name="connsiteX354" fmla="*/ 65767 w 629774"/>
                <a:gd name="connsiteY354" fmla="*/ 319758 h 375783"/>
                <a:gd name="connsiteX355" fmla="*/ 64435 w 629774"/>
                <a:gd name="connsiteY355" fmla="*/ 321724 h 375783"/>
                <a:gd name="connsiteX356" fmla="*/ 63558 w 629774"/>
                <a:gd name="connsiteY356" fmla="*/ 323055 h 375783"/>
                <a:gd name="connsiteX357" fmla="*/ 62923 w 629774"/>
                <a:gd name="connsiteY357" fmla="*/ 324840 h 375783"/>
                <a:gd name="connsiteX358" fmla="*/ 62590 w 629774"/>
                <a:gd name="connsiteY358" fmla="*/ 325445 h 375783"/>
                <a:gd name="connsiteX359" fmla="*/ 62046 w 629774"/>
                <a:gd name="connsiteY359" fmla="*/ 325778 h 375783"/>
                <a:gd name="connsiteX360" fmla="*/ 60442 w 629774"/>
                <a:gd name="connsiteY360" fmla="*/ 326201 h 375783"/>
                <a:gd name="connsiteX361" fmla="*/ 59958 w 629774"/>
                <a:gd name="connsiteY361" fmla="*/ 326625 h 375783"/>
                <a:gd name="connsiteX362" fmla="*/ 59474 w 629774"/>
                <a:gd name="connsiteY362" fmla="*/ 328046 h 375783"/>
                <a:gd name="connsiteX363" fmla="*/ 59172 w 629774"/>
                <a:gd name="connsiteY363" fmla="*/ 329741 h 375783"/>
                <a:gd name="connsiteX364" fmla="*/ 59081 w 629774"/>
                <a:gd name="connsiteY364" fmla="*/ 331525 h 375783"/>
                <a:gd name="connsiteX365" fmla="*/ 59232 w 629774"/>
                <a:gd name="connsiteY365" fmla="*/ 333159 h 375783"/>
                <a:gd name="connsiteX366" fmla="*/ 59565 w 629774"/>
                <a:gd name="connsiteY366" fmla="*/ 333885 h 375783"/>
                <a:gd name="connsiteX367" fmla="*/ 60533 w 629774"/>
                <a:gd name="connsiteY367" fmla="*/ 335246 h 375783"/>
                <a:gd name="connsiteX368" fmla="*/ 60745 w 629774"/>
                <a:gd name="connsiteY368" fmla="*/ 336063 h 375783"/>
                <a:gd name="connsiteX369" fmla="*/ 60654 w 629774"/>
                <a:gd name="connsiteY369" fmla="*/ 336789 h 375783"/>
                <a:gd name="connsiteX370" fmla="*/ 60170 w 629774"/>
                <a:gd name="connsiteY370" fmla="*/ 338846 h 375783"/>
                <a:gd name="connsiteX371" fmla="*/ 60230 w 629774"/>
                <a:gd name="connsiteY371" fmla="*/ 340752 h 375783"/>
                <a:gd name="connsiteX372" fmla="*/ 60503 w 629774"/>
                <a:gd name="connsiteY372" fmla="*/ 349344 h 375783"/>
                <a:gd name="connsiteX373" fmla="*/ 60654 w 629774"/>
                <a:gd name="connsiteY373" fmla="*/ 349949 h 375783"/>
                <a:gd name="connsiteX374" fmla="*/ 61229 w 629774"/>
                <a:gd name="connsiteY374" fmla="*/ 351219 h 375783"/>
                <a:gd name="connsiteX375" fmla="*/ 61350 w 629774"/>
                <a:gd name="connsiteY375" fmla="*/ 351915 h 375783"/>
                <a:gd name="connsiteX376" fmla="*/ 61077 w 629774"/>
                <a:gd name="connsiteY376" fmla="*/ 352490 h 375783"/>
                <a:gd name="connsiteX377" fmla="*/ 59928 w 629774"/>
                <a:gd name="connsiteY377" fmla="*/ 353821 h 375783"/>
                <a:gd name="connsiteX378" fmla="*/ 59595 w 629774"/>
                <a:gd name="connsiteY378" fmla="*/ 354577 h 375783"/>
                <a:gd name="connsiteX379" fmla="*/ 59807 w 629774"/>
                <a:gd name="connsiteY379" fmla="*/ 357209 h 375783"/>
                <a:gd name="connsiteX380" fmla="*/ 60321 w 629774"/>
                <a:gd name="connsiteY380" fmla="*/ 359780 h 375783"/>
                <a:gd name="connsiteX381" fmla="*/ 59958 w 629774"/>
                <a:gd name="connsiteY381" fmla="*/ 362079 h 375783"/>
                <a:gd name="connsiteX382" fmla="*/ 57538 w 629774"/>
                <a:gd name="connsiteY382" fmla="*/ 363804 h 375783"/>
                <a:gd name="connsiteX383" fmla="*/ 77504 w 629774"/>
                <a:gd name="connsiteY383" fmla="*/ 366617 h 375783"/>
                <a:gd name="connsiteX384" fmla="*/ 81739 w 629774"/>
                <a:gd name="connsiteY384" fmla="*/ 366194 h 375783"/>
                <a:gd name="connsiteX385" fmla="*/ 84008 w 629774"/>
                <a:gd name="connsiteY385" fmla="*/ 365589 h 375783"/>
                <a:gd name="connsiteX386" fmla="*/ 85097 w 629774"/>
                <a:gd name="connsiteY386" fmla="*/ 364984 h 375783"/>
                <a:gd name="connsiteX387" fmla="*/ 86005 w 629774"/>
                <a:gd name="connsiteY387" fmla="*/ 364137 h 375783"/>
                <a:gd name="connsiteX388" fmla="*/ 86519 w 629774"/>
                <a:gd name="connsiteY388" fmla="*/ 362957 h 375783"/>
                <a:gd name="connsiteX389" fmla="*/ 86670 w 629774"/>
                <a:gd name="connsiteY389" fmla="*/ 360718 h 375783"/>
                <a:gd name="connsiteX390" fmla="*/ 87003 w 629774"/>
                <a:gd name="connsiteY390" fmla="*/ 359780 h 375783"/>
                <a:gd name="connsiteX391" fmla="*/ 88485 w 629774"/>
                <a:gd name="connsiteY391" fmla="*/ 358480 h 375783"/>
                <a:gd name="connsiteX392" fmla="*/ 90724 w 629774"/>
                <a:gd name="connsiteY392" fmla="*/ 357179 h 375783"/>
                <a:gd name="connsiteX393" fmla="*/ 93053 w 629774"/>
                <a:gd name="connsiteY393" fmla="*/ 356241 h 375783"/>
                <a:gd name="connsiteX394" fmla="*/ 94838 w 629774"/>
                <a:gd name="connsiteY394" fmla="*/ 356120 h 375783"/>
                <a:gd name="connsiteX395" fmla="*/ 96714 w 629774"/>
                <a:gd name="connsiteY395" fmla="*/ 357330 h 375783"/>
                <a:gd name="connsiteX396" fmla="*/ 97651 w 629774"/>
                <a:gd name="connsiteY396" fmla="*/ 358752 h 375783"/>
                <a:gd name="connsiteX397" fmla="*/ 98710 w 629774"/>
                <a:gd name="connsiteY397" fmla="*/ 359690 h 375783"/>
                <a:gd name="connsiteX398" fmla="*/ 100858 w 629774"/>
                <a:gd name="connsiteY398" fmla="*/ 359447 h 375783"/>
                <a:gd name="connsiteX399" fmla="*/ 102643 w 629774"/>
                <a:gd name="connsiteY399" fmla="*/ 358540 h 375783"/>
                <a:gd name="connsiteX400" fmla="*/ 105698 w 629774"/>
                <a:gd name="connsiteY400" fmla="*/ 356483 h 375783"/>
                <a:gd name="connsiteX401" fmla="*/ 107604 w 629774"/>
                <a:gd name="connsiteY401" fmla="*/ 355908 h 375783"/>
                <a:gd name="connsiteX402" fmla="*/ 117527 w 629774"/>
                <a:gd name="connsiteY402" fmla="*/ 356180 h 375783"/>
                <a:gd name="connsiteX403" fmla="*/ 124182 w 629774"/>
                <a:gd name="connsiteY403" fmla="*/ 359357 h 375783"/>
                <a:gd name="connsiteX404" fmla="*/ 127540 w 629774"/>
                <a:gd name="connsiteY404" fmla="*/ 359478 h 375783"/>
                <a:gd name="connsiteX405" fmla="*/ 128780 w 629774"/>
                <a:gd name="connsiteY405" fmla="*/ 358721 h 375783"/>
                <a:gd name="connsiteX406" fmla="*/ 129083 w 629774"/>
                <a:gd name="connsiteY406" fmla="*/ 358570 h 375783"/>
                <a:gd name="connsiteX407" fmla="*/ 131594 w 629774"/>
                <a:gd name="connsiteY407" fmla="*/ 356180 h 375783"/>
                <a:gd name="connsiteX408" fmla="*/ 133530 w 629774"/>
                <a:gd name="connsiteY408" fmla="*/ 355545 h 375783"/>
                <a:gd name="connsiteX409" fmla="*/ 136888 w 629774"/>
                <a:gd name="connsiteY409" fmla="*/ 355515 h 375783"/>
                <a:gd name="connsiteX410" fmla="*/ 140185 w 629774"/>
                <a:gd name="connsiteY410" fmla="*/ 356211 h 375783"/>
                <a:gd name="connsiteX411" fmla="*/ 141819 w 629774"/>
                <a:gd name="connsiteY411" fmla="*/ 355817 h 375783"/>
                <a:gd name="connsiteX412" fmla="*/ 144118 w 629774"/>
                <a:gd name="connsiteY412" fmla="*/ 352338 h 375783"/>
                <a:gd name="connsiteX413" fmla="*/ 145600 w 629774"/>
                <a:gd name="connsiteY413" fmla="*/ 351673 h 375783"/>
                <a:gd name="connsiteX414" fmla="*/ 147385 w 629774"/>
                <a:gd name="connsiteY414" fmla="*/ 351733 h 375783"/>
                <a:gd name="connsiteX415" fmla="*/ 149533 w 629774"/>
                <a:gd name="connsiteY415" fmla="*/ 351522 h 375783"/>
                <a:gd name="connsiteX416" fmla="*/ 151620 w 629774"/>
                <a:gd name="connsiteY416" fmla="*/ 351038 h 375783"/>
                <a:gd name="connsiteX417" fmla="*/ 153223 w 629774"/>
                <a:gd name="connsiteY417" fmla="*/ 350312 h 375783"/>
                <a:gd name="connsiteX418" fmla="*/ 155946 w 629774"/>
                <a:gd name="connsiteY418" fmla="*/ 347982 h 375783"/>
                <a:gd name="connsiteX419" fmla="*/ 156763 w 629774"/>
                <a:gd name="connsiteY419" fmla="*/ 348073 h 375783"/>
                <a:gd name="connsiteX420" fmla="*/ 161512 w 629774"/>
                <a:gd name="connsiteY420" fmla="*/ 351280 h 375783"/>
                <a:gd name="connsiteX421" fmla="*/ 162995 w 629774"/>
                <a:gd name="connsiteY421" fmla="*/ 351189 h 375783"/>
                <a:gd name="connsiteX422" fmla="*/ 164658 w 629774"/>
                <a:gd name="connsiteY422" fmla="*/ 349646 h 375783"/>
                <a:gd name="connsiteX423" fmla="*/ 165233 w 629774"/>
                <a:gd name="connsiteY423" fmla="*/ 349283 h 375783"/>
                <a:gd name="connsiteX424" fmla="*/ 165778 w 629774"/>
                <a:gd name="connsiteY424" fmla="*/ 349192 h 375783"/>
                <a:gd name="connsiteX425" fmla="*/ 166231 w 629774"/>
                <a:gd name="connsiteY425" fmla="*/ 348890 h 375783"/>
                <a:gd name="connsiteX426" fmla="*/ 166625 w 629774"/>
                <a:gd name="connsiteY426" fmla="*/ 348013 h 375783"/>
                <a:gd name="connsiteX427" fmla="*/ 168833 w 629774"/>
                <a:gd name="connsiteY427" fmla="*/ 349374 h 375783"/>
                <a:gd name="connsiteX428" fmla="*/ 170043 w 629774"/>
                <a:gd name="connsiteY428" fmla="*/ 349585 h 375783"/>
                <a:gd name="connsiteX429" fmla="*/ 171162 w 629774"/>
                <a:gd name="connsiteY429" fmla="*/ 349071 h 375783"/>
                <a:gd name="connsiteX430" fmla="*/ 171767 w 629774"/>
                <a:gd name="connsiteY430" fmla="*/ 348133 h 375783"/>
                <a:gd name="connsiteX431" fmla="*/ 171828 w 629774"/>
                <a:gd name="connsiteY431" fmla="*/ 347105 h 375783"/>
                <a:gd name="connsiteX432" fmla="*/ 171556 w 629774"/>
                <a:gd name="connsiteY432" fmla="*/ 344382 h 375783"/>
                <a:gd name="connsiteX433" fmla="*/ 171314 w 629774"/>
                <a:gd name="connsiteY433" fmla="*/ 340419 h 375783"/>
                <a:gd name="connsiteX434" fmla="*/ 174248 w 629774"/>
                <a:gd name="connsiteY434" fmla="*/ 339149 h 375783"/>
                <a:gd name="connsiteX435" fmla="*/ 178271 w 629774"/>
                <a:gd name="connsiteY435" fmla="*/ 339482 h 375783"/>
                <a:gd name="connsiteX436" fmla="*/ 181236 w 629774"/>
                <a:gd name="connsiteY436" fmla="*/ 340298 h 375783"/>
                <a:gd name="connsiteX437" fmla="*/ 182023 w 629774"/>
                <a:gd name="connsiteY437" fmla="*/ 340873 h 375783"/>
                <a:gd name="connsiteX438" fmla="*/ 182476 w 629774"/>
                <a:gd name="connsiteY438" fmla="*/ 341599 h 375783"/>
                <a:gd name="connsiteX439" fmla="*/ 182930 w 629774"/>
                <a:gd name="connsiteY439" fmla="*/ 342113 h 375783"/>
                <a:gd name="connsiteX440" fmla="*/ 183656 w 629774"/>
                <a:gd name="connsiteY440" fmla="*/ 342174 h 375783"/>
                <a:gd name="connsiteX441" fmla="*/ 183959 w 629774"/>
                <a:gd name="connsiteY441" fmla="*/ 341690 h 375783"/>
                <a:gd name="connsiteX442" fmla="*/ 184382 w 629774"/>
                <a:gd name="connsiteY442" fmla="*/ 339784 h 375783"/>
                <a:gd name="connsiteX443" fmla="*/ 184806 w 629774"/>
                <a:gd name="connsiteY443" fmla="*/ 338997 h 375783"/>
                <a:gd name="connsiteX444" fmla="*/ 186288 w 629774"/>
                <a:gd name="connsiteY444" fmla="*/ 337818 h 375783"/>
                <a:gd name="connsiteX445" fmla="*/ 186440 w 629774"/>
                <a:gd name="connsiteY445" fmla="*/ 337697 h 375783"/>
                <a:gd name="connsiteX446" fmla="*/ 188103 w 629774"/>
                <a:gd name="connsiteY446" fmla="*/ 336729 h 375783"/>
                <a:gd name="connsiteX447" fmla="*/ 190009 w 629774"/>
                <a:gd name="connsiteY447" fmla="*/ 335972 h 375783"/>
                <a:gd name="connsiteX448" fmla="*/ 191764 w 629774"/>
                <a:gd name="connsiteY448" fmla="*/ 335761 h 375783"/>
                <a:gd name="connsiteX449" fmla="*/ 193397 w 629774"/>
                <a:gd name="connsiteY449" fmla="*/ 337455 h 375783"/>
                <a:gd name="connsiteX450" fmla="*/ 195364 w 629774"/>
                <a:gd name="connsiteY450" fmla="*/ 338634 h 375783"/>
                <a:gd name="connsiteX451" fmla="*/ 195454 w 629774"/>
                <a:gd name="connsiteY451" fmla="*/ 339693 h 375783"/>
                <a:gd name="connsiteX452" fmla="*/ 195212 w 629774"/>
                <a:gd name="connsiteY452" fmla="*/ 340752 h 375783"/>
                <a:gd name="connsiteX453" fmla="*/ 195394 w 629774"/>
                <a:gd name="connsiteY453" fmla="*/ 341418 h 375783"/>
                <a:gd name="connsiteX454" fmla="*/ 196332 w 629774"/>
                <a:gd name="connsiteY454" fmla="*/ 341720 h 375783"/>
                <a:gd name="connsiteX455" fmla="*/ 197028 w 629774"/>
                <a:gd name="connsiteY455" fmla="*/ 341508 h 375783"/>
                <a:gd name="connsiteX456" fmla="*/ 197693 w 629774"/>
                <a:gd name="connsiteY456" fmla="*/ 341145 h 375783"/>
                <a:gd name="connsiteX457" fmla="*/ 198570 w 629774"/>
                <a:gd name="connsiteY457" fmla="*/ 341024 h 375783"/>
                <a:gd name="connsiteX458" fmla="*/ 201263 w 629774"/>
                <a:gd name="connsiteY458" fmla="*/ 341327 h 375783"/>
                <a:gd name="connsiteX459" fmla="*/ 202140 w 629774"/>
                <a:gd name="connsiteY459" fmla="*/ 341236 h 375783"/>
                <a:gd name="connsiteX460" fmla="*/ 205528 w 629774"/>
                <a:gd name="connsiteY460" fmla="*/ 340298 h 375783"/>
                <a:gd name="connsiteX461" fmla="*/ 207071 w 629774"/>
                <a:gd name="connsiteY461" fmla="*/ 340177 h 375783"/>
                <a:gd name="connsiteX462" fmla="*/ 209188 w 629774"/>
                <a:gd name="connsiteY462" fmla="*/ 340480 h 375783"/>
                <a:gd name="connsiteX463" fmla="*/ 210701 w 629774"/>
                <a:gd name="connsiteY463" fmla="*/ 340177 h 375783"/>
                <a:gd name="connsiteX464" fmla="*/ 212728 w 629774"/>
                <a:gd name="connsiteY464" fmla="*/ 337485 h 375783"/>
                <a:gd name="connsiteX465" fmla="*/ 214966 w 629774"/>
                <a:gd name="connsiteY465" fmla="*/ 337031 h 375783"/>
                <a:gd name="connsiteX466" fmla="*/ 217871 w 629774"/>
                <a:gd name="connsiteY466" fmla="*/ 336003 h 375783"/>
                <a:gd name="connsiteX467" fmla="*/ 219958 w 629774"/>
                <a:gd name="connsiteY467" fmla="*/ 337727 h 375783"/>
                <a:gd name="connsiteX468" fmla="*/ 221198 w 629774"/>
                <a:gd name="connsiteY468" fmla="*/ 340964 h 375783"/>
                <a:gd name="connsiteX469" fmla="*/ 221531 w 629774"/>
                <a:gd name="connsiteY469" fmla="*/ 344382 h 375783"/>
                <a:gd name="connsiteX470" fmla="*/ 221803 w 629774"/>
                <a:gd name="connsiteY470" fmla="*/ 345381 h 375783"/>
                <a:gd name="connsiteX471" fmla="*/ 222257 w 629774"/>
                <a:gd name="connsiteY471" fmla="*/ 345955 h 375783"/>
                <a:gd name="connsiteX472" fmla="*/ 222741 w 629774"/>
                <a:gd name="connsiteY472" fmla="*/ 346439 h 375783"/>
                <a:gd name="connsiteX473" fmla="*/ 223316 w 629774"/>
                <a:gd name="connsiteY473" fmla="*/ 347165 h 375783"/>
                <a:gd name="connsiteX474" fmla="*/ 223649 w 629774"/>
                <a:gd name="connsiteY474" fmla="*/ 347528 h 375783"/>
                <a:gd name="connsiteX475" fmla="*/ 224617 w 629774"/>
                <a:gd name="connsiteY475" fmla="*/ 348073 h 375783"/>
                <a:gd name="connsiteX476" fmla="*/ 225010 w 629774"/>
                <a:gd name="connsiteY476" fmla="*/ 348496 h 375783"/>
                <a:gd name="connsiteX477" fmla="*/ 225131 w 629774"/>
                <a:gd name="connsiteY477" fmla="*/ 349102 h 375783"/>
                <a:gd name="connsiteX478" fmla="*/ 224859 w 629774"/>
                <a:gd name="connsiteY478" fmla="*/ 350463 h 375783"/>
                <a:gd name="connsiteX479" fmla="*/ 224950 w 629774"/>
                <a:gd name="connsiteY479" fmla="*/ 350917 h 375783"/>
                <a:gd name="connsiteX480" fmla="*/ 226492 w 629774"/>
                <a:gd name="connsiteY480" fmla="*/ 352248 h 375783"/>
                <a:gd name="connsiteX481" fmla="*/ 227884 w 629774"/>
                <a:gd name="connsiteY481" fmla="*/ 352550 h 375783"/>
                <a:gd name="connsiteX482" fmla="*/ 231393 w 629774"/>
                <a:gd name="connsiteY482" fmla="*/ 352490 h 375783"/>
                <a:gd name="connsiteX483" fmla="*/ 230758 w 629774"/>
                <a:gd name="connsiteY483" fmla="*/ 353730 h 375783"/>
                <a:gd name="connsiteX484" fmla="*/ 233087 w 629774"/>
                <a:gd name="connsiteY484" fmla="*/ 353730 h 375783"/>
                <a:gd name="connsiteX485" fmla="*/ 235053 w 629774"/>
                <a:gd name="connsiteY485" fmla="*/ 354002 h 375783"/>
                <a:gd name="connsiteX486" fmla="*/ 236899 w 629774"/>
                <a:gd name="connsiteY486" fmla="*/ 354819 h 375783"/>
                <a:gd name="connsiteX487" fmla="*/ 238865 w 629774"/>
                <a:gd name="connsiteY487" fmla="*/ 356422 h 375783"/>
                <a:gd name="connsiteX488" fmla="*/ 242253 w 629774"/>
                <a:gd name="connsiteY488" fmla="*/ 360476 h 375783"/>
                <a:gd name="connsiteX489" fmla="*/ 244462 w 629774"/>
                <a:gd name="connsiteY489" fmla="*/ 362291 h 375783"/>
                <a:gd name="connsiteX490" fmla="*/ 246458 w 629774"/>
                <a:gd name="connsiteY490" fmla="*/ 362352 h 375783"/>
                <a:gd name="connsiteX491" fmla="*/ 247336 w 629774"/>
                <a:gd name="connsiteY491" fmla="*/ 360597 h 375783"/>
                <a:gd name="connsiteX492" fmla="*/ 247063 w 629774"/>
                <a:gd name="connsiteY492" fmla="*/ 358449 h 375783"/>
                <a:gd name="connsiteX493" fmla="*/ 247366 w 629774"/>
                <a:gd name="connsiteY493" fmla="*/ 356816 h 375783"/>
                <a:gd name="connsiteX494" fmla="*/ 251268 w 629774"/>
                <a:gd name="connsiteY494" fmla="*/ 356543 h 375783"/>
                <a:gd name="connsiteX495" fmla="*/ 253386 w 629774"/>
                <a:gd name="connsiteY495" fmla="*/ 355878 h 375783"/>
                <a:gd name="connsiteX496" fmla="*/ 254384 w 629774"/>
                <a:gd name="connsiteY496" fmla="*/ 355666 h 375783"/>
                <a:gd name="connsiteX497" fmla="*/ 255715 w 629774"/>
                <a:gd name="connsiteY497" fmla="*/ 355817 h 375783"/>
                <a:gd name="connsiteX498" fmla="*/ 258801 w 629774"/>
                <a:gd name="connsiteY498" fmla="*/ 357572 h 375783"/>
                <a:gd name="connsiteX499" fmla="*/ 275258 w 629774"/>
                <a:gd name="connsiteY499" fmla="*/ 364015 h 375783"/>
                <a:gd name="connsiteX500" fmla="*/ 276891 w 629774"/>
                <a:gd name="connsiteY500" fmla="*/ 363683 h 375783"/>
                <a:gd name="connsiteX501" fmla="*/ 277406 w 629774"/>
                <a:gd name="connsiteY501" fmla="*/ 363683 h 375783"/>
                <a:gd name="connsiteX502" fmla="*/ 277708 w 629774"/>
                <a:gd name="connsiteY502" fmla="*/ 364015 h 375783"/>
                <a:gd name="connsiteX503" fmla="*/ 278495 w 629774"/>
                <a:gd name="connsiteY503" fmla="*/ 365226 h 375783"/>
                <a:gd name="connsiteX504" fmla="*/ 278888 w 629774"/>
                <a:gd name="connsiteY504" fmla="*/ 365649 h 375783"/>
                <a:gd name="connsiteX505" fmla="*/ 282639 w 629774"/>
                <a:gd name="connsiteY505" fmla="*/ 367283 h 375783"/>
                <a:gd name="connsiteX506" fmla="*/ 283063 w 629774"/>
                <a:gd name="connsiteY506" fmla="*/ 367434 h 375783"/>
                <a:gd name="connsiteX507" fmla="*/ 284968 w 629774"/>
                <a:gd name="connsiteY507" fmla="*/ 368946 h 375783"/>
                <a:gd name="connsiteX508" fmla="*/ 289264 w 629774"/>
                <a:gd name="connsiteY508" fmla="*/ 374362 h 375783"/>
                <a:gd name="connsiteX509" fmla="*/ 291231 w 629774"/>
                <a:gd name="connsiteY509" fmla="*/ 375451 h 375783"/>
                <a:gd name="connsiteX510" fmla="*/ 293560 w 629774"/>
                <a:gd name="connsiteY510" fmla="*/ 375783 h 375783"/>
                <a:gd name="connsiteX511" fmla="*/ 295919 w 629774"/>
                <a:gd name="connsiteY511" fmla="*/ 375632 h 375783"/>
                <a:gd name="connsiteX512" fmla="*/ 312800 w 629774"/>
                <a:gd name="connsiteY512" fmla="*/ 370610 h 375783"/>
                <a:gd name="connsiteX513" fmla="*/ 315371 w 629774"/>
                <a:gd name="connsiteY513" fmla="*/ 370187 h 375783"/>
                <a:gd name="connsiteX514" fmla="*/ 316430 w 629774"/>
                <a:gd name="connsiteY514" fmla="*/ 370278 h 375783"/>
                <a:gd name="connsiteX515" fmla="*/ 317216 w 629774"/>
                <a:gd name="connsiteY515" fmla="*/ 370489 h 375783"/>
                <a:gd name="connsiteX516" fmla="*/ 318003 w 629774"/>
                <a:gd name="connsiteY516" fmla="*/ 370580 h 375783"/>
                <a:gd name="connsiteX517" fmla="*/ 318971 w 629774"/>
                <a:gd name="connsiteY517" fmla="*/ 370217 h 375783"/>
                <a:gd name="connsiteX518" fmla="*/ 319879 w 629774"/>
                <a:gd name="connsiteY518" fmla="*/ 369219 h 375783"/>
                <a:gd name="connsiteX519" fmla="*/ 320514 w 629774"/>
                <a:gd name="connsiteY519" fmla="*/ 367857 h 375783"/>
                <a:gd name="connsiteX520" fmla="*/ 321300 w 629774"/>
                <a:gd name="connsiteY520" fmla="*/ 366708 h 375783"/>
                <a:gd name="connsiteX521" fmla="*/ 322662 w 629774"/>
                <a:gd name="connsiteY521" fmla="*/ 366254 h 375783"/>
                <a:gd name="connsiteX522" fmla="*/ 331525 w 629774"/>
                <a:gd name="connsiteY522" fmla="*/ 366829 h 375783"/>
                <a:gd name="connsiteX523" fmla="*/ 332524 w 629774"/>
                <a:gd name="connsiteY523" fmla="*/ 367162 h 375783"/>
                <a:gd name="connsiteX524" fmla="*/ 334641 w 629774"/>
                <a:gd name="connsiteY524" fmla="*/ 368281 h 375783"/>
                <a:gd name="connsiteX525" fmla="*/ 335609 w 629774"/>
                <a:gd name="connsiteY525" fmla="*/ 368523 h 375783"/>
                <a:gd name="connsiteX526" fmla="*/ 336729 w 629774"/>
                <a:gd name="connsiteY526" fmla="*/ 368402 h 375783"/>
                <a:gd name="connsiteX527" fmla="*/ 337424 w 629774"/>
                <a:gd name="connsiteY527" fmla="*/ 367948 h 375783"/>
                <a:gd name="connsiteX528" fmla="*/ 338120 w 629774"/>
                <a:gd name="connsiteY528" fmla="*/ 367313 h 375783"/>
                <a:gd name="connsiteX529" fmla="*/ 339360 w 629774"/>
                <a:gd name="connsiteY529" fmla="*/ 366466 h 375783"/>
                <a:gd name="connsiteX530" fmla="*/ 340510 w 629774"/>
                <a:gd name="connsiteY530" fmla="*/ 366103 h 375783"/>
                <a:gd name="connsiteX531" fmla="*/ 343989 w 629774"/>
                <a:gd name="connsiteY531" fmla="*/ 365861 h 375783"/>
                <a:gd name="connsiteX532" fmla="*/ 347740 w 629774"/>
                <a:gd name="connsiteY532" fmla="*/ 363532 h 375783"/>
                <a:gd name="connsiteX533" fmla="*/ 348769 w 629774"/>
                <a:gd name="connsiteY533" fmla="*/ 363138 h 375783"/>
                <a:gd name="connsiteX534" fmla="*/ 351037 w 629774"/>
                <a:gd name="connsiteY534" fmla="*/ 363955 h 375783"/>
                <a:gd name="connsiteX535" fmla="*/ 353972 w 629774"/>
                <a:gd name="connsiteY535" fmla="*/ 366950 h 375783"/>
                <a:gd name="connsiteX536" fmla="*/ 355908 w 629774"/>
                <a:gd name="connsiteY536" fmla="*/ 367706 h 375783"/>
                <a:gd name="connsiteX537" fmla="*/ 357360 w 629774"/>
                <a:gd name="connsiteY537" fmla="*/ 367434 h 375783"/>
                <a:gd name="connsiteX538" fmla="*/ 359871 w 629774"/>
                <a:gd name="connsiteY538" fmla="*/ 366224 h 375783"/>
                <a:gd name="connsiteX539" fmla="*/ 361262 w 629774"/>
                <a:gd name="connsiteY539" fmla="*/ 366254 h 375783"/>
                <a:gd name="connsiteX540" fmla="*/ 362624 w 629774"/>
                <a:gd name="connsiteY540" fmla="*/ 366466 h 375783"/>
                <a:gd name="connsiteX541" fmla="*/ 363743 w 629774"/>
                <a:gd name="connsiteY541" fmla="*/ 366375 h 375783"/>
                <a:gd name="connsiteX542" fmla="*/ 366012 w 629774"/>
                <a:gd name="connsiteY542" fmla="*/ 365347 h 375783"/>
                <a:gd name="connsiteX543" fmla="*/ 368704 w 629774"/>
                <a:gd name="connsiteY543" fmla="*/ 363683 h 375783"/>
                <a:gd name="connsiteX544" fmla="*/ 370005 w 629774"/>
                <a:gd name="connsiteY544" fmla="*/ 363078 h 375783"/>
                <a:gd name="connsiteX545" fmla="*/ 378596 w 629774"/>
                <a:gd name="connsiteY545" fmla="*/ 361232 h 375783"/>
                <a:gd name="connsiteX546" fmla="*/ 379323 w 629774"/>
                <a:gd name="connsiteY546" fmla="*/ 361414 h 375783"/>
                <a:gd name="connsiteX547" fmla="*/ 379958 w 629774"/>
                <a:gd name="connsiteY547" fmla="*/ 361111 h 375783"/>
                <a:gd name="connsiteX548" fmla="*/ 381107 w 629774"/>
                <a:gd name="connsiteY548" fmla="*/ 359417 h 375783"/>
                <a:gd name="connsiteX549" fmla="*/ 382681 w 629774"/>
                <a:gd name="connsiteY549" fmla="*/ 356301 h 375783"/>
                <a:gd name="connsiteX550" fmla="*/ 383800 w 629774"/>
                <a:gd name="connsiteY550" fmla="*/ 353216 h 375783"/>
                <a:gd name="connsiteX551" fmla="*/ 384314 w 629774"/>
                <a:gd name="connsiteY551" fmla="*/ 352459 h 375783"/>
                <a:gd name="connsiteX552" fmla="*/ 384949 w 629774"/>
                <a:gd name="connsiteY552" fmla="*/ 352248 h 375783"/>
                <a:gd name="connsiteX553" fmla="*/ 385464 w 629774"/>
                <a:gd name="connsiteY553" fmla="*/ 351975 h 375783"/>
                <a:gd name="connsiteX554" fmla="*/ 385645 w 629774"/>
                <a:gd name="connsiteY554" fmla="*/ 350977 h 375783"/>
                <a:gd name="connsiteX555" fmla="*/ 385343 w 629774"/>
                <a:gd name="connsiteY555" fmla="*/ 350251 h 375783"/>
                <a:gd name="connsiteX556" fmla="*/ 383951 w 629774"/>
                <a:gd name="connsiteY556" fmla="*/ 349041 h 375783"/>
                <a:gd name="connsiteX557" fmla="*/ 383497 w 629774"/>
                <a:gd name="connsiteY557" fmla="*/ 348466 h 375783"/>
                <a:gd name="connsiteX558" fmla="*/ 382469 w 629774"/>
                <a:gd name="connsiteY558" fmla="*/ 346288 h 375783"/>
                <a:gd name="connsiteX559" fmla="*/ 382650 w 629774"/>
                <a:gd name="connsiteY559" fmla="*/ 345471 h 375783"/>
                <a:gd name="connsiteX560" fmla="*/ 383830 w 629774"/>
                <a:gd name="connsiteY560" fmla="*/ 344352 h 375783"/>
                <a:gd name="connsiteX561" fmla="*/ 384193 w 629774"/>
                <a:gd name="connsiteY561" fmla="*/ 342809 h 375783"/>
                <a:gd name="connsiteX562" fmla="*/ 384344 w 629774"/>
                <a:gd name="connsiteY562" fmla="*/ 341418 h 375783"/>
                <a:gd name="connsiteX563" fmla="*/ 384193 w 629774"/>
                <a:gd name="connsiteY563" fmla="*/ 339996 h 375783"/>
                <a:gd name="connsiteX564" fmla="*/ 383709 w 629774"/>
                <a:gd name="connsiteY564" fmla="*/ 338362 h 375783"/>
                <a:gd name="connsiteX565" fmla="*/ 383134 w 629774"/>
                <a:gd name="connsiteY565" fmla="*/ 337818 h 375783"/>
                <a:gd name="connsiteX566" fmla="*/ 381561 w 629774"/>
                <a:gd name="connsiteY566" fmla="*/ 337515 h 375783"/>
                <a:gd name="connsiteX567" fmla="*/ 381017 w 629774"/>
                <a:gd name="connsiteY567" fmla="*/ 337122 h 375783"/>
                <a:gd name="connsiteX568" fmla="*/ 380835 w 629774"/>
                <a:gd name="connsiteY568" fmla="*/ 336275 h 375783"/>
                <a:gd name="connsiteX569" fmla="*/ 380986 w 629774"/>
                <a:gd name="connsiteY569" fmla="*/ 334339 h 375783"/>
                <a:gd name="connsiteX570" fmla="*/ 380896 w 629774"/>
                <a:gd name="connsiteY570" fmla="*/ 333401 h 375783"/>
                <a:gd name="connsiteX571" fmla="*/ 379988 w 629774"/>
                <a:gd name="connsiteY571" fmla="*/ 330255 h 375783"/>
                <a:gd name="connsiteX572" fmla="*/ 379413 w 629774"/>
                <a:gd name="connsiteY572" fmla="*/ 329196 h 375783"/>
                <a:gd name="connsiteX573" fmla="*/ 378536 w 629774"/>
                <a:gd name="connsiteY573" fmla="*/ 328258 h 375783"/>
                <a:gd name="connsiteX574" fmla="*/ 377356 w 629774"/>
                <a:gd name="connsiteY574" fmla="*/ 327774 h 375783"/>
                <a:gd name="connsiteX575" fmla="*/ 375965 w 629774"/>
                <a:gd name="connsiteY575" fmla="*/ 327502 h 375783"/>
                <a:gd name="connsiteX576" fmla="*/ 374513 w 629774"/>
                <a:gd name="connsiteY576" fmla="*/ 326897 h 375783"/>
                <a:gd name="connsiteX577" fmla="*/ 373787 w 629774"/>
                <a:gd name="connsiteY577" fmla="*/ 325868 h 375783"/>
                <a:gd name="connsiteX578" fmla="*/ 373333 w 629774"/>
                <a:gd name="connsiteY578" fmla="*/ 325233 h 375783"/>
                <a:gd name="connsiteX579" fmla="*/ 372849 w 629774"/>
                <a:gd name="connsiteY579" fmla="*/ 323811 h 375783"/>
                <a:gd name="connsiteX580" fmla="*/ 372576 w 629774"/>
                <a:gd name="connsiteY580" fmla="*/ 322057 h 375783"/>
                <a:gd name="connsiteX581" fmla="*/ 372637 w 629774"/>
                <a:gd name="connsiteY581" fmla="*/ 320272 h 375783"/>
                <a:gd name="connsiteX582" fmla="*/ 373212 w 629774"/>
                <a:gd name="connsiteY582" fmla="*/ 318729 h 375783"/>
                <a:gd name="connsiteX583" fmla="*/ 373877 w 629774"/>
                <a:gd name="connsiteY583" fmla="*/ 318003 h 375783"/>
                <a:gd name="connsiteX584" fmla="*/ 374573 w 629774"/>
                <a:gd name="connsiteY584" fmla="*/ 317821 h 375783"/>
                <a:gd name="connsiteX585" fmla="*/ 375239 w 629774"/>
                <a:gd name="connsiteY585" fmla="*/ 317791 h 375783"/>
                <a:gd name="connsiteX586" fmla="*/ 375995 w 629774"/>
                <a:gd name="connsiteY586" fmla="*/ 317489 h 375783"/>
                <a:gd name="connsiteX587" fmla="*/ 378718 w 629774"/>
                <a:gd name="connsiteY587" fmla="*/ 315462 h 375783"/>
                <a:gd name="connsiteX588" fmla="*/ 381380 w 629774"/>
                <a:gd name="connsiteY588" fmla="*/ 314796 h 375783"/>
                <a:gd name="connsiteX589" fmla="*/ 386886 w 629774"/>
                <a:gd name="connsiteY589" fmla="*/ 314645 h 375783"/>
                <a:gd name="connsiteX590" fmla="*/ 389124 w 629774"/>
                <a:gd name="connsiteY590" fmla="*/ 312679 h 375783"/>
                <a:gd name="connsiteX591" fmla="*/ 390576 w 629774"/>
                <a:gd name="connsiteY591" fmla="*/ 312770 h 375783"/>
                <a:gd name="connsiteX592" fmla="*/ 391393 w 629774"/>
                <a:gd name="connsiteY592" fmla="*/ 313254 h 375783"/>
                <a:gd name="connsiteX593" fmla="*/ 394055 w 629774"/>
                <a:gd name="connsiteY593" fmla="*/ 316067 h 375783"/>
                <a:gd name="connsiteX594" fmla="*/ 395356 w 629774"/>
                <a:gd name="connsiteY594" fmla="*/ 317065 h 375783"/>
                <a:gd name="connsiteX595" fmla="*/ 397474 w 629774"/>
                <a:gd name="connsiteY595" fmla="*/ 317640 h 375783"/>
                <a:gd name="connsiteX596" fmla="*/ 401346 w 629774"/>
                <a:gd name="connsiteY596" fmla="*/ 317307 h 375783"/>
                <a:gd name="connsiteX597" fmla="*/ 400317 w 629774"/>
                <a:gd name="connsiteY597" fmla="*/ 316006 h 375783"/>
                <a:gd name="connsiteX598" fmla="*/ 399621 w 629774"/>
                <a:gd name="connsiteY598" fmla="*/ 313526 h 375783"/>
                <a:gd name="connsiteX599" fmla="*/ 400015 w 629774"/>
                <a:gd name="connsiteY599" fmla="*/ 310833 h 375783"/>
                <a:gd name="connsiteX600" fmla="*/ 401406 w 629774"/>
                <a:gd name="connsiteY600" fmla="*/ 307839 h 375783"/>
                <a:gd name="connsiteX601" fmla="*/ 405581 w 629774"/>
                <a:gd name="connsiteY601" fmla="*/ 304481 h 375783"/>
                <a:gd name="connsiteX602" fmla="*/ 415927 w 629774"/>
                <a:gd name="connsiteY602" fmla="*/ 304904 h 375783"/>
                <a:gd name="connsiteX603" fmla="*/ 420737 w 629774"/>
                <a:gd name="connsiteY603" fmla="*/ 303543 h 375783"/>
                <a:gd name="connsiteX604" fmla="*/ 422068 w 629774"/>
                <a:gd name="connsiteY604" fmla="*/ 301849 h 375783"/>
                <a:gd name="connsiteX605" fmla="*/ 422915 w 629774"/>
                <a:gd name="connsiteY605" fmla="*/ 299580 h 375783"/>
                <a:gd name="connsiteX606" fmla="*/ 423338 w 629774"/>
                <a:gd name="connsiteY606" fmla="*/ 297341 h 375783"/>
                <a:gd name="connsiteX607" fmla="*/ 423429 w 629774"/>
                <a:gd name="connsiteY607" fmla="*/ 296434 h 375783"/>
                <a:gd name="connsiteX608" fmla="*/ 423520 w 629774"/>
                <a:gd name="connsiteY608" fmla="*/ 295677 h 375783"/>
                <a:gd name="connsiteX609" fmla="*/ 423611 w 629774"/>
                <a:gd name="connsiteY609" fmla="*/ 295042 h 375783"/>
                <a:gd name="connsiteX610" fmla="*/ 424034 w 629774"/>
                <a:gd name="connsiteY610" fmla="*/ 293953 h 375783"/>
                <a:gd name="connsiteX611" fmla="*/ 424125 w 629774"/>
                <a:gd name="connsiteY611" fmla="*/ 293257 h 375783"/>
                <a:gd name="connsiteX612" fmla="*/ 423823 w 629774"/>
                <a:gd name="connsiteY612" fmla="*/ 292834 h 375783"/>
                <a:gd name="connsiteX613" fmla="*/ 422612 w 629774"/>
                <a:gd name="connsiteY613" fmla="*/ 292108 h 375783"/>
                <a:gd name="connsiteX614" fmla="*/ 422431 w 629774"/>
                <a:gd name="connsiteY614" fmla="*/ 291654 h 375783"/>
                <a:gd name="connsiteX615" fmla="*/ 422854 w 629774"/>
                <a:gd name="connsiteY615" fmla="*/ 290837 h 375783"/>
                <a:gd name="connsiteX616" fmla="*/ 423460 w 629774"/>
                <a:gd name="connsiteY616" fmla="*/ 290232 h 375783"/>
                <a:gd name="connsiteX617" fmla="*/ 424216 w 629774"/>
                <a:gd name="connsiteY617" fmla="*/ 289748 h 375783"/>
                <a:gd name="connsiteX618" fmla="*/ 427120 w 629774"/>
                <a:gd name="connsiteY618" fmla="*/ 286874 h 375783"/>
                <a:gd name="connsiteX619" fmla="*/ 428754 w 629774"/>
                <a:gd name="connsiteY619" fmla="*/ 285785 h 375783"/>
                <a:gd name="connsiteX620" fmla="*/ 430569 w 629774"/>
                <a:gd name="connsiteY620" fmla="*/ 285604 h 375783"/>
                <a:gd name="connsiteX621" fmla="*/ 440007 w 629774"/>
                <a:gd name="connsiteY621" fmla="*/ 287056 h 375783"/>
                <a:gd name="connsiteX622" fmla="*/ 441943 w 629774"/>
                <a:gd name="connsiteY622" fmla="*/ 286844 h 375783"/>
                <a:gd name="connsiteX623" fmla="*/ 442972 w 629774"/>
                <a:gd name="connsiteY623" fmla="*/ 286179 h 375783"/>
                <a:gd name="connsiteX624" fmla="*/ 445150 w 629774"/>
                <a:gd name="connsiteY624" fmla="*/ 284152 h 375783"/>
                <a:gd name="connsiteX625" fmla="*/ 446329 w 629774"/>
                <a:gd name="connsiteY625" fmla="*/ 283819 h 375783"/>
                <a:gd name="connsiteX626" fmla="*/ 447298 w 629774"/>
                <a:gd name="connsiteY626" fmla="*/ 284242 h 375783"/>
                <a:gd name="connsiteX627" fmla="*/ 449143 w 629774"/>
                <a:gd name="connsiteY627" fmla="*/ 285725 h 375783"/>
                <a:gd name="connsiteX628" fmla="*/ 450262 w 629774"/>
                <a:gd name="connsiteY628" fmla="*/ 286027 h 375783"/>
                <a:gd name="connsiteX629" fmla="*/ 451079 w 629774"/>
                <a:gd name="connsiteY629" fmla="*/ 285634 h 375783"/>
                <a:gd name="connsiteX630" fmla="*/ 452108 w 629774"/>
                <a:gd name="connsiteY630" fmla="*/ 284848 h 375783"/>
                <a:gd name="connsiteX631" fmla="*/ 453318 w 629774"/>
                <a:gd name="connsiteY631" fmla="*/ 283879 h 375783"/>
                <a:gd name="connsiteX632" fmla="*/ 454407 w 629774"/>
                <a:gd name="connsiteY632" fmla="*/ 283274 h 375783"/>
                <a:gd name="connsiteX633" fmla="*/ 455526 w 629774"/>
                <a:gd name="connsiteY633" fmla="*/ 283244 h 375783"/>
                <a:gd name="connsiteX634" fmla="*/ 456464 w 629774"/>
                <a:gd name="connsiteY634" fmla="*/ 283547 h 375783"/>
                <a:gd name="connsiteX635" fmla="*/ 457371 w 629774"/>
                <a:gd name="connsiteY635" fmla="*/ 283577 h 375783"/>
                <a:gd name="connsiteX636" fmla="*/ 458491 w 629774"/>
                <a:gd name="connsiteY636" fmla="*/ 282579 h 375783"/>
                <a:gd name="connsiteX637" fmla="*/ 459519 w 629774"/>
                <a:gd name="connsiteY637" fmla="*/ 282155 h 375783"/>
                <a:gd name="connsiteX638" fmla="*/ 461395 w 629774"/>
                <a:gd name="connsiteY638" fmla="*/ 282427 h 375783"/>
                <a:gd name="connsiteX639" fmla="*/ 462272 w 629774"/>
                <a:gd name="connsiteY639" fmla="*/ 282216 h 375783"/>
                <a:gd name="connsiteX640" fmla="*/ 463391 w 629774"/>
                <a:gd name="connsiteY640" fmla="*/ 280975 h 375783"/>
                <a:gd name="connsiteX641" fmla="*/ 464208 w 629774"/>
                <a:gd name="connsiteY641" fmla="*/ 279493 h 375783"/>
                <a:gd name="connsiteX642" fmla="*/ 465116 w 629774"/>
                <a:gd name="connsiteY642" fmla="*/ 278222 h 375783"/>
                <a:gd name="connsiteX643" fmla="*/ 466507 w 629774"/>
                <a:gd name="connsiteY643" fmla="*/ 277678 h 375783"/>
                <a:gd name="connsiteX644" fmla="*/ 468474 w 629774"/>
                <a:gd name="connsiteY644" fmla="*/ 276438 h 375783"/>
                <a:gd name="connsiteX645" fmla="*/ 470712 w 629774"/>
                <a:gd name="connsiteY645" fmla="*/ 272596 h 375783"/>
                <a:gd name="connsiteX646" fmla="*/ 473102 w 629774"/>
                <a:gd name="connsiteY646" fmla="*/ 271446 h 375783"/>
                <a:gd name="connsiteX647" fmla="*/ 473223 w 629774"/>
                <a:gd name="connsiteY647" fmla="*/ 271476 h 375783"/>
                <a:gd name="connsiteX648" fmla="*/ 475008 w 629774"/>
                <a:gd name="connsiteY648" fmla="*/ 271476 h 375783"/>
                <a:gd name="connsiteX649" fmla="*/ 476853 w 629774"/>
                <a:gd name="connsiteY649" fmla="*/ 272021 h 375783"/>
                <a:gd name="connsiteX650" fmla="*/ 478547 w 629774"/>
                <a:gd name="connsiteY650" fmla="*/ 272928 h 375783"/>
                <a:gd name="connsiteX651" fmla="*/ 480090 w 629774"/>
                <a:gd name="connsiteY651" fmla="*/ 274078 h 375783"/>
                <a:gd name="connsiteX652" fmla="*/ 481240 w 629774"/>
                <a:gd name="connsiteY652" fmla="*/ 273987 h 375783"/>
                <a:gd name="connsiteX653" fmla="*/ 483478 w 629774"/>
                <a:gd name="connsiteY653" fmla="*/ 274078 h 375783"/>
                <a:gd name="connsiteX654" fmla="*/ 485929 w 629774"/>
                <a:gd name="connsiteY654" fmla="*/ 274683 h 375783"/>
                <a:gd name="connsiteX655" fmla="*/ 486352 w 629774"/>
                <a:gd name="connsiteY655" fmla="*/ 274501 h 375783"/>
                <a:gd name="connsiteX656" fmla="*/ 486443 w 629774"/>
                <a:gd name="connsiteY656" fmla="*/ 274078 h 375783"/>
                <a:gd name="connsiteX657" fmla="*/ 486685 w 629774"/>
                <a:gd name="connsiteY657" fmla="*/ 273564 h 375783"/>
                <a:gd name="connsiteX658" fmla="*/ 488924 w 629774"/>
                <a:gd name="connsiteY658" fmla="*/ 270811 h 375783"/>
                <a:gd name="connsiteX659" fmla="*/ 490194 w 629774"/>
                <a:gd name="connsiteY659" fmla="*/ 269873 h 375783"/>
                <a:gd name="connsiteX660" fmla="*/ 492403 w 629774"/>
                <a:gd name="connsiteY660" fmla="*/ 269601 h 375783"/>
                <a:gd name="connsiteX661" fmla="*/ 495912 w 629774"/>
                <a:gd name="connsiteY661" fmla="*/ 270357 h 375783"/>
                <a:gd name="connsiteX662" fmla="*/ 499149 w 629774"/>
                <a:gd name="connsiteY662" fmla="*/ 272112 h 375783"/>
                <a:gd name="connsiteX663" fmla="*/ 501871 w 629774"/>
                <a:gd name="connsiteY663" fmla="*/ 274623 h 375783"/>
                <a:gd name="connsiteX664" fmla="*/ 506137 w 629774"/>
                <a:gd name="connsiteY664" fmla="*/ 280673 h 375783"/>
                <a:gd name="connsiteX665" fmla="*/ 508375 w 629774"/>
                <a:gd name="connsiteY665" fmla="*/ 283093 h 375783"/>
                <a:gd name="connsiteX666" fmla="*/ 510765 w 629774"/>
                <a:gd name="connsiteY666" fmla="*/ 285029 h 375783"/>
                <a:gd name="connsiteX667" fmla="*/ 518146 w 629774"/>
                <a:gd name="connsiteY667" fmla="*/ 288841 h 375783"/>
                <a:gd name="connsiteX668" fmla="*/ 519689 w 629774"/>
                <a:gd name="connsiteY668" fmla="*/ 290051 h 375783"/>
                <a:gd name="connsiteX669" fmla="*/ 522079 w 629774"/>
                <a:gd name="connsiteY669" fmla="*/ 293167 h 375783"/>
                <a:gd name="connsiteX670" fmla="*/ 523410 w 629774"/>
                <a:gd name="connsiteY670" fmla="*/ 294014 h 375783"/>
                <a:gd name="connsiteX671" fmla="*/ 525044 w 629774"/>
                <a:gd name="connsiteY671" fmla="*/ 293348 h 375783"/>
                <a:gd name="connsiteX672" fmla="*/ 523652 w 629774"/>
                <a:gd name="connsiteY672" fmla="*/ 292804 h 375783"/>
                <a:gd name="connsiteX673" fmla="*/ 523894 w 629774"/>
                <a:gd name="connsiteY673" fmla="*/ 292531 h 375783"/>
                <a:gd name="connsiteX674" fmla="*/ 524530 w 629774"/>
                <a:gd name="connsiteY674" fmla="*/ 292229 h 375783"/>
                <a:gd name="connsiteX675" fmla="*/ 524832 w 629774"/>
                <a:gd name="connsiteY675" fmla="*/ 291987 h 375783"/>
                <a:gd name="connsiteX676" fmla="*/ 524560 w 629774"/>
                <a:gd name="connsiteY676" fmla="*/ 291805 h 375783"/>
                <a:gd name="connsiteX677" fmla="*/ 524257 w 629774"/>
                <a:gd name="connsiteY677" fmla="*/ 291654 h 375783"/>
                <a:gd name="connsiteX678" fmla="*/ 523985 w 629774"/>
                <a:gd name="connsiteY678" fmla="*/ 291442 h 375783"/>
                <a:gd name="connsiteX679" fmla="*/ 523864 w 629774"/>
                <a:gd name="connsiteY679" fmla="*/ 291170 h 375783"/>
                <a:gd name="connsiteX680" fmla="*/ 526012 w 629774"/>
                <a:gd name="connsiteY680" fmla="*/ 290474 h 375783"/>
                <a:gd name="connsiteX681" fmla="*/ 527040 w 629774"/>
                <a:gd name="connsiteY681" fmla="*/ 289839 h 375783"/>
                <a:gd name="connsiteX682" fmla="*/ 527857 w 629774"/>
                <a:gd name="connsiteY682" fmla="*/ 288841 h 375783"/>
                <a:gd name="connsiteX683" fmla="*/ 528614 w 629774"/>
                <a:gd name="connsiteY683" fmla="*/ 289385 h 375783"/>
                <a:gd name="connsiteX684" fmla="*/ 529128 w 629774"/>
                <a:gd name="connsiteY684" fmla="*/ 289385 h 375783"/>
                <a:gd name="connsiteX685" fmla="*/ 529491 w 629774"/>
                <a:gd name="connsiteY685" fmla="*/ 288780 h 375783"/>
                <a:gd name="connsiteX686" fmla="*/ 529733 w 629774"/>
                <a:gd name="connsiteY686" fmla="*/ 287540 h 375783"/>
                <a:gd name="connsiteX687" fmla="*/ 537568 w 629774"/>
                <a:gd name="connsiteY687" fmla="*/ 285664 h 375783"/>
                <a:gd name="connsiteX688" fmla="*/ 541289 w 629774"/>
                <a:gd name="connsiteY688" fmla="*/ 285785 h 375783"/>
                <a:gd name="connsiteX689" fmla="*/ 546522 w 629774"/>
                <a:gd name="connsiteY689" fmla="*/ 288447 h 375783"/>
                <a:gd name="connsiteX690" fmla="*/ 547914 w 629774"/>
                <a:gd name="connsiteY690" fmla="*/ 288871 h 375783"/>
                <a:gd name="connsiteX691" fmla="*/ 549215 w 629774"/>
                <a:gd name="connsiteY691" fmla="*/ 288810 h 375783"/>
                <a:gd name="connsiteX692" fmla="*/ 550485 w 629774"/>
                <a:gd name="connsiteY692" fmla="*/ 288357 h 375783"/>
                <a:gd name="connsiteX693" fmla="*/ 550757 w 629774"/>
                <a:gd name="connsiteY693" fmla="*/ 287600 h 375783"/>
                <a:gd name="connsiteX694" fmla="*/ 549215 w 629774"/>
                <a:gd name="connsiteY694" fmla="*/ 286723 h 375783"/>
                <a:gd name="connsiteX695" fmla="*/ 549427 w 629774"/>
                <a:gd name="connsiteY695" fmla="*/ 285483 h 375783"/>
                <a:gd name="connsiteX696" fmla="*/ 549427 w 629774"/>
                <a:gd name="connsiteY696" fmla="*/ 283819 h 375783"/>
                <a:gd name="connsiteX697" fmla="*/ 549729 w 629774"/>
                <a:gd name="connsiteY697" fmla="*/ 282579 h 375783"/>
                <a:gd name="connsiteX698" fmla="*/ 550122 w 629774"/>
                <a:gd name="connsiteY698" fmla="*/ 282397 h 375783"/>
                <a:gd name="connsiteX699" fmla="*/ 550546 w 629774"/>
                <a:gd name="connsiteY699" fmla="*/ 282367 h 375783"/>
                <a:gd name="connsiteX700" fmla="*/ 550939 w 629774"/>
                <a:gd name="connsiteY700" fmla="*/ 282397 h 375783"/>
                <a:gd name="connsiteX701" fmla="*/ 551363 w 629774"/>
                <a:gd name="connsiteY701" fmla="*/ 282579 h 375783"/>
                <a:gd name="connsiteX702" fmla="*/ 553269 w 629774"/>
                <a:gd name="connsiteY702" fmla="*/ 282276 h 375783"/>
                <a:gd name="connsiteX703" fmla="*/ 554176 w 629774"/>
                <a:gd name="connsiteY703" fmla="*/ 282337 h 375783"/>
                <a:gd name="connsiteX704" fmla="*/ 556657 w 629774"/>
                <a:gd name="connsiteY704" fmla="*/ 282911 h 375783"/>
                <a:gd name="connsiteX705" fmla="*/ 559319 w 629774"/>
                <a:gd name="connsiteY705" fmla="*/ 284122 h 375783"/>
                <a:gd name="connsiteX706" fmla="*/ 560710 w 629774"/>
                <a:gd name="connsiteY706" fmla="*/ 284485 h 375783"/>
                <a:gd name="connsiteX707" fmla="*/ 565641 w 629774"/>
                <a:gd name="connsiteY707" fmla="*/ 283970 h 375783"/>
                <a:gd name="connsiteX708" fmla="*/ 567154 w 629774"/>
                <a:gd name="connsiteY708" fmla="*/ 284424 h 375783"/>
                <a:gd name="connsiteX709" fmla="*/ 570754 w 629774"/>
                <a:gd name="connsiteY709" fmla="*/ 285180 h 375783"/>
                <a:gd name="connsiteX710" fmla="*/ 570754 w 629774"/>
                <a:gd name="connsiteY710" fmla="*/ 285180 h 375783"/>
                <a:gd name="connsiteX711" fmla="*/ 570451 w 629774"/>
                <a:gd name="connsiteY711" fmla="*/ 283910 h 375783"/>
                <a:gd name="connsiteX712" fmla="*/ 571117 w 629774"/>
                <a:gd name="connsiteY712" fmla="*/ 282427 h 375783"/>
                <a:gd name="connsiteX713" fmla="*/ 570966 w 629774"/>
                <a:gd name="connsiteY713" fmla="*/ 280703 h 375783"/>
                <a:gd name="connsiteX714" fmla="*/ 570209 w 629774"/>
                <a:gd name="connsiteY714" fmla="*/ 279100 h 375783"/>
                <a:gd name="connsiteX715" fmla="*/ 569060 w 629774"/>
                <a:gd name="connsiteY715" fmla="*/ 277980 h 375783"/>
                <a:gd name="connsiteX716" fmla="*/ 569392 w 629774"/>
                <a:gd name="connsiteY716" fmla="*/ 277859 h 375783"/>
                <a:gd name="connsiteX717" fmla="*/ 569665 w 629774"/>
                <a:gd name="connsiteY717" fmla="*/ 277859 h 375783"/>
                <a:gd name="connsiteX718" fmla="*/ 569816 w 629774"/>
                <a:gd name="connsiteY718" fmla="*/ 277678 h 375783"/>
                <a:gd name="connsiteX719" fmla="*/ 569755 w 629774"/>
                <a:gd name="connsiteY719" fmla="*/ 277043 h 375783"/>
                <a:gd name="connsiteX720" fmla="*/ 568757 w 629774"/>
                <a:gd name="connsiteY720" fmla="*/ 276286 h 375783"/>
                <a:gd name="connsiteX721" fmla="*/ 567789 w 629774"/>
                <a:gd name="connsiteY721" fmla="*/ 275318 h 375783"/>
                <a:gd name="connsiteX722" fmla="*/ 567275 w 629774"/>
                <a:gd name="connsiteY722" fmla="*/ 274169 h 375783"/>
                <a:gd name="connsiteX723" fmla="*/ 567698 w 629774"/>
                <a:gd name="connsiteY723" fmla="*/ 272808 h 375783"/>
                <a:gd name="connsiteX724" fmla="*/ 566307 w 629774"/>
                <a:gd name="connsiteY724" fmla="*/ 272384 h 375783"/>
                <a:gd name="connsiteX725" fmla="*/ 565460 w 629774"/>
                <a:gd name="connsiteY725" fmla="*/ 271234 h 375783"/>
                <a:gd name="connsiteX726" fmla="*/ 564794 w 629774"/>
                <a:gd name="connsiteY726" fmla="*/ 270055 h 375783"/>
                <a:gd name="connsiteX727" fmla="*/ 559379 w 629774"/>
                <a:gd name="connsiteY727" fmla="*/ 266878 h 375783"/>
                <a:gd name="connsiteX728" fmla="*/ 557655 w 629774"/>
                <a:gd name="connsiteY728" fmla="*/ 263429 h 375783"/>
                <a:gd name="connsiteX729" fmla="*/ 556899 w 629774"/>
                <a:gd name="connsiteY729" fmla="*/ 262583 h 375783"/>
                <a:gd name="connsiteX730" fmla="*/ 553904 w 629774"/>
                <a:gd name="connsiteY730" fmla="*/ 260979 h 375783"/>
                <a:gd name="connsiteX731" fmla="*/ 554115 w 629774"/>
                <a:gd name="connsiteY731" fmla="*/ 260586 h 375783"/>
                <a:gd name="connsiteX732" fmla="*/ 554388 w 629774"/>
                <a:gd name="connsiteY732" fmla="*/ 259648 h 375783"/>
                <a:gd name="connsiteX733" fmla="*/ 554569 w 629774"/>
                <a:gd name="connsiteY733" fmla="*/ 259224 h 375783"/>
                <a:gd name="connsiteX734" fmla="*/ 553450 w 629774"/>
                <a:gd name="connsiteY734" fmla="*/ 258619 h 375783"/>
                <a:gd name="connsiteX735" fmla="*/ 552089 w 629774"/>
                <a:gd name="connsiteY735" fmla="*/ 257500 h 375783"/>
                <a:gd name="connsiteX736" fmla="*/ 550939 w 629774"/>
                <a:gd name="connsiteY736" fmla="*/ 256320 h 375783"/>
                <a:gd name="connsiteX737" fmla="*/ 550485 w 629774"/>
                <a:gd name="connsiteY737" fmla="*/ 255413 h 375783"/>
                <a:gd name="connsiteX738" fmla="*/ 549910 w 629774"/>
                <a:gd name="connsiteY738" fmla="*/ 254596 h 375783"/>
                <a:gd name="connsiteX739" fmla="*/ 546280 w 629774"/>
                <a:gd name="connsiteY739" fmla="*/ 252418 h 375783"/>
                <a:gd name="connsiteX740" fmla="*/ 546492 w 629774"/>
                <a:gd name="connsiteY740" fmla="*/ 251934 h 375783"/>
                <a:gd name="connsiteX741" fmla="*/ 546522 w 629774"/>
                <a:gd name="connsiteY741" fmla="*/ 251813 h 375783"/>
                <a:gd name="connsiteX742" fmla="*/ 546976 w 629774"/>
                <a:gd name="connsiteY742" fmla="*/ 251480 h 375783"/>
                <a:gd name="connsiteX743" fmla="*/ 544496 w 629774"/>
                <a:gd name="connsiteY743" fmla="*/ 249605 h 375783"/>
                <a:gd name="connsiteX744" fmla="*/ 544011 w 629774"/>
                <a:gd name="connsiteY744" fmla="*/ 247305 h 375783"/>
                <a:gd name="connsiteX745" fmla="*/ 545191 w 629774"/>
                <a:gd name="connsiteY745" fmla="*/ 244976 h 375783"/>
                <a:gd name="connsiteX746" fmla="*/ 547702 w 629774"/>
                <a:gd name="connsiteY746" fmla="*/ 243040 h 375783"/>
                <a:gd name="connsiteX747" fmla="*/ 546825 w 629774"/>
                <a:gd name="connsiteY747" fmla="*/ 242374 h 375783"/>
                <a:gd name="connsiteX748" fmla="*/ 546341 w 629774"/>
                <a:gd name="connsiteY748" fmla="*/ 241709 h 375783"/>
                <a:gd name="connsiteX749" fmla="*/ 546371 w 629774"/>
                <a:gd name="connsiteY749" fmla="*/ 241013 h 375783"/>
                <a:gd name="connsiteX750" fmla="*/ 546976 w 629774"/>
                <a:gd name="connsiteY750" fmla="*/ 240348 h 375783"/>
                <a:gd name="connsiteX751" fmla="*/ 546976 w 629774"/>
                <a:gd name="connsiteY751" fmla="*/ 239561 h 375783"/>
                <a:gd name="connsiteX752" fmla="*/ 545343 w 629774"/>
                <a:gd name="connsiteY752" fmla="*/ 239652 h 375783"/>
                <a:gd name="connsiteX753" fmla="*/ 544102 w 629774"/>
                <a:gd name="connsiteY753" fmla="*/ 240015 h 375783"/>
                <a:gd name="connsiteX754" fmla="*/ 542953 w 629774"/>
                <a:gd name="connsiteY754" fmla="*/ 240136 h 375783"/>
                <a:gd name="connsiteX755" fmla="*/ 541470 w 629774"/>
                <a:gd name="connsiteY755" fmla="*/ 239561 h 375783"/>
                <a:gd name="connsiteX756" fmla="*/ 540321 w 629774"/>
                <a:gd name="connsiteY756" fmla="*/ 238291 h 375783"/>
                <a:gd name="connsiteX757" fmla="*/ 539716 w 629774"/>
                <a:gd name="connsiteY757" fmla="*/ 236536 h 375783"/>
                <a:gd name="connsiteX758" fmla="*/ 539806 w 629774"/>
                <a:gd name="connsiteY758" fmla="*/ 234842 h 375783"/>
                <a:gd name="connsiteX759" fmla="*/ 540775 w 629774"/>
                <a:gd name="connsiteY759" fmla="*/ 233601 h 375783"/>
                <a:gd name="connsiteX760" fmla="*/ 539837 w 629774"/>
                <a:gd name="connsiteY760" fmla="*/ 233420 h 375783"/>
                <a:gd name="connsiteX761" fmla="*/ 539413 w 629774"/>
                <a:gd name="connsiteY761" fmla="*/ 233117 h 375783"/>
                <a:gd name="connsiteX762" fmla="*/ 538657 w 629774"/>
                <a:gd name="connsiteY762" fmla="*/ 231877 h 375783"/>
                <a:gd name="connsiteX763" fmla="*/ 540200 w 629774"/>
                <a:gd name="connsiteY763" fmla="*/ 231212 h 375783"/>
                <a:gd name="connsiteX764" fmla="*/ 540775 w 629774"/>
                <a:gd name="connsiteY764" fmla="*/ 231030 h 375783"/>
                <a:gd name="connsiteX765" fmla="*/ 540775 w 629774"/>
                <a:gd name="connsiteY765" fmla="*/ 230092 h 375783"/>
                <a:gd name="connsiteX766" fmla="*/ 539655 w 629774"/>
                <a:gd name="connsiteY766" fmla="*/ 230334 h 375783"/>
                <a:gd name="connsiteX767" fmla="*/ 538778 w 629774"/>
                <a:gd name="connsiteY767" fmla="*/ 230213 h 375783"/>
                <a:gd name="connsiteX768" fmla="*/ 538233 w 629774"/>
                <a:gd name="connsiteY768" fmla="*/ 229578 h 375783"/>
                <a:gd name="connsiteX769" fmla="*/ 538022 w 629774"/>
                <a:gd name="connsiteY769" fmla="*/ 228398 h 375783"/>
                <a:gd name="connsiteX770" fmla="*/ 535632 w 629774"/>
                <a:gd name="connsiteY770" fmla="*/ 229941 h 375783"/>
                <a:gd name="connsiteX771" fmla="*/ 534059 w 629774"/>
                <a:gd name="connsiteY771" fmla="*/ 229608 h 375783"/>
                <a:gd name="connsiteX772" fmla="*/ 533060 w 629774"/>
                <a:gd name="connsiteY772" fmla="*/ 228066 h 375783"/>
                <a:gd name="connsiteX773" fmla="*/ 532456 w 629774"/>
                <a:gd name="connsiteY773" fmla="*/ 225918 h 375783"/>
                <a:gd name="connsiteX774" fmla="*/ 532819 w 629774"/>
                <a:gd name="connsiteY774" fmla="*/ 225706 h 375783"/>
                <a:gd name="connsiteX775" fmla="*/ 533000 w 629774"/>
                <a:gd name="connsiteY775" fmla="*/ 225736 h 375783"/>
                <a:gd name="connsiteX776" fmla="*/ 533121 w 629774"/>
                <a:gd name="connsiteY776" fmla="*/ 225615 h 375783"/>
                <a:gd name="connsiteX777" fmla="*/ 533151 w 629774"/>
                <a:gd name="connsiteY777" fmla="*/ 224980 h 375783"/>
                <a:gd name="connsiteX778" fmla="*/ 531759 w 629774"/>
                <a:gd name="connsiteY778" fmla="*/ 224617 h 375783"/>
                <a:gd name="connsiteX779" fmla="*/ 530761 w 629774"/>
                <a:gd name="connsiteY779" fmla="*/ 224950 h 375783"/>
                <a:gd name="connsiteX780" fmla="*/ 529763 w 629774"/>
                <a:gd name="connsiteY780" fmla="*/ 225555 h 375783"/>
                <a:gd name="connsiteX781" fmla="*/ 528371 w 629774"/>
                <a:gd name="connsiteY781" fmla="*/ 225918 h 375783"/>
                <a:gd name="connsiteX782" fmla="*/ 527555 w 629774"/>
                <a:gd name="connsiteY782" fmla="*/ 225494 h 375783"/>
                <a:gd name="connsiteX783" fmla="*/ 526738 w 629774"/>
                <a:gd name="connsiteY783" fmla="*/ 224768 h 375783"/>
                <a:gd name="connsiteX784" fmla="*/ 525891 w 629774"/>
                <a:gd name="connsiteY784" fmla="*/ 224617 h 375783"/>
                <a:gd name="connsiteX785" fmla="*/ 524983 w 629774"/>
                <a:gd name="connsiteY785" fmla="*/ 225918 h 375783"/>
                <a:gd name="connsiteX786" fmla="*/ 523198 w 629774"/>
                <a:gd name="connsiteY786" fmla="*/ 224435 h 375783"/>
                <a:gd name="connsiteX787" fmla="*/ 522200 w 629774"/>
                <a:gd name="connsiteY787" fmla="*/ 225040 h 375783"/>
                <a:gd name="connsiteX788" fmla="*/ 521383 w 629774"/>
                <a:gd name="connsiteY788" fmla="*/ 226462 h 375783"/>
                <a:gd name="connsiteX789" fmla="*/ 520143 w 629774"/>
                <a:gd name="connsiteY789" fmla="*/ 227551 h 375783"/>
                <a:gd name="connsiteX790" fmla="*/ 519115 w 629774"/>
                <a:gd name="connsiteY790" fmla="*/ 227279 h 375783"/>
                <a:gd name="connsiteX791" fmla="*/ 515999 w 629774"/>
                <a:gd name="connsiteY791" fmla="*/ 224193 h 375783"/>
                <a:gd name="connsiteX792" fmla="*/ 515273 w 629774"/>
                <a:gd name="connsiteY792" fmla="*/ 226765 h 375783"/>
                <a:gd name="connsiteX793" fmla="*/ 515666 w 629774"/>
                <a:gd name="connsiteY793" fmla="*/ 227279 h 375783"/>
                <a:gd name="connsiteX794" fmla="*/ 515726 w 629774"/>
                <a:gd name="connsiteY794" fmla="*/ 227309 h 375783"/>
                <a:gd name="connsiteX795" fmla="*/ 515575 w 629774"/>
                <a:gd name="connsiteY795" fmla="*/ 227460 h 375783"/>
                <a:gd name="connsiteX796" fmla="*/ 515273 w 629774"/>
                <a:gd name="connsiteY796" fmla="*/ 228398 h 375783"/>
                <a:gd name="connsiteX797" fmla="*/ 514819 w 629774"/>
                <a:gd name="connsiteY797" fmla="*/ 226492 h 375783"/>
                <a:gd name="connsiteX798" fmla="*/ 514940 w 629774"/>
                <a:gd name="connsiteY798" fmla="*/ 225857 h 375783"/>
                <a:gd name="connsiteX799" fmla="*/ 515273 w 629774"/>
                <a:gd name="connsiteY799" fmla="*/ 224980 h 375783"/>
                <a:gd name="connsiteX800" fmla="*/ 514062 w 629774"/>
                <a:gd name="connsiteY800" fmla="*/ 223770 h 375783"/>
                <a:gd name="connsiteX801" fmla="*/ 514002 w 629774"/>
                <a:gd name="connsiteY801" fmla="*/ 221924 h 375783"/>
                <a:gd name="connsiteX802" fmla="*/ 514940 w 629774"/>
                <a:gd name="connsiteY802" fmla="*/ 220745 h 375783"/>
                <a:gd name="connsiteX803" fmla="*/ 516755 w 629774"/>
                <a:gd name="connsiteY803" fmla="*/ 221561 h 375783"/>
                <a:gd name="connsiteX804" fmla="*/ 517874 w 629774"/>
                <a:gd name="connsiteY804" fmla="*/ 218476 h 375783"/>
                <a:gd name="connsiteX805" fmla="*/ 518600 w 629774"/>
                <a:gd name="connsiteY805" fmla="*/ 215360 h 375783"/>
                <a:gd name="connsiteX806" fmla="*/ 519901 w 629774"/>
                <a:gd name="connsiteY806" fmla="*/ 212788 h 375783"/>
                <a:gd name="connsiteX807" fmla="*/ 522866 w 629774"/>
                <a:gd name="connsiteY807" fmla="*/ 211215 h 375783"/>
                <a:gd name="connsiteX808" fmla="*/ 532244 w 629774"/>
                <a:gd name="connsiteY808" fmla="*/ 211458 h 375783"/>
                <a:gd name="connsiteX809" fmla="*/ 533847 w 629774"/>
                <a:gd name="connsiteY809" fmla="*/ 212153 h 375783"/>
                <a:gd name="connsiteX810" fmla="*/ 532970 w 629774"/>
                <a:gd name="connsiteY810" fmla="*/ 210066 h 375783"/>
                <a:gd name="connsiteX811" fmla="*/ 531850 w 629774"/>
                <a:gd name="connsiteY811" fmla="*/ 206557 h 375783"/>
                <a:gd name="connsiteX812" fmla="*/ 531669 w 629774"/>
                <a:gd name="connsiteY812" fmla="*/ 203259 h 375783"/>
                <a:gd name="connsiteX813" fmla="*/ 533514 w 629774"/>
                <a:gd name="connsiteY813" fmla="*/ 201807 h 375783"/>
                <a:gd name="connsiteX814" fmla="*/ 535753 w 629774"/>
                <a:gd name="connsiteY814" fmla="*/ 201414 h 375783"/>
                <a:gd name="connsiteX815" fmla="*/ 540139 w 629774"/>
                <a:gd name="connsiteY815" fmla="*/ 199690 h 375783"/>
                <a:gd name="connsiteX816" fmla="*/ 542832 w 629774"/>
                <a:gd name="connsiteY816" fmla="*/ 199236 h 375783"/>
                <a:gd name="connsiteX817" fmla="*/ 541289 w 629774"/>
                <a:gd name="connsiteY817" fmla="*/ 198510 h 375783"/>
                <a:gd name="connsiteX818" fmla="*/ 540563 w 629774"/>
                <a:gd name="connsiteY818" fmla="*/ 197572 h 375783"/>
                <a:gd name="connsiteX819" fmla="*/ 540472 w 629774"/>
                <a:gd name="connsiteY819" fmla="*/ 196392 h 375783"/>
                <a:gd name="connsiteX820" fmla="*/ 540775 w 629774"/>
                <a:gd name="connsiteY820" fmla="*/ 195031 h 375783"/>
                <a:gd name="connsiteX821" fmla="*/ 541440 w 629774"/>
                <a:gd name="connsiteY821" fmla="*/ 193307 h 375783"/>
                <a:gd name="connsiteX822" fmla="*/ 542166 w 629774"/>
                <a:gd name="connsiteY822" fmla="*/ 192550 h 375783"/>
                <a:gd name="connsiteX823" fmla="*/ 543195 w 629774"/>
                <a:gd name="connsiteY823" fmla="*/ 192338 h 375783"/>
                <a:gd name="connsiteX824" fmla="*/ 547641 w 629774"/>
                <a:gd name="connsiteY824" fmla="*/ 192460 h 375783"/>
                <a:gd name="connsiteX825" fmla="*/ 553057 w 629774"/>
                <a:gd name="connsiteY825" fmla="*/ 193307 h 375783"/>
                <a:gd name="connsiteX826" fmla="*/ 558200 w 629774"/>
                <a:gd name="connsiteY826" fmla="*/ 193034 h 375783"/>
                <a:gd name="connsiteX827" fmla="*/ 558441 w 629774"/>
                <a:gd name="connsiteY827" fmla="*/ 192157 h 375783"/>
                <a:gd name="connsiteX828" fmla="*/ 558714 w 629774"/>
                <a:gd name="connsiteY828" fmla="*/ 189828 h 375783"/>
                <a:gd name="connsiteX829" fmla="*/ 558714 w 629774"/>
                <a:gd name="connsiteY829" fmla="*/ 183808 h 375783"/>
                <a:gd name="connsiteX830" fmla="*/ 558139 w 629774"/>
                <a:gd name="connsiteY830" fmla="*/ 180480 h 375783"/>
                <a:gd name="connsiteX831" fmla="*/ 557322 w 629774"/>
                <a:gd name="connsiteY831" fmla="*/ 177788 h 375783"/>
                <a:gd name="connsiteX832" fmla="*/ 557383 w 629774"/>
                <a:gd name="connsiteY832" fmla="*/ 175700 h 375783"/>
                <a:gd name="connsiteX833" fmla="*/ 559379 w 629774"/>
                <a:gd name="connsiteY833" fmla="*/ 174278 h 375783"/>
                <a:gd name="connsiteX834" fmla="*/ 558835 w 629774"/>
                <a:gd name="connsiteY834" fmla="*/ 172403 h 375783"/>
                <a:gd name="connsiteX835" fmla="*/ 559379 w 629774"/>
                <a:gd name="connsiteY835" fmla="*/ 163872 h 375783"/>
                <a:gd name="connsiteX836" fmla="*/ 559016 w 629774"/>
                <a:gd name="connsiteY836" fmla="*/ 161270 h 375783"/>
                <a:gd name="connsiteX837" fmla="*/ 557534 w 629774"/>
                <a:gd name="connsiteY837" fmla="*/ 155523 h 375783"/>
                <a:gd name="connsiteX838" fmla="*/ 557322 w 629774"/>
                <a:gd name="connsiteY838" fmla="*/ 152679 h 375783"/>
                <a:gd name="connsiteX839" fmla="*/ 557746 w 629774"/>
                <a:gd name="connsiteY839" fmla="*/ 151287 h 375783"/>
                <a:gd name="connsiteX840" fmla="*/ 558532 w 629774"/>
                <a:gd name="connsiteY840" fmla="*/ 150380 h 375783"/>
                <a:gd name="connsiteX841" fmla="*/ 559440 w 629774"/>
                <a:gd name="connsiteY841" fmla="*/ 149563 h 375783"/>
                <a:gd name="connsiteX842" fmla="*/ 560135 w 629774"/>
                <a:gd name="connsiteY842" fmla="*/ 148383 h 375783"/>
                <a:gd name="connsiteX843" fmla="*/ 561527 w 629774"/>
                <a:gd name="connsiteY843" fmla="*/ 142242 h 375783"/>
                <a:gd name="connsiteX844" fmla="*/ 563463 w 629774"/>
                <a:gd name="connsiteY844" fmla="*/ 136736 h 375783"/>
                <a:gd name="connsiteX845" fmla="*/ 563584 w 629774"/>
                <a:gd name="connsiteY845" fmla="*/ 135254 h 375783"/>
                <a:gd name="connsiteX846" fmla="*/ 562888 w 629774"/>
                <a:gd name="connsiteY846" fmla="*/ 134286 h 375783"/>
                <a:gd name="connsiteX847" fmla="*/ 559379 w 629774"/>
                <a:gd name="connsiteY847" fmla="*/ 131896 h 375783"/>
                <a:gd name="connsiteX848" fmla="*/ 559379 w 629774"/>
                <a:gd name="connsiteY848" fmla="*/ 131019 h 375783"/>
                <a:gd name="connsiteX849" fmla="*/ 560378 w 629774"/>
                <a:gd name="connsiteY849" fmla="*/ 131019 h 375783"/>
                <a:gd name="connsiteX850" fmla="*/ 561073 w 629774"/>
                <a:gd name="connsiteY850" fmla="*/ 130807 h 375783"/>
                <a:gd name="connsiteX851" fmla="*/ 562223 w 629774"/>
                <a:gd name="connsiteY851" fmla="*/ 130081 h 375783"/>
                <a:gd name="connsiteX852" fmla="*/ 569060 w 629774"/>
                <a:gd name="connsiteY852" fmla="*/ 128387 h 375783"/>
                <a:gd name="connsiteX853" fmla="*/ 570814 w 629774"/>
                <a:gd name="connsiteY853" fmla="*/ 127177 h 375783"/>
                <a:gd name="connsiteX854" fmla="*/ 572176 w 629774"/>
                <a:gd name="connsiteY854" fmla="*/ 125120 h 375783"/>
                <a:gd name="connsiteX855" fmla="*/ 577802 w 629774"/>
                <a:gd name="connsiteY855" fmla="*/ 111658 h 375783"/>
                <a:gd name="connsiteX856" fmla="*/ 578256 w 629774"/>
                <a:gd name="connsiteY856" fmla="*/ 110539 h 375783"/>
                <a:gd name="connsiteX857" fmla="*/ 581009 w 629774"/>
                <a:gd name="connsiteY857" fmla="*/ 107030 h 375783"/>
                <a:gd name="connsiteX858" fmla="*/ 584881 w 629774"/>
                <a:gd name="connsiteY858" fmla="*/ 104972 h 375783"/>
                <a:gd name="connsiteX859" fmla="*/ 586968 w 629774"/>
                <a:gd name="connsiteY859" fmla="*/ 104700 h 375783"/>
                <a:gd name="connsiteX860" fmla="*/ 593533 w 629774"/>
                <a:gd name="connsiteY860" fmla="*/ 104972 h 375783"/>
                <a:gd name="connsiteX861" fmla="*/ 595378 w 629774"/>
                <a:gd name="connsiteY861" fmla="*/ 104579 h 375783"/>
                <a:gd name="connsiteX862" fmla="*/ 599160 w 629774"/>
                <a:gd name="connsiteY862" fmla="*/ 102794 h 375783"/>
                <a:gd name="connsiteX863" fmla="*/ 601429 w 629774"/>
                <a:gd name="connsiteY863" fmla="*/ 102371 h 375783"/>
                <a:gd name="connsiteX864" fmla="*/ 606148 w 629774"/>
                <a:gd name="connsiteY864" fmla="*/ 103188 h 375783"/>
                <a:gd name="connsiteX865" fmla="*/ 608689 w 629774"/>
                <a:gd name="connsiteY865" fmla="*/ 104156 h 375783"/>
                <a:gd name="connsiteX866" fmla="*/ 609808 w 629774"/>
                <a:gd name="connsiteY866" fmla="*/ 105366 h 375783"/>
                <a:gd name="connsiteX867" fmla="*/ 610776 w 629774"/>
                <a:gd name="connsiteY867" fmla="*/ 106092 h 375783"/>
                <a:gd name="connsiteX868" fmla="*/ 615284 w 629774"/>
                <a:gd name="connsiteY868" fmla="*/ 108421 h 375783"/>
                <a:gd name="connsiteX869" fmla="*/ 616675 w 629774"/>
                <a:gd name="connsiteY869" fmla="*/ 110176 h 375783"/>
                <a:gd name="connsiteX870" fmla="*/ 616736 w 629774"/>
                <a:gd name="connsiteY870" fmla="*/ 107967 h 375783"/>
                <a:gd name="connsiteX871" fmla="*/ 617280 w 629774"/>
                <a:gd name="connsiteY871" fmla="*/ 106364 h 375783"/>
                <a:gd name="connsiteX872" fmla="*/ 618218 w 629774"/>
                <a:gd name="connsiteY872" fmla="*/ 105154 h 375783"/>
                <a:gd name="connsiteX873" fmla="*/ 622907 w 629774"/>
                <a:gd name="connsiteY873" fmla="*/ 101040 h 375783"/>
                <a:gd name="connsiteX874" fmla="*/ 623906 w 629774"/>
                <a:gd name="connsiteY874" fmla="*/ 100556 h 375783"/>
                <a:gd name="connsiteX875" fmla="*/ 625448 w 629774"/>
                <a:gd name="connsiteY875" fmla="*/ 99134 h 375783"/>
                <a:gd name="connsiteX876" fmla="*/ 627263 w 629774"/>
                <a:gd name="connsiteY876" fmla="*/ 95685 h 375783"/>
                <a:gd name="connsiteX877" fmla="*/ 628897 w 629774"/>
                <a:gd name="connsiteY877" fmla="*/ 91662 h 375783"/>
                <a:gd name="connsiteX878" fmla="*/ 629774 w 629774"/>
                <a:gd name="connsiteY878" fmla="*/ 88395 h 375783"/>
                <a:gd name="connsiteX879" fmla="*/ 629683 w 629774"/>
                <a:gd name="connsiteY879" fmla="*/ 86549 h 3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Lst>
              <a:rect l="l" t="t" r="r" b="b"/>
              <a:pathLst>
                <a:path w="629774" h="375783">
                  <a:moveTo>
                    <a:pt x="629683" y="86549"/>
                  </a:moveTo>
                  <a:lnTo>
                    <a:pt x="629018" y="85128"/>
                  </a:lnTo>
                  <a:lnTo>
                    <a:pt x="627989" y="83615"/>
                  </a:lnTo>
                  <a:lnTo>
                    <a:pt x="626961" y="81376"/>
                  </a:lnTo>
                  <a:lnTo>
                    <a:pt x="626719" y="79743"/>
                  </a:lnTo>
                  <a:lnTo>
                    <a:pt x="627022" y="64254"/>
                  </a:lnTo>
                  <a:lnTo>
                    <a:pt x="627263" y="62500"/>
                  </a:lnTo>
                  <a:lnTo>
                    <a:pt x="612773" y="63256"/>
                  </a:lnTo>
                  <a:lnTo>
                    <a:pt x="591325" y="59837"/>
                  </a:lnTo>
                  <a:lnTo>
                    <a:pt x="570542" y="51125"/>
                  </a:lnTo>
                  <a:lnTo>
                    <a:pt x="567154" y="48674"/>
                  </a:lnTo>
                  <a:lnTo>
                    <a:pt x="562586" y="33942"/>
                  </a:lnTo>
                  <a:lnTo>
                    <a:pt x="560226" y="30221"/>
                  </a:lnTo>
                  <a:lnTo>
                    <a:pt x="560226" y="30221"/>
                  </a:lnTo>
                  <a:lnTo>
                    <a:pt x="554599" y="30826"/>
                  </a:lnTo>
                  <a:lnTo>
                    <a:pt x="547641" y="34456"/>
                  </a:lnTo>
                  <a:lnTo>
                    <a:pt x="541047" y="35939"/>
                  </a:lnTo>
                  <a:lnTo>
                    <a:pt x="537114" y="31008"/>
                  </a:lnTo>
                  <a:lnTo>
                    <a:pt x="536449" y="30191"/>
                  </a:lnTo>
                  <a:lnTo>
                    <a:pt x="534482" y="26319"/>
                  </a:lnTo>
                  <a:lnTo>
                    <a:pt x="532153" y="25562"/>
                  </a:lnTo>
                  <a:lnTo>
                    <a:pt x="526224" y="27287"/>
                  </a:lnTo>
                  <a:lnTo>
                    <a:pt x="507044" y="27438"/>
                  </a:lnTo>
                  <a:lnTo>
                    <a:pt x="505955" y="26712"/>
                  </a:lnTo>
                  <a:lnTo>
                    <a:pt x="503989" y="23566"/>
                  </a:lnTo>
                  <a:lnTo>
                    <a:pt x="502809" y="22567"/>
                  </a:lnTo>
                  <a:lnTo>
                    <a:pt x="497152" y="20057"/>
                  </a:lnTo>
                  <a:lnTo>
                    <a:pt x="495034" y="17848"/>
                  </a:lnTo>
                  <a:lnTo>
                    <a:pt x="495518" y="14944"/>
                  </a:lnTo>
                  <a:lnTo>
                    <a:pt x="493855" y="13765"/>
                  </a:lnTo>
                  <a:lnTo>
                    <a:pt x="493703" y="13674"/>
                  </a:lnTo>
                  <a:lnTo>
                    <a:pt x="491253" y="13855"/>
                  </a:lnTo>
                  <a:lnTo>
                    <a:pt x="489105" y="12766"/>
                  </a:lnTo>
                  <a:lnTo>
                    <a:pt x="478517" y="10800"/>
                  </a:lnTo>
                  <a:lnTo>
                    <a:pt x="471196" y="6625"/>
                  </a:lnTo>
                  <a:lnTo>
                    <a:pt x="468594" y="8137"/>
                  </a:lnTo>
                  <a:lnTo>
                    <a:pt x="456766" y="9257"/>
                  </a:lnTo>
                  <a:lnTo>
                    <a:pt x="447237" y="14491"/>
                  </a:lnTo>
                  <a:lnTo>
                    <a:pt x="443637" y="15489"/>
                  </a:lnTo>
                  <a:lnTo>
                    <a:pt x="439099" y="15489"/>
                  </a:lnTo>
                  <a:lnTo>
                    <a:pt x="437950" y="15761"/>
                  </a:lnTo>
                  <a:lnTo>
                    <a:pt x="435953" y="16910"/>
                  </a:lnTo>
                  <a:lnTo>
                    <a:pt x="434985" y="17153"/>
                  </a:lnTo>
                  <a:lnTo>
                    <a:pt x="432989" y="17395"/>
                  </a:lnTo>
                  <a:lnTo>
                    <a:pt x="429601" y="18484"/>
                  </a:lnTo>
                  <a:lnTo>
                    <a:pt x="409634" y="21176"/>
                  </a:lnTo>
                  <a:lnTo>
                    <a:pt x="401255" y="22326"/>
                  </a:lnTo>
                  <a:lnTo>
                    <a:pt x="399046" y="22598"/>
                  </a:lnTo>
                  <a:lnTo>
                    <a:pt x="391090" y="25865"/>
                  </a:lnTo>
                  <a:lnTo>
                    <a:pt x="382983" y="27771"/>
                  </a:lnTo>
                  <a:lnTo>
                    <a:pt x="379474" y="29525"/>
                  </a:lnTo>
                  <a:lnTo>
                    <a:pt x="375783" y="33337"/>
                  </a:lnTo>
                  <a:lnTo>
                    <a:pt x="373998" y="35818"/>
                  </a:lnTo>
                  <a:lnTo>
                    <a:pt x="373272" y="37784"/>
                  </a:lnTo>
                  <a:lnTo>
                    <a:pt x="361142" y="45982"/>
                  </a:lnTo>
                  <a:lnTo>
                    <a:pt x="360204" y="47495"/>
                  </a:lnTo>
                  <a:lnTo>
                    <a:pt x="359387" y="49310"/>
                  </a:lnTo>
                  <a:lnTo>
                    <a:pt x="354637" y="54876"/>
                  </a:lnTo>
                  <a:lnTo>
                    <a:pt x="351612" y="56480"/>
                  </a:lnTo>
                  <a:lnTo>
                    <a:pt x="348315" y="59656"/>
                  </a:lnTo>
                  <a:lnTo>
                    <a:pt x="348103" y="60110"/>
                  </a:lnTo>
                  <a:lnTo>
                    <a:pt x="345774" y="63679"/>
                  </a:lnTo>
                  <a:lnTo>
                    <a:pt x="341599" y="65343"/>
                  </a:lnTo>
                  <a:lnTo>
                    <a:pt x="340934" y="65373"/>
                  </a:lnTo>
                  <a:lnTo>
                    <a:pt x="334732" y="65555"/>
                  </a:lnTo>
                  <a:lnTo>
                    <a:pt x="332917" y="66734"/>
                  </a:lnTo>
                  <a:lnTo>
                    <a:pt x="331344" y="68096"/>
                  </a:lnTo>
                  <a:lnTo>
                    <a:pt x="329196" y="69336"/>
                  </a:lnTo>
                  <a:lnTo>
                    <a:pt x="326927" y="70213"/>
                  </a:lnTo>
                  <a:lnTo>
                    <a:pt x="325021" y="70667"/>
                  </a:lnTo>
                  <a:lnTo>
                    <a:pt x="323176" y="71545"/>
                  </a:lnTo>
                  <a:lnTo>
                    <a:pt x="320907" y="71756"/>
                  </a:lnTo>
                  <a:lnTo>
                    <a:pt x="316369" y="71514"/>
                  </a:lnTo>
                  <a:lnTo>
                    <a:pt x="315704" y="71636"/>
                  </a:lnTo>
                  <a:lnTo>
                    <a:pt x="314191" y="71877"/>
                  </a:lnTo>
                  <a:lnTo>
                    <a:pt x="310047" y="73571"/>
                  </a:lnTo>
                  <a:lnTo>
                    <a:pt x="307717" y="74146"/>
                  </a:lnTo>
                  <a:lnTo>
                    <a:pt x="303361" y="73602"/>
                  </a:lnTo>
                  <a:lnTo>
                    <a:pt x="299671" y="71636"/>
                  </a:lnTo>
                  <a:lnTo>
                    <a:pt x="296222" y="69155"/>
                  </a:lnTo>
                  <a:lnTo>
                    <a:pt x="295889" y="68973"/>
                  </a:lnTo>
                  <a:lnTo>
                    <a:pt x="292561" y="67158"/>
                  </a:lnTo>
                  <a:lnTo>
                    <a:pt x="288417" y="66251"/>
                  </a:lnTo>
                  <a:lnTo>
                    <a:pt x="275379" y="65343"/>
                  </a:lnTo>
                  <a:lnTo>
                    <a:pt x="263520" y="61440"/>
                  </a:lnTo>
                  <a:lnTo>
                    <a:pt x="242253" y="62802"/>
                  </a:lnTo>
                  <a:lnTo>
                    <a:pt x="237534" y="62167"/>
                  </a:lnTo>
                  <a:lnTo>
                    <a:pt x="233117" y="60654"/>
                  </a:lnTo>
                  <a:lnTo>
                    <a:pt x="216872" y="55057"/>
                  </a:lnTo>
                  <a:lnTo>
                    <a:pt x="213484" y="54694"/>
                  </a:lnTo>
                  <a:lnTo>
                    <a:pt x="209915" y="55723"/>
                  </a:lnTo>
                  <a:lnTo>
                    <a:pt x="204318" y="59595"/>
                  </a:lnTo>
                  <a:lnTo>
                    <a:pt x="202594" y="60110"/>
                  </a:lnTo>
                  <a:lnTo>
                    <a:pt x="200416" y="60200"/>
                  </a:lnTo>
                  <a:lnTo>
                    <a:pt x="182567" y="60987"/>
                  </a:lnTo>
                  <a:lnTo>
                    <a:pt x="181599" y="60775"/>
                  </a:lnTo>
                  <a:lnTo>
                    <a:pt x="146417" y="52638"/>
                  </a:lnTo>
                  <a:lnTo>
                    <a:pt x="140669" y="49522"/>
                  </a:lnTo>
                  <a:lnTo>
                    <a:pt x="138431" y="49128"/>
                  </a:lnTo>
                  <a:lnTo>
                    <a:pt x="129899" y="50883"/>
                  </a:lnTo>
                  <a:lnTo>
                    <a:pt x="128387" y="50641"/>
                  </a:lnTo>
                  <a:lnTo>
                    <a:pt x="125543" y="50187"/>
                  </a:lnTo>
                  <a:lnTo>
                    <a:pt x="114683" y="44681"/>
                  </a:lnTo>
                  <a:lnTo>
                    <a:pt x="98620" y="43925"/>
                  </a:lnTo>
                  <a:lnTo>
                    <a:pt x="89484" y="45105"/>
                  </a:lnTo>
                  <a:lnTo>
                    <a:pt x="85732" y="46981"/>
                  </a:lnTo>
                  <a:lnTo>
                    <a:pt x="82193" y="47646"/>
                  </a:lnTo>
                  <a:lnTo>
                    <a:pt x="79168" y="48856"/>
                  </a:lnTo>
                  <a:lnTo>
                    <a:pt x="71181" y="49522"/>
                  </a:lnTo>
                  <a:lnTo>
                    <a:pt x="57810" y="50611"/>
                  </a:lnTo>
                  <a:lnTo>
                    <a:pt x="54725" y="49945"/>
                  </a:lnTo>
                  <a:lnTo>
                    <a:pt x="52184" y="47888"/>
                  </a:lnTo>
                  <a:lnTo>
                    <a:pt x="50913" y="45468"/>
                  </a:lnTo>
                  <a:lnTo>
                    <a:pt x="50852" y="42594"/>
                  </a:lnTo>
                  <a:lnTo>
                    <a:pt x="53303" y="32974"/>
                  </a:lnTo>
                  <a:lnTo>
                    <a:pt x="54422" y="30070"/>
                  </a:lnTo>
                  <a:lnTo>
                    <a:pt x="56419" y="28860"/>
                  </a:lnTo>
                  <a:lnTo>
                    <a:pt x="58506" y="28587"/>
                  </a:lnTo>
                  <a:lnTo>
                    <a:pt x="62499" y="27378"/>
                  </a:lnTo>
                  <a:lnTo>
                    <a:pt x="64708" y="27105"/>
                  </a:lnTo>
                  <a:lnTo>
                    <a:pt x="68217" y="25320"/>
                  </a:lnTo>
                  <a:lnTo>
                    <a:pt x="69941" y="21388"/>
                  </a:lnTo>
                  <a:lnTo>
                    <a:pt x="69003" y="17425"/>
                  </a:lnTo>
                  <a:lnTo>
                    <a:pt x="66734" y="16487"/>
                  </a:lnTo>
                  <a:lnTo>
                    <a:pt x="64708" y="15640"/>
                  </a:lnTo>
                  <a:lnTo>
                    <a:pt x="60140" y="15065"/>
                  </a:lnTo>
                  <a:lnTo>
                    <a:pt x="56509" y="13583"/>
                  </a:lnTo>
                  <a:lnTo>
                    <a:pt x="34880" y="0"/>
                  </a:lnTo>
                  <a:lnTo>
                    <a:pt x="30554" y="1845"/>
                  </a:lnTo>
                  <a:lnTo>
                    <a:pt x="29676" y="2723"/>
                  </a:lnTo>
                  <a:lnTo>
                    <a:pt x="28134" y="5022"/>
                  </a:lnTo>
                  <a:lnTo>
                    <a:pt x="26531" y="6776"/>
                  </a:lnTo>
                  <a:lnTo>
                    <a:pt x="26258" y="6928"/>
                  </a:lnTo>
                  <a:lnTo>
                    <a:pt x="26137" y="7714"/>
                  </a:lnTo>
                  <a:lnTo>
                    <a:pt x="26258" y="8410"/>
                  </a:lnTo>
                  <a:lnTo>
                    <a:pt x="26470" y="8803"/>
                  </a:lnTo>
                  <a:lnTo>
                    <a:pt x="26591" y="8803"/>
                  </a:lnTo>
                  <a:lnTo>
                    <a:pt x="25562" y="12615"/>
                  </a:lnTo>
                  <a:lnTo>
                    <a:pt x="25381" y="14067"/>
                  </a:lnTo>
                  <a:lnTo>
                    <a:pt x="25471" y="15337"/>
                  </a:lnTo>
                  <a:lnTo>
                    <a:pt x="26107" y="18060"/>
                  </a:lnTo>
                  <a:lnTo>
                    <a:pt x="26137" y="19179"/>
                  </a:lnTo>
                  <a:lnTo>
                    <a:pt x="24927" y="21176"/>
                  </a:lnTo>
                  <a:lnTo>
                    <a:pt x="23172" y="21478"/>
                  </a:lnTo>
                  <a:lnTo>
                    <a:pt x="21085" y="21357"/>
                  </a:lnTo>
                  <a:lnTo>
                    <a:pt x="19028" y="22023"/>
                  </a:lnTo>
                  <a:lnTo>
                    <a:pt x="17878" y="23626"/>
                  </a:lnTo>
                  <a:lnTo>
                    <a:pt x="17092" y="25472"/>
                  </a:lnTo>
                  <a:lnTo>
                    <a:pt x="15972" y="26803"/>
                  </a:lnTo>
                  <a:lnTo>
                    <a:pt x="13734" y="26894"/>
                  </a:lnTo>
                  <a:lnTo>
                    <a:pt x="12161" y="27105"/>
                  </a:lnTo>
                  <a:lnTo>
                    <a:pt x="8985" y="27589"/>
                  </a:lnTo>
                  <a:lnTo>
                    <a:pt x="6716" y="28497"/>
                  </a:lnTo>
                  <a:lnTo>
                    <a:pt x="5475" y="30221"/>
                  </a:lnTo>
                  <a:lnTo>
                    <a:pt x="5264" y="31825"/>
                  </a:lnTo>
                  <a:lnTo>
                    <a:pt x="5203" y="35545"/>
                  </a:lnTo>
                  <a:lnTo>
                    <a:pt x="4961" y="37542"/>
                  </a:lnTo>
                  <a:lnTo>
                    <a:pt x="4719" y="38117"/>
                  </a:lnTo>
                  <a:lnTo>
                    <a:pt x="3721" y="39811"/>
                  </a:lnTo>
                  <a:lnTo>
                    <a:pt x="3418" y="40476"/>
                  </a:lnTo>
                  <a:lnTo>
                    <a:pt x="3206" y="44288"/>
                  </a:lnTo>
                  <a:lnTo>
                    <a:pt x="2269" y="48251"/>
                  </a:lnTo>
                  <a:lnTo>
                    <a:pt x="968" y="51186"/>
                  </a:lnTo>
                  <a:lnTo>
                    <a:pt x="453" y="53968"/>
                  </a:lnTo>
                  <a:lnTo>
                    <a:pt x="1754" y="57417"/>
                  </a:lnTo>
                  <a:lnTo>
                    <a:pt x="4386" y="60321"/>
                  </a:lnTo>
                  <a:lnTo>
                    <a:pt x="4477" y="61320"/>
                  </a:lnTo>
                  <a:lnTo>
                    <a:pt x="4114" y="63437"/>
                  </a:lnTo>
                  <a:lnTo>
                    <a:pt x="4114" y="64496"/>
                  </a:lnTo>
                  <a:lnTo>
                    <a:pt x="4568" y="66190"/>
                  </a:lnTo>
                  <a:lnTo>
                    <a:pt x="5203" y="67824"/>
                  </a:lnTo>
                  <a:lnTo>
                    <a:pt x="6020" y="69397"/>
                  </a:lnTo>
                  <a:lnTo>
                    <a:pt x="6927" y="70758"/>
                  </a:lnTo>
                  <a:lnTo>
                    <a:pt x="8198" y="71817"/>
                  </a:lnTo>
                  <a:lnTo>
                    <a:pt x="11163" y="73329"/>
                  </a:lnTo>
                  <a:lnTo>
                    <a:pt x="12191" y="74267"/>
                  </a:lnTo>
                  <a:lnTo>
                    <a:pt x="12857" y="75931"/>
                  </a:lnTo>
                  <a:lnTo>
                    <a:pt x="12947" y="78865"/>
                  </a:lnTo>
                  <a:lnTo>
                    <a:pt x="13734" y="80438"/>
                  </a:lnTo>
                  <a:lnTo>
                    <a:pt x="13764" y="80529"/>
                  </a:lnTo>
                  <a:lnTo>
                    <a:pt x="13794" y="80590"/>
                  </a:lnTo>
                  <a:lnTo>
                    <a:pt x="13764" y="80650"/>
                  </a:lnTo>
                  <a:lnTo>
                    <a:pt x="13734" y="80711"/>
                  </a:lnTo>
                  <a:lnTo>
                    <a:pt x="13401" y="81164"/>
                  </a:lnTo>
                  <a:lnTo>
                    <a:pt x="13280" y="81618"/>
                  </a:lnTo>
                  <a:lnTo>
                    <a:pt x="13401" y="82102"/>
                  </a:lnTo>
                  <a:lnTo>
                    <a:pt x="13734" y="82556"/>
                  </a:lnTo>
                  <a:lnTo>
                    <a:pt x="13855" y="82828"/>
                  </a:lnTo>
                  <a:lnTo>
                    <a:pt x="13885" y="83161"/>
                  </a:lnTo>
                  <a:lnTo>
                    <a:pt x="13855" y="83494"/>
                  </a:lnTo>
                  <a:lnTo>
                    <a:pt x="13734" y="83827"/>
                  </a:lnTo>
                  <a:lnTo>
                    <a:pt x="13431" y="84462"/>
                  </a:lnTo>
                  <a:lnTo>
                    <a:pt x="13341" y="85097"/>
                  </a:lnTo>
                  <a:lnTo>
                    <a:pt x="13431" y="85702"/>
                  </a:lnTo>
                  <a:lnTo>
                    <a:pt x="14642" y="88062"/>
                  </a:lnTo>
                  <a:lnTo>
                    <a:pt x="16547" y="94082"/>
                  </a:lnTo>
                  <a:lnTo>
                    <a:pt x="17485" y="96532"/>
                  </a:lnTo>
                  <a:lnTo>
                    <a:pt x="18877" y="97712"/>
                  </a:lnTo>
                  <a:lnTo>
                    <a:pt x="22204" y="99195"/>
                  </a:lnTo>
                  <a:lnTo>
                    <a:pt x="22900" y="99860"/>
                  </a:lnTo>
                  <a:lnTo>
                    <a:pt x="24322" y="101584"/>
                  </a:lnTo>
                  <a:lnTo>
                    <a:pt x="25290" y="102250"/>
                  </a:lnTo>
                  <a:lnTo>
                    <a:pt x="26349" y="102492"/>
                  </a:lnTo>
                  <a:lnTo>
                    <a:pt x="28527" y="102371"/>
                  </a:lnTo>
                  <a:lnTo>
                    <a:pt x="29465" y="102613"/>
                  </a:lnTo>
                  <a:lnTo>
                    <a:pt x="30221" y="103369"/>
                  </a:lnTo>
                  <a:lnTo>
                    <a:pt x="31340" y="105547"/>
                  </a:lnTo>
                  <a:lnTo>
                    <a:pt x="31582" y="105789"/>
                  </a:lnTo>
                  <a:lnTo>
                    <a:pt x="32157" y="106364"/>
                  </a:lnTo>
                  <a:lnTo>
                    <a:pt x="33125" y="106697"/>
                  </a:lnTo>
                  <a:lnTo>
                    <a:pt x="35031" y="106606"/>
                  </a:lnTo>
                  <a:lnTo>
                    <a:pt x="36029" y="106727"/>
                  </a:lnTo>
                  <a:lnTo>
                    <a:pt x="37663" y="107423"/>
                  </a:lnTo>
                  <a:lnTo>
                    <a:pt x="38177" y="107725"/>
                  </a:lnTo>
                  <a:lnTo>
                    <a:pt x="39024" y="108300"/>
                  </a:lnTo>
                  <a:lnTo>
                    <a:pt x="46254" y="114986"/>
                  </a:lnTo>
                  <a:lnTo>
                    <a:pt x="47495" y="116680"/>
                  </a:lnTo>
                  <a:lnTo>
                    <a:pt x="47858" y="117678"/>
                  </a:lnTo>
                  <a:lnTo>
                    <a:pt x="48190" y="120008"/>
                  </a:lnTo>
                  <a:lnTo>
                    <a:pt x="48493" y="121006"/>
                  </a:lnTo>
                  <a:lnTo>
                    <a:pt x="49128" y="121883"/>
                  </a:lnTo>
                  <a:lnTo>
                    <a:pt x="51548" y="124122"/>
                  </a:lnTo>
                  <a:lnTo>
                    <a:pt x="54210" y="127449"/>
                  </a:lnTo>
                  <a:lnTo>
                    <a:pt x="55632" y="128750"/>
                  </a:lnTo>
                  <a:lnTo>
                    <a:pt x="57387" y="129779"/>
                  </a:lnTo>
                  <a:lnTo>
                    <a:pt x="62348" y="130777"/>
                  </a:lnTo>
                  <a:lnTo>
                    <a:pt x="64042" y="131442"/>
                  </a:lnTo>
                  <a:lnTo>
                    <a:pt x="64193" y="132925"/>
                  </a:lnTo>
                  <a:lnTo>
                    <a:pt x="64345" y="134528"/>
                  </a:lnTo>
                  <a:lnTo>
                    <a:pt x="63286" y="138763"/>
                  </a:lnTo>
                  <a:lnTo>
                    <a:pt x="61440" y="142908"/>
                  </a:lnTo>
                  <a:lnTo>
                    <a:pt x="59384" y="145781"/>
                  </a:lnTo>
                  <a:lnTo>
                    <a:pt x="58567" y="146356"/>
                  </a:lnTo>
                  <a:lnTo>
                    <a:pt x="56872" y="147082"/>
                  </a:lnTo>
                  <a:lnTo>
                    <a:pt x="56026" y="147778"/>
                  </a:lnTo>
                  <a:lnTo>
                    <a:pt x="55511" y="148686"/>
                  </a:lnTo>
                  <a:lnTo>
                    <a:pt x="54785" y="150985"/>
                  </a:lnTo>
                  <a:lnTo>
                    <a:pt x="54271" y="151983"/>
                  </a:lnTo>
                  <a:lnTo>
                    <a:pt x="50036" y="155643"/>
                  </a:lnTo>
                  <a:lnTo>
                    <a:pt x="48705" y="157398"/>
                  </a:lnTo>
                  <a:lnTo>
                    <a:pt x="48705" y="157429"/>
                  </a:lnTo>
                  <a:lnTo>
                    <a:pt x="48705" y="157429"/>
                  </a:lnTo>
                  <a:lnTo>
                    <a:pt x="48674" y="157429"/>
                  </a:lnTo>
                  <a:lnTo>
                    <a:pt x="47373" y="157912"/>
                  </a:lnTo>
                  <a:lnTo>
                    <a:pt x="44591" y="158487"/>
                  </a:lnTo>
                  <a:lnTo>
                    <a:pt x="43411" y="159153"/>
                  </a:lnTo>
                  <a:lnTo>
                    <a:pt x="42715" y="160242"/>
                  </a:lnTo>
                  <a:lnTo>
                    <a:pt x="42079" y="161815"/>
                  </a:lnTo>
                  <a:lnTo>
                    <a:pt x="40295" y="167956"/>
                  </a:lnTo>
                  <a:lnTo>
                    <a:pt x="39690" y="169347"/>
                  </a:lnTo>
                  <a:lnTo>
                    <a:pt x="39629" y="169529"/>
                  </a:lnTo>
                  <a:lnTo>
                    <a:pt x="38449" y="170860"/>
                  </a:lnTo>
                  <a:lnTo>
                    <a:pt x="35364" y="172040"/>
                  </a:lnTo>
                  <a:lnTo>
                    <a:pt x="32308" y="172736"/>
                  </a:lnTo>
                  <a:lnTo>
                    <a:pt x="24745" y="170860"/>
                  </a:lnTo>
                  <a:lnTo>
                    <a:pt x="21993" y="171193"/>
                  </a:lnTo>
                  <a:lnTo>
                    <a:pt x="20631" y="172070"/>
                  </a:lnTo>
                  <a:lnTo>
                    <a:pt x="20087" y="172766"/>
                  </a:lnTo>
                  <a:lnTo>
                    <a:pt x="20057" y="172796"/>
                  </a:lnTo>
                  <a:lnTo>
                    <a:pt x="19361" y="173189"/>
                  </a:lnTo>
                  <a:lnTo>
                    <a:pt x="17576" y="172948"/>
                  </a:lnTo>
                  <a:lnTo>
                    <a:pt x="16215" y="172978"/>
                  </a:lnTo>
                  <a:lnTo>
                    <a:pt x="15307" y="173704"/>
                  </a:lnTo>
                  <a:lnTo>
                    <a:pt x="13734" y="175912"/>
                  </a:lnTo>
                  <a:lnTo>
                    <a:pt x="12675" y="176759"/>
                  </a:lnTo>
                  <a:lnTo>
                    <a:pt x="10104" y="177999"/>
                  </a:lnTo>
                  <a:lnTo>
                    <a:pt x="9226" y="178725"/>
                  </a:lnTo>
                  <a:lnTo>
                    <a:pt x="8591" y="179633"/>
                  </a:lnTo>
                  <a:lnTo>
                    <a:pt x="8289" y="180087"/>
                  </a:lnTo>
                  <a:lnTo>
                    <a:pt x="8137" y="180571"/>
                  </a:lnTo>
                  <a:lnTo>
                    <a:pt x="8470" y="181024"/>
                  </a:lnTo>
                  <a:lnTo>
                    <a:pt x="10890" y="186379"/>
                  </a:lnTo>
                  <a:lnTo>
                    <a:pt x="12221" y="188255"/>
                  </a:lnTo>
                  <a:lnTo>
                    <a:pt x="13734" y="189344"/>
                  </a:lnTo>
                  <a:lnTo>
                    <a:pt x="13825" y="189737"/>
                  </a:lnTo>
                  <a:lnTo>
                    <a:pt x="13855" y="190100"/>
                  </a:lnTo>
                  <a:lnTo>
                    <a:pt x="13825" y="190493"/>
                  </a:lnTo>
                  <a:lnTo>
                    <a:pt x="13734" y="190886"/>
                  </a:lnTo>
                  <a:lnTo>
                    <a:pt x="12373" y="192066"/>
                  </a:lnTo>
                  <a:lnTo>
                    <a:pt x="9771" y="196665"/>
                  </a:lnTo>
                  <a:lnTo>
                    <a:pt x="10467" y="198358"/>
                  </a:lnTo>
                  <a:lnTo>
                    <a:pt x="10013" y="201474"/>
                  </a:lnTo>
                  <a:lnTo>
                    <a:pt x="9680" y="202775"/>
                  </a:lnTo>
                  <a:lnTo>
                    <a:pt x="8440" y="207797"/>
                  </a:lnTo>
                  <a:lnTo>
                    <a:pt x="8077" y="210308"/>
                  </a:lnTo>
                  <a:lnTo>
                    <a:pt x="8531" y="210489"/>
                  </a:lnTo>
                  <a:lnTo>
                    <a:pt x="13734" y="214967"/>
                  </a:lnTo>
                  <a:lnTo>
                    <a:pt x="16820" y="217024"/>
                  </a:lnTo>
                  <a:lnTo>
                    <a:pt x="18090" y="218476"/>
                  </a:lnTo>
                  <a:lnTo>
                    <a:pt x="18847" y="220231"/>
                  </a:lnTo>
                  <a:lnTo>
                    <a:pt x="18847" y="220261"/>
                  </a:lnTo>
                  <a:lnTo>
                    <a:pt x="19270" y="222136"/>
                  </a:lnTo>
                  <a:lnTo>
                    <a:pt x="18937" y="224738"/>
                  </a:lnTo>
                  <a:lnTo>
                    <a:pt x="17546" y="229306"/>
                  </a:lnTo>
                  <a:lnTo>
                    <a:pt x="16487" y="231333"/>
                  </a:lnTo>
                  <a:lnTo>
                    <a:pt x="15337" y="232028"/>
                  </a:lnTo>
                  <a:lnTo>
                    <a:pt x="14097" y="232301"/>
                  </a:lnTo>
                  <a:lnTo>
                    <a:pt x="12554" y="232966"/>
                  </a:lnTo>
                  <a:lnTo>
                    <a:pt x="11012" y="234842"/>
                  </a:lnTo>
                  <a:lnTo>
                    <a:pt x="9408" y="239410"/>
                  </a:lnTo>
                  <a:lnTo>
                    <a:pt x="7926" y="241195"/>
                  </a:lnTo>
                  <a:lnTo>
                    <a:pt x="6111" y="241739"/>
                  </a:lnTo>
                  <a:lnTo>
                    <a:pt x="1936" y="241800"/>
                  </a:lnTo>
                  <a:lnTo>
                    <a:pt x="0" y="242737"/>
                  </a:lnTo>
                  <a:lnTo>
                    <a:pt x="9922" y="255110"/>
                  </a:lnTo>
                  <a:lnTo>
                    <a:pt x="13734" y="257712"/>
                  </a:lnTo>
                  <a:lnTo>
                    <a:pt x="15065" y="261282"/>
                  </a:lnTo>
                  <a:lnTo>
                    <a:pt x="16306" y="263248"/>
                  </a:lnTo>
                  <a:lnTo>
                    <a:pt x="16608" y="263762"/>
                  </a:lnTo>
                  <a:lnTo>
                    <a:pt x="18725" y="265698"/>
                  </a:lnTo>
                  <a:lnTo>
                    <a:pt x="27438" y="271476"/>
                  </a:lnTo>
                  <a:lnTo>
                    <a:pt x="28376" y="271930"/>
                  </a:lnTo>
                  <a:lnTo>
                    <a:pt x="33277" y="274229"/>
                  </a:lnTo>
                  <a:lnTo>
                    <a:pt x="36271" y="274804"/>
                  </a:lnTo>
                  <a:lnTo>
                    <a:pt x="36755" y="275167"/>
                  </a:lnTo>
                  <a:lnTo>
                    <a:pt x="37119" y="275712"/>
                  </a:lnTo>
                  <a:lnTo>
                    <a:pt x="37572" y="276226"/>
                  </a:lnTo>
                  <a:lnTo>
                    <a:pt x="38238" y="276498"/>
                  </a:lnTo>
                  <a:lnTo>
                    <a:pt x="42836" y="276286"/>
                  </a:lnTo>
                  <a:lnTo>
                    <a:pt x="43865" y="276407"/>
                  </a:lnTo>
                  <a:lnTo>
                    <a:pt x="44288" y="276891"/>
                  </a:lnTo>
                  <a:lnTo>
                    <a:pt x="44530" y="277708"/>
                  </a:lnTo>
                  <a:lnTo>
                    <a:pt x="44893" y="278555"/>
                  </a:lnTo>
                  <a:lnTo>
                    <a:pt x="45680" y="279130"/>
                  </a:lnTo>
                  <a:lnTo>
                    <a:pt x="46375" y="279100"/>
                  </a:lnTo>
                  <a:lnTo>
                    <a:pt x="47918" y="278585"/>
                  </a:lnTo>
                  <a:lnTo>
                    <a:pt x="48493" y="278646"/>
                  </a:lnTo>
                  <a:lnTo>
                    <a:pt x="49642" y="279342"/>
                  </a:lnTo>
                  <a:lnTo>
                    <a:pt x="50187" y="279947"/>
                  </a:lnTo>
                  <a:lnTo>
                    <a:pt x="50368" y="280824"/>
                  </a:lnTo>
                  <a:lnTo>
                    <a:pt x="50368" y="280915"/>
                  </a:lnTo>
                  <a:lnTo>
                    <a:pt x="50459" y="282548"/>
                  </a:lnTo>
                  <a:lnTo>
                    <a:pt x="50489" y="282579"/>
                  </a:lnTo>
                  <a:lnTo>
                    <a:pt x="51276" y="283910"/>
                  </a:lnTo>
                  <a:lnTo>
                    <a:pt x="51548" y="285241"/>
                  </a:lnTo>
                  <a:lnTo>
                    <a:pt x="51700" y="288236"/>
                  </a:lnTo>
                  <a:lnTo>
                    <a:pt x="52456" y="291079"/>
                  </a:lnTo>
                  <a:lnTo>
                    <a:pt x="53545" y="293893"/>
                  </a:lnTo>
                  <a:lnTo>
                    <a:pt x="53696" y="294770"/>
                  </a:lnTo>
                  <a:lnTo>
                    <a:pt x="53666" y="296615"/>
                  </a:lnTo>
                  <a:lnTo>
                    <a:pt x="53908" y="297553"/>
                  </a:lnTo>
                  <a:lnTo>
                    <a:pt x="54029" y="297674"/>
                  </a:lnTo>
                  <a:lnTo>
                    <a:pt x="54331" y="297977"/>
                  </a:lnTo>
                  <a:lnTo>
                    <a:pt x="55511" y="298582"/>
                  </a:lnTo>
                  <a:lnTo>
                    <a:pt x="55995" y="299066"/>
                  </a:lnTo>
                  <a:lnTo>
                    <a:pt x="56631" y="300548"/>
                  </a:lnTo>
                  <a:lnTo>
                    <a:pt x="57689" y="304783"/>
                  </a:lnTo>
                  <a:lnTo>
                    <a:pt x="59837" y="309442"/>
                  </a:lnTo>
                  <a:lnTo>
                    <a:pt x="60473" y="310349"/>
                  </a:lnTo>
                  <a:lnTo>
                    <a:pt x="61562" y="310803"/>
                  </a:lnTo>
                  <a:lnTo>
                    <a:pt x="63952" y="310924"/>
                  </a:lnTo>
                  <a:lnTo>
                    <a:pt x="65010" y="311378"/>
                  </a:lnTo>
                  <a:lnTo>
                    <a:pt x="66795" y="313980"/>
                  </a:lnTo>
                  <a:lnTo>
                    <a:pt x="66886" y="316884"/>
                  </a:lnTo>
                  <a:lnTo>
                    <a:pt x="65767" y="319758"/>
                  </a:lnTo>
                  <a:lnTo>
                    <a:pt x="64435" y="321724"/>
                  </a:lnTo>
                  <a:lnTo>
                    <a:pt x="63558" y="323055"/>
                  </a:lnTo>
                  <a:lnTo>
                    <a:pt x="62923" y="324840"/>
                  </a:lnTo>
                  <a:lnTo>
                    <a:pt x="62590" y="325445"/>
                  </a:lnTo>
                  <a:lnTo>
                    <a:pt x="62046" y="325778"/>
                  </a:lnTo>
                  <a:lnTo>
                    <a:pt x="60442" y="326201"/>
                  </a:lnTo>
                  <a:lnTo>
                    <a:pt x="59958" y="326625"/>
                  </a:lnTo>
                  <a:lnTo>
                    <a:pt x="59474" y="328046"/>
                  </a:lnTo>
                  <a:lnTo>
                    <a:pt x="59172" y="329741"/>
                  </a:lnTo>
                  <a:lnTo>
                    <a:pt x="59081" y="331525"/>
                  </a:lnTo>
                  <a:lnTo>
                    <a:pt x="59232" y="333159"/>
                  </a:lnTo>
                  <a:lnTo>
                    <a:pt x="59565" y="333885"/>
                  </a:lnTo>
                  <a:lnTo>
                    <a:pt x="60533" y="335246"/>
                  </a:lnTo>
                  <a:lnTo>
                    <a:pt x="60745" y="336063"/>
                  </a:lnTo>
                  <a:lnTo>
                    <a:pt x="60654" y="336789"/>
                  </a:lnTo>
                  <a:lnTo>
                    <a:pt x="60170" y="338846"/>
                  </a:lnTo>
                  <a:lnTo>
                    <a:pt x="60230" y="340752"/>
                  </a:lnTo>
                  <a:lnTo>
                    <a:pt x="60503" y="349344"/>
                  </a:lnTo>
                  <a:lnTo>
                    <a:pt x="60654" y="349949"/>
                  </a:lnTo>
                  <a:lnTo>
                    <a:pt x="61229" y="351219"/>
                  </a:lnTo>
                  <a:lnTo>
                    <a:pt x="61350" y="351915"/>
                  </a:lnTo>
                  <a:lnTo>
                    <a:pt x="61077" y="352490"/>
                  </a:lnTo>
                  <a:lnTo>
                    <a:pt x="59928" y="353821"/>
                  </a:lnTo>
                  <a:lnTo>
                    <a:pt x="59595" y="354577"/>
                  </a:lnTo>
                  <a:lnTo>
                    <a:pt x="59807" y="357209"/>
                  </a:lnTo>
                  <a:lnTo>
                    <a:pt x="60321" y="359780"/>
                  </a:lnTo>
                  <a:lnTo>
                    <a:pt x="59958" y="362079"/>
                  </a:lnTo>
                  <a:lnTo>
                    <a:pt x="57538" y="363804"/>
                  </a:lnTo>
                  <a:lnTo>
                    <a:pt x="77504" y="366617"/>
                  </a:lnTo>
                  <a:lnTo>
                    <a:pt x="81739" y="366194"/>
                  </a:lnTo>
                  <a:lnTo>
                    <a:pt x="84008" y="365589"/>
                  </a:lnTo>
                  <a:lnTo>
                    <a:pt x="85097" y="364984"/>
                  </a:lnTo>
                  <a:lnTo>
                    <a:pt x="86005" y="364137"/>
                  </a:lnTo>
                  <a:lnTo>
                    <a:pt x="86519" y="362957"/>
                  </a:lnTo>
                  <a:lnTo>
                    <a:pt x="86670" y="360718"/>
                  </a:lnTo>
                  <a:lnTo>
                    <a:pt x="87003" y="359780"/>
                  </a:lnTo>
                  <a:lnTo>
                    <a:pt x="88485" y="358480"/>
                  </a:lnTo>
                  <a:lnTo>
                    <a:pt x="90724" y="357179"/>
                  </a:lnTo>
                  <a:lnTo>
                    <a:pt x="93053" y="356241"/>
                  </a:lnTo>
                  <a:lnTo>
                    <a:pt x="94838" y="356120"/>
                  </a:lnTo>
                  <a:lnTo>
                    <a:pt x="96714" y="357330"/>
                  </a:lnTo>
                  <a:lnTo>
                    <a:pt x="97651" y="358752"/>
                  </a:lnTo>
                  <a:lnTo>
                    <a:pt x="98710" y="359690"/>
                  </a:lnTo>
                  <a:lnTo>
                    <a:pt x="100858" y="359447"/>
                  </a:lnTo>
                  <a:lnTo>
                    <a:pt x="102643" y="358540"/>
                  </a:lnTo>
                  <a:lnTo>
                    <a:pt x="105698" y="356483"/>
                  </a:lnTo>
                  <a:lnTo>
                    <a:pt x="107604" y="355908"/>
                  </a:lnTo>
                  <a:lnTo>
                    <a:pt x="117527" y="356180"/>
                  </a:lnTo>
                  <a:lnTo>
                    <a:pt x="124182" y="359357"/>
                  </a:lnTo>
                  <a:lnTo>
                    <a:pt x="127540" y="359478"/>
                  </a:lnTo>
                  <a:lnTo>
                    <a:pt x="128780" y="358721"/>
                  </a:lnTo>
                  <a:lnTo>
                    <a:pt x="129083" y="358570"/>
                  </a:lnTo>
                  <a:lnTo>
                    <a:pt x="131594" y="356180"/>
                  </a:lnTo>
                  <a:lnTo>
                    <a:pt x="133530" y="355545"/>
                  </a:lnTo>
                  <a:lnTo>
                    <a:pt x="136888" y="355515"/>
                  </a:lnTo>
                  <a:lnTo>
                    <a:pt x="140185" y="356211"/>
                  </a:lnTo>
                  <a:lnTo>
                    <a:pt x="141819" y="355817"/>
                  </a:lnTo>
                  <a:lnTo>
                    <a:pt x="144118" y="352338"/>
                  </a:lnTo>
                  <a:lnTo>
                    <a:pt x="145600" y="351673"/>
                  </a:lnTo>
                  <a:lnTo>
                    <a:pt x="147385" y="351733"/>
                  </a:lnTo>
                  <a:lnTo>
                    <a:pt x="149533" y="351522"/>
                  </a:lnTo>
                  <a:lnTo>
                    <a:pt x="151620" y="351038"/>
                  </a:lnTo>
                  <a:lnTo>
                    <a:pt x="153223" y="350312"/>
                  </a:lnTo>
                  <a:lnTo>
                    <a:pt x="155946" y="347982"/>
                  </a:lnTo>
                  <a:lnTo>
                    <a:pt x="156763" y="348073"/>
                  </a:lnTo>
                  <a:lnTo>
                    <a:pt x="161512" y="351280"/>
                  </a:lnTo>
                  <a:lnTo>
                    <a:pt x="162995" y="351189"/>
                  </a:lnTo>
                  <a:lnTo>
                    <a:pt x="164658" y="349646"/>
                  </a:lnTo>
                  <a:lnTo>
                    <a:pt x="165233" y="349283"/>
                  </a:lnTo>
                  <a:lnTo>
                    <a:pt x="165778" y="349192"/>
                  </a:lnTo>
                  <a:lnTo>
                    <a:pt x="166231" y="348890"/>
                  </a:lnTo>
                  <a:lnTo>
                    <a:pt x="166625" y="348013"/>
                  </a:lnTo>
                  <a:lnTo>
                    <a:pt x="168833" y="349374"/>
                  </a:lnTo>
                  <a:lnTo>
                    <a:pt x="170043" y="349585"/>
                  </a:lnTo>
                  <a:lnTo>
                    <a:pt x="171162" y="349071"/>
                  </a:lnTo>
                  <a:lnTo>
                    <a:pt x="171767" y="348133"/>
                  </a:lnTo>
                  <a:lnTo>
                    <a:pt x="171828" y="347105"/>
                  </a:lnTo>
                  <a:lnTo>
                    <a:pt x="171556" y="344382"/>
                  </a:lnTo>
                  <a:lnTo>
                    <a:pt x="171314" y="340419"/>
                  </a:lnTo>
                  <a:lnTo>
                    <a:pt x="174248" y="339149"/>
                  </a:lnTo>
                  <a:lnTo>
                    <a:pt x="178271" y="339482"/>
                  </a:lnTo>
                  <a:lnTo>
                    <a:pt x="181236" y="340298"/>
                  </a:lnTo>
                  <a:lnTo>
                    <a:pt x="182023" y="340873"/>
                  </a:lnTo>
                  <a:lnTo>
                    <a:pt x="182476" y="341599"/>
                  </a:lnTo>
                  <a:lnTo>
                    <a:pt x="182930" y="342113"/>
                  </a:lnTo>
                  <a:lnTo>
                    <a:pt x="183656" y="342174"/>
                  </a:lnTo>
                  <a:lnTo>
                    <a:pt x="183959" y="341690"/>
                  </a:lnTo>
                  <a:lnTo>
                    <a:pt x="184382" y="339784"/>
                  </a:lnTo>
                  <a:lnTo>
                    <a:pt x="184806" y="338997"/>
                  </a:lnTo>
                  <a:lnTo>
                    <a:pt x="186288" y="337818"/>
                  </a:lnTo>
                  <a:lnTo>
                    <a:pt x="186440" y="337697"/>
                  </a:lnTo>
                  <a:lnTo>
                    <a:pt x="188103" y="336729"/>
                  </a:lnTo>
                  <a:lnTo>
                    <a:pt x="190009" y="335972"/>
                  </a:lnTo>
                  <a:lnTo>
                    <a:pt x="191764" y="335761"/>
                  </a:lnTo>
                  <a:lnTo>
                    <a:pt x="193397" y="337455"/>
                  </a:lnTo>
                  <a:lnTo>
                    <a:pt x="195364" y="338634"/>
                  </a:lnTo>
                  <a:lnTo>
                    <a:pt x="195454" y="339693"/>
                  </a:lnTo>
                  <a:lnTo>
                    <a:pt x="195212" y="340752"/>
                  </a:lnTo>
                  <a:lnTo>
                    <a:pt x="195394" y="341418"/>
                  </a:lnTo>
                  <a:lnTo>
                    <a:pt x="196332" y="341720"/>
                  </a:lnTo>
                  <a:lnTo>
                    <a:pt x="197028" y="341508"/>
                  </a:lnTo>
                  <a:lnTo>
                    <a:pt x="197693" y="341145"/>
                  </a:lnTo>
                  <a:lnTo>
                    <a:pt x="198570" y="341024"/>
                  </a:lnTo>
                  <a:lnTo>
                    <a:pt x="201263" y="341327"/>
                  </a:lnTo>
                  <a:lnTo>
                    <a:pt x="202140" y="341236"/>
                  </a:lnTo>
                  <a:lnTo>
                    <a:pt x="205528" y="340298"/>
                  </a:lnTo>
                  <a:lnTo>
                    <a:pt x="207071" y="340177"/>
                  </a:lnTo>
                  <a:lnTo>
                    <a:pt x="209188" y="340480"/>
                  </a:lnTo>
                  <a:lnTo>
                    <a:pt x="210701" y="340177"/>
                  </a:lnTo>
                  <a:lnTo>
                    <a:pt x="212728" y="337485"/>
                  </a:lnTo>
                  <a:lnTo>
                    <a:pt x="214966" y="337031"/>
                  </a:lnTo>
                  <a:lnTo>
                    <a:pt x="217871" y="336003"/>
                  </a:lnTo>
                  <a:lnTo>
                    <a:pt x="219958" y="337727"/>
                  </a:lnTo>
                  <a:lnTo>
                    <a:pt x="221198" y="340964"/>
                  </a:lnTo>
                  <a:lnTo>
                    <a:pt x="221531" y="344382"/>
                  </a:lnTo>
                  <a:lnTo>
                    <a:pt x="221803" y="345381"/>
                  </a:lnTo>
                  <a:lnTo>
                    <a:pt x="222257" y="345955"/>
                  </a:lnTo>
                  <a:lnTo>
                    <a:pt x="222741" y="346439"/>
                  </a:lnTo>
                  <a:lnTo>
                    <a:pt x="223316" y="347165"/>
                  </a:lnTo>
                  <a:lnTo>
                    <a:pt x="223649" y="347528"/>
                  </a:lnTo>
                  <a:lnTo>
                    <a:pt x="224617" y="348073"/>
                  </a:lnTo>
                  <a:lnTo>
                    <a:pt x="225010" y="348496"/>
                  </a:lnTo>
                  <a:lnTo>
                    <a:pt x="225131" y="349102"/>
                  </a:lnTo>
                  <a:lnTo>
                    <a:pt x="224859" y="350463"/>
                  </a:lnTo>
                  <a:lnTo>
                    <a:pt x="224950" y="350917"/>
                  </a:lnTo>
                  <a:lnTo>
                    <a:pt x="226492" y="352248"/>
                  </a:lnTo>
                  <a:lnTo>
                    <a:pt x="227884" y="352550"/>
                  </a:lnTo>
                  <a:lnTo>
                    <a:pt x="231393" y="352490"/>
                  </a:lnTo>
                  <a:lnTo>
                    <a:pt x="230758" y="353730"/>
                  </a:lnTo>
                  <a:lnTo>
                    <a:pt x="233087" y="353730"/>
                  </a:lnTo>
                  <a:lnTo>
                    <a:pt x="235053" y="354002"/>
                  </a:lnTo>
                  <a:lnTo>
                    <a:pt x="236899" y="354819"/>
                  </a:lnTo>
                  <a:lnTo>
                    <a:pt x="238865" y="356422"/>
                  </a:lnTo>
                  <a:lnTo>
                    <a:pt x="242253" y="360476"/>
                  </a:lnTo>
                  <a:lnTo>
                    <a:pt x="244462" y="362291"/>
                  </a:lnTo>
                  <a:lnTo>
                    <a:pt x="246458" y="362352"/>
                  </a:lnTo>
                  <a:lnTo>
                    <a:pt x="247336" y="360597"/>
                  </a:lnTo>
                  <a:lnTo>
                    <a:pt x="247063" y="358449"/>
                  </a:lnTo>
                  <a:lnTo>
                    <a:pt x="247366" y="356816"/>
                  </a:lnTo>
                  <a:lnTo>
                    <a:pt x="251268" y="356543"/>
                  </a:lnTo>
                  <a:lnTo>
                    <a:pt x="253386" y="355878"/>
                  </a:lnTo>
                  <a:lnTo>
                    <a:pt x="254384" y="355666"/>
                  </a:lnTo>
                  <a:lnTo>
                    <a:pt x="255715" y="355817"/>
                  </a:lnTo>
                  <a:lnTo>
                    <a:pt x="258801" y="357572"/>
                  </a:lnTo>
                  <a:lnTo>
                    <a:pt x="275258" y="364015"/>
                  </a:lnTo>
                  <a:lnTo>
                    <a:pt x="276891" y="363683"/>
                  </a:lnTo>
                  <a:lnTo>
                    <a:pt x="277406" y="363683"/>
                  </a:lnTo>
                  <a:lnTo>
                    <a:pt x="277708" y="364015"/>
                  </a:lnTo>
                  <a:lnTo>
                    <a:pt x="278495" y="365226"/>
                  </a:lnTo>
                  <a:lnTo>
                    <a:pt x="278888" y="365649"/>
                  </a:lnTo>
                  <a:lnTo>
                    <a:pt x="282639" y="367283"/>
                  </a:lnTo>
                  <a:lnTo>
                    <a:pt x="283063" y="367434"/>
                  </a:lnTo>
                  <a:lnTo>
                    <a:pt x="284968" y="368946"/>
                  </a:lnTo>
                  <a:lnTo>
                    <a:pt x="289264" y="374362"/>
                  </a:lnTo>
                  <a:lnTo>
                    <a:pt x="291231" y="375451"/>
                  </a:lnTo>
                  <a:lnTo>
                    <a:pt x="293560" y="375783"/>
                  </a:lnTo>
                  <a:lnTo>
                    <a:pt x="295919" y="375632"/>
                  </a:lnTo>
                  <a:lnTo>
                    <a:pt x="312800" y="370610"/>
                  </a:lnTo>
                  <a:lnTo>
                    <a:pt x="315371" y="370187"/>
                  </a:lnTo>
                  <a:lnTo>
                    <a:pt x="316430" y="370278"/>
                  </a:lnTo>
                  <a:lnTo>
                    <a:pt x="317216" y="370489"/>
                  </a:lnTo>
                  <a:lnTo>
                    <a:pt x="318003" y="370580"/>
                  </a:lnTo>
                  <a:lnTo>
                    <a:pt x="318971" y="370217"/>
                  </a:lnTo>
                  <a:lnTo>
                    <a:pt x="319879" y="369219"/>
                  </a:lnTo>
                  <a:lnTo>
                    <a:pt x="320514" y="367857"/>
                  </a:lnTo>
                  <a:lnTo>
                    <a:pt x="321300" y="366708"/>
                  </a:lnTo>
                  <a:lnTo>
                    <a:pt x="322662" y="366254"/>
                  </a:lnTo>
                  <a:lnTo>
                    <a:pt x="331525" y="366829"/>
                  </a:lnTo>
                  <a:lnTo>
                    <a:pt x="332524" y="367162"/>
                  </a:lnTo>
                  <a:lnTo>
                    <a:pt x="334641" y="368281"/>
                  </a:lnTo>
                  <a:lnTo>
                    <a:pt x="335609" y="368523"/>
                  </a:lnTo>
                  <a:lnTo>
                    <a:pt x="336729" y="368402"/>
                  </a:lnTo>
                  <a:lnTo>
                    <a:pt x="337424" y="367948"/>
                  </a:lnTo>
                  <a:lnTo>
                    <a:pt x="338120" y="367313"/>
                  </a:lnTo>
                  <a:lnTo>
                    <a:pt x="339360" y="366466"/>
                  </a:lnTo>
                  <a:lnTo>
                    <a:pt x="340510" y="366103"/>
                  </a:lnTo>
                  <a:lnTo>
                    <a:pt x="343989" y="365861"/>
                  </a:lnTo>
                  <a:lnTo>
                    <a:pt x="347740" y="363532"/>
                  </a:lnTo>
                  <a:lnTo>
                    <a:pt x="348769" y="363138"/>
                  </a:lnTo>
                  <a:lnTo>
                    <a:pt x="351037" y="363955"/>
                  </a:lnTo>
                  <a:lnTo>
                    <a:pt x="353972" y="366950"/>
                  </a:lnTo>
                  <a:lnTo>
                    <a:pt x="355908" y="367706"/>
                  </a:lnTo>
                  <a:lnTo>
                    <a:pt x="357360" y="367434"/>
                  </a:lnTo>
                  <a:lnTo>
                    <a:pt x="359871" y="366224"/>
                  </a:lnTo>
                  <a:lnTo>
                    <a:pt x="361262" y="366254"/>
                  </a:lnTo>
                  <a:lnTo>
                    <a:pt x="362624" y="366466"/>
                  </a:lnTo>
                  <a:lnTo>
                    <a:pt x="363743" y="366375"/>
                  </a:lnTo>
                  <a:lnTo>
                    <a:pt x="366012" y="365347"/>
                  </a:lnTo>
                  <a:lnTo>
                    <a:pt x="368704" y="363683"/>
                  </a:lnTo>
                  <a:lnTo>
                    <a:pt x="370005" y="363078"/>
                  </a:lnTo>
                  <a:lnTo>
                    <a:pt x="378596" y="361232"/>
                  </a:lnTo>
                  <a:lnTo>
                    <a:pt x="379323" y="361414"/>
                  </a:lnTo>
                  <a:lnTo>
                    <a:pt x="379958" y="361111"/>
                  </a:lnTo>
                  <a:lnTo>
                    <a:pt x="381107" y="359417"/>
                  </a:lnTo>
                  <a:lnTo>
                    <a:pt x="382681" y="356301"/>
                  </a:lnTo>
                  <a:lnTo>
                    <a:pt x="383800" y="353216"/>
                  </a:lnTo>
                  <a:lnTo>
                    <a:pt x="384314" y="352459"/>
                  </a:lnTo>
                  <a:lnTo>
                    <a:pt x="384949" y="352248"/>
                  </a:lnTo>
                  <a:lnTo>
                    <a:pt x="385464" y="351975"/>
                  </a:lnTo>
                  <a:lnTo>
                    <a:pt x="385645" y="350977"/>
                  </a:lnTo>
                  <a:lnTo>
                    <a:pt x="385343" y="350251"/>
                  </a:lnTo>
                  <a:lnTo>
                    <a:pt x="383951" y="349041"/>
                  </a:lnTo>
                  <a:lnTo>
                    <a:pt x="383497" y="348466"/>
                  </a:lnTo>
                  <a:lnTo>
                    <a:pt x="382469" y="346288"/>
                  </a:lnTo>
                  <a:lnTo>
                    <a:pt x="382650" y="345471"/>
                  </a:lnTo>
                  <a:lnTo>
                    <a:pt x="383830" y="344352"/>
                  </a:lnTo>
                  <a:lnTo>
                    <a:pt x="384193" y="342809"/>
                  </a:lnTo>
                  <a:lnTo>
                    <a:pt x="384344" y="341418"/>
                  </a:lnTo>
                  <a:lnTo>
                    <a:pt x="384193" y="339996"/>
                  </a:lnTo>
                  <a:lnTo>
                    <a:pt x="383709" y="338362"/>
                  </a:lnTo>
                  <a:lnTo>
                    <a:pt x="383134" y="337818"/>
                  </a:lnTo>
                  <a:lnTo>
                    <a:pt x="381561" y="337515"/>
                  </a:lnTo>
                  <a:lnTo>
                    <a:pt x="381017" y="337122"/>
                  </a:lnTo>
                  <a:lnTo>
                    <a:pt x="380835" y="336275"/>
                  </a:lnTo>
                  <a:lnTo>
                    <a:pt x="380986" y="334339"/>
                  </a:lnTo>
                  <a:lnTo>
                    <a:pt x="380896" y="333401"/>
                  </a:lnTo>
                  <a:lnTo>
                    <a:pt x="379988" y="330255"/>
                  </a:lnTo>
                  <a:lnTo>
                    <a:pt x="379413" y="329196"/>
                  </a:lnTo>
                  <a:lnTo>
                    <a:pt x="378536" y="328258"/>
                  </a:lnTo>
                  <a:lnTo>
                    <a:pt x="377356" y="327774"/>
                  </a:lnTo>
                  <a:lnTo>
                    <a:pt x="375965" y="327502"/>
                  </a:lnTo>
                  <a:lnTo>
                    <a:pt x="374513" y="326897"/>
                  </a:lnTo>
                  <a:lnTo>
                    <a:pt x="373787" y="325868"/>
                  </a:lnTo>
                  <a:lnTo>
                    <a:pt x="373333" y="325233"/>
                  </a:lnTo>
                  <a:lnTo>
                    <a:pt x="372849" y="323811"/>
                  </a:lnTo>
                  <a:lnTo>
                    <a:pt x="372576" y="322057"/>
                  </a:lnTo>
                  <a:lnTo>
                    <a:pt x="372637" y="320272"/>
                  </a:lnTo>
                  <a:lnTo>
                    <a:pt x="373212" y="318729"/>
                  </a:lnTo>
                  <a:lnTo>
                    <a:pt x="373877" y="318003"/>
                  </a:lnTo>
                  <a:lnTo>
                    <a:pt x="374573" y="317821"/>
                  </a:lnTo>
                  <a:lnTo>
                    <a:pt x="375239" y="317791"/>
                  </a:lnTo>
                  <a:lnTo>
                    <a:pt x="375995" y="317489"/>
                  </a:lnTo>
                  <a:lnTo>
                    <a:pt x="378718" y="315462"/>
                  </a:lnTo>
                  <a:lnTo>
                    <a:pt x="381380" y="314796"/>
                  </a:lnTo>
                  <a:lnTo>
                    <a:pt x="386886" y="314645"/>
                  </a:lnTo>
                  <a:lnTo>
                    <a:pt x="389124" y="312679"/>
                  </a:lnTo>
                  <a:lnTo>
                    <a:pt x="390576" y="312770"/>
                  </a:lnTo>
                  <a:lnTo>
                    <a:pt x="391393" y="313254"/>
                  </a:lnTo>
                  <a:lnTo>
                    <a:pt x="394055" y="316067"/>
                  </a:lnTo>
                  <a:lnTo>
                    <a:pt x="395356" y="317065"/>
                  </a:lnTo>
                  <a:lnTo>
                    <a:pt x="397474" y="317640"/>
                  </a:lnTo>
                  <a:lnTo>
                    <a:pt x="401346" y="317307"/>
                  </a:lnTo>
                  <a:lnTo>
                    <a:pt x="400317" y="316006"/>
                  </a:lnTo>
                  <a:lnTo>
                    <a:pt x="399621" y="313526"/>
                  </a:lnTo>
                  <a:lnTo>
                    <a:pt x="400015" y="310833"/>
                  </a:lnTo>
                  <a:lnTo>
                    <a:pt x="401406" y="307839"/>
                  </a:lnTo>
                  <a:lnTo>
                    <a:pt x="405581" y="304481"/>
                  </a:lnTo>
                  <a:lnTo>
                    <a:pt x="415927" y="304904"/>
                  </a:lnTo>
                  <a:lnTo>
                    <a:pt x="420737" y="303543"/>
                  </a:lnTo>
                  <a:lnTo>
                    <a:pt x="422068" y="301849"/>
                  </a:lnTo>
                  <a:lnTo>
                    <a:pt x="422915" y="299580"/>
                  </a:lnTo>
                  <a:lnTo>
                    <a:pt x="423338" y="297341"/>
                  </a:lnTo>
                  <a:lnTo>
                    <a:pt x="423429" y="296434"/>
                  </a:lnTo>
                  <a:lnTo>
                    <a:pt x="423520" y="295677"/>
                  </a:lnTo>
                  <a:lnTo>
                    <a:pt x="423611" y="295042"/>
                  </a:lnTo>
                  <a:lnTo>
                    <a:pt x="424034" y="293953"/>
                  </a:lnTo>
                  <a:lnTo>
                    <a:pt x="424125" y="293257"/>
                  </a:lnTo>
                  <a:lnTo>
                    <a:pt x="423823" y="292834"/>
                  </a:lnTo>
                  <a:lnTo>
                    <a:pt x="422612" y="292108"/>
                  </a:lnTo>
                  <a:lnTo>
                    <a:pt x="422431" y="291654"/>
                  </a:lnTo>
                  <a:lnTo>
                    <a:pt x="422854" y="290837"/>
                  </a:lnTo>
                  <a:lnTo>
                    <a:pt x="423460" y="290232"/>
                  </a:lnTo>
                  <a:lnTo>
                    <a:pt x="424216" y="289748"/>
                  </a:lnTo>
                  <a:lnTo>
                    <a:pt x="427120" y="286874"/>
                  </a:lnTo>
                  <a:lnTo>
                    <a:pt x="428754" y="285785"/>
                  </a:lnTo>
                  <a:lnTo>
                    <a:pt x="430569" y="285604"/>
                  </a:lnTo>
                  <a:lnTo>
                    <a:pt x="440007" y="287056"/>
                  </a:lnTo>
                  <a:lnTo>
                    <a:pt x="441943" y="286844"/>
                  </a:lnTo>
                  <a:lnTo>
                    <a:pt x="442972" y="286179"/>
                  </a:lnTo>
                  <a:lnTo>
                    <a:pt x="445150" y="284152"/>
                  </a:lnTo>
                  <a:lnTo>
                    <a:pt x="446329" y="283819"/>
                  </a:lnTo>
                  <a:lnTo>
                    <a:pt x="447298" y="284242"/>
                  </a:lnTo>
                  <a:lnTo>
                    <a:pt x="449143" y="285725"/>
                  </a:lnTo>
                  <a:lnTo>
                    <a:pt x="450262" y="286027"/>
                  </a:lnTo>
                  <a:lnTo>
                    <a:pt x="451079" y="285634"/>
                  </a:lnTo>
                  <a:lnTo>
                    <a:pt x="452108" y="284848"/>
                  </a:lnTo>
                  <a:lnTo>
                    <a:pt x="453318" y="283879"/>
                  </a:lnTo>
                  <a:lnTo>
                    <a:pt x="454407" y="283274"/>
                  </a:lnTo>
                  <a:lnTo>
                    <a:pt x="455526" y="283244"/>
                  </a:lnTo>
                  <a:lnTo>
                    <a:pt x="456464" y="283547"/>
                  </a:lnTo>
                  <a:lnTo>
                    <a:pt x="457371" y="283577"/>
                  </a:lnTo>
                  <a:lnTo>
                    <a:pt x="458491" y="282579"/>
                  </a:lnTo>
                  <a:lnTo>
                    <a:pt x="459519" y="282155"/>
                  </a:lnTo>
                  <a:lnTo>
                    <a:pt x="461395" y="282427"/>
                  </a:lnTo>
                  <a:lnTo>
                    <a:pt x="462272" y="282216"/>
                  </a:lnTo>
                  <a:lnTo>
                    <a:pt x="463391" y="280975"/>
                  </a:lnTo>
                  <a:lnTo>
                    <a:pt x="464208" y="279493"/>
                  </a:lnTo>
                  <a:lnTo>
                    <a:pt x="465116" y="278222"/>
                  </a:lnTo>
                  <a:lnTo>
                    <a:pt x="466507" y="277678"/>
                  </a:lnTo>
                  <a:lnTo>
                    <a:pt x="468474" y="276438"/>
                  </a:lnTo>
                  <a:lnTo>
                    <a:pt x="470712" y="272596"/>
                  </a:lnTo>
                  <a:lnTo>
                    <a:pt x="473102" y="271446"/>
                  </a:lnTo>
                  <a:lnTo>
                    <a:pt x="473223" y="271476"/>
                  </a:lnTo>
                  <a:lnTo>
                    <a:pt x="475008" y="271476"/>
                  </a:lnTo>
                  <a:lnTo>
                    <a:pt x="476853" y="272021"/>
                  </a:lnTo>
                  <a:lnTo>
                    <a:pt x="478547" y="272928"/>
                  </a:lnTo>
                  <a:lnTo>
                    <a:pt x="480090" y="274078"/>
                  </a:lnTo>
                  <a:lnTo>
                    <a:pt x="481240" y="273987"/>
                  </a:lnTo>
                  <a:lnTo>
                    <a:pt x="483478" y="274078"/>
                  </a:lnTo>
                  <a:lnTo>
                    <a:pt x="485929" y="274683"/>
                  </a:lnTo>
                  <a:lnTo>
                    <a:pt x="486352" y="274501"/>
                  </a:lnTo>
                  <a:lnTo>
                    <a:pt x="486443" y="274078"/>
                  </a:lnTo>
                  <a:lnTo>
                    <a:pt x="486685" y="273564"/>
                  </a:lnTo>
                  <a:lnTo>
                    <a:pt x="488924" y="270811"/>
                  </a:lnTo>
                  <a:lnTo>
                    <a:pt x="490194" y="269873"/>
                  </a:lnTo>
                  <a:lnTo>
                    <a:pt x="492403" y="269601"/>
                  </a:lnTo>
                  <a:lnTo>
                    <a:pt x="495912" y="270357"/>
                  </a:lnTo>
                  <a:lnTo>
                    <a:pt x="499149" y="272112"/>
                  </a:lnTo>
                  <a:lnTo>
                    <a:pt x="501871" y="274623"/>
                  </a:lnTo>
                  <a:lnTo>
                    <a:pt x="506137" y="280673"/>
                  </a:lnTo>
                  <a:lnTo>
                    <a:pt x="508375" y="283093"/>
                  </a:lnTo>
                  <a:lnTo>
                    <a:pt x="510765" y="285029"/>
                  </a:lnTo>
                  <a:lnTo>
                    <a:pt x="518146" y="288841"/>
                  </a:lnTo>
                  <a:lnTo>
                    <a:pt x="519689" y="290051"/>
                  </a:lnTo>
                  <a:lnTo>
                    <a:pt x="522079" y="293167"/>
                  </a:lnTo>
                  <a:lnTo>
                    <a:pt x="523410" y="294014"/>
                  </a:lnTo>
                  <a:lnTo>
                    <a:pt x="525044" y="293348"/>
                  </a:lnTo>
                  <a:lnTo>
                    <a:pt x="523652" y="292804"/>
                  </a:lnTo>
                  <a:lnTo>
                    <a:pt x="523894" y="292531"/>
                  </a:lnTo>
                  <a:lnTo>
                    <a:pt x="524530" y="292229"/>
                  </a:lnTo>
                  <a:lnTo>
                    <a:pt x="524832" y="291987"/>
                  </a:lnTo>
                  <a:lnTo>
                    <a:pt x="524560" y="291805"/>
                  </a:lnTo>
                  <a:lnTo>
                    <a:pt x="524257" y="291654"/>
                  </a:lnTo>
                  <a:lnTo>
                    <a:pt x="523985" y="291442"/>
                  </a:lnTo>
                  <a:lnTo>
                    <a:pt x="523864" y="291170"/>
                  </a:lnTo>
                  <a:lnTo>
                    <a:pt x="526012" y="290474"/>
                  </a:lnTo>
                  <a:lnTo>
                    <a:pt x="527040" y="289839"/>
                  </a:lnTo>
                  <a:lnTo>
                    <a:pt x="527857" y="288841"/>
                  </a:lnTo>
                  <a:lnTo>
                    <a:pt x="528614" y="289385"/>
                  </a:lnTo>
                  <a:lnTo>
                    <a:pt x="529128" y="289385"/>
                  </a:lnTo>
                  <a:lnTo>
                    <a:pt x="529491" y="288780"/>
                  </a:lnTo>
                  <a:lnTo>
                    <a:pt x="529733" y="287540"/>
                  </a:lnTo>
                  <a:lnTo>
                    <a:pt x="537568" y="285664"/>
                  </a:lnTo>
                  <a:lnTo>
                    <a:pt x="541289" y="285785"/>
                  </a:lnTo>
                  <a:lnTo>
                    <a:pt x="546522" y="288447"/>
                  </a:lnTo>
                  <a:lnTo>
                    <a:pt x="547914" y="288871"/>
                  </a:lnTo>
                  <a:lnTo>
                    <a:pt x="549215" y="288810"/>
                  </a:lnTo>
                  <a:lnTo>
                    <a:pt x="550485" y="288357"/>
                  </a:lnTo>
                  <a:lnTo>
                    <a:pt x="550757" y="287600"/>
                  </a:lnTo>
                  <a:lnTo>
                    <a:pt x="549215" y="286723"/>
                  </a:lnTo>
                  <a:lnTo>
                    <a:pt x="549427" y="285483"/>
                  </a:lnTo>
                  <a:lnTo>
                    <a:pt x="549427" y="283819"/>
                  </a:lnTo>
                  <a:lnTo>
                    <a:pt x="549729" y="282579"/>
                  </a:lnTo>
                  <a:lnTo>
                    <a:pt x="550122" y="282397"/>
                  </a:lnTo>
                  <a:lnTo>
                    <a:pt x="550546" y="282367"/>
                  </a:lnTo>
                  <a:lnTo>
                    <a:pt x="550939" y="282397"/>
                  </a:lnTo>
                  <a:lnTo>
                    <a:pt x="551363" y="282579"/>
                  </a:lnTo>
                  <a:lnTo>
                    <a:pt x="553269" y="282276"/>
                  </a:lnTo>
                  <a:lnTo>
                    <a:pt x="554176" y="282337"/>
                  </a:lnTo>
                  <a:lnTo>
                    <a:pt x="556657" y="282911"/>
                  </a:lnTo>
                  <a:lnTo>
                    <a:pt x="559319" y="284122"/>
                  </a:lnTo>
                  <a:lnTo>
                    <a:pt x="560710" y="284485"/>
                  </a:lnTo>
                  <a:lnTo>
                    <a:pt x="565641" y="283970"/>
                  </a:lnTo>
                  <a:lnTo>
                    <a:pt x="567154" y="284424"/>
                  </a:lnTo>
                  <a:lnTo>
                    <a:pt x="570754" y="285180"/>
                  </a:lnTo>
                  <a:lnTo>
                    <a:pt x="570754" y="285180"/>
                  </a:lnTo>
                  <a:lnTo>
                    <a:pt x="570451" y="283910"/>
                  </a:lnTo>
                  <a:lnTo>
                    <a:pt x="571117" y="282427"/>
                  </a:lnTo>
                  <a:lnTo>
                    <a:pt x="570966" y="280703"/>
                  </a:lnTo>
                  <a:lnTo>
                    <a:pt x="570209" y="279100"/>
                  </a:lnTo>
                  <a:lnTo>
                    <a:pt x="569060" y="277980"/>
                  </a:lnTo>
                  <a:lnTo>
                    <a:pt x="569392" y="277859"/>
                  </a:lnTo>
                  <a:lnTo>
                    <a:pt x="569665" y="277859"/>
                  </a:lnTo>
                  <a:lnTo>
                    <a:pt x="569816" y="277678"/>
                  </a:lnTo>
                  <a:lnTo>
                    <a:pt x="569755" y="277043"/>
                  </a:lnTo>
                  <a:lnTo>
                    <a:pt x="568757" y="276286"/>
                  </a:lnTo>
                  <a:lnTo>
                    <a:pt x="567789" y="275318"/>
                  </a:lnTo>
                  <a:lnTo>
                    <a:pt x="567275" y="274169"/>
                  </a:lnTo>
                  <a:lnTo>
                    <a:pt x="567698" y="272808"/>
                  </a:lnTo>
                  <a:lnTo>
                    <a:pt x="566307" y="272384"/>
                  </a:lnTo>
                  <a:lnTo>
                    <a:pt x="565460" y="271234"/>
                  </a:lnTo>
                  <a:lnTo>
                    <a:pt x="564794" y="270055"/>
                  </a:lnTo>
                  <a:lnTo>
                    <a:pt x="559379" y="266878"/>
                  </a:lnTo>
                  <a:lnTo>
                    <a:pt x="557655" y="263429"/>
                  </a:lnTo>
                  <a:lnTo>
                    <a:pt x="556899" y="262583"/>
                  </a:lnTo>
                  <a:lnTo>
                    <a:pt x="553904" y="260979"/>
                  </a:lnTo>
                  <a:lnTo>
                    <a:pt x="554115" y="260586"/>
                  </a:lnTo>
                  <a:lnTo>
                    <a:pt x="554388" y="259648"/>
                  </a:lnTo>
                  <a:lnTo>
                    <a:pt x="554569" y="259224"/>
                  </a:lnTo>
                  <a:lnTo>
                    <a:pt x="553450" y="258619"/>
                  </a:lnTo>
                  <a:lnTo>
                    <a:pt x="552089" y="257500"/>
                  </a:lnTo>
                  <a:lnTo>
                    <a:pt x="550939" y="256320"/>
                  </a:lnTo>
                  <a:lnTo>
                    <a:pt x="550485" y="255413"/>
                  </a:lnTo>
                  <a:lnTo>
                    <a:pt x="549910" y="254596"/>
                  </a:lnTo>
                  <a:lnTo>
                    <a:pt x="546280" y="252418"/>
                  </a:lnTo>
                  <a:lnTo>
                    <a:pt x="546492" y="251934"/>
                  </a:lnTo>
                  <a:lnTo>
                    <a:pt x="546522" y="251813"/>
                  </a:lnTo>
                  <a:lnTo>
                    <a:pt x="546976" y="251480"/>
                  </a:lnTo>
                  <a:lnTo>
                    <a:pt x="544496" y="249605"/>
                  </a:lnTo>
                  <a:lnTo>
                    <a:pt x="544011" y="247305"/>
                  </a:lnTo>
                  <a:lnTo>
                    <a:pt x="545191" y="244976"/>
                  </a:lnTo>
                  <a:lnTo>
                    <a:pt x="547702" y="243040"/>
                  </a:lnTo>
                  <a:lnTo>
                    <a:pt x="546825" y="242374"/>
                  </a:lnTo>
                  <a:lnTo>
                    <a:pt x="546341" y="241709"/>
                  </a:lnTo>
                  <a:lnTo>
                    <a:pt x="546371" y="241013"/>
                  </a:lnTo>
                  <a:lnTo>
                    <a:pt x="546976" y="240348"/>
                  </a:lnTo>
                  <a:lnTo>
                    <a:pt x="546976" y="239561"/>
                  </a:lnTo>
                  <a:lnTo>
                    <a:pt x="545343" y="239652"/>
                  </a:lnTo>
                  <a:lnTo>
                    <a:pt x="544102" y="240015"/>
                  </a:lnTo>
                  <a:lnTo>
                    <a:pt x="542953" y="240136"/>
                  </a:lnTo>
                  <a:lnTo>
                    <a:pt x="541470" y="239561"/>
                  </a:lnTo>
                  <a:lnTo>
                    <a:pt x="540321" y="238291"/>
                  </a:lnTo>
                  <a:lnTo>
                    <a:pt x="539716" y="236536"/>
                  </a:lnTo>
                  <a:lnTo>
                    <a:pt x="539806" y="234842"/>
                  </a:lnTo>
                  <a:lnTo>
                    <a:pt x="540775" y="233601"/>
                  </a:lnTo>
                  <a:lnTo>
                    <a:pt x="539837" y="233420"/>
                  </a:lnTo>
                  <a:lnTo>
                    <a:pt x="539413" y="233117"/>
                  </a:lnTo>
                  <a:lnTo>
                    <a:pt x="538657" y="231877"/>
                  </a:lnTo>
                  <a:lnTo>
                    <a:pt x="540200" y="231212"/>
                  </a:lnTo>
                  <a:lnTo>
                    <a:pt x="540775" y="231030"/>
                  </a:lnTo>
                  <a:lnTo>
                    <a:pt x="540775" y="230092"/>
                  </a:lnTo>
                  <a:lnTo>
                    <a:pt x="539655" y="230334"/>
                  </a:lnTo>
                  <a:lnTo>
                    <a:pt x="538778" y="230213"/>
                  </a:lnTo>
                  <a:lnTo>
                    <a:pt x="538233" y="229578"/>
                  </a:lnTo>
                  <a:lnTo>
                    <a:pt x="538022" y="228398"/>
                  </a:lnTo>
                  <a:lnTo>
                    <a:pt x="535632" y="229941"/>
                  </a:lnTo>
                  <a:lnTo>
                    <a:pt x="534059" y="229608"/>
                  </a:lnTo>
                  <a:lnTo>
                    <a:pt x="533060" y="228066"/>
                  </a:lnTo>
                  <a:lnTo>
                    <a:pt x="532456" y="225918"/>
                  </a:lnTo>
                  <a:lnTo>
                    <a:pt x="532819" y="225706"/>
                  </a:lnTo>
                  <a:lnTo>
                    <a:pt x="533000" y="225736"/>
                  </a:lnTo>
                  <a:lnTo>
                    <a:pt x="533121" y="225615"/>
                  </a:lnTo>
                  <a:lnTo>
                    <a:pt x="533151" y="224980"/>
                  </a:lnTo>
                  <a:lnTo>
                    <a:pt x="531759" y="224617"/>
                  </a:lnTo>
                  <a:lnTo>
                    <a:pt x="530761" y="224950"/>
                  </a:lnTo>
                  <a:lnTo>
                    <a:pt x="529763" y="225555"/>
                  </a:lnTo>
                  <a:lnTo>
                    <a:pt x="528371" y="225918"/>
                  </a:lnTo>
                  <a:lnTo>
                    <a:pt x="527555" y="225494"/>
                  </a:lnTo>
                  <a:lnTo>
                    <a:pt x="526738" y="224768"/>
                  </a:lnTo>
                  <a:lnTo>
                    <a:pt x="525891" y="224617"/>
                  </a:lnTo>
                  <a:lnTo>
                    <a:pt x="524983" y="225918"/>
                  </a:lnTo>
                  <a:lnTo>
                    <a:pt x="523198" y="224435"/>
                  </a:lnTo>
                  <a:lnTo>
                    <a:pt x="522200" y="225040"/>
                  </a:lnTo>
                  <a:lnTo>
                    <a:pt x="521383" y="226462"/>
                  </a:lnTo>
                  <a:lnTo>
                    <a:pt x="520143" y="227551"/>
                  </a:lnTo>
                  <a:lnTo>
                    <a:pt x="519115" y="227279"/>
                  </a:lnTo>
                  <a:lnTo>
                    <a:pt x="515999" y="224193"/>
                  </a:lnTo>
                  <a:lnTo>
                    <a:pt x="515273" y="226765"/>
                  </a:lnTo>
                  <a:lnTo>
                    <a:pt x="515666" y="227279"/>
                  </a:lnTo>
                  <a:lnTo>
                    <a:pt x="515726" y="227309"/>
                  </a:lnTo>
                  <a:lnTo>
                    <a:pt x="515575" y="227460"/>
                  </a:lnTo>
                  <a:lnTo>
                    <a:pt x="515273" y="228398"/>
                  </a:lnTo>
                  <a:lnTo>
                    <a:pt x="514819" y="226492"/>
                  </a:lnTo>
                  <a:lnTo>
                    <a:pt x="514940" y="225857"/>
                  </a:lnTo>
                  <a:lnTo>
                    <a:pt x="515273" y="224980"/>
                  </a:lnTo>
                  <a:lnTo>
                    <a:pt x="514062" y="223770"/>
                  </a:lnTo>
                  <a:lnTo>
                    <a:pt x="514002" y="221924"/>
                  </a:lnTo>
                  <a:lnTo>
                    <a:pt x="514940" y="220745"/>
                  </a:lnTo>
                  <a:lnTo>
                    <a:pt x="516755" y="221561"/>
                  </a:lnTo>
                  <a:lnTo>
                    <a:pt x="517874" y="218476"/>
                  </a:lnTo>
                  <a:lnTo>
                    <a:pt x="518600" y="215360"/>
                  </a:lnTo>
                  <a:lnTo>
                    <a:pt x="519901" y="212788"/>
                  </a:lnTo>
                  <a:lnTo>
                    <a:pt x="522866" y="211215"/>
                  </a:lnTo>
                  <a:lnTo>
                    <a:pt x="532244" y="211458"/>
                  </a:lnTo>
                  <a:lnTo>
                    <a:pt x="533847" y="212153"/>
                  </a:lnTo>
                  <a:lnTo>
                    <a:pt x="532970" y="210066"/>
                  </a:lnTo>
                  <a:lnTo>
                    <a:pt x="531850" y="206557"/>
                  </a:lnTo>
                  <a:lnTo>
                    <a:pt x="531669" y="203259"/>
                  </a:lnTo>
                  <a:lnTo>
                    <a:pt x="533514" y="201807"/>
                  </a:lnTo>
                  <a:lnTo>
                    <a:pt x="535753" y="201414"/>
                  </a:lnTo>
                  <a:lnTo>
                    <a:pt x="540139" y="199690"/>
                  </a:lnTo>
                  <a:lnTo>
                    <a:pt x="542832" y="199236"/>
                  </a:lnTo>
                  <a:lnTo>
                    <a:pt x="541289" y="198510"/>
                  </a:lnTo>
                  <a:lnTo>
                    <a:pt x="540563" y="197572"/>
                  </a:lnTo>
                  <a:lnTo>
                    <a:pt x="540472" y="196392"/>
                  </a:lnTo>
                  <a:lnTo>
                    <a:pt x="540775" y="195031"/>
                  </a:lnTo>
                  <a:lnTo>
                    <a:pt x="541440" y="193307"/>
                  </a:lnTo>
                  <a:lnTo>
                    <a:pt x="542166" y="192550"/>
                  </a:lnTo>
                  <a:lnTo>
                    <a:pt x="543195" y="192338"/>
                  </a:lnTo>
                  <a:lnTo>
                    <a:pt x="547641" y="192460"/>
                  </a:lnTo>
                  <a:lnTo>
                    <a:pt x="553057" y="193307"/>
                  </a:lnTo>
                  <a:lnTo>
                    <a:pt x="558200" y="193034"/>
                  </a:lnTo>
                  <a:lnTo>
                    <a:pt x="558441" y="192157"/>
                  </a:lnTo>
                  <a:lnTo>
                    <a:pt x="558714" y="189828"/>
                  </a:lnTo>
                  <a:lnTo>
                    <a:pt x="558714" y="183808"/>
                  </a:lnTo>
                  <a:lnTo>
                    <a:pt x="558139" y="180480"/>
                  </a:lnTo>
                  <a:lnTo>
                    <a:pt x="557322" y="177788"/>
                  </a:lnTo>
                  <a:lnTo>
                    <a:pt x="557383" y="175700"/>
                  </a:lnTo>
                  <a:lnTo>
                    <a:pt x="559379" y="174278"/>
                  </a:lnTo>
                  <a:lnTo>
                    <a:pt x="558835" y="172403"/>
                  </a:lnTo>
                  <a:lnTo>
                    <a:pt x="559379" y="163872"/>
                  </a:lnTo>
                  <a:lnTo>
                    <a:pt x="559016" y="161270"/>
                  </a:lnTo>
                  <a:lnTo>
                    <a:pt x="557534" y="155523"/>
                  </a:lnTo>
                  <a:lnTo>
                    <a:pt x="557322" y="152679"/>
                  </a:lnTo>
                  <a:lnTo>
                    <a:pt x="557746" y="151287"/>
                  </a:lnTo>
                  <a:lnTo>
                    <a:pt x="558532" y="150380"/>
                  </a:lnTo>
                  <a:lnTo>
                    <a:pt x="559440" y="149563"/>
                  </a:lnTo>
                  <a:lnTo>
                    <a:pt x="560135" y="148383"/>
                  </a:lnTo>
                  <a:lnTo>
                    <a:pt x="561527" y="142242"/>
                  </a:lnTo>
                  <a:lnTo>
                    <a:pt x="563463" y="136736"/>
                  </a:lnTo>
                  <a:lnTo>
                    <a:pt x="563584" y="135254"/>
                  </a:lnTo>
                  <a:lnTo>
                    <a:pt x="562888" y="134286"/>
                  </a:lnTo>
                  <a:lnTo>
                    <a:pt x="559379" y="131896"/>
                  </a:lnTo>
                  <a:lnTo>
                    <a:pt x="559379" y="131019"/>
                  </a:lnTo>
                  <a:lnTo>
                    <a:pt x="560378" y="131019"/>
                  </a:lnTo>
                  <a:lnTo>
                    <a:pt x="561073" y="130807"/>
                  </a:lnTo>
                  <a:lnTo>
                    <a:pt x="562223" y="130081"/>
                  </a:lnTo>
                  <a:lnTo>
                    <a:pt x="569060" y="128387"/>
                  </a:lnTo>
                  <a:lnTo>
                    <a:pt x="570814" y="127177"/>
                  </a:lnTo>
                  <a:lnTo>
                    <a:pt x="572176" y="125120"/>
                  </a:lnTo>
                  <a:lnTo>
                    <a:pt x="577802" y="111658"/>
                  </a:lnTo>
                  <a:lnTo>
                    <a:pt x="578256" y="110539"/>
                  </a:lnTo>
                  <a:lnTo>
                    <a:pt x="581009" y="107030"/>
                  </a:lnTo>
                  <a:lnTo>
                    <a:pt x="584881" y="104972"/>
                  </a:lnTo>
                  <a:lnTo>
                    <a:pt x="586968" y="104700"/>
                  </a:lnTo>
                  <a:lnTo>
                    <a:pt x="593533" y="104972"/>
                  </a:lnTo>
                  <a:lnTo>
                    <a:pt x="595378" y="104579"/>
                  </a:lnTo>
                  <a:lnTo>
                    <a:pt x="599160" y="102794"/>
                  </a:lnTo>
                  <a:lnTo>
                    <a:pt x="601429" y="102371"/>
                  </a:lnTo>
                  <a:lnTo>
                    <a:pt x="606148" y="103188"/>
                  </a:lnTo>
                  <a:lnTo>
                    <a:pt x="608689" y="104156"/>
                  </a:lnTo>
                  <a:lnTo>
                    <a:pt x="609808" y="105366"/>
                  </a:lnTo>
                  <a:lnTo>
                    <a:pt x="610776" y="106092"/>
                  </a:lnTo>
                  <a:lnTo>
                    <a:pt x="615284" y="108421"/>
                  </a:lnTo>
                  <a:lnTo>
                    <a:pt x="616675" y="110176"/>
                  </a:lnTo>
                  <a:lnTo>
                    <a:pt x="616736" y="107967"/>
                  </a:lnTo>
                  <a:lnTo>
                    <a:pt x="617280" y="106364"/>
                  </a:lnTo>
                  <a:lnTo>
                    <a:pt x="618218" y="105154"/>
                  </a:lnTo>
                  <a:lnTo>
                    <a:pt x="622907" y="101040"/>
                  </a:lnTo>
                  <a:lnTo>
                    <a:pt x="623906" y="100556"/>
                  </a:lnTo>
                  <a:lnTo>
                    <a:pt x="625448" y="99134"/>
                  </a:lnTo>
                  <a:lnTo>
                    <a:pt x="627263" y="95685"/>
                  </a:lnTo>
                  <a:lnTo>
                    <a:pt x="628897" y="91662"/>
                  </a:lnTo>
                  <a:lnTo>
                    <a:pt x="629774" y="88395"/>
                  </a:lnTo>
                  <a:lnTo>
                    <a:pt x="629683" y="86549"/>
                  </a:lnTo>
                  <a:close/>
                </a:path>
              </a:pathLst>
            </a:custGeom>
            <a:solidFill>
              <a:srgbClr val="96A3AC"/>
            </a:solidFill>
            <a:ln w="3175" cap="rnd">
              <a:solidFill>
                <a:schemeClr val="bg1"/>
              </a:solidFill>
              <a:prstDash val="solid"/>
              <a:round/>
            </a:ln>
          </p:spPr>
          <p:txBody>
            <a:bodyPr rtlCol="0" anchor="ctr"/>
            <a:lstStyle/>
            <a:p>
              <a:endParaRPr lang="en-ID"/>
            </a:p>
          </p:txBody>
        </p:sp>
        <p:sp>
          <p:nvSpPr>
            <p:cNvPr id="61" name="Freeform: Shape 60">
              <a:extLst>
                <a:ext uri="{FF2B5EF4-FFF2-40B4-BE49-F238E27FC236}">
                  <a16:creationId xmlns:a16="http://schemas.microsoft.com/office/drawing/2014/main" id="{566AB85C-67A5-E59F-3A9C-1B8E089E1FAE}"/>
                </a:ext>
              </a:extLst>
            </p:cNvPr>
            <p:cNvSpPr/>
            <p:nvPr/>
          </p:nvSpPr>
          <p:spPr>
            <a:xfrm>
              <a:off x="9386137" y="4554850"/>
              <a:ext cx="305259" cy="271493"/>
            </a:xfrm>
            <a:custGeom>
              <a:avLst/>
              <a:gdLst>
                <a:gd name="connsiteX0" fmla="*/ 391998 w 392723"/>
                <a:gd name="connsiteY0" fmla="*/ 159667 h 349282"/>
                <a:gd name="connsiteX1" fmla="*/ 390727 w 392723"/>
                <a:gd name="connsiteY1" fmla="*/ 158608 h 349282"/>
                <a:gd name="connsiteX2" fmla="*/ 389820 w 392723"/>
                <a:gd name="connsiteY2" fmla="*/ 158911 h 349282"/>
                <a:gd name="connsiteX3" fmla="*/ 389215 w 392723"/>
                <a:gd name="connsiteY3" fmla="*/ 159697 h 349282"/>
                <a:gd name="connsiteX4" fmla="*/ 388852 w 392723"/>
                <a:gd name="connsiteY4" fmla="*/ 160030 h 349282"/>
                <a:gd name="connsiteX5" fmla="*/ 387914 w 392723"/>
                <a:gd name="connsiteY5" fmla="*/ 159334 h 349282"/>
                <a:gd name="connsiteX6" fmla="*/ 386280 w 392723"/>
                <a:gd name="connsiteY6" fmla="*/ 157489 h 349282"/>
                <a:gd name="connsiteX7" fmla="*/ 382983 w 392723"/>
                <a:gd name="connsiteY7" fmla="*/ 155734 h 349282"/>
                <a:gd name="connsiteX8" fmla="*/ 382408 w 392723"/>
                <a:gd name="connsiteY8" fmla="*/ 154948 h 349282"/>
                <a:gd name="connsiteX9" fmla="*/ 380593 w 392723"/>
                <a:gd name="connsiteY9" fmla="*/ 152498 h 349282"/>
                <a:gd name="connsiteX10" fmla="*/ 379050 w 392723"/>
                <a:gd name="connsiteY10" fmla="*/ 151136 h 349282"/>
                <a:gd name="connsiteX11" fmla="*/ 378385 w 392723"/>
                <a:gd name="connsiteY11" fmla="*/ 150349 h 349282"/>
                <a:gd name="connsiteX12" fmla="*/ 378173 w 392723"/>
                <a:gd name="connsiteY12" fmla="*/ 148050 h 349282"/>
                <a:gd name="connsiteX13" fmla="*/ 377326 w 392723"/>
                <a:gd name="connsiteY13" fmla="*/ 147022 h 349282"/>
                <a:gd name="connsiteX14" fmla="*/ 376721 w 392723"/>
                <a:gd name="connsiteY14" fmla="*/ 147022 h 349282"/>
                <a:gd name="connsiteX15" fmla="*/ 375602 w 392723"/>
                <a:gd name="connsiteY15" fmla="*/ 148081 h 349282"/>
                <a:gd name="connsiteX16" fmla="*/ 374997 w 392723"/>
                <a:gd name="connsiteY16" fmla="*/ 148262 h 349282"/>
                <a:gd name="connsiteX17" fmla="*/ 374301 w 392723"/>
                <a:gd name="connsiteY17" fmla="*/ 147899 h 349282"/>
                <a:gd name="connsiteX18" fmla="*/ 373212 w 392723"/>
                <a:gd name="connsiteY18" fmla="*/ 146901 h 349282"/>
                <a:gd name="connsiteX19" fmla="*/ 368825 w 392723"/>
                <a:gd name="connsiteY19" fmla="*/ 143876 h 349282"/>
                <a:gd name="connsiteX20" fmla="*/ 366919 w 392723"/>
                <a:gd name="connsiteY20" fmla="*/ 142091 h 349282"/>
                <a:gd name="connsiteX21" fmla="*/ 366284 w 392723"/>
                <a:gd name="connsiteY21" fmla="*/ 140427 h 349282"/>
                <a:gd name="connsiteX22" fmla="*/ 366073 w 392723"/>
                <a:gd name="connsiteY22" fmla="*/ 137795 h 349282"/>
                <a:gd name="connsiteX23" fmla="*/ 364832 w 392723"/>
                <a:gd name="connsiteY23" fmla="*/ 135042 h 349282"/>
                <a:gd name="connsiteX24" fmla="*/ 363108 w 392723"/>
                <a:gd name="connsiteY24" fmla="*/ 132713 h 349282"/>
                <a:gd name="connsiteX25" fmla="*/ 361384 w 392723"/>
                <a:gd name="connsiteY25" fmla="*/ 131382 h 349282"/>
                <a:gd name="connsiteX26" fmla="*/ 360234 w 392723"/>
                <a:gd name="connsiteY26" fmla="*/ 131170 h 349282"/>
                <a:gd name="connsiteX27" fmla="*/ 356997 w 392723"/>
                <a:gd name="connsiteY27" fmla="*/ 131896 h 349282"/>
                <a:gd name="connsiteX28" fmla="*/ 355575 w 392723"/>
                <a:gd name="connsiteY28" fmla="*/ 131836 h 349282"/>
                <a:gd name="connsiteX29" fmla="*/ 354698 w 392723"/>
                <a:gd name="connsiteY29" fmla="*/ 131594 h 349282"/>
                <a:gd name="connsiteX30" fmla="*/ 352611 w 392723"/>
                <a:gd name="connsiteY30" fmla="*/ 130596 h 349282"/>
                <a:gd name="connsiteX31" fmla="*/ 348285 w 392723"/>
                <a:gd name="connsiteY31" fmla="*/ 129748 h 349282"/>
                <a:gd name="connsiteX32" fmla="*/ 346258 w 392723"/>
                <a:gd name="connsiteY32" fmla="*/ 128901 h 349282"/>
                <a:gd name="connsiteX33" fmla="*/ 344443 w 392723"/>
                <a:gd name="connsiteY33" fmla="*/ 126874 h 349282"/>
                <a:gd name="connsiteX34" fmla="*/ 342204 w 392723"/>
                <a:gd name="connsiteY34" fmla="*/ 122427 h 349282"/>
                <a:gd name="connsiteX35" fmla="*/ 341418 w 392723"/>
                <a:gd name="connsiteY35" fmla="*/ 119856 h 349282"/>
                <a:gd name="connsiteX36" fmla="*/ 341236 w 392723"/>
                <a:gd name="connsiteY36" fmla="*/ 117376 h 349282"/>
                <a:gd name="connsiteX37" fmla="*/ 342113 w 392723"/>
                <a:gd name="connsiteY37" fmla="*/ 114683 h 349282"/>
                <a:gd name="connsiteX38" fmla="*/ 343505 w 392723"/>
                <a:gd name="connsiteY38" fmla="*/ 113080 h 349282"/>
                <a:gd name="connsiteX39" fmla="*/ 344685 w 392723"/>
                <a:gd name="connsiteY39" fmla="*/ 111174 h 349282"/>
                <a:gd name="connsiteX40" fmla="*/ 344897 w 392723"/>
                <a:gd name="connsiteY40" fmla="*/ 107634 h 349282"/>
                <a:gd name="connsiteX41" fmla="*/ 343263 w 392723"/>
                <a:gd name="connsiteY41" fmla="*/ 101887 h 349282"/>
                <a:gd name="connsiteX42" fmla="*/ 343535 w 392723"/>
                <a:gd name="connsiteY42" fmla="*/ 99860 h 349282"/>
                <a:gd name="connsiteX43" fmla="*/ 347105 w 392723"/>
                <a:gd name="connsiteY43" fmla="*/ 98771 h 349282"/>
                <a:gd name="connsiteX44" fmla="*/ 347891 w 392723"/>
                <a:gd name="connsiteY44" fmla="*/ 98166 h 349282"/>
                <a:gd name="connsiteX45" fmla="*/ 348527 w 392723"/>
                <a:gd name="connsiteY45" fmla="*/ 97258 h 349282"/>
                <a:gd name="connsiteX46" fmla="*/ 349132 w 392723"/>
                <a:gd name="connsiteY46" fmla="*/ 96230 h 349282"/>
                <a:gd name="connsiteX47" fmla="*/ 349313 w 392723"/>
                <a:gd name="connsiteY47" fmla="*/ 95322 h 349282"/>
                <a:gd name="connsiteX48" fmla="*/ 349192 w 392723"/>
                <a:gd name="connsiteY48" fmla="*/ 93235 h 349282"/>
                <a:gd name="connsiteX49" fmla="*/ 349404 w 392723"/>
                <a:gd name="connsiteY49" fmla="*/ 92388 h 349282"/>
                <a:gd name="connsiteX50" fmla="*/ 349918 w 392723"/>
                <a:gd name="connsiteY50" fmla="*/ 91783 h 349282"/>
                <a:gd name="connsiteX51" fmla="*/ 351007 w 392723"/>
                <a:gd name="connsiteY51" fmla="*/ 91208 h 349282"/>
                <a:gd name="connsiteX52" fmla="*/ 351461 w 392723"/>
                <a:gd name="connsiteY52" fmla="*/ 90785 h 349282"/>
                <a:gd name="connsiteX53" fmla="*/ 356180 w 392723"/>
                <a:gd name="connsiteY53" fmla="*/ 83373 h 349282"/>
                <a:gd name="connsiteX54" fmla="*/ 357632 w 392723"/>
                <a:gd name="connsiteY54" fmla="*/ 79471 h 349282"/>
                <a:gd name="connsiteX55" fmla="*/ 358419 w 392723"/>
                <a:gd name="connsiteY55" fmla="*/ 78260 h 349282"/>
                <a:gd name="connsiteX56" fmla="*/ 359478 w 392723"/>
                <a:gd name="connsiteY56" fmla="*/ 77202 h 349282"/>
                <a:gd name="connsiteX57" fmla="*/ 361505 w 392723"/>
                <a:gd name="connsiteY57" fmla="*/ 75629 h 349282"/>
                <a:gd name="connsiteX58" fmla="*/ 362442 w 392723"/>
                <a:gd name="connsiteY58" fmla="*/ 74298 h 349282"/>
                <a:gd name="connsiteX59" fmla="*/ 363501 w 392723"/>
                <a:gd name="connsiteY59" fmla="*/ 71877 h 349282"/>
                <a:gd name="connsiteX60" fmla="*/ 367071 w 392723"/>
                <a:gd name="connsiteY60" fmla="*/ 56207 h 349282"/>
                <a:gd name="connsiteX61" fmla="*/ 367464 w 392723"/>
                <a:gd name="connsiteY61" fmla="*/ 55602 h 349282"/>
                <a:gd name="connsiteX62" fmla="*/ 368009 w 392723"/>
                <a:gd name="connsiteY62" fmla="*/ 55481 h 349282"/>
                <a:gd name="connsiteX63" fmla="*/ 368341 w 392723"/>
                <a:gd name="connsiteY63" fmla="*/ 55088 h 349282"/>
                <a:gd name="connsiteX64" fmla="*/ 368281 w 392723"/>
                <a:gd name="connsiteY64" fmla="*/ 53787 h 349282"/>
                <a:gd name="connsiteX65" fmla="*/ 367978 w 392723"/>
                <a:gd name="connsiteY65" fmla="*/ 52698 h 349282"/>
                <a:gd name="connsiteX66" fmla="*/ 367555 w 392723"/>
                <a:gd name="connsiteY66" fmla="*/ 51972 h 349282"/>
                <a:gd name="connsiteX67" fmla="*/ 366980 w 392723"/>
                <a:gd name="connsiteY67" fmla="*/ 51458 h 349282"/>
                <a:gd name="connsiteX68" fmla="*/ 366375 w 392723"/>
                <a:gd name="connsiteY68" fmla="*/ 50823 h 349282"/>
                <a:gd name="connsiteX69" fmla="*/ 366375 w 392723"/>
                <a:gd name="connsiteY69" fmla="*/ 50823 h 349282"/>
                <a:gd name="connsiteX70" fmla="*/ 366012 w 392723"/>
                <a:gd name="connsiteY70" fmla="*/ 50429 h 349282"/>
                <a:gd name="connsiteX71" fmla="*/ 365982 w 392723"/>
                <a:gd name="connsiteY71" fmla="*/ 50550 h 349282"/>
                <a:gd name="connsiteX72" fmla="*/ 365710 w 392723"/>
                <a:gd name="connsiteY72" fmla="*/ 50671 h 349282"/>
                <a:gd name="connsiteX73" fmla="*/ 364681 w 392723"/>
                <a:gd name="connsiteY73" fmla="*/ 50792 h 349282"/>
                <a:gd name="connsiteX74" fmla="*/ 363683 w 392723"/>
                <a:gd name="connsiteY74" fmla="*/ 50460 h 349282"/>
                <a:gd name="connsiteX75" fmla="*/ 361686 w 392723"/>
                <a:gd name="connsiteY75" fmla="*/ 48674 h 349282"/>
                <a:gd name="connsiteX76" fmla="*/ 360779 w 392723"/>
                <a:gd name="connsiteY76" fmla="*/ 48674 h 349282"/>
                <a:gd name="connsiteX77" fmla="*/ 359962 w 392723"/>
                <a:gd name="connsiteY77" fmla="*/ 49068 h 349282"/>
                <a:gd name="connsiteX78" fmla="*/ 359024 w 392723"/>
                <a:gd name="connsiteY78" fmla="*/ 49189 h 349282"/>
                <a:gd name="connsiteX79" fmla="*/ 354547 w 392723"/>
                <a:gd name="connsiteY79" fmla="*/ 48311 h 349282"/>
                <a:gd name="connsiteX80" fmla="*/ 353579 w 392723"/>
                <a:gd name="connsiteY80" fmla="*/ 48493 h 349282"/>
                <a:gd name="connsiteX81" fmla="*/ 351764 w 392723"/>
                <a:gd name="connsiteY81" fmla="*/ 49189 h 349282"/>
                <a:gd name="connsiteX82" fmla="*/ 350765 w 392723"/>
                <a:gd name="connsiteY82" fmla="*/ 49189 h 349282"/>
                <a:gd name="connsiteX83" fmla="*/ 350281 w 392723"/>
                <a:gd name="connsiteY83" fmla="*/ 48554 h 349282"/>
                <a:gd name="connsiteX84" fmla="*/ 349888 w 392723"/>
                <a:gd name="connsiteY84" fmla="*/ 47495 h 349282"/>
                <a:gd name="connsiteX85" fmla="*/ 349253 w 392723"/>
                <a:gd name="connsiteY85" fmla="*/ 46708 h 349282"/>
                <a:gd name="connsiteX86" fmla="*/ 347982 w 392723"/>
                <a:gd name="connsiteY86" fmla="*/ 46981 h 349282"/>
                <a:gd name="connsiteX87" fmla="*/ 338967 w 392723"/>
                <a:gd name="connsiteY87" fmla="*/ 53031 h 349282"/>
                <a:gd name="connsiteX88" fmla="*/ 337334 w 392723"/>
                <a:gd name="connsiteY88" fmla="*/ 53575 h 349282"/>
                <a:gd name="connsiteX89" fmla="*/ 335277 w 392723"/>
                <a:gd name="connsiteY89" fmla="*/ 53848 h 349282"/>
                <a:gd name="connsiteX90" fmla="*/ 332040 w 392723"/>
                <a:gd name="connsiteY90" fmla="*/ 54755 h 349282"/>
                <a:gd name="connsiteX91" fmla="*/ 330951 w 392723"/>
                <a:gd name="connsiteY91" fmla="*/ 55057 h 349282"/>
                <a:gd name="connsiteX92" fmla="*/ 319364 w 392723"/>
                <a:gd name="connsiteY92" fmla="*/ 55330 h 349282"/>
                <a:gd name="connsiteX93" fmla="*/ 316248 w 392723"/>
                <a:gd name="connsiteY93" fmla="*/ 54392 h 349282"/>
                <a:gd name="connsiteX94" fmla="*/ 314585 w 392723"/>
                <a:gd name="connsiteY94" fmla="*/ 53394 h 349282"/>
                <a:gd name="connsiteX95" fmla="*/ 314585 w 392723"/>
                <a:gd name="connsiteY95" fmla="*/ 53394 h 349282"/>
                <a:gd name="connsiteX96" fmla="*/ 312134 w 392723"/>
                <a:gd name="connsiteY96" fmla="*/ 51912 h 349282"/>
                <a:gd name="connsiteX97" fmla="*/ 308685 w 392723"/>
                <a:gd name="connsiteY97" fmla="*/ 48493 h 349282"/>
                <a:gd name="connsiteX98" fmla="*/ 307566 w 392723"/>
                <a:gd name="connsiteY98" fmla="*/ 44742 h 349282"/>
                <a:gd name="connsiteX99" fmla="*/ 308322 w 392723"/>
                <a:gd name="connsiteY99" fmla="*/ 43471 h 349282"/>
                <a:gd name="connsiteX100" fmla="*/ 310501 w 392723"/>
                <a:gd name="connsiteY100" fmla="*/ 41928 h 349282"/>
                <a:gd name="connsiteX101" fmla="*/ 310803 w 392723"/>
                <a:gd name="connsiteY101" fmla="*/ 40658 h 349282"/>
                <a:gd name="connsiteX102" fmla="*/ 310652 w 392723"/>
                <a:gd name="connsiteY102" fmla="*/ 40204 h 349282"/>
                <a:gd name="connsiteX103" fmla="*/ 310138 w 392723"/>
                <a:gd name="connsiteY103" fmla="*/ 39569 h 349282"/>
                <a:gd name="connsiteX104" fmla="*/ 309926 w 392723"/>
                <a:gd name="connsiteY104" fmla="*/ 39206 h 349282"/>
                <a:gd name="connsiteX105" fmla="*/ 309835 w 392723"/>
                <a:gd name="connsiteY105" fmla="*/ 38812 h 349282"/>
                <a:gd name="connsiteX106" fmla="*/ 309835 w 392723"/>
                <a:gd name="connsiteY106" fmla="*/ 38117 h 349282"/>
                <a:gd name="connsiteX107" fmla="*/ 309805 w 392723"/>
                <a:gd name="connsiteY107" fmla="*/ 37845 h 349282"/>
                <a:gd name="connsiteX108" fmla="*/ 309502 w 392723"/>
                <a:gd name="connsiteY108" fmla="*/ 37028 h 349282"/>
                <a:gd name="connsiteX109" fmla="*/ 309230 w 392723"/>
                <a:gd name="connsiteY109" fmla="*/ 36483 h 349282"/>
                <a:gd name="connsiteX110" fmla="*/ 308837 w 392723"/>
                <a:gd name="connsiteY110" fmla="*/ 36150 h 349282"/>
                <a:gd name="connsiteX111" fmla="*/ 308141 w 392723"/>
                <a:gd name="connsiteY111" fmla="*/ 35878 h 349282"/>
                <a:gd name="connsiteX112" fmla="*/ 305297 w 392723"/>
                <a:gd name="connsiteY112" fmla="*/ 35636 h 349282"/>
                <a:gd name="connsiteX113" fmla="*/ 304148 w 392723"/>
                <a:gd name="connsiteY113" fmla="*/ 35182 h 349282"/>
                <a:gd name="connsiteX114" fmla="*/ 302938 w 392723"/>
                <a:gd name="connsiteY114" fmla="*/ 33821 h 349282"/>
                <a:gd name="connsiteX115" fmla="*/ 299156 w 392723"/>
                <a:gd name="connsiteY115" fmla="*/ 26772 h 349282"/>
                <a:gd name="connsiteX116" fmla="*/ 298672 w 392723"/>
                <a:gd name="connsiteY116" fmla="*/ 26168 h 349282"/>
                <a:gd name="connsiteX117" fmla="*/ 298067 w 392723"/>
                <a:gd name="connsiteY117" fmla="*/ 25835 h 349282"/>
                <a:gd name="connsiteX118" fmla="*/ 297402 w 392723"/>
                <a:gd name="connsiteY118" fmla="*/ 25895 h 349282"/>
                <a:gd name="connsiteX119" fmla="*/ 296857 w 392723"/>
                <a:gd name="connsiteY119" fmla="*/ 26409 h 349282"/>
                <a:gd name="connsiteX120" fmla="*/ 296585 w 392723"/>
                <a:gd name="connsiteY120" fmla="*/ 27166 h 349282"/>
                <a:gd name="connsiteX121" fmla="*/ 296373 w 392723"/>
                <a:gd name="connsiteY121" fmla="*/ 27952 h 349282"/>
                <a:gd name="connsiteX122" fmla="*/ 296071 w 392723"/>
                <a:gd name="connsiteY122" fmla="*/ 28587 h 349282"/>
                <a:gd name="connsiteX123" fmla="*/ 295133 w 392723"/>
                <a:gd name="connsiteY123" fmla="*/ 29072 h 349282"/>
                <a:gd name="connsiteX124" fmla="*/ 294286 w 392723"/>
                <a:gd name="connsiteY124" fmla="*/ 28709 h 349282"/>
                <a:gd name="connsiteX125" fmla="*/ 293590 w 392723"/>
                <a:gd name="connsiteY125" fmla="*/ 27831 h 349282"/>
                <a:gd name="connsiteX126" fmla="*/ 293015 w 392723"/>
                <a:gd name="connsiteY126" fmla="*/ 26803 h 349282"/>
                <a:gd name="connsiteX127" fmla="*/ 292350 w 392723"/>
                <a:gd name="connsiteY127" fmla="*/ 25079 h 349282"/>
                <a:gd name="connsiteX128" fmla="*/ 291896 w 392723"/>
                <a:gd name="connsiteY128" fmla="*/ 24473 h 349282"/>
                <a:gd name="connsiteX129" fmla="*/ 291140 w 392723"/>
                <a:gd name="connsiteY129" fmla="*/ 24171 h 349282"/>
                <a:gd name="connsiteX130" fmla="*/ 290474 w 392723"/>
                <a:gd name="connsiteY130" fmla="*/ 24262 h 349282"/>
                <a:gd name="connsiteX131" fmla="*/ 289052 w 392723"/>
                <a:gd name="connsiteY131" fmla="*/ 25079 h 349282"/>
                <a:gd name="connsiteX132" fmla="*/ 288387 w 392723"/>
                <a:gd name="connsiteY132" fmla="*/ 25320 h 349282"/>
                <a:gd name="connsiteX133" fmla="*/ 287570 w 392723"/>
                <a:gd name="connsiteY133" fmla="*/ 25290 h 349282"/>
                <a:gd name="connsiteX134" fmla="*/ 285967 w 392723"/>
                <a:gd name="connsiteY134" fmla="*/ 24927 h 349282"/>
                <a:gd name="connsiteX135" fmla="*/ 285150 w 392723"/>
                <a:gd name="connsiteY135" fmla="*/ 24867 h 349282"/>
                <a:gd name="connsiteX136" fmla="*/ 283668 w 392723"/>
                <a:gd name="connsiteY136" fmla="*/ 25442 h 349282"/>
                <a:gd name="connsiteX137" fmla="*/ 283668 w 392723"/>
                <a:gd name="connsiteY137" fmla="*/ 25714 h 349282"/>
                <a:gd name="connsiteX138" fmla="*/ 283607 w 392723"/>
                <a:gd name="connsiteY138" fmla="*/ 26591 h 349282"/>
                <a:gd name="connsiteX139" fmla="*/ 284091 w 392723"/>
                <a:gd name="connsiteY139" fmla="*/ 28194 h 349282"/>
                <a:gd name="connsiteX140" fmla="*/ 284303 w 392723"/>
                <a:gd name="connsiteY140" fmla="*/ 30040 h 349282"/>
                <a:gd name="connsiteX141" fmla="*/ 281852 w 392723"/>
                <a:gd name="connsiteY141" fmla="*/ 29949 h 349282"/>
                <a:gd name="connsiteX142" fmla="*/ 279221 w 392723"/>
                <a:gd name="connsiteY142" fmla="*/ 29041 h 349282"/>
                <a:gd name="connsiteX143" fmla="*/ 278313 w 392723"/>
                <a:gd name="connsiteY143" fmla="*/ 28497 h 349282"/>
                <a:gd name="connsiteX144" fmla="*/ 276740 w 392723"/>
                <a:gd name="connsiteY144" fmla="*/ 27589 h 349282"/>
                <a:gd name="connsiteX145" fmla="*/ 275288 w 392723"/>
                <a:gd name="connsiteY145" fmla="*/ 26137 h 349282"/>
                <a:gd name="connsiteX146" fmla="*/ 275288 w 392723"/>
                <a:gd name="connsiteY146" fmla="*/ 26137 h 349282"/>
                <a:gd name="connsiteX147" fmla="*/ 273019 w 392723"/>
                <a:gd name="connsiteY147" fmla="*/ 23899 h 349282"/>
                <a:gd name="connsiteX148" fmla="*/ 271295 w 392723"/>
                <a:gd name="connsiteY148" fmla="*/ 22537 h 349282"/>
                <a:gd name="connsiteX149" fmla="*/ 269389 w 392723"/>
                <a:gd name="connsiteY149" fmla="*/ 21751 h 349282"/>
                <a:gd name="connsiteX150" fmla="*/ 262280 w 392723"/>
                <a:gd name="connsiteY150" fmla="*/ 21176 h 349282"/>
                <a:gd name="connsiteX151" fmla="*/ 260767 w 392723"/>
                <a:gd name="connsiteY151" fmla="*/ 20571 h 349282"/>
                <a:gd name="connsiteX152" fmla="*/ 256199 w 392723"/>
                <a:gd name="connsiteY152" fmla="*/ 17546 h 349282"/>
                <a:gd name="connsiteX153" fmla="*/ 253779 w 392723"/>
                <a:gd name="connsiteY153" fmla="*/ 16669 h 349282"/>
                <a:gd name="connsiteX154" fmla="*/ 251298 w 392723"/>
                <a:gd name="connsiteY154" fmla="*/ 17153 h 349282"/>
                <a:gd name="connsiteX155" fmla="*/ 250179 w 392723"/>
                <a:gd name="connsiteY155" fmla="*/ 18423 h 349282"/>
                <a:gd name="connsiteX156" fmla="*/ 249968 w 392723"/>
                <a:gd name="connsiteY156" fmla="*/ 20057 h 349282"/>
                <a:gd name="connsiteX157" fmla="*/ 249907 w 392723"/>
                <a:gd name="connsiteY157" fmla="*/ 21690 h 349282"/>
                <a:gd name="connsiteX158" fmla="*/ 249211 w 392723"/>
                <a:gd name="connsiteY158" fmla="*/ 23052 h 349282"/>
                <a:gd name="connsiteX159" fmla="*/ 247426 w 392723"/>
                <a:gd name="connsiteY159" fmla="*/ 24080 h 349282"/>
                <a:gd name="connsiteX160" fmla="*/ 245309 w 392723"/>
                <a:gd name="connsiteY160" fmla="*/ 24504 h 349282"/>
                <a:gd name="connsiteX161" fmla="*/ 244311 w 392723"/>
                <a:gd name="connsiteY161" fmla="*/ 24473 h 349282"/>
                <a:gd name="connsiteX162" fmla="*/ 244280 w 392723"/>
                <a:gd name="connsiteY162" fmla="*/ 24473 h 349282"/>
                <a:gd name="connsiteX163" fmla="*/ 243100 w 392723"/>
                <a:gd name="connsiteY163" fmla="*/ 24473 h 349282"/>
                <a:gd name="connsiteX164" fmla="*/ 241134 w 392723"/>
                <a:gd name="connsiteY164" fmla="*/ 24110 h 349282"/>
                <a:gd name="connsiteX165" fmla="*/ 238926 w 392723"/>
                <a:gd name="connsiteY165" fmla="*/ 23142 h 349282"/>
                <a:gd name="connsiteX166" fmla="*/ 233360 w 392723"/>
                <a:gd name="connsiteY166" fmla="*/ 18514 h 349282"/>
                <a:gd name="connsiteX167" fmla="*/ 231756 w 392723"/>
                <a:gd name="connsiteY167" fmla="*/ 17697 h 349282"/>
                <a:gd name="connsiteX168" fmla="*/ 230183 w 392723"/>
                <a:gd name="connsiteY168" fmla="*/ 17727 h 349282"/>
                <a:gd name="connsiteX169" fmla="*/ 228670 w 392723"/>
                <a:gd name="connsiteY169" fmla="*/ 18453 h 349282"/>
                <a:gd name="connsiteX170" fmla="*/ 222560 w 392723"/>
                <a:gd name="connsiteY170" fmla="*/ 25230 h 349282"/>
                <a:gd name="connsiteX171" fmla="*/ 220896 w 392723"/>
                <a:gd name="connsiteY171" fmla="*/ 26652 h 349282"/>
                <a:gd name="connsiteX172" fmla="*/ 220049 w 392723"/>
                <a:gd name="connsiteY172" fmla="*/ 27075 h 349282"/>
                <a:gd name="connsiteX173" fmla="*/ 217266 w 392723"/>
                <a:gd name="connsiteY173" fmla="*/ 27589 h 349282"/>
                <a:gd name="connsiteX174" fmla="*/ 214301 w 392723"/>
                <a:gd name="connsiteY174" fmla="*/ 28709 h 349282"/>
                <a:gd name="connsiteX175" fmla="*/ 213303 w 392723"/>
                <a:gd name="connsiteY175" fmla="*/ 28830 h 349282"/>
                <a:gd name="connsiteX176" fmla="*/ 211276 w 392723"/>
                <a:gd name="connsiteY176" fmla="*/ 28073 h 349282"/>
                <a:gd name="connsiteX177" fmla="*/ 209461 w 392723"/>
                <a:gd name="connsiteY177" fmla="*/ 26531 h 349282"/>
                <a:gd name="connsiteX178" fmla="*/ 203804 w 392723"/>
                <a:gd name="connsiteY178" fmla="*/ 19815 h 349282"/>
                <a:gd name="connsiteX179" fmla="*/ 201111 w 392723"/>
                <a:gd name="connsiteY179" fmla="*/ 17364 h 349282"/>
                <a:gd name="connsiteX180" fmla="*/ 198117 w 392723"/>
                <a:gd name="connsiteY180" fmla="*/ 15821 h 349282"/>
                <a:gd name="connsiteX181" fmla="*/ 194759 w 392723"/>
                <a:gd name="connsiteY181" fmla="*/ 15610 h 349282"/>
                <a:gd name="connsiteX182" fmla="*/ 192580 w 392723"/>
                <a:gd name="connsiteY182" fmla="*/ 16669 h 349282"/>
                <a:gd name="connsiteX183" fmla="*/ 188890 w 392723"/>
                <a:gd name="connsiteY183" fmla="*/ 20299 h 349282"/>
                <a:gd name="connsiteX184" fmla="*/ 186803 w 392723"/>
                <a:gd name="connsiteY184" fmla="*/ 21509 h 349282"/>
                <a:gd name="connsiteX185" fmla="*/ 185714 w 392723"/>
                <a:gd name="connsiteY185" fmla="*/ 21660 h 349282"/>
                <a:gd name="connsiteX186" fmla="*/ 183505 w 392723"/>
                <a:gd name="connsiteY186" fmla="*/ 21448 h 349282"/>
                <a:gd name="connsiteX187" fmla="*/ 178453 w 392723"/>
                <a:gd name="connsiteY187" fmla="*/ 22053 h 349282"/>
                <a:gd name="connsiteX188" fmla="*/ 177697 w 392723"/>
                <a:gd name="connsiteY188" fmla="*/ 22295 h 349282"/>
                <a:gd name="connsiteX189" fmla="*/ 178211 w 392723"/>
                <a:gd name="connsiteY189" fmla="*/ 21448 h 349282"/>
                <a:gd name="connsiteX190" fmla="*/ 179149 w 392723"/>
                <a:gd name="connsiteY190" fmla="*/ 18725 h 349282"/>
                <a:gd name="connsiteX191" fmla="*/ 176729 w 392723"/>
                <a:gd name="connsiteY191" fmla="*/ 19875 h 349282"/>
                <a:gd name="connsiteX192" fmla="*/ 175519 w 392723"/>
                <a:gd name="connsiteY192" fmla="*/ 20087 h 349282"/>
                <a:gd name="connsiteX193" fmla="*/ 174278 w 392723"/>
                <a:gd name="connsiteY193" fmla="*/ 19694 h 349282"/>
                <a:gd name="connsiteX194" fmla="*/ 175004 w 392723"/>
                <a:gd name="connsiteY194" fmla="*/ 18877 h 349282"/>
                <a:gd name="connsiteX195" fmla="*/ 175307 w 392723"/>
                <a:gd name="connsiteY195" fmla="*/ 18151 h 349282"/>
                <a:gd name="connsiteX196" fmla="*/ 175186 w 392723"/>
                <a:gd name="connsiteY196" fmla="*/ 17395 h 349282"/>
                <a:gd name="connsiteX197" fmla="*/ 174611 w 392723"/>
                <a:gd name="connsiteY197" fmla="*/ 16517 h 349282"/>
                <a:gd name="connsiteX198" fmla="*/ 173794 w 392723"/>
                <a:gd name="connsiteY198" fmla="*/ 16064 h 349282"/>
                <a:gd name="connsiteX199" fmla="*/ 173371 w 392723"/>
                <a:gd name="connsiteY199" fmla="*/ 16578 h 349282"/>
                <a:gd name="connsiteX200" fmla="*/ 173099 w 392723"/>
                <a:gd name="connsiteY200" fmla="*/ 17395 h 349282"/>
                <a:gd name="connsiteX201" fmla="*/ 172887 w 392723"/>
                <a:gd name="connsiteY201" fmla="*/ 17818 h 349282"/>
                <a:gd name="connsiteX202" fmla="*/ 169529 w 392723"/>
                <a:gd name="connsiteY202" fmla="*/ 18816 h 349282"/>
                <a:gd name="connsiteX203" fmla="*/ 167714 w 392723"/>
                <a:gd name="connsiteY203" fmla="*/ 18998 h 349282"/>
                <a:gd name="connsiteX204" fmla="*/ 166292 w 392723"/>
                <a:gd name="connsiteY204" fmla="*/ 18272 h 349282"/>
                <a:gd name="connsiteX205" fmla="*/ 165354 w 392723"/>
                <a:gd name="connsiteY205" fmla="*/ 17546 h 349282"/>
                <a:gd name="connsiteX206" fmla="*/ 162057 w 392723"/>
                <a:gd name="connsiteY206" fmla="*/ 15549 h 349282"/>
                <a:gd name="connsiteX207" fmla="*/ 160181 w 392723"/>
                <a:gd name="connsiteY207" fmla="*/ 14854 h 349282"/>
                <a:gd name="connsiteX208" fmla="*/ 156249 w 392723"/>
                <a:gd name="connsiteY208" fmla="*/ 12464 h 349282"/>
                <a:gd name="connsiteX209" fmla="*/ 154343 w 392723"/>
                <a:gd name="connsiteY209" fmla="*/ 16336 h 349282"/>
                <a:gd name="connsiteX210" fmla="*/ 153919 w 392723"/>
                <a:gd name="connsiteY210" fmla="*/ 16941 h 349282"/>
                <a:gd name="connsiteX211" fmla="*/ 149109 w 392723"/>
                <a:gd name="connsiteY211" fmla="*/ 17243 h 349282"/>
                <a:gd name="connsiteX212" fmla="*/ 148020 w 392723"/>
                <a:gd name="connsiteY212" fmla="*/ 17818 h 349282"/>
                <a:gd name="connsiteX213" fmla="*/ 141758 w 392723"/>
                <a:gd name="connsiteY213" fmla="*/ 15156 h 349282"/>
                <a:gd name="connsiteX214" fmla="*/ 139096 w 392723"/>
                <a:gd name="connsiteY214" fmla="*/ 14006 h 349282"/>
                <a:gd name="connsiteX215" fmla="*/ 134800 w 392723"/>
                <a:gd name="connsiteY215" fmla="*/ 11042 h 349282"/>
                <a:gd name="connsiteX216" fmla="*/ 132864 w 392723"/>
                <a:gd name="connsiteY216" fmla="*/ 7109 h 349282"/>
                <a:gd name="connsiteX217" fmla="*/ 132229 w 392723"/>
                <a:gd name="connsiteY217" fmla="*/ 7563 h 349282"/>
                <a:gd name="connsiteX218" fmla="*/ 130656 w 392723"/>
                <a:gd name="connsiteY218" fmla="*/ 8501 h 349282"/>
                <a:gd name="connsiteX219" fmla="*/ 130051 w 392723"/>
                <a:gd name="connsiteY219" fmla="*/ 8985 h 349282"/>
                <a:gd name="connsiteX220" fmla="*/ 130474 w 392723"/>
                <a:gd name="connsiteY220" fmla="*/ 7896 h 349282"/>
                <a:gd name="connsiteX221" fmla="*/ 130565 w 392723"/>
                <a:gd name="connsiteY221" fmla="*/ 7079 h 349282"/>
                <a:gd name="connsiteX222" fmla="*/ 130414 w 392723"/>
                <a:gd name="connsiteY222" fmla="*/ 6322 h 349282"/>
                <a:gd name="connsiteX223" fmla="*/ 130051 w 392723"/>
                <a:gd name="connsiteY223" fmla="*/ 5294 h 349282"/>
                <a:gd name="connsiteX224" fmla="*/ 129052 w 392723"/>
                <a:gd name="connsiteY224" fmla="*/ 6988 h 349282"/>
                <a:gd name="connsiteX225" fmla="*/ 128024 w 392723"/>
                <a:gd name="connsiteY225" fmla="*/ 6292 h 349282"/>
                <a:gd name="connsiteX226" fmla="*/ 126783 w 392723"/>
                <a:gd name="connsiteY226" fmla="*/ 4901 h 349282"/>
                <a:gd name="connsiteX227" fmla="*/ 125301 w 392723"/>
                <a:gd name="connsiteY227" fmla="*/ 4417 h 349282"/>
                <a:gd name="connsiteX228" fmla="*/ 125725 w 392723"/>
                <a:gd name="connsiteY228" fmla="*/ 5294 h 349282"/>
                <a:gd name="connsiteX229" fmla="*/ 125997 w 392723"/>
                <a:gd name="connsiteY229" fmla="*/ 6202 h 349282"/>
                <a:gd name="connsiteX230" fmla="*/ 123910 w 392723"/>
                <a:gd name="connsiteY230" fmla="*/ 6413 h 349282"/>
                <a:gd name="connsiteX231" fmla="*/ 123335 w 392723"/>
                <a:gd name="connsiteY231" fmla="*/ 5687 h 349282"/>
                <a:gd name="connsiteX232" fmla="*/ 123365 w 392723"/>
                <a:gd name="connsiteY232" fmla="*/ 4568 h 349282"/>
                <a:gd name="connsiteX233" fmla="*/ 123244 w 392723"/>
                <a:gd name="connsiteY233" fmla="*/ 3540 h 349282"/>
                <a:gd name="connsiteX234" fmla="*/ 122427 w 392723"/>
                <a:gd name="connsiteY234" fmla="*/ 756 h 349282"/>
                <a:gd name="connsiteX235" fmla="*/ 121611 w 392723"/>
                <a:gd name="connsiteY235" fmla="*/ 0 h 349282"/>
                <a:gd name="connsiteX236" fmla="*/ 118828 w 392723"/>
                <a:gd name="connsiteY236" fmla="*/ 2148 h 349282"/>
                <a:gd name="connsiteX237" fmla="*/ 118525 w 392723"/>
                <a:gd name="connsiteY237" fmla="*/ 2783 h 349282"/>
                <a:gd name="connsiteX238" fmla="*/ 117738 w 392723"/>
                <a:gd name="connsiteY238" fmla="*/ 3842 h 349282"/>
                <a:gd name="connsiteX239" fmla="*/ 116649 w 392723"/>
                <a:gd name="connsiteY239" fmla="*/ 4931 h 349282"/>
                <a:gd name="connsiteX240" fmla="*/ 115863 w 392723"/>
                <a:gd name="connsiteY240" fmla="*/ 5415 h 349282"/>
                <a:gd name="connsiteX241" fmla="*/ 115288 w 392723"/>
                <a:gd name="connsiteY241" fmla="*/ 6867 h 349282"/>
                <a:gd name="connsiteX242" fmla="*/ 114290 w 392723"/>
                <a:gd name="connsiteY242" fmla="*/ 7502 h 349282"/>
                <a:gd name="connsiteX243" fmla="*/ 113201 w 392723"/>
                <a:gd name="connsiteY243" fmla="*/ 7956 h 349282"/>
                <a:gd name="connsiteX244" fmla="*/ 112172 w 392723"/>
                <a:gd name="connsiteY244" fmla="*/ 8864 h 349282"/>
                <a:gd name="connsiteX245" fmla="*/ 111598 w 392723"/>
                <a:gd name="connsiteY245" fmla="*/ 10437 h 349282"/>
                <a:gd name="connsiteX246" fmla="*/ 111658 w 392723"/>
                <a:gd name="connsiteY246" fmla="*/ 11556 h 349282"/>
                <a:gd name="connsiteX247" fmla="*/ 111507 w 392723"/>
                <a:gd name="connsiteY247" fmla="*/ 12524 h 349282"/>
                <a:gd name="connsiteX248" fmla="*/ 110266 w 392723"/>
                <a:gd name="connsiteY248" fmla="*/ 13553 h 349282"/>
                <a:gd name="connsiteX249" fmla="*/ 107695 w 392723"/>
                <a:gd name="connsiteY249" fmla="*/ 13855 h 349282"/>
                <a:gd name="connsiteX250" fmla="*/ 87638 w 392723"/>
                <a:gd name="connsiteY250" fmla="*/ 8380 h 349282"/>
                <a:gd name="connsiteX251" fmla="*/ 81800 w 392723"/>
                <a:gd name="connsiteY251" fmla="*/ 8168 h 349282"/>
                <a:gd name="connsiteX252" fmla="*/ 77081 w 392723"/>
                <a:gd name="connsiteY252" fmla="*/ 11163 h 349282"/>
                <a:gd name="connsiteX253" fmla="*/ 73783 w 392723"/>
                <a:gd name="connsiteY253" fmla="*/ 17909 h 349282"/>
                <a:gd name="connsiteX254" fmla="*/ 72391 w 392723"/>
                <a:gd name="connsiteY254" fmla="*/ 19875 h 349282"/>
                <a:gd name="connsiteX255" fmla="*/ 71333 w 392723"/>
                <a:gd name="connsiteY255" fmla="*/ 20601 h 349282"/>
                <a:gd name="connsiteX256" fmla="*/ 68671 w 392723"/>
                <a:gd name="connsiteY256" fmla="*/ 21388 h 349282"/>
                <a:gd name="connsiteX257" fmla="*/ 67763 w 392723"/>
                <a:gd name="connsiteY257" fmla="*/ 21993 h 349282"/>
                <a:gd name="connsiteX258" fmla="*/ 67007 w 392723"/>
                <a:gd name="connsiteY258" fmla="*/ 23203 h 349282"/>
                <a:gd name="connsiteX259" fmla="*/ 67007 w 392723"/>
                <a:gd name="connsiteY259" fmla="*/ 23929 h 349282"/>
                <a:gd name="connsiteX260" fmla="*/ 67219 w 392723"/>
                <a:gd name="connsiteY260" fmla="*/ 24776 h 349282"/>
                <a:gd name="connsiteX261" fmla="*/ 67007 w 392723"/>
                <a:gd name="connsiteY261" fmla="*/ 26319 h 349282"/>
                <a:gd name="connsiteX262" fmla="*/ 66523 w 392723"/>
                <a:gd name="connsiteY262" fmla="*/ 27378 h 349282"/>
                <a:gd name="connsiteX263" fmla="*/ 64496 w 392723"/>
                <a:gd name="connsiteY263" fmla="*/ 30887 h 349282"/>
                <a:gd name="connsiteX264" fmla="*/ 63377 w 392723"/>
                <a:gd name="connsiteY264" fmla="*/ 34638 h 349282"/>
                <a:gd name="connsiteX265" fmla="*/ 63377 w 392723"/>
                <a:gd name="connsiteY265" fmla="*/ 34638 h 349282"/>
                <a:gd name="connsiteX266" fmla="*/ 62863 w 392723"/>
                <a:gd name="connsiteY266" fmla="*/ 36483 h 349282"/>
                <a:gd name="connsiteX267" fmla="*/ 60412 w 392723"/>
                <a:gd name="connsiteY267" fmla="*/ 37088 h 349282"/>
                <a:gd name="connsiteX268" fmla="*/ 56691 w 392723"/>
                <a:gd name="connsiteY268" fmla="*/ 36302 h 349282"/>
                <a:gd name="connsiteX269" fmla="*/ 52849 w 392723"/>
                <a:gd name="connsiteY269" fmla="*/ 34759 h 349282"/>
                <a:gd name="connsiteX270" fmla="*/ 50006 w 392723"/>
                <a:gd name="connsiteY270" fmla="*/ 33125 h 349282"/>
                <a:gd name="connsiteX271" fmla="*/ 40809 w 392723"/>
                <a:gd name="connsiteY271" fmla="*/ 24685 h 349282"/>
                <a:gd name="connsiteX272" fmla="*/ 39054 w 392723"/>
                <a:gd name="connsiteY272" fmla="*/ 22537 h 349282"/>
                <a:gd name="connsiteX273" fmla="*/ 36907 w 392723"/>
                <a:gd name="connsiteY273" fmla="*/ 17425 h 349282"/>
                <a:gd name="connsiteX274" fmla="*/ 35364 w 392723"/>
                <a:gd name="connsiteY274" fmla="*/ 15065 h 349282"/>
                <a:gd name="connsiteX275" fmla="*/ 34124 w 392723"/>
                <a:gd name="connsiteY275" fmla="*/ 14188 h 349282"/>
                <a:gd name="connsiteX276" fmla="*/ 31885 w 392723"/>
                <a:gd name="connsiteY276" fmla="*/ 13734 h 349282"/>
                <a:gd name="connsiteX277" fmla="*/ 31038 w 392723"/>
                <a:gd name="connsiteY277" fmla="*/ 13159 h 349282"/>
                <a:gd name="connsiteX278" fmla="*/ 31099 w 392723"/>
                <a:gd name="connsiteY278" fmla="*/ 12554 h 349282"/>
                <a:gd name="connsiteX279" fmla="*/ 31462 w 392723"/>
                <a:gd name="connsiteY279" fmla="*/ 11586 h 349282"/>
                <a:gd name="connsiteX280" fmla="*/ 31522 w 392723"/>
                <a:gd name="connsiteY280" fmla="*/ 10437 h 349282"/>
                <a:gd name="connsiteX281" fmla="*/ 30645 w 392723"/>
                <a:gd name="connsiteY281" fmla="*/ 9257 h 349282"/>
                <a:gd name="connsiteX282" fmla="*/ 29435 w 392723"/>
                <a:gd name="connsiteY282" fmla="*/ 8712 h 349282"/>
                <a:gd name="connsiteX283" fmla="*/ 28315 w 392723"/>
                <a:gd name="connsiteY283" fmla="*/ 8652 h 349282"/>
                <a:gd name="connsiteX284" fmla="*/ 26016 w 392723"/>
                <a:gd name="connsiteY284" fmla="*/ 9075 h 349282"/>
                <a:gd name="connsiteX285" fmla="*/ 16366 w 392723"/>
                <a:gd name="connsiteY285" fmla="*/ 8834 h 349282"/>
                <a:gd name="connsiteX286" fmla="*/ 10951 w 392723"/>
                <a:gd name="connsiteY286" fmla="*/ 9650 h 349282"/>
                <a:gd name="connsiteX287" fmla="*/ 8712 w 392723"/>
                <a:gd name="connsiteY287" fmla="*/ 11556 h 349282"/>
                <a:gd name="connsiteX288" fmla="*/ 7684 w 392723"/>
                <a:gd name="connsiteY288" fmla="*/ 12433 h 349282"/>
                <a:gd name="connsiteX289" fmla="*/ 6534 w 392723"/>
                <a:gd name="connsiteY289" fmla="*/ 15277 h 349282"/>
                <a:gd name="connsiteX290" fmla="*/ 6444 w 392723"/>
                <a:gd name="connsiteY290" fmla="*/ 16306 h 349282"/>
                <a:gd name="connsiteX291" fmla="*/ 6807 w 392723"/>
                <a:gd name="connsiteY291" fmla="*/ 24050 h 349282"/>
                <a:gd name="connsiteX292" fmla="*/ 6383 w 392723"/>
                <a:gd name="connsiteY292" fmla="*/ 26107 h 349282"/>
                <a:gd name="connsiteX293" fmla="*/ 4023 w 392723"/>
                <a:gd name="connsiteY293" fmla="*/ 31734 h 349282"/>
                <a:gd name="connsiteX294" fmla="*/ 3963 w 392723"/>
                <a:gd name="connsiteY294" fmla="*/ 34184 h 349282"/>
                <a:gd name="connsiteX295" fmla="*/ 5173 w 392723"/>
                <a:gd name="connsiteY295" fmla="*/ 38117 h 349282"/>
                <a:gd name="connsiteX296" fmla="*/ 4780 w 392723"/>
                <a:gd name="connsiteY296" fmla="*/ 40416 h 349282"/>
                <a:gd name="connsiteX297" fmla="*/ 2299 w 392723"/>
                <a:gd name="connsiteY297" fmla="*/ 44439 h 349282"/>
                <a:gd name="connsiteX298" fmla="*/ 1815 w 392723"/>
                <a:gd name="connsiteY298" fmla="*/ 45801 h 349282"/>
                <a:gd name="connsiteX299" fmla="*/ 1482 w 392723"/>
                <a:gd name="connsiteY299" fmla="*/ 46738 h 349282"/>
                <a:gd name="connsiteX300" fmla="*/ 1845 w 392723"/>
                <a:gd name="connsiteY300" fmla="*/ 50006 h 349282"/>
                <a:gd name="connsiteX301" fmla="*/ 3237 w 392723"/>
                <a:gd name="connsiteY301" fmla="*/ 52638 h 349282"/>
                <a:gd name="connsiteX302" fmla="*/ 4840 w 392723"/>
                <a:gd name="connsiteY302" fmla="*/ 54967 h 349282"/>
                <a:gd name="connsiteX303" fmla="*/ 5778 w 392723"/>
                <a:gd name="connsiteY303" fmla="*/ 57447 h 349282"/>
                <a:gd name="connsiteX304" fmla="*/ 5294 w 392723"/>
                <a:gd name="connsiteY304" fmla="*/ 59747 h 349282"/>
                <a:gd name="connsiteX305" fmla="*/ 3539 w 392723"/>
                <a:gd name="connsiteY305" fmla="*/ 60503 h 349282"/>
                <a:gd name="connsiteX306" fmla="*/ 1482 w 392723"/>
                <a:gd name="connsiteY306" fmla="*/ 61077 h 349282"/>
                <a:gd name="connsiteX307" fmla="*/ 0 w 392723"/>
                <a:gd name="connsiteY307" fmla="*/ 62893 h 349282"/>
                <a:gd name="connsiteX308" fmla="*/ 121 w 392723"/>
                <a:gd name="connsiteY308" fmla="*/ 65071 h 349282"/>
                <a:gd name="connsiteX309" fmla="*/ 1240 w 392723"/>
                <a:gd name="connsiteY309" fmla="*/ 67309 h 349282"/>
                <a:gd name="connsiteX310" fmla="*/ 3781 w 392723"/>
                <a:gd name="connsiteY310" fmla="*/ 71182 h 349282"/>
                <a:gd name="connsiteX311" fmla="*/ 4356 w 392723"/>
                <a:gd name="connsiteY311" fmla="*/ 71847 h 349282"/>
                <a:gd name="connsiteX312" fmla="*/ 6716 w 392723"/>
                <a:gd name="connsiteY312" fmla="*/ 73360 h 349282"/>
                <a:gd name="connsiteX313" fmla="*/ 7502 w 392723"/>
                <a:gd name="connsiteY313" fmla="*/ 74570 h 349282"/>
                <a:gd name="connsiteX314" fmla="*/ 8137 w 392723"/>
                <a:gd name="connsiteY314" fmla="*/ 75870 h 349282"/>
                <a:gd name="connsiteX315" fmla="*/ 9015 w 392723"/>
                <a:gd name="connsiteY315" fmla="*/ 76748 h 349282"/>
                <a:gd name="connsiteX316" fmla="*/ 10497 w 392723"/>
                <a:gd name="connsiteY316" fmla="*/ 76536 h 349282"/>
                <a:gd name="connsiteX317" fmla="*/ 11465 w 392723"/>
                <a:gd name="connsiteY317" fmla="*/ 76233 h 349282"/>
                <a:gd name="connsiteX318" fmla="*/ 13280 w 392723"/>
                <a:gd name="connsiteY318" fmla="*/ 76113 h 349282"/>
                <a:gd name="connsiteX319" fmla="*/ 14127 w 392723"/>
                <a:gd name="connsiteY319" fmla="*/ 75840 h 349282"/>
                <a:gd name="connsiteX320" fmla="*/ 14883 w 392723"/>
                <a:gd name="connsiteY320" fmla="*/ 74993 h 349282"/>
                <a:gd name="connsiteX321" fmla="*/ 15428 w 392723"/>
                <a:gd name="connsiteY321" fmla="*/ 73904 h 349282"/>
                <a:gd name="connsiteX322" fmla="*/ 16124 w 392723"/>
                <a:gd name="connsiteY322" fmla="*/ 73057 h 349282"/>
                <a:gd name="connsiteX323" fmla="*/ 17395 w 392723"/>
                <a:gd name="connsiteY323" fmla="*/ 73148 h 349282"/>
                <a:gd name="connsiteX324" fmla="*/ 18060 w 392723"/>
                <a:gd name="connsiteY324" fmla="*/ 73904 h 349282"/>
                <a:gd name="connsiteX325" fmla="*/ 18453 w 392723"/>
                <a:gd name="connsiteY325" fmla="*/ 75114 h 349282"/>
                <a:gd name="connsiteX326" fmla="*/ 18725 w 392723"/>
                <a:gd name="connsiteY326" fmla="*/ 76445 h 349282"/>
                <a:gd name="connsiteX327" fmla="*/ 19058 w 392723"/>
                <a:gd name="connsiteY327" fmla="*/ 77565 h 349282"/>
                <a:gd name="connsiteX328" fmla="*/ 19845 w 392723"/>
                <a:gd name="connsiteY328" fmla="*/ 78321 h 349282"/>
                <a:gd name="connsiteX329" fmla="*/ 20662 w 392723"/>
                <a:gd name="connsiteY329" fmla="*/ 78079 h 349282"/>
                <a:gd name="connsiteX330" fmla="*/ 21509 w 392723"/>
                <a:gd name="connsiteY330" fmla="*/ 77686 h 349282"/>
                <a:gd name="connsiteX331" fmla="*/ 22265 w 392723"/>
                <a:gd name="connsiteY331" fmla="*/ 77746 h 349282"/>
                <a:gd name="connsiteX332" fmla="*/ 23354 w 392723"/>
                <a:gd name="connsiteY332" fmla="*/ 79138 h 349282"/>
                <a:gd name="connsiteX333" fmla="*/ 24110 w 392723"/>
                <a:gd name="connsiteY333" fmla="*/ 82375 h 349282"/>
                <a:gd name="connsiteX334" fmla="*/ 25441 w 392723"/>
                <a:gd name="connsiteY334" fmla="*/ 84190 h 349282"/>
                <a:gd name="connsiteX335" fmla="*/ 26470 w 392723"/>
                <a:gd name="connsiteY335" fmla="*/ 84825 h 349282"/>
                <a:gd name="connsiteX336" fmla="*/ 27740 w 392723"/>
                <a:gd name="connsiteY336" fmla="*/ 85218 h 349282"/>
                <a:gd name="connsiteX337" fmla="*/ 30191 w 392723"/>
                <a:gd name="connsiteY337" fmla="*/ 85521 h 349282"/>
                <a:gd name="connsiteX338" fmla="*/ 31431 w 392723"/>
                <a:gd name="connsiteY338" fmla="*/ 86065 h 349282"/>
                <a:gd name="connsiteX339" fmla="*/ 32218 w 392723"/>
                <a:gd name="connsiteY339" fmla="*/ 87275 h 349282"/>
                <a:gd name="connsiteX340" fmla="*/ 32732 w 392723"/>
                <a:gd name="connsiteY340" fmla="*/ 88909 h 349282"/>
                <a:gd name="connsiteX341" fmla="*/ 33065 w 392723"/>
                <a:gd name="connsiteY341" fmla="*/ 90663 h 349282"/>
                <a:gd name="connsiteX342" fmla="*/ 32914 w 392723"/>
                <a:gd name="connsiteY342" fmla="*/ 90785 h 349282"/>
                <a:gd name="connsiteX343" fmla="*/ 32097 w 392723"/>
                <a:gd name="connsiteY343" fmla="*/ 91178 h 349282"/>
                <a:gd name="connsiteX344" fmla="*/ 31643 w 392723"/>
                <a:gd name="connsiteY344" fmla="*/ 92872 h 349282"/>
                <a:gd name="connsiteX345" fmla="*/ 29979 w 392723"/>
                <a:gd name="connsiteY345" fmla="*/ 94838 h 349282"/>
                <a:gd name="connsiteX346" fmla="*/ 29193 w 392723"/>
                <a:gd name="connsiteY346" fmla="*/ 96926 h 349282"/>
                <a:gd name="connsiteX347" fmla="*/ 31250 w 392723"/>
                <a:gd name="connsiteY347" fmla="*/ 98983 h 349282"/>
                <a:gd name="connsiteX348" fmla="*/ 33337 w 392723"/>
                <a:gd name="connsiteY348" fmla="*/ 99195 h 349282"/>
                <a:gd name="connsiteX349" fmla="*/ 36997 w 392723"/>
                <a:gd name="connsiteY349" fmla="*/ 97712 h 349282"/>
                <a:gd name="connsiteX350" fmla="*/ 39115 w 392723"/>
                <a:gd name="connsiteY350" fmla="*/ 98045 h 349282"/>
                <a:gd name="connsiteX351" fmla="*/ 40295 w 392723"/>
                <a:gd name="connsiteY351" fmla="*/ 99467 h 349282"/>
                <a:gd name="connsiteX352" fmla="*/ 40960 w 392723"/>
                <a:gd name="connsiteY352" fmla="*/ 101736 h 349282"/>
                <a:gd name="connsiteX353" fmla="*/ 41505 w 392723"/>
                <a:gd name="connsiteY353" fmla="*/ 104246 h 349282"/>
                <a:gd name="connsiteX354" fmla="*/ 43955 w 392723"/>
                <a:gd name="connsiteY354" fmla="*/ 110629 h 349282"/>
                <a:gd name="connsiteX355" fmla="*/ 44651 w 392723"/>
                <a:gd name="connsiteY355" fmla="*/ 113080 h 349282"/>
                <a:gd name="connsiteX356" fmla="*/ 44651 w 392723"/>
                <a:gd name="connsiteY356" fmla="*/ 115046 h 349282"/>
                <a:gd name="connsiteX357" fmla="*/ 44046 w 392723"/>
                <a:gd name="connsiteY357" fmla="*/ 115984 h 349282"/>
                <a:gd name="connsiteX358" fmla="*/ 43199 w 392723"/>
                <a:gd name="connsiteY358" fmla="*/ 116498 h 349282"/>
                <a:gd name="connsiteX359" fmla="*/ 42533 w 392723"/>
                <a:gd name="connsiteY359" fmla="*/ 117043 h 349282"/>
                <a:gd name="connsiteX360" fmla="*/ 42473 w 392723"/>
                <a:gd name="connsiteY360" fmla="*/ 118041 h 349282"/>
                <a:gd name="connsiteX361" fmla="*/ 42866 w 392723"/>
                <a:gd name="connsiteY361" fmla="*/ 117648 h 349282"/>
                <a:gd name="connsiteX362" fmla="*/ 43985 w 392723"/>
                <a:gd name="connsiteY362" fmla="*/ 117678 h 349282"/>
                <a:gd name="connsiteX363" fmla="*/ 45831 w 392723"/>
                <a:gd name="connsiteY363" fmla="*/ 118102 h 349282"/>
                <a:gd name="connsiteX364" fmla="*/ 47918 w 392723"/>
                <a:gd name="connsiteY364" fmla="*/ 119372 h 349282"/>
                <a:gd name="connsiteX365" fmla="*/ 48977 w 392723"/>
                <a:gd name="connsiteY365" fmla="*/ 120340 h 349282"/>
                <a:gd name="connsiteX366" fmla="*/ 49279 w 392723"/>
                <a:gd name="connsiteY366" fmla="*/ 121550 h 349282"/>
                <a:gd name="connsiteX367" fmla="*/ 49310 w 392723"/>
                <a:gd name="connsiteY367" fmla="*/ 121641 h 349282"/>
                <a:gd name="connsiteX368" fmla="*/ 49007 w 392723"/>
                <a:gd name="connsiteY368" fmla="*/ 123819 h 349282"/>
                <a:gd name="connsiteX369" fmla="*/ 48674 w 392723"/>
                <a:gd name="connsiteY369" fmla="*/ 124878 h 349282"/>
                <a:gd name="connsiteX370" fmla="*/ 47646 w 392723"/>
                <a:gd name="connsiteY370" fmla="*/ 126965 h 349282"/>
                <a:gd name="connsiteX371" fmla="*/ 47344 w 392723"/>
                <a:gd name="connsiteY371" fmla="*/ 128387 h 349282"/>
                <a:gd name="connsiteX372" fmla="*/ 47464 w 392723"/>
                <a:gd name="connsiteY372" fmla="*/ 130323 h 349282"/>
                <a:gd name="connsiteX373" fmla="*/ 48402 w 392723"/>
                <a:gd name="connsiteY373" fmla="*/ 134377 h 349282"/>
                <a:gd name="connsiteX374" fmla="*/ 50308 w 392723"/>
                <a:gd name="connsiteY374" fmla="*/ 139913 h 349282"/>
                <a:gd name="connsiteX375" fmla="*/ 51941 w 392723"/>
                <a:gd name="connsiteY375" fmla="*/ 142121 h 349282"/>
                <a:gd name="connsiteX376" fmla="*/ 56298 w 392723"/>
                <a:gd name="connsiteY376" fmla="*/ 146447 h 349282"/>
                <a:gd name="connsiteX377" fmla="*/ 57750 w 392723"/>
                <a:gd name="connsiteY377" fmla="*/ 148777 h 349282"/>
                <a:gd name="connsiteX378" fmla="*/ 59988 w 392723"/>
                <a:gd name="connsiteY378" fmla="*/ 153798 h 349282"/>
                <a:gd name="connsiteX379" fmla="*/ 61471 w 392723"/>
                <a:gd name="connsiteY379" fmla="*/ 156097 h 349282"/>
                <a:gd name="connsiteX380" fmla="*/ 63407 w 392723"/>
                <a:gd name="connsiteY380" fmla="*/ 157852 h 349282"/>
                <a:gd name="connsiteX381" fmla="*/ 64556 w 392723"/>
                <a:gd name="connsiteY381" fmla="*/ 158669 h 349282"/>
                <a:gd name="connsiteX382" fmla="*/ 65524 w 392723"/>
                <a:gd name="connsiteY382" fmla="*/ 159183 h 349282"/>
                <a:gd name="connsiteX383" fmla="*/ 66614 w 392723"/>
                <a:gd name="connsiteY383" fmla="*/ 159304 h 349282"/>
                <a:gd name="connsiteX384" fmla="*/ 69246 w 392723"/>
                <a:gd name="connsiteY384" fmla="*/ 159122 h 349282"/>
                <a:gd name="connsiteX385" fmla="*/ 70244 w 392723"/>
                <a:gd name="connsiteY385" fmla="*/ 159485 h 349282"/>
                <a:gd name="connsiteX386" fmla="*/ 71545 w 392723"/>
                <a:gd name="connsiteY386" fmla="*/ 161452 h 349282"/>
                <a:gd name="connsiteX387" fmla="*/ 71998 w 392723"/>
                <a:gd name="connsiteY387" fmla="*/ 163327 h 349282"/>
                <a:gd name="connsiteX388" fmla="*/ 72815 w 392723"/>
                <a:gd name="connsiteY388" fmla="*/ 164870 h 349282"/>
                <a:gd name="connsiteX389" fmla="*/ 77232 w 392723"/>
                <a:gd name="connsiteY389" fmla="*/ 166322 h 349282"/>
                <a:gd name="connsiteX390" fmla="*/ 78986 w 392723"/>
                <a:gd name="connsiteY390" fmla="*/ 167593 h 349282"/>
                <a:gd name="connsiteX391" fmla="*/ 80560 w 392723"/>
                <a:gd name="connsiteY391" fmla="*/ 169287 h 349282"/>
                <a:gd name="connsiteX392" fmla="*/ 81649 w 392723"/>
                <a:gd name="connsiteY392" fmla="*/ 170769 h 349282"/>
                <a:gd name="connsiteX393" fmla="*/ 84522 w 392723"/>
                <a:gd name="connsiteY393" fmla="*/ 174672 h 349282"/>
                <a:gd name="connsiteX394" fmla="*/ 89423 w 392723"/>
                <a:gd name="connsiteY394" fmla="*/ 179331 h 349282"/>
                <a:gd name="connsiteX395" fmla="*/ 92721 w 392723"/>
                <a:gd name="connsiteY395" fmla="*/ 183505 h 349282"/>
                <a:gd name="connsiteX396" fmla="*/ 96865 w 392723"/>
                <a:gd name="connsiteY396" fmla="*/ 187075 h 349282"/>
                <a:gd name="connsiteX397" fmla="*/ 97621 w 392723"/>
                <a:gd name="connsiteY397" fmla="*/ 188920 h 349282"/>
                <a:gd name="connsiteX398" fmla="*/ 97984 w 392723"/>
                <a:gd name="connsiteY398" fmla="*/ 191068 h 349282"/>
                <a:gd name="connsiteX399" fmla="*/ 98831 w 392723"/>
                <a:gd name="connsiteY399" fmla="*/ 193791 h 349282"/>
                <a:gd name="connsiteX400" fmla="*/ 100284 w 392723"/>
                <a:gd name="connsiteY400" fmla="*/ 195908 h 349282"/>
                <a:gd name="connsiteX401" fmla="*/ 111476 w 392723"/>
                <a:gd name="connsiteY401" fmla="*/ 204106 h 349282"/>
                <a:gd name="connsiteX402" fmla="*/ 127389 w 392723"/>
                <a:gd name="connsiteY402" fmla="*/ 219111 h 349282"/>
                <a:gd name="connsiteX403" fmla="*/ 132259 w 392723"/>
                <a:gd name="connsiteY403" fmla="*/ 224375 h 349282"/>
                <a:gd name="connsiteX404" fmla="*/ 135466 w 392723"/>
                <a:gd name="connsiteY404" fmla="*/ 227007 h 349282"/>
                <a:gd name="connsiteX405" fmla="*/ 137705 w 392723"/>
                <a:gd name="connsiteY405" fmla="*/ 228852 h 349282"/>
                <a:gd name="connsiteX406" fmla="*/ 143573 w 392723"/>
                <a:gd name="connsiteY406" fmla="*/ 231877 h 349282"/>
                <a:gd name="connsiteX407" fmla="*/ 153314 w 392723"/>
                <a:gd name="connsiteY407" fmla="*/ 233269 h 349282"/>
                <a:gd name="connsiteX408" fmla="*/ 156430 w 392723"/>
                <a:gd name="connsiteY408" fmla="*/ 235205 h 349282"/>
                <a:gd name="connsiteX409" fmla="*/ 158033 w 392723"/>
                <a:gd name="connsiteY409" fmla="*/ 238502 h 349282"/>
                <a:gd name="connsiteX410" fmla="*/ 156128 w 392723"/>
                <a:gd name="connsiteY410" fmla="*/ 249151 h 349282"/>
                <a:gd name="connsiteX411" fmla="*/ 158366 w 392723"/>
                <a:gd name="connsiteY411" fmla="*/ 255503 h 349282"/>
                <a:gd name="connsiteX412" fmla="*/ 162269 w 392723"/>
                <a:gd name="connsiteY412" fmla="*/ 260949 h 349282"/>
                <a:gd name="connsiteX413" fmla="*/ 166383 w 392723"/>
                <a:gd name="connsiteY413" fmla="*/ 264488 h 349282"/>
                <a:gd name="connsiteX414" fmla="*/ 168409 w 392723"/>
                <a:gd name="connsiteY414" fmla="*/ 265668 h 349282"/>
                <a:gd name="connsiteX415" fmla="*/ 169469 w 392723"/>
                <a:gd name="connsiteY415" fmla="*/ 266576 h 349282"/>
                <a:gd name="connsiteX416" fmla="*/ 170164 w 392723"/>
                <a:gd name="connsiteY416" fmla="*/ 267907 h 349282"/>
                <a:gd name="connsiteX417" fmla="*/ 170981 w 392723"/>
                <a:gd name="connsiteY417" fmla="*/ 270508 h 349282"/>
                <a:gd name="connsiteX418" fmla="*/ 172131 w 392723"/>
                <a:gd name="connsiteY418" fmla="*/ 272959 h 349282"/>
                <a:gd name="connsiteX419" fmla="*/ 173703 w 392723"/>
                <a:gd name="connsiteY419" fmla="*/ 274623 h 349282"/>
                <a:gd name="connsiteX420" fmla="*/ 174581 w 392723"/>
                <a:gd name="connsiteY420" fmla="*/ 275167 h 349282"/>
                <a:gd name="connsiteX421" fmla="*/ 188315 w 392723"/>
                <a:gd name="connsiteY421" fmla="*/ 283516 h 349282"/>
                <a:gd name="connsiteX422" fmla="*/ 189374 w 392723"/>
                <a:gd name="connsiteY422" fmla="*/ 284666 h 349282"/>
                <a:gd name="connsiteX423" fmla="*/ 192429 w 392723"/>
                <a:gd name="connsiteY423" fmla="*/ 287994 h 349282"/>
                <a:gd name="connsiteX424" fmla="*/ 195515 w 392723"/>
                <a:gd name="connsiteY424" fmla="*/ 294679 h 349282"/>
                <a:gd name="connsiteX425" fmla="*/ 195545 w 392723"/>
                <a:gd name="connsiteY425" fmla="*/ 294679 h 349282"/>
                <a:gd name="connsiteX426" fmla="*/ 195545 w 392723"/>
                <a:gd name="connsiteY426" fmla="*/ 294710 h 349282"/>
                <a:gd name="connsiteX427" fmla="*/ 195545 w 392723"/>
                <a:gd name="connsiteY427" fmla="*/ 294710 h 349282"/>
                <a:gd name="connsiteX428" fmla="*/ 195908 w 392723"/>
                <a:gd name="connsiteY428" fmla="*/ 298219 h 349282"/>
                <a:gd name="connsiteX429" fmla="*/ 193064 w 392723"/>
                <a:gd name="connsiteY429" fmla="*/ 300155 h 349282"/>
                <a:gd name="connsiteX430" fmla="*/ 187650 w 392723"/>
                <a:gd name="connsiteY430" fmla="*/ 301183 h 349282"/>
                <a:gd name="connsiteX431" fmla="*/ 189888 w 392723"/>
                <a:gd name="connsiteY431" fmla="*/ 302393 h 349282"/>
                <a:gd name="connsiteX432" fmla="*/ 191401 w 392723"/>
                <a:gd name="connsiteY432" fmla="*/ 303755 h 349282"/>
                <a:gd name="connsiteX433" fmla="*/ 189676 w 392723"/>
                <a:gd name="connsiteY433" fmla="*/ 303301 h 349282"/>
                <a:gd name="connsiteX434" fmla="*/ 186984 w 392723"/>
                <a:gd name="connsiteY434" fmla="*/ 302182 h 349282"/>
                <a:gd name="connsiteX435" fmla="*/ 185199 w 392723"/>
                <a:gd name="connsiteY435" fmla="*/ 302121 h 349282"/>
                <a:gd name="connsiteX436" fmla="*/ 194879 w 392723"/>
                <a:gd name="connsiteY436" fmla="*/ 307597 h 349282"/>
                <a:gd name="connsiteX437" fmla="*/ 194940 w 392723"/>
                <a:gd name="connsiteY437" fmla="*/ 307627 h 349282"/>
                <a:gd name="connsiteX438" fmla="*/ 194940 w 392723"/>
                <a:gd name="connsiteY438" fmla="*/ 307627 h 349282"/>
                <a:gd name="connsiteX439" fmla="*/ 196211 w 392723"/>
                <a:gd name="connsiteY439" fmla="*/ 305842 h 349282"/>
                <a:gd name="connsiteX440" fmla="*/ 197572 w 392723"/>
                <a:gd name="connsiteY440" fmla="*/ 304511 h 349282"/>
                <a:gd name="connsiteX441" fmla="*/ 199810 w 392723"/>
                <a:gd name="connsiteY441" fmla="*/ 304027 h 349282"/>
                <a:gd name="connsiteX442" fmla="*/ 202019 w 392723"/>
                <a:gd name="connsiteY442" fmla="*/ 304450 h 349282"/>
                <a:gd name="connsiteX443" fmla="*/ 206254 w 392723"/>
                <a:gd name="connsiteY443" fmla="*/ 305963 h 349282"/>
                <a:gd name="connsiteX444" fmla="*/ 208372 w 392723"/>
                <a:gd name="connsiteY444" fmla="*/ 306326 h 349282"/>
                <a:gd name="connsiteX445" fmla="*/ 209189 w 392723"/>
                <a:gd name="connsiteY445" fmla="*/ 305902 h 349282"/>
                <a:gd name="connsiteX446" fmla="*/ 209975 w 392723"/>
                <a:gd name="connsiteY446" fmla="*/ 305267 h 349282"/>
                <a:gd name="connsiteX447" fmla="*/ 210883 w 392723"/>
                <a:gd name="connsiteY447" fmla="*/ 305237 h 349282"/>
                <a:gd name="connsiteX448" fmla="*/ 212062 w 392723"/>
                <a:gd name="connsiteY448" fmla="*/ 306689 h 349282"/>
                <a:gd name="connsiteX449" fmla="*/ 212365 w 392723"/>
                <a:gd name="connsiteY449" fmla="*/ 307929 h 349282"/>
                <a:gd name="connsiteX450" fmla="*/ 212244 w 392723"/>
                <a:gd name="connsiteY450" fmla="*/ 310955 h 349282"/>
                <a:gd name="connsiteX451" fmla="*/ 212425 w 392723"/>
                <a:gd name="connsiteY451" fmla="*/ 312376 h 349282"/>
                <a:gd name="connsiteX452" fmla="*/ 215602 w 392723"/>
                <a:gd name="connsiteY452" fmla="*/ 316944 h 349282"/>
                <a:gd name="connsiteX453" fmla="*/ 216691 w 392723"/>
                <a:gd name="connsiteY453" fmla="*/ 317580 h 349282"/>
                <a:gd name="connsiteX454" fmla="*/ 220230 w 392723"/>
                <a:gd name="connsiteY454" fmla="*/ 318517 h 349282"/>
                <a:gd name="connsiteX455" fmla="*/ 222681 w 392723"/>
                <a:gd name="connsiteY455" fmla="*/ 320211 h 349282"/>
                <a:gd name="connsiteX456" fmla="*/ 227007 w 392723"/>
                <a:gd name="connsiteY456" fmla="*/ 324749 h 349282"/>
                <a:gd name="connsiteX457" fmla="*/ 229366 w 392723"/>
                <a:gd name="connsiteY457" fmla="*/ 326564 h 349282"/>
                <a:gd name="connsiteX458" fmla="*/ 234812 w 392723"/>
                <a:gd name="connsiteY458" fmla="*/ 329771 h 349282"/>
                <a:gd name="connsiteX459" fmla="*/ 252387 w 392723"/>
                <a:gd name="connsiteY459" fmla="*/ 340661 h 349282"/>
                <a:gd name="connsiteX460" fmla="*/ 255715 w 392723"/>
                <a:gd name="connsiteY460" fmla="*/ 342325 h 349282"/>
                <a:gd name="connsiteX461" fmla="*/ 261191 w 392723"/>
                <a:gd name="connsiteY461" fmla="*/ 344050 h 349282"/>
                <a:gd name="connsiteX462" fmla="*/ 263913 w 392723"/>
                <a:gd name="connsiteY462" fmla="*/ 343868 h 349282"/>
                <a:gd name="connsiteX463" fmla="*/ 265033 w 392723"/>
                <a:gd name="connsiteY463" fmla="*/ 344655 h 349282"/>
                <a:gd name="connsiteX464" fmla="*/ 267060 w 392723"/>
                <a:gd name="connsiteY464" fmla="*/ 347377 h 349282"/>
                <a:gd name="connsiteX465" fmla="*/ 267060 w 392723"/>
                <a:gd name="connsiteY465" fmla="*/ 347407 h 349282"/>
                <a:gd name="connsiteX466" fmla="*/ 267120 w 392723"/>
                <a:gd name="connsiteY466" fmla="*/ 347498 h 349282"/>
                <a:gd name="connsiteX467" fmla="*/ 268602 w 392723"/>
                <a:gd name="connsiteY467" fmla="*/ 348376 h 349282"/>
                <a:gd name="connsiteX468" fmla="*/ 272202 w 392723"/>
                <a:gd name="connsiteY468" fmla="*/ 348739 h 349282"/>
                <a:gd name="connsiteX469" fmla="*/ 273836 w 392723"/>
                <a:gd name="connsiteY469" fmla="*/ 349283 h 349282"/>
                <a:gd name="connsiteX470" fmla="*/ 274895 w 392723"/>
                <a:gd name="connsiteY470" fmla="*/ 348436 h 349282"/>
                <a:gd name="connsiteX471" fmla="*/ 276014 w 392723"/>
                <a:gd name="connsiteY471" fmla="*/ 347982 h 349282"/>
                <a:gd name="connsiteX472" fmla="*/ 277194 w 392723"/>
                <a:gd name="connsiteY472" fmla="*/ 348073 h 349282"/>
                <a:gd name="connsiteX473" fmla="*/ 278313 w 392723"/>
                <a:gd name="connsiteY473" fmla="*/ 348739 h 349282"/>
                <a:gd name="connsiteX474" fmla="*/ 279372 w 392723"/>
                <a:gd name="connsiteY474" fmla="*/ 348587 h 349282"/>
                <a:gd name="connsiteX475" fmla="*/ 279735 w 392723"/>
                <a:gd name="connsiteY475" fmla="*/ 347831 h 349282"/>
                <a:gd name="connsiteX476" fmla="*/ 279523 w 392723"/>
                <a:gd name="connsiteY476" fmla="*/ 346712 h 349282"/>
                <a:gd name="connsiteX477" fmla="*/ 278797 w 392723"/>
                <a:gd name="connsiteY477" fmla="*/ 345441 h 349282"/>
                <a:gd name="connsiteX478" fmla="*/ 280824 w 392723"/>
                <a:gd name="connsiteY478" fmla="*/ 344382 h 349282"/>
                <a:gd name="connsiteX479" fmla="*/ 281883 w 392723"/>
                <a:gd name="connsiteY479" fmla="*/ 343808 h 349282"/>
                <a:gd name="connsiteX480" fmla="*/ 284031 w 392723"/>
                <a:gd name="connsiteY480" fmla="*/ 341902 h 349282"/>
                <a:gd name="connsiteX481" fmla="*/ 284454 w 392723"/>
                <a:gd name="connsiteY481" fmla="*/ 340873 h 349282"/>
                <a:gd name="connsiteX482" fmla="*/ 285150 w 392723"/>
                <a:gd name="connsiteY482" fmla="*/ 339300 h 349282"/>
                <a:gd name="connsiteX483" fmla="*/ 285180 w 392723"/>
                <a:gd name="connsiteY483" fmla="*/ 335640 h 349282"/>
                <a:gd name="connsiteX484" fmla="*/ 284152 w 392723"/>
                <a:gd name="connsiteY484" fmla="*/ 332221 h 349282"/>
                <a:gd name="connsiteX485" fmla="*/ 282427 w 392723"/>
                <a:gd name="connsiteY485" fmla="*/ 330164 h 349282"/>
                <a:gd name="connsiteX486" fmla="*/ 280370 w 392723"/>
                <a:gd name="connsiteY486" fmla="*/ 328198 h 349282"/>
                <a:gd name="connsiteX487" fmla="*/ 276891 w 392723"/>
                <a:gd name="connsiteY487" fmla="*/ 322934 h 349282"/>
                <a:gd name="connsiteX488" fmla="*/ 275530 w 392723"/>
                <a:gd name="connsiteY488" fmla="*/ 319939 h 349282"/>
                <a:gd name="connsiteX489" fmla="*/ 274562 w 392723"/>
                <a:gd name="connsiteY489" fmla="*/ 316914 h 349282"/>
                <a:gd name="connsiteX490" fmla="*/ 274471 w 392723"/>
                <a:gd name="connsiteY490" fmla="*/ 314736 h 349282"/>
                <a:gd name="connsiteX491" fmla="*/ 275469 w 392723"/>
                <a:gd name="connsiteY491" fmla="*/ 313314 h 349282"/>
                <a:gd name="connsiteX492" fmla="*/ 276710 w 392723"/>
                <a:gd name="connsiteY492" fmla="*/ 312437 h 349282"/>
                <a:gd name="connsiteX493" fmla="*/ 277466 w 392723"/>
                <a:gd name="connsiteY493" fmla="*/ 311196 h 349282"/>
                <a:gd name="connsiteX494" fmla="*/ 276891 w 392723"/>
                <a:gd name="connsiteY494" fmla="*/ 308807 h 349282"/>
                <a:gd name="connsiteX495" fmla="*/ 274501 w 392723"/>
                <a:gd name="connsiteY495" fmla="*/ 304360 h 349282"/>
                <a:gd name="connsiteX496" fmla="*/ 273533 w 392723"/>
                <a:gd name="connsiteY496" fmla="*/ 301849 h 349282"/>
                <a:gd name="connsiteX497" fmla="*/ 273473 w 392723"/>
                <a:gd name="connsiteY497" fmla="*/ 299671 h 349282"/>
                <a:gd name="connsiteX498" fmla="*/ 275409 w 392723"/>
                <a:gd name="connsiteY498" fmla="*/ 294710 h 349282"/>
                <a:gd name="connsiteX499" fmla="*/ 278434 w 392723"/>
                <a:gd name="connsiteY499" fmla="*/ 292047 h 349282"/>
                <a:gd name="connsiteX500" fmla="*/ 284061 w 392723"/>
                <a:gd name="connsiteY500" fmla="*/ 290868 h 349282"/>
                <a:gd name="connsiteX501" fmla="*/ 290051 w 392723"/>
                <a:gd name="connsiteY501" fmla="*/ 290807 h 349282"/>
                <a:gd name="connsiteX502" fmla="*/ 294135 w 392723"/>
                <a:gd name="connsiteY502" fmla="*/ 291321 h 349282"/>
                <a:gd name="connsiteX503" fmla="*/ 292350 w 392723"/>
                <a:gd name="connsiteY503" fmla="*/ 281701 h 349282"/>
                <a:gd name="connsiteX504" fmla="*/ 292289 w 392723"/>
                <a:gd name="connsiteY504" fmla="*/ 278404 h 349282"/>
                <a:gd name="connsiteX505" fmla="*/ 292350 w 392723"/>
                <a:gd name="connsiteY505" fmla="*/ 278132 h 349282"/>
                <a:gd name="connsiteX506" fmla="*/ 293136 w 392723"/>
                <a:gd name="connsiteY506" fmla="*/ 274320 h 349282"/>
                <a:gd name="connsiteX507" fmla="*/ 294770 w 392723"/>
                <a:gd name="connsiteY507" fmla="*/ 271113 h 349282"/>
                <a:gd name="connsiteX508" fmla="*/ 299096 w 392723"/>
                <a:gd name="connsiteY508" fmla="*/ 265517 h 349282"/>
                <a:gd name="connsiteX509" fmla="*/ 296676 w 392723"/>
                <a:gd name="connsiteY509" fmla="*/ 264398 h 349282"/>
                <a:gd name="connsiteX510" fmla="*/ 298219 w 392723"/>
                <a:gd name="connsiteY510" fmla="*/ 262340 h 349282"/>
                <a:gd name="connsiteX511" fmla="*/ 311045 w 392723"/>
                <a:gd name="connsiteY511" fmla="*/ 253658 h 349282"/>
                <a:gd name="connsiteX512" fmla="*/ 313707 w 392723"/>
                <a:gd name="connsiteY512" fmla="*/ 252872 h 349282"/>
                <a:gd name="connsiteX513" fmla="*/ 313405 w 392723"/>
                <a:gd name="connsiteY513" fmla="*/ 252358 h 349282"/>
                <a:gd name="connsiteX514" fmla="*/ 312800 w 392723"/>
                <a:gd name="connsiteY514" fmla="*/ 251178 h 349282"/>
                <a:gd name="connsiteX515" fmla="*/ 312467 w 392723"/>
                <a:gd name="connsiteY515" fmla="*/ 250663 h 349282"/>
                <a:gd name="connsiteX516" fmla="*/ 314342 w 392723"/>
                <a:gd name="connsiteY516" fmla="*/ 249877 h 349282"/>
                <a:gd name="connsiteX517" fmla="*/ 320302 w 392723"/>
                <a:gd name="connsiteY517" fmla="*/ 249332 h 349282"/>
                <a:gd name="connsiteX518" fmla="*/ 322752 w 392723"/>
                <a:gd name="connsiteY518" fmla="*/ 249998 h 349282"/>
                <a:gd name="connsiteX519" fmla="*/ 325445 w 392723"/>
                <a:gd name="connsiteY519" fmla="*/ 251722 h 349282"/>
                <a:gd name="connsiteX520" fmla="*/ 326171 w 392723"/>
                <a:gd name="connsiteY520" fmla="*/ 252660 h 349282"/>
                <a:gd name="connsiteX521" fmla="*/ 326231 w 392723"/>
                <a:gd name="connsiteY521" fmla="*/ 253537 h 349282"/>
                <a:gd name="connsiteX522" fmla="*/ 326141 w 392723"/>
                <a:gd name="connsiteY522" fmla="*/ 254445 h 349282"/>
                <a:gd name="connsiteX523" fmla="*/ 326383 w 392723"/>
                <a:gd name="connsiteY523" fmla="*/ 255503 h 349282"/>
                <a:gd name="connsiteX524" fmla="*/ 327290 w 392723"/>
                <a:gd name="connsiteY524" fmla="*/ 256926 h 349282"/>
                <a:gd name="connsiteX525" fmla="*/ 329347 w 392723"/>
                <a:gd name="connsiteY525" fmla="*/ 259345 h 349282"/>
                <a:gd name="connsiteX526" fmla="*/ 329408 w 392723"/>
                <a:gd name="connsiteY526" fmla="*/ 259467 h 349282"/>
                <a:gd name="connsiteX527" fmla="*/ 329710 w 392723"/>
                <a:gd name="connsiteY527" fmla="*/ 260102 h 349282"/>
                <a:gd name="connsiteX528" fmla="*/ 330739 w 392723"/>
                <a:gd name="connsiteY528" fmla="*/ 259224 h 349282"/>
                <a:gd name="connsiteX529" fmla="*/ 331556 w 392723"/>
                <a:gd name="connsiteY529" fmla="*/ 258166 h 349282"/>
                <a:gd name="connsiteX530" fmla="*/ 332191 w 392723"/>
                <a:gd name="connsiteY530" fmla="*/ 257046 h 349282"/>
                <a:gd name="connsiteX531" fmla="*/ 332735 w 392723"/>
                <a:gd name="connsiteY531" fmla="*/ 256381 h 349282"/>
                <a:gd name="connsiteX532" fmla="*/ 332947 w 392723"/>
                <a:gd name="connsiteY532" fmla="*/ 256109 h 349282"/>
                <a:gd name="connsiteX533" fmla="*/ 334097 w 392723"/>
                <a:gd name="connsiteY533" fmla="*/ 255503 h 349282"/>
                <a:gd name="connsiteX534" fmla="*/ 336759 w 392723"/>
                <a:gd name="connsiteY534" fmla="*/ 255383 h 349282"/>
                <a:gd name="connsiteX535" fmla="*/ 337485 w 392723"/>
                <a:gd name="connsiteY535" fmla="*/ 254808 h 349282"/>
                <a:gd name="connsiteX536" fmla="*/ 334460 w 392723"/>
                <a:gd name="connsiteY536" fmla="*/ 249514 h 349282"/>
                <a:gd name="connsiteX537" fmla="*/ 331465 w 392723"/>
                <a:gd name="connsiteY537" fmla="*/ 241830 h 349282"/>
                <a:gd name="connsiteX538" fmla="*/ 327986 w 392723"/>
                <a:gd name="connsiteY538" fmla="*/ 237625 h 349282"/>
                <a:gd name="connsiteX539" fmla="*/ 327290 w 392723"/>
                <a:gd name="connsiteY539" fmla="*/ 237141 h 349282"/>
                <a:gd name="connsiteX540" fmla="*/ 325052 w 392723"/>
                <a:gd name="connsiteY540" fmla="*/ 237655 h 349282"/>
                <a:gd name="connsiteX541" fmla="*/ 325052 w 392723"/>
                <a:gd name="connsiteY541" fmla="*/ 236990 h 349282"/>
                <a:gd name="connsiteX542" fmla="*/ 325505 w 392723"/>
                <a:gd name="connsiteY542" fmla="*/ 235961 h 349282"/>
                <a:gd name="connsiteX543" fmla="*/ 325566 w 392723"/>
                <a:gd name="connsiteY543" fmla="*/ 235144 h 349282"/>
                <a:gd name="connsiteX544" fmla="*/ 324204 w 392723"/>
                <a:gd name="connsiteY544" fmla="*/ 233208 h 349282"/>
                <a:gd name="connsiteX545" fmla="*/ 323509 w 392723"/>
                <a:gd name="connsiteY545" fmla="*/ 232785 h 349282"/>
                <a:gd name="connsiteX546" fmla="*/ 321936 w 392723"/>
                <a:gd name="connsiteY546" fmla="*/ 232391 h 349282"/>
                <a:gd name="connsiteX547" fmla="*/ 320968 w 392723"/>
                <a:gd name="connsiteY547" fmla="*/ 231726 h 349282"/>
                <a:gd name="connsiteX548" fmla="*/ 320937 w 392723"/>
                <a:gd name="connsiteY548" fmla="*/ 230667 h 349282"/>
                <a:gd name="connsiteX549" fmla="*/ 321512 w 392723"/>
                <a:gd name="connsiteY549" fmla="*/ 229608 h 349282"/>
                <a:gd name="connsiteX550" fmla="*/ 322450 w 392723"/>
                <a:gd name="connsiteY550" fmla="*/ 228973 h 349282"/>
                <a:gd name="connsiteX551" fmla="*/ 324326 w 392723"/>
                <a:gd name="connsiteY551" fmla="*/ 228126 h 349282"/>
                <a:gd name="connsiteX552" fmla="*/ 326715 w 392723"/>
                <a:gd name="connsiteY552" fmla="*/ 225676 h 349282"/>
                <a:gd name="connsiteX553" fmla="*/ 328198 w 392723"/>
                <a:gd name="connsiteY553" fmla="*/ 224647 h 349282"/>
                <a:gd name="connsiteX554" fmla="*/ 330497 w 392723"/>
                <a:gd name="connsiteY554" fmla="*/ 224435 h 349282"/>
                <a:gd name="connsiteX555" fmla="*/ 331888 w 392723"/>
                <a:gd name="connsiteY555" fmla="*/ 225706 h 349282"/>
                <a:gd name="connsiteX556" fmla="*/ 332977 w 392723"/>
                <a:gd name="connsiteY556" fmla="*/ 227612 h 349282"/>
                <a:gd name="connsiteX557" fmla="*/ 334309 w 392723"/>
                <a:gd name="connsiteY557" fmla="*/ 229124 h 349282"/>
                <a:gd name="connsiteX558" fmla="*/ 336003 w 392723"/>
                <a:gd name="connsiteY558" fmla="*/ 229669 h 349282"/>
                <a:gd name="connsiteX559" fmla="*/ 338151 w 392723"/>
                <a:gd name="connsiteY559" fmla="*/ 229608 h 349282"/>
                <a:gd name="connsiteX560" fmla="*/ 340117 w 392723"/>
                <a:gd name="connsiteY560" fmla="*/ 228882 h 349282"/>
                <a:gd name="connsiteX561" fmla="*/ 342809 w 392723"/>
                <a:gd name="connsiteY561" fmla="*/ 225948 h 349282"/>
                <a:gd name="connsiteX562" fmla="*/ 345320 w 392723"/>
                <a:gd name="connsiteY562" fmla="*/ 225676 h 349282"/>
                <a:gd name="connsiteX563" fmla="*/ 350130 w 392723"/>
                <a:gd name="connsiteY563" fmla="*/ 226371 h 349282"/>
                <a:gd name="connsiteX564" fmla="*/ 352338 w 392723"/>
                <a:gd name="connsiteY564" fmla="*/ 226371 h 349282"/>
                <a:gd name="connsiteX565" fmla="*/ 353548 w 392723"/>
                <a:gd name="connsiteY565" fmla="*/ 224193 h 349282"/>
                <a:gd name="connsiteX566" fmla="*/ 354516 w 392723"/>
                <a:gd name="connsiteY566" fmla="*/ 221350 h 349282"/>
                <a:gd name="connsiteX567" fmla="*/ 355908 w 392723"/>
                <a:gd name="connsiteY567" fmla="*/ 219262 h 349282"/>
                <a:gd name="connsiteX568" fmla="*/ 356997 w 392723"/>
                <a:gd name="connsiteY568" fmla="*/ 218960 h 349282"/>
                <a:gd name="connsiteX569" fmla="*/ 359568 w 392723"/>
                <a:gd name="connsiteY569" fmla="*/ 219323 h 349282"/>
                <a:gd name="connsiteX570" fmla="*/ 360748 w 392723"/>
                <a:gd name="connsiteY570" fmla="*/ 219293 h 349282"/>
                <a:gd name="connsiteX571" fmla="*/ 361928 w 392723"/>
                <a:gd name="connsiteY571" fmla="*/ 218688 h 349282"/>
                <a:gd name="connsiteX572" fmla="*/ 364257 w 392723"/>
                <a:gd name="connsiteY572" fmla="*/ 216963 h 349282"/>
                <a:gd name="connsiteX573" fmla="*/ 365347 w 392723"/>
                <a:gd name="connsiteY573" fmla="*/ 216661 h 349282"/>
                <a:gd name="connsiteX574" fmla="*/ 367010 w 392723"/>
                <a:gd name="connsiteY574" fmla="*/ 217599 h 349282"/>
                <a:gd name="connsiteX575" fmla="*/ 368735 w 392723"/>
                <a:gd name="connsiteY575" fmla="*/ 219656 h 349282"/>
                <a:gd name="connsiteX576" fmla="*/ 370187 w 392723"/>
                <a:gd name="connsiteY576" fmla="*/ 222076 h 349282"/>
                <a:gd name="connsiteX577" fmla="*/ 371004 w 392723"/>
                <a:gd name="connsiteY577" fmla="*/ 224224 h 349282"/>
                <a:gd name="connsiteX578" fmla="*/ 371790 w 392723"/>
                <a:gd name="connsiteY578" fmla="*/ 225343 h 349282"/>
                <a:gd name="connsiteX579" fmla="*/ 372667 w 392723"/>
                <a:gd name="connsiteY579" fmla="*/ 224254 h 349282"/>
                <a:gd name="connsiteX580" fmla="*/ 373908 w 392723"/>
                <a:gd name="connsiteY580" fmla="*/ 221471 h 349282"/>
                <a:gd name="connsiteX581" fmla="*/ 375148 w 392723"/>
                <a:gd name="connsiteY581" fmla="*/ 221380 h 349282"/>
                <a:gd name="connsiteX582" fmla="*/ 378929 w 392723"/>
                <a:gd name="connsiteY582" fmla="*/ 222802 h 349282"/>
                <a:gd name="connsiteX583" fmla="*/ 379746 w 392723"/>
                <a:gd name="connsiteY583" fmla="*/ 222318 h 349282"/>
                <a:gd name="connsiteX584" fmla="*/ 379928 w 392723"/>
                <a:gd name="connsiteY584" fmla="*/ 221803 h 349282"/>
                <a:gd name="connsiteX585" fmla="*/ 379655 w 392723"/>
                <a:gd name="connsiteY585" fmla="*/ 221229 h 349282"/>
                <a:gd name="connsiteX586" fmla="*/ 378929 w 392723"/>
                <a:gd name="connsiteY586" fmla="*/ 220594 h 349282"/>
                <a:gd name="connsiteX587" fmla="*/ 378445 w 392723"/>
                <a:gd name="connsiteY587" fmla="*/ 219232 h 349282"/>
                <a:gd name="connsiteX588" fmla="*/ 378324 w 392723"/>
                <a:gd name="connsiteY588" fmla="*/ 217478 h 349282"/>
                <a:gd name="connsiteX589" fmla="*/ 378506 w 392723"/>
                <a:gd name="connsiteY589" fmla="*/ 215632 h 349282"/>
                <a:gd name="connsiteX590" fmla="*/ 378929 w 392723"/>
                <a:gd name="connsiteY590" fmla="*/ 214120 h 349282"/>
                <a:gd name="connsiteX591" fmla="*/ 381531 w 392723"/>
                <a:gd name="connsiteY591" fmla="*/ 211790 h 349282"/>
                <a:gd name="connsiteX592" fmla="*/ 381349 w 392723"/>
                <a:gd name="connsiteY592" fmla="*/ 208402 h 349282"/>
                <a:gd name="connsiteX593" fmla="*/ 378929 w 392723"/>
                <a:gd name="connsiteY593" fmla="*/ 201323 h 349282"/>
                <a:gd name="connsiteX594" fmla="*/ 376933 w 392723"/>
                <a:gd name="connsiteY594" fmla="*/ 197118 h 349282"/>
                <a:gd name="connsiteX595" fmla="*/ 366647 w 392723"/>
                <a:gd name="connsiteY595" fmla="*/ 186863 h 349282"/>
                <a:gd name="connsiteX596" fmla="*/ 361262 w 392723"/>
                <a:gd name="connsiteY596" fmla="*/ 178877 h 349282"/>
                <a:gd name="connsiteX597" fmla="*/ 358177 w 392723"/>
                <a:gd name="connsiteY597" fmla="*/ 175216 h 349282"/>
                <a:gd name="connsiteX598" fmla="*/ 354698 w 392723"/>
                <a:gd name="connsiteY598" fmla="*/ 172766 h 349282"/>
                <a:gd name="connsiteX599" fmla="*/ 353548 w 392723"/>
                <a:gd name="connsiteY599" fmla="*/ 172070 h 349282"/>
                <a:gd name="connsiteX600" fmla="*/ 354698 w 392723"/>
                <a:gd name="connsiteY600" fmla="*/ 171042 h 349282"/>
                <a:gd name="connsiteX601" fmla="*/ 354910 w 392723"/>
                <a:gd name="connsiteY601" fmla="*/ 170134 h 349282"/>
                <a:gd name="connsiteX602" fmla="*/ 354426 w 392723"/>
                <a:gd name="connsiteY602" fmla="*/ 168531 h 349282"/>
                <a:gd name="connsiteX603" fmla="*/ 354426 w 392723"/>
                <a:gd name="connsiteY603" fmla="*/ 167623 h 349282"/>
                <a:gd name="connsiteX604" fmla="*/ 354970 w 392723"/>
                <a:gd name="connsiteY604" fmla="*/ 166383 h 349282"/>
                <a:gd name="connsiteX605" fmla="*/ 355848 w 392723"/>
                <a:gd name="connsiteY605" fmla="*/ 165687 h 349282"/>
                <a:gd name="connsiteX606" fmla="*/ 357905 w 392723"/>
                <a:gd name="connsiteY606" fmla="*/ 165052 h 349282"/>
                <a:gd name="connsiteX607" fmla="*/ 359387 w 392723"/>
                <a:gd name="connsiteY607" fmla="*/ 164991 h 349282"/>
                <a:gd name="connsiteX608" fmla="*/ 360718 w 392723"/>
                <a:gd name="connsiteY608" fmla="*/ 165415 h 349282"/>
                <a:gd name="connsiteX609" fmla="*/ 363259 w 392723"/>
                <a:gd name="connsiteY609" fmla="*/ 167079 h 349282"/>
                <a:gd name="connsiteX610" fmla="*/ 365861 w 392723"/>
                <a:gd name="connsiteY610" fmla="*/ 169317 h 349282"/>
                <a:gd name="connsiteX611" fmla="*/ 367162 w 392723"/>
                <a:gd name="connsiteY611" fmla="*/ 170073 h 349282"/>
                <a:gd name="connsiteX612" fmla="*/ 368614 w 392723"/>
                <a:gd name="connsiteY612" fmla="*/ 170013 h 349282"/>
                <a:gd name="connsiteX613" fmla="*/ 370096 w 392723"/>
                <a:gd name="connsiteY613" fmla="*/ 169590 h 349282"/>
                <a:gd name="connsiteX614" fmla="*/ 375450 w 392723"/>
                <a:gd name="connsiteY614" fmla="*/ 169226 h 349282"/>
                <a:gd name="connsiteX615" fmla="*/ 381168 w 392723"/>
                <a:gd name="connsiteY615" fmla="*/ 169771 h 349282"/>
                <a:gd name="connsiteX616" fmla="*/ 383649 w 392723"/>
                <a:gd name="connsiteY616" fmla="*/ 169590 h 349282"/>
                <a:gd name="connsiteX617" fmla="*/ 386038 w 392723"/>
                <a:gd name="connsiteY617" fmla="*/ 168773 h 349282"/>
                <a:gd name="connsiteX618" fmla="*/ 390183 w 392723"/>
                <a:gd name="connsiteY618" fmla="*/ 165929 h 349282"/>
                <a:gd name="connsiteX619" fmla="*/ 391877 w 392723"/>
                <a:gd name="connsiteY619" fmla="*/ 164175 h 349282"/>
                <a:gd name="connsiteX620" fmla="*/ 392724 w 392723"/>
                <a:gd name="connsiteY620" fmla="*/ 162087 h 349282"/>
                <a:gd name="connsiteX621" fmla="*/ 391998 w 392723"/>
                <a:gd name="connsiteY621" fmla="*/ 159667 h 34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Lst>
              <a:rect l="l" t="t" r="r" b="b"/>
              <a:pathLst>
                <a:path w="392723" h="349282">
                  <a:moveTo>
                    <a:pt x="391998" y="159667"/>
                  </a:moveTo>
                  <a:lnTo>
                    <a:pt x="390727" y="158608"/>
                  </a:lnTo>
                  <a:lnTo>
                    <a:pt x="389820" y="158911"/>
                  </a:lnTo>
                  <a:lnTo>
                    <a:pt x="389215" y="159697"/>
                  </a:lnTo>
                  <a:lnTo>
                    <a:pt x="388852" y="160030"/>
                  </a:lnTo>
                  <a:lnTo>
                    <a:pt x="387914" y="159334"/>
                  </a:lnTo>
                  <a:lnTo>
                    <a:pt x="386280" y="157489"/>
                  </a:lnTo>
                  <a:lnTo>
                    <a:pt x="382983" y="155734"/>
                  </a:lnTo>
                  <a:lnTo>
                    <a:pt x="382408" y="154948"/>
                  </a:lnTo>
                  <a:lnTo>
                    <a:pt x="380593" y="152498"/>
                  </a:lnTo>
                  <a:lnTo>
                    <a:pt x="379050" y="151136"/>
                  </a:lnTo>
                  <a:lnTo>
                    <a:pt x="378385" y="150349"/>
                  </a:lnTo>
                  <a:lnTo>
                    <a:pt x="378173" y="148050"/>
                  </a:lnTo>
                  <a:lnTo>
                    <a:pt x="377326" y="147022"/>
                  </a:lnTo>
                  <a:lnTo>
                    <a:pt x="376721" y="147022"/>
                  </a:lnTo>
                  <a:lnTo>
                    <a:pt x="375602" y="148081"/>
                  </a:lnTo>
                  <a:lnTo>
                    <a:pt x="374997" y="148262"/>
                  </a:lnTo>
                  <a:lnTo>
                    <a:pt x="374301" y="147899"/>
                  </a:lnTo>
                  <a:lnTo>
                    <a:pt x="373212" y="146901"/>
                  </a:lnTo>
                  <a:lnTo>
                    <a:pt x="368825" y="143876"/>
                  </a:lnTo>
                  <a:lnTo>
                    <a:pt x="366919" y="142091"/>
                  </a:lnTo>
                  <a:lnTo>
                    <a:pt x="366284" y="140427"/>
                  </a:lnTo>
                  <a:lnTo>
                    <a:pt x="366073" y="137795"/>
                  </a:lnTo>
                  <a:lnTo>
                    <a:pt x="364832" y="135042"/>
                  </a:lnTo>
                  <a:lnTo>
                    <a:pt x="363108" y="132713"/>
                  </a:lnTo>
                  <a:lnTo>
                    <a:pt x="361384" y="131382"/>
                  </a:lnTo>
                  <a:lnTo>
                    <a:pt x="360234" y="131170"/>
                  </a:lnTo>
                  <a:lnTo>
                    <a:pt x="356997" y="131896"/>
                  </a:lnTo>
                  <a:lnTo>
                    <a:pt x="355575" y="131836"/>
                  </a:lnTo>
                  <a:lnTo>
                    <a:pt x="354698" y="131594"/>
                  </a:lnTo>
                  <a:lnTo>
                    <a:pt x="352611" y="130596"/>
                  </a:lnTo>
                  <a:lnTo>
                    <a:pt x="348285" y="129748"/>
                  </a:lnTo>
                  <a:lnTo>
                    <a:pt x="346258" y="128901"/>
                  </a:lnTo>
                  <a:lnTo>
                    <a:pt x="344443" y="126874"/>
                  </a:lnTo>
                  <a:lnTo>
                    <a:pt x="342204" y="122427"/>
                  </a:lnTo>
                  <a:lnTo>
                    <a:pt x="341418" y="119856"/>
                  </a:lnTo>
                  <a:lnTo>
                    <a:pt x="341236" y="117376"/>
                  </a:lnTo>
                  <a:lnTo>
                    <a:pt x="342113" y="114683"/>
                  </a:lnTo>
                  <a:lnTo>
                    <a:pt x="343505" y="113080"/>
                  </a:lnTo>
                  <a:lnTo>
                    <a:pt x="344685" y="111174"/>
                  </a:lnTo>
                  <a:lnTo>
                    <a:pt x="344897" y="107634"/>
                  </a:lnTo>
                  <a:lnTo>
                    <a:pt x="343263" y="101887"/>
                  </a:lnTo>
                  <a:lnTo>
                    <a:pt x="343535" y="99860"/>
                  </a:lnTo>
                  <a:lnTo>
                    <a:pt x="347105" y="98771"/>
                  </a:lnTo>
                  <a:lnTo>
                    <a:pt x="347891" y="98166"/>
                  </a:lnTo>
                  <a:lnTo>
                    <a:pt x="348527" y="97258"/>
                  </a:lnTo>
                  <a:lnTo>
                    <a:pt x="349132" y="96230"/>
                  </a:lnTo>
                  <a:lnTo>
                    <a:pt x="349313" y="95322"/>
                  </a:lnTo>
                  <a:lnTo>
                    <a:pt x="349192" y="93235"/>
                  </a:lnTo>
                  <a:lnTo>
                    <a:pt x="349404" y="92388"/>
                  </a:lnTo>
                  <a:lnTo>
                    <a:pt x="349918" y="91783"/>
                  </a:lnTo>
                  <a:lnTo>
                    <a:pt x="351007" y="91208"/>
                  </a:lnTo>
                  <a:lnTo>
                    <a:pt x="351461" y="90785"/>
                  </a:lnTo>
                  <a:lnTo>
                    <a:pt x="356180" y="83373"/>
                  </a:lnTo>
                  <a:lnTo>
                    <a:pt x="357632" y="79471"/>
                  </a:lnTo>
                  <a:lnTo>
                    <a:pt x="358419" y="78260"/>
                  </a:lnTo>
                  <a:lnTo>
                    <a:pt x="359478" y="77202"/>
                  </a:lnTo>
                  <a:lnTo>
                    <a:pt x="361505" y="75629"/>
                  </a:lnTo>
                  <a:lnTo>
                    <a:pt x="362442" y="74298"/>
                  </a:lnTo>
                  <a:lnTo>
                    <a:pt x="363501" y="71877"/>
                  </a:lnTo>
                  <a:lnTo>
                    <a:pt x="367071" y="56207"/>
                  </a:lnTo>
                  <a:lnTo>
                    <a:pt x="367464" y="55602"/>
                  </a:lnTo>
                  <a:lnTo>
                    <a:pt x="368009" y="55481"/>
                  </a:lnTo>
                  <a:lnTo>
                    <a:pt x="368341" y="55088"/>
                  </a:lnTo>
                  <a:lnTo>
                    <a:pt x="368281" y="53787"/>
                  </a:lnTo>
                  <a:lnTo>
                    <a:pt x="367978" y="52698"/>
                  </a:lnTo>
                  <a:lnTo>
                    <a:pt x="367555" y="51972"/>
                  </a:lnTo>
                  <a:lnTo>
                    <a:pt x="366980" y="51458"/>
                  </a:lnTo>
                  <a:lnTo>
                    <a:pt x="366375" y="50823"/>
                  </a:lnTo>
                  <a:lnTo>
                    <a:pt x="366375" y="50823"/>
                  </a:lnTo>
                  <a:lnTo>
                    <a:pt x="366012" y="50429"/>
                  </a:lnTo>
                  <a:lnTo>
                    <a:pt x="365982" y="50550"/>
                  </a:lnTo>
                  <a:lnTo>
                    <a:pt x="365710" y="50671"/>
                  </a:lnTo>
                  <a:lnTo>
                    <a:pt x="364681" y="50792"/>
                  </a:lnTo>
                  <a:lnTo>
                    <a:pt x="363683" y="50460"/>
                  </a:lnTo>
                  <a:lnTo>
                    <a:pt x="361686" y="48674"/>
                  </a:lnTo>
                  <a:lnTo>
                    <a:pt x="360779" y="48674"/>
                  </a:lnTo>
                  <a:lnTo>
                    <a:pt x="359962" y="49068"/>
                  </a:lnTo>
                  <a:lnTo>
                    <a:pt x="359024" y="49189"/>
                  </a:lnTo>
                  <a:lnTo>
                    <a:pt x="354547" y="48311"/>
                  </a:lnTo>
                  <a:lnTo>
                    <a:pt x="353579" y="48493"/>
                  </a:lnTo>
                  <a:lnTo>
                    <a:pt x="351764" y="49189"/>
                  </a:lnTo>
                  <a:lnTo>
                    <a:pt x="350765" y="49189"/>
                  </a:lnTo>
                  <a:lnTo>
                    <a:pt x="350281" y="48554"/>
                  </a:lnTo>
                  <a:lnTo>
                    <a:pt x="349888" y="47495"/>
                  </a:lnTo>
                  <a:lnTo>
                    <a:pt x="349253" y="46708"/>
                  </a:lnTo>
                  <a:lnTo>
                    <a:pt x="347982" y="46981"/>
                  </a:lnTo>
                  <a:lnTo>
                    <a:pt x="338967" y="53031"/>
                  </a:lnTo>
                  <a:lnTo>
                    <a:pt x="337334" y="53575"/>
                  </a:lnTo>
                  <a:lnTo>
                    <a:pt x="335277" y="53848"/>
                  </a:lnTo>
                  <a:lnTo>
                    <a:pt x="332040" y="54755"/>
                  </a:lnTo>
                  <a:lnTo>
                    <a:pt x="330951" y="55057"/>
                  </a:lnTo>
                  <a:lnTo>
                    <a:pt x="319364" y="55330"/>
                  </a:lnTo>
                  <a:lnTo>
                    <a:pt x="316248" y="54392"/>
                  </a:lnTo>
                  <a:lnTo>
                    <a:pt x="314585" y="53394"/>
                  </a:lnTo>
                  <a:lnTo>
                    <a:pt x="314585" y="53394"/>
                  </a:lnTo>
                  <a:lnTo>
                    <a:pt x="312134" y="51912"/>
                  </a:lnTo>
                  <a:lnTo>
                    <a:pt x="308685" y="48493"/>
                  </a:lnTo>
                  <a:lnTo>
                    <a:pt x="307566" y="44742"/>
                  </a:lnTo>
                  <a:lnTo>
                    <a:pt x="308322" y="43471"/>
                  </a:lnTo>
                  <a:lnTo>
                    <a:pt x="310501" y="41928"/>
                  </a:lnTo>
                  <a:lnTo>
                    <a:pt x="310803" y="40658"/>
                  </a:lnTo>
                  <a:lnTo>
                    <a:pt x="310652" y="40204"/>
                  </a:lnTo>
                  <a:lnTo>
                    <a:pt x="310138" y="39569"/>
                  </a:lnTo>
                  <a:lnTo>
                    <a:pt x="309926" y="39206"/>
                  </a:lnTo>
                  <a:lnTo>
                    <a:pt x="309835" y="38812"/>
                  </a:lnTo>
                  <a:lnTo>
                    <a:pt x="309835" y="38117"/>
                  </a:lnTo>
                  <a:lnTo>
                    <a:pt x="309805" y="37845"/>
                  </a:lnTo>
                  <a:lnTo>
                    <a:pt x="309502" y="37028"/>
                  </a:lnTo>
                  <a:lnTo>
                    <a:pt x="309230" y="36483"/>
                  </a:lnTo>
                  <a:lnTo>
                    <a:pt x="308837" y="36150"/>
                  </a:lnTo>
                  <a:lnTo>
                    <a:pt x="308141" y="35878"/>
                  </a:lnTo>
                  <a:lnTo>
                    <a:pt x="305297" y="35636"/>
                  </a:lnTo>
                  <a:lnTo>
                    <a:pt x="304148" y="35182"/>
                  </a:lnTo>
                  <a:lnTo>
                    <a:pt x="302938" y="33821"/>
                  </a:lnTo>
                  <a:lnTo>
                    <a:pt x="299156" y="26772"/>
                  </a:lnTo>
                  <a:lnTo>
                    <a:pt x="298672" y="26168"/>
                  </a:lnTo>
                  <a:lnTo>
                    <a:pt x="298067" y="25835"/>
                  </a:lnTo>
                  <a:lnTo>
                    <a:pt x="297402" y="25895"/>
                  </a:lnTo>
                  <a:lnTo>
                    <a:pt x="296857" y="26409"/>
                  </a:lnTo>
                  <a:lnTo>
                    <a:pt x="296585" y="27166"/>
                  </a:lnTo>
                  <a:lnTo>
                    <a:pt x="296373" y="27952"/>
                  </a:lnTo>
                  <a:lnTo>
                    <a:pt x="296071" y="28587"/>
                  </a:lnTo>
                  <a:lnTo>
                    <a:pt x="295133" y="29072"/>
                  </a:lnTo>
                  <a:lnTo>
                    <a:pt x="294286" y="28709"/>
                  </a:lnTo>
                  <a:lnTo>
                    <a:pt x="293590" y="27831"/>
                  </a:lnTo>
                  <a:lnTo>
                    <a:pt x="293015" y="26803"/>
                  </a:lnTo>
                  <a:lnTo>
                    <a:pt x="292350" y="25079"/>
                  </a:lnTo>
                  <a:lnTo>
                    <a:pt x="291896" y="24473"/>
                  </a:lnTo>
                  <a:lnTo>
                    <a:pt x="291140" y="24171"/>
                  </a:lnTo>
                  <a:lnTo>
                    <a:pt x="290474" y="24262"/>
                  </a:lnTo>
                  <a:lnTo>
                    <a:pt x="289052" y="25079"/>
                  </a:lnTo>
                  <a:lnTo>
                    <a:pt x="288387" y="25320"/>
                  </a:lnTo>
                  <a:lnTo>
                    <a:pt x="287570" y="25290"/>
                  </a:lnTo>
                  <a:lnTo>
                    <a:pt x="285967" y="24927"/>
                  </a:lnTo>
                  <a:lnTo>
                    <a:pt x="285150" y="24867"/>
                  </a:lnTo>
                  <a:lnTo>
                    <a:pt x="283668" y="25442"/>
                  </a:lnTo>
                  <a:lnTo>
                    <a:pt x="283668" y="25714"/>
                  </a:lnTo>
                  <a:lnTo>
                    <a:pt x="283607" y="26591"/>
                  </a:lnTo>
                  <a:lnTo>
                    <a:pt x="284091" y="28194"/>
                  </a:lnTo>
                  <a:lnTo>
                    <a:pt x="284303" y="30040"/>
                  </a:lnTo>
                  <a:lnTo>
                    <a:pt x="281852" y="29949"/>
                  </a:lnTo>
                  <a:lnTo>
                    <a:pt x="279221" y="29041"/>
                  </a:lnTo>
                  <a:lnTo>
                    <a:pt x="278313" y="28497"/>
                  </a:lnTo>
                  <a:lnTo>
                    <a:pt x="276740" y="27589"/>
                  </a:lnTo>
                  <a:lnTo>
                    <a:pt x="275288" y="26137"/>
                  </a:lnTo>
                  <a:lnTo>
                    <a:pt x="275288" y="26137"/>
                  </a:lnTo>
                  <a:lnTo>
                    <a:pt x="273019" y="23899"/>
                  </a:lnTo>
                  <a:lnTo>
                    <a:pt x="271295" y="22537"/>
                  </a:lnTo>
                  <a:lnTo>
                    <a:pt x="269389" y="21751"/>
                  </a:lnTo>
                  <a:lnTo>
                    <a:pt x="262280" y="21176"/>
                  </a:lnTo>
                  <a:lnTo>
                    <a:pt x="260767" y="20571"/>
                  </a:lnTo>
                  <a:lnTo>
                    <a:pt x="256199" y="17546"/>
                  </a:lnTo>
                  <a:lnTo>
                    <a:pt x="253779" y="16669"/>
                  </a:lnTo>
                  <a:lnTo>
                    <a:pt x="251298" y="17153"/>
                  </a:lnTo>
                  <a:lnTo>
                    <a:pt x="250179" y="18423"/>
                  </a:lnTo>
                  <a:lnTo>
                    <a:pt x="249968" y="20057"/>
                  </a:lnTo>
                  <a:lnTo>
                    <a:pt x="249907" y="21690"/>
                  </a:lnTo>
                  <a:lnTo>
                    <a:pt x="249211" y="23052"/>
                  </a:lnTo>
                  <a:lnTo>
                    <a:pt x="247426" y="24080"/>
                  </a:lnTo>
                  <a:lnTo>
                    <a:pt x="245309" y="24504"/>
                  </a:lnTo>
                  <a:lnTo>
                    <a:pt x="244311" y="24473"/>
                  </a:lnTo>
                  <a:lnTo>
                    <a:pt x="244280" y="24473"/>
                  </a:lnTo>
                  <a:lnTo>
                    <a:pt x="243100" y="24473"/>
                  </a:lnTo>
                  <a:lnTo>
                    <a:pt x="241134" y="24110"/>
                  </a:lnTo>
                  <a:lnTo>
                    <a:pt x="238926" y="23142"/>
                  </a:lnTo>
                  <a:lnTo>
                    <a:pt x="233360" y="18514"/>
                  </a:lnTo>
                  <a:lnTo>
                    <a:pt x="231756" y="17697"/>
                  </a:lnTo>
                  <a:lnTo>
                    <a:pt x="230183" y="17727"/>
                  </a:lnTo>
                  <a:lnTo>
                    <a:pt x="228670" y="18453"/>
                  </a:lnTo>
                  <a:lnTo>
                    <a:pt x="222560" y="25230"/>
                  </a:lnTo>
                  <a:lnTo>
                    <a:pt x="220896" y="26652"/>
                  </a:lnTo>
                  <a:lnTo>
                    <a:pt x="220049" y="27075"/>
                  </a:lnTo>
                  <a:lnTo>
                    <a:pt x="217266" y="27589"/>
                  </a:lnTo>
                  <a:lnTo>
                    <a:pt x="214301" y="28709"/>
                  </a:lnTo>
                  <a:lnTo>
                    <a:pt x="213303" y="28830"/>
                  </a:lnTo>
                  <a:lnTo>
                    <a:pt x="211276" y="28073"/>
                  </a:lnTo>
                  <a:lnTo>
                    <a:pt x="209461" y="26531"/>
                  </a:lnTo>
                  <a:lnTo>
                    <a:pt x="203804" y="19815"/>
                  </a:lnTo>
                  <a:lnTo>
                    <a:pt x="201111" y="17364"/>
                  </a:lnTo>
                  <a:lnTo>
                    <a:pt x="198117" y="15821"/>
                  </a:lnTo>
                  <a:lnTo>
                    <a:pt x="194759" y="15610"/>
                  </a:lnTo>
                  <a:lnTo>
                    <a:pt x="192580" y="16669"/>
                  </a:lnTo>
                  <a:lnTo>
                    <a:pt x="188890" y="20299"/>
                  </a:lnTo>
                  <a:lnTo>
                    <a:pt x="186803" y="21509"/>
                  </a:lnTo>
                  <a:lnTo>
                    <a:pt x="185714" y="21660"/>
                  </a:lnTo>
                  <a:lnTo>
                    <a:pt x="183505" y="21448"/>
                  </a:lnTo>
                  <a:lnTo>
                    <a:pt x="178453" y="22053"/>
                  </a:lnTo>
                  <a:lnTo>
                    <a:pt x="177697" y="22295"/>
                  </a:lnTo>
                  <a:lnTo>
                    <a:pt x="178211" y="21448"/>
                  </a:lnTo>
                  <a:lnTo>
                    <a:pt x="179149" y="18725"/>
                  </a:lnTo>
                  <a:lnTo>
                    <a:pt x="176729" y="19875"/>
                  </a:lnTo>
                  <a:lnTo>
                    <a:pt x="175519" y="20087"/>
                  </a:lnTo>
                  <a:lnTo>
                    <a:pt x="174278" y="19694"/>
                  </a:lnTo>
                  <a:lnTo>
                    <a:pt x="175004" y="18877"/>
                  </a:lnTo>
                  <a:lnTo>
                    <a:pt x="175307" y="18151"/>
                  </a:lnTo>
                  <a:lnTo>
                    <a:pt x="175186" y="17395"/>
                  </a:lnTo>
                  <a:lnTo>
                    <a:pt x="174611" y="16517"/>
                  </a:lnTo>
                  <a:lnTo>
                    <a:pt x="173794" y="16064"/>
                  </a:lnTo>
                  <a:lnTo>
                    <a:pt x="173371" y="16578"/>
                  </a:lnTo>
                  <a:lnTo>
                    <a:pt x="173099" y="17395"/>
                  </a:lnTo>
                  <a:lnTo>
                    <a:pt x="172887" y="17818"/>
                  </a:lnTo>
                  <a:lnTo>
                    <a:pt x="169529" y="18816"/>
                  </a:lnTo>
                  <a:lnTo>
                    <a:pt x="167714" y="18998"/>
                  </a:lnTo>
                  <a:lnTo>
                    <a:pt x="166292" y="18272"/>
                  </a:lnTo>
                  <a:lnTo>
                    <a:pt x="165354" y="17546"/>
                  </a:lnTo>
                  <a:lnTo>
                    <a:pt x="162057" y="15549"/>
                  </a:lnTo>
                  <a:lnTo>
                    <a:pt x="160181" y="14854"/>
                  </a:lnTo>
                  <a:lnTo>
                    <a:pt x="156249" y="12464"/>
                  </a:lnTo>
                  <a:lnTo>
                    <a:pt x="154343" y="16336"/>
                  </a:lnTo>
                  <a:lnTo>
                    <a:pt x="153919" y="16941"/>
                  </a:lnTo>
                  <a:lnTo>
                    <a:pt x="149109" y="17243"/>
                  </a:lnTo>
                  <a:lnTo>
                    <a:pt x="148020" y="17818"/>
                  </a:lnTo>
                  <a:lnTo>
                    <a:pt x="141758" y="15156"/>
                  </a:lnTo>
                  <a:lnTo>
                    <a:pt x="139096" y="14006"/>
                  </a:lnTo>
                  <a:lnTo>
                    <a:pt x="134800" y="11042"/>
                  </a:lnTo>
                  <a:lnTo>
                    <a:pt x="132864" y="7109"/>
                  </a:lnTo>
                  <a:lnTo>
                    <a:pt x="132229" y="7563"/>
                  </a:lnTo>
                  <a:lnTo>
                    <a:pt x="130656" y="8501"/>
                  </a:lnTo>
                  <a:lnTo>
                    <a:pt x="130051" y="8985"/>
                  </a:lnTo>
                  <a:lnTo>
                    <a:pt x="130474" y="7896"/>
                  </a:lnTo>
                  <a:lnTo>
                    <a:pt x="130565" y="7079"/>
                  </a:lnTo>
                  <a:lnTo>
                    <a:pt x="130414" y="6322"/>
                  </a:lnTo>
                  <a:lnTo>
                    <a:pt x="130051" y="5294"/>
                  </a:lnTo>
                  <a:lnTo>
                    <a:pt x="129052" y="6988"/>
                  </a:lnTo>
                  <a:lnTo>
                    <a:pt x="128024" y="6292"/>
                  </a:lnTo>
                  <a:lnTo>
                    <a:pt x="126783" y="4901"/>
                  </a:lnTo>
                  <a:lnTo>
                    <a:pt x="125301" y="4417"/>
                  </a:lnTo>
                  <a:lnTo>
                    <a:pt x="125725" y="5294"/>
                  </a:lnTo>
                  <a:lnTo>
                    <a:pt x="125997" y="6202"/>
                  </a:lnTo>
                  <a:lnTo>
                    <a:pt x="123910" y="6413"/>
                  </a:lnTo>
                  <a:lnTo>
                    <a:pt x="123335" y="5687"/>
                  </a:lnTo>
                  <a:lnTo>
                    <a:pt x="123365" y="4568"/>
                  </a:lnTo>
                  <a:lnTo>
                    <a:pt x="123244" y="3540"/>
                  </a:lnTo>
                  <a:lnTo>
                    <a:pt x="122427" y="756"/>
                  </a:lnTo>
                  <a:lnTo>
                    <a:pt x="121611" y="0"/>
                  </a:lnTo>
                  <a:lnTo>
                    <a:pt x="118828" y="2148"/>
                  </a:lnTo>
                  <a:lnTo>
                    <a:pt x="118525" y="2783"/>
                  </a:lnTo>
                  <a:lnTo>
                    <a:pt x="117738" y="3842"/>
                  </a:lnTo>
                  <a:lnTo>
                    <a:pt x="116649" y="4931"/>
                  </a:lnTo>
                  <a:lnTo>
                    <a:pt x="115863" y="5415"/>
                  </a:lnTo>
                  <a:lnTo>
                    <a:pt x="115288" y="6867"/>
                  </a:lnTo>
                  <a:lnTo>
                    <a:pt x="114290" y="7502"/>
                  </a:lnTo>
                  <a:lnTo>
                    <a:pt x="113201" y="7956"/>
                  </a:lnTo>
                  <a:lnTo>
                    <a:pt x="112172" y="8864"/>
                  </a:lnTo>
                  <a:lnTo>
                    <a:pt x="111598" y="10437"/>
                  </a:lnTo>
                  <a:lnTo>
                    <a:pt x="111658" y="11556"/>
                  </a:lnTo>
                  <a:lnTo>
                    <a:pt x="111507" y="12524"/>
                  </a:lnTo>
                  <a:lnTo>
                    <a:pt x="110266" y="13553"/>
                  </a:lnTo>
                  <a:lnTo>
                    <a:pt x="107695" y="13855"/>
                  </a:lnTo>
                  <a:lnTo>
                    <a:pt x="87638" y="8380"/>
                  </a:lnTo>
                  <a:lnTo>
                    <a:pt x="81800" y="8168"/>
                  </a:lnTo>
                  <a:lnTo>
                    <a:pt x="77081" y="11163"/>
                  </a:lnTo>
                  <a:lnTo>
                    <a:pt x="73783" y="17909"/>
                  </a:lnTo>
                  <a:lnTo>
                    <a:pt x="72391" y="19875"/>
                  </a:lnTo>
                  <a:lnTo>
                    <a:pt x="71333" y="20601"/>
                  </a:lnTo>
                  <a:lnTo>
                    <a:pt x="68671" y="21388"/>
                  </a:lnTo>
                  <a:lnTo>
                    <a:pt x="67763" y="21993"/>
                  </a:lnTo>
                  <a:lnTo>
                    <a:pt x="67007" y="23203"/>
                  </a:lnTo>
                  <a:lnTo>
                    <a:pt x="67007" y="23929"/>
                  </a:lnTo>
                  <a:lnTo>
                    <a:pt x="67219" y="24776"/>
                  </a:lnTo>
                  <a:lnTo>
                    <a:pt x="67007" y="26319"/>
                  </a:lnTo>
                  <a:lnTo>
                    <a:pt x="66523" y="27378"/>
                  </a:lnTo>
                  <a:lnTo>
                    <a:pt x="64496" y="30887"/>
                  </a:lnTo>
                  <a:lnTo>
                    <a:pt x="63377" y="34638"/>
                  </a:lnTo>
                  <a:lnTo>
                    <a:pt x="63377" y="34638"/>
                  </a:lnTo>
                  <a:lnTo>
                    <a:pt x="62863" y="36483"/>
                  </a:lnTo>
                  <a:lnTo>
                    <a:pt x="60412" y="37088"/>
                  </a:lnTo>
                  <a:lnTo>
                    <a:pt x="56691" y="36302"/>
                  </a:lnTo>
                  <a:lnTo>
                    <a:pt x="52849" y="34759"/>
                  </a:lnTo>
                  <a:lnTo>
                    <a:pt x="50006" y="33125"/>
                  </a:lnTo>
                  <a:lnTo>
                    <a:pt x="40809" y="24685"/>
                  </a:lnTo>
                  <a:lnTo>
                    <a:pt x="39054" y="22537"/>
                  </a:lnTo>
                  <a:lnTo>
                    <a:pt x="36907" y="17425"/>
                  </a:lnTo>
                  <a:lnTo>
                    <a:pt x="35364" y="15065"/>
                  </a:lnTo>
                  <a:lnTo>
                    <a:pt x="34124" y="14188"/>
                  </a:lnTo>
                  <a:lnTo>
                    <a:pt x="31885" y="13734"/>
                  </a:lnTo>
                  <a:lnTo>
                    <a:pt x="31038" y="13159"/>
                  </a:lnTo>
                  <a:lnTo>
                    <a:pt x="31099" y="12554"/>
                  </a:lnTo>
                  <a:lnTo>
                    <a:pt x="31462" y="11586"/>
                  </a:lnTo>
                  <a:lnTo>
                    <a:pt x="31522" y="10437"/>
                  </a:lnTo>
                  <a:lnTo>
                    <a:pt x="30645" y="9257"/>
                  </a:lnTo>
                  <a:lnTo>
                    <a:pt x="29435" y="8712"/>
                  </a:lnTo>
                  <a:lnTo>
                    <a:pt x="28315" y="8652"/>
                  </a:lnTo>
                  <a:lnTo>
                    <a:pt x="26016" y="9075"/>
                  </a:lnTo>
                  <a:lnTo>
                    <a:pt x="16366" y="8834"/>
                  </a:lnTo>
                  <a:lnTo>
                    <a:pt x="10951" y="9650"/>
                  </a:lnTo>
                  <a:lnTo>
                    <a:pt x="8712" y="11556"/>
                  </a:lnTo>
                  <a:lnTo>
                    <a:pt x="7684" y="12433"/>
                  </a:lnTo>
                  <a:lnTo>
                    <a:pt x="6534" y="15277"/>
                  </a:lnTo>
                  <a:lnTo>
                    <a:pt x="6444" y="16306"/>
                  </a:lnTo>
                  <a:lnTo>
                    <a:pt x="6807" y="24050"/>
                  </a:lnTo>
                  <a:lnTo>
                    <a:pt x="6383" y="26107"/>
                  </a:lnTo>
                  <a:lnTo>
                    <a:pt x="4023" y="31734"/>
                  </a:lnTo>
                  <a:lnTo>
                    <a:pt x="3963" y="34184"/>
                  </a:lnTo>
                  <a:lnTo>
                    <a:pt x="5173" y="38117"/>
                  </a:lnTo>
                  <a:lnTo>
                    <a:pt x="4780" y="40416"/>
                  </a:lnTo>
                  <a:lnTo>
                    <a:pt x="2299" y="44439"/>
                  </a:lnTo>
                  <a:lnTo>
                    <a:pt x="1815" y="45801"/>
                  </a:lnTo>
                  <a:lnTo>
                    <a:pt x="1482" y="46738"/>
                  </a:lnTo>
                  <a:lnTo>
                    <a:pt x="1845" y="50006"/>
                  </a:lnTo>
                  <a:lnTo>
                    <a:pt x="3237" y="52638"/>
                  </a:lnTo>
                  <a:lnTo>
                    <a:pt x="4840" y="54967"/>
                  </a:lnTo>
                  <a:lnTo>
                    <a:pt x="5778" y="57447"/>
                  </a:lnTo>
                  <a:lnTo>
                    <a:pt x="5294" y="59747"/>
                  </a:lnTo>
                  <a:lnTo>
                    <a:pt x="3539" y="60503"/>
                  </a:lnTo>
                  <a:lnTo>
                    <a:pt x="1482" y="61077"/>
                  </a:lnTo>
                  <a:lnTo>
                    <a:pt x="0" y="62893"/>
                  </a:lnTo>
                  <a:lnTo>
                    <a:pt x="121" y="65071"/>
                  </a:lnTo>
                  <a:lnTo>
                    <a:pt x="1240" y="67309"/>
                  </a:lnTo>
                  <a:lnTo>
                    <a:pt x="3781" y="71182"/>
                  </a:lnTo>
                  <a:lnTo>
                    <a:pt x="4356" y="71847"/>
                  </a:lnTo>
                  <a:lnTo>
                    <a:pt x="6716" y="73360"/>
                  </a:lnTo>
                  <a:lnTo>
                    <a:pt x="7502" y="74570"/>
                  </a:lnTo>
                  <a:lnTo>
                    <a:pt x="8137" y="75870"/>
                  </a:lnTo>
                  <a:lnTo>
                    <a:pt x="9015" y="76748"/>
                  </a:lnTo>
                  <a:lnTo>
                    <a:pt x="10497" y="76536"/>
                  </a:lnTo>
                  <a:lnTo>
                    <a:pt x="11465" y="76233"/>
                  </a:lnTo>
                  <a:lnTo>
                    <a:pt x="13280" y="76113"/>
                  </a:lnTo>
                  <a:lnTo>
                    <a:pt x="14127" y="75840"/>
                  </a:lnTo>
                  <a:lnTo>
                    <a:pt x="14883" y="74993"/>
                  </a:lnTo>
                  <a:lnTo>
                    <a:pt x="15428" y="73904"/>
                  </a:lnTo>
                  <a:lnTo>
                    <a:pt x="16124" y="73057"/>
                  </a:lnTo>
                  <a:lnTo>
                    <a:pt x="17395" y="73148"/>
                  </a:lnTo>
                  <a:lnTo>
                    <a:pt x="18060" y="73904"/>
                  </a:lnTo>
                  <a:lnTo>
                    <a:pt x="18453" y="75114"/>
                  </a:lnTo>
                  <a:lnTo>
                    <a:pt x="18725" y="76445"/>
                  </a:lnTo>
                  <a:lnTo>
                    <a:pt x="19058" y="77565"/>
                  </a:lnTo>
                  <a:lnTo>
                    <a:pt x="19845" y="78321"/>
                  </a:lnTo>
                  <a:lnTo>
                    <a:pt x="20662" y="78079"/>
                  </a:lnTo>
                  <a:lnTo>
                    <a:pt x="21509" y="77686"/>
                  </a:lnTo>
                  <a:lnTo>
                    <a:pt x="22265" y="77746"/>
                  </a:lnTo>
                  <a:lnTo>
                    <a:pt x="23354" y="79138"/>
                  </a:lnTo>
                  <a:lnTo>
                    <a:pt x="24110" y="82375"/>
                  </a:lnTo>
                  <a:lnTo>
                    <a:pt x="25441" y="84190"/>
                  </a:lnTo>
                  <a:lnTo>
                    <a:pt x="26470" y="84825"/>
                  </a:lnTo>
                  <a:lnTo>
                    <a:pt x="27740" y="85218"/>
                  </a:lnTo>
                  <a:lnTo>
                    <a:pt x="30191" y="85521"/>
                  </a:lnTo>
                  <a:lnTo>
                    <a:pt x="31431" y="86065"/>
                  </a:lnTo>
                  <a:lnTo>
                    <a:pt x="32218" y="87275"/>
                  </a:lnTo>
                  <a:lnTo>
                    <a:pt x="32732" y="88909"/>
                  </a:lnTo>
                  <a:lnTo>
                    <a:pt x="33065" y="90663"/>
                  </a:lnTo>
                  <a:lnTo>
                    <a:pt x="32914" y="90785"/>
                  </a:lnTo>
                  <a:lnTo>
                    <a:pt x="32097" y="91178"/>
                  </a:lnTo>
                  <a:lnTo>
                    <a:pt x="31643" y="92872"/>
                  </a:lnTo>
                  <a:lnTo>
                    <a:pt x="29979" y="94838"/>
                  </a:lnTo>
                  <a:lnTo>
                    <a:pt x="29193" y="96926"/>
                  </a:lnTo>
                  <a:lnTo>
                    <a:pt x="31250" y="98983"/>
                  </a:lnTo>
                  <a:lnTo>
                    <a:pt x="33337" y="99195"/>
                  </a:lnTo>
                  <a:lnTo>
                    <a:pt x="36997" y="97712"/>
                  </a:lnTo>
                  <a:lnTo>
                    <a:pt x="39115" y="98045"/>
                  </a:lnTo>
                  <a:lnTo>
                    <a:pt x="40295" y="99467"/>
                  </a:lnTo>
                  <a:lnTo>
                    <a:pt x="40960" y="101736"/>
                  </a:lnTo>
                  <a:lnTo>
                    <a:pt x="41505" y="104246"/>
                  </a:lnTo>
                  <a:lnTo>
                    <a:pt x="43955" y="110629"/>
                  </a:lnTo>
                  <a:lnTo>
                    <a:pt x="44651" y="113080"/>
                  </a:lnTo>
                  <a:lnTo>
                    <a:pt x="44651" y="115046"/>
                  </a:lnTo>
                  <a:lnTo>
                    <a:pt x="44046" y="115984"/>
                  </a:lnTo>
                  <a:lnTo>
                    <a:pt x="43199" y="116498"/>
                  </a:lnTo>
                  <a:lnTo>
                    <a:pt x="42533" y="117043"/>
                  </a:lnTo>
                  <a:lnTo>
                    <a:pt x="42473" y="118041"/>
                  </a:lnTo>
                  <a:lnTo>
                    <a:pt x="42866" y="117648"/>
                  </a:lnTo>
                  <a:lnTo>
                    <a:pt x="43985" y="117678"/>
                  </a:lnTo>
                  <a:lnTo>
                    <a:pt x="45831" y="118102"/>
                  </a:lnTo>
                  <a:lnTo>
                    <a:pt x="47918" y="119372"/>
                  </a:lnTo>
                  <a:lnTo>
                    <a:pt x="48977" y="120340"/>
                  </a:lnTo>
                  <a:lnTo>
                    <a:pt x="49279" y="121550"/>
                  </a:lnTo>
                  <a:lnTo>
                    <a:pt x="49310" y="121641"/>
                  </a:lnTo>
                  <a:lnTo>
                    <a:pt x="49007" y="123819"/>
                  </a:lnTo>
                  <a:lnTo>
                    <a:pt x="48674" y="124878"/>
                  </a:lnTo>
                  <a:lnTo>
                    <a:pt x="47646" y="126965"/>
                  </a:lnTo>
                  <a:lnTo>
                    <a:pt x="47344" y="128387"/>
                  </a:lnTo>
                  <a:lnTo>
                    <a:pt x="47464" y="130323"/>
                  </a:lnTo>
                  <a:lnTo>
                    <a:pt x="48402" y="134377"/>
                  </a:lnTo>
                  <a:lnTo>
                    <a:pt x="50308" y="139913"/>
                  </a:lnTo>
                  <a:lnTo>
                    <a:pt x="51941" y="142121"/>
                  </a:lnTo>
                  <a:lnTo>
                    <a:pt x="56298" y="146447"/>
                  </a:lnTo>
                  <a:lnTo>
                    <a:pt x="57750" y="148777"/>
                  </a:lnTo>
                  <a:lnTo>
                    <a:pt x="59988" y="153798"/>
                  </a:lnTo>
                  <a:lnTo>
                    <a:pt x="61471" y="156097"/>
                  </a:lnTo>
                  <a:lnTo>
                    <a:pt x="63407" y="157852"/>
                  </a:lnTo>
                  <a:lnTo>
                    <a:pt x="64556" y="158669"/>
                  </a:lnTo>
                  <a:lnTo>
                    <a:pt x="65524" y="159183"/>
                  </a:lnTo>
                  <a:lnTo>
                    <a:pt x="66614" y="159304"/>
                  </a:lnTo>
                  <a:lnTo>
                    <a:pt x="69246" y="159122"/>
                  </a:lnTo>
                  <a:lnTo>
                    <a:pt x="70244" y="159485"/>
                  </a:lnTo>
                  <a:lnTo>
                    <a:pt x="71545" y="161452"/>
                  </a:lnTo>
                  <a:lnTo>
                    <a:pt x="71998" y="163327"/>
                  </a:lnTo>
                  <a:lnTo>
                    <a:pt x="72815" y="164870"/>
                  </a:lnTo>
                  <a:lnTo>
                    <a:pt x="77232" y="166322"/>
                  </a:lnTo>
                  <a:lnTo>
                    <a:pt x="78986" y="167593"/>
                  </a:lnTo>
                  <a:lnTo>
                    <a:pt x="80560" y="169287"/>
                  </a:lnTo>
                  <a:lnTo>
                    <a:pt x="81649" y="170769"/>
                  </a:lnTo>
                  <a:lnTo>
                    <a:pt x="84522" y="174672"/>
                  </a:lnTo>
                  <a:lnTo>
                    <a:pt x="89423" y="179331"/>
                  </a:lnTo>
                  <a:lnTo>
                    <a:pt x="92721" y="183505"/>
                  </a:lnTo>
                  <a:lnTo>
                    <a:pt x="96865" y="187075"/>
                  </a:lnTo>
                  <a:lnTo>
                    <a:pt x="97621" y="188920"/>
                  </a:lnTo>
                  <a:lnTo>
                    <a:pt x="97984" y="191068"/>
                  </a:lnTo>
                  <a:lnTo>
                    <a:pt x="98831" y="193791"/>
                  </a:lnTo>
                  <a:lnTo>
                    <a:pt x="100284" y="195908"/>
                  </a:lnTo>
                  <a:lnTo>
                    <a:pt x="111476" y="204106"/>
                  </a:lnTo>
                  <a:lnTo>
                    <a:pt x="127389" y="219111"/>
                  </a:lnTo>
                  <a:lnTo>
                    <a:pt x="132259" y="224375"/>
                  </a:lnTo>
                  <a:lnTo>
                    <a:pt x="135466" y="227007"/>
                  </a:lnTo>
                  <a:lnTo>
                    <a:pt x="137705" y="228852"/>
                  </a:lnTo>
                  <a:lnTo>
                    <a:pt x="143573" y="231877"/>
                  </a:lnTo>
                  <a:lnTo>
                    <a:pt x="153314" y="233269"/>
                  </a:lnTo>
                  <a:lnTo>
                    <a:pt x="156430" y="235205"/>
                  </a:lnTo>
                  <a:lnTo>
                    <a:pt x="158033" y="238502"/>
                  </a:lnTo>
                  <a:lnTo>
                    <a:pt x="156128" y="249151"/>
                  </a:lnTo>
                  <a:lnTo>
                    <a:pt x="158366" y="255503"/>
                  </a:lnTo>
                  <a:lnTo>
                    <a:pt x="162269" y="260949"/>
                  </a:lnTo>
                  <a:lnTo>
                    <a:pt x="166383" y="264488"/>
                  </a:lnTo>
                  <a:lnTo>
                    <a:pt x="168409" y="265668"/>
                  </a:lnTo>
                  <a:lnTo>
                    <a:pt x="169469" y="266576"/>
                  </a:lnTo>
                  <a:lnTo>
                    <a:pt x="170164" y="267907"/>
                  </a:lnTo>
                  <a:lnTo>
                    <a:pt x="170981" y="270508"/>
                  </a:lnTo>
                  <a:lnTo>
                    <a:pt x="172131" y="272959"/>
                  </a:lnTo>
                  <a:lnTo>
                    <a:pt x="173703" y="274623"/>
                  </a:lnTo>
                  <a:lnTo>
                    <a:pt x="174581" y="275167"/>
                  </a:lnTo>
                  <a:lnTo>
                    <a:pt x="188315" y="283516"/>
                  </a:lnTo>
                  <a:lnTo>
                    <a:pt x="189374" y="284666"/>
                  </a:lnTo>
                  <a:lnTo>
                    <a:pt x="192429" y="287994"/>
                  </a:lnTo>
                  <a:lnTo>
                    <a:pt x="195515" y="294679"/>
                  </a:lnTo>
                  <a:lnTo>
                    <a:pt x="195545" y="294679"/>
                  </a:lnTo>
                  <a:lnTo>
                    <a:pt x="195545" y="294710"/>
                  </a:lnTo>
                  <a:lnTo>
                    <a:pt x="195545" y="294710"/>
                  </a:lnTo>
                  <a:lnTo>
                    <a:pt x="195908" y="298219"/>
                  </a:lnTo>
                  <a:lnTo>
                    <a:pt x="193064" y="300155"/>
                  </a:lnTo>
                  <a:lnTo>
                    <a:pt x="187650" y="301183"/>
                  </a:lnTo>
                  <a:lnTo>
                    <a:pt x="189888" y="302393"/>
                  </a:lnTo>
                  <a:lnTo>
                    <a:pt x="191401" y="303755"/>
                  </a:lnTo>
                  <a:lnTo>
                    <a:pt x="189676" y="303301"/>
                  </a:lnTo>
                  <a:lnTo>
                    <a:pt x="186984" y="302182"/>
                  </a:lnTo>
                  <a:lnTo>
                    <a:pt x="185199" y="302121"/>
                  </a:lnTo>
                  <a:lnTo>
                    <a:pt x="194879" y="307597"/>
                  </a:lnTo>
                  <a:lnTo>
                    <a:pt x="194940" y="307627"/>
                  </a:lnTo>
                  <a:lnTo>
                    <a:pt x="194940" y="307627"/>
                  </a:lnTo>
                  <a:lnTo>
                    <a:pt x="196211" y="305842"/>
                  </a:lnTo>
                  <a:lnTo>
                    <a:pt x="197572" y="304511"/>
                  </a:lnTo>
                  <a:lnTo>
                    <a:pt x="199810" y="304027"/>
                  </a:lnTo>
                  <a:lnTo>
                    <a:pt x="202019" y="304450"/>
                  </a:lnTo>
                  <a:lnTo>
                    <a:pt x="206254" y="305963"/>
                  </a:lnTo>
                  <a:lnTo>
                    <a:pt x="208372" y="306326"/>
                  </a:lnTo>
                  <a:lnTo>
                    <a:pt x="209189" y="305902"/>
                  </a:lnTo>
                  <a:lnTo>
                    <a:pt x="209975" y="305267"/>
                  </a:lnTo>
                  <a:lnTo>
                    <a:pt x="210883" y="305237"/>
                  </a:lnTo>
                  <a:lnTo>
                    <a:pt x="212062" y="306689"/>
                  </a:lnTo>
                  <a:lnTo>
                    <a:pt x="212365" y="307929"/>
                  </a:lnTo>
                  <a:lnTo>
                    <a:pt x="212244" y="310955"/>
                  </a:lnTo>
                  <a:lnTo>
                    <a:pt x="212425" y="312376"/>
                  </a:lnTo>
                  <a:lnTo>
                    <a:pt x="215602" y="316944"/>
                  </a:lnTo>
                  <a:lnTo>
                    <a:pt x="216691" y="317580"/>
                  </a:lnTo>
                  <a:lnTo>
                    <a:pt x="220230" y="318517"/>
                  </a:lnTo>
                  <a:lnTo>
                    <a:pt x="222681" y="320211"/>
                  </a:lnTo>
                  <a:lnTo>
                    <a:pt x="227007" y="324749"/>
                  </a:lnTo>
                  <a:lnTo>
                    <a:pt x="229366" y="326564"/>
                  </a:lnTo>
                  <a:lnTo>
                    <a:pt x="234812" y="329771"/>
                  </a:lnTo>
                  <a:lnTo>
                    <a:pt x="252387" y="340661"/>
                  </a:lnTo>
                  <a:lnTo>
                    <a:pt x="255715" y="342325"/>
                  </a:lnTo>
                  <a:lnTo>
                    <a:pt x="261191" y="344050"/>
                  </a:lnTo>
                  <a:lnTo>
                    <a:pt x="263913" y="343868"/>
                  </a:lnTo>
                  <a:lnTo>
                    <a:pt x="265033" y="344655"/>
                  </a:lnTo>
                  <a:lnTo>
                    <a:pt x="267060" y="347377"/>
                  </a:lnTo>
                  <a:lnTo>
                    <a:pt x="267060" y="347407"/>
                  </a:lnTo>
                  <a:lnTo>
                    <a:pt x="267120" y="347498"/>
                  </a:lnTo>
                  <a:lnTo>
                    <a:pt x="268602" y="348376"/>
                  </a:lnTo>
                  <a:lnTo>
                    <a:pt x="272202" y="348739"/>
                  </a:lnTo>
                  <a:lnTo>
                    <a:pt x="273836" y="349283"/>
                  </a:lnTo>
                  <a:lnTo>
                    <a:pt x="274895" y="348436"/>
                  </a:lnTo>
                  <a:lnTo>
                    <a:pt x="276014" y="347982"/>
                  </a:lnTo>
                  <a:lnTo>
                    <a:pt x="277194" y="348073"/>
                  </a:lnTo>
                  <a:lnTo>
                    <a:pt x="278313" y="348739"/>
                  </a:lnTo>
                  <a:lnTo>
                    <a:pt x="279372" y="348587"/>
                  </a:lnTo>
                  <a:lnTo>
                    <a:pt x="279735" y="347831"/>
                  </a:lnTo>
                  <a:lnTo>
                    <a:pt x="279523" y="346712"/>
                  </a:lnTo>
                  <a:lnTo>
                    <a:pt x="278797" y="345441"/>
                  </a:lnTo>
                  <a:lnTo>
                    <a:pt x="280824" y="344382"/>
                  </a:lnTo>
                  <a:lnTo>
                    <a:pt x="281883" y="343808"/>
                  </a:lnTo>
                  <a:lnTo>
                    <a:pt x="284031" y="341902"/>
                  </a:lnTo>
                  <a:lnTo>
                    <a:pt x="284454" y="340873"/>
                  </a:lnTo>
                  <a:lnTo>
                    <a:pt x="285150" y="339300"/>
                  </a:lnTo>
                  <a:lnTo>
                    <a:pt x="285180" y="335640"/>
                  </a:lnTo>
                  <a:lnTo>
                    <a:pt x="284152" y="332221"/>
                  </a:lnTo>
                  <a:lnTo>
                    <a:pt x="282427" y="330164"/>
                  </a:lnTo>
                  <a:lnTo>
                    <a:pt x="280370" y="328198"/>
                  </a:lnTo>
                  <a:lnTo>
                    <a:pt x="276891" y="322934"/>
                  </a:lnTo>
                  <a:lnTo>
                    <a:pt x="275530" y="319939"/>
                  </a:lnTo>
                  <a:lnTo>
                    <a:pt x="274562" y="316914"/>
                  </a:lnTo>
                  <a:lnTo>
                    <a:pt x="274471" y="314736"/>
                  </a:lnTo>
                  <a:lnTo>
                    <a:pt x="275469" y="313314"/>
                  </a:lnTo>
                  <a:lnTo>
                    <a:pt x="276710" y="312437"/>
                  </a:lnTo>
                  <a:lnTo>
                    <a:pt x="277466" y="311196"/>
                  </a:lnTo>
                  <a:lnTo>
                    <a:pt x="276891" y="308807"/>
                  </a:lnTo>
                  <a:lnTo>
                    <a:pt x="274501" y="304360"/>
                  </a:lnTo>
                  <a:lnTo>
                    <a:pt x="273533" y="301849"/>
                  </a:lnTo>
                  <a:lnTo>
                    <a:pt x="273473" y="299671"/>
                  </a:lnTo>
                  <a:lnTo>
                    <a:pt x="275409" y="294710"/>
                  </a:lnTo>
                  <a:lnTo>
                    <a:pt x="278434" y="292047"/>
                  </a:lnTo>
                  <a:lnTo>
                    <a:pt x="284061" y="290868"/>
                  </a:lnTo>
                  <a:lnTo>
                    <a:pt x="290051" y="290807"/>
                  </a:lnTo>
                  <a:lnTo>
                    <a:pt x="294135" y="291321"/>
                  </a:lnTo>
                  <a:lnTo>
                    <a:pt x="292350" y="281701"/>
                  </a:lnTo>
                  <a:lnTo>
                    <a:pt x="292289" y="278404"/>
                  </a:lnTo>
                  <a:lnTo>
                    <a:pt x="292350" y="278132"/>
                  </a:lnTo>
                  <a:lnTo>
                    <a:pt x="293136" y="274320"/>
                  </a:lnTo>
                  <a:lnTo>
                    <a:pt x="294770" y="271113"/>
                  </a:lnTo>
                  <a:lnTo>
                    <a:pt x="299096" y="265517"/>
                  </a:lnTo>
                  <a:lnTo>
                    <a:pt x="296676" y="264398"/>
                  </a:lnTo>
                  <a:lnTo>
                    <a:pt x="298219" y="262340"/>
                  </a:lnTo>
                  <a:lnTo>
                    <a:pt x="311045" y="253658"/>
                  </a:lnTo>
                  <a:lnTo>
                    <a:pt x="313707" y="252872"/>
                  </a:lnTo>
                  <a:lnTo>
                    <a:pt x="313405" y="252358"/>
                  </a:lnTo>
                  <a:lnTo>
                    <a:pt x="312800" y="251178"/>
                  </a:lnTo>
                  <a:lnTo>
                    <a:pt x="312467" y="250663"/>
                  </a:lnTo>
                  <a:lnTo>
                    <a:pt x="314342" y="249877"/>
                  </a:lnTo>
                  <a:lnTo>
                    <a:pt x="320302" y="249332"/>
                  </a:lnTo>
                  <a:lnTo>
                    <a:pt x="322752" y="249998"/>
                  </a:lnTo>
                  <a:lnTo>
                    <a:pt x="325445" y="251722"/>
                  </a:lnTo>
                  <a:lnTo>
                    <a:pt x="326171" y="252660"/>
                  </a:lnTo>
                  <a:lnTo>
                    <a:pt x="326231" y="253537"/>
                  </a:lnTo>
                  <a:lnTo>
                    <a:pt x="326141" y="254445"/>
                  </a:lnTo>
                  <a:lnTo>
                    <a:pt x="326383" y="255503"/>
                  </a:lnTo>
                  <a:lnTo>
                    <a:pt x="327290" y="256926"/>
                  </a:lnTo>
                  <a:lnTo>
                    <a:pt x="329347" y="259345"/>
                  </a:lnTo>
                  <a:lnTo>
                    <a:pt x="329408" y="259467"/>
                  </a:lnTo>
                  <a:lnTo>
                    <a:pt x="329710" y="260102"/>
                  </a:lnTo>
                  <a:lnTo>
                    <a:pt x="330739" y="259224"/>
                  </a:lnTo>
                  <a:lnTo>
                    <a:pt x="331556" y="258166"/>
                  </a:lnTo>
                  <a:lnTo>
                    <a:pt x="332191" y="257046"/>
                  </a:lnTo>
                  <a:lnTo>
                    <a:pt x="332735" y="256381"/>
                  </a:lnTo>
                  <a:lnTo>
                    <a:pt x="332947" y="256109"/>
                  </a:lnTo>
                  <a:lnTo>
                    <a:pt x="334097" y="255503"/>
                  </a:lnTo>
                  <a:lnTo>
                    <a:pt x="336759" y="255383"/>
                  </a:lnTo>
                  <a:lnTo>
                    <a:pt x="337485" y="254808"/>
                  </a:lnTo>
                  <a:lnTo>
                    <a:pt x="334460" y="249514"/>
                  </a:lnTo>
                  <a:lnTo>
                    <a:pt x="331465" y="241830"/>
                  </a:lnTo>
                  <a:lnTo>
                    <a:pt x="327986" y="237625"/>
                  </a:lnTo>
                  <a:lnTo>
                    <a:pt x="327290" y="237141"/>
                  </a:lnTo>
                  <a:lnTo>
                    <a:pt x="325052" y="237655"/>
                  </a:lnTo>
                  <a:lnTo>
                    <a:pt x="325052" y="236990"/>
                  </a:lnTo>
                  <a:lnTo>
                    <a:pt x="325505" y="235961"/>
                  </a:lnTo>
                  <a:lnTo>
                    <a:pt x="325566" y="235144"/>
                  </a:lnTo>
                  <a:lnTo>
                    <a:pt x="324204" y="233208"/>
                  </a:lnTo>
                  <a:lnTo>
                    <a:pt x="323509" y="232785"/>
                  </a:lnTo>
                  <a:lnTo>
                    <a:pt x="321936" y="232391"/>
                  </a:lnTo>
                  <a:lnTo>
                    <a:pt x="320968" y="231726"/>
                  </a:lnTo>
                  <a:lnTo>
                    <a:pt x="320937" y="230667"/>
                  </a:lnTo>
                  <a:lnTo>
                    <a:pt x="321512" y="229608"/>
                  </a:lnTo>
                  <a:lnTo>
                    <a:pt x="322450" y="228973"/>
                  </a:lnTo>
                  <a:lnTo>
                    <a:pt x="324326" y="228126"/>
                  </a:lnTo>
                  <a:lnTo>
                    <a:pt x="326715" y="225676"/>
                  </a:lnTo>
                  <a:lnTo>
                    <a:pt x="328198" y="224647"/>
                  </a:lnTo>
                  <a:lnTo>
                    <a:pt x="330497" y="224435"/>
                  </a:lnTo>
                  <a:lnTo>
                    <a:pt x="331888" y="225706"/>
                  </a:lnTo>
                  <a:lnTo>
                    <a:pt x="332977" y="227612"/>
                  </a:lnTo>
                  <a:lnTo>
                    <a:pt x="334309" y="229124"/>
                  </a:lnTo>
                  <a:lnTo>
                    <a:pt x="336003" y="229669"/>
                  </a:lnTo>
                  <a:lnTo>
                    <a:pt x="338151" y="229608"/>
                  </a:lnTo>
                  <a:lnTo>
                    <a:pt x="340117" y="228882"/>
                  </a:lnTo>
                  <a:lnTo>
                    <a:pt x="342809" y="225948"/>
                  </a:lnTo>
                  <a:lnTo>
                    <a:pt x="345320" y="225676"/>
                  </a:lnTo>
                  <a:lnTo>
                    <a:pt x="350130" y="226371"/>
                  </a:lnTo>
                  <a:lnTo>
                    <a:pt x="352338" y="226371"/>
                  </a:lnTo>
                  <a:lnTo>
                    <a:pt x="353548" y="224193"/>
                  </a:lnTo>
                  <a:lnTo>
                    <a:pt x="354516" y="221350"/>
                  </a:lnTo>
                  <a:lnTo>
                    <a:pt x="355908" y="219262"/>
                  </a:lnTo>
                  <a:lnTo>
                    <a:pt x="356997" y="218960"/>
                  </a:lnTo>
                  <a:lnTo>
                    <a:pt x="359568" y="219323"/>
                  </a:lnTo>
                  <a:lnTo>
                    <a:pt x="360748" y="219293"/>
                  </a:lnTo>
                  <a:lnTo>
                    <a:pt x="361928" y="218688"/>
                  </a:lnTo>
                  <a:lnTo>
                    <a:pt x="364257" y="216963"/>
                  </a:lnTo>
                  <a:lnTo>
                    <a:pt x="365347" y="216661"/>
                  </a:lnTo>
                  <a:lnTo>
                    <a:pt x="367010" y="217599"/>
                  </a:lnTo>
                  <a:lnTo>
                    <a:pt x="368735" y="219656"/>
                  </a:lnTo>
                  <a:lnTo>
                    <a:pt x="370187" y="222076"/>
                  </a:lnTo>
                  <a:lnTo>
                    <a:pt x="371004" y="224224"/>
                  </a:lnTo>
                  <a:lnTo>
                    <a:pt x="371790" y="225343"/>
                  </a:lnTo>
                  <a:lnTo>
                    <a:pt x="372667" y="224254"/>
                  </a:lnTo>
                  <a:lnTo>
                    <a:pt x="373908" y="221471"/>
                  </a:lnTo>
                  <a:lnTo>
                    <a:pt x="375148" y="221380"/>
                  </a:lnTo>
                  <a:lnTo>
                    <a:pt x="378929" y="222802"/>
                  </a:lnTo>
                  <a:lnTo>
                    <a:pt x="379746" y="222318"/>
                  </a:lnTo>
                  <a:lnTo>
                    <a:pt x="379928" y="221803"/>
                  </a:lnTo>
                  <a:lnTo>
                    <a:pt x="379655" y="221229"/>
                  </a:lnTo>
                  <a:lnTo>
                    <a:pt x="378929" y="220594"/>
                  </a:lnTo>
                  <a:lnTo>
                    <a:pt x="378445" y="219232"/>
                  </a:lnTo>
                  <a:lnTo>
                    <a:pt x="378324" y="217478"/>
                  </a:lnTo>
                  <a:lnTo>
                    <a:pt x="378506" y="215632"/>
                  </a:lnTo>
                  <a:lnTo>
                    <a:pt x="378929" y="214120"/>
                  </a:lnTo>
                  <a:lnTo>
                    <a:pt x="381531" y="211790"/>
                  </a:lnTo>
                  <a:lnTo>
                    <a:pt x="381349" y="208402"/>
                  </a:lnTo>
                  <a:lnTo>
                    <a:pt x="378929" y="201323"/>
                  </a:lnTo>
                  <a:lnTo>
                    <a:pt x="376933" y="197118"/>
                  </a:lnTo>
                  <a:lnTo>
                    <a:pt x="366647" y="186863"/>
                  </a:lnTo>
                  <a:lnTo>
                    <a:pt x="361262" y="178877"/>
                  </a:lnTo>
                  <a:lnTo>
                    <a:pt x="358177" y="175216"/>
                  </a:lnTo>
                  <a:lnTo>
                    <a:pt x="354698" y="172766"/>
                  </a:lnTo>
                  <a:lnTo>
                    <a:pt x="353548" y="172070"/>
                  </a:lnTo>
                  <a:lnTo>
                    <a:pt x="354698" y="171042"/>
                  </a:lnTo>
                  <a:lnTo>
                    <a:pt x="354910" y="170134"/>
                  </a:lnTo>
                  <a:lnTo>
                    <a:pt x="354426" y="168531"/>
                  </a:lnTo>
                  <a:lnTo>
                    <a:pt x="354426" y="167623"/>
                  </a:lnTo>
                  <a:lnTo>
                    <a:pt x="354970" y="166383"/>
                  </a:lnTo>
                  <a:lnTo>
                    <a:pt x="355848" y="165687"/>
                  </a:lnTo>
                  <a:lnTo>
                    <a:pt x="357905" y="165052"/>
                  </a:lnTo>
                  <a:lnTo>
                    <a:pt x="359387" y="164991"/>
                  </a:lnTo>
                  <a:lnTo>
                    <a:pt x="360718" y="165415"/>
                  </a:lnTo>
                  <a:lnTo>
                    <a:pt x="363259" y="167079"/>
                  </a:lnTo>
                  <a:lnTo>
                    <a:pt x="365861" y="169317"/>
                  </a:lnTo>
                  <a:lnTo>
                    <a:pt x="367162" y="170073"/>
                  </a:lnTo>
                  <a:lnTo>
                    <a:pt x="368614" y="170013"/>
                  </a:lnTo>
                  <a:lnTo>
                    <a:pt x="370096" y="169590"/>
                  </a:lnTo>
                  <a:lnTo>
                    <a:pt x="375450" y="169226"/>
                  </a:lnTo>
                  <a:lnTo>
                    <a:pt x="381168" y="169771"/>
                  </a:lnTo>
                  <a:lnTo>
                    <a:pt x="383649" y="169590"/>
                  </a:lnTo>
                  <a:lnTo>
                    <a:pt x="386038" y="168773"/>
                  </a:lnTo>
                  <a:lnTo>
                    <a:pt x="390183" y="165929"/>
                  </a:lnTo>
                  <a:lnTo>
                    <a:pt x="391877" y="164175"/>
                  </a:lnTo>
                  <a:lnTo>
                    <a:pt x="392724" y="162087"/>
                  </a:lnTo>
                  <a:lnTo>
                    <a:pt x="391998" y="159667"/>
                  </a:lnTo>
                  <a:close/>
                </a:path>
              </a:pathLst>
            </a:custGeom>
            <a:solidFill>
              <a:srgbClr val="96A3AC"/>
            </a:solidFill>
            <a:ln w="3175" cap="rnd">
              <a:solidFill>
                <a:schemeClr val="bg1"/>
              </a:solidFill>
              <a:prstDash val="solid"/>
              <a:round/>
            </a:ln>
          </p:spPr>
          <p:txBody>
            <a:bodyPr rtlCol="0" anchor="ctr"/>
            <a:lstStyle/>
            <a:p>
              <a:endParaRPr lang="en-ID"/>
            </a:p>
          </p:txBody>
        </p:sp>
        <p:sp>
          <p:nvSpPr>
            <p:cNvPr id="62" name="Freeform: Shape 61">
              <a:extLst>
                <a:ext uri="{FF2B5EF4-FFF2-40B4-BE49-F238E27FC236}">
                  <a16:creationId xmlns:a16="http://schemas.microsoft.com/office/drawing/2014/main" id="{E2461CFC-1896-57FF-04C1-8B5249B1D938}"/>
                </a:ext>
              </a:extLst>
            </p:cNvPr>
            <p:cNvSpPr/>
            <p:nvPr/>
          </p:nvSpPr>
          <p:spPr>
            <a:xfrm>
              <a:off x="8354105" y="3882300"/>
              <a:ext cx="301356" cy="225876"/>
            </a:xfrm>
            <a:custGeom>
              <a:avLst/>
              <a:gdLst>
                <a:gd name="connsiteX0" fmla="*/ 387581 w 387702"/>
                <a:gd name="connsiteY0" fmla="*/ 171859 h 290595"/>
                <a:gd name="connsiteX1" fmla="*/ 387491 w 387702"/>
                <a:gd name="connsiteY1" fmla="*/ 170951 h 290595"/>
                <a:gd name="connsiteX2" fmla="*/ 384012 w 387702"/>
                <a:gd name="connsiteY2" fmla="*/ 165354 h 290595"/>
                <a:gd name="connsiteX3" fmla="*/ 383860 w 387702"/>
                <a:gd name="connsiteY3" fmla="*/ 163630 h 290595"/>
                <a:gd name="connsiteX4" fmla="*/ 384556 w 387702"/>
                <a:gd name="connsiteY4" fmla="*/ 161694 h 290595"/>
                <a:gd name="connsiteX5" fmla="*/ 385282 w 387702"/>
                <a:gd name="connsiteY5" fmla="*/ 158276 h 290595"/>
                <a:gd name="connsiteX6" fmla="*/ 385373 w 387702"/>
                <a:gd name="connsiteY6" fmla="*/ 155855 h 290595"/>
                <a:gd name="connsiteX7" fmla="*/ 384980 w 387702"/>
                <a:gd name="connsiteY7" fmla="*/ 155371 h 290595"/>
                <a:gd name="connsiteX8" fmla="*/ 384254 w 387702"/>
                <a:gd name="connsiteY8" fmla="*/ 155251 h 290595"/>
                <a:gd name="connsiteX9" fmla="*/ 383376 w 387702"/>
                <a:gd name="connsiteY9" fmla="*/ 153919 h 290595"/>
                <a:gd name="connsiteX10" fmla="*/ 382832 w 387702"/>
                <a:gd name="connsiteY10" fmla="*/ 152467 h 290595"/>
                <a:gd name="connsiteX11" fmla="*/ 382560 w 387702"/>
                <a:gd name="connsiteY11" fmla="*/ 151166 h 290595"/>
                <a:gd name="connsiteX12" fmla="*/ 382802 w 387702"/>
                <a:gd name="connsiteY12" fmla="*/ 149987 h 290595"/>
                <a:gd name="connsiteX13" fmla="*/ 383921 w 387702"/>
                <a:gd name="connsiteY13" fmla="*/ 148988 h 290595"/>
                <a:gd name="connsiteX14" fmla="*/ 382076 w 387702"/>
                <a:gd name="connsiteY14" fmla="*/ 148897 h 290595"/>
                <a:gd name="connsiteX15" fmla="*/ 377750 w 387702"/>
                <a:gd name="connsiteY15" fmla="*/ 147960 h 290595"/>
                <a:gd name="connsiteX16" fmla="*/ 376207 w 387702"/>
                <a:gd name="connsiteY16" fmla="*/ 147294 h 290595"/>
                <a:gd name="connsiteX17" fmla="*/ 375965 w 387702"/>
                <a:gd name="connsiteY17" fmla="*/ 147082 h 290595"/>
                <a:gd name="connsiteX18" fmla="*/ 375723 w 387702"/>
                <a:gd name="connsiteY18" fmla="*/ 147022 h 290595"/>
                <a:gd name="connsiteX19" fmla="*/ 375481 w 387702"/>
                <a:gd name="connsiteY19" fmla="*/ 147082 h 290595"/>
                <a:gd name="connsiteX20" fmla="*/ 375269 w 387702"/>
                <a:gd name="connsiteY20" fmla="*/ 147294 h 290595"/>
                <a:gd name="connsiteX21" fmla="*/ 371881 w 387702"/>
                <a:gd name="connsiteY21" fmla="*/ 148262 h 290595"/>
                <a:gd name="connsiteX22" fmla="*/ 370883 w 387702"/>
                <a:gd name="connsiteY22" fmla="*/ 148202 h 290595"/>
                <a:gd name="connsiteX23" fmla="*/ 370066 w 387702"/>
                <a:gd name="connsiteY23" fmla="*/ 147627 h 290595"/>
                <a:gd name="connsiteX24" fmla="*/ 369219 w 387702"/>
                <a:gd name="connsiteY24" fmla="*/ 145963 h 290595"/>
                <a:gd name="connsiteX25" fmla="*/ 368402 w 387702"/>
                <a:gd name="connsiteY25" fmla="*/ 145267 h 290595"/>
                <a:gd name="connsiteX26" fmla="*/ 369189 w 387702"/>
                <a:gd name="connsiteY26" fmla="*/ 144027 h 290595"/>
                <a:gd name="connsiteX27" fmla="*/ 368009 w 387702"/>
                <a:gd name="connsiteY27" fmla="*/ 143937 h 290595"/>
                <a:gd name="connsiteX28" fmla="*/ 367192 w 387702"/>
                <a:gd name="connsiteY28" fmla="*/ 143603 h 290595"/>
                <a:gd name="connsiteX29" fmla="*/ 367071 w 387702"/>
                <a:gd name="connsiteY29" fmla="*/ 142968 h 290595"/>
                <a:gd name="connsiteX30" fmla="*/ 367857 w 387702"/>
                <a:gd name="connsiteY30" fmla="*/ 141849 h 290595"/>
                <a:gd name="connsiteX31" fmla="*/ 366194 w 387702"/>
                <a:gd name="connsiteY31" fmla="*/ 139883 h 290595"/>
                <a:gd name="connsiteX32" fmla="*/ 368039 w 387702"/>
                <a:gd name="connsiteY32" fmla="*/ 137220 h 290595"/>
                <a:gd name="connsiteX33" fmla="*/ 371215 w 387702"/>
                <a:gd name="connsiteY33" fmla="*/ 134801 h 290595"/>
                <a:gd name="connsiteX34" fmla="*/ 373454 w 387702"/>
                <a:gd name="connsiteY34" fmla="*/ 133560 h 290595"/>
                <a:gd name="connsiteX35" fmla="*/ 373454 w 387702"/>
                <a:gd name="connsiteY35" fmla="*/ 133046 h 290595"/>
                <a:gd name="connsiteX36" fmla="*/ 374603 w 387702"/>
                <a:gd name="connsiteY36" fmla="*/ 131745 h 290595"/>
                <a:gd name="connsiteX37" fmla="*/ 375299 w 387702"/>
                <a:gd name="connsiteY37" fmla="*/ 130474 h 290595"/>
                <a:gd name="connsiteX38" fmla="*/ 375087 w 387702"/>
                <a:gd name="connsiteY38" fmla="*/ 129597 h 290595"/>
                <a:gd name="connsiteX39" fmla="*/ 368130 w 387702"/>
                <a:gd name="connsiteY39" fmla="*/ 129416 h 290595"/>
                <a:gd name="connsiteX40" fmla="*/ 366073 w 387702"/>
                <a:gd name="connsiteY40" fmla="*/ 128447 h 290595"/>
                <a:gd name="connsiteX41" fmla="*/ 364893 w 387702"/>
                <a:gd name="connsiteY41" fmla="*/ 126330 h 290595"/>
                <a:gd name="connsiteX42" fmla="*/ 366224 w 387702"/>
                <a:gd name="connsiteY42" fmla="*/ 125543 h 290595"/>
                <a:gd name="connsiteX43" fmla="*/ 360113 w 387702"/>
                <a:gd name="connsiteY43" fmla="*/ 116922 h 290595"/>
                <a:gd name="connsiteX44" fmla="*/ 358177 w 387702"/>
                <a:gd name="connsiteY44" fmla="*/ 115167 h 290595"/>
                <a:gd name="connsiteX45" fmla="*/ 356483 w 387702"/>
                <a:gd name="connsiteY45" fmla="*/ 115016 h 290595"/>
                <a:gd name="connsiteX46" fmla="*/ 352520 w 387702"/>
                <a:gd name="connsiteY46" fmla="*/ 116014 h 290595"/>
                <a:gd name="connsiteX47" fmla="*/ 351189 w 387702"/>
                <a:gd name="connsiteY47" fmla="*/ 115893 h 290595"/>
                <a:gd name="connsiteX48" fmla="*/ 350796 w 387702"/>
                <a:gd name="connsiteY48" fmla="*/ 114653 h 290595"/>
                <a:gd name="connsiteX49" fmla="*/ 351159 w 387702"/>
                <a:gd name="connsiteY49" fmla="*/ 113110 h 290595"/>
                <a:gd name="connsiteX50" fmla="*/ 351098 w 387702"/>
                <a:gd name="connsiteY50" fmla="*/ 111719 h 290595"/>
                <a:gd name="connsiteX51" fmla="*/ 349434 w 387702"/>
                <a:gd name="connsiteY51" fmla="*/ 110902 h 290595"/>
                <a:gd name="connsiteX52" fmla="*/ 349283 w 387702"/>
                <a:gd name="connsiteY52" fmla="*/ 110630 h 290595"/>
                <a:gd name="connsiteX53" fmla="*/ 349283 w 387702"/>
                <a:gd name="connsiteY53" fmla="*/ 110387 h 290595"/>
                <a:gd name="connsiteX54" fmla="*/ 349343 w 387702"/>
                <a:gd name="connsiteY54" fmla="*/ 110115 h 290595"/>
                <a:gd name="connsiteX55" fmla="*/ 349495 w 387702"/>
                <a:gd name="connsiteY55" fmla="*/ 109843 h 290595"/>
                <a:gd name="connsiteX56" fmla="*/ 347468 w 387702"/>
                <a:gd name="connsiteY56" fmla="*/ 110176 h 290595"/>
                <a:gd name="connsiteX57" fmla="*/ 340177 w 387702"/>
                <a:gd name="connsiteY57" fmla="*/ 109964 h 290595"/>
                <a:gd name="connsiteX58" fmla="*/ 339088 w 387702"/>
                <a:gd name="connsiteY58" fmla="*/ 109631 h 290595"/>
                <a:gd name="connsiteX59" fmla="*/ 339088 w 387702"/>
                <a:gd name="connsiteY59" fmla="*/ 109631 h 290595"/>
                <a:gd name="connsiteX60" fmla="*/ 337939 w 387702"/>
                <a:gd name="connsiteY60" fmla="*/ 109298 h 290595"/>
                <a:gd name="connsiteX61" fmla="*/ 329196 w 387702"/>
                <a:gd name="connsiteY61" fmla="*/ 109510 h 290595"/>
                <a:gd name="connsiteX62" fmla="*/ 328167 w 387702"/>
                <a:gd name="connsiteY62" fmla="*/ 108845 h 290595"/>
                <a:gd name="connsiteX63" fmla="*/ 326111 w 387702"/>
                <a:gd name="connsiteY63" fmla="*/ 106757 h 290595"/>
                <a:gd name="connsiteX64" fmla="*/ 325112 w 387702"/>
                <a:gd name="connsiteY64" fmla="*/ 106394 h 290595"/>
                <a:gd name="connsiteX65" fmla="*/ 324205 w 387702"/>
                <a:gd name="connsiteY65" fmla="*/ 107030 h 290595"/>
                <a:gd name="connsiteX66" fmla="*/ 323115 w 387702"/>
                <a:gd name="connsiteY66" fmla="*/ 108542 h 290595"/>
                <a:gd name="connsiteX67" fmla="*/ 322632 w 387702"/>
                <a:gd name="connsiteY67" fmla="*/ 109238 h 290595"/>
                <a:gd name="connsiteX68" fmla="*/ 321573 w 387702"/>
                <a:gd name="connsiteY68" fmla="*/ 109420 h 290595"/>
                <a:gd name="connsiteX69" fmla="*/ 320484 w 387702"/>
                <a:gd name="connsiteY69" fmla="*/ 109208 h 290595"/>
                <a:gd name="connsiteX70" fmla="*/ 318668 w 387702"/>
                <a:gd name="connsiteY70" fmla="*/ 108240 h 290595"/>
                <a:gd name="connsiteX71" fmla="*/ 319697 w 387702"/>
                <a:gd name="connsiteY71" fmla="*/ 104882 h 290595"/>
                <a:gd name="connsiteX72" fmla="*/ 319879 w 387702"/>
                <a:gd name="connsiteY72" fmla="*/ 103157 h 290595"/>
                <a:gd name="connsiteX73" fmla="*/ 318305 w 387702"/>
                <a:gd name="connsiteY73" fmla="*/ 102734 h 290595"/>
                <a:gd name="connsiteX74" fmla="*/ 316127 w 387702"/>
                <a:gd name="connsiteY74" fmla="*/ 101796 h 290595"/>
                <a:gd name="connsiteX75" fmla="*/ 315553 w 387702"/>
                <a:gd name="connsiteY75" fmla="*/ 101403 h 290595"/>
                <a:gd name="connsiteX76" fmla="*/ 313859 w 387702"/>
                <a:gd name="connsiteY76" fmla="*/ 100314 h 290595"/>
                <a:gd name="connsiteX77" fmla="*/ 312225 w 387702"/>
                <a:gd name="connsiteY77" fmla="*/ 98106 h 290595"/>
                <a:gd name="connsiteX78" fmla="*/ 312013 w 387702"/>
                <a:gd name="connsiteY78" fmla="*/ 94838 h 290595"/>
                <a:gd name="connsiteX79" fmla="*/ 319274 w 387702"/>
                <a:gd name="connsiteY79" fmla="*/ 87336 h 290595"/>
                <a:gd name="connsiteX80" fmla="*/ 320423 w 387702"/>
                <a:gd name="connsiteY80" fmla="*/ 86912 h 290595"/>
                <a:gd name="connsiteX81" fmla="*/ 321603 w 387702"/>
                <a:gd name="connsiteY81" fmla="*/ 86549 h 290595"/>
                <a:gd name="connsiteX82" fmla="*/ 322087 w 387702"/>
                <a:gd name="connsiteY82" fmla="*/ 86186 h 290595"/>
                <a:gd name="connsiteX83" fmla="*/ 323388 w 387702"/>
                <a:gd name="connsiteY83" fmla="*/ 84402 h 290595"/>
                <a:gd name="connsiteX84" fmla="*/ 325112 w 387702"/>
                <a:gd name="connsiteY84" fmla="*/ 80953 h 290595"/>
                <a:gd name="connsiteX85" fmla="*/ 326262 w 387702"/>
                <a:gd name="connsiteY85" fmla="*/ 79168 h 290595"/>
                <a:gd name="connsiteX86" fmla="*/ 325294 w 387702"/>
                <a:gd name="connsiteY86" fmla="*/ 78654 h 290595"/>
                <a:gd name="connsiteX87" fmla="*/ 324326 w 387702"/>
                <a:gd name="connsiteY87" fmla="*/ 78623 h 290595"/>
                <a:gd name="connsiteX88" fmla="*/ 322087 w 387702"/>
                <a:gd name="connsiteY88" fmla="*/ 79168 h 290595"/>
                <a:gd name="connsiteX89" fmla="*/ 326050 w 387702"/>
                <a:gd name="connsiteY89" fmla="*/ 73360 h 290595"/>
                <a:gd name="connsiteX90" fmla="*/ 327623 w 387702"/>
                <a:gd name="connsiteY90" fmla="*/ 69760 h 290595"/>
                <a:gd name="connsiteX91" fmla="*/ 326262 w 387702"/>
                <a:gd name="connsiteY91" fmla="*/ 68066 h 290595"/>
                <a:gd name="connsiteX92" fmla="*/ 326504 w 387702"/>
                <a:gd name="connsiteY92" fmla="*/ 66130 h 290595"/>
                <a:gd name="connsiteX93" fmla="*/ 327018 w 387702"/>
                <a:gd name="connsiteY93" fmla="*/ 64678 h 290595"/>
                <a:gd name="connsiteX94" fmla="*/ 327835 w 387702"/>
                <a:gd name="connsiteY94" fmla="*/ 64224 h 290595"/>
                <a:gd name="connsiteX95" fmla="*/ 329015 w 387702"/>
                <a:gd name="connsiteY95" fmla="*/ 65162 h 290595"/>
                <a:gd name="connsiteX96" fmla="*/ 329771 w 387702"/>
                <a:gd name="connsiteY96" fmla="*/ 64193 h 290595"/>
                <a:gd name="connsiteX97" fmla="*/ 330315 w 387702"/>
                <a:gd name="connsiteY97" fmla="*/ 63165 h 290595"/>
                <a:gd name="connsiteX98" fmla="*/ 331072 w 387702"/>
                <a:gd name="connsiteY98" fmla="*/ 61138 h 290595"/>
                <a:gd name="connsiteX99" fmla="*/ 330799 w 387702"/>
                <a:gd name="connsiteY99" fmla="*/ 60533 h 290595"/>
                <a:gd name="connsiteX100" fmla="*/ 330648 w 387702"/>
                <a:gd name="connsiteY100" fmla="*/ 60110 h 290595"/>
                <a:gd name="connsiteX101" fmla="*/ 330406 w 387702"/>
                <a:gd name="connsiteY101" fmla="*/ 59051 h 290595"/>
                <a:gd name="connsiteX102" fmla="*/ 331495 w 387702"/>
                <a:gd name="connsiteY102" fmla="*/ 59142 h 290595"/>
                <a:gd name="connsiteX103" fmla="*/ 332584 w 387702"/>
                <a:gd name="connsiteY103" fmla="*/ 58990 h 290595"/>
                <a:gd name="connsiteX104" fmla="*/ 333613 w 387702"/>
                <a:gd name="connsiteY104" fmla="*/ 58597 h 290595"/>
                <a:gd name="connsiteX105" fmla="*/ 334520 w 387702"/>
                <a:gd name="connsiteY105" fmla="*/ 58053 h 290595"/>
                <a:gd name="connsiteX106" fmla="*/ 332221 w 387702"/>
                <a:gd name="connsiteY106" fmla="*/ 55784 h 290595"/>
                <a:gd name="connsiteX107" fmla="*/ 332554 w 387702"/>
                <a:gd name="connsiteY107" fmla="*/ 54090 h 290595"/>
                <a:gd name="connsiteX108" fmla="*/ 333976 w 387702"/>
                <a:gd name="connsiteY108" fmla="*/ 52819 h 290595"/>
                <a:gd name="connsiteX109" fmla="*/ 333703 w 387702"/>
                <a:gd name="connsiteY109" fmla="*/ 52093 h 290595"/>
                <a:gd name="connsiteX110" fmla="*/ 332826 w 387702"/>
                <a:gd name="connsiteY110" fmla="*/ 50248 h 290595"/>
                <a:gd name="connsiteX111" fmla="*/ 331102 w 387702"/>
                <a:gd name="connsiteY111" fmla="*/ 50097 h 290595"/>
                <a:gd name="connsiteX112" fmla="*/ 328016 w 387702"/>
                <a:gd name="connsiteY112" fmla="*/ 50823 h 290595"/>
                <a:gd name="connsiteX113" fmla="*/ 326685 w 387702"/>
                <a:gd name="connsiteY113" fmla="*/ 49794 h 290595"/>
                <a:gd name="connsiteX114" fmla="*/ 324568 w 387702"/>
                <a:gd name="connsiteY114" fmla="*/ 47102 h 290595"/>
                <a:gd name="connsiteX115" fmla="*/ 322934 w 387702"/>
                <a:gd name="connsiteY115" fmla="*/ 46224 h 290595"/>
                <a:gd name="connsiteX116" fmla="*/ 321633 w 387702"/>
                <a:gd name="connsiteY116" fmla="*/ 46073 h 290595"/>
                <a:gd name="connsiteX117" fmla="*/ 317428 w 387702"/>
                <a:gd name="connsiteY117" fmla="*/ 46890 h 290595"/>
                <a:gd name="connsiteX118" fmla="*/ 315704 w 387702"/>
                <a:gd name="connsiteY118" fmla="*/ 46920 h 290595"/>
                <a:gd name="connsiteX119" fmla="*/ 314615 w 387702"/>
                <a:gd name="connsiteY119" fmla="*/ 46164 h 290595"/>
                <a:gd name="connsiteX120" fmla="*/ 313647 w 387702"/>
                <a:gd name="connsiteY120" fmla="*/ 45166 h 290595"/>
                <a:gd name="connsiteX121" fmla="*/ 312285 w 387702"/>
                <a:gd name="connsiteY121" fmla="*/ 44258 h 290595"/>
                <a:gd name="connsiteX122" fmla="*/ 306568 w 387702"/>
                <a:gd name="connsiteY122" fmla="*/ 42685 h 290595"/>
                <a:gd name="connsiteX123" fmla="*/ 304874 w 387702"/>
                <a:gd name="connsiteY123" fmla="*/ 41354 h 290595"/>
                <a:gd name="connsiteX124" fmla="*/ 304299 w 387702"/>
                <a:gd name="connsiteY124" fmla="*/ 40870 h 290595"/>
                <a:gd name="connsiteX125" fmla="*/ 303966 w 387702"/>
                <a:gd name="connsiteY125" fmla="*/ 37512 h 290595"/>
                <a:gd name="connsiteX126" fmla="*/ 303240 w 387702"/>
                <a:gd name="connsiteY126" fmla="*/ 34668 h 290595"/>
                <a:gd name="connsiteX127" fmla="*/ 301395 w 387702"/>
                <a:gd name="connsiteY127" fmla="*/ 32429 h 290595"/>
                <a:gd name="connsiteX128" fmla="*/ 299035 w 387702"/>
                <a:gd name="connsiteY128" fmla="*/ 31038 h 290595"/>
                <a:gd name="connsiteX129" fmla="*/ 296857 w 387702"/>
                <a:gd name="connsiteY129" fmla="*/ 30826 h 290595"/>
                <a:gd name="connsiteX130" fmla="*/ 294861 w 387702"/>
                <a:gd name="connsiteY130" fmla="*/ 31703 h 290595"/>
                <a:gd name="connsiteX131" fmla="*/ 290656 w 387702"/>
                <a:gd name="connsiteY131" fmla="*/ 34426 h 290595"/>
                <a:gd name="connsiteX132" fmla="*/ 288538 w 387702"/>
                <a:gd name="connsiteY132" fmla="*/ 35152 h 290595"/>
                <a:gd name="connsiteX133" fmla="*/ 276619 w 387702"/>
                <a:gd name="connsiteY133" fmla="*/ 34698 h 290595"/>
                <a:gd name="connsiteX134" fmla="*/ 273473 w 387702"/>
                <a:gd name="connsiteY134" fmla="*/ 35424 h 290595"/>
                <a:gd name="connsiteX135" fmla="*/ 272838 w 387702"/>
                <a:gd name="connsiteY135" fmla="*/ 35576 h 290595"/>
                <a:gd name="connsiteX136" fmla="*/ 271053 w 387702"/>
                <a:gd name="connsiteY136" fmla="*/ 35152 h 290595"/>
                <a:gd name="connsiteX137" fmla="*/ 271022 w 387702"/>
                <a:gd name="connsiteY137" fmla="*/ 29888 h 290595"/>
                <a:gd name="connsiteX138" fmla="*/ 269238 w 387702"/>
                <a:gd name="connsiteY138" fmla="*/ 27832 h 290595"/>
                <a:gd name="connsiteX139" fmla="*/ 267392 w 387702"/>
                <a:gd name="connsiteY139" fmla="*/ 27650 h 290595"/>
                <a:gd name="connsiteX140" fmla="*/ 263490 w 387702"/>
                <a:gd name="connsiteY140" fmla="*/ 27952 h 290595"/>
                <a:gd name="connsiteX141" fmla="*/ 261766 w 387702"/>
                <a:gd name="connsiteY141" fmla="*/ 27075 h 290595"/>
                <a:gd name="connsiteX142" fmla="*/ 261282 w 387702"/>
                <a:gd name="connsiteY142" fmla="*/ 26107 h 290595"/>
                <a:gd name="connsiteX143" fmla="*/ 260223 w 387702"/>
                <a:gd name="connsiteY143" fmla="*/ 22840 h 290595"/>
                <a:gd name="connsiteX144" fmla="*/ 259708 w 387702"/>
                <a:gd name="connsiteY144" fmla="*/ 21569 h 290595"/>
                <a:gd name="connsiteX145" fmla="*/ 256229 w 387702"/>
                <a:gd name="connsiteY145" fmla="*/ 18030 h 290595"/>
                <a:gd name="connsiteX146" fmla="*/ 255594 w 387702"/>
                <a:gd name="connsiteY146" fmla="*/ 16608 h 290595"/>
                <a:gd name="connsiteX147" fmla="*/ 255957 w 387702"/>
                <a:gd name="connsiteY147" fmla="*/ 13402 h 290595"/>
                <a:gd name="connsiteX148" fmla="*/ 257077 w 387702"/>
                <a:gd name="connsiteY148" fmla="*/ 11042 h 290595"/>
                <a:gd name="connsiteX149" fmla="*/ 257440 w 387702"/>
                <a:gd name="connsiteY149" fmla="*/ 8561 h 290595"/>
                <a:gd name="connsiteX150" fmla="*/ 255443 w 387702"/>
                <a:gd name="connsiteY150" fmla="*/ 5082 h 290595"/>
                <a:gd name="connsiteX151" fmla="*/ 252448 w 387702"/>
                <a:gd name="connsiteY151" fmla="*/ 3237 h 290595"/>
                <a:gd name="connsiteX152" fmla="*/ 252146 w 387702"/>
                <a:gd name="connsiteY152" fmla="*/ 2874 h 290595"/>
                <a:gd name="connsiteX153" fmla="*/ 250603 w 387702"/>
                <a:gd name="connsiteY153" fmla="*/ 3267 h 290595"/>
                <a:gd name="connsiteX154" fmla="*/ 249998 w 387702"/>
                <a:gd name="connsiteY154" fmla="*/ 4144 h 290595"/>
                <a:gd name="connsiteX155" fmla="*/ 249665 w 387702"/>
                <a:gd name="connsiteY155" fmla="*/ 5536 h 290595"/>
                <a:gd name="connsiteX156" fmla="*/ 248969 w 387702"/>
                <a:gd name="connsiteY156" fmla="*/ 7351 h 290595"/>
                <a:gd name="connsiteX157" fmla="*/ 247396 w 387702"/>
                <a:gd name="connsiteY157" fmla="*/ 9741 h 290595"/>
                <a:gd name="connsiteX158" fmla="*/ 245067 w 387702"/>
                <a:gd name="connsiteY158" fmla="*/ 12645 h 290595"/>
                <a:gd name="connsiteX159" fmla="*/ 242556 w 387702"/>
                <a:gd name="connsiteY159" fmla="*/ 14914 h 290595"/>
                <a:gd name="connsiteX160" fmla="*/ 240378 w 387702"/>
                <a:gd name="connsiteY160" fmla="*/ 15458 h 290595"/>
                <a:gd name="connsiteX161" fmla="*/ 236476 w 387702"/>
                <a:gd name="connsiteY161" fmla="*/ 13825 h 290595"/>
                <a:gd name="connsiteX162" fmla="*/ 234630 w 387702"/>
                <a:gd name="connsiteY162" fmla="*/ 13371 h 290595"/>
                <a:gd name="connsiteX163" fmla="*/ 227581 w 387702"/>
                <a:gd name="connsiteY163" fmla="*/ 13129 h 290595"/>
                <a:gd name="connsiteX164" fmla="*/ 225434 w 387702"/>
                <a:gd name="connsiteY164" fmla="*/ 12282 h 290595"/>
                <a:gd name="connsiteX165" fmla="*/ 226008 w 387702"/>
                <a:gd name="connsiteY165" fmla="*/ 10497 h 290595"/>
                <a:gd name="connsiteX166" fmla="*/ 227158 w 387702"/>
                <a:gd name="connsiteY166" fmla="*/ 10346 h 290595"/>
                <a:gd name="connsiteX167" fmla="*/ 231545 w 387702"/>
                <a:gd name="connsiteY167" fmla="*/ 12252 h 290595"/>
                <a:gd name="connsiteX168" fmla="*/ 230819 w 387702"/>
                <a:gd name="connsiteY168" fmla="*/ 9681 h 290595"/>
                <a:gd name="connsiteX169" fmla="*/ 231272 w 387702"/>
                <a:gd name="connsiteY169" fmla="*/ 7442 h 290595"/>
                <a:gd name="connsiteX170" fmla="*/ 231877 w 387702"/>
                <a:gd name="connsiteY170" fmla="*/ 5294 h 290595"/>
                <a:gd name="connsiteX171" fmla="*/ 231665 w 387702"/>
                <a:gd name="connsiteY171" fmla="*/ 3055 h 290595"/>
                <a:gd name="connsiteX172" fmla="*/ 230637 w 387702"/>
                <a:gd name="connsiteY172" fmla="*/ 1815 h 290595"/>
                <a:gd name="connsiteX173" fmla="*/ 228943 w 387702"/>
                <a:gd name="connsiteY173" fmla="*/ 787 h 290595"/>
                <a:gd name="connsiteX174" fmla="*/ 227128 w 387702"/>
                <a:gd name="connsiteY174" fmla="*/ 151 h 290595"/>
                <a:gd name="connsiteX175" fmla="*/ 225645 w 387702"/>
                <a:gd name="connsiteY175" fmla="*/ 0 h 290595"/>
                <a:gd name="connsiteX176" fmla="*/ 222348 w 387702"/>
                <a:gd name="connsiteY176" fmla="*/ 1573 h 290595"/>
                <a:gd name="connsiteX177" fmla="*/ 214574 w 387702"/>
                <a:gd name="connsiteY177" fmla="*/ 10376 h 290595"/>
                <a:gd name="connsiteX178" fmla="*/ 213514 w 387702"/>
                <a:gd name="connsiteY178" fmla="*/ 11102 h 290595"/>
                <a:gd name="connsiteX179" fmla="*/ 212184 w 387702"/>
                <a:gd name="connsiteY179" fmla="*/ 11587 h 290595"/>
                <a:gd name="connsiteX180" fmla="*/ 210610 w 387702"/>
                <a:gd name="connsiteY180" fmla="*/ 11677 h 290595"/>
                <a:gd name="connsiteX181" fmla="*/ 207404 w 387702"/>
                <a:gd name="connsiteY181" fmla="*/ 10921 h 290595"/>
                <a:gd name="connsiteX182" fmla="*/ 204500 w 387702"/>
                <a:gd name="connsiteY182" fmla="*/ 11405 h 290595"/>
                <a:gd name="connsiteX183" fmla="*/ 203169 w 387702"/>
                <a:gd name="connsiteY183" fmla="*/ 11314 h 290595"/>
                <a:gd name="connsiteX184" fmla="*/ 201233 w 387702"/>
                <a:gd name="connsiteY184" fmla="*/ 10013 h 290595"/>
                <a:gd name="connsiteX185" fmla="*/ 201414 w 387702"/>
                <a:gd name="connsiteY185" fmla="*/ 8561 h 290595"/>
                <a:gd name="connsiteX186" fmla="*/ 202291 w 387702"/>
                <a:gd name="connsiteY186" fmla="*/ 6716 h 290595"/>
                <a:gd name="connsiteX187" fmla="*/ 202412 w 387702"/>
                <a:gd name="connsiteY187" fmla="*/ 4266 h 290595"/>
                <a:gd name="connsiteX188" fmla="*/ 201626 w 387702"/>
                <a:gd name="connsiteY188" fmla="*/ 3025 h 290595"/>
                <a:gd name="connsiteX189" fmla="*/ 200355 w 387702"/>
                <a:gd name="connsiteY189" fmla="*/ 2814 h 290595"/>
                <a:gd name="connsiteX190" fmla="*/ 197360 w 387702"/>
                <a:gd name="connsiteY190" fmla="*/ 3267 h 290595"/>
                <a:gd name="connsiteX191" fmla="*/ 191975 w 387702"/>
                <a:gd name="connsiteY191" fmla="*/ 5082 h 290595"/>
                <a:gd name="connsiteX192" fmla="*/ 186712 w 387702"/>
                <a:gd name="connsiteY192" fmla="*/ 7926 h 290595"/>
                <a:gd name="connsiteX193" fmla="*/ 187922 w 387702"/>
                <a:gd name="connsiteY193" fmla="*/ 9136 h 290595"/>
                <a:gd name="connsiteX194" fmla="*/ 187710 w 387702"/>
                <a:gd name="connsiteY194" fmla="*/ 10195 h 290595"/>
                <a:gd name="connsiteX195" fmla="*/ 187075 w 387702"/>
                <a:gd name="connsiteY195" fmla="*/ 11344 h 290595"/>
                <a:gd name="connsiteX196" fmla="*/ 186984 w 387702"/>
                <a:gd name="connsiteY196" fmla="*/ 12857 h 290595"/>
                <a:gd name="connsiteX197" fmla="*/ 187770 w 387702"/>
                <a:gd name="connsiteY197" fmla="*/ 14188 h 290595"/>
                <a:gd name="connsiteX198" fmla="*/ 190009 w 387702"/>
                <a:gd name="connsiteY198" fmla="*/ 16669 h 290595"/>
                <a:gd name="connsiteX199" fmla="*/ 190645 w 387702"/>
                <a:gd name="connsiteY199" fmla="*/ 18121 h 290595"/>
                <a:gd name="connsiteX200" fmla="*/ 190130 w 387702"/>
                <a:gd name="connsiteY200" fmla="*/ 20662 h 290595"/>
                <a:gd name="connsiteX201" fmla="*/ 188224 w 387702"/>
                <a:gd name="connsiteY201" fmla="*/ 21600 h 290595"/>
                <a:gd name="connsiteX202" fmla="*/ 183536 w 387702"/>
                <a:gd name="connsiteY202" fmla="*/ 21327 h 290595"/>
                <a:gd name="connsiteX203" fmla="*/ 181599 w 387702"/>
                <a:gd name="connsiteY203" fmla="*/ 20722 h 290595"/>
                <a:gd name="connsiteX204" fmla="*/ 177939 w 387702"/>
                <a:gd name="connsiteY204" fmla="*/ 18907 h 290595"/>
                <a:gd name="connsiteX205" fmla="*/ 177062 w 387702"/>
                <a:gd name="connsiteY205" fmla="*/ 18877 h 290595"/>
                <a:gd name="connsiteX206" fmla="*/ 175035 w 387702"/>
                <a:gd name="connsiteY206" fmla="*/ 18816 h 290595"/>
                <a:gd name="connsiteX207" fmla="*/ 175035 w 387702"/>
                <a:gd name="connsiteY207" fmla="*/ 18816 h 290595"/>
                <a:gd name="connsiteX208" fmla="*/ 176487 w 387702"/>
                <a:gd name="connsiteY208" fmla="*/ 20450 h 290595"/>
                <a:gd name="connsiteX209" fmla="*/ 177243 w 387702"/>
                <a:gd name="connsiteY209" fmla="*/ 21660 h 290595"/>
                <a:gd name="connsiteX210" fmla="*/ 177545 w 387702"/>
                <a:gd name="connsiteY210" fmla="*/ 23203 h 290595"/>
                <a:gd name="connsiteX211" fmla="*/ 177485 w 387702"/>
                <a:gd name="connsiteY211" fmla="*/ 26409 h 290595"/>
                <a:gd name="connsiteX212" fmla="*/ 177879 w 387702"/>
                <a:gd name="connsiteY212" fmla="*/ 27710 h 290595"/>
                <a:gd name="connsiteX213" fmla="*/ 178665 w 387702"/>
                <a:gd name="connsiteY213" fmla="*/ 28285 h 290595"/>
                <a:gd name="connsiteX214" fmla="*/ 182053 w 387702"/>
                <a:gd name="connsiteY214" fmla="*/ 29647 h 290595"/>
                <a:gd name="connsiteX215" fmla="*/ 180601 w 387702"/>
                <a:gd name="connsiteY215" fmla="*/ 32490 h 290595"/>
                <a:gd name="connsiteX216" fmla="*/ 179784 w 387702"/>
                <a:gd name="connsiteY216" fmla="*/ 33307 h 290595"/>
                <a:gd name="connsiteX217" fmla="*/ 178605 w 387702"/>
                <a:gd name="connsiteY217" fmla="*/ 33852 h 290595"/>
                <a:gd name="connsiteX218" fmla="*/ 178816 w 387702"/>
                <a:gd name="connsiteY218" fmla="*/ 33549 h 290595"/>
                <a:gd name="connsiteX219" fmla="*/ 179482 w 387702"/>
                <a:gd name="connsiteY219" fmla="*/ 32520 h 290595"/>
                <a:gd name="connsiteX220" fmla="*/ 179754 w 387702"/>
                <a:gd name="connsiteY220" fmla="*/ 31462 h 290595"/>
                <a:gd name="connsiteX221" fmla="*/ 179603 w 387702"/>
                <a:gd name="connsiteY221" fmla="*/ 30584 h 290595"/>
                <a:gd name="connsiteX222" fmla="*/ 179240 w 387702"/>
                <a:gd name="connsiteY222" fmla="*/ 29647 h 290595"/>
                <a:gd name="connsiteX223" fmla="*/ 178030 w 387702"/>
                <a:gd name="connsiteY223" fmla="*/ 28195 h 290595"/>
                <a:gd name="connsiteX224" fmla="*/ 176184 w 387702"/>
                <a:gd name="connsiteY224" fmla="*/ 26712 h 290595"/>
                <a:gd name="connsiteX225" fmla="*/ 174520 w 387702"/>
                <a:gd name="connsiteY225" fmla="*/ 24867 h 290595"/>
                <a:gd name="connsiteX226" fmla="*/ 173825 w 387702"/>
                <a:gd name="connsiteY226" fmla="*/ 22175 h 290595"/>
                <a:gd name="connsiteX227" fmla="*/ 173008 w 387702"/>
                <a:gd name="connsiteY227" fmla="*/ 20692 h 290595"/>
                <a:gd name="connsiteX228" fmla="*/ 171102 w 387702"/>
                <a:gd name="connsiteY228" fmla="*/ 19028 h 290595"/>
                <a:gd name="connsiteX229" fmla="*/ 171042 w 387702"/>
                <a:gd name="connsiteY229" fmla="*/ 18998 h 290595"/>
                <a:gd name="connsiteX230" fmla="*/ 171042 w 387702"/>
                <a:gd name="connsiteY230" fmla="*/ 18998 h 290595"/>
                <a:gd name="connsiteX231" fmla="*/ 170981 w 387702"/>
                <a:gd name="connsiteY231" fmla="*/ 19633 h 290595"/>
                <a:gd name="connsiteX232" fmla="*/ 170255 w 387702"/>
                <a:gd name="connsiteY232" fmla="*/ 23082 h 290595"/>
                <a:gd name="connsiteX233" fmla="*/ 169680 w 387702"/>
                <a:gd name="connsiteY233" fmla="*/ 24534 h 290595"/>
                <a:gd name="connsiteX234" fmla="*/ 165717 w 387702"/>
                <a:gd name="connsiteY234" fmla="*/ 29525 h 290595"/>
                <a:gd name="connsiteX235" fmla="*/ 160726 w 387702"/>
                <a:gd name="connsiteY235" fmla="*/ 33126 h 290595"/>
                <a:gd name="connsiteX236" fmla="*/ 148262 w 387702"/>
                <a:gd name="connsiteY236" fmla="*/ 38934 h 290595"/>
                <a:gd name="connsiteX237" fmla="*/ 143664 w 387702"/>
                <a:gd name="connsiteY237" fmla="*/ 42231 h 290595"/>
                <a:gd name="connsiteX238" fmla="*/ 141425 w 387702"/>
                <a:gd name="connsiteY238" fmla="*/ 42897 h 290595"/>
                <a:gd name="connsiteX239" fmla="*/ 129506 w 387702"/>
                <a:gd name="connsiteY239" fmla="*/ 43017 h 290595"/>
                <a:gd name="connsiteX240" fmla="*/ 128266 w 387702"/>
                <a:gd name="connsiteY240" fmla="*/ 42534 h 290595"/>
                <a:gd name="connsiteX241" fmla="*/ 126754 w 387702"/>
                <a:gd name="connsiteY241" fmla="*/ 40900 h 290595"/>
                <a:gd name="connsiteX242" fmla="*/ 126602 w 387702"/>
                <a:gd name="connsiteY242" fmla="*/ 39357 h 290595"/>
                <a:gd name="connsiteX243" fmla="*/ 126754 w 387702"/>
                <a:gd name="connsiteY243" fmla="*/ 37693 h 290595"/>
                <a:gd name="connsiteX244" fmla="*/ 126239 w 387702"/>
                <a:gd name="connsiteY244" fmla="*/ 35788 h 290595"/>
                <a:gd name="connsiteX245" fmla="*/ 124333 w 387702"/>
                <a:gd name="connsiteY245" fmla="*/ 34638 h 290595"/>
                <a:gd name="connsiteX246" fmla="*/ 112051 w 387702"/>
                <a:gd name="connsiteY246" fmla="*/ 30857 h 290595"/>
                <a:gd name="connsiteX247" fmla="*/ 109450 w 387702"/>
                <a:gd name="connsiteY247" fmla="*/ 30463 h 290595"/>
                <a:gd name="connsiteX248" fmla="*/ 106969 w 387702"/>
                <a:gd name="connsiteY248" fmla="*/ 30614 h 290595"/>
                <a:gd name="connsiteX249" fmla="*/ 102976 w 387702"/>
                <a:gd name="connsiteY249" fmla="*/ 31431 h 290595"/>
                <a:gd name="connsiteX250" fmla="*/ 101373 w 387702"/>
                <a:gd name="connsiteY250" fmla="*/ 31522 h 290595"/>
                <a:gd name="connsiteX251" fmla="*/ 99890 w 387702"/>
                <a:gd name="connsiteY251" fmla="*/ 31855 h 290595"/>
                <a:gd name="connsiteX252" fmla="*/ 98771 w 387702"/>
                <a:gd name="connsiteY252" fmla="*/ 32914 h 290595"/>
                <a:gd name="connsiteX253" fmla="*/ 98589 w 387702"/>
                <a:gd name="connsiteY253" fmla="*/ 34608 h 290595"/>
                <a:gd name="connsiteX254" fmla="*/ 98862 w 387702"/>
                <a:gd name="connsiteY254" fmla="*/ 36483 h 290595"/>
                <a:gd name="connsiteX255" fmla="*/ 98559 w 387702"/>
                <a:gd name="connsiteY255" fmla="*/ 37875 h 290595"/>
                <a:gd name="connsiteX256" fmla="*/ 93810 w 387702"/>
                <a:gd name="connsiteY256" fmla="*/ 38571 h 290595"/>
                <a:gd name="connsiteX257" fmla="*/ 90573 w 387702"/>
                <a:gd name="connsiteY257" fmla="*/ 38208 h 290595"/>
                <a:gd name="connsiteX258" fmla="*/ 88274 w 387702"/>
                <a:gd name="connsiteY258" fmla="*/ 37209 h 290595"/>
                <a:gd name="connsiteX259" fmla="*/ 87547 w 387702"/>
                <a:gd name="connsiteY259" fmla="*/ 36907 h 290595"/>
                <a:gd name="connsiteX260" fmla="*/ 85097 w 387702"/>
                <a:gd name="connsiteY260" fmla="*/ 34456 h 290595"/>
                <a:gd name="connsiteX261" fmla="*/ 83676 w 387702"/>
                <a:gd name="connsiteY261" fmla="*/ 30736 h 290595"/>
                <a:gd name="connsiteX262" fmla="*/ 83736 w 387702"/>
                <a:gd name="connsiteY262" fmla="*/ 27287 h 290595"/>
                <a:gd name="connsiteX263" fmla="*/ 84159 w 387702"/>
                <a:gd name="connsiteY263" fmla="*/ 23627 h 290595"/>
                <a:gd name="connsiteX264" fmla="*/ 83282 w 387702"/>
                <a:gd name="connsiteY264" fmla="*/ 17939 h 290595"/>
                <a:gd name="connsiteX265" fmla="*/ 83252 w 387702"/>
                <a:gd name="connsiteY265" fmla="*/ 17939 h 290595"/>
                <a:gd name="connsiteX266" fmla="*/ 60684 w 387702"/>
                <a:gd name="connsiteY266" fmla="*/ 24685 h 290595"/>
                <a:gd name="connsiteX267" fmla="*/ 40446 w 387702"/>
                <a:gd name="connsiteY267" fmla="*/ 36967 h 290595"/>
                <a:gd name="connsiteX268" fmla="*/ 19512 w 387702"/>
                <a:gd name="connsiteY268" fmla="*/ 48311 h 290595"/>
                <a:gd name="connsiteX269" fmla="*/ 5839 w 387702"/>
                <a:gd name="connsiteY269" fmla="*/ 57841 h 290595"/>
                <a:gd name="connsiteX270" fmla="*/ 2027 w 387702"/>
                <a:gd name="connsiteY270" fmla="*/ 58990 h 290595"/>
                <a:gd name="connsiteX271" fmla="*/ 0 w 387702"/>
                <a:gd name="connsiteY271" fmla="*/ 60382 h 290595"/>
                <a:gd name="connsiteX272" fmla="*/ 0 w 387702"/>
                <a:gd name="connsiteY272" fmla="*/ 60382 h 290595"/>
                <a:gd name="connsiteX273" fmla="*/ 1543 w 387702"/>
                <a:gd name="connsiteY273" fmla="*/ 63740 h 290595"/>
                <a:gd name="connsiteX274" fmla="*/ 2541 w 387702"/>
                <a:gd name="connsiteY274" fmla="*/ 70244 h 290595"/>
                <a:gd name="connsiteX275" fmla="*/ 3540 w 387702"/>
                <a:gd name="connsiteY275" fmla="*/ 73057 h 290595"/>
                <a:gd name="connsiteX276" fmla="*/ 7139 w 387702"/>
                <a:gd name="connsiteY276" fmla="*/ 76748 h 290595"/>
                <a:gd name="connsiteX277" fmla="*/ 8712 w 387702"/>
                <a:gd name="connsiteY277" fmla="*/ 78926 h 290595"/>
                <a:gd name="connsiteX278" fmla="*/ 9045 w 387702"/>
                <a:gd name="connsiteY278" fmla="*/ 81861 h 290595"/>
                <a:gd name="connsiteX279" fmla="*/ 8471 w 387702"/>
                <a:gd name="connsiteY279" fmla="*/ 82738 h 290595"/>
                <a:gd name="connsiteX280" fmla="*/ 6141 w 387702"/>
                <a:gd name="connsiteY280" fmla="*/ 84855 h 290595"/>
                <a:gd name="connsiteX281" fmla="*/ 5566 w 387702"/>
                <a:gd name="connsiteY281" fmla="*/ 86217 h 290595"/>
                <a:gd name="connsiteX282" fmla="*/ 7533 w 387702"/>
                <a:gd name="connsiteY282" fmla="*/ 92630 h 290595"/>
                <a:gd name="connsiteX283" fmla="*/ 7442 w 387702"/>
                <a:gd name="connsiteY283" fmla="*/ 93598 h 290595"/>
                <a:gd name="connsiteX284" fmla="*/ 6655 w 387702"/>
                <a:gd name="connsiteY284" fmla="*/ 95201 h 290595"/>
                <a:gd name="connsiteX285" fmla="*/ 6534 w 387702"/>
                <a:gd name="connsiteY285" fmla="*/ 95897 h 290595"/>
                <a:gd name="connsiteX286" fmla="*/ 6867 w 387702"/>
                <a:gd name="connsiteY286" fmla="*/ 96381 h 290595"/>
                <a:gd name="connsiteX287" fmla="*/ 8077 w 387702"/>
                <a:gd name="connsiteY287" fmla="*/ 96956 h 290595"/>
                <a:gd name="connsiteX288" fmla="*/ 8531 w 387702"/>
                <a:gd name="connsiteY288" fmla="*/ 97440 h 290595"/>
                <a:gd name="connsiteX289" fmla="*/ 9408 w 387702"/>
                <a:gd name="connsiteY289" fmla="*/ 99285 h 290595"/>
                <a:gd name="connsiteX290" fmla="*/ 9923 w 387702"/>
                <a:gd name="connsiteY290" fmla="*/ 100102 h 290595"/>
                <a:gd name="connsiteX291" fmla="*/ 10679 w 387702"/>
                <a:gd name="connsiteY291" fmla="*/ 100405 h 290595"/>
                <a:gd name="connsiteX292" fmla="*/ 12161 w 387702"/>
                <a:gd name="connsiteY292" fmla="*/ 100707 h 290595"/>
                <a:gd name="connsiteX293" fmla="*/ 12978 w 387702"/>
                <a:gd name="connsiteY293" fmla="*/ 100737 h 290595"/>
                <a:gd name="connsiteX294" fmla="*/ 14854 w 387702"/>
                <a:gd name="connsiteY294" fmla="*/ 100495 h 290595"/>
                <a:gd name="connsiteX295" fmla="*/ 15791 w 387702"/>
                <a:gd name="connsiteY295" fmla="*/ 100586 h 290595"/>
                <a:gd name="connsiteX296" fmla="*/ 17122 w 387702"/>
                <a:gd name="connsiteY296" fmla="*/ 101251 h 290595"/>
                <a:gd name="connsiteX297" fmla="*/ 17636 w 387702"/>
                <a:gd name="connsiteY297" fmla="*/ 102068 h 290595"/>
                <a:gd name="connsiteX298" fmla="*/ 17939 w 387702"/>
                <a:gd name="connsiteY298" fmla="*/ 103067 h 290595"/>
                <a:gd name="connsiteX299" fmla="*/ 18605 w 387702"/>
                <a:gd name="connsiteY299" fmla="*/ 104156 h 290595"/>
                <a:gd name="connsiteX300" fmla="*/ 22356 w 387702"/>
                <a:gd name="connsiteY300" fmla="*/ 107453 h 290595"/>
                <a:gd name="connsiteX301" fmla="*/ 22930 w 387702"/>
                <a:gd name="connsiteY301" fmla="*/ 108421 h 290595"/>
                <a:gd name="connsiteX302" fmla="*/ 24292 w 387702"/>
                <a:gd name="connsiteY302" fmla="*/ 111386 h 290595"/>
                <a:gd name="connsiteX303" fmla="*/ 24806 w 387702"/>
                <a:gd name="connsiteY303" fmla="*/ 112293 h 290595"/>
                <a:gd name="connsiteX304" fmla="*/ 26682 w 387702"/>
                <a:gd name="connsiteY304" fmla="*/ 113715 h 290595"/>
                <a:gd name="connsiteX305" fmla="*/ 34729 w 387702"/>
                <a:gd name="connsiteY305" fmla="*/ 117103 h 290595"/>
                <a:gd name="connsiteX306" fmla="*/ 35182 w 387702"/>
                <a:gd name="connsiteY306" fmla="*/ 117315 h 290595"/>
                <a:gd name="connsiteX307" fmla="*/ 36756 w 387702"/>
                <a:gd name="connsiteY307" fmla="*/ 117618 h 290595"/>
                <a:gd name="connsiteX308" fmla="*/ 38056 w 387702"/>
                <a:gd name="connsiteY308" fmla="*/ 116650 h 290595"/>
                <a:gd name="connsiteX309" fmla="*/ 41112 w 387702"/>
                <a:gd name="connsiteY309" fmla="*/ 111839 h 290595"/>
                <a:gd name="connsiteX310" fmla="*/ 42927 w 387702"/>
                <a:gd name="connsiteY310" fmla="*/ 110024 h 290595"/>
                <a:gd name="connsiteX311" fmla="*/ 45256 w 387702"/>
                <a:gd name="connsiteY311" fmla="*/ 108663 h 290595"/>
                <a:gd name="connsiteX312" fmla="*/ 50520 w 387702"/>
                <a:gd name="connsiteY312" fmla="*/ 107181 h 290595"/>
                <a:gd name="connsiteX313" fmla="*/ 58536 w 387702"/>
                <a:gd name="connsiteY313" fmla="*/ 104852 h 290595"/>
                <a:gd name="connsiteX314" fmla="*/ 61138 w 387702"/>
                <a:gd name="connsiteY314" fmla="*/ 105578 h 290595"/>
                <a:gd name="connsiteX315" fmla="*/ 62832 w 387702"/>
                <a:gd name="connsiteY315" fmla="*/ 107060 h 290595"/>
                <a:gd name="connsiteX316" fmla="*/ 64526 w 387702"/>
                <a:gd name="connsiteY316" fmla="*/ 109843 h 290595"/>
                <a:gd name="connsiteX317" fmla="*/ 64526 w 387702"/>
                <a:gd name="connsiteY317" fmla="*/ 109843 h 290595"/>
                <a:gd name="connsiteX318" fmla="*/ 65918 w 387702"/>
                <a:gd name="connsiteY318" fmla="*/ 112142 h 290595"/>
                <a:gd name="connsiteX319" fmla="*/ 67158 w 387702"/>
                <a:gd name="connsiteY319" fmla="*/ 114925 h 290595"/>
                <a:gd name="connsiteX320" fmla="*/ 67945 w 387702"/>
                <a:gd name="connsiteY320" fmla="*/ 115772 h 290595"/>
                <a:gd name="connsiteX321" fmla="*/ 69367 w 387702"/>
                <a:gd name="connsiteY321" fmla="*/ 115954 h 290595"/>
                <a:gd name="connsiteX322" fmla="*/ 70728 w 387702"/>
                <a:gd name="connsiteY322" fmla="*/ 116377 h 290595"/>
                <a:gd name="connsiteX323" fmla="*/ 71514 w 387702"/>
                <a:gd name="connsiteY323" fmla="*/ 117739 h 290595"/>
                <a:gd name="connsiteX324" fmla="*/ 72664 w 387702"/>
                <a:gd name="connsiteY324" fmla="*/ 121187 h 290595"/>
                <a:gd name="connsiteX325" fmla="*/ 71272 w 387702"/>
                <a:gd name="connsiteY325" fmla="*/ 123638 h 290595"/>
                <a:gd name="connsiteX326" fmla="*/ 72059 w 387702"/>
                <a:gd name="connsiteY326" fmla="*/ 127843 h 290595"/>
                <a:gd name="connsiteX327" fmla="*/ 74721 w 387702"/>
                <a:gd name="connsiteY327" fmla="*/ 136010 h 290595"/>
                <a:gd name="connsiteX328" fmla="*/ 74872 w 387702"/>
                <a:gd name="connsiteY328" fmla="*/ 140669 h 290595"/>
                <a:gd name="connsiteX329" fmla="*/ 75417 w 387702"/>
                <a:gd name="connsiteY329" fmla="*/ 142303 h 290595"/>
                <a:gd name="connsiteX330" fmla="*/ 76990 w 387702"/>
                <a:gd name="connsiteY330" fmla="*/ 144178 h 290595"/>
                <a:gd name="connsiteX331" fmla="*/ 78321 w 387702"/>
                <a:gd name="connsiteY331" fmla="*/ 145146 h 290595"/>
                <a:gd name="connsiteX332" fmla="*/ 82707 w 387702"/>
                <a:gd name="connsiteY332" fmla="*/ 147234 h 290595"/>
                <a:gd name="connsiteX333" fmla="*/ 84462 w 387702"/>
                <a:gd name="connsiteY333" fmla="*/ 147688 h 290595"/>
                <a:gd name="connsiteX334" fmla="*/ 86912 w 387702"/>
                <a:gd name="connsiteY334" fmla="*/ 147445 h 290595"/>
                <a:gd name="connsiteX335" fmla="*/ 91329 w 387702"/>
                <a:gd name="connsiteY335" fmla="*/ 145963 h 290595"/>
                <a:gd name="connsiteX336" fmla="*/ 92690 w 387702"/>
                <a:gd name="connsiteY336" fmla="*/ 144995 h 290595"/>
                <a:gd name="connsiteX337" fmla="*/ 93689 w 387702"/>
                <a:gd name="connsiteY337" fmla="*/ 144057 h 290595"/>
                <a:gd name="connsiteX338" fmla="*/ 94717 w 387702"/>
                <a:gd name="connsiteY338" fmla="*/ 143452 h 290595"/>
                <a:gd name="connsiteX339" fmla="*/ 96139 w 387702"/>
                <a:gd name="connsiteY339" fmla="*/ 143331 h 290595"/>
                <a:gd name="connsiteX340" fmla="*/ 97591 w 387702"/>
                <a:gd name="connsiteY340" fmla="*/ 143755 h 290595"/>
                <a:gd name="connsiteX341" fmla="*/ 98257 w 387702"/>
                <a:gd name="connsiteY341" fmla="*/ 144511 h 290595"/>
                <a:gd name="connsiteX342" fmla="*/ 98075 w 387702"/>
                <a:gd name="connsiteY342" fmla="*/ 145691 h 290595"/>
                <a:gd name="connsiteX343" fmla="*/ 97107 w 387702"/>
                <a:gd name="connsiteY343" fmla="*/ 147294 h 290595"/>
                <a:gd name="connsiteX344" fmla="*/ 98347 w 387702"/>
                <a:gd name="connsiteY344" fmla="*/ 148141 h 290595"/>
                <a:gd name="connsiteX345" fmla="*/ 104852 w 387702"/>
                <a:gd name="connsiteY345" fmla="*/ 148171 h 290595"/>
                <a:gd name="connsiteX346" fmla="*/ 107120 w 387702"/>
                <a:gd name="connsiteY346" fmla="*/ 148625 h 290595"/>
                <a:gd name="connsiteX347" fmla="*/ 109329 w 387702"/>
                <a:gd name="connsiteY347" fmla="*/ 149623 h 290595"/>
                <a:gd name="connsiteX348" fmla="*/ 111325 w 387702"/>
                <a:gd name="connsiteY348" fmla="*/ 151378 h 290595"/>
                <a:gd name="connsiteX349" fmla="*/ 112959 w 387702"/>
                <a:gd name="connsiteY349" fmla="*/ 154131 h 290595"/>
                <a:gd name="connsiteX350" fmla="*/ 113806 w 387702"/>
                <a:gd name="connsiteY350" fmla="*/ 159728 h 290595"/>
                <a:gd name="connsiteX351" fmla="*/ 113836 w 387702"/>
                <a:gd name="connsiteY351" fmla="*/ 166504 h 290595"/>
                <a:gd name="connsiteX352" fmla="*/ 114714 w 387702"/>
                <a:gd name="connsiteY352" fmla="*/ 172403 h 290595"/>
                <a:gd name="connsiteX353" fmla="*/ 118253 w 387702"/>
                <a:gd name="connsiteY353" fmla="*/ 175458 h 290595"/>
                <a:gd name="connsiteX354" fmla="*/ 118646 w 387702"/>
                <a:gd name="connsiteY354" fmla="*/ 174521 h 290595"/>
                <a:gd name="connsiteX355" fmla="*/ 118797 w 387702"/>
                <a:gd name="connsiteY355" fmla="*/ 174460 h 290595"/>
                <a:gd name="connsiteX356" fmla="*/ 118979 w 387702"/>
                <a:gd name="connsiteY356" fmla="*/ 174581 h 290595"/>
                <a:gd name="connsiteX357" fmla="*/ 119402 w 387702"/>
                <a:gd name="connsiteY357" fmla="*/ 174278 h 290595"/>
                <a:gd name="connsiteX358" fmla="*/ 119674 w 387702"/>
                <a:gd name="connsiteY358" fmla="*/ 173855 h 290595"/>
                <a:gd name="connsiteX359" fmla="*/ 120128 w 387702"/>
                <a:gd name="connsiteY359" fmla="*/ 172645 h 290595"/>
                <a:gd name="connsiteX360" fmla="*/ 121943 w 387702"/>
                <a:gd name="connsiteY360" fmla="*/ 169832 h 290595"/>
                <a:gd name="connsiteX361" fmla="*/ 122760 w 387702"/>
                <a:gd name="connsiteY361" fmla="*/ 168954 h 290595"/>
                <a:gd name="connsiteX362" fmla="*/ 124122 w 387702"/>
                <a:gd name="connsiteY362" fmla="*/ 168501 h 290595"/>
                <a:gd name="connsiteX363" fmla="*/ 128508 w 387702"/>
                <a:gd name="connsiteY363" fmla="*/ 168198 h 290595"/>
                <a:gd name="connsiteX364" fmla="*/ 132683 w 387702"/>
                <a:gd name="connsiteY364" fmla="*/ 168652 h 290595"/>
                <a:gd name="connsiteX365" fmla="*/ 134770 w 387702"/>
                <a:gd name="connsiteY365" fmla="*/ 169650 h 290595"/>
                <a:gd name="connsiteX366" fmla="*/ 136494 w 387702"/>
                <a:gd name="connsiteY366" fmla="*/ 170739 h 290595"/>
                <a:gd name="connsiteX367" fmla="*/ 138279 w 387702"/>
                <a:gd name="connsiteY367" fmla="*/ 171556 h 290595"/>
                <a:gd name="connsiteX368" fmla="*/ 140578 w 387702"/>
                <a:gd name="connsiteY368" fmla="*/ 171526 h 290595"/>
                <a:gd name="connsiteX369" fmla="*/ 146961 w 387702"/>
                <a:gd name="connsiteY369" fmla="*/ 169045 h 290595"/>
                <a:gd name="connsiteX370" fmla="*/ 149109 w 387702"/>
                <a:gd name="connsiteY370" fmla="*/ 168833 h 290595"/>
                <a:gd name="connsiteX371" fmla="*/ 151046 w 387702"/>
                <a:gd name="connsiteY371" fmla="*/ 169710 h 290595"/>
                <a:gd name="connsiteX372" fmla="*/ 154373 w 387702"/>
                <a:gd name="connsiteY372" fmla="*/ 173099 h 290595"/>
                <a:gd name="connsiteX373" fmla="*/ 156521 w 387702"/>
                <a:gd name="connsiteY373" fmla="*/ 174248 h 290595"/>
                <a:gd name="connsiteX374" fmla="*/ 158608 w 387702"/>
                <a:gd name="connsiteY374" fmla="*/ 175973 h 290595"/>
                <a:gd name="connsiteX375" fmla="*/ 161361 w 387702"/>
                <a:gd name="connsiteY375" fmla="*/ 181387 h 290595"/>
                <a:gd name="connsiteX376" fmla="*/ 163206 w 387702"/>
                <a:gd name="connsiteY376" fmla="*/ 182204 h 290595"/>
                <a:gd name="connsiteX377" fmla="*/ 163963 w 387702"/>
                <a:gd name="connsiteY377" fmla="*/ 181539 h 290595"/>
                <a:gd name="connsiteX378" fmla="*/ 163812 w 387702"/>
                <a:gd name="connsiteY378" fmla="*/ 180541 h 290595"/>
                <a:gd name="connsiteX379" fmla="*/ 163872 w 387702"/>
                <a:gd name="connsiteY379" fmla="*/ 179603 h 290595"/>
                <a:gd name="connsiteX380" fmla="*/ 165142 w 387702"/>
                <a:gd name="connsiteY380" fmla="*/ 179119 h 290595"/>
                <a:gd name="connsiteX381" fmla="*/ 166050 w 387702"/>
                <a:gd name="connsiteY381" fmla="*/ 179421 h 290595"/>
                <a:gd name="connsiteX382" fmla="*/ 167381 w 387702"/>
                <a:gd name="connsiteY382" fmla="*/ 180208 h 290595"/>
                <a:gd name="connsiteX383" fmla="*/ 168652 w 387702"/>
                <a:gd name="connsiteY383" fmla="*/ 181206 h 290595"/>
                <a:gd name="connsiteX384" fmla="*/ 169257 w 387702"/>
                <a:gd name="connsiteY384" fmla="*/ 182144 h 290595"/>
                <a:gd name="connsiteX385" fmla="*/ 169015 w 387702"/>
                <a:gd name="connsiteY385" fmla="*/ 183656 h 290595"/>
                <a:gd name="connsiteX386" fmla="*/ 168017 w 387702"/>
                <a:gd name="connsiteY386" fmla="*/ 184715 h 290595"/>
                <a:gd name="connsiteX387" fmla="*/ 165657 w 387702"/>
                <a:gd name="connsiteY387" fmla="*/ 186409 h 290595"/>
                <a:gd name="connsiteX388" fmla="*/ 164598 w 387702"/>
                <a:gd name="connsiteY388" fmla="*/ 187801 h 290595"/>
                <a:gd name="connsiteX389" fmla="*/ 164144 w 387702"/>
                <a:gd name="connsiteY389" fmla="*/ 188981 h 290595"/>
                <a:gd name="connsiteX390" fmla="*/ 163600 w 387702"/>
                <a:gd name="connsiteY390" fmla="*/ 191612 h 290595"/>
                <a:gd name="connsiteX391" fmla="*/ 161663 w 387702"/>
                <a:gd name="connsiteY391" fmla="*/ 197391 h 290595"/>
                <a:gd name="connsiteX392" fmla="*/ 161422 w 387702"/>
                <a:gd name="connsiteY392" fmla="*/ 200022 h 290595"/>
                <a:gd name="connsiteX393" fmla="*/ 162843 w 387702"/>
                <a:gd name="connsiteY393" fmla="*/ 200658 h 290595"/>
                <a:gd name="connsiteX394" fmla="*/ 164840 w 387702"/>
                <a:gd name="connsiteY394" fmla="*/ 199841 h 290595"/>
                <a:gd name="connsiteX395" fmla="*/ 165929 w 387702"/>
                <a:gd name="connsiteY395" fmla="*/ 199659 h 290595"/>
                <a:gd name="connsiteX396" fmla="*/ 166928 w 387702"/>
                <a:gd name="connsiteY396" fmla="*/ 200144 h 290595"/>
                <a:gd name="connsiteX397" fmla="*/ 168621 w 387702"/>
                <a:gd name="connsiteY397" fmla="*/ 206345 h 290595"/>
                <a:gd name="connsiteX398" fmla="*/ 169226 w 387702"/>
                <a:gd name="connsiteY398" fmla="*/ 207706 h 290595"/>
                <a:gd name="connsiteX399" fmla="*/ 169922 w 387702"/>
                <a:gd name="connsiteY399" fmla="*/ 208856 h 290595"/>
                <a:gd name="connsiteX400" fmla="*/ 169892 w 387702"/>
                <a:gd name="connsiteY400" fmla="*/ 209794 h 290595"/>
                <a:gd name="connsiteX401" fmla="*/ 167472 w 387702"/>
                <a:gd name="connsiteY401" fmla="*/ 210913 h 290595"/>
                <a:gd name="connsiteX402" fmla="*/ 165142 w 387702"/>
                <a:gd name="connsiteY402" fmla="*/ 212425 h 290595"/>
                <a:gd name="connsiteX403" fmla="*/ 163297 w 387702"/>
                <a:gd name="connsiteY403" fmla="*/ 214029 h 290595"/>
                <a:gd name="connsiteX404" fmla="*/ 162571 w 387702"/>
                <a:gd name="connsiteY404" fmla="*/ 214846 h 290595"/>
                <a:gd name="connsiteX405" fmla="*/ 162087 w 387702"/>
                <a:gd name="connsiteY405" fmla="*/ 215904 h 290595"/>
                <a:gd name="connsiteX406" fmla="*/ 161663 w 387702"/>
                <a:gd name="connsiteY406" fmla="*/ 217629 h 290595"/>
                <a:gd name="connsiteX407" fmla="*/ 162148 w 387702"/>
                <a:gd name="connsiteY407" fmla="*/ 217810 h 290595"/>
                <a:gd name="connsiteX408" fmla="*/ 162692 w 387702"/>
                <a:gd name="connsiteY408" fmla="*/ 219988 h 290595"/>
                <a:gd name="connsiteX409" fmla="*/ 162813 w 387702"/>
                <a:gd name="connsiteY409" fmla="*/ 222106 h 290595"/>
                <a:gd name="connsiteX410" fmla="*/ 162087 w 387702"/>
                <a:gd name="connsiteY410" fmla="*/ 222046 h 290595"/>
                <a:gd name="connsiteX411" fmla="*/ 161997 w 387702"/>
                <a:gd name="connsiteY411" fmla="*/ 222046 h 290595"/>
                <a:gd name="connsiteX412" fmla="*/ 167654 w 387702"/>
                <a:gd name="connsiteY412" fmla="*/ 224829 h 290595"/>
                <a:gd name="connsiteX413" fmla="*/ 168984 w 387702"/>
                <a:gd name="connsiteY413" fmla="*/ 225192 h 290595"/>
                <a:gd name="connsiteX414" fmla="*/ 170497 w 387702"/>
                <a:gd name="connsiteY414" fmla="*/ 224980 h 290595"/>
                <a:gd name="connsiteX415" fmla="*/ 176699 w 387702"/>
                <a:gd name="connsiteY415" fmla="*/ 224163 h 290595"/>
                <a:gd name="connsiteX416" fmla="*/ 191794 w 387702"/>
                <a:gd name="connsiteY416" fmla="*/ 227975 h 290595"/>
                <a:gd name="connsiteX417" fmla="*/ 192550 w 387702"/>
                <a:gd name="connsiteY417" fmla="*/ 228187 h 290595"/>
                <a:gd name="connsiteX418" fmla="*/ 195515 w 387702"/>
                <a:gd name="connsiteY418" fmla="*/ 227703 h 290595"/>
                <a:gd name="connsiteX419" fmla="*/ 209552 w 387702"/>
                <a:gd name="connsiteY419" fmla="*/ 221289 h 290595"/>
                <a:gd name="connsiteX420" fmla="*/ 213757 w 387702"/>
                <a:gd name="connsiteY420" fmla="*/ 220654 h 290595"/>
                <a:gd name="connsiteX421" fmla="*/ 214846 w 387702"/>
                <a:gd name="connsiteY421" fmla="*/ 220019 h 290595"/>
                <a:gd name="connsiteX422" fmla="*/ 215753 w 387702"/>
                <a:gd name="connsiteY422" fmla="*/ 218385 h 290595"/>
                <a:gd name="connsiteX423" fmla="*/ 216479 w 387702"/>
                <a:gd name="connsiteY423" fmla="*/ 216086 h 290595"/>
                <a:gd name="connsiteX424" fmla="*/ 217235 w 387702"/>
                <a:gd name="connsiteY424" fmla="*/ 211488 h 290595"/>
                <a:gd name="connsiteX425" fmla="*/ 217145 w 387702"/>
                <a:gd name="connsiteY425" fmla="*/ 210490 h 290595"/>
                <a:gd name="connsiteX426" fmla="*/ 216752 w 387702"/>
                <a:gd name="connsiteY426" fmla="*/ 209794 h 290595"/>
                <a:gd name="connsiteX427" fmla="*/ 216540 w 387702"/>
                <a:gd name="connsiteY427" fmla="*/ 208917 h 290595"/>
                <a:gd name="connsiteX428" fmla="*/ 216812 w 387702"/>
                <a:gd name="connsiteY428" fmla="*/ 207494 h 290595"/>
                <a:gd name="connsiteX429" fmla="*/ 217387 w 387702"/>
                <a:gd name="connsiteY429" fmla="*/ 206375 h 290595"/>
                <a:gd name="connsiteX430" fmla="*/ 228126 w 387702"/>
                <a:gd name="connsiteY430" fmla="*/ 196362 h 290595"/>
                <a:gd name="connsiteX431" fmla="*/ 230819 w 387702"/>
                <a:gd name="connsiteY431" fmla="*/ 195213 h 290595"/>
                <a:gd name="connsiteX432" fmla="*/ 231272 w 387702"/>
                <a:gd name="connsiteY432" fmla="*/ 197391 h 290595"/>
                <a:gd name="connsiteX433" fmla="*/ 232422 w 387702"/>
                <a:gd name="connsiteY433" fmla="*/ 197814 h 290595"/>
                <a:gd name="connsiteX434" fmla="*/ 235568 w 387702"/>
                <a:gd name="connsiteY434" fmla="*/ 197209 h 290595"/>
                <a:gd name="connsiteX435" fmla="*/ 236506 w 387702"/>
                <a:gd name="connsiteY435" fmla="*/ 198329 h 290595"/>
                <a:gd name="connsiteX436" fmla="*/ 236354 w 387702"/>
                <a:gd name="connsiteY436" fmla="*/ 200870 h 290595"/>
                <a:gd name="connsiteX437" fmla="*/ 235810 w 387702"/>
                <a:gd name="connsiteY437" fmla="*/ 203834 h 290595"/>
                <a:gd name="connsiteX438" fmla="*/ 235598 w 387702"/>
                <a:gd name="connsiteY438" fmla="*/ 206345 h 290595"/>
                <a:gd name="connsiteX439" fmla="*/ 234509 w 387702"/>
                <a:gd name="connsiteY439" fmla="*/ 205256 h 290595"/>
                <a:gd name="connsiteX440" fmla="*/ 233904 w 387702"/>
                <a:gd name="connsiteY440" fmla="*/ 205407 h 290595"/>
                <a:gd name="connsiteX441" fmla="*/ 231998 w 387702"/>
                <a:gd name="connsiteY441" fmla="*/ 209219 h 290595"/>
                <a:gd name="connsiteX442" fmla="*/ 231877 w 387702"/>
                <a:gd name="connsiteY442" fmla="*/ 210520 h 290595"/>
                <a:gd name="connsiteX443" fmla="*/ 232028 w 387702"/>
                <a:gd name="connsiteY443" fmla="*/ 211730 h 290595"/>
                <a:gd name="connsiteX444" fmla="*/ 231938 w 387702"/>
                <a:gd name="connsiteY444" fmla="*/ 213273 h 290595"/>
                <a:gd name="connsiteX445" fmla="*/ 228096 w 387702"/>
                <a:gd name="connsiteY445" fmla="*/ 222136 h 290595"/>
                <a:gd name="connsiteX446" fmla="*/ 227642 w 387702"/>
                <a:gd name="connsiteY446" fmla="*/ 224436 h 290595"/>
                <a:gd name="connsiteX447" fmla="*/ 228973 w 387702"/>
                <a:gd name="connsiteY447" fmla="*/ 226432 h 290595"/>
                <a:gd name="connsiteX448" fmla="*/ 233753 w 387702"/>
                <a:gd name="connsiteY448" fmla="*/ 228247 h 290595"/>
                <a:gd name="connsiteX449" fmla="*/ 235326 w 387702"/>
                <a:gd name="connsiteY449" fmla="*/ 230909 h 290595"/>
                <a:gd name="connsiteX450" fmla="*/ 235507 w 387702"/>
                <a:gd name="connsiteY450" fmla="*/ 232755 h 290595"/>
                <a:gd name="connsiteX451" fmla="*/ 235235 w 387702"/>
                <a:gd name="connsiteY451" fmla="*/ 233995 h 290595"/>
                <a:gd name="connsiteX452" fmla="*/ 234721 w 387702"/>
                <a:gd name="connsiteY452" fmla="*/ 235175 h 290595"/>
                <a:gd name="connsiteX453" fmla="*/ 234176 w 387702"/>
                <a:gd name="connsiteY453" fmla="*/ 236960 h 290595"/>
                <a:gd name="connsiteX454" fmla="*/ 233844 w 387702"/>
                <a:gd name="connsiteY454" fmla="*/ 237686 h 290595"/>
                <a:gd name="connsiteX455" fmla="*/ 232966 w 387702"/>
                <a:gd name="connsiteY455" fmla="*/ 238654 h 290595"/>
                <a:gd name="connsiteX456" fmla="*/ 232785 w 387702"/>
                <a:gd name="connsiteY456" fmla="*/ 239531 h 290595"/>
                <a:gd name="connsiteX457" fmla="*/ 232966 w 387702"/>
                <a:gd name="connsiteY457" fmla="*/ 240257 h 290595"/>
                <a:gd name="connsiteX458" fmla="*/ 233964 w 387702"/>
                <a:gd name="connsiteY458" fmla="*/ 241739 h 290595"/>
                <a:gd name="connsiteX459" fmla="*/ 234207 w 387702"/>
                <a:gd name="connsiteY459" fmla="*/ 242586 h 290595"/>
                <a:gd name="connsiteX460" fmla="*/ 234207 w 387702"/>
                <a:gd name="connsiteY460" fmla="*/ 247941 h 290595"/>
                <a:gd name="connsiteX461" fmla="*/ 235084 w 387702"/>
                <a:gd name="connsiteY461" fmla="*/ 249060 h 290595"/>
                <a:gd name="connsiteX462" fmla="*/ 237746 w 387702"/>
                <a:gd name="connsiteY462" fmla="*/ 249393 h 290595"/>
                <a:gd name="connsiteX463" fmla="*/ 239984 w 387702"/>
                <a:gd name="connsiteY463" fmla="*/ 249060 h 290595"/>
                <a:gd name="connsiteX464" fmla="*/ 244341 w 387702"/>
                <a:gd name="connsiteY464" fmla="*/ 247638 h 290595"/>
                <a:gd name="connsiteX465" fmla="*/ 246216 w 387702"/>
                <a:gd name="connsiteY465" fmla="*/ 247548 h 290595"/>
                <a:gd name="connsiteX466" fmla="*/ 246458 w 387702"/>
                <a:gd name="connsiteY466" fmla="*/ 247548 h 290595"/>
                <a:gd name="connsiteX467" fmla="*/ 248273 w 387702"/>
                <a:gd name="connsiteY467" fmla="*/ 248485 h 290595"/>
                <a:gd name="connsiteX468" fmla="*/ 252024 w 387702"/>
                <a:gd name="connsiteY468" fmla="*/ 251873 h 290595"/>
                <a:gd name="connsiteX469" fmla="*/ 254051 w 387702"/>
                <a:gd name="connsiteY469" fmla="*/ 252932 h 290595"/>
                <a:gd name="connsiteX470" fmla="*/ 257621 w 387702"/>
                <a:gd name="connsiteY470" fmla="*/ 253870 h 290595"/>
                <a:gd name="connsiteX471" fmla="*/ 258831 w 387702"/>
                <a:gd name="connsiteY471" fmla="*/ 254929 h 290595"/>
                <a:gd name="connsiteX472" fmla="*/ 263097 w 387702"/>
                <a:gd name="connsiteY472" fmla="*/ 260646 h 290595"/>
                <a:gd name="connsiteX473" fmla="*/ 264609 w 387702"/>
                <a:gd name="connsiteY473" fmla="*/ 261977 h 290595"/>
                <a:gd name="connsiteX474" fmla="*/ 266424 w 387702"/>
                <a:gd name="connsiteY474" fmla="*/ 263248 h 290595"/>
                <a:gd name="connsiteX475" fmla="*/ 268754 w 387702"/>
                <a:gd name="connsiteY475" fmla="*/ 263883 h 290595"/>
                <a:gd name="connsiteX476" fmla="*/ 273291 w 387702"/>
                <a:gd name="connsiteY476" fmla="*/ 262703 h 290595"/>
                <a:gd name="connsiteX477" fmla="*/ 275469 w 387702"/>
                <a:gd name="connsiteY477" fmla="*/ 262643 h 290595"/>
                <a:gd name="connsiteX478" fmla="*/ 277587 w 387702"/>
                <a:gd name="connsiteY478" fmla="*/ 264579 h 290595"/>
                <a:gd name="connsiteX479" fmla="*/ 279523 w 387702"/>
                <a:gd name="connsiteY479" fmla="*/ 266757 h 290595"/>
                <a:gd name="connsiteX480" fmla="*/ 280219 w 387702"/>
                <a:gd name="connsiteY480" fmla="*/ 268905 h 290595"/>
                <a:gd name="connsiteX481" fmla="*/ 279765 w 387702"/>
                <a:gd name="connsiteY481" fmla="*/ 269419 h 290595"/>
                <a:gd name="connsiteX482" fmla="*/ 278948 w 387702"/>
                <a:gd name="connsiteY482" fmla="*/ 269903 h 290595"/>
                <a:gd name="connsiteX483" fmla="*/ 278646 w 387702"/>
                <a:gd name="connsiteY483" fmla="*/ 271900 h 290595"/>
                <a:gd name="connsiteX484" fmla="*/ 278888 w 387702"/>
                <a:gd name="connsiteY484" fmla="*/ 273231 h 290595"/>
                <a:gd name="connsiteX485" fmla="*/ 279372 w 387702"/>
                <a:gd name="connsiteY485" fmla="*/ 273775 h 290595"/>
                <a:gd name="connsiteX486" fmla="*/ 281036 w 387702"/>
                <a:gd name="connsiteY486" fmla="*/ 274078 h 290595"/>
                <a:gd name="connsiteX487" fmla="*/ 281762 w 387702"/>
                <a:gd name="connsiteY487" fmla="*/ 273897 h 290595"/>
                <a:gd name="connsiteX488" fmla="*/ 282276 w 387702"/>
                <a:gd name="connsiteY488" fmla="*/ 273171 h 290595"/>
                <a:gd name="connsiteX489" fmla="*/ 282700 w 387702"/>
                <a:gd name="connsiteY489" fmla="*/ 272384 h 290595"/>
                <a:gd name="connsiteX490" fmla="*/ 283093 w 387702"/>
                <a:gd name="connsiteY490" fmla="*/ 271991 h 290595"/>
                <a:gd name="connsiteX491" fmla="*/ 283728 w 387702"/>
                <a:gd name="connsiteY491" fmla="*/ 272082 h 290595"/>
                <a:gd name="connsiteX492" fmla="*/ 284848 w 387702"/>
                <a:gd name="connsiteY492" fmla="*/ 272747 h 290595"/>
                <a:gd name="connsiteX493" fmla="*/ 287963 w 387702"/>
                <a:gd name="connsiteY493" fmla="*/ 273775 h 290595"/>
                <a:gd name="connsiteX494" fmla="*/ 288750 w 387702"/>
                <a:gd name="connsiteY494" fmla="*/ 274411 h 290595"/>
                <a:gd name="connsiteX495" fmla="*/ 289839 w 387702"/>
                <a:gd name="connsiteY495" fmla="*/ 275318 h 290595"/>
                <a:gd name="connsiteX496" fmla="*/ 294679 w 387702"/>
                <a:gd name="connsiteY496" fmla="*/ 283396 h 290595"/>
                <a:gd name="connsiteX497" fmla="*/ 295103 w 387702"/>
                <a:gd name="connsiteY497" fmla="*/ 284696 h 290595"/>
                <a:gd name="connsiteX498" fmla="*/ 295103 w 387702"/>
                <a:gd name="connsiteY498" fmla="*/ 286179 h 290595"/>
                <a:gd name="connsiteX499" fmla="*/ 294770 w 387702"/>
                <a:gd name="connsiteY499" fmla="*/ 287510 h 290595"/>
                <a:gd name="connsiteX500" fmla="*/ 294649 w 387702"/>
                <a:gd name="connsiteY500" fmla="*/ 288810 h 290595"/>
                <a:gd name="connsiteX501" fmla="*/ 295284 w 387702"/>
                <a:gd name="connsiteY501" fmla="*/ 290081 h 290595"/>
                <a:gd name="connsiteX502" fmla="*/ 297462 w 387702"/>
                <a:gd name="connsiteY502" fmla="*/ 290595 h 290595"/>
                <a:gd name="connsiteX503" fmla="*/ 300064 w 387702"/>
                <a:gd name="connsiteY503" fmla="*/ 289204 h 290595"/>
                <a:gd name="connsiteX504" fmla="*/ 302605 w 387702"/>
                <a:gd name="connsiteY504" fmla="*/ 287358 h 290595"/>
                <a:gd name="connsiteX505" fmla="*/ 304511 w 387702"/>
                <a:gd name="connsiteY505" fmla="*/ 286572 h 290595"/>
                <a:gd name="connsiteX506" fmla="*/ 307657 w 387702"/>
                <a:gd name="connsiteY506" fmla="*/ 287933 h 290595"/>
                <a:gd name="connsiteX507" fmla="*/ 308504 w 387702"/>
                <a:gd name="connsiteY507" fmla="*/ 288145 h 290595"/>
                <a:gd name="connsiteX508" fmla="*/ 309986 w 387702"/>
                <a:gd name="connsiteY508" fmla="*/ 287964 h 290595"/>
                <a:gd name="connsiteX509" fmla="*/ 310319 w 387702"/>
                <a:gd name="connsiteY509" fmla="*/ 287389 h 290595"/>
                <a:gd name="connsiteX510" fmla="*/ 310561 w 387702"/>
                <a:gd name="connsiteY510" fmla="*/ 286360 h 290595"/>
                <a:gd name="connsiteX511" fmla="*/ 311741 w 387702"/>
                <a:gd name="connsiteY511" fmla="*/ 284848 h 290595"/>
                <a:gd name="connsiteX512" fmla="*/ 314252 w 387702"/>
                <a:gd name="connsiteY512" fmla="*/ 283668 h 290595"/>
                <a:gd name="connsiteX513" fmla="*/ 316521 w 387702"/>
                <a:gd name="connsiteY513" fmla="*/ 284152 h 290595"/>
                <a:gd name="connsiteX514" fmla="*/ 318699 w 387702"/>
                <a:gd name="connsiteY514" fmla="*/ 285150 h 290595"/>
                <a:gd name="connsiteX515" fmla="*/ 320847 w 387702"/>
                <a:gd name="connsiteY515" fmla="*/ 285483 h 290595"/>
                <a:gd name="connsiteX516" fmla="*/ 322117 w 387702"/>
                <a:gd name="connsiteY516" fmla="*/ 284999 h 290595"/>
                <a:gd name="connsiteX517" fmla="*/ 323418 w 387702"/>
                <a:gd name="connsiteY517" fmla="*/ 283396 h 290595"/>
                <a:gd name="connsiteX518" fmla="*/ 324477 w 387702"/>
                <a:gd name="connsiteY518" fmla="*/ 282881 h 290595"/>
                <a:gd name="connsiteX519" fmla="*/ 325566 w 387702"/>
                <a:gd name="connsiteY519" fmla="*/ 283033 h 290595"/>
                <a:gd name="connsiteX520" fmla="*/ 327774 w 387702"/>
                <a:gd name="connsiteY520" fmla="*/ 284273 h 290595"/>
                <a:gd name="connsiteX521" fmla="*/ 328954 w 387702"/>
                <a:gd name="connsiteY521" fmla="*/ 284545 h 290595"/>
                <a:gd name="connsiteX522" fmla="*/ 331344 w 387702"/>
                <a:gd name="connsiteY522" fmla="*/ 283486 h 290595"/>
                <a:gd name="connsiteX523" fmla="*/ 333643 w 387702"/>
                <a:gd name="connsiteY523" fmla="*/ 281217 h 290595"/>
                <a:gd name="connsiteX524" fmla="*/ 334611 w 387702"/>
                <a:gd name="connsiteY524" fmla="*/ 279009 h 290595"/>
                <a:gd name="connsiteX525" fmla="*/ 332917 w 387702"/>
                <a:gd name="connsiteY525" fmla="*/ 278132 h 290595"/>
                <a:gd name="connsiteX526" fmla="*/ 334036 w 387702"/>
                <a:gd name="connsiteY526" fmla="*/ 277133 h 290595"/>
                <a:gd name="connsiteX527" fmla="*/ 334853 w 387702"/>
                <a:gd name="connsiteY527" fmla="*/ 275712 h 290595"/>
                <a:gd name="connsiteX528" fmla="*/ 336124 w 387702"/>
                <a:gd name="connsiteY528" fmla="*/ 272445 h 290595"/>
                <a:gd name="connsiteX529" fmla="*/ 336940 w 387702"/>
                <a:gd name="connsiteY529" fmla="*/ 271567 h 290595"/>
                <a:gd name="connsiteX530" fmla="*/ 337939 w 387702"/>
                <a:gd name="connsiteY530" fmla="*/ 270720 h 290595"/>
                <a:gd name="connsiteX531" fmla="*/ 338483 w 387702"/>
                <a:gd name="connsiteY531" fmla="*/ 269480 h 290595"/>
                <a:gd name="connsiteX532" fmla="*/ 337939 w 387702"/>
                <a:gd name="connsiteY532" fmla="*/ 267453 h 290595"/>
                <a:gd name="connsiteX533" fmla="*/ 337213 w 387702"/>
                <a:gd name="connsiteY533" fmla="*/ 266878 h 290595"/>
                <a:gd name="connsiteX534" fmla="*/ 335186 w 387702"/>
                <a:gd name="connsiteY534" fmla="*/ 266666 h 290595"/>
                <a:gd name="connsiteX535" fmla="*/ 334490 w 387702"/>
                <a:gd name="connsiteY535" fmla="*/ 266182 h 290595"/>
                <a:gd name="connsiteX536" fmla="*/ 334127 w 387702"/>
                <a:gd name="connsiteY536" fmla="*/ 265124 h 290595"/>
                <a:gd name="connsiteX537" fmla="*/ 334278 w 387702"/>
                <a:gd name="connsiteY537" fmla="*/ 264639 h 290595"/>
                <a:gd name="connsiteX538" fmla="*/ 334581 w 387702"/>
                <a:gd name="connsiteY538" fmla="*/ 264186 h 290595"/>
                <a:gd name="connsiteX539" fmla="*/ 334641 w 387702"/>
                <a:gd name="connsiteY539" fmla="*/ 263248 h 290595"/>
                <a:gd name="connsiteX540" fmla="*/ 334793 w 387702"/>
                <a:gd name="connsiteY540" fmla="*/ 262431 h 290595"/>
                <a:gd name="connsiteX541" fmla="*/ 335277 w 387702"/>
                <a:gd name="connsiteY541" fmla="*/ 261947 h 290595"/>
                <a:gd name="connsiteX542" fmla="*/ 335670 w 387702"/>
                <a:gd name="connsiteY542" fmla="*/ 261342 h 290595"/>
                <a:gd name="connsiteX543" fmla="*/ 335579 w 387702"/>
                <a:gd name="connsiteY543" fmla="*/ 260586 h 290595"/>
                <a:gd name="connsiteX544" fmla="*/ 335549 w 387702"/>
                <a:gd name="connsiteY544" fmla="*/ 260253 h 290595"/>
                <a:gd name="connsiteX545" fmla="*/ 334944 w 387702"/>
                <a:gd name="connsiteY545" fmla="*/ 259406 h 290595"/>
                <a:gd name="connsiteX546" fmla="*/ 334278 w 387702"/>
                <a:gd name="connsiteY546" fmla="*/ 259376 h 290595"/>
                <a:gd name="connsiteX547" fmla="*/ 333643 w 387702"/>
                <a:gd name="connsiteY547" fmla="*/ 259557 h 290595"/>
                <a:gd name="connsiteX548" fmla="*/ 333098 w 387702"/>
                <a:gd name="connsiteY548" fmla="*/ 259467 h 290595"/>
                <a:gd name="connsiteX549" fmla="*/ 332494 w 387702"/>
                <a:gd name="connsiteY549" fmla="*/ 259164 h 290595"/>
                <a:gd name="connsiteX550" fmla="*/ 331072 w 387702"/>
                <a:gd name="connsiteY550" fmla="*/ 258771 h 290595"/>
                <a:gd name="connsiteX551" fmla="*/ 330436 w 387702"/>
                <a:gd name="connsiteY551" fmla="*/ 258287 h 290595"/>
                <a:gd name="connsiteX552" fmla="*/ 330467 w 387702"/>
                <a:gd name="connsiteY552" fmla="*/ 257954 h 290595"/>
                <a:gd name="connsiteX553" fmla="*/ 330255 w 387702"/>
                <a:gd name="connsiteY553" fmla="*/ 255957 h 290595"/>
                <a:gd name="connsiteX554" fmla="*/ 330104 w 387702"/>
                <a:gd name="connsiteY554" fmla="*/ 255292 h 290595"/>
                <a:gd name="connsiteX555" fmla="*/ 327714 w 387702"/>
                <a:gd name="connsiteY555" fmla="*/ 250966 h 290595"/>
                <a:gd name="connsiteX556" fmla="*/ 327078 w 387702"/>
                <a:gd name="connsiteY556" fmla="*/ 250058 h 290595"/>
                <a:gd name="connsiteX557" fmla="*/ 325778 w 387702"/>
                <a:gd name="connsiteY557" fmla="*/ 249363 h 290595"/>
                <a:gd name="connsiteX558" fmla="*/ 324689 w 387702"/>
                <a:gd name="connsiteY558" fmla="*/ 249181 h 290595"/>
                <a:gd name="connsiteX559" fmla="*/ 323690 w 387702"/>
                <a:gd name="connsiteY559" fmla="*/ 248727 h 290595"/>
                <a:gd name="connsiteX560" fmla="*/ 322632 w 387702"/>
                <a:gd name="connsiteY560" fmla="*/ 247094 h 290595"/>
                <a:gd name="connsiteX561" fmla="*/ 321996 w 387702"/>
                <a:gd name="connsiteY561" fmla="*/ 245279 h 290595"/>
                <a:gd name="connsiteX562" fmla="*/ 321875 w 387702"/>
                <a:gd name="connsiteY562" fmla="*/ 243585 h 290595"/>
                <a:gd name="connsiteX563" fmla="*/ 322299 w 387702"/>
                <a:gd name="connsiteY563" fmla="*/ 242223 h 290595"/>
                <a:gd name="connsiteX564" fmla="*/ 323509 w 387702"/>
                <a:gd name="connsiteY564" fmla="*/ 241467 h 290595"/>
                <a:gd name="connsiteX565" fmla="*/ 322541 w 387702"/>
                <a:gd name="connsiteY565" fmla="*/ 240650 h 290595"/>
                <a:gd name="connsiteX566" fmla="*/ 322722 w 387702"/>
                <a:gd name="connsiteY566" fmla="*/ 240136 h 290595"/>
                <a:gd name="connsiteX567" fmla="*/ 322904 w 387702"/>
                <a:gd name="connsiteY567" fmla="*/ 239803 h 290595"/>
                <a:gd name="connsiteX568" fmla="*/ 323055 w 387702"/>
                <a:gd name="connsiteY568" fmla="*/ 239349 h 290595"/>
                <a:gd name="connsiteX569" fmla="*/ 323025 w 387702"/>
                <a:gd name="connsiteY569" fmla="*/ 238532 h 290595"/>
                <a:gd name="connsiteX570" fmla="*/ 325687 w 387702"/>
                <a:gd name="connsiteY570" fmla="*/ 238775 h 290595"/>
                <a:gd name="connsiteX571" fmla="*/ 324749 w 387702"/>
                <a:gd name="connsiteY571" fmla="*/ 237474 h 290595"/>
                <a:gd name="connsiteX572" fmla="*/ 322510 w 387702"/>
                <a:gd name="connsiteY572" fmla="*/ 235931 h 290595"/>
                <a:gd name="connsiteX573" fmla="*/ 321331 w 387702"/>
                <a:gd name="connsiteY573" fmla="*/ 235387 h 290595"/>
                <a:gd name="connsiteX574" fmla="*/ 321724 w 387702"/>
                <a:gd name="connsiteY574" fmla="*/ 234025 h 290595"/>
                <a:gd name="connsiteX575" fmla="*/ 325233 w 387702"/>
                <a:gd name="connsiteY575" fmla="*/ 228459 h 290595"/>
                <a:gd name="connsiteX576" fmla="*/ 325626 w 387702"/>
                <a:gd name="connsiteY576" fmla="*/ 227551 h 290595"/>
                <a:gd name="connsiteX577" fmla="*/ 325868 w 387702"/>
                <a:gd name="connsiteY577" fmla="*/ 226825 h 290595"/>
                <a:gd name="connsiteX578" fmla="*/ 326231 w 387702"/>
                <a:gd name="connsiteY578" fmla="*/ 226069 h 290595"/>
                <a:gd name="connsiteX579" fmla="*/ 327018 w 387702"/>
                <a:gd name="connsiteY579" fmla="*/ 225101 h 290595"/>
                <a:gd name="connsiteX580" fmla="*/ 327744 w 387702"/>
                <a:gd name="connsiteY580" fmla="*/ 224677 h 290595"/>
                <a:gd name="connsiteX581" fmla="*/ 329226 w 387702"/>
                <a:gd name="connsiteY581" fmla="*/ 224375 h 290595"/>
                <a:gd name="connsiteX582" fmla="*/ 330073 w 387702"/>
                <a:gd name="connsiteY582" fmla="*/ 223619 h 290595"/>
                <a:gd name="connsiteX583" fmla="*/ 331162 w 387702"/>
                <a:gd name="connsiteY583" fmla="*/ 221652 h 290595"/>
                <a:gd name="connsiteX584" fmla="*/ 330739 w 387702"/>
                <a:gd name="connsiteY584" fmla="*/ 220866 h 290595"/>
                <a:gd name="connsiteX585" fmla="*/ 330043 w 387702"/>
                <a:gd name="connsiteY585" fmla="*/ 220079 h 290595"/>
                <a:gd name="connsiteX586" fmla="*/ 330164 w 387702"/>
                <a:gd name="connsiteY586" fmla="*/ 218082 h 290595"/>
                <a:gd name="connsiteX587" fmla="*/ 330799 w 387702"/>
                <a:gd name="connsiteY587" fmla="*/ 217326 h 290595"/>
                <a:gd name="connsiteX588" fmla="*/ 332826 w 387702"/>
                <a:gd name="connsiteY588" fmla="*/ 216479 h 290595"/>
                <a:gd name="connsiteX589" fmla="*/ 333552 w 387702"/>
                <a:gd name="connsiteY589" fmla="*/ 215784 h 290595"/>
                <a:gd name="connsiteX590" fmla="*/ 333794 w 387702"/>
                <a:gd name="connsiteY590" fmla="*/ 214634 h 290595"/>
                <a:gd name="connsiteX591" fmla="*/ 333794 w 387702"/>
                <a:gd name="connsiteY591" fmla="*/ 213273 h 290595"/>
                <a:gd name="connsiteX592" fmla="*/ 333703 w 387702"/>
                <a:gd name="connsiteY592" fmla="*/ 211639 h 290595"/>
                <a:gd name="connsiteX593" fmla="*/ 334278 w 387702"/>
                <a:gd name="connsiteY593" fmla="*/ 210732 h 290595"/>
                <a:gd name="connsiteX594" fmla="*/ 335761 w 387702"/>
                <a:gd name="connsiteY594" fmla="*/ 209582 h 290595"/>
                <a:gd name="connsiteX595" fmla="*/ 336366 w 387702"/>
                <a:gd name="connsiteY595" fmla="*/ 208735 h 290595"/>
                <a:gd name="connsiteX596" fmla="*/ 336608 w 387702"/>
                <a:gd name="connsiteY596" fmla="*/ 207767 h 290595"/>
                <a:gd name="connsiteX597" fmla="*/ 336819 w 387702"/>
                <a:gd name="connsiteY597" fmla="*/ 205438 h 290595"/>
                <a:gd name="connsiteX598" fmla="*/ 337182 w 387702"/>
                <a:gd name="connsiteY598" fmla="*/ 204530 h 290595"/>
                <a:gd name="connsiteX599" fmla="*/ 338846 w 387702"/>
                <a:gd name="connsiteY599" fmla="*/ 203108 h 290595"/>
                <a:gd name="connsiteX600" fmla="*/ 342597 w 387702"/>
                <a:gd name="connsiteY600" fmla="*/ 201414 h 290595"/>
                <a:gd name="connsiteX601" fmla="*/ 344080 w 387702"/>
                <a:gd name="connsiteY601" fmla="*/ 199992 h 290595"/>
                <a:gd name="connsiteX602" fmla="*/ 344897 w 387702"/>
                <a:gd name="connsiteY602" fmla="*/ 197905 h 290595"/>
                <a:gd name="connsiteX603" fmla="*/ 345290 w 387702"/>
                <a:gd name="connsiteY603" fmla="*/ 195939 h 290595"/>
                <a:gd name="connsiteX604" fmla="*/ 346167 w 387702"/>
                <a:gd name="connsiteY604" fmla="*/ 194608 h 290595"/>
                <a:gd name="connsiteX605" fmla="*/ 348315 w 387702"/>
                <a:gd name="connsiteY605" fmla="*/ 194396 h 290595"/>
                <a:gd name="connsiteX606" fmla="*/ 349858 w 387702"/>
                <a:gd name="connsiteY606" fmla="*/ 193276 h 290595"/>
                <a:gd name="connsiteX607" fmla="*/ 350493 w 387702"/>
                <a:gd name="connsiteY607" fmla="*/ 193912 h 290595"/>
                <a:gd name="connsiteX608" fmla="*/ 350826 w 387702"/>
                <a:gd name="connsiteY608" fmla="*/ 195273 h 290595"/>
                <a:gd name="connsiteX609" fmla="*/ 351431 w 387702"/>
                <a:gd name="connsiteY609" fmla="*/ 196332 h 290595"/>
                <a:gd name="connsiteX610" fmla="*/ 352338 w 387702"/>
                <a:gd name="connsiteY610" fmla="*/ 196725 h 290595"/>
                <a:gd name="connsiteX611" fmla="*/ 352762 w 387702"/>
                <a:gd name="connsiteY611" fmla="*/ 196937 h 290595"/>
                <a:gd name="connsiteX612" fmla="*/ 353911 w 387702"/>
                <a:gd name="connsiteY612" fmla="*/ 197088 h 290595"/>
                <a:gd name="connsiteX613" fmla="*/ 356211 w 387702"/>
                <a:gd name="connsiteY613" fmla="*/ 196755 h 290595"/>
                <a:gd name="connsiteX614" fmla="*/ 357058 w 387702"/>
                <a:gd name="connsiteY614" fmla="*/ 196241 h 290595"/>
                <a:gd name="connsiteX615" fmla="*/ 357723 w 387702"/>
                <a:gd name="connsiteY615" fmla="*/ 195606 h 290595"/>
                <a:gd name="connsiteX616" fmla="*/ 358479 w 387702"/>
                <a:gd name="connsiteY616" fmla="*/ 195515 h 290595"/>
                <a:gd name="connsiteX617" fmla="*/ 359780 w 387702"/>
                <a:gd name="connsiteY617" fmla="*/ 196665 h 290595"/>
                <a:gd name="connsiteX618" fmla="*/ 360234 w 387702"/>
                <a:gd name="connsiteY618" fmla="*/ 197996 h 290595"/>
                <a:gd name="connsiteX619" fmla="*/ 360113 w 387702"/>
                <a:gd name="connsiteY619" fmla="*/ 199357 h 290595"/>
                <a:gd name="connsiteX620" fmla="*/ 360355 w 387702"/>
                <a:gd name="connsiteY620" fmla="*/ 200507 h 290595"/>
                <a:gd name="connsiteX621" fmla="*/ 361837 w 387702"/>
                <a:gd name="connsiteY621" fmla="*/ 201111 h 290595"/>
                <a:gd name="connsiteX622" fmla="*/ 362775 w 387702"/>
                <a:gd name="connsiteY622" fmla="*/ 200113 h 290595"/>
                <a:gd name="connsiteX623" fmla="*/ 363047 w 387702"/>
                <a:gd name="connsiteY623" fmla="*/ 199175 h 290595"/>
                <a:gd name="connsiteX624" fmla="*/ 362684 w 387702"/>
                <a:gd name="connsiteY624" fmla="*/ 198268 h 290595"/>
                <a:gd name="connsiteX625" fmla="*/ 361686 w 387702"/>
                <a:gd name="connsiteY625" fmla="*/ 197512 h 290595"/>
                <a:gd name="connsiteX626" fmla="*/ 361898 w 387702"/>
                <a:gd name="connsiteY626" fmla="*/ 196786 h 290595"/>
                <a:gd name="connsiteX627" fmla="*/ 362231 w 387702"/>
                <a:gd name="connsiteY627" fmla="*/ 195182 h 290595"/>
                <a:gd name="connsiteX628" fmla="*/ 362412 w 387702"/>
                <a:gd name="connsiteY628" fmla="*/ 194698 h 290595"/>
                <a:gd name="connsiteX629" fmla="*/ 363289 w 387702"/>
                <a:gd name="connsiteY629" fmla="*/ 194214 h 290595"/>
                <a:gd name="connsiteX630" fmla="*/ 365286 w 387702"/>
                <a:gd name="connsiteY630" fmla="*/ 194063 h 290595"/>
                <a:gd name="connsiteX631" fmla="*/ 366012 w 387702"/>
                <a:gd name="connsiteY631" fmla="*/ 193639 h 290595"/>
                <a:gd name="connsiteX632" fmla="*/ 366647 w 387702"/>
                <a:gd name="connsiteY632" fmla="*/ 192248 h 290595"/>
                <a:gd name="connsiteX633" fmla="*/ 366708 w 387702"/>
                <a:gd name="connsiteY633" fmla="*/ 190645 h 290595"/>
                <a:gd name="connsiteX634" fmla="*/ 366133 w 387702"/>
                <a:gd name="connsiteY634" fmla="*/ 188981 h 290595"/>
                <a:gd name="connsiteX635" fmla="*/ 364802 w 387702"/>
                <a:gd name="connsiteY635" fmla="*/ 187619 h 290595"/>
                <a:gd name="connsiteX636" fmla="*/ 365831 w 387702"/>
                <a:gd name="connsiteY636" fmla="*/ 186379 h 290595"/>
                <a:gd name="connsiteX637" fmla="*/ 368100 w 387702"/>
                <a:gd name="connsiteY637" fmla="*/ 184897 h 290595"/>
                <a:gd name="connsiteX638" fmla="*/ 369098 w 387702"/>
                <a:gd name="connsiteY638" fmla="*/ 183475 h 290595"/>
                <a:gd name="connsiteX639" fmla="*/ 371185 w 387702"/>
                <a:gd name="connsiteY639" fmla="*/ 182567 h 290595"/>
                <a:gd name="connsiteX640" fmla="*/ 375511 w 387702"/>
                <a:gd name="connsiteY640" fmla="*/ 181448 h 290595"/>
                <a:gd name="connsiteX641" fmla="*/ 377356 w 387702"/>
                <a:gd name="connsiteY641" fmla="*/ 179905 h 290595"/>
                <a:gd name="connsiteX642" fmla="*/ 376933 w 387702"/>
                <a:gd name="connsiteY642" fmla="*/ 178605 h 290595"/>
                <a:gd name="connsiteX643" fmla="*/ 377114 w 387702"/>
                <a:gd name="connsiteY643" fmla="*/ 177153 h 290595"/>
                <a:gd name="connsiteX644" fmla="*/ 377780 w 387702"/>
                <a:gd name="connsiteY644" fmla="*/ 175761 h 290595"/>
                <a:gd name="connsiteX645" fmla="*/ 378778 w 387702"/>
                <a:gd name="connsiteY645" fmla="*/ 174641 h 290595"/>
                <a:gd name="connsiteX646" fmla="*/ 380170 w 387702"/>
                <a:gd name="connsiteY646" fmla="*/ 173915 h 290595"/>
                <a:gd name="connsiteX647" fmla="*/ 381289 w 387702"/>
                <a:gd name="connsiteY647" fmla="*/ 174006 h 290595"/>
                <a:gd name="connsiteX648" fmla="*/ 382408 w 387702"/>
                <a:gd name="connsiteY648" fmla="*/ 174430 h 290595"/>
                <a:gd name="connsiteX649" fmla="*/ 383770 w 387702"/>
                <a:gd name="connsiteY649" fmla="*/ 174641 h 290595"/>
                <a:gd name="connsiteX650" fmla="*/ 386462 w 387702"/>
                <a:gd name="connsiteY650" fmla="*/ 174188 h 290595"/>
                <a:gd name="connsiteX651" fmla="*/ 387702 w 387702"/>
                <a:gd name="connsiteY651" fmla="*/ 172978 h 290595"/>
                <a:gd name="connsiteX652" fmla="*/ 387581 w 387702"/>
                <a:gd name="connsiteY652" fmla="*/ 171859 h 29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Lst>
              <a:rect l="l" t="t" r="r" b="b"/>
              <a:pathLst>
                <a:path w="387702" h="290595">
                  <a:moveTo>
                    <a:pt x="387581" y="171859"/>
                  </a:moveTo>
                  <a:lnTo>
                    <a:pt x="387491" y="170951"/>
                  </a:lnTo>
                  <a:lnTo>
                    <a:pt x="384012" y="165354"/>
                  </a:lnTo>
                  <a:lnTo>
                    <a:pt x="383860" y="163630"/>
                  </a:lnTo>
                  <a:lnTo>
                    <a:pt x="384556" y="161694"/>
                  </a:lnTo>
                  <a:lnTo>
                    <a:pt x="385282" y="158276"/>
                  </a:lnTo>
                  <a:lnTo>
                    <a:pt x="385373" y="155855"/>
                  </a:lnTo>
                  <a:lnTo>
                    <a:pt x="384980" y="155371"/>
                  </a:lnTo>
                  <a:lnTo>
                    <a:pt x="384254" y="155251"/>
                  </a:lnTo>
                  <a:lnTo>
                    <a:pt x="383376" y="153919"/>
                  </a:lnTo>
                  <a:lnTo>
                    <a:pt x="382832" y="152467"/>
                  </a:lnTo>
                  <a:lnTo>
                    <a:pt x="382560" y="151166"/>
                  </a:lnTo>
                  <a:lnTo>
                    <a:pt x="382802" y="149987"/>
                  </a:lnTo>
                  <a:lnTo>
                    <a:pt x="383921" y="148988"/>
                  </a:lnTo>
                  <a:lnTo>
                    <a:pt x="382076" y="148897"/>
                  </a:lnTo>
                  <a:lnTo>
                    <a:pt x="377750" y="147960"/>
                  </a:lnTo>
                  <a:lnTo>
                    <a:pt x="376207" y="147294"/>
                  </a:lnTo>
                  <a:lnTo>
                    <a:pt x="375965" y="147082"/>
                  </a:lnTo>
                  <a:lnTo>
                    <a:pt x="375723" y="147022"/>
                  </a:lnTo>
                  <a:lnTo>
                    <a:pt x="375481" y="147082"/>
                  </a:lnTo>
                  <a:lnTo>
                    <a:pt x="375269" y="147294"/>
                  </a:lnTo>
                  <a:lnTo>
                    <a:pt x="371881" y="148262"/>
                  </a:lnTo>
                  <a:lnTo>
                    <a:pt x="370883" y="148202"/>
                  </a:lnTo>
                  <a:lnTo>
                    <a:pt x="370066" y="147627"/>
                  </a:lnTo>
                  <a:lnTo>
                    <a:pt x="369219" y="145963"/>
                  </a:lnTo>
                  <a:lnTo>
                    <a:pt x="368402" y="145267"/>
                  </a:lnTo>
                  <a:lnTo>
                    <a:pt x="369189" y="144027"/>
                  </a:lnTo>
                  <a:lnTo>
                    <a:pt x="368009" y="143937"/>
                  </a:lnTo>
                  <a:lnTo>
                    <a:pt x="367192" y="143603"/>
                  </a:lnTo>
                  <a:lnTo>
                    <a:pt x="367071" y="142968"/>
                  </a:lnTo>
                  <a:lnTo>
                    <a:pt x="367857" y="141849"/>
                  </a:lnTo>
                  <a:lnTo>
                    <a:pt x="366194" y="139883"/>
                  </a:lnTo>
                  <a:lnTo>
                    <a:pt x="368039" y="137220"/>
                  </a:lnTo>
                  <a:lnTo>
                    <a:pt x="371215" y="134801"/>
                  </a:lnTo>
                  <a:lnTo>
                    <a:pt x="373454" y="133560"/>
                  </a:lnTo>
                  <a:lnTo>
                    <a:pt x="373454" y="133046"/>
                  </a:lnTo>
                  <a:lnTo>
                    <a:pt x="374603" y="131745"/>
                  </a:lnTo>
                  <a:lnTo>
                    <a:pt x="375299" y="130474"/>
                  </a:lnTo>
                  <a:lnTo>
                    <a:pt x="375087" y="129597"/>
                  </a:lnTo>
                  <a:lnTo>
                    <a:pt x="368130" y="129416"/>
                  </a:lnTo>
                  <a:lnTo>
                    <a:pt x="366073" y="128447"/>
                  </a:lnTo>
                  <a:lnTo>
                    <a:pt x="364893" y="126330"/>
                  </a:lnTo>
                  <a:lnTo>
                    <a:pt x="366224" y="125543"/>
                  </a:lnTo>
                  <a:lnTo>
                    <a:pt x="360113" y="116922"/>
                  </a:lnTo>
                  <a:lnTo>
                    <a:pt x="358177" y="115167"/>
                  </a:lnTo>
                  <a:lnTo>
                    <a:pt x="356483" y="115016"/>
                  </a:lnTo>
                  <a:lnTo>
                    <a:pt x="352520" y="116014"/>
                  </a:lnTo>
                  <a:lnTo>
                    <a:pt x="351189" y="115893"/>
                  </a:lnTo>
                  <a:lnTo>
                    <a:pt x="350796" y="114653"/>
                  </a:lnTo>
                  <a:lnTo>
                    <a:pt x="351159" y="113110"/>
                  </a:lnTo>
                  <a:lnTo>
                    <a:pt x="351098" y="111719"/>
                  </a:lnTo>
                  <a:lnTo>
                    <a:pt x="349434" y="110902"/>
                  </a:lnTo>
                  <a:lnTo>
                    <a:pt x="349283" y="110630"/>
                  </a:lnTo>
                  <a:lnTo>
                    <a:pt x="349283" y="110387"/>
                  </a:lnTo>
                  <a:lnTo>
                    <a:pt x="349343" y="110115"/>
                  </a:lnTo>
                  <a:lnTo>
                    <a:pt x="349495" y="109843"/>
                  </a:lnTo>
                  <a:lnTo>
                    <a:pt x="347468" y="110176"/>
                  </a:lnTo>
                  <a:lnTo>
                    <a:pt x="340177" y="109964"/>
                  </a:lnTo>
                  <a:lnTo>
                    <a:pt x="339088" y="109631"/>
                  </a:lnTo>
                  <a:lnTo>
                    <a:pt x="339088" y="109631"/>
                  </a:lnTo>
                  <a:lnTo>
                    <a:pt x="337939" y="109298"/>
                  </a:lnTo>
                  <a:lnTo>
                    <a:pt x="329196" y="109510"/>
                  </a:lnTo>
                  <a:lnTo>
                    <a:pt x="328167" y="108845"/>
                  </a:lnTo>
                  <a:lnTo>
                    <a:pt x="326111" y="106757"/>
                  </a:lnTo>
                  <a:lnTo>
                    <a:pt x="325112" y="106394"/>
                  </a:lnTo>
                  <a:lnTo>
                    <a:pt x="324205" y="107030"/>
                  </a:lnTo>
                  <a:lnTo>
                    <a:pt x="323115" y="108542"/>
                  </a:lnTo>
                  <a:lnTo>
                    <a:pt x="322632" y="109238"/>
                  </a:lnTo>
                  <a:lnTo>
                    <a:pt x="321573" y="109420"/>
                  </a:lnTo>
                  <a:lnTo>
                    <a:pt x="320484" y="109208"/>
                  </a:lnTo>
                  <a:lnTo>
                    <a:pt x="318668" y="108240"/>
                  </a:lnTo>
                  <a:lnTo>
                    <a:pt x="319697" y="104882"/>
                  </a:lnTo>
                  <a:lnTo>
                    <a:pt x="319879" y="103157"/>
                  </a:lnTo>
                  <a:lnTo>
                    <a:pt x="318305" y="102734"/>
                  </a:lnTo>
                  <a:lnTo>
                    <a:pt x="316127" y="101796"/>
                  </a:lnTo>
                  <a:lnTo>
                    <a:pt x="315553" y="101403"/>
                  </a:lnTo>
                  <a:lnTo>
                    <a:pt x="313859" y="100314"/>
                  </a:lnTo>
                  <a:lnTo>
                    <a:pt x="312225" y="98106"/>
                  </a:lnTo>
                  <a:lnTo>
                    <a:pt x="312013" y="94838"/>
                  </a:lnTo>
                  <a:lnTo>
                    <a:pt x="319274" y="87336"/>
                  </a:lnTo>
                  <a:lnTo>
                    <a:pt x="320423" y="86912"/>
                  </a:lnTo>
                  <a:lnTo>
                    <a:pt x="321603" y="86549"/>
                  </a:lnTo>
                  <a:lnTo>
                    <a:pt x="322087" y="86186"/>
                  </a:lnTo>
                  <a:lnTo>
                    <a:pt x="323388" y="84402"/>
                  </a:lnTo>
                  <a:lnTo>
                    <a:pt x="325112" y="80953"/>
                  </a:lnTo>
                  <a:lnTo>
                    <a:pt x="326262" y="79168"/>
                  </a:lnTo>
                  <a:lnTo>
                    <a:pt x="325294" y="78654"/>
                  </a:lnTo>
                  <a:lnTo>
                    <a:pt x="324326" y="78623"/>
                  </a:lnTo>
                  <a:lnTo>
                    <a:pt x="322087" y="79168"/>
                  </a:lnTo>
                  <a:lnTo>
                    <a:pt x="326050" y="73360"/>
                  </a:lnTo>
                  <a:lnTo>
                    <a:pt x="327623" y="69760"/>
                  </a:lnTo>
                  <a:lnTo>
                    <a:pt x="326262" y="68066"/>
                  </a:lnTo>
                  <a:lnTo>
                    <a:pt x="326504" y="66130"/>
                  </a:lnTo>
                  <a:lnTo>
                    <a:pt x="327018" y="64678"/>
                  </a:lnTo>
                  <a:lnTo>
                    <a:pt x="327835" y="64224"/>
                  </a:lnTo>
                  <a:lnTo>
                    <a:pt x="329015" y="65162"/>
                  </a:lnTo>
                  <a:lnTo>
                    <a:pt x="329771" y="64193"/>
                  </a:lnTo>
                  <a:lnTo>
                    <a:pt x="330315" y="63165"/>
                  </a:lnTo>
                  <a:lnTo>
                    <a:pt x="331072" y="61138"/>
                  </a:lnTo>
                  <a:lnTo>
                    <a:pt x="330799" y="60533"/>
                  </a:lnTo>
                  <a:lnTo>
                    <a:pt x="330648" y="60110"/>
                  </a:lnTo>
                  <a:lnTo>
                    <a:pt x="330406" y="59051"/>
                  </a:lnTo>
                  <a:lnTo>
                    <a:pt x="331495" y="59142"/>
                  </a:lnTo>
                  <a:lnTo>
                    <a:pt x="332584" y="58990"/>
                  </a:lnTo>
                  <a:lnTo>
                    <a:pt x="333613" y="58597"/>
                  </a:lnTo>
                  <a:lnTo>
                    <a:pt x="334520" y="58053"/>
                  </a:lnTo>
                  <a:lnTo>
                    <a:pt x="332221" y="55784"/>
                  </a:lnTo>
                  <a:lnTo>
                    <a:pt x="332554" y="54090"/>
                  </a:lnTo>
                  <a:lnTo>
                    <a:pt x="333976" y="52819"/>
                  </a:lnTo>
                  <a:lnTo>
                    <a:pt x="333703" y="52093"/>
                  </a:lnTo>
                  <a:lnTo>
                    <a:pt x="332826" y="50248"/>
                  </a:lnTo>
                  <a:lnTo>
                    <a:pt x="331102" y="50097"/>
                  </a:lnTo>
                  <a:lnTo>
                    <a:pt x="328016" y="50823"/>
                  </a:lnTo>
                  <a:lnTo>
                    <a:pt x="326685" y="49794"/>
                  </a:lnTo>
                  <a:lnTo>
                    <a:pt x="324568" y="47102"/>
                  </a:lnTo>
                  <a:lnTo>
                    <a:pt x="322934" y="46224"/>
                  </a:lnTo>
                  <a:lnTo>
                    <a:pt x="321633" y="46073"/>
                  </a:lnTo>
                  <a:lnTo>
                    <a:pt x="317428" y="46890"/>
                  </a:lnTo>
                  <a:lnTo>
                    <a:pt x="315704" y="46920"/>
                  </a:lnTo>
                  <a:lnTo>
                    <a:pt x="314615" y="46164"/>
                  </a:lnTo>
                  <a:lnTo>
                    <a:pt x="313647" y="45166"/>
                  </a:lnTo>
                  <a:lnTo>
                    <a:pt x="312285" y="44258"/>
                  </a:lnTo>
                  <a:lnTo>
                    <a:pt x="306568" y="42685"/>
                  </a:lnTo>
                  <a:lnTo>
                    <a:pt x="304874" y="41354"/>
                  </a:lnTo>
                  <a:lnTo>
                    <a:pt x="304299" y="40870"/>
                  </a:lnTo>
                  <a:lnTo>
                    <a:pt x="303966" y="37512"/>
                  </a:lnTo>
                  <a:lnTo>
                    <a:pt x="303240" y="34668"/>
                  </a:lnTo>
                  <a:lnTo>
                    <a:pt x="301395" y="32429"/>
                  </a:lnTo>
                  <a:lnTo>
                    <a:pt x="299035" y="31038"/>
                  </a:lnTo>
                  <a:lnTo>
                    <a:pt x="296857" y="30826"/>
                  </a:lnTo>
                  <a:lnTo>
                    <a:pt x="294861" y="31703"/>
                  </a:lnTo>
                  <a:lnTo>
                    <a:pt x="290656" y="34426"/>
                  </a:lnTo>
                  <a:lnTo>
                    <a:pt x="288538" y="35152"/>
                  </a:lnTo>
                  <a:lnTo>
                    <a:pt x="276619" y="34698"/>
                  </a:lnTo>
                  <a:lnTo>
                    <a:pt x="273473" y="35424"/>
                  </a:lnTo>
                  <a:lnTo>
                    <a:pt x="272838" y="35576"/>
                  </a:lnTo>
                  <a:lnTo>
                    <a:pt x="271053" y="35152"/>
                  </a:lnTo>
                  <a:lnTo>
                    <a:pt x="271022" y="29888"/>
                  </a:lnTo>
                  <a:lnTo>
                    <a:pt x="269238" y="27832"/>
                  </a:lnTo>
                  <a:lnTo>
                    <a:pt x="267392" y="27650"/>
                  </a:lnTo>
                  <a:lnTo>
                    <a:pt x="263490" y="27952"/>
                  </a:lnTo>
                  <a:lnTo>
                    <a:pt x="261766" y="27075"/>
                  </a:lnTo>
                  <a:lnTo>
                    <a:pt x="261282" y="26107"/>
                  </a:lnTo>
                  <a:lnTo>
                    <a:pt x="260223" y="22840"/>
                  </a:lnTo>
                  <a:lnTo>
                    <a:pt x="259708" y="21569"/>
                  </a:lnTo>
                  <a:lnTo>
                    <a:pt x="256229" y="18030"/>
                  </a:lnTo>
                  <a:lnTo>
                    <a:pt x="255594" y="16608"/>
                  </a:lnTo>
                  <a:lnTo>
                    <a:pt x="255957" y="13402"/>
                  </a:lnTo>
                  <a:lnTo>
                    <a:pt x="257077" y="11042"/>
                  </a:lnTo>
                  <a:lnTo>
                    <a:pt x="257440" y="8561"/>
                  </a:lnTo>
                  <a:lnTo>
                    <a:pt x="255443" y="5082"/>
                  </a:lnTo>
                  <a:lnTo>
                    <a:pt x="252448" y="3237"/>
                  </a:lnTo>
                  <a:lnTo>
                    <a:pt x="252146" y="2874"/>
                  </a:lnTo>
                  <a:lnTo>
                    <a:pt x="250603" y="3267"/>
                  </a:lnTo>
                  <a:lnTo>
                    <a:pt x="249998" y="4144"/>
                  </a:lnTo>
                  <a:lnTo>
                    <a:pt x="249665" y="5536"/>
                  </a:lnTo>
                  <a:lnTo>
                    <a:pt x="248969" y="7351"/>
                  </a:lnTo>
                  <a:lnTo>
                    <a:pt x="247396" y="9741"/>
                  </a:lnTo>
                  <a:lnTo>
                    <a:pt x="245067" y="12645"/>
                  </a:lnTo>
                  <a:lnTo>
                    <a:pt x="242556" y="14914"/>
                  </a:lnTo>
                  <a:lnTo>
                    <a:pt x="240378" y="15458"/>
                  </a:lnTo>
                  <a:lnTo>
                    <a:pt x="236476" y="13825"/>
                  </a:lnTo>
                  <a:lnTo>
                    <a:pt x="234630" y="13371"/>
                  </a:lnTo>
                  <a:lnTo>
                    <a:pt x="227581" y="13129"/>
                  </a:lnTo>
                  <a:lnTo>
                    <a:pt x="225434" y="12282"/>
                  </a:lnTo>
                  <a:lnTo>
                    <a:pt x="226008" y="10497"/>
                  </a:lnTo>
                  <a:lnTo>
                    <a:pt x="227158" y="10346"/>
                  </a:lnTo>
                  <a:lnTo>
                    <a:pt x="231545" y="12252"/>
                  </a:lnTo>
                  <a:lnTo>
                    <a:pt x="230819" y="9681"/>
                  </a:lnTo>
                  <a:lnTo>
                    <a:pt x="231272" y="7442"/>
                  </a:lnTo>
                  <a:lnTo>
                    <a:pt x="231877" y="5294"/>
                  </a:lnTo>
                  <a:lnTo>
                    <a:pt x="231665" y="3055"/>
                  </a:lnTo>
                  <a:lnTo>
                    <a:pt x="230637" y="1815"/>
                  </a:lnTo>
                  <a:lnTo>
                    <a:pt x="228943" y="787"/>
                  </a:lnTo>
                  <a:lnTo>
                    <a:pt x="227128" y="151"/>
                  </a:lnTo>
                  <a:lnTo>
                    <a:pt x="225645" y="0"/>
                  </a:lnTo>
                  <a:lnTo>
                    <a:pt x="222348" y="1573"/>
                  </a:lnTo>
                  <a:lnTo>
                    <a:pt x="214574" y="10376"/>
                  </a:lnTo>
                  <a:lnTo>
                    <a:pt x="213514" y="11102"/>
                  </a:lnTo>
                  <a:lnTo>
                    <a:pt x="212184" y="11587"/>
                  </a:lnTo>
                  <a:lnTo>
                    <a:pt x="210610" y="11677"/>
                  </a:lnTo>
                  <a:lnTo>
                    <a:pt x="207404" y="10921"/>
                  </a:lnTo>
                  <a:lnTo>
                    <a:pt x="204500" y="11405"/>
                  </a:lnTo>
                  <a:lnTo>
                    <a:pt x="203169" y="11314"/>
                  </a:lnTo>
                  <a:lnTo>
                    <a:pt x="201233" y="10013"/>
                  </a:lnTo>
                  <a:lnTo>
                    <a:pt x="201414" y="8561"/>
                  </a:lnTo>
                  <a:lnTo>
                    <a:pt x="202291" y="6716"/>
                  </a:lnTo>
                  <a:lnTo>
                    <a:pt x="202412" y="4266"/>
                  </a:lnTo>
                  <a:lnTo>
                    <a:pt x="201626" y="3025"/>
                  </a:lnTo>
                  <a:lnTo>
                    <a:pt x="200355" y="2814"/>
                  </a:lnTo>
                  <a:lnTo>
                    <a:pt x="197360" y="3267"/>
                  </a:lnTo>
                  <a:lnTo>
                    <a:pt x="191975" y="5082"/>
                  </a:lnTo>
                  <a:lnTo>
                    <a:pt x="186712" y="7926"/>
                  </a:lnTo>
                  <a:lnTo>
                    <a:pt x="187922" y="9136"/>
                  </a:lnTo>
                  <a:lnTo>
                    <a:pt x="187710" y="10195"/>
                  </a:lnTo>
                  <a:lnTo>
                    <a:pt x="187075" y="11344"/>
                  </a:lnTo>
                  <a:lnTo>
                    <a:pt x="186984" y="12857"/>
                  </a:lnTo>
                  <a:lnTo>
                    <a:pt x="187770" y="14188"/>
                  </a:lnTo>
                  <a:lnTo>
                    <a:pt x="190009" y="16669"/>
                  </a:lnTo>
                  <a:lnTo>
                    <a:pt x="190645" y="18121"/>
                  </a:lnTo>
                  <a:lnTo>
                    <a:pt x="190130" y="20662"/>
                  </a:lnTo>
                  <a:lnTo>
                    <a:pt x="188224" y="21600"/>
                  </a:lnTo>
                  <a:lnTo>
                    <a:pt x="183536" y="21327"/>
                  </a:lnTo>
                  <a:lnTo>
                    <a:pt x="181599" y="20722"/>
                  </a:lnTo>
                  <a:lnTo>
                    <a:pt x="177939" y="18907"/>
                  </a:lnTo>
                  <a:lnTo>
                    <a:pt x="177062" y="18877"/>
                  </a:lnTo>
                  <a:lnTo>
                    <a:pt x="175035" y="18816"/>
                  </a:lnTo>
                  <a:lnTo>
                    <a:pt x="175035" y="18816"/>
                  </a:lnTo>
                  <a:lnTo>
                    <a:pt x="176487" y="20450"/>
                  </a:lnTo>
                  <a:lnTo>
                    <a:pt x="177243" y="21660"/>
                  </a:lnTo>
                  <a:lnTo>
                    <a:pt x="177545" y="23203"/>
                  </a:lnTo>
                  <a:lnTo>
                    <a:pt x="177485" y="26409"/>
                  </a:lnTo>
                  <a:lnTo>
                    <a:pt x="177879" y="27710"/>
                  </a:lnTo>
                  <a:lnTo>
                    <a:pt x="178665" y="28285"/>
                  </a:lnTo>
                  <a:lnTo>
                    <a:pt x="182053" y="29647"/>
                  </a:lnTo>
                  <a:lnTo>
                    <a:pt x="180601" y="32490"/>
                  </a:lnTo>
                  <a:lnTo>
                    <a:pt x="179784" y="33307"/>
                  </a:lnTo>
                  <a:lnTo>
                    <a:pt x="178605" y="33852"/>
                  </a:lnTo>
                  <a:lnTo>
                    <a:pt x="178816" y="33549"/>
                  </a:lnTo>
                  <a:lnTo>
                    <a:pt x="179482" y="32520"/>
                  </a:lnTo>
                  <a:lnTo>
                    <a:pt x="179754" y="31462"/>
                  </a:lnTo>
                  <a:lnTo>
                    <a:pt x="179603" y="30584"/>
                  </a:lnTo>
                  <a:lnTo>
                    <a:pt x="179240" y="29647"/>
                  </a:lnTo>
                  <a:lnTo>
                    <a:pt x="178030" y="28195"/>
                  </a:lnTo>
                  <a:lnTo>
                    <a:pt x="176184" y="26712"/>
                  </a:lnTo>
                  <a:lnTo>
                    <a:pt x="174520" y="24867"/>
                  </a:lnTo>
                  <a:lnTo>
                    <a:pt x="173825" y="22175"/>
                  </a:lnTo>
                  <a:lnTo>
                    <a:pt x="173008" y="20692"/>
                  </a:lnTo>
                  <a:lnTo>
                    <a:pt x="171102" y="19028"/>
                  </a:lnTo>
                  <a:lnTo>
                    <a:pt x="171042" y="18998"/>
                  </a:lnTo>
                  <a:lnTo>
                    <a:pt x="171042" y="18998"/>
                  </a:lnTo>
                  <a:lnTo>
                    <a:pt x="170981" y="19633"/>
                  </a:lnTo>
                  <a:lnTo>
                    <a:pt x="170255" y="23082"/>
                  </a:lnTo>
                  <a:lnTo>
                    <a:pt x="169680" y="24534"/>
                  </a:lnTo>
                  <a:lnTo>
                    <a:pt x="165717" y="29525"/>
                  </a:lnTo>
                  <a:lnTo>
                    <a:pt x="160726" y="33126"/>
                  </a:lnTo>
                  <a:lnTo>
                    <a:pt x="148262" y="38934"/>
                  </a:lnTo>
                  <a:lnTo>
                    <a:pt x="143664" y="42231"/>
                  </a:lnTo>
                  <a:lnTo>
                    <a:pt x="141425" y="42897"/>
                  </a:lnTo>
                  <a:lnTo>
                    <a:pt x="129506" y="43017"/>
                  </a:lnTo>
                  <a:lnTo>
                    <a:pt x="128266" y="42534"/>
                  </a:lnTo>
                  <a:lnTo>
                    <a:pt x="126754" y="40900"/>
                  </a:lnTo>
                  <a:lnTo>
                    <a:pt x="126602" y="39357"/>
                  </a:lnTo>
                  <a:lnTo>
                    <a:pt x="126754" y="37693"/>
                  </a:lnTo>
                  <a:lnTo>
                    <a:pt x="126239" y="35788"/>
                  </a:lnTo>
                  <a:lnTo>
                    <a:pt x="124333" y="34638"/>
                  </a:lnTo>
                  <a:lnTo>
                    <a:pt x="112051" y="30857"/>
                  </a:lnTo>
                  <a:lnTo>
                    <a:pt x="109450" y="30463"/>
                  </a:lnTo>
                  <a:lnTo>
                    <a:pt x="106969" y="30614"/>
                  </a:lnTo>
                  <a:lnTo>
                    <a:pt x="102976" y="31431"/>
                  </a:lnTo>
                  <a:lnTo>
                    <a:pt x="101373" y="31522"/>
                  </a:lnTo>
                  <a:lnTo>
                    <a:pt x="99890" y="31855"/>
                  </a:lnTo>
                  <a:lnTo>
                    <a:pt x="98771" y="32914"/>
                  </a:lnTo>
                  <a:lnTo>
                    <a:pt x="98589" y="34608"/>
                  </a:lnTo>
                  <a:lnTo>
                    <a:pt x="98862" y="36483"/>
                  </a:lnTo>
                  <a:lnTo>
                    <a:pt x="98559" y="37875"/>
                  </a:lnTo>
                  <a:lnTo>
                    <a:pt x="93810" y="38571"/>
                  </a:lnTo>
                  <a:lnTo>
                    <a:pt x="90573" y="38208"/>
                  </a:lnTo>
                  <a:lnTo>
                    <a:pt x="88274" y="37209"/>
                  </a:lnTo>
                  <a:lnTo>
                    <a:pt x="87547" y="36907"/>
                  </a:lnTo>
                  <a:lnTo>
                    <a:pt x="85097" y="34456"/>
                  </a:lnTo>
                  <a:lnTo>
                    <a:pt x="83676" y="30736"/>
                  </a:lnTo>
                  <a:lnTo>
                    <a:pt x="83736" y="27287"/>
                  </a:lnTo>
                  <a:lnTo>
                    <a:pt x="84159" y="23627"/>
                  </a:lnTo>
                  <a:lnTo>
                    <a:pt x="83282" y="17939"/>
                  </a:lnTo>
                  <a:lnTo>
                    <a:pt x="83252" y="17939"/>
                  </a:lnTo>
                  <a:lnTo>
                    <a:pt x="60684" y="24685"/>
                  </a:lnTo>
                  <a:lnTo>
                    <a:pt x="40446" y="36967"/>
                  </a:lnTo>
                  <a:lnTo>
                    <a:pt x="19512" y="48311"/>
                  </a:lnTo>
                  <a:lnTo>
                    <a:pt x="5839" y="57841"/>
                  </a:lnTo>
                  <a:lnTo>
                    <a:pt x="2027" y="58990"/>
                  </a:lnTo>
                  <a:lnTo>
                    <a:pt x="0" y="60382"/>
                  </a:lnTo>
                  <a:lnTo>
                    <a:pt x="0" y="60382"/>
                  </a:lnTo>
                  <a:lnTo>
                    <a:pt x="1543" y="63740"/>
                  </a:lnTo>
                  <a:lnTo>
                    <a:pt x="2541" y="70244"/>
                  </a:lnTo>
                  <a:lnTo>
                    <a:pt x="3540" y="73057"/>
                  </a:lnTo>
                  <a:lnTo>
                    <a:pt x="7139" y="76748"/>
                  </a:lnTo>
                  <a:lnTo>
                    <a:pt x="8712" y="78926"/>
                  </a:lnTo>
                  <a:lnTo>
                    <a:pt x="9045" y="81861"/>
                  </a:lnTo>
                  <a:lnTo>
                    <a:pt x="8471" y="82738"/>
                  </a:lnTo>
                  <a:lnTo>
                    <a:pt x="6141" y="84855"/>
                  </a:lnTo>
                  <a:lnTo>
                    <a:pt x="5566" y="86217"/>
                  </a:lnTo>
                  <a:lnTo>
                    <a:pt x="7533" y="92630"/>
                  </a:lnTo>
                  <a:lnTo>
                    <a:pt x="7442" y="93598"/>
                  </a:lnTo>
                  <a:lnTo>
                    <a:pt x="6655" y="95201"/>
                  </a:lnTo>
                  <a:lnTo>
                    <a:pt x="6534" y="95897"/>
                  </a:lnTo>
                  <a:lnTo>
                    <a:pt x="6867" y="96381"/>
                  </a:lnTo>
                  <a:lnTo>
                    <a:pt x="8077" y="96956"/>
                  </a:lnTo>
                  <a:lnTo>
                    <a:pt x="8531" y="97440"/>
                  </a:lnTo>
                  <a:lnTo>
                    <a:pt x="9408" y="99285"/>
                  </a:lnTo>
                  <a:lnTo>
                    <a:pt x="9923" y="100102"/>
                  </a:lnTo>
                  <a:lnTo>
                    <a:pt x="10679" y="100405"/>
                  </a:lnTo>
                  <a:lnTo>
                    <a:pt x="12161" y="100707"/>
                  </a:lnTo>
                  <a:lnTo>
                    <a:pt x="12978" y="100737"/>
                  </a:lnTo>
                  <a:lnTo>
                    <a:pt x="14854" y="100495"/>
                  </a:lnTo>
                  <a:lnTo>
                    <a:pt x="15791" y="100586"/>
                  </a:lnTo>
                  <a:lnTo>
                    <a:pt x="17122" y="101251"/>
                  </a:lnTo>
                  <a:lnTo>
                    <a:pt x="17636" y="102068"/>
                  </a:lnTo>
                  <a:lnTo>
                    <a:pt x="17939" y="103067"/>
                  </a:lnTo>
                  <a:lnTo>
                    <a:pt x="18605" y="104156"/>
                  </a:lnTo>
                  <a:lnTo>
                    <a:pt x="22356" y="107453"/>
                  </a:lnTo>
                  <a:lnTo>
                    <a:pt x="22930" y="108421"/>
                  </a:lnTo>
                  <a:lnTo>
                    <a:pt x="24292" y="111386"/>
                  </a:lnTo>
                  <a:lnTo>
                    <a:pt x="24806" y="112293"/>
                  </a:lnTo>
                  <a:lnTo>
                    <a:pt x="26682" y="113715"/>
                  </a:lnTo>
                  <a:lnTo>
                    <a:pt x="34729" y="117103"/>
                  </a:lnTo>
                  <a:lnTo>
                    <a:pt x="35182" y="117315"/>
                  </a:lnTo>
                  <a:lnTo>
                    <a:pt x="36756" y="117618"/>
                  </a:lnTo>
                  <a:lnTo>
                    <a:pt x="38056" y="116650"/>
                  </a:lnTo>
                  <a:lnTo>
                    <a:pt x="41112" y="111839"/>
                  </a:lnTo>
                  <a:lnTo>
                    <a:pt x="42927" y="110024"/>
                  </a:lnTo>
                  <a:lnTo>
                    <a:pt x="45256" y="108663"/>
                  </a:lnTo>
                  <a:lnTo>
                    <a:pt x="50520" y="107181"/>
                  </a:lnTo>
                  <a:lnTo>
                    <a:pt x="58536" y="104852"/>
                  </a:lnTo>
                  <a:lnTo>
                    <a:pt x="61138" y="105578"/>
                  </a:lnTo>
                  <a:lnTo>
                    <a:pt x="62832" y="107060"/>
                  </a:lnTo>
                  <a:lnTo>
                    <a:pt x="64526" y="109843"/>
                  </a:lnTo>
                  <a:lnTo>
                    <a:pt x="64526" y="109843"/>
                  </a:lnTo>
                  <a:lnTo>
                    <a:pt x="65918" y="112142"/>
                  </a:lnTo>
                  <a:lnTo>
                    <a:pt x="67158" y="114925"/>
                  </a:lnTo>
                  <a:lnTo>
                    <a:pt x="67945" y="115772"/>
                  </a:lnTo>
                  <a:lnTo>
                    <a:pt x="69367" y="115954"/>
                  </a:lnTo>
                  <a:lnTo>
                    <a:pt x="70728" y="116377"/>
                  </a:lnTo>
                  <a:lnTo>
                    <a:pt x="71514" y="117739"/>
                  </a:lnTo>
                  <a:lnTo>
                    <a:pt x="72664" y="121187"/>
                  </a:lnTo>
                  <a:lnTo>
                    <a:pt x="71272" y="123638"/>
                  </a:lnTo>
                  <a:lnTo>
                    <a:pt x="72059" y="127843"/>
                  </a:lnTo>
                  <a:lnTo>
                    <a:pt x="74721" y="136010"/>
                  </a:lnTo>
                  <a:lnTo>
                    <a:pt x="74872" y="140669"/>
                  </a:lnTo>
                  <a:lnTo>
                    <a:pt x="75417" y="142303"/>
                  </a:lnTo>
                  <a:lnTo>
                    <a:pt x="76990" y="144178"/>
                  </a:lnTo>
                  <a:lnTo>
                    <a:pt x="78321" y="145146"/>
                  </a:lnTo>
                  <a:lnTo>
                    <a:pt x="82707" y="147234"/>
                  </a:lnTo>
                  <a:lnTo>
                    <a:pt x="84462" y="147688"/>
                  </a:lnTo>
                  <a:lnTo>
                    <a:pt x="86912" y="147445"/>
                  </a:lnTo>
                  <a:lnTo>
                    <a:pt x="91329" y="145963"/>
                  </a:lnTo>
                  <a:lnTo>
                    <a:pt x="92690" y="144995"/>
                  </a:lnTo>
                  <a:lnTo>
                    <a:pt x="93689" y="144057"/>
                  </a:lnTo>
                  <a:lnTo>
                    <a:pt x="94717" y="143452"/>
                  </a:lnTo>
                  <a:lnTo>
                    <a:pt x="96139" y="143331"/>
                  </a:lnTo>
                  <a:lnTo>
                    <a:pt x="97591" y="143755"/>
                  </a:lnTo>
                  <a:lnTo>
                    <a:pt x="98257" y="144511"/>
                  </a:lnTo>
                  <a:lnTo>
                    <a:pt x="98075" y="145691"/>
                  </a:lnTo>
                  <a:lnTo>
                    <a:pt x="97107" y="147294"/>
                  </a:lnTo>
                  <a:lnTo>
                    <a:pt x="98347" y="148141"/>
                  </a:lnTo>
                  <a:lnTo>
                    <a:pt x="104852" y="148171"/>
                  </a:lnTo>
                  <a:lnTo>
                    <a:pt x="107120" y="148625"/>
                  </a:lnTo>
                  <a:lnTo>
                    <a:pt x="109329" y="149623"/>
                  </a:lnTo>
                  <a:lnTo>
                    <a:pt x="111325" y="151378"/>
                  </a:lnTo>
                  <a:lnTo>
                    <a:pt x="112959" y="154131"/>
                  </a:lnTo>
                  <a:lnTo>
                    <a:pt x="113806" y="159728"/>
                  </a:lnTo>
                  <a:lnTo>
                    <a:pt x="113836" y="166504"/>
                  </a:lnTo>
                  <a:lnTo>
                    <a:pt x="114714" y="172403"/>
                  </a:lnTo>
                  <a:lnTo>
                    <a:pt x="118253" y="175458"/>
                  </a:lnTo>
                  <a:lnTo>
                    <a:pt x="118646" y="174521"/>
                  </a:lnTo>
                  <a:lnTo>
                    <a:pt x="118797" y="174460"/>
                  </a:lnTo>
                  <a:lnTo>
                    <a:pt x="118979" y="174581"/>
                  </a:lnTo>
                  <a:lnTo>
                    <a:pt x="119402" y="174278"/>
                  </a:lnTo>
                  <a:lnTo>
                    <a:pt x="119674" y="173855"/>
                  </a:lnTo>
                  <a:lnTo>
                    <a:pt x="120128" y="172645"/>
                  </a:lnTo>
                  <a:lnTo>
                    <a:pt x="121943" y="169832"/>
                  </a:lnTo>
                  <a:lnTo>
                    <a:pt x="122760" y="168954"/>
                  </a:lnTo>
                  <a:lnTo>
                    <a:pt x="124122" y="168501"/>
                  </a:lnTo>
                  <a:lnTo>
                    <a:pt x="128508" y="168198"/>
                  </a:lnTo>
                  <a:lnTo>
                    <a:pt x="132683" y="168652"/>
                  </a:lnTo>
                  <a:lnTo>
                    <a:pt x="134770" y="169650"/>
                  </a:lnTo>
                  <a:lnTo>
                    <a:pt x="136494" y="170739"/>
                  </a:lnTo>
                  <a:lnTo>
                    <a:pt x="138279" y="171556"/>
                  </a:lnTo>
                  <a:lnTo>
                    <a:pt x="140578" y="171526"/>
                  </a:lnTo>
                  <a:lnTo>
                    <a:pt x="146961" y="169045"/>
                  </a:lnTo>
                  <a:lnTo>
                    <a:pt x="149109" y="168833"/>
                  </a:lnTo>
                  <a:lnTo>
                    <a:pt x="151046" y="169710"/>
                  </a:lnTo>
                  <a:lnTo>
                    <a:pt x="154373" y="173099"/>
                  </a:lnTo>
                  <a:lnTo>
                    <a:pt x="156521" y="174248"/>
                  </a:lnTo>
                  <a:lnTo>
                    <a:pt x="158608" y="175973"/>
                  </a:lnTo>
                  <a:lnTo>
                    <a:pt x="161361" y="181387"/>
                  </a:lnTo>
                  <a:lnTo>
                    <a:pt x="163206" y="182204"/>
                  </a:lnTo>
                  <a:lnTo>
                    <a:pt x="163963" y="181539"/>
                  </a:lnTo>
                  <a:lnTo>
                    <a:pt x="163812" y="180541"/>
                  </a:lnTo>
                  <a:lnTo>
                    <a:pt x="163872" y="179603"/>
                  </a:lnTo>
                  <a:lnTo>
                    <a:pt x="165142" y="179119"/>
                  </a:lnTo>
                  <a:lnTo>
                    <a:pt x="166050" y="179421"/>
                  </a:lnTo>
                  <a:lnTo>
                    <a:pt x="167381" y="180208"/>
                  </a:lnTo>
                  <a:lnTo>
                    <a:pt x="168652" y="181206"/>
                  </a:lnTo>
                  <a:lnTo>
                    <a:pt x="169257" y="182144"/>
                  </a:lnTo>
                  <a:lnTo>
                    <a:pt x="169015" y="183656"/>
                  </a:lnTo>
                  <a:lnTo>
                    <a:pt x="168017" y="184715"/>
                  </a:lnTo>
                  <a:lnTo>
                    <a:pt x="165657" y="186409"/>
                  </a:lnTo>
                  <a:lnTo>
                    <a:pt x="164598" y="187801"/>
                  </a:lnTo>
                  <a:lnTo>
                    <a:pt x="164144" y="188981"/>
                  </a:lnTo>
                  <a:lnTo>
                    <a:pt x="163600" y="191612"/>
                  </a:lnTo>
                  <a:lnTo>
                    <a:pt x="161663" y="197391"/>
                  </a:lnTo>
                  <a:lnTo>
                    <a:pt x="161422" y="200022"/>
                  </a:lnTo>
                  <a:lnTo>
                    <a:pt x="162843" y="200658"/>
                  </a:lnTo>
                  <a:lnTo>
                    <a:pt x="164840" y="199841"/>
                  </a:lnTo>
                  <a:lnTo>
                    <a:pt x="165929" y="199659"/>
                  </a:lnTo>
                  <a:lnTo>
                    <a:pt x="166928" y="200144"/>
                  </a:lnTo>
                  <a:lnTo>
                    <a:pt x="168621" y="206345"/>
                  </a:lnTo>
                  <a:lnTo>
                    <a:pt x="169226" y="207706"/>
                  </a:lnTo>
                  <a:lnTo>
                    <a:pt x="169922" y="208856"/>
                  </a:lnTo>
                  <a:lnTo>
                    <a:pt x="169892" y="209794"/>
                  </a:lnTo>
                  <a:lnTo>
                    <a:pt x="167472" y="210913"/>
                  </a:lnTo>
                  <a:lnTo>
                    <a:pt x="165142" y="212425"/>
                  </a:lnTo>
                  <a:lnTo>
                    <a:pt x="163297" y="214029"/>
                  </a:lnTo>
                  <a:lnTo>
                    <a:pt x="162571" y="214846"/>
                  </a:lnTo>
                  <a:lnTo>
                    <a:pt x="162087" y="215904"/>
                  </a:lnTo>
                  <a:lnTo>
                    <a:pt x="161663" y="217629"/>
                  </a:lnTo>
                  <a:lnTo>
                    <a:pt x="162148" y="217810"/>
                  </a:lnTo>
                  <a:lnTo>
                    <a:pt x="162692" y="219988"/>
                  </a:lnTo>
                  <a:lnTo>
                    <a:pt x="162813" y="222106"/>
                  </a:lnTo>
                  <a:lnTo>
                    <a:pt x="162087" y="222046"/>
                  </a:lnTo>
                  <a:lnTo>
                    <a:pt x="161997" y="222046"/>
                  </a:lnTo>
                  <a:lnTo>
                    <a:pt x="167654" y="224829"/>
                  </a:lnTo>
                  <a:lnTo>
                    <a:pt x="168984" y="225192"/>
                  </a:lnTo>
                  <a:lnTo>
                    <a:pt x="170497" y="224980"/>
                  </a:lnTo>
                  <a:lnTo>
                    <a:pt x="176699" y="224163"/>
                  </a:lnTo>
                  <a:lnTo>
                    <a:pt x="191794" y="227975"/>
                  </a:lnTo>
                  <a:lnTo>
                    <a:pt x="192550" y="228187"/>
                  </a:lnTo>
                  <a:lnTo>
                    <a:pt x="195515" y="227703"/>
                  </a:lnTo>
                  <a:lnTo>
                    <a:pt x="209552" y="221289"/>
                  </a:lnTo>
                  <a:lnTo>
                    <a:pt x="213757" y="220654"/>
                  </a:lnTo>
                  <a:lnTo>
                    <a:pt x="214846" y="220019"/>
                  </a:lnTo>
                  <a:lnTo>
                    <a:pt x="215753" y="218385"/>
                  </a:lnTo>
                  <a:lnTo>
                    <a:pt x="216479" y="216086"/>
                  </a:lnTo>
                  <a:lnTo>
                    <a:pt x="217235" y="211488"/>
                  </a:lnTo>
                  <a:lnTo>
                    <a:pt x="217145" y="210490"/>
                  </a:lnTo>
                  <a:lnTo>
                    <a:pt x="216752" y="209794"/>
                  </a:lnTo>
                  <a:lnTo>
                    <a:pt x="216540" y="208917"/>
                  </a:lnTo>
                  <a:lnTo>
                    <a:pt x="216812" y="207494"/>
                  </a:lnTo>
                  <a:lnTo>
                    <a:pt x="217387" y="206375"/>
                  </a:lnTo>
                  <a:lnTo>
                    <a:pt x="228126" y="196362"/>
                  </a:lnTo>
                  <a:lnTo>
                    <a:pt x="230819" y="195213"/>
                  </a:lnTo>
                  <a:lnTo>
                    <a:pt x="231272" y="197391"/>
                  </a:lnTo>
                  <a:lnTo>
                    <a:pt x="232422" y="197814"/>
                  </a:lnTo>
                  <a:lnTo>
                    <a:pt x="235568" y="197209"/>
                  </a:lnTo>
                  <a:lnTo>
                    <a:pt x="236506" y="198329"/>
                  </a:lnTo>
                  <a:lnTo>
                    <a:pt x="236354" y="200870"/>
                  </a:lnTo>
                  <a:lnTo>
                    <a:pt x="235810" y="203834"/>
                  </a:lnTo>
                  <a:lnTo>
                    <a:pt x="235598" y="206345"/>
                  </a:lnTo>
                  <a:lnTo>
                    <a:pt x="234509" y="205256"/>
                  </a:lnTo>
                  <a:lnTo>
                    <a:pt x="233904" y="205407"/>
                  </a:lnTo>
                  <a:lnTo>
                    <a:pt x="231998" y="209219"/>
                  </a:lnTo>
                  <a:lnTo>
                    <a:pt x="231877" y="210520"/>
                  </a:lnTo>
                  <a:lnTo>
                    <a:pt x="232028" y="211730"/>
                  </a:lnTo>
                  <a:lnTo>
                    <a:pt x="231938" y="213273"/>
                  </a:lnTo>
                  <a:lnTo>
                    <a:pt x="228096" y="222136"/>
                  </a:lnTo>
                  <a:lnTo>
                    <a:pt x="227642" y="224436"/>
                  </a:lnTo>
                  <a:lnTo>
                    <a:pt x="228973" y="226432"/>
                  </a:lnTo>
                  <a:lnTo>
                    <a:pt x="233753" y="228247"/>
                  </a:lnTo>
                  <a:lnTo>
                    <a:pt x="235326" y="230909"/>
                  </a:lnTo>
                  <a:lnTo>
                    <a:pt x="235507" y="232755"/>
                  </a:lnTo>
                  <a:lnTo>
                    <a:pt x="235235" y="233995"/>
                  </a:lnTo>
                  <a:lnTo>
                    <a:pt x="234721" y="235175"/>
                  </a:lnTo>
                  <a:lnTo>
                    <a:pt x="234176" y="236960"/>
                  </a:lnTo>
                  <a:lnTo>
                    <a:pt x="233844" y="237686"/>
                  </a:lnTo>
                  <a:lnTo>
                    <a:pt x="232966" y="238654"/>
                  </a:lnTo>
                  <a:lnTo>
                    <a:pt x="232785" y="239531"/>
                  </a:lnTo>
                  <a:lnTo>
                    <a:pt x="232966" y="240257"/>
                  </a:lnTo>
                  <a:lnTo>
                    <a:pt x="233964" y="241739"/>
                  </a:lnTo>
                  <a:lnTo>
                    <a:pt x="234207" y="242586"/>
                  </a:lnTo>
                  <a:lnTo>
                    <a:pt x="234207" y="247941"/>
                  </a:lnTo>
                  <a:lnTo>
                    <a:pt x="235084" y="249060"/>
                  </a:lnTo>
                  <a:lnTo>
                    <a:pt x="237746" y="249393"/>
                  </a:lnTo>
                  <a:lnTo>
                    <a:pt x="239984" y="249060"/>
                  </a:lnTo>
                  <a:lnTo>
                    <a:pt x="244341" y="247638"/>
                  </a:lnTo>
                  <a:lnTo>
                    <a:pt x="246216" y="247548"/>
                  </a:lnTo>
                  <a:lnTo>
                    <a:pt x="246458" y="247548"/>
                  </a:lnTo>
                  <a:lnTo>
                    <a:pt x="248273" y="248485"/>
                  </a:lnTo>
                  <a:lnTo>
                    <a:pt x="252024" y="251873"/>
                  </a:lnTo>
                  <a:lnTo>
                    <a:pt x="254051" y="252932"/>
                  </a:lnTo>
                  <a:lnTo>
                    <a:pt x="257621" y="253870"/>
                  </a:lnTo>
                  <a:lnTo>
                    <a:pt x="258831" y="254929"/>
                  </a:lnTo>
                  <a:lnTo>
                    <a:pt x="263097" y="260646"/>
                  </a:lnTo>
                  <a:lnTo>
                    <a:pt x="264609" y="261977"/>
                  </a:lnTo>
                  <a:lnTo>
                    <a:pt x="266424" y="263248"/>
                  </a:lnTo>
                  <a:lnTo>
                    <a:pt x="268754" y="263883"/>
                  </a:lnTo>
                  <a:lnTo>
                    <a:pt x="273291" y="262703"/>
                  </a:lnTo>
                  <a:lnTo>
                    <a:pt x="275469" y="262643"/>
                  </a:lnTo>
                  <a:lnTo>
                    <a:pt x="277587" y="264579"/>
                  </a:lnTo>
                  <a:lnTo>
                    <a:pt x="279523" y="266757"/>
                  </a:lnTo>
                  <a:lnTo>
                    <a:pt x="280219" y="268905"/>
                  </a:lnTo>
                  <a:lnTo>
                    <a:pt x="279765" y="269419"/>
                  </a:lnTo>
                  <a:lnTo>
                    <a:pt x="278948" y="269903"/>
                  </a:lnTo>
                  <a:lnTo>
                    <a:pt x="278646" y="271900"/>
                  </a:lnTo>
                  <a:lnTo>
                    <a:pt x="278888" y="273231"/>
                  </a:lnTo>
                  <a:lnTo>
                    <a:pt x="279372" y="273775"/>
                  </a:lnTo>
                  <a:lnTo>
                    <a:pt x="281036" y="274078"/>
                  </a:lnTo>
                  <a:lnTo>
                    <a:pt x="281762" y="273897"/>
                  </a:lnTo>
                  <a:lnTo>
                    <a:pt x="282276" y="273171"/>
                  </a:lnTo>
                  <a:lnTo>
                    <a:pt x="282700" y="272384"/>
                  </a:lnTo>
                  <a:lnTo>
                    <a:pt x="283093" y="271991"/>
                  </a:lnTo>
                  <a:lnTo>
                    <a:pt x="283728" y="272082"/>
                  </a:lnTo>
                  <a:lnTo>
                    <a:pt x="284848" y="272747"/>
                  </a:lnTo>
                  <a:lnTo>
                    <a:pt x="287963" y="273775"/>
                  </a:lnTo>
                  <a:lnTo>
                    <a:pt x="288750" y="274411"/>
                  </a:lnTo>
                  <a:lnTo>
                    <a:pt x="289839" y="275318"/>
                  </a:lnTo>
                  <a:lnTo>
                    <a:pt x="294679" y="283396"/>
                  </a:lnTo>
                  <a:lnTo>
                    <a:pt x="295103" y="284696"/>
                  </a:lnTo>
                  <a:lnTo>
                    <a:pt x="295103" y="286179"/>
                  </a:lnTo>
                  <a:lnTo>
                    <a:pt x="294770" y="287510"/>
                  </a:lnTo>
                  <a:lnTo>
                    <a:pt x="294649" y="288810"/>
                  </a:lnTo>
                  <a:lnTo>
                    <a:pt x="295284" y="290081"/>
                  </a:lnTo>
                  <a:lnTo>
                    <a:pt x="297462" y="290595"/>
                  </a:lnTo>
                  <a:lnTo>
                    <a:pt x="300064" y="289204"/>
                  </a:lnTo>
                  <a:lnTo>
                    <a:pt x="302605" y="287358"/>
                  </a:lnTo>
                  <a:lnTo>
                    <a:pt x="304511" y="286572"/>
                  </a:lnTo>
                  <a:lnTo>
                    <a:pt x="307657" y="287933"/>
                  </a:lnTo>
                  <a:lnTo>
                    <a:pt x="308504" y="288145"/>
                  </a:lnTo>
                  <a:lnTo>
                    <a:pt x="309986" y="287964"/>
                  </a:lnTo>
                  <a:lnTo>
                    <a:pt x="310319" y="287389"/>
                  </a:lnTo>
                  <a:lnTo>
                    <a:pt x="310561" y="286360"/>
                  </a:lnTo>
                  <a:lnTo>
                    <a:pt x="311741" y="284848"/>
                  </a:lnTo>
                  <a:lnTo>
                    <a:pt x="314252" y="283668"/>
                  </a:lnTo>
                  <a:lnTo>
                    <a:pt x="316521" y="284152"/>
                  </a:lnTo>
                  <a:lnTo>
                    <a:pt x="318699" y="285150"/>
                  </a:lnTo>
                  <a:lnTo>
                    <a:pt x="320847" y="285483"/>
                  </a:lnTo>
                  <a:lnTo>
                    <a:pt x="322117" y="284999"/>
                  </a:lnTo>
                  <a:lnTo>
                    <a:pt x="323418" y="283396"/>
                  </a:lnTo>
                  <a:lnTo>
                    <a:pt x="324477" y="282881"/>
                  </a:lnTo>
                  <a:lnTo>
                    <a:pt x="325566" y="283033"/>
                  </a:lnTo>
                  <a:lnTo>
                    <a:pt x="327774" y="284273"/>
                  </a:lnTo>
                  <a:lnTo>
                    <a:pt x="328954" y="284545"/>
                  </a:lnTo>
                  <a:lnTo>
                    <a:pt x="331344" y="283486"/>
                  </a:lnTo>
                  <a:lnTo>
                    <a:pt x="333643" y="281217"/>
                  </a:lnTo>
                  <a:lnTo>
                    <a:pt x="334611" y="279009"/>
                  </a:lnTo>
                  <a:lnTo>
                    <a:pt x="332917" y="278132"/>
                  </a:lnTo>
                  <a:lnTo>
                    <a:pt x="334036" y="277133"/>
                  </a:lnTo>
                  <a:lnTo>
                    <a:pt x="334853" y="275712"/>
                  </a:lnTo>
                  <a:lnTo>
                    <a:pt x="336124" y="272445"/>
                  </a:lnTo>
                  <a:lnTo>
                    <a:pt x="336940" y="271567"/>
                  </a:lnTo>
                  <a:lnTo>
                    <a:pt x="337939" y="270720"/>
                  </a:lnTo>
                  <a:lnTo>
                    <a:pt x="338483" y="269480"/>
                  </a:lnTo>
                  <a:lnTo>
                    <a:pt x="337939" y="267453"/>
                  </a:lnTo>
                  <a:lnTo>
                    <a:pt x="337213" y="266878"/>
                  </a:lnTo>
                  <a:lnTo>
                    <a:pt x="335186" y="266666"/>
                  </a:lnTo>
                  <a:lnTo>
                    <a:pt x="334490" y="266182"/>
                  </a:lnTo>
                  <a:lnTo>
                    <a:pt x="334127" y="265124"/>
                  </a:lnTo>
                  <a:lnTo>
                    <a:pt x="334278" y="264639"/>
                  </a:lnTo>
                  <a:lnTo>
                    <a:pt x="334581" y="264186"/>
                  </a:lnTo>
                  <a:lnTo>
                    <a:pt x="334641" y="263248"/>
                  </a:lnTo>
                  <a:lnTo>
                    <a:pt x="334793" y="262431"/>
                  </a:lnTo>
                  <a:lnTo>
                    <a:pt x="335277" y="261947"/>
                  </a:lnTo>
                  <a:lnTo>
                    <a:pt x="335670" y="261342"/>
                  </a:lnTo>
                  <a:lnTo>
                    <a:pt x="335579" y="260586"/>
                  </a:lnTo>
                  <a:lnTo>
                    <a:pt x="335549" y="260253"/>
                  </a:lnTo>
                  <a:lnTo>
                    <a:pt x="334944" y="259406"/>
                  </a:lnTo>
                  <a:lnTo>
                    <a:pt x="334278" y="259376"/>
                  </a:lnTo>
                  <a:lnTo>
                    <a:pt x="333643" y="259557"/>
                  </a:lnTo>
                  <a:lnTo>
                    <a:pt x="333098" y="259467"/>
                  </a:lnTo>
                  <a:lnTo>
                    <a:pt x="332494" y="259164"/>
                  </a:lnTo>
                  <a:lnTo>
                    <a:pt x="331072" y="258771"/>
                  </a:lnTo>
                  <a:lnTo>
                    <a:pt x="330436" y="258287"/>
                  </a:lnTo>
                  <a:lnTo>
                    <a:pt x="330467" y="257954"/>
                  </a:lnTo>
                  <a:lnTo>
                    <a:pt x="330255" y="255957"/>
                  </a:lnTo>
                  <a:lnTo>
                    <a:pt x="330104" y="255292"/>
                  </a:lnTo>
                  <a:lnTo>
                    <a:pt x="327714" y="250966"/>
                  </a:lnTo>
                  <a:lnTo>
                    <a:pt x="327078" y="250058"/>
                  </a:lnTo>
                  <a:lnTo>
                    <a:pt x="325778" y="249363"/>
                  </a:lnTo>
                  <a:lnTo>
                    <a:pt x="324689" y="249181"/>
                  </a:lnTo>
                  <a:lnTo>
                    <a:pt x="323690" y="248727"/>
                  </a:lnTo>
                  <a:lnTo>
                    <a:pt x="322632" y="247094"/>
                  </a:lnTo>
                  <a:lnTo>
                    <a:pt x="321996" y="245279"/>
                  </a:lnTo>
                  <a:lnTo>
                    <a:pt x="321875" y="243585"/>
                  </a:lnTo>
                  <a:lnTo>
                    <a:pt x="322299" y="242223"/>
                  </a:lnTo>
                  <a:lnTo>
                    <a:pt x="323509" y="241467"/>
                  </a:lnTo>
                  <a:lnTo>
                    <a:pt x="322541" y="240650"/>
                  </a:lnTo>
                  <a:lnTo>
                    <a:pt x="322722" y="240136"/>
                  </a:lnTo>
                  <a:lnTo>
                    <a:pt x="322904" y="239803"/>
                  </a:lnTo>
                  <a:lnTo>
                    <a:pt x="323055" y="239349"/>
                  </a:lnTo>
                  <a:lnTo>
                    <a:pt x="323025" y="238532"/>
                  </a:lnTo>
                  <a:lnTo>
                    <a:pt x="325687" y="238775"/>
                  </a:lnTo>
                  <a:lnTo>
                    <a:pt x="324749" y="237474"/>
                  </a:lnTo>
                  <a:lnTo>
                    <a:pt x="322510" y="235931"/>
                  </a:lnTo>
                  <a:lnTo>
                    <a:pt x="321331" y="235387"/>
                  </a:lnTo>
                  <a:lnTo>
                    <a:pt x="321724" y="234025"/>
                  </a:lnTo>
                  <a:lnTo>
                    <a:pt x="325233" y="228459"/>
                  </a:lnTo>
                  <a:lnTo>
                    <a:pt x="325626" y="227551"/>
                  </a:lnTo>
                  <a:lnTo>
                    <a:pt x="325868" y="226825"/>
                  </a:lnTo>
                  <a:lnTo>
                    <a:pt x="326231" y="226069"/>
                  </a:lnTo>
                  <a:lnTo>
                    <a:pt x="327018" y="225101"/>
                  </a:lnTo>
                  <a:lnTo>
                    <a:pt x="327744" y="224677"/>
                  </a:lnTo>
                  <a:lnTo>
                    <a:pt x="329226" y="224375"/>
                  </a:lnTo>
                  <a:lnTo>
                    <a:pt x="330073" y="223619"/>
                  </a:lnTo>
                  <a:lnTo>
                    <a:pt x="331162" y="221652"/>
                  </a:lnTo>
                  <a:lnTo>
                    <a:pt x="330739" y="220866"/>
                  </a:lnTo>
                  <a:lnTo>
                    <a:pt x="330043" y="220079"/>
                  </a:lnTo>
                  <a:lnTo>
                    <a:pt x="330164" y="218082"/>
                  </a:lnTo>
                  <a:lnTo>
                    <a:pt x="330799" y="217326"/>
                  </a:lnTo>
                  <a:lnTo>
                    <a:pt x="332826" y="216479"/>
                  </a:lnTo>
                  <a:lnTo>
                    <a:pt x="333552" y="215784"/>
                  </a:lnTo>
                  <a:lnTo>
                    <a:pt x="333794" y="214634"/>
                  </a:lnTo>
                  <a:lnTo>
                    <a:pt x="333794" y="213273"/>
                  </a:lnTo>
                  <a:lnTo>
                    <a:pt x="333703" y="211639"/>
                  </a:lnTo>
                  <a:lnTo>
                    <a:pt x="334278" y="210732"/>
                  </a:lnTo>
                  <a:lnTo>
                    <a:pt x="335761" y="209582"/>
                  </a:lnTo>
                  <a:lnTo>
                    <a:pt x="336366" y="208735"/>
                  </a:lnTo>
                  <a:lnTo>
                    <a:pt x="336608" y="207767"/>
                  </a:lnTo>
                  <a:lnTo>
                    <a:pt x="336819" y="205438"/>
                  </a:lnTo>
                  <a:lnTo>
                    <a:pt x="337182" y="204530"/>
                  </a:lnTo>
                  <a:lnTo>
                    <a:pt x="338846" y="203108"/>
                  </a:lnTo>
                  <a:lnTo>
                    <a:pt x="342597" y="201414"/>
                  </a:lnTo>
                  <a:lnTo>
                    <a:pt x="344080" y="199992"/>
                  </a:lnTo>
                  <a:lnTo>
                    <a:pt x="344897" y="197905"/>
                  </a:lnTo>
                  <a:lnTo>
                    <a:pt x="345290" y="195939"/>
                  </a:lnTo>
                  <a:lnTo>
                    <a:pt x="346167" y="194608"/>
                  </a:lnTo>
                  <a:lnTo>
                    <a:pt x="348315" y="194396"/>
                  </a:lnTo>
                  <a:lnTo>
                    <a:pt x="349858" y="193276"/>
                  </a:lnTo>
                  <a:lnTo>
                    <a:pt x="350493" y="193912"/>
                  </a:lnTo>
                  <a:lnTo>
                    <a:pt x="350826" y="195273"/>
                  </a:lnTo>
                  <a:lnTo>
                    <a:pt x="351431" y="196332"/>
                  </a:lnTo>
                  <a:lnTo>
                    <a:pt x="352338" y="196725"/>
                  </a:lnTo>
                  <a:lnTo>
                    <a:pt x="352762" y="196937"/>
                  </a:lnTo>
                  <a:lnTo>
                    <a:pt x="353911" y="197088"/>
                  </a:lnTo>
                  <a:lnTo>
                    <a:pt x="356211" y="196755"/>
                  </a:lnTo>
                  <a:lnTo>
                    <a:pt x="357058" y="196241"/>
                  </a:lnTo>
                  <a:lnTo>
                    <a:pt x="357723" y="195606"/>
                  </a:lnTo>
                  <a:lnTo>
                    <a:pt x="358479" y="195515"/>
                  </a:lnTo>
                  <a:lnTo>
                    <a:pt x="359780" y="196665"/>
                  </a:lnTo>
                  <a:lnTo>
                    <a:pt x="360234" y="197996"/>
                  </a:lnTo>
                  <a:lnTo>
                    <a:pt x="360113" y="199357"/>
                  </a:lnTo>
                  <a:lnTo>
                    <a:pt x="360355" y="200507"/>
                  </a:lnTo>
                  <a:lnTo>
                    <a:pt x="361837" y="201111"/>
                  </a:lnTo>
                  <a:lnTo>
                    <a:pt x="362775" y="200113"/>
                  </a:lnTo>
                  <a:lnTo>
                    <a:pt x="363047" y="199175"/>
                  </a:lnTo>
                  <a:lnTo>
                    <a:pt x="362684" y="198268"/>
                  </a:lnTo>
                  <a:lnTo>
                    <a:pt x="361686" y="197512"/>
                  </a:lnTo>
                  <a:lnTo>
                    <a:pt x="361898" y="196786"/>
                  </a:lnTo>
                  <a:lnTo>
                    <a:pt x="362231" y="195182"/>
                  </a:lnTo>
                  <a:lnTo>
                    <a:pt x="362412" y="194698"/>
                  </a:lnTo>
                  <a:lnTo>
                    <a:pt x="363289" y="194214"/>
                  </a:lnTo>
                  <a:lnTo>
                    <a:pt x="365286" y="194063"/>
                  </a:lnTo>
                  <a:lnTo>
                    <a:pt x="366012" y="193639"/>
                  </a:lnTo>
                  <a:lnTo>
                    <a:pt x="366647" y="192248"/>
                  </a:lnTo>
                  <a:lnTo>
                    <a:pt x="366708" y="190645"/>
                  </a:lnTo>
                  <a:lnTo>
                    <a:pt x="366133" y="188981"/>
                  </a:lnTo>
                  <a:lnTo>
                    <a:pt x="364802" y="187619"/>
                  </a:lnTo>
                  <a:lnTo>
                    <a:pt x="365831" y="186379"/>
                  </a:lnTo>
                  <a:lnTo>
                    <a:pt x="368100" y="184897"/>
                  </a:lnTo>
                  <a:lnTo>
                    <a:pt x="369098" y="183475"/>
                  </a:lnTo>
                  <a:lnTo>
                    <a:pt x="371185" y="182567"/>
                  </a:lnTo>
                  <a:lnTo>
                    <a:pt x="375511" y="181448"/>
                  </a:lnTo>
                  <a:lnTo>
                    <a:pt x="377356" y="179905"/>
                  </a:lnTo>
                  <a:lnTo>
                    <a:pt x="376933" y="178605"/>
                  </a:lnTo>
                  <a:lnTo>
                    <a:pt x="377114" y="177153"/>
                  </a:lnTo>
                  <a:lnTo>
                    <a:pt x="377780" y="175761"/>
                  </a:lnTo>
                  <a:lnTo>
                    <a:pt x="378778" y="174641"/>
                  </a:lnTo>
                  <a:lnTo>
                    <a:pt x="380170" y="173915"/>
                  </a:lnTo>
                  <a:lnTo>
                    <a:pt x="381289" y="174006"/>
                  </a:lnTo>
                  <a:lnTo>
                    <a:pt x="382408" y="174430"/>
                  </a:lnTo>
                  <a:lnTo>
                    <a:pt x="383770" y="174641"/>
                  </a:lnTo>
                  <a:lnTo>
                    <a:pt x="386462" y="174188"/>
                  </a:lnTo>
                  <a:lnTo>
                    <a:pt x="387702" y="172978"/>
                  </a:lnTo>
                  <a:lnTo>
                    <a:pt x="387581" y="171859"/>
                  </a:lnTo>
                  <a:close/>
                </a:path>
              </a:pathLst>
            </a:custGeom>
            <a:solidFill>
              <a:srgbClr val="96A3AC"/>
            </a:solidFill>
            <a:ln w="3175" cap="rnd">
              <a:solidFill>
                <a:schemeClr val="bg1"/>
              </a:solidFill>
              <a:prstDash val="solid"/>
              <a:round/>
            </a:ln>
          </p:spPr>
          <p:txBody>
            <a:bodyPr rtlCol="0" anchor="ctr"/>
            <a:lstStyle/>
            <a:p>
              <a:endParaRPr lang="en-ID"/>
            </a:p>
          </p:txBody>
        </p:sp>
        <p:sp>
          <p:nvSpPr>
            <p:cNvPr id="63" name="Freeform: Shape 62">
              <a:extLst>
                <a:ext uri="{FF2B5EF4-FFF2-40B4-BE49-F238E27FC236}">
                  <a16:creationId xmlns:a16="http://schemas.microsoft.com/office/drawing/2014/main" id="{105134EB-FBE1-DFE8-1885-4E5EE5C147F5}"/>
                </a:ext>
              </a:extLst>
            </p:cNvPr>
            <p:cNvSpPr/>
            <p:nvPr/>
          </p:nvSpPr>
          <p:spPr>
            <a:xfrm>
              <a:off x="9968840" y="3314481"/>
              <a:ext cx="747277" cy="597846"/>
            </a:xfrm>
            <a:custGeom>
              <a:avLst/>
              <a:gdLst>
                <a:gd name="connsiteX0" fmla="*/ 961390 w 961390"/>
                <a:gd name="connsiteY0" fmla="*/ 435772 h 769142"/>
                <a:gd name="connsiteX1" fmla="*/ 959545 w 961390"/>
                <a:gd name="connsiteY1" fmla="*/ 432263 h 769142"/>
                <a:gd name="connsiteX2" fmla="*/ 958275 w 961390"/>
                <a:gd name="connsiteY2" fmla="*/ 432263 h 769142"/>
                <a:gd name="connsiteX3" fmla="*/ 955220 w 961390"/>
                <a:gd name="connsiteY3" fmla="*/ 433261 h 769142"/>
                <a:gd name="connsiteX4" fmla="*/ 954070 w 961390"/>
                <a:gd name="connsiteY4" fmla="*/ 432928 h 769142"/>
                <a:gd name="connsiteX5" fmla="*/ 953556 w 961390"/>
                <a:gd name="connsiteY5" fmla="*/ 431204 h 769142"/>
                <a:gd name="connsiteX6" fmla="*/ 954161 w 961390"/>
                <a:gd name="connsiteY6" fmla="*/ 429601 h 769142"/>
                <a:gd name="connsiteX7" fmla="*/ 954433 w 961390"/>
                <a:gd name="connsiteY7" fmla="*/ 428300 h 769142"/>
                <a:gd name="connsiteX8" fmla="*/ 952951 w 961390"/>
                <a:gd name="connsiteY8" fmla="*/ 427513 h 769142"/>
                <a:gd name="connsiteX9" fmla="*/ 951196 w 961390"/>
                <a:gd name="connsiteY9" fmla="*/ 427271 h 769142"/>
                <a:gd name="connsiteX10" fmla="*/ 949411 w 961390"/>
                <a:gd name="connsiteY10" fmla="*/ 427574 h 769142"/>
                <a:gd name="connsiteX11" fmla="*/ 948594 w 961390"/>
                <a:gd name="connsiteY11" fmla="*/ 428481 h 769142"/>
                <a:gd name="connsiteX12" fmla="*/ 947777 w 961390"/>
                <a:gd name="connsiteY12" fmla="*/ 428814 h 769142"/>
                <a:gd name="connsiteX13" fmla="*/ 947021 w 961390"/>
                <a:gd name="connsiteY13" fmla="*/ 428542 h 769142"/>
                <a:gd name="connsiteX14" fmla="*/ 946325 w 961390"/>
                <a:gd name="connsiteY14" fmla="*/ 427574 h 769142"/>
                <a:gd name="connsiteX15" fmla="*/ 946325 w 961390"/>
                <a:gd name="connsiteY15" fmla="*/ 427543 h 769142"/>
                <a:gd name="connsiteX16" fmla="*/ 944782 w 961390"/>
                <a:gd name="connsiteY16" fmla="*/ 424700 h 769142"/>
                <a:gd name="connsiteX17" fmla="*/ 942393 w 961390"/>
                <a:gd name="connsiteY17" fmla="*/ 423036 h 769142"/>
                <a:gd name="connsiteX18" fmla="*/ 937341 w 961390"/>
                <a:gd name="connsiteY18" fmla="*/ 420828 h 769142"/>
                <a:gd name="connsiteX19" fmla="*/ 934558 w 961390"/>
                <a:gd name="connsiteY19" fmla="*/ 419164 h 769142"/>
                <a:gd name="connsiteX20" fmla="*/ 932198 w 961390"/>
                <a:gd name="connsiteY20" fmla="*/ 416804 h 769142"/>
                <a:gd name="connsiteX21" fmla="*/ 930383 w 961390"/>
                <a:gd name="connsiteY21" fmla="*/ 413567 h 769142"/>
                <a:gd name="connsiteX22" fmla="*/ 929355 w 961390"/>
                <a:gd name="connsiteY22" fmla="*/ 409302 h 769142"/>
                <a:gd name="connsiteX23" fmla="*/ 929021 w 961390"/>
                <a:gd name="connsiteY23" fmla="*/ 406579 h 769142"/>
                <a:gd name="connsiteX24" fmla="*/ 929143 w 961390"/>
                <a:gd name="connsiteY24" fmla="*/ 405309 h 769142"/>
                <a:gd name="connsiteX25" fmla="*/ 929838 w 961390"/>
                <a:gd name="connsiteY25" fmla="*/ 404704 h 769142"/>
                <a:gd name="connsiteX26" fmla="*/ 937341 w 961390"/>
                <a:gd name="connsiteY26" fmla="*/ 401104 h 769142"/>
                <a:gd name="connsiteX27" fmla="*/ 938067 w 961390"/>
                <a:gd name="connsiteY27" fmla="*/ 399984 h 769142"/>
                <a:gd name="connsiteX28" fmla="*/ 938309 w 961390"/>
                <a:gd name="connsiteY28" fmla="*/ 398805 h 769142"/>
                <a:gd name="connsiteX29" fmla="*/ 938067 w 961390"/>
                <a:gd name="connsiteY29" fmla="*/ 397625 h 769142"/>
                <a:gd name="connsiteX30" fmla="*/ 937341 w 961390"/>
                <a:gd name="connsiteY30" fmla="*/ 396475 h 769142"/>
                <a:gd name="connsiteX31" fmla="*/ 935435 w 961390"/>
                <a:gd name="connsiteY31" fmla="*/ 394176 h 769142"/>
                <a:gd name="connsiteX32" fmla="*/ 933468 w 961390"/>
                <a:gd name="connsiteY32" fmla="*/ 393057 h 769142"/>
                <a:gd name="connsiteX33" fmla="*/ 931411 w 961390"/>
                <a:gd name="connsiteY33" fmla="*/ 392785 h 769142"/>
                <a:gd name="connsiteX34" fmla="*/ 926390 w 961390"/>
                <a:gd name="connsiteY34" fmla="*/ 392996 h 769142"/>
                <a:gd name="connsiteX35" fmla="*/ 924938 w 961390"/>
                <a:gd name="connsiteY35" fmla="*/ 392180 h 769142"/>
                <a:gd name="connsiteX36" fmla="*/ 921761 w 961390"/>
                <a:gd name="connsiteY36" fmla="*/ 388156 h 769142"/>
                <a:gd name="connsiteX37" fmla="*/ 918192 w 961390"/>
                <a:gd name="connsiteY37" fmla="*/ 385736 h 769142"/>
                <a:gd name="connsiteX38" fmla="*/ 905577 w 961390"/>
                <a:gd name="connsiteY38" fmla="*/ 382499 h 769142"/>
                <a:gd name="connsiteX39" fmla="*/ 899647 w 961390"/>
                <a:gd name="connsiteY39" fmla="*/ 378536 h 769142"/>
                <a:gd name="connsiteX40" fmla="*/ 897409 w 961390"/>
                <a:gd name="connsiteY40" fmla="*/ 378113 h 769142"/>
                <a:gd name="connsiteX41" fmla="*/ 876203 w 961390"/>
                <a:gd name="connsiteY41" fmla="*/ 383195 h 769142"/>
                <a:gd name="connsiteX42" fmla="*/ 867581 w 961390"/>
                <a:gd name="connsiteY42" fmla="*/ 380503 h 769142"/>
                <a:gd name="connsiteX43" fmla="*/ 863285 w 961390"/>
                <a:gd name="connsiteY43" fmla="*/ 380412 h 769142"/>
                <a:gd name="connsiteX44" fmla="*/ 864193 w 961390"/>
                <a:gd name="connsiteY44" fmla="*/ 376540 h 769142"/>
                <a:gd name="connsiteX45" fmla="*/ 868126 w 961390"/>
                <a:gd name="connsiteY45" fmla="*/ 370641 h 769142"/>
                <a:gd name="connsiteX46" fmla="*/ 869880 w 961390"/>
                <a:gd name="connsiteY46" fmla="*/ 366708 h 769142"/>
                <a:gd name="connsiteX47" fmla="*/ 871513 w 961390"/>
                <a:gd name="connsiteY47" fmla="*/ 357663 h 769142"/>
                <a:gd name="connsiteX48" fmla="*/ 872663 w 961390"/>
                <a:gd name="connsiteY48" fmla="*/ 354214 h 769142"/>
                <a:gd name="connsiteX49" fmla="*/ 872815 w 961390"/>
                <a:gd name="connsiteY49" fmla="*/ 353004 h 769142"/>
                <a:gd name="connsiteX50" fmla="*/ 872845 w 961390"/>
                <a:gd name="connsiteY50" fmla="*/ 351855 h 769142"/>
                <a:gd name="connsiteX51" fmla="*/ 873026 w 961390"/>
                <a:gd name="connsiteY51" fmla="*/ 350675 h 769142"/>
                <a:gd name="connsiteX52" fmla="*/ 873541 w 961390"/>
                <a:gd name="connsiteY52" fmla="*/ 349465 h 769142"/>
                <a:gd name="connsiteX53" fmla="*/ 871242 w 961390"/>
                <a:gd name="connsiteY53" fmla="*/ 341085 h 769142"/>
                <a:gd name="connsiteX54" fmla="*/ 871272 w 961390"/>
                <a:gd name="connsiteY54" fmla="*/ 340359 h 769142"/>
                <a:gd name="connsiteX55" fmla="*/ 871151 w 961390"/>
                <a:gd name="connsiteY55" fmla="*/ 339845 h 769142"/>
                <a:gd name="connsiteX56" fmla="*/ 870273 w 961390"/>
                <a:gd name="connsiteY56" fmla="*/ 339270 h 769142"/>
                <a:gd name="connsiteX57" fmla="*/ 869729 w 961390"/>
                <a:gd name="connsiteY57" fmla="*/ 339451 h 769142"/>
                <a:gd name="connsiteX58" fmla="*/ 867188 w 961390"/>
                <a:gd name="connsiteY58" fmla="*/ 341055 h 769142"/>
                <a:gd name="connsiteX59" fmla="*/ 865948 w 961390"/>
                <a:gd name="connsiteY59" fmla="*/ 340631 h 769142"/>
                <a:gd name="connsiteX60" fmla="*/ 865101 w 961390"/>
                <a:gd name="connsiteY60" fmla="*/ 338786 h 769142"/>
                <a:gd name="connsiteX61" fmla="*/ 864405 w 961390"/>
                <a:gd name="connsiteY61" fmla="*/ 336456 h 769142"/>
                <a:gd name="connsiteX62" fmla="*/ 863649 w 961390"/>
                <a:gd name="connsiteY62" fmla="*/ 334672 h 769142"/>
                <a:gd name="connsiteX63" fmla="*/ 862499 w 961390"/>
                <a:gd name="connsiteY63" fmla="*/ 333431 h 769142"/>
                <a:gd name="connsiteX64" fmla="*/ 861380 w 961390"/>
                <a:gd name="connsiteY64" fmla="*/ 332917 h 769142"/>
                <a:gd name="connsiteX65" fmla="*/ 858566 w 961390"/>
                <a:gd name="connsiteY65" fmla="*/ 332826 h 769142"/>
                <a:gd name="connsiteX66" fmla="*/ 855480 w 961390"/>
                <a:gd name="connsiteY66" fmla="*/ 332221 h 769142"/>
                <a:gd name="connsiteX67" fmla="*/ 847041 w 961390"/>
                <a:gd name="connsiteY67" fmla="*/ 327865 h 769142"/>
                <a:gd name="connsiteX68" fmla="*/ 841777 w 961390"/>
                <a:gd name="connsiteY68" fmla="*/ 326625 h 769142"/>
                <a:gd name="connsiteX69" fmla="*/ 839326 w 961390"/>
                <a:gd name="connsiteY69" fmla="*/ 325596 h 769142"/>
                <a:gd name="connsiteX70" fmla="*/ 836724 w 961390"/>
                <a:gd name="connsiteY70" fmla="*/ 323569 h 769142"/>
                <a:gd name="connsiteX71" fmla="*/ 821024 w 961390"/>
                <a:gd name="connsiteY71" fmla="*/ 312134 h 769142"/>
                <a:gd name="connsiteX72" fmla="*/ 819542 w 961390"/>
                <a:gd name="connsiteY72" fmla="*/ 309744 h 769142"/>
                <a:gd name="connsiteX73" fmla="*/ 818452 w 961390"/>
                <a:gd name="connsiteY73" fmla="*/ 305267 h 769142"/>
                <a:gd name="connsiteX74" fmla="*/ 817757 w 961390"/>
                <a:gd name="connsiteY74" fmla="*/ 295980 h 769142"/>
                <a:gd name="connsiteX75" fmla="*/ 817000 w 961390"/>
                <a:gd name="connsiteY75" fmla="*/ 293409 h 769142"/>
                <a:gd name="connsiteX76" fmla="*/ 815942 w 961390"/>
                <a:gd name="connsiteY76" fmla="*/ 291957 h 769142"/>
                <a:gd name="connsiteX77" fmla="*/ 814701 w 961390"/>
                <a:gd name="connsiteY77" fmla="*/ 290716 h 769142"/>
                <a:gd name="connsiteX78" fmla="*/ 813370 w 961390"/>
                <a:gd name="connsiteY78" fmla="*/ 288750 h 769142"/>
                <a:gd name="connsiteX79" fmla="*/ 811041 w 961390"/>
                <a:gd name="connsiteY79" fmla="*/ 280612 h 769142"/>
                <a:gd name="connsiteX80" fmla="*/ 809377 w 961390"/>
                <a:gd name="connsiteY80" fmla="*/ 277436 h 769142"/>
                <a:gd name="connsiteX81" fmla="*/ 806382 w 961390"/>
                <a:gd name="connsiteY81" fmla="*/ 276619 h 769142"/>
                <a:gd name="connsiteX82" fmla="*/ 806352 w 961390"/>
                <a:gd name="connsiteY82" fmla="*/ 276589 h 769142"/>
                <a:gd name="connsiteX83" fmla="*/ 805263 w 961390"/>
                <a:gd name="connsiteY83" fmla="*/ 274411 h 769142"/>
                <a:gd name="connsiteX84" fmla="*/ 797791 w 961390"/>
                <a:gd name="connsiteY84" fmla="*/ 272445 h 769142"/>
                <a:gd name="connsiteX85" fmla="*/ 794857 w 961390"/>
                <a:gd name="connsiteY85" fmla="*/ 270418 h 769142"/>
                <a:gd name="connsiteX86" fmla="*/ 797367 w 961390"/>
                <a:gd name="connsiteY86" fmla="*/ 263460 h 769142"/>
                <a:gd name="connsiteX87" fmla="*/ 802389 w 961390"/>
                <a:gd name="connsiteY87" fmla="*/ 255988 h 769142"/>
                <a:gd name="connsiteX88" fmla="*/ 805263 w 961390"/>
                <a:gd name="connsiteY88" fmla="*/ 249786 h 769142"/>
                <a:gd name="connsiteX89" fmla="*/ 801300 w 961390"/>
                <a:gd name="connsiteY89" fmla="*/ 246791 h 769142"/>
                <a:gd name="connsiteX90" fmla="*/ 798940 w 961390"/>
                <a:gd name="connsiteY90" fmla="*/ 242344 h 769142"/>
                <a:gd name="connsiteX91" fmla="*/ 790470 w 961390"/>
                <a:gd name="connsiteY91" fmla="*/ 241497 h 769142"/>
                <a:gd name="connsiteX92" fmla="*/ 788261 w 961390"/>
                <a:gd name="connsiteY92" fmla="*/ 241860 h 769142"/>
                <a:gd name="connsiteX93" fmla="*/ 787899 w 961390"/>
                <a:gd name="connsiteY93" fmla="*/ 238895 h 769142"/>
                <a:gd name="connsiteX94" fmla="*/ 786417 w 961390"/>
                <a:gd name="connsiteY94" fmla="*/ 236385 h 769142"/>
                <a:gd name="connsiteX95" fmla="*/ 770988 w 961390"/>
                <a:gd name="connsiteY95" fmla="*/ 225918 h 769142"/>
                <a:gd name="connsiteX96" fmla="*/ 766814 w 961390"/>
                <a:gd name="connsiteY96" fmla="*/ 224587 h 769142"/>
                <a:gd name="connsiteX97" fmla="*/ 765271 w 961390"/>
                <a:gd name="connsiteY97" fmla="*/ 223498 h 769142"/>
                <a:gd name="connsiteX98" fmla="*/ 764454 w 961390"/>
                <a:gd name="connsiteY98" fmla="*/ 220957 h 769142"/>
                <a:gd name="connsiteX99" fmla="*/ 765029 w 961390"/>
                <a:gd name="connsiteY99" fmla="*/ 216449 h 769142"/>
                <a:gd name="connsiteX100" fmla="*/ 766995 w 961390"/>
                <a:gd name="connsiteY100" fmla="*/ 213605 h 769142"/>
                <a:gd name="connsiteX101" fmla="*/ 769294 w 961390"/>
                <a:gd name="connsiteY101" fmla="*/ 211397 h 769142"/>
                <a:gd name="connsiteX102" fmla="*/ 770867 w 961390"/>
                <a:gd name="connsiteY102" fmla="*/ 208826 h 769142"/>
                <a:gd name="connsiteX103" fmla="*/ 770988 w 961390"/>
                <a:gd name="connsiteY103" fmla="*/ 204802 h 769142"/>
                <a:gd name="connsiteX104" fmla="*/ 769990 w 961390"/>
                <a:gd name="connsiteY104" fmla="*/ 202382 h 769142"/>
                <a:gd name="connsiteX105" fmla="*/ 769748 w 961390"/>
                <a:gd name="connsiteY105" fmla="*/ 200718 h 769142"/>
                <a:gd name="connsiteX106" fmla="*/ 772108 w 961390"/>
                <a:gd name="connsiteY106" fmla="*/ 198903 h 769142"/>
                <a:gd name="connsiteX107" fmla="*/ 778249 w 961390"/>
                <a:gd name="connsiteY107" fmla="*/ 197754 h 769142"/>
                <a:gd name="connsiteX108" fmla="*/ 780033 w 961390"/>
                <a:gd name="connsiteY108" fmla="*/ 196543 h 769142"/>
                <a:gd name="connsiteX109" fmla="*/ 781909 w 961390"/>
                <a:gd name="connsiteY109" fmla="*/ 193427 h 769142"/>
                <a:gd name="connsiteX110" fmla="*/ 781455 w 961390"/>
                <a:gd name="connsiteY110" fmla="*/ 191522 h 769142"/>
                <a:gd name="connsiteX111" fmla="*/ 780003 w 961390"/>
                <a:gd name="connsiteY111" fmla="*/ 189767 h 769142"/>
                <a:gd name="connsiteX112" fmla="*/ 778975 w 961390"/>
                <a:gd name="connsiteY112" fmla="*/ 187105 h 769142"/>
                <a:gd name="connsiteX113" fmla="*/ 779640 w 961390"/>
                <a:gd name="connsiteY113" fmla="*/ 185169 h 769142"/>
                <a:gd name="connsiteX114" fmla="*/ 781667 w 961390"/>
                <a:gd name="connsiteY114" fmla="*/ 184988 h 769142"/>
                <a:gd name="connsiteX115" fmla="*/ 786417 w 961390"/>
                <a:gd name="connsiteY115" fmla="*/ 186107 h 769142"/>
                <a:gd name="connsiteX116" fmla="*/ 788927 w 961390"/>
                <a:gd name="connsiteY116" fmla="*/ 185411 h 769142"/>
                <a:gd name="connsiteX117" fmla="*/ 788987 w 961390"/>
                <a:gd name="connsiteY117" fmla="*/ 182295 h 769142"/>
                <a:gd name="connsiteX118" fmla="*/ 787778 w 961390"/>
                <a:gd name="connsiteY118" fmla="*/ 178332 h 769142"/>
                <a:gd name="connsiteX119" fmla="*/ 786417 w 961390"/>
                <a:gd name="connsiteY119" fmla="*/ 175216 h 769142"/>
                <a:gd name="connsiteX120" fmla="*/ 785660 w 961390"/>
                <a:gd name="connsiteY120" fmla="*/ 173976 h 769142"/>
                <a:gd name="connsiteX121" fmla="*/ 785357 w 961390"/>
                <a:gd name="connsiteY121" fmla="*/ 172766 h 769142"/>
                <a:gd name="connsiteX122" fmla="*/ 785600 w 961390"/>
                <a:gd name="connsiteY122" fmla="*/ 171616 h 769142"/>
                <a:gd name="connsiteX123" fmla="*/ 786417 w 961390"/>
                <a:gd name="connsiteY123" fmla="*/ 170527 h 769142"/>
                <a:gd name="connsiteX124" fmla="*/ 786900 w 961390"/>
                <a:gd name="connsiteY124" fmla="*/ 168833 h 769142"/>
                <a:gd name="connsiteX125" fmla="*/ 786749 w 961390"/>
                <a:gd name="connsiteY125" fmla="*/ 168017 h 769142"/>
                <a:gd name="connsiteX126" fmla="*/ 786295 w 961390"/>
                <a:gd name="connsiteY126" fmla="*/ 167472 h 769142"/>
                <a:gd name="connsiteX127" fmla="*/ 785842 w 961390"/>
                <a:gd name="connsiteY127" fmla="*/ 166594 h 769142"/>
                <a:gd name="connsiteX128" fmla="*/ 785569 w 961390"/>
                <a:gd name="connsiteY128" fmla="*/ 166383 h 769142"/>
                <a:gd name="connsiteX129" fmla="*/ 784541 w 961390"/>
                <a:gd name="connsiteY129" fmla="*/ 166080 h 769142"/>
                <a:gd name="connsiteX130" fmla="*/ 784208 w 961390"/>
                <a:gd name="connsiteY130" fmla="*/ 165808 h 769142"/>
                <a:gd name="connsiteX131" fmla="*/ 784027 w 961390"/>
                <a:gd name="connsiteY131" fmla="*/ 164991 h 769142"/>
                <a:gd name="connsiteX132" fmla="*/ 784450 w 961390"/>
                <a:gd name="connsiteY132" fmla="*/ 163539 h 769142"/>
                <a:gd name="connsiteX133" fmla="*/ 784299 w 961390"/>
                <a:gd name="connsiteY133" fmla="*/ 162874 h 769142"/>
                <a:gd name="connsiteX134" fmla="*/ 783028 w 961390"/>
                <a:gd name="connsiteY134" fmla="*/ 161452 h 769142"/>
                <a:gd name="connsiteX135" fmla="*/ 778369 w 961390"/>
                <a:gd name="connsiteY135" fmla="*/ 158094 h 769142"/>
                <a:gd name="connsiteX136" fmla="*/ 776917 w 961390"/>
                <a:gd name="connsiteY136" fmla="*/ 156097 h 769142"/>
                <a:gd name="connsiteX137" fmla="*/ 775254 w 961390"/>
                <a:gd name="connsiteY137" fmla="*/ 150077 h 769142"/>
                <a:gd name="connsiteX138" fmla="*/ 773922 w 961390"/>
                <a:gd name="connsiteY138" fmla="*/ 148171 h 769142"/>
                <a:gd name="connsiteX139" fmla="*/ 770383 w 961390"/>
                <a:gd name="connsiteY139" fmla="*/ 146387 h 769142"/>
                <a:gd name="connsiteX140" fmla="*/ 768628 w 961390"/>
                <a:gd name="connsiteY140" fmla="*/ 144995 h 769142"/>
                <a:gd name="connsiteX141" fmla="*/ 767661 w 961390"/>
                <a:gd name="connsiteY141" fmla="*/ 142968 h 769142"/>
                <a:gd name="connsiteX142" fmla="*/ 767933 w 961390"/>
                <a:gd name="connsiteY142" fmla="*/ 139913 h 769142"/>
                <a:gd name="connsiteX143" fmla="*/ 769354 w 961390"/>
                <a:gd name="connsiteY143" fmla="*/ 136857 h 769142"/>
                <a:gd name="connsiteX144" fmla="*/ 772834 w 961390"/>
                <a:gd name="connsiteY144" fmla="*/ 132289 h 769142"/>
                <a:gd name="connsiteX145" fmla="*/ 778884 w 961390"/>
                <a:gd name="connsiteY145" fmla="*/ 128266 h 769142"/>
                <a:gd name="connsiteX146" fmla="*/ 780154 w 961390"/>
                <a:gd name="connsiteY146" fmla="*/ 126360 h 769142"/>
                <a:gd name="connsiteX147" fmla="*/ 780154 w 961390"/>
                <a:gd name="connsiteY147" fmla="*/ 123123 h 769142"/>
                <a:gd name="connsiteX148" fmla="*/ 778823 w 961390"/>
                <a:gd name="connsiteY148" fmla="*/ 120945 h 769142"/>
                <a:gd name="connsiteX149" fmla="*/ 777190 w 961390"/>
                <a:gd name="connsiteY149" fmla="*/ 118919 h 769142"/>
                <a:gd name="connsiteX150" fmla="*/ 776403 w 961390"/>
                <a:gd name="connsiteY150" fmla="*/ 115984 h 769142"/>
                <a:gd name="connsiteX151" fmla="*/ 777008 w 961390"/>
                <a:gd name="connsiteY151" fmla="*/ 113261 h 769142"/>
                <a:gd name="connsiteX152" fmla="*/ 779640 w 961390"/>
                <a:gd name="connsiteY152" fmla="*/ 111356 h 769142"/>
                <a:gd name="connsiteX153" fmla="*/ 780245 w 961390"/>
                <a:gd name="connsiteY153" fmla="*/ 109298 h 769142"/>
                <a:gd name="connsiteX154" fmla="*/ 779731 w 961390"/>
                <a:gd name="connsiteY154" fmla="*/ 109147 h 769142"/>
                <a:gd name="connsiteX155" fmla="*/ 778249 w 961390"/>
                <a:gd name="connsiteY155" fmla="*/ 108209 h 769142"/>
                <a:gd name="connsiteX156" fmla="*/ 780275 w 961390"/>
                <a:gd name="connsiteY156" fmla="*/ 102431 h 769142"/>
                <a:gd name="connsiteX157" fmla="*/ 779580 w 961390"/>
                <a:gd name="connsiteY157" fmla="*/ 96381 h 769142"/>
                <a:gd name="connsiteX158" fmla="*/ 779005 w 961390"/>
                <a:gd name="connsiteY158" fmla="*/ 95353 h 769142"/>
                <a:gd name="connsiteX159" fmla="*/ 776887 w 961390"/>
                <a:gd name="connsiteY159" fmla="*/ 91632 h 769142"/>
                <a:gd name="connsiteX160" fmla="*/ 773015 w 961390"/>
                <a:gd name="connsiteY160" fmla="*/ 89937 h 769142"/>
                <a:gd name="connsiteX161" fmla="*/ 768628 w 961390"/>
                <a:gd name="connsiteY161" fmla="*/ 91329 h 769142"/>
                <a:gd name="connsiteX162" fmla="*/ 765271 w 961390"/>
                <a:gd name="connsiteY162" fmla="*/ 93114 h 769142"/>
                <a:gd name="connsiteX163" fmla="*/ 762397 w 961390"/>
                <a:gd name="connsiteY163" fmla="*/ 92630 h 769142"/>
                <a:gd name="connsiteX164" fmla="*/ 759462 w 961390"/>
                <a:gd name="connsiteY164" fmla="*/ 87366 h 769142"/>
                <a:gd name="connsiteX165" fmla="*/ 758495 w 961390"/>
                <a:gd name="connsiteY165" fmla="*/ 84795 h 769142"/>
                <a:gd name="connsiteX166" fmla="*/ 757526 w 961390"/>
                <a:gd name="connsiteY166" fmla="*/ 83191 h 769142"/>
                <a:gd name="connsiteX167" fmla="*/ 756165 w 961390"/>
                <a:gd name="connsiteY167" fmla="*/ 82496 h 769142"/>
                <a:gd name="connsiteX168" fmla="*/ 752051 w 961390"/>
                <a:gd name="connsiteY168" fmla="*/ 82798 h 769142"/>
                <a:gd name="connsiteX169" fmla="*/ 749782 w 961390"/>
                <a:gd name="connsiteY169" fmla="*/ 82344 h 769142"/>
                <a:gd name="connsiteX170" fmla="*/ 747725 w 961390"/>
                <a:gd name="connsiteY170" fmla="*/ 81044 h 769142"/>
                <a:gd name="connsiteX171" fmla="*/ 746485 w 961390"/>
                <a:gd name="connsiteY171" fmla="*/ 78775 h 769142"/>
                <a:gd name="connsiteX172" fmla="*/ 746485 w 961390"/>
                <a:gd name="connsiteY172" fmla="*/ 77232 h 769142"/>
                <a:gd name="connsiteX173" fmla="*/ 746938 w 961390"/>
                <a:gd name="connsiteY173" fmla="*/ 75901 h 769142"/>
                <a:gd name="connsiteX174" fmla="*/ 747271 w 961390"/>
                <a:gd name="connsiteY174" fmla="*/ 74418 h 769142"/>
                <a:gd name="connsiteX175" fmla="*/ 746847 w 961390"/>
                <a:gd name="connsiteY175" fmla="*/ 72331 h 769142"/>
                <a:gd name="connsiteX176" fmla="*/ 746091 w 961390"/>
                <a:gd name="connsiteY176" fmla="*/ 71273 h 769142"/>
                <a:gd name="connsiteX177" fmla="*/ 745033 w 961390"/>
                <a:gd name="connsiteY177" fmla="*/ 70516 h 769142"/>
                <a:gd name="connsiteX178" fmla="*/ 736108 w 961390"/>
                <a:gd name="connsiteY178" fmla="*/ 66493 h 769142"/>
                <a:gd name="connsiteX179" fmla="*/ 734929 w 961390"/>
                <a:gd name="connsiteY179" fmla="*/ 65071 h 769142"/>
                <a:gd name="connsiteX180" fmla="*/ 735201 w 961390"/>
                <a:gd name="connsiteY180" fmla="*/ 63710 h 769142"/>
                <a:gd name="connsiteX181" fmla="*/ 735806 w 961390"/>
                <a:gd name="connsiteY181" fmla="*/ 62348 h 769142"/>
                <a:gd name="connsiteX182" fmla="*/ 735776 w 961390"/>
                <a:gd name="connsiteY182" fmla="*/ 60957 h 769142"/>
                <a:gd name="connsiteX183" fmla="*/ 734898 w 961390"/>
                <a:gd name="connsiteY183" fmla="*/ 59988 h 769142"/>
                <a:gd name="connsiteX184" fmla="*/ 714962 w 961390"/>
                <a:gd name="connsiteY184" fmla="*/ 53878 h 769142"/>
                <a:gd name="connsiteX185" fmla="*/ 713027 w 961390"/>
                <a:gd name="connsiteY185" fmla="*/ 52728 h 769142"/>
                <a:gd name="connsiteX186" fmla="*/ 709638 w 961390"/>
                <a:gd name="connsiteY186" fmla="*/ 49854 h 769142"/>
                <a:gd name="connsiteX187" fmla="*/ 707884 w 961390"/>
                <a:gd name="connsiteY187" fmla="*/ 49400 h 769142"/>
                <a:gd name="connsiteX188" fmla="*/ 705554 w 961390"/>
                <a:gd name="connsiteY188" fmla="*/ 50489 h 769142"/>
                <a:gd name="connsiteX189" fmla="*/ 701047 w 961390"/>
                <a:gd name="connsiteY189" fmla="*/ 54513 h 769142"/>
                <a:gd name="connsiteX190" fmla="*/ 698415 w 961390"/>
                <a:gd name="connsiteY190" fmla="*/ 55330 h 769142"/>
                <a:gd name="connsiteX191" fmla="*/ 686557 w 961390"/>
                <a:gd name="connsiteY191" fmla="*/ 51216 h 769142"/>
                <a:gd name="connsiteX192" fmla="*/ 682472 w 961390"/>
                <a:gd name="connsiteY192" fmla="*/ 51004 h 769142"/>
                <a:gd name="connsiteX193" fmla="*/ 678449 w 961390"/>
                <a:gd name="connsiteY193" fmla="*/ 51821 h 769142"/>
                <a:gd name="connsiteX194" fmla="*/ 674577 w 961390"/>
                <a:gd name="connsiteY194" fmla="*/ 53908 h 769142"/>
                <a:gd name="connsiteX195" fmla="*/ 672096 w 961390"/>
                <a:gd name="connsiteY195" fmla="*/ 56873 h 769142"/>
                <a:gd name="connsiteX196" fmla="*/ 668194 w 961390"/>
                <a:gd name="connsiteY196" fmla="*/ 63619 h 769142"/>
                <a:gd name="connsiteX197" fmla="*/ 665562 w 961390"/>
                <a:gd name="connsiteY197" fmla="*/ 64889 h 769142"/>
                <a:gd name="connsiteX198" fmla="*/ 658634 w 961390"/>
                <a:gd name="connsiteY198" fmla="*/ 63226 h 769142"/>
                <a:gd name="connsiteX199" fmla="*/ 655942 w 961390"/>
                <a:gd name="connsiteY199" fmla="*/ 63770 h 769142"/>
                <a:gd name="connsiteX200" fmla="*/ 645989 w 961390"/>
                <a:gd name="connsiteY200" fmla="*/ 69094 h 769142"/>
                <a:gd name="connsiteX201" fmla="*/ 638215 w 961390"/>
                <a:gd name="connsiteY201" fmla="*/ 77716 h 769142"/>
                <a:gd name="connsiteX202" fmla="*/ 635492 w 961390"/>
                <a:gd name="connsiteY202" fmla="*/ 78442 h 769142"/>
                <a:gd name="connsiteX203" fmla="*/ 633495 w 961390"/>
                <a:gd name="connsiteY203" fmla="*/ 77444 h 769142"/>
                <a:gd name="connsiteX204" fmla="*/ 628655 w 961390"/>
                <a:gd name="connsiteY204" fmla="*/ 70788 h 769142"/>
                <a:gd name="connsiteX205" fmla="*/ 623664 w 961390"/>
                <a:gd name="connsiteY205" fmla="*/ 66886 h 769142"/>
                <a:gd name="connsiteX206" fmla="*/ 622393 w 961390"/>
                <a:gd name="connsiteY206" fmla="*/ 64496 h 769142"/>
                <a:gd name="connsiteX207" fmla="*/ 621667 w 961390"/>
                <a:gd name="connsiteY207" fmla="*/ 61077 h 769142"/>
                <a:gd name="connsiteX208" fmla="*/ 622121 w 961390"/>
                <a:gd name="connsiteY208" fmla="*/ 58446 h 769142"/>
                <a:gd name="connsiteX209" fmla="*/ 624511 w 961390"/>
                <a:gd name="connsiteY209" fmla="*/ 52940 h 769142"/>
                <a:gd name="connsiteX210" fmla="*/ 624904 w 961390"/>
                <a:gd name="connsiteY210" fmla="*/ 51216 h 769142"/>
                <a:gd name="connsiteX211" fmla="*/ 625418 w 961390"/>
                <a:gd name="connsiteY211" fmla="*/ 47192 h 769142"/>
                <a:gd name="connsiteX212" fmla="*/ 625751 w 961390"/>
                <a:gd name="connsiteY212" fmla="*/ 45770 h 769142"/>
                <a:gd name="connsiteX213" fmla="*/ 626537 w 961390"/>
                <a:gd name="connsiteY213" fmla="*/ 44379 h 769142"/>
                <a:gd name="connsiteX214" fmla="*/ 627324 w 961390"/>
                <a:gd name="connsiteY214" fmla="*/ 43804 h 769142"/>
                <a:gd name="connsiteX215" fmla="*/ 628141 w 961390"/>
                <a:gd name="connsiteY215" fmla="*/ 43471 h 769142"/>
                <a:gd name="connsiteX216" fmla="*/ 629079 w 961390"/>
                <a:gd name="connsiteY216" fmla="*/ 42806 h 769142"/>
                <a:gd name="connsiteX217" fmla="*/ 629926 w 961390"/>
                <a:gd name="connsiteY217" fmla="*/ 42473 h 769142"/>
                <a:gd name="connsiteX218" fmla="*/ 630742 w 961390"/>
                <a:gd name="connsiteY218" fmla="*/ 42534 h 769142"/>
                <a:gd name="connsiteX219" fmla="*/ 631438 w 961390"/>
                <a:gd name="connsiteY219" fmla="*/ 42382 h 769142"/>
                <a:gd name="connsiteX220" fmla="*/ 631801 w 961390"/>
                <a:gd name="connsiteY220" fmla="*/ 41324 h 769142"/>
                <a:gd name="connsiteX221" fmla="*/ 631468 w 961390"/>
                <a:gd name="connsiteY221" fmla="*/ 39992 h 769142"/>
                <a:gd name="connsiteX222" fmla="*/ 630531 w 961390"/>
                <a:gd name="connsiteY222" fmla="*/ 38480 h 769142"/>
                <a:gd name="connsiteX223" fmla="*/ 628655 w 961390"/>
                <a:gd name="connsiteY223" fmla="*/ 36211 h 769142"/>
                <a:gd name="connsiteX224" fmla="*/ 626900 w 961390"/>
                <a:gd name="connsiteY224" fmla="*/ 34607 h 769142"/>
                <a:gd name="connsiteX225" fmla="*/ 625085 w 961390"/>
                <a:gd name="connsiteY225" fmla="*/ 33549 h 769142"/>
                <a:gd name="connsiteX226" fmla="*/ 609627 w 961390"/>
                <a:gd name="connsiteY226" fmla="*/ 29556 h 769142"/>
                <a:gd name="connsiteX227" fmla="*/ 606511 w 961390"/>
                <a:gd name="connsiteY227" fmla="*/ 27257 h 769142"/>
                <a:gd name="connsiteX228" fmla="*/ 601731 w 961390"/>
                <a:gd name="connsiteY228" fmla="*/ 23959 h 769142"/>
                <a:gd name="connsiteX229" fmla="*/ 596014 w 961390"/>
                <a:gd name="connsiteY229" fmla="*/ 22114 h 769142"/>
                <a:gd name="connsiteX230" fmla="*/ 590205 w 961390"/>
                <a:gd name="connsiteY230" fmla="*/ 21963 h 769142"/>
                <a:gd name="connsiteX231" fmla="*/ 585184 w 961390"/>
                <a:gd name="connsiteY231" fmla="*/ 23717 h 769142"/>
                <a:gd name="connsiteX232" fmla="*/ 579285 w 961390"/>
                <a:gd name="connsiteY232" fmla="*/ 27226 h 769142"/>
                <a:gd name="connsiteX233" fmla="*/ 579254 w 961390"/>
                <a:gd name="connsiteY233" fmla="*/ 27257 h 769142"/>
                <a:gd name="connsiteX234" fmla="*/ 579254 w 961390"/>
                <a:gd name="connsiteY234" fmla="*/ 27257 h 769142"/>
                <a:gd name="connsiteX235" fmla="*/ 579254 w 961390"/>
                <a:gd name="connsiteY235" fmla="*/ 27257 h 769142"/>
                <a:gd name="connsiteX236" fmla="*/ 572993 w 961390"/>
                <a:gd name="connsiteY236" fmla="*/ 29858 h 769142"/>
                <a:gd name="connsiteX237" fmla="*/ 570300 w 961390"/>
                <a:gd name="connsiteY237" fmla="*/ 32399 h 769142"/>
                <a:gd name="connsiteX238" fmla="*/ 570088 w 961390"/>
                <a:gd name="connsiteY238" fmla="*/ 36241 h 769142"/>
                <a:gd name="connsiteX239" fmla="*/ 567880 w 961390"/>
                <a:gd name="connsiteY239" fmla="*/ 36756 h 769142"/>
                <a:gd name="connsiteX240" fmla="*/ 560105 w 961390"/>
                <a:gd name="connsiteY240" fmla="*/ 34729 h 769142"/>
                <a:gd name="connsiteX241" fmla="*/ 557564 w 961390"/>
                <a:gd name="connsiteY241" fmla="*/ 32581 h 769142"/>
                <a:gd name="connsiteX242" fmla="*/ 556445 w 961390"/>
                <a:gd name="connsiteY242" fmla="*/ 29253 h 769142"/>
                <a:gd name="connsiteX243" fmla="*/ 555900 w 961390"/>
                <a:gd name="connsiteY243" fmla="*/ 25320 h 769142"/>
                <a:gd name="connsiteX244" fmla="*/ 554963 w 961390"/>
                <a:gd name="connsiteY244" fmla="*/ 21418 h 769142"/>
                <a:gd name="connsiteX245" fmla="*/ 554085 w 961390"/>
                <a:gd name="connsiteY245" fmla="*/ 19754 h 769142"/>
                <a:gd name="connsiteX246" fmla="*/ 550576 w 961390"/>
                <a:gd name="connsiteY246" fmla="*/ 15095 h 769142"/>
                <a:gd name="connsiteX247" fmla="*/ 548912 w 961390"/>
                <a:gd name="connsiteY247" fmla="*/ 12222 h 769142"/>
                <a:gd name="connsiteX248" fmla="*/ 548005 w 961390"/>
                <a:gd name="connsiteY248" fmla="*/ 11314 h 769142"/>
                <a:gd name="connsiteX249" fmla="*/ 546311 w 961390"/>
                <a:gd name="connsiteY249" fmla="*/ 10679 h 769142"/>
                <a:gd name="connsiteX250" fmla="*/ 540593 w 961390"/>
                <a:gd name="connsiteY250" fmla="*/ 9801 h 769142"/>
                <a:gd name="connsiteX251" fmla="*/ 525679 w 961390"/>
                <a:gd name="connsiteY251" fmla="*/ 11314 h 769142"/>
                <a:gd name="connsiteX252" fmla="*/ 523350 w 961390"/>
                <a:gd name="connsiteY252" fmla="*/ 12857 h 769142"/>
                <a:gd name="connsiteX253" fmla="*/ 520022 w 961390"/>
                <a:gd name="connsiteY253" fmla="*/ 17636 h 769142"/>
                <a:gd name="connsiteX254" fmla="*/ 517753 w 961390"/>
                <a:gd name="connsiteY254" fmla="*/ 18907 h 769142"/>
                <a:gd name="connsiteX255" fmla="*/ 515636 w 961390"/>
                <a:gd name="connsiteY255" fmla="*/ 18242 h 769142"/>
                <a:gd name="connsiteX256" fmla="*/ 513579 w 961390"/>
                <a:gd name="connsiteY256" fmla="*/ 16336 h 769142"/>
                <a:gd name="connsiteX257" fmla="*/ 510463 w 961390"/>
                <a:gd name="connsiteY257" fmla="*/ 12282 h 769142"/>
                <a:gd name="connsiteX258" fmla="*/ 503505 w 961390"/>
                <a:gd name="connsiteY258" fmla="*/ 5233 h 769142"/>
                <a:gd name="connsiteX259" fmla="*/ 501448 w 961390"/>
                <a:gd name="connsiteY259" fmla="*/ 2360 h 769142"/>
                <a:gd name="connsiteX260" fmla="*/ 497636 w 961390"/>
                <a:gd name="connsiteY260" fmla="*/ 0 h 769142"/>
                <a:gd name="connsiteX261" fmla="*/ 493341 w 961390"/>
                <a:gd name="connsiteY261" fmla="*/ 1513 h 769142"/>
                <a:gd name="connsiteX262" fmla="*/ 491616 w 961390"/>
                <a:gd name="connsiteY262" fmla="*/ 2662 h 769142"/>
                <a:gd name="connsiteX263" fmla="*/ 488863 w 961390"/>
                <a:gd name="connsiteY263" fmla="*/ 4507 h 769142"/>
                <a:gd name="connsiteX264" fmla="*/ 484568 w 961390"/>
                <a:gd name="connsiteY264" fmla="*/ 6413 h 769142"/>
                <a:gd name="connsiteX265" fmla="*/ 480393 w 961390"/>
                <a:gd name="connsiteY265" fmla="*/ 7230 h 769142"/>
                <a:gd name="connsiteX266" fmla="*/ 479122 w 961390"/>
                <a:gd name="connsiteY266" fmla="*/ 7865 h 769142"/>
                <a:gd name="connsiteX267" fmla="*/ 477549 w 961390"/>
                <a:gd name="connsiteY267" fmla="*/ 9378 h 769142"/>
                <a:gd name="connsiteX268" fmla="*/ 476551 w 961390"/>
                <a:gd name="connsiteY268" fmla="*/ 11193 h 769142"/>
                <a:gd name="connsiteX269" fmla="*/ 475674 w 961390"/>
                <a:gd name="connsiteY269" fmla="*/ 13220 h 769142"/>
                <a:gd name="connsiteX270" fmla="*/ 474464 w 961390"/>
                <a:gd name="connsiteY270" fmla="*/ 15398 h 769142"/>
                <a:gd name="connsiteX271" fmla="*/ 467597 w 961390"/>
                <a:gd name="connsiteY271" fmla="*/ 20238 h 769142"/>
                <a:gd name="connsiteX272" fmla="*/ 464450 w 961390"/>
                <a:gd name="connsiteY272" fmla="*/ 23263 h 769142"/>
                <a:gd name="connsiteX273" fmla="*/ 464027 w 961390"/>
                <a:gd name="connsiteY273" fmla="*/ 27196 h 769142"/>
                <a:gd name="connsiteX274" fmla="*/ 460760 w 961390"/>
                <a:gd name="connsiteY274" fmla="*/ 32611 h 769142"/>
                <a:gd name="connsiteX275" fmla="*/ 450746 w 961390"/>
                <a:gd name="connsiteY275" fmla="*/ 38692 h 769142"/>
                <a:gd name="connsiteX276" fmla="*/ 447933 w 961390"/>
                <a:gd name="connsiteY276" fmla="*/ 46012 h 769142"/>
                <a:gd name="connsiteX277" fmla="*/ 447237 w 961390"/>
                <a:gd name="connsiteY277" fmla="*/ 53848 h 769142"/>
                <a:gd name="connsiteX278" fmla="*/ 446360 w 961390"/>
                <a:gd name="connsiteY278" fmla="*/ 57357 h 769142"/>
                <a:gd name="connsiteX279" fmla="*/ 445483 w 961390"/>
                <a:gd name="connsiteY279" fmla="*/ 59868 h 769142"/>
                <a:gd name="connsiteX280" fmla="*/ 442639 w 961390"/>
                <a:gd name="connsiteY280" fmla="*/ 60200 h 769142"/>
                <a:gd name="connsiteX281" fmla="*/ 429994 w 961390"/>
                <a:gd name="connsiteY281" fmla="*/ 59142 h 769142"/>
                <a:gd name="connsiteX282" fmla="*/ 426697 w 961390"/>
                <a:gd name="connsiteY282" fmla="*/ 58204 h 769142"/>
                <a:gd name="connsiteX283" fmla="*/ 423550 w 961390"/>
                <a:gd name="connsiteY283" fmla="*/ 56480 h 769142"/>
                <a:gd name="connsiteX284" fmla="*/ 421040 w 961390"/>
                <a:gd name="connsiteY284" fmla="*/ 53787 h 769142"/>
                <a:gd name="connsiteX285" fmla="*/ 418952 w 961390"/>
                <a:gd name="connsiteY285" fmla="*/ 56026 h 769142"/>
                <a:gd name="connsiteX286" fmla="*/ 414263 w 961390"/>
                <a:gd name="connsiteY286" fmla="*/ 60261 h 769142"/>
                <a:gd name="connsiteX287" fmla="*/ 412327 w 961390"/>
                <a:gd name="connsiteY287" fmla="*/ 61017 h 769142"/>
                <a:gd name="connsiteX288" fmla="*/ 409544 w 961390"/>
                <a:gd name="connsiteY288" fmla="*/ 59625 h 769142"/>
                <a:gd name="connsiteX289" fmla="*/ 403282 w 961390"/>
                <a:gd name="connsiteY289" fmla="*/ 54694 h 769142"/>
                <a:gd name="connsiteX290" fmla="*/ 401074 w 961390"/>
                <a:gd name="connsiteY290" fmla="*/ 53575 h 769142"/>
                <a:gd name="connsiteX291" fmla="*/ 396990 w 961390"/>
                <a:gd name="connsiteY291" fmla="*/ 52940 h 769142"/>
                <a:gd name="connsiteX292" fmla="*/ 383921 w 961390"/>
                <a:gd name="connsiteY292" fmla="*/ 54513 h 769142"/>
                <a:gd name="connsiteX293" fmla="*/ 383770 w 961390"/>
                <a:gd name="connsiteY293" fmla="*/ 54604 h 769142"/>
                <a:gd name="connsiteX294" fmla="*/ 381592 w 961390"/>
                <a:gd name="connsiteY294" fmla="*/ 55874 h 769142"/>
                <a:gd name="connsiteX295" fmla="*/ 375784 w 961390"/>
                <a:gd name="connsiteY295" fmla="*/ 62439 h 769142"/>
                <a:gd name="connsiteX296" fmla="*/ 370005 w 961390"/>
                <a:gd name="connsiteY296" fmla="*/ 72180 h 769142"/>
                <a:gd name="connsiteX297" fmla="*/ 368009 w 961390"/>
                <a:gd name="connsiteY297" fmla="*/ 74358 h 769142"/>
                <a:gd name="connsiteX298" fmla="*/ 359992 w 961390"/>
                <a:gd name="connsiteY298" fmla="*/ 78170 h 769142"/>
                <a:gd name="connsiteX299" fmla="*/ 357663 w 961390"/>
                <a:gd name="connsiteY299" fmla="*/ 78321 h 769142"/>
                <a:gd name="connsiteX300" fmla="*/ 352308 w 961390"/>
                <a:gd name="connsiteY300" fmla="*/ 76324 h 769142"/>
                <a:gd name="connsiteX301" fmla="*/ 349616 w 961390"/>
                <a:gd name="connsiteY301" fmla="*/ 76082 h 769142"/>
                <a:gd name="connsiteX302" fmla="*/ 347165 w 961390"/>
                <a:gd name="connsiteY302" fmla="*/ 77323 h 769142"/>
                <a:gd name="connsiteX303" fmla="*/ 345018 w 961390"/>
                <a:gd name="connsiteY303" fmla="*/ 80771 h 769142"/>
                <a:gd name="connsiteX304" fmla="*/ 345955 w 961390"/>
                <a:gd name="connsiteY304" fmla="*/ 84643 h 769142"/>
                <a:gd name="connsiteX305" fmla="*/ 346349 w 961390"/>
                <a:gd name="connsiteY305" fmla="*/ 89030 h 769142"/>
                <a:gd name="connsiteX306" fmla="*/ 346107 w 961390"/>
                <a:gd name="connsiteY306" fmla="*/ 93356 h 769142"/>
                <a:gd name="connsiteX307" fmla="*/ 345139 w 961390"/>
                <a:gd name="connsiteY307" fmla="*/ 96956 h 769142"/>
                <a:gd name="connsiteX308" fmla="*/ 343203 w 961390"/>
                <a:gd name="connsiteY308" fmla="*/ 99799 h 769142"/>
                <a:gd name="connsiteX309" fmla="*/ 340722 w 961390"/>
                <a:gd name="connsiteY309" fmla="*/ 102431 h 769142"/>
                <a:gd name="connsiteX310" fmla="*/ 338755 w 961390"/>
                <a:gd name="connsiteY310" fmla="*/ 105396 h 769142"/>
                <a:gd name="connsiteX311" fmla="*/ 338302 w 961390"/>
                <a:gd name="connsiteY311" fmla="*/ 109329 h 769142"/>
                <a:gd name="connsiteX312" fmla="*/ 340208 w 961390"/>
                <a:gd name="connsiteY312" fmla="*/ 112747 h 769142"/>
                <a:gd name="connsiteX313" fmla="*/ 339875 w 961390"/>
                <a:gd name="connsiteY313" fmla="*/ 114653 h 769142"/>
                <a:gd name="connsiteX314" fmla="*/ 336305 w 961390"/>
                <a:gd name="connsiteY314" fmla="*/ 117981 h 769142"/>
                <a:gd name="connsiteX315" fmla="*/ 335458 w 961390"/>
                <a:gd name="connsiteY315" fmla="*/ 119796 h 769142"/>
                <a:gd name="connsiteX316" fmla="*/ 334127 w 961390"/>
                <a:gd name="connsiteY316" fmla="*/ 125846 h 769142"/>
                <a:gd name="connsiteX317" fmla="*/ 333401 w 961390"/>
                <a:gd name="connsiteY317" fmla="*/ 127389 h 769142"/>
                <a:gd name="connsiteX318" fmla="*/ 331011 w 961390"/>
                <a:gd name="connsiteY318" fmla="*/ 131503 h 769142"/>
                <a:gd name="connsiteX319" fmla="*/ 330043 w 961390"/>
                <a:gd name="connsiteY319" fmla="*/ 134528 h 769142"/>
                <a:gd name="connsiteX320" fmla="*/ 330497 w 961390"/>
                <a:gd name="connsiteY320" fmla="*/ 136222 h 769142"/>
                <a:gd name="connsiteX321" fmla="*/ 332070 w 961390"/>
                <a:gd name="connsiteY321" fmla="*/ 137220 h 769142"/>
                <a:gd name="connsiteX322" fmla="*/ 338090 w 961390"/>
                <a:gd name="connsiteY322" fmla="*/ 139308 h 769142"/>
                <a:gd name="connsiteX323" fmla="*/ 339784 w 961390"/>
                <a:gd name="connsiteY323" fmla="*/ 139368 h 769142"/>
                <a:gd name="connsiteX324" fmla="*/ 345865 w 961390"/>
                <a:gd name="connsiteY324" fmla="*/ 137856 h 769142"/>
                <a:gd name="connsiteX325" fmla="*/ 362563 w 961390"/>
                <a:gd name="connsiteY325" fmla="*/ 140578 h 769142"/>
                <a:gd name="connsiteX326" fmla="*/ 364862 w 961390"/>
                <a:gd name="connsiteY326" fmla="*/ 142212 h 769142"/>
                <a:gd name="connsiteX327" fmla="*/ 365770 w 961390"/>
                <a:gd name="connsiteY327" fmla="*/ 144935 h 769142"/>
                <a:gd name="connsiteX328" fmla="*/ 364681 w 961390"/>
                <a:gd name="connsiteY328" fmla="*/ 147567 h 769142"/>
                <a:gd name="connsiteX329" fmla="*/ 362261 w 961390"/>
                <a:gd name="connsiteY329" fmla="*/ 149260 h 769142"/>
                <a:gd name="connsiteX330" fmla="*/ 359659 w 961390"/>
                <a:gd name="connsiteY330" fmla="*/ 149896 h 769142"/>
                <a:gd name="connsiteX331" fmla="*/ 355757 w 961390"/>
                <a:gd name="connsiteY331" fmla="*/ 150864 h 769142"/>
                <a:gd name="connsiteX332" fmla="*/ 354214 w 961390"/>
                <a:gd name="connsiteY332" fmla="*/ 151711 h 769142"/>
                <a:gd name="connsiteX333" fmla="*/ 351310 w 961390"/>
                <a:gd name="connsiteY333" fmla="*/ 154343 h 769142"/>
                <a:gd name="connsiteX334" fmla="*/ 349737 w 961390"/>
                <a:gd name="connsiteY334" fmla="*/ 156369 h 769142"/>
                <a:gd name="connsiteX335" fmla="*/ 349011 w 961390"/>
                <a:gd name="connsiteY335" fmla="*/ 158094 h 769142"/>
                <a:gd name="connsiteX336" fmla="*/ 348345 w 961390"/>
                <a:gd name="connsiteY336" fmla="*/ 162571 h 769142"/>
                <a:gd name="connsiteX337" fmla="*/ 347226 w 961390"/>
                <a:gd name="connsiteY337" fmla="*/ 167260 h 769142"/>
                <a:gd name="connsiteX338" fmla="*/ 345683 w 961390"/>
                <a:gd name="connsiteY338" fmla="*/ 169620 h 769142"/>
                <a:gd name="connsiteX339" fmla="*/ 343475 w 961390"/>
                <a:gd name="connsiteY339" fmla="*/ 169983 h 769142"/>
                <a:gd name="connsiteX340" fmla="*/ 332857 w 961390"/>
                <a:gd name="connsiteY340" fmla="*/ 165627 h 769142"/>
                <a:gd name="connsiteX341" fmla="*/ 331405 w 961390"/>
                <a:gd name="connsiteY341" fmla="*/ 165778 h 769142"/>
                <a:gd name="connsiteX342" fmla="*/ 330557 w 961390"/>
                <a:gd name="connsiteY342" fmla="*/ 166565 h 769142"/>
                <a:gd name="connsiteX343" fmla="*/ 329983 w 961390"/>
                <a:gd name="connsiteY343" fmla="*/ 167502 h 769142"/>
                <a:gd name="connsiteX344" fmla="*/ 329347 w 961390"/>
                <a:gd name="connsiteY344" fmla="*/ 168137 h 769142"/>
                <a:gd name="connsiteX345" fmla="*/ 328349 w 961390"/>
                <a:gd name="connsiteY345" fmla="*/ 168440 h 769142"/>
                <a:gd name="connsiteX346" fmla="*/ 327502 w 961390"/>
                <a:gd name="connsiteY346" fmla="*/ 168470 h 769142"/>
                <a:gd name="connsiteX347" fmla="*/ 316370 w 961390"/>
                <a:gd name="connsiteY347" fmla="*/ 165778 h 769142"/>
                <a:gd name="connsiteX348" fmla="*/ 311832 w 961390"/>
                <a:gd name="connsiteY348" fmla="*/ 166504 h 769142"/>
                <a:gd name="connsiteX349" fmla="*/ 308655 w 961390"/>
                <a:gd name="connsiteY349" fmla="*/ 171102 h 769142"/>
                <a:gd name="connsiteX350" fmla="*/ 308383 w 961390"/>
                <a:gd name="connsiteY350" fmla="*/ 172948 h 769142"/>
                <a:gd name="connsiteX351" fmla="*/ 308474 w 961390"/>
                <a:gd name="connsiteY351" fmla="*/ 176971 h 769142"/>
                <a:gd name="connsiteX352" fmla="*/ 308292 w 961390"/>
                <a:gd name="connsiteY352" fmla="*/ 178907 h 769142"/>
                <a:gd name="connsiteX353" fmla="*/ 307808 w 961390"/>
                <a:gd name="connsiteY353" fmla="*/ 180268 h 769142"/>
                <a:gd name="connsiteX354" fmla="*/ 304087 w 961390"/>
                <a:gd name="connsiteY354" fmla="*/ 187710 h 769142"/>
                <a:gd name="connsiteX355" fmla="*/ 302333 w 961390"/>
                <a:gd name="connsiteY355" fmla="*/ 190221 h 769142"/>
                <a:gd name="connsiteX356" fmla="*/ 300669 w 961390"/>
                <a:gd name="connsiteY356" fmla="*/ 192581 h 769142"/>
                <a:gd name="connsiteX357" fmla="*/ 299156 w 961390"/>
                <a:gd name="connsiteY357" fmla="*/ 194124 h 769142"/>
                <a:gd name="connsiteX358" fmla="*/ 295526 w 961390"/>
                <a:gd name="connsiteY358" fmla="*/ 196060 h 769142"/>
                <a:gd name="connsiteX359" fmla="*/ 283305 w 961390"/>
                <a:gd name="connsiteY359" fmla="*/ 198358 h 769142"/>
                <a:gd name="connsiteX360" fmla="*/ 281429 w 961390"/>
                <a:gd name="connsiteY360" fmla="*/ 198329 h 769142"/>
                <a:gd name="connsiteX361" fmla="*/ 277799 w 961390"/>
                <a:gd name="connsiteY361" fmla="*/ 197542 h 769142"/>
                <a:gd name="connsiteX362" fmla="*/ 275954 w 961390"/>
                <a:gd name="connsiteY362" fmla="*/ 197481 h 769142"/>
                <a:gd name="connsiteX363" fmla="*/ 272142 w 961390"/>
                <a:gd name="connsiteY363" fmla="*/ 198964 h 769142"/>
                <a:gd name="connsiteX364" fmla="*/ 270962 w 961390"/>
                <a:gd name="connsiteY364" fmla="*/ 199901 h 769142"/>
                <a:gd name="connsiteX365" fmla="*/ 270599 w 961390"/>
                <a:gd name="connsiteY365" fmla="*/ 201111 h 769142"/>
                <a:gd name="connsiteX366" fmla="*/ 270418 w 961390"/>
                <a:gd name="connsiteY366" fmla="*/ 202563 h 769142"/>
                <a:gd name="connsiteX367" fmla="*/ 269782 w 961390"/>
                <a:gd name="connsiteY367" fmla="*/ 204227 h 769142"/>
                <a:gd name="connsiteX368" fmla="*/ 267665 w 961390"/>
                <a:gd name="connsiteY368" fmla="*/ 206496 h 769142"/>
                <a:gd name="connsiteX369" fmla="*/ 265336 w 961390"/>
                <a:gd name="connsiteY369" fmla="*/ 208160 h 769142"/>
                <a:gd name="connsiteX370" fmla="*/ 263339 w 961390"/>
                <a:gd name="connsiteY370" fmla="*/ 210096 h 769142"/>
                <a:gd name="connsiteX371" fmla="*/ 262310 w 961390"/>
                <a:gd name="connsiteY371" fmla="*/ 213121 h 769142"/>
                <a:gd name="connsiteX372" fmla="*/ 262431 w 961390"/>
                <a:gd name="connsiteY372" fmla="*/ 214543 h 769142"/>
                <a:gd name="connsiteX373" fmla="*/ 263309 w 961390"/>
                <a:gd name="connsiteY373" fmla="*/ 217750 h 769142"/>
                <a:gd name="connsiteX374" fmla="*/ 263369 w 961390"/>
                <a:gd name="connsiteY374" fmla="*/ 219081 h 769142"/>
                <a:gd name="connsiteX375" fmla="*/ 262915 w 961390"/>
                <a:gd name="connsiteY375" fmla="*/ 220412 h 769142"/>
                <a:gd name="connsiteX376" fmla="*/ 262401 w 961390"/>
                <a:gd name="connsiteY376" fmla="*/ 220714 h 769142"/>
                <a:gd name="connsiteX377" fmla="*/ 261735 w 961390"/>
                <a:gd name="connsiteY377" fmla="*/ 220745 h 769142"/>
                <a:gd name="connsiteX378" fmla="*/ 260737 w 961390"/>
                <a:gd name="connsiteY378" fmla="*/ 221198 h 769142"/>
                <a:gd name="connsiteX379" fmla="*/ 258529 w 961390"/>
                <a:gd name="connsiteY379" fmla="*/ 223013 h 769142"/>
                <a:gd name="connsiteX380" fmla="*/ 257470 w 961390"/>
                <a:gd name="connsiteY380" fmla="*/ 224465 h 769142"/>
                <a:gd name="connsiteX381" fmla="*/ 257167 w 961390"/>
                <a:gd name="connsiteY381" fmla="*/ 226583 h 769142"/>
                <a:gd name="connsiteX382" fmla="*/ 257500 w 961390"/>
                <a:gd name="connsiteY382" fmla="*/ 234781 h 769142"/>
                <a:gd name="connsiteX383" fmla="*/ 257319 w 961390"/>
                <a:gd name="connsiteY383" fmla="*/ 236415 h 769142"/>
                <a:gd name="connsiteX384" fmla="*/ 256956 w 961390"/>
                <a:gd name="connsiteY384" fmla="*/ 238109 h 769142"/>
                <a:gd name="connsiteX385" fmla="*/ 256411 w 961390"/>
                <a:gd name="connsiteY385" fmla="*/ 239591 h 769142"/>
                <a:gd name="connsiteX386" fmla="*/ 255988 w 961390"/>
                <a:gd name="connsiteY386" fmla="*/ 241164 h 769142"/>
                <a:gd name="connsiteX387" fmla="*/ 255867 w 961390"/>
                <a:gd name="connsiteY387" fmla="*/ 243191 h 769142"/>
                <a:gd name="connsiteX388" fmla="*/ 256532 w 961390"/>
                <a:gd name="connsiteY388" fmla="*/ 246338 h 769142"/>
                <a:gd name="connsiteX389" fmla="*/ 259043 w 961390"/>
                <a:gd name="connsiteY389" fmla="*/ 252025 h 769142"/>
                <a:gd name="connsiteX390" fmla="*/ 259588 w 961390"/>
                <a:gd name="connsiteY390" fmla="*/ 255110 h 769142"/>
                <a:gd name="connsiteX391" fmla="*/ 259104 w 961390"/>
                <a:gd name="connsiteY391" fmla="*/ 258287 h 769142"/>
                <a:gd name="connsiteX392" fmla="*/ 257682 w 961390"/>
                <a:gd name="connsiteY392" fmla="*/ 260767 h 769142"/>
                <a:gd name="connsiteX393" fmla="*/ 255776 w 961390"/>
                <a:gd name="connsiteY393" fmla="*/ 262552 h 769142"/>
                <a:gd name="connsiteX394" fmla="*/ 249605 w 961390"/>
                <a:gd name="connsiteY394" fmla="*/ 265940 h 769142"/>
                <a:gd name="connsiteX395" fmla="*/ 248062 w 961390"/>
                <a:gd name="connsiteY395" fmla="*/ 267846 h 769142"/>
                <a:gd name="connsiteX396" fmla="*/ 246973 w 961390"/>
                <a:gd name="connsiteY396" fmla="*/ 271083 h 769142"/>
                <a:gd name="connsiteX397" fmla="*/ 246519 w 961390"/>
                <a:gd name="connsiteY397" fmla="*/ 275227 h 769142"/>
                <a:gd name="connsiteX398" fmla="*/ 246610 w 961390"/>
                <a:gd name="connsiteY398" fmla="*/ 278555 h 769142"/>
                <a:gd name="connsiteX399" fmla="*/ 246216 w 961390"/>
                <a:gd name="connsiteY399" fmla="*/ 281611 h 769142"/>
                <a:gd name="connsiteX400" fmla="*/ 244432 w 961390"/>
                <a:gd name="connsiteY400" fmla="*/ 285059 h 769142"/>
                <a:gd name="connsiteX401" fmla="*/ 239803 w 961390"/>
                <a:gd name="connsiteY401" fmla="*/ 290172 h 769142"/>
                <a:gd name="connsiteX402" fmla="*/ 237897 w 961390"/>
                <a:gd name="connsiteY402" fmla="*/ 293621 h 769142"/>
                <a:gd name="connsiteX403" fmla="*/ 237776 w 961390"/>
                <a:gd name="connsiteY403" fmla="*/ 297614 h 769142"/>
                <a:gd name="connsiteX404" fmla="*/ 239138 w 961390"/>
                <a:gd name="connsiteY404" fmla="*/ 299641 h 769142"/>
                <a:gd name="connsiteX405" fmla="*/ 241346 w 961390"/>
                <a:gd name="connsiteY405" fmla="*/ 300427 h 769142"/>
                <a:gd name="connsiteX406" fmla="*/ 245702 w 961390"/>
                <a:gd name="connsiteY406" fmla="*/ 300155 h 769142"/>
                <a:gd name="connsiteX407" fmla="*/ 251722 w 961390"/>
                <a:gd name="connsiteY407" fmla="*/ 297220 h 769142"/>
                <a:gd name="connsiteX408" fmla="*/ 253265 w 961390"/>
                <a:gd name="connsiteY408" fmla="*/ 296857 h 769142"/>
                <a:gd name="connsiteX409" fmla="*/ 254596 w 961390"/>
                <a:gd name="connsiteY409" fmla="*/ 297614 h 769142"/>
                <a:gd name="connsiteX410" fmla="*/ 255201 w 961390"/>
                <a:gd name="connsiteY410" fmla="*/ 298915 h 769142"/>
                <a:gd name="connsiteX411" fmla="*/ 255504 w 961390"/>
                <a:gd name="connsiteY411" fmla="*/ 300457 h 769142"/>
                <a:gd name="connsiteX412" fmla="*/ 256563 w 961390"/>
                <a:gd name="connsiteY412" fmla="*/ 303271 h 769142"/>
                <a:gd name="connsiteX413" fmla="*/ 256956 w 961390"/>
                <a:gd name="connsiteY413" fmla="*/ 303845 h 769142"/>
                <a:gd name="connsiteX414" fmla="*/ 257349 w 961390"/>
                <a:gd name="connsiteY414" fmla="*/ 303936 h 769142"/>
                <a:gd name="connsiteX415" fmla="*/ 258499 w 961390"/>
                <a:gd name="connsiteY415" fmla="*/ 303573 h 769142"/>
                <a:gd name="connsiteX416" fmla="*/ 258982 w 961390"/>
                <a:gd name="connsiteY416" fmla="*/ 303664 h 769142"/>
                <a:gd name="connsiteX417" fmla="*/ 259951 w 961390"/>
                <a:gd name="connsiteY417" fmla="*/ 304662 h 769142"/>
                <a:gd name="connsiteX418" fmla="*/ 260828 w 961390"/>
                <a:gd name="connsiteY418" fmla="*/ 305842 h 769142"/>
                <a:gd name="connsiteX419" fmla="*/ 261614 w 961390"/>
                <a:gd name="connsiteY419" fmla="*/ 307264 h 769142"/>
                <a:gd name="connsiteX420" fmla="*/ 262310 w 961390"/>
                <a:gd name="connsiteY420" fmla="*/ 309018 h 769142"/>
                <a:gd name="connsiteX421" fmla="*/ 262704 w 961390"/>
                <a:gd name="connsiteY421" fmla="*/ 309533 h 769142"/>
                <a:gd name="connsiteX422" fmla="*/ 263248 w 961390"/>
                <a:gd name="connsiteY422" fmla="*/ 309714 h 769142"/>
                <a:gd name="connsiteX423" fmla="*/ 263732 w 961390"/>
                <a:gd name="connsiteY423" fmla="*/ 310047 h 769142"/>
                <a:gd name="connsiteX424" fmla="*/ 264004 w 961390"/>
                <a:gd name="connsiteY424" fmla="*/ 311015 h 769142"/>
                <a:gd name="connsiteX425" fmla="*/ 263762 w 961390"/>
                <a:gd name="connsiteY425" fmla="*/ 311711 h 769142"/>
                <a:gd name="connsiteX426" fmla="*/ 262552 w 961390"/>
                <a:gd name="connsiteY426" fmla="*/ 313193 h 769142"/>
                <a:gd name="connsiteX427" fmla="*/ 262250 w 961390"/>
                <a:gd name="connsiteY427" fmla="*/ 313919 h 769142"/>
                <a:gd name="connsiteX428" fmla="*/ 262159 w 961390"/>
                <a:gd name="connsiteY428" fmla="*/ 321149 h 769142"/>
                <a:gd name="connsiteX429" fmla="*/ 261372 w 961390"/>
                <a:gd name="connsiteY429" fmla="*/ 323630 h 769142"/>
                <a:gd name="connsiteX430" fmla="*/ 259043 w 961390"/>
                <a:gd name="connsiteY430" fmla="*/ 325233 h 769142"/>
                <a:gd name="connsiteX431" fmla="*/ 257833 w 961390"/>
                <a:gd name="connsiteY431" fmla="*/ 325385 h 769142"/>
                <a:gd name="connsiteX432" fmla="*/ 254082 w 961390"/>
                <a:gd name="connsiteY432" fmla="*/ 324900 h 769142"/>
                <a:gd name="connsiteX433" fmla="*/ 252993 w 961390"/>
                <a:gd name="connsiteY433" fmla="*/ 325385 h 769142"/>
                <a:gd name="connsiteX434" fmla="*/ 251389 w 961390"/>
                <a:gd name="connsiteY434" fmla="*/ 327411 h 769142"/>
                <a:gd name="connsiteX435" fmla="*/ 250331 w 961390"/>
                <a:gd name="connsiteY435" fmla="*/ 327986 h 769142"/>
                <a:gd name="connsiteX436" fmla="*/ 248122 w 961390"/>
                <a:gd name="connsiteY436" fmla="*/ 328046 h 769142"/>
                <a:gd name="connsiteX437" fmla="*/ 239229 w 961390"/>
                <a:gd name="connsiteY437" fmla="*/ 326685 h 769142"/>
                <a:gd name="connsiteX438" fmla="*/ 236506 w 961390"/>
                <a:gd name="connsiteY438" fmla="*/ 325475 h 769142"/>
                <a:gd name="connsiteX439" fmla="*/ 234207 w 961390"/>
                <a:gd name="connsiteY439" fmla="*/ 323448 h 769142"/>
                <a:gd name="connsiteX440" fmla="*/ 233481 w 961390"/>
                <a:gd name="connsiteY440" fmla="*/ 320635 h 769142"/>
                <a:gd name="connsiteX441" fmla="*/ 234207 w 961390"/>
                <a:gd name="connsiteY441" fmla="*/ 319516 h 769142"/>
                <a:gd name="connsiteX442" fmla="*/ 237080 w 961390"/>
                <a:gd name="connsiteY442" fmla="*/ 318608 h 769142"/>
                <a:gd name="connsiteX443" fmla="*/ 237806 w 961390"/>
                <a:gd name="connsiteY443" fmla="*/ 317428 h 769142"/>
                <a:gd name="connsiteX444" fmla="*/ 237262 w 961390"/>
                <a:gd name="connsiteY444" fmla="*/ 316067 h 769142"/>
                <a:gd name="connsiteX445" fmla="*/ 234842 w 961390"/>
                <a:gd name="connsiteY445" fmla="*/ 314887 h 769142"/>
                <a:gd name="connsiteX446" fmla="*/ 235054 w 961390"/>
                <a:gd name="connsiteY446" fmla="*/ 313284 h 769142"/>
                <a:gd name="connsiteX447" fmla="*/ 237141 w 961390"/>
                <a:gd name="connsiteY447" fmla="*/ 312225 h 769142"/>
                <a:gd name="connsiteX448" fmla="*/ 239470 w 961390"/>
                <a:gd name="connsiteY448" fmla="*/ 312407 h 769142"/>
                <a:gd name="connsiteX449" fmla="*/ 240318 w 961390"/>
                <a:gd name="connsiteY449" fmla="*/ 311801 h 769142"/>
                <a:gd name="connsiteX450" fmla="*/ 233238 w 961390"/>
                <a:gd name="connsiteY450" fmla="*/ 302877 h 769142"/>
                <a:gd name="connsiteX451" fmla="*/ 232755 w 961390"/>
                <a:gd name="connsiteY451" fmla="*/ 301970 h 769142"/>
                <a:gd name="connsiteX452" fmla="*/ 232089 w 961390"/>
                <a:gd name="connsiteY452" fmla="*/ 301395 h 769142"/>
                <a:gd name="connsiteX453" fmla="*/ 230788 w 961390"/>
                <a:gd name="connsiteY453" fmla="*/ 301093 h 769142"/>
                <a:gd name="connsiteX454" fmla="*/ 228247 w 961390"/>
                <a:gd name="connsiteY454" fmla="*/ 302212 h 769142"/>
                <a:gd name="connsiteX455" fmla="*/ 224224 w 961390"/>
                <a:gd name="connsiteY455" fmla="*/ 307718 h 769142"/>
                <a:gd name="connsiteX456" fmla="*/ 221773 w 961390"/>
                <a:gd name="connsiteY456" fmla="*/ 309170 h 769142"/>
                <a:gd name="connsiteX457" fmla="*/ 213515 w 961390"/>
                <a:gd name="connsiteY457" fmla="*/ 309593 h 769142"/>
                <a:gd name="connsiteX458" fmla="*/ 207132 w 961390"/>
                <a:gd name="connsiteY458" fmla="*/ 307506 h 769142"/>
                <a:gd name="connsiteX459" fmla="*/ 205347 w 961390"/>
                <a:gd name="connsiteY459" fmla="*/ 307778 h 769142"/>
                <a:gd name="connsiteX460" fmla="*/ 204046 w 961390"/>
                <a:gd name="connsiteY460" fmla="*/ 309835 h 769142"/>
                <a:gd name="connsiteX461" fmla="*/ 201989 w 961390"/>
                <a:gd name="connsiteY461" fmla="*/ 317277 h 769142"/>
                <a:gd name="connsiteX462" fmla="*/ 200325 w 961390"/>
                <a:gd name="connsiteY462" fmla="*/ 320574 h 769142"/>
                <a:gd name="connsiteX463" fmla="*/ 196211 w 961390"/>
                <a:gd name="connsiteY463" fmla="*/ 324810 h 769142"/>
                <a:gd name="connsiteX464" fmla="*/ 191824 w 961390"/>
                <a:gd name="connsiteY464" fmla="*/ 327442 h 769142"/>
                <a:gd name="connsiteX465" fmla="*/ 187317 w 961390"/>
                <a:gd name="connsiteY465" fmla="*/ 328137 h 769142"/>
                <a:gd name="connsiteX466" fmla="*/ 179391 w 961390"/>
                <a:gd name="connsiteY466" fmla="*/ 325263 h 769142"/>
                <a:gd name="connsiteX467" fmla="*/ 174732 w 961390"/>
                <a:gd name="connsiteY467" fmla="*/ 324658 h 769142"/>
                <a:gd name="connsiteX468" fmla="*/ 170074 w 961390"/>
                <a:gd name="connsiteY468" fmla="*/ 325142 h 769142"/>
                <a:gd name="connsiteX469" fmla="*/ 169590 w 961390"/>
                <a:gd name="connsiteY469" fmla="*/ 325445 h 769142"/>
                <a:gd name="connsiteX470" fmla="*/ 166625 w 961390"/>
                <a:gd name="connsiteY470" fmla="*/ 327079 h 769142"/>
                <a:gd name="connsiteX471" fmla="*/ 166232 w 961390"/>
                <a:gd name="connsiteY471" fmla="*/ 328077 h 769142"/>
                <a:gd name="connsiteX472" fmla="*/ 166202 w 961390"/>
                <a:gd name="connsiteY472" fmla="*/ 329287 h 769142"/>
                <a:gd name="connsiteX473" fmla="*/ 166322 w 961390"/>
                <a:gd name="connsiteY473" fmla="*/ 330315 h 769142"/>
                <a:gd name="connsiteX474" fmla="*/ 166262 w 961390"/>
                <a:gd name="connsiteY474" fmla="*/ 330920 h 769142"/>
                <a:gd name="connsiteX475" fmla="*/ 164387 w 961390"/>
                <a:gd name="connsiteY475" fmla="*/ 332009 h 769142"/>
                <a:gd name="connsiteX476" fmla="*/ 163509 w 961390"/>
                <a:gd name="connsiteY476" fmla="*/ 333068 h 769142"/>
                <a:gd name="connsiteX477" fmla="*/ 162874 w 961390"/>
                <a:gd name="connsiteY477" fmla="*/ 333099 h 769142"/>
                <a:gd name="connsiteX478" fmla="*/ 162692 w 961390"/>
                <a:gd name="connsiteY478" fmla="*/ 333643 h 769142"/>
                <a:gd name="connsiteX479" fmla="*/ 163146 w 961390"/>
                <a:gd name="connsiteY479" fmla="*/ 336033 h 769142"/>
                <a:gd name="connsiteX480" fmla="*/ 164356 w 961390"/>
                <a:gd name="connsiteY480" fmla="*/ 339451 h 769142"/>
                <a:gd name="connsiteX481" fmla="*/ 165717 w 961390"/>
                <a:gd name="connsiteY481" fmla="*/ 342144 h 769142"/>
                <a:gd name="connsiteX482" fmla="*/ 166595 w 961390"/>
                <a:gd name="connsiteY482" fmla="*/ 345139 h 769142"/>
                <a:gd name="connsiteX483" fmla="*/ 166413 w 961390"/>
                <a:gd name="connsiteY483" fmla="*/ 349434 h 769142"/>
                <a:gd name="connsiteX484" fmla="*/ 166383 w 961390"/>
                <a:gd name="connsiteY484" fmla="*/ 349434 h 769142"/>
                <a:gd name="connsiteX485" fmla="*/ 166383 w 961390"/>
                <a:gd name="connsiteY485" fmla="*/ 349465 h 769142"/>
                <a:gd name="connsiteX486" fmla="*/ 165082 w 961390"/>
                <a:gd name="connsiteY486" fmla="*/ 352127 h 769142"/>
                <a:gd name="connsiteX487" fmla="*/ 163297 w 961390"/>
                <a:gd name="connsiteY487" fmla="*/ 353034 h 769142"/>
                <a:gd name="connsiteX488" fmla="*/ 156793 w 961390"/>
                <a:gd name="connsiteY488" fmla="*/ 354002 h 769142"/>
                <a:gd name="connsiteX489" fmla="*/ 154948 w 961390"/>
                <a:gd name="connsiteY489" fmla="*/ 353881 h 769142"/>
                <a:gd name="connsiteX490" fmla="*/ 153465 w 961390"/>
                <a:gd name="connsiteY490" fmla="*/ 352520 h 769142"/>
                <a:gd name="connsiteX491" fmla="*/ 152165 w 961390"/>
                <a:gd name="connsiteY491" fmla="*/ 349465 h 769142"/>
                <a:gd name="connsiteX492" fmla="*/ 151802 w 961390"/>
                <a:gd name="connsiteY492" fmla="*/ 349253 h 769142"/>
                <a:gd name="connsiteX493" fmla="*/ 151439 w 961390"/>
                <a:gd name="connsiteY493" fmla="*/ 349162 h 769142"/>
                <a:gd name="connsiteX494" fmla="*/ 151046 w 961390"/>
                <a:gd name="connsiteY494" fmla="*/ 349222 h 769142"/>
                <a:gd name="connsiteX495" fmla="*/ 148656 w 961390"/>
                <a:gd name="connsiteY495" fmla="*/ 350917 h 769142"/>
                <a:gd name="connsiteX496" fmla="*/ 142212 w 961390"/>
                <a:gd name="connsiteY496" fmla="*/ 352096 h 769142"/>
                <a:gd name="connsiteX497" fmla="*/ 137160 w 961390"/>
                <a:gd name="connsiteY497" fmla="*/ 354789 h 769142"/>
                <a:gd name="connsiteX498" fmla="*/ 125634 w 961390"/>
                <a:gd name="connsiteY498" fmla="*/ 364318 h 769142"/>
                <a:gd name="connsiteX499" fmla="*/ 121974 w 961390"/>
                <a:gd name="connsiteY499" fmla="*/ 366012 h 769142"/>
                <a:gd name="connsiteX500" fmla="*/ 118374 w 961390"/>
                <a:gd name="connsiteY500" fmla="*/ 365982 h 769142"/>
                <a:gd name="connsiteX501" fmla="*/ 115167 w 961390"/>
                <a:gd name="connsiteY501" fmla="*/ 365104 h 769142"/>
                <a:gd name="connsiteX502" fmla="*/ 111749 w 961390"/>
                <a:gd name="connsiteY502" fmla="*/ 365226 h 769142"/>
                <a:gd name="connsiteX503" fmla="*/ 109813 w 961390"/>
                <a:gd name="connsiteY503" fmla="*/ 364893 h 769142"/>
                <a:gd name="connsiteX504" fmla="*/ 108754 w 961390"/>
                <a:gd name="connsiteY504" fmla="*/ 363380 h 769142"/>
                <a:gd name="connsiteX505" fmla="*/ 106999 w 961390"/>
                <a:gd name="connsiteY505" fmla="*/ 358873 h 769142"/>
                <a:gd name="connsiteX506" fmla="*/ 104186 w 961390"/>
                <a:gd name="connsiteY506" fmla="*/ 355727 h 769142"/>
                <a:gd name="connsiteX507" fmla="*/ 101010 w 961390"/>
                <a:gd name="connsiteY507" fmla="*/ 354698 h 769142"/>
                <a:gd name="connsiteX508" fmla="*/ 97712 w 961390"/>
                <a:gd name="connsiteY508" fmla="*/ 355273 h 769142"/>
                <a:gd name="connsiteX509" fmla="*/ 91480 w 961390"/>
                <a:gd name="connsiteY509" fmla="*/ 358358 h 769142"/>
                <a:gd name="connsiteX510" fmla="*/ 88516 w 961390"/>
                <a:gd name="connsiteY510" fmla="*/ 359115 h 769142"/>
                <a:gd name="connsiteX511" fmla="*/ 82072 w 961390"/>
                <a:gd name="connsiteY511" fmla="*/ 359175 h 769142"/>
                <a:gd name="connsiteX512" fmla="*/ 80409 w 961390"/>
                <a:gd name="connsiteY512" fmla="*/ 358812 h 769142"/>
                <a:gd name="connsiteX513" fmla="*/ 77444 w 961390"/>
                <a:gd name="connsiteY513" fmla="*/ 357058 h 769142"/>
                <a:gd name="connsiteX514" fmla="*/ 75871 w 961390"/>
                <a:gd name="connsiteY514" fmla="*/ 356453 h 769142"/>
                <a:gd name="connsiteX515" fmla="*/ 74358 w 961390"/>
                <a:gd name="connsiteY515" fmla="*/ 356725 h 769142"/>
                <a:gd name="connsiteX516" fmla="*/ 66674 w 961390"/>
                <a:gd name="connsiteY516" fmla="*/ 360809 h 769142"/>
                <a:gd name="connsiteX517" fmla="*/ 65918 w 961390"/>
                <a:gd name="connsiteY517" fmla="*/ 360930 h 769142"/>
                <a:gd name="connsiteX518" fmla="*/ 65041 w 961390"/>
                <a:gd name="connsiteY518" fmla="*/ 360688 h 769142"/>
                <a:gd name="connsiteX519" fmla="*/ 63226 w 961390"/>
                <a:gd name="connsiteY519" fmla="*/ 359720 h 769142"/>
                <a:gd name="connsiteX520" fmla="*/ 62530 w 961390"/>
                <a:gd name="connsiteY520" fmla="*/ 359569 h 769142"/>
                <a:gd name="connsiteX521" fmla="*/ 60987 w 961390"/>
                <a:gd name="connsiteY521" fmla="*/ 360143 h 769142"/>
                <a:gd name="connsiteX522" fmla="*/ 59233 w 961390"/>
                <a:gd name="connsiteY522" fmla="*/ 361323 h 769142"/>
                <a:gd name="connsiteX523" fmla="*/ 52940 w 961390"/>
                <a:gd name="connsiteY523" fmla="*/ 362140 h 769142"/>
                <a:gd name="connsiteX524" fmla="*/ 48009 w 961390"/>
                <a:gd name="connsiteY524" fmla="*/ 364106 h 769142"/>
                <a:gd name="connsiteX525" fmla="*/ 46436 w 961390"/>
                <a:gd name="connsiteY525" fmla="*/ 364227 h 769142"/>
                <a:gd name="connsiteX526" fmla="*/ 44712 w 961390"/>
                <a:gd name="connsiteY526" fmla="*/ 363683 h 769142"/>
                <a:gd name="connsiteX527" fmla="*/ 35667 w 961390"/>
                <a:gd name="connsiteY527" fmla="*/ 358631 h 769142"/>
                <a:gd name="connsiteX528" fmla="*/ 32188 w 961390"/>
                <a:gd name="connsiteY528" fmla="*/ 357784 h 769142"/>
                <a:gd name="connsiteX529" fmla="*/ 32309 w 961390"/>
                <a:gd name="connsiteY529" fmla="*/ 362382 h 769142"/>
                <a:gd name="connsiteX530" fmla="*/ 33367 w 961390"/>
                <a:gd name="connsiteY530" fmla="*/ 366224 h 769142"/>
                <a:gd name="connsiteX531" fmla="*/ 34699 w 961390"/>
                <a:gd name="connsiteY531" fmla="*/ 369824 h 769142"/>
                <a:gd name="connsiteX532" fmla="*/ 35697 w 961390"/>
                <a:gd name="connsiteY532" fmla="*/ 373787 h 769142"/>
                <a:gd name="connsiteX533" fmla="*/ 36634 w 961390"/>
                <a:gd name="connsiteY533" fmla="*/ 382106 h 769142"/>
                <a:gd name="connsiteX534" fmla="*/ 37694 w 961390"/>
                <a:gd name="connsiteY534" fmla="*/ 385313 h 769142"/>
                <a:gd name="connsiteX535" fmla="*/ 40144 w 961390"/>
                <a:gd name="connsiteY535" fmla="*/ 388610 h 769142"/>
                <a:gd name="connsiteX536" fmla="*/ 40144 w 961390"/>
                <a:gd name="connsiteY536" fmla="*/ 388640 h 769142"/>
                <a:gd name="connsiteX537" fmla="*/ 40144 w 961390"/>
                <a:gd name="connsiteY537" fmla="*/ 388640 h 769142"/>
                <a:gd name="connsiteX538" fmla="*/ 40386 w 961390"/>
                <a:gd name="connsiteY538" fmla="*/ 398200 h 769142"/>
                <a:gd name="connsiteX539" fmla="*/ 42776 w 961390"/>
                <a:gd name="connsiteY539" fmla="*/ 409090 h 769142"/>
                <a:gd name="connsiteX540" fmla="*/ 51337 w 961390"/>
                <a:gd name="connsiteY540" fmla="*/ 433261 h 769142"/>
                <a:gd name="connsiteX541" fmla="*/ 56056 w 961390"/>
                <a:gd name="connsiteY541" fmla="*/ 442336 h 769142"/>
                <a:gd name="connsiteX542" fmla="*/ 58083 w 961390"/>
                <a:gd name="connsiteY542" fmla="*/ 447237 h 769142"/>
                <a:gd name="connsiteX543" fmla="*/ 62106 w 961390"/>
                <a:gd name="connsiteY543" fmla="*/ 461879 h 769142"/>
                <a:gd name="connsiteX544" fmla="*/ 63891 w 961390"/>
                <a:gd name="connsiteY544" fmla="*/ 466265 h 769142"/>
                <a:gd name="connsiteX545" fmla="*/ 65706 w 961390"/>
                <a:gd name="connsiteY545" fmla="*/ 468504 h 769142"/>
                <a:gd name="connsiteX546" fmla="*/ 66674 w 961390"/>
                <a:gd name="connsiteY546" fmla="*/ 470682 h 769142"/>
                <a:gd name="connsiteX547" fmla="*/ 67461 w 961390"/>
                <a:gd name="connsiteY547" fmla="*/ 472921 h 769142"/>
                <a:gd name="connsiteX548" fmla="*/ 68671 w 961390"/>
                <a:gd name="connsiteY548" fmla="*/ 475311 h 769142"/>
                <a:gd name="connsiteX549" fmla="*/ 70486 w 961390"/>
                <a:gd name="connsiteY549" fmla="*/ 477126 h 769142"/>
                <a:gd name="connsiteX550" fmla="*/ 72180 w 961390"/>
                <a:gd name="connsiteY550" fmla="*/ 478366 h 769142"/>
                <a:gd name="connsiteX551" fmla="*/ 73239 w 961390"/>
                <a:gd name="connsiteY551" fmla="*/ 480211 h 769142"/>
                <a:gd name="connsiteX552" fmla="*/ 73027 w 961390"/>
                <a:gd name="connsiteY552" fmla="*/ 483962 h 769142"/>
                <a:gd name="connsiteX553" fmla="*/ 72120 w 961390"/>
                <a:gd name="connsiteY553" fmla="*/ 486171 h 769142"/>
                <a:gd name="connsiteX554" fmla="*/ 70879 w 961390"/>
                <a:gd name="connsiteY554" fmla="*/ 488016 h 769142"/>
                <a:gd name="connsiteX555" fmla="*/ 69941 w 961390"/>
                <a:gd name="connsiteY555" fmla="*/ 490134 h 769142"/>
                <a:gd name="connsiteX556" fmla="*/ 69790 w 961390"/>
                <a:gd name="connsiteY556" fmla="*/ 493159 h 769142"/>
                <a:gd name="connsiteX557" fmla="*/ 70667 w 961390"/>
                <a:gd name="connsiteY557" fmla="*/ 495761 h 769142"/>
                <a:gd name="connsiteX558" fmla="*/ 73692 w 961390"/>
                <a:gd name="connsiteY558" fmla="*/ 499360 h 769142"/>
                <a:gd name="connsiteX559" fmla="*/ 74872 w 961390"/>
                <a:gd name="connsiteY559" fmla="*/ 501629 h 769142"/>
                <a:gd name="connsiteX560" fmla="*/ 75024 w 961390"/>
                <a:gd name="connsiteY560" fmla="*/ 502809 h 769142"/>
                <a:gd name="connsiteX561" fmla="*/ 74782 w 961390"/>
                <a:gd name="connsiteY561" fmla="*/ 504654 h 769142"/>
                <a:gd name="connsiteX562" fmla="*/ 74782 w 961390"/>
                <a:gd name="connsiteY562" fmla="*/ 505653 h 769142"/>
                <a:gd name="connsiteX563" fmla="*/ 75659 w 961390"/>
                <a:gd name="connsiteY563" fmla="*/ 509918 h 769142"/>
                <a:gd name="connsiteX564" fmla="*/ 75689 w 961390"/>
                <a:gd name="connsiteY564" fmla="*/ 511128 h 769142"/>
                <a:gd name="connsiteX565" fmla="*/ 75387 w 961390"/>
                <a:gd name="connsiteY565" fmla="*/ 512096 h 769142"/>
                <a:gd name="connsiteX566" fmla="*/ 74298 w 961390"/>
                <a:gd name="connsiteY566" fmla="*/ 514153 h 769142"/>
                <a:gd name="connsiteX567" fmla="*/ 73995 w 961390"/>
                <a:gd name="connsiteY567" fmla="*/ 515363 h 769142"/>
                <a:gd name="connsiteX568" fmla="*/ 74086 w 961390"/>
                <a:gd name="connsiteY568" fmla="*/ 516997 h 769142"/>
                <a:gd name="connsiteX569" fmla="*/ 74449 w 961390"/>
                <a:gd name="connsiteY569" fmla="*/ 517935 h 769142"/>
                <a:gd name="connsiteX570" fmla="*/ 74842 w 961390"/>
                <a:gd name="connsiteY570" fmla="*/ 518691 h 769142"/>
                <a:gd name="connsiteX571" fmla="*/ 75115 w 961390"/>
                <a:gd name="connsiteY571" fmla="*/ 519871 h 769142"/>
                <a:gd name="connsiteX572" fmla="*/ 75961 w 961390"/>
                <a:gd name="connsiteY572" fmla="*/ 538415 h 769142"/>
                <a:gd name="connsiteX573" fmla="*/ 76143 w 961390"/>
                <a:gd name="connsiteY573" fmla="*/ 542983 h 769142"/>
                <a:gd name="connsiteX574" fmla="*/ 74752 w 961390"/>
                <a:gd name="connsiteY574" fmla="*/ 549517 h 769142"/>
                <a:gd name="connsiteX575" fmla="*/ 70758 w 961390"/>
                <a:gd name="connsiteY575" fmla="*/ 554055 h 769142"/>
                <a:gd name="connsiteX576" fmla="*/ 57387 w 961390"/>
                <a:gd name="connsiteY576" fmla="*/ 562435 h 769142"/>
                <a:gd name="connsiteX577" fmla="*/ 40567 w 961390"/>
                <a:gd name="connsiteY577" fmla="*/ 566851 h 769142"/>
                <a:gd name="connsiteX578" fmla="*/ 31674 w 961390"/>
                <a:gd name="connsiteY578" fmla="*/ 571661 h 769142"/>
                <a:gd name="connsiteX579" fmla="*/ 22810 w 961390"/>
                <a:gd name="connsiteY579" fmla="*/ 578438 h 769142"/>
                <a:gd name="connsiteX580" fmla="*/ 10558 w 961390"/>
                <a:gd name="connsiteY580" fmla="*/ 595802 h 769142"/>
                <a:gd name="connsiteX581" fmla="*/ 6504 w 961390"/>
                <a:gd name="connsiteY581" fmla="*/ 600340 h 769142"/>
                <a:gd name="connsiteX582" fmla="*/ 4659 w 961390"/>
                <a:gd name="connsiteY582" fmla="*/ 603002 h 769142"/>
                <a:gd name="connsiteX583" fmla="*/ 0 w 961390"/>
                <a:gd name="connsiteY583" fmla="*/ 611805 h 769142"/>
                <a:gd name="connsiteX584" fmla="*/ 302 w 961390"/>
                <a:gd name="connsiteY584" fmla="*/ 611866 h 769142"/>
                <a:gd name="connsiteX585" fmla="*/ 1029 w 961390"/>
                <a:gd name="connsiteY585" fmla="*/ 612440 h 769142"/>
                <a:gd name="connsiteX586" fmla="*/ 1785 w 961390"/>
                <a:gd name="connsiteY586" fmla="*/ 613015 h 769142"/>
                <a:gd name="connsiteX587" fmla="*/ 2904 w 961390"/>
                <a:gd name="connsiteY587" fmla="*/ 614497 h 769142"/>
                <a:gd name="connsiteX588" fmla="*/ 3207 w 961390"/>
                <a:gd name="connsiteY588" fmla="*/ 616464 h 769142"/>
                <a:gd name="connsiteX589" fmla="*/ 2420 w 961390"/>
                <a:gd name="connsiteY589" fmla="*/ 619156 h 769142"/>
                <a:gd name="connsiteX590" fmla="*/ 4689 w 961390"/>
                <a:gd name="connsiteY590" fmla="*/ 620487 h 769142"/>
                <a:gd name="connsiteX591" fmla="*/ 11919 w 961390"/>
                <a:gd name="connsiteY591" fmla="*/ 622302 h 769142"/>
                <a:gd name="connsiteX592" fmla="*/ 13462 w 961390"/>
                <a:gd name="connsiteY592" fmla="*/ 621728 h 769142"/>
                <a:gd name="connsiteX593" fmla="*/ 14793 w 961390"/>
                <a:gd name="connsiteY593" fmla="*/ 622968 h 769142"/>
                <a:gd name="connsiteX594" fmla="*/ 21025 w 961390"/>
                <a:gd name="connsiteY594" fmla="*/ 625146 h 769142"/>
                <a:gd name="connsiteX595" fmla="*/ 23142 w 961390"/>
                <a:gd name="connsiteY595" fmla="*/ 625327 h 769142"/>
                <a:gd name="connsiteX596" fmla="*/ 23142 w 961390"/>
                <a:gd name="connsiteY596" fmla="*/ 626265 h 769142"/>
                <a:gd name="connsiteX597" fmla="*/ 22416 w 961390"/>
                <a:gd name="connsiteY597" fmla="*/ 627657 h 769142"/>
                <a:gd name="connsiteX598" fmla="*/ 22719 w 961390"/>
                <a:gd name="connsiteY598" fmla="*/ 627899 h 769142"/>
                <a:gd name="connsiteX599" fmla="*/ 24141 w 961390"/>
                <a:gd name="connsiteY599" fmla="*/ 627415 h 769142"/>
                <a:gd name="connsiteX600" fmla="*/ 25411 w 961390"/>
                <a:gd name="connsiteY600" fmla="*/ 627899 h 769142"/>
                <a:gd name="connsiteX601" fmla="*/ 26319 w 961390"/>
                <a:gd name="connsiteY601" fmla="*/ 628776 h 769142"/>
                <a:gd name="connsiteX602" fmla="*/ 27287 w 961390"/>
                <a:gd name="connsiteY602" fmla="*/ 628958 h 769142"/>
                <a:gd name="connsiteX603" fmla="*/ 28648 w 961390"/>
                <a:gd name="connsiteY603" fmla="*/ 627415 h 769142"/>
                <a:gd name="connsiteX604" fmla="*/ 29041 w 961390"/>
                <a:gd name="connsiteY604" fmla="*/ 628080 h 769142"/>
                <a:gd name="connsiteX605" fmla="*/ 30040 w 961390"/>
                <a:gd name="connsiteY605" fmla="*/ 628837 h 769142"/>
                <a:gd name="connsiteX606" fmla="*/ 30705 w 961390"/>
                <a:gd name="connsiteY606" fmla="*/ 629563 h 769142"/>
                <a:gd name="connsiteX607" fmla="*/ 32400 w 961390"/>
                <a:gd name="connsiteY607" fmla="*/ 628050 h 769142"/>
                <a:gd name="connsiteX608" fmla="*/ 32793 w 961390"/>
                <a:gd name="connsiteY608" fmla="*/ 629169 h 769142"/>
                <a:gd name="connsiteX609" fmla="*/ 32520 w 961390"/>
                <a:gd name="connsiteY609" fmla="*/ 630984 h 769142"/>
                <a:gd name="connsiteX610" fmla="*/ 32097 w 961390"/>
                <a:gd name="connsiteY610" fmla="*/ 631529 h 769142"/>
                <a:gd name="connsiteX611" fmla="*/ 34880 w 961390"/>
                <a:gd name="connsiteY611" fmla="*/ 636672 h 769142"/>
                <a:gd name="connsiteX612" fmla="*/ 36846 w 961390"/>
                <a:gd name="connsiteY612" fmla="*/ 637247 h 769142"/>
                <a:gd name="connsiteX613" fmla="*/ 41626 w 961390"/>
                <a:gd name="connsiteY613" fmla="*/ 637095 h 769142"/>
                <a:gd name="connsiteX614" fmla="*/ 43502 w 961390"/>
                <a:gd name="connsiteY614" fmla="*/ 638154 h 769142"/>
                <a:gd name="connsiteX615" fmla="*/ 44167 w 961390"/>
                <a:gd name="connsiteY615" fmla="*/ 639303 h 769142"/>
                <a:gd name="connsiteX616" fmla="*/ 44681 w 961390"/>
                <a:gd name="connsiteY616" fmla="*/ 640544 h 769142"/>
                <a:gd name="connsiteX617" fmla="*/ 45287 w 961390"/>
                <a:gd name="connsiteY617" fmla="*/ 641482 h 769142"/>
                <a:gd name="connsiteX618" fmla="*/ 46255 w 961390"/>
                <a:gd name="connsiteY618" fmla="*/ 641875 h 769142"/>
                <a:gd name="connsiteX619" fmla="*/ 47465 w 961390"/>
                <a:gd name="connsiteY619" fmla="*/ 642661 h 769142"/>
                <a:gd name="connsiteX620" fmla="*/ 47888 w 961390"/>
                <a:gd name="connsiteY620" fmla="*/ 644386 h 769142"/>
                <a:gd name="connsiteX621" fmla="*/ 47979 w 961390"/>
                <a:gd name="connsiteY621" fmla="*/ 646140 h 769142"/>
                <a:gd name="connsiteX622" fmla="*/ 48796 w 961390"/>
                <a:gd name="connsiteY622" fmla="*/ 647986 h 769142"/>
                <a:gd name="connsiteX623" fmla="*/ 50217 w 961390"/>
                <a:gd name="connsiteY623" fmla="*/ 653673 h 769142"/>
                <a:gd name="connsiteX624" fmla="*/ 51367 w 961390"/>
                <a:gd name="connsiteY624" fmla="*/ 656245 h 769142"/>
                <a:gd name="connsiteX625" fmla="*/ 49824 w 961390"/>
                <a:gd name="connsiteY625" fmla="*/ 657303 h 769142"/>
                <a:gd name="connsiteX626" fmla="*/ 48493 w 961390"/>
                <a:gd name="connsiteY626" fmla="*/ 659239 h 769142"/>
                <a:gd name="connsiteX627" fmla="*/ 46587 w 961390"/>
                <a:gd name="connsiteY627" fmla="*/ 663414 h 769142"/>
                <a:gd name="connsiteX628" fmla="*/ 45922 w 961390"/>
                <a:gd name="connsiteY628" fmla="*/ 666167 h 769142"/>
                <a:gd name="connsiteX629" fmla="*/ 45861 w 961390"/>
                <a:gd name="connsiteY629" fmla="*/ 671007 h 769142"/>
                <a:gd name="connsiteX630" fmla="*/ 45196 w 961390"/>
                <a:gd name="connsiteY630" fmla="*/ 672701 h 769142"/>
                <a:gd name="connsiteX631" fmla="*/ 45589 w 961390"/>
                <a:gd name="connsiteY631" fmla="*/ 672853 h 769142"/>
                <a:gd name="connsiteX632" fmla="*/ 45770 w 961390"/>
                <a:gd name="connsiteY632" fmla="*/ 672853 h 769142"/>
                <a:gd name="connsiteX633" fmla="*/ 45861 w 961390"/>
                <a:gd name="connsiteY633" fmla="*/ 673034 h 769142"/>
                <a:gd name="connsiteX634" fmla="*/ 45892 w 961390"/>
                <a:gd name="connsiteY634" fmla="*/ 673730 h 769142"/>
                <a:gd name="connsiteX635" fmla="*/ 44681 w 961390"/>
                <a:gd name="connsiteY635" fmla="*/ 674335 h 769142"/>
                <a:gd name="connsiteX636" fmla="*/ 44288 w 961390"/>
                <a:gd name="connsiteY636" fmla="*/ 677602 h 769142"/>
                <a:gd name="connsiteX637" fmla="*/ 43169 w 961390"/>
                <a:gd name="connsiteY637" fmla="*/ 678812 h 769142"/>
                <a:gd name="connsiteX638" fmla="*/ 44742 w 961390"/>
                <a:gd name="connsiteY638" fmla="*/ 681535 h 769142"/>
                <a:gd name="connsiteX639" fmla="*/ 46587 w 961390"/>
                <a:gd name="connsiteY639" fmla="*/ 683834 h 769142"/>
                <a:gd name="connsiteX640" fmla="*/ 45438 w 961390"/>
                <a:gd name="connsiteY640" fmla="*/ 687312 h 769142"/>
                <a:gd name="connsiteX641" fmla="*/ 43532 w 961390"/>
                <a:gd name="connsiteY641" fmla="*/ 689067 h 769142"/>
                <a:gd name="connsiteX642" fmla="*/ 41414 w 961390"/>
                <a:gd name="connsiteY642" fmla="*/ 690277 h 769142"/>
                <a:gd name="connsiteX643" fmla="*/ 39720 w 961390"/>
                <a:gd name="connsiteY643" fmla="*/ 692092 h 769142"/>
                <a:gd name="connsiteX644" fmla="*/ 39297 w 961390"/>
                <a:gd name="connsiteY644" fmla="*/ 693151 h 769142"/>
                <a:gd name="connsiteX645" fmla="*/ 38903 w 961390"/>
                <a:gd name="connsiteY645" fmla="*/ 694755 h 769142"/>
                <a:gd name="connsiteX646" fmla="*/ 38329 w 961390"/>
                <a:gd name="connsiteY646" fmla="*/ 698203 h 769142"/>
                <a:gd name="connsiteX647" fmla="*/ 38692 w 961390"/>
                <a:gd name="connsiteY647" fmla="*/ 698960 h 769142"/>
                <a:gd name="connsiteX648" fmla="*/ 39357 w 961390"/>
                <a:gd name="connsiteY648" fmla="*/ 700018 h 769142"/>
                <a:gd name="connsiteX649" fmla="*/ 39599 w 961390"/>
                <a:gd name="connsiteY649" fmla="*/ 700926 h 769142"/>
                <a:gd name="connsiteX650" fmla="*/ 38661 w 961390"/>
                <a:gd name="connsiteY650" fmla="*/ 701349 h 769142"/>
                <a:gd name="connsiteX651" fmla="*/ 38268 w 961390"/>
                <a:gd name="connsiteY651" fmla="*/ 701773 h 769142"/>
                <a:gd name="connsiteX652" fmla="*/ 38601 w 961390"/>
                <a:gd name="connsiteY652" fmla="*/ 702711 h 769142"/>
                <a:gd name="connsiteX653" fmla="*/ 39206 w 961390"/>
                <a:gd name="connsiteY653" fmla="*/ 703739 h 769142"/>
                <a:gd name="connsiteX654" fmla="*/ 39720 w 961390"/>
                <a:gd name="connsiteY654" fmla="*/ 704405 h 769142"/>
                <a:gd name="connsiteX655" fmla="*/ 38420 w 961390"/>
                <a:gd name="connsiteY655" fmla="*/ 705857 h 769142"/>
                <a:gd name="connsiteX656" fmla="*/ 37814 w 961390"/>
                <a:gd name="connsiteY656" fmla="*/ 706220 h 769142"/>
                <a:gd name="connsiteX657" fmla="*/ 36907 w 961390"/>
                <a:gd name="connsiteY657" fmla="*/ 706310 h 769142"/>
                <a:gd name="connsiteX658" fmla="*/ 36907 w 961390"/>
                <a:gd name="connsiteY658" fmla="*/ 707430 h 769142"/>
                <a:gd name="connsiteX659" fmla="*/ 38057 w 961390"/>
                <a:gd name="connsiteY659" fmla="*/ 708579 h 769142"/>
                <a:gd name="connsiteX660" fmla="*/ 38177 w 961390"/>
                <a:gd name="connsiteY660" fmla="*/ 710031 h 769142"/>
                <a:gd name="connsiteX661" fmla="*/ 37663 w 961390"/>
                <a:gd name="connsiteY661" fmla="*/ 714055 h 769142"/>
                <a:gd name="connsiteX662" fmla="*/ 37996 w 961390"/>
                <a:gd name="connsiteY662" fmla="*/ 716172 h 769142"/>
                <a:gd name="connsiteX663" fmla="*/ 38873 w 961390"/>
                <a:gd name="connsiteY663" fmla="*/ 718260 h 769142"/>
                <a:gd name="connsiteX664" fmla="*/ 41082 w 961390"/>
                <a:gd name="connsiteY664" fmla="*/ 721739 h 769142"/>
                <a:gd name="connsiteX665" fmla="*/ 40386 w 961390"/>
                <a:gd name="connsiteY665" fmla="*/ 721799 h 769142"/>
                <a:gd name="connsiteX666" fmla="*/ 39720 w 961390"/>
                <a:gd name="connsiteY666" fmla="*/ 721739 h 769142"/>
                <a:gd name="connsiteX667" fmla="*/ 40961 w 961390"/>
                <a:gd name="connsiteY667" fmla="*/ 724068 h 769142"/>
                <a:gd name="connsiteX668" fmla="*/ 42564 w 961390"/>
                <a:gd name="connsiteY668" fmla="*/ 724613 h 769142"/>
                <a:gd name="connsiteX669" fmla="*/ 43925 w 961390"/>
                <a:gd name="connsiteY669" fmla="*/ 725399 h 769142"/>
                <a:gd name="connsiteX670" fmla="*/ 44318 w 961390"/>
                <a:gd name="connsiteY670" fmla="*/ 727365 h 769142"/>
                <a:gd name="connsiteX671" fmla="*/ 45256 w 961390"/>
                <a:gd name="connsiteY671" fmla="*/ 728001 h 769142"/>
                <a:gd name="connsiteX672" fmla="*/ 46103 w 961390"/>
                <a:gd name="connsiteY672" fmla="*/ 727608 h 769142"/>
                <a:gd name="connsiteX673" fmla="*/ 46587 w 961390"/>
                <a:gd name="connsiteY673" fmla="*/ 725339 h 769142"/>
                <a:gd name="connsiteX674" fmla="*/ 46345 w 961390"/>
                <a:gd name="connsiteY674" fmla="*/ 723887 h 769142"/>
                <a:gd name="connsiteX675" fmla="*/ 43623 w 961390"/>
                <a:gd name="connsiteY675" fmla="*/ 716747 h 769142"/>
                <a:gd name="connsiteX676" fmla="*/ 43018 w 961390"/>
                <a:gd name="connsiteY676" fmla="*/ 715568 h 769142"/>
                <a:gd name="connsiteX677" fmla="*/ 43139 w 961390"/>
                <a:gd name="connsiteY677" fmla="*/ 714357 h 769142"/>
                <a:gd name="connsiteX678" fmla="*/ 44349 w 961390"/>
                <a:gd name="connsiteY678" fmla="*/ 712421 h 769142"/>
                <a:gd name="connsiteX679" fmla="*/ 45377 w 961390"/>
                <a:gd name="connsiteY679" fmla="*/ 711423 h 769142"/>
                <a:gd name="connsiteX680" fmla="*/ 46618 w 961390"/>
                <a:gd name="connsiteY680" fmla="*/ 710788 h 769142"/>
                <a:gd name="connsiteX681" fmla="*/ 56389 w 961390"/>
                <a:gd name="connsiteY681" fmla="*/ 708428 h 769142"/>
                <a:gd name="connsiteX682" fmla="*/ 58748 w 961390"/>
                <a:gd name="connsiteY682" fmla="*/ 708488 h 769142"/>
                <a:gd name="connsiteX683" fmla="*/ 65857 w 961390"/>
                <a:gd name="connsiteY683" fmla="*/ 710455 h 769142"/>
                <a:gd name="connsiteX684" fmla="*/ 68368 w 961390"/>
                <a:gd name="connsiteY684" fmla="*/ 710667 h 769142"/>
                <a:gd name="connsiteX685" fmla="*/ 72362 w 961390"/>
                <a:gd name="connsiteY685" fmla="*/ 712149 h 769142"/>
                <a:gd name="connsiteX686" fmla="*/ 75175 w 961390"/>
                <a:gd name="connsiteY686" fmla="*/ 715325 h 769142"/>
                <a:gd name="connsiteX687" fmla="*/ 78049 w 961390"/>
                <a:gd name="connsiteY687" fmla="*/ 717806 h 769142"/>
                <a:gd name="connsiteX688" fmla="*/ 82072 w 961390"/>
                <a:gd name="connsiteY688" fmla="*/ 717201 h 769142"/>
                <a:gd name="connsiteX689" fmla="*/ 97107 w 961390"/>
                <a:gd name="connsiteY689" fmla="*/ 704707 h 769142"/>
                <a:gd name="connsiteX690" fmla="*/ 108512 w 961390"/>
                <a:gd name="connsiteY690" fmla="*/ 697507 h 769142"/>
                <a:gd name="connsiteX691" fmla="*/ 111356 w 961390"/>
                <a:gd name="connsiteY691" fmla="*/ 693817 h 769142"/>
                <a:gd name="connsiteX692" fmla="*/ 113745 w 961390"/>
                <a:gd name="connsiteY692" fmla="*/ 684076 h 769142"/>
                <a:gd name="connsiteX693" fmla="*/ 115288 w 961390"/>
                <a:gd name="connsiteY693" fmla="*/ 681172 h 769142"/>
                <a:gd name="connsiteX694" fmla="*/ 118949 w 961390"/>
                <a:gd name="connsiteY694" fmla="*/ 676150 h 769142"/>
                <a:gd name="connsiteX695" fmla="*/ 121127 w 961390"/>
                <a:gd name="connsiteY695" fmla="*/ 674062 h 769142"/>
                <a:gd name="connsiteX696" fmla="*/ 123275 w 961390"/>
                <a:gd name="connsiteY696" fmla="*/ 673336 h 769142"/>
                <a:gd name="connsiteX697" fmla="*/ 148323 w 961390"/>
                <a:gd name="connsiteY697" fmla="*/ 671521 h 769142"/>
                <a:gd name="connsiteX698" fmla="*/ 154494 w 961390"/>
                <a:gd name="connsiteY698" fmla="*/ 672913 h 769142"/>
                <a:gd name="connsiteX699" fmla="*/ 156581 w 961390"/>
                <a:gd name="connsiteY699" fmla="*/ 672973 h 769142"/>
                <a:gd name="connsiteX700" fmla="*/ 184866 w 961390"/>
                <a:gd name="connsiteY700" fmla="*/ 668768 h 769142"/>
                <a:gd name="connsiteX701" fmla="*/ 193912 w 961390"/>
                <a:gd name="connsiteY701" fmla="*/ 664382 h 769142"/>
                <a:gd name="connsiteX702" fmla="*/ 198480 w 961390"/>
                <a:gd name="connsiteY702" fmla="*/ 663021 h 769142"/>
                <a:gd name="connsiteX703" fmla="*/ 203017 w 961390"/>
                <a:gd name="connsiteY703" fmla="*/ 662900 h 769142"/>
                <a:gd name="connsiteX704" fmla="*/ 219989 w 961390"/>
                <a:gd name="connsiteY704" fmla="*/ 667135 h 769142"/>
                <a:gd name="connsiteX705" fmla="*/ 239652 w 961390"/>
                <a:gd name="connsiteY705" fmla="*/ 667437 h 769142"/>
                <a:gd name="connsiteX706" fmla="*/ 253356 w 961390"/>
                <a:gd name="connsiteY706" fmla="*/ 667649 h 769142"/>
                <a:gd name="connsiteX707" fmla="*/ 261857 w 961390"/>
                <a:gd name="connsiteY707" fmla="*/ 666076 h 769142"/>
                <a:gd name="connsiteX708" fmla="*/ 283305 w 961390"/>
                <a:gd name="connsiteY708" fmla="*/ 669827 h 769142"/>
                <a:gd name="connsiteX709" fmla="*/ 290323 w 961390"/>
                <a:gd name="connsiteY709" fmla="*/ 669615 h 769142"/>
                <a:gd name="connsiteX710" fmla="*/ 293348 w 961390"/>
                <a:gd name="connsiteY710" fmla="*/ 670251 h 769142"/>
                <a:gd name="connsiteX711" fmla="*/ 299822 w 961390"/>
                <a:gd name="connsiteY711" fmla="*/ 675605 h 769142"/>
                <a:gd name="connsiteX712" fmla="*/ 302847 w 961390"/>
                <a:gd name="connsiteY712" fmla="*/ 676815 h 769142"/>
                <a:gd name="connsiteX713" fmla="*/ 326232 w 961390"/>
                <a:gd name="connsiteY713" fmla="*/ 677723 h 769142"/>
                <a:gd name="connsiteX714" fmla="*/ 327441 w 961390"/>
                <a:gd name="connsiteY714" fmla="*/ 678298 h 769142"/>
                <a:gd name="connsiteX715" fmla="*/ 327472 w 961390"/>
                <a:gd name="connsiteY715" fmla="*/ 679356 h 769142"/>
                <a:gd name="connsiteX716" fmla="*/ 327169 w 961390"/>
                <a:gd name="connsiteY716" fmla="*/ 680718 h 769142"/>
                <a:gd name="connsiteX717" fmla="*/ 327411 w 961390"/>
                <a:gd name="connsiteY717" fmla="*/ 682170 h 769142"/>
                <a:gd name="connsiteX718" fmla="*/ 328652 w 961390"/>
                <a:gd name="connsiteY718" fmla="*/ 683773 h 769142"/>
                <a:gd name="connsiteX719" fmla="*/ 330043 w 961390"/>
                <a:gd name="connsiteY719" fmla="*/ 684469 h 769142"/>
                <a:gd name="connsiteX720" fmla="*/ 352218 w 961390"/>
                <a:gd name="connsiteY720" fmla="*/ 685104 h 769142"/>
                <a:gd name="connsiteX721" fmla="*/ 371216 w 961390"/>
                <a:gd name="connsiteY721" fmla="*/ 692849 h 769142"/>
                <a:gd name="connsiteX722" fmla="*/ 377871 w 961390"/>
                <a:gd name="connsiteY722" fmla="*/ 693877 h 769142"/>
                <a:gd name="connsiteX723" fmla="*/ 388005 w 961390"/>
                <a:gd name="connsiteY723" fmla="*/ 690580 h 769142"/>
                <a:gd name="connsiteX724" fmla="*/ 396899 w 961390"/>
                <a:gd name="connsiteY724" fmla="*/ 690913 h 769142"/>
                <a:gd name="connsiteX725" fmla="*/ 401043 w 961390"/>
                <a:gd name="connsiteY725" fmla="*/ 691760 h 769142"/>
                <a:gd name="connsiteX726" fmla="*/ 403736 w 961390"/>
                <a:gd name="connsiteY726" fmla="*/ 693212 h 769142"/>
                <a:gd name="connsiteX727" fmla="*/ 404371 w 961390"/>
                <a:gd name="connsiteY727" fmla="*/ 695541 h 769142"/>
                <a:gd name="connsiteX728" fmla="*/ 404099 w 961390"/>
                <a:gd name="connsiteY728" fmla="*/ 698717 h 769142"/>
                <a:gd name="connsiteX729" fmla="*/ 404038 w 961390"/>
                <a:gd name="connsiteY729" fmla="*/ 702680 h 769142"/>
                <a:gd name="connsiteX730" fmla="*/ 404855 w 961390"/>
                <a:gd name="connsiteY730" fmla="*/ 705615 h 769142"/>
                <a:gd name="connsiteX731" fmla="*/ 406337 w 961390"/>
                <a:gd name="connsiteY731" fmla="*/ 706916 h 769142"/>
                <a:gd name="connsiteX732" fmla="*/ 408364 w 961390"/>
                <a:gd name="connsiteY732" fmla="*/ 707097 h 769142"/>
                <a:gd name="connsiteX733" fmla="*/ 410784 w 961390"/>
                <a:gd name="connsiteY733" fmla="*/ 706825 h 769142"/>
                <a:gd name="connsiteX734" fmla="*/ 413749 w 961390"/>
                <a:gd name="connsiteY734" fmla="*/ 707490 h 769142"/>
                <a:gd name="connsiteX735" fmla="*/ 413446 w 961390"/>
                <a:gd name="connsiteY735" fmla="*/ 710062 h 769142"/>
                <a:gd name="connsiteX736" fmla="*/ 411964 w 961390"/>
                <a:gd name="connsiteY736" fmla="*/ 713268 h 769142"/>
                <a:gd name="connsiteX737" fmla="*/ 411389 w 961390"/>
                <a:gd name="connsiteY737" fmla="*/ 715779 h 769142"/>
                <a:gd name="connsiteX738" fmla="*/ 412751 w 961390"/>
                <a:gd name="connsiteY738" fmla="*/ 716959 h 769142"/>
                <a:gd name="connsiteX739" fmla="*/ 414929 w 961390"/>
                <a:gd name="connsiteY739" fmla="*/ 716747 h 769142"/>
                <a:gd name="connsiteX740" fmla="*/ 418952 w 961390"/>
                <a:gd name="connsiteY740" fmla="*/ 715568 h 769142"/>
                <a:gd name="connsiteX741" fmla="*/ 424912 w 961390"/>
                <a:gd name="connsiteY741" fmla="*/ 716475 h 769142"/>
                <a:gd name="connsiteX742" fmla="*/ 426999 w 961390"/>
                <a:gd name="connsiteY742" fmla="*/ 716354 h 769142"/>
                <a:gd name="connsiteX743" fmla="*/ 429207 w 961390"/>
                <a:gd name="connsiteY743" fmla="*/ 715325 h 769142"/>
                <a:gd name="connsiteX744" fmla="*/ 431991 w 961390"/>
                <a:gd name="connsiteY744" fmla="*/ 712512 h 769142"/>
                <a:gd name="connsiteX745" fmla="*/ 433866 w 961390"/>
                <a:gd name="connsiteY745" fmla="*/ 711574 h 769142"/>
                <a:gd name="connsiteX746" fmla="*/ 437406 w 961390"/>
                <a:gd name="connsiteY746" fmla="*/ 711665 h 769142"/>
                <a:gd name="connsiteX747" fmla="*/ 437406 w 961390"/>
                <a:gd name="connsiteY747" fmla="*/ 711665 h 769142"/>
                <a:gd name="connsiteX748" fmla="*/ 448296 w 961390"/>
                <a:gd name="connsiteY748" fmla="*/ 715719 h 769142"/>
                <a:gd name="connsiteX749" fmla="*/ 453953 w 961390"/>
                <a:gd name="connsiteY749" fmla="*/ 715870 h 769142"/>
                <a:gd name="connsiteX750" fmla="*/ 455557 w 961390"/>
                <a:gd name="connsiteY750" fmla="*/ 716687 h 769142"/>
                <a:gd name="connsiteX751" fmla="*/ 456797 w 961390"/>
                <a:gd name="connsiteY751" fmla="*/ 719802 h 769142"/>
                <a:gd name="connsiteX752" fmla="*/ 456010 w 961390"/>
                <a:gd name="connsiteY752" fmla="*/ 723554 h 769142"/>
                <a:gd name="connsiteX753" fmla="*/ 452682 w 961390"/>
                <a:gd name="connsiteY753" fmla="*/ 731026 h 769142"/>
                <a:gd name="connsiteX754" fmla="*/ 452864 w 961390"/>
                <a:gd name="connsiteY754" fmla="*/ 731419 h 769142"/>
                <a:gd name="connsiteX755" fmla="*/ 453288 w 961390"/>
                <a:gd name="connsiteY755" fmla="*/ 732206 h 769142"/>
                <a:gd name="connsiteX756" fmla="*/ 454649 w 961390"/>
                <a:gd name="connsiteY756" fmla="*/ 733597 h 769142"/>
                <a:gd name="connsiteX757" fmla="*/ 456283 w 961390"/>
                <a:gd name="connsiteY757" fmla="*/ 734777 h 769142"/>
                <a:gd name="connsiteX758" fmla="*/ 457704 w 961390"/>
                <a:gd name="connsiteY758" fmla="*/ 735352 h 769142"/>
                <a:gd name="connsiteX759" fmla="*/ 459308 w 961390"/>
                <a:gd name="connsiteY759" fmla="*/ 735140 h 769142"/>
                <a:gd name="connsiteX760" fmla="*/ 460366 w 961390"/>
                <a:gd name="connsiteY760" fmla="*/ 734202 h 769142"/>
                <a:gd name="connsiteX761" fmla="*/ 465055 w 961390"/>
                <a:gd name="connsiteY761" fmla="*/ 728334 h 769142"/>
                <a:gd name="connsiteX762" fmla="*/ 465570 w 961390"/>
                <a:gd name="connsiteY762" fmla="*/ 727396 h 769142"/>
                <a:gd name="connsiteX763" fmla="*/ 466054 w 961390"/>
                <a:gd name="connsiteY763" fmla="*/ 725430 h 769142"/>
                <a:gd name="connsiteX764" fmla="*/ 465963 w 961390"/>
                <a:gd name="connsiteY764" fmla="*/ 723796 h 769142"/>
                <a:gd name="connsiteX765" fmla="*/ 465721 w 961390"/>
                <a:gd name="connsiteY765" fmla="*/ 722192 h 769142"/>
                <a:gd name="connsiteX766" fmla="*/ 465660 w 961390"/>
                <a:gd name="connsiteY766" fmla="*/ 720317 h 769142"/>
                <a:gd name="connsiteX767" fmla="*/ 466296 w 961390"/>
                <a:gd name="connsiteY767" fmla="*/ 717292 h 769142"/>
                <a:gd name="connsiteX768" fmla="*/ 467597 w 961390"/>
                <a:gd name="connsiteY768" fmla="*/ 714811 h 769142"/>
                <a:gd name="connsiteX769" fmla="*/ 469472 w 961390"/>
                <a:gd name="connsiteY769" fmla="*/ 713178 h 769142"/>
                <a:gd name="connsiteX770" fmla="*/ 471802 w 961390"/>
                <a:gd name="connsiteY770" fmla="*/ 712815 h 769142"/>
                <a:gd name="connsiteX771" fmla="*/ 473949 w 961390"/>
                <a:gd name="connsiteY771" fmla="*/ 713904 h 769142"/>
                <a:gd name="connsiteX772" fmla="*/ 480030 w 961390"/>
                <a:gd name="connsiteY772" fmla="*/ 720014 h 769142"/>
                <a:gd name="connsiteX773" fmla="*/ 481936 w 961390"/>
                <a:gd name="connsiteY773" fmla="*/ 720922 h 769142"/>
                <a:gd name="connsiteX774" fmla="*/ 483781 w 961390"/>
                <a:gd name="connsiteY774" fmla="*/ 721376 h 769142"/>
                <a:gd name="connsiteX775" fmla="*/ 493582 w 961390"/>
                <a:gd name="connsiteY775" fmla="*/ 721406 h 769142"/>
                <a:gd name="connsiteX776" fmla="*/ 495549 w 961390"/>
                <a:gd name="connsiteY776" fmla="*/ 720740 h 769142"/>
                <a:gd name="connsiteX777" fmla="*/ 497969 w 961390"/>
                <a:gd name="connsiteY777" fmla="*/ 718713 h 769142"/>
                <a:gd name="connsiteX778" fmla="*/ 501236 w 961390"/>
                <a:gd name="connsiteY778" fmla="*/ 712966 h 769142"/>
                <a:gd name="connsiteX779" fmla="*/ 503203 w 961390"/>
                <a:gd name="connsiteY779" fmla="*/ 710183 h 769142"/>
                <a:gd name="connsiteX780" fmla="*/ 505350 w 961390"/>
                <a:gd name="connsiteY780" fmla="*/ 708368 h 769142"/>
                <a:gd name="connsiteX781" fmla="*/ 507589 w 961390"/>
                <a:gd name="connsiteY781" fmla="*/ 707369 h 769142"/>
                <a:gd name="connsiteX782" fmla="*/ 509646 w 961390"/>
                <a:gd name="connsiteY782" fmla="*/ 707490 h 769142"/>
                <a:gd name="connsiteX783" fmla="*/ 511128 w 961390"/>
                <a:gd name="connsiteY783" fmla="*/ 709063 h 769142"/>
                <a:gd name="connsiteX784" fmla="*/ 511522 w 961390"/>
                <a:gd name="connsiteY784" fmla="*/ 710546 h 769142"/>
                <a:gd name="connsiteX785" fmla="*/ 511461 w 961390"/>
                <a:gd name="connsiteY785" fmla="*/ 711816 h 769142"/>
                <a:gd name="connsiteX786" fmla="*/ 511552 w 961390"/>
                <a:gd name="connsiteY786" fmla="*/ 713178 h 769142"/>
                <a:gd name="connsiteX787" fmla="*/ 512399 w 961390"/>
                <a:gd name="connsiteY787" fmla="*/ 714842 h 769142"/>
                <a:gd name="connsiteX788" fmla="*/ 513609 w 961390"/>
                <a:gd name="connsiteY788" fmla="*/ 715961 h 769142"/>
                <a:gd name="connsiteX789" fmla="*/ 516513 w 961390"/>
                <a:gd name="connsiteY789" fmla="*/ 717624 h 769142"/>
                <a:gd name="connsiteX790" fmla="*/ 517753 w 961390"/>
                <a:gd name="connsiteY790" fmla="*/ 718895 h 769142"/>
                <a:gd name="connsiteX791" fmla="*/ 518419 w 961390"/>
                <a:gd name="connsiteY791" fmla="*/ 720468 h 769142"/>
                <a:gd name="connsiteX792" fmla="*/ 519478 w 961390"/>
                <a:gd name="connsiteY792" fmla="*/ 724552 h 769142"/>
                <a:gd name="connsiteX793" fmla="*/ 520083 w 961390"/>
                <a:gd name="connsiteY793" fmla="*/ 725732 h 769142"/>
                <a:gd name="connsiteX794" fmla="*/ 521383 w 961390"/>
                <a:gd name="connsiteY794" fmla="*/ 726216 h 769142"/>
                <a:gd name="connsiteX795" fmla="*/ 522654 w 961390"/>
                <a:gd name="connsiteY795" fmla="*/ 725611 h 769142"/>
                <a:gd name="connsiteX796" fmla="*/ 525256 w 961390"/>
                <a:gd name="connsiteY796" fmla="*/ 723281 h 769142"/>
                <a:gd name="connsiteX797" fmla="*/ 530278 w 961390"/>
                <a:gd name="connsiteY797" fmla="*/ 720136 h 769142"/>
                <a:gd name="connsiteX798" fmla="*/ 532879 w 961390"/>
                <a:gd name="connsiteY798" fmla="*/ 719319 h 769142"/>
                <a:gd name="connsiteX799" fmla="*/ 535602 w 961390"/>
                <a:gd name="connsiteY799" fmla="*/ 719258 h 769142"/>
                <a:gd name="connsiteX800" fmla="*/ 544647 w 961390"/>
                <a:gd name="connsiteY800" fmla="*/ 721043 h 769142"/>
                <a:gd name="connsiteX801" fmla="*/ 547249 w 961390"/>
                <a:gd name="connsiteY801" fmla="*/ 722011 h 769142"/>
                <a:gd name="connsiteX802" fmla="*/ 548126 w 961390"/>
                <a:gd name="connsiteY802" fmla="*/ 724038 h 769142"/>
                <a:gd name="connsiteX803" fmla="*/ 548368 w 961390"/>
                <a:gd name="connsiteY803" fmla="*/ 727063 h 769142"/>
                <a:gd name="connsiteX804" fmla="*/ 549941 w 961390"/>
                <a:gd name="connsiteY804" fmla="*/ 735352 h 769142"/>
                <a:gd name="connsiteX805" fmla="*/ 550606 w 961390"/>
                <a:gd name="connsiteY805" fmla="*/ 737439 h 769142"/>
                <a:gd name="connsiteX806" fmla="*/ 551575 w 961390"/>
                <a:gd name="connsiteY806" fmla="*/ 739012 h 769142"/>
                <a:gd name="connsiteX807" fmla="*/ 553238 w 961390"/>
                <a:gd name="connsiteY807" fmla="*/ 739738 h 769142"/>
                <a:gd name="connsiteX808" fmla="*/ 554690 w 961390"/>
                <a:gd name="connsiteY808" fmla="*/ 739133 h 769142"/>
                <a:gd name="connsiteX809" fmla="*/ 556022 w 961390"/>
                <a:gd name="connsiteY809" fmla="*/ 738347 h 769142"/>
                <a:gd name="connsiteX810" fmla="*/ 557322 w 961390"/>
                <a:gd name="connsiteY810" fmla="*/ 738468 h 769142"/>
                <a:gd name="connsiteX811" fmla="*/ 558018 w 961390"/>
                <a:gd name="connsiteY811" fmla="*/ 740313 h 769142"/>
                <a:gd name="connsiteX812" fmla="*/ 558744 w 961390"/>
                <a:gd name="connsiteY812" fmla="*/ 743066 h 769142"/>
                <a:gd name="connsiteX813" fmla="*/ 559803 w 961390"/>
                <a:gd name="connsiteY813" fmla="*/ 744609 h 769142"/>
                <a:gd name="connsiteX814" fmla="*/ 561618 w 961390"/>
                <a:gd name="connsiteY814" fmla="*/ 742703 h 769142"/>
                <a:gd name="connsiteX815" fmla="*/ 562102 w 961390"/>
                <a:gd name="connsiteY815" fmla="*/ 740525 h 769142"/>
                <a:gd name="connsiteX816" fmla="*/ 561890 w 961390"/>
                <a:gd name="connsiteY816" fmla="*/ 734868 h 769142"/>
                <a:gd name="connsiteX817" fmla="*/ 562163 w 961390"/>
                <a:gd name="connsiteY817" fmla="*/ 732387 h 769142"/>
                <a:gd name="connsiteX818" fmla="*/ 564129 w 961390"/>
                <a:gd name="connsiteY818" fmla="*/ 728273 h 769142"/>
                <a:gd name="connsiteX819" fmla="*/ 566942 w 961390"/>
                <a:gd name="connsiteY819" fmla="*/ 725127 h 769142"/>
                <a:gd name="connsiteX820" fmla="*/ 570179 w 961390"/>
                <a:gd name="connsiteY820" fmla="*/ 722798 h 769142"/>
                <a:gd name="connsiteX821" fmla="*/ 573386 w 961390"/>
                <a:gd name="connsiteY821" fmla="*/ 721194 h 769142"/>
                <a:gd name="connsiteX822" fmla="*/ 576320 w 961390"/>
                <a:gd name="connsiteY822" fmla="*/ 720619 h 769142"/>
                <a:gd name="connsiteX823" fmla="*/ 582522 w 961390"/>
                <a:gd name="connsiteY823" fmla="*/ 720559 h 769142"/>
                <a:gd name="connsiteX824" fmla="*/ 585184 w 961390"/>
                <a:gd name="connsiteY824" fmla="*/ 719651 h 769142"/>
                <a:gd name="connsiteX825" fmla="*/ 587090 w 961390"/>
                <a:gd name="connsiteY825" fmla="*/ 717715 h 769142"/>
                <a:gd name="connsiteX826" fmla="*/ 589479 w 961390"/>
                <a:gd name="connsiteY826" fmla="*/ 713026 h 769142"/>
                <a:gd name="connsiteX827" fmla="*/ 591476 w 961390"/>
                <a:gd name="connsiteY827" fmla="*/ 711211 h 769142"/>
                <a:gd name="connsiteX828" fmla="*/ 593443 w 961390"/>
                <a:gd name="connsiteY828" fmla="*/ 710546 h 769142"/>
                <a:gd name="connsiteX829" fmla="*/ 595499 w 961390"/>
                <a:gd name="connsiteY829" fmla="*/ 710455 h 769142"/>
                <a:gd name="connsiteX830" fmla="*/ 599584 w 961390"/>
                <a:gd name="connsiteY830" fmla="*/ 711393 h 769142"/>
                <a:gd name="connsiteX831" fmla="*/ 602004 w 961390"/>
                <a:gd name="connsiteY831" fmla="*/ 712784 h 769142"/>
                <a:gd name="connsiteX832" fmla="*/ 603244 w 961390"/>
                <a:gd name="connsiteY832" fmla="*/ 714630 h 769142"/>
                <a:gd name="connsiteX833" fmla="*/ 605361 w 961390"/>
                <a:gd name="connsiteY833" fmla="*/ 720014 h 769142"/>
                <a:gd name="connsiteX834" fmla="*/ 608720 w 961390"/>
                <a:gd name="connsiteY834" fmla="*/ 724704 h 769142"/>
                <a:gd name="connsiteX835" fmla="*/ 609899 w 961390"/>
                <a:gd name="connsiteY835" fmla="*/ 727123 h 769142"/>
                <a:gd name="connsiteX836" fmla="*/ 610292 w 961390"/>
                <a:gd name="connsiteY836" fmla="*/ 731026 h 769142"/>
                <a:gd name="connsiteX837" fmla="*/ 609355 w 961390"/>
                <a:gd name="connsiteY837" fmla="*/ 734868 h 769142"/>
                <a:gd name="connsiteX838" fmla="*/ 610020 w 961390"/>
                <a:gd name="connsiteY838" fmla="*/ 736532 h 769142"/>
                <a:gd name="connsiteX839" fmla="*/ 611684 w 961390"/>
                <a:gd name="connsiteY839" fmla="*/ 737681 h 769142"/>
                <a:gd name="connsiteX840" fmla="*/ 613741 w 961390"/>
                <a:gd name="connsiteY840" fmla="*/ 739920 h 769142"/>
                <a:gd name="connsiteX841" fmla="*/ 614891 w 961390"/>
                <a:gd name="connsiteY841" fmla="*/ 742764 h 769142"/>
                <a:gd name="connsiteX842" fmla="*/ 615738 w 961390"/>
                <a:gd name="connsiteY842" fmla="*/ 746000 h 769142"/>
                <a:gd name="connsiteX843" fmla="*/ 616978 w 961390"/>
                <a:gd name="connsiteY843" fmla="*/ 748662 h 769142"/>
                <a:gd name="connsiteX844" fmla="*/ 619308 w 961390"/>
                <a:gd name="connsiteY844" fmla="*/ 749873 h 769142"/>
                <a:gd name="connsiteX845" fmla="*/ 621365 w 961390"/>
                <a:gd name="connsiteY845" fmla="*/ 749207 h 769142"/>
                <a:gd name="connsiteX846" fmla="*/ 622635 w 961390"/>
                <a:gd name="connsiteY846" fmla="*/ 748178 h 769142"/>
                <a:gd name="connsiteX847" fmla="*/ 625297 w 961390"/>
                <a:gd name="connsiteY847" fmla="*/ 746031 h 769142"/>
                <a:gd name="connsiteX848" fmla="*/ 627627 w 961390"/>
                <a:gd name="connsiteY848" fmla="*/ 745335 h 769142"/>
                <a:gd name="connsiteX849" fmla="*/ 632013 w 961390"/>
                <a:gd name="connsiteY849" fmla="*/ 747029 h 769142"/>
                <a:gd name="connsiteX850" fmla="*/ 634010 w 961390"/>
                <a:gd name="connsiteY850" fmla="*/ 746999 h 769142"/>
                <a:gd name="connsiteX851" fmla="*/ 635492 w 961390"/>
                <a:gd name="connsiteY851" fmla="*/ 744609 h 769142"/>
                <a:gd name="connsiteX852" fmla="*/ 636974 w 961390"/>
                <a:gd name="connsiteY852" fmla="*/ 740978 h 769142"/>
                <a:gd name="connsiteX853" fmla="*/ 637973 w 961390"/>
                <a:gd name="connsiteY853" fmla="*/ 739224 h 769142"/>
                <a:gd name="connsiteX854" fmla="*/ 639334 w 961390"/>
                <a:gd name="connsiteY854" fmla="*/ 738589 h 769142"/>
                <a:gd name="connsiteX855" fmla="*/ 641936 w 961390"/>
                <a:gd name="connsiteY855" fmla="*/ 738317 h 769142"/>
                <a:gd name="connsiteX856" fmla="*/ 644265 w 961390"/>
                <a:gd name="connsiteY856" fmla="*/ 737439 h 769142"/>
                <a:gd name="connsiteX857" fmla="*/ 645778 w 961390"/>
                <a:gd name="connsiteY857" fmla="*/ 735775 h 769142"/>
                <a:gd name="connsiteX858" fmla="*/ 647199 w 961390"/>
                <a:gd name="connsiteY858" fmla="*/ 733839 h 769142"/>
                <a:gd name="connsiteX859" fmla="*/ 649287 w 961390"/>
                <a:gd name="connsiteY859" fmla="*/ 732085 h 769142"/>
                <a:gd name="connsiteX860" fmla="*/ 651283 w 961390"/>
                <a:gd name="connsiteY860" fmla="*/ 731298 h 769142"/>
                <a:gd name="connsiteX861" fmla="*/ 653582 w 961390"/>
                <a:gd name="connsiteY861" fmla="*/ 730996 h 769142"/>
                <a:gd name="connsiteX862" fmla="*/ 655791 w 961390"/>
                <a:gd name="connsiteY862" fmla="*/ 731268 h 769142"/>
                <a:gd name="connsiteX863" fmla="*/ 657545 w 961390"/>
                <a:gd name="connsiteY863" fmla="*/ 732387 h 769142"/>
                <a:gd name="connsiteX864" fmla="*/ 659209 w 961390"/>
                <a:gd name="connsiteY864" fmla="*/ 735049 h 769142"/>
                <a:gd name="connsiteX865" fmla="*/ 660087 w 961390"/>
                <a:gd name="connsiteY865" fmla="*/ 737318 h 769142"/>
                <a:gd name="connsiteX866" fmla="*/ 661357 w 961390"/>
                <a:gd name="connsiteY866" fmla="*/ 738922 h 769142"/>
                <a:gd name="connsiteX867" fmla="*/ 670493 w 961390"/>
                <a:gd name="connsiteY867" fmla="*/ 740343 h 769142"/>
                <a:gd name="connsiteX868" fmla="*/ 672278 w 961390"/>
                <a:gd name="connsiteY868" fmla="*/ 739920 h 769142"/>
                <a:gd name="connsiteX869" fmla="*/ 673306 w 961390"/>
                <a:gd name="connsiteY869" fmla="*/ 738891 h 769142"/>
                <a:gd name="connsiteX870" fmla="*/ 675000 w 961390"/>
                <a:gd name="connsiteY870" fmla="*/ 736018 h 769142"/>
                <a:gd name="connsiteX871" fmla="*/ 676271 w 961390"/>
                <a:gd name="connsiteY871" fmla="*/ 735170 h 769142"/>
                <a:gd name="connsiteX872" fmla="*/ 677299 w 961390"/>
                <a:gd name="connsiteY872" fmla="*/ 735261 h 769142"/>
                <a:gd name="connsiteX873" fmla="*/ 678933 w 961390"/>
                <a:gd name="connsiteY873" fmla="*/ 736290 h 769142"/>
                <a:gd name="connsiteX874" fmla="*/ 680173 w 961390"/>
                <a:gd name="connsiteY874" fmla="*/ 736229 h 769142"/>
                <a:gd name="connsiteX875" fmla="*/ 686284 w 961390"/>
                <a:gd name="connsiteY875" fmla="*/ 733234 h 769142"/>
                <a:gd name="connsiteX876" fmla="*/ 688583 w 961390"/>
                <a:gd name="connsiteY876" fmla="*/ 732599 h 769142"/>
                <a:gd name="connsiteX877" fmla="*/ 702680 w 961390"/>
                <a:gd name="connsiteY877" fmla="*/ 732266 h 769142"/>
                <a:gd name="connsiteX878" fmla="*/ 705554 w 961390"/>
                <a:gd name="connsiteY878" fmla="*/ 732992 h 769142"/>
                <a:gd name="connsiteX879" fmla="*/ 708398 w 961390"/>
                <a:gd name="connsiteY879" fmla="*/ 734928 h 769142"/>
                <a:gd name="connsiteX880" fmla="*/ 712149 w 961390"/>
                <a:gd name="connsiteY880" fmla="*/ 739678 h 769142"/>
                <a:gd name="connsiteX881" fmla="*/ 713571 w 961390"/>
                <a:gd name="connsiteY881" fmla="*/ 741069 h 769142"/>
                <a:gd name="connsiteX882" fmla="*/ 718653 w 961390"/>
                <a:gd name="connsiteY882" fmla="*/ 743368 h 769142"/>
                <a:gd name="connsiteX883" fmla="*/ 719954 w 961390"/>
                <a:gd name="connsiteY883" fmla="*/ 744488 h 769142"/>
                <a:gd name="connsiteX884" fmla="*/ 720559 w 961390"/>
                <a:gd name="connsiteY884" fmla="*/ 745486 h 769142"/>
                <a:gd name="connsiteX885" fmla="*/ 720832 w 961390"/>
                <a:gd name="connsiteY885" fmla="*/ 746454 h 769142"/>
                <a:gd name="connsiteX886" fmla="*/ 720952 w 961390"/>
                <a:gd name="connsiteY886" fmla="*/ 747634 h 769142"/>
                <a:gd name="connsiteX887" fmla="*/ 720922 w 961390"/>
                <a:gd name="connsiteY887" fmla="*/ 749177 h 769142"/>
                <a:gd name="connsiteX888" fmla="*/ 720771 w 961390"/>
                <a:gd name="connsiteY888" fmla="*/ 750326 h 769142"/>
                <a:gd name="connsiteX889" fmla="*/ 719924 w 961390"/>
                <a:gd name="connsiteY889" fmla="*/ 753442 h 769142"/>
                <a:gd name="connsiteX890" fmla="*/ 719651 w 961390"/>
                <a:gd name="connsiteY890" fmla="*/ 753563 h 769142"/>
                <a:gd name="connsiteX891" fmla="*/ 720377 w 961390"/>
                <a:gd name="connsiteY891" fmla="*/ 755136 h 769142"/>
                <a:gd name="connsiteX892" fmla="*/ 723463 w 961390"/>
                <a:gd name="connsiteY892" fmla="*/ 758797 h 769142"/>
                <a:gd name="connsiteX893" fmla="*/ 724794 w 961390"/>
                <a:gd name="connsiteY893" fmla="*/ 759916 h 769142"/>
                <a:gd name="connsiteX894" fmla="*/ 726337 w 961390"/>
                <a:gd name="connsiteY894" fmla="*/ 760461 h 769142"/>
                <a:gd name="connsiteX895" fmla="*/ 729332 w 961390"/>
                <a:gd name="connsiteY895" fmla="*/ 760461 h 769142"/>
                <a:gd name="connsiteX896" fmla="*/ 730814 w 961390"/>
                <a:gd name="connsiteY896" fmla="*/ 760793 h 769142"/>
                <a:gd name="connsiteX897" fmla="*/ 732266 w 961390"/>
                <a:gd name="connsiteY897" fmla="*/ 762094 h 769142"/>
                <a:gd name="connsiteX898" fmla="*/ 734505 w 961390"/>
                <a:gd name="connsiteY898" fmla="*/ 765180 h 769142"/>
                <a:gd name="connsiteX899" fmla="*/ 736108 w 961390"/>
                <a:gd name="connsiteY899" fmla="*/ 765633 h 769142"/>
                <a:gd name="connsiteX900" fmla="*/ 737530 w 961390"/>
                <a:gd name="connsiteY900" fmla="*/ 765482 h 769142"/>
                <a:gd name="connsiteX901" fmla="*/ 738861 w 961390"/>
                <a:gd name="connsiteY901" fmla="*/ 765815 h 769142"/>
                <a:gd name="connsiteX902" fmla="*/ 740132 w 961390"/>
                <a:gd name="connsiteY902" fmla="*/ 766602 h 769142"/>
                <a:gd name="connsiteX903" fmla="*/ 741281 w 961390"/>
                <a:gd name="connsiteY903" fmla="*/ 767751 h 769142"/>
                <a:gd name="connsiteX904" fmla="*/ 742037 w 961390"/>
                <a:gd name="connsiteY904" fmla="*/ 769143 h 769142"/>
                <a:gd name="connsiteX905" fmla="*/ 743127 w 961390"/>
                <a:gd name="connsiteY905" fmla="*/ 768901 h 769142"/>
                <a:gd name="connsiteX906" fmla="*/ 743520 w 961390"/>
                <a:gd name="connsiteY906" fmla="*/ 768054 h 769142"/>
                <a:gd name="connsiteX907" fmla="*/ 743610 w 961390"/>
                <a:gd name="connsiteY907" fmla="*/ 767933 h 769142"/>
                <a:gd name="connsiteX908" fmla="*/ 743731 w 961390"/>
                <a:gd name="connsiteY908" fmla="*/ 764393 h 769142"/>
                <a:gd name="connsiteX909" fmla="*/ 744034 w 961390"/>
                <a:gd name="connsiteY909" fmla="*/ 764091 h 769142"/>
                <a:gd name="connsiteX910" fmla="*/ 745819 w 961390"/>
                <a:gd name="connsiteY910" fmla="*/ 761187 h 769142"/>
                <a:gd name="connsiteX911" fmla="*/ 746091 w 961390"/>
                <a:gd name="connsiteY911" fmla="*/ 759039 h 769142"/>
                <a:gd name="connsiteX912" fmla="*/ 749147 w 961390"/>
                <a:gd name="connsiteY912" fmla="*/ 756982 h 769142"/>
                <a:gd name="connsiteX913" fmla="*/ 751960 w 961390"/>
                <a:gd name="connsiteY913" fmla="*/ 754259 h 769142"/>
                <a:gd name="connsiteX914" fmla="*/ 751355 w 961390"/>
                <a:gd name="connsiteY914" fmla="*/ 750084 h 769142"/>
                <a:gd name="connsiteX915" fmla="*/ 752686 w 961390"/>
                <a:gd name="connsiteY915" fmla="*/ 749600 h 769142"/>
                <a:gd name="connsiteX916" fmla="*/ 752596 w 961390"/>
                <a:gd name="connsiteY916" fmla="*/ 748814 h 769142"/>
                <a:gd name="connsiteX917" fmla="*/ 751869 w 961390"/>
                <a:gd name="connsiteY917" fmla="*/ 747936 h 769142"/>
                <a:gd name="connsiteX918" fmla="*/ 751355 w 961390"/>
                <a:gd name="connsiteY918" fmla="*/ 747150 h 769142"/>
                <a:gd name="connsiteX919" fmla="*/ 750387 w 961390"/>
                <a:gd name="connsiteY919" fmla="*/ 742975 h 769142"/>
                <a:gd name="connsiteX920" fmla="*/ 749933 w 961390"/>
                <a:gd name="connsiteY920" fmla="*/ 742007 h 769142"/>
                <a:gd name="connsiteX921" fmla="*/ 748723 w 961390"/>
                <a:gd name="connsiteY921" fmla="*/ 741130 h 769142"/>
                <a:gd name="connsiteX922" fmla="*/ 747664 w 961390"/>
                <a:gd name="connsiteY922" fmla="*/ 741069 h 769142"/>
                <a:gd name="connsiteX923" fmla="*/ 746878 w 961390"/>
                <a:gd name="connsiteY923" fmla="*/ 740737 h 769142"/>
                <a:gd name="connsiteX924" fmla="*/ 746515 w 961390"/>
                <a:gd name="connsiteY924" fmla="*/ 738982 h 769142"/>
                <a:gd name="connsiteX925" fmla="*/ 746696 w 961390"/>
                <a:gd name="connsiteY925" fmla="*/ 737107 h 769142"/>
                <a:gd name="connsiteX926" fmla="*/ 747452 w 961390"/>
                <a:gd name="connsiteY926" fmla="*/ 736048 h 769142"/>
                <a:gd name="connsiteX927" fmla="*/ 748602 w 961390"/>
                <a:gd name="connsiteY927" fmla="*/ 735715 h 769142"/>
                <a:gd name="connsiteX928" fmla="*/ 749933 w 961390"/>
                <a:gd name="connsiteY928" fmla="*/ 735927 h 769142"/>
                <a:gd name="connsiteX929" fmla="*/ 749933 w 961390"/>
                <a:gd name="connsiteY929" fmla="*/ 734838 h 769142"/>
                <a:gd name="connsiteX930" fmla="*/ 748874 w 961390"/>
                <a:gd name="connsiteY930" fmla="*/ 734444 h 769142"/>
                <a:gd name="connsiteX931" fmla="*/ 747846 w 961390"/>
                <a:gd name="connsiteY931" fmla="*/ 733779 h 769142"/>
                <a:gd name="connsiteX932" fmla="*/ 746999 w 961390"/>
                <a:gd name="connsiteY932" fmla="*/ 732659 h 769142"/>
                <a:gd name="connsiteX933" fmla="*/ 746515 w 961390"/>
                <a:gd name="connsiteY933" fmla="*/ 730875 h 769142"/>
                <a:gd name="connsiteX934" fmla="*/ 747059 w 961390"/>
                <a:gd name="connsiteY934" fmla="*/ 729664 h 769142"/>
                <a:gd name="connsiteX935" fmla="*/ 746635 w 961390"/>
                <a:gd name="connsiteY935" fmla="*/ 728575 h 769142"/>
                <a:gd name="connsiteX936" fmla="*/ 745607 w 961390"/>
                <a:gd name="connsiteY936" fmla="*/ 727577 h 769142"/>
                <a:gd name="connsiteX937" fmla="*/ 744367 w 961390"/>
                <a:gd name="connsiteY937" fmla="*/ 726730 h 769142"/>
                <a:gd name="connsiteX938" fmla="*/ 745244 w 961390"/>
                <a:gd name="connsiteY938" fmla="*/ 726034 h 769142"/>
                <a:gd name="connsiteX939" fmla="*/ 745728 w 961390"/>
                <a:gd name="connsiteY939" fmla="*/ 725339 h 769142"/>
                <a:gd name="connsiteX940" fmla="*/ 746515 w 961390"/>
                <a:gd name="connsiteY940" fmla="*/ 723675 h 769142"/>
                <a:gd name="connsiteX941" fmla="*/ 744821 w 961390"/>
                <a:gd name="connsiteY941" fmla="*/ 722949 h 769142"/>
                <a:gd name="connsiteX942" fmla="*/ 741493 w 961390"/>
                <a:gd name="connsiteY942" fmla="*/ 722071 h 769142"/>
                <a:gd name="connsiteX943" fmla="*/ 740313 w 961390"/>
                <a:gd name="connsiteY943" fmla="*/ 720650 h 769142"/>
                <a:gd name="connsiteX944" fmla="*/ 740313 w 961390"/>
                <a:gd name="connsiteY944" fmla="*/ 719712 h 769142"/>
                <a:gd name="connsiteX945" fmla="*/ 740827 w 961390"/>
                <a:gd name="connsiteY945" fmla="*/ 719379 h 769142"/>
                <a:gd name="connsiteX946" fmla="*/ 741160 w 961390"/>
                <a:gd name="connsiteY946" fmla="*/ 719076 h 769142"/>
                <a:gd name="connsiteX947" fmla="*/ 741584 w 961390"/>
                <a:gd name="connsiteY947" fmla="*/ 718804 h 769142"/>
                <a:gd name="connsiteX948" fmla="*/ 742370 w 961390"/>
                <a:gd name="connsiteY948" fmla="*/ 718623 h 769142"/>
                <a:gd name="connsiteX949" fmla="*/ 742370 w 961390"/>
                <a:gd name="connsiteY949" fmla="*/ 717685 h 769142"/>
                <a:gd name="connsiteX950" fmla="*/ 741523 w 961390"/>
                <a:gd name="connsiteY950" fmla="*/ 717201 h 769142"/>
                <a:gd name="connsiteX951" fmla="*/ 739557 w 961390"/>
                <a:gd name="connsiteY951" fmla="*/ 715658 h 769142"/>
                <a:gd name="connsiteX952" fmla="*/ 739557 w 961390"/>
                <a:gd name="connsiteY952" fmla="*/ 714569 h 769142"/>
                <a:gd name="connsiteX953" fmla="*/ 742461 w 961390"/>
                <a:gd name="connsiteY953" fmla="*/ 712119 h 769142"/>
                <a:gd name="connsiteX954" fmla="*/ 743731 w 961390"/>
                <a:gd name="connsiteY954" fmla="*/ 711574 h 769142"/>
                <a:gd name="connsiteX955" fmla="*/ 743369 w 961390"/>
                <a:gd name="connsiteY955" fmla="*/ 710152 h 769142"/>
                <a:gd name="connsiteX956" fmla="*/ 743066 w 961390"/>
                <a:gd name="connsiteY956" fmla="*/ 709578 h 769142"/>
                <a:gd name="connsiteX957" fmla="*/ 743610 w 961390"/>
                <a:gd name="connsiteY957" fmla="*/ 709185 h 769142"/>
                <a:gd name="connsiteX958" fmla="*/ 744427 w 961390"/>
                <a:gd name="connsiteY958" fmla="*/ 708065 h 769142"/>
                <a:gd name="connsiteX959" fmla="*/ 745123 w 961390"/>
                <a:gd name="connsiteY959" fmla="*/ 707430 h 769142"/>
                <a:gd name="connsiteX960" fmla="*/ 744518 w 961390"/>
                <a:gd name="connsiteY960" fmla="*/ 705373 h 769142"/>
                <a:gd name="connsiteX961" fmla="*/ 745698 w 961390"/>
                <a:gd name="connsiteY961" fmla="*/ 702257 h 769142"/>
                <a:gd name="connsiteX962" fmla="*/ 745123 w 961390"/>
                <a:gd name="connsiteY962" fmla="*/ 700230 h 769142"/>
                <a:gd name="connsiteX963" fmla="*/ 746364 w 961390"/>
                <a:gd name="connsiteY963" fmla="*/ 699867 h 769142"/>
                <a:gd name="connsiteX964" fmla="*/ 749510 w 961390"/>
                <a:gd name="connsiteY964" fmla="*/ 699776 h 769142"/>
                <a:gd name="connsiteX965" fmla="*/ 750599 w 961390"/>
                <a:gd name="connsiteY965" fmla="*/ 699323 h 769142"/>
                <a:gd name="connsiteX966" fmla="*/ 751173 w 961390"/>
                <a:gd name="connsiteY966" fmla="*/ 697900 h 769142"/>
                <a:gd name="connsiteX967" fmla="*/ 751325 w 961390"/>
                <a:gd name="connsiteY967" fmla="*/ 696055 h 769142"/>
                <a:gd name="connsiteX968" fmla="*/ 751627 w 961390"/>
                <a:gd name="connsiteY968" fmla="*/ 694301 h 769142"/>
                <a:gd name="connsiteX969" fmla="*/ 752746 w 961390"/>
                <a:gd name="connsiteY969" fmla="*/ 693212 h 769142"/>
                <a:gd name="connsiteX970" fmla="*/ 752746 w 961390"/>
                <a:gd name="connsiteY970" fmla="*/ 692092 h 769142"/>
                <a:gd name="connsiteX971" fmla="*/ 751960 w 961390"/>
                <a:gd name="connsiteY971" fmla="*/ 692002 h 769142"/>
                <a:gd name="connsiteX972" fmla="*/ 749933 w 961390"/>
                <a:gd name="connsiteY972" fmla="*/ 691064 h 769142"/>
                <a:gd name="connsiteX973" fmla="*/ 751173 w 961390"/>
                <a:gd name="connsiteY973" fmla="*/ 689763 h 769142"/>
                <a:gd name="connsiteX974" fmla="*/ 753412 w 961390"/>
                <a:gd name="connsiteY974" fmla="*/ 688402 h 769142"/>
                <a:gd name="connsiteX975" fmla="*/ 755197 w 961390"/>
                <a:gd name="connsiteY975" fmla="*/ 686708 h 769142"/>
                <a:gd name="connsiteX976" fmla="*/ 755106 w 961390"/>
                <a:gd name="connsiteY976" fmla="*/ 684378 h 769142"/>
                <a:gd name="connsiteX977" fmla="*/ 754380 w 961390"/>
                <a:gd name="connsiteY977" fmla="*/ 682956 h 769142"/>
                <a:gd name="connsiteX978" fmla="*/ 754350 w 961390"/>
                <a:gd name="connsiteY978" fmla="*/ 682381 h 769142"/>
                <a:gd name="connsiteX979" fmla="*/ 754774 w 961390"/>
                <a:gd name="connsiteY979" fmla="*/ 681958 h 769142"/>
                <a:gd name="connsiteX980" fmla="*/ 755409 w 961390"/>
                <a:gd name="connsiteY980" fmla="*/ 680869 h 769142"/>
                <a:gd name="connsiteX981" fmla="*/ 757617 w 961390"/>
                <a:gd name="connsiteY981" fmla="*/ 678237 h 769142"/>
                <a:gd name="connsiteX982" fmla="*/ 757890 w 961390"/>
                <a:gd name="connsiteY982" fmla="*/ 677723 h 769142"/>
                <a:gd name="connsiteX983" fmla="*/ 758464 w 961390"/>
                <a:gd name="connsiteY983" fmla="*/ 677269 h 769142"/>
                <a:gd name="connsiteX984" fmla="*/ 758918 w 961390"/>
                <a:gd name="connsiteY984" fmla="*/ 676271 h 769142"/>
                <a:gd name="connsiteX985" fmla="*/ 759583 w 961390"/>
                <a:gd name="connsiteY985" fmla="*/ 675303 h 769142"/>
                <a:gd name="connsiteX986" fmla="*/ 761641 w 961390"/>
                <a:gd name="connsiteY986" fmla="*/ 674274 h 769142"/>
                <a:gd name="connsiteX987" fmla="*/ 761913 w 961390"/>
                <a:gd name="connsiteY987" fmla="*/ 673004 h 769142"/>
                <a:gd name="connsiteX988" fmla="*/ 761973 w 961390"/>
                <a:gd name="connsiteY988" fmla="*/ 671612 h 769142"/>
                <a:gd name="connsiteX989" fmla="*/ 762367 w 961390"/>
                <a:gd name="connsiteY989" fmla="*/ 670644 h 769142"/>
                <a:gd name="connsiteX990" fmla="*/ 763184 w 961390"/>
                <a:gd name="connsiteY990" fmla="*/ 670402 h 769142"/>
                <a:gd name="connsiteX991" fmla="*/ 766178 w 961390"/>
                <a:gd name="connsiteY991" fmla="*/ 670644 h 769142"/>
                <a:gd name="connsiteX992" fmla="*/ 767025 w 961390"/>
                <a:gd name="connsiteY992" fmla="*/ 670251 h 769142"/>
                <a:gd name="connsiteX993" fmla="*/ 767933 w 961390"/>
                <a:gd name="connsiteY993" fmla="*/ 669343 h 769142"/>
                <a:gd name="connsiteX994" fmla="*/ 769294 w 961390"/>
                <a:gd name="connsiteY994" fmla="*/ 667589 h 769142"/>
                <a:gd name="connsiteX995" fmla="*/ 769294 w 961390"/>
                <a:gd name="connsiteY995" fmla="*/ 666590 h 769142"/>
                <a:gd name="connsiteX996" fmla="*/ 768749 w 961390"/>
                <a:gd name="connsiteY996" fmla="*/ 665955 h 769142"/>
                <a:gd name="connsiteX997" fmla="*/ 768478 w 961390"/>
                <a:gd name="connsiteY997" fmla="*/ 665017 h 769142"/>
                <a:gd name="connsiteX998" fmla="*/ 768537 w 961390"/>
                <a:gd name="connsiteY998" fmla="*/ 664473 h 769142"/>
                <a:gd name="connsiteX999" fmla="*/ 771382 w 961390"/>
                <a:gd name="connsiteY999" fmla="*/ 663474 h 769142"/>
                <a:gd name="connsiteX1000" fmla="*/ 772834 w 961390"/>
                <a:gd name="connsiteY1000" fmla="*/ 662658 h 769142"/>
                <a:gd name="connsiteX1001" fmla="*/ 774074 w 961390"/>
                <a:gd name="connsiteY1001" fmla="*/ 661690 h 769142"/>
                <a:gd name="connsiteX1002" fmla="*/ 775193 w 961390"/>
                <a:gd name="connsiteY1002" fmla="*/ 660601 h 769142"/>
                <a:gd name="connsiteX1003" fmla="*/ 776221 w 961390"/>
                <a:gd name="connsiteY1003" fmla="*/ 659300 h 769142"/>
                <a:gd name="connsiteX1004" fmla="*/ 776252 w 961390"/>
                <a:gd name="connsiteY1004" fmla="*/ 658816 h 769142"/>
                <a:gd name="connsiteX1005" fmla="*/ 776191 w 961390"/>
                <a:gd name="connsiteY1005" fmla="*/ 658060 h 769142"/>
                <a:gd name="connsiteX1006" fmla="*/ 776373 w 961390"/>
                <a:gd name="connsiteY1006" fmla="*/ 657122 h 769142"/>
                <a:gd name="connsiteX1007" fmla="*/ 777159 w 961390"/>
                <a:gd name="connsiteY1007" fmla="*/ 656184 h 769142"/>
                <a:gd name="connsiteX1008" fmla="*/ 777976 w 961390"/>
                <a:gd name="connsiteY1008" fmla="*/ 655609 h 769142"/>
                <a:gd name="connsiteX1009" fmla="*/ 778581 w 961390"/>
                <a:gd name="connsiteY1009" fmla="*/ 655367 h 769142"/>
                <a:gd name="connsiteX1010" fmla="*/ 779125 w 961390"/>
                <a:gd name="connsiteY1010" fmla="*/ 655609 h 769142"/>
                <a:gd name="connsiteX1011" fmla="*/ 779822 w 961390"/>
                <a:gd name="connsiteY1011" fmla="*/ 656456 h 769142"/>
                <a:gd name="connsiteX1012" fmla="*/ 782453 w 961390"/>
                <a:gd name="connsiteY1012" fmla="*/ 656274 h 769142"/>
                <a:gd name="connsiteX1013" fmla="*/ 783331 w 961390"/>
                <a:gd name="connsiteY1013" fmla="*/ 654339 h 769142"/>
                <a:gd name="connsiteX1014" fmla="*/ 782363 w 961390"/>
                <a:gd name="connsiteY1014" fmla="*/ 652342 h 769142"/>
                <a:gd name="connsiteX1015" fmla="*/ 779428 w 961390"/>
                <a:gd name="connsiteY1015" fmla="*/ 651979 h 769142"/>
                <a:gd name="connsiteX1016" fmla="*/ 779761 w 961390"/>
                <a:gd name="connsiteY1016" fmla="*/ 651223 h 769142"/>
                <a:gd name="connsiteX1017" fmla="*/ 779973 w 961390"/>
                <a:gd name="connsiteY1017" fmla="*/ 650497 h 769142"/>
                <a:gd name="connsiteX1018" fmla="*/ 780275 w 961390"/>
                <a:gd name="connsiteY1018" fmla="*/ 649771 h 769142"/>
                <a:gd name="connsiteX1019" fmla="*/ 780789 w 961390"/>
                <a:gd name="connsiteY1019" fmla="*/ 649014 h 769142"/>
                <a:gd name="connsiteX1020" fmla="*/ 780185 w 961390"/>
                <a:gd name="connsiteY1020" fmla="*/ 646473 h 769142"/>
                <a:gd name="connsiteX1021" fmla="*/ 781758 w 961390"/>
                <a:gd name="connsiteY1021" fmla="*/ 644870 h 769142"/>
                <a:gd name="connsiteX1022" fmla="*/ 784269 w 961390"/>
                <a:gd name="connsiteY1022" fmla="*/ 644144 h 769142"/>
                <a:gd name="connsiteX1023" fmla="*/ 798063 w 961390"/>
                <a:gd name="connsiteY1023" fmla="*/ 643388 h 769142"/>
                <a:gd name="connsiteX1024" fmla="*/ 801935 w 961390"/>
                <a:gd name="connsiteY1024" fmla="*/ 643841 h 769142"/>
                <a:gd name="connsiteX1025" fmla="*/ 804355 w 961390"/>
                <a:gd name="connsiteY1025" fmla="*/ 645142 h 769142"/>
                <a:gd name="connsiteX1026" fmla="*/ 808954 w 961390"/>
                <a:gd name="connsiteY1026" fmla="*/ 648742 h 769142"/>
                <a:gd name="connsiteX1027" fmla="*/ 811404 w 961390"/>
                <a:gd name="connsiteY1027" fmla="*/ 649619 h 769142"/>
                <a:gd name="connsiteX1028" fmla="*/ 813764 w 961390"/>
                <a:gd name="connsiteY1028" fmla="*/ 648682 h 769142"/>
                <a:gd name="connsiteX1029" fmla="*/ 815397 w 961390"/>
                <a:gd name="connsiteY1029" fmla="*/ 646171 h 769142"/>
                <a:gd name="connsiteX1030" fmla="*/ 816970 w 961390"/>
                <a:gd name="connsiteY1030" fmla="*/ 643145 h 769142"/>
                <a:gd name="connsiteX1031" fmla="*/ 818997 w 961390"/>
                <a:gd name="connsiteY1031" fmla="*/ 640695 h 769142"/>
                <a:gd name="connsiteX1032" fmla="*/ 826923 w 961390"/>
                <a:gd name="connsiteY1032" fmla="*/ 637700 h 769142"/>
                <a:gd name="connsiteX1033" fmla="*/ 836150 w 961390"/>
                <a:gd name="connsiteY1033" fmla="*/ 637670 h 769142"/>
                <a:gd name="connsiteX1034" fmla="*/ 853756 w 961390"/>
                <a:gd name="connsiteY1034" fmla="*/ 640816 h 769142"/>
                <a:gd name="connsiteX1035" fmla="*/ 865252 w 961390"/>
                <a:gd name="connsiteY1035" fmla="*/ 640241 h 769142"/>
                <a:gd name="connsiteX1036" fmla="*/ 865493 w 961390"/>
                <a:gd name="connsiteY1036" fmla="*/ 635795 h 769142"/>
                <a:gd name="connsiteX1037" fmla="*/ 865101 w 961390"/>
                <a:gd name="connsiteY1037" fmla="*/ 632830 h 769142"/>
                <a:gd name="connsiteX1038" fmla="*/ 863739 w 961390"/>
                <a:gd name="connsiteY1038" fmla="*/ 630712 h 769142"/>
                <a:gd name="connsiteX1039" fmla="*/ 858687 w 961390"/>
                <a:gd name="connsiteY1039" fmla="*/ 627475 h 769142"/>
                <a:gd name="connsiteX1040" fmla="*/ 857719 w 961390"/>
                <a:gd name="connsiteY1040" fmla="*/ 626537 h 769142"/>
                <a:gd name="connsiteX1041" fmla="*/ 857023 w 961390"/>
                <a:gd name="connsiteY1041" fmla="*/ 624995 h 769142"/>
                <a:gd name="connsiteX1042" fmla="*/ 856721 w 961390"/>
                <a:gd name="connsiteY1042" fmla="*/ 622877 h 769142"/>
                <a:gd name="connsiteX1043" fmla="*/ 856963 w 961390"/>
                <a:gd name="connsiteY1043" fmla="*/ 620669 h 769142"/>
                <a:gd name="connsiteX1044" fmla="*/ 857689 w 961390"/>
                <a:gd name="connsiteY1044" fmla="*/ 618763 h 769142"/>
                <a:gd name="connsiteX1045" fmla="*/ 858747 w 961390"/>
                <a:gd name="connsiteY1045" fmla="*/ 617523 h 769142"/>
                <a:gd name="connsiteX1046" fmla="*/ 857114 w 961390"/>
                <a:gd name="connsiteY1046" fmla="*/ 616645 h 769142"/>
                <a:gd name="connsiteX1047" fmla="*/ 853635 w 961390"/>
                <a:gd name="connsiteY1047" fmla="*/ 616071 h 769142"/>
                <a:gd name="connsiteX1048" fmla="*/ 851880 w 961390"/>
                <a:gd name="connsiteY1048" fmla="*/ 615526 h 769142"/>
                <a:gd name="connsiteX1049" fmla="*/ 850096 w 961390"/>
                <a:gd name="connsiteY1049" fmla="*/ 614256 h 769142"/>
                <a:gd name="connsiteX1050" fmla="*/ 848462 w 961390"/>
                <a:gd name="connsiteY1050" fmla="*/ 612561 h 769142"/>
                <a:gd name="connsiteX1051" fmla="*/ 845437 w 961390"/>
                <a:gd name="connsiteY1051" fmla="*/ 608477 h 769142"/>
                <a:gd name="connsiteX1052" fmla="*/ 846677 w 961390"/>
                <a:gd name="connsiteY1052" fmla="*/ 607388 h 769142"/>
                <a:gd name="connsiteX1053" fmla="*/ 847947 w 961390"/>
                <a:gd name="connsiteY1053" fmla="*/ 605876 h 769142"/>
                <a:gd name="connsiteX1054" fmla="*/ 849007 w 961390"/>
                <a:gd name="connsiteY1054" fmla="*/ 604000 h 769142"/>
                <a:gd name="connsiteX1055" fmla="*/ 849611 w 961390"/>
                <a:gd name="connsiteY1055" fmla="*/ 601943 h 769142"/>
                <a:gd name="connsiteX1056" fmla="*/ 849551 w 961390"/>
                <a:gd name="connsiteY1056" fmla="*/ 599220 h 769142"/>
                <a:gd name="connsiteX1057" fmla="*/ 848795 w 961390"/>
                <a:gd name="connsiteY1057" fmla="*/ 597587 h 769142"/>
                <a:gd name="connsiteX1058" fmla="*/ 847767 w 961390"/>
                <a:gd name="connsiteY1058" fmla="*/ 596316 h 769142"/>
                <a:gd name="connsiteX1059" fmla="*/ 847010 w 961390"/>
                <a:gd name="connsiteY1059" fmla="*/ 594652 h 769142"/>
                <a:gd name="connsiteX1060" fmla="*/ 847071 w 961390"/>
                <a:gd name="connsiteY1060" fmla="*/ 590780 h 769142"/>
                <a:gd name="connsiteX1061" fmla="*/ 847676 w 961390"/>
                <a:gd name="connsiteY1061" fmla="*/ 586273 h 769142"/>
                <a:gd name="connsiteX1062" fmla="*/ 847524 w 961390"/>
                <a:gd name="connsiteY1062" fmla="*/ 582552 h 769142"/>
                <a:gd name="connsiteX1063" fmla="*/ 845255 w 961390"/>
                <a:gd name="connsiteY1063" fmla="*/ 581009 h 769142"/>
                <a:gd name="connsiteX1064" fmla="*/ 843985 w 961390"/>
                <a:gd name="connsiteY1064" fmla="*/ 579587 h 769142"/>
                <a:gd name="connsiteX1065" fmla="*/ 843743 w 961390"/>
                <a:gd name="connsiteY1065" fmla="*/ 578105 h 769142"/>
                <a:gd name="connsiteX1066" fmla="*/ 844529 w 961390"/>
                <a:gd name="connsiteY1066" fmla="*/ 576864 h 769142"/>
                <a:gd name="connsiteX1067" fmla="*/ 846314 w 961390"/>
                <a:gd name="connsiteY1067" fmla="*/ 576138 h 769142"/>
                <a:gd name="connsiteX1068" fmla="*/ 845074 w 961390"/>
                <a:gd name="connsiteY1068" fmla="*/ 574293 h 769142"/>
                <a:gd name="connsiteX1069" fmla="*/ 844620 w 961390"/>
                <a:gd name="connsiteY1069" fmla="*/ 573749 h 769142"/>
                <a:gd name="connsiteX1070" fmla="*/ 846133 w 961390"/>
                <a:gd name="connsiteY1070" fmla="*/ 573658 h 769142"/>
                <a:gd name="connsiteX1071" fmla="*/ 849823 w 961390"/>
                <a:gd name="connsiteY1071" fmla="*/ 574445 h 769142"/>
                <a:gd name="connsiteX1072" fmla="*/ 851154 w 961390"/>
                <a:gd name="connsiteY1072" fmla="*/ 574142 h 769142"/>
                <a:gd name="connsiteX1073" fmla="*/ 851608 w 961390"/>
                <a:gd name="connsiteY1073" fmla="*/ 572630 h 769142"/>
                <a:gd name="connsiteX1074" fmla="*/ 850247 w 961390"/>
                <a:gd name="connsiteY1074" fmla="*/ 570996 h 769142"/>
                <a:gd name="connsiteX1075" fmla="*/ 846617 w 961390"/>
                <a:gd name="connsiteY1075" fmla="*/ 568092 h 769142"/>
                <a:gd name="connsiteX1076" fmla="*/ 845286 w 961390"/>
                <a:gd name="connsiteY1076" fmla="*/ 566216 h 769142"/>
                <a:gd name="connsiteX1077" fmla="*/ 842321 w 961390"/>
                <a:gd name="connsiteY1077" fmla="*/ 560075 h 769142"/>
                <a:gd name="connsiteX1078" fmla="*/ 837844 w 961390"/>
                <a:gd name="connsiteY1078" fmla="*/ 554509 h 769142"/>
                <a:gd name="connsiteX1079" fmla="*/ 836724 w 961390"/>
                <a:gd name="connsiteY1079" fmla="*/ 552149 h 769142"/>
                <a:gd name="connsiteX1080" fmla="*/ 836724 w 961390"/>
                <a:gd name="connsiteY1080" fmla="*/ 552149 h 769142"/>
                <a:gd name="connsiteX1081" fmla="*/ 843501 w 961390"/>
                <a:gd name="connsiteY1081" fmla="*/ 548610 h 769142"/>
                <a:gd name="connsiteX1082" fmla="*/ 845739 w 961390"/>
                <a:gd name="connsiteY1082" fmla="*/ 545645 h 769142"/>
                <a:gd name="connsiteX1083" fmla="*/ 845679 w 961390"/>
                <a:gd name="connsiteY1083" fmla="*/ 539202 h 769142"/>
                <a:gd name="connsiteX1084" fmla="*/ 844802 w 961390"/>
                <a:gd name="connsiteY1084" fmla="*/ 536207 h 769142"/>
                <a:gd name="connsiteX1085" fmla="*/ 843743 w 961390"/>
                <a:gd name="connsiteY1085" fmla="*/ 535027 h 769142"/>
                <a:gd name="connsiteX1086" fmla="*/ 842533 w 961390"/>
                <a:gd name="connsiteY1086" fmla="*/ 534240 h 769142"/>
                <a:gd name="connsiteX1087" fmla="*/ 841081 w 961390"/>
                <a:gd name="connsiteY1087" fmla="*/ 532456 h 769142"/>
                <a:gd name="connsiteX1088" fmla="*/ 840204 w 961390"/>
                <a:gd name="connsiteY1088" fmla="*/ 529884 h 769142"/>
                <a:gd name="connsiteX1089" fmla="*/ 839961 w 961390"/>
                <a:gd name="connsiteY1089" fmla="*/ 527948 h 769142"/>
                <a:gd name="connsiteX1090" fmla="*/ 839175 w 961390"/>
                <a:gd name="connsiteY1090" fmla="*/ 526738 h 769142"/>
                <a:gd name="connsiteX1091" fmla="*/ 836724 w 961390"/>
                <a:gd name="connsiteY1091" fmla="*/ 526436 h 769142"/>
                <a:gd name="connsiteX1092" fmla="*/ 833729 w 961390"/>
                <a:gd name="connsiteY1092" fmla="*/ 525467 h 769142"/>
                <a:gd name="connsiteX1093" fmla="*/ 830432 w 961390"/>
                <a:gd name="connsiteY1093" fmla="*/ 523501 h 769142"/>
                <a:gd name="connsiteX1094" fmla="*/ 827377 w 961390"/>
                <a:gd name="connsiteY1094" fmla="*/ 520748 h 769142"/>
                <a:gd name="connsiteX1095" fmla="*/ 825199 w 961390"/>
                <a:gd name="connsiteY1095" fmla="*/ 517632 h 769142"/>
                <a:gd name="connsiteX1096" fmla="*/ 822476 w 961390"/>
                <a:gd name="connsiteY1096" fmla="*/ 510009 h 769142"/>
                <a:gd name="connsiteX1097" fmla="*/ 820812 w 961390"/>
                <a:gd name="connsiteY1097" fmla="*/ 507105 h 769142"/>
                <a:gd name="connsiteX1098" fmla="*/ 813219 w 961390"/>
                <a:gd name="connsiteY1098" fmla="*/ 501387 h 769142"/>
                <a:gd name="connsiteX1099" fmla="*/ 815457 w 961390"/>
                <a:gd name="connsiteY1099" fmla="*/ 499240 h 769142"/>
                <a:gd name="connsiteX1100" fmla="*/ 820480 w 961390"/>
                <a:gd name="connsiteY1100" fmla="*/ 491858 h 769142"/>
                <a:gd name="connsiteX1101" fmla="*/ 821508 w 961390"/>
                <a:gd name="connsiteY1101" fmla="*/ 491404 h 769142"/>
                <a:gd name="connsiteX1102" fmla="*/ 823989 w 961390"/>
                <a:gd name="connsiteY1102" fmla="*/ 490981 h 769142"/>
                <a:gd name="connsiteX1103" fmla="*/ 824957 w 961390"/>
                <a:gd name="connsiteY1103" fmla="*/ 489952 h 769142"/>
                <a:gd name="connsiteX1104" fmla="*/ 825289 w 961390"/>
                <a:gd name="connsiteY1104" fmla="*/ 488379 h 769142"/>
                <a:gd name="connsiteX1105" fmla="*/ 825078 w 961390"/>
                <a:gd name="connsiteY1105" fmla="*/ 486715 h 769142"/>
                <a:gd name="connsiteX1106" fmla="*/ 824745 w 961390"/>
                <a:gd name="connsiteY1106" fmla="*/ 485142 h 769142"/>
                <a:gd name="connsiteX1107" fmla="*/ 824684 w 961390"/>
                <a:gd name="connsiteY1107" fmla="*/ 484961 h 769142"/>
                <a:gd name="connsiteX1108" fmla="*/ 824563 w 961390"/>
                <a:gd name="connsiteY1108" fmla="*/ 483025 h 769142"/>
                <a:gd name="connsiteX1109" fmla="*/ 826469 w 961390"/>
                <a:gd name="connsiteY1109" fmla="*/ 475583 h 769142"/>
                <a:gd name="connsiteX1110" fmla="*/ 830251 w 961390"/>
                <a:gd name="connsiteY1110" fmla="*/ 472830 h 769142"/>
                <a:gd name="connsiteX1111" fmla="*/ 835060 w 961390"/>
                <a:gd name="connsiteY1111" fmla="*/ 472830 h 769142"/>
                <a:gd name="connsiteX1112" fmla="*/ 839871 w 961390"/>
                <a:gd name="connsiteY1112" fmla="*/ 473737 h 769142"/>
                <a:gd name="connsiteX1113" fmla="*/ 842291 w 961390"/>
                <a:gd name="connsiteY1113" fmla="*/ 473617 h 769142"/>
                <a:gd name="connsiteX1114" fmla="*/ 846072 w 961390"/>
                <a:gd name="connsiteY1114" fmla="*/ 471741 h 769142"/>
                <a:gd name="connsiteX1115" fmla="*/ 848099 w 961390"/>
                <a:gd name="connsiteY1115" fmla="*/ 471166 h 769142"/>
                <a:gd name="connsiteX1116" fmla="*/ 850156 w 961390"/>
                <a:gd name="connsiteY1116" fmla="*/ 471317 h 769142"/>
                <a:gd name="connsiteX1117" fmla="*/ 856267 w 961390"/>
                <a:gd name="connsiteY1117" fmla="*/ 473556 h 769142"/>
                <a:gd name="connsiteX1118" fmla="*/ 858233 w 961390"/>
                <a:gd name="connsiteY1118" fmla="*/ 473919 h 769142"/>
                <a:gd name="connsiteX1119" fmla="*/ 862680 w 961390"/>
                <a:gd name="connsiteY1119" fmla="*/ 473980 h 769142"/>
                <a:gd name="connsiteX1120" fmla="*/ 864465 w 961390"/>
                <a:gd name="connsiteY1120" fmla="*/ 474887 h 769142"/>
                <a:gd name="connsiteX1121" fmla="*/ 865796 w 961390"/>
                <a:gd name="connsiteY1121" fmla="*/ 477549 h 769142"/>
                <a:gd name="connsiteX1122" fmla="*/ 866885 w 961390"/>
                <a:gd name="connsiteY1122" fmla="*/ 483932 h 769142"/>
                <a:gd name="connsiteX1123" fmla="*/ 868488 w 961390"/>
                <a:gd name="connsiteY1123" fmla="*/ 486322 h 769142"/>
                <a:gd name="connsiteX1124" fmla="*/ 869547 w 961390"/>
                <a:gd name="connsiteY1124" fmla="*/ 486685 h 769142"/>
                <a:gd name="connsiteX1125" fmla="*/ 873147 w 961390"/>
                <a:gd name="connsiteY1125" fmla="*/ 486352 h 769142"/>
                <a:gd name="connsiteX1126" fmla="*/ 874448 w 961390"/>
                <a:gd name="connsiteY1126" fmla="*/ 486655 h 769142"/>
                <a:gd name="connsiteX1127" fmla="*/ 879652 w 961390"/>
                <a:gd name="connsiteY1127" fmla="*/ 489468 h 769142"/>
                <a:gd name="connsiteX1128" fmla="*/ 882011 w 961390"/>
                <a:gd name="connsiteY1128" fmla="*/ 490013 h 769142"/>
                <a:gd name="connsiteX1129" fmla="*/ 884431 w 961390"/>
                <a:gd name="connsiteY1129" fmla="*/ 489771 h 769142"/>
                <a:gd name="connsiteX1130" fmla="*/ 887033 w 961390"/>
                <a:gd name="connsiteY1130" fmla="*/ 488530 h 769142"/>
                <a:gd name="connsiteX1131" fmla="*/ 889997 w 961390"/>
                <a:gd name="connsiteY1131" fmla="*/ 488228 h 769142"/>
                <a:gd name="connsiteX1132" fmla="*/ 897318 w 961390"/>
                <a:gd name="connsiteY1132" fmla="*/ 491011 h 769142"/>
                <a:gd name="connsiteX1133" fmla="*/ 900797 w 961390"/>
                <a:gd name="connsiteY1133" fmla="*/ 491132 h 769142"/>
                <a:gd name="connsiteX1134" fmla="*/ 901704 w 961390"/>
                <a:gd name="connsiteY1134" fmla="*/ 490648 h 769142"/>
                <a:gd name="connsiteX1135" fmla="*/ 904306 w 961390"/>
                <a:gd name="connsiteY1135" fmla="*/ 488772 h 769142"/>
                <a:gd name="connsiteX1136" fmla="*/ 907967 w 961390"/>
                <a:gd name="connsiteY1136" fmla="*/ 488349 h 769142"/>
                <a:gd name="connsiteX1137" fmla="*/ 908844 w 961390"/>
                <a:gd name="connsiteY1137" fmla="*/ 488561 h 769142"/>
                <a:gd name="connsiteX1138" fmla="*/ 909237 w 961390"/>
                <a:gd name="connsiteY1138" fmla="*/ 488591 h 769142"/>
                <a:gd name="connsiteX1139" fmla="*/ 909721 w 961390"/>
                <a:gd name="connsiteY1139" fmla="*/ 488167 h 769142"/>
                <a:gd name="connsiteX1140" fmla="*/ 909812 w 961390"/>
                <a:gd name="connsiteY1140" fmla="*/ 487441 h 769142"/>
                <a:gd name="connsiteX1141" fmla="*/ 909782 w 961390"/>
                <a:gd name="connsiteY1141" fmla="*/ 486715 h 769142"/>
                <a:gd name="connsiteX1142" fmla="*/ 909782 w 961390"/>
                <a:gd name="connsiteY1142" fmla="*/ 486322 h 769142"/>
                <a:gd name="connsiteX1143" fmla="*/ 910023 w 961390"/>
                <a:gd name="connsiteY1143" fmla="*/ 485717 h 769142"/>
                <a:gd name="connsiteX1144" fmla="*/ 910175 w 961390"/>
                <a:gd name="connsiteY1144" fmla="*/ 484870 h 769142"/>
                <a:gd name="connsiteX1145" fmla="*/ 910689 w 961390"/>
                <a:gd name="connsiteY1145" fmla="*/ 484295 h 769142"/>
                <a:gd name="connsiteX1146" fmla="*/ 915953 w 961390"/>
                <a:gd name="connsiteY1146" fmla="*/ 484416 h 769142"/>
                <a:gd name="connsiteX1147" fmla="*/ 918676 w 961390"/>
                <a:gd name="connsiteY1147" fmla="*/ 481936 h 769142"/>
                <a:gd name="connsiteX1148" fmla="*/ 921217 w 961390"/>
                <a:gd name="connsiteY1148" fmla="*/ 478547 h 769142"/>
                <a:gd name="connsiteX1149" fmla="*/ 924484 w 961390"/>
                <a:gd name="connsiteY1149" fmla="*/ 475825 h 769142"/>
                <a:gd name="connsiteX1150" fmla="*/ 928144 w 961390"/>
                <a:gd name="connsiteY1150" fmla="*/ 474736 h 769142"/>
                <a:gd name="connsiteX1151" fmla="*/ 929778 w 961390"/>
                <a:gd name="connsiteY1151" fmla="*/ 473949 h 769142"/>
                <a:gd name="connsiteX1152" fmla="*/ 931623 w 961390"/>
                <a:gd name="connsiteY1152" fmla="*/ 472134 h 769142"/>
                <a:gd name="connsiteX1153" fmla="*/ 934830 w 961390"/>
                <a:gd name="connsiteY1153" fmla="*/ 467173 h 769142"/>
                <a:gd name="connsiteX1154" fmla="*/ 936191 w 961390"/>
                <a:gd name="connsiteY1154" fmla="*/ 464269 h 769142"/>
                <a:gd name="connsiteX1155" fmla="*/ 937189 w 961390"/>
                <a:gd name="connsiteY1155" fmla="*/ 461244 h 769142"/>
                <a:gd name="connsiteX1156" fmla="*/ 934860 w 961390"/>
                <a:gd name="connsiteY1156" fmla="*/ 460790 h 769142"/>
                <a:gd name="connsiteX1157" fmla="*/ 933983 w 961390"/>
                <a:gd name="connsiteY1157" fmla="*/ 459096 h 769142"/>
                <a:gd name="connsiteX1158" fmla="*/ 934739 w 961390"/>
                <a:gd name="connsiteY1158" fmla="*/ 457311 h 769142"/>
                <a:gd name="connsiteX1159" fmla="*/ 937341 w 961390"/>
                <a:gd name="connsiteY1159" fmla="*/ 456585 h 769142"/>
                <a:gd name="connsiteX1160" fmla="*/ 939882 w 961390"/>
                <a:gd name="connsiteY1160" fmla="*/ 457825 h 769142"/>
                <a:gd name="connsiteX1161" fmla="*/ 943059 w 961390"/>
                <a:gd name="connsiteY1161" fmla="*/ 458128 h 769142"/>
                <a:gd name="connsiteX1162" fmla="*/ 946265 w 961390"/>
                <a:gd name="connsiteY1162" fmla="*/ 457553 h 769142"/>
                <a:gd name="connsiteX1163" fmla="*/ 948957 w 961390"/>
                <a:gd name="connsiteY1163" fmla="*/ 456101 h 769142"/>
                <a:gd name="connsiteX1164" fmla="*/ 948533 w 961390"/>
                <a:gd name="connsiteY1164" fmla="*/ 455526 h 769142"/>
                <a:gd name="connsiteX1165" fmla="*/ 947717 w 961390"/>
                <a:gd name="connsiteY1165" fmla="*/ 454104 h 769142"/>
                <a:gd name="connsiteX1166" fmla="*/ 947354 w 961390"/>
                <a:gd name="connsiteY1166" fmla="*/ 453620 h 769142"/>
                <a:gd name="connsiteX1167" fmla="*/ 954373 w 961390"/>
                <a:gd name="connsiteY1167" fmla="*/ 452168 h 769142"/>
                <a:gd name="connsiteX1168" fmla="*/ 956066 w 961390"/>
                <a:gd name="connsiteY1168" fmla="*/ 452531 h 769142"/>
                <a:gd name="connsiteX1169" fmla="*/ 957609 w 961390"/>
                <a:gd name="connsiteY1169" fmla="*/ 453227 h 769142"/>
                <a:gd name="connsiteX1170" fmla="*/ 959212 w 961390"/>
                <a:gd name="connsiteY1170" fmla="*/ 453378 h 769142"/>
                <a:gd name="connsiteX1171" fmla="*/ 961179 w 961390"/>
                <a:gd name="connsiteY1171" fmla="*/ 451957 h 769142"/>
                <a:gd name="connsiteX1172" fmla="*/ 959878 w 961390"/>
                <a:gd name="connsiteY1172" fmla="*/ 447086 h 769142"/>
                <a:gd name="connsiteX1173" fmla="*/ 961209 w 961390"/>
                <a:gd name="connsiteY1173" fmla="*/ 437073 h 769142"/>
                <a:gd name="connsiteX1174" fmla="*/ 961390 w 961390"/>
                <a:gd name="connsiteY1174" fmla="*/ 435772 h 769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Lst>
              <a:rect l="l" t="t" r="r" b="b"/>
              <a:pathLst>
                <a:path w="961390" h="769142">
                  <a:moveTo>
                    <a:pt x="961390" y="435772"/>
                  </a:moveTo>
                  <a:lnTo>
                    <a:pt x="959545" y="432263"/>
                  </a:lnTo>
                  <a:lnTo>
                    <a:pt x="958275" y="432263"/>
                  </a:lnTo>
                  <a:lnTo>
                    <a:pt x="955220" y="433261"/>
                  </a:lnTo>
                  <a:lnTo>
                    <a:pt x="954070" y="432928"/>
                  </a:lnTo>
                  <a:lnTo>
                    <a:pt x="953556" y="431204"/>
                  </a:lnTo>
                  <a:lnTo>
                    <a:pt x="954161" y="429601"/>
                  </a:lnTo>
                  <a:lnTo>
                    <a:pt x="954433" y="428300"/>
                  </a:lnTo>
                  <a:lnTo>
                    <a:pt x="952951" y="427513"/>
                  </a:lnTo>
                  <a:lnTo>
                    <a:pt x="951196" y="427271"/>
                  </a:lnTo>
                  <a:lnTo>
                    <a:pt x="949411" y="427574"/>
                  </a:lnTo>
                  <a:lnTo>
                    <a:pt x="948594" y="428481"/>
                  </a:lnTo>
                  <a:lnTo>
                    <a:pt x="947777" y="428814"/>
                  </a:lnTo>
                  <a:lnTo>
                    <a:pt x="947021" y="428542"/>
                  </a:lnTo>
                  <a:lnTo>
                    <a:pt x="946325" y="427574"/>
                  </a:lnTo>
                  <a:lnTo>
                    <a:pt x="946325" y="427543"/>
                  </a:lnTo>
                  <a:lnTo>
                    <a:pt x="944782" y="424700"/>
                  </a:lnTo>
                  <a:lnTo>
                    <a:pt x="942393" y="423036"/>
                  </a:lnTo>
                  <a:lnTo>
                    <a:pt x="937341" y="420828"/>
                  </a:lnTo>
                  <a:lnTo>
                    <a:pt x="934558" y="419164"/>
                  </a:lnTo>
                  <a:lnTo>
                    <a:pt x="932198" y="416804"/>
                  </a:lnTo>
                  <a:lnTo>
                    <a:pt x="930383" y="413567"/>
                  </a:lnTo>
                  <a:lnTo>
                    <a:pt x="929355" y="409302"/>
                  </a:lnTo>
                  <a:lnTo>
                    <a:pt x="929021" y="406579"/>
                  </a:lnTo>
                  <a:lnTo>
                    <a:pt x="929143" y="405309"/>
                  </a:lnTo>
                  <a:lnTo>
                    <a:pt x="929838" y="404704"/>
                  </a:lnTo>
                  <a:lnTo>
                    <a:pt x="937341" y="401104"/>
                  </a:lnTo>
                  <a:lnTo>
                    <a:pt x="938067" y="399984"/>
                  </a:lnTo>
                  <a:lnTo>
                    <a:pt x="938309" y="398805"/>
                  </a:lnTo>
                  <a:lnTo>
                    <a:pt x="938067" y="397625"/>
                  </a:lnTo>
                  <a:lnTo>
                    <a:pt x="937341" y="396475"/>
                  </a:lnTo>
                  <a:lnTo>
                    <a:pt x="935435" y="394176"/>
                  </a:lnTo>
                  <a:lnTo>
                    <a:pt x="933468" y="393057"/>
                  </a:lnTo>
                  <a:lnTo>
                    <a:pt x="931411" y="392785"/>
                  </a:lnTo>
                  <a:lnTo>
                    <a:pt x="926390" y="392996"/>
                  </a:lnTo>
                  <a:lnTo>
                    <a:pt x="924938" y="392180"/>
                  </a:lnTo>
                  <a:lnTo>
                    <a:pt x="921761" y="388156"/>
                  </a:lnTo>
                  <a:lnTo>
                    <a:pt x="918192" y="385736"/>
                  </a:lnTo>
                  <a:lnTo>
                    <a:pt x="905577" y="382499"/>
                  </a:lnTo>
                  <a:lnTo>
                    <a:pt x="899647" y="378536"/>
                  </a:lnTo>
                  <a:lnTo>
                    <a:pt x="897409" y="378113"/>
                  </a:lnTo>
                  <a:lnTo>
                    <a:pt x="876203" y="383195"/>
                  </a:lnTo>
                  <a:lnTo>
                    <a:pt x="867581" y="380503"/>
                  </a:lnTo>
                  <a:lnTo>
                    <a:pt x="863285" y="380412"/>
                  </a:lnTo>
                  <a:lnTo>
                    <a:pt x="864193" y="376540"/>
                  </a:lnTo>
                  <a:lnTo>
                    <a:pt x="868126" y="370641"/>
                  </a:lnTo>
                  <a:lnTo>
                    <a:pt x="869880" y="366708"/>
                  </a:lnTo>
                  <a:lnTo>
                    <a:pt x="871513" y="357663"/>
                  </a:lnTo>
                  <a:lnTo>
                    <a:pt x="872663" y="354214"/>
                  </a:lnTo>
                  <a:lnTo>
                    <a:pt x="872815" y="353004"/>
                  </a:lnTo>
                  <a:lnTo>
                    <a:pt x="872845" y="351855"/>
                  </a:lnTo>
                  <a:lnTo>
                    <a:pt x="873026" y="350675"/>
                  </a:lnTo>
                  <a:lnTo>
                    <a:pt x="873541" y="349465"/>
                  </a:lnTo>
                  <a:lnTo>
                    <a:pt x="871242" y="341085"/>
                  </a:lnTo>
                  <a:lnTo>
                    <a:pt x="871272" y="340359"/>
                  </a:lnTo>
                  <a:lnTo>
                    <a:pt x="871151" y="339845"/>
                  </a:lnTo>
                  <a:lnTo>
                    <a:pt x="870273" y="339270"/>
                  </a:lnTo>
                  <a:lnTo>
                    <a:pt x="869729" y="339451"/>
                  </a:lnTo>
                  <a:lnTo>
                    <a:pt x="867188" y="341055"/>
                  </a:lnTo>
                  <a:lnTo>
                    <a:pt x="865948" y="340631"/>
                  </a:lnTo>
                  <a:lnTo>
                    <a:pt x="865101" y="338786"/>
                  </a:lnTo>
                  <a:lnTo>
                    <a:pt x="864405" y="336456"/>
                  </a:lnTo>
                  <a:lnTo>
                    <a:pt x="863649" y="334672"/>
                  </a:lnTo>
                  <a:lnTo>
                    <a:pt x="862499" y="333431"/>
                  </a:lnTo>
                  <a:lnTo>
                    <a:pt x="861380" y="332917"/>
                  </a:lnTo>
                  <a:lnTo>
                    <a:pt x="858566" y="332826"/>
                  </a:lnTo>
                  <a:lnTo>
                    <a:pt x="855480" y="332221"/>
                  </a:lnTo>
                  <a:lnTo>
                    <a:pt x="847041" y="327865"/>
                  </a:lnTo>
                  <a:lnTo>
                    <a:pt x="841777" y="326625"/>
                  </a:lnTo>
                  <a:lnTo>
                    <a:pt x="839326" y="325596"/>
                  </a:lnTo>
                  <a:lnTo>
                    <a:pt x="836724" y="323569"/>
                  </a:lnTo>
                  <a:lnTo>
                    <a:pt x="821024" y="312134"/>
                  </a:lnTo>
                  <a:lnTo>
                    <a:pt x="819542" y="309744"/>
                  </a:lnTo>
                  <a:lnTo>
                    <a:pt x="818452" y="305267"/>
                  </a:lnTo>
                  <a:lnTo>
                    <a:pt x="817757" y="295980"/>
                  </a:lnTo>
                  <a:lnTo>
                    <a:pt x="817000" y="293409"/>
                  </a:lnTo>
                  <a:lnTo>
                    <a:pt x="815942" y="291957"/>
                  </a:lnTo>
                  <a:lnTo>
                    <a:pt x="814701" y="290716"/>
                  </a:lnTo>
                  <a:lnTo>
                    <a:pt x="813370" y="288750"/>
                  </a:lnTo>
                  <a:lnTo>
                    <a:pt x="811041" y="280612"/>
                  </a:lnTo>
                  <a:lnTo>
                    <a:pt x="809377" y="277436"/>
                  </a:lnTo>
                  <a:lnTo>
                    <a:pt x="806382" y="276619"/>
                  </a:lnTo>
                  <a:lnTo>
                    <a:pt x="806352" y="276589"/>
                  </a:lnTo>
                  <a:lnTo>
                    <a:pt x="805263" y="274411"/>
                  </a:lnTo>
                  <a:lnTo>
                    <a:pt x="797791" y="272445"/>
                  </a:lnTo>
                  <a:lnTo>
                    <a:pt x="794857" y="270418"/>
                  </a:lnTo>
                  <a:lnTo>
                    <a:pt x="797367" y="263460"/>
                  </a:lnTo>
                  <a:lnTo>
                    <a:pt x="802389" y="255988"/>
                  </a:lnTo>
                  <a:lnTo>
                    <a:pt x="805263" y="249786"/>
                  </a:lnTo>
                  <a:lnTo>
                    <a:pt x="801300" y="246791"/>
                  </a:lnTo>
                  <a:lnTo>
                    <a:pt x="798940" y="242344"/>
                  </a:lnTo>
                  <a:lnTo>
                    <a:pt x="790470" y="241497"/>
                  </a:lnTo>
                  <a:lnTo>
                    <a:pt x="788261" y="241860"/>
                  </a:lnTo>
                  <a:lnTo>
                    <a:pt x="787899" y="238895"/>
                  </a:lnTo>
                  <a:lnTo>
                    <a:pt x="786417" y="236385"/>
                  </a:lnTo>
                  <a:lnTo>
                    <a:pt x="770988" y="225918"/>
                  </a:lnTo>
                  <a:lnTo>
                    <a:pt x="766814" y="224587"/>
                  </a:lnTo>
                  <a:lnTo>
                    <a:pt x="765271" y="223498"/>
                  </a:lnTo>
                  <a:lnTo>
                    <a:pt x="764454" y="220957"/>
                  </a:lnTo>
                  <a:lnTo>
                    <a:pt x="765029" y="216449"/>
                  </a:lnTo>
                  <a:lnTo>
                    <a:pt x="766995" y="213605"/>
                  </a:lnTo>
                  <a:lnTo>
                    <a:pt x="769294" y="211397"/>
                  </a:lnTo>
                  <a:lnTo>
                    <a:pt x="770867" y="208826"/>
                  </a:lnTo>
                  <a:lnTo>
                    <a:pt x="770988" y="204802"/>
                  </a:lnTo>
                  <a:lnTo>
                    <a:pt x="769990" y="202382"/>
                  </a:lnTo>
                  <a:lnTo>
                    <a:pt x="769748" y="200718"/>
                  </a:lnTo>
                  <a:lnTo>
                    <a:pt x="772108" y="198903"/>
                  </a:lnTo>
                  <a:lnTo>
                    <a:pt x="778249" y="197754"/>
                  </a:lnTo>
                  <a:lnTo>
                    <a:pt x="780033" y="196543"/>
                  </a:lnTo>
                  <a:lnTo>
                    <a:pt x="781909" y="193427"/>
                  </a:lnTo>
                  <a:lnTo>
                    <a:pt x="781455" y="191522"/>
                  </a:lnTo>
                  <a:lnTo>
                    <a:pt x="780003" y="189767"/>
                  </a:lnTo>
                  <a:lnTo>
                    <a:pt x="778975" y="187105"/>
                  </a:lnTo>
                  <a:lnTo>
                    <a:pt x="779640" y="185169"/>
                  </a:lnTo>
                  <a:lnTo>
                    <a:pt x="781667" y="184988"/>
                  </a:lnTo>
                  <a:lnTo>
                    <a:pt x="786417" y="186107"/>
                  </a:lnTo>
                  <a:lnTo>
                    <a:pt x="788927" y="185411"/>
                  </a:lnTo>
                  <a:lnTo>
                    <a:pt x="788987" y="182295"/>
                  </a:lnTo>
                  <a:lnTo>
                    <a:pt x="787778" y="178332"/>
                  </a:lnTo>
                  <a:lnTo>
                    <a:pt x="786417" y="175216"/>
                  </a:lnTo>
                  <a:lnTo>
                    <a:pt x="785660" y="173976"/>
                  </a:lnTo>
                  <a:lnTo>
                    <a:pt x="785357" y="172766"/>
                  </a:lnTo>
                  <a:lnTo>
                    <a:pt x="785600" y="171616"/>
                  </a:lnTo>
                  <a:lnTo>
                    <a:pt x="786417" y="170527"/>
                  </a:lnTo>
                  <a:lnTo>
                    <a:pt x="786900" y="168833"/>
                  </a:lnTo>
                  <a:lnTo>
                    <a:pt x="786749" y="168017"/>
                  </a:lnTo>
                  <a:lnTo>
                    <a:pt x="786295" y="167472"/>
                  </a:lnTo>
                  <a:lnTo>
                    <a:pt x="785842" y="166594"/>
                  </a:lnTo>
                  <a:lnTo>
                    <a:pt x="785569" y="166383"/>
                  </a:lnTo>
                  <a:lnTo>
                    <a:pt x="784541" y="166080"/>
                  </a:lnTo>
                  <a:lnTo>
                    <a:pt x="784208" y="165808"/>
                  </a:lnTo>
                  <a:lnTo>
                    <a:pt x="784027" y="164991"/>
                  </a:lnTo>
                  <a:lnTo>
                    <a:pt x="784450" y="163539"/>
                  </a:lnTo>
                  <a:lnTo>
                    <a:pt x="784299" y="162874"/>
                  </a:lnTo>
                  <a:lnTo>
                    <a:pt x="783028" y="161452"/>
                  </a:lnTo>
                  <a:lnTo>
                    <a:pt x="778369" y="158094"/>
                  </a:lnTo>
                  <a:lnTo>
                    <a:pt x="776917" y="156097"/>
                  </a:lnTo>
                  <a:lnTo>
                    <a:pt x="775254" y="150077"/>
                  </a:lnTo>
                  <a:lnTo>
                    <a:pt x="773922" y="148171"/>
                  </a:lnTo>
                  <a:lnTo>
                    <a:pt x="770383" y="146387"/>
                  </a:lnTo>
                  <a:lnTo>
                    <a:pt x="768628" y="144995"/>
                  </a:lnTo>
                  <a:lnTo>
                    <a:pt x="767661" y="142968"/>
                  </a:lnTo>
                  <a:lnTo>
                    <a:pt x="767933" y="139913"/>
                  </a:lnTo>
                  <a:lnTo>
                    <a:pt x="769354" y="136857"/>
                  </a:lnTo>
                  <a:lnTo>
                    <a:pt x="772834" y="132289"/>
                  </a:lnTo>
                  <a:lnTo>
                    <a:pt x="778884" y="128266"/>
                  </a:lnTo>
                  <a:lnTo>
                    <a:pt x="780154" y="126360"/>
                  </a:lnTo>
                  <a:lnTo>
                    <a:pt x="780154" y="123123"/>
                  </a:lnTo>
                  <a:lnTo>
                    <a:pt x="778823" y="120945"/>
                  </a:lnTo>
                  <a:lnTo>
                    <a:pt x="777190" y="118919"/>
                  </a:lnTo>
                  <a:lnTo>
                    <a:pt x="776403" y="115984"/>
                  </a:lnTo>
                  <a:lnTo>
                    <a:pt x="777008" y="113261"/>
                  </a:lnTo>
                  <a:lnTo>
                    <a:pt x="779640" y="111356"/>
                  </a:lnTo>
                  <a:lnTo>
                    <a:pt x="780245" y="109298"/>
                  </a:lnTo>
                  <a:lnTo>
                    <a:pt x="779731" y="109147"/>
                  </a:lnTo>
                  <a:lnTo>
                    <a:pt x="778249" y="108209"/>
                  </a:lnTo>
                  <a:lnTo>
                    <a:pt x="780275" y="102431"/>
                  </a:lnTo>
                  <a:lnTo>
                    <a:pt x="779580" y="96381"/>
                  </a:lnTo>
                  <a:lnTo>
                    <a:pt x="779005" y="95353"/>
                  </a:lnTo>
                  <a:lnTo>
                    <a:pt x="776887" y="91632"/>
                  </a:lnTo>
                  <a:lnTo>
                    <a:pt x="773015" y="89937"/>
                  </a:lnTo>
                  <a:lnTo>
                    <a:pt x="768628" y="91329"/>
                  </a:lnTo>
                  <a:lnTo>
                    <a:pt x="765271" y="93114"/>
                  </a:lnTo>
                  <a:lnTo>
                    <a:pt x="762397" y="92630"/>
                  </a:lnTo>
                  <a:lnTo>
                    <a:pt x="759462" y="87366"/>
                  </a:lnTo>
                  <a:lnTo>
                    <a:pt x="758495" y="84795"/>
                  </a:lnTo>
                  <a:lnTo>
                    <a:pt x="757526" y="83191"/>
                  </a:lnTo>
                  <a:lnTo>
                    <a:pt x="756165" y="82496"/>
                  </a:lnTo>
                  <a:lnTo>
                    <a:pt x="752051" y="82798"/>
                  </a:lnTo>
                  <a:lnTo>
                    <a:pt x="749782" y="82344"/>
                  </a:lnTo>
                  <a:lnTo>
                    <a:pt x="747725" y="81044"/>
                  </a:lnTo>
                  <a:lnTo>
                    <a:pt x="746485" y="78775"/>
                  </a:lnTo>
                  <a:lnTo>
                    <a:pt x="746485" y="77232"/>
                  </a:lnTo>
                  <a:lnTo>
                    <a:pt x="746938" y="75901"/>
                  </a:lnTo>
                  <a:lnTo>
                    <a:pt x="747271" y="74418"/>
                  </a:lnTo>
                  <a:lnTo>
                    <a:pt x="746847" y="72331"/>
                  </a:lnTo>
                  <a:lnTo>
                    <a:pt x="746091" y="71273"/>
                  </a:lnTo>
                  <a:lnTo>
                    <a:pt x="745033" y="70516"/>
                  </a:lnTo>
                  <a:lnTo>
                    <a:pt x="736108" y="66493"/>
                  </a:lnTo>
                  <a:lnTo>
                    <a:pt x="734929" y="65071"/>
                  </a:lnTo>
                  <a:lnTo>
                    <a:pt x="735201" y="63710"/>
                  </a:lnTo>
                  <a:lnTo>
                    <a:pt x="735806" y="62348"/>
                  </a:lnTo>
                  <a:lnTo>
                    <a:pt x="735776" y="60957"/>
                  </a:lnTo>
                  <a:lnTo>
                    <a:pt x="734898" y="59988"/>
                  </a:lnTo>
                  <a:lnTo>
                    <a:pt x="714962" y="53878"/>
                  </a:lnTo>
                  <a:lnTo>
                    <a:pt x="713027" y="52728"/>
                  </a:lnTo>
                  <a:lnTo>
                    <a:pt x="709638" y="49854"/>
                  </a:lnTo>
                  <a:lnTo>
                    <a:pt x="707884" y="49400"/>
                  </a:lnTo>
                  <a:lnTo>
                    <a:pt x="705554" y="50489"/>
                  </a:lnTo>
                  <a:lnTo>
                    <a:pt x="701047" y="54513"/>
                  </a:lnTo>
                  <a:lnTo>
                    <a:pt x="698415" y="55330"/>
                  </a:lnTo>
                  <a:lnTo>
                    <a:pt x="686557" y="51216"/>
                  </a:lnTo>
                  <a:lnTo>
                    <a:pt x="682472" y="51004"/>
                  </a:lnTo>
                  <a:lnTo>
                    <a:pt x="678449" y="51821"/>
                  </a:lnTo>
                  <a:lnTo>
                    <a:pt x="674577" y="53908"/>
                  </a:lnTo>
                  <a:lnTo>
                    <a:pt x="672096" y="56873"/>
                  </a:lnTo>
                  <a:lnTo>
                    <a:pt x="668194" y="63619"/>
                  </a:lnTo>
                  <a:lnTo>
                    <a:pt x="665562" y="64889"/>
                  </a:lnTo>
                  <a:lnTo>
                    <a:pt x="658634" y="63226"/>
                  </a:lnTo>
                  <a:lnTo>
                    <a:pt x="655942" y="63770"/>
                  </a:lnTo>
                  <a:lnTo>
                    <a:pt x="645989" y="69094"/>
                  </a:lnTo>
                  <a:lnTo>
                    <a:pt x="638215" y="77716"/>
                  </a:lnTo>
                  <a:lnTo>
                    <a:pt x="635492" y="78442"/>
                  </a:lnTo>
                  <a:lnTo>
                    <a:pt x="633495" y="77444"/>
                  </a:lnTo>
                  <a:lnTo>
                    <a:pt x="628655" y="70788"/>
                  </a:lnTo>
                  <a:lnTo>
                    <a:pt x="623664" y="66886"/>
                  </a:lnTo>
                  <a:lnTo>
                    <a:pt x="622393" y="64496"/>
                  </a:lnTo>
                  <a:lnTo>
                    <a:pt x="621667" y="61077"/>
                  </a:lnTo>
                  <a:lnTo>
                    <a:pt x="622121" y="58446"/>
                  </a:lnTo>
                  <a:lnTo>
                    <a:pt x="624511" y="52940"/>
                  </a:lnTo>
                  <a:lnTo>
                    <a:pt x="624904" y="51216"/>
                  </a:lnTo>
                  <a:lnTo>
                    <a:pt x="625418" y="47192"/>
                  </a:lnTo>
                  <a:lnTo>
                    <a:pt x="625751" y="45770"/>
                  </a:lnTo>
                  <a:lnTo>
                    <a:pt x="626537" y="44379"/>
                  </a:lnTo>
                  <a:lnTo>
                    <a:pt x="627324" y="43804"/>
                  </a:lnTo>
                  <a:lnTo>
                    <a:pt x="628141" y="43471"/>
                  </a:lnTo>
                  <a:lnTo>
                    <a:pt x="629079" y="42806"/>
                  </a:lnTo>
                  <a:lnTo>
                    <a:pt x="629926" y="42473"/>
                  </a:lnTo>
                  <a:lnTo>
                    <a:pt x="630742" y="42534"/>
                  </a:lnTo>
                  <a:lnTo>
                    <a:pt x="631438" y="42382"/>
                  </a:lnTo>
                  <a:lnTo>
                    <a:pt x="631801" y="41324"/>
                  </a:lnTo>
                  <a:lnTo>
                    <a:pt x="631468" y="39992"/>
                  </a:lnTo>
                  <a:lnTo>
                    <a:pt x="630531" y="38480"/>
                  </a:lnTo>
                  <a:lnTo>
                    <a:pt x="628655" y="36211"/>
                  </a:lnTo>
                  <a:lnTo>
                    <a:pt x="626900" y="34607"/>
                  </a:lnTo>
                  <a:lnTo>
                    <a:pt x="625085" y="33549"/>
                  </a:lnTo>
                  <a:lnTo>
                    <a:pt x="609627" y="29556"/>
                  </a:lnTo>
                  <a:lnTo>
                    <a:pt x="606511" y="27257"/>
                  </a:lnTo>
                  <a:lnTo>
                    <a:pt x="601731" y="23959"/>
                  </a:lnTo>
                  <a:lnTo>
                    <a:pt x="596014" y="22114"/>
                  </a:lnTo>
                  <a:lnTo>
                    <a:pt x="590205" y="21963"/>
                  </a:lnTo>
                  <a:lnTo>
                    <a:pt x="585184" y="23717"/>
                  </a:lnTo>
                  <a:lnTo>
                    <a:pt x="579285" y="27226"/>
                  </a:lnTo>
                  <a:lnTo>
                    <a:pt x="579254" y="27257"/>
                  </a:lnTo>
                  <a:lnTo>
                    <a:pt x="579254" y="27257"/>
                  </a:lnTo>
                  <a:lnTo>
                    <a:pt x="579254" y="27257"/>
                  </a:lnTo>
                  <a:lnTo>
                    <a:pt x="572993" y="29858"/>
                  </a:lnTo>
                  <a:lnTo>
                    <a:pt x="570300" y="32399"/>
                  </a:lnTo>
                  <a:lnTo>
                    <a:pt x="570088" y="36241"/>
                  </a:lnTo>
                  <a:lnTo>
                    <a:pt x="567880" y="36756"/>
                  </a:lnTo>
                  <a:lnTo>
                    <a:pt x="560105" y="34729"/>
                  </a:lnTo>
                  <a:lnTo>
                    <a:pt x="557564" y="32581"/>
                  </a:lnTo>
                  <a:lnTo>
                    <a:pt x="556445" y="29253"/>
                  </a:lnTo>
                  <a:lnTo>
                    <a:pt x="555900" y="25320"/>
                  </a:lnTo>
                  <a:lnTo>
                    <a:pt x="554963" y="21418"/>
                  </a:lnTo>
                  <a:lnTo>
                    <a:pt x="554085" y="19754"/>
                  </a:lnTo>
                  <a:lnTo>
                    <a:pt x="550576" y="15095"/>
                  </a:lnTo>
                  <a:lnTo>
                    <a:pt x="548912" y="12222"/>
                  </a:lnTo>
                  <a:lnTo>
                    <a:pt x="548005" y="11314"/>
                  </a:lnTo>
                  <a:lnTo>
                    <a:pt x="546311" y="10679"/>
                  </a:lnTo>
                  <a:lnTo>
                    <a:pt x="540593" y="9801"/>
                  </a:lnTo>
                  <a:lnTo>
                    <a:pt x="525679" y="11314"/>
                  </a:lnTo>
                  <a:lnTo>
                    <a:pt x="523350" y="12857"/>
                  </a:lnTo>
                  <a:lnTo>
                    <a:pt x="520022" y="17636"/>
                  </a:lnTo>
                  <a:lnTo>
                    <a:pt x="517753" y="18907"/>
                  </a:lnTo>
                  <a:lnTo>
                    <a:pt x="515636" y="18242"/>
                  </a:lnTo>
                  <a:lnTo>
                    <a:pt x="513579" y="16336"/>
                  </a:lnTo>
                  <a:lnTo>
                    <a:pt x="510463" y="12282"/>
                  </a:lnTo>
                  <a:lnTo>
                    <a:pt x="503505" y="5233"/>
                  </a:lnTo>
                  <a:lnTo>
                    <a:pt x="501448" y="2360"/>
                  </a:lnTo>
                  <a:lnTo>
                    <a:pt x="497636" y="0"/>
                  </a:lnTo>
                  <a:lnTo>
                    <a:pt x="493341" y="1513"/>
                  </a:lnTo>
                  <a:lnTo>
                    <a:pt x="491616" y="2662"/>
                  </a:lnTo>
                  <a:lnTo>
                    <a:pt x="488863" y="4507"/>
                  </a:lnTo>
                  <a:lnTo>
                    <a:pt x="484568" y="6413"/>
                  </a:lnTo>
                  <a:lnTo>
                    <a:pt x="480393" y="7230"/>
                  </a:lnTo>
                  <a:lnTo>
                    <a:pt x="479122" y="7865"/>
                  </a:lnTo>
                  <a:lnTo>
                    <a:pt x="477549" y="9378"/>
                  </a:lnTo>
                  <a:lnTo>
                    <a:pt x="476551" y="11193"/>
                  </a:lnTo>
                  <a:lnTo>
                    <a:pt x="475674" y="13220"/>
                  </a:lnTo>
                  <a:lnTo>
                    <a:pt x="474464" y="15398"/>
                  </a:lnTo>
                  <a:lnTo>
                    <a:pt x="467597" y="20238"/>
                  </a:lnTo>
                  <a:lnTo>
                    <a:pt x="464450" y="23263"/>
                  </a:lnTo>
                  <a:lnTo>
                    <a:pt x="464027" y="27196"/>
                  </a:lnTo>
                  <a:lnTo>
                    <a:pt x="460760" y="32611"/>
                  </a:lnTo>
                  <a:lnTo>
                    <a:pt x="450746" y="38692"/>
                  </a:lnTo>
                  <a:lnTo>
                    <a:pt x="447933" y="46012"/>
                  </a:lnTo>
                  <a:lnTo>
                    <a:pt x="447237" y="53848"/>
                  </a:lnTo>
                  <a:lnTo>
                    <a:pt x="446360" y="57357"/>
                  </a:lnTo>
                  <a:lnTo>
                    <a:pt x="445483" y="59868"/>
                  </a:lnTo>
                  <a:lnTo>
                    <a:pt x="442639" y="60200"/>
                  </a:lnTo>
                  <a:lnTo>
                    <a:pt x="429994" y="59142"/>
                  </a:lnTo>
                  <a:lnTo>
                    <a:pt x="426697" y="58204"/>
                  </a:lnTo>
                  <a:lnTo>
                    <a:pt x="423550" y="56480"/>
                  </a:lnTo>
                  <a:lnTo>
                    <a:pt x="421040" y="53787"/>
                  </a:lnTo>
                  <a:lnTo>
                    <a:pt x="418952" y="56026"/>
                  </a:lnTo>
                  <a:lnTo>
                    <a:pt x="414263" y="60261"/>
                  </a:lnTo>
                  <a:lnTo>
                    <a:pt x="412327" y="61017"/>
                  </a:lnTo>
                  <a:lnTo>
                    <a:pt x="409544" y="59625"/>
                  </a:lnTo>
                  <a:lnTo>
                    <a:pt x="403282" y="54694"/>
                  </a:lnTo>
                  <a:lnTo>
                    <a:pt x="401074" y="53575"/>
                  </a:lnTo>
                  <a:lnTo>
                    <a:pt x="396990" y="52940"/>
                  </a:lnTo>
                  <a:lnTo>
                    <a:pt x="383921" y="54513"/>
                  </a:lnTo>
                  <a:lnTo>
                    <a:pt x="383770" y="54604"/>
                  </a:lnTo>
                  <a:lnTo>
                    <a:pt x="381592" y="55874"/>
                  </a:lnTo>
                  <a:lnTo>
                    <a:pt x="375784" y="62439"/>
                  </a:lnTo>
                  <a:lnTo>
                    <a:pt x="370005" y="72180"/>
                  </a:lnTo>
                  <a:lnTo>
                    <a:pt x="368009" y="74358"/>
                  </a:lnTo>
                  <a:lnTo>
                    <a:pt x="359992" y="78170"/>
                  </a:lnTo>
                  <a:lnTo>
                    <a:pt x="357663" y="78321"/>
                  </a:lnTo>
                  <a:lnTo>
                    <a:pt x="352308" y="76324"/>
                  </a:lnTo>
                  <a:lnTo>
                    <a:pt x="349616" y="76082"/>
                  </a:lnTo>
                  <a:lnTo>
                    <a:pt x="347165" y="77323"/>
                  </a:lnTo>
                  <a:lnTo>
                    <a:pt x="345018" y="80771"/>
                  </a:lnTo>
                  <a:lnTo>
                    <a:pt x="345955" y="84643"/>
                  </a:lnTo>
                  <a:lnTo>
                    <a:pt x="346349" y="89030"/>
                  </a:lnTo>
                  <a:lnTo>
                    <a:pt x="346107" y="93356"/>
                  </a:lnTo>
                  <a:lnTo>
                    <a:pt x="345139" y="96956"/>
                  </a:lnTo>
                  <a:lnTo>
                    <a:pt x="343203" y="99799"/>
                  </a:lnTo>
                  <a:lnTo>
                    <a:pt x="340722" y="102431"/>
                  </a:lnTo>
                  <a:lnTo>
                    <a:pt x="338755" y="105396"/>
                  </a:lnTo>
                  <a:lnTo>
                    <a:pt x="338302" y="109329"/>
                  </a:lnTo>
                  <a:lnTo>
                    <a:pt x="340208" y="112747"/>
                  </a:lnTo>
                  <a:lnTo>
                    <a:pt x="339875" y="114653"/>
                  </a:lnTo>
                  <a:lnTo>
                    <a:pt x="336305" y="117981"/>
                  </a:lnTo>
                  <a:lnTo>
                    <a:pt x="335458" y="119796"/>
                  </a:lnTo>
                  <a:lnTo>
                    <a:pt x="334127" y="125846"/>
                  </a:lnTo>
                  <a:lnTo>
                    <a:pt x="333401" y="127389"/>
                  </a:lnTo>
                  <a:lnTo>
                    <a:pt x="331011" y="131503"/>
                  </a:lnTo>
                  <a:lnTo>
                    <a:pt x="330043" y="134528"/>
                  </a:lnTo>
                  <a:lnTo>
                    <a:pt x="330497" y="136222"/>
                  </a:lnTo>
                  <a:lnTo>
                    <a:pt x="332070" y="137220"/>
                  </a:lnTo>
                  <a:lnTo>
                    <a:pt x="338090" y="139308"/>
                  </a:lnTo>
                  <a:lnTo>
                    <a:pt x="339784" y="139368"/>
                  </a:lnTo>
                  <a:lnTo>
                    <a:pt x="345865" y="137856"/>
                  </a:lnTo>
                  <a:lnTo>
                    <a:pt x="362563" y="140578"/>
                  </a:lnTo>
                  <a:lnTo>
                    <a:pt x="364862" y="142212"/>
                  </a:lnTo>
                  <a:lnTo>
                    <a:pt x="365770" y="144935"/>
                  </a:lnTo>
                  <a:lnTo>
                    <a:pt x="364681" y="147567"/>
                  </a:lnTo>
                  <a:lnTo>
                    <a:pt x="362261" y="149260"/>
                  </a:lnTo>
                  <a:lnTo>
                    <a:pt x="359659" y="149896"/>
                  </a:lnTo>
                  <a:lnTo>
                    <a:pt x="355757" y="150864"/>
                  </a:lnTo>
                  <a:lnTo>
                    <a:pt x="354214" y="151711"/>
                  </a:lnTo>
                  <a:lnTo>
                    <a:pt x="351310" y="154343"/>
                  </a:lnTo>
                  <a:lnTo>
                    <a:pt x="349737" y="156369"/>
                  </a:lnTo>
                  <a:lnTo>
                    <a:pt x="349011" y="158094"/>
                  </a:lnTo>
                  <a:lnTo>
                    <a:pt x="348345" y="162571"/>
                  </a:lnTo>
                  <a:lnTo>
                    <a:pt x="347226" y="167260"/>
                  </a:lnTo>
                  <a:lnTo>
                    <a:pt x="345683" y="169620"/>
                  </a:lnTo>
                  <a:lnTo>
                    <a:pt x="343475" y="169983"/>
                  </a:lnTo>
                  <a:lnTo>
                    <a:pt x="332857" y="165627"/>
                  </a:lnTo>
                  <a:lnTo>
                    <a:pt x="331405" y="165778"/>
                  </a:lnTo>
                  <a:lnTo>
                    <a:pt x="330557" y="166565"/>
                  </a:lnTo>
                  <a:lnTo>
                    <a:pt x="329983" y="167502"/>
                  </a:lnTo>
                  <a:lnTo>
                    <a:pt x="329347" y="168137"/>
                  </a:lnTo>
                  <a:lnTo>
                    <a:pt x="328349" y="168440"/>
                  </a:lnTo>
                  <a:lnTo>
                    <a:pt x="327502" y="168470"/>
                  </a:lnTo>
                  <a:lnTo>
                    <a:pt x="316370" y="165778"/>
                  </a:lnTo>
                  <a:lnTo>
                    <a:pt x="311832" y="166504"/>
                  </a:lnTo>
                  <a:lnTo>
                    <a:pt x="308655" y="171102"/>
                  </a:lnTo>
                  <a:lnTo>
                    <a:pt x="308383" y="172948"/>
                  </a:lnTo>
                  <a:lnTo>
                    <a:pt x="308474" y="176971"/>
                  </a:lnTo>
                  <a:lnTo>
                    <a:pt x="308292" y="178907"/>
                  </a:lnTo>
                  <a:lnTo>
                    <a:pt x="307808" y="180268"/>
                  </a:lnTo>
                  <a:lnTo>
                    <a:pt x="304087" y="187710"/>
                  </a:lnTo>
                  <a:lnTo>
                    <a:pt x="302333" y="190221"/>
                  </a:lnTo>
                  <a:lnTo>
                    <a:pt x="300669" y="192581"/>
                  </a:lnTo>
                  <a:lnTo>
                    <a:pt x="299156" y="194124"/>
                  </a:lnTo>
                  <a:lnTo>
                    <a:pt x="295526" y="196060"/>
                  </a:lnTo>
                  <a:lnTo>
                    <a:pt x="283305" y="198358"/>
                  </a:lnTo>
                  <a:lnTo>
                    <a:pt x="281429" y="198329"/>
                  </a:lnTo>
                  <a:lnTo>
                    <a:pt x="277799" y="197542"/>
                  </a:lnTo>
                  <a:lnTo>
                    <a:pt x="275954" y="197481"/>
                  </a:lnTo>
                  <a:lnTo>
                    <a:pt x="272142" y="198964"/>
                  </a:lnTo>
                  <a:lnTo>
                    <a:pt x="270962" y="199901"/>
                  </a:lnTo>
                  <a:lnTo>
                    <a:pt x="270599" y="201111"/>
                  </a:lnTo>
                  <a:lnTo>
                    <a:pt x="270418" y="202563"/>
                  </a:lnTo>
                  <a:lnTo>
                    <a:pt x="269782" y="204227"/>
                  </a:lnTo>
                  <a:lnTo>
                    <a:pt x="267665" y="206496"/>
                  </a:lnTo>
                  <a:lnTo>
                    <a:pt x="265336" y="208160"/>
                  </a:lnTo>
                  <a:lnTo>
                    <a:pt x="263339" y="210096"/>
                  </a:lnTo>
                  <a:lnTo>
                    <a:pt x="262310" y="213121"/>
                  </a:lnTo>
                  <a:lnTo>
                    <a:pt x="262431" y="214543"/>
                  </a:lnTo>
                  <a:lnTo>
                    <a:pt x="263309" y="217750"/>
                  </a:lnTo>
                  <a:lnTo>
                    <a:pt x="263369" y="219081"/>
                  </a:lnTo>
                  <a:lnTo>
                    <a:pt x="262915" y="220412"/>
                  </a:lnTo>
                  <a:lnTo>
                    <a:pt x="262401" y="220714"/>
                  </a:lnTo>
                  <a:lnTo>
                    <a:pt x="261735" y="220745"/>
                  </a:lnTo>
                  <a:lnTo>
                    <a:pt x="260737" y="221198"/>
                  </a:lnTo>
                  <a:lnTo>
                    <a:pt x="258529" y="223013"/>
                  </a:lnTo>
                  <a:lnTo>
                    <a:pt x="257470" y="224465"/>
                  </a:lnTo>
                  <a:lnTo>
                    <a:pt x="257167" y="226583"/>
                  </a:lnTo>
                  <a:lnTo>
                    <a:pt x="257500" y="234781"/>
                  </a:lnTo>
                  <a:lnTo>
                    <a:pt x="257319" y="236415"/>
                  </a:lnTo>
                  <a:lnTo>
                    <a:pt x="256956" y="238109"/>
                  </a:lnTo>
                  <a:lnTo>
                    <a:pt x="256411" y="239591"/>
                  </a:lnTo>
                  <a:lnTo>
                    <a:pt x="255988" y="241164"/>
                  </a:lnTo>
                  <a:lnTo>
                    <a:pt x="255867" y="243191"/>
                  </a:lnTo>
                  <a:lnTo>
                    <a:pt x="256532" y="246338"/>
                  </a:lnTo>
                  <a:lnTo>
                    <a:pt x="259043" y="252025"/>
                  </a:lnTo>
                  <a:lnTo>
                    <a:pt x="259588" y="255110"/>
                  </a:lnTo>
                  <a:lnTo>
                    <a:pt x="259104" y="258287"/>
                  </a:lnTo>
                  <a:lnTo>
                    <a:pt x="257682" y="260767"/>
                  </a:lnTo>
                  <a:lnTo>
                    <a:pt x="255776" y="262552"/>
                  </a:lnTo>
                  <a:lnTo>
                    <a:pt x="249605" y="265940"/>
                  </a:lnTo>
                  <a:lnTo>
                    <a:pt x="248062" y="267846"/>
                  </a:lnTo>
                  <a:lnTo>
                    <a:pt x="246973" y="271083"/>
                  </a:lnTo>
                  <a:lnTo>
                    <a:pt x="246519" y="275227"/>
                  </a:lnTo>
                  <a:lnTo>
                    <a:pt x="246610" y="278555"/>
                  </a:lnTo>
                  <a:lnTo>
                    <a:pt x="246216" y="281611"/>
                  </a:lnTo>
                  <a:lnTo>
                    <a:pt x="244432" y="285059"/>
                  </a:lnTo>
                  <a:lnTo>
                    <a:pt x="239803" y="290172"/>
                  </a:lnTo>
                  <a:lnTo>
                    <a:pt x="237897" y="293621"/>
                  </a:lnTo>
                  <a:lnTo>
                    <a:pt x="237776" y="297614"/>
                  </a:lnTo>
                  <a:lnTo>
                    <a:pt x="239138" y="299641"/>
                  </a:lnTo>
                  <a:lnTo>
                    <a:pt x="241346" y="300427"/>
                  </a:lnTo>
                  <a:lnTo>
                    <a:pt x="245702" y="300155"/>
                  </a:lnTo>
                  <a:lnTo>
                    <a:pt x="251722" y="297220"/>
                  </a:lnTo>
                  <a:lnTo>
                    <a:pt x="253265" y="296857"/>
                  </a:lnTo>
                  <a:lnTo>
                    <a:pt x="254596" y="297614"/>
                  </a:lnTo>
                  <a:lnTo>
                    <a:pt x="255201" y="298915"/>
                  </a:lnTo>
                  <a:lnTo>
                    <a:pt x="255504" y="300457"/>
                  </a:lnTo>
                  <a:lnTo>
                    <a:pt x="256563" y="303271"/>
                  </a:lnTo>
                  <a:lnTo>
                    <a:pt x="256956" y="303845"/>
                  </a:lnTo>
                  <a:lnTo>
                    <a:pt x="257349" y="303936"/>
                  </a:lnTo>
                  <a:lnTo>
                    <a:pt x="258499" y="303573"/>
                  </a:lnTo>
                  <a:lnTo>
                    <a:pt x="258982" y="303664"/>
                  </a:lnTo>
                  <a:lnTo>
                    <a:pt x="259951" y="304662"/>
                  </a:lnTo>
                  <a:lnTo>
                    <a:pt x="260828" y="305842"/>
                  </a:lnTo>
                  <a:lnTo>
                    <a:pt x="261614" y="307264"/>
                  </a:lnTo>
                  <a:lnTo>
                    <a:pt x="262310" y="309018"/>
                  </a:lnTo>
                  <a:lnTo>
                    <a:pt x="262704" y="309533"/>
                  </a:lnTo>
                  <a:lnTo>
                    <a:pt x="263248" y="309714"/>
                  </a:lnTo>
                  <a:lnTo>
                    <a:pt x="263732" y="310047"/>
                  </a:lnTo>
                  <a:lnTo>
                    <a:pt x="264004" y="311015"/>
                  </a:lnTo>
                  <a:lnTo>
                    <a:pt x="263762" y="311711"/>
                  </a:lnTo>
                  <a:lnTo>
                    <a:pt x="262552" y="313193"/>
                  </a:lnTo>
                  <a:lnTo>
                    <a:pt x="262250" y="313919"/>
                  </a:lnTo>
                  <a:lnTo>
                    <a:pt x="262159" y="321149"/>
                  </a:lnTo>
                  <a:lnTo>
                    <a:pt x="261372" y="323630"/>
                  </a:lnTo>
                  <a:lnTo>
                    <a:pt x="259043" y="325233"/>
                  </a:lnTo>
                  <a:lnTo>
                    <a:pt x="257833" y="325385"/>
                  </a:lnTo>
                  <a:lnTo>
                    <a:pt x="254082" y="324900"/>
                  </a:lnTo>
                  <a:lnTo>
                    <a:pt x="252993" y="325385"/>
                  </a:lnTo>
                  <a:lnTo>
                    <a:pt x="251389" y="327411"/>
                  </a:lnTo>
                  <a:lnTo>
                    <a:pt x="250331" y="327986"/>
                  </a:lnTo>
                  <a:lnTo>
                    <a:pt x="248122" y="328046"/>
                  </a:lnTo>
                  <a:lnTo>
                    <a:pt x="239229" y="326685"/>
                  </a:lnTo>
                  <a:lnTo>
                    <a:pt x="236506" y="325475"/>
                  </a:lnTo>
                  <a:lnTo>
                    <a:pt x="234207" y="323448"/>
                  </a:lnTo>
                  <a:lnTo>
                    <a:pt x="233481" y="320635"/>
                  </a:lnTo>
                  <a:lnTo>
                    <a:pt x="234207" y="319516"/>
                  </a:lnTo>
                  <a:lnTo>
                    <a:pt x="237080" y="318608"/>
                  </a:lnTo>
                  <a:lnTo>
                    <a:pt x="237806" y="317428"/>
                  </a:lnTo>
                  <a:lnTo>
                    <a:pt x="237262" y="316067"/>
                  </a:lnTo>
                  <a:lnTo>
                    <a:pt x="234842" y="314887"/>
                  </a:lnTo>
                  <a:lnTo>
                    <a:pt x="235054" y="313284"/>
                  </a:lnTo>
                  <a:lnTo>
                    <a:pt x="237141" y="312225"/>
                  </a:lnTo>
                  <a:lnTo>
                    <a:pt x="239470" y="312407"/>
                  </a:lnTo>
                  <a:lnTo>
                    <a:pt x="240318" y="311801"/>
                  </a:lnTo>
                  <a:lnTo>
                    <a:pt x="233238" y="302877"/>
                  </a:lnTo>
                  <a:lnTo>
                    <a:pt x="232755" y="301970"/>
                  </a:lnTo>
                  <a:lnTo>
                    <a:pt x="232089" y="301395"/>
                  </a:lnTo>
                  <a:lnTo>
                    <a:pt x="230788" y="301093"/>
                  </a:lnTo>
                  <a:lnTo>
                    <a:pt x="228247" y="302212"/>
                  </a:lnTo>
                  <a:lnTo>
                    <a:pt x="224224" y="307718"/>
                  </a:lnTo>
                  <a:lnTo>
                    <a:pt x="221773" y="309170"/>
                  </a:lnTo>
                  <a:lnTo>
                    <a:pt x="213515" y="309593"/>
                  </a:lnTo>
                  <a:lnTo>
                    <a:pt x="207132" y="307506"/>
                  </a:lnTo>
                  <a:lnTo>
                    <a:pt x="205347" y="307778"/>
                  </a:lnTo>
                  <a:lnTo>
                    <a:pt x="204046" y="309835"/>
                  </a:lnTo>
                  <a:lnTo>
                    <a:pt x="201989" y="317277"/>
                  </a:lnTo>
                  <a:lnTo>
                    <a:pt x="200325" y="320574"/>
                  </a:lnTo>
                  <a:lnTo>
                    <a:pt x="196211" y="324810"/>
                  </a:lnTo>
                  <a:lnTo>
                    <a:pt x="191824" y="327442"/>
                  </a:lnTo>
                  <a:lnTo>
                    <a:pt x="187317" y="328137"/>
                  </a:lnTo>
                  <a:lnTo>
                    <a:pt x="179391" y="325263"/>
                  </a:lnTo>
                  <a:lnTo>
                    <a:pt x="174732" y="324658"/>
                  </a:lnTo>
                  <a:lnTo>
                    <a:pt x="170074" y="325142"/>
                  </a:lnTo>
                  <a:lnTo>
                    <a:pt x="169590" y="325445"/>
                  </a:lnTo>
                  <a:lnTo>
                    <a:pt x="166625" y="327079"/>
                  </a:lnTo>
                  <a:lnTo>
                    <a:pt x="166232" y="328077"/>
                  </a:lnTo>
                  <a:lnTo>
                    <a:pt x="166202" y="329287"/>
                  </a:lnTo>
                  <a:lnTo>
                    <a:pt x="166322" y="330315"/>
                  </a:lnTo>
                  <a:lnTo>
                    <a:pt x="166262" y="330920"/>
                  </a:lnTo>
                  <a:lnTo>
                    <a:pt x="164387" y="332009"/>
                  </a:lnTo>
                  <a:lnTo>
                    <a:pt x="163509" y="333068"/>
                  </a:lnTo>
                  <a:lnTo>
                    <a:pt x="162874" y="333099"/>
                  </a:lnTo>
                  <a:lnTo>
                    <a:pt x="162692" y="333643"/>
                  </a:lnTo>
                  <a:lnTo>
                    <a:pt x="163146" y="336033"/>
                  </a:lnTo>
                  <a:lnTo>
                    <a:pt x="164356" y="339451"/>
                  </a:lnTo>
                  <a:lnTo>
                    <a:pt x="165717" y="342144"/>
                  </a:lnTo>
                  <a:lnTo>
                    <a:pt x="166595" y="345139"/>
                  </a:lnTo>
                  <a:lnTo>
                    <a:pt x="166413" y="349434"/>
                  </a:lnTo>
                  <a:lnTo>
                    <a:pt x="166383" y="349434"/>
                  </a:lnTo>
                  <a:lnTo>
                    <a:pt x="166383" y="349465"/>
                  </a:lnTo>
                  <a:lnTo>
                    <a:pt x="165082" y="352127"/>
                  </a:lnTo>
                  <a:lnTo>
                    <a:pt x="163297" y="353034"/>
                  </a:lnTo>
                  <a:lnTo>
                    <a:pt x="156793" y="354002"/>
                  </a:lnTo>
                  <a:lnTo>
                    <a:pt x="154948" y="353881"/>
                  </a:lnTo>
                  <a:lnTo>
                    <a:pt x="153465" y="352520"/>
                  </a:lnTo>
                  <a:lnTo>
                    <a:pt x="152165" y="349465"/>
                  </a:lnTo>
                  <a:lnTo>
                    <a:pt x="151802" y="349253"/>
                  </a:lnTo>
                  <a:lnTo>
                    <a:pt x="151439" y="349162"/>
                  </a:lnTo>
                  <a:lnTo>
                    <a:pt x="151046" y="349222"/>
                  </a:lnTo>
                  <a:lnTo>
                    <a:pt x="148656" y="350917"/>
                  </a:lnTo>
                  <a:lnTo>
                    <a:pt x="142212" y="352096"/>
                  </a:lnTo>
                  <a:lnTo>
                    <a:pt x="137160" y="354789"/>
                  </a:lnTo>
                  <a:lnTo>
                    <a:pt x="125634" y="364318"/>
                  </a:lnTo>
                  <a:lnTo>
                    <a:pt x="121974" y="366012"/>
                  </a:lnTo>
                  <a:lnTo>
                    <a:pt x="118374" y="365982"/>
                  </a:lnTo>
                  <a:lnTo>
                    <a:pt x="115167" y="365104"/>
                  </a:lnTo>
                  <a:lnTo>
                    <a:pt x="111749" y="365226"/>
                  </a:lnTo>
                  <a:lnTo>
                    <a:pt x="109813" y="364893"/>
                  </a:lnTo>
                  <a:lnTo>
                    <a:pt x="108754" y="363380"/>
                  </a:lnTo>
                  <a:lnTo>
                    <a:pt x="106999" y="358873"/>
                  </a:lnTo>
                  <a:lnTo>
                    <a:pt x="104186" y="355727"/>
                  </a:lnTo>
                  <a:lnTo>
                    <a:pt x="101010" y="354698"/>
                  </a:lnTo>
                  <a:lnTo>
                    <a:pt x="97712" y="355273"/>
                  </a:lnTo>
                  <a:lnTo>
                    <a:pt x="91480" y="358358"/>
                  </a:lnTo>
                  <a:lnTo>
                    <a:pt x="88516" y="359115"/>
                  </a:lnTo>
                  <a:lnTo>
                    <a:pt x="82072" y="359175"/>
                  </a:lnTo>
                  <a:lnTo>
                    <a:pt x="80409" y="358812"/>
                  </a:lnTo>
                  <a:lnTo>
                    <a:pt x="77444" y="357058"/>
                  </a:lnTo>
                  <a:lnTo>
                    <a:pt x="75871" y="356453"/>
                  </a:lnTo>
                  <a:lnTo>
                    <a:pt x="74358" y="356725"/>
                  </a:lnTo>
                  <a:lnTo>
                    <a:pt x="66674" y="360809"/>
                  </a:lnTo>
                  <a:lnTo>
                    <a:pt x="65918" y="360930"/>
                  </a:lnTo>
                  <a:lnTo>
                    <a:pt x="65041" y="360688"/>
                  </a:lnTo>
                  <a:lnTo>
                    <a:pt x="63226" y="359720"/>
                  </a:lnTo>
                  <a:lnTo>
                    <a:pt x="62530" y="359569"/>
                  </a:lnTo>
                  <a:lnTo>
                    <a:pt x="60987" y="360143"/>
                  </a:lnTo>
                  <a:lnTo>
                    <a:pt x="59233" y="361323"/>
                  </a:lnTo>
                  <a:lnTo>
                    <a:pt x="52940" y="362140"/>
                  </a:lnTo>
                  <a:lnTo>
                    <a:pt x="48009" y="364106"/>
                  </a:lnTo>
                  <a:lnTo>
                    <a:pt x="46436" y="364227"/>
                  </a:lnTo>
                  <a:lnTo>
                    <a:pt x="44712" y="363683"/>
                  </a:lnTo>
                  <a:lnTo>
                    <a:pt x="35667" y="358631"/>
                  </a:lnTo>
                  <a:lnTo>
                    <a:pt x="32188" y="357784"/>
                  </a:lnTo>
                  <a:lnTo>
                    <a:pt x="32309" y="362382"/>
                  </a:lnTo>
                  <a:lnTo>
                    <a:pt x="33367" y="366224"/>
                  </a:lnTo>
                  <a:lnTo>
                    <a:pt x="34699" y="369824"/>
                  </a:lnTo>
                  <a:lnTo>
                    <a:pt x="35697" y="373787"/>
                  </a:lnTo>
                  <a:lnTo>
                    <a:pt x="36634" y="382106"/>
                  </a:lnTo>
                  <a:lnTo>
                    <a:pt x="37694" y="385313"/>
                  </a:lnTo>
                  <a:lnTo>
                    <a:pt x="40144" y="388610"/>
                  </a:lnTo>
                  <a:lnTo>
                    <a:pt x="40144" y="388640"/>
                  </a:lnTo>
                  <a:lnTo>
                    <a:pt x="40144" y="388640"/>
                  </a:lnTo>
                  <a:lnTo>
                    <a:pt x="40386" y="398200"/>
                  </a:lnTo>
                  <a:lnTo>
                    <a:pt x="42776" y="409090"/>
                  </a:lnTo>
                  <a:lnTo>
                    <a:pt x="51337" y="433261"/>
                  </a:lnTo>
                  <a:lnTo>
                    <a:pt x="56056" y="442336"/>
                  </a:lnTo>
                  <a:lnTo>
                    <a:pt x="58083" y="447237"/>
                  </a:lnTo>
                  <a:lnTo>
                    <a:pt x="62106" y="461879"/>
                  </a:lnTo>
                  <a:lnTo>
                    <a:pt x="63891" y="466265"/>
                  </a:lnTo>
                  <a:lnTo>
                    <a:pt x="65706" y="468504"/>
                  </a:lnTo>
                  <a:lnTo>
                    <a:pt x="66674" y="470682"/>
                  </a:lnTo>
                  <a:lnTo>
                    <a:pt x="67461" y="472921"/>
                  </a:lnTo>
                  <a:lnTo>
                    <a:pt x="68671" y="475311"/>
                  </a:lnTo>
                  <a:lnTo>
                    <a:pt x="70486" y="477126"/>
                  </a:lnTo>
                  <a:lnTo>
                    <a:pt x="72180" y="478366"/>
                  </a:lnTo>
                  <a:lnTo>
                    <a:pt x="73239" y="480211"/>
                  </a:lnTo>
                  <a:lnTo>
                    <a:pt x="73027" y="483962"/>
                  </a:lnTo>
                  <a:lnTo>
                    <a:pt x="72120" y="486171"/>
                  </a:lnTo>
                  <a:lnTo>
                    <a:pt x="70879" y="488016"/>
                  </a:lnTo>
                  <a:lnTo>
                    <a:pt x="69941" y="490134"/>
                  </a:lnTo>
                  <a:lnTo>
                    <a:pt x="69790" y="493159"/>
                  </a:lnTo>
                  <a:lnTo>
                    <a:pt x="70667" y="495761"/>
                  </a:lnTo>
                  <a:lnTo>
                    <a:pt x="73692" y="499360"/>
                  </a:lnTo>
                  <a:lnTo>
                    <a:pt x="74872" y="501629"/>
                  </a:lnTo>
                  <a:lnTo>
                    <a:pt x="75024" y="502809"/>
                  </a:lnTo>
                  <a:lnTo>
                    <a:pt x="74782" y="504654"/>
                  </a:lnTo>
                  <a:lnTo>
                    <a:pt x="74782" y="505653"/>
                  </a:lnTo>
                  <a:lnTo>
                    <a:pt x="75659" y="509918"/>
                  </a:lnTo>
                  <a:lnTo>
                    <a:pt x="75689" y="511128"/>
                  </a:lnTo>
                  <a:lnTo>
                    <a:pt x="75387" y="512096"/>
                  </a:lnTo>
                  <a:lnTo>
                    <a:pt x="74298" y="514153"/>
                  </a:lnTo>
                  <a:lnTo>
                    <a:pt x="73995" y="515363"/>
                  </a:lnTo>
                  <a:lnTo>
                    <a:pt x="74086" y="516997"/>
                  </a:lnTo>
                  <a:lnTo>
                    <a:pt x="74449" y="517935"/>
                  </a:lnTo>
                  <a:lnTo>
                    <a:pt x="74842" y="518691"/>
                  </a:lnTo>
                  <a:lnTo>
                    <a:pt x="75115" y="519871"/>
                  </a:lnTo>
                  <a:lnTo>
                    <a:pt x="75961" y="538415"/>
                  </a:lnTo>
                  <a:lnTo>
                    <a:pt x="76143" y="542983"/>
                  </a:lnTo>
                  <a:lnTo>
                    <a:pt x="74752" y="549517"/>
                  </a:lnTo>
                  <a:lnTo>
                    <a:pt x="70758" y="554055"/>
                  </a:lnTo>
                  <a:lnTo>
                    <a:pt x="57387" y="562435"/>
                  </a:lnTo>
                  <a:lnTo>
                    <a:pt x="40567" y="566851"/>
                  </a:lnTo>
                  <a:lnTo>
                    <a:pt x="31674" y="571661"/>
                  </a:lnTo>
                  <a:lnTo>
                    <a:pt x="22810" y="578438"/>
                  </a:lnTo>
                  <a:lnTo>
                    <a:pt x="10558" y="595802"/>
                  </a:lnTo>
                  <a:lnTo>
                    <a:pt x="6504" y="600340"/>
                  </a:lnTo>
                  <a:lnTo>
                    <a:pt x="4659" y="603002"/>
                  </a:lnTo>
                  <a:lnTo>
                    <a:pt x="0" y="611805"/>
                  </a:lnTo>
                  <a:lnTo>
                    <a:pt x="302" y="611866"/>
                  </a:lnTo>
                  <a:lnTo>
                    <a:pt x="1029" y="612440"/>
                  </a:lnTo>
                  <a:lnTo>
                    <a:pt x="1785" y="613015"/>
                  </a:lnTo>
                  <a:lnTo>
                    <a:pt x="2904" y="614497"/>
                  </a:lnTo>
                  <a:lnTo>
                    <a:pt x="3207" y="616464"/>
                  </a:lnTo>
                  <a:lnTo>
                    <a:pt x="2420" y="619156"/>
                  </a:lnTo>
                  <a:lnTo>
                    <a:pt x="4689" y="620487"/>
                  </a:lnTo>
                  <a:lnTo>
                    <a:pt x="11919" y="622302"/>
                  </a:lnTo>
                  <a:lnTo>
                    <a:pt x="13462" y="621728"/>
                  </a:lnTo>
                  <a:lnTo>
                    <a:pt x="14793" y="622968"/>
                  </a:lnTo>
                  <a:lnTo>
                    <a:pt x="21025" y="625146"/>
                  </a:lnTo>
                  <a:lnTo>
                    <a:pt x="23142" y="625327"/>
                  </a:lnTo>
                  <a:lnTo>
                    <a:pt x="23142" y="626265"/>
                  </a:lnTo>
                  <a:lnTo>
                    <a:pt x="22416" y="627657"/>
                  </a:lnTo>
                  <a:lnTo>
                    <a:pt x="22719" y="627899"/>
                  </a:lnTo>
                  <a:lnTo>
                    <a:pt x="24141" y="627415"/>
                  </a:lnTo>
                  <a:lnTo>
                    <a:pt x="25411" y="627899"/>
                  </a:lnTo>
                  <a:lnTo>
                    <a:pt x="26319" y="628776"/>
                  </a:lnTo>
                  <a:lnTo>
                    <a:pt x="27287" y="628958"/>
                  </a:lnTo>
                  <a:lnTo>
                    <a:pt x="28648" y="627415"/>
                  </a:lnTo>
                  <a:lnTo>
                    <a:pt x="29041" y="628080"/>
                  </a:lnTo>
                  <a:lnTo>
                    <a:pt x="30040" y="628837"/>
                  </a:lnTo>
                  <a:lnTo>
                    <a:pt x="30705" y="629563"/>
                  </a:lnTo>
                  <a:lnTo>
                    <a:pt x="32400" y="628050"/>
                  </a:lnTo>
                  <a:lnTo>
                    <a:pt x="32793" y="629169"/>
                  </a:lnTo>
                  <a:lnTo>
                    <a:pt x="32520" y="630984"/>
                  </a:lnTo>
                  <a:lnTo>
                    <a:pt x="32097" y="631529"/>
                  </a:lnTo>
                  <a:lnTo>
                    <a:pt x="34880" y="636672"/>
                  </a:lnTo>
                  <a:lnTo>
                    <a:pt x="36846" y="637247"/>
                  </a:lnTo>
                  <a:lnTo>
                    <a:pt x="41626" y="637095"/>
                  </a:lnTo>
                  <a:lnTo>
                    <a:pt x="43502" y="638154"/>
                  </a:lnTo>
                  <a:lnTo>
                    <a:pt x="44167" y="639303"/>
                  </a:lnTo>
                  <a:lnTo>
                    <a:pt x="44681" y="640544"/>
                  </a:lnTo>
                  <a:lnTo>
                    <a:pt x="45287" y="641482"/>
                  </a:lnTo>
                  <a:lnTo>
                    <a:pt x="46255" y="641875"/>
                  </a:lnTo>
                  <a:lnTo>
                    <a:pt x="47465" y="642661"/>
                  </a:lnTo>
                  <a:lnTo>
                    <a:pt x="47888" y="644386"/>
                  </a:lnTo>
                  <a:lnTo>
                    <a:pt x="47979" y="646140"/>
                  </a:lnTo>
                  <a:lnTo>
                    <a:pt x="48796" y="647986"/>
                  </a:lnTo>
                  <a:lnTo>
                    <a:pt x="50217" y="653673"/>
                  </a:lnTo>
                  <a:lnTo>
                    <a:pt x="51367" y="656245"/>
                  </a:lnTo>
                  <a:lnTo>
                    <a:pt x="49824" y="657303"/>
                  </a:lnTo>
                  <a:lnTo>
                    <a:pt x="48493" y="659239"/>
                  </a:lnTo>
                  <a:lnTo>
                    <a:pt x="46587" y="663414"/>
                  </a:lnTo>
                  <a:lnTo>
                    <a:pt x="45922" y="666167"/>
                  </a:lnTo>
                  <a:lnTo>
                    <a:pt x="45861" y="671007"/>
                  </a:lnTo>
                  <a:lnTo>
                    <a:pt x="45196" y="672701"/>
                  </a:lnTo>
                  <a:lnTo>
                    <a:pt x="45589" y="672853"/>
                  </a:lnTo>
                  <a:lnTo>
                    <a:pt x="45770" y="672853"/>
                  </a:lnTo>
                  <a:lnTo>
                    <a:pt x="45861" y="673034"/>
                  </a:lnTo>
                  <a:lnTo>
                    <a:pt x="45892" y="673730"/>
                  </a:lnTo>
                  <a:lnTo>
                    <a:pt x="44681" y="674335"/>
                  </a:lnTo>
                  <a:lnTo>
                    <a:pt x="44288" y="677602"/>
                  </a:lnTo>
                  <a:lnTo>
                    <a:pt x="43169" y="678812"/>
                  </a:lnTo>
                  <a:lnTo>
                    <a:pt x="44742" y="681535"/>
                  </a:lnTo>
                  <a:lnTo>
                    <a:pt x="46587" y="683834"/>
                  </a:lnTo>
                  <a:lnTo>
                    <a:pt x="45438" y="687312"/>
                  </a:lnTo>
                  <a:lnTo>
                    <a:pt x="43532" y="689067"/>
                  </a:lnTo>
                  <a:lnTo>
                    <a:pt x="41414" y="690277"/>
                  </a:lnTo>
                  <a:lnTo>
                    <a:pt x="39720" y="692092"/>
                  </a:lnTo>
                  <a:lnTo>
                    <a:pt x="39297" y="693151"/>
                  </a:lnTo>
                  <a:lnTo>
                    <a:pt x="38903" y="694755"/>
                  </a:lnTo>
                  <a:lnTo>
                    <a:pt x="38329" y="698203"/>
                  </a:lnTo>
                  <a:lnTo>
                    <a:pt x="38692" y="698960"/>
                  </a:lnTo>
                  <a:lnTo>
                    <a:pt x="39357" y="700018"/>
                  </a:lnTo>
                  <a:lnTo>
                    <a:pt x="39599" y="700926"/>
                  </a:lnTo>
                  <a:lnTo>
                    <a:pt x="38661" y="701349"/>
                  </a:lnTo>
                  <a:lnTo>
                    <a:pt x="38268" y="701773"/>
                  </a:lnTo>
                  <a:lnTo>
                    <a:pt x="38601" y="702711"/>
                  </a:lnTo>
                  <a:lnTo>
                    <a:pt x="39206" y="703739"/>
                  </a:lnTo>
                  <a:lnTo>
                    <a:pt x="39720" y="704405"/>
                  </a:lnTo>
                  <a:lnTo>
                    <a:pt x="38420" y="705857"/>
                  </a:lnTo>
                  <a:lnTo>
                    <a:pt x="37814" y="706220"/>
                  </a:lnTo>
                  <a:lnTo>
                    <a:pt x="36907" y="706310"/>
                  </a:lnTo>
                  <a:lnTo>
                    <a:pt x="36907" y="707430"/>
                  </a:lnTo>
                  <a:lnTo>
                    <a:pt x="38057" y="708579"/>
                  </a:lnTo>
                  <a:lnTo>
                    <a:pt x="38177" y="710031"/>
                  </a:lnTo>
                  <a:lnTo>
                    <a:pt x="37663" y="714055"/>
                  </a:lnTo>
                  <a:lnTo>
                    <a:pt x="37996" y="716172"/>
                  </a:lnTo>
                  <a:lnTo>
                    <a:pt x="38873" y="718260"/>
                  </a:lnTo>
                  <a:lnTo>
                    <a:pt x="41082" y="721739"/>
                  </a:lnTo>
                  <a:lnTo>
                    <a:pt x="40386" y="721799"/>
                  </a:lnTo>
                  <a:lnTo>
                    <a:pt x="39720" y="721739"/>
                  </a:lnTo>
                  <a:lnTo>
                    <a:pt x="40961" y="724068"/>
                  </a:lnTo>
                  <a:lnTo>
                    <a:pt x="42564" y="724613"/>
                  </a:lnTo>
                  <a:lnTo>
                    <a:pt x="43925" y="725399"/>
                  </a:lnTo>
                  <a:lnTo>
                    <a:pt x="44318" y="727365"/>
                  </a:lnTo>
                  <a:lnTo>
                    <a:pt x="45256" y="728001"/>
                  </a:lnTo>
                  <a:lnTo>
                    <a:pt x="46103" y="727608"/>
                  </a:lnTo>
                  <a:lnTo>
                    <a:pt x="46587" y="725339"/>
                  </a:lnTo>
                  <a:lnTo>
                    <a:pt x="46345" y="723887"/>
                  </a:lnTo>
                  <a:lnTo>
                    <a:pt x="43623" y="716747"/>
                  </a:lnTo>
                  <a:lnTo>
                    <a:pt x="43018" y="715568"/>
                  </a:lnTo>
                  <a:lnTo>
                    <a:pt x="43139" y="714357"/>
                  </a:lnTo>
                  <a:lnTo>
                    <a:pt x="44349" y="712421"/>
                  </a:lnTo>
                  <a:lnTo>
                    <a:pt x="45377" y="711423"/>
                  </a:lnTo>
                  <a:lnTo>
                    <a:pt x="46618" y="710788"/>
                  </a:lnTo>
                  <a:lnTo>
                    <a:pt x="56389" y="708428"/>
                  </a:lnTo>
                  <a:lnTo>
                    <a:pt x="58748" y="708488"/>
                  </a:lnTo>
                  <a:lnTo>
                    <a:pt x="65857" y="710455"/>
                  </a:lnTo>
                  <a:lnTo>
                    <a:pt x="68368" y="710667"/>
                  </a:lnTo>
                  <a:lnTo>
                    <a:pt x="72362" y="712149"/>
                  </a:lnTo>
                  <a:lnTo>
                    <a:pt x="75175" y="715325"/>
                  </a:lnTo>
                  <a:lnTo>
                    <a:pt x="78049" y="717806"/>
                  </a:lnTo>
                  <a:lnTo>
                    <a:pt x="82072" y="717201"/>
                  </a:lnTo>
                  <a:lnTo>
                    <a:pt x="97107" y="704707"/>
                  </a:lnTo>
                  <a:lnTo>
                    <a:pt x="108512" y="697507"/>
                  </a:lnTo>
                  <a:lnTo>
                    <a:pt x="111356" y="693817"/>
                  </a:lnTo>
                  <a:lnTo>
                    <a:pt x="113745" y="684076"/>
                  </a:lnTo>
                  <a:lnTo>
                    <a:pt x="115288" y="681172"/>
                  </a:lnTo>
                  <a:lnTo>
                    <a:pt x="118949" y="676150"/>
                  </a:lnTo>
                  <a:lnTo>
                    <a:pt x="121127" y="674062"/>
                  </a:lnTo>
                  <a:lnTo>
                    <a:pt x="123275" y="673336"/>
                  </a:lnTo>
                  <a:lnTo>
                    <a:pt x="148323" y="671521"/>
                  </a:lnTo>
                  <a:lnTo>
                    <a:pt x="154494" y="672913"/>
                  </a:lnTo>
                  <a:lnTo>
                    <a:pt x="156581" y="672973"/>
                  </a:lnTo>
                  <a:lnTo>
                    <a:pt x="184866" y="668768"/>
                  </a:lnTo>
                  <a:lnTo>
                    <a:pt x="193912" y="664382"/>
                  </a:lnTo>
                  <a:lnTo>
                    <a:pt x="198480" y="663021"/>
                  </a:lnTo>
                  <a:lnTo>
                    <a:pt x="203017" y="662900"/>
                  </a:lnTo>
                  <a:lnTo>
                    <a:pt x="219989" y="667135"/>
                  </a:lnTo>
                  <a:lnTo>
                    <a:pt x="239652" y="667437"/>
                  </a:lnTo>
                  <a:lnTo>
                    <a:pt x="253356" y="667649"/>
                  </a:lnTo>
                  <a:lnTo>
                    <a:pt x="261857" y="666076"/>
                  </a:lnTo>
                  <a:lnTo>
                    <a:pt x="283305" y="669827"/>
                  </a:lnTo>
                  <a:lnTo>
                    <a:pt x="290323" y="669615"/>
                  </a:lnTo>
                  <a:lnTo>
                    <a:pt x="293348" y="670251"/>
                  </a:lnTo>
                  <a:lnTo>
                    <a:pt x="299822" y="675605"/>
                  </a:lnTo>
                  <a:lnTo>
                    <a:pt x="302847" y="676815"/>
                  </a:lnTo>
                  <a:lnTo>
                    <a:pt x="326232" y="677723"/>
                  </a:lnTo>
                  <a:lnTo>
                    <a:pt x="327441" y="678298"/>
                  </a:lnTo>
                  <a:lnTo>
                    <a:pt x="327472" y="679356"/>
                  </a:lnTo>
                  <a:lnTo>
                    <a:pt x="327169" y="680718"/>
                  </a:lnTo>
                  <a:lnTo>
                    <a:pt x="327411" y="682170"/>
                  </a:lnTo>
                  <a:lnTo>
                    <a:pt x="328652" y="683773"/>
                  </a:lnTo>
                  <a:lnTo>
                    <a:pt x="330043" y="684469"/>
                  </a:lnTo>
                  <a:lnTo>
                    <a:pt x="352218" y="685104"/>
                  </a:lnTo>
                  <a:lnTo>
                    <a:pt x="371216" y="692849"/>
                  </a:lnTo>
                  <a:lnTo>
                    <a:pt x="377871" y="693877"/>
                  </a:lnTo>
                  <a:lnTo>
                    <a:pt x="388005" y="690580"/>
                  </a:lnTo>
                  <a:lnTo>
                    <a:pt x="396899" y="690913"/>
                  </a:lnTo>
                  <a:lnTo>
                    <a:pt x="401043" y="691760"/>
                  </a:lnTo>
                  <a:lnTo>
                    <a:pt x="403736" y="693212"/>
                  </a:lnTo>
                  <a:lnTo>
                    <a:pt x="404371" y="695541"/>
                  </a:lnTo>
                  <a:lnTo>
                    <a:pt x="404099" y="698717"/>
                  </a:lnTo>
                  <a:lnTo>
                    <a:pt x="404038" y="702680"/>
                  </a:lnTo>
                  <a:lnTo>
                    <a:pt x="404855" y="705615"/>
                  </a:lnTo>
                  <a:lnTo>
                    <a:pt x="406337" y="706916"/>
                  </a:lnTo>
                  <a:lnTo>
                    <a:pt x="408364" y="707097"/>
                  </a:lnTo>
                  <a:lnTo>
                    <a:pt x="410784" y="706825"/>
                  </a:lnTo>
                  <a:lnTo>
                    <a:pt x="413749" y="707490"/>
                  </a:lnTo>
                  <a:lnTo>
                    <a:pt x="413446" y="710062"/>
                  </a:lnTo>
                  <a:lnTo>
                    <a:pt x="411964" y="713268"/>
                  </a:lnTo>
                  <a:lnTo>
                    <a:pt x="411389" y="715779"/>
                  </a:lnTo>
                  <a:lnTo>
                    <a:pt x="412751" y="716959"/>
                  </a:lnTo>
                  <a:lnTo>
                    <a:pt x="414929" y="716747"/>
                  </a:lnTo>
                  <a:lnTo>
                    <a:pt x="418952" y="715568"/>
                  </a:lnTo>
                  <a:lnTo>
                    <a:pt x="424912" y="716475"/>
                  </a:lnTo>
                  <a:lnTo>
                    <a:pt x="426999" y="716354"/>
                  </a:lnTo>
                  <a:lnTo>
                    <a:pt x="429207" y="715325"/>
                  </a:lnTo>
                  <a:lnTo>
                    <a:pt x="431991" y="712512"/>
                  </a:lnTo>
                  <a:lnTo>
                    <a:pt x="433866" y="711574"/>
                  </a:lnTo>
                  <a:lnTo>
                    <a:pt x="437406" y="711665"/>
                  </a:lnTo>
                  <a:lnTo>
                    <a:pt x="437406" y="711665"/>
                  </a:lnTo>
                  <a:lnTo>
                    <a:pt x="448296" y="715719"/>
                  </a:lnTo>
                  <a:lnTo>
                    <a:pt x="453953" y="715870"/>
                  </a:lnTo>
                  <a:lnTo>
                    <a:pt x="455557" y="716687"/>
                  </a:lnTo>
                  <a:lnTo>
                    <a:pt x="456797" y="719802"/>
                  </a:lnTo>
                  <a:lnTo>
                    <a:pt x="456010" y="723554"/>
                  </a:lnTo>
                  <a:lnTo>
                    <a:pt x="452682" y="731026"/>
                  </a:lnTo>
                  <a:lnTo>
                    <a:pt x="452864" y="731419"/>
                  </a:lnTo>
                  <a:lnTo>
                    <a:pt x="453288" y="732206"/>
                  </a:lnTo>
                  <a:lnTo>
                    <a:pt x="454649" y="733597"/>
                  </a:lnTo>
                  <a:lnTo>
                    <a:pt x="456283" y="734777"/>
                  </a:lnTo>
                  <a:lnTo>
                    <a:pt x="457704" y="735352"/>
                  </a:lnTo>
                  <a:lnTo>
                    <a:pt x="459308" y="735140"/>
                  </a:lnTo>
                  <a:lnTo>
                    <a:pt x="460366" y="734202"/>
                  </a:lnTo>
                  <a:lnTo>
                    <a:pt x="465055" y="728334"/>
                  </a:lnTo>
                  <a:lnTo>
                    <a:pt x="465570" y="727396"/>
                  </a:lnTo>
                  <a:lnTo>
                    <a:pt x="466054" y="725430"/>
                  </a:lnTo>
                  <a:lnTo>
                    <a:pt x="465963" y="723796"/>
                  </a:lnTo>
                  <a:lnTo>
                    <a:pt x="465721" y="722192"/>
                  </a:lnTo>
                  <a:lnTo>
                    <a:pt x="465660" y="720317"/>
                  </a:lnTo>
                  <a:lnTo>
                    <a:pt x="466296" y="717292"/>
                  </a:lnTo>
                  <a:lnTo>
                    <a:pt x="467597" y="714811"/>
                  </a:lnTo>
                  <a:lnTo>
                    <a:pt x="469472" y="713178"/>
                  </a:lnTo>
                  <a:lnTo>
                    <a:pt x="471802" y="712815"/>
                  </a:lnTo>
                  <a:lnTo>
                    <a:pt x="473949" y="713904"/>
                  </a:lnTo>
                  <a:lnTo>
                    <a:pt x="480030" y="720014"/>
                  </a:lnTo>
                  <a:lnTo>
                    <a:pt x="481936" y="720922"/>
                  </a:lnTo>
                  <a:lnTo>
                    <a:pt x="483781" y="721376"/>
                  </a:lnTo>
                  <a:lnTo>
                    <a:pt x="493582" y="721406"/>
                  </a:lnTo>
                  <a:lnTo>
                    <a:pt x="495549" y="720740"/>
                  </a:lnTo>
                  <a:lnTo>
                    <a:pt x="497969" y="718713"/>
                  </a:lnTo>
                  <a:lnTo>
                    <a:pt x="501236" y="712966"/>
                  </a:lnTo>
                  <a:lnTo>
                    <a:pt x="503203" y="710183"/>
                  </a:lnTo>
                  <a:lnTo>
                    <a:pt x="505350" y="708368"/>
                  </a:lnTo>
                  <a:lnTo>
                    <a:pt x="507589" y="707369"/>
                  </a:lnTo>
                  <a:lnTo>
                    <a:pt x="509646" y="707490"/>
                  </a:lnTo>
                  <a:lnTo>
                    <a:pt x="511128" y="709063"/>
                  </a:lnTo>
                  <a:lnTo>
                    <a:pt x="511522" y="710546"/>
                  </a:lnTo>
                  <a:lnTo>
                    <a:pt x="511461" y="711816"/>
                  </a:lnTo>
                  <a:lnTo>
                    <a:pt x="511552" y="713178"/>
                  </a:lnTo>
                  <a:lnTo>
                    <a:pt x="512399" y="714842"/>
                  </a:lnTo>
                  <a:lnTo>
                    <a:pt x="513609" y="715961"/>
                  </a:lnTo>
                  <a:lnTo>
                    <a:pt x="516513" y="717624"/>
                  </a:lnTo>
                  <a:lnTo>
                    <a:pt x="517753" y="718895"/>
                  </a:lnTo>
                  <a:lnTo>
                    <a:pt x="518419" y="720468"/>
                  </a:lnTo>
                  <a:lnTo>
                    <a:pt x="519478" y="724552"/>
                  </a:lnTo>
                  <a:lnTo>
                    <a:pt x="520083" y="725732"/>
                  </a:lnTo>
                  <a:lnTo>
                    <a:pt x="521383" y="726216"/>
                  </a:lnTo>
                  <a:lnTo>
                    <a:pt x="522654" y="725611"/>
                  </a:lnTo>
                  <a:lnTo>
                    <a:pt x="525256" y="723281"/>
                  </a:lnTo>
                  <a:lnTo>
                    <a:pt x="530278" y="720136"/>
                  </a:lnTo>
                  <a:lnTo>
                    <a:pt x="532879" y="719319"/>
                  </a:lnTo>
                  <a:lnTo>
                    <a:pt x="535602" y="719258"/>
                  </a:lnTo>
                  <a:lnTo>
                    <a:pt x="544647" y="721043"/>
                  </a:lnTo>
                  <a:lnTo>
                    <a:pt x="547249" y="722011"/>
                  </a:lnTo>
                  <a:lnTo>
                    <a:pt x="548126" y="724038"/>
                  </a:lnTo>
                  <a:lnTo>
                    <a:pt x="548368" y="727063"/>
                  </a:lnTo>
                  <a:lnTo>
                    <a:pt x="549941" y="735352"/>
                  </a:lnTo>
                  <a:lnTo>
                    <a:pt x="550606" y="737439"/>
                  </a:lnTo>
                  <a:lnTo>
                    <a:pt x="551575" y="739012"/>
                  </a:lnTo>
                  <a:lnTo>
                    <a:pt x="553238" y="739738"/>
                  </a:lnTo>
                  <a:lnTo>
                    <a:pt x="554690" y="739133"/>
                  </a:lnTo>
                  <a:lnTo>
                    <a:pt x="556022" y="738347"/>
                  </a:lnTo>
                  <a:lnTo>
                    <a:pt x="557322" y="738468"/>
                  </a:lnTo>
                  <a:lnTo>
                    <a:pt x="558018" y="740313"/>
                  </a:lnTo>
                  <a:lnTo>
                    <a:pt x="558744" y="743066"/>
                  </a:lnTo>
                  <a:lnTo>
                    <a:pt x="559803" y="744609"/>
                  </a:lnTo>
                  <a:lnTo>
                    <a:pt x="561618" y="742703"/>
                  </a:lnTo>
                  <a:lnTo>
                    <a:pt x="562102" y="740525"/>
                  </a:lnTo>
                  <a:lnTo>
                    <a:pt x="561890" y="734868"/>
                  </a:lnTo>
                  <a:lnTo>
                    <a:pt x="562163" y="732387"/>
                  </a:lnTo>
                  <a:lnTo>
                    <a:pt x="564129" y="728273"/>
                  </a:lnTo>
                  <a:lnTo>
                    <a:pt x="566942" y="725127"/>
                  </a:lnTo>
                  <a:lnTo>
                    <a:pt x="570179" y="722798"/>
                  </a:lnTo>
                  <a:lnTo>
                    <a:pt x="573386" y="721194"/>
                  </a:lnTo>
                  <a:lnTo>
                    <a:pt x="576320" y="720619"/>
                  </a:lnTo>
                  <a:lnTo>
                    <a:pt x="582522" y="720559"/>
                  </a:lnTo>
                  <a:lnTo>
                    <a:pt x="585184" y="719651"/>
                  </a:lnTo>
                  <a:lnTo>
                    <a:pt x="587090" y="717715"/>
                  </a:lnTo>
                  <a:lnTo>
                    <a:pt x="589479" y="713026"/>
                  </a:lnTo>
                  <a:lnTo>
                    <a:pt x="591476" y="711211"/>
                  </a:lnTo>
                  <a:lnTo>
                    <a:pt x="593443" y="710546"/>
                  </a:lnTo>
                  <a:lnTo>
                    <a:pt x="595499" y="710455"/>
                  </a:lnTo>
                  <a:lnTo>
                    <a:pt x="599584" y="711393"/>
                  </a:lnTo>
                  <a:lnTo>
                    <a:pt x="602004" y="712784"/>
                  </a:lnTo>
                  <a:lnTo>
                    <a:pt x="603244" y="714630"/>
                  </a:lnTo>
                  <a:lnTo>
                    <a:pt x="605361" y="720014"/>
                  </a:lnTo>
                  <a:lnTo>
                    <a:pt x="608720" y="724704"/>
                  </a:lnTo>
                  <a:lnTo>
                    <a:pt x="609899" y="727123"/>
                  </a:lnTo>
                  <a:lnTo>
                    <a:pt x="610292" y="731026"/>
                  </a:lnTo>
                  <a:lnTo>
                    <a:pt x="609355" y="734868"/>
                  </a:lnTo>
                  <a:lnTo>
                    <a:pt x="610020" y="736532"/>
                  </a:lnTo>
                  <a:lnTo>
                    <a:pt x="611684" y="737681"/>
                  </a:lnTo>
                  <a:lnTo>
                    <a:pt x="613741" y="739920"/>
                  </a:lnTo>
                  <a:lnTo>
                    <a:pt x="614891" y="742764"/>
                  </a:lnTo>
                  <a:lnTo>
                    <a:pt x="615738" y="746000"/>
                  </a:lnTo>
                  <a:lnTo>
                    <a:pt x="616978" y="748662"/>
                  </a:lnTo>
                  <a:lnTo>
                    <a:pt x="619308" y="749873"/>
                  </a:lnTo>
                  <a:lnTo>
                    <a:pt x="621365" y="749207"/>
                  </a:lnTo>
                  <a:lnTo>
                    <a:pt x="622635" y="748178"/>
                  </a:lnTo>
                  <a:lnTo>
                    <a:pt x="625297" y="746031"/>
                  </a:lnTo>
                  <a:lnTo>
                    <a:pt x="627627" y="745335"/>
                  </a:lnTo>
                  <a:lnTo>
                    <a:pt x="632013" y="747029"/>
                  </a:lnTo>
                  <a:lnTo>
                    <a:pt x="634010" y="746999"/>
                  </a:lnTo>
                  <a:lnTo>
                    <a:pt x="635492" y="744609"/>
                  </a:lnTo>
                  <a:lnTo>
                    <a:pt x="636974" y="740978"/>
                  </a:lnTo>
                  <a:lnTo>
                    <a:pt x="637973" y="739224"/>
                  </a:lnTo>
                  <a:lnTo>
                    <a:pt x="639334" y="738589"/>
                  </a:lnTo>
                  <a:lnTo>
                    <a:pt x="641936" y="738317"/>
                  </a:lnTo>
                  <a:lnTo>
                    <a:pt x="644265" y="737439"/>
                  </a:lnTo>
                  <a:lnTo>
                    <a:pt x="645778" y="735775"/>
                  </a:lnTo>
                  <a:lnTo>
                    <a:pt x="647199" y="733839"/>
                  </a:lnTo>
                  <a:lnTo>
                    <a:pt x="649287" y="732085"/>
                  </a:lnTo>
                  <a:lnTo>
                    <a:pt x="651283" y="731298"/>
                  </a:lnTo>
                  <a:lnTo>
                    <a:pt x="653582" y="730996"/>
                  </a:lnTo>
                  <a:lnTo>
                    <a:pt x="655791" y="731268"/>
                  </a:lnTo>
                  <a:lnTo>
                    <a:pt x="657545" y="732387"/>
                  </a:lnTo>
                  <a:lnTo>
                    <a:pt x="659209" y="735049"/>
                  </a:lnTo>
                  <a:lnTo>
                    <a:pt x="660087" y="737318"/>
                  </a:lnTo>
                  <a:lnTo>
                    <a:pt x="661357" y="738922"/>
                  </a:lnTo>
                  <a:lnTo>
                    <a:pt x="670493" y="740343"/>
                  </a:lnTo>
                  <a:lnTo>
                    <a:pt x="672278" y="739920"/>
                  </a:lnTo>
                  <a:lnTo>
                    <a:pt x="673306" y="738891"/>
                  </a:lnTo>
                  <a:lnTo>
                    <a:pt x="675000" y="736018"/>
                  </a:lnTo>
                  <a:lnTo>
                    <a:pt x="676271" y="735170"/>
                  </a:lnTo>
                  <a:lnTo>
                    <a:pt x="677299" y="735261"/>
                  </a:lnTo>
                  <a:lnTo>
                    <a:pt x="678933" y="736290"/>
                  </a:lnTo>
                  <a:lnTo>
                    <a:pt x="680173" y="736229"/>
                  </a:lnTo>
                  <a:lnTo>
                    <a:pt x="686284" y="733234"/>
                  </a:lnTo>
                  <a:lnTo>
                    <a:pt x="688583" y="732599"/>
                  </a:lnTo>
                  <a:lnTo>
                    <a:pt x="702680" y="732266"/>
                  </a:lnTo>
                  <a:lnTo>
                    <a:pt x="705554" y="732992"/>
                  </a:lnTo>
                  <a:lnTo>
                    <a:pt x="708398" y="734928"/>
                  </a:lnTo>
                  <a:lnTo>
                    <a:pt x="712149" y="739678"/>
                  </a:lnTo>
                  <a:lnTo>
                    <a:pt x="713571" y="741069"/>
                  </a:lnTo>
                  <a:lnTo>
                    <a:pt x="718653" y="743368"/>
                  </a:lnTo>
                  <a:lnTo>
                    <a:pt x="719954" y="744488"/>
                  </a:lnTo>
                  <a:lnTo>
                    <a:pt x="720559" y="745486"/>
                  </a:lnTo>
                  <a:lnTo>
                    <a:pt x="720832" y="746454"/>
                  </a:lnTo>
                  <a:lnTo>
                    <a:pt x="720952" y="747634"/>
                  </a:lnTo>
                  <a:lnTo>
                    <a:pt x="720922" y="749177"/>
                  </a:lnTo>
                  <a:lnTo>
                    <a:pt x="720771" y="750326"/>
                  </a:lnTo>
                  <a:lnTo>
                    <a:pt x="719924" y="753442"/>
                  </a:lnTo>
                  <a:lnTo>
                    <a:pt x="719651" y="753563"/>
                  </a:lnTo>
                  <a:lnTo>
                    <a:pt x="720377" y="755136"/>
                  </a:lnTo>
                  <a:lnTo>
                    <a:pt x="723463" y="758797"/>
                  </a:lnTo>
                  <a:lnTo>
                    <a:pt x="724794" y="759916"/>
                  </a:lnTo>
                  <a:lnTo>
                    <a:pt x="726337" y="760461"/>
                  </a:lnTo>
                  <a:lnTo>
                    <a:pt x="729332" y="760461"/>
                  </a:lnTo>
                  <a:lnTo>
                    <a:pt x="730814" y="760793"/>
                  </a:lnTo>
                  <a:lnTo>
                    <a:pt x="732266" y="762094"/>
                  </a:lnTo>
                  <a:lnTo>
                    <a:pt x="734505" y="765180"/>
                  </a:lnTo>
                  <a:lnTo>
                    <a:pt x="736108" y="765633"/>
                  </a:lnTo>
                  <a:lnTo>
                    <a:pt x="737530" y="765482"/>
                  </a:lnTo>
                  <a:lnTo>
                    <a:pt x="738861" y="765815"/>
                  </a:lnTo>
                  <a:lnTo>
                    <a:pt x="740132" y="766602"/>
                  </a:lnTo>
                  <a:lnTo>
                    <a:pt x="741281" y="767751"/>
                  </a:lnTo>
                  <a:lnTo>
                    <a:pt x="742037" y="769143"/>
                  </a:lnTo>
                  <a:lnTo>
                    <a:pt x="743127" y="768901"/>
                  </a:lnTo>
                  <a:lnTo>
                    <a:pt x="743520" y="768054"/>
                  </a:lnTo>
                  <a:lnTo>
                    <a:pt x="743610" y="767933"/>
                  </a:lnTo>
                  <a:lnTo>
                    <a:pt x="743731" y="764393"/>
                  </a:lnTo>
                  <a:lnTo>
                    <a:pt x="744034" y="764091"/>
                  </a:lnTo>
                  <a:lnTo>
                    <a:pt x="745819" y="761187"/>
                  </a:lnTo>
                  <a:lnTo>
                    <a:pt x="746091" y="759039"/>
                  </a:lnTo>
                  <a:lnTo>
                    <a:pt x="749147" y="756982"/>
                  </a:lnTo>
                  <a:lnTo>
                    <a:pt x="751960" y="754259"/>
                  </a:lnTo>
                  <a:lnTo>
                    <a:pt x="751355" y="750084"/>
                  </a:lnTo>
                  <a:lnTo>
                    <a:pt x="752686" y="749600"/>
                  </a:lnTo>
                  <a:lnTo>
                    <a:pt x="752596" y="748814"/>
                  </a:lnTo>
                  <a:lnTo>
                    <a:pt x="751869" y="747936"/>
                  </a:lnTo>
                  <a:lnTo>
                    <a:pt x="751355" y="747150"/>
                  </a:lnTo>
                  <a:lnTo>
                    <a:pt x="750387" y="742975"/>
                  </a:lnTo>
                  <a:lnTo>
                    <a:pt x="749933" y="742007"/>
                  </a:lnTo>
                  <a:lnTo>
                    <a:pt x="748723" y="741130"/>
                  </a:lnTo>
                  <a:lnTo>
                    <a:pt x="747664" y="741069"/>
                  </a:lnTo>
                  <a:lnTo>
                    <a:pt x="746878" y="740737"/>
                  </a:lnTo>
                  <a:lnTo>
                    <a:pt x="746515" y="738982"/>
                  </a:lnTo>
                  <a:lnTo>
                    <a:pt x="746696" y="737107"/>
                  </a:lnTo>
                  <a:lnTo>
                    <a:pt x="747452" y="736048"/>
                  </a:lnTo>
                  <a:lnTo>
                    <a:pt x="748602" y="735715"/>
                  </a:lnTo>
                  <a:lnTo>
                    <a:pt x="749933" y="735927"/>
                  </a:lnTo>
                  <a:lnTo>
                    <a:pt x="749933" y="734838"/>
                  </a:lnTo>
                  <a:lnTo>
                    <a:pt x="748874" y="734444"/>
                  </a:lnTo>
                  <a:lnTo>
                    <a:pt x="747846" y="733779"/>
                  </a:lnTo>
                  <a:lnTo>
                    <a:pt x="746999" y="732659"/>
                  </a:lnTo>
                  <a:lnTo>
                    <a:pt x="746515" y="730875"/>
                  </a:lnTo>
                  <a:lnTo>
                    <a:pt x="747059" y="729664"/>
                  </a:lnTo>
                  <a:lnTo>
                    <a:pt x="746635" y="728575"/>
                  </a:lnTo>
                  <a:lnTo>
                    <a:pt x="745607" y="727577"/>
                  </a:lnTo>
                  <a:lnTo>
                    <a:pt x="744367" y="726730"/>
                  </a:lnTo>
                  <a:lnTo>
                    <a:pt x="745244" y="726034"/>
                  </a:lnTo>
                  <a:lnTo>
                    <a:pt x="745728" y="725339"/>
                  </a:lnTo>
                  <a:lnTo>
                    <a:pt x="746515" y="723675"/>
                  </a:lnTo>
                  <a:lnTo>
                    <a:pt x="744821" y="722949"/>
                  </a:lnTo>
                  <a:lnTo>
                    <a:pt x="741493" y="722071"/>
                  </a:lnTo>
                  <a:lnTo>
                    <a:pt x="740313" y="720650"/>
                  </a:lnTo>
                  <a:lnTo>
                    <a:pt x="740313" y="719712"/>
                  </a:lnTo>
                  <a:lnTo>
                    <a:pt x="740827" y="719379"/>
                  </a:lnTo>
                  <a:lnTo>
                    <a:pt x="741160" y="719076"/>
                  </a:lnTo>
                  <a:lnTo>
                    <a:pt x="741584" y="718804"/>
                  </a:lnTo>
                  <a:lnTo>
                    <a:pt x="742370" y="718623"/>
                  </a:lnTo>
                  <a:lnTo>
                    <a:pt x="742370" y="717685"/>
                  </a:lnTo>
                  <a:lnTo>
                    <a:pt x="741523" y="717201"/>
                  </a:lnTo>
                  <a:lnTo>
                    <a:pt x="739557" y="715658"/>
                  </a:lnTo>
                  <a:lnTo>
                    <a:pt x="739557" y="714569"/>
                  </a:lnTo>
                  <a:lnTo>
                    <a:pt x="742461" y="712119"/>
                  </a:lnTo>
                  <a:lnTo>
                    <a:pt x="743731" y="711574"/>
                  </a:lnTo>
                  <a:lnTo>
                    <a:pt x="743369" y="710152"/>
                  </a:lnTo>
                  <a:lnTo>
                    <a:pt x="743066" y="709578"/>
                  </a:lnTo>
                  <a:lnTo>
                    <a:pt x="743610" y="709185"/>
                  </a:lnTo>
                  <a:lnTo>
                    <a:pt x="744427" y="708065"/>
                  </a:lnTo>
                  <a:lnTo>
                    <a:pt x="745123" y="707430"/>
                  </a:lnTo>
                  <a:lnTo>
                    <a:pt x="744518" y="705373"/>
                  </a:lnTo>
                  <a:lnTo>
                    <a:pt x="745698" y="702257"/>
                  </a:lnTo>
                  <a:lnTo>
                    <a:pt x="745123" y="700230"/>
                  </a:lnTo>
                  <a:lnTo>
                    <a:pt x="746364" y="699867"/>
                  </a:lnTo>
                  <a:lnTo>
                    <a:pt x="749510" y="699776"/>
                  </a:lnTo>
                  <a:lnTo>
                    <a:pt x="750599" y="699323"/>
                  </a:lnTo>
                  <a:lnTo>
                    <a:pt x="751173" y="697900"/>
                  </a:lnTo>
                  <a:lnTo>
                    <a:pt x="751325" y="696055"/>
                  </a:lnTo>
                  <a:lnTo>
                    <a:pt x="751627" y="694301"/>
                  </a:lnTo>
                  <a:lnTo>
                    <a:pt x="752746" y="693212"/>
                  </a:lnTo>
                  <a:lnTo>
                    <a:pt x="752746" y="692092"/>
                  </a:lnTo>
                  <a:lnTo>
                    <a:pt x="751960" y="692002"/>
                  </a:lnTo>
                  <a:lnTo>
                    <a:pt x="749933" y="691064"/>
                  </a:lnTo>
                  <a:lnTo>
                    <a:pt x="751173" y="689763"/>
                  </a:lnTo>
                  <a:lnTo>
                    <a:pt x="753412" y="688402"/>
                  </a:lnTo>
                  <a:lnTo>
                    <a:pt x="755197" y="686708"/>
                  </a:lnTo>
                  <a:lnTo>
                    <a:pt x="755106" y="684378"/>
                  </a:lnTo>
                  <a:lnTo>
                    <a:pt x="754380" y="682956"/>
                  </a:lnTo>
                  <a:lnTo>
                    <a:pt x="754350" y="682381"/>
                  </a:lnTo>
                  <a:lnTo>
                    <a:pt x="754774" y="681958"/>
                  </a:lnTo>
                  <a:lnTo>
                    <a:pt x="755409" y="680869"/>
                  </a:lnTo>
                  <a:lnTo>
                    <a:pt x="757617" y="678237"/>
                  </a:lnTo>
                  <a:lnTo>
                    <a:pt x="757890" y="677723"/>
                  </a:lnTo>
                  <a:lnTo>
                    <a:pt x="758464" y="677269"/>
                  </a:lnTo>
                  <a:lnTo>
                    <a:pt x="758918" y="676271"/>
                  </a:lnTo>
                  <a:lnTo>
                    <a:pt x="759583" y="675303"/>
                  </a:lnTo>
                  <a:lnTo>
                    <a:pt x="761641" y="674274"/>
                  </a:lnTo>
                  <a:lnTo>
                    <a:pt x="761913" y="673004"/>
                  </a:lnTo>
                  <a:lnTo>
                    <a:pt x="761973" y="671612"/>
                  </a:lnTo>
                  <a:lnTo>
                    <a:pt x="762367" y="670644"/>
                  </a:lnTo>
                  <a:lnTo>
                    <a:pt x="763184" y="670402"/>
                  </a:lnTo>
                  <a:lnTo>
                    <a:pt x="766178" y="670644"/>
                  </a:lnTo>
                  <a:lnTo>
                    <a:pt x="767025" y="670251"/>
                  </a:lnTo>
                  <a:lnTo>
                    <a:pt x="767933" y="669343"/>
                  </a:lnTo>
                  <a:lnTo>
                    <a:pt x="769294" y="667589"/>
                  </a:lnTo>
                  <a:lnTo>
                    <a:pt x="769294" y="666590"/>
                  </a:lnTo>
                  <a:lnTo>
                    <a:pt x="768749" y="665955"/>
                  </a:lnTo>
                  <a:lnTo>
                    <a:pt x="768478" y="665017"/>
                  </a:lnTo>
                  <a:lnTo>
                    <a:pt x="768537" y="664473"/>
                  </a:lnTo>
                  <a:lnTo>
                    <a:pt x="771382" y="663474"/>
                  </a:lnTo>
                  <a:lnTo>
                    <a:pt x="772834" y="662658"/>
                  </a:lnTo>
                  <a:lnTo>
                    <a:pt x="774074" y="661690"/>
                  </a:lnTo>
                  <a:lnTo>
                    <a:pt x="775193" y="660601"/>
                  </a:lnTo>
                  <a:lnTo>
                    <a:pt x="776221" y="659300"/>
                  </a:lnTo>
                  <a:lnTo>
                    <a:pt x="776252" y="658816"/>
                  </a:lnTo>
                  <a:lnTo>
                    <a:pt x="776191" y="658060"/>
                  </a:lnTo>
                  <a:lnTo>
                    <a:pt x="776373" y="657122"/>
                  </a:lnTo>
                  <a:lnTo>
                    <a:pt x="777159" y="656184"/>
                  </a:lnTo>
                  <a:lnTo>
                    <a:pt x="777976" y="655609"/>
                  </a:lnTo>
                  <a:lnTo>
                    <a:pt x="778581" y="655367"/>
                  </a:lnTo>
                  <a:lnTo>
                    <a:pt x="779125" y="655609"/>
                  </a:lnTo>
                  <a:lnTo>
                    <a:pt x="779822" y="656456"/>
                  </a:lnTo>
                  <a:lnTo>
                    <a:pt x="782453" y="656274"/>
                  </a:lnTo>
                  <a:lnTo>
                    <a:pt x="783331" y="654339"/>
                  </a:lnTo>
                  <a:lnTo>
                    <a:pt x="782363" y="652342"/>
                  </a:lnTo>
                  <a:lnTo>
                    <a:pt x="779428" y="651979"/>
                  </a:lnTo>
                  <a:lnTo>
                    <a:pt x="779761" y="651223"/>
                  </a:lnTo>
                  <a:lnTo>
                    <a:pt x="779973" y="650497"/>
                  </a:lnTo>
                  <a:lnTo>
                    <a:pt x="780275" y="649771"/>
                  </a:lnTo>
                  <a:lnTo>
                    <a:pt x="780789" y="649014"/>
                  </a:lnTo>
                  <a:lnTo>
                    <a:pt x="780185" y="646473"/>
                  </a:lnTo>
                  <a:lnTo>
                    <a:pt x="781758" y="644870"/>
                  </a:lnTo>
                  <a:lnTo>
                    <a:pt x="784269" y="644144"/>
                  </a:lnTo>
                  <a:lnTo>
                    <a:pt x="798063" y="643388"/>
                  </a:lnTo>
                  <a:lnTo>
                    <a:pt x="801935" y="643841"/>
                  </a:lnTo>
                  <a:lnTo>
                    <a:pt x="804355" y="645142"/>
                  </a:lnTo>
                  <a:lnTo>
                    <a:pt x="808954" y="648742"/>
                  </a:lnTo>
                  <a:lnTo>
                    <a:pt x="811404" y="649619"/>
                  </a:lnTo>
                  <a:lnTo>
                    <a:pt x="813764" y="648682"/>
                  </a:lnTo>
                  <a:lnTo>
                    <a:pt x="815397" y="646171"/>
                  </a:lnTo>
                  <a:lnTo>
                    <a:pt x="816970" y="643145"/>
                  </a:lnTo>
                  <a:lnTo>
                    <a:pt x="818997" y="640695"/>
                  </a:lnTo>
                  <a:lnTo>
                    <a:pt x="826923" y="637700"/>
                  </a:lnTo>
                  <a:lnTo>
                    <a:pt x="836150" y="637670"/>
                  </a:lnTo>
                  <a:lnTo>
                    <a:pt x="853756" y="640816"/>
                  </a:lnTo>
                  <a:lnTo>
                    <a:pt x="865252" y="640241"/>
                  </a:lnTo>
                  <a:lnTo>
                    <a:pt x="865493" y="635795"/>
                  </a:lnTo>
                  <a:lnTo>
                    <a:pt x="865101" y="632830"/>
                  </a:lnTo>
                  <a:lnTo>
                    <a:pt x="863739" y="630712"/>
                  </a:lnTo>
                  <a:lnTo>
                    <a:pt x="858687" y="627475"/>
                  </a:lnTo>
                  <a:lnTo>
                    <a:pt x="857719" y="626537"/>
                  </a:lnTo>
                  <a:lnTo>
                    <a:pt x="857023" y="624995"/>
                  </a:lnTo>
                  <a:lnTo>
                    <a:pt x="856721" y="622877"/>
                  </a:lnTo>
                  <a:lnTo>
                    <a:pt x="856963" y="620669"/>
                  </a:lnTo>
                  <a:lnTo>
                    <a:pt x="857689" y="618763"/>
                  </a:lnTo>
                  <a:lnTo>
                    <a:pt x="858747" y="617523"/>
                  </a:lnTo>
                  <a:lnTo>
                    <a:pt x="857114" y="616645"/>
                  </a:lnTo>
                  <a:lnTo>
                    <a:pt x="853635" y="616071"/>
                  </a:lnTo>
                  <a:lnTo>
                    <a:pt x="851880" y="615526"/>
                  </a:lnTo>
                  <a:lnTo>
                    <a:pt x="850096" y="614256"/>
                  </a:lnTo>
                  <a:lnTo>
                    <a:pt x="848462" y="612561"/>
                  </a:lnTo>
                  <a:lnTo>
                    <a:pt x="845437" y="608477"/>
                  </a:lnTo>
                  <a:lnTo>
                    <a:pt x="846677" y="607388"/>
                  </a:lnTo>
                  <a:lnTo>
                    <a:pt x="847947" y="605876"/>
                  </a:lnTo>
                  <a:lnTo>
                    <a:pt x="849007" y="604000"/>
                  </a:lnTo>
                  <a:lnTo>
                    <a:pt x="849611" y="601943"/>
                  </a:lnTo>
                  <a:lnTo>
                    <a:pt x="849551" y="599220"/>
                  </a:lnTo>
                  <a:lnTo>
                    <a:pt x="848795" y="597587"/>
                  </a:lnTo>
                  <a:lnTo>
                    <a:pt x="847767" y="596316"/>
                  </a:lnTo>
                  <a:lnTo>
                    <a:pt x="847010" y="594652"/>
                  </a:lnTo>
                  <a:lnTo>
                    <a:pt x="847071" y="590780"/>
                  </a:lnTo>
                  <a:lnTo>
                    <a:pt x="847676" y="586273"/>
                  </a:lnTo>
                  <a:lnTo>
                    <a:pt x="847524" y="582552"/>
                  </a:lnTo>
                  <a:lnTo>
                    <a:pt x="845255" y="581009"/>
                  </a:lnTo>
                  <a:lnTo>
                    <a:pt x="843985" y="579587"/>
                  </a:lnTo>
                  <a:lnTo>
                    <a:pt x="843743" y="578105"/>
                  </a:lnTo>
                  <a:lnTo>
                    <a:pt x="844529" y="576864"/>
                  </a:lnTo>
                  <a:lnTo>
                    <a:pt x="846314" y="576138"/>
                  </a:lnTo>
                  <a:lnTo>
                    <a:pt x="845074" y="574293"/>
                  </a:lnTo>
                  <a:lnTo>
                    <a:pt x="844620" y="573749"/>
                  </a:lnTo>
                  <a:lnTo>
                    <a:pt x="846133" y="573658"/>
                  </a:lnTo>
                  <a:lnTo>
                    <a:pt x="849823" y="574445"/>
                  </a:lnTo>
                  <a:lnTo>
                    <a:pt x="851154" y="574142"/>
                  </a:lnTo>
                  <a:lnTo>
                    <a:pt x="851608" y="572630"/>
                  </a:lnTo>
                  <a:lnTo>
                    <a:pt x="850247" y="570996"/>
                  </a:lnTo>
                  <a:lnTo>
                    <a:pt x="846617" y="568092"/>
                  </a:lnTo>
                  <a:lnTo>
                    <a:pt x="845286" y="566216"/>
                  </a:lnTo>
                  <a:lnTo>
                    <a:pt x="842321" y="560075"/>
                  </a:lnTo>
                  <a:lnTo>
                    <a:pt x="837844" y="554509"/>
                  </a:lnTo>
                  <a:lnTo>
                    <a:pt x="836724" y="552149"/>
                  </a:lnTo>
                  <a:lnTo>
                    <a:pt x="836724" y="552149"/>
                  </a:lnTo>
                  <a:lnTo>
                    <a:pt x="843501" y="548610"/>
                  </a:lnTo>
                  <a:lnTo>
                    <a:pt x="845739" y="545645"/>
                  </a:lnTo>
                  <a:lnTo>
                    <a:pt x="845679" y="539202"/>
                  </a:lnTo>
                  <a:lnTo>
                    <a:pt x="844802" y="536207"/>
                  </a:lnTo>
                  <a:lnTo>
                    <a:pt x="843743" y="535027"/>
                  </a:lnTo>
                  <a:lnTo>
                    <a:pt x="842533" y="534240"/>
                  </a:lnTo>
                  <a:lnTo>
                    <a:pt x="841081" y="532456"/>
                  </a:lnTo>
                  <a:lnTo>
                    <a:pt x="840204" y="529884"/>
                  </a:lnTo>
                  <a:lnTo>
                    <a:pt x="839961" y="527948"/>
                  </a:lnTo>
                  <a:lnTo>
                    <a:pt x="839175" y="526738"/>
                  </a:lnTo>
                  <a:lnTo>
                    <a:pt x="836724" y="526436"/>
                  </a:lnTo>
                  <a:lnTo>
                    <a:pt x="833729" y="525467"/>
                  </a:lnTo>
                  <a:lnTo>
                    <a:pt x="830432" y="523501"/>
                  </a:lnTo>
                  <a:lnTo>
                    <a:pt x="827377" y="520748"/>
                  </a:lnTo>
                  <a:lnTo>
                    <a:pt x="825199" y="517632"/>
                  </a:lnTo>
                  <a:lnTo>
                    <a:pt x="822476" y="510009"/>
                  </a:lnTo>
                  <a:lnTo>
                    <a:pt x="820812" y="507105"/>
                  </a:lnTo>
                  <a:lnTo>
                    <a:pt x="813219" y="501387"/>
                  </a:lnTo>
                  <a:lnTo>
                    <a:pt x="815457" y="499240"/>
                  </a:lnTo>
                  <a:lnTo>
                    <a:pt x="820480" y="491858"/>
                  </a:lnTo>
                  <a:lnTo>
                    <a:pt x="821508" y="491404"/>
                  </a:lnTo>
                  <a:lnTo>
                    <a:pt x="823989" y="490981"/>
                  </a:lnTo>
                  <a:lnTo>
                    <a:pt x="824957" y="489952"/>
                  </a:lnTo>
                  <a:lnTo>
                    <a:pt x="825289" y="488379"/>
                  </a:lnTo>
                  <a:lnTo>
                    <a:pt x="825078" y="486715"/>
                  </a:lnTo>
                  <a:lnTo>
                    <a:pt x="824745" y="485142"/>
                  </a:lnTo>
                  <a:lnTo>
                    <a:pt x="824684" y="484961"/>
                  </a:lnTo>
                  <a:lnTo>
                    <a:pt x="824563" y="483025"/>
                  </a:lnTo>
                  <a:lnTo>
                    <a:pt x="826469" y="475583"/>
                  </a:lnTo>
                  <a:lnTo>
                    <a:pt x="830251" y="472830"/>
                  </a:lnTo>
                  <a:lnTo>
                    <a:pt x="835060" y="472830"/>
                  </a:lnTo>
                  <a:lnTo>
                    <a:pt x="839871" y="473737"/>
                  </a:lnTo>
                  <a:lnTo>
                    <a:pt x="842291" y="473617"/>
                  </a:lnTo>
                  <a:lnTo>
                    <a:pt x="846072" y="471741"/>
                  </a:lnTo>
                  <a:lnTo>
                    <a:pt x="848099" y="471166"/>
                  </a:lnTo>
                  <a:lnTo>
                    <a:pt x="850156" y="471317"/>
                  </a:lnTo>
                  <a:lnTo>
                    <a:pt x="856267" y="473556"/>
                  </a:lnTo>
                  <a:lnTo>
                    <a:pt x="858233" y="473919"/>
                  </a:lnTo>
                  <a:lnTo>
                    <a:pt x="862680" y="473980"/>
                  </a:lnTo>
                  <a:lnTo>
                    <a:pt x="864465" y="474887"/>
                  </a:lnTo>
                  <a:lnTo>
                    <a:pt x="865796" y="477549"/>
                  </a:lnTo>
                  <a:lnTo>
                    <a:pt x="866885" y="483932"/>
                  </a:lnTo>
                  <a:lnTo>
                    <a:pt x="868488" y="486322"/>
                  </a:lnTo>
                  <a:lnTo>
                    <a:pt x="869547" y="486685"/>
                  </a:lnTo>
                  <a:lnTo>
                    <a:pt x="873147" y="486352"/>
                  </a:lnTo>
                  <a:lnTo>
                    <a:pt x="874448" y="486655"/>
                  </a:lnTo>
                  <a:lnTo>
                    <a:pt x="879652" y="489468"/>
                  </a:lnTo>
                  <a:lnTo>
                    <a:pt x="882011" y="490013"/>
                  </a:lnTo>
                  <a:lnTo>
                    <a:pt x="884431" y="489771"/>
                  </a:lnTo>
                  <a:lnTo>
                    <a:pt x="887033" y="488530"/>
                  </a:lnTo>
                  <a:lnTo>
                    <a:pt x="889997" y="488228"/>
                  </a:lnTo>
                  <a:lnTo>
                    <a:pt x="897318" y="491011"/>
                  </a:lnTo>
                  <a:lnTo>
                    <a:pt x="900797" y="491132"/>
                  </a:lnTo>
                  <a:lnTo>
                    <a:pt x="901704" y="490648"/>
                  </a:lnTo>
                  <a:lnTo>
                    <a:pt x="904306" y="488772"/>
                  </a:lnTo>
                  <a:lnTo>
                    <a:pt x="907967" y="488349"/>
                  </a:lnTo>
                  <a:lnTo>
                    <a:pt x="908844" y="488561"/>
                  </a:lnTo>
                  <a:lnTo>
                    <a:pt x="909237" y="488591"/>
                  </a:lnTo>
                  <a:lnTo>
                    <a:pt x="909721" y="488167"/>
                  </a:lnTo>
                  <a:lnTo>
                    <a:pt x="909812" y="487441"/>
                  </a:lnTo>
                  <a:lnTo>
                    <a:pt x="909782" y="486715"/>
                  </a:lnTo>
                  <a:lnTo>
                    <a:pt x="909782" y="486322"/>
                  </a:lnTo>
                  <a:lnTo>
                    <a:pt x="910023" y="485717"/>
                  </a:lnTo>
                  <a:lnTo>
                    <a:pt x="910175" y="484870"/>
                  </a:lnTo>
                  <a:lnTo>
                    <a:pt x="910689" y="484295"/>
                  </a:lnTo>
                  <a:lnTo>
                    <a:pt x="915953" y="484416"/>
                  </a:lnTo>
                  <a:lnTo>
                    <a:pt x="918676" y="481936"/>
                  </a:lnTo>
                  <a:lnTo>
                    <a:pt x="921217" y="478547"/>
                  </a:lnTo>
                  <a:lnTo>
                    <a:pt x="924484" y="475825"/>
                  </a:lnTo>
                  <a:lnTo>
                    <a:pt x="928144" y="474736"/>
                  </a:lnTo>
                  <a:lnTo>
                    <a:pt x="929778" y="473949"/>
                  </a:lnTo>
                  <a:lnTo>
                    <a:pt x="931623" y="472134"/>
                  </a:lnTo>
                  <a:lnTo>
                    <a:pt x="934830" y="467173"/>
                  </a:lnTo>
                  <a:lnTo>
                    <a:pt x="936191" y="464269"/>
                  </a:lnTo>
                  <a:lnTo>
                    <a:pt x="937189" y="461244"/>
                  </a:lnTo>
                  <a:lnTo>
                    <a:pt x="934860" y="460790"/>
                  </a:lnTo>
                  <a:lnTo>
                    <a:pt x="933983" y="459096"/>
                  </a:lnTo>
                  <a:lnTo>
                    <a:pt x="934739" y="457311"/>
                  </a:lnTo>
                  <a:lnTo>
                    <a:pt x="937341" y="456585"/>
                  </a:lnTo>
                  <a:lnTo>
                    <a:pt x="939882" y="457825"/>
                  </a:lnTo>
                  <a:lnTo>
                    <a:pt x="943059" y="458128"/>
                  </a:lnTo>
                  <a:lnTo>
                    <a:pt x="946265" y="457553"/>
                  </a:lnTo>
                  <a:lnTo>
                    <a:pt x="948957" y="456101"/>
                  </a:lnTo>
                  <a:lnTo>
                    <a:pt x="948533" y="455526"/>
                  </a:lnTo>
                  <a:lnTo>
                    <a:pt x="947717" y="454104"/>
                  </a:lnTo>
                  <a:lnTo>
                    <a:pt x="947354" y="453620"/>
                  </a:lnTo>
                  <a:lnTo>
                    <a:pt x="954373" y="452168"/>
                  </a:lnTo>
                  <a:lnTo>
                    <a:pt x="956066" y="452531"/>
                  </a:lnTo>
                  <a:lnTo>
                    <a:pt x="957609" y="453227"/>
                  </a:lnTo>
                  <a:lnTo>
                    <a:pt x="959212" y="453378"/>
                  </a:lnTo>
                  <a:lnTo>
                    <a:pt x="961179" y="451957"/>
                  </a:lnTo>
                  <a:lnTo>
                    <a:pt x="959878" y="447086"/>
                  </a:lnTo>
                  <a:lnTo>
                    <a:pt x="961209" y="437073"/>
                  </a:lnTo>
                  <a:lnTo>
                    <a:pt x="961390" y="435772"/>
                  </a:lnTo>
                  <a:close/>
                </a:path>
              </a:pathLst>
            </a:custGeom>
            <a:solidFill>
              <a:srgbClr val="96A3AC"/>
            </a:solidFill>
            <a:ln w="3175" cap="rnd">
              <a:solidFill>
                <a:schemeClr val="bg1"/>
              </a:solidFill>
              <a:prstDash val="solid"/>
              <a:round/>
            </a:ln>
          </p:spPr>
          <p:txBody>
            <a:bodyPr rtlCol="0" anchor="ctr"/>
            <a:lstStyle/>
            <a:p>
              <a:endParaRPr lang="en-ID"/>
            </a:p>
          </p:txBody>
        </p:sp>
        <p:sp>
          <p:nvSpPr>
            <p:cNvPr id="64" name="Freeform: Shape 63">
              <a:extLst>
                <a:ext uri="{FF2B5EF4-FFF2-40B4-BE49-F238E27FC236}">
                  <a16:creationId xmlns:a16="http://schemas.microsoft.com/office/drawing/2014/main" id="{A8A73B32-C7F8-1058-24C0-11E94F88CEA7}"/>
                </a:ext>
              </a:extLst>
            </p:cNvPr>
            <p:cNvSpPr/>
            <p:nvPr/>
          </p:nvSpPr>
          <p:spPr>
            <a:xfrm>
              <a:off x="11659102" y="4891079"/>
              <a:ext cx="457584" cy="328280"/>
            </a:xfrm>
            <a:custGeom>
              <a:avLst/>
              <a:gdLst>
                <a:gd name="connsiteX0" fmla="*/ 125786 w 588693"/>
                <a:gd name="connsiteY0" fmla="*/ 342961 h 422340"/>
                <a:gd name="connsiteX1" fmla="*/ 123759 w 588693"/>
                <a:gd name="connsiteY1" fmla="*/ 339209 h 422340"/>
                <a:gd name="connsiteX2" fmla="*/ 121157 w 588693"/>
                <a:gd name="connsiteY2" fmla="*/ 335761 h 422340"/>
                <a:gd name="connsiteX3" fmla="*/ 119040 w 588693"/>
                <a:gd name="connsiteY3" fmla="*/ 332524 h 422340"/>
                <a:gd name="connsiteX4" fmla="*/ 118102 w 588693"/>
                <a:gd name="connsiteY4" fmla="*/ 329408 h 422340"/>
                <a:gd name="connsiteX5" fmla="*/ 118737 w 588693"/>
                <a:gd name="connsiteY5" fmla="*/ 326383 h 422340"/>
                <a:gd name="connsiteX6" fmla="*/ 121157 w 588693"/>
                <a:gd name="connsiteY6" fmla="*/ 323418 h 422340"/>
                <a:gd name="connsiteX7" fmla="*/ 121853 w 588693"/>
                <a:gd name="connsiteY7" fmla="*/ 322632 h 422340"/>
                <a:gd name="connsiteX8" fmla="*/ 122065 w 588693"/>
                <a:gd name="connsiteY8" fmla="*/ 321754 h 422340"/>
                <a:gd name="connsiteX9" fmla="*/ 121853 w 588693"/>
                <a:gd name="connsiteY9" fmla="*/ 320847 h 422340"/>
                <a:gd name="connsiteX10" fmla="*/ 121187 w 588693"/>
                <a:gd name="connsiteY10" fmla="*/ 319909 h 422340"/>
                <a:gd name="connsiteX11" fmla="*/ 119131 w 588693"/>
                <a:gd name="connsiteY11" fmla="*/ 318094 h 422340"/>
                <a:gd name="connsiteX12" fmla="*/ 113382 w 588693"/>
                <a:gd name="connsiteY12" fmla="*/ 315492 h 422340"/>
                <a:gd name="connsiteX13" fmla="*/ 111930 w 588693"/>
                <a:gd name="connsiteY13" fmla="*/ 314827 h 422340"/>
                <a:gd name="connsiteX14" fmla="*/ 109511 w 588693"/>
                <a:gd name="connsiteY14" fmla="*/ 313102 h 422340"/>
                <a:gd name="connsiteX15" fmla="*/ 107605 w 588693"/>
                <a:gd name="connsiteY15" fmla="*/ 311196 h 422340"/>
                <a:gd name="connsiteX16" fmla="*/ 105548 w 588693"/>
                <a:gd name="connsiteY16" fmla="*/ 309654 h 422340"/>
                <a:gd name="connsiteX17" fmla="*/ 99860 w 588693"/>
                <a:gd name="connsiteY17" fmla="*/ 308323 h 422340"/>
                <a:gd name="connsiteX18" fmla="*/ 99588 w 588693"/>
                <a:gd name="connsiteY18" fmla="*/ 307748 h 422340"/>
                <a:gd name="connsiteX19" fmla="*/ 99013 w 588693"/>
                <a:gd name="connsiteY19" fmla="*/ 306538 h 422340"/>
                <a:gd name="connsiteX20" fmla="*/ 99649 w 588693"/>
                <a:gd name="connsiteY20" fmla="*/ 304148 h 422340"/>
                <a:gd name="connsiteX21" fmla="*/ 103037 w 588693"/>
                <a:gd name="connsiteY21" fmla="*/ 299005 h 422340"/>
                <a:gd name="connsiteX22" fmla="*/ 103490 w 588693"/>
                <a:gd name="connsiteY22" fmla="*/ 297130 h 422340"/>
                <a:gd name="connsiteX23" fmla="*/ 102583 w 588693"/>
                <a:gd name="connsiteY23" fmla="*/ 291654 h 422340"/>
                <a:gd name="connsiteX24" fmla="*/ 102583 w 588693"/>
                <a:gd name="connsiteY24" fmla="*/ 291654 h 422340"/>
                <a:gd name="connsiteX25" fmla="*/ 102915 w 588693"/>
                <a:gd name="connsiteY25" fmla="*/ 288599 h 422340"/>
                <a:gd name="connsiteX26" fmla="*/ 102915 w 588693"/>
                <a:gd name="connsiteY26" fmla="*/ 286572 h 422340"/>
                <a:gd name="connsiteX27" fmla="*/ 101977 w 588693"/>
                <a:gd name="connsiteY27" fmla="*/ 285059 h 422340"/>
                <a:gd name="connsiteX28" fmla="*/ 99709 w 588693"/>
                <a:gd name="connsiteY28" fmla="*/ 283547 h 422340"/>
                <a:gd name="connsiteX29" fmla="*/ 96926 w 588693"/>
                <a:gd name="connsiteY29" fmla="*/ 282579 h 422340"/>
                <a:gd name="connsiteX30" fmla="*/ 94596 w 588693"/>
                <a:gd name="connsiteY30" fmla="*/ 282579 h 422340"/>
                <a:gd name="connsiteX31" fmla="*/ 94052 w 588693"/>
                <a:gd name="connsiteY31" fmla="*/ 282730 h 422340"/>
                <a:gd name="connsiteX32" fmla="*/ 81709 w 588693"/>
                <a:gd name="connsiteY32" fmla="*/ 285513 h 422340"/>
                <a:gd name="connsiteX33" fmla="*/ 79017 w 588693"/>
                <a:gd name="connsiteY33" fmla="*/ 286542 h 422340"/>
                <a:gd name="connsiteX34" fmla="*/ 70910 w 588693"/>
                <a:gd name="connsiteY34" fmla="*/ 291291 h 422340"/>
                <a:gd name="connsiteX35" fmla="*/ 69851 w 588693"/>
                <a:gd name="connsiteY35" fmla="*/ 291715 h 422340"/>
                <a:gd name="connsiteX36" fmla="*/ 68701 w 588693"/>
                <a:gd name="connsiteY36" fmla="*/ 292259 h 422340"/>
                <a:gd name="connsiteX37" fmla="*/ 67582 w 588693"/>
                <a:gd name="connsiteY37" fmla="*/ 292471 h 422340"/>
                <a:gd name="connsiteX38" fmla="*/ 66432 w 588693"/>
                <a:gd name="connsiteY38" fmla="*/ 292320 h 422340"/>
                <a:gd name="connsiteX39" fmla="*/ 65343 w 588693"/>
                <a:gd name="connsiteY39" fmla="*/ 291745 h 422340"/>
                <a:gd name="connsiteX40" fmla="*/ 65313 w 588693"/>
                <a:gd name="connsiteY40" fmla="*/ 291745 h 422340"/>
                <a:gd name="connsiteX41" fmla="*/ 62137 w 588693"/>
                <a:gd name="connsiteY41" fmla="*/ 288750 h 422340"/>
                <a:gd name="connsiteX42" fmla="*/ 60382 w 588693"/>
                <a:gd name="connsiteY42" fmla="*/ 287903 h 422340"/>
                <a:gd name="connsiteX43" fmla="*/ 55603 w 588693"/>
                <a:gd name="connsiteY43" fmla="*/ 287510 h 422340"/>
                <a:gd name="connsiteX44" fmla="*/ 54151 w 588693"/>
                <a:gd name="connsiteY44" fmla="*/ 286965 h 422340"/>
                <a:gd name="connsiteX45" fmla="*/ 53152 w 588693"/>
                <a:gd name="connsiteY45" fmla="*/ 285604 h 422340"/>
                <a:gd name="connsiteX46" fmla="*/ 51972 w 588693"/>
                <a:gd name="connsiteY46" fmla="*/ 283123 h 422340"/>
                <a:gd name="connsiteX47" fmla="*/ 49461 w 588693"/>
                <a:gd name="connsiteY47" fmla="*/ 279886 h 422340"/>
                <a:gd name="connsiteX48" fmla="*/ 48826 w 588693"/>
                <a:gd name="connsiteY48" fmla="*/ 279069 h 422340"/>
                <a:gd name="connsiteX49" fmla="*/ 46133 w 588693"/>
                <a:gd name="connsiteY49" fmla="*/ 279917 h 422340"/>
                <a:gd name="connsiteX50" fmla="*/ 43290 w 588693"/>
                <a:gd name="connsiteY50" fmla="*/ 282367 h 422340"/>
                <a:gd name="connsiteX51" fmla="*/ 39599 w 588693"/>
                <a:gd name="connsiteY51" fmla="*/ 283184 h 422340"/>
                <a:gd name="connsiteX52" fmla="*/ 37633 w 588693"/>
                <a:gd name="connsiteY52" fmla="*/ 282034 h 422340"/>
                <a:gd name="connsiteX53" fmla="*/ 37240 w 588693"/>
                <a:gd name="connsiteY53" fmla="*/ 280280 h 422340"/>
                <a:gd name="connsiteX54" fmla="*/ 38238 w 588693"/>
                <a:gd name="connsiteY54" fmla="*/ 275984 h 422340"/>
                <a:gd name="connsiteX55" fmla="*/ 38390 w 588693"/>
                <a:gd name="connsiteY55" fmla="*/ 273171 h 422340"/>
                <a:gd name="connsiteX56" fmla="*/ 37966 w 588693"/>
                <a:gd name="connsiteY56" fmla="*/ 270962 h 422340"/>
                <a:gd name="connsiteX57" fmla="*/ 36937 w 588693"/>
                <a:gd name="connsiteY57" fmla="*/ 268966 h 422340"/>
                <a:gd name="connsiteX58" fmla="*/ 30251 w 588693"/>
                <a:gd name="connsiteY58" fmla="*/ 261131 h 422340"/>
                <a:gd name="connsiteX59" fmla="*/ 29495 w 588693"/>
                <a:gd name="connsiteY59" fmla="*/ 260253 h 422340"/>
                <a:gd name="connsiteX60" fmla="*/ 26077 w 588693"/>
                <a:gd name="connsiteY60" fmla="*/ 258680 h 422340"/>
                <a:gd name="connsiteX61" fmla="*/ 22326 w 588693"/>
                <a:gd name="connsiteY61" fmla="*/ 259860 h 422340"/>
                <a:gd name="connsiteX62" fmla="*/ 18605 w 588693"/>
                <a:gd name="connsiteY62" fmla="*/ 262492 h 422340"/>
                <a:gd name="connsiteX63" fmla="*/ 18000 w 588693"/>
                <a:gd name="connsiteY63" fmla="*/ 262794 h 422340"/>
                <a:gd name="connsiteX64" fmla="*/ 15368 w 588693"/>
                <a:gd name="connsiteY64" fmla="*/ 264156 h 422340"/>
                <a:gd name="connsiteX65" fmla="*/ 11920 w 588693"/>
                <a:gd name="connsiteY65" fmla="*/ 264912 h 422340"/>
                <a:gd name="connsiteX66" fmla="*/ 7533 w 588693"/>
                <a:gd name="connsiteY66" fmla="*/ 264851 h 422340"/>
                <a:gd name="connsiteX67" fmla="*/ 2874 w 588693"/>
                <a:gd name="connsiteY67" fmla="*/ 265638 h 422340"/>
                <a:gd name="connsiteX68" fmla="*/ 0 w 588693"/>
                <a:gd name="connsiteY68" fmla="*/ 266788 h 422340"/>
                <a:gd name="connsiteX69" fmla="*/ 999 w 588693"/>
                <a:gd name="connsiteY69" fmla="*/ 268300 h 422340"/>
                <a:gd name="connsiteX70" fmla="*/ 2148 w 588693"/>
                <a:gd name="connsiteY70" fmla="*/ 272838 h 422340"/>
                <a:gd name="connsiteX71" fmla="*/ 3267 w 588693"/>
                <a:gd name="connsiteY71" fmla="*/ 274350 h 422340"/>
                <a:gd name="connsiteX72" fmla="*/ 3540 w 588693"/>
                <a:gd name="connsiteY72" fmla="*/ 274713 h 422340"/>
                <a:gd name="connsiteX73" fmla="*/ 4962 w 588693"/>
                <a:gd name="connsiteY73" fmla="*/ 275470 h 422340"/>
                <a:gd name="connsiteX74" fmla="*/ 5355 w 588693"/>
                <a:gd name="connsiteY74" fmla="*/ 275681 h 422340"/>
                <a:gd name="connsiteX75" fmla="*/ 7502 w 588693"/>
                <a:gd name="connsiteY75" fmla="*/ 276075 h 422340"/>
                <a:gd name="connsiteX76" fmla="*/ 9832 w 588693"/>
                <a:gd name="connsiteY76" fmla="*/ 276135 h 422340"/>
                <a:gd name="connsiteX77" fmla="*/ 9530 w 588693"/>
                <a:gd name="connsiteY77" fmla="*/ 276680 h 422340"/>
                <a:gd name="connsiteX78" fmla="*/ 9136 w 588693"/>
                <a:gd name="connsiteY78" fmla="*/ 277043 h 422340"/>
                <a:gd name="connsiteX79" fmla="*/ 11253 w 588693"/>
                <a:gd name="connsiteY79" fmla="*/ 278434 h 422340"/>
                <a:gd name="connsiteX80" fmla="*/ 12464 w 588693"/>
                <a:gd name="connsiteY80" fmla="*/ 281006 h 422340"/>
                <a:gd name="connsiteX81" fmla="*/ 15489 w 588693"/>
                <a:gd name="connsiteY81" fmla="*/ 292501 h 422340"/>
                <a:gd name="connsiteX82" fmla="*/ 16729 w 588693"/>
                <a:gd name="connsiteY82" fmla="*/ 294921 h 422340"/>
                <a:gd name="connsiteX83" fmla="*/ 18847 w 588693"/>
                <a:gd name="connsiteY83" fmla="*/ 296646 h 422340"/>
                <a:gd name="connsiteX84" fmla="*/ 18000 w 588693"/>
                <a:gd name="connsiteY84" fmla="*/ 298098 h 422340"/>
                <a:gd name="connsiteX85" fmla="*/ 18393 w 588693"/>
                <a:gd name="connsiteY85" fmla="*/ 298945 h 422340"/>
                <a:gd name="connsiteX86" fmla="*/ 20965 w 588693"/>
                <a:gd name="connsiteY86" fmla="*/ 300669 h 422340"/>
                <a:gd name="connsiteX87" fmla="*/ 21479 w 588693"/>
                <a:gd name="connsiteY87" fmla="*/ 300790 h 422340"/>
                <a:gd name="connsiteX88" fmla="*/ 22567 w 588693"/>
                <a:gd name="connsiteY88" fmla="*/ 300790 h 422340"/>
                <a:gd name="connsiteX89" fmla="*/ 23354 w 588693"/>
                <a:gd name="connsiteY89" fmla="*/ 300941 h 422340"/>
                <a:gd name="connsiteX90" fmla="*/ 23717 w 588693"/>
                <a:gd name="connsiteY90" fmla="*/ 301425 h 422340"/>
                <a:gd name="connsiteX91" fmla="*/ 23929 w 588693"/>
                <a:gd name="connsiteY91" fmla="*/ 301970 h 422340"/>
                <a:gd name="connsiteX92" fmla="*/ 24292 w 588693"/>
                <a:gd name="connsiteY92" fmla="*/ 302393 h 422340"/>
                <a:gd name="connsiteX93" fmla="*/ 27922 w 588693"/>
                <a:gd name="connsiteY93" fmla="*/ 304662 h 422340"/>
                <a:gd name="connsiteX94" fmla="*/ 28467 w 588693"/>
                <a:gd name="connsiteY94" fmla="*/ 305267 h 422340"/>
                <a:gd name="connsiteX95" fmla="*/ 28799 w 588693"/>
                <a:gd name="connsiteY95" fmla="*/ 306114 h 422340"/>
                <a:gd name="connsiteX96" fmla="*/ 29616 w 588693"/>
                <a:gd name="connsiteY96" fmla="*/ 307355 h 422340"/>
                <a:gd name="connsiteX97" fmla="*/ 30645 w 588693"/>
                <a:gd name="connsiteY97" fmla="*/ 308474 h 422340"/>
                <a:gd name="connsiteX98" fmla="*/ 31553 w 588693"/>
                <a:gd name="connsiteY98" fmla="*/ 308958 h 422340"/>
                <a:gd name="connsiteX99" fmla="*/ 32370 w 588693"/>
                <a:gd name="connsiteY99" fmla="*/ 310107 h 422340"/>
                <a:gd name="connsiteX100" fmla="*/ 34215 w 588693"/>
                <a:gd name="connsiteY100" fmla="*/ 313889 h 422340"/>
                <a:gd name="connsiteX101" fmla="*/ 34819 w 588693"/>
                <a:gd name="connsiteY101" fmla="*/ 315129 h 422340"/>
                <a:gd name="connsiteX102" fmla="*/ 35697 w 588693"/>
                <a:gd name="connsiteY102" fmla="*/ 316279 h 422340"/>
                <a:gd name="connsiteX103" fmla="*/ 36393 w 588693"/>
                <a:gd name="connsiteY103" fmla="*/ 317549 h 422340"/>
                <a:gd name="connsiteX104" fmla="*/ 37452 w 588693"/>
                <a:gd name="connsiteY104" fmla="*/ 323479 h 422340"/>
                <a:gd name="connsiteX105" fmla="*/ 38117 w 588693"/>
                <a:gd name="connsiteY105" fmla="*/ 325294 h 422340"/>
                <a:gd name="connsiteX106" fmla="*/ 40749 w 588693"/>
                <a:gd name="connsiteY106" fmla="*/ 324537 h 422340"/>
                <a:gd name="connsiteX107" fmla="*/ 51216 w 588693"/>
                <a:gd name="connsiteY107" fmla="*/ 327744 h 422340"/>
                <a:gd name="connsiteX108" fmla="*/ 51458 w 588693"/>
                <a:gd name="connsiteY108" fmla="*/ 327532 h 422340"/>
                <a:gd name="connsiteX109" fmla="*/ 52153 w 588693"/>
                <a:gd name="connsiteY109" fmla="*/ 327079 h 422340"/>
                <a:gd name="connsiteX110" fmla="*/ 53061 w 588693"/>
                <a:gd name="connsiteY110" fmla="*/ 326746 h 422340"/>
                <a:gd name="connsiteX111" fmla="*/ 53999 w 588693"/>
                <a:gd name="connsiteY111" fmla="*/ 326837 h 422340"/>
                <a:gd name="connsiteX112" fmla="*/ 54272 w 588693"/>
                <a:gd name="connsiteY112" fmla="*/ 327593 h 422340"/>
                <a:gd name="connsiteX113" fmla="*/ 53999 w 588693"/>
                <a:gd name="connsiteY113" fmla="*/ 328712 h 422340"/>
                <a:gd name="connsiteX114" fmla="*/ 53999 w 588693"/>
                <a:gd name="connsiteY114" fmla="*/ 329741 h 422340"/>
                <a:gd name="connsiteX115" fmla="*/ 54967 w 588693"/>
                <a:gd name="connsiteY115" fmla="*/ 330194 h 422340"/>
                <a:gd name="connsiteX116" fmla="*/ 56389 w 588693"/>
                <a:gd name="connsiteY116" fmla="*/ 330467 h 422340"/>
                <a:gd name="connsiteX117" fmla="*/ 57720 w 588693"/>
                <a:gd name="connsiteY117" fmla="*/ 331253 h 422340"/>
                <a:gd name="connsiteX118" fmla="*/ 58295 w 588693"/>
                <a:gd name="connsiteY118" fmla="*/ 332524 h 422340"/>
                <a:gd name="connsiteX119" fmla="*/ 57417 w 588693"/>
                <a:gd name="connsiteY119" fmla="*/ 334278 h 422340"/>
                <a:gd name="connsiteX120" fmla="*/ 58083 w 588693"/>
                <a:gd name="connsiteY120" fmla="*/ 335488 h 422340"/>
                <a:gd name="connsiteX121" fmla="*/ 58960 w 588693"/>
                <a:gd name="connsiteY121" fmla="*/ 336093 h 422340"/>
                <a:gd name="connsiteX122" fmla="*/ 59898 w 588693"/>
                <a:gd name="connsiteY122" fmla="*/ 336608 h 422340"/>
                <a:gd name="connsiteX123" fmla="*/ 60866 w 588693"/>
                <a:gd name="connsiteY123" fmla="*/ 337545 h 422340"/>
                <a:gd name="connsiteX124" fmla="*/ 61259 w 588693"/>
                <a:gd name="connsiteY124" fmla="*/ 338483 h 422340"/>
                <a:gd name="connsiteX125" fmla="*/ 62046 w 588693"/>
                <a:gd name="connsiteY125" fmla="*/ 341055 h 422340"/>
                <a:gd name="connsiteX126" fmla="*/ 62560 w 588693"/>
                <a:gd name="connsiteY126" fmla="*/ 342053 h 422340"/>
                <a:gd name="connsiteX127" fmla="*/ 63498 w 588693"/>
                <a:gd name="connsiteY127" fmla="*/ 342719 h 422340"/>
                <a:gd name="connsiteX128" fmla="*/ 65888 w 588693"/>
                <a:gd name="connsiteY128" fmla="*/ 343717 h 422340"/>
                <a:gd name="connsiteX129" fmla="*/ 66372 w 588693"/>
                <a:gd name="connsiteY129" fmla="*/ 344503 h 422340"/>
                <a:gd name="connsiteX130" fmla="*/ 66160 w 588693"/>
                <a:gd name="connsiteY130" fmla="*/ 345744 h 422340"/>
                <a:gd name="connsiteX131" fmla="*/ 65736 w 588693"/>
                <a:gd name="connsiteY131" fmla="*/ 346742 h 422340"/>
                <a:gd name="connsiteX132" fmla="*/ 65434 w 588693"/>
                <a:gd name="connsiteY132" fmla="*/ 347770 h 422340"/>
                <a:gd name="connsiteX133" fmla="*/ 65616 w 588693"/>
                <a:gd name="connsiteY133" fmla="*/ 349041 h 422340"/>
                <a:gd name="connsiteX134" fmla="*/ 66765 w 588693"/>
                <a:gd name="connsiteY134" fmla="*/ 350312 h 422340"/>
                <a:gd name="connsiteX135" fmla="*/ 68913 w 588693"/>
                <a:gd name="connsiteY135" fmla="*/ 351612 h 422340"/>
                <a:gd name="connsiteX136" fmla="*/ 71212 w 588693"/>
                <a:gd name="connsiteY136" fmla="*/ 352641 h 422340"/>
                <a:gd name="connsiteX137" fmla="*/ 72422 w 588693"/>
                <a:gd name="connsiteY137" fmla="*/ 352944 h 422340"/>
                <a:gd name="connsiteX138" fmla="*/ 73995 w 588693"/>
                <a:gd name="connsiteY138" fmla="*/ 353337 h 422340"/>
                <a:gd name="connsiteX139" fmla="*/ 76053 w 588693"/>
                <a:gd name="connsiteY139" fmla="*/ 354456 h 422340"/>
                <a:gd name="connsiteX140" fmla="*/ 76506 w 588693"/>
                <a:gd name="connsiteY140" fmla="*/ 354547 h 422340"/>
                <a:gd name="connsiteX141" fmla="*/ 77293 w 588693"/>
                <a:gd name="connsiteY141" fmla="*/ 354698 h 422340"/>
                <a:gd name="connsiteX142" fmla="*/ 80075 w 588693"/>
                <a:gd name="connsiteY142" fmla="*/ 354789 h 422340"/>
                <a:gd name="connsiteX143" fmla="*/ 85793 w 588693"/>
                <a:gd name="connsiteY143" fmla="*/ 356090 h 422340"/>
                <a:gd name="connsiteX144" fmla="*/ 94748 w 588693"/>
                <a:gd name="connsiteY144" fmla="*/ 356180 h 422340"/>
                <a:gd name="connsiteX145" fmla="*/ 99890 w 588693"/>
                <a:gd name="connsiteY145" fmla="*/ 358026 h 422340"/>
                <a:gd name="connsiteX146" fmla="*/ 102220 w 588693"/>
                <a:gd name="connsiteY146" fmla="*/ 358873 h 422340"/>
                <a:gd name="connsiteX147" fmla="*/ 123426 w 588693"/>
                <a:gd name="connsiteY147" fmla="*/ 362987 h 422340"/>
                <a:gd name="connsiteX148" fmla="*/ 130081 w 588693"/>
                <a:gd name="connsiteY148" fmla="*/ 365740 h 422340"/>
                <a:gd name="connsiteX149" fmla="*/ 135920 w 588693"/>
                <a:gd name="connsiteY149" fmla="*/ 367101 h 422340"/>
                <a:gd name="connsiteX150" fmla="*/ 136888 w 588693"/>
                <a:gd name="connsiteY150" fmla="*/ 366980 h 422340"/>
                <a:gd name="connsiteX151" fmla="*/ 131019 w 588693"/>
                <a:gd name="connsiteY151" fmla="*/ 356695 h 422340"/>
                <a:gd name="connsiteX152" fmla="*/ 125786 w 588693"/>
                <a:gd name="connsiteY152" fmla="*/ 343233 h 422340"/>
                <a:gd name="connsiteX153" fmla="*/ 588269 w 588693"/>
                <a:gd name="connsiteY153" fmla="*/ 191643 h 422340"/>
                <a:gd name="connsiteX154" fmla="*/ 586817 w 588693"/>
                <a:gd name="connsiteY154" fmla="*/ 190221 h 422340"/>
                <a:gd name="connsiteX155" fmla="*/ 585789 w 588693"/>
                <a:gd name="connsiteY155" fmla="*/ 190221 h 422340"/>
                <a:gd name="connsiteX156" fmla="*/ 584912 w 588693"/>
                <a:gd name="connsiteY156" fmla="*/ 190886 h 422340"/>
                <a:gd name="connsiteX157" fmla="*/ 583944 w 588693"/>
                <a:gd name="connsiteY157" fmla="*/ 191159 h 422340"/>
                <a:gd name="connsiteX158" fmla="*/ 582613 w 588693"/>
                <a:gd name="connsiteY158" fmla="*/ 190221 h 422340"/>
                <a:gd name="connsiteX159" fmla="*/ 582401 w 588693"/>
                <a:gd name="connsiteY159" fmla="*/ 191794 h 422340"/>
                <a:gd name="connsiteX160" fmla="*/ 583369 w 588693"/>
                <a:gd name="connsiteY160" fmla="*/ 193609 h 422340"/>
                <a:gd name="connsiteX161" fmla="*/ 584881 w 588693"/>
                <a:gd name="connsiteY161" fmla="*/ 194728 h 422340"/>
                <a:gd name="connsiteX162" fmla="*/ 586122 w 588693"/>
                <a:gd name="connsiteY162" fmla="*/ 194365 h 422340"/>
                <a:gd name="connsiteX163" fmla="*/ 588028 w 588693"/>
                <a:gd name="connsiteY163" fmla="*/ 194819 h 422340"/>
                <a:gd name="connsiteX164" fmla="*/ 588693 w 588693"/>
                <a:gd name="connsiteY164" fmla="*/ 193579 h 422340"/>
                <a:gd name="connsiteX165" fmla="*/ 588269 w 588693"/>
                <a:gd name="connsiteY165" fmla="*/ 191673 h 422340"/>
                <a:gd name="connsiteX166" fmla="*/ 564492 w 588693"/>
                <a:gd name="connsiteY166" fmla="*/ 178574 h 422340"/>
                <a:gd name="connsiteX167" fmla="*/ 563252 w 588693"/>
                <a:gd name="connsiteY167" fmla="*/ 177546 h 422340"/>
                <a:gd name="connsiteX168" fmla="*/ 562284 w 588693"/>
                <a:gd name="connsiteY168" fmla="*/ 176215 h 422340"/>
                <a:gd name="connsiteX169" fmla="*/ 562042 w 588693"/>
                <a:gd name="connsiteY169" fmla="*/ 173674 h 422340"/>
                <a:gd name="connsiteX170" fmla="*/ 561376 w 588693"/>
                <a:gd name="connsiteY170" fmla="*/ 172917 h 422340"/>
                <a:gd name="connsiteX171" fmla="*/ 559863 w 588693"/>
                <a:gd name="connsiteY171" fmla="*/ 173371 h 422340"/>
                <a:gd name="connsiteX172" fmla="*/ 558623 w 588693"/>
                <a:gd name="connsiteY172" fmla="*/ 172766 h 422340"/>
                <a:gd name="connsiteX173" fmla="*/ 558623 w 588693"/>
                <a:gd name="connsiteY173" fmla="*/ 175670 h 422340"/>
                <a:gd name="connsiteX174" fmla="*/ 561860 w 588693"/>
                <a:gd name="connsiteY174" fmla="*/ 179754 h 422340"/>
                <a:gd name="connsiteX175" fmla="*/ 561376 w 588693"/>
                <a:gd name="connsiteY175" fmla="*/ 182719 h 422340"/>
                <a:gd name="connsiteX176" fmla="*/ 563372 w 588693"/>
                <a:gd name="connsiteY176" fmla="*/ 182810 h 422340"/>
                <a:gd name="connsiteX177" fmla="*/ 564885 w 588693"/>
                <a:gd name="connsiteY177" fmla="*/ 182507 h 422340"/>
                <a:gd name="connsiteX178" fmla="*/ 565672 w 588693"/>
                <a:gd name="connsiteY178" fmla="*/ 181660 h 422340"/>
                <a:gd name="connsiteX179" fmla="*/ 565581 w 588693"/>
                <a:gd name="connsiteY179" fmla="*/ 180208 h 422340"/>
                <a:gd name="connsiteX180" fmla="*/ 564522 w 588693"/>
                <a:gd name="connsiteY180" fmla="*/ 178574 h 422340"/>
                <a:gd name="connsiteX181" fmla="*/ 44803 w 588693"/>
                <a:gd name="connsiteY181" fmla="*/ 112233 h 422340"/>
                <a:gd name="connsiteX182" fmla="*/ 41929 w 588693"/>
                <a:gd name="connsiteY182" fmla="*/ 109934 h 422340"/>
                <a:gd name="connsiteX183" fmla="*/ 41505 w 588693"/>
                <a:gd name="connsiteY183" fmla="*/ 109843 h 422340"/>
                <a:gd name="connsiteX184" fmla="*/ 41112 w 588693"/>
                <a:gd name="connsiteY184" fmla="*/ 109903 h 422340"/>
                <a:gd name="connsiteX185" fmla="*/ 40779 w 588693"/>
                <a:gd name="connsiteY185" fmla="*/ 110085 h 422340"/>
                <a:gd name="connsiteX186" fmla="*/ 40477 w 588693"/>
                <a:gd name="connsiteY186" fmla="*/ 110387 h 422340"/>
                <a:gd name="connsiteX187" fmla="*/ 41445 w 588693"/>
                <a:gd name="connsiteY187" fmla="*/ 113201 h 422340"/>
                <a:gd name="connsiteX188" fmla="*/ 43774 w 588693"/>
                <a:gd name="connsiteY188" fmla="*/ 113564 h 422340"/>
                <a:gd name="connsiteX189" fmla="*/ 44833 w 588693"/>
                <a:gd name="connsiteY189" fmla="*/ 112202 h 422340"/>
                <a:gd name="connsiteX190" fmla="*/ 20541 w 588693"/>
                <a:gd name="connsiteY190" fmla="*/ 105668 h 422340"/>
                <a:gd name="connsiteX191" fmla="*/ 24201 w 588693"/>
                <a:gd name="connsiteY191" fmla="*/ 106818 h 422340"/>
                <a:gd name="connsiteX192" fmla="*/ 25623 w 588693"/>
                <a:gd name="connsiteY192" fmla="*/ 104004 h 422340"/>
                <a:gd name="connsiteX193" fmla="*/ 24504 w 588693"/>
                <a:gd name="connsiteY193" fmla="*/ 100525 h 422340"/>
                <a:gd name="connsiteX194" fmla="*/ 20541 w 588693"/>
                <a:gd name="connsiteY194" fmla="*/ 99648 h 422340"/>
                <a:gd name="connsiteX195" fmla="*/ 18968 w 588693"/>
                <a:gd name="connsiteY195" fmla="*/ 100677 h 422340"/>
                <a:gd name="connsiteX196" fmla="*/ 18635 w 588693"/>
                <a:gd name="connsiteY196" fmla="*/ 102371 h 422340"/>
                <a:gd name="connsiteX197" fmla="*/ 19271 w 588693"/>
                <a:gd name="connsiteY197" fmla="*/ 104216 h 422340"/>
                <a:gd name="connsiteX198" fmla="*/ 20511 w 588693"/>
                <a:gd name="connsiteY198" fmla="*/ 105699 h 422340"/>
                <a:gd name="connsiteX199" fmla="*/ 563766 w 588693"/>
                <a:gd name="connsiteY199" fmla="*/ 197875 h 422340"/>
                <a:gd name="connsiteX200" fmla="*/ 563070 w 588693"/>
                <a:gd name="connsiteY200" fmla="*/ 196876 h 422340"/>
                <a:gd name="connsiteX201" fmla="*/ 562042 w 588693"/>
                <a:gd name="connsiteY201" fmla="*/ 186863 h 422340"/>
                <a:gd name="connsiteX202" fmla="*/ 561043 w 588693"/>
                <a:gd name="connsiteY202" fmla="*/ 184352 h 422340"/>
                <a:gd name="connsiteX203" fmla="*/ 559561 w 588693"/>
                <a:gd name="connsiteY203" fmla="*/ 181932 h 422340"/>
                <a:gd name="connsiteX204" fmla="*/ 557685 w 588693"/>
                <a:gd name="connsiteY204" fmla="*/ 180087 h 422340"/>
                <a:gd name="connsiteX205" fmla="*/ 555507 w 588693"/>
                <a:gd name="connsiteY205" fmla="*/ 179361 h 422340"/>
                <a:gd name="connsiteX206" fmla="*/ 553510 w 588693"/>
                <a:gd name="connsiteY206" fmla="*/ 178242 h 422340"/>
                <a:gd name="connsiteX207" fmla="*/ 551968 w 588693"/>
                <a:gd name="connsiteY207" fmla="*/ 175640 h 422340"/>
                <a:gd name="connsiteX208" fmla="*/ 550758 w 588693"/>
                <a:gd name="connsiteY208" fmla="*/ 172826 h 422340"/>
                <a:gd name="connsiteX209" fmla="*/ 549669 w 588693"/>
                <a:gd name="connsiteY209" fmla="*/ 171011 h 422340"/>
                <a:gd name="connsiteX210" fmla="*/ 547914 w 588693"/>
                <a:gd name="connsiteY210" fmla="*/ 170104 h 422340"/>
                <a:gd name="connsiteX211" fmla="*/ 538809 w 588693"/>
                <a:gd name="connsiteY211" fmla="*/ 168319 h 422340"/>
                <a:gd name="connsiteX212" fmla="*/ 536782 w 588693"/>
                <a:gd name="connsiteY212" fmla="*/ 167291 h 422340"/>
                <a:gd name="connsiteX213" fmla="*/ 534876 w 588693"/>
                <a:gd name="connsiteY213" fmla="*/ 165687 h 422340"/>
                <a:gd name="connsiteX214" fmla="*/ 533091 w 588693"/>
                <a:gd name="connsiteY214" fmla="*/ 163660 h 422340"/>
                <a:gd name="connsiteX215" fmla="*/ 532637 w 588693"/>
                <a:gd name="connsiteY215" fmla="*/ 162843 h 422340"/>
                <a:gd name="connsiteX216" fmla="*/ 532304 w 588693"/>
                <a:gd name="connsiteY216" fmla="*/ 161966 h 422340"/>
                <a:gd name="connsiteX217" fmla="*/ 531881 w 588693"/>
                <a:gd name="connsiteY217" fmla="*/ 161089 h 422340"/>
                <a:gd name="connsiteX218" fmla="*/ 531034 w 588693"/>
                <a:gd name="connsiteY218" fmla="*/ 160333 h 422340"/>
                <a:gd name="connsiteX219" fmla="*/ 519568 w 588693"/>
                <a:gd name="connsiteY219" fmla="*/ 159970 h 422340"/>
                <a:gd name="connsiteX220" fmla="*/ 517178 w 588693"/>
                <a:gd name="connsiteY220" fmla="*/ 160333 h 422340"/>
                <a:gd name="connsiteX221" fmla="*/ 511582 w 588693"/>
                <a:gd name="connsiteY221" fmla="*/ 162480 h 422340"/>
                <a:gd name="connsiteX222" fmla="*/ 509737 w 588693"/>
                <a:gd name="connsiteY222" fmla="*/ 162813 h 422340"/>
                <a:gd name="connsiteX223" fmla="*/ 507377 w 588693"/>
                <a:gd name="connsiteY223" fmla="*/ 162601 h 422340"/>
                <a:gd name="connsiteX224" fmla="*/ 503081 w 588693"/>
                <a:gd name="connsiteY224" fmla="*/ 161361 h 422340"/>
                <a:gd name="connsiteX225" fmla="*/ 498030 w 588693"/>
                <a:gd name="connsiteY225" fmla="*/ 160726 h 422340"/>
                <a:gd name="connsiteX226" fmla="*/ 496063 w 588693"/>
                <a:gd name="connsiteY226" fmla="*/ 159848 h 422340"/>
                <a:gd name="connsiteX227" fmla="*/ 492493 w 588693"/>
                <a:gd name="connsiteY227" fmla="*/ 156914 h 422340"/>
                <a:gd name="connsiteX228" fmla="*/ 490890 w 588693"/>
                <a:gd name="connsiteY228" fmla="*/ 156067 h 422340"/>
                <a:gd name="connsiteX229" fmla="*/ 488924 w 588693"/>
                <a:gd name="connsiteY229" fmla="*/ 155583 h 422340"/>
                <a:gd name="connsiteX230" fmla="*/ 484568 w 588693"/>
                <a:gd name="connsiteY230" fmla="*/ 155341 h 422340"/>
                <a:gd name="connsiteX231" fmla="*/ 483206 w 588693"/>
                <a:gd name="connsiteY231" fmla="*/ 154766 h 422340"/>
                <a:gd name="connsiteX232" fmla="*/ 481240 w 588693"/>
                <a:gd name="connsiteY232" fmla="*/ 153405 h 422340"/>
                <a:gd name="connsiteX233" fmla="*/ 479455 w 588693"/>
                <a:gd name="connsiteY233" fmla="*/ 151832 h 422340"/>
                <a:gd name="connsiteX234" fmla="*/ 478759 w 588693"/>
                <a:gd name="connsiteY234" fmla="*/ 150773 h 422340"/>
                <a:gd name="connsiteX235" fmla="*/ 478699 w 588693"/>
                <a:gd name="connsiteY235" fmla="*/ 150652 h 422340"/>
                <a:gd name="connsiteX236" fmla="*/ 478397 w 588693"/>
                <a:gd name="connsiteY236" fmla="*/ 150017 h 422340"/>
                <a:gd name="connsiteX237" fmla="*/ 477035 w 588693"/>
                <a:gd name="connsiteY237" fmla="*/ 148474 h 422340"/>
                <a:gd name="connsiteX238" fmla="*/ 476611 w 588693"/>
                <a:gd name="connsiteY238" fmla="*/ 147718 h 422340"/>
                <a:gd name="connsiteX239" fmla="*/ 476490 w 588693"/>
                <a:gd name="connsiteY239" fmla="*/ 146356 h 422340"/>
                <a:gd name="connsiteX240" fmla="*/ 476642 w 588693"/>
                <a:gd name="connsiteY240" fmla="*/ 145086 h 422340"/>
                <a:gd name="connsiteX241" fmla="*/ 477247 w 588693"/>
                <a:gd name="connsiteY241" fmla="*/ 142757 h 422340"/>
                <a:gd name="connsiteX242" fmla="*/ 479001 w 588693"/>
                <a:gd name="connsiteY242" fmla="*/ 138219 h 422340"/>
                <a:gd name="connsiteX243" fmla="*/ 479455 w 588693"/>
                <a:gd name="connsiteY243" fmla="*/ 135557 h 422340"/>
                <a:gd name="connsiteX244" fmla="*/ 478336 w 588693"/>
                <a:gd name="connsiteY244" fmla="*/ 134377 h 422340"/>
                <a:gd name="connsiteX245" fmla="*/ 476339 w 588693"/>
                <a:gd name="connsiteY245" fmla="*/ 133348 h 422340"/>
                <a:gd name="connsiteX246" fmla="*/ 474524 w 588693"/>
                <a:gd name="connsiteY246" fmla="*/ 131291 h 422340"/>
                <a:gd name="connsiteX247" fmla="*/ 472618 w 588693"/>
                <a:gd name="connsiteY247" fmla="*/ 129748 h 422340"/>
                <a:gd name="connsiteX248" fmla="*/ 470349 w 588693"/>
                <a:gd name="connsiteY248" fmla="*/ 130293 h 422340"/>
                <a:gd name="connsiteX249" fmla="*/ 465751 w 588693"/>
                <a:gd name="connsiteY249" fmla="*/ 127691 h 422340"/>
                <a:gd name="connsiteX250" fmla="*/ 463633 w 588693"/>
                <a:gd name="connsiteY250" fmla="*/ 125997 h 422340"/>
                <a:gd name="connsiteX251" fmla="*/ 462726 w 588693"/>
                <a:gd name="connsiteY251" fmla="*/ 124031 h 422340"/>
                <a:gd name="connsiteX252" fmla="*/ 461728 w 588693"/>
                <a:gd name="connsiteY252" fmla="*/ 122639 h 422340"/>
                <a:gd name="connsiteX253" fmla="*/ 449658 w 588693"/>
                <a:gd name="connsiteY253" fmla="*/ 110055 h 422340"/>
                <a:gd name="connsiteX254" fmla="*/ 444847 w 588693"/>
                <a:gd name="connsiteY254" fmla="*/ 102703 h 422340"/>
                <a:gd name="connsiteX255" fmla="*/ 443153 w 588693"/>
                <a:gd name="connsiteY255" fmla="*/ 93931 h 422340"/>
                <a:gd name="connsiteX256" fmla="*/ 442457 w 588693"/>
                <a:gd name="connsiteY256" fmla="*/ 92539 h 422340"/>
                <a:gd name="connsiteX257" fmla="*/ 441339 w 588693"/>
                <a:gd name="connsiteY257" fmla="*/ 91601 h 422340"/>
                <a:gd name="connsiteX258" fmla="*/ 440703 w 588693"/>
                <a:gd name="connsiteY258" fmla="*/ 89363 h 422340"/>
                <a:gd name="connsiteX259" fmla="*/ 439463 w 588693"/>
                <a:gd name="connsiteY259" fmla="*/ 78745 h 422340"/>
                <a:gd name="connsiteX260" fmla="*/ 438858 w 588693"/>
                <a:gd name="connsiteY260" fmla="*/ 76052 h 422340"/>
                <a:gd name="connsiteX261" fmla="*/ 437587 w 588693"/>
                <a:gd name="connsiteY261" fmla="*/ 73753 h 422340"/>
                <a:gd name="connsiteX262" fmla="*/ 436135 w 588693"/>
                <a:gd name="connsiteY262" fmla="*/ 71787 h 422340"/>
                <a:gd name="connsiteX263" fmla="*/ 433080 w 588693"/>
                <a:gd name="connsiteY263" fmla="*/ 65918 h 422340"/>
                <a:gd name="connsiteX264" fmla="*/ 429449 w 588693"/>
                <a:gd name="connsiteY264" fmla="*/ 58930 h 422340"/>
                <a:gd name="connsiteX265" fmla="*/ 427937 w 588693"/>
                <a:gd name="connsiteY265" fmla="*/ 56843 h 422340"/>
                <a:gd name="connsiteX266" fmla="*/ 427090 w 588693"/>
                <a:gd name="connsiteY266" fmla="*/ 56389 h 422340"/>
                <a:gd name="connsiteX267" fmla="*/ 424609 w 588693"/>
                <a:gd name="connsiteY267" fmla="*/ 55693 h 422340"/>
                <a:gd name="connsiteX268" fmla="*/ 424095 w 588693"/>
                <a:gd name="connsiteY268" fmla="*/ 55179 h 422340"/>
                <a:gd name="connsiteX269" fmla="*/ 423702 w 588693"/>
                <a:gd name="connsiteY269" fmla="*/ 54453 h 422340"/>
                <a:gd name="connsiteX270" fmla="*/ 421372 w 588693"/>
                <a:gd name="connsiteY270" fmla="*/ 51306 h 422340"/>
                <a:gd name="connsiteX271" fmla="*/ 420525 w 588693"/>
                <a:gd name="connsiteY271" fmla="*/ 49703 h 422340"/>
                <a:gd name="connsiteX272" fmla="*/ 419255 w 588693"/>
                <a:gd name="connsiteY272" fmla="*/ 47797 h 422340"/>
                <a:gd name="connsiteX273" fmla="*/ 417561 w 588693"/>
                <a:gd name="connsiteY273" fmla="*/ 46164 h 422340"/>
                <a:gd name="connsiteX274" fmla="*/ 415534 w 588693"/>
                <a:gd name="connsiteY274" fmla="*/ 45468 h 422340"/>
                <a:gd name="connsiteX275" fmla="*/ 411692 w 588693"/>
                <a:gd name="connsiteY275" fmla="*/ 37814 h 422340"/>
                <a:gd name="connsiteX276" fmla="*/ 404795 w 588693"/>
                <a:gd name="connsiteY276" fmla="*/ 30675 h 422340"/>
                <a:gd name="connsiteX277" fmla="*/ 404220 w 588693"/>
                <a:gd name="connsiteY277" fmla="*/ 27680 h 422340"/>
                <a:gd name="connsiteX278" fmla="*/ 402829 w 588693"/>
                <a:gd name="connsiteY278" fmla="*/ 25774 h 422340"/>
                <a:gd name="connsiteX279" fmla="*/ 399379 w 588693"/>
                <a:gd name="connsiteY279" fmla="*/ 22567 h 422340"/>
                <a:gd name="connsiteX280" fmla="*/ 390516 w 588693"/>
                <a:gd name="connsiteY280" fmla="*/ 11223 h 422340"/>
                <a:gd name="connsiteX281" fmla="*/ 386947 w 588693"/>
                <a:gd name="connsiteY281" fmla="*/ 8289 h 422340"/>
                <a:gd name="connsiteX282" fmla="*/ 383861 w 588693"/>
                <a:gd name="connsiteY282" fmla="*/ 6565 h 422340"/>
                <a:gd name="connsiteX283" fmla="*/ 382802 w 588693"/>
                <a:gd name="connsiteY283" fmla="*/ 5718 h 422340"/>
                <a:gd name="connsiteX284" fmla="*/ 377962 w 588693"/>
                <a:gd name="connsiteY284" fmla="*/ 12887 h 422340"/>
                <a:gd name="connsiteX285" fmla="*/ 371065 w 588693"/>
                <a:gd name="connsiteY285" fmla="*/ 21085 h 422340"/>
                <a:gd name="connsiteX286" fmla="*/ 370399 w 588693"/>
                <a:gd name="connsiteY286" fmla="*/ 21902 h 422340"/>
                <a:gd name="connsiteX287" fmla="*/ 366163 w 588693"/>
                <a:gd name="connsiteY287" fmla="*/ 32611 h 422340"/>
                <a:gd name="connsiteX288" fmla="*/ 364107 w 588693"/>
                <a:gd name="connsiteY288" fmla="*/ 36150 h 422340"/>
                <a:gd name="connsiteX289" fmla="*/ 361807 w 588693"/>
                <a:gd name="connsiteY289" fmla="*/ 38449 h 422340"/>
                <a:gd name="connsiteX290" fmla="*/ 353095 w 588693"/>
                <a:gd name="connsiteY290" fmla="*/ 43441 h 422340"/>
                <a:gd name="connsiteX291" fmla="*/ 347831 w 588693"/>
                <a:gd name="connsiteY291" fmla="*/ 47646 h 422340"/>
                <a:gd name="connsiteX292" fmla="*/ 344866 w 588693"/>
                <a:gd name="connsiteY292" fmla="*/ 49128 h 422340"/>
                <a:gd name="connsiteX293" fmla="*/ 333250 w 588693"/>
                <a:gd name="connsiteY293" fmla="*/ 51216 h 422340"/>
                <a:gd name="connsiteX294" fmla="*/ 329922 w 588693"/>
                <a:gd name="connsiteY294" fmla="*/ 53091 h 422340"/>
                <a:gd name="connsiteX295" fmla="*/ 328017 w 588693"/>
                <a:gd name="connsiteY295" fmla="*/ 56510 h 422340"/>
                <a:gd name="connsiteX296" fmla="*/ 324719 w 588693"/>
                <a:gd name="connsiteY296" fmla="*/ 65313 h 422340"/>
                <a:gd name="connsiteX297" fmla="*/ 322450 w 588693"/>
                <a:gd name="connsiteY297" fmla="*/ 66493 h 422340"/>
                <a:gd name="connsiteX298" fmla="*/ 319848 w 588693"/>
                <a:gd name="connsiteY298" fmla="*/ 66099 h 422340"/>
                <a:gd name="connsiteX299" fmla="*/ 318790 w 588693"/>
                <a:gd name="connsiteY299" fmla="*/ 67098 h 422340"/>
                <a:gd name="connsiteX300" fmla="*/ 318336 w 588693"/>
                <a:gd name="connsiteY300" fmla="*/ 69034 h 422340"/>
                <a:gd name="connsiteX301" fmla="*/ 317489 w 588693"/>
                <a:gd name="connsiteY301" fmla="*/ 71273 h 422340"/>
                <a:gd name="connsiteX302" fmla="*/ 316006 w 588693"/>
                <a:gd name="connsiteY302" fmla="*/ 72906 h 422340"/>
                <a:gd name="connsiteX303" fmla="*/ 314675 w 588693"/>
                <a:gd name="connsiteY303" fmla="*/ 73783 h 422340"/>
                <a:gd name="connsiteX304" fmla="*/ 313738 w 588693"/>
                <a:gd name="connsiteY304" fmla="*/ 74963 h 422340"/>
                <a:gd name="connsiteX305" fmla="*/ 313435 w 588693"/>
                <a:gd name="connsiteY305" fmla="*/ 77534 h 422340"/>
                <a:gd name="connsiteX306" fmla="*/ 313919 w 588693"/>
                <a:gd name="connsiteY306" fmla="*/ 80045 h 422340"/>
                <a:gd name="connsiteX307" fmla="*/ 314434 w 588693"/>
                <a:gd name="connsiteY307" fmla="*/ 81618 h 422340"/>
                <a:gd name="connsiteX308" fmla="*/ 313980 w 588693"/>
                <a:gd name="connsiteY308" fmla="*/ 82828 h 422340"/>
                <a:gd name="connsiteX309" fmla="*/ 311620 w 588693"/>
                <a:gd name="connsiteY309" fmla="*/ 84160 h 422340"/>
                <a:gd name="connsiteX310" fmla="*/ 307355 w 588693"/>
                <a:gd name="connsiteY310" fmla="*/ 85369 h 422340"/>
                <a:gd name="connsiteX311" fmla="*/ 305812 w 588693"/>
                <a:gd name="connsiteY311" fmla="*/ 85491 h 422340"/>
                <a:gd name="connsiteX312" fmla="*/ 298793 w 588693"/>
                <a:gd name="connsiteY312" fmla="*/ 86065 h 422340"/>
                <a:gd name="connsiteX313" fmla="*/ 296858 w 588693"/>
                <a:gd name="connsiteY313" fmla="*/ 85702 h 422340"/>
                <a:gd name="connsiteX314" fmla="*/ 293863 w 588693"/>
                <a:gd name="connsiteY314" fmla="*/ 84311 h 422340"/>
                <a:gd name="connsiteX315" fmla="*/ 288599 w 588693"/>
                <a:gd name="connsiteY315" fmla="*/ 81830 h 422340"/>
                <a:gd name="connsiteX316" fmla="*/ 286572 w 588693"/>
                <a:gd name="connsiteY316" fmla="*/ 81618 h 422340"/>
                <a:gd name="connsiteX317" fmla="*/ 284636 w 588693"/>
                <a:gd name="connsiteY317" fmla="*/ 82314 h 422340"/>
                <a:gd name="connsiteX318" fmla="*/ 281067 w 588693"/>
                <a:gd name="connsiteY318" fmla="*/ 84492 h 422340"/>
                <a:gd name="connsiteX319" fmla="*/ 279009 w 588693"/>
                <a:gd name="connsiteY319" fmla="*/ 84492 h 422340"/>
                <a:gd name="connsiteX320" fmla="*/ 277194 w 588693"/>
                <a:gd name="connsiteY320" fmla="*/ 83131 h 422340"/>
                <a:gd name="connsiteX321" fmla="*/ 274351 w 588693"/>
                <a:gd name="connsiteY321" fmla="*/ 79471 h 422340"/>
                <a:gd name="connsiteX322" fmla="*/ 272142 w 588693"/>
                <a:gd name="connsiteY322" fmla="*/ 78775 h 422340"/>
                <a:gd name="connsiteX323" fmla="*/ 261705 w 588693"/>
                <a:gd name="connsiteY323" fmla="*/ 77837 h 422340"/>
                <a:gd name="connsiteX324" fmla="*/ 260858 w 588693"/>
                <a:gd name="connsiteY324" fmla="*/ 77534 h 422340"/>
                <a:gd name="connsiteX325" fmla="*/ 258589 w 588693"/>
                <a:gd name="connsiteY325" fmla="*/ 76748 h 422340"/>
                <a:gd name="connsiteX326" fmla="*/ 250936 w 588693"/>
                <a:gd name="connsiteY326" fmla="*/ 72482 h 422340"/>
                <a:gd name="connsiteX327" fmla="*/ 249151 w 588693"/>
                <a:gd name="connsiteY327" fmla="*/ 70849 h 422340"/>
                <a:gd name="connsiteX328" fmla="*/ 248153 w 588693"/>
                <a:gd name="connsiteY328" fmla="*/ 68035 h 422340"/>
                <a:gd name="connsiteX329" fmla="*/ 248334 w 588693"/>
                <a:gd name="connsiteY329" fmla="*/ 61592 h 422340"/>
                <a:gd name="connsiteX330" fmla="*/ 247941 w 588693"/>
                <a:gd name="connsiteY330" fmla="*/ 58597 h 422340"/>
                <a:gd name="connsiteX331" fmla="*/ 247184 w 588693"/>
                <a:gd name="connsiteY331" fmla="*/ 57145 h 422340"/>
                <a:gd name="connsiteX332" fmla="*/ 244069 w 588693"/>
                <a:gd name="connsiteY332" fmla="*/ 53545 h 422340"/>
                <a:gd name="connsiteX333" fmla="*/ 243524 w 588693"/>
                <a:gd name="connsiteY333" fmla="*/ 52305 h 422340"/>
                <a:gd name="connsiteX334" fmla="*/ 243192 w 588693"/>
                <a:gd name="connsiteY334" fmla="*/ 51125 h 422340"/>
                <a:gd name="connsiteX335" fmla="*/ 242707 w 588693"/>
                <a:gd name="connsiteY335" fmla="*/ 50006 h 422340"/>
                <a:gd name="connsiteX336" fmla="*/ 241921 w 588693"/>
                <a:gd name="connsiteY336" fmla="*/ 49280 h 422340"/>
                <a:gd name="connsiteX337" fmla="*/ 241679 w 588693"/>
                <a:gd name="connsiteY337" fmla="*/ 49068 h 422340"/>
                <a:gd name="connsiteX338" fmla="*/ 239924 w 588693"/>
                <a:gd name="connsiteY338" fmla="*/ 47828 h 422340"/>
                <a:gd name="connsiteX339" fmla="*/ 239198 w 588693"/>
                <a:gd name="connsiteY339" fmla="*/ 46043 h 422340"/>
                <a:gd name="connsiteX340" fmla="*/ 238865 w 588693"/>
                <a:gd name="connsiteY340" fmla="*/ 43955 h 422340"/>
                <a:gd name="connsiteX341" fmla="*/ 238139 w 588693"/>
                <a:gd name="connsiteY341" fmla="*/ 41808 h 422340"/>
                <a:gd name="connsiteX342" fmla="*/ 236537 w 588693"/>
                <a:gd name="connsiteY342" fmla="*/ 40113 h 422340"/>
                <a:gd name="connsiteX343" fmla="*/ 234721 w 588693"/>
                <a:gd name="connsiteY343" fmla="*/ 39660 h 422340"/>
                <a:gd name="connsiteX344" fmla="*/ 232785 w 588693"/>
                <a:gd name="connsiteY344" fmla="*/ 40023 h 422340"/>
                <a:gd name="connsiteX345" fmla="*/ 230849 w 588693"/>
                <a:gd name="connsiteY345" fmla="*/ 40718 h 422340"/>
                <a:gd name="connsiteX346" fmla="*/ 226735 w 588693"/>
                <a:gd name="connsiteY346" fmla="*/ 41233 h 422340"/>
                <a:gd name="connsiteX347" fmla="*/ 226614 w 588693"/>
                <a:gd name="connsiteY347" fmla="*/ 41233 h 422340"/>
                <a:gd name="connsiteX348" fmla="*/ 225162 w 588693"/>
                <a:gd name="connsiteY348" fmla="*/ 38964 h 422340"/>
                <a:gd name="connsiteX349" fmla="*/ 224285 w 588693"/>
                <a:gd name="connsiteY349" fmla="*/ 35273 h 422340"/>
                <a:gd name="connsiteX350" fmla="*/ 221804 w 588693"/>
                <a:gd name="connsiteY350" fmla="*/ 31583 h 422340"/>
                <a:gd name="connsiteX351" fmla="*/ 216813 w 588693"/>
                <a:gd name="connsiteY351" fmla="*/ 27650 h 422340"/>
                <a:gd name="connsiteX352" fmla="*/ 215451 w 588693"/>
                <a:gd name="connsiteY352" fmla="*/ 25956 h 422340"/>
                <a:gd name="connsiteX353" fmla="*/ 215088 w 588693"/>
                <a:gd name="connsiteY353" fmla="*/ 25018 h 422340"/>
                <a:gd name="connsiteX354" fmla="*/ 214544 w 588693"/>
                <a:gd name="connsiteY354" fmla="*/ 22749 h 422340"/>
                <a:gd name="connsiteX355" fmla="*/ 214059 w 588693"/>
                <a:gd name="connsiteY355" fmla="*/ 22023 h 422340"/>
                <a:gd name="connsiteX356" fmla="*/ 212910 w 588693"/>
                <a:gd name="connsiteY356" fmla="*/ 21478 h 422340"/>
                <a:gd name="connsiteX357" fmla="*/ 210278 w 588693"/>
                <a:gd name="connsiteY357" fmla="*/ 21176 h 422340"/>
                <a:gd name="connsiteX358" fmla="*/ 209007 w 588693"/>
                <a:gd name="connsiteY358" fmla="*/ 20843 h 422340"/>
                <a:gd name="connsiteX359" fmla="*/ 207283 w 588693"/>
                <a:gd name="connsiteY359" fmla="*/ 19875 h 422340"/>
                <a:gd name="connsiteX360" fmla="*/ 200658 w 588693"/>
                <a:gd name="connsiteY360" fmla="*/ 14248 h 422340"/>
                <a:gd name="connsiteX361" fmla="*/ 199690 w 588693"/>
                <a:gd name="connsiteY361" fmla="*/ 12827 h 422340"/>
                <a:gd name="connsiteX362" fmla="*/ 199145 w 588693"/>
                <a:gd name="connsiteY362" fmla="*/ 11133 h 422340"/>
                <a:gd name="connsiteX363" fmla="*/ 198238 w 588693"/>
                <a:gd name="connsiteY363" fmla="*/ 6292 h 422340"/>
                <a:gd name="connsiteX364" fmla="*/ 197815 w 588693"/>
                <a:gd name="connsiteY364" fmla="*/ 4901 h 422340"/>
                <a:gd name="connsiteX365" fmla="*/ 196967 w 588693"/>
                <a:gd name="connsiteY365" fmla="*/ 4901 h 422340"/>
                <a:gd name="connsiteX366" fmla="*/ 195273 w 588693"/>
                <a:gd name="connsiteY366" fmla="*/ 6474 h 422340"/>
                <a:gd name="connsiteX367" fmla="*/ 194668 w 588693"/>
                <a:gd name="connsiteY367" fmla="*/ 6897 h 422340"/>
                <a:gd name="connsiteX368" fmla="*/ 193459 w 588693"/>
                <a:gd name="connsiteY368" fmla="*/ 7745 h 422340"/>
                <a:gd name="connsiteX369" fmla="*/ 189405 w 588693"/>
                <a:gd name="connsiteY369" fmla="*/ 8501 h 422340"/>
                <a:gd name="connsiteX370" fmla="*/ 187317 w 588693"/>
                <a:gd name="connsiteY370" fmla="*/ 9166 h 422340"/>
                <a:gd name="connsiteX371" fmla="*/ 184050 w 588693"/>
                <a:gd name="connsiteY371" fmla="*/ 11798 h 422340"/>
                <a:gd name="connsiteX372" fmla="*/ 182325 w 588693"/>
                <a:gd name="connsiteY372" fmla="*/ 12827 h 422340"/>
                <a:gd name="connsiteX373" fmla="*/ 180420 w 588693"/>
                <a:gd name="connsiteY373" fmla="*/ 12827 h 422340"/>
                <a:gd name="connsiteX374" fmla="*/ 178635 w 588693"/>
                <a:gd name="connsiteY374" fmla="*/ 11465 h 422340"/>
                <a:gd name="connsiteX375" fmla="*/ 178091 w 588693"/>
                <a:gd name="connsiteY375" fmla="*/ 9378 h 422340"/>
                <a:gd name="connsiteX376" fmla="*/ 178574 w 588693"/>
                <a:gd name="connsiteY376" fmla="*/ 4326 h 422340"/>
                <a:gd name="connsiteX377" fmla="*/ 178000 w 588693"/>
                <a:gd name="connsiteY377" fmla="*/ 1997 h 422340"/>
                <a:gd name="connsiteX378" fmla="*/ 176184 w 588693"/>
                <a:gd name="connsiteY378" fmla="*/ 998 h 422340"/>
                <a:gd name="connsiteX379" fmla="*/ 171526 w 588693"/>
                <a:gd name="connsiteY379" fmla="*/ 424 h 422340"/>
                <a:gd name="connsiteX380" fmla="*/ 168803 w 588693"/>
                <a:gd name="connsiteY380" fmla="*/ 514 h 422340"/>
                <a:gd name="connsiteX381" fmla="*/ 166655 w 588693"/>
                <a:gd name="connsiteY381" fmla="*/ 0 h 422340"/>
                <a:gd name="connsiteX382" fmla="*/ 162813 w 588693"/>
                <a:gd name="connsiteY382" fmla="*/ 7291 h 422340"/>
                <a:gd name="connsiteX383" fmla="*/ 160666 w 588693"/>
                <a:gd name="connsiteY383" fmla="*/ 10497 h 422340"/>
                <a:gd name="connsiteX384" fmla="*/ 156340 w 588693"/>
                <a:gd name="connsiteY384" fmla="*/ 15368 h 422340"/>
                <a:gd name="connsiteX385" fmla="*/ 154858 w 588693"/>
                <a:gd name="connsiteY385" fmla="*/ 16578 h 422340"/>
                <a:gd name="connsiteX386" fmla="*/ 153254 w 588693"/>
                <a:gd name="connsiteY386" fmla="*/ 17304 h 422340"/>
                <a:gd name="connsiteX387" fmla="*/ 151166 w 588693"/>
                <a:gd name="connsiteY387" fmla="*/ 17485 h 422340"/>
                <a:gd name="connsiteX388" fmla="*/ 146448 w 588693"/>
                <a:gd name="connsiteY388" fmla="*/ 16487 h 422340"/>
                <a:gd name="connsiteX389" fmla="*/ 144239 w 588693"/>
                <a:gd name="connsiteY389" fmla="*/ 16699 h 422340"/>
                <a:gd name="connsiteX390" fmla="*/ 142303 w 588693"/>
                <a:gd name="connsiteY390" fmla="*/ 18605 h 422340"/>
                <a:gd name="connsiteX391" fmla="*/ 141365 w 588693"/>
                <a:gd name="connsiteY391" fmla="*/ 22840 h 422340"/>
                <a:gd name="connsiteX392" fmla="*/ 141425 w 588693"/>
                <a:gd name="connsiteY392" fmla="*/ 29132 h 422340"/>
                <a:gd name="connsiteX393" fmla="*/ 142697 w 588693"/>
                <a:gd name="connsiteY393" fmla="*/ 34668 h 422340"/>
                <a:gd name="connsiteX394" fmla="*/ 145419 w 588693"/>
                <a:gd name="connsiteY394" fmla="*/ 36756 h 422340"/>
                <a:gd name="connsiteX395" fmla="*/ 146296 w 588693"/>
                <a:gd name="connsiteY395" fmla="*/ 36090 h 422340"/>
                <a:gd name="connsiteX396" fmla="*/ 146810 w 588693"/>
                <a:gd name="connsiteY396" fmla="*/ 34941 h 422340"/>
                <a:gd name="connsiteX397" fmla="*/ 147476 w 588693"/>
                <a:gd name="connsiteY397" fmla="*/ 34003 h 422340"/>
                <a:gd name="connsiteX398" fmla="*/ 148867 w 588693"/>
                <a:gd name="connsiteY398" fmla="*/ 33942 h 422340"/>
                <a:gd name="connsiteX399" fmla="*/ 149079 w 588693"/>
                <a:gd name="connsiteY399" fmla="*/ 34638 h 422340"/>
                <a:gd name="connsiteX400" fmla="*/ 151318 w 588693"/>
                <a:gd name="connsiteY400" fmla="*/ 38571 h 422340"/>
                <a:gd name="connsiteX401" fmla="*/ 151469 w 588693"/>
                <a:gd name="connsiteY401" fmla="*/ 39478 h 422340"/>
                <a:gd name="connsiteX402" fmla="*/ 152286 w 588693"/>
                <a:gd name="connsiteY402" fmla="*/ 44288 h 422340"/>
                <a:gd name="connsiteX403" fmla="*/ 153163 w 588693"/>
                <a:gd name="connsiteY403" fmla="*/ 46981 h 422340"/>
                <a:gd name="connsiteX404" fmla="*/ 154888 w 588693"/>
                <a:gd name="connsiteY404" fmla="*/ 49037 h 422340"/>
                <a:gd name="connsiteX405" fmla="*/ 160152 w 588693"/>
                <a:gd name="connsiteY405" fmla="*/ 52365 h 422340"/>
                <a:gd name="connsiteX406" fmla="*/ 161331 w 588693"/>
                <a:gd name="connsiteY406" fmla="*/ 52879 h 422340"/>
                <a:gd name="connsiteX407" fmla="*/ 163358 w 588693"/>
                <a:gd name="connsiteY407" fmla="*/ 53333 h 422340"/>
                <a:gd name="connsiteX408" fmla="*/ 168077 w 588693"/>
                <a:gd name="connsiteY408" fmla="*/ 57387 h 422340"/>
                <a:gd name="connsiteX409" fmla="*/ 177879 w 588693"/>
                <a:gd name="connsiteY409" fmla="*/ 61199 h 422340"/>
                <a:gd name="connsiteX410" fmla="*/ 182810 w 588693"/>
                <a:gd name="connsiteY410" fmla="*/ 63921 h 422340"/>
                <a:gd name="connsiteX411" fmla="*/ 184413 w 588693"/>
                <a:gd name="connsiteY411" fmla="*/ 67340 h 422340"/>
                <a:gd name="connsiteX412" fmla="*/ 185986 w 588693"/>
                <a:gd name="connsiteY412" fmla="*/ 66765 h 422340"/>
                <a:gd name="connsiteX413" fmla="*/ 186681 w 588693"/>
                <a:gd name="connsiteY413" fmla="*/ 67188 h 422340"/>
                <a:gd name="connsiteX414" fmla="*/ 186803 w 588693"/>
                <a:gd name="connsiteY414" fmla="*/ 67279 h 422340"/>
                <a:gd name="connsiteX415" fmla="*/ 187498 w 588693"/>
                <a:gd name="connsiteY415" fmla="*/ 68338 h 422340"/>
                <a:gd name="connsiteX416" fmla="*/ 189435 w 588693"/>
                <a:gd name="connsiteY416" fmla="*/ 70335 h 422340"/>
                <a:gd name="connsiteX417" fmla="*/ 192611 w 588693"/>
                <a:gd name="connsiteY417" fmla="*/ 74781 h 422340"/>
                <a:gd name="connsiteX418" fmla="*/ 193247 w 588693"/>
                <a:gd name="connsiteY418" fmla="*/ 76567 h 422340"/>
                <a:gd name="connsiteX419" fmla="*/ 192913 w 588693"/>
                <a:gd name="connsiteY419" fmla="*/ 76718 h 422340"/>
                <a:gd name="connsiteX420" fmla="*/ 192097 w 588693"/>
                <a:gd name="connsiteY420" fmla="*/ 76597 h 422340"/>
                <a:gd name="connsiteX421" fmla="*/ 191190 w 588693"/>
                <a:gd name="connsiteY421" fmla="*/ 77534 h 422340"/>
                <a:gd name="connsiteX422" fmla="*/ 191008 w 588693"/>
                <a:gd name="connsiteY422" fmla="*/ 78472 h 422340"/>
                <a:gd name="connsiteX423" fmla="*/ 190887 w 588693"/>
                <a:gd name="connsiteY423" fmla="*/ 80620 h 422340"/>
                <a:gd name="connsiteX424" fmla="*/ 190675 w 588693"/>
                <a:gd name="connsiteY424" fmla="*/ 81437 h 422340"/>
                <a:gd name="connsiteX425" fmla="*/ 190070 w 588693"/>
                <a:gd name="connsiteY425" fmla="*/ 82224 h 422340"/>
                <a:gd name="connsiteX426" fmla="*/ 188739 w 588693"/>
                <a:gd name="connsiteY426" fmla="*/ 83373 h 422340"/>
                <a:gd name="connsiteX427" fmla="*/ 188134 w 588693"/>
                <a:gd name="connsiteY427" fmla="*/ 84129 h 422340"/>
                <a:gd name="connsiteX428" fmla="*/ 187166 w 588693"/>
                <a:gd name="connsiteY428" fmla="*/ 87427 h 422340"/>
                <a:gd name="connsiteX429" fmla="*/ 186652 w 588693"/>
                <a:gd name="connsiteY429" fmla="*/ 91632 h 422340"/>
                <a:gd name="connsiteX430" fmla="*/ 185805 w 588693"/>
                <a:gd name="connsiteY430" fmla="*/ 95594 h 422340"/>
                <a:gd name="connsiteX431" fmla="*/ 185229 w 588693"/>
                <a:gd name="connsiteY431" fmla="*/ 96320 h 422340"/>
                <a:gd name="connsiteX432" fmla="*/ 183838 w 588693"/>
                <a:gd name="connsiteY432" fmla="*/ 98106 h 422340"/>
                <a:gd name="connsiteX433" fmla="*/ 181872 w 588693"/>
                <a:gd name="connsiteY433" fmla="*/ 98378 h 422340"/>
                <a:gd name="connsiteX434" fmla="*/ 179966 w 588693"/>
                <a:gd name="connsiteY434" fmla="*/ 97894 h 422340"/>
                <a:gd name="connsiteX435" fmla="*/ 178000 w 588693"/>
                <a:gd name="connsiteY435" fmla="*/ 97712 h 422340"/>
                <a:gd name="connsiteX436" fmla="*/ 175882 w 588693"/>
                <a:gd name="connsiteY436" fmla="*/ 98952 h 422340"/>
                <a:gd name="connsiteX437" fmla="*/ 174732 w 588693"/>
                <a:gd name="connsiteY437" fmla="*/ 100919 h 422340"/>
                <a:gd name="connsiteX438" fmla="*/ 174188 w 588693"/>
                <a:gd name="connsiteY438" fmla="*/ 102825 h 422340"/>
                <a:gd name="connsiteX439" fmla="*/ 173280 w 588693"/>
                <a:gd name="connsiteY439" fmla="*/ 104095 h 422340"/>
                <a:gd name="connsiteX440" fmla="*/ 171072 w 588693"/>
                <a:gd name="connsiteY440" fmla="*/ 104186 h 422340"/>
                <a:gd name="connsiteX441" fmla="*/ 169257 w 588693"/>
                <a:gd name="connsiteY441" fmla="*/ 103188 h 422340"/>
                <a:gd name="connsiteX442" fmla="*/ 166443 w 588693"/>
                <a:gd name="connsiteY442" fmla="*/ 99678 h 422340"/>
                <a:gd name="connsiteX443" fmla="*/ 164810 w 588693"/>
                <a:gd name="connsiteY443" fmla="*/ 98347 h 422340"/>
                <a:gd name="connsiteX444" fmla="*/ 158820 w 588693"/>
                <a:gd name="connsiteY444" fmla="*/ 96563 h 422340"/>
                <a:gd name="connsiteX445" fmla="*/ 156733 w 588693"/>
                <a:gd name="connsiteY445" fmla="*/ 95443 h 422340"/>
                <a:gd name="connsiteX446" fmla="*/ 150804 w 588693"/>
                <a:gd name="connsiteY446" fmla="*/ 90482 h 422340"/>
                <a:gd name="connsiteX447" fmla="*/ 147869 w 588693"/>
                <a:gd name="connsiteY447" fmla="*/ 87124 h 422340"/>
                <a:gd name="connsiteX448" fmla="*/ 146296 w 588693"/>
                <a:gd name="connsiteY448" fmla="*/ 85702 h 422340"/>
                <a:gd name="connsiteX449" fmla="*/ 144481 w 588693"/>
                <a:gd name="connsiteY449" fmla="*/ 85128 h 422340"/>
                <a:gd name="connsiteX450" fmla="*/ 136918 w 588693"/>
                <a:gd name="connsiteY450" fmla="*/ 85128 h 422340"/>
                <a:gd name="connsiteX451" fmla="*/ 134679 w 588693"/>
                <a:gd name="connsiteY451" fmla="*/ 85642 h 422340"/>
                <a:gd name="connsiteX452" fmla="*/ 132109 w 588693"/>
                <a:gd name="connsiteY452" fmla="*/ 87155 h 422340"/>
                <a:gd name="connsiteX453" fmla="*/ 129476 w 588693"/>
                <a:gd name="connsiteY453" fmla="*/ 88727 h 422340"/>
                <a:gd name="connsiteX454" fmla="*/ 127480 w 588693"/>
                <a:gd name="connsiteY454" fmla="*/ 89393 h 422340"/>
                <a:gd name="connsiteX455" fmla="*/ 125029 w 588693"/>
                <a:gd name="connsiteY455" fmla="*/ 89605 h 422340"/>
                <a:gd name="connsiteX456" fmla="*/ 120159 w 588693"/>
                <a:gd name="connsiteY456" fmla="*/ 89060 h 422340"/>
                <a:gd name="connsiteX457" fmla="*/ 105215 w 588693"/>
                <a:gd name="connsiteY457" fmla="*/ 84099 h 422340"/>
                <a:gd name="connsiteX458" fmla="*/ 100133 w 588693"/>
                <a:gd name="connsiteY458" fmla="*/ 81225 h 422340"/>
                <a:gd name="connsiteX459" fmla="*/ 98196 w 588693"/>
                <a:gd name="connsiteY459" fmla="*/ 80136 h 422340"/>
                <a:gd name="connsiteX460" fmla="*/ 94052 w 588693"/>
                <a:gd name="connsiteY460" fmla="*/ 76839 h 422340"/>
                <a:gd name="connsiteX461" fmla="*/ 91662 w 588693"/>
                <a:gd name="connsiteY461" fmla="*/ 73329 h 422340"/>
                <a:gd name="connsiteX462" fmla="*/ 93901 w 588693"/>
                <a:gd name="connsiteY462" fmla="*/ 70758 h 422340"/>
                <a:gd name="connsiteX463" fmla="*/ 96200 w 588693"/>
                <a:gd name="connsiteY463" fmla="*/ 70002 h 422340"/>
                <a:gd name="connsiteX464" fmla="*/ 97621 w 588693"/>
                <a:gd name="connsiteY464" fmla="*/ 69276 h 422340"/>
                <a:gd name="connsiteX465" fmla="*/ 97500 w 588693"/>
                <a:gd name="connsiteY465" fmla="*/ 68520 h 422340"/>
                <a:gd name="connsiteX466" fmla="*/ 95141 w 588693"/>
                <a:gd name="connsiteY466" fmla="*/ 67642 h 422340"/>
                <a:gd name="connsiteX467" fmla="*/ 88576 w 588693"/>
                <a:gd name="connsiteY467" fmla="*/ 66402 h 422340"/>
                <a:gd name="connsiteX468" fmla="*/ 74116 w 588693"/>
                <a:gd name="connsiteY468" fmla="*/ 61199 h 422340"/>
                <a:gd name="connsiteX469" fmla="*/ 70819 w 588693"/>
                <a:gd name="connsiteY469" fmla="*/ 58355 h 422340"/>
                <a:gd name="connsiteX470" fmla="*/ 69367 w 588693"/>
                <a:gd name="connsiteY470" fmla="*/ 56812 h 422340"/>
                <a:gd name="connsiteX471" fmla="*/ 67885 w 588693"/>
                <a:gd name="connsiteY471" fmla="*/ 56570 h 422340"/>
                <a:gd name="connsiteX472" fmla="*/ 64557 w 588693"/>
                <a:gd name="connsiteY472" fmla="*/ 57508 h 422340"/>
                <a:gd name="connsiteX473" fmla="*/ 62530 w 588693"/>
                <a:gd name="connsiteY473" fmla="*/ 57690 h 422340"/>
                <a:gd name="connsiteX474" fmla="*/ 60957 w 588693"/>
                <a:gd name="connsiteY474" fmla="*/ 57387 h 422340"/>
                <a:gd name="connsiteX475" fmla="*/ 56117 w 588693"/>
                <a:gd name="connsiteY475" fmla="*/ 55088 h 422340"/>
                <a:gd name="connsiteX476" fmla="*/ 54241 w 588693"/>
                <a:gd name="connsiteY476" fmla="*/ 54180 h 422340"/>
                <a:gd name="connsiteX477" fmla="*/ 50944 w 588693"/>
                <a:gd name="connsiteY477" fmla="*/ 54029 h 422340"/>
                <a:gd name="connsiteX478" fmla="*/ 47737 w 588693"/>
                <a:gd name="connsiteY478" fmla="*/ 55057 h 422340"/>
                <a:gd name="connsiteX479" fmla="*/ 32460 w 588693"/>
                <a:gd name="connsiteY479" fmla="*/ 66705 h 422340"/>
                <a:gd name="connsiteX480" fmla="*/ 22870 w 588693"/>
                <a:gd name="connsiteY480" fmla="*/ 73995 h 422340"/>
                <a:gd name="connsiteX481" fmla="*/ 26591 w 588693"/>
                <a:gd name="connsiteY481" fmla="*/ 81255 h 422340"/>
                <a:gd name="connsiteX482" fmla="*/ 25563 w 588693"/>
                <a:gd name="connsiteY482" fmla="*/ 83857 h 422340"/>
                <a:gd name="connsiteX483" fmla="*/ 26138 w 588693"/>
                <a:gd name="connsiteY483" fmla="*/ 85369 h 422340"/>
                <a:gd name="connsiteX484" fmla="*/ 27861 w 588693"/>
                <a:gd name="connsiteY484" fmla="*/ 86035 h 422340"/>
                <a:gd name="connsiteX485" fmla="*/ 34427 w 588693"/>
                <a:gd name="connsiteY485" fmla="*/ 86035 h 422340"/>
                <a:gd name="connsiteX486" fmla="*/ 36151 w 588693"/>
                <a:gd name="connsiteY486" fmla="*/ 86549 h 422340"/>
                <a:gd name="connsiteX487" fmla="*/ 41445 w 588693"/>
                <a:gd name="connsiteY487" fmla="*/ 90361 h 422340"/>
                <a:gd name="connsiteX488" fmla="*/ 42746 w 588693"/>
                <a:gd name="connsiteY488" fmla="*/ 92086 h 422340"/>
                <a:gd name="connsiteX489" fmla="*/ 42867 w 588693"/>
                <a:gd name="connsiteY489" fmla="*/ 94052 h 422340"/>
                <a:gd name="connsiteX490" fmla="*/ 39418 w 588693"/>
                <a:gd name="connsiteY490" fmla="*/ 96381 h 422340"/>
                <a:gd name="connsiteX491" fmla="*/ 29465 w 588693"/>
                <a:gd name="connsiteY491" fmla="*/ 95988 h 422340"/>
                <a:gd name="connsiteX492" fmla="*/ 28376 w 588693"/>
                <a:gd name="connsiteY492" fmla="*/ 99921 h 422340"/>
                <a:gd name="connsiteX493" fmla="*/ 29677 w 588693"/>
                <a:gd name="connsiteY493" fmla="*/ 101947 h 422340"/>
                <a:gd name="connsiteX494" fmla="*/ 31855 w 588693"/>
                <a:gd name="connsiteY494" fmla="*/ 103309 h 422340"/>
                <a:gd name="connsiteX495" fmla="*/ 33791 w 588693"/>
                <a:gd name="connsiteY495" fmla="*/ 103490 h 422340"/>
                <a:gd name="connsiteX496" fmla="*/ 34396 w 588693"/>
                <a:gd name="connsiteY496" fmla="*/ 102038 h 422340"/>
                <a:gd name="connsiteX497" fmla="*/ 34698 w 588693"/>
                <a:gd name="connsiteY497" fmla="*/ 99830 h 422340"/>
                <a:gd name="connsiteX498" fmla="*/ 36362 w 588693"/>
                <a:gd name="connsiteY498" fmla="*/ 100647 h 422340"/>
                <a:gd name="connsiteX499" fmla="*/ 39660 w 588693"/>
                <a:gd name="connsiteY499" fmla="*/ 103793 h 422340"/>
                <a:gd name="connsiteX500" fmla="*/ 41717 w 588693"/>
                <a:gd name="connsiteY500" fmla="*/ 104972 h 422340"/>
                <a:gd name="connsiteX501" fmla="*/ 43260 w 588693"/>
                <a:gd name="connsiteY501" fmla="*/ 106515 h 422340"/>
                <a:gd name="connsiteX502" fmla="*/ 44924 w 588693"/>
                <a:gd name="connsiteY502" fmla="*/ 107786 h 422340"/>
                <a:gd name="connsiteX503" fmla="*/ 49673 w 588693"/>
                <a:gd name="connsiteY503" fmla="*/ 108300 h 422340"/>
                <a:gd name="connsiteX504" fmla="*/ 54090 w 588693"/>
                <a:gd name="connsiteY504" fmla="*/ 109964 h 422340"/>
                <a:gd name="connsiteX505" fmla="*/ 56389 w 588693"/>
                <a:gd name="connsiteY505" fmla="*/ 110297 h 422340"/>
                <a:gd name="connsiteX506" fmla="*/ 61078 w 588693"/>
                <a:gd name="connsiteY506" fmla="*/ 108149 h 422340"/>
                <a:gd name="connsiteX507" fmla="*/ 62015 w 588693"/>
                <a:gd name="connsiteY507" fmla="*/ 107695 h 422340"/>
                <a:gd name="connsiteX508" fmla="*/ 64799 w 588693"/>
                <a:gd name="connsiteY508" fmla="*/ 107423 h 422340"/>
                <a:gd name="connsiteX509" fmla="*/ 65404 w 588693"/>
                <a:gd name="connsiteY509" fmla="*/ 110297 h 422340"/>
                <a:gd name="connsiteX510" fmla="*/ 64527 w 588693"/>
                <a:gd name="connsiteY510" fmla="*/ 114260 h 422340"/>
                <a:gd name="connsiteX511" fmla="*/ 65767 w 588693"/>
                <a:gd name="connsiteY511" fmla="*/ 115500 h 422340"/>
                <a:gd name="connsiteX512" fmla="*/ 67188 w 588693"/>
                <a:gd name="connsiteY512" fmla="*/ 115833 h 422340"/>
                <a:gd name="connsiteX513" fmla="*/ 68187 w 588693"/>
                <a:gd name="connsiteY513" fmla="*/ 116075 h 422340"/>
                <a:gd name="connsiteX514" fmla="*/ 70849 w 588693"/>
                <a:gd name="connsiteY514" fmla="*/ 118071 h 422340"/>
                <a:gd name="connsiteX515" fmla="*/ 75175 w 588693"/>
                <a:gd name="connsiteY515" fmla="*/ 123184 h 422340"/>
                <a:gd name="connsiteX516" fmla="*/ 76748 w 588693"/>
                <a:gd name="connsiteY516" fmla="*/ 124666 h 422340"/>
                <a:gd name="connsiteX517" fmla="*/ 78805 w 588693"/>
                <a:gd name="connsiteY517" fmla="*/ 125271 h 422340"/>
                <a:gd name="connsiteX518" fmla="*/ 81165 w 588693"/>
                <a:gd name="connsiteY518" fmla="*/ 125422 h 422340"/>
                <a:gd name="connsiteX519" fmla="*/ 82920 w 588693"/>
                <a:gd name="connsiteY519" fmla="*/ 126269 h 422340"/>
                <a:gd name="connsiteX520" fmla="*/ 83101 w 588693"/>
                <a:gd name="connsiteY520" fmla="*/ 128962 h 422340"/>
                <a:gd name="connsiteX521" fmla="*/ 81225 w 588693"/>
                <a:gd name="connsiteY521" fmla="*/ 133984 h 422340"/>
                <a:gd name="connsiteX522" fmla="*/ 78563 w 588693"/>
                <a:gd name="connsiteY522" fmla="*/ 136767 h 422340"/>
                <a:gd name="connsiteX523" fmla="*/ 70759 w 588693"/>
                <a:gd name="connsiteY523" fmla="*/ 140246 h 422340"/>
                <a:gd name="connsiteX524" fmla="*/ 66705 w 588693"/>
                <a:gd name="connsiteY524" fmla="*/ 142030 h 422340"/>
                <a:gd name="connsiteX525" fmla="*/ 62772 w 588693"/>
                <a:gd name="connsiteY525" fmla="*/ 144995 h 422340"/>
                <a:gd name="connsiteX526" fmla="*/ 60261 w 588693"/>
                <a:gd name="connsiteY526" fmla="*/ 149079 h 422340"/>
                <a:gd name="connsiteX527" fmla="*/ 60261 w 588693"/>
                <a:gd name="connsiteY527" fmla="*/ 154252 h 422340"/>
                <a:gd name="connsiteX528" fmla="*/ 61683 w 588693"/>
                <a:gd name="connsiteY528" fmla="*/ 157066 h 422340"/>
                <a:gd name="connsiteX529" fmla="*/ 63619 w 588693"/>
                <a:gd name="connsiteY529" fmla="*/ 158820 h 422340"/>
                <a:gd name="connsiteX530" fmla="*/ 65676 w 588693"/>
                <a:gd name="connsiteY530" fmla="*/ 160302 h 422340"/>
                <a:gd name="connsiteX531" fmla="*/ 67431 w 588693"/>
                <a:gd name="connsiteY531" fmla="*/ 162329 h 422340"/>
                <a:gd name="connsiteX532" fmla="*/ 67824 w 588693"/>
                <a:gd name="connsiteY532" fmla="*/ 163539 h 422340"/>
                <a:gd name="connsiteX533" fmla="*/ 68035 w 588693"/>
                <a:gd name="connsiteY533" fmla="*/ 166231 h 422340"/>
                <a:gd name="connsiteX534" fmla="*/ 68490 w 588693"/>
                <a:gd name="connsiteY534" fmla="*/ 167532 h 422340"/>
                <a:gd name="connsiteX535" fmla="*/ 69428 w 588693"/>
                <a:gd name="connsiteY535" fmla="*/ 168500 h 422340"/>
                <a:gd name="connsiteX536" fmla="*/ 71515 w 588693"/>
                <a:gd name="connsiteY536" fmla="*/ 169771 h 422340"/>
                <a:gd name="connsiteX537" fmla="*/ 72362 w 588693"/>
                <a:gd name="connsiteY537" fmla="*/ 171193 h 422340"/>
                <a:gd name="connsiteX538" fmla="*/ 75629 w 588693"/>
                <a:gd name="connsiteY538" fmla="*/ 177576 h 422340"/>
                <a:gd name="connsiteX539" fmla="*/ 81588 w 588693"/>
                <a:gd name="connsiteY539" fmla="*/ 182688 h 422340"/>
                <a:gd name="connsiteX540" fmla="*/ 105033 w 588693"/>
                <a:gd name="connsiteY540" fmla="*/ 194910 h 422340"/>
                <a:gd name="connsiteX541" fmla="*/ 105124 w 588693"/>
                <a:gd name="connsiteY541" fmla="*/ 195001 h 422340"/>
                <a:gd name="connsiteX542" fmla="*/ 109420 w 588693"/>
                <a:gd name="connsiteY542" fmla="*/ 199357 h 422340"/>
                <a:gd name="connsiteX543" fmla="*/ 111416 w 588693"/>
                <a:gd name="connsiteY543" fmla="*/ 199448 h 422340"/>
                <a:gd name="connsiteX544" fmla="*/ 112082 w 588693"/>
                <a:gd name="connsiteY544" fmla="*/ 199266 h 422340"/>
                <a:gd name="connsiteX545" fmla="*/ 113503 w 588693"/>
                <a:gd name="connsiteY545" fmla="*/ 198873 h 422340"/>
                <a:gd name="connsiteX546" fmla="*/ 115712 w 588693"/>
                <a:gd name="connsiteY546" fmla="*/ 198752 h 422340"/>
                <a:gd name="connsiteX547" fmla="*/ 117194 w 588693"/>
                <a:gd name="connsiteY547" fmla="*/ 199478 h 422340"/>
                <a:gd name="connsiteX548" fmla="*/ 118646 w 588693"/>
                <a:gd name="connsiteY548" fmla="*/ 200779 h 422340"/>
                <a:gd name="connsiteX549" fmla="*/ 121218 w 588693"/>
                <a:gd name="connsiteY549" fmla="*/ 203925 h 422340"/>
                <a:gd name="connsiteX550" fmla="*/ 121399 w 588693"/>
                <a:gd name="connsiteY550" fmla="*/ 204651 h 422340"/>
                <a:gd name="connsiteX551" fmla="*/ 121460 w 588693"/>
                <a:gd name="connsiteY551" fmla="*/ 205347 h 422340"/>
                <a:gd name="connsiteX552" fmla="*/ 121399 w 588693"/>
                <a:gd name="connsiteY552" fmla="*/ 206073 h 422340"/>
                <a:gd name="connsiteX553" fmla="*/ 119584 w 588693"/>
                <a:gd name="connsiteY553" fmla="*/ 213817 h 422340"/>
                <a:gd name="connsiteX554" fmla="*/ 118374 w 588693"/>
                <a:gd name="connsiteY554" fmla="*/ 216782 h 422340"/>
                <a:gd name="connsiteX555" fmla="*/ 116468 w 588693"/>
                <a:gd name="connsiteY555" fmla="*/ 219142 h 422340"/>
                <a:gd name="connsiteX556" fmla="*/ 114229 w 588693"/>
                <a:gd name="connsiteY556" fmla="*/ 220926 h 422340"/>
                <a:gd name="connsiteX557" fmla="*/ 113867 w 588693"/>
                <a:gd name="connsiteY557" fmla="*/ 221834 h 422340"/>
                <a:gd name="connsiteX558" fmla="*/ 112656 w 588693"/>
                <a:gd name="connsiteY558" fmla="*/ 227370 h 422340"/>
                <a:gd name="connsiteX559" fmla="*/ 111991 w 588693"/>
                <a:gd name="connsiteY559" fmla="*/ 228640 h 422340"/>
                <a:gd name="connsiteX560" fmla="*/ 110630 w 588693"/>
                <a:gd name="connsiteY560" fmla="*/ 229699 h 422340"/>
                <a:gd name="connsiteX561" fmla="*/ 103611 w 588693"/>
                <a:gd name="connsiteY561" fmla="*/ 230334 h 422340"/>
                <a:gd name="connsiteX562" fmla="*/ 87094 w 588693"/>
                <a:gd name="connsiteY562" fmla="*/ 227793 h 422340"/>
                <a:gd name="connsiteX563" fmla="*/ 80711 w 588693"/>
                <a:gd name="connsiteY563" fmla="*/ 231605 h 422340"/>
                <a:gd name="connsiteX564" fmla="*/ 80862 w 588693"/>
                <a:gd name="connsiteY564" fmla="*/ 232815 h 422340"/>
                <a:gd name="connsiteX565" fmla="*/ 81044 w 588693"/>
                <a:gd name="connsiteY565" fmla="*/ 234479 h 422340"/>
                <a:gd name="connsiteX566" fmla="*/ 84220 w 588693"/>
                <a:gd name="connsiteY566" fmla="*/ 235810 h 422340"/>
                <a:gd name="connsiteX567" fmla="*/ 94717 w 588693"/>
                <a:gd name="connsiteY567" fmla="*/ 236808 h 422340"/>
                <a:gd name="connsiteX568" fmla="*/ 97470 w 588693"/>
                <a:gd name="connsiteY568" fmla="*/ 238049 h 422340"/>
                <a:gd name="connsiteX569" fmla="*/ 99649 w 588693"/>
                <a:gd name="connsiteY569" fmla="*/ 240257 h 422340"/>
                <a:gd name="connsiteX570" fmla="*/ 104156 w 588693"/>
                <a:gd name="connsiteY570" fmla="*/ 248757 h 422340"/>
                <a:gd name="connsiteX571" fmla="*/ 104913 w 588693"/>
                <a:gd name="connsiteY571" fmla="*/ 250209 h 422340"/>
                <a:gd name="connsiteX572" fmla="*/ 109450 w 588693"/>
                <a:gd name="connsiteY572" fmla="*/ 254384 h 422340"/>
                <a:gd name="connsiteX573" fmla="*/ 111598 w 588693"/>
                <a:gd name="connsiteY573" fmla="*/ 255383 h 422340"/>
                <a:gd name="connsiteX574" fmla="*/ 114925 w 588693"/>
                <a:gd name="connsiteY574" fmla="*/ 256956 h 422340"/>
                <a:gd name="connsiteX575" fmla="*/ 121278 w 588693"/>
                <a:gd name="connsiteY575" fmla="*/ 258710 h 422340"/>
                <a:gd name="connsiteX576" fmla="*/ 124031 w 588693"/>
                <a:gd name="connsiteY576" fmla="*/ 261191 h 422340"/>
                <a:gd name="connsiteX577" fmla="*/ 127903 w 588693"/>
                <a:gd name="connsiteY577" fmla="*/ 268421 h 422340"/>
                <a:gd name="connsiteX578" fmla="*/ 131080 w 588693"/>
                <a:gd name="connsiteY578" fmla="*/ 270750 h 422340"/>
                <a:gd name="connsiteX579" fmla="*/ 134891 w 588693"/>
                <a:gd name="connsiteY579" fmla="*/ 271749 h 422340"/>
                <a:gd name="connsiteX580" fmla="*/ 136646 w 588693"/>
                <a:gd name="connsiteY580" fmla="*/ 272656 h 422340"/>
                <a:gd name="connsiteX581" fmla="*/ 138098 w 588693"/>
                <a:gd name="connsiteY581" fmla="*/ 274320 h 422340"/>
                <a:gd name="connsiteX582" fmla="*/ 140458 w 588693"/>
                <a:gd name="connsiteY582" fmla="*/ 278434 h 422340"/>
                <a:gd name="connsiteX583" fmla="*/ 141940 w 588693"/>
                <a:gd name="connsiteY583" fmla="*/ 279735 h 422340"/>
                <a:gd name="connsiteX584" fmla="*/ 144179 w 588693"/>
                <a:gd name="connsiteY584" fmla="*/ 280370 h 422340"/>
                <a:gd name="connsiteX585" fmla="*/ 147688 w 588693"/>
                <a:gd name="connsiteY585" fmla="*/ 279674 h 422340"/>
                <a:gd name="connsiteX586" fmla="*/ 154555 w 588693"/>
                <a:gd name="connsiteY586" fmla="*/ 276438 h 422340"/>
                <a:gd name="connsiteX587" fmla="*/ 158003 w 588693"/>
                <a:gd name="connsiteY587" fmla="*/ 276680 h 422340"/>
                <a:gd name="connsiteX588" fmla="*/ 159426 w 588693"/>
                <a:gd name="connsiteY588" fmla="*/ 277739 h 422340"/>
                <a:gd name="connsiteX589" fmla="*/ 161785 w 588693"/>
                <a:gd name="connsiteY589" fmla="*/ 280703 h 422340"/>
                <a:gd name="connsiteX590" fmla="*/ 163297 w 588693"/>
                <a:gd name="connsiteY590" fmla="*/ 281701 h 422340"/>
                <a:gd name="connsiteX591" fmla="*/ 165294 w 588693"/>
                <a:gd name="connsiteY591" fmla="*/ 282004 h 422340"/>
                <a:gd name="connsiteX592" fmla="*/ 171647 w 588693"/>
                <a:gd name="connsiteY592" fmla="*/ 281459 h 422340"/>
                <a:gd name="connsiteX593" fmla="*/ 173280 w 588693"/>
                <a:gd name="connsiteY593" fmla="*/ 281792 h 422340"/>
                <a:gd name="connsiteX594" fmla="*/ 174944 w 588693"/>
                <a:gd name="connsiteY594" fmla="*/ 282790 h 422340"/>
                <a:gd name="connsiteX595" fmla="*/ 176154 w 588693"/>
                <a:gd name="connsiteY595" fmla="*/ 284333 h 422340"/>
                <a:gd name="connsiteX596" fmla="*/ 176457 w 588693"/>
                <a:gd name="connsiteY596" fmla="*/ 286300 h 422340"/>
                <a:gd name="connsiteX597" fmla="*/ 175549 w 588693"/>
                <a:gd name="connsiteY597" fmla="*/ 287812 h 422340"/>
                <a:gd name="connsiteX598" fmla="*/ 174097 w 588693"/>
                <a:gd name="connsiteY598" fmla="*/ 288629 h 422340"/>
                <a:gd name="connsiteX599" fmla="*/ 172918 w 588693"/>
                <a:gd name="connsiteY599" fmla="*/ 289627 h 422340"/>
                <a:gd name="connsiteX600" fmla="*/ 172918 w 588693"/>
                <a:gd name="connsiteY600" fmla="*/ 291594 h 422340"/>
                <a:gd name="connsiteX601" fmla="*/ 173583 w 588693"/>
                <a:gd name="connsiteY601" fmla="*/ 292864 h 422340"/>
                <a:gd name="connsiteX602" fmla="*/ 173583 w 588693"/>
                <a:gd name="connsiteY602" fmla="*/ 293984 h 422340"/>
                <a:gd name="connsiteX603" fmla="*/ 172857 w 588693"/>
                <a:gd name="connsiteY603" fmla="*/ 294861 h 422340"/>
                <a:gd name="connsiteX604" fmla="*/ 171647 w 588693"/>
                <a:gd name="connsiteY604" fmla="*/ 295405 h 422340"/>
                <a:gd name="connsiteX605" fmla="*/ 171647 w 588693"/>
                <a:gd name="connsiteY605" fmla="*/ 295405 h 422340"/>
                <a:gd name="connsiteX606" fmla="*/ 164265 w 588693"/>
                <a:gd name="connsiteY606" fmla="*/ 296676 h 422340"/>
                <a:gd name="connsiteX607" fmla="*/ 161089 w 588693"/>
                <a:gd name="connsiteY607" fmla="*/ 298491 h 422340"/>
                <a:gd name="connsiteX608" fmla="*/ 159758 w 588693"/>
                <a:gd name="connsiteY608" fmla="*/ 301577 h 422340"/>
                <a:gd name="connsiteX609" fmla="*/ 161149 w 588693"/>
                <a:gd name="connsiteY609" fmla="*/ 305328 h 422340"/>
                <a:gd name="connsiteX610" fmla="*/ 164447 w 588693"/>
                <a:gd name="connsiteY610" fmla="*/ 307687 h 422340"/>
                <a:gd name="connsiteX611" fmla="*/ 171677 w 588693"/>
                <a:gd name="connsiteY611" fmla="*/ 310682 h 422340"/>
                <a:gd name="connsiteX612" fmla="*/ 173280 w 588693"/>
                <a:gd name="connsiteY612" fmla="*/ 311892 h 422340"/>
                <a:gd name="connsiteX613" fmla="*/ 174006 w 588693"/>
                <a:gd name="connsiteY613" fmla="*/ 313617 h 422340"/>
                <a:gd name="connsiteX614" fmla="*/ 174521 w 588693"/>
                <a:gd name="connsiteY614" fmla="*/ 315492 h 422340"/>
                <a:gd name="connsiteX615" fmla="*/ 175489 w 588693"/>
                <a:gd name="connsiteY615" fmla="*/ 317277 h 422340"/>
                <a:gd name="connsiteX616" fmla="*/ 177939 w 588693"/>
                <a:gd name="connsiteY616" fmla="*/ 319637 h 422340"/>
                <a:gd name="connsiteX617" fmla="*/ 182235 w 588693"/>
                <a:gd name="connsiteY617" fmla="*/ 322420 h 422340"/>
                <a:gd name="connsiteX618" fmla="*/ 182900 w 588693"/>
                <a:gd name="connsiteY618" fmla="*/ 322964 h 422340"/>
                <a:gd name="connsiteX619" fmla="*/ 183597 w 588693"/>
                <a:gd name="connsiteY619" fmla="*/ 323690 h 422340"/>
                <a:gd name="connsiteX620" fmla="*/ 183717 w 588693"/>
                <a:gd name="connsiteY620" fmla="*/ 323993 h 422340"/>
                <a:gd name="connsiteX621" fmla="*/ 184050 w 588693"/>
                <a:gd name="connsiteY621" fmla="*/ 324810 h 422340"/>
                <a:gd name="connsiteX622" fmla="*/ 183173 w 588693"/>
                <a:gd name="connsiteY622" fmla="*/ 325203 h 422340"/>
                <a:gd name="connsiteX623" fmla="*/ 181055 w 588693"/>
                <a:gd name="connsiteY623" fmla="*/ 325263 h 422340"/>
                <a:gd name="connsiteX624" fmla="*/ 176396 w 588693"/>
                <a:gd name="connsiteY624" fmla="*/ 328319 h 422340"/>
                <a:gd name="connsiteX625" fmla="*/ 175156 w 588693"/>
                <a:gd name="connsiteY625" fmla="*/ 328470 h 422340"/>
                <a:gd name="connsiteX626" fmla="*/ 169045 w 588693"/>
                <a:gd name="connsiteY626" fmla="*/ 325626 h 422340"/>
                <a:gd name="connsiteX627" fmla="*/ 165536 w 588693"/>
                <a:gd name="connsiteY627" fmla="*/ 325203 h 422340"/>
                <a:gd name="connsiteX628" fmla="*/ 163207 w 588693"/>
                <a:gd name="connsiteY628" fmla="*/ 327200 h 422340"/>
                <a:gd name="connsiteX629" fmla="*/ 163327 w 588693"/>
                <a:gd name="connsiteY629" fmla="*/ 330860 h 422340"/>
                <a:gd name="connsiteX630" fmla="*/ 165899 w 588693"/>
                <a:gd name="connsiteY630" fmla="*/ 333220 h 422340"/>
                <a:gd name="connsiteX631" fmla="*/ 169257 w 588693"/>
                <a:gd name="connsiteY631" fmla="*/ 334974 h 422340"/>
                <a:gd name="connsiteX632" fmla="*/ 171677 w 588693"/>
                <a:gd name="connsiteY632" fmla="*/ 336789 h 422340"/>
                <a:gd name="connsiteX633" fmla="*/ 172948 w 588693"/>
                <a:gd name="connsiteY633" fmla="*/ 340692 h 422340"/>
                <a:gd name="connsiteX634" fmla="*/ 173492 w 588693"/>
                <a:gd name="connsiteY634" fmla="*/ 344080 h 422340"/>
                <a:gd name="connsiteX635" fmla="*/ 173220 w 588693"/>
                <a:gd name="connsiteY635" fmla="*/ 347407 h 422340"/>
                <a:gd name="connsiteX636" fmla="*/ 171889 w 588693"/>
                <a:gd name="connsiteY636" fmla="*/ 351189 h 422340"/>
                <a:gd name="connsiteX637" fmla="*/ 171828 w 588693"/>
                <a:gd name="connsiteY637" fmla="*/ 351582 h 422340"/>
                <a:gd name="connsiteX638" fmla="*/ 171677 w 588693"/>
                <a:gd name="connsiteY638" fmla="*/ 351915 h 422340"/>
                <a:gd name="connsiteX639" fmla="*/ 171314 w 588693"/>
                <a:gd name="connsiteY639" fmla="*/ 353337 h 422340"/>
                <a:gd name="connsiteX640" fmla="*/ 171133 w 588693"/>
                <a:gd name="connsiteY640" fmla="*/ 354819 h 422340"/>
                <a:gd name="connsiteX641" fmla="*/ 171223 w 588693"/>
                <a:gd name="connsiteY641" fmla="*/ 356271 h 422340"/>
                <a:gd name="connsiteX642" fmla="*/ 171647 w 588693"/>
                <a:gd name="connsiteY642" fmla="*/ 357663 h 422340"/>
                <a:gd name="connsiteX643" fmla="*/ 175156 w 588693"/>
                <a:gd name="connsiteY643" fmla="*/ 364439 h 422340"/>
                <a:gd name="connsiteX644" fmla="*/ 176971 w 588693"/>
                <a:gd name="connsiteY644" fmla="*/ 364348 h 422340"/>
                <a:gd name="connsiteX645" fmla="*/ 179149 w 588693"/>
                <a:gd name="connsiteY645" fmla="*/ 363532 h 422340"/>
                <a:gd name="connsiteX646" fmla="*/ 180783 w 588693"/>
                <a:gd name="connsiteY646" fmla="*/ 362594 h 422340"/>
                <a:gd name="connsiteX647" fmla="*/ 182356 w 588693"/>
                <a:gd name="connsiteY647" fmla="*/ 361414 h 422340"/>
                <a:gd name="connsiteX648" fmla="*/ 183747 w 588693"/>
                <a:gd name="connsiteY648" fmla="*/ 360022 h 422340"/>
                <a:gd name="connsiteX649" fmla="*/ 184897 w 588693"/>
                <a:gd name="connsiteY649" fmla="*/ 358298 h 422340"/>
                <a:gd name="connsiteX650" fmla="*/ 187710 w 588693"/>
                <a:gd name="connsiteY650" fmla="*/ 352913 h 422340"/>
                <a:gd name="connsiteX651" fmla="*/ 189041 w 588693"/>
                <a:gd name="connsiteY651" fmla="*/ 351310 h 422340"/>
                <a:gd name="connsiteX652" fmla="*/ 190887 w 588693"/>
                <a:gd name="connsiteY652" fmla="*/ 349888 h 422340"/>
                <a:gd name="connsiteX653" fmla="*/ 196725 w 588693"/>
                <a:gd name="connsiteY653" fmla="*/ 347165 h 422340"/>
                <a:gd name="connsiteX654" fmla="*/ 198359 w 588693"/>
                <a:gd name="connsiteY654" fmla="*/ 345683 h 422340"/>
                <a:gd name="connsiteX655" fmla="*/ 200053 w 588693"/>
                <a:gd name="connsiteY655" fmla="*/ 342083 h 422340"/>
                <a:gd name="connsiteX656" fmla="*/ 201263 w 588693"/>
                <a:gd name="connsiteY656" fmla="*/ 340329 h 422340"/>
                <a:gd name="connsiteX657" fmla="*/ 202049 w 588693"/>
                <a:gd name="connsiteY657" fmla="*/ 339724 h 422340"/>
                <a:gd name="connsiteX658" fmla="*/ 203713 w 588693"/>
                <a:gd name="connsiteY658" fmla="*/ 338877 h 422340"/>
                <a:gd name="connsiteX659" fmla="*/ 204530 w 588693"/>
                <a:gd name="connsiteY659" fmla="*/ 338302 h 422340"/>
                <a:gd name="connsiteX660" fmla="*/ 205105 w 588693"/>
                <a:gd name="connsiteY660" fmla="*/ 337576 h 422340"/>
                <a:gd name="connsiteX661" fmla="*/ 207677 w 588693"/>
                <a:gd name="connsiteY661" fmla="*/ 333462 h 422340"/>
                <a:gd name="connsiteX662" fmla="*/ 209038 w 588693"/>
                <a:gd name="connsiteY662" fmla="*/ 332009 h 422340"/>
                <a:gd name="connsiteX663" fmla="*/ 210550 w 588693"/>
                <a:gd name="connsiteY663" fmla="*/ 330830 h 422340"/>
                <a:gd name="connsiteX664" fmla="*/ 210550 w 588693"/>
                <a:gd name="connsiteY664" fmla="*/ 330830 h 422340"/>
                <a:gd name="connsiteX665" fmla="*/ 212214 w 588693"/>
                <a:gd name="connsiteY665" fmla="*/ 330104 h 422340"/>
                <a:gd name="connsiteX666" fmla="*/ 213818 w 588693"/>
                <a:gd name="connsiteY666" fmla="*/ 330104 h 422340"/>
                <a:gd name="connsiteX667" fmla="*/ 216601 w 588693"/>
                <a:gd name="connsiteY667" fmla="*/ 331223 h 422340"/>
                <a:gd name="connsiteX668" fmla="*/ 218113 w 588693"/>
                <a:gd name="connsiteY668" fmla="*/ 331616 h 422340"/>
                <a:gd name="connsiteX669" fmla="*/ 219323 w 588693"/>
                <a:gd name="connsiteY669" fmla="*/ 331405 h 422340"/>
                <a:gd name="connsiteX670" fmla="*/ 225343 w 588693"/>
                <a:gd name="connsiteY670" fmla="*/ 328289 h 422340"/>
                <a:gd name="connsiteX671" fmla="*/ 226039 w 588693"/>
                <a:gd name="connsiteY671" fmla="*/ 327926 h 422340"/>
                <a:gd name="connsiteX672" fmla="*/ 227098 w 588693"/>
                <a:gd name="connsiteY672" fmla="*/ 326776 h 422340"/>
                <a:gd name="connsiteX673" fmla="*/ 227612 w 588693"/>
                <a:gd name="connsiteY673" fmla="*/ 325868 h 422340"/>
                <a:gd name="connsiteX674" fmla="*/ 229306 w 588693"/>
                <a:gd name="connsiteY674" fmla="*/ 321361 h 422340"/>
                <a:gd name="connsiteX675" fmla="*/ 232936 w 588693"/>
                <a:gd name="connsiteY675" fmla="*/ 316006 h 422340"/>
                <a:gd name="connsiteX676" fmla="*/ 233299 w 588693"/>
                <a:gd name="connsiteY676" fmla="*/ 314827 h 422340"/>
                <a:gd name="connsiteX677" fmla="*/ 234298 w 588693"/>
                <a:gd name="connsiteY677" fmla="*/ 313798 h 422340"/>
                <a:gd name="connsiteX678" fmla="*/ 239107 w 588693"/>
                <a:gd name="connsiteY678" fmla="*/ 311075 h 422340"/>
                <a:gd name="connsiteX679" fmla="*/ 249151 w 588693"/>
                <a:gd name="connsiteY679" fmla="*/ 307506 h 422340"/>
                <a:gd name="connsiteX680" fmla="*/ 250300 w 588693"/>
                <a:gd name="connsiteY680" fmla="*/ 306901 h 422340"/>
                <a:gd name="connsiteX681" fmla="*/ 253325 w 588693"/>
                <a:gd name="connsiteY681" fmla="*/ 305328 h 422340"/>
                <a:gd name="connsiteX682" fmla="*/ 256653 w 588693"/>
                <a:gd name="connsiteY682" fmla="*/ 302212 h 422340"/>
                <a:gd name="connsiteX683" fmla="*/ 256653 w 588693"/>
                <a:gd name="connsiteY683" fmla="*/ 302212 h 422340"/>
                <a:gd name="connsiteX684" fmla="*/ 261675 w 588693"/>
                <a:gd name="connsiteY684" fmla="*/ 296283 h 422340"/>
                <a:gd name="connsiteX685" fmla="*/ 264973 w 588693"/>
                <a:gd name="connsiteY685" fmla="*/ 293741 h 422340"/>
                <a:gd name="connsiteX686" fmla="*/ 269147 w 588693"/>
                <a:gd name="connsiteY686" fmla="*/ 291594 h 422340"/>
                <a:gd name="connsiteX687" fmla="*/ 276196 w 588693"/>
                <a:gd name="connsiteY687" fmla="*/ 289385 h 422340"/>
                <a:gd name="connsiteX688" fmla="*/ 278465 w 588693"/>
                <a:gd name="connsiteY688" fmla="*/ 289143 h 422340"/>
                <a:gd name="connsiteX689" fmla="*/ 279765 w 588693"/>
                <a:gd name="connsiteY689" fmla="*/ 288327 h 422340"/>
                <a:gd name="connsiteX690" fmla="*/ 285089 w 588693"/>
                <a:gd name="connsiteY690" fmla="*/ 283365 h 422340"/>
                <a:gd name="connsiteX691" fmla="*/ 286905 w 588693"/>
                <a:gd name="connsiteY691" fmla="*/ 282427 h 422340"/>
                <a:gd name="connsiteX692" fmla="*/ 299005 w 588693"/>
                <a:gd name="connsiteY692" fmla="*/ 276165 h 422340"/>
                <a:gd name="connsiteX693" fmla="*/ 303331 w 588693"/>
                <a:gd name="connsiteY693" fmla="*/ 272112 h 422340"/>
                <a:gd name="connsiteX694" fmla="*/ 304904 w 588693"/>
                <a:gd name="connsiteY694" fmla="*/ 270629 h 422340"/>
                <a:gd name="connsiteX695" fmla="*/ 306841 w 588693"/>
                <a:gd name="connsiteY695" fmla="*/ 269389 h 422340"/>
                <a:gd name="connsiteX696" fmla="*/ 309230 w 588693"/>
                <a:gd name="connsiteY696" fmla="*/ 268784 h 422340"/>
                <a:gd name="connsiteX697" fmla="*/ 316884 w 588693"/>
                <a:gd name="connsiteY697" fmla="*/ 268935 h 422340"/>
                <a:gd name="connsiteX698" fmla="*/ 318125 w 588693"/>
                <a:gd name="connsiteY698" fmla="*/ 268663 h 422340"/>
                <a:gd name="connsiteX699" fmla="*/ 319183 w 588693"/>
                <a:gd name="connsiteY699" fmla="*/ 267755 h 422340"/>
                <a:gd name="connsiteX700" fmla="*/ 320333 w 588693"/>
                <a:gd name="connsiteY700" fmla="*/ 266152 h 422340"/>
                <a:gd name="connsiteX701" fmla="*/ 320363 w 588693"/>
                <a:gd name="connsiteY701" fmla="*/ 266152 h 422340"/>
                <a:gd name="connsiteX702" fmla="*/ 321724 w 588693"/>
                <a:gd name="connsiteY702" fmla="*/ 266485 h 422340"/>
                <a:gd name="connsiteX703" fmla="*/ 323660 w 588693"/>
                <a:gd name="connsiteY703" fmla="*/ 267725 h 422340"/>
                <a:gd name="connsiteX704" fmla="*/ 329831 w 588693"/>
                <a:gd name="connsiteY704" fmla="*/ 273019 h 422340"/>
                <a:gd name="connsiteX705" fmla="*/ 346742 w 588693"/>
                <a:gd name="connsiteY705" fmla="*/ 291684 h 422340"/>
                <a:gd name="connsiteX706" fmla="*/ 353640 w 588693"/>
                <a:gd name="connsiteY706" fmla="*/ 297553 h 422340"/>
                <a:gd name="connsiteX707" fmla="*/ 356483 w 588693"/>
                <a:gd name="connsiteY707" fmla="*/ 301123 h 422340"/>
                <a:gd name="connsiteX708" fmla="*/ 358691 w 588693"/>
                <a:gd name="connsiteY708" fmla="*/ 305418 h 422340"/>
                <a:gd name="connsiteX709" fmla="*/ 357632 w 588693"/>
                <a:gd name="connsiteY709" fmla="*/ 305721 h 422340"/>
                <a:gd name="connsiteX710" fmla="*/ 355031 w 588693"/>
                <a:gd name="connsiteY710" fmla="*/ 306477 h 422340"/>
                <a:gd name="connsiteX711" fmla="*/ 349737 w 588693"/>
                <a:gd name="connsiteY711" fmla="*/ 309775 h 422340"/>
                <a:gd name="connsiteX712" fmla="*/ 343445 w 588693"/>
                <a:gd name="connsiteY712" fmla="*/ 310924 h 422340"/>
                <a:gd name="connsiteX713" fmla="*/ 340057 w 588693"/>
                <a:gd name="connsiteY713" fmla="*/ 312558 h 422340"/>
                <a:gd name="connsiteX714" fmla="*/ 337123 w 588693"/>
                <a:gd name="connsiteY714" fmla="*/ 315129 h 422340"/>
                <a:gd name="connsiteX715" fmla="*/ 335277 w 588693"/>
                <a:gd name="connsiteY715" fmla="*/ 318517 h 422340"/>
                <a:gd name="connsiteX716" fmla="*/ 335095 w 588693"/>
                <a:gd name="connsiteY716" fmla="*/ 322601 h 422340"/>
                <a:gd name="connsiteX717" fmla="*/ 336456 w 588693"/>
                <a:gd name="connsiteY717" fmla="*/ 325808 h 422340"/>
                <a:gd name="connsiteX718" fmla="*/ 338907 w 588693"/>
                <a:gd name="connsiteY718" fmla="*/ 329015 h 422340"/>
                <a:gd name="connsiteX719" fmla="*/ 344625 w 588693"/>
                <a:gd name="connsiteY719" fmla="*/ 334127 h 422340"/>
                <a:gd name="connsiteX720" fmla="*/ 350372 w 588693"/>
                <a:gd name="connsiteY720" fmla="*/ 336305 h 422340"/>
                <a:gd name="connsiteX721" fmla="*/ 351885 w 588693"/>
                <a:gd name="connsiteY721" fmla="*/ 337667 h 422340"/>
                <a:gd name="connsiteX722" fmla="*/ 354940 w 588693"/>
                <a:gd name="connsiteY722" fmla="*/ 343656 h 422340"/>
                <a:gd name="connsiteX723" fmla="*/ 355454 w 588693"/>
                <a:gd name="connsiteY723" fmla="*/ 345169 h 422340"/>
                <a:gd name="connsiteX724" fmla="*/ 355454 w 588693"/>
                <a:gd name="connsiteY724" fmla="*/ 346802 h 422340"/>
                <a:gd name="connsiteX725" fmla="*/ 354940 w 588693"/>
                <a:gd name="connsiteY725" fmla="*/ 348406 h 422340"/>
                <a:gd name="connsiteX726" fmla="*/ 354940 w 588693"/>
                <a:gd name="connsiteY726" fmla="*/ 348466 h 422340"/>
                <a:gd name="connsiteX727" fmla="*/ 354154 w 588693"/>
                <a:gd name="connsiteY727" fmla="*/ 350009 h 422340"/>
                <a:gd name="connsiteX728" fmla="*/ 353246 w 588693"/>
                <a:gd name="connsiteY728" fmla="*/ 351249 h 422340"/>
                <a:gd name="connsiteX729" fmla="*/ 353216 w 588693"/>
                <a:gd name="connsiteY729" fmla="*/ 351249 h 422340"/>
                <a:gd name="connsiteX730" fmla="*/ 349072 w 588693"/>
                <a:gd name="connsiteY730" fmla="*/ 353639 h 422340"/>
                <a:gd name="connsiteX731" fmla="*/ 330497 w 588693"/>
                <a:gd name="connsiteY731" fmla="*/ 356664 h 422340"/>
                <a:gd name="connsiteX732" fmla="*/ 330134 w 588693"/>
                <a:gd name="connsiteY732" fmla="*/ 357451 h 422340"/>
                <a:gd name="connsiteX733" fmla="*/ 330134 w 588693"/>
                <a:gd name="connsiteY733" fmla="*/ 358328 h 422340"/>
                <a:gd name="connsiteX734" fmla="*/ 329862 w 588693"/>
                <a:gd name="connsiteY734" fmla="*/ 359115 h 422340"/>
                <a:gd name="connsiteX735" fmla="*/ 324568 w 588693"/>
                <a:gd name="connsiteY735" fmla="*/ 362110 h 422340"/>
                <a:gd name="connsiteX736" fmla="*/ 323630 w 588693"/>
                <a:gd name="connsiteY736" fmla="*/ 363441 h 422340"/>
                <a:gd name="connsiteX737" fmla="*/ 323872 w 588693"/>
                <a:gd name="connsiteY737" fmla="*/ 368311 h 422340"/>
                <a:gd name="connsiteX738" fmla="*/ 325868 w 588693"/>
                <a:gd name="connsiteY738" fmla="*/ 371699 h 422340"/>
                <a:gd name="connsiteX739" fmla="*/ 332403 w 588693"/>
                <a:gd name="connsiteY739" fmla="*/ 376509 h 422340"/>
                <a:gd name="connsiteX740" fmla="*/ 345744 w 588693"/>
                <a:gd name="connsiteY740" fmla="*/ 382560 h 422340"/>
                <a:gd name="connsiteX741" fmla="*/ 346985 w 588693"/>
                <a:gd name="connsiteY741" fmla="*/ 383558 h 422340"/>
                <a:gd name="connsiteX742" fmla="*/ 347256 w 588693"/>
                <a:gd name="connsiteY742" fmla="*/ 384526 h 422340"/>
                <a:gd name="connsiteX743" fmla="*/ 347711 w 588693"/>
                <a:gd name="connsiteY743" fmla="*/ 386220 h 422340"/>
                <a:gd name="connsiteX744" fmla="*/ 347317 w 588693"/>
                <a:gd name="connsiteY744" fmla="*/ 388519 h 422340"/>
                <a:gd name="connsiteX745" fmla="*/ 347499 w 588693"/>
                <a:gd name="connsiteY745" fmla="*/ 390516 h 422340"/>
                <a:gd name="connsiteX746" fmla="*/ 352369 w 588693"/>
                <a:gd name="connsiteY746" fmla="*/ 394116 h 422340"/>
                <a:gd name="connsiteX747" fmla="*/ 353942 w 588693"/>
                <a:gd name="connsiteY747" fmla="*/ 396264 h 422340"/>
                <a:gd name="connsiteX748" fmla="*/ 355757 w 588693"/>
                <a:gd name="connsiteY748" fmla="*/ 397837 h 422340"/>
                <a:gd name="connsiteX749" fmla="*/ 358843 w 588693"/>
                <a:gd name="connsiteY749" fmla="*/ 397927 h 422340"/>
                <a:gd name="connsiteX750" fmla="*/ 363955 w 588693"/>
                <a:gd name="connsiteY750" fmla="*/ 395749 h 422340"/>
                <a:gd name="connsiteX751" fmla="*/ 366315 w 588693"/>
                <a:gd name="connsiteY751" fmla="*/ 395749 h 422340"/>
                <a:gd name="connsiteX752" fmla="*/ 367464 w 588693"/>
                <a:gd name="connsiteY752" fmla="*/ 398290 h 422340"/>
                <a:gd name="connsiteX753" fmla="*/ 368190 w 588693"/>
                <a:gd name="connsiteY753" fmla="*/ 401406 h 422340"/>
                <a:gd name="connsiteX754" fmla="*/ 369461 w 588693"/>
                <a:gd name="connsiteY754" fmla="*/ 403010 h 422340"/>
                <a:gd name="connsiteX755" fmla="*/ 371095 w 588693"/>
                <a:gd name="connsiteY755" fmla="*/ 404371 h 422340"/>
                <a:gd name="connsiteX756" fmla="*/ 372758 w 588693"/>
                <a:gd name="connsiteY756" fmla="*/ 406761 h 422340"/>
                <a:gd name="connsiteX757" fmla="*/ 374452 w 588693"/>
                <a:gd name="connsiteY757" fmla="*/ 408455 h 422340"/>
                <a:gd name="connsiteX758" fmla="*/ 375965 w 588693"/>
                <a:gd name="connsiteY758" fmla="*/ 410421 h 422340"/>
                <a:gd name="connsiteX759" fmla="*/ 378476 w 588693"/>
                <a:gd name="connsiteY759" fmla="*/ 413325 h 422340"/>
                <a:gd name="connsiteX760" fmla="*/ 379777 w 588693"/>
                <a:gd name="connsiteY760" fmla="*/ 414838 h 422340"/>
                <a:gd name="connsiteX761" fmla="*/ 382530 w 588693"/>
                <a:gd name="connsiteY761" fmla="*/ 419073 h 422340"/>
                <a:gd name="connsiteX762" fmla="*/ 385766 w 588693"/>
                <a:gd name="connsiteY762" fmla="*/ 421947 h 422340"/>
                <a:gd name="connsiteX763" fmla="*/ 386281 w 588693"/>
                <a:gd name="connsiteY763" fmla="*/ 421947 h 422340"/>
                <a:gd name="connsiteX764" fmla="*/ 390909 w 588693"/>
                <a:gd name="connsiteY764" fmla="*/ 422340 h 422340"/>
                <a:gd name="connsiteX765" fmla="*/ 393329 w 588693"/>
                <a:gd name="connsiteY765" fmla="*/ 421705 h 422340"/>
                <a:gd name="connsiteX766" fmla="*/ 396052 w 588693"/>
                <a:gd name="connsiteY766" fmla="*/ 420646 h 422340"/>
                <a:gd name="connsiteX767" fmla="*/ 398593 w 588693"/>
                <a:gd name="connsiteY767" fmla="*/ 419164 h 422340"/>
                <a:gd name="connsiteX768" fmla="*/ 400590 w 588693"/>
                <a:gd name="connsiteY768" fmla="*/ 417318 h 422340"/>
                <a:gd name="connsiteX769" fmla="*/ 402859 w 588693"/>
                <a:gd name="connsiteY769" fmla="*/ 416199 h 422340"/>
                <a:gd name="connsiteX770" fmla="*/ 406065 w 588693"/>
                <a:gd name="connsiteY770" fmla="*/ 416199 h 422340"/>
                <a:gd name="connsiteX771" fmla="*/ 412569 w 588693"/>
                <a:gd name="connsiteY771" fmla="*/ 417470 h 422340"/>
                <a:gd name="connsiteX772" fmla="*/ 412569 w 588693"/>
                <a:gd name="connsiteY772" fmla="*/ 417470 h 422340"/>
                <a:gd name="connsiteX773" fmla="*/ 411995 w 588693"/>
                <a:gd name="connsiteY773" fmla="*/ 397595 h 422340"/>
                <a:gd name="connsiteX774" fmla="*/ 411450 w 588693"/>
                <a:gd name="connsiteY774" fmla="*/ 379383 h 422340"/>
                <a:gd name="connsiteX775" fmla="*/ 409030 w 588693"/>
                <a:gd name="connsiteY775" fmla="*/ 373847 h 422340"/>
                <a:gd name="connsiteX776" fmla="*/ 408576 w 588693"/>
                <a:gd name="connsiteY776" fmla="*/ 371972 h 422340"/>
                <a:gd name="connsiteX777" fmla="*/ 408364 w 588693"/>
                <a:gd name="connsiteY777" fmla="*/ 370036 h 422340"/>
                <a:gd name="connsiteX778" fmla="*/ 408304 w 588693"/>
                <a:gd name="connsiteY778" fmla="*/ 365831 h 422340"/>
                <a:gd name="connsiteX779" fmla="*/ 411934 w 588693"/>
                <a:gd name="connsiteY779" fmla="*/ 366708 h 422340"/>
                <a:gd name="connsiteX780" fmla="*/ 414778 w 588693"/>
                <a:gd name="connsiteY780" fmla="*/ 363501 h 422340"/>
                <a:gd name="connsiteX781" fmla="*/ 415020 w 588693"/>
                <a:gd name="connsiteY781" fmla="*/ 363229 h 422340"/>
                <a:gd name="connsiteX782" fmla="*/ 416986 w 588693"/>
                <a:gd name="connsiteY782" fmla="*/ 358994 h 422340"/>
                <a:gd name="connsiteX783" fmla="*/ 417349 w 588693"/>
                <a:gd name="connsiteY783" fmla="*/ 358207 h 422340"/>
                <a:gd name="connsiteX784" fmla="*/ 420041 w 588693"/>
                <a:gd name="connsiteY784" fmla="*/ 349707 h 422340"/>
                <a:gd name="connsiteX785" fmla="*/ 420465 w 588693"/>
                <a:gd name="connsiteY785" fmla="*/ 346802 h 422340"/>
                <a:gd name="connsiteX786" fmla="*/ 418832 w 588693"/>
                <a:gd name="connsiteY786" fmla="*/ 344231 h 422340"/>
                <a:gd name="connsiteX787" fmla="*/ 418468 w 588693"/>
                <a:gd name="connsiteY787" fmla="*/ 341327 h 422340"/>
                <a:gd name="connsiteX788" fmla="*/ 418680 w 588693"/>
                <a:gd name="connsiteY788" fmla="*/ 335761 h 422340"/>
                <a:gd name="connsiteX789" fmla="*/ 418922 w 588693"/>
                <a:gd name="connsiteY789" fmla="*/ 335640 h 422340"/>
                <a:gd name="connsiteX790" fmla="*/ 419406 w 588693"/>
                <a:gd name="connsiteY790" fmla="*/ 335640 h 422340"/>
                <a:gd name="connsiteX791" fmla="*/ 419890 w 588693"/>
                <a:gd name="connsiteY791" fmla="*/ 335398 h 422340"/>
                <a:gd name="connsiteX792" fmla="*/ 420102 w 588693"/>
                <a:gd name="connsiteY792" fmla="*/ 334490 h 422340"/>
                <a:gd name="connsiteX793" fmla="*/ 420041 w 588693"/>
                <a:gd name="connsiteY793" fmla="*/ 333189 h 422340"/>
                <a:gd name="connsiteX794" fmla="*/ 420132 w 588693"/>
                <a:gd name="connsiteY794" fmla="*/ 332584 h 422340"/>
                <a:gd name="connsiteX795" fmla="*/ 420979 w 588693"/>
                <a:gd name="connsiteY795" fmla="*/ 330860 h 422340"/>
                <a:gd name="connsiteX796" fmla="*/ 421372 w 588693"/>
                <a:gd name="connsiteY796" fmla="*/ 329650 h 422340"/>
                <a:gd name="connsiteX797" fmla="*/ 421947 w 588693"/>
                <a:gd name="connsiteY797" fmla="*/ 328712 h 422340"/>
                <a:gd name="connsiteX798" fmla="*/ 423157 w 588693"/>
                <a:gd name="connsiteY798" fmla="*/ 328319 h 422340"/>
                <a:gd name="connsiteX799" fmla="*/ 427453 w 588693"/>
                <a:gd name="connsiteY799" fmla="*/ 328198 h 422340"/>
                <a:gd name="connsiteX800" fmla="*/ 429359 w 588693"/>
                <a:gd name="connsiteY800" fmla="*/ 328652 h 422340"/>
                <a:gd name="connsiteX801" fmla="*/ 431143 w 588693"/>
                <a:gd name="connsiteY801" fmla="*/ 330013 h 422340"/>
                <a:gd name="connsiteX802" fmla="*/ 431507 w 588693"/>
                <a:gd name="connsiteY802" fmla="*/ 331374 h 422340"/>
                <a:gd name="connsiteX803" fmla="*/ 432112 w 588693"/>
                <a:gd name="connsiteY803" fmla="*/ 336245 h 422340"/>
                <a:gd name="connsiteX804" fmla="*/ 432112 w 588693"/>
                <a:gd name="connsiteY804" fmla="*/ 337304 h 422340"/>
                <a:gd name="connsiteX805" fmla="*/ 436922 w 588693"/>
                <a:gd name="connsiteY805" fmla="*/ 337425 h 422340"/>
                <a:gd name="connsiteX806" fmla="*/ 438949 w 588693"/>
                <a:gd name="connsiteY806" fmla="*/ 338362 h 422340"/>
                <a:gd name="connsiteX807" fmla="*/ 440068 w 588693"/>
                <a:gd name="connsiteY807" fmla="*/ 340601 h 422340"/>
                <a:gd name="connsiteX808" fmla="*/ 439977 w 588693"/>
                <a:gd name="connsiteY808" fmla="*/ 342991 h 422340"/>
                <a:gd name="connsiteX809" fmla="*/ 439161 w 588693"/>
                <a:gd name="connsiteY809" fmla="*/ 345350 h 422340"/>
                <a:gd name="connsiteX810" fmla="*/ 437829 w 588693"/>
                <a:gd name="connsiteY810" fmla="*/ 347165 h 422340"/>
                <a:gd name="connsiteX811" fmla="*/ 436286 w 588693"/>
                <a:gd name="connsiteY811" fmla="*/ 347892 h 422340"/>
                <a:gd name="connsiteX812" fmla="*/ 431748 w 588693"/>
                <a:gd name="connsiteY812" fmla="*/ 348708 h 422340"/>
                <a:gd name="connsiteX813" fmla="*/ 430781 w 588693"/>
                <a:gd name="connsiteY813" fmla="*/ 349616 h 422340"/>
                <a:gd name="connsiteX814" fmla="*/ 430660 w 588693"/>
                <a:gd name="connsiteY814" fmla="*/ 350402 h 422340"/>
                <a:gd name="connsiteX815" fmla="*/ 430660 w 588693"/>
                <a:gd name="connsiteY815" fmla="*/ 351370 h 422340"/>
                <a:gd name="connsiteX816" fmla="*/ 430357 w 588693"/>
                <a:gd name="connsiteY816" fmla="*/ 352762 h 422340"/>
                <a:gd name="connsiteX817" fmla="*/ 433171 w 588693"/>
                <a:gd name="connsiteY817" fmla="*/ 354849 h 422340"/>
                <a:gd name="connsiteX818" fmla="*/ 437133 w 588693"/>
                <a:gd name="connsiteY818" fmla="*/ 353427 h 422340"/>
                <a:gd name="connsiteX819" fmla="*/ 444696 w 588693"/>
                <a:gd name="connsiteY819" fmla="*/ 348557 h 422340"/>
                <a:gd name="connsiteX820" fmla="*/ 445634 w 588693"/>
                <a:gd name="connsiteY820" fmla="*/ 346439 h 422340"/>
                <a:gd name="connsiteX821" fmla="*/ 446088 w 588693"/>
                <a:gd name="connsiteY821" fmla="*/ 343929 h 422340"/>
                <a:gd name="connsiteX822" fmla="*/ 446390 w 588693"/>
                <a:gd name="connsiteY822" fmla="*/ 339724 h 422340"/>
                <a:gd name="connsiteX823" fmla="*/ 446874 w 588693"/>
                <a:gd name="connsiteY823" fmla="*/ 337878 h 422340"/>
                <a:gd name="connsiteX824" fmla="*/ 448297 w 588693"/>
                <a:gd name="connsiteY824" fmla="*/ 334036 h 422340"/>
                <a:gd name="connsiteX825" fmla="*/ 448750 w 588693"/>
                <a:gd name="connsiteY825" fmla="*/ 331949 h 422340"/>
                <a:gd name="connsiteX826" fmla="*/ 449113 w 588693"/>
                <a:gd name="connsiteY826" fmla="*/ 330376 h 422340"/>
                <a:gd name="connsiteX827" fmla="*/ 449023 w 588693"/>
                <a:gd name="connsiteY827" fmla="*/ 317368 h 422340"/>
                <a:gd name="connsiteX828" fmla="*/ 450051 w 588693"/>
                <a:gd name="connsiteY828" fmla="*/ 313586 h 422340"/>
                <a:gd name="connsiteX829" fmla="*/ 452653 w 588693"/>
                <a:gd name="connsiteY829" fmla="*/ 310501 h 422340"/>
                <a:gd name="connsiteX830" fmla="*/ 456010 w 588693"/>
                <a:gd name="connsiteY830" fmla="*/ 309321 h 422340"/>
                <a:gd name="connsiteX831" fmla="*/ 461184 w 588693"/>
                <a:gd name="connsiteY831" fmla="*/ 312467 h 422340"/>
                <a:gd name="connsiteX832" fmla="*/ 462454 w 588693"/>
                <a:gd name="connsiteY832" fmla="*/ 314161 h 422340"/>
                <a:gd name="connsiteX833" fmla="*/ 463876 w 588693"/>
                <a:gd name="connsiteY833" fmla="*/ 315613 h 422340"/>
                <a:gd name="connsiteX834" fmla="*/ 466145 w 588693"/>
                <a:gd name="connsiteY834" fmla="*/ 316127 h 422340"/>
                <a:gd name="connsiteX835" fmla="*/ 466145 w 588693"/>
                <a:gd name="connsiteY835" fmla="*/ 315250 h 422340"/>
                <a:gd name="connsiteX836" fmla="*/ 464571 w 588693"/>
                <a:gd name="connsiteY836" fmla="*/ 314222 h 422340"/>
                <a:gd name="connsiteX837" fmla="*/ 463331 w 588693"/>
                <a:gd name="connsiteY837" fmla="*/ 312497 h 422340"/>
                <a:gd name="connsiteX838" fmla="*/ 462484 w 588693"/>
                <a:gd name="connsiteY838" fmla="*/ 310531 h 422340"/>
                <a:gd name="connsiteX839" fmla="*/ 462121 w 588693"/>
                <a:gd name="connsiteY839" fmla="*/ 308777 h 422340"/>
                <a:gd name="connsiteX840" fmla="*/ 462726 w 588693"/>
                <a:gd name="connsiteY840" fmla="*/ 308777 h 422340"/>
                <a:gd name="connsiteX841" fmla="*/ 463301 w 588693"/>
                <a:gd name="connsiteY841" fmla="*/ 309805 h 422340"/>
                <a:gd name="connsiteX842" fmla="*/ 463997 w 588693"/>
                <a:gd name="connsiteY842" fmla="*/ 310682 h 422340"/>
                <a:gd name="connsiteX843" fmla="*/ 464935 w 588693"/>
                <a:gd name="connsiteY843" fmla="*/ 311438 h 422340"/>
                <a:gd name="connsiteX844" fmla="*/ 466175 w 588693"/>
                <a:gd name="connsiteY844" fmla="*/ 312013 h 422340"/>
                <a:gd name="connsiteX845" fmla="*/ 465328 w 588693"/>
                <a:gd name="connsiteY845" fmla="*/ 310652 h 422340"/>
                <a:gd name="connsiteX846" fmla="*/ 465176 w 588693"/>
                <a:gd name="connsiteY846" fmla="*/ 309442 h 422340"/>
                <a:gd name="connsiteX847" fmla="*/ 465812 w 588693"/>
                <a:gd name="connsiteY847" fmla="*/ 305449 h 422340"/>
                <a:gd name="connsiteX848" fmla="*/ 466266 w 588693"/>
                <a:gd name="connsiteY848" fmla="*/ 305025 h 422340"/>
                <a:gd name="connsiteX849" fmla="*/ 466357 w 588693"/>
                <a:gd name="connsiteY849" fmla="*/ 304511 h 422340"/>
                <a:gd name="connsiteX850" fmla="*/ 465540 w 588693"/>
                <a:gd name="connsiteY850" fmla="*/ 302968 h 422340"/>
                <a:gd name="connsiteX851" fmla="*/ 464299 w 588693"/>
                <a:gd name="connsiteY851" fmla="*/ 301607 h 422340"/>
                <a:gd name="connsiteX852" fmla="*/ 454952 w 588693"/>
                <a:gd name="connsiteY852" fmla="*/ 293741 h 422340"/>
                <a:gd name="connsiteX853" fmla="*/ 453923 w 588693"/>
                <a:gd name="connsiteY853" fmla="*/ 291533 h 422340"/>
                <a:gd name="connsiteX854" fmla="*/ 453832 w 588693"/>
                <a:gd name="connsiteY854" fmla="*/ 288296 h 422340"/>
                <a:gd name="connsiteX855" fmla="*/ 454256 w 588693"/>
                <a:gd name="connsiteY855" fmla="*/ 285876 h 422340"/>
                <a:gd name="connsiteX856" fmla="*/ 455043 w 588693"/>
                <a:gd name="connsiteY856" fmla="*/ 283093 h 422340"/>
                <a:gd name="connsiteX857" fmla="*/ 456071 w 588693"/>
                <a:gd name="connsiteY857" fmla="*/ 280461 h 422340"/>
                <a:gd name="connsiteX858" fmla="*/ 457251 w 588693"/>
                <a:gd name="connsiteY858" fmla="*/ 278465 h 422340"/>
                <a:gd name="connsiteX859" fmla="*/ 457160 w 588693"/>
                <a:gd name="connsiteY859" fmla="*/ 276407 h 422340"/>
                <a:gd name="connsiteX860" fmla="*/ 459065 w 588693"/>
                <a:gd name="connsiteY860" fmla="*/ 273412 h 422340"/>
                <a:gd name="connsiteX861" fmla="*/ 461244 w 588693"/>
                <a:gd name="connsiteY861" fmla="*/ 270992 h 422340"/>
                <a:gd name="connsiteX862" fmla="*/ 463785 w 588693"/>
                <a:gd name="connsiteY862" fmla="*/ 268149 h 422340"/>
                <a:gd name="connsiteX863" fmla="*/ 466387 w 588693"/>
                <a:gd name="connsiteY863" fmla="*/ 266818 h 422340"/>
                <a:gd name="connsiteX864" fmla="*/ 467778 w 588693"/>
                <a:gd name="connsiteY864" fmla="*/ 265850 h 422340"/>
                <a:gd name="connsiteX865" fmla="*/ 467899 w 588693"/>
                <a:gd name="connsiteY865" fmla="*/ 264821 h 422340"/>
                <a:gd name="connsiteX866" fmla="*/ 465600 w 588693"/>
                <a:gd name="connsiteY866" fmla="*/ 261887 h 422340"/>
                <a:gd name="connsiteX867" fmla="*/ 465025 w 588693"/>
                <a:gd name="connsiteY867" fmla="*/ 260253 h 422340"/>
                <a:gd name="connsiteX868" fmla="*/ 465479 w 588693"/>
                <a:gd name="connsiteY868" fmla="*/ 258680 h 422340"/>
                <a:gd name="connsiteX869" fmla="*/ 464905 w 588693"/>
                <a:gd name="connsiteY869" fmla="*/ 257863 h 422340"/>
                <a:gd name="connsiteX870" fmla="*/ 464905 w 588693"/>
                <a:gd name="connsiteY870" fmla="*/ 257107 h 422340"/>
                <a:gd name="connsiteX871" fmla="*/ 465479 w 588693"/>
                <a:gd name="connsiteY871" fmla="*/ 255413 h 422340"/>
                <a:gd name="connsiteX872" fmla="*/ 467113 w 588693"/>
                <a:gd name="connsiteY872" fmla="*/ 254294 h 422340"/>
                <a:gd name="connsiteX873" fmla="*/ 467536 w 588693"/>
                <a:gd name="connsiteY873" fmla="*/ 253749 h 422340"/>
                <a:gd name="connsiteX874" fmla="*/ 467627 w 588693"/>
                <a:gd name="connsiteY874" fmla="*/ 252902 h 422340"/>
                <a:gd name="connsiteX875" fmla="*/ 467354 w 588693"/>
                <a:gd name="connsiteY875" fmla="*/ 252176 h 422340"/>
                <a:gd name="connsiteX876" fmla="*/ 467022 w 588693"/>
                <a:gd name="connsiteY876" fmla="*/ 251541 h 422340"/>
                <a:gd name="connsiteX877" fmla="*/ 466840 w 588693"/>
                <a:gd name="connsiteY877" fmla="*/ 250875 h 422340"/>
                <a:gd name="connsiteX878" fmla="*/ 467052 w 588693"/>
                <a:gd name="connsiteY878" fmla="*/ 249726 h 422340"/>
                <a:gd name="connsiteX879" fmla="*/ 467597 w 588693"/>
                <a:gd name="connsiteY879" fmla="*/ 249060 h 422340"/>
                <a:gd name="connsiteX880" fmla="*/ 468353 w 588693"/>
                <a:gd name="connsiteY880" fmla="*/ 248485 h 422340"/>
                <a:gd name="connsiteX881" fmla="*/ 469230 w 588693"/>
                <a:gd name="connsiteY881" fmla="*/ 247578 h 422340"/>
                <a:gd name="connsiteX882" fmla="*/ 469684 w 588693"/>
                <a:gd name="connsiteY882" fmla="*/ 246186 h 422340"/>
                <a:gd name="connsiteX883" fmla="*/ 469321 w 588693"/>
                <a:gd name="connsiteY883" fmla="*/ 244795 h 422340"/>
                <a:gd name="connsiteX884" fmla="*/ 468171 w 588693"/>
                <a:gd name="connsiteY884" fmla="*/ 242223 h 422340"/>
                <a:gd name="connsiteX885" fmla="*/ 467657 w 588693"/>
                <a:gd name="connsiteY885" fmla="*/ 239803 h 422340"/>
                <a:gd name="connsiteX886" fmla="*/ 467718 w 588693"/>
                <a:gd name="connsiteY886" fmla="*/ 238714 h 422340"/>
                <a:gd name="connsiteX887" fmla="*/ 468171 w 588693"/>
                <a:gd name="connsiteY887" fmla="*/ 237262 h 422340"/>
                <a:gd name="connsiteX888" fmla="*/ 468897 w 588693"/>
                <a:gd name="connsiteY888" fmla="*/ 236022 h 422340"/>
                <a:gd name="connsiteX889" fmla="*/ 469654 w 588693"/>
                <a:gd name="connsiteY889" fmla="*/ 235507 h 422340"/>
                <a:gd name="connsiteX890" fmla="*/ 470440 w 588693"/>
                <a:gd name="connsiteY890" fmla="*/ 235144 h 422340"/>
                <a:gd name="connsiteX891" fmla="*/ 472195 w 588693"/>
                <a:gd name="connsiteY891" fmla="*/ 233632 h 422340"/>
                <a:gd name="connsiteX892" fmla="*/ 473193 w 588693"/>
                <a:gd name="connsiteY892" fmla="*/ 233027 h 422340"/>
                <a:gd name="connsiteX893" fmla="*/ 473768 w 588693"/>
                <a:gd name="connsiteY893" fmla="*/ 232271 h 422340"/>
                <a:gd name="connsiteX894" fmla="*/ 473344 w 588693"/>
                <a:gd name="connsiteY894" fmla="*/ 231030 h 422340"/>
                <a:gd name="connsiteX895" fmla="*/ 472558 w 588693"/>
                <a:gd name="connsiteY895" fmla="*/ 230123 h 422340"/>
                <a:gd name="connsiteX896" fmla="*/ 471106 w 588693"/>
                <a:gd name="connsiteY896" fmla="*/ 229094 h 422340"/>
                <a:gd name="connsiteX897" fmla="*/ 470199 w 588693"/>
                <a:gd name="connsiteY897" fmla="*/ 228187 h 422340"/>
                <a:gd name="connsiteX898" fmla="*/ 468806 w 588693"/>
                <a:gd name="connsiteY898" fmla="*/ 225736 h 422340"/>
                <a:gd name="connsiteX899" fmla="*/ 468565 w 588693"/>
                <a:gd name="connsiteY899" fmla="*/ 223316 h 422340"/>
                <a:gd name="connsiteX900" fmla="*/ 469563 w 588693"/>
                <a:gd name="connsiteY900" fmla="*/ 221440 h 422340"/>
                <a:gd name="connsiteX901" fmla="*/ 474978 w 588693"/>
                <a:gd name="connsiteY901" fmla="*/ 219505 h 422340"/>
                <a:gd name="connsiteX902" fmla="*/ 474917 w 588693"/>
                <a:gd name="connsiteY902" fmla="*/ 218204 h 422340"/>
                <a:gd name="connsiteX903" fmla="*/ 474373 w 588693"/>
                <a:gd name="connsiteY903" fmla="*/ 214937 h 422340"/>
                <a:gd name="connsiteX904" fmla="*/ 474585 w 588693"/>
                <a:gd name="connsiteY904" fmla="*/ 212305 h 422340"/>
                <a:gd name="connsiteX905" fmla="*/ 475704 w 588693"/>
                <a:gd name="connsiteY905" fmla="*/ 210973 h 422340"/>
                <a:gd name="connsiteX906" fmla="*/ 477428 w 588693"/>
                <a:gd name="connsiteY906" fmla="*/ 209854 h 422340"/>
                <a:gd name="connsiteX907" fmla="*/ 481301 w 588693"/>
                <a:gd name="connsiteY907" fmla="*/ 205952 h 422340"/>
                <a:gd name="connsiteX908" fmla="*/ 483116 w 588693"/>
                <a:gd name="connsiteY908" fmla="*/ 204742 h 422340"/>
                <a:gd name="connsiteX909" fmla="*/ 490799 w 588693"/>
                <a:gd name="connsiteY909" fmla="*/ 202110 h 422340"/>
                <a:gd name="connsiteX910" fmla="*/ 496669 w 588693"/>
                <a:gd name="connsiteY910" fmla="*/ 198964 h 422340"/>
                <a:gd name="connsiteX911" fmla="*/ 503354 w 588693"/>
                <a:gd name="connsiteY911" fmla="*/ 197572 h 422340"/>
                <a:gd name="connsiteX912" fmla="*/ 507468 w 588693"/>
                <a:gd name="connsiteY912" fmla="*/ 195606 h 422340"/>
                <a:gd name="connsiteX913" fmla="*/ 510312 w 588693"/>
                <a:gd name="connsiteY913" fmla="*/ 192944 h 422340"/>
                <a:gd name="connsiteX914" fmla="*/ 509616 w 588693"/>
                <a:gd name="connsiteY914" fmla="*/ 190070 h 422340"/>
                <a:gd name="connsiteX915" fmla="*/ 512974 w 588693"/>
                <a:gd name="connsiteY915" fmla="*/ 187317 h 422340"/>
                <a:gd name="connsiteX916" fmla="*/ 514970 w 588693"/>
                <a:gd name="connsiteY916" fmla="*/ 186288 h 422340"/>
                <a:gd name="connsiteX917" fmla="*/ 517602 w 588693"/>
                <a:gd name="connsiteY917" fmla="*/ 187619 h 422340"/>
                <a:gd name="connsiteX918" fmla="*/ 520204 w 588693"/>
                <a:gd name="connsiteY918" fmla="*/ 188013 h 422340"/>
                <a:gd name="connsiteX919" fmla="*/ 521263 w 588693"/>
                <a:gd name="connsiteY919" fmla="*/ 188406 h 422340"/>
                <a:gd name="connsiteX920" fmla="*/ 522049 w 588693"/>
                <a:gd name="connsiteY920" fmla="*/ 189223 h 422340"/>
                <a:gd name="connsiteX921" fmla="*/ 523350 w 588693"/>
                <a:gd name="connsiteY921" fmla="*/ 191129 h 422340"/>
                <a:gd name="connsiteX922" fmla="*/ 524076 w 588693"/>
                <a:gd name="connsiteY922" fmla="*/ 191703 h 422340"/>
                <a:gd name="connsiteX923" fmla="*/ 526073 w 588693"/>
                <a:gd name="connsiteY923" fmla="*/ 191703 h 422340"/>
                <a:gd name="connsiteX924" fmla="*/ 529461 w 588693"/>
                <a:gd name="connsiteY924" fmla="*/ 189102 h 422340"/>
                <a:gd name="connsiteX925" fmla="*/ 531246 w 588693"/>
                <a:gd name="connsiteY925" fmla="*/ 188406 h 422340"/>
                <a:gd name="connsiteX926" fmla="*/ 535118 w 588693"/>
                <a:gd name="connsiteY926" fmla="*/ 188406 h 422340"/>
                <a:gd name="connsiteX927" fmla="*/ 536056 w 588693"/>
                <a:gd name="connsiteY927" fmla="*/ 188194 h 422340"/>
                <a:gd name="connsiteX928" fmla="*/ 537417 w 588693"/>
                <a:gd name="connsiteY928" fmla="*/ 187619 h 422340"/>
                <a:gd name="connsiteX929" fmla="*/ 538536 w 588693"/>
                <a:gd name="connsiteY929" fmla="*/ 187498 h 422340"/>
                <a:gd name="connsiteX930" fmla="*/ 540563 w 588693"/>
                <a:gd name="connsiteY930" fmla="*/ 187741 h 422340"/>
                <a:gd name="connsiteX931" fmla="*/ 544345 w 588693"/>
                <a:gd name="connsiteY931" fmla="*/ 188890 h 422340"/>
                <a:gd name="connsiteX932" fmla="*/ 548852 w 588693"/>
                <a:gd name="connsiteY932" fmla="*/ 189465 h 422340"/>
                <a:gd name="connsiteX933" fmla="*/ 551121 w 588693"/>
                <a:gd name="connsiteY933" fmla="*/ 190251 h 422340"/>
                <a:gd name="connsiteX934" fmla="*/ 553239 w 588693"/>
                <a:gd name="connsiteY934" fmla="*/ 191340 h 422340"/>
                <a:gd name="connsiteX935" fmla="*/ 558230 w 588693"/>
                <a:gd name="connsiteY935" fmla="*/ 195091 h 422340"/>
                <a:gd name="connsiteX936" fmla="*/ 560711 w 588693"/>
                <a:gd name="connsiteY936" fmla="*/ 197754 h 422340"/>
                <a:gd name="connsiteX937" fmla="*/ 562798 w 588693"/>
                <a:gd name="connsiteY937" fmla="*/ 200748 h 422340"/>
                <a:gd name="connsiteX938" fmla="*/ 564734 w 588693"/>
                <a:gd name="connsiteY938" fmla="*/ 204197 h 422340"/>
                <a:gd name="connsiteX939" fmla="*/ 565067 w 588693"/>
                <a:gd name="connsiteY939" fmla="*/ 202533 h 422340"/>
                <a:gd name="connsiteX940" fmla="*/ 564553 w 588693"/>
                <a:gd name="connsiteY940" fmla="*/ 200022 h 422340"/>
                <a:gd name="connsiteX941" fmla="*/ 563705 w 588693"/>
                <a:gd name="connsiteY941" fmla="*/ 197754 h 422340"/>
                <a:gd name="connsiteX942" fmla="*/ 77686 w 588693"/>
                <a:gd name="connsiteY942" fmla="*/ 155795 h 422340"/>
                <a:gd name="connsiteX943" fmla="*/ 74298 w 588693"/>
                <a:gd name="connsiteY943" fmla="*/ 158185 h 422340"/>
                <a:gd name="connsiteX944" fmla="*/ 70849 w 588693"/>
                <a:gd name="connsiteY944" fmla="*/ 157247 h 422340"/>
                <a:gd name="connsiteX945" fmla="*/ 70244 w 588693"/>
                <a:gd name="connsiteY945" fmla="*/ 156067 h 422340"/>
                <a:gd name="connsiteX946" fmla="*/ 70033 w 588693"/>
                <a:gd name="connsiteY946" fmla="*/ 154797 h 422340"/>
                <a:gd name="connsiteX947" fmla="*/ 70244 w 588693"/>
                <a:gd name="connsiteY947" fmla="*/ 153526 h 422340"/>
                <a:gd name="connsiteX948" fmla="*/ 70849 w 588693"/>
                <a:gd name="connsiteY948" fmla="*/ 152316 h 422340"/>
                <a:gd name="connsiteX949" fmla="*/ 72120 w 588693"/>
                <a:gd name="connsiteY949" fmla="*/ 151469 h 422340"/>
                <a:gd name="connsiteX950" fmla="*/ 73511 w 588693"/>
                <a:gd name="connsiteY950" fmla="*/ 151106 h 422340"/>
                <a:gd name="connsiteX951" fmla="*/ 74963 w 588693"/>
                <a:gd name="connsiteY951" fmla="*/ 151106 h 422340"/>
                <a:gd name="connsiteX952" fmla="*/ 76415 w 588693"/>
                <a:gd name="connsiteY952" fmla="*/ 151257 h 422340"/>
                <a:gd name="connsiteX953" fmla="*/ 79047 w 588693"/>
                <a:gd name="connsiteY953" fmla="*/ 152618 h 422340"/>
                <a:gd name="connsiteX954" fmla="*/ 77686 w 588693"/>
                <a:gd name="connsiteY954" fmla="*/ 155795 h 42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Lst>
              <a:rect l="l" t="t" r="r" b="b"/>
              <a:pathLst>
                <a:path w="588693" h="422340">
                  <a:moveTo>
                    <a:pt x="125786" y="342961"/>
                  </a:moveTo>
                  <a:lnTo>
                    <a:pt x="123759" y="339209"/>
                  </a:lnTo>
                  <a:lnTo>
                    <a:pt x="121157" y="335761"/>
                  </a:lnTo>
                  <a:lnTo>
                    <a:pt x="119040" y="332524"/>
                  </a:lnTo>
                  <a:lnTo>
                    <a:pt x="118102" y="329408"/>
                  </a:lnTo>
                  <a:lnTo>
                    <a:pt x="118737" y="326383"/>
                  </a:lnTo>
                  <a:lnTo>
                    <a:pt x="121157" y="323418"/>
                  </a:lnTo>
                  <a:lnTo>
                    <a:pt x="121853" y="322632"/>
                  </a:lnTo>
                  <a:lnTo>
                    <a:pt x="122065" y="321754"/>
                  </a:lnTo>
                  <a:lnTo>
                    <a:pt x="121853" y="320847"/>
                  </a:lnTo>
                  <a:lnTo>
                    <a:pt x="121187" y="319909"/>
                  </a:lnTo>
                  <a:lnTo>
                    <a:pt x="119131" y="318094"/>
                  </a:lnTo>
                  <a:lnTo>
                    <a:pt x="113382" y="315492"/>
                  </a:lnTo>
                  <a:lnTo>
                    <a:pt x="111930" y="314827"/>
                  </a:lnTo>
                  <a:lnTo>
                    <a:pt x="109511" y="313102"/>
                  </a:lnTo>
                  <a:lnTo>
                    <a:pt x="107605" y="311196"/>
                  </a:lnTo>
                  <a:lnTo>
                    <a:pt x="105548" y="309654"/>
                  </a:lnTo>
                  <a:lnTo>
                    <a:pt x="99860" y="308323"/>
                  </a:lnTo>
                  <a:lnTo>
                    <a:pt x="99588" y="307748"/>
                  </a:lnTo>
                  <a:lnTo>
                    <a:pt x="99013" y="306538"/>
                  </a:lnTo>
                  <a:lnTo>
                    <a:pt x="99649" y="304148"/>
                  </a:lnTo>
                  <a:lnTo>
                    <a:pt x="103037" y="299005"/>
                  </a:lnTo>
                  <a:lnTo>
                    <a:pt x="103490" y="297130"/>
                  </a:lnTo>
                  <a:lnTo>
                    <a:pt x="102583" y="291654"/>
                  </a:lnTo>
                  <a:lnTo>
                    <a:pt x="102583" y="291654"/>
                  </a:lnTo>
                  <a:lnTo>
                    <a:pt x="102915" y="288599"/>
                  </a:lnTo>
                  <a:lnTo>
                    <a:pt x="102915" y="286572"/>
                  </a:lnTo>
                  <a:lnTo>
                    <a:pt x="101977" y="285059"/>
                  </a:lnTo>
                  <a:lnTo>
                    <a:pt x="99709" y="283547"/>
                  </a:lnTo>
                  <a:lnTo>
                    <a:pt x="96926" y="282579"/>
                  </a:lnTo>
                  <a:lnTo>
                    <a:pt x="94596" y="282579"/>
                  </a:lnTo>
                  <a:lnTo>
                    <a:pt x="94052" y="282730"/>
                  </a:lnTo>
                  <a:lnTo>
                    <a:pt x="81709" y="285513"/>
                  </a:lnTo>
                  <a:lnTo>
                    <a:pt x="79017" y="286542"/>
                  </a:lnTo>
                  <a:lnTo>
                    <a:pt x="70910" y="291291"/>
                  </a:lnTo>
                  <a:lnTo>
                    <a:pt x="69851" y="291715"/>
                  </a:lnTo>
                  <a:lnTo>
                    <a:pt x="68701" y="292259"/>
                  </a:lnTo>
                  <a:lnTo>
                    <a:pt x="67582" y="292471"/>
                  </a:lnTo>
                  <a:lnTo>
                    <a:pt x="66432" y="292320"/>
                  </a:lnTo>
                  <a:lnTo>
                    <a:pt x="65343" y="291745"/>
                  </a:lnTo>
                  <a:lnTo>
                    <a:pt x="65313" y="291745"/>
                  </a:lnTo>
                  <a:lnTo>
                    <a:pt x="62137" y="288750"/>
                  </a:lnTo>
                  <a:lnTo>
                    <a:pt x="60382" y="287903"/>
                  </a:lnTo>
                  <a:lnTo>
                    <a:pt x="55603" y="287510"/>
                  </a:lnTo>
                  <a:lnTo>
                    <a:pt x="54151" y="286965"/>
                  </a:lnTo>
                  <a:lnTo>
                    <a:pt x="53152" y="285604"/>
                  </a:lnTo>
                  <a:lnTo>
                    <a:pt x="51972" y="283123"/>
                  </a:lnTo>
                  <a:lnTo>
                    <a:pt x="49461" y="279886"/>
                  </a:lnTo>
                  <a:lnTo>
                    <a:pt x="48826" y="279069"/>
                  </a:lnTo>
                  <a:lnTo>
                    <a:pt x="46133" y="279917"/>
                  </a:lnTo>
                  <a:lnTo>
                    <a:pt x="43290" y="282367"/>
                  </a:lnTo>
                  <a:lnTo>
                    <a:pt x="39599" y="283184"/>
                  </a:lnTo>
                  <a:lnTo>
                    <a:pt x="37633" y="282034"/>
                  </a:lnTo>
                  <a:lnTo>
                    <a:pt x="37240" y="280280"/>
                  </a:lnTo>
                  <a:lnTo>
                    <a:pt x="38238" y="275984"/>
                  </a:lnTo>
                  <a:lnTo>
                    <a:pt x="38390" y="273171"/>
                  </a:lnTo>
                  <a:lnTo>
                    <a:pt x="37966" y="270962"/>
                  </a:lnTo>
                  <a:lnTo>
                    <a:pt x="36937" y="268966"/>
                  </a:lnTo>
                  <a:lnTo>
                    <a:pt x="30251" y="261131"/>
                  </a:lnTo>
                  <a:lnTo>
                    <a:pt x="29495" y="260253"/>
                  </a:lnTo>
                  <a:lnTo>
                    <a:pt x="26077" y="258680"/>
                  </a:lnTo>
                  <a:lnTo>
                    <a:pt x="22326" y="259860"/>
                  </a:lnTo>
                  <a:lnTo>
                    <a:pt x="18605" y="262492"/>
                  </a:lnTo>
                  <a:lnTo>
                    <a:pt x="18000" y="262794"/>
                  </a:lnTo>
                  <a:lnTo>
                    <a:pt x="15368" y="264156"/>
                  </a:lnTo>
                  <a:lnTo>
                    <a:pt x="11920" y="264912"/>
                  </a:lnTo>
                  <a:lnTo>
                    <a:pt x="7533" y="264851"/>
                  </a:lnTo>
                  <a:lnTo>
                    <a:pt x="2874" y="265638"/>
                  </a:lnTo>
                  <a:lnTo>
                    <a:pt x="0" y="266788"/>
                  </a:lnTo>
                  <a:lnTo>
                    <a:pt x="999" y="268300"/>
                  </a:lnTo>
                  <a:lnTo>
                    <a:pt x="2148" y="272838"/>
                  </a:lnTo>
                  <a:lnTo>
                    <a:pt x="3267" y="274350"/>
                  </a:lnTo>
                  <a:lnTo>
                    <a:pt x="3540" y="274713"/>
                  </a:lnTo>
                  <a:lnTo>
                    <a:pt x="4962" y="275470"/>
                  </a:lnTo>
                  <a:lnTo>
                    <a:pt x="5355" y="275681"/>
                  </a:lnTo>
                  <a:lnTo>
                    <a:pt x="7502" y="276075"/>
                  </a:lnTo>
                  <a:lnTo>
                    <a:pt x="9832" y="276135"/>
                  </a:lnTo>
                  <a:lnTo>
                    <a:pt x="9530" y="276680"/>
                  </a:lnTo>
                  <a:lnTo>
                    <a:pt x="9136" y="277043"/>
                  </a:lnTo>
                  <a:lnTo>
                    <a:pt x="11253" y="278434"/>
                  </a:lnTo>
                  <a:lnTo>
                    <a:pt x="12464" y="281006"/>
                  </a:lnTo>
                  <a:lnTo>
                    <a:pt x="15489" y="292501"/>
                  </a:lnTo>
                  <a:lnTo>
                    <a:pt x="16729" y="294921"/>
                  </a:lnTo>
                  <a:lnTo>
                    <a:pt x="18847" y="296646"/>
                  </a:lnTo>
                  <a:lnTo>
                    <a:pt x="18000" y="298098"/>
                  </a:lnTo>
                  <a:lnTo>
                    <a:pt x="18393" y="298945"/>
                  </a:lnTo>
                  <a:lnTo>
                    <a:pt x="20965" y="300669"/>
                  </a:lnTo>
                  <a:lnTo>
                    <a:pt x="21479" y="300790"/>
                  </a:lnTo>
                  <a:lnTo>
                    <a:pt x="22567" y="300790"/>
                  </a:lnTo>
                  <a:lnTo>
                    <a:pt x="23354" y="300941"/>
                  </a:lnTo>
                  <a:lnTo>
                    <a:pt x="23717" y="301425"/>
                  </a:lnTo>
                  <a:lnTo>
                    <a:pt x="23929" y="301970"/>
                  </a:lnTo>
                  <a:lnTo>
                    <a:pt x="24292" y="302393"/>
                  </a:lnTo>
                  <a:lnTo>
                    <a:pt x="27922" y="304662"/>
                  </a:lnTo>
                  <a:lnTo>
                    <a:pt x="28467" y="305267"/>
                  </a:lnTo>
                  <a:lnTo>
                    <a:pt x="28799" y="306114"/>
                  </a:lnTo>
                  <a:lnTo>
                    <a:pt x="29616" y="307355"/>
                  </a:lnTo>
                  <a:lnTo>
                    <a:pt x="30645" y="308474"/>
                  </a:lnTo>
                  <a:lnTo>
                    <a:pt x="31553" y="308958"/>
                  </a:lnTo>
                  <a:lnTo>
                    <a:pt x="32370" y="310107"/>
                  </a:lnTo>
                  <a:lnTo>
                    <a:pt x="34215" y="313889"/>
                  </a:lnTo>
                  <a:lnTo>
                    <a:pt x="34819" y="315129"/>
                  </a:lnTo>
                  <a:lnTo>
                    <a:pt x="35697" y="316279"/>
                  </a:lnTo>
                  <a:lnTo>
                    <a:pt x="36393" y="317549"/>
                  </a:lnTo>
                  <a:lnTo>
                    <a:pt x="37452" y="323479"/>
                  </a:lnTo>
                  <a:lnTo>
                    <a:pt x="38117" y="325294"/>
                  </a:lnTo>
                  <a:lnTo>
                    <a:pt x="40749" y="324537"/>
                  </a:lnTo>
                  <a:lnTo>
                    <a:pt x="51216" y="327744"/>
                  </a:lnTo>
                  <a:lnTo>
                    <a:pt x="51458" y="327532"/>
                  </a:lnTo>
                  <a:lnTo>
                    <a:pt x="52153" y="327079"/>
                  </a:lnTo>
                  <a:lnTo>
                    <a:pt x="53061" y="326746"/>
                  </a:lnTo>
                  <a:lnTo>
                    <a:pt x="53999" y="326837"/>
                  </a:lnTo>
                  <a:lnTo>
                    <a:pt x="54272" y="327593"/>
                  </a:lnTo>
                  <a:lnTo>
                    <a:pt x="53999" y="328712"/>
                  </a:lnTo>
                  <a:lnTo>
                    <a:pt x="53999" y="329741"/>
                  </a:lnTo>
                  <a:lnTo>
                    <a:pt x="54967" y="330194"/>
                  </a:lnTo>
                  <a:lnTo>
                    <a:pt x="56389" y="330467"/>
                  </a:lnTo>
                  <a:lnTo>
                    <a:pt x="57720" y="331253"/>
                  </a:lnTo>
                  <a:lnTo>
                    <a:pt x="58295" y="332524"/>
                  </a:lnTo>
                  <a:lnTo>
                    <a:pt x="57417" y="334278"/>
                  </a:lnTo>
                  <a:lnTo>
                    <a:pt x="58083" y="335488"/>
                  </a:lnTo>
                  <a:lnTo>
                    <a:pt x="58960" y="336093"/>
                  </a:lnTo>
                  <a:lnTo>
                    <a:pt x="59898" y="336608"/>
                  </a:lnTo>
                  <a:lnTo>
                    <a:pt x="60866" y="337545"/>
                  </a:lnTo>
                  <a:lnTo>
                    <a:pt x="61259" y="338483"/>
                  </a:lnTo>
                  <a:lnTo>
                    <a:pt x="62046" y="341055"/>
                  </a:lnTo>
                  <a:lnTo>
                    <a:pt x="62560" y="342053"/>
                  </a:lnTo>
                  <a:lnTo>
                    <a:pt x="63498" y="342719"/>
                  </a:lnTo>
                  <a:lnTo>
                    <a:pt x="65888" y="343717"/>
                  </a:lnTo>
                  <a:lnTo>
                    <a:pt x="66372" y="344503"/>
                  </a:lnTo>
                  <a:lnTo>
                    <a:pt x="66160" y="345744"/>
                  </a:lnTo>
                  <a:lnTo>
                    <a:pt x="65736" y="346742"/>
                  </a:lnTo>
                  <a:lnTo>
                    <a:pt x="65434" y="347770"/>
                  </a:lnTo>
                  <a:lnTo>
                    <a:pt x="65616" y="349041"/>
                  </a:lnTo>
                  <a:lnTo>
                    <a:pt x="66765" y="350312"/>
                  </a:lnTo>
                  <a:lnTo>
                    <a:pt x="68913" y="351612"/>
                  </a:lnTo>
                  <a:lnTo>
                    <a:pt x="71212" y="352641"/>
                  </a:lnTo>
                  <a:lnTo>
                    <a:pt x="72422" y="352944"/>
                  </a:lnTo>
                  <a:lnTo>
                    <a:pt x="73995" y="353337"/>
                  </a:lnTo>
                  <a:lnTo>
                    <a:pt x="76053" y="354456"/>
                  </a:lnTo>
                  <a:lnTo>
                    <a:pt x="76506" y="354547"/>
                  </a:lnTo>
                  <a:lnTo>
                    <a:pt x="77293" y="354698"/>
                  </a:lnTo>
                  <a:lnTo>
                    <a:pt x="80075" y="354789"/>
                  </a:lnTo>
                  <a:lnTo>
                    <a:pt x="85793" y="356090"/>
                  </a:lnTo>
                  <a:lnTo>
                    <a:pt x="94748" y="356180"/>
                  </a:lnTo>
                  <a:lnTo>
                    <a:pt x="99890" y="358026"/>
                  </a:lnTo>
                  <a:lnTo>
                    <a:pt x="102220" y="358873"/>
                  </a:lnTo>
                  <a:lnTo>
                    <a:pt x="123426" y="362987"/>
                  </a:lnTo>
                  <a:lnTo>
                    <a:pt x="130081" y="365740"/>
                  </a:lnTo>
                  <a:lnTo>
                    <a:pt x="135920" y="367101"/>
                  </a:lnTo>
                  <a:lnTo>
                    <a:pt x="136888" y="366980"/>
                  </a:lnTo>
                  <a:lnTo>
                    <a:pt x="131019" y="356695"/>
                  </a:lnTo>
                  <a:lnTo>
                    <a:pt x="125786" y="343233"/>
                  </a:lnTo>
                  <a:close/>
                  <a:moveTo>
                    <a:pt x="588269" y="191643"/>
                  </a:moveTo>
                  <a:lnTo>
                    <a:pt x="586817" y="190221"/>
                  </a:lnTo>
                  <a:lnTo>
                    <a:pt x="585789" y="190221"/>
                  </a:lnTo>
                  <a:lnTo>
                    <a:pt x="584912" y="190886"/>
                  </a:lnTo>
                  <a:lnTo>
                    <a:pt x="583944" y="191159"/>
                  </a:lnTo>
                  <a:lnTo>
                    <a:pt x="582613" y="190221"/>
                  </a:lnTo>
                  <a:lnTo>
                    <a:pt x="582401" y="191794"/>
                  </a:lnTo>
                  <a:lnTo>
                    <a:pt x="583369" y="193609"/>
                  </a:lnTo>
                  <a:lnTo>
                    <a:pt x="584881" y="194728"/>
                  </a:lnTo>
                  <a:lnTo>
                    <a:pt x="586122" y="194365"/>
                  </a:lnTo>
                  <a:lnTo>
                    <a:pt x="588028" y="194819"/>
                  </a:lnTo>
                  <a:lnTo>
                    <a:pt x="588693" y="193579"/>
                  </a:lnTo>
                  <a:lnTo>
                    <a:pt x="588269" y="191673"/>
                  </a:lnTo>
                  <a:close/>
                  <a:moveTo>
                    <a:pt x="564492" y="178574"/>
                  </a:moveTo>
                  <a:lnTo>
                    <a:pt x="563252" y="177546"/>
                  </a:lnTo>
                  <a:lnTo>
                    <a:pt x="562284" y="176215"/>
                  </a:lnTo>
                  <a:lnTo>
                    <a:pt x="562042" y="173674"/>
                  </a:lnTo>
                  <a:lnTo>
                    <a:pt x="561376" y="172917"/>
                  </a:lnTo>
                  <a:lnTo>
                    <a:pt x="559863" y="173371"/>
                  </a:lnTo>
                  <a:lnTo>
                    <a:pt x="558623" y="172766"/>
                  </a:lnTo>
                  <a:lnTo>
                    <a:pt x="558623" y="175670"/>
                  </a:lnTo>
                  <a:lnTo>
                    <a:pt x="561860" y="179754"/>
                  </a:lnTo>
                  <a:lnTo>
                    <a:pt x="561376" y="182719"/>
                  </a:lnTo>
                  <a:lnTo>
                    <a:pt x="563372" y="182810"/>
                  </a:lnTo>
                  <a:lnTo>
                    <a:pt x="564885" y="182507"/>
                  </a:lnTo>
                  <a:lnTo>
                    <a:pt x="565672" y="181660"/>
                  </a:lnTo>
                  <a:lnTo>
                    <a:pt x="565581" y="180208"/>
                  </a:lnTo>
                  <a:lnTo>
                    <a:pt x="564522" y="178574"/>
                  </a:lnTo>
                  <a:close/>
                  <a:moveTo>
                    <a:pt x="44803" y="112233"/>
                  </a:moveTo>
                  <a:lnTo>
                    <a:pt x="41929" y="109934"/>
                  </a:lnTo>
                  <a:lnTo>
                    <a:pt x="41505" y="109843"/>
                  </a:lnTo>
                  <a:lnTo>
                    <a:pt x="41112" y="109903"/>
                  </a:lnTo>
                  <a:lnTo>
                    <a:pt x="40779" y="110085"/>
                  </a:lnTo>
                  <a:lnTo>
                    <a:pt x="40477" y="110387"/>
                  </a:lnTo>
                  <a:lnTo>
                    <a:pt x="41445" y="113201"/>
                  </a:lnTo>
                  <a:lnTo>
                    <a:pt x="43774" y="113564"/>
                  </a:lnTo>
                  <a:lnTo>
                    <a:pt x="44833" y="112202"/>
                  </a:lnTo>
                  <a:close/>
                  <a:moveTo>
                    <a:pt x="20541" y="105668"/>
                  </a:moveTo>
                  <a:lnTo>
                    <a:pt x="24201" y="106818"/>
                  </a:lnTo>
                  <a:lnTo>
                    <a:pt x="25623" y="104004"/>
                  </a:lnTo>
                  <a:lnTo>
                    <a:pt x="24504" y="100525"/>
                  </a:lnTo>
                  <a:lnTo>
                    <a:pt x="20541" y="99648"/>
                  </a:lnTo>
                  <a:lnTo>
                    <a:pt x="18968" y="100677"/>
                  </a:lnTo>
                  <a:lnTo>
                    <a:pt x="18635" y="102371"/>
                  </a:lnTo>
                  <a:lnTo>
                    <a:pt x="19271" y="104216"/>
                  </a:lnTo>
                  <a:lnTo>
                    <a:pt x="20511" y="105699"/>
                  </a:lnTo>
                  <a:close/>
                  <a:moveTo>
                    <a:pt x="563766" y="197875"/>
                  </a:moveTo>
                  <a:lnTo>
                    <a:pt x="563070" y="196876"/>
                  </a:lnTo>
                  <a:lnTo>
                    <a:pt x="562042" y="186863"/>
                  </a:lnTo>
                  <a:lnTo>
                    <a:pt x="561043" y="184352"/>
                  </a:lnTo>
                  <a:lnTo>
                    <a:pt x="559561" y="181932"/>
                  </a:lnTo>
                  <a:lnTo>
                    <a:pt x="557685" y="180087"/>
                  </a:lnTo>
                  <a:lnTo>
                    <a:pt x="555507" y="179361"/>
                  </a:lnTo>
                  <a:lnTo>
                    <a:pt x="553510" y="178242"/>
                  </a:lnTo>
                  <a:lnTo>
                    <a:pt x="551968" y="175640"/>
                  </a:lnTo>
                  <a:lnTo>
                    <a:pt x="550758" y="172826"/>
                  </a:lnTo>
                  <a:lnTo>
                    <a:pt x="549669" y="171011"/>
                  </a:lnTo>
                  <a:lnTo>
                    <a:pt x="547914" y="170104"/>
                  </a:lnTo>
                  <a:lnTo>
                    <a:pt x="538809" y="168319"/>
                  </a:lnTo>
                  <a:lnTo>
                    <a:pt x="536782" y="167291"/>
                  </a:lnTo>
                  <a:lnTo>
                    <a:pt x="534876" y="165687"/>
                  </a:lnTo>
                  <a:lnTo>
                    <a:pt x="533091" y="163660"/>
                  </a:lnTo>
                  <a:lnTo>
                    <a:pt x="532637" y="162843"/>
                  </a:lnTo>
                  <a:lnTo>
                    <a:pt x="532304" y="161966"/>
                  </a:lnTo>
                  <a:lnTo>
                    <a:pt x="531881" y="161089"/>
                  </a:lnTo>
                  <a:lnTo>
                    <a:pt x="531034" y="160333"/>
                  </a:lnTo>
                  <a:lnTo>
                    <a:pt x="519568" y="159970"/>
                  </a:lnTo>
                  <a:lnTo>
                    <a:pt x="517178" y="160333"/>
                  </a:lnTo>
                  <a:lnTo>
                    <a:pt x="511582" y="162480"/>
                  </a:lnTo>
                  <a:lnTo>
                    <a:pt x="509737" y="162813"/>
                  </a:lnTo>
                  <a:lnTo>
                    <a:pt x="507377" y="162601"/>
                  </a:lnTo>
                  <a:lnTo>
                    <a:pt x="503081" y="161361"/>
                  </a:lnTo>
                  <a:lnTo>
                    <a:pt x="498030" y="160726"/>
                  </a:lnTo>
                  <a:lnTo>
                    <a:pt x="496063" y="159848"/>
                  </a:lnTo>
                  <a:lnTo>
                    <a:pt x="492493" y="156914"/>
                  </a:lnTo>
                  <a:lnTo>
                    <a:pt x="490890" y="156067"/>
                  </a:lnTo>
                  <a:lnTo>
                    <a:pt x="488924" y="155583"/>
                  </a:lnTo>
                  <a:lnTo>
                    <a:pt x="484568" y="155341"/>
                  </a:lnTo>
                  <a:lnTo>
                    <a:pt x="483206" y="154766"/>
                  </a:lnTo>
                  <a:lnTo>
                    <a:pt x="481240" y="153405"/>
                  </a:lnTo>
                  <a:lnTo>
                    <a:pt x="479455" y="151832"/>
                  </a:lnTo>
                  <a:lnTo>
                    <a:pt x="478759" y="150773"/>
                  </a:lnTo>
                  <a:lnTo>
                    <a:pt x="478699" y="150652"/>
                  </a:lnTo>
                  <a:lnTo>
                    <a:pt x="478397" y="150017"/>
                  </a:lnTo>
                  <a:lnTo>
                    <a:pt x="477035" y="148474"/>
                  </a:lnTo>
                  <a:lnTo>
                    <a:pt x="476611" y="147718"/>
                  </a:lnTo>
                  <a:lnTo>
                    <a:pt x="476490" y="146356"/>
                  </a:lnTo>
                  <a:lnTo>
                    <a:pt x="476642" y="145086"/>
                  </a:lnTo>
                  <a:lnTo>
                    <a:pt x="477247" y="142757"/>
                  </a:lnTo>
                  <a:lnTo>
                    <a:pt x="479001" y="138219"/>
                  </a:lnTo>
                  <a:lnTo>
                    <a:pt x="479455" y="135557"/>
                  </a:lnTo>
                  <a:lnTo>
                    <a:pt x="478336" y="134377"/>
                  </a:lnTo>
                  <a:lnTo>
                    <a:pt x="476339" y="133348"/>
                  </a:lnTo>
                  <a:lnTo>
                    <a:pt x="474524" y="131291"/>
                  </a:lnTo>
                  <a:lnTo>
                    <a:pt x="472618" y="129748"/>
                  </a:lnTo>
                  <a:lnTo>
                    <a:pt x="470349" y="130293"/>
                  </a:lnTo>
                  <a:lnTo>
                    <a:pt x="465751" y="127691"/>
                  </a:lnTo>
                  <a:lnTo>
                    <a:pt x="463633" y="125997"/>
                  </a:lnTo>
                  <a:lnTo>
                    <a:pt x="462726" y="124031"/>
                  </a:lnTo>
                  <a:lnTo>
                    <a:pt x="461728" y="122639"/>
                  </a:lnTo>
                  <a:lnTo>
                    <a:pt x="449658" y="110055"/>
                  </a:lnTo>
                  <a:lnTo>
                    <a:pt x="444847" y="102703"/>
                  </a:lnTo>
                  <a:lnTo>
                    <a:pt x="443153" y="93931"/>
                  </a:lnTo>
                  <a:lnTo>
                    <a:pt x="442457" y="92539"/>
                  </a:lnTo>
                  <a:lnTo>
                    <a:pt x="441339" y="91601"/>
                  </a:lnTo>
                  <a:lnTo>
                    <a:pt x="440703" y="89363"/>
                  </a:lnTo>
                  <a:lnTo>
                    <a:pt x="439463" y="78745"/>
                  </a:lnTo>
                  <a:lnTo>
                    <a:pt x="438858" y="76052"/>
                  </a:lnTo>
                  <a:lnTo>
                    <a:pt x="437587" y="73753"/>
                  </a:lnTo>
                  <a:lnTo>
                    <a:pt x="436135" y="71787"/>
                  </a:lnTo>
                  <a:lnTo>
                    <a:pt x="433080" y="65918"/>
                  </a:lnTo>
                  <a:lnTo>
                    <a:pt x="429449" y="58930"/>
                  </a:lnTo>
                  <a:lnTo>
                    <a:pt x="427937" y="56843"/>
                  </a:lnTo>
                  <a:lnTo>
                    <a:pt x="427090" y="56389"/>
                  </a:lnTo>
                  <a:lnTo>
                    <a:pt x="424609" y="55693"/>
                  </a:lnTo>
                  <a:lnTo>
                    <a:pt x="424095" y="55179"/>
                  </a:lnTo>
                  <a:lnTo>
                    <a:pt x="423702" y="54453"/>
                  </a:lnTo>
                  <a:lnTo>
                    <a:pt x="421372" y="51306"/>
                  </a:lnTo>
                  <a:lnTo>
                    <a:pt x="420525" y="49703"/>
                  </a:lnTo>
                  <a:lnTo>
                    <a:pt x="419255" y="47797"/>
                  </a:lnTo>
                  <a:lnTo>
                    <a:pt x="417561" y="46164"/>
                  </a:lnTo>
                  <a:lnTo>
                    <a:pt x="415534" y="45468"/>
                  </a:lnTo>
                  <a:lnTo>
                    <a:pt x="411692" y="37814"/>
                  </a:lnTo>
                  <a:lnTo>
                    <a:pt x="404795" y="30675"/>
                  </a:lnTo>
                  <a:lnTo>
                    <a:pt x="404220" y="27680"/>
                  </a:lnTo>
                  <a:lnTo>
                    <a:pt x="402829" y="25774"/>
                  </a:lnTo>
                  <a:lnTo>
                    <a:pt x="399379" y="22567"/>
                  </a:lnTo>
                  <a:lnTo>
                    <a:pt x="390516" y="11223"/>
                  </a:lnTo>
                  <a:lnTo>
                    <a:pt x="386947" y="8289"/>
                  </a:lnTo>
                  <a:lnTo>
                    <a:pt x="383861" y="6565"/>
                  </a:lnTo>
                  <a:lnTo>
                    <a:pt x="382802" y="5718"/>
                  </a:lnTo>
                  <a:lnTo>
                    <a:pt x="377962" y="12887"/>
                  </a:lnTo>
                  <a:lnTo>
                    <a:pt x="371065" y="21085"/>
                  </a:lnTo>
                  <a:lnTo>
                    <a:pt x="370399" y="21902"/>
                  </a:lnTo>
                  <a:lnTo>
                    <a:pt x="366163" y="32611"/>
                  </a:lnTo>
                  <a:lnTo>
                    <a:pt x="364107" y="36150"/>
                  </a:lnTo>
                  <a:lnTo>
                    <a:pt x="361807" y="38449"/>
                  </a:lnTo>
                  <a:lnTo>
                    <a:pt x="353095" y="43441"/>
                  </a:lnTo>
                  <a:lnTo>
                    <a:pt x="347831" y="47646"/>
                  </a:lnTo>
                  <a:lnTo>
                    <a:pt x="344866" y="49128"/>
                  </a:lnTo>
                  <a:lnTo>
                    <a:pt x="333250" y="51216"/>
                  </a:lnTo>
                  <a:lnTo>
                    <a:pt x="329922" y="53091"/>
                  </a:lnTo>
                  <a:lnTo>
                    <a:pt x="328017" y="56510"/>
                  </a:lnTo>
                  <a:lnTo>
                    <a:pt x="324719" y="65313"/>
                  </a:lnTo>
                  <a:lnTo>
                    <a:pt x="322450" y="66493"/>
                  </a:lnTo>
                  <a:lnTo>
                    <a:pt x="319848" y="66099"/>
                  </a:lnTo>
                  <a:lnTo>
                    <a:pt x="318790" y="67098"/>
                  </a:lnTo>
                  <a:lnTo>
                    <a:pt x="318336" y="69034"/>
                  </a:lnTo>
                  <a:lnTo>
                    <a:pt x="317489" y="71273"/>
                  </a:lnTo>
                  <a:lnTo>
                    <a:pt x="316006" y="72906"/>
                  </a:lnTo>
                  <a:lnTo>
                    <a:pt x="314675" y="73783"/>
                  </a:lnTo>
                  <a:lnTo>
                    <a:pt x="313738" y="74963"/>
                  </a:lnTo>
                  <a:lnTo>
                    <a:pt x="313435" y="77534"/>
                  </a:lnTo>
                  <a:lnTo>
                    <a:pt x="313919" y="80045"/>
                  </a:lnTo>
                  <a:lnTo>
                    <a:pt x="314434" y="81618"/>
                  </a:lnTo>
                  <a:lnTo>
                    <a:pt x="313980" y="82828"/>
                  </a:lnTo>
                  <a:lnTo>
                    <a:pt x="311620" y="84160"/>
                  </a:lnTo>
                  <a:lnTo>
                    <a:pt x="307355" y="85369"/>
                  </a:lnTo>
                  <a:lnTo>
                    <a:pt x="305812" y="85491"/>
                  </a:lnTo>
                  <a:lnTo>
                    <a:pt x="298793" y="86065"/>
                  </a:lnTo>
                  <a:lnTo>
                    <a:pt x="296858" y="85702"/>
                  </a:lnTo>
                  <a:lnTo>
                    <a:pt x="293863" y="84311"/>
                  </a:lnTo>
                  <a:lnTo>
                    <a:pt x="288599" y="81830"/>
                  </a:lnTo>
                  <a:lnTo>
                    <a:pt x="286572" y="81618"/>
                  </a:lnTo>
                  <a:lnTo>
                    <a:pt x="284636" y="82314"/>
                  </a:lnTo>
                  <a:lnTo>
                    <a:pt x="281067" y="84492"/>
                  </a:lnTo>
                  <a:lnTo>
                    <a:pt x="279009" y="84492"/>
                  </a:lnTo>
                  <a:lnTo>
                    <a:pt x="277194" y="83131"/>
                  </a:lnTo>
                  <a:lnTo>
                    <a:pt x="274351" y="79471"/>
                  </a:lnTo>
                  <a:lnTo>
                    <a:pt x="272142" y="78775"/>
                  </a:lnTo>
                  <a:lnTo>
                    <a:pt x="261705" y="77837"/>
                  </a:lnTo>
                  <a:lnTo>
                    <a:pt x="260858" y="77534"/>
                  </a:lnTo>
                  <a:lnTo>
                    <a:pt x="258589" y="76748"/>
                  </a:lnTo>
                  <a:lnTo>
                    <a:pt x="250936" y="72482"/>
                  </a:lnTo>
                  <a:lnTo>
                    <a:pt x="249151" y="70849"/>
                  </a:lnTo>
                  <a:lnTo>
                    <a:pt x="248153" y="68035"/>
                  </a:lnTo>
                  <a:lnTo>
                    <a:pt x="248334" y="61592"/>
                  </a:lnTo>
                  <a:lnTo>
                    <a:pt x="247941" y="58597"/>
                  </a:lnTo>
                  <a:lnTo>
                    <a:pt x="247184" y="57145"/>
                  </a:lnTo>
                  <a:lnTo>
                    <a:pt x="244069" y="53545"/>
                  </a:lnTo>
                  <a:lnTo>
                    <a:pt x="243524" y="52305"/>
                  </a:lnTo>
                  <a:lnTo>
                    <a:pt x="243192" y="51125"/>
                  </a:lnTo>
                  <a:lnTo>
                    <a:pt x="242707" y="50006"/>
                  </a:lnTo>
                  <a:lnTo>
                    <a:pt x="241921" y="49280"/>
                  </a:lnTo>
                  <a:lnTo>
                    <a:pt x="241679" y="49068"/>
                  </a:lnTo>
                  <a:lnTo>
                    <a:pt x="239924" y="47828"/>
                  </a:lnTo>
                  <a:lnTo>
                    <a:pt x="239198" y="46043"/>
                  </a:lnTo>
                  <a:lnTo>
                    <a:pt x="238865" y="43955"/>
                  </a:lnTo>
                  <a:lnTo>
                    <a:pt x="238139" y="41808"/>
                  </a:lnTo>
                  <a:lnTo>
                    <a:pt x="236537" y="40113"/>
                  </a:lnTo>
                  <a:lnTo>
                    <a:pt x="234721" y="39660"/>
                  </a:lnTo>
                  <a:lnTo>
                    <a:pt x="232785" y="40023"/>
                  </a:lnTo>
                  <a:lnTo>
                    <a:pt x="230849" y="40718"/>
                  </a:lnTo>
                  <a:lnTo>
                    <a:pt x="226735" y="41233"/>
                  </a:lnTo>
                  <a:lnTo>
                    <a:pt x="226614" y="41233"/>
                  </a:lnTo>
                  <a:lnTo>
                    <a:pt x="225162" y="38964"/>
                  </a:lnTo>
                  <a:lnTo>
                    <a:pt x="224285" y="35273"/>
                  </a:lnTo>
                  <a:lnTo>
                    <a:pt x="221804" y="31583"/>
                  </a:lnTo>
                  <a:lnTo>
                    <a:pt x="216813" y="27650"/>
                  </a:lnTo>
                  <a:lnTo>
                    <a:pt x="215451" y="25956"/>
                  </a:lnTo>
                  <a:lnTo>
                    <a:pt x="215088" y="25018"/>
                  </a:lnTo>
                  <a:lnTo>
                    <a:pt x="214544" y="22749"/>
                  </a:lnTo>
                  <a:lnTo>
                    <a:pt x="214059" y="22023"/>
                  </a:lnTo>
                  <a:lnTo>
                    <a:pt x="212910" y="21478"/>
                  </a:lnTo>
                  <a:lnTo>
                    <a:pt x="210278" y="21176"/>
                  </a:lnTo>
                  <a:lnTo>
                    <a:pt x="209007" y="20843"/>
                  </a:lnTo>
                  <a:lnTo>
                    <a:pt x="207283" y="19875"/>
                  </a:lnTo>
                  <a:lnTo>
                    <a:pt x="200658" y="14248"/>
                  </a:lnTo>
                  <a:lnTo>
                    <a:pt x="199690" y="12827"/>
                  </a:lnTo>
                  <a:lnTo>
                    <a:pt x="199145" y="11133"/>
                  </a:lnTo>
                  <a:lnTo>
                    <a:pt x="198238" y="6292"/>
                  </a:lnTo>
                  <a:lnTo>
                    <a:pt x="197815" y="4901"/>
                  </a:lnTo>
                  <a:lnTo>
                    <a:pt x="196967" y="4901"/>
                  </a:lnTo>
                  <a:lnTo>
                    <a:pt x="195273" y="6474"/>
                  </a:lnTo>
                  <a:lnTo>
                    <a:pt x="194668" y="6897"/>
                  </a:lnTo>
                  <a:lnTo>
                    <a:pt x="193459" y="7745"/>
                  </a:lnTo>
                  <a:lnTo>
                    <a:pt x="189405" y="8501"/>
                  </a:lnTo>
                  <a:lnTo>
                    <a:pt x="187317" y="9166"/>
                  </a:lnTo>
                  <a:lnTo>
                    <a:pt x="184050" y="11798"/>
                  </a:lnTo>
                  <a:lnTo>
                    <a:pt x="182325" y="12827"/>
                  </a:lnTo>
                  <a:lnTo>
                    <a:pt x="180420" y="12827"/>
                  </a:lnTo>
                  <a:lnTo>
                    <a:pt x="178635" y="11465"/>
                  </a:lnTo>
                  <a:lnTo>
                    <a:pt x="178091" y="9378"/>
                  </a:lnTo>
                  <a:lnTo>
                    <a:pt x="178574" y="4326"/>
                  </a:lnTo>
                  <a:lnTo>
                    <a:pt x="178000" y="1997"/>
                  </a:lnTo>
                  <a:lnTo>
                    <a:pt x="176184" y="998"/>
                  </a:lnTo>
                  <a:lnTo>
                    <a:pt x="171526" y="424"/>
                  </a:lnTo>
                  <a:lnTo>
                    <a:pt x="168803" y="514"/>
                  </a:lnTo>
                  <a:lnTo>
                    <a:pt x="166655" y="0"/>
                  </a:lnTo>
                  <a:lnTo>
                    <a:pt x="162813" y="7291"/>
                  </a:lnTo>
                  <a:lnTo>
                    <a:pt x="160666" y="10497"/>
                  </a:lnTo>
                  <a:lnTo>
                    <a:pt x="156340" y="15368"/>
                  </a:lnTo>
                  <a:lnTo>
                    <a:pt x="154858" y="16578"/>
                  </a:lnTo>
                  <a:lnTo>
                    <a:pt x="153254" y="17304"/>
                  </a:lnTo>
                  <a:lnTo>
                    <a:pt x="151166" y="17485"/>
                  </a:lnTo>
                  <a:lnTo>
                    <a:pt x="146448" y="16487"/>
                  </a:lnTo>
                  <a:lnTo>
                    <a:pt x="144239" y="16699"/>
                  </a:lnTo>
                  <a:lnTo>
                    <a:pt x="142303" y="18605"/>
                  </a:lnTo>
                  <a:lnTo>
                    <a:pt x="141365" y="22840"/>
                  </a:lnTo>
                  <a:lnTo>
                    <a:pt x="141425" y="29132"/>
                  </a:lnTo>
                  <a:lnTo>
                    <a:pt x="142697" y="34668"/>
                  </a:lnTo>
                  <a:lnTo>
                    <a:pt x="145419" y="36756"/>
                  </a:lnTo>
                  <a:lnTo>
                    <a:pt x="146296" y="36090"/>
                  </a:lnTo>
                  <a:lnTo>
                    <a:pt x="146810" y="34941"/>
                  </a:lnTo>
                  <a:lnTo>
                    <a:pt x="147476" y="34003"/>
                  </a:lnTo>
                  <a:lnTo>
                    <a:pt x="148867" y="33942"/>
                  </a:lnTo>
                  <a:lnTo>
                    <a:pt x="149079" y="34638"/>
                  </a:lnTo>
                  <a:lnTo>
                    <a:pt x="151318" y="38571"/>
                  </a:lnTo>
                  <a:lnTo>
                    <a:pt x="151469" y="39478"/>
                  </a:lnTo>
                  <a:lnTo>
                    <a:pt x="152286" y="44288"/>
                  </a:lnTo>
                  <a:lnTo>
                    <a:pt x="153163" y="46981"/>
                  </a:lnTo>
                  <a:lnTo>
                    <a:pt x="154888" y="49037"/>
                  </a:lnTo>
                  <a:lnTo>
                    <a:pt x="160152" y="52365"/>
                  </a:lnTo>
                  <a:lnTo>
                    <a:pt x="161331" y="52879"/>
                  </a:lnTo>
                  <a:lnTo>
                    <a:pt x="163358" y="53333"/>
                  </a:lnTo>
                  <a:lnTo>
                    <a:pt x="168077" y="57387"/>
                  </a:lnTo>
                  <a:lnTo>
                    <a:pt x="177879" y="61199"/>
                  </a:lnTo>
                  <a:lnTo>
                    <a:pt x="182810" y="63921"/>
                  </a:lnTo>
                  <a:lnTo>
                    <a:pt x="184413" y="67340"/>
                  </a:lnTo>
                  <a:lnTo>
                    <a:pt x="185986" y="66765"/>
                  </a:lnTo>
                  <a:lnTo>
                    <a:pt x="186681" y="67188"/>
                  </a:lnTo>
                  <a:lnTo>
                    <a:pt x="186803" y="67279"/>
                  </a:lnTo>
                  <a:lnTo>
                    <a:pt x="187498" y="68338"/>
                  </a:lnTo>
                  <a:lnTo>
                    <a:pt x="189435" y="70335"/>
                  </a:lnTo>
                  <a:lnTo>
                    <a:pt x="192611" y="74781"/>
                  </a:lnTo>
                  <a:lnTo>
                    <a:pt x="193247" y="76567"/>
                  </a:lnTo>
                  <a:lnTo>
                    <a:pt x="192913" y="76718"/>
                  </a:lnTo>
                  <a:lnTo>
                    <a:pt x="192097" y="76597"/>
                  </a:lnTo>
                  <a:lnTo>
                    <a:pt x="191190" y="77534"/>
                  </a:lnTo>
                  <a:lnTo>
                    <a:pt x="191008" y="78472"/>
                  </a:lnTo>
                  <a:lnTo>
                    <a:pt x="190887" y="80620"/>
                  </a:lnTo>
                  <a:lnTo>
                    <a:pt x="190675" y="81437"/>
                  </a:lnTo>
                  <a:lnTo>
                    <a:pt x="190070" y="82224"/>
                  </a:lnTo>
                  <a:lnTo>
                    <a:pt x="188739" y="83373"/>
                  </a:lnTo>
                  <a:lnTo>
                    <a:pt x="188134" y="84129"/>
                  </a:lnTo>
                  <a:lnTo>
                    <a:pt x="187166" y="87427"/>
                  </a:lnTo>
                  <a:lnTo>
                    <a:pt x="186652" y="91632"/>
                  </a:lnTo>
                  <a:lnTo>
                    <a:pt x="185805" y="95594"/>
                  </a:lnTo>
                  <a:lnTo>
                    <a:pt x="185229" y="96320"/>
                  </a:lnTo>
                  <a:lnTo>
                    <a:pt x="183838" y="98106"/>
                  </a:lnTo>
                  <a:lnTo>
                    <a:pt x="181872" y="98378"/>
                  </a:lnTo>
                  <a:lnTo>
                    <a:pt x="179966" y="97894"/>
                  </a:lnTo>
                  <a:lnTo>
                    <a:pt x="178000" y="97712"/>
                  </a:lnTo>
                  <a:lnTo>
                    <a:pt x="175882" y="98952"/>
                  </a:lnTo>
                  <a:lnTo>
                    <a:pt x="174732" y="100919"/>
                  </a:lnTo>
                  <a:lnTo>
                    <a:pt x="174188" y="102825"/>
                  </a:lnTo>
                  <a:lnTo>
                    <a:pt x="173280" y="104095"/>
                  </a:lnTo>
                  <a:lnTo>
                    <a:pt x="171072" y="104186"/>
                  </a:lnTo>
                  <a:lnTo>
                    <a:pt x="169257" y="103188"/>
                  </a:lnTo>
                  <a:lnTo>
                    <a:pt x="166443" y="99678"/>
                  </a:lnTo>
                  <a:lnTo>
                    <a:pt x="164810" y="98347"/>
                  </a:lnTo>
                  <a:lnTo>
                    <a:pt x="158820" y="96563"/>
                  </a:lnTo>
                  <a:lnTo>
                    <a:pt x="156733" y="95443"/>
                  </a:lnTo>
                  <a:lnTo>
                    <a:pt x="150804" y="90482"/>
                  </a:lnTo>
                  <a:lnTo>
                    <a:pt x="147869" y="87124"/>
                  </a:lnTo>
                  <a:lnTo>
                    <a:pt x="146296" y="85702"/>
                  </a:lnTo>
                  <a:lnTo>
                    <a:pt x="144481" y="85128"/>
                  </a:lnTo>
                  <a:lnTo>
                    <a:pt x="136918" y="85128"/>
                  </a:lnTo>
                  <a:lnTo>
                    <a:pt x="134679" y="85642"/>
                  </a:lnTo>
                  <a:lnTo>
                    <a:pt x="132109" y="87155"/>
                  </a:lnTo>
                  <a:lnTo>
                    <a:pt x="129476" y="88727"/>
                  </a:lnTo>
                  <a:lnTo>
                    <a:pt x="127480" y="89393"/>
                  </a:lnTo>
                  <a:lnTo>
                    <a:pt x="125029" y="89605"/>
                  </a:lnTo>
                  <a:lnTo>
                    <a:pt x="120159" y="89060"/>
                  </a:lnTo>
                  <a:lnTo>
                    <a:pt x="105215" y="84099"/>
                  </a:lnTo>
                  <a:lnTo>
                    <a:pt x="100133" y="81225"/>
                  </a:lnTo>
                  <a:lnTo>
                    <a:pt x="98196" y="80136"/>
                  </a:lnTo>
                  <a:lnTo>
                    <a:pt x="94052" y="76839"/>
                  </a:lnTo>
                  <a:lnTo>
                    <a:pt x="91662" y="73329"/>
                  </a:lnTo>
                  <a:lnTo>
                    <a:pt x="93901" y="70758"/>
                  </a:lnTo>
                  <a:lnTo>
                    <a:pt x="96200" y="70002"/>
                  </a:lnTo>
                  <a:lnTo>
                    <a:pt x="97621" y="69276"/>
                  </a:lnTo>
                  <a:lnTo>
                    <a:pt x="97500" y="68520"/>
                  </a:lnTo>
                  <a:lnTo>
                    <a:pt x="95141" y="67642"/>
                  </a:lnTo>
                  <a:lnTo>
                    <a:pt x="88576" y="66402"/>
                  </a:lnTo>
                  <a:lnTo>
                    <a:pt x="74116" y="61199"/>
                  </a:lnTo>
                  <a:lnTo>
                    <a:pt x="70819" y="58355"/>
                  </a:lnTo>
                  <a:lnTo>
                    <a:pt x="69367" y="56812"/>
                  </a:lnTo>
                  <a:lnTo>
                    <a:pt x="67885" y="56570"/>
                  </a:lnTo>
                  <a:lnTo>
                    <a:pt x="64557" y="57508"/>
                  </a:lnTo>
                  <a:lnTo>
                    <a:pt x="62530" y="57690"/>
                  </a:lnTo>
                  <a:lnTo>
                    <a:pt x="60957" y="57387"/>
                  </a:lnTo>
                  <a:lnTo>
                    <a:pt x="56117" y="55088"/>
                  </a:lnTo>
                  <a:lnTo>
                    <a:pt x="54241" y="54180"/>
                  </a:lnTo>
                  <a:lnTo>
                    <a:pt x="50944" y="54029"/>
                  </a:lnTo>
                  <a:lnTo>
                    <a:pt x="47737" y="55057"/>
                  </a:lnTo>
                  <a:lnTo>
                    <a:pt x="32460" y="66705"/>
                  </a:lnTo>
                  <a:lnTo>
                    <a:pt x="22870" y="73995"/>
                  </a:lnTo>
                  <a:lnTo>
                    <a:pt x="26591" y="81255"/>
                  </a:lnTo>
                  <a:lnTo>
                    <a:pt x="25563" y="83857"/>
                  </a:lnTo>
                  <a:lnTo>
                    <a:pt x="26138" y="85369"/>
                  </a:lnTo>
                  <a:lnTo>
                    <a:pt x="27861" y="86035"/>
                  </a:lnTo>
                  <a:lnTo>
                    <a:pt x="34427" y="86035"/>
                  </a:lnTo>
                  <a:lnTo>
                    <a:pt x="36151" y="86549"/>
                  </a:lnTo>
                  <a:lnTo>
                    <a:pt x="41445" y="90361"/>
                  </a:lnTo>
                  <a:lnTo>
                    <a:pt x="42746" y="92086"/>
                  </a:lnTo>
                  <a:lnTo>
                    <a:pt x="42867" y="94052"/>
                  </a:lnTo>
                  <a:lnTo>
                    <a:pt x="39418" y="96381"/>
                  </a:lnTo>
                  <a:lnTo>
                    <a:pt x="29465" y="95988"/>
                  </a:lnTo>
                  <a:lnTo>
                    <a:pt x="28376" y="99921"/>
                  </a:lnTo>
                  <a:lnTo>
                    <a:pt x="29677" y="101947"/>
                  </a:lnTo>
                  <a:lnTo>
                    <a:pt x="31855" y="103309"/>
                  </a:lnTo>
                  <a:lnTo>
                    <a:pt x="33791" y="103490"/>
                  </a:lnTo>
                  <a:lnTo>
                    <a:pt x="34396" y="102038"/>
                  </a:lnTo>
                  <a:lnTo>
                    <a:pt x="34698" y="99830"/>
                  </a:lnTo>
                  <a:lnTo>
                    <a:pt x="36362" y="100647"/>
                  </a:lnTo>
                  <a:lnTo>
                    <a:pt x="39660" y="103793"/>
                  </a:lnTo>
                  <a:lnTo>
                    <a:pt x="41717" y="104972"/>
                  </a:lnTo>
                  <a:lnTo>
                    <a:pt x="43260" y="106515"/>
                  </a:lnTo>
                  <a:lnTo>
                    <a:pt x="44924" y="107786"/>
                  </a:lnTo>
                  <a:lnTo>
                    <a:pt x="49673" y="108300"/>
                  </a:lnTo>
                  <a:lnTo>
                    <a:pt x="54090" y="109964"/>
                  </a:lnTo>
                  <a:lnTo>
                    <a:pt x="56389" y="110297"/>
                  </a:lnTo>
                  <a:lnTo>
                    <a:pt x="61078" y="108149"/>
                  </a:lnTo>
                  <a:lnTo>
                    <a:pt x="62015" y="107695"/>
                  </a:lnTo>
                  <a:lnTo>
                    <a:pt x="64799" y="107423"/>
                  </a:lnTo>
                  <a:lnTo>
                    <a:pt x="65404" y="110297"/>
                  </a:lnTo>
                  <a:lnTo>
                    <a:pt x="64527" y="114260"/>
                  </a:lnTo>
                  <a:lnTo>
                    <a:pt x="65767" y="115500"/>
                  </a:lnTo>
                  <a:lnTo>
                    <a:pt x="67188" y="115833"/>
                  </a:lnTo>
                  <a:lnTo>
                    <a:pt x="68187" y="116075"/>
                  </a:lnTo>
                  <a:lnTo>
                    <a:pt x="70849" y="118071"/>
                  </a:lnTo>
                  <a:lnTo>
                    <a:pt x="75175" y="123184"/>
                  </a:lnTo>
                  <a:lnTo>
                    <a:pt x="76748" y="124666"/>
                  </a:lnTo>
                  <a:lnTo>
                    <a:pt x="78805" y="125271"/>
                  </a:lnTo>
                  <a:lnTo>
                    <a:pt x="81165" y="125422"/>
                  </a:lnTo>
                  <a:lnTo>
                    <a:pt x="82920" y="126269"/>
                  </a:lnTo>
                  <a:lnTo>
                    <a:pt x="83101" y="128962"/>
                  </a:lnTo>
                  <a:lnTo>
                    <a:pt x="81225" y="133984"/>
                  </a:lnTo>
                  <a:lnTo>
                    <a:pt x="78563" y="136767"/>
                  </a:lnTo>
                  <a:lnTo>
                    <a:pt x="70759" y="140246"/>
                  </a:lnTo>
                  <a:lnTo>
                    <a:pt x="66705" y="142030"/>
                  </a:lnTo>
                  <a:lnTo>
                    <a:pt x="62772" y="144995"/>
                  </a:lnTo>
                  <a:lnTo>
                    <a:pt x="60261" y="149079"/>
                  </a:lnTo>
                  <a:lnTo>
                    <a:pt x="60261" y="154252"/>
                  </a:lnTo>
                  <a:lnTo>
                    <a:pt x="61683" y="157066"/>
                  </a:lnTo>
                  <a:lnTo>
                    <a:pt x="63619" y="158820"/>
                  </a:lnTo>
                  <a:lnTo>
                    <a:pt x="65676" y="160302"/>
                  </a:lnTo>
                  <a:lnTo>
                    <a:pt x="67431" y="162329"/>
                  </a:lnTo>
                  <a:lnTo>
                    <a:pt x="67824" y="163539"/>
                  </a:lnTo>
                  <a:lnTo>
                    <a:pt x="68035" y="166231"/>
                  </a:lnTo>
                  <a:lnTo>
                    <a:pt x="68490" y="167532"/>
                  </a:lnTo>
                  <a:lnTo>
                    <a:pt x="69428" y="168500"/>
                  </a:lnTo>
                  <a:lnTo>
                    <a:pt x="71515" y="169771"/>
                  </a:lnTo>
                  <a:lnTo>
                    <a:pt x="72362" y="171193"/>
                  </a:lnTo>
                  <a:lnTo>
                    <a:pt x="75629" y="177576"/>
                  </a:lnTo>
                  <a:lnTo>
                    <a:pt x="81588" y="182688"/>
                  </a:lnTo>
                  <a:lnTo>
                    <a:pt x="105033" y="194910"/>
                  </a:lnTo>
                  <a:lnTo>
                    <a:pt x="105124" y="195001"/>
                  </a:lnTo>
                  <a:lnTo>
                    <a:pt x="109420" y="199357"/>
                  </a:lnTo>
                  <a:lnTo>
                    <a:pt x="111416" y="199448"/>
                  </a:lnTo>
                  <a:lnTo>
                    <a:pt x="112082" y="199266"/>
                  </a:lnTo>
                  <a:lnTo>
                    <a:pt x="113503" y="198873"/>
                  </a:lnTo>
                  <a:lnTo>
                    <a:pt x="115712" y="198752"/>
                  </a:lnTo>
                  <a:lnTo>
                    <a:pt x="117194" y="199478"/>
                  </a:lnTo>
                  <a:lnTo>
                    <a:pt x="118646" y="200779"/>
                  </a:lnTo>
                  <a:lnTo>
                    <a:pt x="121218" y="203925"/>
                  </a:lnTo>
                  <a:lnTo>
                    <a:pt x="121399" y="204651"/>
                  </a:lnTo>
                  <a:lnTo>
                    <a:pt x="121460" y="205347"/>
                  </a:lnTo>
                  <a:lnTo>
                    <a:pt x="121399" y="206073"/>
                  </a:lnTo>
                  <a:lnTo>
                    <a:pt x="119584" y="213817"/>
                  </a:lnTo>
                  <a:lnTo>
                    <a:pt x="118374" y="216782"/>
                  </a:lnTo>
                  <a:lnTo>
                    <a:pt x="116468" y="219142"/>
                  </a:lnTo>
                  <a:lnTo>
                    <a:pt x="114229" y="220926"/>
                  </a:lnTo>
                  <a:lnTo>
                    <a:pt x="113867" y="221834"/>
                  </a:lnTo>
                  <a:lnTo>
                    <a:pt x="112656" y="227370"/>
                  </a:lnTo>
                  <a:lnTo>
                    <a:pt x="111991" y="228640"/>
                  </a:lnTo>
                  <a:lnTo>
                    <a:pt x="110630" y="229699"/>
                  </a:lnTo>
                  <a:lnTo>
                    <a:pt x="103611" y="230334"/>
                  </a:lnTo>
                  <a:lnTo>
                    <a:pt x="87094" y="227793"/>
                  </a:lnTo>
                  <a:lnTo>
                    <a:pt x="80711" y="231605"/>
                  </a:lnTo>
                  <a:lnTo>
                    <a:pt x="80862" y="232815"/>
                  </a:lnTo>
                  <a:lnTo>
                    <a:pt x="81044" y="234479"/>
                  </a:lnTo>
                  <a:lnTo>
                    <a:pt x="84220" y="235810"/>
                  </a:lnTo>
                  <a:lnTo>
                    <a:pt x="94717" y="236808"/>
                  </a:lnTo>
                  <a:lnTo>
                    <a:pt x="97470" y="238049"/>
                  </a:lnTo>
                  <a:lnTo>
                    <a:pt x="99649" y="240257"/>
                  </a:lnTo>
                  <a:lnTo>
                    <a:pt x="104156" y="248757"/>
                  </a:lnTo>
                  <a:lnTo>
                    <a:pt x="104913" y="250209"/>
                  </a:lnTo>
                  <a:lnTo>
                    <a:pt x="109450" y="254384"/>
                  </a:lnTo>
                  <a:lnTo>
                    <a:pt x="111598" y="255383"/>
                  </a:lnTo>
                  <a:lnTo>
                    <a:pt x="114925" y="256956"/>
                  </a:lnTo>
                  <a:lnTo>
                    <a:pt x="121278" y="258710"/>
                  </a:lnTo>
                  <a:lnTo>
                    <a:pt x="124031" y="261191"/>
                  </a:lnTo>
                  <a:lnTo>
                    <a:pt x="127903" y="268421"/>
                  </a:lnTo>
                  <a:lnTo>
                    <a:pt x="131080" y="270750"/>
                  </a:lnTo>
                  <a:lnTo>
                    <a:pt x="134891" y="271749"/>
                  </a:lnTo>
                  <a:lnTo>
                    <a:pt x="136646" y="272656"/>
                  </a:lnTo>
                  <a:lnTo>
                    <a:pt x="138098" y="274320"/>
                  </a:lnTo>
                  <a:lnTo>
                    <a:pt x="140458" y="278434"/>
                  </a:lnTo>
                  <a:lnTo>
                    <a:pt x="141940" y="279735"/>
                  </a:lnTo>
                  <a:lnTo>
                    <a:pt x="144179" y="280370"/>
                  </a:lnTo>
                  <a:lnTo>
                    <a:pt x="147688" y="279674"/>
                  </a:lnTo>
                  <a:lnTo>
                    <a:pt x="154555" y="276438"/>
                  </a:lnTo>
                  <a:lnTo>
                    <a:pt x="158003" y="276680"/>
                  </a:lnTo>
                  <a:lnTo>
                    <a:pt x="159426" y="277739"/>
                  </a:lnTo>
                  <a:lnTo>
                    <a:pt x="161785" y="280703"/>
                  </a:lnTo>
                  <a:lnTo>
                    <a:pt x="163297" y="281701"/>
                  </a:lnTo>
                  <a:lnTo>
                    <a:pt x="165294" y="282004"/>
                  </a:lnTo>
                  <a:lnTo>
                    <a:pt x="171647" y="281459"/>
                  </a:lnTo>
                  <a:lnTo>
                    <a:pt x="173280" y="281792"/>
                  </a:lnTo>
                  <a:lnTo>
                    <a:pt x="174944" y="282790"/>
                  </a:lnTo>
                  <a:lnTo>
                    <a:pt x="176154" y="284333"/>
                  </a:lnTo>
                  <a:lnTo>
                    <a:pt x="176457" y="286300"/>
                  </a:lnTo>
                  <a:lnTo>
                    <a:pt x="175549" y="287812"/>
                  </a:lnTo>
                  <a:lnTo>
                    <a:pt x="174097" y="288629"/>
                  </a:lnTo>
                  <a:lnTo>
                    <a:pt x="172918" y="289627"/>
                  </a:lnTo>
                  <a:lnTo>
                    <a:pt x="172918" y="291594"/>
                  </a:lnTo>
                  <a:lnTo>
                    <a:pt x="173583" y="292864"/>
                  </a:lnTo>
                  <a:lnTo>
                    <a:pt x="173583" y="293984"/>
                  </a:lnTo>
                  <a:lnTo>
                    <a:pt x="172857" y="294861"/>
                  </a:lnTo>
                  <a:lnTo>
                    <a:pt x="171647" y="295405"/>
                  </a:lnTo>
                  <a:lnTo>
                    <a:pt x="171647" y="295405"/>
                  </a:lnTo>
                  <a:lnTo>
                    <a:pt x="164265" y="296676"/>
                  </a:lnTo>
                  <a:lnTo>
                    <a:pt x="161089" y="298491"/>
                  </a:lnTo>
                  <a:lnTo>
                    <a:pt x="159758" y="301577"/>
                  </a:lnTo>
                  <a:lnTo>
                    <a:pt x="161149" y="305328"/>
                  </a:lnTo>
                  <a:lnTo>
                    <a:pt x="164447" y="307687"/>
                  </a:lnTo>
                  <a:lnTo>
                    <a:pt x="171677" y="310682"/>
                  </a:lnTo>
                  <a:lnTo>
                    <a:pt x="173280" y="311892"/>
                  </a:lnTo>
                  <a:lnTo>
                    <a:pt x="174006" y="313617"/>
                  </a:lnTo>
                  <a:lnTo>
                    <a:pt x="174521" y="315492"/>
                  </a:lnTo>
                  <a:lnTo>
                    <a:pt x="175489" y="317277"/>
                  </a:lnTo>
                  <a:lnTo>
                    <a:pt x="177939" y="319637"/>
                  </a:lnTo>
                  <a:lnTo>
                    <a:pt x="182235" y="322420"/>
                  </a:lnTo>
                  <a:lnTo>
                    <a:pt x="182900" y="322964"/>
                  </a:lnTo>
                  <a:lnTo>
                    <a:pt x="183597" y="323690"/>
                  </a:lnTo>
                  <a:lnTo>
                    <a:pt x="183717" y="323993"/>
                  </a:lnTo>
                  <a:lnTo>
                    <a:pt x="184050" y="324810"/>
                  </a:lnTo>
                  <a:lnTo>
                    <a:pt x="183173" y="325203"/>
                  </a:lnTo>
                  <a:lnTo>
                    <a:pt x="181055" y="325263"/>
                  </a:lnTo>
                  <a:lnTo>
                    <a:pt x="176396" y="328319"/>
                  </a:lnTo>
                  <a:lnTo>
                    <a:pt x="175156" y="328470"/>
                  </a:lnTo>
                  <a:lnTo>
                    <a:pt x="169045" y="325626"/>
                  </a:lnTo>
                  <a:lnTo>
                    <a:pt x="165536" y="325203"/>
                  </a:lnTo>
                  <a:lnTo>
                    <a:pt x="163207" y="327200"/>
                  </a:lnTo>
                  <a:lnTo>
                    <a:pt x="163327" y="330860"/>
                  </a:lnTo>
                  <a:lnTo>
                    <a:pt x="165899" y="333220"/>
                  </a:lnTo>
                  <a:lnTo>
                    <a:pt x="169257" y="334974"/>
                  </a:lnTo>
                  <a:lnTo>
                    <a:pt x="171677" y="336789"/>
                  </a:lnTo>
                  <a:lnTo>
                    <a:pt x="172948" y="340692"/>
                  </a:lnTo>
                  <a:lnTo>
                    <a:pt x="173492" y="344080"/>
                  </a:lnTo>
                  <a:lnTo>
                    <a:pt x="173220" y="347407"/>
                  </a:lnTo>
                  <a:lnTo>
                    <a:pt x="171889" y="351189"/>
                  </a:lnTo>
                  <a:lnTo>
                    <a:pt x="171828" y="351582"/>
                  </a:lnTo>
                  <a:lnTo>
                    <a:pt x="171677" y="351915"/>
                  </a:lnTo>
                  <a:lnTo>
                    <a:pt x="171314" y="353337"/>
                  </a:lnTo>
                  <a:lnTo>
                    <a:pt x="171133" y="354819"/>
                  </a:lnTo>
                  <a:lnTo>
                    <a:pt x="171223" y="356271"/>
                  </a:lnTo>
                  <a:lnTo>
                    <a:pt x="171647" y="357663"/>
                  </a:lnTo>
                  <a:lnTo>
                    <a:pt x="175156" y="364439"/>
                  </a:lnTo>
                  <a:lnTo>
                    <a:pt x="176971" y="364348"/>
                  </a:lnTo>
                  <a:lnTo>
                    <a:pt x="179149" y="363532"/>
                  </a:lnTo>
                  <a:lnTo>
                    <a:pt x="180783" y="362594"/>
                  </a:lnTo>
                  <a:lnTo>
                    <a:pt x="182356" y="361414"/>
                  </a:lnTo>
                  <a:lnTo>
                    <a:pt x="183747" y="360022"/>
                  </a:lnTo>
                  <a:lnTo>
                    <a:pt x="184897" y="358298"/>
                  </a:lnTo>
                  <a:lnTo>
                    <a:pt x="187710" y="352913"/>
                  </a:lnTo>
                  <a:lnTo>
                    <a:pt x="189041" y="351310"/>
                  </a:lnTo>
                  <a:lnTo>
                    <a:pt x="190887" y="349888"/>
                  </a:lnTo>
                  <a:lnTo>
                    <a:pt x="196725" y="347165"/>
                  </a:lnTo>
                  <a:lnTo>
                    <a:pt x="198359" y="345683"/>
                  </a:lnTo>
                  <a:lnTo>
                    <a:pt x="200053" y="342083"/>
                  </a:lnTo>
                  <a:lnTo>
                    <a:pt x="201263" y="340329"/>
                  </a:lnTo>
                  <a:lnTo>
                    <a:pt x="202049" y="339724"/>
                  </a:lnTo>
                  <a:lnTo>
                    <a:pt x="203713" y="338877"/>
                  </a:lnTo>
                  <a:lnTo>
                    <a:pt x="204530" y="338302"/>
                  </a:lnTo>
                  <a:lnTo>
                    <a:pt x="205105" y="337576"/>
                  </a:lnTo>
                  <a:lnTo>
                    <a:pt x="207677" y="333462"/>
                  </a:lnTo>
                  <a:lnTo>
                    <a:pt x="209038" y="332009"/>
                  </a:lnTo>
                  <a:lnTo>
                    <a:pt x="210550" y="330830"/>
                  </a:lnTo>
                  <a:lnTo>
                    <a:pt x="210550" y="330830"/>
                  </a:lnTo>
                  <a:lnTo>
                    <a:pt x="212214" y="330104"/>
                  </a:lnTo>
                  <a:lnTo>
                    <a:pt x="213818" y="330104"/>
                  </a:lnTo>
                  <a:lnTo>
                    <a:pt x="216601" y="331223"/>
                  </a:lnTo>
                  <a:lnTo>
                    <a:pt x="218113" y="331616"/>
                  </a:lnTo>
                  <a:lnTo>
                    <a:pt x="219323" y="331405"/>
                  </a:lnTo>
                  <a:lnTo>
                    <a:pt x="225343" y="328289"/>
                  </a:lnTo>
                  <a:lnTo>
                    <a:pt x="226039" y="327926"/>
                  </a:lnTo>
                  <a:lnTo>
                    <a:pt x="227098" y="326776"/>
                  </a:lnTo>
                  <a:lnTo>
                    <a:pt x="227612" y="325868"/>
                  </a:lnTo>
                  <a:lnTo>
                    <a:pt x="229306" y="321361"/>
                  </a:lnTo>
                  <a:lnTo>
                    <a:pt x="232936" y="316006"/>
                  </a:lnTo>
                  <a:lnTo>
                    <a:pt x="233299" y="314827"/>
                  </a:lnTo>
                  <a:lnTo>
                    <a:pt x="234298" y="313798"/>
                  </a:lnTo>
                  <a:lnTo>
                    <a:pt x="239107" y="311075"/>
                  </a:lnTo>
                  <a:lnTo>
                    <a:pt x="249151" y="307506"/>
                  </a:lnTo>
                  <a:lnTo>
                    <a:pt x="250300" y="306901"/>
                  </a:lnTo>
                  <a:lnTo>
                    <a:pt x="253325" y="305328"/>
                  </a:lnTo>
                  <a:lnTo>
                    <a:pt x="256653" y="302212"/>
                  </a:lnTo>
                  <a:lnTo>
                    <a:pt x="256653" y="302212"/>
                  </a:lnTo>
                  <a:lnTo>
                    <a:pt x="261675" y="296283"/>
                  </a:lnTo>
                  <a:lnTo>
                    <a:pt x="264973" y="293741"/>
                  </a:lnTo>
                  <a:lnTo>
                    <a:pt x="269147" y="291594"/>
                  </a:lnTo>
                  <a:lnTo>
                    <a:pt x="276196" y="289385"/>
                  </a:lnTo>
                  <a:lnTo>
                    <a:pt x="278465" y="289143"/>
                  </a:lnTo>
                  <a:lnTo>
                    <a:pt x="279765" y="288327"/>
                  </a:lnTo>
                  <a:lnTo>
                    <a:pt x="285089" y="283365"/>
                  </a:lnTo>
                  <a:lnTo>
                    <a:pt x="286905" y="282427"/>
                  </a:lnTo>
                  <a:lnTo>
                    <a:pt x="299005" y="276165"/>
                  </a:lnTo>
                  <a:lnTo>
                    <a:pt x="303331" y="272112"/>
                  </a:lnTo>
                  <a:lnTo>
                    <a:pt x="304904" y="270629"/>
                  </a:lnTo>
                  <a:lnTo>
                    <a:pt x="306841" y="269389"/>
                  </a:lnTo>
                  <a:lnTo>
                    <a:pt x="309230" y="268784"/>
                  </a:lnTo>
                  <a:lnTo>
                    <a:pt x="316884" y="268935"/>
                  </a:lnTo>
                  <a:lnTo>
                    <a:pt x="318125" y="268663"/>
                  </a:lnTo>
                  <a:lnTo>
                    <a:pt x="319183" y="267755"/>
                  </a:lnTo>
                  <a:lnTo>
                    <a:pt x="320333" y="266152"/>
                  </a:lnTo>
                  <a:lnTo>
                    <a:pt x="320363" y="266152"/>
                  </a:lnTo>
                  <a:lnTo>
                    <a:pt x="321724" y="266485"/>
                  </a:lnTo>
                  <a:lnTo>
                    <a:pt x="323660" y="267725"/>
                  </a:lnTo>
                  <a:lnTo>
                    <a:pt x="329831" y="273019"/>
                  </a:lnTo>
                  <a:lnTo>
                    <a:pt x="346742" y="291684"/>
                  </a:lnTo>
                  <a:lnTo>
                    <a:pt x="353640" y="297553"/>
                  </a:lnTo>
                  <a:lnTo>
                    <a:pt x="356483" y="301123"/>
                  </a:lnTo>
                  <a:lnTo>
                    <a:pt x="358691" y="305418"/>
                  </a:lnTo>
                  <a:lnTo>
                    <a:pt x="357632" y="305721"/>
                  </a:lnTo>
                  <a:lnTo>
                    <a:pt x="355031" y="306477"/>
                  </a:lnTo>
                  <a:lnTo>
                    <a:pt x="349737" y="309775"/>
                  </a:lnTo>
                  <a:lnTo>
                    <a:pt x="343445" y="310924"/>
                  </a:lnTo>
                  <a:lnTo>
                    <a:pt x="340057" y="312558"/>
                  </a:lnTo>
                  <a:lnTo>
                    <a:pt x="337123" y="315129"/>
                  </a:lnTo>
                  <a:lnTo>
                    <a:pt x="335277" y="318517"/>
                  </a:lnTo>
                  <a:lnTo>
                    <a:pt x="335095" y="322601"/>
                  </a:lnTo>
                  <a:lnTo>
                    <a:pt x="336456" y="325808"/>
                  </a:lnTo>
                  <a:lnTo>
                    <a:pt x="338907" y="329015"/>
                  </a:lnTo>
                  <a:lnTo>
                    <a:pt x="344625" y="334127"/>
                  </a:lnTo>
                  <a:lnTo>
                    <a:pt x="350372" y="336305"/>
                  </a:lnTo>
                  <a:lnTo>
                    <a:pt x="351885" y="337667"/>
                  </a:lnTo>
                  <a:lnTo>
                    <a:pt x="354940" y="343656"/>
                  </a:lnTo>
                  <a:lnTo>
                    <a:pt x="355454" y="345169"/>
                  </a:lnTo>
                  <a:lnTo>
                    <a:pt x="355454" y="346802"/>
                  </a:lnTo>
                  <a:lnTo>
                    <a:pt x="354940" y="348406"/>
                  </a:lnTo>
                  <a:lnTo>
                    <a:pt x="354940" y="348466"/>
                  </a:lnTo>
                  <a:lnTo>
                    <a:pt x="354154" y="350009"/>
                  </a:lnTo>
                  <a:lnTo>
                    <a:pt x="353246" y="351249"/>
                  </a:lnTo>
                  <a:lnTo>
                    <a:pt x="353216" y="351249"/>
                  </a:lnTo>
                  <a:lnTo>
                    <a:pt x="349072" y="353639"/>
                  </a:lnTo>
                  <a:lnTo>
                    <a:pt x="330497" y="356664"/>
                  </a:lnTo>
                  <a:lnTo>
                    <a:pt x="330134" y="357451"/>
                  </a:lnTo>
                  <a:lnTo>
                    <a:pt x="330134" y="358328"/>
                  </a:lnTo>
                  <a:lnTo>
                    <a:pt x="329862" y="359115"/>
                  </a:lnTo>
                  <a:lnTo>
                    <a:pt x="324568" y="362110"/>
                  </a:lnTo>
                  <a:lnTo>
                    <a:pt x="323630" y="363441"/>
                  </a:lnTo>
                  <a:lnTo>
                    <a:pt x="323872" y="368311"/>
                  </a:lnTo>
                  <a:lnTo>
                    <a:pt x="325868" y="371699"/>
                  </a:lnTo>
                  <a:lnTo>
                    <a:pt x="332403" y="376509"/>
                  </a:lnTo>
                  <a:lnTo>
                    <a:pt x="345744" y="382560"/>
                  </a:lnTo>
                  <a:lnTo>
                    <a:pt x="346985" y="383558"/>
                  </a:lnTo>
                  <a:lnTo>
                    <a:pt x="347256" y="384526"/>
                  </a:lnTo>
                  <a:lnTo>
                    <a:pt x="347711" y="386220"/>
                  </a:lnTo>
                  <a:lnTo>
                    <a:pt x="347317" y="388519"/>
                  </a:lnTo>
                  <a:lnTo>
                    <a:pt x="347499" y="390516"/>
                  </a:lnTo>
                  <a:lnTo>
                    <a:pt x="352369" y="394116"/>
                  </a:lnTo>
                  <a:lnTo>
                    <a:pt x="353942" y="396264"/>
                  </a:lnTo>
                  <a:lnTo>
                    <a:pt x="355757" y="397837"/>
                  </a:lnTo>
                  <a:lnTo>
                    <a:pt x="358843" y="397927"/>
                  </a:lnTo>
                  <a:lnTo>
                    <a:pt x="363955" y="395749"/>
                  </a:lnTo>
                  <a:lnTo>
                    <a:pt x="366315" y="395749"/>
                  </a:lnTo>
                  <a:lnTo>
                    <a:pt x="367464" y="398290"/>
                  </a:lnTo>
                  <a:lnTo>
                    <a:pt x="368190" y="401406"/>
                  </a:lnTo>
                  <a:lnTo>
                    <a:pt x="369461" y="403010"/>
                  </a:lnTo>
                  <a:lnTo>
                    <a:pt x="371095" y="404371"/>
                  </a:lnTo>
                  <a:lnTo>
                    <a:pt x="372758" y="406761"/>
                  </a:lnTo>
                  <a:lnTo>
                    <a:pt x="374452" y="408455"/>
                  </a:lnTo>
                  <a:lnTo>
                    <a:pt x="375965" y="410421"/>
                  </a:lnTo>
                  <a:lnTo>
                    <a:pt x="378476" y="413325"/>
                  </a:lnTo>
                  <a:lnTo>
                    <a:pt x="379777" y="414838"/>
                  </a:lnTo>
                  <a:lnTo>
                    <a:pt x="382530" y="419073"/>
                  </a:lnTo>
                  <a:lnTo>
                    <a:pt x="385766" y="421947"/>
                  </a:lnTo>
                  <a:lnTo>
                    <a:pt x="386281" y="421947"/>
                  </a:lnTo>
                  <a:lnTo>
                    <a:pt x="390909" y="422340"/>
                  </a:lnTo>
                  <a:lnTo>
                    <a:pt x="393329" y="421705"/>
                  </a:lnTo>
                  <a:lnTo>
                    <a:pt x="396052" y="420646"/>
                  </a:lnTo>
                  <a:lnTo>
                    <a:pt x="398593" y="419164"/>
                  </a:lnTo>
                  <a:lnTo>
                    <a:pt x="400590" y="417318"/>
                  </a:lnTo>
                  <a:lnTo>
                    <a:pt x="402859" y="416199"/>
                  </a:lnTo>
                  <a:lnTo>
                    <a:pt x="406065" y="416199"/>
                  </a:lnTo>
                  <a:lnTo>
                    <a:pt x="412569" y="417470"/>
                  </a:lnTo>
                  <a:lnTo>
                    <a:pt x="412569" y="417470"/>
                  </a:lnTo>
                  <a:lnTo>
                    <a:pt x="411995" y="397595"/>
                  </a:lnTo>
                  <a:lnTo>
                    <a:pt x="411450" y="379383"/>
                  </a:lnTo>
                  <a:lnTo>
                    <a:pt x="409030" y="373847"/>
                  </a:lnTo>
                  <a:lnTo>
                    <a:pt x="408576" y="371972"/>
                  </a:lnTo>
                  <a:lnTo>
                    <a:pt x="408364" y="370036"/>
                  </a:lnTo>
                  <a:lnTo>
                    <a:pt x="408304" y="365831"/>
                  </a:lnTo>
                  <a:lnTo>
                    <a:pt x="411934" y="366708"/>
                  </a:lnTo>
                  <a:lnTo>
                    <a:pt x="414778" y="363501"/>
                  </a:lnTo>
                  <a:lnTo>
                    <a:pt x="415020" y="363229"/>
                  </a:lnTo>
                  <a:lnTo>
                    <a:pt x="416986" y="358994"/>
                  </a:lnTo>
                  <a:lnTo>
                    <a:pt x="417349" y="358207"/>
                  </a:lnTo>
                  <a:lnTo>
                    <a:pt x="420041" y="349707"/>
                  </a:lnTo>
                  <a:lnTo>
                    <a:pt x="420465" y="346802"/>
                  </a:lnTo>
                  <a:lnTo>
                    <a:pt x="418832" y="344231"/>
                  </a:lnTo>
                  <a:lnTo>
                    <a:pt x="418468" y="341327"/>
                  </a:lnTo>
                  <a:lnTo>
                    <a:pt x="418680" y="335761"/>
                  </a:lnTo>
                  <a:lnTo>
                    <a:pt x="418922" y="335640"/>
                  </a:lnTo>
                  <a:lnTo>
                    <a:pt x="419406" y="335640"/>
                  </a:lnTo>
                  <a:lnTo>
                    <a:pt x="419890" y="335398"/>
                  </a:lnTo>
                  <a:lnTo>
                    <a:pt x="420102" y="334490"/>
                  </a:lnTo>
                  <a:lnTo>
                    <a:pt x="420041" y="333189"/>
                  </a:lnTo>
                  <a:lnTo>
                    <a:pt x="420132" y="332584"/>
                  </a:lnTo>
                  <a:lnTo>
                    <a:pt x="420979" y="330860"/>
                  </a:lnTo>
                  <a:lnTo>
                    <a:pt x="421372" y="329650"/>
                  </a:lnTo>
                  <a:lnTo>
                    <a:pt x="421947" y="328712"/>
                  </a:lnTo>
                  <a:lnTo>
                    <a:pt x="423157" y="328319"/>
                  </a:lnTo>
                  <a:lnTo>
                    <a:pt x="427453" y="328198"/>
                  </a:lnTo>
                  <a:lnTo>
                    <a:pt x="429359" y="328652"/>
                  </a:lnTo>
                  <a:lnTo>
                    <a:pt x="431143" y="330013"/>
                  </a:lnTo>
                  <a:lnTo>
                    <a:pt x="431507" y="331374"/>
                  </a:lnTo>
                  <a:lnTo>
                    <a:pt x="432112" y="336245"/>
                  </a:lnTo>
                  <a:lnTo>
                    <a:pt x="432112" y="337304"/>
                  </a:lnTo>
                  <a:lnTo>
                    <a:pt x="436922" y="337425"/>
                  </a:lnTo>
                  <a:lnTo>
                    <a:pt x="438949" y="338362"/>
                  </a:lnTo>
                  <a:lnTo>
                    <a:pt x="440068" y="340601"/>
                  </a:lnTo>
                  <a:lnTo>
                    <a:pt x="439977" y="342991"/>
                  </a:lnTo>
                  <a:lnTo>
                    <a:pt x="439161" y="345350"/>
                  </a:lnTo>
                  <a:lnTo>
                    <a:pt x="437829" y="347165"/>
                  </a:lnTo>
                  <a:lnTo>
                    <a:pt x="436286" y="347892"/>
                  </a:lnTo>
                  <a:lnTo>
                    <a:pt x="431748" y="348708"/>
                  </a:lnTo>
                  <a:lnTo>
                    <a:pt x="430781" y="349616"/>
                  </a:lnTo>
                  <a:lnTo>
                    <a:pt x="430660" y="350402"/>
                  </a:lnTo>
                  <a:lnTo>
                    <a:pt x="430660" y="351370"/>
                  </a:lnTo>
                  <a:lnTo>
                    <a:pt x="430357" y="352762"/>
                  </a:lnTo>
                  <a:lnTo>
                    <a:pt x="433171" y="354849"/>
                  </a:lnTo>
                  <a:lnTo>
                    <a:pt x="437133" y="353427"/>
                  </a:lnTo>
                  <a:lnTo>
                    <a:pt x="444696" y="348557"/>
                  </a:lnTo>
                  <a:lnTo>
                    <a:pt x="445634" y="346439"/>
                  </a:lnTo>
                  <a:lnTo>
                    <a:pt x="446088" y="343929"/>
                  </a:lnTo>
                  <a:lnTo>
                    <a:pt x="446390" y="339724"/>
                  </a:lnTo>
                  <a:lnTo>
                    <a:pt x="446874" y="337878"/>
                  </a:lnTo>
                  <a:lnTo>
                    <a:pt x="448297" y="334036"/>
                  </a:lnTo>
                  <a:lnTo>
                    <a:pt x="448750" y="331949"/>
                  </a:lnTo>
                  <a:lnTo>
                    <a:pt x="449113" y="330376"/>
                  </a:lnTo>
                  <a:lnTo>
                    <a:pt x="449023" y="317368"/>
                  </a:lnTo>
                  <a:lnTo>
                    <a:pt x="450051" y="313586"/>
                  </a:lnTo>
                  <a:lnTo>
                    <a:pt x="452653" y="310501"/>
                  </a:lnTo>
                  <a:lnTo>
                    <a:pt x="456010" y="309321"/>
                  </a:lnTo>
                  <a:lnTo>
                    <a:pt x="461184" y="312467"/>
                  </a:lnTo>
                  <a:lnTo>
                    <a:pt x="462454" y="314161"/>
                  </a:lnTo>
                  <a:lnTo>
                    <a:pt x="463876" y="315613"/>
                  </a:lnTo>
                  <a:lnTo>
                    <a:pt x="466145" y="316127"/>
                  </a:lnTo>
                  <a:lnTo>
                    <a:pt x="466145" y="315250"/>
                  </a:lnTo>
                  <a:lnTo>
                    <a:pt x="464571" y="314222"/>
                  </a:lnTo>
                  <a:lnTo>
                    <a:pt x="463331" y="312497"/>
                  </a:lnTo>
                  <a:lnTo>
                    <a:pt x="462484" y="310531"/>
                  </a:lnTo>
                  <a:lnTo>
                    <a:pt x="462121" y="308777"/>
                  </a:lnTo>
                  <a:lnTo>
                    <a:pt x="462726" y="308777"/>
                  </a:lnTo>
                  <a:lnTo>
                    <a:pt x="463301" y="309805"/>
                  </a:lnTo>
                  <a:lnTo>
                    <a:pt x="463997" y="310682"/>
                  </a:lnTo>
                  <a:lnTo>
                    <a:pt x="464935" y="311438"/>
                  </a:lnTo>
                  <a:lnTo>
                    <a:pt x="466175" y="312013"/>
                  </a:lnTo>
                  <a:lnTo>
                    <a:pt x="465328" y="310652"/>
                  </a:lnTo>
                  <a:lnTo>
                    <a:pt x="465176" y="309442"/>
                  </a:lnTo>
                  <a:lnTo>
                    <a:pt x="465812" y="305449"/>
                  </a:lnTo>
                  <a:lnTo>
                    <a:pt x="466266" y="305025"/>
                  </a:lnTo>
                  <a:lnTo>
                    <a:pt x="466357" y="304511"/>
                  </a:lnTo>
                  <a:lnTo>
                    <a:pt x="465540" y="302968"/>
                  </a:lnTo>
                  <a:lnTo>
                    <a:pt x="464299" y="301607"/>
                  </a:lnTo>
                  <a:lnTo>
                    <a:pt x="454952" y="293741"/>
                  </a:lnTo>
                  <a:lnTo>
                    <a:pt x="453923" y="291533"/>
                  </a:lnTo>
                  <a:lnTo>
                    <a:pt x="453832" y="288296"/>
                  </a:lnTo>
                  <a:lnTo>
                    <a:pt x="454256" y="285876"/>
                  </a:lnTo>
                  <a:lnTo>
                    <a:pt x="455043" y="283093"/>
                  </a:lnTo>
                  <a:lnTo>
                    <a:pt x="456071" y="280461"/>
                  </a:lnTo>
                  <a:lnTo>
                    <a:pt x="457251" y="278465"/>
                  </a:lnTo>
                  <a:lnTo>
                    <a:pt x="457160" y="276407"/>
                  </a:lnTo>
                  <a:lnTo>
                    <a:pt x="459065" y="273412"/>
                  </a:lnTo>
                  <a:lnTo>
                    <a:pt x="461244" y="270992"/>
                  </a:lnTo>
                  <a:lnTo>
                    <a:pt x="463785" y="268149"/>
                  </a:lnTo>
                  <a:lnTo>
                    <a:pt x="466387" y="266818"/>
                  </a:lnTo>
                  <a:lnTo>
                    <a:pt x="467778" y="265850"/>
                  </a:lnTo>
                  <a:lnTo>
                    <a:pt x="467899" y="264821"/>
                  </a:lnTo>
                  <a:lnTo>
                    <a:pt x="465600" y="261887"/>
                  </a:lnTo>
                  <a:lnTo>
                    <a:pt x="465025" y="260253"/>
                  </a:lnTo>
                  <a:lnTo>
                    <a:pt x="465479" y="258680"/>
                  </a:lnTo>
                  <a:lnTo>
                    <a:pt x="464905" y="257863"/>
                  </a:lnTo>
                  <a:lnTo>
                    <a:pt x="464905" y="257107"/>
                  </a:lnTo>
                  <a:lnTo>
                    <a:pt x="465479" y="255413"/>
                  </a:lnTo>
                  <a:lnTo>
                    <a:pt x="467113" y="254294"/>
                  </a:lnTo>
                  <a:lnTo>
                    <a:pt x="467536" y="253749"/>
                  </a:lnTo>
                  <a:lnTo>
                    <a:pt x="467627" y="252902"/>
                  </a:lnTo>
                  <a:lnTo>
                    <a:pt x="467354" y="252176"/>
                  </a:lnTo>
                  <a:lnTo>
                    <a:pt x="467022" y="251541"/>
                  </a:lnTo>
                  <a:lnTo>
                    <a:pt x="466840" y="250875"/>
                  </a:lnTo>
                  <a:lnTo>
                    <a:pt x="467052" y="249726"/>
                  </a:lnTo>
                  <a:lnTo>
                    <a:pt x="467597" y="249060"/>
                  </a:lnTo>
                  <a:lnTo>
                    <a:pt x="468353" y="248485"/>
                  </a:lnTo>
                  <a:lnTo>
                    <a:pt x="469230" y="247578"/>
                  </a:lnTo>
                  <a:lnTo>
                    <a:pt x="469684" y="246186"/>
                  </a:lnTo>
                  <a:lnTo>
                    <a:pt x="469321" y="244795"/>
                  </a:lnTo>
                  <a:lnTo>
                    <a:pt x="468171" y="242223"/>
                  </a:lnTo>
                  <a:lnTo>
                    <a:pt x="467657" y="239803"/>
                  </a:lnTo>
                  <a:lnTo>
                    <a:pt x="467718" y="238714"/>
                  </a:lnTo>
                  <a:lnTo>
                    <a:pt x="468171" y="237262"/>
                  </a:lnTo>
                  <a:lnTo>
                    <a:pt x="468897" y="236022"/>
                  </a:lnTo>
                  <a:lnTo>
                    <a:pt x="469654" y="235507"/>
                  </a:lnTo>
                  <a:lnTo>
                    <a:pt x="470440" y="235144"/>
                  </a:lnTo>
                  <a:lnTo>
                    <a:pt x="472195" y="233632"/>
                  </a:lnTo>
                  <a:lnTo>
                    <a:pt x="473193" y="233027"/>
                  </a:lnTo>
                  <a:lnTo>
                    <a:pt x="473768" y="232271"/>
                  </a:lnTo>
                  <a:lnTo>
                    <a:pt x="473344" y="231030"/>
                  </a:lnTo>
                  <a:lnTo>
                    <a:pt x="472558" y="230123"/>
                  </a:lnTo>
                  <a:lnTo>
                    <a:pt x="471106" y="229094"/>
                  </a:lnTo>
                  <a:lnTo>
                    <a:pt x="470199" y="228187"/>
                  </a:lnTo>
                  <a:lnTo>
                    <a:pt x="468806" y="225736"/>
                  </a:lnTo>
                  <a:lnTo>
                    <a:pt x="468565" y="223316"/>
                  </a:lnTo>
                  <a:lnTo>
                    <a:pt x="469563" y="221440"/>
                  </a:lnTo>
                  <a:lnTo>
                    <a:pt x="474978" y="219505"/>
                  </a:lnTo>
                  <a:lnTo>
                    <a:pt x="474917" y="218204"/>
                  </a:lnTo>
                  <a:lnTo>
                    <a:pt x="474373" y="214937"/>
                  </a:lnTo>
                  <a:lnTo>
                    <a:pt x="474585" y="212305"/>
                  </a:lnTo>
                  <a:lnTo>
                    <a:pt x="475704" y="210973"/>
                  </a:lnTo>
                  <a:lnTo>
                    <a:pt x="477428" y="209854"/>
                  </a:lnTo>
                  <a:lnTo>
                    <a:pt x="481301" y="205952"/>
                  </a:lnTo>
                  <a:lnTo>
                    <a:pt x="483116" y="204742"/>
                  </a:lnTo>
                  <a:lnTo>
                    <a:pt x="490799" y="202110"/>
                  </a:lnTo>
                  <a:lnTo>
                    <a:pt x="496669" y="198964"/>
                  </a:lnTo>
                  <a:lnTo>
                    <a:pt x="503354" y="197572"/>
                  </a:lnTo>
                  <a:lnTo>
                    <a:pt x="507468" y="195606"/>
                  </a:lnTo>
                  <a:lnTo>
                    <a:pt x="510312" y="192944"/>
                  </a:lnTo>
                  <a:lnTo>
                    <a:pt x="509616" y="190070"/>
                  </a:lnTo>
                  <a:lnTo>
                    <a:pt x="512974" y="187317"/>
                  </a:lnTo>
                  <a:lnTo>
                    <a:pt x="514970" y="186288"/>
                  </a:lnTo>
                  <a:lnTo>
                    <a:pt x="517602" y="187619"/>
                  </a:lnTo>
                  <a:lnTo>
                    <a:pt x="520204" y="188013"/>
                  </a:lnTo>
                  <a:lnTo>
                    <a:pt x="521263" y="188406"/>
                  </a:lnTo>
                  <a:lnTo>
                    <a:pt x="522049" y="189223"/>
                  </a:lnTo>
                  <a:lnTo>
                    <a:pt x="523350" y="191129"/>
                  </a:lnTo>
                  <a:lnTo>
                    <a:pt x="524076" y="191703"/>
                  </a:lnTo>
                  <a:lnTo>
                    <a:pt x="526073" y="191703"/>
                  </a:lnTo>
                  <a:lnTo>
                    <a:pt x="529461" y="189102"/>
                  </a:lnTo>
                  <a:lnTo>
                    <a:pt x="531246" y="188406"/>
                  </a:lnTo>
                  <a:lnTo>
                    <a:pt x="535118" y="188406"/>
                  </a:lnTo>
                  <a:lnTo>
                    <a:pt x="536056" y="188194"/>
                  </a:lnTo>
                  <a:lnTo>
                    <a:pt x="537417" y="187619"/>
                  </a:lnTo>
                  <a:lnTo>
                    <a:pt x="538536" y="187498"/>
                  </a:lnTo>
                  <a:lnTo>
                    <a:pt x="540563" y="187741"/>
                  </a:lnTo>
                  <a:lnTo>
                    <a:pt x="544345" y="188890"/>
                  </a:lnTo>
                  <a:lnTo>
                    <a:pt x="548852" y="189465"/>
                  </a:lnTo>
                  <a:lnTo>
                    <a:pt x="551121" y="190251"/>
                  </a:lnTo>
                  <a:lnTo>
                    <a:pt x="553239" y="191340"/>
                  </a:lnTo>
                  <a:lnTo>
                    <a:pt x="558230" y="195091"/>
                  </a:lnTo>
                  <a:lnTo>
                    <a:pt x="560711" y="197754"/>
                  </a:lnTo>
                  <a:lnTo>
                    <a:pt x="562798" y="200748"/>
                  </a:lnTo>
                  <a:lnTo>
                    <a:pt x="564734" y="204197"/>
                  </a:lnTo>
                  <a:lnTo>
                    <a:pt x="565067" y="202533"/>
                  </a:lnTo>
                  <a:lnTo>
                    <a:pt x="564553" y="200022"/>
                  </a:lnTo>
                  <a:lnTo>
                    <a:pt x="563705" y="197754"/>
                  </a:lnTo>
                  <a:close/>
                  <a:moveTo>
                    <a:pt x="77686" y="155795"/>
                  </a:moveTo>
                  <a:lnTo>
                    <a:pt x="74298" y="158185"/>
                  </a:lnTo>
                  <a:lnTo>
                    <a:pt x="70849" y="157247"/>
                  </a:lnTo>
                  <a:lnTo>
                    <a:pt x="70244" y="156067"/>
                  </a:lnTo>
                  <a:lnTo>
                    <a:pt x="70033" y="154797"/>
                  </a:lnTo>
                  <a:lnTo>
                    <a:pt x="70244" y="153526"/>
                  </a:lnTo>
                  <a:lnTo>
                    <a:pt x="70849" y="152316"/>
                  </a:lnTo>
                  <a:lnTo>
                    <a:pt x="72120" y="151469"/>
                  </a:lnTo>
                  <a:lnTo>
                    <a:pt x="73511" y="151106"/>
                  </a:lnTo>
                  <a:lnTo>
                    <a:pt x="74963" y="151106"/>
                  </a:lnTo>
                  <a:lnTo>
                    <a:pt x="76415" y="151257"/>
                  </a:lnTo>
                  <a:lnTo>
                    <a:pt x="79047" y="152618"/>
                  </a:lnTo>
                  <a:lnTo>
                    <a:pt x="77686" y="155795"/>
                  </a:lnTo>
                  <a:close/>
                </a:path>
              </a:pathLst>
            </a:custGeom>
            <a:solidFill>
              <a:srgbClr val="96A3AC"/>
            </a:solidFill>
            <a:ln w="3175" cap="rnd">
              <a:solidFill>
                <a:schemeClr val="bg1"/>
              </a:solidFill>
              <a:prstDash val="solid"/>
              <a:round/>
            </a:ln>
          </p:spPr>
          <p:txBody>
            <a:bodyPr rtlCol="0" anchor="ctr"/>
            <a:lstStyle/>
            <a:p>
              <a:endParaRPr lang="en-ID"/>
            </a:p>
          </p:txBody>
        </p:sp>
        <p:sp>
          <p:nvSpPr>
            <p:cNvPr id="65" name="Freeform: Shape 64">
              <a:extLst>
                <a:ext uri="{FF2B5EF4-FFF2-40B4-BE49-F238E27FC236}">
                  <a16:creationId xmlns:a16="http://schemas.microsoft.com/office/drawing/2014/main" id="{E53BEBD3-9020-F16A-C1D2-1F6B5DE5CBEB}"/>
                </a:ext>
              </a:extLst>
            </p:cNvPr>
            <p:cNvSpPr/>
            <p:nvPr/>
          </p:nvSpPr>
          <p:spPr>
            <a:xfrm>
              <a:off x="8901584" y="4161555"/>
              <a:ext cx="596575" cy="280640"/>
            </a:xfrm>
            <a:custGeom>
              <a:avLst/>
              <a:gdLst>
                <a:gd name="connsiteX0" fmla="*/ 767509 w 767509"/>
                <a:gd name="connsiteY0" fmla="*/ 140004 h 361050"/>
                <a:gd name="connsiteX1" fmla="*/ 765180 w 767509"/>
                <a:gd name="connsiteY1" fmla="*/ 138037 h 361050"/>
                <a:gd name="connsiteX2" fmla="*/ 761913 w 767509"/>
                <a:gd name="connsiteY2" fmla="*/ 136979 h 361050"/>
                <a:gd name="connsiteX3" fmla="*/ 759614 w 767509"/>
                <a:gd name="connsiteY3" fmla="*/ 135829 h 361050"/>
                <a:gd name="connsiteX4" fmla="*/ 760128 w 767509"/>
                <a:gd name="connsiteY4" fmla="*/ 133560 h 361050"/>
                <a:gd name="connsiteX5" fmla="*/ 758948 w 767509"/>
                <a:gd name="connsiteY5" fmla="*/ 132622 h 361050"/>
                <a:gd name="connsiteX6" fmla="*/ 758524 w 767509"/>
                <a:gd name="connsiteY6" fmla="*/ 132411 h 361050"/>
                <a:gd name="connsiteX7" fmla="*/ 759130 w 767509"/>
                <a:gd name="connsiteY7" fmla="*/ 129839 h 361050"/>
                <a:gd name="connsiteX8" fmla="*/ 759644 w 767509"/>
                <a:gd name="connsiteY8" fmla="*/ 128417 h 361050"/>
                <a:gd name="connsiteX9" fmla="*/ 760673 w 767509"/>
                <a:gd name="connsiteY9" fmla="*/ 127268 h 361050"/>
                <a:gd name="connsiteX10" fmla="*/ 759372 w 767509"/>
                <a:gd name="connsiteY10" fmla="*/ 125967 h 361050"/>
                <a:gd name="connsiteX11" fmla="*/ 758887 w 767509"/>
                <a:gd name="connsiteY11" fmla="*/ 125180 h 361050"/>
                <a:gd name="connsiteX12" fmla="*/ 757375 w 767509"/>
                <a:gd name="connsiteY12" fmla="*/ 122639 h 361050"/>
                <a:gd name="connsiteX13" fmla="*/ 756316 w 767509"/>
                <a:gd name="connsiteY13" fmla="*/ 122004 h 361050"/>
                <a:gd name="connsiteX14" fmla="*/ 754713 w 767509"/>
                <a:gd name="connsiteY14" fmla="*/ 121792 h 361050"/>
                <a:gd name="connsiteX15" fmla="*/ 753321 w 767509"/>
                <a:gd name="connsiteY15" fmla="*/ 121006 h 361050"/>
                <a:gd name="connsiteX16" fmla="*/ 750780 w 767509"/>
                <a:gd name="connsiteY16" fmla="*/ 118465 h 361050"/>
                <a:gd name="connsiteX17" fmla="*/ 750054 w 767509"/>
                <a:gd name="connsiteY17" fmla="*/ 116287 h 361050"/>
                <a:gd name="connsiteX18" fmla="*/ 750054 w 767509"/>
                <a:gd name="connsiteY18" fmla="*/ 113291 h 361050"/>
                <a:gd name="connsiteX19" fmla="*/ 749570 w 767509"/>
                <a:gd name="connsiteY19" fmla="*/ 110781 h 361050"/>
                <a:gd name="connsiteX20" fmla="*/ 747997 w 767509"/>
                <a:gd name="connsiteY20" fmla="*/ 105789 h 361050"/>
                <a:gd name="connsiteX21" fmla="*/ 747967 w 767509"/>
                <a:gd name="connsiteY21" fmla="*/ 105124 h 361050"/>
                <a:gd name="connsiteX22" fmla="*/ 748088 w 767509"/>
                <a:gd name="connsiteY22" fmla="*/ 103551 h 361050"/>
                <a:gd name="connsiteX23" fmla="*/ 747997 w 767509"/>
                <a:gd name="connsiteY23" fmla="*/ 102946 h 361050"/>
                <a:gd name="connsiteX24" fmla="*/ 747634 w 767509"/>
                <a:gd name="connsiteY24" fmla="*/ 102462 h 361050"/>
                <a:gd name="connsiteX25" fmla="*/ 746999 w 767509"/>
                <a:gd name="connsiteY25" fmla="*/ 102280 h 361050"/>
                <a:gd name="connsiteX26" fmla="*/ 745880 w 767509"/>
                <a:gd name="connsiteY26" fmla="*/ 101342 h 361050"/>
                <a:gd name="connsiteX27" fmla="*/ 744972 w 767509"/>
                <a:gd name="connsiteY27" fmla="*/ 100949 h 361050"/>
                <a:gd name="connsiteX28" fmla="*/ 744216 w 767509"/>
                <a:gd name="connsiteY28" fmla="*/ 100495 h 361050"/>
                <a:gd name="connsiteX29" fmla="*/ 743883 w 767509"/>
                <a:gd name="connsiteY29" fmla="*/ 99678 h 361050"/>
                <a:gd name="connsiteX30" fmla="*/ 743762 w 767509"/>
                <a:gd name="connsiteY30" fmla="*/ 99043 h 361050"/>
                <a:gd name="connsiteX31" fmla="*/ 743429 w 767509"/>
                <a:gd name="connsiteY31" fmla="*/ 98257 h 361050"/>
                <a:gd name="connsiteX32" fmla="*/ 743096 w 767509"/>
                <a:gd name="connsiteY32" fmla="*/ 97561 h 361050"/>
                <a:gd name="connsiteX33" fmla="*/ 742824 w 767509"/>
                <a:gd name="connsiteY33" fmla="*/ 97258 h 361050"/>
                <a:gd name="connsiteX34" fmla="*/ 742370 w 767509"/>
                <a:gd name="connsiteY34" fmla="*/ 96986 h 361050"/>
                <a:gd name="connsiteX35" fmla="*/ 742552 w 767509"/>
                <a:gd name="connsiteY35" fmla="*/ 96290 h 361050"/>
                <a:gd name="connsiteX36" fmla="*/ 742945 w 767509"/>
                <a:gd name="connsiteY36" fmla="*/ 95474 h 361050"/>
                <a:gd name="connsiteX37" fmla="*/ 743187 w 767509"/>
                <a:gd name="connsiteY37" fmla="*/ 94868 h 361050"/>
                <a:gd name="connsiteX38" fmla="*/ 742733 w 767509"/>
                <a:gd name="connsiteY38" fmla="*/ 93749 h 361050"/>
                <a:gd name="connsiteX39" fmla="*/ 741705 w 767509"/>
                <a:gd name="connsiteY39" fmla="*/ 92690 h 361050"/>
                <a:gd name="connsiteX40" fmla="*/ 740646 w 767509"/>
                <a:gd name="connsiteY40" fmla="*/ 91904 h 361050"/>
                <a:gd name="connsiteX41" fmla="*/ 740071 w 767509"/>
                <a:gd name="connsiteY41" fmla="*/ 91571 h 361050"/>
                <a:gd name="connsiteX42" fmla="*/ 738045 w 767509"/>
                <a:gd name="connsiteY42" fmla="*/ 91389 h 361050"/>
                <a:gd name="connsiteX43" fmla="*/ 737258 w 767509"/>
                <a:gd name="connsiteY43" fmla="*/ 90966 h 361050"/>
                <a:gd name="connsiteX44" fmla="*/ 736955 w 767509"/>
                <a:gd name="connsiteY44" fmla="*/ 90119 h 361050"/>
                <a:gd name="connsiteX45" fmla="*/ 737016 w 767509"/>
                <a:gd name="connsiteY45" fmla="*/ 88607 h 361050"/>
                <a:gd name="connsiteX46" fmla="*/ 737197 w 767509"/>
                <a:gd name="connsiteY46" fmla="*/ 87941 h 361050"/>
                <a:gd name="connsiteX47" fmla="*/ 737439 w 767509"/>
                <a:gd name="connsiteY47" fmla="*/ 87518 h 361050"/>
                <a:gd name="connsiteX48" fmla="*/ 737682 w 767509"/>
                <a:gd name="connsiteY48" fmla="*/ 86670 h 361050"/>
                <a:gd name="connsiteX49" fmla="*/ 738589 w 767509"/>
                <a:gd name="connsiteY49" fmla="*/ 79229 h 361050"/>
                <a:gd name="connsiteX50" fmla="*/ 739012 w 767509"/>
                <a:gd name="connsiteY50" fmla="*/ 77232 h 361050"/>
                <a:gd name="connsiteX51" fmla="*/ 740011 w 767509"/>
                <a:gd name="connsiteY51" fmla="*/ 75387 h 361050"/>
                <a:gd name="connsiteX52" fmla="*/ 742673 w 767509"/>
                <a:gd name="connsiteY52" fmla="*/ 71877 h 361050"/>
                <a:gd name="connsiteX53" fmla="*/ 743187 w 767509"/>
                <a:gd name="connsiteY53" fmla="*/ 70032 h 361050"/>
                <a:gd name="connsiteX54" fmla="*/ 743943 w 767509"/>
                <a:gd name="connsiteY54" fmla="*/ 68701 h 361050"/>
                <a:gd name="connsiteX55" fmla="*/ 745577 w 767509"/>
                <a:gd name="connsiteY55" fmla="*/ 67461 h 361050"/>
                <a:gd name="connsiteX56" fmla="*/ 747241 w 767509"/>
                <a:gd name="connsiteY56" fmla="*/ 65857 h 361050"/>
                <a:gd name="connsiteX57" fmla="*/ 747453 w 767509"/>
                <a:gd name="connsiteY57" fmla="*/ 65131 h 361050"/>
                <a:gd name="connsiteX58" fmla="*/ 747997 w 767509"/>
                <a:gd name="connsiteY58" fmla="*/ 63407 h 361050"/>
                <a:gd name="connsiteX59" fmla="*/ 747059 w 767509"/>
                <a:gd name="connsiteY59" fmla="*/ 56873 h 361050"/>
                <a:gd name="connsiteX60" fmla="*/ 743611 w 767509"/>
                <a:gd name="connsiteY60" fmla="*/ 53152 h 361050"/>
                <a:gd name="connsiteX61" fmla="*/ 742219 w 767509"/>
                <a:gd name="connsiteY61" fmla="*/ 43895 h 361050"/>
                <a:gd name="connsiteX62" fmla="*/ 739829 w 767509"/>
                <a:gd name="connsiteY62" fmla="*/ 40809 h 361050"/>
                <a:gd name="connsiteX63" fmla="*/ 738165 w 767509"/>
                <a:gd name="connsiteY63" fmla="*/ 40688 h 361050"/>
                <a:gd name="connsiteX64" fmla="*/ 734293 w 767509"/>
                <a:gd name="connsiteY64" fmla="*/ 41959 h 361050"/>
                <a:gd name="connsiteX65" fmla="*/ 732357 w 767509"/>
                <a:gd name="connsiteY65" fmla="*/ 42201 h 361050"/>
                <a:gd name="connsiteX66" fmla="*/ 730512 w 767509"/>
                <a:gd name="connsiteY66" fmla="*/ 41565 h 361050"/>
                <a:gd name="connsiteX67" fmla="*/ 726882 w 767509"/>
                <a:gd name="connsiteY67" fmla="*/ 39327 h 361050"/>
                <a:gd name="connsiteX68" fmla="*/ 725339 w 767509"/>
                <a:gd name="connsiteY68" fmla="*/ 38843 h 361050"/>
                <a:gd name="connsiteX69" fmla="*/ 721497 w 767509"/>
                <a:gd name="connsiteY69" fmla="*/ 38994 h 361050"/>
                <a:gd name="connsiteX70" fmla="*/ 719894 w 767509"/>
                <a:gd name="connsiteY70" fmla="*/ 38722 h 361050"/>
                <a:gd name="connsiteX71" fmla="*/ 718562 w 767509"/>
                <a:gd name="connsiteY71" fmla="*/ 37875 h 361050"/>
                <a:gd name="connsiteX72" fmla="*/ 717867 w 767509"/>
                <a:gd name="connsiteY72" fmla="*/ 36241 h 361050"/>
                <a:gd name="connsiteX73" fmla="*/ 717473 w 767509"/>
                <a:gd name="connsiteY73" fmla="*/ 34215 h 361050"/>
                <a:gd name="connsiteX74" fmla="*/ 716687 w 767509"/>
                <a:gd name="connsiteY74" fmla="*/ 32520 h 361050"/>
                <a:gd name="connsiteX75" fmla="*/ 714751 w 767509"/>
                <a:gd name="connsiteY75" fmla="*/ 31794 h 361050"/>
                <a:gd name="connsiteX76" fmla="*/ 712905 w 767509"/>
                <a:gd name="connsiteY76" fmla="*/ 31613 h 361050"/>
                <a:gd name="connsiteX77" fmla="*/ 706885 w 767509"/>
                <a:gd name="connsiteY77" fmla="*/ 29979 h 361050"/>
                <a:gd name="connsiteX78" fmla="*/ 705191 w 767509"/>
                <a:gd name="connsiteY78" fmla="*/ 28981 h 361050"/>
                <a:gd name="connsiteX79" fmla="*/ 704254 w 767509"/>
                <a:gd name="connsiteY79" fmla="*/ 28678 h 361050"/>
                <a:gd name="connsiteX80" fmla="*/ 703316 w 767509"/>
                <a:gd name="connsiteY80" fmla="*/ 28799 h 361050"/>
                <a:gd name="connsiteX81" fmla="*/ 701501 w 767509"/>
                <a:gd name="connsiteY81" fmla="*/ 29525 h 361050"/>
                <a:gd name="connsiteX82" fmla="*/ 700472 w 767509"/>
                <a:gd name="connsiteY82" fmla="*/ 29556 h 361050"/>
                <a:gd name="connsiteX83" fmla="*/ 697568 w 767509"/>
                <a:gd name="connsiteY83" fmla="*/ 29162 h 361050"/>
                <a:gd name="connsiteX84" fmla="*/ 695813 w 767509"/>
                <a:gd name="connsiteY84" fmla="*/ 30251 h 361050"/>
                <a:gd name="connsiteX85" fmla="*/ 690731 w 767509"/>
                <a:gd name="connsiteY85" fmla="*/ 38298 h 361050"/>
                <a:gd name="connsiteX86" fmla="*/ 689612 w 767509"/>
                <a:gd name="connsiteY86" fmla="*/ 39236 h 361050"/>
                <a:gd name="connsiteX87" fmla="*/ 688009 w 767509"/>
                <a:gd name="connsiteY87" fmla="*/ 39660 h 361050"/>
                <a:gd name="connsiteX88" fmla="*/ 687464 w 767509"/>
                <a:gd name="connsiteY88" fmla="*/ 39509 h 361050"/>
                <a:gd name="connsiteX89" fmla="*/ 686133 w 767509"/>
                <a:gd name="connsiteY89" fmla="*/ 38510 h 361050"/>
                <a:gd name="connsiteX90" fmla="*/ 684045 w 767509"/>
                <a:gd name="connsiteY90" fmla="*/ 38783 h 361050"/>
                <a:gd name="connsiteX91" fmla="*/ 683925 w 767509"/>
                <a:gd name="connsiteY91" fmla="*/ 38903 h 361050"/>
                <a:gd name="connsiteX92" fmla="*/ 669858 w 767509"/>
                <a:gd name="connsiteY92" fmla="*/ 36967 h 361050"/>
                <a:gd name="connsiteX93" fmla="*/ 660570 w 767509"/>
                <a:gd name="connsiteY93" fmla="*/ 37482 h 361050"/>
                <a:gd name="connsiteX94" fmla="*/ 655216 w 767509"/>
                <a:gd name="connsiteY94" fmla="*/ 35364 h 361050"/>
                <a:gd name="connsiteX95" fmla="*/ 645112 w 767509"/>
                <a:gd name="connsiteY95" fmla="*/ 28587 h 361050"/>
                <a:gd name="connsiteX96" fmla="*/ 644961 w 767509"/>
                <a:gd name="connsiteY96" fmla="*/ 27861 h 361050"/>
                <a:gd name="connsiteX97" fmla="*/ 644961 w 767509"/>
                <a:gd name="connsiteY97" fmla="*/ 26924 h 361050"/>
                <a:gd name="connsiteX98" fmla="*/ 644416 w 767509"/>
                <a:gd name="connsiteY98" fmla="*/ 26319 h 361050"/>
                <a:gd name="connsiteX99" fmla="*/ 642722 w 767509"/>
                <a:gd name="connsiteY99" fmla="*/ 26712 h 361050"/>
                <a:gd name="connsiteX100" fmla="*/ 642601 w 767509"/>
                <a:gd name="connsiteY100" fmla="*/ 25230 h 361050"/>
                <a:gd name="connsiteX101" fmla="*/ 641845 w 767509"/>
                <a:gd name="connsiteY101" fmla="*/ 24594 h 361050"/>
                <a:gd name="connsiteX102" fmla="*/ 640726 w 767509"/>
                <a:gd name="connsiteY102" fmla="*/ 24564 h 361050"/>
                <a:gd name="connsiteX103" fmla="*/ 639455 w 767509"/>
                <a:gd name="connsiteY103" fmla="*/ 24836 h 361050"/>
                <a:gd name="connsiteX104" fmla="*/ 640484 w 767509"/>
                <a:gd name="connsiteY104" fmla="*/ 23596 h 361050"/>
                <a:gd name="connsiteX105" fmla="*/ 639637 w 767509"/>
                <a:gd name="connsiteY105" fmla="*/ 23627 h 361050"/>
                <a:gd name="connsiteX106" fmla="*/ 638911 w 767509"/>
                <a:gd name="connsiteY106" fmla="*/ 23324 h 361050"/>
                <a:gd name="connsiteX107" fmla="*/ 637791 w 767509"/>
                <a:gd name="connsiteY107" fmla="*/ 22567 h 361050"/>
                <a:gd name="connsiteX108" fmla="*/ 635885 w 767509"/>
                <a:gd name="connsiteY108" fmla="*/ 22447 h 361050"/>
                <a:gd name="connsiteX109" fmla="*/ 635190 w 767509"/>
                <a:gd name="connsiteY109" fmla="*/ 22174 h 361050"/>
                <a:gd name="connsiteX110" fmla="*/ 634706 w 767509"/>
                <a:gd name="connsiteY110" fmla="*/ 21478 h 361050"/>
                <a:gd name="connsiteX111" fmla="*/ 634282 w 767509"/>
                <a:gd name="connsiteY111" fmla="*/ 19724 h 361050"/>
                <a:gd name="connsiteX112" fmla="*/ 633707 w 767509"/>
                <a:gd name="connsiteY112" fmla="*/ 19331 h 361050"/>
                <a:gd name="connsiteX113" fmla="*/ 630622 w 767509"/>
                <a:gd name="connsiteY113" fmla="*/ 19331 h 361050"/>
                <a:gd name="connsiteX114" fmla="*/ 629744 w 767509"/>
                <a:gd name="connsiteY114" fmla="*/ 19542 h 361050"/>
                <a:gd name="connsiteX115" fmla="*/ 626174 w 767509"/>
                <a:gd name="connsiteY115" fmla="*/ 21267 h 361050"/>
                <a:gd name="connsiteX116" fmla="*/ 624481 w 767509"/>
                <a:gd name="connsiteY116" fmla="*/ 21781 h 361050"/>
                <a:gd name="connsiteX117" fmla="*/ 622151 w 767509"/>
                <a:gd name="connsiteY117" fmla="*/ 21781 h 361050"/>
                <a:gd name="connsiteX118" fmla="*/ 619913 w 767509"/>
                <a:gd name="connsiteY118" fmla="*/ 21267 h 361050"/>
                <a:gd name="connsiteX119" fmla="*/ 612108 w 767509"/>
                <a:gd name="connsiteY119" fmla="*/ 17213 h 361050"/>
                <a:gd name="connsiteX120" fmla="*/ 606088 w 767509"/>
                <a:gd name="connsiteY120" fmla="*/ 15065 h 361050"/>
                <a:gd name="connsiteX121" fmla="*/ 603789 w 767509"/>
                <a:gd name="connsiteY121" fmla="*/ 14248 h 361050"/>
                <a:gd name="connsiteX122" fmla="*/ 598827 w 767509"/>
                <a:gd name="connsiteY122" fmla="*/ 10286 h 361050"/>
                <a:gd name="connsiteX123" fmla="*/ 596649 w 767509"/>
                <a:gd name="connsiteY123" fmla="*/ 9136 h 361050"/>
                <a:gd name="connsiteX124" fmla="*/ 592172 w 767509"/>
                <a:gd name="connsiteY124" fmla="*/ 7745 h 361050"/>
                <a:gd name="connsiteX125" fmla="*/ 587362 w 767509"/>
                <a:gd name="connsiteY125" fmla="*/ 5476 h 361050"/>
                <a:gd name="connsiteX126" fmla="*/ 585093 w 767509"/>
                <a:gd name="connsiteY126" fmla="*/ 4901 h 361050"/>
                <a:gd name="connsiteX127" fmla="*/ 580404 w 767509"/>
                <a:gd name="connsiteY127" fmla="*/ 4840 h 361050"/>
                <a:gd name="connsiteX128" fmla="*/ 579890 w 767509"/>
                <a:gd name="connsiteY128" fmla="*/ 4507 h 361050"/>
                <a:gd name="connsiteX129" fmla="*/ 579466 w 767509"/>
                <a:gd name="connsiteY129" fmla="*/ 3842 h 361050"/>
                <a:gd name="connsiteX130" fmla="*/ 578982 w 767509"/>
                <a:gd name="connsiteY130" fmla="*/ 3237 h 361050"/>
                <a:gd name="connsiteX131" fmla="*/ 578196 w 767509"/>
                <a:gd name="connsiteY131" fmla="*/ 3267 h 361050"/>
                <a:gd name="connsiteX132" fmla="*/ 577772 w 767509"/>
                <a:gd name="connsiteY132" fmla="*/ 3842 h 361050"/>
                <a:gd name="connsiteX133" fmla="*/ 577561 w 767509"/>
                <a:gd name="connsiteY133" fmla="*/ 5718 h 361050"/>
                <a:gd name="connsiteX134" fmla="*/ 577198 w 767509"/>
                <a:gd name="connsiteY134" fmla="*/ 6444 h 361050"/>
                <a:gd name="connsiteX135" fmla="*/ 575806 w 767509"/>
                <a:gd name="connsiteY135" fmla="*/ 7986 h 361050"/>
                <a:gd name="connsiteX136" fmla="*/ 575292 w 767509"/>
                <a:gd name="connsiteY136" fmla="*/ 8319 h 361050"/>
                <a:gd name="connsiteX137" fmla="*/ 567608 w 767509"/>
                <a:gd name="connsiteY137" fmla="*/ 10225 h 361050"/>
                <a:gd name="connsiteX138" fmla="*/ 565611 w 767509"/>
                <a:gd name="connsiteY138" fmla="*/ 10164 h 361050"/>
                <a:gd name="connsiteX139" fmla="*/ 566277 w 767509"/>
                <a:gd name="connsiteY139" fmla="*/ 8168 h 361050"/>
                <a:gd name="connsiteX140" fmla="*/ 566337 w 767509"/>
                <a:gd name="connsiteY140" fmla="*/ 6262 h 361050"/>
                <a:gd name="connsiteX141" fmla="*/ 565914 w 767509"/>
                <a:gd name="connsiteY141" fmla="*/ 4356 h 361050"/>
                <a:gd name="connsiteX142" fmla="*/ 565157 w 767509"/>
                <a:gd name="connsiteY142" fmla="*/ 2360 h 361050"/>
                <a:gd name="connsiteX143" fmla="*/ 557322 w 767509"/>
                <a:gd name="connsiteY143" fmla="*/ 1785 h 361050"/>
                <a:gd name="connsiteX144" fmla="*/ 551726 w 767509"/>
                <a:gd name="connsiteY144" fmla="*/ 0 h 361050"/>
                <a:gd name="connsiteX145" fmla="*/ 549548 w 767509"/>
                <a:gd name="connsiteY145" fmla="*/ 272 h 361050"/>
                <a:gd name="connsiteX146" fmla="*/ 549215 w 767509"/>
                <a:gd name="connsiteY146" fmla="*/ 484 h 361050"/>
                <a:gd name="connsiteX147" fmla="*/ 549064 w 767509"/>
                <a:gd name="connsiteY147" fmla="*/ 968 h 361050"/>
                <a:gd name="connsiteX148" fmla="*/ 549064 w 767509"/>
                <a:gd name="connsiteY148" fmla="*/ 1634 h 361050"/>
                <a:gd name="connsiteX149" fmla="*/ 549154 w 767509"/>
                <a:gd name="connsiteY149" fmla="*/ 2390 h 361050"/>
                <a:gd name="connsiteX150" fmla="*/ 547793 w 767509"/>
                <a:gd name="connsiteY150" fmla="*/ 5355 h 361050"/>
                <a:gd name="connsiteX151" fmla="*/ 547733 w 767509"/>
                <a:gd name="connsiteY151" fmla="*/ 9348 h 361050"/>
                <a:gd name="connsiteX152" fmla="*/ 548156 w 767509"/>
                <a:gd name="connsiteY152" fmla="*/ 13674 h 361050"/>
                <a:gd name="connsiteX153" fmla="*/ 548126 w 767509"/>
                <a:gd name="connsiteY153" fmla="*/ 17546 h 361050"/>
                <a:gd name="connsiteX154" fmla="*/ 546008 w 767509"/>
                <a:gd name="connsiteY154" fmla="*/ 26349 h 361050"/>
                <a:gd name="connsiteX155" fmla="*/ 545282 w 767509"/>
                <a:gd name="connsiteY155" fmla="*/ 28104 h 361050"/>
                <a:gd name="connsiteX156" fmla="*/ 545131 w 767509"/>
                <a:gd name="connsiteY156" fmla="*/ 29072 h 361050"/>
                <a:gd name="connsiteX157" fmla="*/ 545312 w 767509"/>
                <a:gd name="connsiteY157" fmla="*/ 29949 h 361050"/>
                <a:gd name="connsiteX158" fmla="*/ 545766 w 767509"/>
                <a:gd name="connsiteY158" fmla="*/ 31068 h 361050"/>
                <a:gd name="connsiteX159" fmla="*/ 546190 w 767509"/>
                <a:gd name="connsiteY159" fmla="*/ 31976 h 361050"/>
                <a:gd name="connsiteX160" fmla="*/ 546401 w 767509"/>
                <a:gd name="connsiteY160" fmla="*/ 32248 h 361050"/>
                <a:gd name="connsiteX161" fmla="*/ 545252 w 767509"/>
                <a:gd name="connsiteY161" fmla="*/ 34698 h 361050"/>
                <a:gd name="connsiteX162" fmla="*/ 543225 w 767509"/>
                <a:gd name="connsiteY162" fmla="*/ 34850 h 361050"/>
                <a:gd name="connsiteX163" fmla="*/ 538022 w 767509"/>
                <a:gd name="connsiteY163" fmla="*/ 32914 h 361050"/>
                <a:gd name="connsiteX164" fmla="*/ 532758 w 767509"/>
                <a:gd name="connsiteY164" fmla="*/ 32248 h 361050"/>
                <a:gd name="connsiteX165" fmla="*/ 531245 w 767509"/>
                <a:gd name="connsiteY165" fmla="*/ 32762 h 361050"/>
                <a:gd name="connsiteX166" fmla="*/ 530641 w 767509"/>
                <a:gd name="connsiteY166" fmla="*/ 34093 h 361050"/>
                <a:gd name="connsiteX167" fmla="*/ 530247 w 767509"/>
                <a:gd name="connsiteY167" fmla="*/ 35787 h 361050"/>
                <a:gd name="connsiteX168" fmla="*/ 529249 w 767509"/>
                <a:gd name="connsiteY168" fmla="*/ 37451 h 361050"/>
                <a:gd name="connsiteX169" fmla="*/ 528735 w 767509"/>
                <a:gd name="connsiteY169" fmla="*/ 40113 h 361050"/>
                <a:gd name="connsiteX170" fmla="*/ 523441 w 767509"/>
                <a:gd name="connsiteY170" fmla="*/ 44409 h 361050"/>
                <a:gd name="connsiteX171" fmla="*/ 521535 w 767509"/>
                <a:gd name="connsiteY171" fmla="*/ 47253 h 361050"/>
                <a:gd name="connsiteX172" fmla="*/ 521172 w 767509"/>
                <a:gd name="connsiteY172" fmla="*/ 51004 h 361050"/>
                <a:gd name="connsiteX173" fmla="*/ 521232 w 767509"/>
                <a:gd name="connsiteY173" fmla="*/ 55300 h 361050"/>
                <a:gd name="connsiteX174" fmla="*/ 520718 w 767509"/>
                <a:gd name="connsiteY174" fmla="*/ 58930 h 361050"/>
                <a:gd name="connsiteX175" fmla="*/ 520264 w 767509"/>
                <a:gd name="connsiteY175" fmla="*/ 59353 h 361050"/>
                <a:gd name="connsiteX176" fmla="*/ 518691 w 767509"/>
                <a:gd name="connsiteY176" fmla="*/ 60775 h 361050"/>
                <a:gd name="connsiteX177" fmla="*/ 517027 w 767509"/>
                <a:gd name="connsiteY177" fmla="*/ 60685 h 361050"/>
                <a:gd name="connsiteX178" fmla="*/ 516241 w 767509"/>
                <a:gd name="connsiteY178" fmla="*/ 59747 h 361050"/>
                <a:gd name="connsiteX179" fmla="*/ 515666 w 767509"/>
                <a:gd name="connsiteY179" fmla="*/ 58446 h 361050"/>
                <a:gd name="connsiteX180" fmla="*/ 514577 w 767509"/>
                <a:gd name="connsiteY180" fmla="*/ 57145 h 361050"/>
                <a:gd name="connsiteX181" fmla="*/ 513911 w 767509"/>
                <a:gd name="connsiteY181" fmla="*/ 56994 h 361050"/>
                <a:gd name="connsiteX182" fmla="*/ 512369 w 767509"/>
                <a:gd name="connsiteY182" fmla="*/ 57478 h 361050"/>
                <a:gd name="connsiteX183" fmla="*/ 511612 w 767509"/>
                <a:gd name="connsiteY183" fmla="*/ 57417 h 361050"/>
                <a:gd name="connsiteX184" fmla="*/ 511280 w 767509"/>
                <a:gd name="connsiteY184" fmla="*/ 56812 h 361050"/>
                <a:gd name="connsiteX185" fmla="*/ 511280 w 767509"/>
                <a:gd name="connsiteY185" fmla="*/ 55905 h 361050"/>
                <a:gd name="connsiteX186" fmla="*/ 511159 w 767509"/>
                <a:gd name="connsiteY186" fmla="*/ 54997 h 361050"/>
                <a:gd name="connsiteX187" fmla="*/ 510493 w 767509"/>
                <a:gd name="connsiteY187" fmla="*/ 54483 h 361050"/>
                <a:gd name="connsiteX188" fmla="*/ 508950 w 767509"/>
                <a:gd name="connsiteY188" fmla="*/ 54604 h 361050"/>
                <a:gd name="connsiteX189" fmla="*/ 505925 w 767509"/>
                <a:gd name="connsiteY189" fmla="*/ 55935 h 361050"/>
                <a:gd name="connsiteX190" fmla="*/ 504443 w 767509"/>
                <a:gd name="connsiteY190" fmla="*/ 56237 h 361050"/>
                <a:gd name="connsiteX191" fmla="*/ 503233 w 767509"/>
                <a:gd name="connsiteY191" fmla="*/ 55965 h 361050"/>
                <a:gd name="connsiteX192" fmla="*/ 499209 w 767509"/>
                <a:gd name="connsiteY192" fmla="*/ 54059 h 361050"/>
                <a:gd name="connsiteX193" fmla="*/ 496819 w 767509"/>
                <a:gd name="connsiteY193" fmla="*/ 51427 h 361050"/>
                <a:gd name="connsiteX194" fmla="*/ 495367 w 767509"/>
                <a:gd name="connsiteY194" fmla="*/ 52365 h 361050"/>
                <a:gd name="connsiteX195" fmla="*/ 493098 w 767509"/>
                <a:gd name="connsiteY195" fmla="*/ 57871 h 361050"/>
                <a:gd name="connsiteX196" fmla="*/ 491495 w 767509"/>
                <a:gd name="connsiteY196" fmla="*/ 59353 h 361050"/>
                <a:gd name="connsiteX197" fmla="*/ 486262 w 767509"/>
                <a:gd name="connsiteY197" fmla="*/ 61441 h 361050"/>
                <a:gd name="connsiteX198" fmla="*/ 484235 w 767509"/>
                <a:gd name="connsiteY198" fmla="*/ 62953 h 361050"/>
                <a:gd name="connsiteX199" fmla="*/ 483448 w 767509"/>
                <a:gd name="connsiteY199" fmla="*/ 63226 h 361050"/>
                <a:gd name="connsiteX200" fmla="*/ 482480 w 767509"/>
                <a:gd name="connsiteY200" fmla="*/ 63347 h 361050"/>
                <a:gd name="connsiteX201" fmla="*/ 472497 w 767509"/>
                <a:gd name="connsiteY201" fmla="*/ 60079 h 361050"/>
                <a:gd name="connsiteX202" fmla="*/ 458249 w 767509"/>
                <a:gd name="connsiteY202" fmla="*/ 58627 h 361050"/>
                <a:gd name="connsiteX203" fmla="*/ 454831 w 767509"/>
                <a:gd name="connsiteY203" fmla="*/ 57296 h 361050"/>
                <a:gd name="connsiteX204" fmla="*/ 453983 w 767509"/>
                <a:gd name="connsiteY204" fmla="*/ 56600 h 361050"/>
                <a:gd name="connsiteX205" fmla="*/ 452229 w 767509"/>
                <a:gd name="connsiteY205" fmla="*/ 54604 h 361050"/>
                <a:gd name="connsiteX206" fmla="*/ 451805 w 767509"/>
                <a:gd name="connsiteY206" fmla="*/ 53848 h 361050"/>
                <a:gd name="connsiteX207" fmla="*/ 451321 w 767509"/>
                <a:gd name="connsiteY207" fmla="*/ 51942 h 361050"/>
                <a:gd name="connsiteX208" fmla="*/ 451533 w 767509"/>
                <a:gd name="connsiteY208" fmla="*/ 51549 h 361050"/>
                <a:gd name="connsiteX209" fmla="*/ 452078 w 767509"/>
                <a:gd name="connsiteY209" fmla="*/ 51337 h 361050"/>
                <a:gd name="connsiteX210" fmla="*/ 452773 w 767509"/>
                <a:gd name="connsiteY210" fmla="*/ 50036 h 361050"/>
                <a:gd name="connsiteX211" fmla="*/ 453076 w 767509"/>
                <a:gd name="connsiteY211" fmla="*/ 49824 h 361050"/>
                <a:gd name="connsiteX212" fmla="*/ 453560 w 767509"/>
                <a:gd name="connsiteY212" fmla="*/ 49915 h 361050"/>
                <a:gd name="connsiteX213" fmla="*/ 454014 w 767509"/>
                <a:gd name="connsiteY213" fmla="*/ 49794 h 361050"/>
                <a:gd name="connsiteX214" fmla="*/ 454195 w 767509"/>
                <a:gd name="connsiteY214" fmla="*/ 48917 h 361050"/>
                <a:gd name="connsiteX215" fmla="*/ 453953 w 767509"/>
                <a:gd name="connsiteY215" fmla="*/ 48039 h 361050"/>
                <a:gd name="connsiteX216" fmla="*/ 453348 w 767509"/>
                <a:gd name="connsiteY216" fmla="*/ 47676 h 361050"/>
                <a:gd name="connsiteX217" fmla="*/ 452652 w 767509"/>
                <a:gd name="connsiteY217" fmla="*/ 47404 h 361050"/>
                <a:gd name="connsiteX218" fmla="*/ 452138 w 767509"/>
                <a:gd name="connsiteY218" fmla="*/ 46981 h 361050"/>
                <a:gd name="connsiteX219" fmla="*/ 451472 w 767509"/>
                <a:gd name="connsiteY219" fmla="*/ 45831 h 361050"/>
                <a:gd name="connsiteX220" fmla="*/ 449809 w 767509"/>
                <a:gd name="connsiteY220" fmla="*/ 43441 h 361050"/>
                <a:gd name="connsiteX221" fmla="*/ 448931 w 767509"/>
                <a:gd name="connsiteY221" fmla="*/ 42564 h 361050"/>
                <a:gd name="connsiteX222" fmla="*/ 442155 w 767509"/>
                <a:gd name="connsiteY222" fmla="*/ 39146 h 361050"/>
                <a:gd name="connsiteX223" fmla="*/ 439947 w 767509"/>
                <a:gd name="connsiteY223" fmla="*/ 37451 h 361050"/>
                <a:gd name="connsiteX224" fmla="*/ 438101 w 767509"/>
                <a:gd name="connsiteY224" fmla="*/ 36150 h 361050"/>
                <a:gd name="connsiteX225" fmla="*/ 436226 w 767509"/>
                <a:gd name="connsiteY225" fmla="*/ 35182 h 361050"/>
                <a:gd name="connsiteX226" fmla="*/ 432172 w 767509"/>
                <a:gd name="connsiteY226" fmla="*/ 34184 h 361050"/>
                <a:gd name="connsiteX227" fmla="*/ 429147 w 767509"/>
                <a:gd name="connsiteY227" fmla="*/ 40023 h 361050"/>
                <a:gd name="connsiteX228" fmla="*/ 428935 w 767509"/>
                <a:gd name="connsiteY228" fmla="*/ 41354 h 361050"/>
                <a:gd name="connsiteX229" fmla="*/ 429450 w 767509"/>
                <a:gd name="connsiteY229" fmla="*/ 41172 h 361050"/>
                <a:gd name="connsiteX230" fmla="*/ 430508 w 767509"/>
                <a:gd name="connsiteY230" fmla="*/ 43108 h 361050"/>
                <a:gd name="connsiteX231" fmla="*/ 431022 w 767509"/>
                <a:gd name="connsiteY231" fmla="*/ 43532 h 361050"/>
                <a:gd name="connsiteX232" fmla="*/ 432263 w 767509"/>
                <a:gd name="connsiteY232" fmla="*/ 44106 h 361050"/>
                <a:gd name="connsiteX233" fmla="*/ 430932 w 767509"/>
                <a:gd name="connsiteY233" fmla="*/ 45256 h 361050"/>
                <a:gd name="connsiteX234" fmla="*/ 430659 w 767509"/>
                <a:gd name="connsiteY234" fmla="*/ 46950 h 361050"/>
                <a:gd name="connsiteX235" fmla="*/ 431204 w 767509"/>
                <a:gd name="connsiteY235" fmla="*/ 51458 h 361050"/>
                <a:gd name="connsiteX236" fmla="*/ 431143 w 767509"/>
                <a:gd name="connsiteY236" fmla="*/ 53817 h 361050"/>
                <a:gd name="connsiteX237" fmla="*/ 430841 w 767509"/>
                <a:gd name="connsiteY237" fmla="*/ 55814 h 361050"/>
                <a:gd name="connsiteX238" fmla="*/ 430206 w 767509"/>
                <a:gd name="connsiteY238" fmla="*/ 57659 h 361050"/>
                <a:gd name="connsiteX239" fmla="*/ 428481 w 767509"/>
                <a:gd name="connsiteY239" fmla="*/ 61078 h 361050"/>
                <a:gd name="connsiteX240" fmla="*/ 427997 w 767509"/>
                <a:gd name="connsiteY240" fmla="*/ 61743 h 361050"/>
                <a:gd name="connsiteX241" fmla="*/ 427150 w 767509"/>
                <a:gd name="connsiteY241" fmla="*/ 62530 h 361050"/>
                <a:gd name="connsiteX242" fmla="*/ 426364 w 767509"/>
                <a:gd name="connsiteY242" fmla="*/ 62832 h 361050"/>
                <a:gd name="connsiteX243" fmla="*/ 424276 w 767509"/>
                <a:gd name="connsiteY243" fmla="*/ 63135 h 361050"/>
                <a:gd name="connsiteX244" fmla="*/ 423913 w 767509"/>
                <a:gd name="connsiteY244" fmla="*/ 63074 h 361050"/>
                <a:gd name="connsiteX245" fmla="*/ 423067 w 767509"/>
                <a:gd name="connsiteY245" fmla="*/ 64678 h 361050"/>
                <a:gd name="connsiteX246" fmla="*/ 422189 w 767509"/>
                <a:gd name="connsiteY246" fmla="*/ 68398 h 361050"/>
                <a:gd name="connsiteX247" fmla="*/ 421977 w 767509"/>
                <a:gd name="connsiteY247" fmla="*/ 68157 h 361050"/>
                <a:gd name="connsiteX248" fmla="*/ 417833 w 767509"/>
                <a:gd name="connsiteY248" fmla="*/ 66462 h 361050"/>
                <a:gd name="connsiteX249" fmla="*/ 416290 w 767509"/>
                <a:gd name="connsiteY249" fmla="*/ 64284 h 361050"/>
                <a:gd name="connsiteX250" fmla="*/ 414657 w 767509"/>
                <a:gd name="connsiteY250" fmla="*/ 63165 h 361050"/>
                <a:gd name="connsiteX251" fmla="*/ 412902 w 767509"/>
                <a:gd name="connsiteY251" fmla="*/ 62288 h 361050"/>
                <a:gd name="connsiteX252" fmla="*/ 402465 w 767509"/>
                <a:gd name="connsiteY252" fmla="*/ 59625 h 361050"/>
                <a:gd name="connsiteX253" fmla="*/ 399107 w 767509"/>
                <a:gd name="connsiteY253" fmla="*/ 60049 h 361050"/>
                <a:gd name="connsiteX254" fmla="*/ 395810 w 767509"/>
                <a:gd name="connsiteY254" fmla="*/ 61168 h 361050"/>
                <a:gd name="connsiteX255" fmla="*/ 394933 w 767509"/>
                <a:gd name="connsiteY255" fmla="*/ 61955 h 361050"/>
                <a:gd name="connsiteX256" fmla="*/ 394358 w 767509"/>
                <a:gd name="connsiteY256" fmla="*/ 62893 h 361050"/>
                <a:gd name="connsiteX257" fmla="*/ 394418 w 767509"/>
                <a:gd name="connsiteY257" fmla="*/ 63407 h 361050"/>
                <a:gd name="connsiteX258" fmla="*/ 394721 w 767509"/>
                <a:gd name="connsiteY258" fmla="*/ 64042 h 361050"/>
                <a:gd name="connsiteX259" fmla="*/ 395144 w 767509"/>
                <a:gd name="connsiteY259" fmla="*/ 66553 h 361050"/>
                <a:gd name="connsiteX260" fmla="*/ 396082 w 767509"/>
                <a:gd name="connsiteY260" fmla="*/ 67914 h 361050"/>
                <a:gd name="connsiteX261" fmla="*/ 396294 w 767509"/>
                <a:gd name="connsiteY261" fmla="*/ 69124 h 361050"/>
                <a:gd name="connsiteX262" fmla="*/ 396022 w 767509"/>
                <a:gd name="connsiteY262" fmla="*/ 70486 h 361050"/>
                <a:gd name="connsiteX263" fmla="*/ 394660 w 767509"/>
                <a:gd name="connsiteY263" fmla="*/ 73118 h 361050"/>
                <a:gd name="connsiteX264" fmla="*/ 394176 w 767509"/>
                <a:gd name="connsiteY264" fmla="*/ 74388 h 361050"/>
                <a:gd name="connsiteX265" fmla="*/ 393995 w 767509"/>
                <a:gd name="connsiteY265" fmla="*/ 75689 h 361050"/>
                <a:gd name="connsiteX266" fmla="*/ 394176 w 767509"/>
                <a:gd name="connsiteY266" fmla="*/ 79622 h 361050"/>
                <a:gd name="connsiteX267" fmla="*/ 393964 w 767509"/>
                <a:gd name="connsiteY267" fmla="*/ 81074 h 361050"/>
                <a:gd name="connsiteX268" fmla="*/ 393511 w 767509"/>
                <a:gd name="connsiteY268" fmla="*/ 82012 h 361050"/>
                <a:gd name="connsiteX269" fmla="*/ 393057 w 767509"/>
                <a:gd name="connsiteY269" fmla="*/ 82738 h 361050"/>
                <a:gd name="connsiteX270" fmla="*/ 392875 w 767509"/>
                <a:gd name="connsiteY270" fmla="*/ 83464 h 361050"/>
                <a:gd name="connsiteX271" fmla="*/ 392301 w 767509"/>
                <a:gd name="connsiteY271" fmla="*/ 86429 h 361050"/>
                <a:gd name="connsiteX272" fmla="*/ 390909 w 767509"/>
                <a:gd name="connsiteY272" fmla="*/ 88607 h 361050"/>
                <a:gd name="connsiteX273" fmla="*/ 381047 w 767509"/>
                <a:gd name="connsiteY273" fmla="*/ 96502 h 361050"/>
                <a:gd name="connsiteX274" fmla="*/ 377689 w 767509"/>
                <a:gd name="connsiteY274" fmla="*/ 98226 h 361050"/>
                <a:gd name="connsiteX275" fmla="*/ 363804 w 767509"/>
                <a:gd name="connsiteY275" fmla="*/ 100465 h 361050"/>
                <a:gd name="connsiteX276" fmla="*/ 353367 w 767509"/>
                <a:gd name="connsiteY276" fmla="*/ 104277 h 361050"/>
                <a:gd name="connsiteX277" fmla="*/ 351764 w 767509"/>
                <a:gd name="connsiteY277" fmla="*/ 105336 h 361050"/>
                <a:gd name="connsiteX278" fmla="*/ 348013 w 767509"/>
                <a:gd name="connsiteY278" fmla="*/ 108633 h 361050"/>
                <a:gd name="connsiteX279" fmla="*/ 344776 w 767509"/>
                <a:gd name="connsiteY279" fmla="*/ 110327 h 361050"/>
                <a:gd name="connsiteX280" fmla="*/ 343203 w 767509"/>
                <a:gd name="connsiteY280" fmla="*/ 111476 h 361050"/>
                <a:gd name="connsiteX281" fmla="*/ 343354 w 767509"/>
                <a:gd name="connsiteY281" fmla="*/ 111809 h 361050"/>
                <a:gd name="connsiteX282" fmla="*/ 337757 w 767509"/>
                <a:gd name="connsiteY282" fmla="*/ 112808 h 361050"/>
                <a:gd name="connsiteX283" fmla="*/ 336245 w 767509"/>
                <a:gd name="connsiteY283" fmla="*/ 113564 h 361050"/>
                <a:gd name="connsiteX284" fmla="*/ 335337 w 767509"/>
                <a:gd name="connsiteY284" fmla="*/ 114471 h 361050"/>
                <a:gd name="connsiteX285" fmla="*/ 333492 w 767509"/>
                <a:gd name="connsiteY285" fmla="*/ 117133 h 361050"/>
                <a:gd name="connsiteX286" fmla="*/ 332191 w 767509"/>
                <a:gd name="connsiteY286" fmla="*/ 118525 h 361050"/>
                <a:gd name="connsiteX287" fmla="*/ 328167 w 767509"/>
                <a:gd name="connsiteY287" fmla="*/ 121127 h 361050"/>
                <a:gd name="connsiteX288" fmla="*/ 327775 w 767509"/>
                <a:gd name="connsiteY288" fmla="*/ 121581 h 361050"/>
                <a:gd name="connsiteX289" fmla="*/ 326352 w 767509"/>
                <a:gd name="connsiteY289" fmla="*/ 123638 h 361050"/>
                <a:gd name="connsiteX290" fmla="*/ 325717 w 767509"/>
                <a:gd name="connsiteY290" fmla="*/ 123910 h 361050"/>
                <a:gd name="connsiteX291" fmla="*/ 325082 w 767509"/>
                <a:gd name="connsiteY291" fmla="*/ 123879 h 361050"/>
                <a:gd name="connsiteX292" fmla="*/ 324416 w 767509"/>
                <a:gd name="connsiteY292" fmla="*/ 124061 h 361050"/>
                <a:gd name="connsiteX293" fmla="*/ 323811 w 767509"/>
                <a:gd name="connsiteY293" fmla="*/ 125059 h 361050"/>
                <a:gd name="connsiteX294" fmla="*/ 323630 w 767509"/>
                <a:gd name="connsiteY294" fmla="*/ 126935 h 361050"/>
                <a:gd name="connsiteX295" fmla="*/ 324114 w 767509"/>
                <a:gd name="connsiteY295" fmla="*/ 128750 h 361050"/>
                <a:gd name="connsiteX296" fmla="*/ 324991 w 767509"/>
                <a:gd name="connsiteY296" fmla="*/ 130414 h 361050"/>
                <a:gd name="connsiteX297" fmla="*/ 325959 w 767509"/>
                <a:gd name="connsiteY297" fmla="*/ 131775 h 361050"/>
                <a:gd name="connsiteX298" fmla="*/ 333038 w 767509"/>
                <a:gd name="connsiteY298" fmla="*/ 138612 h 361050"/>
                <a:gd name="connsiteX299" fmla="*/ 334551 w 767509"/>
                <a:gd name="connsiteY299" fmla="*/ 141667 h 361050"/>
                <a:gd name="connsiteX300" fmla="*/ 334823 w 767509"/>
                <a:gd name="connsiteY300" fmla="*/ 143180 h 361050"/>
                <a:gd name="connsiteX301" fmla="*/ 334853 w 767509"/>
                <a:gd name="connsiteY301" fmla="*/ 143362 h 361050"/>
                <a:gd name="connsiteX302" fmla="*/ 335398 w 767509"/>
                <a:gd name="connsiteY302" fmla="*/ 144814 h 361050"/>
                <a:gd name="connsiteX303" fmla="*/ 336184 w 767509"/>
                <a:gd name="connsiteY303" fmla="*/ 145903 h 361050"/>
                <a:gd name="connsiteX304" fmla="*/ 338604 w 767509"/>
                <a:gd name="connsiteY304" fmla="*/ 147234 h 361050"/>
                <a:gd name="connsiteX305" fmla="*/ 340631 w 767509"/>
                <a:gd name="connsiteY305" fmla="*/ 149170 h 361050"/>
                <a:gd name="connsiteX306" fmla="*/ 341448 w 767509"/>
                <a:gd name="connsiteY306" fmla="*/ 149563 h 361050"/>
                <a:gd name="connsiteX307" fmla="*/ 343142 w 767509"/>
                <a:gd name="connsiteY307" fmla="*/ 151106 h 361050"/>
                <a:gd name="connsiteX308" fmla="*/ 346561 w 767509"/>
                <a:gd name="connsiteY308" fmla="*/ 158396 h 361050"/>
                <a:gd name="connsiteX309" fmla="*/ 348739 w 767509"/>
                <a:gd name="connsiteY309" fmla="*/ 161391 h 361050"/>
                <a:gd name="connsiteX310" fmla="*/ 349192 w 767509"/>
                <a:gd name="connsiteY310" fmla="*/ 161815 h 361050"/>
                <a:gd name="connsiteX311" fmla="*/ 342719 w 767509"/>
                <a:gd name="connsiteY311" fmla="*/ 171374 h 361050"/>
                <a:gd name="connsiteX312" fmla="*/ 342144 w 767509"/>
                <a:gd name="connsiteY312" fmla="*/ 172463 h 361050"/>
                <a:gd name="connsiteX313" fmla="*/ 341962 w 767509"/>
                <a:gd name="connsiteY313" fmla="*/ 173341 h 361050"/>
                <a:gd name="connsiteX314" fmla="*/ 341932 w 767509"/>
                <a:gd name="connsiteY314" fmla="*/ 174218 h 361050"/>
                <a:gd name="connsiteX315" fmla="*/ 341751 w 767509"/>
                <a:gd name="connsiteY315" fmla="*/ 175126 h 361050"/>
                <a:gd name="connsiteX316" fmla="*/ 341115 w 767509"/>
                <a:gd name="connsiteY316" fmla="*/ 176124 h 361050"/>
                <a:gd name="connsiteX317" fmla="*/ 341115 w 767509"/>
                <a:gd name="connsiteY317" fmla="*/ 176124 h 361050"/>
                <a:gd name="connsiteX318" fmla="*/ 341085 w 767509"/>
                <a:gd name="connsiteY318" fmla="*/ 176124 h 361050"/>
                <a:gd name="connsiteX319" fmla="*/ 339209 w 767509"/>
                <a:gd name="connsiteY319" fmla="*/ 178786 h 361050"/>
                <a:gd name="connsiteX320" fmla="*/ 340843 w 767509"/>
                <a:gd name="connsiteY320" fmla="*/ 180329 h 361050"/>
                <a:gd name="connsiteX321" fmla="*/ 346470 w 767509"/>
                <a:gd name="connsiteY321" fmla="*/ 181267 h 361050"/>
                <a:gd name="connsiteX322" fmla="*/ 347982 w 767509"/>
                <a:gd name="connsiteY322" fmla="*/ 181055 h 361050"/>
                <a:gd name="connsiteX323" fmla="*/ 350523 w 767509"/>
                <a:gd name="connsiteY323" fmla="*/ 180026 h 361050"/>
                <a:gd name="connsiteX324" fmla="*/ 352066 w 767509"/>
                <a:gd name="connsiteY324" fmla="*/ 180238 h 361050"/>
                <a:gd name="connsiteX325" fmla="*/ 353337 w 767509"/>
                <a:gd name="connsiteY325" fmla="*/ 181115 h 361050"/>
                <a:gd name="connsiteX326" fmla="*/ 354547 w 767509"/>
                <a:gd name="connsiteY326" fmla="*/ 182477 h 361050"/>
                <a:gd name="connsiteX327" fmla="*/ 356543 w 767509"/>
                <a:gd name="connsiteY327" fmla="*/ 185592 h 361050"/>
                <a:gd name="connsiteX328" fmla="*/ 357330 w 767509"/>
                <a:gd name="connsiteY328" fmla="*/ 187559 h 361050"/>
                <a:gd name="connsiteX329" fmla="*/ 357602 w 767509"/>
                <a:gd name="connsiteY329" fmla="*/ 189344 h 361050"/>
                <a:gd name="connsiteX330" fmla="*/ 357542 w 767509"/>
                <a:gd name="connsiteY330" fmla="*/ 191008 h 361050"/>
                <a:gd name="connsiteX331" fmla="*/ 357330 w 767509"/>
                <a:gd name="connsiteY331" fmla="*/ 192641 h 361050"/>
                <a:gd name="connsiteX332" fmla="*/ 357088 w 767509"/>
                <a:gd name="connsiteY332" fmla="*/ 192944 h 361050"/>
                <a:gd name="connsiteX333" fmla="*/ 355878 w 767509"/>
                <a:gd name="connsiteY333" fmla="*/ 195666 h 361050"/>
                <a:gd name="connsiteX334" fmla="*/ 355817 w 767509"/>
                <a:gd name="connsiteY334" fmla="*/ 196029 h 361050"/>
                <a:gd name="connsiteX335" fmla="*/ 354184 w 767509"/>
                <a:gd name="connsiteY335" fmla="*/ 197995 h 361050"/>
                <a:gd name="connsiteX336" fmla="*/ 353942 w 767509"/>
                <a:gd name="connsiteY336" fmla="*/ 197905 h 361050"/>
                <a:gd name="connsiteX337" fmla="*/ 354002 w 767509"/>
                <a:gd name="connsiteY337" fmla="*/ 201021 h 361050"/>
                <a:gd name="connsiteX338" fmla="*/ 354245 w 767509"/>
                <a:gd name="connsiteY338" fmla="*/ 200930 h 361050"/>
                <a:gd name="connsiteX339" fmla="*/ 354123 w 767509"/>
                <a:gd name="connsiteY339" fmla="*/ 201142 h 361050"/>
                <a:gd name="connsiteX340" fmla="*/ 353155 w 767509"/>
                <a:gd name="connsiteY340" fmla="*/ 203350 h 361050"/>
                <a:gd name="connsiteX341" fmla="*/ 352913 w 767509"/>
                <a:gd name="connsiteY341" fmla="*/ 203713 h 361050"/>
                <a:gd name="connsiteX342" fmla="*/ 352913 w 767509"/>
                <a:gd name="connsiteY342" fmla="*/ 206103 h 361050"/>
                <a:gd name="connsiteX343" fmla="*/ 352974 w 767509"/>
                <a:gd name="connsiteY343" fmla="*/ 206950 h 361050"/>
                <a:gd name="connsiteX344" fmla="*/ 353216 w 767509"/>
                <a:gd name="connsiteY344" fmla="*/ 207676 h 361050"/>
                <a:gd name="connsiteX345" fmla="*/ 353548 w 767509"/>
                <a:gd name="connsiteY345" fmla="*/ 208372 h 361050"/>
                <a:gd name="connsiteX346" fmla="*/ 353821 w 767509"/>
                <a:gd name="connsiteY346" fmla="*/ 209219 h 361050"/>
                <a:gd name="connsiteX347" fmla="*/ 353851 w 767509"/>
                <a:gd name="connsiteY347" fmla="*/ 210369 h 361050"/>
                <a:gd name="connsiteX348" fmla="*/ 350947 w 767509"/>
                <a:gd name="connsiteY348" fmla="*/ 213485 h 361050"/>
                <a:gd name="connsiteX349" fmla="*/ 350281 w 767509"/>
                <a:gd name="connsiteY349" fmla="*/ 214059 h 361050"/>
                <a:gd name="connsiteX350" fmla="*/ 349192 w 767509"/>
                <a:gd name="connsiteY350" fmla="*/ 214089 h 361050"/>
                <a:gd name="connsiteX351" fmla="*/ 348557 w 767509"/>
                <a:gd name="connsiteY351" fmla="*/ 213757 h 361050"/>
                <a:gd name="connsiteX352" fmla="*/ 347982 w 767509"/>
                <a:gd name="connsiteY352" fmla="*/ 213182 h 361050"/>
                <a:gd name="connsiteX353" fmla="*/ 347045 w 767509"/>
                <a:gd name="connsiteY353" fmla="*/ 212728 h 361050"/>
                <a:gd name="connsiteX354" fmla="*/ 345986 w 767509"/>
                <a:gd name="connsiteY354" fmla="*/ 212758 h 361050"/>
                <a:gd name="connsiteX355" fmla="*/ 345139 w 767509"/>
                <a:gd name="connsiteY355" fmla="*/ 213151 h 361050"/>
                <a:gd name="connsiteX356" fmla="*/ 344292 w 767509"/>
                <a:gd name="connsiteY356" fmla="*/ 213454 h 361050"/>
                <a:gd name="connsiteX357" fmla="*/ 343172 w 767509"/>
                <a:gd name="connsiteY357" fmla="*/ 213031 h 361050"/>
                <a:gd name="connsiteX358" fmla="*/ 338272 w 767509"/>
                <a:gd name="connsiteY358" fmla="*/ 209612 h 361050"/>
                <a:gd name="connsiteX359" fmla="*/ 333673 w 767509"/>
                <a:gd name="connsiteY359" fmla="*/ 204953 h 361050"/>
                <a:gd name="connsiteX360" fmla="*/ 332826 w 767509"/>
                <a:gd name="connsiteY360" fmla="*/ 204318 h 361050"/>
                <a:gd name="connsiteX361" fmla="*/ 331858 w 767509"/>
                <a:gd name="connsiteY361" fmla="*/ 204016 h 361050"/>
                <a:gd name="connsiteX362" fmla="*/ 330316 w 767509"/>
                <a:gd name="connsiteY362" fmla="*/ 203743 h 361050"/>
                <a:gd name="connsiteX363" fmla="*/ 327835 w 767509"/>
                <a:gd name="connsiteY363" fmla="*/ 201898 h 361050"/>
                <a:gd name="connsiteX364" fmla="*/ 327321 w 767509"/>
                <a:gd name="connsiteY364" fmla="*/ 198540 h 361050"/>
                <a:gd name="connsiteX365" fmla="*/ 328531 w 767509"/>
                <a:gd name="connsiteY365" fmla="*/ 195364 h 361050"/>
                <a:gd name="connsiteX366" fmla="*/ 331283 w 767509"/>
                <a:gd name="connsiteY366" fmla="*/ 194093 h 361050"/>
                <a:gd name="connsiteX367" fmla="*/ 329287 w 767509"/>
                <a:gd name="connsiteY367" fmla="*/ 192338 h 361050"/>
                <a:gd name="connsiteX368" fmla="*/ 326655 w 767509"/>
                <a:gd name="connsiteY368" fmla="*/ 190735 h 361050"/>
                <a:gd name="connsiteX369" fmla="*/ 325082 w 767509"/>
                <a:gd name="connsiteY369" fmla="*/ 188950 h 361050"/>
                <a:gd name="connsiteX370" fmla="*/ 326111 w 767509"/>
                <a:gd name="connsiteY370" fmla="*/ 186561 h 361050"/>
                <a:gd name="connsiteX371" fmla="*/ 324386 w 767509"/>
                <a:gd name="connsiteY371" fmla="*/ 186772 h 361050"/>
                <a:gd name="connsiteX372" fmla="*/ 318759 w 767509"/>
                <a:gd name="connsiteY372" fmla="*/ 185441 h 361050"/>
                <a:gd name="connsiteX373" fmla="*/ 315160 w 767509"/>
                <a:gd name="connsiteY373" fmla="*/ 185441 h 361050"/>
                <a:gd name="connsiteX374" fmla="*/ 311590 w 767509"/>
                <a:gd name="connsiteY374" fmla="*/ 186228 h 361050"/>
                <a:gd name="connsiteX375" fmla="*/ 309654 w 767509"/>
                <a:gd name="connsiteY375" fmla="*/ 187105 h 361050"/>
                <a:gd name="connsiteX376" fmla="*/ 306145 w 767509"/>
                <a:gd name="connsiteY376" fmla="*/ 190009 h 361050"/>
                <a:gd name="connsiteX377" fmla="*/ 305176 w 767509"/>
                <a:gd name="connsiteY377" fmla="*/ 190796 h 361050"/>
                <a:gd name="connsiteX378" fmla="*/ 303603 w 767509"/>
                <a:gd name="connsiteY378" fmla="*/ 191431 h 361050"/>
                <a:gd name="connsiteX379" fmla="*/ 301486 w 767509"/>
                <a:gd name="connsiteY379" fmla="*/ 191824 h 361050"/>
                <a:gd name="connsiteX380" fmla="*/ 299429 w 767509"/>
                <a:gd name="connsiteY380" fmla="*/ 191764 h 361050"/>
                <a:gd name="connsiteX381" fmla="*/ 298007 w 767509"/>
                <a:gd name="connsiteY381" fmla="*/ 191129 h 361050"/>
                <a:gd name="connsiteX382" fmla="*/ 295012 w 767509"/>
                <a:gd name="connsiteY382" fmla="*/ 188920 h 361050"/>
                <a:gd name="connsiteX383" fmla="*/ 294195 w 767509"/>
                <a:gd name="connsiteY383" fmla="*/ 188013 h 361050"/>
                <a:gd name="connsiteX384" fmla="*/ 293651 w 767509"/>
                <a:gd name="connsiteY384" fmla="*/ 186893 h 361050"/>
                <a:gd name="connsiteX385" fmla="*/ 292592 w 767509"/>
                <a:gd name="connsiteY385" fmla="*/ 183959 h 361050"/>
                <a:gd name="connsiteX386" fmla="*/ 292108 w 767509"/>
                <a:gd name="connsiteY386" fmla="*/ 183173 h 361050"/>
                <a:gd name="connsiteX387" fmla="*/ 290474 w 767509"/>
                <a:gd name="connsiteY387" fmla="*/ 182870 h 361050"/>
                <a:gd name="connsiteX388" fmla="*/ 286512 w 767509"/>
                <a:gd name="connsiteY388" fmla="*/ 184292 h 361050"/>
                <a:gd name="connsiteX389" fmla="*/ 284817 w 767509"/>
                <a:gd name="connsiteY389" fmla="*/ 184534 h 361050"/>
                <a:gd name="connsiteX390" fmla="*/ 279009 w 767509"/>
                <a:gd name="connsiteY390" fmla="*/ 183384 h 361050"/>
                <a:gd name="connsiteX391" fmla="*/ 276801 w 767509"/>
                <a:gd name="connsiteY391" fmla="*/ 183687 h 361050"/>
                <a:gd name="connsiteX392" fmla="*/ 274562 w 767509"/>
                <a:gd name="connsiteY392" fmla="*/ 184776 h 361050"/>
                <a:gd name="connsiteX393" fmla="*/ 273473 w 767509"/>
                <a:gd name="connsiteY393" fmla="*/ 184897 h 361050"/>
                <a:gd name="connsiteX394" fmla="*/ 272475 w 767509"/>
                <a:gd name="connsiteY394" fmla="*/ 184110 h 361050"/>
                <a:gd name="connsiteX395" fmla="*/ 271930 w 767509"/>
                <a:gd name="connsiteY395" fmla="*/ 182598 h 361050"/>
                <a:gd name="connsiteX396" fmla="*/ 272263 w 767509"/>
                <a:gd name="connsiteY396" fmla="*/ 181630 h 361050"/>
                <a:gd name="connsiteX397" fmla="*/ 272898 w 767509"/>
                <a:gd name="connsiteY397" fmla="*/ 180813 h 361050"/>
                <a:gd name="connsiteX398" fmla="*/ 273261 w 767509"/>
                <a:gd name="connsiteY398" fmla="*/ 179724 h 361050"/>
                <a:gd name="connsiteX399" fmla="*/ 273503 w 767509"/>
                <a:gd name="connsiteY399" fmla="*/ 178242 h 361050"/>
                <a:gd name="connsiteX400" fmla="*/ 273836 w 767509"/>
                <a:gd name="connsiteY400" fmla="*/ 177636 h 361050"/>
                <a:gd name="connsiteX401" fmla="*/ 273564 w 767509"/>
                <a:gd name="connsiteY401" fmla="*/ 177667 h 361050"/>
                <a:gd name="connsiteX402" fmla="*/ 272112 w 767509"/>
                <a:gd name="connsiteY402" fmla="*/ 178272 h 361050"/>
                <a:gd name="connsiteX403" fmla="*/ 271234 w 767509"/>
                <a:gd name="connsiteY403" fmla="*/ 178756 h 361050"/>
                <a:gd name="connsiteX404" fmla="*/ 268814 w 767509"/>
                <a:gd name="connsiteY404" fmla="*/ 180631 h 361050"/>
                <a:gd name="connsiteX405" fmla="*/ 267211 w 767509"/>
                <a:gd name="connsiteY405" fmla="*/ 181206 h 361050"/>
                <a:gd name="connsiteX406" fmla="*/ 267423 w 767509"/>
                <a:gd name="connsiteY406" fmla="*/ 182325 h 361050"/>
                <a:gd name="connsiteX407" fmla="*/ 267755 w 767509"/>
                <a:gd name="connsiteY407" fmla="*/ 183112 h 361050"/>
                <a:gd name="connsiteX408" fmla="*/ 268481 w 767509"/>
                <a:gd name="connsiteY408" fmla="*/ 183989 h 361050"/>
                <a:gd name="connsiteX409" fmla="*/ 269298 w 767509"/>
                <a:gd name="connsiteY409" fmla="*/ 184746 h 361050"/>
                <a:gd name="connsiteX410" fmla="*/ 269813 w 767509"/>
                <a:gd name="connsiteY410" fmla="*/ 185078 h 361050"/>
                <a:gd name="connsiteX411" fmla="*/ 270085 w 767509"/>
                <a:gd name="connsiteY411" fmla="*/ 185835 h 361050"/>
                <a:gd name="connsiteX412" fmla="*/ 270267 w 767509"/>
                <a:gd name="connsiteY412" fmla="*/ 189495 h 361050"/>
                <a:gd name="connsiteX413" fmla="*/ 270145 w 767509"/>
                <a:gd name="connsiteY413" fmla="*/ 190766 h 361050"/>
                <a:gd name="connsiteX414" fmla="*/ 269782 w 767509"/>
                <a:gd name="connsiteY414" fmla="*/ 191643 h 361050"/>
                <a:gd name="connsiteX415" fmla="*/ 266908 w 767509"/>
                <a:gd name="connsiteY415" fmla="*/ 195031 h 361050"/>
                <a:gd name="connsiteX416" fmla="*/ 266122 w 767509"/>
                <a:gd name="connsiteY416" fmla="*/ 195182 h 361050"/>
                <a:gd name="connsiteX417" fmla="*/ 243010 w 767509"/>
                <a:gd name="connsiteY417" fmla="*/ 194244 h 361050"/>
                <a:gd name="connsiteX418" fmla="*/ 234539 w 767509"/>
                <a:gd name="connsiteY418" fmla="*/ 195848 h 361050"/>
                <a:gd name="connsiteX419" fmla="*/ 233420 w 767509"/>
                <a:gd name="connsiteY419" fmla="*/ 196453 h 361050"/>
                <a:gd name="connsiteX420" fmla="*/ 232392 w 767509"/>
                <a:gd name="connsiteY420" fmla="*/ 198782 h 361050"/>
                <a:gd name="connsiteX421" fmla="*/ 231363 w 767509"/>
                <a:gd name="connsiteY421" fmla="*/ 199115 h 361050"/>
                <a:gd name="connsiteX422" fmla="*/ 225706 w 767509"/>
                <a:gd name="connsiteY422" fmla="*/ 198026 h 361050"/>
                <a:gd name="connsiteX423" fmla="*/ 217508 w 767509"/>
                <a:gd name="connsiteY423" fmla="*/ 197995 h 361050"/>
                <a:gd name="connsiteX424" fmla="*/ 213122 w 767509"/>
                <a:gd name="connsiteY424" fmla="*/ 197209 h 361050"/>
                <a:gd name="connsiteX425" fmla="*/ 211246 w 767509"/>
                <a:gd name="connsiteY425" fmla="*/ 197149 h 361050"/>
                <a:gd name="connsiteX426" fmla="*/ 210913 w 767509"/>
                <a:gd name="connsiteY426" fmla="*/ 197542 h 361050"/>
                <a:gd name="connsiteX427" fmla="*/ 208100 w 767509"/>
                <a:gd name="connsiteY427" fmla="*/ 199781 h 361050"/>
                <a:gd name="connsiteX428" fmla="*/ 207404 w 767509"/>
                <a:gd name="connsiteY428" fmla="*/ 201233 h 361050"/>
                <a:gd name="connsiteX429" fmla="*/ 206617 w 767509"/>
                <a:gd name="connsiteY429" fmla="*/ 204409 h 361050"/>
                <a:gd name="connsiteX430" fmla="*/ 206103 w 767509"/>
                <a:gd name="connsiteY430" fmla="*/ 205679 h 361050"/>
                <a:gd name="connsiteX431" fmla="*/ 204288 w 767509"/>
                <a:gd name="connsiteY431" fmla="*/ 207525 h 361050"/>
                <a:gd name="connsiteX432" fmla="*/ 202110 w 767509"/>
                <a:gd name="connsiteY432" fmla="*/ 208342 h 361050"/>
                <a:gd name="connsiteX433" fmla="*/ 197391 w 767509"/>
                <a:gd name="connsiteY433" fmla="*/ 209068 h 361050"/>
                <a:gd name="connsiteX434" fmla="*/ 195122 w 767509"/>
                <a:gd name="connsiteY434" fmla="*/ 208372 h 361050"/>
                <a:gd name="connsiteX435" fmla="*/ 192641 w 767509"/>
                <a:gd name="connsiteY435" fmla="*/ 208069 h 361050"/>
                <a:gd name="connsiteX436" fmla="*/ 190342 w 767509"/>
                <a:gd name="connsiteY436" fmla="*/ 208583 h 361050"/>
                <a:gd name="connsiteX437" fmla="*/ 185593 w 767509"/>
                <a:gd name="connsiteY437" fmla="*/ 213605 h 361050"/>
                <a:gd name="connsiteX438" fmla="*/ 186833 w 767509"/>
                <a:gd name="connsiteY438" fmla="*/ 213908 h 361050"/>
                <a:gd name="connsiteX439" fmla="*/ 187922 w 767509"/>
                <a:gd name="connsiteY439" fmla="*/ 214574 h 361050"/>
                <a:gd name="connsiteX440" fmla="*/ 188315 w 767509"/>
                <a:gd name="connsiteY440" fmla="*/ 215572 h 361050"/>
                <a:gd name="connsiteX441" fmla="*/ 187438 w 767509"/>
                <a:gd name="connsiteY441" fmla="*/ 216933 h 361050"/>
                <a:gd name="connsiteX442" fmla="*/ 185804 w 767509"/>
                <a:gd name="connsiteY442" fmla="*/ 217568 h 361050"/>
                <a:gd name="connsiteX443" fmla="*/ 181448 w 767509"/>
                <a:gd name="connsiteY443" fmla="*/ 217689 h 361050"/>
                <a:gd name="connsiteX444" fmla="*/ 179572 w 767509"/>
                <a:gd name="connsiteY444" fmla="*/ 218234 h 361050"/>
                <a:gd name="connsiteX445" fmla="*/ 177637 w 767509"/>
                <a:gd name="connsiteY445" fmla="*/ 219898 h 361050"/>
                <a:gd name="connsiteX446" fmla="*/ 176305 w 767509"/>
                <a:gd name="connsiteY446" fmla="*/ 221561 h 361050"/>
                <a:gd name="connsiteX447" fmla="*/ 174884 w 767509"/>
                <a:gd name="connsiteY447" fmla="*/ 222953 h 361050"/>
                <a:gd name="connsiteX448" fmla="*/ 172675 w 767509"/>
                <a:gd name="connsiteY448" fmla="*/ 223891 h 361050"/>
                <a:gd name="connsiteX449" fmla="*/ 170255 w 767509"/>
                <a:gd name="connsiteY449" fmla="*/ 223619 h 361050"/>
                <a:gd name="connsiteX450" fmla="*/ 170467 w 767509"/>
                <a:gd name="connsiteY450" fmla="*/ 219928 h 361050"/>
                <a:gd name="connsiteX451" fmla="*/ 168319 w 767509"/>
                <a:gd name="connsiteY451" fmla="*/ 219111 h 361050"/>
                <a:gd name="connsiteX452" fmla="*/ 165778 w 767509"/>
                <a:gd name="connsiteY452" fmla="*/ 219746 h 361050"/>
                <a:gd name="connsiteX453" fmla="*/ 159213 w 767509"/>
                <a:gd name="connsiteY453" fmla="*/ 223951 h 361050"/>
                <a:gd name="connsiteX454" fmla="*/ 157247 w 767509"/>
                <a:gd name="connsiteY454" fmla="*/ 224496 h 361050"/>
                <a:gd name="connsiteX455" fmla="*/ 146750 w 767509"/>
                <a:gd name="connsiteY455" fmla="*/ 224345 h 361050"/>
                <a:gd name="connsiteX456" fmla="*/ 145358 w 767509"/>
                <a:gd name="connsiteY456" fmla="*/ 223588 h 361050"/>
                <a:gd name="connsiteX457" fmla="*/ 144330 w 767509"/>
                <a:gd name="connsiteY457" fmla="*/ 221743 h 361050"/>
                <a:gd name="connsiteX458" fmla="*/ 144541 w 767509"/>
                <a:gd name="connsiteY458" fmla="*/ 221713 h 361050"/>
                <a:gd name="connsiteX459" fmla="*/ 144874 w 767509"/>
                <a:gd name="connsiteY459" fmla="*/ 221108 h 361050"/>
                <a:gd name="connsiteX460" fmla="*/ 145116 w 767509"/>
                <a:gd name="connsiteY460" fmla="*/ 220170 h 361050"/>
                <a:gd name="connsiteX461" fmla="*/ 145086 w 767509"/>
                <a:gd name="connsiteY461" fmla="*/ 219232 h 361050"/>
                <a:gd name="connsiteX462" fmla="*/ 144783 w 767509"/>
                <a:gd name="connsiteY462" fmla="*/ 218627 h 361050"/>
                <a:gd name="connsiteX463" fmla="*/ 139762 w 767509"/>
                <a:gd name="connsiteY463" fmla="*/ 213636 h 361050"/>
                <a:gd name="connsiteX464" fmla="*/ 134558 w 767509"/>
                <a:gd name="connsiteY464" fmla="*/ 211427 h 361050"/>
                <a:gd name="connsiteX465" fmla="*/ 133893 w 767509"/>
                <a:gd name="connsiteY465" fmla="*/ 210338 h 361050"/>
                <a:gd name="connsiteX466" fmla="*/ 137130 w 767509"/>
                <a:gd name="connsiteY466" fmla="*/ 208311 h 361050"/>
                <a:gd name="connsiteX467" fmla="*/ 137977 w 767509"/>
                <a:gd name="connsiteY467" fmla="*/ 207374 h 361050"/>
                <a:gd name="connsiteX468" fmla="*/ 135648 w 767509"/>
                <a:gd name="connsiteY468" fmla="*/ 205770 h 361050"/>
                <a:gd name="connsiteX469" fmla="*/ 134589 w 767509"/>
                <a:gd name="connsiteY469" fmla="*/ 205226 h 361050"/>
                <a:gd name="connsiteX470" fmla="*/ 133197 w 767509"/>
                <a:gd name="connsiteY470" fmla="*/ 205135 h 361050"/>
                <a:gd name="connsiteX471" fmla="*/ 131775 w 767509"/>
                <a:gd name="connsiteY471" fmla="*/ 205498 h 361050"/>
                <a:gd name="connsiteX472" fmla="*/ 127722 w 767509"/>
                <a:gd name="connsiteY472" fmla="*/ 207222 h 361050"/>
                <a:gd name="connsiteX473" fmla="*/ 124757 w 767509"/>
                <a:gd name="connsiteY473" fmla="*/ 207555 h 361050"/>
                <a:gd name="connsiteX474" fmla="*/ 123880 w 767509"/>
                <a:gd name="connsiteY474" fmla="*/ 207313 h 361050"/>
                <a:gd name="connsiteX475" fmla="*/ 123365 w 767509"/>
                <a:gd name="connsiteY475" fmla="*/ 206648 h 361050"/>
                <a:gd name="connsiteX476" fmla="*/ 123063 w 767509"/>
                <a:gd name="connsiteY476" fmla="*/ 205952 h 361050"/>
                <a:gd name="connsiteX477" fmla="*/ 122639 w 767509"/>
                <a:gd name="connsiteY477" fmla="*/ 205528 h 361050"/>
                <a:gd name="connsiteX478" fmla="*/ 109359 w 767509"/>
                <a:gd name="connsiteY478" fmla="*/ 200870 h 361050"/>
                <a:gd name="connsiteX479" fmla="*/ 106939 w 767509"/>
                <a:gd name="connsiteY479" fmla="*/ 200870 h 361050"/>
                <a:gd name="connsiteX480" fmla="*/ 105547 w 767509"/>
                <a:gd name="connsiteY480" fmla="*/ 201747 h 361050"/>
                <a:gd name="connsiteX481" fmla="*/ 103490 w 767509"/>
                <a:gd name="connsiteY481" fmla="*/ 204379 h 361050"/>
                <a:gd name="connsiteX482" fmla="*/ 102220 w 767509"/>
                <a:gd name="connsiteY482" fmla="*/ 205316 h 361050"/>
                <a:gd name="connsiteX483" fmla="*/ 101040 w 767509"/>
                <a:gd name="connsiteY483" fmla="*/ 205528 h 361050"/>
                <a:gd name="connsiteX484" fmla="*/ 96744 w 767509"/>
                <a:gd name="connsiteY484" fmla="*/ 204923 h 361050"/>
                <a:gd name="connsiteX485" fmla="*/ 95171 w 767509"/>
                <a:gd name="connsiteY485" fmla="*/ 204258 h 361050"/>
                <a:gd name="connsiteX486" fmla="*/ 94354 w 767509"/>
                <a:gd name="connsiteY486" fmla="*/ 203713 h 361050"/>
                <a:gd name="connsiteX487" fmla="*/ 93840 w 767509"/>
                <a:gd name="connsiteY487" fmla="*/ 203078 h 361050"/>
                <a:gd name="connsiteX488" fmla="*/ 93628 w 767509"/>
                <a:gd name="connsiteY488" fmla="*/ 201898 h 361050"/>
                <a:gd name="connsiteX489" fmla="*/ 94022 w 767509"/>
                <a:gd name="connsiteY489" fmla="*/ 201051 h 361050"/>
                <a:gd name="connsiteX490" fmla="*/ 94505 w 767509"/>
                <a:gd name="connsiteY490" fmla="*/ 200385 h 361050"/>
                <a:gd name="connsiteX491" fmla="*/ 94627 w 767509"/>
                <a:gd name="connsiteY491" fmla="*/ 199841 h 361050"/>
                <a:gd name="connsiteX492" fmla="*/ 94203 w 767509"/>
                <a:gd name="connsiteY492" fmla="*/ 198570 h 361050"/>
                <a:gd name="connsiteX493" fmla="*/ 93840 w 767509"/>
                <a:gd name="connsiteY493" fmla="*/ 198298 h 361050"/>
                <a:gd name="connsiteX494" fmla="*/ 93053 w 767509"/>
                <a:gd name="connsiteY494" fmla="*/ 198601 h 361050"/>
                <a:gd name="connsiteX495" fmla="*/ 91390 w 767509"/>
                <a:gd name="connsiteY495" fmla="*/ 198873 h 361050"/>
                <a:gd name="connsiteX496" fmla="*/ 89877 w 767509"/>
                <a:gd name="connsiteY496" fmla="*/ 199418 h 361050"/>
                <a:gd name="connsiteX497" fmla="*/ 90028 w 767509"/>
                <a:gd name="connsiteY497" fmla="*/ 200597 h 361050"/>
                <a:gd name="connsiteX498" fmla="*/ 90906 w 767509"/>
                <a:gd name="connsiteY498" fmla="*/ 202110 h 361050"/>
                <a:gd name="connsiteX499" fmla="*/ 91571 w 767509"/>
                <a:gd name="connsiteY499" fmla="*/ 203623 h 361050"/>
                <a:gd name="connsiteX500" fmla="*/ 91420 w 767509"/>
                <a:gd name="connsiteY500" fmla="*/ 204893 h 361050"/>
                <a:gd name="connsiteX501" fmla="*/ 90422 w 767509"/>
                <a:gd name="connsiteY501" fmla="*/ 210369 h 361050"/>
                <a:gd name="connsiteX502" fmla="*/ 91813 w 767509"/>
                <a:gd name="connsiteY502" fmla="*/ 211064 h 361050"/>
                <a:gd name="connsiteX503" fmla="*/ 92690 w 767509"/>
                <a:gd name="connsiteY503" fmla="*/ 211972 h 361050"/>
                <a:gd name="connsiteX504" fmla="*/ 93235 w 767509"/>
                <a:gd name="connsiteY504" fmla="*/ 213151 h 361050"/>
                <a:gd name="connsiteX505" fmla="*/ 93628 w 767509"/>
                <a:gd name="connsiteY505" fmla="*/ 214846 h 361050"/>
                <a:gd name="connsiteX506" fmla="*/ 93659 w 767509"/>
                <a:gd name="connsiteY506" fmla="*/ 217780 h 361050"/>
                <a:gd name="connsiteX507" fmla="*/ 92751 w 767509"/>
                <a:gd name="connsiteY507" fmla="*/ 220835 h 361050"/>
                <a:gd name="connsiteX508" fmla="*/ 91299 w 767509"/>
                <a:gd name="connsiteY508" fmla="*/ 223588 h 361050"/>
                <a:gd name="connsiteX509" fmla="*/ 89605 w 767509"/>
                <a:gd name="connsiteY509" fmla="*/ 225645 h 361050"/>
                <a:gd name="connsiteX510" fmla="*/ 88758 w 767509"/>
                <a:gd name="connsiteY510" fmla="*/ 226190 h 361050"/>
                <a:gd name="connsiteX511" fmla="*/ 86610 w 767509"/>
                <a:gd name="connsiteY511" fmla="*/ 226855 h 361050"/>
                <a:gd name="connsiteX512" fmla="*/ 85581 w 767509"/>
                <a:gd name="connsiteY512" fmla="*/ 227521 h 361050"/>
                <a:gd name="connsiteX513" fmla="*/ 84977 w 767509"/>
                <a:gd name="connsiteY513" fmla="*/ 228368 h 361050"/>
                <a:gd name="connsiteX514" fmla="*/ 82738 w 767509"/>
                <a:gd name="connsiteY514" fmla="*/ 232482 h 361050"/>
                <a:gd name="connsiteX515" fmla="*/ 80923 w 767509"/>
                <a:gd name="connsiteY515" fmla="*/ 234751 h 361050"/>
                <a:gd name="connsiteX516" fmla="*/ 78986 w 767509"/>
                <a:gd name="connsiteY516" fmla="*/ 236385 h 361050"/>
                <a:gd name="connsiteX517" fmla="*/ 74479 w 767509"/>
                <a:gd name="connsiteY517" fmla="*/ 238926 h 361050"/>
                <a:gd name="connsiteX518" fmla="*/ 72271 w 767509"/>
                <a:gd name="connsiteY518" fmla="*/ 239712 h 361050"/>
                <a:gd name="connsiteX519" fmla="*/ 65797 w 767509"/>
                <a:gd name="connsiteY519" fmla="*/ 240438 h 361050"/>
                <a:gd name="connsiteX520" fmla="*/ 64284 w 767509"/>
                <a:gd name="connsiteY520" fmla="*/ 240620 h 361050"/>
                <a:gd name="connsiteX521" fmla="*/ 63831 w 767509"/>
                <a:gd name="connsiteY521" fmla="*/ 240378 h 361050"/>
                <a:gd name="connsiteX522" fmla="*/ 64224 w 767509"/>
                <a:gd name="connsiteY522" fmla="*/ 239531 h 361050"/>
                <a:gd name="connsiteX523" fmla="*/ 65162 w 767509"/>
                <a:gd name="connsiteY523" fmla="*/ 237988 h 361050"/>
                <a:gd name="connsiteX524" fmla="*/ 65555 w 767509"/>
                <a:gd name="connsiteY524" fmla="*/ 237716 h 361050"/>
                <a:gd name="connsiteX525" fmla="*/ 66886 w 767509"/>
                <a:gd name="connsiteY525" fmla="*/ 237353 h 361050"/>
                <a:gd name="connsiteX526" fmla="*/ 67400 w 767509"/>
                <a:gd name="connsiteY526" fmla="*/ 236929 h 361050"/>
                <a:gd name="connsiteX527" fmla="*/ 67642 w 767509"/>
                <a:gd name="connsiteY527" fmla="*/ 236022 h 361050"/>
                <a:gd name="connsiteX528" fmla="*/ 67582 w 767509"/>
                <a:gd name="connsiteY528" fmla="*/ 235205 h 361050"/>
                <a:gd name="connsiteX529" fmla="*/ 67340 w 767509"/>
                <a:gd name="connsiteY529" fmla="*/ 234297 h 361050"/>
                <a:gd name="connsiteX530" fmla="*/ 69185 w 767509"/>
                <a:gd name="connsiteY530" fmla="*/ 229245 h 361050"/>
                <a:gd name="connsiteX531" fmla="*/ 69246 w 767509"/>
                <a:gd name="connsiteY531" fmla="*/ 226795 h 361050"/>
                <a:gd name="connsiteX532" fmla="*/ 67400 w 767509"/>
                <a:gd name="connsiteY532" fmla="*/ 225888 h 361050"/>
                <a:gd name="connsiteX533" fmla="*/ 62984 w 767509"/>
                <a:gd name="connsiteY533" fmla="*/ 226644 h 361050"/>
                <a:gd name="connsiteX534" fmla="*/ 61774 w 767509"/>
                <a:gd name="connsiteY534" fmla="*/ 227854 h 361050"/>
                <a:gd name="connsiteX535" fmla="*/ 61350 w 767509"/>
                <a:gd name="connsiteY535" fmla="*/ 228156 h 361050"/>
                <a:gd name="connsiteX536" fmla="*/ 60836 w 767509"/>
                <a:gd name="connsiteY536" fmla="*/ 228156 h 361050"/>
                <a:gd name="connsiteX537" fmla="*/ 59807 w 767509"/>
                <a:gd name="connsiteY537" fmla="*/ 227551 h 361050"/>
                <a:gd name="connsiteX538" fmla="*/ 59293 w 767509"/>
                <a:gd name="connsiteY538" fmla="*/ 227521 h 361050"/>
                <a:gd name="connsiteX539" fmla="*/ 57962 w 767509"/>
                <a:gd name="connsiteY539" fmla="*/ 228096 h 361050"/>
                <a:gd name="connsiteX540" fmla="*/ 57206 w 767509"/>
                <a:gd name="connsiteY540" fmla="*/ 228610 h 361050"/>
                <a:gd name="connsiteX541" fmla="*/ 56540 w 767509"/>
                <a:gd name="connsiteY541" fmla="*/ 228640 h 361050"/>
                <a:gd name="connsiteX542" fmla="*/ 55542 w 767509"/>
                <a:gd name="connsiteY542" fmla="*/ 227763 h 361050"/>
                <a:gd name="connsiteX543" fmla="*/ 55028 w 767509"/>
                <a:gd name="connsiteY543" fmla="*/ 226462 h 361050"/>
                <a:gd name="connsiteX544" fmla="*/ 54906 w 767509"/>
                <a:gd name="connsiteY544" fmla="*/ 224980 h 361050"/>
                <a:gd name="connsiteX545" fmla="*/ 54634 w 767509"/>
                <a:gd name="connsiteY545" fmla="*/ 223588 h 361050"/>
                <a:gd name="connsiteX546" fmla="*/ 53545 w 767509"/>
                <a:gd name="connsiteY546" fmla="*/ 222409 h 361050"/>
                <a:gd name="connsiteX547" fmla="*/ 55844 w 767509"/>
                <a:gd name="connsiteY547" fmla="*/ 220745 h 361050"/>
                <a:gd name="connsiteX548" fmla="*/ 56298 w 767509"/>
                <a:gd name="connsiteY548" fmla="*/ 219323 h 361050"/>
                <a:gd name="connsiteX549" fmla="*/ 55421 w 767509"/>
                <a:gd name="connsiteY549" fmla="*/ 217719 h 361050"/>
                <a:gd name="connsiteX550" fmla="*/ 50460 w 767509"/>
                <a:gd name="connsiteY550" fmla="*/ 211064 h 361050"/>
                <a:gd name="connsiteX551" fmla="*/ 49340 w 767509"/>
                <a:gd name="connsiteY551" fmla="*/ 211518 h 361050"/>
                <a:gd name="connsiteX552" fmla="*/ 48433 w 767509"/>
                <a:gd name="connsiteY552" fmla="*/ 212244 h 361050"/>
                <a:gd name="connsiteX553" fmla="*/ 47556 w 767509"/>
                <a:gd name="connsiteY553" fmla="*/ 212607 h 361050"/>
                <a:gd name="connsiteX554" fmla="*/ 46436 w 767509"/>
                <a:gd name="connsiteY554" fmla="*/ 212002 h 361050"/>
                <a:gd name="connsiteX555" fmla="*/ 46285 w 767509"/>
                <a:gd name="connsiteY555" fmla="*/ 211185 h 361050"/>
                <a:gd name="connsiteX556" fmla="*/ 46255 w 767509"/>
                <a:gd name="connsiteY556" fmla="*/ 210762 h 361050"/>
                <a:gd name="connsiteX557" fmla="*/ 46255 w 767509"/>
                <a:gd name="connsiteY557" fmla="*/ 210369 h 361050"/>
                <a:gd name="connsiteX558" fmla="*/ 45347 w 767509"/>
                <a:gd name="connsiteY558" fmla="*/ 208523 h 361050"/>
                <a:gd name="connsiteX559" fmla="*/ 44077 w 767509"/>
                <a:gd name="connsiteY559" fmla="*/ 207374 h 361050"/>
                <a:gd name="connsiteX560" fmla="*/ 43018 w 767509"/>
                <a:gd name="connsiteY560" fmla="*/ 206103 h 361050"/>
                <a:gd name="connsiteX561" fmla="*/ 42745 w 767509"/>
                <a:gd name="connsiteY561" fmla="*/ 203834 h 361050"/>
                <a:gd name="connsiteX562" fmla="*/ 41535 w 767509"/>
                <a:gd name="connsiteY562" fmla="*/ 204742 h 361050"/>
                <a:gd name="connsiteX563" fmla="*/ 40023 w 767509"/>
                <a:gd name="connsiteY563" fmla="*/ 205014 h 361050"/>
                <a:gd name="connsiteX564" fmla="*/ 37028 w 767509"/>
                <a:gd name="connsiteY564" fmla="*/ 204802 h 361050"/>
                <a:gd name="connsiteX565" fmla="*/ 34003 w 767509"/>
                <a:gd name="connsiteY565" fmla="*/ 203743 h 361050"/>
                <a:gd name="connsiteX566" fmla="*/ 33489 w 767509"/>
                <a:gd name="connsiteY566" fmla="*/ 203895 h 361050"/>
                <a:gd name="connsiteX567" fmla="*/ 32248 w 767509"/>
                <a:gd name="connsiteY567" fmla="*/ 204621 h 361050"/>
                <a:gd name="connsiteX568" fmla="*/ 31431 w 767509"/>
                <a:gd name="connsiteY568" fmla="*/ 204681 h 361050"/>
                <a:gd name="connsiteX569" fmla="*/ 29374 w 767509"/>
                <a:gd name="connsiteY569" fmla="*/ 203683 h 361050"/>
                <a:gd name="connsiteX570" fmla="*/ 29011 w 767509"/>
                <a:gd name="connsiteY570" fmla="*/ 202261 h 361050"/>
                <a:gd name="connsiteX571" fmla="*/ 29193 w 767509"/>
                <a:gd name="connsiteY571" fmla="*/ 200597 h 361050"/>
                <a:gd name="connsiteX572" fmla="*/ 28860 w 767509"/>
                <a:gd name="connsiteY572" fmla="*/ 198964 h 361050"/>
                <a:gd name="connsiteX573" fmla="*/ 27680 w 767509"/>
                <a:gd name="connsiteY573" fmla="*/ 197784 h 361050"/>
                <a:gd name="connsiteX574" fmla="*/ 26258 w 767509"/>
                <a:gd name="connsiteY574" fmla="*/ 197300 h 361050"/>
                <a:gd name="connsiteX575" fmla="*/ 24746 w 767509"/>
                <a:gd name="connsiteY575" fmla="*/ 197451 h 361050"/>
                <a:gd name="connsiteX576" fmla="*/ 23294 w 767509"/>
                <a:gd name="connsiteY576" fmla="*/ 198177 h 361050"/>
                <a:gd name="connsiteX577" fmla="*/ 21115 w 767509"/>
                <a:gd name="connsiteY577" fmla="*/ 200537 h 361050"/>
                <a:gd name="connsiteX578" fmla="*/ 19845 w 767509"/>
                <a:gd name="connsiteY578" fmla="*/ 203017 h 361050"/>
                <a:gd name="connsiteX579" fmla="*/ 18393 w 767509"/>
                <a:gd name="connsiteY579" fmla="*/ 205105 h 361050"/>
                <a:gd name="connsiteX580" fmla="*/ 15670 w 767509"/>
                <a:gd name="connsiteY580" fmla="*/ 206315 h 361050"/>
                <a:gd name="connsiteX581" fmla="*/ 9197 w 767509"/>
                <a:gd name="connsiteY581" fmla="*/ 206405 h 361050"/>
                <a:gd name="connsiteX582" fmla="*/ 3328 w 767509"/>
                <a:gd name="connsiteY582" fmla="*/ 204923 h 361050"/>
                <a:gd name="connsiteX583" fmla="*/ 2904 w 767509"/>
                <a:gd name="connsiteY583" fmla="*/ 204802 h 361050"/>
                <a:gd name="connsiteX584" fmla="*/ 2662 w 767509"/>
                <a:gd name="connsiteY584" fmla="*/ 204681 h 361050"/>
                <a:gd name="connsiteX585" fmla="*/ 3207 w 767509"/>
                <a:gd name="connsiteY585" fmla="*/ 207101 h 361050"/>
                <a:gd name="connsiteX586" fmla="*/ 3418 w 767509"/>
                <a:gd name="connsiteY586" fmla="*/ 207918 h 361050"/>
                <a:gd name="connsiteX587" fmla="*/ 6383 w 767509"/>
                <a:gd name="connsiteY587" fmla="*/ 212032 h 361050"/>
                <a:gd name="connsiteX588" fmla="*/ 10135 w 767509"/>
                <a:gd name="connsiteY588" fmla="*/ 213605 h 361050"/>
                <a:gd name="connsiteX589" fmla="*/ 13008 w 767509"/>
                <a:gd name="connsiteY589" fmla="*/ 215935 h 361050"/>
                <a:gd name="connsiteX590" fmla="*/ 12917 w 767509"/>
                <a:gd name="connsiteY590" fmla="*/ 221713 h 361050"/>
                <a:gd name="connsiteX591" fmla="*/ 11950 w 767509"/>
                <a:gd name="connsiteY591" fmla="*/ 223800 h 361050"/>
                <a:gd name="connsiteX592" fmla="*/ 8047 w 767509"/>
                <a:gd name="connsiteY592" fmla="*/ 228338 h 361050"/>
                <a:gd name="connsiteX593" fmla="*/ 7563 w 767509"/>
                <a:gd name="connsiteY593" fmla="*/ 229548 h 361050"/>
                <a:gd name="connsiteX594" fmla="*/ 7049 w 767509"/>
                <a:gd name="connsiteY594" fmla="*/ 231968 h 361050"/>
                <a:gd name="connsiteX595" fmla="*/ 6656 w 767509"/>
                <a:gd name="connsiteY595" fmla="*/ 232906 h 361050"/>
                <a:gd name="connsiteX596" fmla="*/ 3237 w 767509"/>
                <a:gd name="connsiteY596" fmla="*/ 236717 h 361050"/>
                <a:gd name="connsiteX597" fmla="*/ 0 w 767509"/>
                <a:gd name="connsiteY597" fmla="*/ 241739 h 361050"/>
                <a:gd name="connsiteX598" fmla="*/ 908 w 767509"/>
                <a:gd name="connsiteY598" fmla="*/ 242980 h 361050"/>
                <a:gd name="connsiteX599" fmla="*/ 2602 w 767509"/>
                <a:gd name="connsiteY599" fmla="*/ 244432 h 361050"/>
                <a:gd name="connsiteX600" fmla="*/ 1936 w 767509"/>
                <a:gd name="connsiteY600" fmla="*/ 246338 h 361050"/>
                <a:gd name="connsiteX601" fmla="*/ 2390 w 767509"/>
                <a:gd name="connsiteY601" fmla="*/ 247517 h 361050"/>
                <a:gd name="connsiteX602" fmla="*/ 3328 w 767509"/>
                <a:gd name="connsiteY602" fmla="*/ 248697 h 361050"/>
                <a:gd name="connsiteX603" fmla="*/ 4205 w 767509"/>
                <a:gd name="connsiteY603" fmla="*/ 250603 h 361050"/>
                <a:gd name="connsiteX604" fmla="*/ 4114 w 767509"/>
                <a:gd name="connsiteY604" fmla="*/ 251571 h 361050"/>
                <a:gd name="connsiteX605" fmla="*/ 3116 w 767509"/>
                <a:gd name="connsiteY605" fmla="*/ 253598 h 361050"/>
                <a:gd name="connsiteX606" fmla="*/ 3116 w 767509"/>
                <a:gd name="connsiteY606" fmla="*/ 254777 h 361050"/>
                <a:gd name="connsiteX607" fmla="*/ 6111 w 767509"/>
                <a:gd name="connsiteY607" fmla="*/ 256411 h 361050"/>
                <a:gd name="connsiteX608" fmla="*/ 8501 w 767509"/>
                <a:gd name="connsiteY608" fmla="*/ 259497 h 361050"/>
                <a:gd name="connsiteX609" fmla="*/ 9529 w 767509"/>
                <a:gd name="connsiteY609" fmla="*/ 262946 h 361050"/>
                <a:gd name="connsiteX610" fmla="*/ 8834 w 767509"/>
                <a:gd name="connsiteY610" fmla="*/ 266455 h 361050"/>
                <a:gd name="connsiteX611" fmla="*/ 6050 w 767509"/>
                <a:gd name="connsiteY611" fmla="*/ 269692 h 361050"/>
                <a:gd name="connsiteX612" fmla="*/ 7926 w 767509"/>
                <a:gd name="connsiteY612" fmla="*/ 270176 h 361050"/>
                <a:gd name="connsiteX613" fmla="*/ 13190 w 767509"/>
                <a:gd name="connsiteY613" fmla="*/ 269570 h 361050"/>
                <a:gd name="connsiteX614" fmla="*/ 14884 w 767509"/>
                <a:gd name="connsiteY614" fmla="*/ 269782 h 361050"/>
                <a:gd name="connsiteX615" fmla="*/ 33912 w 767509"/>
                <a:gd name="connsiteY615" fmla="*/ 275318 h 361050"/>
                <a:gd name="connsiteX616" fmla="*/ 33730 w 767509"/>
                <a:gd name="connsiteY616" fmla="*/ 276861 h 361050"/>
                <a:gd name="connsiteX617" fmla="*/ 34154 w 767509"/>
                <a:gd name="connsiteY617" fmla="*/ 277194 h 361050"/>
                <a:gd name="connsiteX618" fmla="*/ 34789 w 767509"/>
                <a:gd name="connsiteY618" fmla="*/ 277133 h 361050"/>
                <a:gd name="connsiteX619" fmla="*/ 35152 w 767509"/>
                <a:gd name="connsiteY619" fmla="*/ 277587 h 361050"/>
                <a:gd name="connsiteX620" fmla="*/ 35152 w 767509"/>
                <a:gd name="connsiteY620" fmla="*/ 278374 h 361050"/>
                <a:gd name="connsiteX621" fmla="*/ 34759 w 767509"/>
                <a:gd name="connsiteY621" fmla="*/ 279674 h 361050"/>
                <a:gd name="connsiteX622" fmla="*/ 34487 w 767509"/>
                <a:gd name="connsiteY622" fmla="*/ 282821 h 361050"/>
                <a:gd name="connsiteX623" fmla="*/ 34184 w 767509"/>
                <a:gd name="connsiteY623" fmla="*/ 284303 h 361050"/>
                <a:gd name="connsiteX624" fmla="*/ 34336 w 767509"/>
                <a:gd name="connsiteY624" fmla="*/ 285574 h 361050"/>
                <a:gd name="connsiteX625" fmla="*/ 35636 w 767509"/>
                <a:gd name="connsiteY625" fmla="*/ 287237 h 361050"/>
                <a:gd name="connsiteX626" fmla="*/ 38117 w 767509"/>
                <a:gd name="connsiteY626" fmla="*/ 288992 h 361050"/>
                <a:gd name="connsiteX627" fmla="*/ 48886 w 767509"/>
                <a:gd name="connsiteY627" fmla="*/ 292168 h 361050"/>
                <a:gd name="connsiteX628" fmla="*/ 52789 w 767509"/>
                <a:gd name="connsiteY628" fmla="*/ 295587 h 361050"/>
                <a:gd name="connsiteX629" fmla="*/ 55028 w 767509"/>
                <a:gd name="connsiteY629" fmla="*/ 296797 h 361050"/>
                <a:gd name="connsiteX630" fmla="*/ 59384 w 767509"/>
                <a:gd name="connsiteY630" fmla="*/ 298067 h 361050"/>
                <a:gd name="connsiteX631" fmla="*/ 60775 w 767509"/>
                <a:gd name="connsiteY631" fmla="*/ 298128 h 361050"/>
                <a:gd name="connsiteX632" fmla="*/ 61471 w 767509"/>
                <a:gd name="connsiteY632" fmla="*/ 298158 h 361050"/>
                <a:gd name="connsiteX633" fmla="*/ 64073 w 767509"/>
                <a:gd name="connsiteY633" fmla="*/ 297462 h 361050"/>
                <a:gd name="connsiteX634" fmla="*/ 68459 w 767509"/>
                <a:gd name="connsiteY634" fmla="*/ 295405 h 361050"/>
                <a:gd name="connsiteX635" fmla="*/ 69488 w 767509"/>
                <a:gd name="connsiteY635" fmla="*/ 294044 h 361050"/>
                <a:gd name="connsiteX636" fmla="*/ 69760 w 767509"/>
                <a:gd name="connsiteY636" fmla="*/ 293015 h 361050"/>
                <a:gd name="connsiteX637" fmla="*/ 69851 w 767509"/>
                <a:gd name="connsiteY637" fmla="*/ 291866 h 361050"/>
                <a:gd name="connsiteX638" fmla="*/ 70335 w 767509"/>
                <a:gd name="connsiteY638" fmla="*/ 290142 h 361050"/>
                <a:gd name="connsiteX639" fmla="*/ 71847 w 767509"/>
                <a:gd name="connsiteY639" fmla="*/ 287782 h 361050"/>
                <a:gd name="connsiteX640" fmla="*/ 73481 w 767509"/>
                <a:gd name="connsiteY640" fmla="*/ 287510 h 361050"/>
                <a:gd name="connsiteX641" fmla="*/ 75447 w 767509"/>
                <a:gd name="connsiteY641" fmla="*/ 287964 h 361050"/>
                <a:gd name="connsiteX642" fmla="*/ 77928 w 767509"/>
                <a:gd name="connsiteY642" fmla="*/ 287873 h 361050"/>
                <a:gd name="connsiteX643" fmla="*/ 77988 w 767509"/>
                <a:gd name="connsiteY643" fmla="*/ 285332 h 361050"/>
                <a:gd name="connsiteX644" fmla="*/ 79773 w 767509"/>
                <a:gd name="connsiteY644" fmla="*/ 282246 h 361050"/>
                <a:gd name="connsiteX645" fmla="*/ 82284 w 767509"/>
                <a:gd name="connsiteY645" fmla="*/ 279554 h 361050"/>
                <a:gd name="connsiteX646" fmla="*/ 85218 w 767509"/>
                <a:gd name="connsiteY646" fmla="*/ 278011 h 361050"/>
                <a:gd name="connsiteX647" fmla="*/ 85763 w 767509"/>
                <a:gd name="connsiteY647" fmla="*/ 277920 h 361050"/>
                <a:gd name="connsiteX648" fmla="*/ 86338 w 767509"/>
                <a:gd name="connsiteY648" fmla="*/ 278011 h 361050"/>
                <a:gd name="connsiteX649" fmla="*/ 86852 w 767509"/>
                <a:gd name="connsiteY649" fmla="*/ 278343 h 361050"/>
                <a:gd name="connsiteX650" fmla="*/ 86852 w 767509"/>
                <a:gd name="connsiteY650" fmla="*/ 278343 h 361050"/>
                <a:gd name="connsiteX651" fmla="*/ 86852 w 767509"/>
                <a:gd name="connsiteY651" fmla="*/ 278374 h 361050"/>
                <a:gd name="connsiteX652" fmla="*/ 87911 w 767509"/>
                <a:gd name="connsiteY652" fmla="*/ 279402 h 361050"/>
                <a:gd name="connsiteX653" fmla="*/ 89998 w 767509"/>
                <a:gd name="connsiteY653" fmla="*/ 282488 h 361050"/>
                <a:gd name="connsiteX654" fmla="*/ 93447 w 767509"/>
                <a:gd name="connsiteY654" fmla="*/ 284999 h 361050"/>
                <a:gd name="connsiteX655" fmla="*/ 94324 w 767509"/>
                <a:gd name="connsiteY655" fmla="*/ 285997 h 361050"/>
                <a:gd name="connsiteX656" fmla="*/ 94868 w 767509"/>
                <a:gd name="connsiteY656" fmla="*/ 288266 h 361050"/>
                <a:gd name="connsiteX657" fmla="*/ 93628 w 767509"/>
                <a:gd name="connsiteY657" fmla="*/ 292864 h 361050"/>
                <a:gd name="connsiteX658" fmla="*/ 93870 w 767509"/>
                <a:gd name="connsiteY658" fmla="*/ 295738 h 361050"/>
                <a:gd name="connsiteX659" fmla="*/ 97137 w 767509"/>
                <a:gd name="connsiteY659" fmla="*/ 298189 h 361050"/>
                <a:gd name="connsiteX660" fmla="*/ 101312 w 767509"/>
                <a:gd name="connsiteY660" fmla="*/ 298612 h 361050"/>
                <a:gd name="connsiteX661" fmla="*/ 111537 w 767509"/>
                <a:gd name="connsiteY661" fmla="*/ 296010 h 361050"/>
                <a:gd name="connsiteX662" fmla="*/ 113322 w 767509"/>
                <a:gd name="connsiteY662" fmla="*/ 295829 h 361050"/>
                <a:gd name="connsiteX663" fmla="*/ 114865 w 767509"/>
                <a:gd name="connsiteY663" fmla="*/ 296222 h 361050"/>
                <a:gd name="connsiteX664" fmla="*/ 122549 w 767509"/>
                <a:gd name="connsiteY664" fmla="*/ 300457 h 361050"/>
                <a:gd name="connsiteX665" fmla="*/ 123517 w 767509"/>
                <a:gd name="connsiteY665" fmla="*/ 301819 h 361050"/>
                <a:gd name="connsiteX666" fmla="*/ 123033 w 767509"/>
                <a:gd name="connsiteY666" fmla="*/ 302756 h 361050"/>
                <a:gd name="connsiteX667" fmla="*/ 120794 w 767509"/>
                <a:gd name="connsiteY667" fmla="*/ 304420 h 361050"/>
                <a:gd name="connsiteX668" fmla="*/ 120340 w 767509"/>
                <a:gd name="connsiteY668" fmla="*/ 305086 h 361050"/>
                <a:gd name="connsiteX669" fmla="*/ 120945 w 767509"/>
                <a:gd name="connsiteY669" fmla="*/ 306265 h 361050"/>
                <a:gd name="connsiteX670" fmla="*/ 122004 w 767509"/>
                <a:gd name="connsiteY670" fmla="*/ 306296 h 361050"/>
                <a:gd name="connsiteX671" fmla="*/ 124152 w 767509"/>
                <a:gd name="connsiteY671" fmla="*/ 305691 h 361050"/>
                <a:gd name="connsiteX672" fmla="*/ 125302 w 767509"/>
                <a:gd name="connsiteY672" fmla="*/ 306024 h 361050"/>
                <a:gd name="connsiteX673" fmla="*/ 128206 w 767509"/>
                <a:gd name="connsiteY673" fmla="*/ 307566 h 361050"/>
                <a:gd name="connsiteX674" fmla="*/ 129174 w 767509"/>
                <a:gd name="connsiteY674" fmla="*/ 307597 h 361050"/>
                <a:gd name="connsiteX675" fmla="*/ 131110 w 767509"/>
                <a:gd name="connsiteY675" fmla="*/ 307082 h 361050"/>
                <a:gd name="connsiteX676" fmla="*/ 132138 w 767509"/>
                <a:gd name="connsiteY676" fmla="*/ 307113 h 361050"/>
                <a:gd name="connsiteX677" fmla="*/ 133046 w 767509"/>
                <a:gd name="connsiteY677" fmla="*/ 307536 h 361050"/>
                <a:gd name="connsiteX678" fmla="*/ 134740 w 767509"/>
                <a:gd name="connsiteY678" fmla="*/ 308897 h 361050"/>
                <a:gd name="connsiteX679" fmla="*/ 135799 w 767509"/>
                <a:gd name="connsiteY679" fmla="*/ 309291 h 361050"/>
                <a:gd name="connsiteX680" fmla="*/ 136797 w 767509"/>
                <a:gd name="connsiteY680" fmla="*/ 309200 h 361050"/>
                <a:gd name="connsiteX681" fmla="*/ 140155 w 767509"/>
                <a:gd name="connsiteY681" fmla="*/ 308171 h 361050"/>
                <a:gd name="connsiteX682" fmla="*/ 141849 w 767509"/>
                <a:gd name="connsiteY682" fmla="*/ 307929 h 361050"/>
                <a:gd name="connsiteX683" fmla="*/ 145389 w 767509"/>
                <a:gd name="connsiteY683" fmla="*/ 308262 h 361050"/>
                <a:gd name="connsiteX684" fmla="*/ 147082 w 767509"/>
                <a:gd name="connsiteY684" fmla="*/ 308777 h 361050"/>
                <a:gd name="connsiteX685" fmla="*/ 148505 w 767509"/>
                <a:gd name="connsiteY685" fmla="*/ 308595 h 361050"/>
                <a:gd name="connsiteX686" fmla="*/ 149926 w 767509"/>
                <a:gd name="connsiteY686" fmla="*/ 307234 h 361050"/>
                <a:gd name="connsiteX687" fmla="*/ 152165 w 767509"/>
                <a:gd name="connsiteY687" fmla="*/ 303694 h 361050"/>
                <a:gd name="connsiteX688" fmla="*/ 152588 w 767509"/>
                <a:gd name="connsiteY688" fmla="*/ 303331 h 361050"/>
                <a:gd name="connsiteX689" fmla="*/ 153708 w 767509"/>
                <a:gd name="connsiteY689" fmla="*/ 302847 h 361050"/>
                <a:gd name="connsiteX690" fmla="*/ 154131 w 767509"/>
                <a:gd name="connsiteY690" fmla="*/ 302424 h 361050"/>
                <a:gd name="connsiteX691" fmla="*/ 154313 w 767509"/>
                <a:gd name="connsiteY691" fmla="*/ 301758 h 361050"/>
                <a:gd name="connsiteX692" fmla="*/ 154192 w 767509"/>
                <a:gd name="connsiteY692" fmla="*/ 300336 h 361050"/>
                <a:gd name="connsiteX693" fmla="*/ 154282 w 767509"/>
                <a:gd name="connsiteY693" fmla="*/ 299822 h 361050"/>
                <a:gd name="connsiteX694" fmla="*/ 156188 w 767509"/>
                <a:gd name="connsiteY694" fmla="*/ 295677 h 361050"/>
                <a:gd name="connsiteX695" fmla="*/ 157217 w 767509"/>
                <a:gd name="connsiteY695" fmla="*/ 290928 h 361050"/>
                <a:gd name="connsiteX696" fmla="*/ 158064 w 767509"/>
                <a:gd name="connsiteY696" fmla="*/ 289264 h 361050"/>
                <a:gd name="connsiteX697" fmla="*/ 164568 w 767509"/>
                <a:gd name="connsiteY697" fmla="*/ 283274 h 361050"/>
                <a:gd name="connsiteX698" fmla="*/ 166383 w 767509"/>
                <a:gd name="connsiteY698" fmla="*/ 282307 h 361050"/>
                <a:gd name="connsiteX699" fmla="*/ 173341 w 767509"/>
                <a:gd name="connsiteY699" fmla="*/ 280219 h 361050"/>
                <a:gd name="connsiteX700" fmla="*/ 180420 w 767509"/>
                <a:gd name="connsiteY700" fmla="*/ 279130 h 361050"/>
                <a:gd name="connsiteX701" fmla="*/ 183989 w 767509"/>
                <a:gd name="connsiteY701" fmla="*/ 279856 h 361050"/>
                <a:gd name="connsiteX702" fmla="*/ 187105 w 767509"/>
                <a:gd name="connsiteY702" fmla="*/ 281248 h 361050"/>
                <a:gd name="connsiteX703" fmla="*/ 190191 w 767509"/>
                <a:gd name="connsiteY703" fmla="*/ 281399 h 361050"/>
                <a:gd name="connsiteX704" fmla="*/ 193609 w 767509"/>
                <a:gd name="connsiteY704" fmla="*/ 278374 h 361050"/>
                <a:gd name="connsiteX705" fmla="*/ 193639 w 767509"/>
                <a:gd name="connsiteY705" fmla="*/ 278343 h 361050"/>
                <a:gd name="connsiteX706" fmla="*/ 194396 w 767509"/>
                <a:gd name="connsiteY706" fmla="*/ 277285 h 361050"/>
                <a:gd name="connsiteX707" fmla="*/ 195303 w 767509"/>
                <a:gd name="connsiteY707" fmla="*/ 276649 h 361050"/>
                <a:gd name="connsiteX708" fmla="*/ 196302 w 767509"/>
                <a:gd name="connsiteY708" fmla="*/ 276438 h 361050"/>
                <a:gd name="connsiteX709" fmla="*/ 198086 w 767509"/>
                <a:gd name="connsiteY709" fmla="*/ 276831 h 361050"/>
                <a:gd name="connsiteX710" fmla="*/ 198722 w 767509"/>
                <a:gd name="connsiteY710" fmla="*/ 277194 h 361050"/>
                <a:gd name="connsiteX711" fmla="*/ 199296 w 767509"/>
                <a:gd name="connsiteY711" fmla="*/ 277708 h 361050"/>
                <a:gd name="connsiteX712" fmla="*/ 199841 w 767509"/>
                <a:gd name="connsiteY712" fmla="*/ 278374 h 361050"/>
                <a:gd name="connsiteX713" fmla="*/ 200688 w 767509"/>
                <a:gd name="connsiteY713" fmla="*/ 278858 h 361050"/>
                <a:gd name="connsiteX714" fmla="*/ 201596 w 767509"/>
                <a:gd name="connsiteY714" fmla="*/ 278979 h 361050"/>
                <a:gd name="connsiteX715" fmla="*/ 202534 w 767509"/>
                <a:gd name="connsiteY715" fmla="*/ 278828 h 361050"/>
                <a:gd name="connsiteX716" fmla="*/ 203501 w 767509"/>
                <a:gd name="connsiteY716" fmla="*/ 278374 h 361050"/>
                <a:gd name="connsiteX717" fmla="*/ 203501 w 767509"/>
                <a:gd name="connsiteY717" fmla="*/ 278374 h 361050"/>
                <a:gd name="connsiteX718" fmla="*/ 203532 w 767509"/>
                <a:gd name="connsiteY718" fmla="*/ 278343 h 361050"/>
                <a:gd name="connsiteX719" fmla="*/ 203532 w 767509"/>
                <a:gd name="connsiteY719" fmla="*/ 278343 h 361050"/>
                <a:gd name="connsiteX720" fmla="*/ 206466 w 767509"/>
                <a:gd name="connsiteY720" fmla="*/ 277557 h 361050"/>
                <a:gd name="connsiteX721" fmla="*/ 208826 w 767509"/>
                <a:gd name="connsiteY721" fmla="*/ 277345 h 361050"/>
                <a:gd name="connsiteX722" fmla="*/ 214029 w 767509"/>
                <a:gd name="connsiteY722" fmla="*/ 278313 h 361050"/>
                <a:gd name="connsiteX723" fmla="*/ 214059 w 767509"/>
                <a:gd name="connsiteY723" fmla="*/ 278313 h 361050"/>
                <a:gd name="connsiteX724" fmla="*/ 214211 w 767509"/>
                <a:gd name="connsiteY724" fmla="*/ 278374 h 361050"/>
                <a:gd name="connsiteX725" fmla="*/ 214967 w 767509"/>
                <a:gd name="connsiteY725" fmla="*/ 278434 h 361050"/>
                <a:gd name="connsiteX726" fmla="*/ 215723 w 767509"/>
                <a:gd name="connsiteY726" fmla="*/ 278313 h 361050"/>
                <a:gd name="connsiteX727" fmla="*/ 217629 w 767509"/>
                <a:gd name="connsiteY727" fmla="*/ 278495 h 361050"/>
                <a:gd name="connsiteX728" fmla="*/ 220896 w 767509"/>
                <a:gd name="connsiteY728" fmla="*/ 280733 h 361050"/>
                <a:gd name="connsiteX729" fmla="*/ 222772 w 767509"/>
                <a:gd name="connsiteY729" fmla="*/ 281399 h 361050"/>
                <a:gd name="connsiteX730" fmla="*/ 223951 w 767509"/>
                <a:gd name="connsiteY730" fmla="*/ 281127 h 361050"/>
                <a:gd name="connsiteX731" fmla="*/ 225918 w 767509"/>
                <a:gd name="connsiteY731" fmla="*/ 279644 h 361050"/>
                <a:gd name="connsiteX732" fmla="*/ 227007 w 767509"/>
                <a:gd name="connsiteY732" fmla="*/ 279009 h 361050"/>
                <a:gd name="connsiteX733" fmla="*/ 231575 w 767509"/>
                <a:gd name="connsiteY733" fmla="*/ 278313 h 361050"/>
                <a:gd name="connsiteX734" fmla="*/ 235054 w 767509"/>
                <a:gd name="connsiteY734" fmla="*/ 275772 h 361050"/>
                <a:gd name="connsiteX735" fmla="*/ 239349 w 767509"/>
                <a:gd name="connsiteY735" fmla="*/ 273654 h 361050"/>
                <a:gd name="connsiteX736" fmla="*/ 243766 w 767509"/>
                <a:gd name="connsiteY736" fmla="*/ 272233 h 361050"/>
                <a:gd name="connsiteX737" fmla="*/ 250966 w 767509"/>
                <a:gd name="connsiteY737" fmla="*/ 271930 h 361050"/>
                <a:gd name="connsiteX738" fmla="*/ 261161 w 767509"/>
                <a:gd name="connsiteY738" fmla="*/ 267029 h 361050"/>
                <a:gd name="connsiteX739" fmla="*/ 262855 w 767509"/>
                <a:gd name="connsiteY739" fmla="*/ 266727 h 361050"/>
                <a:gd name="connsiteX740" fmla="*/ 267635 w 767509"/>
                <a:gd name="connsiteY740" fmla="*/ 265880 h 361050"/>
                <a:gd name="connsiteX741" fmla="*/ 269994 w 767509"/>
                <a:gd name="connsiteY741" fmla="*/ 266606 h 361050"/>
                <a:gd name="connsiteX742" fmla="*/ 269964 w 767509"/>
                <a:gd name="connsiteY742" fmla="*/ 268330 h 361050"/>
                <a:gd name="connsiteX743" fmla="*/ 269933 w 767509"/>
                <a:gd name="connsiteY743" fmla="*/ 270176 h 361050"/>
                <a:gd name="connsiteX744" fmla="*/ 267786 w 767509"/>
                <a:gd name="connsiteY744" fmla="*/ 272868 h 361050"/>
                <a:gd name="connsiteX745" fmla="*/ 261705 w 767509"/>
                <a:gd name="connsiteY745" fmla="*/ 275984 h 361050"/>
                <a:gd name="connsiteX746" fmla="*/ 260646 w 767509"/>
                <a:gd name="connsiteY746" fmla="*/ 278374 h 361050"/>
                <a:gd name="connsiteX747" fmla="*/ 261312 w 767509"/>
                <a:gd name="connsiteY747" fmla="*/ 279705 h 361050"/>
                <a:gd name="connsiteX748" fmla="*/ 261735 w 767509"/>
                <a:gd name="connsiteY748" fmla="*/ 281248 h 361050"/>
                <a:gd name="connsiteX749" fmla="*/ 262371 w 767509"/>
                <a:gd name="connsiteY749" fmla="*/ 284363 h 361050"/>
                <a:gd name="connsiteX750" fmla="*/ 263006 w 767509"/>
                <a:gd name="connsiteY750" fmla="*/ 285876 h 361050"/>
                <a:gd name="connsiteX751" fmla="*/ 263702 w 767509"/>
                <a:gd name="connsiteY751" fmla="*/ 287147 h 361050"/>
                <a:gd name="connsiteX752" fmla="*/ 263702 w 767509"/>
                <a:gd name="connsiteY752" fmla="*/ 288387 h 361050"/>
                <a:gd name="connsiteX753" fmla="*/ 262220 w 767509"/>
                <a:gd name="connsiteY753" fmla="*/ 289748 h 361050"/>
                <a:gd name="connsiteX754" fmla="*/ 263278 w 767509"/>
                <a:gd name="connsiteY754" fmla="*/ 290142 h 361050"/>
                <a:gd name="connsiteX755" fmla="*/ 265638 w 767509"/>
                <a:gd name="connsiteY755" fmla="*/ 290505 h 361050"/>
                <a:gd name="connsiteX756" fmla="*/ 266757 w 767509"/>
                <a:gd name="connsiteY756" fmla="*/ 291049 h 361050"/>
                <a:gd name="connsiteX757" fmla="*/ 267907 w 767509"/>
                <a:gd name="connsiteY757" fmla="*/ 292138 h 361050"/>
                <a:gd name="connsiteX758" fmla="*/ 268481 w 767509"/>
                <a:gd name="connsiteY758" fmla="*/ 292985 h 361050"/>
                <a:gd name="connsiteX759" fmla="*/ 269087 w 767509"/>
                <a:gd name="connsiteY759" fmla="*/ 293621 h 361050"/>
                <a:gd name="connsiteX760" fmla="*/ 270448 w 767509"/>
                <a:gd name="connsiteY760" fmla="*/ 294104 h 361050"/>
                <a:gd name="connsiteX761" fmla="*/ 274683 w 767509"/>
                <a:gd name="connsiteY761" fmla="*/ 294225 h 361050"/>
                <a:gd name="connsiteX762" fmla="*/ 276287 w 767509"/>
                <a:gd name="connsiteY762" fmla="*/ 295224 h 361050"/>
                <a:gd name="connsiteX763" fmla="*/ 277194 w 767509"/>
                <a:gd name="connsiteY763" fmla="*/ 298189 h 361050"/>
                <a:gd name="connsiteX764" fmla="*/ 277224 w 767509"/>
                <a:gd name="connsiteY764" fmla="*/ 299852 h 361050"/>
                <a:gd name="connsiteX765" fmla="*/ 276952 w 767509"/>
                <a:gd name="connsiteY765" fmla="*/ 300820 h 361050"/>
                <a:gd name="connsiteX766" fmla="*/ 276589 w 767509"/>
                <a:gd name="connsiteY766" fmla="*/ 301758 h 361050"/>
                <a:gd name="connsiteX767" fmla="*/ 276317 w 767509"/>
                <a:gd name="connsiteY767" fmla="*/ 303331 h 361050"/>
                <a:gd name="connsiteX768" fmla="*/ 276287 w 767509"/>
                <a:gd name="connsiteY768" fmla="*/ 305055 h 361050"/>
                <a:gd name="connsiteX769" fmla="*/ 276528 w 767509"/>
                <a:gd name="connsiteY769" fmla="*/ 305963 h 361050"/>
                <a:gd name="connsiteX770" fmla="*/ 277103 w 767509"/>
                <a:gd name="connsiteY770" fmla="*/ 306508 h 361050"/>
                <a:gd name="connsiteX771" fmla="*/ 278071 w 767509"/>
                <a:gd name="connsiteY771" fmla="*/ 307143 h 361050"/>
                <a:gd name="connsiteX772" fmla="*/ 280158 w 767509"/>
                <a:gd name="connsiteY772" fmla="*/ 307869 h 361050"/>
                <a:gd name="connsiteX773" fmla="*/ 282276 w 767509"/>
                <a:gd name="connsiteY773" fmla="*/ 308141 h 361050"/>
                <a:gd name="connsiteX774" fmla="*/ 283940 w 767509"/>
                <a:gd name="connsiteY774" fmla="*/ 309140 h 361050"/>
                <a:gd name="connsiteX775" fmla="*/ 284817 w 767509"/>
                <a:gd name="connsiteY775" fmla="*/ 312074 h 361050"/>
                <a:gd name="connsiteX776" fmla="*/ 286723 w 767509"/>
                <a:gd name="connsiteY776" fmla="*/ 316400 h 361050"/>
                <a:gd name="connsiteX777" fmla="*/ 290202 w 767509"/>
                <a:gd name="connsiteY777" fmla="*/ 319243 h 361050"/>
                <a:gd name="connsiteX778" fmla="*/ 294286 w 767509"/>
                <a:gd name="connsiteY778" fmla="*/ 320786 h 361050"/>
                <a:gd name="connsiteX779" fmla="*/ 296706 w 767509"/>
                <a:gd name="connsiteY779" fmla="*/ 321180 h 361050"/>
                <a:gd name="connsiteX780" fmla="*/ 299762 w 767509"/>
                <a:gd name="connsiteY780" fmla="*/ 321663 h 361050"/>
                <a:gd name="connsiteX781" fmla="*/ 302847 w 767509"/>
                <a:gd name="connsiteY781" fmla="*/ 323600 h 361050"/>
                <a:gd name="connsiteX782" fmla="*/ 304541 w 767509"/>
                <a:gd name="connsiteY782" fmla="*/ 324326 h 361050"/>
                <a:gd name="connsiteX783" fmla="*/ 305993 w 767509"/>
                <a:gd name="connsiteY783" fmla="*/ 324477 h 361050"/>
                <a:gd name="connsiteX784" fmla="*/ 311862 w 767509"/>
                <a:gd name="connsiteY784" fmla="*/ 323751 h 361050"/>
                <a:gd name="connsiteX785" fmla="*/ 316823 w 767509"/>
                <a:gd name="connsiteY785" fmla="*/ 324235 h 361050"/>
                <a:gd name="connsiteX786" fmla="*/ 317005 w 767509"/>
                <a:gd name="connsiteY786" fmla="*/ 324326 h 361050"/>
                <a:gd name="connsiteX787" fmla="*/ 317791 w 767509"/>
                <a:gd name="connsiteY787" fmla="*/ 324628 h 361050"/>
                <a:gd name="connsiteX788" fmla="*/ 319637 w 767509"/>
                <a:gd name="connsiteY788" fmla="*/ 325899 h 361050"/>
                <a:gd name="connsiteX789" fmla="*/ 320544 w 767509"/>
                <a:gd name="connsiteY789" fmla="*/ 326292 h 361050"/>
                <a:gd name="connsiteX790" fmla="*/ 321512 w 767509"/>
                <a:gd name="connsiteY790" fmla="*/ 326262 h 361050"/>
                <a:gd name="connsiteX791" fmla="*/ 323116 w 767509"/>
                <a:gd name="connsiteY791" fmla="*/ 325687 h 361050"/>
                <a:gd name="connsiteX792" fmla="*/ 323902 w 767509"/>
                <a:gd name="connsiteY792" fmla="*/ 325566 h 361050"/>
                <a:gd name="connsiteX793" fmla="*/ 324779 w 767509"/>
                <a:gd name="connsiteY793" fmla="*/ 325838 h 361050"/>
                <a:gd name="connsiteX794" fmla="*/ 327290 w 767509"/>
                <a:gd name="connsiteY794" fmla="*/ 326625 h 361050"/>
                <a:gd name="connsiteX795" fmla="*/ 333008 w 767509"/>
                <a:gd name="connsiteY795" fmla="*/ 330073 h 361050"/>
                <a:gd name="connsiteX796" fmla="*/ 356574 w 767509"/>
                <a:gd name="connsiteY796" fmla="*/ 331616 h 361050"/>
                <a:gd name="connsiteX797" fmla="*/ 364833 w 767509"/>
                <a:gd name="connsiteY797" fmla="*/ 333371 h 361050"/>
                <a:gd name="connsiteX798" fmla="*/ 371216 w 767509"/>
                <a:gd name="connsiteY798" fmla="*/ 337001 h 361050"/>
                <a:gd name="connsiteX799" fmla="*/ 373333 w 767509"/>
                <a:gd name="connsiteY799" fmla="*/ 337788 h 361050"/>
                <a:gd name="connsiteX800" fmla="*/ 377387 w 767509"/>
                <a:gd name="connsiteY800" fmla="*/ 337969 h 361050"/>
                <a:gd name="connsiteX801" fmla="*/ 387642 w 767509"/>
                <a:gd name="connsiteY801" fmla="*/ 335942 h 361050"/>
                <a:gd name="connsiteX802" fmla="*/ 392029 w 767509"/>
                <a:gd name="connsiteY802" fmla="*/ 336668 h 361050"/>
                <a:gd name="connsiteX803" fmla="*/ 398169 w 767509"/>
                <a:gd name="connsiteY803" fmla="*/ 336245 h 361050"/>
                <a:gd name="connsiteX804" fmla="*/ 398895 w 767509"/>
                <a:gd name="connsiteY804" fmla="*/ 336517 h 361050"/>
                <a:gd name="connsiteX805" fmla="*/ 400287 w 767509"/>
                <a:gd name="connsiteY805" fmla="*/ 337999 h 361050"/>
                <a:gd name="connsiteX806" fmla="*/ 401074 w 767509"/>
                <a:gd name="connsiteY806" fmla="*/ 338483 h 361050"/>
                <a:gd name="connsiteX807" fmla="*/ 405339 w 767509"/>
                <a:gd name="connsiteY807" fmla="*/ 338635 h 361050"/>
                <a:gd name="connsiteX808" fmla="*/ 417530 w 767509"/>
                <a:gd name="connsiteY808" fmla="*/ 342265 h 361050"/>
                <a:gd name="connsiteX809" fmla="*/ 419043 w 767509"/>
                <a:gd name="connsiteY809" fmla="*/ 342416 h 361050"/>
                <a:gd name="connsiteX810" fmla="*/ 420616 w 767509"/>
                <a:gd name="connsiteY810" fmla="*/ 342113 h 361050"/>
                <a:gd name="connsiteX811" fmla="*/ 422129 w 767509"/>
                <a:gd name="connsiteY811" fmla="*/ 342234 h 361050"/>
                <a:gd name="connsiteX812" fmla="*/ 428784 w 767509"/>
                <a:gd name="connsiteY812" fmla="*/ 343717 h 361050"/>
                <a:gd name="connsiteX813" fmla="*/ 430176 w 767509"/>
                <a:gd name="connsiteY813" fmla="*/ 343717 h 361050"/>
                <a:gd name="connsiteX814" fmla="*/ 436680 w 767509"/>
                <a:gd name="connsiteY814" fmla="*/ 342749 h 361050"/>
                <a:gd name="connsiteX815" fmla="*/ 439705 w 767509"/>
                <a:gd name="connsiteY815" fmla="*/ 343202 h 361050"/>
                <a:gd name="connsiteX816" fmla="*/ 448931 w 767509"/>
                <a:gd name="connsiteY816" fmla="*/ 347196 h 361050"/>
                <a:gd name="connsiteX817" fmla="*/ 450595 w 767509"/>
                <a:gd name="connsiteY817" fmla="*/ 347407 h 361050"/>
                <a:gd name="connsiteX818" fmla="*/ 452229 w 767509"/>
                <a:gd name="connsiteY818" fmla="*/ 347135 h 361050"/>
                <a:gd name="connsiteX819" fmla="*/ 453983 w 767509"/>
                <a:gd name="connsiteY819" fmla="*/ 346833 h 361050"/>
                <a:gd name="connsiteX820" fmla="*/ 455738 w 767509"/>
                <a:gd name="connsiteY820" fmla="*/ 346863 h 361050"/>
                <a:gd name="connsiteX821" fmla="*/ 457402 w 767509"/>
                <a:gd name="connsiteY821" fmla="*/ 347317 h 361050"/>
                <a:gd name="connsiteX822" fmla="*/ 458854 w 767509"/>
                <a:gd name="connsiteY822" fmla="*/ 348013 h 361050"/>
                <a:gd name="connsiteX823" fmla="*/ 464511 w 767509"/>
                <a:gd name="connsiteY823" fmla="*/ 352490 h 361050"/>
                <a:gd name="connsiteX824" fmla="*/ 465600 w 767509"/>
                <a:gd name="connsiteY824" fmla="*/ 352762 h 361050"/>
                <a:gd name="connsiteX825" fmla="*/ 465782 w 767509"/>
                <a:gd name="connsiteY825" fmla="*/ 352823 h 361050"/>
                <a:gd name="connsiteX826" fmla="*/ 475099 w 767509"/>
                <a:gd name="connsiteY826" fmla="*/ 353064 h 361050"/>
                <a:gd name="connsiteX827" fmla="*/ 487169 w 767509"/>
                <a:gd name="connsiteY827" fmla="*/ 353367 h 361050"/>
                <a:gd name="connsiteX828" fmla="*/ 490557 w 767509"/>
                <a:gd name="connsiteY828" fmla="*/ 352701 h 361050"/>
                <a:gd name="connsiteX829" fmla="*/ 491616 w 767509"/>
                <a:gd name="connsiteY829" fmla="*/ 352913 h 361050"/>
                <a:gd name="connsiteX830" fmla="*/ 492100 w 767509"/>
                <a:gd name="connsiteY830" fmla="*/ 353549 h 361050"/>
                <a:gd name="connsiteX831" fmla="*/ 492433 w 767509"/>
                <a:gd name="connsiteY831" fmla="*/ 354305 h 361050"/>
                <a:gd name="connsiteX832" fmla="*/ 492978 w 767509"/>
                <a:gd name="connsiteY832" fmla="*/ 354910 h 361050"/>
                <a:gd name="connsiteX833" fmla="*/ 494702 w 767509"/>
                <a:gd name="connsiteY833" fmla="*/ 355636 h 361050"/>
                <a:gd name="connsiteX834" fmla="*/ 496093 w 767509"/>
                <a:gd name="connsiteY834" fmla="*/ 356241 h 361050"/>
                <a:gd name="connsiteX835" fmla="*/ 497787 w 767509"/>
                <a:gd name="connsiteY835" fmla="*/ 356483 h 361050"/>
                <a:gd name="connsiteX836" fmla="*/ 501236 w 767509"/>
                <a:gd name="connsiteY836" fmla="*/ 355727 h 361050"/>
                <a:gd name="connsiteX837" fmla="*/ 502628 w 767509"/>
                <a:gd name="connsiteY837" fmla="*/ 357451 h 361050"/>
                <a:gd name="connsiteX838" fmla="*/ 503747 w 767509"/>
                <a:gd name="connsiteY838" fmla="*/ 359750 h 361050"/>
                <a:gd name="connsiteX839" fmla="*/ 505078 w 767509"/>
                <a:gd name="connsiteY839" fmla="*/ 361051 h 361050"/>
                <a:gd name="connsiteX840" fmla="*/ 506833 w 767509"/>
                <a:gd name="connsiteY840" fmla="*/ 360325 h 361050"/>
                <a:gd name="connsiteX841" fmla="*/ 507286 w 767509"/>
                <a:gd name="connsiteY841" fmla="*/ 359296 h 361050"/>
                <a:gd name="connsiteX842" fmla="*/ 507771 w 767509"/>
                <a:gd name="connsiteY842" fmla="*/ 358117 h 361050"/>
                <a:gd name="connsiteX843" fmla="*/ 508617 w 767509"/>
                <a:gd name="connsiteY843" fmla="*/ 355545 h 361050"/>
                <a:gd name="connsiteX844" fmla="*/ 510100 w 767509"/>
                <a:gd name="connsiteY844" fmla="*/ 353579 h 361050"/>
                <a:gd name="connsiteX845" fmla="*/ 511068 w 767509"/>
                <a:gd name="connsiteY845" fmla="*/ 353216 h 361050"/>
                <a:gd name="connsiteX846" fmla="*/ 513246 w 767509"/>
                <a:gd name="connsiteY846" fmla="*/ 353034 h 361050"/>
                <a:gd name="connsiteX847" fmla="*/ 514274 w 767509"/>
                <a:gd name="connsiteY847" fmla="*/ 352762 h 361050"/>
                <a:gd name="connsiteX848" fmla="*/ 515303 w 767509"/>
                <a:gd name="connsiteY848" fmla="*/ 352127 h 361050"/>
                <a:gd name="connsiteX849" fmla="*/ 517330 w 767509"/>
                <a:gd name="connsiteY849" fmla="*/ 350191 h 361050"/>
                <a:gd name="connsiteX850" fmla="*/ 517784 w 767509"/>
                <a:gd name="connsiteY850" fmla="*/ 350070 h 361050"/>
                <a:gd name="connsiteX851" fmla="*/ 518389 w 767509"/>
                <a:gd name="connsiteY851" fmla="*/ 350160 h 361050"/>
                <a:gd name="connsiteX852" fmla="*/ 519145 w 767509"/>
                <a:gd name="connsiteY852" fmla="*/ 350281 h 361050"/>
                <a:gd name="connsiteX853" fmla="*/ 519841 w 767509"/>
                <a:gd name="connsiteY853" fmla="*/ 348648 h 361050"/>
                <a:gd name="connsiteX854" fmla="*/ 521020 w 767509"/>
                <a:gd name="connsiteY854" fmla="*/ 347347 h 361050"/>
                <a:gd name="connsiteX855" fmla="*/ 521535 w 767509"/>
                <a:gd name="connsiteY855" fmla="*/ 346409 h 361050"/>
                <a:gd name="connsiteX856" fmla="*/ 522140 w 767509"/>
                <a:gd name="connsiteY856" fmla="*/ 345774 h 361050"/>
                <a:gd name="connsiteX857" fmla="*/ 523804 w 767509"/>
                <a:gd name="connsiteY857" fmla="*/ 345078 h 361050"/>
                <a:gd name="connsiteX858" fmla="*/ 524681 w 767509"/>
                <a:gd name="connsiteY858" fmla="*/ 345683 h 361050"/>
                <a:gd name="connsiteX859" fmla="*/ 527283 w 767509"/>
                <a:gd name="connsiteY859" fmla="*/ 345290 h 361050"/>
                <a:gd name="connsiteX860" fmla="*/ 529491 w 767509"/>
                <a:gd name="connsiteY860" fmla="*/ 344352 h 361050"/>
                <a:gd name="connsiteX861" fmla="*/ 530066 w 767509"/>
                <a:gd name="connsiteY861" fmla="*/ 343898 h 361050"/>
                <a:gd name="connsiteX862" fmla="*/ 530882 w 767509"/>
                <a:gd name="connsiteY862" fmla="*/ 342174 h 361050"/>
                <a:gd name="connsiteX863" fmla="*/ 531941 w 767509"/>
                <a:gd name="connsiteY863" fmla="*/ 339935 h 361050"/>
                <a:gd name="connsiteX864" fmla="*/ 532667 w 767509"/>
                <a:gd name="connsiteY864" fmla="*/ 337908 h 361050"/>
                <a:gd name="connsiteX865" fmla="*/ 533454 w 767509"/>
                <a:gd name="connsiteY865" fmla="*/ 335700 h 361050"/>
                <a:gd name="connsiteX866" fmla="*/ 534604 w 767509"/>
                <a:gd name="connsiteY866" fmla="*/ 333431 h 361050"/>
                <a:gd name="connsiteX867" fmla="*/ 536267 w 767509"/>
                <a:gd name="connsiteY867" fmla="*/ 331193 h 361050"/>
                <a:gd name="connsiteX868" fmla="*/ 537568 w 767509"/>
                <a:gd name="connsiteY868" fmla="*/ 330709 h 361050"/>
                <a:gd name="connsiteX869" fmla="*/ 538960 w 767509"/>
                <a:gd name="connsiteY869" fmla="*/ 330860 h 361050"/>
                <a:gd name="connsiteX870" fmla="*/ 540684 w 767509"/>
                <a:gd name="connsiteY870" fmla="*/ 330648 h 361050"/>
                <a:gd name="connsiteX871" fmla="*/ 541047 w 767509"/>
                <a:gd name="connsiteY871" fmla="*/ 330618 h 361050"/>
                <a:gd name="connsiteX872" fmla="*/ 543255 w 767509"/>
                <a:gd name="connsiteY872" fmla="*/ 329347 h 361050"/>
                <a:gd name="connsiteX873" fmla="*/ 544647 w 767509"/>
                <a:gd name="connsiteY873" fmla="*/ 328500 h 361050"/>
                <a:gd name="connsiteX874" fmla="*/ 546099 w 767509"/>
                <a:gd name="connsiteY874" fmla="*/ 328773 h 361050"/>
                <a:gd name="connsiteX875" fmla="*/ 548035 w 767509"/>
                <a:gd name="connsiteY875" fmla="*/ 331314 h 361050"/>
                <a:gd name="connsiteX876" fmla="*/ 551786 w 767509"/>
                <a:gd name="connsiteY876" fmla="*/ 326413 h 361050"/>
                <a:gd name="connsiteX877" fmla="*/ 557564 w 767509"/>
                <a:gd name="connsiteY877" fmla="*/ 324689 h 361050"/>
                <a:gd name="connsiteX878" fmla="*/ 559954 w 767509"/>
                <a:gd name="connsiteY878" fmla="*/ 324931 h 361050"/>
                <a:gd name="connsiteX879" fmla="*/ 561981 w 767509"/>
                <a:gd name="connsiteY879" fmla="*/ 325142 h 361050"/>
                <a:gd name="connsiteX880" fmla="*/ 568697 w 767509"/>
                <a:gd name="connsiteY880" fmla="*/ 325808 h 361050"/>
                <a:gd name="connsiteX881" fmla="*/ 571964 w 767509"/>
                <a:gd name="connsiteY881" fmla="*/ 326111 h 361050"/>
                <a:gd name="connsiteX882" fmla="*/ 584821 w 767509"/>
                <a:gd name="connsiteY882" fmla="*/ 325505 h 361050"/>
                <a:gd name="connsiteX883" fmla="*/ 590387 w 767509"/>
                <a:gd name="connsiteY883" fmla="*/ 325233 h 361050"/>
                <a:gd name="connsiteX884" fmla="*/ 593352 w 767509"/>
                <a:gd name="connsiteY884" fmla="*/ 326262 h 361050"/>
                <a:gd name="connsiteX885" fmla="*/ 595136 w 767509"/>
                <a:gd name="connsiteY885" fmla="*/ 327714 h 361050"/>
                <a:gd name="connsiteX886" fmla="*/ 595621 w 767509"/>
                <a:gd name="connsiteY886" fmla="*/ 328077 h 361050"/>
                <a:gd name="connsiteX887" fmla="*/ 597889 w 767509"/>
                <a:gd name="connsiteY887" fmla="*/ 329378 h 361050"/>
                <a:gd name="connsiteX888" fmla="*/ 600915 w 767509"/>
                <a:gd name="connsiteY888" fmla="*/ 328894 h 361050"/>
                <a:gd name="connsiteX889" fmla="*/ 602790 w 767509"/>
                <a:gd name="connsiteY889" fmla="*/ 327532 h 361050"/>
                <a:gd name="connsiteX890" fmla="*/ 603063 w 767509"/>
                <a:gd name="connsiteY890" fmla="*/ 326988 h 361050"/>
                <a:gd name="connsiteX891" fmla="*/ 603426 w 767509"/>
                <a:gd name="connsiteY891" fmla="*/ 326201 h 361050"/>
                <a:gd name="connsiteX892" fmla="*/ 603698 w 767509"/>
                <a:gd name="connsiteY892" fmla="*/ 324931 h 361050"/>
                <a:gd name="connsiteX893" fmla="*/ 603758 w 767509"/>
                <a:gd name="connsiteY893" fmla="*/ 324689 h 361050"/>
                <a:gd name="connsiteX894" fmla="*/ 604726 w 767509"/>
                <a:gd name="connsiteY894" fmla="*/ 322783 h 361050"/>
                <a:gd name="connsiteX895" fmla="*/ 606269 w 767509"/>
                <a:gd name="connsiteY895" fmla="*/ 321694 h 361050"/>
                <a:gd name="connsiteX896" fmla="*/ 608447 w 767509"/>
                <a:gd name="connsiteY896" fmla="*/ 321180 h 361050"/>
                <a:gd name="connsiteX897" fmla="*/ 610565 w 767509"/>
                <a:gd name="connsiteY897" fmla="*/ 321149 h 361050"/>
                <a:gd name="connsiteX898" fmla="*/ 612108 w 767509"/>
                <a:gd name="connsiteY898" fmla="*/ 321543 h 361050"/>
                <a:gd name="connsiteX899" fmla="*/ 613408 w 767509"/>
                <a:gd name="connsiteY899" fmla="*/ 321210 h 361050"/>
                <a:gd name="connsiteX900" fmla="*/ 613923 w 767509"/>
                <a:gd name="connsiteY900" fmla="*/ 320847 h 361050"/>
                <a:gd name="connsiteX901" fmla="*/ 614437 w 767509"/>
                <a:gd name="connsiteY901" fmla="*/ 320484 h 361050"/>
                <a:gd name="connsiteX902" fmla="*/ 615042 w 767509"/>
                <a:gd name="connsiteY902" fmla="*/ 319304 h 361050"/>
                <a:gd name="connsiteX903" fmla="*/ 615042 w 767509"/>
                <a:gd name="connsiteY903" fmla="*/ 317580 h 361050"/>
                <a:gd name="connsiteX904" fmla="*/ 615345 w 767509"/>
                <a:gd name="connsiteY904" fmla="*/ 315553 h 361050"/>
                <a:gd name="connsiteX905" fmla="*/ 616948 w 767509"/>
                <a:gd name="connsiteY905" fmla="*/ 316460 h 361050"/>
                <a:gd name="connsiteX906" fmla="*/ 624662 w 767509"/>
                <a:gd name="connsiteY906" fmla="*/ 317519 h 361050"/>
                <a:gd name="connsiteX907" fmla="*/ 627324 w 767509"/>
                <a:gd name="connsiteY907" fmla="*/ 317368 h 361050"/>
                <a:gd name="connsiteX908" fmla="*/ 630289 w 767509"/>
                <a:gd name="connsiteY908" fmla="*/ 316279 h 361050"/>
                <a:gd name="connsiteX909" fmla="*/ 634131 w 767509"/>
                <a:gd name="connsiteY909" fmla="*/ 314827 h 361050"/>
                <a:gd name="connsiteX910" fmla="*/ 636944 w 767509"/>
                <a:gd name="connsiteY910" fmla="*/ 314615 h 361050"/>
                <a:gd name="connsiteX911" fmla="*/ 639757 w 767509"/>
                <a:gd name="connsiteY911" fmla="*/ 315129 h 361050"/>
                <a:gd name="connsiteX912" fmla="*/ 646564 w 767509"/>
                <a:gd name="connsiteY912" fmla="*/ 318306 h 361050"/>
                <a:gd name="connsiteX913" fmla="*/ 650648 w 767509"/>
                <a:gd name="connsiteY913" fmla="*/ 318971 h 361050"/>
                <a:gd name="connsiteX914" fmla="*/ 651767 w 767509"/>
                <a:gd name="connsiteY914" fmla="*/ 319667 h 361050"/>
                <a:gd name="connsiteX915" fmla="*/ 653643 w 767509"/>
                <a:gd name="connsiteY915" fmla="*/ 321845 h 361050"/>
                <a:gd name="connsiteX916" fmla="*/ 653643 w 767509"/>
                <a:gd name="connsiteY916" fmla="*/ 321845 h 361050"/>
                <a:gd name="connsiteX917" fmla="*/ 653643 w 767509"/>
                <a:gd name="connsiteY917" fmla="*/ 321845 h 361050"/>
                <a:gd name="connsiteX918" fmla="*/ 653431 w 767509"/>
                <a:gd name="connsiteY918" fmla="*/ 318759 h 361050"/>
                <a:gd name="connsiteX919" fmla="*/ 652281 w 767509"/>
                <a:gd name="connsiteY919" fmla="*/ 316672 h 361050"/>
                <a:gd name="connsiteX920" fmla="*/ 650164 w 767509"/>
                <a:gd name="connsiteY920" fmla="*/ 315401 h 361050"/>
                <a:gd name="connsiteX921" fmla="*/ 649014 w 767509"/>
                <a:gd name="connsiteY921" fmla="*/ 312134 h 361050"/>
                <a:gd name="connsiteX922" fmla="*/ 648924 w 767509"/>
                <a:gd name="connsiteY922" fmla="*/ 309775 h 361050"/>
                <a:gd name="connsiteX923" fmla="*/ 649045 w 767509"/>
                <a:gd name="connsiteY923" fmla="*/ 307808 h 361050"/>
                <a:gd name="connsiteX924" fmla="*/ 649075 w 767509"/>
                <a:gd name="connsiteY924" fmla="*/ 307385 h 361050"/>
                <a:gd name="connsiteX925" fmla="*/ 649771 w 767509"/>
                <a:gd name="connsiteY925" fmla="*/ 303210 h 361050"/>
                <a:gd name="connsiteX926" fmla="*/ 649680 w 767509"/>
                <a:gd name="connsiteY926" fmla="*/ 302242 h 361050"/>
                <a:gd name="connsiteX927" fmla="*/ 649256 w 767509"/>
                <a:gd name="connsiteY927" fmla="*/ 301970 h 361050"/>
                <a:gd name="connsiteX928" fmla="*/ 649135 w 767509"/>
                <a:gd name="connsiteY928" fmla="*/ 301667 h 361050"/>
                <a:gd name="connsiteX929" fmla="*/ 650134 w 767509"/>
                <a:gd name="connsiteY929" fmla="*/ 300699 h 361050"/>
                <a:gd name="connsiteX930" fmla="*/ 650709 w 767509"/>
                <a:gd name="connsiteY930" fmla="*/ 300397 h 361050"/>
                <a:gd name="connsiteX931" fmla="*/ 654823 w 767509"/>
                <a:gd name="connsiteY931" fmla="*/ 299459 h 361050"/>
                <a:gd name="connsiteX932" fmla="*/ 655186 w 767509"/>
                <a:gd name="connsiteY932" fmla="*/ 299368 h 361050"/>
                <a:gd name="connsiteX933" fmla="*/ 657273 w 767509"/>
                <a:gd name="connsiteY933" fmla="*/ 298219 h 361050"/>
                <a:gd name="connsiteX934" fmla="*/ 661417 w 767509"/>
                <a:gd name="connsiteY934" fmla="*/ 295980 h 361050"/>
                <a:gd name="connsiteX935" fmla="*/ 663051 w 767509"/>
                <a:gd name="connsiteY935" fmla="*/ 295284 h 361050"/>
                <a:gd name="connsiteX936" fmla="*/ 664352 w 767509"/>
                <a:gd name="connsiteY936" fmla="*/ 294135 h 361050"/>
                <a:gd name="connsiteX937" fmla="*/ 667982 w 767509"/>
                <a:gd name="connsiteY937" fmla="*/ 289536 h 361050"/>
                <a:gd name="connsiteX938" fmla="*/ 669132 w 767509"/>
                <a:gd name="connsiteY938" fmla="*/ 288447 h 361050"/>
                <a:gd name="connsiteX939" fmla="*/ 671703 w 767509"/>
                <a:gd name="connsiteY939" fmla="*/ 286723 h 361050"/>
                <a:gd name="connsiteX940" fmla="*/ 673820 w 767509"/>
                <a:gd name="connsiteY940" fmla="*/ 285876 h 361050"/>
                <a:gd name="connsiteX941" fmla="*/ 674516 w 767509"/>
                <a:gd name="connsiteY941" fmla="*/ 285362 h 361050"/>
                <a:gd name="connsiteX942" fmla="*/ 675182 w 767509"/>
                <a:gd name="connsiteY942" fmla="*/ 284394 h 361050"/>
                <a:gd name="connsiteX943" fmla="*/ 675212 w 767509"/>
                <a:gd name="connsiteY943" fmla="*/ 283577 h 361050"/>
                <a:gd name="connsiteX944" fmla="*/ 675152 w 767509"/>
                <a:gd name="connsiteY944" fmla="*/ 282821 h 361050"/>
                <a:gd name="connsiteX945" fmla="*/ 675424 w 767509"/>
                <a:gd name="connsiteY945" fmla="*/ 282004 h 361050"/>
                <a:gd name="connsiteX946" fmla="*/ 676422 w 767509"/>
                <a:gd name="connsiteY946" fmla="*/ 281187 h 361050"/>
                <a:gd name="connsiteX947" fmla="*/ 677421 w 767509"/>
                <a:gd name="connsiteY947" fmla="*/ 281006 h 361050"/>
                <a:gd name="connsiteX948" fmla="*/ 678237 w 767509"/>
                <a:gd name="connsiteY948" fmla="*/ 280370 h 361050"/>
                <a:gd name="connsiteX949" fmla="*/ 678661 w 767509"/>
                <a:gd name="connsiteY949" fmla="*/ 278313 h 361050"/>
                <a:gd name="connsiteX950" fmla="*/ 679629 w 767509"/>
                <a:gd name="connsiteY950" fmla="*/ 276831 h 361050"/>
                <a:gd name="connsiteX951" fmla="*/ 680990 w 767509"/>
                <a:gd name="connsiteY951" fmla="*/ 276649 h 361050"/>
                <a:gd name="connsiteX952" fmla="*/ 684741 w 767509"/>
                <a:gd name="connsiteY952" fmla="*/ 277345 h 361050"/>
                <a:gd name="connsiteX953" fmla="*/ 688856 w 767509"/>
                <a:gd name="connsiteY953" fmla="*/ 276891 h 361050"/>
                <a:gd name="connsiteX954" fmla="*/ 690973 w 767509"/>
                <a:gd name="connsiteY954" fmla="*/ 277133 h 361050"/>
                <a:gd name="connsiteX955" fmla="*/ 692728 w 767509"/>
                <a:gd name="connsiteY955" fmla="*/ 278343 h 361050"/>
                <a:gd name="connsiteX956" fmla="*/ 693272 w 767509"/>
                <a:gd name="connsiteY956" fmla="*/ 278706 h 361050"/>
                <a:gd name="connsiteX957" fmla="*/ 693787 w 767509"/>
                <a:gd name="connsiteY957" fmla="*/ 278858 h 361050"/>
                <a:gd name="connsiteX958" fmla="*/ 694270 w 767509"/>
                <a:gd name="connsiteY958" fmla="*/ 278737 h 361050"/>
                <a:gd name="connsiteX959" fmla="*/ 694724 w 767509"/>
                <a:gd name="connsiteY959" fmla="*/ 278374 h 361050"/>
                <a:gd name="connsiteX960" fmla="*/ 694724 w 767509"/>
                <a:gd name="connsiteY960" fmla="*/ 278343 h 361050"/>
                <a:gd name="connsiteX961" fmla="*/ 696388 w 767509"/>
                <a:gd name="connsiteY961" fmla="*/ 278071 h 361050"/>
                <a:gd name="connsiteX962" fmla="*/ 699020 w 767509"/>
                <a:gd name="connsiteY962" fmla="*/ 278041 h 361050"/>
                <a:gd name="connsiteX963" fmla="*/ 700896 w 767509"/>
                <a:gd name="connsiteY963" fmla="*/ 277587 h 361050"/>
                <a:gd name="connsiteX964" fmla="*/ 700472 w 767509"/>
                <a:gd name="connsiteY964" fmla="*/ 276135 h 361050"/>
                <a:gd name="connsiteX965" fmla="*/ 699020 w 767509"/>
                <a:gd name="connsiteY965" fmla="*/ 274895 h 361050"/>
                <a:gd name="connsiteX966" fmla="*/ 697568 w 767509"/>
                <a:gd name="connsiteY966" fmla="*/ 274471 h 361050"/>
                <a:gd name="connsiteX967" fmla="*/ 694694 w 767509"/>
                <a:gd name="connsiteY967" fmla="*/ 274169 h 361050"/>
                <a:gd name="connsiteX968" fmla="*/ 695965 w 767509"/>
                <a:gd name="connsiteY968" fmla="*/ 273110 h 361050"/>
                <a:gd name="connsiteX969" fmla="*/ 700472 w 767509"/>
                <a:gd name="connsiteY969" fmla="*/ 271416 h 361050"/>
                <a:gd name="connsiteX970" fmla="*/ 701591 w 767509"/>
                <a:gd name="connsiteY970" fmla="*/ 270750 h 361050"/>
                <a:gd name="connsiteX971" fmla="*/ 702015 w 767509"/>
                <a:gd name="connsiteY971" fmla="*/ 270024 h 361050"/>
                <a:gd name="connsiteX972" fmla="*/ 701652 w 767509"/>
                <a:gd name="connsiteY972" fmla="*/ 269329 h 361050"/>
                <a:gd name="connsiteX973" fmla="*/ 700472 w 767509"/>
                <a:gd name="connsiteY973" fmla="*/ 268754 h 361050"/>
                <a:gd name="connsiteX974" fmla="*/ 698445 w 767509"/>
                <a:gd name="connsiteY974" fmla="*/ 268149 h 361050"/>
                <a:gd name="connsiteX975" fmla="*/ 697689 w 767509"/>
                <a:gd name="connsiteY975" fmla="*/ 266334 h 361050"/>
                <a:gd name="connsiteX976" fmla="*/ 698355 w 767509"/>
                <a:gd name="connsiteY976" fmla="*/ 264367 h 361050"/>
                <a:gd name="connsiteX977" fmla="*/ 700472 w 767509"/>
                <a:gd name="connsiteY977" fmla="*/ 263157 h 361050"/>
                <a:gd name="connsiteX978" fmla="*/ 702771 w 767509"/>
                <a:gd name="connsiteY978" fmla="*/ 260374 h 361050"/>
                <a:gd name="connsiteX979" fmla="*/ 703225 w 767509"/>
                <a:gd name="connsiteY979" fmla="*/ 258771 h 361050"/>
                <a:gd name="connsiteX980" fmla="*/ 702015 w 767509"/>
                <a:gd name="connsiteY980" fmla="*/ 257107 h 361050"/>
                <a:gd name="connsiteX981" fmla="*/ 700351 w 767509"/>
                <a:gd name="connsiteY981" fmla="*/ 256986 h 361050"/>
                <a:gd name="connsiteX982" fmla="*/ 696963 w 767509"/>
                <a:gd name="connsiteY982" fmla="*/ 258498 h 361050"/>
                <a:gd name="connsiteX983" fmla="*/ 695602 w 767509"/>
                <a:gd name="connsiteY983" fmla="*/ 257652 h 361050"/>
                <a:gd name="connsiteX984" fmla="*/ 695632 w 767509"/>
                <a:gd name="connsiteY984" fmla="*/ 256895 h 361050"/>
                <a:gd name="connsiteX985" fmla="*/ 696449 w 767509"/>
                <a:gd name="connsiteY985" fmla="*/ 254596 h 361050"/>
                <a:gd name="connsiteX986" fmla="*/ 696419 w 767509"/>
                <a:gd name="connsiteY986" fmla="*/ 253386 h 361050"/>
                <a:gd name="connsiteX987" fmla="*/ 695753 w 767509"/>
                <a:gd name="connsiteY987" fmla="*/ 252509 h 361050"/>
                <a:gd name="connsiteX988" fmla="*/ 694906 w 767509"/>
                <a:gd name="connsiteY988" fmla="*/ 252448 h 361050"/>
                <a:gd name="connsiteX989" fmla="*/ 694089 w 767509"/>
                <a:gd name="connsiteY989" fmla="*/ 252509 h 361050"/>
                <a:gd name="connsiteX990" fmla="*/ 693514 w 767509"/>
                <a:gd name="connsiteY990" fmla="*/ 252025 h 361050"/>
                <a:gd name="connsiteX991" fmla="*/ 693151 w 767509"/>
                <a:gd name="connsiteY991" fmla="*/ 249786 h 361050"/>
                <a:gd name="connsiteX992" fmla="*/ 694694 w 767509"/>
                <a:gd name="connsiteY992" fmla="*/ 246821 h 361050"/>
                <a:gd name="connsiteX993" fmla="*/ 694361 w 767509"/>
                <a:gd name="connsiteY993" fmla="*/ 244432 h 361050"/>
                <a:gd name="connsiteX994" fmla="*/ 694361 w 767509"/>
                <a:gd name="connsiteY994" fmla="*/ 244432 h 361050"/>
                <a:gd name="connsiteX995" fmla="*/ 697477 w 767509"/>
                <a:gd name="connsiteY995" fmla="*/ 242859 h 361050"/>
                <a:gd name="connsiteX996" fmla="*/ 698929 w 767509"/>
                <a:gd name="connsiteY996" fmla="*/ 241648 h 361050"/>
                <a:gd name="connsiteX997" fmla="*/ 699595 w 767509"/>
                <a:gd name="connsiteY997" fmla="*/ 239833 h 361050"/>
                <a:gd name="connsiteX998" fmla="*/ 699171 w 767509"/>
                <a:gd name="connsiteY998" fmla="*/ 237595 h 361050"/>
                <a:gd name="connsiteX999" fmla="*/ 696116 w 767509"/>
                <a:gd name="connsiteY999" fmla="*/ 231696 h 361050"/>
                <a:gd name="connsiteX1000" fmla="*/ 695874 w 767509"/>
                <a:gd name="connsiteY1000" fmla="*/ 231423 h 361050"/>
                <a:gd name="connsiteX1001" fmla="*/ 695420 w 767509"/>
                <a:gd name="connsiteY1001" fmla="*/ 231272 h 361050"/>
                <a:gd name="connsiteX1002" fmla="*/ 694966 w 767509"/>
                <a:gd name="connsiteY1002" fmla="*/ 231060 h 361050"/>
                <a:gd name="connsiteX1003" fmla="*/ 694664 w 767509"/>
                <a:gd name="connsiteY1003" fmla="*/ 230516 h 361050"/>
                <a:gd name="connsiteX1004" fmla="*/ 694724 w 767509"/>
                <a:gd name="connsiteY1004" fmla="*/ 229730 h 361050"/>
                <a:gd name="connsiteX1005" fmla="*/ 695178 w 767509"/>
                <a:gd name="connsiteY1005" fmla="*/ 229367 h 361050"/>
                <a:gd name="connsiteX1006" fmla="*/ 695662 w 767509"/>
                <a:gd name="connsiteY1006" fmla="*/ 229124 h 361050"/>
                <a:gd name="connsiteX1007" fmla="*/ 695904 w 767509"/>
                <a:gd name="connsiteY1007" fmla="*/ 228701 h 361050"/>
                <a:gd name="connsiteX1008" fmla="*/ 695632 w 767509"/>
                <a:gd name="connsiteY1008" fmla="*/ 223498 h 361050"/>
                <a:gd name="connsiteX1009" fmla="*/ 696660 w 767509"/>
                <a:gd name="connsiteY1009" fmla="*/ 221773 h 361050"/>
                <a:gd name="connsiteX1010" fmla="*/ 697931 w 767509"/>
                <a:gd name="connsiteY1010" fmla="*/ 221440 h 361050"/>
                <a:gd name="connsiteX1011" fmla="*/ 699262 w 767509"/>
                <a:gd name="connsiteY1011" fmla="*/ 222318 h 361050"/>
                <a:gd name="connsiteX1012" fmla="*/ 700472 w 767509"/>
                <a:gd name="connsiteY1012" fmla="*/ 224102 h 361050"/>
                <a:gd name="connsiteX1013" fmla="*/ 711272 w 767509"/>
                <a:gd name="connsiteY1013" fmla="*/ 219565 h 361050"/>
                <a:gd name="connsiteX1014" fmla="*/ 715053 w 767509"/>
                <a:gd name="connsiteY1014" fmla="*/ 216842 h 361050"/>
                <a:gd name="connsiteX1015" fmla="*/ 716445 w 767509"/>
                <a:gd name="connsiteY1015" fmla="*/ 215844 h 361050"/>
                <a:gd name="connsiteX1016" fmla="*/ 716052 w 767509"/>
                <a:gd name="connsiteY1016" fmla="*/ 210338 h 361050"/>
                <a:gd name="connsiteX1017" fmla="*/ 717201 w 767509"/>
                <a:gd name="connsiteY1017" fmla="*/ 209189 h 361050"/>
                <a:gd name="connsiteX1018" fmla="*/ 720136 w 767509"/>
                <a:gd name="connsiteY1018" fmla="*/ 208069 h 361050"/>
                <a:gd name="connsiteX1019" fmla="*/ 721194 w 767509"/>
                <a:gd name="connsiteY1019" fmla="*/ 206315 h 361050"/>
                <a:gd name="connsiteX1020" fmla="*/ 721315 w 767509"/>
                <a:gd name="connsiteY1020" fmla="*/ 204197 h 361050"/>
                <a:gd name="connsiteX1021" fmla="*/ 720529 w 767509"/>
                <a:gd name="connsiteY1021" fmla="*/ 202503 h 361050"/>
                <a:gd name="connsiteX1022" fmla="*/ 719137 w 767509"/>
                <a:gd name="connsiteY1022" fmla="*/ 201172 h 361050"/>
                <a:gd name="connsiteX1023" fmla="*/ 717443 w 767509"/>
                <a:gd name="connsiteY1023" fmla="*/ 200295 h 361050"/>
                <a:gd name="connsiteX1024" fmla="*/ 717988 w 767509"/>
                <a:gd name="connsiteY1024" fmla="*/ 197632 h 361050"/>
                <a:gd name="connsiteX1025" fmla="*/ 717141 w 767509"/>
                <a:gd name="connsiteY1025" fmla="*/ 194880 h 361050"/>
                <a:gd name="connsiteX1026" fmla="*/ 715386 w 767509"/>
                <a:gd name="connsiteY1026" fmla="*/ 192701 h 361050"/>
                <a:gd name="connsiteX1027" fmla="*/ 713208 w 767509"/>
                <a:gd name="connsiteY1027" fmla="*/ 191794 h 361050"/>
                <a:gd name="connsiteX1028" fmla="*/ 709880 w 767509"/>
                <a:gd name="connsiteY1028" fmla="*/ 192309 h 361050"/>
                <a:gd name="connsiteX1029" fmla="*/ 703255 w 767509"/>
                <a:gd name="connsiteY1029" fmla="*/ 189828 h 361050"/>
                <a:gd name="connsiteX1030" fmla="*/ 700472 w 767509"/>
                <a:gd name="connsiteY1030" fmla="*/ 190403 h 361050"/>
                <a:gd name="connsiteX1031" fmla="*/ 694815 w 767509"/>
                <a:gd name="connsiteY1031" fmla="*/ 188285 h 361050"/>
                <a:gd name="connsiteX1032" fmla="*/ 693000 w 767509"/>
                <a:gd name="connsiteY1032" fmla="*/ 187317 h 361050"/>
                <a:gd name="connsiteX1033" fmla="*/ 693877 w 767509"/>
                <a:gd name="connsiteY1033" fmla="*/ 186288 h 361050"/>
                <a:gd name="connsiteX1034" fmla="*/ 695420 w 767509"/>
                <a:gd name="connsiteY1034" fmla="*/ 184019 h 361050"/>
                <a:gd name="connsiteX1035" fmla="*/ 696176 w 767509"/>
                <a:gd name="connsiteY1035" fmla="*/ 183324 h 361050"/>
                <a:gd name="connsiteX1036" fmla="*/ 696751 w 767509"/>
                <a:gd name="connsiteY1036" fmla="*/ 183989 h 361050"/>
                <a:gd name="connsiteX1037" fmla="*/ 697235 w 767509"/>
                <a:gd name="connsiteY1037" fmla="*/ 184413 h 361050"/>
                <a:gd name="connsiteX1038" fmla="*/ 697719 w 767509"/>
                <a:gd name="connsiteY1038" fmla="*/ 184503 h 361050"/>
                <a:gd name="connsiteX1039" fmla="*/ 698385 w 767509"/>
                <a:gd name="connsiteY1039" fmla="*/ 184140 h 361050"/>
                <a:gd name="connsiteX1040" fmla="*/ 699564 w 767509"/>
                <a:gd name="connsiteY1040" fmla="*/ 183142 h 361050"/>
                <a:gd name="connsiteX1041" fmla="*/ 703558 w 767509"/>
                <a:gd name="connsiteY1041" fmla="*/ 181176 h 361050"/>
                <a:gd name="connsiteX1042" fmla="*/ 704435 w 767509"/>
                <a:gd name="connsiteY1042" fmla="*/ 180420 h 361050"/>
                <a:gd name="connsiteX1043" fmla="*/ 705010 w 767509"/>
                <a:gd name="connsiteY1043" fmla="*/ 179270 h 361050"/>
                <a:gd name="connsiteX1044" fmla="*/ 704798 w 767509"/>
                <a:gd name="connsiteY1044" fmla="*/ 177455 h 361050"/>
                <a:gd name="connsiteX1045" fmla="*/ 705403 w 767509"/>
                <a:gd name="connsiteY1045" fmla="*/ 176124 h 361050"/>
                <a:gd name="connsiteX1046" fmla="*/ 709094 w 767509"/>
                <a:gd name="connsiteY1046" fmla="*/ 174581 h 361050"/>
                <a:gd name="connsiteX1047" fmla="*/ 713329 w 767509"/>
                <a:gd name="connsiteY1047" fmla="*/ 175065 h 361050"/>
                <a:gd name="connsiteX1048" fmla="*/ 721376 w 767509"/>
                <a:gd name="connsiteY1048" fmla="*/ 177969 h 361050"/>
                <a:gd name="connsiteX1049" fmla="*/ 722677 w 767509"/>
                <a:gd name="connsiteY1049" fmla="*/ 178786 h 361050"/>
                <a:gd name="connsiteX1050" fmla="*/ 723191 w 767509"/>
                <a:gd name="connsiteY1050" fmla="*/ 180026 h 361050"/>
                <a:gd name="connsiteX1051" fmla="*/ 723554 w 767509"/>
                <a:gd name="connsiteY1051" fmla="*/ 181478 h 361050"/>
                <a:gd name="connsiteX1052" fmla="*/ 724341 w 767509"/>
                <a:gd name="connsiteY1052" fmla="*/ 182870 h 361050"/>
                <a:gd name="connsiteX1053" fmla="*/ 725460 w 767509"/>
                <a:gd name="connsiteY1053" fmla="*/ 183959 h 361050"/>
                <a:gd name="connsiteX1054" fmla="*/ 726549 w 767509"/>
                <a:gd name="connsiteY1054" fmla="*/ 184564 h 361050"/>
                <a:gd name="connsiteX1055" fmla="*/ 732206 w 767509"/>
                <a:gd name="connsiteY1055" fmla="*/ 185381 h 361050"/>
                <a:gd name="connsiteX1056" fmla="*/ 733114 w 767509"/>
                <a:gd name="connsiteY1056" fmla="*/ 185169 h 361050"/>
                <a:gd name="connsiteX1057" fmla="*/ 734203 w 767509"/>
                <a:gd name="connsiteY1057" fmla="*/ 184171 h 361050"/>
                <a:gd name="connsiteX1058" fmla="*/ 736199 w 767509"/>
                <a:gd name="connsiteY1058" fmla="*/ 181267 h 361050"/>
                <a:gd name="connsiteX1059" fmla="*/ 737530 w 767509"/>
                <a:gd name="connsiteY1059" fmla="*/ 180238 h 361050"/>
                <a:gd name="connsiteX1060" fmla="*/ 738982 w 767509"/>
                <a:gd name="connsiteY1060" fmla="*/ 183838 h 361050"/>
                <a:gd name="connsiteX1061" fmla="*/ 742794 w 767509"/>
                <a:gd name="connsiteY1061" fmla="*/ 184473 h 361050"/>
                <a:gd name="connsiteX1062" fmla="*/ 750780 w 767509"/>
                <a:gd name="connsiteY1062" fmla="*/ 182628 h 361050"/>
                <a:gd name="connsiteX1063" fmla="*/ 758131 w 767509"/>
                <a:gd name="connsiteY1063" fmla="*/ 181721 h 361050"/>
                <a:gd name="connsiteX1064" fmla="*/ 760188 w 767509"/>
                <a:gd name="connsiteY1064" fmla="*/ 180843 h 361050"/>
                <a:gd name="connsiteX1065" fmla="*/ 759039 w 767509"/>
                <a:gd name="connsiteY1065" fmla="*/ 180208 h 361050"/>
                <a:gd name="connsiteX1066" fmla="*/ 758192 w 767509"/>
                <a:gd name="connsiteY1066" fmla="*/ 179149 h 361050"/>
                <a:gd name="connsiteX1067" fmla="*/ 757708 w 767509"/>
                <a:gd name="connsiteY1067" fmla="*/ 177757 h 361050"/>
                <a:gd name="connsiteX1068" fmla="*/ 757496 w 767509"/>
                <a:gd name="connsiteY1068" fmla="*/ 173280 h 361050"/>
                <a:gd name="connsiteX1069" fmla="*/ 756831 w 767509"/>
                <a:gd name="connsiteY1069" fmla="*/ 170497 h 361050"/>
                <a:gd name="connsiteX1070" fmla="*/ 756679 w 767509"/>
                <a:gd name="connsiteY1070" fmla="*/ 168137 h 361050"/>
                <a:gd name="connsiteX1071" fmla="*/ 758192 w 767509"/>
                <a:gd name="connsiteY1071" fmla="*/ 166595 h 361050"/>
                <a:gd name="connsiteX1072" fmla="*/ 757526 w 767509"/>
                <a:gd name="connsiteY1072" fmla="*/ 165717 h 361050"/>
                <a:gd name="connsiteX1073" fmla="*/ 756558 w 767509"/>
                <a:gd name="connsiteY1073" fmla="*/ 163146 h 361050"/>
                <a:gd name="connsiteX1074" fmla="*/ 755772 w 767509"/>
                <a:gd name="connsiteY1074" fmla="*/ 162601 h 361050"/>
                <a:gd name="connsiteX1075" fmla="*/ 753684 w 767509"/>
                <a:gd name="connsiteY1075" fmla="*/ 161694 h 361050"/>
                <a:gd name="connsiteX1076" fmla="*/ 753049 w 767509"/>
                <a:gd name="connsiteY1076" fmla="*/ 161089 h 361050"/>
                <a:gd name="connsiteX1077" fmla="*/ 753019 w 767509"/>
                <a:gd name="connsiteY1077" fmla="*/ 159576 h 361050"/>
                <a:gd name="connsiteX1078" fmla="*/ 754259 w 767509"/>
                <a:gd name="connsiteY1078" fmla="*/ 158971 h 361050"/>
                <a:gd name="connsiteX1079" fmla="*/ 757738 w 767509"/>
                <a:gd name="connsiteY1079" fmla="*/ 158245 h 361050"/>
                <a:gd name="connsiteX1080" fmla="*/ 759402 w 767509"/>
                <a:gd name="connsiteY1080" fmla="*/ 157066 h 361050"/>
                <a:gd name="connsiteX1081" fmla="*/ 760400 w 767509"/>
                <a:gd name="connsiteY1081" fmla="*/ 155674 h 361050"/>
                <a:gd name="connsiteX1082" fmla="*/ 760975 w 767509"/>
                <a:gd name="connsiteY1082" fmla="*/ 153859 h 361050"/>
                <a:gd name="connsiteX1083" fmla="*/ 761399 w 767509"/>
                <a:gd name="connsiteY1083" fmla="*/ 151409 h 361050"/>
                <a:gd name="connsiteX1084" fmla="*/ 761187 w 767509"/>
                <a:gd name="connsiteY1084" fmla="*/ 151136 h 361050"/>
                <a:gd name="connsiteX1085" fmla="*/ 760642 w 767509"/>
                <a:gd name="connsiteY1085" fmla="*/ 150985 h 361050"/>
                <a:gd name="connsiteX1086" fmla="*/ 760158 w 767509"/>
                <a:gd name="connsiteY1086" fmla="*/ 150683 h 361050"/>
                <a:gd name="connsiteX1087" fmla="*/ 760067 w 767509"/>
                <a:gd name="connsiteY1087" fmla="*/ 150108 h 361050"/>
                <a:gd name="connsiteX1088" fmla="*/ 760340 w 767509"/>
                <a:gd name="connsiteY1088" fmla="*/ 149714 h 361050"/>
                <a:gd name="connsiteX1089" fmla="*/ 761277 w 767509"/>
                <a:gd name="connsiteY1089" fmla="*/ 149140 h 361050"/>
                <a:gd name="connsiteX1090" fmla="*/ 761459 w 767509"/>
                <a:gd name="connsiteY1090" fmla="*/ 148897 h 361050"/>
                <a:gd name="connsiteX1091" fmla="*/ 761762 w 767509"/>
                <a:gd name="connsiteY1091" fmla="*/ 147718 h 361050"/>
                <a:gd name="connsiteX1092" fmla="*/ 762215 w 767509"/>
                <a:gd name="connsiteY1092" fmla="*/ 146841 h 361050"/>
                <a:gd name="connsiteX1093" fmla="*/ 762276 w 767509"/>
                <a:gd name="connsiteY1093" fmla="*/ 145993 h 361050"/>
                <a:gd name="connsiteX1094" fmla="*/ 761217 w 767509"/>
                <a:gd name="connsiteY1094" fmla="*/ 144844 h 361050"/>
                <a:gd name="connsiteX1095" fmla="*/ 767509 w 767509"/>
                <a:gd name="connsiteY1095" fmla="*/ 140004 h 36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Lst>
              <a:rect l="l" t="t" r="r" b="b"/>
              <a:pathLst>
                <a:path w="767509" h="361050">
                  <a:moveTo>
                    <a:pt x="767509" y="140004"/>
                  </a:moveTo>
                  <a:lnTo>
                    <a:pt x="765180" y="138037"/>
                  </a:lnTo>
                  <a:lnTo>
                    <a:pt x="761913" y="136979"/>
                  </a:lnTo>
                  <a:lnTo>
                    <a:pt x="759614" y="135829"/>
                  </a:lnTo>
                  <a:lnTo>
                    <a:pt x="760128" y="133560"/>
                  </a:lnTo>
                  <a:lnTo>
                    <a:pt x="758948" y="132622"/>
                  </a:lnTo>
                  <a:lnTo>
                    <a:pt x="758524" y="132411"/>
                  </a:lnTo>
                  <a:lnTo>
                    <a:pt x="759130" y="129839"/>
                  </a:lnTo>
                  <a:lnTo>
                    <a:pt x="759644" y="128417"/>
                  </a:lnTo>
                  <a:lnTo>
                    <a:pt x="760673" y="127268"/>
                  </a:lnTo>
                  <a:lnTo>
                    <a:pt x="759372" y="125967"/>
                  </a:lnTo>
                  <a:lnTo>
                    <a:pt x="758887" y="125180"/>
                  </a:lnTo>
                  <a:lnTo>
                    <a:pt x="757375" y="122639"/>
                  </a:lnTo>
                  <a:lnTo>
                    <a:pt x="756316" y="122004"/>
                  </a:lnTo>
                  <a:lnTo>
                    <a:pt x="754713" y="121792"/>
                  </a:lnTo>
                  <a:lnTo>
                    <a:pt x="753321" y="121006"/>
                  </a:lnTo>
                  <a:lnTo>
                    <a:pt x="750780" y="118465"/>
                  </a:lnTo>
                  <a:lnTo>
                    <a:pt x="750054" y="116287"/>
                  </a:lnTo>
                  <a:lnTo>
                    <a:pt x="750054" y="113291"/>
                  </a:lnTo>
                  <a:lnTo>
                    <a:pt x="749570" y="110781"/>
                  </a:lnTo>
                  <a:lnTo>
                    <a:pt x="747997" y="105789"/>
                  </a:lnTo>
                  <a:lnTo>
                    <a:pt x="747967" y="105124"/>
                  </a:lnTo>
                  <a:lnTo>
                    <a:pt x="748088" y="103551"/>
                  </a:lnTo>
                  <a:lnTo>
                    <a:pt x="747997" y="102946"/>
                  </a:lnTo>
                  <a:lnTo>
                    <a:pt x="747634" y="102462"/>
                  </a:lnTo>
                  <a:lnTo>
                    <a:pt x="746999" y="102280"/>
                  </a:lnTo>
                  <a:lnTo>
                    <a:pt x="745880" y="101342"/>
                  </a:lnTo>
                  <a:lnTo>
                    <a:pt x="744972" y="100949"/>
                  </a:lnTo>
                  <a:lnTo>
                    <a:pt x="744216" y="100495"/>
                  </a:lnTo>
                  <a:lnTo>
                    <a:pt x="743883" y="99678"/>
                  </a:lnTo>
                  <a:lnTo>
                    <a:pt x="743762" y="99043"/>
                  </a:lnTo>
                  <a:lnTo>
                    <a:pt x="743429" y="98257"/>
                  </a:lnTo>
                  <a:lnTo>
                    <a:pt x="743096" y="97561"/>
                  </a:lnTo>
                  <a:lnTo>
                    <a:pt x="742824" y="97258"/>
                  </a:lnTo>
                  <a:lnTo>
                    <a:pt x="742370" y="96986"/>
                  </a:lnTo>
                  <a:lnTo>
                    <a:pt x="742552" y="96290"/>
                  </a:lnTo>
                  <a:lnTo>
                    <a:pt x="742945" y="95474"/>
                  </a:lnTo>
                  <a:lnTo>
                    <a:pt x="743187" y="94868"/>
                  </a:lnTo>
                  <a:lnTo>
                    <a:pt x="742733" y="93749"/>
                  </a:lnTo>
                  <a:lnTo>
                    <a:pt x="741705" y="92690"/>
                  </a:lnTo>
                  <a:lnTo>
                    <a:pt x="740646" y="91904"/>
                  </a:lnTo>
                  <a:lnTo>
                    <a:pt x="740071" y="91571"/>
                  </a:lnTo>
                  <a:lnTo>
                    <a:pt x="738045" y="91389"/>
                  </a:lnTo>
                  <a:lnTo>
                    <a:pt x="737258" y="90966"/>
                  </a:lnTo>
                  <a:lnTo>
                    <a:pt x="736955" y="90119"/>
                  </a:lnTo>
                  <a:lnTo>
                    <a:pt x="737016" y="88607"/>
                  </a:lnTo>
                  <a:lnTo>
                    <a:pt x="737197" y="87941"/>
                  </a:lnTo>
                  <a:lnTo>
                    <a:pt x="737439" y="87518"/>
                  </a:lnTo>
                  <a:lnTo>
                    <a:pt x="737682" y="86670"/>
                  </a:lnTo>
                  <a:lnTo>
                    <a:pt x="738589" y="79229"/>
                  </a:lnTo>
                  <a:lnTo>
                    <a:pt x="739012" y="77232"/>
                  </a:lnTo>
                  <a:lnTo>
                    <a:pt x="740011" y="75387"/>
                  </a:lnTo>
                  <a:lnTo>
                    <a:pt x="742673" y="71877"/>
                  </a:lnTo>
                  <a:lnTo>
                    <a:pt x="743187" y="70032"/>
                  </a:lnTo>
                  <a:lnTo>
                    <a:pt x="743943" y="68701"/>
                  </a:lnTo>
                  <a:lnTo>
                    <a:pt x="745577" y="67461"/>
                  </a:lnTo>
                  <a:lnTo>
                    <a:pt x="747241" y="65857"/>
                  </a:lnTo>
                  <a:lnTo>
                    <a:pt x="747453" y="65131"/>
                  </a:lnTo>
                  <a:lnTo>
                    <a:pt x="747997" y="63407"/>
                  </a:lnTo>
                  <a:lnTo>
                    <a:pt x="747059" y="56873"/>
                  </a:lnTo>
                  <a:lnTo>
                    <a:pt x="743611" y="53152"/>
                  </a:lnTo>
                  <a:lnTo>
                    <a:pt x="742219" y="43895"/>
                  </a:lnTo>
                  <a:lnTo>
                    <a:pt x="739829" y="40809"/>
                  </a:lnTo>
                  <a:lnTo>
                    <a:pt x="738165" y="40688"/>
                  </a:lnTo>
                  <a:lnTo>
                    <a:pt x="734293" y="41959"/>
                  </a:lnTo>
                  <a:lnTo>
                    <a:pt x="732357" y="42201"/>
                  </a:lnTo>
                  <a:lnTo>
                    <a:pt x="730512" y="41565"/>
                  </a:lnTo>
                  <a:lnTo>
                    <a:pt x="726882" y="39327"/>
                  </a:lnTo>
                  <a:lnTo>
                    <a:pt x="725339" y="38843"/>
                  </a:lnTo>
                  <a:lnTo>
                    <a:pt x="721497" y="38994"/>
                  </a:lnTo>
                  <a:lnTo>
                    <a:pt x="719894" y="38722"/>
                  </a:lnTo>
                  <a:lnTo>
                    <a:pt x="718562" y="37875"/>
                  </a:lnTo>
                  <a:lnTo>
                    <a:pt x="717867" y="36241"/>
                  </a:lnTo>
                  <a:lnTo>
                    <a:pt x="717473" y="34215"/>
                  </a:lnTo>
                  <a:lnTo>
                    <a:pt x="716687" y="32520"/>
                  </a:lnTo>
                  <a:lnTo>
                    <a:pt x="714751" y="31794"/>
                  </a:lnTo>
                  <a:lnTo>
                    <a:pt x="712905" y="31613"/>
                  </a:lnTo>
                  <a:lnTo>
                    <a:pt x="706885" y="29979"/>
                  </a:lnTo>
                  <a:lnTo>
                    <a:pt x="705191" y="28981"/>
                  </a:lnTo>
                  <a:lnTo>
                    <a:pt x="704254" y="28678"/>
                  </a:lnTo>
                  <a:lnTo>
                    <a:pt x="703316" y="28799"/>
                  </a:lnTo>
                  <a:lnTo>
                    <a:pt x="701501" y="29525"/>
                  </a:lnTo>
                  <a:lnTo>
                    <a:pt x="700472" y="29556"/>
                  </a:lnTo>
                  <a:lnTo>
                    <a:pt x="697568" y="29162"/>
                  </a:lnTo>
                  <a:lnTo>
                    <a:pt x="695813" y="30251"/>
                  </a:lnTo>
                  <a:lnTo>
                    <a:pt x="690731" y="38298"/>
                  </a:lnTo>
                  <a:lnTo>
                    <a:pt x="689612" y="39236"/>
                  </a:lnTo>
                  <a:lnTo>
                    <a:pt x="688009" y="39660"/>
                  </a:lnTo>
                  <a:lnTo>
                    <a:pt x="687464" y="39509"/>
                  </a:lnTo>
                  <a:lnTo>
                    <a:pt x="686133" y="38510"/>
                  </a:lnTo>
                  <a:lnTo>
                    <a:pt x="684045" y="38783"/>
                  </a:lnTo>
                  <a:lnTo>
                    <a:pt x="683925" y="38903"/>
                  </a:lnTo>
                  <a:lnTo>
                    <a:pt x="669858" y="36967"/>
                  </a:lnTo>
                  <a:lnTo>
                    <a:pt x="660570" y="37482"/>
                  </a:lnTo>
                  <a:lnTo>
                    <a:pt x="655216" y="35364"/>
                  </a:lnTo>
                  <a:lnTo>
                    <a:pt x="645112" y="28587"/>
                  </a:lnTo>
                  <a:lnTo>
                    <a:pt x="644961" y="27861"/>
                  </a:lnTo>
                  <a:lnTo>
                    <a:pt x="644961" y="26924"/>
                  </a:lnTo>
                  <a:lnTo>
                    <a:pt x="644416" y="26319"/>
                  </a:lnTo>
                  <a:lnTo>
                    <a:pt x="642722" y="26712"/>
                  </a:lnTo>
                  <a:lnTo>
                    <a:pt x="642601" y="25230"/>
                  </a:lnTo>
                  <a:lnTo>
                    <a:pt x="641845" y="24594"/>
                  </a:lnTo>
                  <a:lnTo>
                    <a:pt x="640726" y="24564"/>
                  </a:lnTo>
                  <a:lnTo>
                    <a:pt x="639455" y="24836"/>
                  </a:lnTo>
                  <a:lnTo>
                    <a:pt x="640484" y="23596"/>
                  </a:lnTo>
                  <a:lnTo>
                    <a:pt x="639637" y="23627"/>
                  </a:lnTo>
                  <a:lnTo>
                    <a:pt x="638911" y="23324"/>
                  </a:lnTo>
                  <a:lnTo>
                    <a:pt x="637791" y="22567"/>
                  </a:lnTo>
                  <a:lnTo>
                    <a:pt x="635885" y="22447"/>
                  </a:lnTo>
                  <a:lnTo>
                    <a:pt x="635190" y="22174"/>
                  </a:lnTo>
                  <a:lnTo>
                    <a:pt x="634706" y="21478"/>
                  </a:lnTo>
                  <a:lnTo>
                    <a:pt x="634282" y="19724"/>
                  </a:lnTo>
                  <a:lnTo>
                    <a:pt x="633707" y="19331"/>
                  </a:lnTo>
                  <a:lnTo>
                    <a:pt x="630622" y="19331"/>
                  </a:lnTo>
                  <a:lnTo>
                    <a:pt x="629744" y="19542"/>
                  </a:lnTo>
                  <a:lnTo>
                    <a:pt x="626174" y="21267"/>
                  </a:lnTo>
                  <a:lnTo>
                    <a:pt x="624481" y="21781"/>
                  </a:lnTo>
                  <a:lnTo>
                    <a:pt x="622151" y="21781"/>
                  </a:lnTo>
                  <a:lnTo>
                    <a:pt x="619913" y="21267"/>
                  </a:lnTo>
                  <a:lnTo>
                    <a:pt x="612108" y="17213"/>
                  </a:lnTo>
                  <a:lnTo>
                    <a:pt x="606088" y="15065"/>
                  </a:lnTo>
                  <a:lnTo>
                    <a:pt x="603789" y="14248"/>
                  </a:lnTo>
                  <a:lnTo>
                    <a:pt x="598827" y="10286"/>
                  </a:lnTo>
                  <a:lnTo>
                    <a:pt x="596649" y="9136"/>
                  </a:lnTo>
                  <a:lnTo>
                    <a:pt x="592172" y="7745"/>
                  </a:lnTo>
                  <a:lnTo>
                    <a:pt x="587362" y="5476"/>
                  </a:lnTo>
                  <a:lnTo>
                    <a:pt x="585093" y="4901"/>
                  </a:lnTo>
                  <a:lnTo>
                    <a:pt x="580404" y="4840"/>
                  </a:lnTo>
                  <a:lnTo>
                    <a:pt x="579890" y="4507"/>
                  </a:lnTo>
                  <a:lnTo>
                    <a:pt x="579466" y="3842"/>
                  </a:lnTo>
                  <a:lnTo>
                    <a:pt x="578982" y="3237"/>
                  </a:lnTo>
                  <a:lnTo>
                    <a:pt x="578196" y="3267"/>
                  </a:lnTo>
                  <a:lnTo>
                    <a:pt x="577772" y="3842"/>
                  </a:lnTo>
                  <a:lnTo>
                    <a:pt x="577561" y="5718"/>
                  </a:lnTo>
                  <a:lnTo>
                    <a:pt x="577198" y="6444"/>
                  </a:lnTo>
                  <a:lnTo>
                    <a:pt x="575806" y="7986"/>
                  </a:lnTo>
                  <a:lnTo>
                    <a:pt x="575292" y="8319"/>
                  </a:lnTo>
                  <a:lnTo>
                    <a:pt x="567608" y="10225"/>
                  </a:lnTo>
                  <a:lnTo>
                    <a:pt x="565611" y="10164"/>
                  </a:lnTo>
                  <a:lnTo>
                    <a:pt x="566277" y="8168"/>
                  </a:lnTo>
                  <a:lnTo>
                    <a:pt x="566337" y="6262"/>
                  </a:lnTo>
                  <a:lnTo>
                    <a:pt x="565914" y="4356"/>
                  </a:lnTo>
                  <a:lnTo>
                    <a:pt x="565157" y="2360"/>
                  </a:lnTo>
                  <a:lnTo>
                    <a:pt x="557322" y="1785"/>
                  </a:lnTo>
                  <a:lnTo>
                    <a:pt x="551726" y="0"/>
                  </a:lnTo>
                  <a:lnTo>
                    <a:pt x="549548" y="272"/>
                  </a:lnTo>
                  <a:lnTo>
                    <a:pt x="549215" y="484"/>
                  </a:lnTo>
                  <a:lnTo>
                    <a:pt x="549064" y="968"/>
                  </a:lnTo>
                  <a:lnTo>
                    <a:pt x="549064" y="1634"/>
                  </a:lnTo>
                  <a:lnTo>
                    <a:pt x="549154" y="2390"/>
                  </a:lnTo>
                  <a:lnTo>
                    <a:pt x="547793" y="5355"/>
                  </a:lnTo>
                  <a:lnTo>
                    <a:pt x="547733" y="9348"/>
                  </a:lnTo>
                  <a:lnTo>
                    <a:pt x="548156" y="13674"/>
                  </a:lnTo>
                  <a:lnTo>
                    <a:pt x="548126" y="17546"/>
                  </a:lnTo>
                  <a:lnTo>
                    <a:pt x="546008" y="26349"/>
                  </a:lnTo>
                  <a:lnTo>
                    <a:pt x="545282" y="28104"/>
                  </a:lnTo>
                  <a:lnTo>
                    <a:pt x="545131" y="29072"/>
                  </a:lnTo>
                  <a:lnTo>
                    <a:pt x="545312" y="29949"/>
                  </a:lnTo>
                  <a:lnTo>
                    <a:pt x="545766" y="31068"/>
                  </a:lnTo>
                  <a:lnTo>
                    <a:pt x="546190" y="31976"/>
                  </a:lnTo>
                  <a:lnTo>
                    <a:pt x="546401" y="32248"/>
                  </a:lnTo>
                  <a:lnTo>
                    <a:pt x="545252" y="34698"/>
                  </a:lnTo>
                  <a:lnTo>
                    <a:pt x="543225" y="34850"/>
                  </a:lnTo>
                  <a:lnTo>
                    <a:pt x="538022" y="32914"/>
                  </a:lnTo>
                  <a:lnTo>
                    <a:pt x="532758" y="32248"/>
                  </a:lnTo>
                  <a:lnTo>
                    <a:pt x="531245" y="32762"/>
                  </a:lnTo>
                  <a:lnTo>
                    <a:pt x="530641" y="34093"/>
                  </a:lnTo>
                  <a:lnTo>
                    <a:pt x="530247" y="35787"/>
                  </a:lnTo>
                  <a:lnTo>
                    <a:pt x="529249" y="37451"/>
                  </a:lnTo>
                  <a:lnTo>
                    <a:pt x="528735" y="40113"/>
                  </a:lnTo>
                  <a:lnTo>
                    <a:pt x="523441" y="44409"/>
                  </a:lnTo>
                  <a:lnTo>
                    <a:pt x="521535" y="47253"/>
                  </a:lnTo>
                  <a:lnTo>
                    <a:pt x="521172" y="51004"/>
                  </a:lnTo>
                  <a:lnTo>
                    <a:pt x="521232" y="55300"/>
                  </a:lnTo>
                  <a:lnTo>
                    <a:pt x="520718" y="58930"/>
                  </a:lnTo>
                  <a:lnTo>
                    <a:pt x="520264" y="59353"/>
                  </a:lnTo>
                  <a:lnTo>
                    <a:pt x="518691" y="60775"/>
                  </a:lnTo>
                  <a:lnTo>
                    <a:pt x="517027" y="60685"/>
                  </a:lnTo>
                  <a:lnTo>
                    <a:pt x="516241" y="59747"/>
                  </a:lnTo>
                  <a:lnTo>
                    <a:pt x="515666" y="58446"/>
                  </a:lnTo>
                  <a:lnTo>
                    <a:pt x="514577" y="57145"/>
                  </a:lnTo>
                  <a:lnTo>
                    <a:pt x="513911" y="56994"/>
                  </a:lnTo>
                  <a:lnTo>
                    <a:pt x="512369" y="57478"/>
                  </a:lnTo>
                  <a:lnTo>
                    <a:pt x="511612" y="57417"/>
                  </a:lnTo>
                  <a:lnTo>
                    <a:pt x="511280" y="56812"/>
                  </a:lnTo>
                  <a:lnTo>
                    <a:pt x="511280" y="55905"/>
                  </a:lnTo>
                  <a:lnTo>
                    <a:pt x="511159" y="54997"/>
                  </a:lnTo>
                  <a:lnTo>
                    <a:pt x="510493" y="54483"/>
                  </a:lnTo>
                  <a:lnTo>
                    <a:pt x="508950" y="54604"/>
                  </a:lnTo>
                  <a:lnTo>
                    <a:pt x="505925" y="55935"/>
                  </a:lnTo>
                  <a:lnTo>
                    <a:pt x="504443" y="56237"/>
                  </a:lnTo>
                  <a:lnTo>
                    <a:pt x="503233" y="55965"/>
                  </a:lnTo>
                  <a:lnTo>
                    <a:pt x="499209" y="54059"/>
                  </a:lnTo>
                  <a:lnTo>
                    <a:pt x="496819" y="51427"/>
                  </a:lnTo>
                  <a:lnTo>
                    <a:pt x="495367" y="52365"/>
                  </a:lnTo>
                  <a:lnTo>
                    <a:pt x="493098" y="57871"/>
                  </a:lnTo>
                  <a:lnTo>
                    <a:pt x="491495" y="59353"/>
                  </a:lnTo>
                  <a:lnTo>
                    <a:pt x="486262" y="61441"/>
                  </a:lnTo>
                  <a:lnTo>
                    <a:pt x="484235" y="62953"/>
                  </a:lnTo>
                  <a:lnTo>
                    <a:pt x="483448" y="63226"/>
                  </a:lnTo>
                  <a:lnTo>
                    <a:pt x="482480" y="63347"/>
                  </a:lnTo>
                  <a:lnTo>
                    <a:pt x="472497" y="60079"/>
                  </a:lnTo>
                  <a:lnTo>
                    <a:pt x="458249" y="58627"/>
                  </a:lnTo>
                  <a:lnTo>
                    <a:pt x="454831" y="57296"/>
                  </a:lnTo>
                  <a:lnTo>
                    <a:pt x="453983" y="56600"/>
                  </a:lnTo>
                  <a:lnTo>
                    <a:pt x="452229" y="54604"/>
                  </a:lnTo>
                  <a:lnTo>
                    <a:pt x="451805" y="53848"/>
                  </a:lnTo>
                  <a:lnTo>
                    <a:pt x="451321" y="51942"/>
                  </a:lnTo>
                  <a:lnTo>
                    <a:pt x="451533" y="51549"/>
                  </a:lnTo>
                  <a:lnTo>
                    <a:pt x="452078" y="51337"/>
                  </a:lnTo>
                  <a:lnTo>
                    <a:pt x="452773" y="50036"/>
                  </a:lnTo>
                  <a:lnTo>
                    <a:pt x="453076" y="49824"/>
                  </a:lnTo>
                  <a:lnTo>
                    <a:pt x="453560" y="49915"/>
                  </a:lnTo>
                  <a:lnTo>
                    <a:pt x="454014" y="49794"/>
                  </a:lnTo>
                  <a:lnTo>
                    <a:pt x="454195" y="48917"/>
                  </a:lnTo>
                  <a:lnTo>
                    <a:pt x="453953" y="48039"/>
                  </a:lnTo>
                  <a:lnTo>
                    <a:pt x="453348" y="47676"/>
                  </a:lnTo>
                  <a:lnTo>
                    <a:pt x="452652" y="47404"/>
                  </a:lnTo>
                  <a:lnTo>
                    <a:pt x="452138" y="46981"/>
                  </a:lnTo>
                  <a:lnTo>
                    <a:pt x="451472" y="45831"/>
                  </a:lnTo>
                  <a:lnTo>
                    <a:pt x="449809" y="43441"/>
                  </a:lnTo>
                  <a:lnTo>
                    <a:pt x="448931" y="42564"/>
                  </a:lnTo>
                  <a:lnTo>
                    <a:pt x="442155" y="39146"/>
                  </a:lnTo>
                  <a:lnTo>
                    <a:pt x="439947" y="37451"/>
                  </a:lnTo>
                  <a:lnTo>
                    <a:pt x="438101" y="36150"/>
                  </a:lnTo>
                  <a:lnTo>
                    <a:pt x="436226" y="35182"/>
                  </a:lnTo>
                  <a:lnTo>
                    <a:pt x="432172" y="34184"/>
                  </a:lnTo>
                  <a:lnTo>
                    <a:pt x="429147" y="40023"/>
                  </a:lnTo>
                  <a:lnTo>
                    <a:pt x="428935" y="41354"/>
                  </a:lnTo>
                  <a:lnTo>
                    <a:pt x="429450" y="41172"/>
                  </a:lnTo>
                  <a:lnTo>
                    <a:pt x="430508" y="43108"/>
                  </a:lnTo>
                  <a:lnTo>
                    <a:pt x="431022" y="43532"/>
                  </a:lnTo>
                  <a:lnTo>
                    <a:pt x="432263" y="44106"/>
                  </a:lnTo>
                  <a:lnTo>
                    <a:pt x="430932" y="45256"/>
                  </a:lnTo>
                  <a:lnTo>
                    <a:pt x="430659" y="46950"/>
                  </a:lnTo>
                  <a:lnTo>
                    <a:pt x="431204" y="51458"/>
                  </a:lnTo>
                  <a:lnTo>
                    <a:pt x="431143" y="53817"/>
                  </a:lnTo>
                  <a:lnTo>
                    <a:pt x="430841" y="55814"/>
                  </a:lnTo>
                  <a:lnTo>
                    <a:pt x="430206" y="57659"/>
                  </a:lnTo>
                  <a:lnTo>
                    <a:pt x="428481" y="61078"/>
                  </a:lnTo>
                  <a:lnTo>
                    <a:pt x="427997" y="61743"/>
                  </a:lnTo>
                  <a:lnTo>
                    <a:pt x="427150" y="62530"/>
                  </a:lnTo>
                  <a:lnTo>
                    <a:pt x="426364" y="62832"/>
                  </a:lnTo>
                  <a:lnTo>
                    <a:pt x="424276" y="63135"/>
                  </a:lnTo>
                  <a:lnTo>
                    <a:pt x="423913" y="63074"/>
                  </a:lnTo>
                  <a:lnTo>
                    <a:pt x="423067" y="64678"/>
                  </a:lnTo>
                  <a:lnTo>
                    <a:pt x="422189" y="68398"/>
                  </a:lnTo>
                  <a:lnTo>
                    <a:pt x="421977" y="68157"/>
                  </a:lnTo>
                  <a:lnTo>
                    <a:pt x="417833" y="66462"/>
                  </a:lnTo>
                  <a:lnTo>
                    <a:pt x="416290" y="64284"/>
                  </a:lnTo>
                  <a:lnTo>
                    <a:pt x="414657" y="63165"/>
                  </a:lnTo>
                  <a:lnTo>
                    <a:pt x="412902" y="62288"/>
                  </a:lnTo>
                  <a:lnTo>
                    <a:pt x="402465" y="59625"/>
                  </a:lnTo>
                  <a:lnTo>
                    <a:pt x="399107" y="60049"/>
                  </a:lnTo>
                  <a:lnTo>
                    <a:pt x="395810" y="61168"/>
                  </a:lnTo>
                  <a:lnTo>
                    <a:pt x="394933" y="61955"/>
                  </a:lnTo>
                  <a:lnTo>
                    <a:pt x="394358" y="62893"/>
                  </a:lnTo>
                  <a:lnTo>
                    <a:pt x="394418" y="63407"/>
                  </a:lnTo>
                  <a:lnTo>
                    <a:pt x="394721" y="64042"/>
                  </a:lnTo>
                  <a:lnTo>
                    <a:pt x="395144" y="66553"/>
                  </a:lnTo>
                  <a:lnTo>
                    <a:pt x="396082" y="67914"/>
                  </a:lnTo>
                  <a:lnTo>
                    <a:pt x="396294" y="69124"/>
                  </a:lnTo>
                  <a:lnTo>
                    <a:pt x="396022" y="70486"/>
                  </a:lnTo>
                  <a:lnTo>
                    <a:pt x="394660" y="73118"/>
                  </a:lnTo>
                  <a:lnTo>
                    <a:pt x="394176" y="74388"/>
                  </a:lnTo>
                  <a:lnTo>
                    <a:pt x="393995" y="75689"/>
                  </a:lnTo>
                  <a:lnTo>
                    <a:pt x="394176" y="79622"/>
                  </a:lnTo>
                  <a:lnTo>
                    <a:pt x="393964" y="81074"/>
                  </a:lnTo>
                  <a:lnTo>
                    <a:pt x="393511" y="82012"/>
                  </a:lnTo>
                  <a:lnTo>
                    <a:pt x="393057" y="82738"/>
                  </a:lnTo>
                  <a:lnTo>
                    <a:pt x="392875" y="83464"/>
                  </a:lnTo>
                  <a:lnTo>
                    <a:pt x="392301" y="86429"/>
                  </a:lnTo>
                  <a:lnTo>
                    <a:pt x="390909" y="88607"/>
                  </a:lnTo>
                  <a:lnTo>
                    <a:pt x="381047" y="96502"/>
                  </a:lnTo>
                  <a:lnTo>
                    <a:pt x="377689" y="98226"/>
                  </a:lnTo>
                  <a:lnTo>
                    <a:pt x="363804" y="100465"/>
                  </a:lnTo>
                  <a:lnTo>
                    <a:pt x="353367" y="104277"/>
                  </a:lnTo>
                  <a:lnTo>
                    <a:pt x="351764" y="105336"/>
                  </a:lnTo>
                  <a:lnTo>
                    <a:pt x="348013" y="108633"/>
                  </a:lnTo>
                  <a:lnTo>
                    <a:pt x="344776" y="110327"/>
                  </a:lnTo>
                  <a:lnTo>
                    <a:pt x="343203" y="111476"/>
                  </a:lnTo>
                  <a:lnTo>
                    <a:pt x="343354" y="111809"/>
                  </a:lnTo>
                  <a:lnTo>
                    <a:pt x="337757" y="112808"/>
                  </a:lnTo>
                  <a:lnTo>
                    <a:pt x="336245" y="113564"/>
                  </a:lnTo>
                  <a:lnTo>
                    <a:pt x="335337" y="114471"/>
                  </a:lnTo>
                  <a:lnTo>
                    <a:pt x="333492" y="117133"/>
                  </a:lnTo>
                  <a:lnTo>
                    <a:pt x="332191" y="118525"/>
                  </a:lnTo>
                  <a:lnTo>
                    <a:pt x="328167" y="121127"/>
                  </a:lnTo>
                  <a:lnTo>
                    <a:pt x="327775" y="121581"/>
                  </a:lnTo>
                  <a:lnTo>
                    <a:pt x="326352" y="123638"/>
                  </a:lnTo>
                  <a:lnTo>
                    <a:pt x="325717" y="123910"/>
                  </a:lnTo>
                  <a:lnTo>
                    <a:pt x="325082" y="123879"/>
                  </a:lnTo>
                  <a:lnTo>
                    <a:pt x="324416" y="124061"/>
                  </a:lnTo>
                  <a:lnTo>
                    <a:pt x="323811" y="125059"/>
                  </a:lnTo>
                  <a:lnTo>
                    <a:pt x="323630" y="126935"/>
                  </a:lnTo>
                  <a:lnTo>
                    <a:pt x="324114" y="128750"/>
                  </a:lnTo>
                  <a:lnTo>
                    <a:pt x="324991" y="130414"/>
                  </a:lnTo>
                  <a:lnTo>
                    <a:pt x="325959" y="131775"/>
                  </a:lnTo>
                  <a:lnTo>
                    <a:pt x="333038" y="138612"/>
                  </a:lnTo>
                  <a:lnTo>
                    <a:pt x="334551" y="141667"/>
                  </a:lnTo>
                  <a:lnTo>
                    <a:pt x="334823" y="143180"/>
                  </a:lnTo>
                  <a:lnTo>
                    <a:pt x="334853" y="143362"/>
                  </a:lnTo>
                  <a:lnTo>
                    <a:pt x="335398" y="144814"/>
                  </a:lnTo>
                  <a:lnTo>
                    <a:pt x="336184" y="145903"/>
                  </a:lnTo>
                  <a:lnTo>
                    <a:pt x="338604" y="147234"/>
                  </a:lnTo>
                  <a:lnTo>
                    <a:pt x="340631" y="149170"/>
                  </a:lnTo>
                  <a:lnTo>
                    <a:pt x="341448" y="149563"/>
                  </a:lnTo>
                  <a:lnTo>
                    <a:pt x="343142" y="151106"/>
                  </a:lnTo>
                  <a:lnTo>
                    <a:pt x="346561" y="158396"/>
                  </a:lnTo>
                  <a:lnTo>
                    <a:pt x="348739" y="161391"/>
                  </a:lnTo>
                  <a:lnTo>
                    <a:pt x="349192" y="161815"/>
                  </a:lnTo>
                  <a:lnTo>
                    <a:pt x="342719" y="171374"/>
                  </a:lnTo>
                  <a:lnTo>
                    <a:pt x="342144" y="172463"/>
                  </a:lnTo>
                  <a:lnTo>
                    <a:pt x="341962" y="173341"/>
                  </a:lnTo>
                  <a:lnTo>
                    <a:pt x="341932" y="174218"/>
                  </a:lnTo>
                  <a:lnTo>
                    <a:pt x="341751" y="175126"/>
                  </a:lnTo>
                  <a:lnTo>
                    <a:pt x="341115" y="176124"/>
                  </a:lnTo>
                  <a:lnTo>
                    <a:pt x="341115" y="176124"/>
                  </a:lnTo>
                  <a:lnTo>
                    <a:pt x="341085" y="176124"/>
                  </a:lnTo>
                  <a:lnTo>
                    <a:pt x="339209" y="178786"/>
                  </a:lnTo>
                  <a:lnTo>
                    <a:pt x="340843" y="180329"/>
                  </a:lnTo>
                  <a:lnTo>
                    <a:pt x="346470" y="181267"/>
                  </a:lnTo>
                  <a:lnTo>
                    <a:pt x="347982" y="181055"/>
                  </a:lnTo>
                  <a:lnTo>
                    <a:pt x="350523" y="180026"/>
                  </a:lnTo>
                  <a:lnTo>
                    <a:pt x="352066" y="180238"/>
                  </a:lnTo>
                  <a:lnTo>
                    <a:pt x="353337" y="181115"/>
                  </a:lnTo>
                  <a:lnTo>
                    <a:pt x="354547" y="182477"/>
                  </a:lnTo>
                  <a:lnTo>
                    <a:pt x="356543" y="185592"/>
                  </a:lnTo>
                  <a:lnTo>
                    <a:pt x="357330" y="187559"/>
                  </a:lnTo>
                  <a:lnTo>
                    <a:pt x="357602" y="189344"/>
                  </a:lnTo>
                  <a:lnTo>
                    <a:pt x="357542" y="191008"/>
                  </a:lnTo>
                  <a:lnTo>
                    <a:pt x="357330" y="192641"/>
                  </a:lnTo>
                  <a:lnTo>
                    <a:pt x="357088" y="192944"/>
                  </a:lnTo>
                  <a:lnTo>
                    <a:pt x="355878" y="195666"/>
                  </a:lnTo>
                  <a:lnTo>
                    <a:pt x="355817" y="196029"/>
                  </a:lnTo>
                  <a:lnTo>
                    <a:pt x="354184" y="197995"/>
                  </a:lnTo>
                  <a:lnTo>
                    <a:pt x="353942" y="197905"/>
                  </a:lnTo>
                  <a:lnTo>
                    <a:pt x="354002" y="201021"/>
                  </a:lnTo>
                  <a:lnTo>
                    <a:pt x="354245" y="200930"/>
                  </a:lnTo>
                  <a:lnTo>
                    <a:pt x="354123" y="201142"/>
                  </a:lnTo>
                  <a:lnTo>
                    <a:pt x="353155" y="203350"/>
                  </a:lnTo>
                  <a:lnTo>
                    <a:pt x="352913" y="203713"/>
                  </a:lnTo>
                  <a:lnTo>
                    <a:pt x="352913" y="206103"/>
                  </a:lnTo>
                  <a:lnTo>
                    <a:pt x="352974" y="206950"/>
                  </a:lnTo>
                  <a:lnTo>
                    <a:pt x="353216" y="207676"/>
                  </a:lnTo>
                  <a:lnTo>
                    <a:pt x="353548" y="208372"/>
                  </a:lnTo>
                  <a:lnTo>
                    <a:pt x="353821" y="209219"/>
                  </a:lnTo>
                  <a:lnTo>
                    <a:pt x="353851" y="210369"/>
                  </a:lnTo>
                  <a:lnTo>
                    <a:pt x="350947" y="213485"/>
                  </a:lnTo>
                  <a:lnTo>
                    <a:pt x="350281" y="214059"/>
                  </a:lnTo>
                  <a:lnTo>
                    <a:pt x="349192" y="214089"/>
                  </a:lnTo>
                  <a:lnTo>
                    <a:pt x="348557" y="213757"/>
                  </a:lnTo>
                  <a:lnTo>
                    <a:pt x="347982" y="213182"/>
                  </a:lnTo>
                  <a:lnTo>
                    <a:pt x="347045" y="212728"/>
                  </a:lnTo>
                  <a:lnTo>
                    <a:pt x="345986" y="212758"/>
                  </a:lnTo>
                  <a:lnTo>
                    <a:pt x="345139" y="213151"/>
                  </a:lnTo>
                  <a:lnTo>
                    <a:pt x="344292" y="213454"/>
                  </a:lnTo>
                  <a:lnTo>
                    <a:pt x="343172" y="213031"/>
                  </a:lnTo>
                  <a:lnTo>
                    <a:pt x="338272" y="209612"/>
                  </a:lnTo>
                  <a:lnTo>
                    <a:pt x="333673" y="204953"/>
                  </a:lnTo>
                  <a:lnTo>
                    <a:pt x="332826" y="204318"/>
                  </a:lnTo>
                  <a:lnTo>
                    <a:pt x="331858" y="204016"/>
                  </a:lnTo>
                  <a:lnTo>
                    <a:pt x="330316" y="203743"/>
                  </a:lnTo>
                  <a:lnTo>
                    <a:pt x="327835" y="201898"/>
                  </a:lnTo>
                  <a:lnTo>
                    <a:pt x="327321" y="198540"/>
                  </a:lnTo>
                  <a:lnTo>
                    <a:pt x="328531" y="195364"/>
                  </a:lnTo>
                  <a:lnTo>
                    <a:pt x="331283" y="194093"/>
                  </a:lnTo>
                  <a:lnTo>
                    <a:pt x="329287" y="192338"/>
                  </a:lnTo>
                  <a:lnTo>
                    <a:pt x="326655" y="190735"/>
                  </a:lnTo>
                  <a:lnTo>
                    <a:pt x="325082" y="188950"/>
                  </a:lnTo>
                  <a:lnTo>
                    <a:pt x="326111" y="186561"/>
                  </a:lnTo>
                  <a:lnTo>
                    <a:pt x="324386" y="186772"/>
                  </a:lnTo>
                  <a:lnTo>
                    <a:pt x="318759" y="185441"/>
                  </a:lnTo>
                  <a:lnTo>
                    <a:pt x="315160" y="185441"/>
                  </a:lnTo>
                  <a:lnTo>
                    <a:pt x="311590" y="186228"/>
                  </a:lnTo>
                  <a:lnTo>
                    <a:pt x="309654" y="187105"/>
                  </a:lnTo>
                  <a:lnTo>
                    <a:pt x="306145" y="190009"/>
                  </a:lnTo>
                  <a:lnTo>
                    <a:pt x="305176" y="190796"/>
                  </a:lnTo>
                  <a:lnTo>
                    <a:pt x="303603" y="191431"/>
                  </a:lnTo>
                  <a:lnTo>
                    <a:pt x="301486" y="191824"/>
                  </a:lnTo>
                  <a:lnTo>
                    <a:pt x="299429" y="191764"/>
                  </a:lnTo>
                  <a:lnTo>
                    <a:pt x="298007" y="191129"/>
                  </a:lnTo>
                  <a:lnTo>
                    <a:pt x="295012" y="188920"/>
                  </a:lnTo>
                  <a:lnTo>
                    <a:pt x="294195" y="188013"/>
                  </a:lnTo>
                  <a:lnTo>
                    <a:pt x="293651" y="186893"/>
                  </a:lnTo>
                  <a:lnTo>
                    <a:pt x="292592" y="183959"/>
                  </a:lnTo>
                  <a:lnTo>
                    <a:pt x="292108" y="183173"/>
                  </a:lnTo>
                  <a:lnTo>
                    <a:pt x="290474" y="182870"/>
                  </a:lnTo>
                  <a:lnTo>
                    <a:pt x="286512" y="184292"/>
                  </a:lnTo>
                  <a:lnTo>
                    <a:pt x="284817" y="184534"/>
                  </a:lnTo>
                  <a:lnTo>
                    <a:pt x="279009" y="183384"/>
                  </a:lnTo>
                  <a:lnTo>
                    <a:pt x="276801" y="183687"/>
                  </a:lnTo>
                  <a:lnTo>
                    <a:pt x="274562" y="184776"/>
                  </a:lnTo>
                  <a:lnTo>
                    <a:pt x="273473" y="184897"/>
                  </a:lnTo>
                  <a:lnTo>
                    <a:pt x="272475" y="184110"/>
                  </a:lnTo>
                  <a:lnTo>
                    <a:pt x="271930" y="182598"/>
                  </a:lnTo>
                  <a:lnTo>
                    <a:pt x="272263" y="181630"/>
                  </a:lnTo>
                  <a:lnTo>
                    <a:pt x="272898" y="180813"/>
                  </a:lnTo>
                  <a:lnTo>
                    <a:pt x="273261" y="179724"/>
                  </a:lnTo>
                  <a:lnTo>
                    <a:pt x="273503" y="178242"/>
                  </a:lnTo>
                  <a:lnTo>
                    <a:pt x="273836" y="177636"/>
                  </a:lnTo>
                  <a:lnTo>
                    <a:pt x="273564" y="177667"/>
                  </a:lnTo>
                  <a:lnTo>
                    <a:pt x="272112" y="178272"/>
                  </a:lnTo>
                  <a:lnTo>
                    <a:pt x="271234" y="178756"/>
                  </a:lnTo>
                  <a:lnTo>
                    <a:pt x="268814" y="180631"/>
                  </a:lnTo>
                  <a:lnTo>
                    <a:pt x="267211" y="181206"/>
                  </a:lnTo>
                  <a:lnTo>
                    <a:pt x="267423" y="182325"/>
                  </a:lnTo>
                  <a:lnTo>
                    <a:pt x="267755" y="183112"/>
                  </a:lnTo>
                  <a:lnTo>
                    <a:pt x="268481" y="183989"/>
                  </a:lnTo>
                  <a:lnTo>
                    <a:pt x="269298" y="184746"/>
                  </a:lnTo>
                  <a:lnTo>
                    <a:pt x="269813" y="185078"/>
                  </a:lnTo>
                  <a:lnTo>
                    <a:pt x="270085" y="185835"/>
                  </a:lnTo>
                  <a:lnTo>
                    <a:pt x="270267" y="189495"/>
                  </a:lnTo>
                  <a:lnTo>
                    <a:pt x="270145" y="190766"/>
                  </a:lnTo>
                  <a:lnTo>
                    <a:pt x="269782" y="191643"/>
                  </a:lnTo>
                  <a:lnTo>
                    <a:pt x="266908" y="195031"/>
                  </a:lnTo>
                  <a:lnTo>
                    <a:pt x="266122" y="195182"/>
                  </a:lnTo>
                  <a:lnTo>
                    <a:pt x="243010" y="194244"/>
                  </a:lnTo>
                  <a:lnTo>
                    <a:pt x="234539" y="195848"/>
                  </a:lnTo>
                  <a:lnTo>
                    <a:pt x="233420" y="196453"/>
                  </a:lnTo>
                  <a:lnTo>
                    <a:pt x="232392" y="198782"/>
                  </a:lnTo>
                  <a:lnTo>
                    <a:pt x="231363" y="199115"/>
                  </a:lnTo>
                  <a:lnTo>
                    <a:pt x="225706" y="198026"/>
                  </a:lnTo>
                  <a:lnTo>
                    <a:pt x="217508" y="197995"/>
                  </a:lnTo>
                  <a:lnTo>
                    <a:pt x="213122" y="197209"/>
                  </a:lnTo>
                  <a:lnTo>
                    <a:pt x="211246" y="197149"/>
                  </a:lnTo>
                  <a:lnTo>
                    <a:pt x="210913" y="197542"/>
                  </a:lnTo>
                  <a:lnTo>
                    <a:pt x="208100" y="199781"/>
                  </a:lnTo>
                  <a:lnTo>
                    <a:pt x="207404" y="201233"/>
                  </a:lnTo>
                  <a:lnTo>
                    <a:pt x="206617" y="204409"/>
                  </a:lnTo>
                  <a:lnTo>
                    <a:pt x="206103" y="205679"/>
                  </a:lnTo>
                  <a:lnTo>
                    <a:pt x="204288" y="207525"/>
                  </a:lnTo>
                  <a:lnTo>
                    <a:pt x="202110" y="208342"/>
                  </a:lnTo>
                  <a:lnTo>
                    <a:pt x="197391" y="209068"/>
                  </a:lnTo>
                  <a:lnTo>
                    <a:pt x="195122" y="208372"/>
                  </a:lnTo>
                  <a:lnTo>
                    <a:pt x="192641" y="208069"/>
                  </a:lnTo>
                  <a:lnTo>
                    <a:pt x="190342" y="208583"/>
                  </a:lnTo>
                  <a:lnTo>
                    <a:pt x="185593" y="213605"/>
                  </a:lnTo>
                  <a:lnTo>
                    <a:pt x="186833" y="213908"/>
                  </a:lnTo>
                  <a:lnTo>
                    <a:pt x="187922" y="214574"/>
                  </a:lnTo>
                  <a:lnTo>
                    <a:pt x="188315" y="215572"/>
                  </a:lnTo>
                  <a:lnTo>
                    <a:pt x="187438" y="216933"/>
                  </a:lnTo>
                  <a:lnTo>
                    <a:pt x="185804" y="217568"/>
                  </a:lnTo>
                  <a:lnTo>
                    <a:pt x="181448" y="217689"/>
                  </a:lnTo>
                  <a:lnTo>
                    <a:pt x="179572" y="218234"/>
                  </a:lnTo>
                  <a:lnTo>
                    <a:pt x="177637" y="219898"/>
                  </a:lnTo>
                  <a:lnTo>
                    <a:pt x="176305" y="221561"/>
                  </a:lnTo>
                  <a:lnTo>
                    <a:pt x="174884" y="222953"/>
                  </a:lnTo>
                  <a:lnTo>
                    <a:pt x="172675" y="223891"/>
                  </a:lnTo>
                  <a:lnTo>
                    <a:pt x="170255" y="223619"/>
                  </a:lnTo>
                  <a:lnTo>
                    <a:pt x="170467" y="219928"/>
                  </a:lnTo>
                  <a:lnTo>
                    <a:pt x="168319" y="219111"/>
                  </a:lnTo>
                  <a:lnTo>
                    <a:pt x="165778" y="219746"/>
                  </a:lnTo>
                  <a:lnTo>
                    <a:pt x="159213" y="223951"/>
                  </a:lnTo>
                  <a:lnTo>
                    <a:pt x="157247" y="224496"/>
                  </a:lnTo>
                  <a:lnTo>
                    <a:pt x="146750" y="224345"/>
                  </a:lnTo>
                  <a:lnTo>
                    <a:pt x="145358" y="223588"/>
                  </a:lnTo>
                  <a:lnTo>
                    <a:pt x="144330" y="221743"/>
                  </a:lnTo>
                  <a:lnTo>
                    <a:pt x="144541" y="221713"/>
                  </a:lnTo>
                  <a:lnTo>
                    <a:pt x="144874" y="221108"/>
                  </a:lnTo>
                  <a:lnTo>
                    <a:pt x="145116" y="220170"/>
                  </a:lnTo>
                  <a:lnTo>
                    <a:pt x="145086" y="219232"/>
                  </a:lnTo>
                  <a:lnTo>
                    <a:pt x="144783" y="218627"/>
                  </a:lnTo>
                  <a:lnTo>
                    <a:pt x="139762" y="213636"/>
                  </a:lnTo>
                  <a:lnTo>
                    <a:pt x="134558" y="211427"/>
                  </a:lnTo>
                  <a:lnTo>
                    <a:pt x="133893" y="210338"/>
                  </a:lnTo>
                  <a:lnTo>
                    <a:pt x="137130" y="208311"/>
                  </a:lnTo>
                  <a:lnTo>
                    <a:pt x="137977" y="207374"/>
                  </a:lnTo>
                  <a:lnTo>
                    <a:pt x="135648" y="205770"/>
                  </a:lnTo>
                  <a:lnTo>
                    <a:pt x="134589" y="205226"/>
                  </a:lnTo>
                  <a:lnTo>
                    <a:pt x="133197" y="205135"/>
                  </a:lnTo>
                  <a:lnTo>
                    <a:pt x="131775" y="205498"/>
                  </a:lnTo>
                  <a:lnTo>
                    <a:pt x="127722" y="207222"/>
                  </a:lnTo>
                  <a:lnTo>
                    <a:pt x="124757" y="207555"/>
                  </a:lnTo>
                  <a:lnTo>
                    <a:pt x="123880" y="207313"/>
                  </a:lnTo>
                  <a:lnTo>
                    <a:pt x="123365" y="206648"/>
                  </a:lnTo>
                  <a:lnTo>
                    <a:pt x="123063" y="205952"/>
                  </a:lnTo>
                  <a:lnTo>
                    <a:pt x="122639" y="205528"/>
                  </a:lnTo>
                  <a:lnTo>
                    <a:pt x="109359" y="200870"/>
                  </a:lnTo>
                  <a:lnTo>
                    <a:pt x="106939" y="200870"/>
                  </a:lnTo>
                  <a:lnTo>
                    <a:pt x="105547" y="201747"/>
                  </a:lnTo>
                  <a:lnTo>
                    <a:pt x="103490" y="204379"/>
                  </a:lnTo>
                  <a:lnTo>
                    <a:pt x="102220" y="205316"/>
                  </a:lnTo>
                  <a:lnTo>
                    <a:pt x="101040" y="205528"/>
                  </a:lnTo>
                  <a:lnTo>
                    <a:pt x="96744" y="204923"/>
                  </a:lnTo>
                  <a:lnTo>
                    <a:pt x="95171" y="204258"/>
                  </a:lnTo>
                  <a:lnTo>
                    <a:pt x="94354" y="203713"/>
                  </a:lnTo>
                  <a:lnTo>
                    <a:pt x="93840" y="203078"/>
                  </a:lnTo>
                  <a:lnTo>
                    <a:pt x="93628" y="201898"/>
                  </a:lnTo>
                  <a:lnTo>
                    <a:pt x="94022" y="201051"/>
                  </a:lnTo>
                  <a:lnTo>
                    <a:pt x="94505" y="200385"/>
                  </a:lnTo>
                  <a:lnTo>
                    <a:pt x="94627" y="199841"/>
                  </a:lnTo>
                  <a:lnTo>
                    <a:pt x="94203" y="198570"/>
                  </a:lnTo>
                  <a:lnTo>
                    <a:pt x="93840" y="198298"/>
                  </a:lnTo>
                  <a:lnTo>
                    <a:pt x="93053" y="198601"/>
                  </a:lnTo>
                  <a:lnTo>
                    <a:pt x="91390" y="198873"/>
                  </a:lnTo>
                  <a:lnTo>
                    <a:pt x="89877" y="199418"/>
                  </a:lnTo>
                  <a:lnTo>
                    <a:pt x="90028" y="200597"/>
                  </a:lnTo>
                  <a:lnTo>
                    <a:pt x="90906" y="202110"/>
                  </a:lnTo>
                  <a:lnTo>
                    <a:pt x="91571" y="203623"/>
                  </a:lnTo>
                  <a:lnTo>
                    <a:pt x="91420" y="204893"/>
                  </a:lnTo>
                  <a:lnTo>
                    <a:pt x="90422" y="210369"/>
                  </a:lnTo>
                  <a:lnTo>
                    <a:pt x="91813" y="211064"/>
                  </a:lnTo>
                  <a:lnTo>
                    <a:pt x="92690" y="211972"/>
                  </a:lnTo>
                  <a:lnTo>
                    <a:pt x="93235" y="213151"/>
                  </a:lnTo>
                  <a:lnTo>
                    <a:pt x="93628" y="214846"/>
                  </a:lnTo>
                  <a:lnTo>
                    <a:pt x="93659" y="217780"/>
                  </a:lnTo>
                  <a:lnTo>
                    <a:pt x="92751" y="220835"/>
                  </a:lnTo>
                  <a:lnTo>
                    <a:pt x="91299" y="223588"/>
                  </a:lnTo>
                  <a:lnTo>
                    <a:pt x="89605" y="225645"/>
                  </a:lnTo>
                  <a:lnTo>
                    <a:pt x="88758" y="226190"/>
                  </a:lnTo>
                  <a:lnTo>
                    <a:pt x="86610" y="226855"/>
                  </a:lnTo>
                  <a:lnTo>
                    <a:pt x="85581" y="227521"/>
                  </a:lnTo>
                  <a:lnTo>
                    <a:pt x="84977" y="228368"/>
                  </a:lnTo>
                  <a:lnTo>
                    <a:pt x="82738" y="232482"/>
                  </a:lnTo>
                  <a:lnTo>
                    <a:pt x="80923" y="234751"/>
                  </a:lnTo>
                  <a:lnTo>
                    <a:pt x="78986" y="236385"/>
                  </a:lnTo>
                  <a:lnTo>
                    <a:pt x="74479" y="238926"/>
                  </a:lnTo>
                  <a:lnTo>
                    <a:pt x="72271" y="239712"/>
                  </a:lnTo>
                  <a:lnTo>
                    <a:pt x="65797" y="240438"/>
                  </a:lnTo>
                  <a:lnTo>
                    <a:pt x="64284" y="240620"/>
                  </a:lnTo>
                  <a:lnTo>
                    <a:pt x="63831" y="240378"/>
                  </a:lnTo>
                  <a:lnTo>
                    <a:pt x="64224" y="239531"/>
                  </a:lnTo>
                  <a:lnTo>
                    <a:pt x="65162" y="237988"/>
                  </a:lnTo>
                  <a:lnTo>
                    <a:pt x="65555" y="237716"/>
                  </a:lnTo>
                  <a:lnTo>
                    <a:pt x="66886" y="237353"/>
                  </a:lnTo>
                  <a:lnTo>
                    <a:pt x="67400" y="236929"/>
                  </a:lnTo>
                  <a:lnTo>
                    <a:pt x="67642" y="236022"/>
                  </a:lnTo>
                  <a:lnTo>
                    <a:pt x="67582" y="235205"/>
                  </a:lnTo>
                  <a:lnTo>
                    <a:pt x="67340" y="234297"/>
                  </a:lnTo>
                  <a:lnTo>
                    <a:pt x="69185" y="229245"/>
                  </a:lnTo>
                  <a:lnTo>
                    <a:pt x="69246" y="226795"/>
                  </a:lnTo>
                  <a:lnTo>
                    <a:pt x="67400" y="225888"/>
                  </a:lnTo>
                  <a:lnTo>
                    <a:pt x="62984" y="226644"/>
                  </a:lnTo>
                  <a:lnTo>
                    <a:pt x="61774" y="227854"/>
                  </a:lnTo>
                  <a:lnTo>
                    <a:pt x="61350" y="228156"/>
                  </a:lnTo>
                  <a:lnTo>
                    <a:pt x="60836" y="228156"/>
                  </a:lnTo>
                  <a:lnTo>
                    <a:pt x="59807" y="227551"/>
                  </a:lnTo>
                  <a:lnTo>
                    <a:pt x="59293" y="227521"/>
                  </a:lnTo>
                  <a:lnTo>
                    <a:pt x="57962" y="228096"/>
                  </a:lnTo>
                  <a:lnTo>
                    <a:pt x="57206" y="228610"/>
                  </a:lnTo>
                  <a:lnTo>
                    <a:pt x="56540" y="228640"/>
                  </a:lnTo>
                  <a:lnTo>
                    <a:pt x="55542" y="227763"/>
                  </a:lnTo>
                  <a:lnTo>
                    <a:pt x="55028" y="226462"/>
                  </a:lnTo>
                  <a:lnTo>
                    <a:pt x="54906" y="224980"/>
                  </a:lnTo>
                  <a:lnTo>
                    <a:pt x="54634" y="223588"/>
                  </a:lnTo>
                  <a:lnTo>
                    <a:pt x="53545" y="222409"/>
                  </a:lnTo>
                  <a:lnTo>
                    <a:pt x="55844" y="220745"/>
                  </a:lnTo>
                  <a:lnTo>
                    <a:pt x="56298" y="219323"/>
                  </a:lnTo>
                  <a:lnTo>
                    <a:pt x="55421" y="217719"/>
                  </a:lnTo>
                  <a:lnTo>
                    <a:pt x="50460" y="211064"/>
                  </a:lnTo>
                  <a:lnTo>
                    <a:pt x="49340" y="211518"/>
                  </a:lnTo>
                  <a:lnTo>
                    <a:pt x="48433" y="212244"/>
                  </a:lnTo>
                  <a:lnTo>
                    <a:pt x="47556" y="212607"/>
                  </a:lnTo>
                  <a:lnTo>
                    <a:pt x="46436" y="212002"/>
                  </a:lnTo>
                  <a:lnTo>
                    <a:pt x="46285" y="211185"/>
                  </a:lnTo>
                  <a:lnTo>
                    <a:pt x="46255" y="210762"/>
                  </a:lnTo>
                  <a:lnTo>
                    <a:pt x="46255" y="210369"/>
                  </a:lnTo>
                  <a:lnTo>
                    <a:pt x="45347" y="208523"/>
                  </a:lnTo>
                  <a:lnTo>
                    <a:pt x="44077" y="207374"/>
                  </a:lnTo>
                  <a:lnTo>
                    <a:pt x="43018" y="206103"/>
                  </a:lnTo>
                  <a:lnTo>
                    <a:pt x="42745" y="203834"/>
                  </a:lnTo>
                  <a:lnTo>
                    <a:pt x="41535" y="204742"/>
                  </a:lnTo>
                  <a:lnTo>
                    <a:pt x="40023" y="205014"/>
                  </a:lnTo>
                  <a:lnTo>
                    <a:pt x="37028" y="204802"/>
                  </a:lnTo>
                  <a:lnTo>
                    <a:pt x="34003" y="203743"/>
                  </a:lnTo>
                  <a:lnTo>
                    <a:pt x="33489" y="203895"/>
                  </a:lnTo>
                  <a:lnTo>
                    <a:pt x="32248" y="204621"/>
                  </a:lnTo>
                  <a:lnTo>
                    <a:pt x="31431" y="204681"/>
                  </a:lnTo>
                  <a:lnTo>
                    <a:pt x="29374" y="203683"/>
                  </a:lnTo>
                  <a:lnTo>
                    <a:pt x="29011" y="202261"/>
                  </a:lnTo>
                  <a:lnTo>
                    <a:pt x="29193" y="200597"/>
                  </a:lnTo>
                  <a:lnTo>
                    <a:pt x="28860" y="198964"/>
                  </a:lnTo>
                  <a:lnTo>
                    <a:pt x="27680" y="197784"/>
                  </a:lnTo>
                  <a:lnTo>
                    <a:pt x="26258" y="197300"/>
                  </a:lnTo>
                  <a:lnTo>
                    <a:pt x="24746" y="197451"/>
                  </a:lnTo>
                  <a:lnTo>
                    <a:pt x="23294" y="198177"/>
                  </a:lnTo>
                  <a:lnTo>
                    <a:pt x="21115" y="200537"/>
                  </a:lnTo>
                  <a:lnTo>
                    <a:pt x="19845" y="203017"/>
                  </a:lnTo>
                  <a:lnTo>
                    <a:pt x="18393" y="205105"/>
                  </a:lnTo>
                  <a:lnTo>
                    <a:pt x="15670" y="206315"/>
                  </a:lnTo>
                  <a:lnTo>
                    <a:pt x="9197" y="206405"/>
                  </a:lnTo>
                  <a:lnTo>
                    <a:pt x="3328" y="204923"/>
                  </a:lnTo>
                  <a:lnTo>
                    <a:pt x="2904" y="204802"/>
                  </a:lnTo>
                  <a:lnTo>
                    <a:pt x="2662" y="204681"/>
                  </a:lnTo>
                  <a:lnTo>
                    <a:pt x="3207" y="207101"/>
                  </a:lnTo>
                  <a:lnTo>
                    <a:pt x="3418" y="207918"/>
                  </a:lnTo>
                  <a:lnTo>
                    <a:pt x="6383" y="212032"/>
                  </a:lnTo>
                  <a:lnTo>
                    <a:pt x="10135" y="213605"/>
                  </a:lnTo>
                  <a:lnTo>
                    <a:pt x="13008" y="215935"/>
                  </a:lnTo>
                  <a:lnTo>
                    <a:pt x="12917" y="221713"/>
                  </a:lnTo>
                  <a:lnTo>
                    <a:pt x="11950" y="223800"/>
                  </a:lnTo>
                  <a:lnTo>
                    <a:pt x="8047" y="228338"/>
                  </a:lnTo>
                  <a:lnTo>
                    <a:pt x="7563" y="229548"/>
                  </a:lnTo>
                  <a:lnTo>
                    <a:pt x="7049" y="231968"/>
                  </a:lnTo>
                  <a:lnTo>
                    <a:pt x="6656" y="232906"/>
                  </a:lnTo>
                  <a:lnTo>
                    <a:pt x="3237" y="236717"/>
                  </a:lnTo>
                  <a:lnTo>
                    <a:pt x="0" y="241739"/>
                  </a:lnTo>
                  <a:lnTo>
                    <a:pt x="908" y="242980"/>
                  </a:lnTo>
                  <a:lnTo>
                    <a:pt x="2602" y="244432"/>
                  </a:lnTo>
                  <a:lnTo>
                    <a:pt x="1936" y="246338"/>
                  </a:lnTo>
                  <a:lnTo>
                    <a:pt x="2390" y="247517"/>
                  </a:lnTo>
                  <a:lnTo>
                    <a:pt x="3328" y="248697"/>
                  </a:lnTo>
                  <a:lnTo>
                    <a:pt x="4205" y="250603"/>
                  </a:lnTo>
                  <a:lnTo>
                    <a:pt x="4114" y="251571"/>
                  </a:lnTo>
                  <a:lnTo>
                    <a:pt x="3116" y="253598"/>
                  </a:lnTo>
                  <a:lnTo>
                    <a:pt x="3116" y="254777"/>
                  </a:lnTo>
                  <a:lnTo>
                    <a:pt x="6111" y="256411"/>
                  </a:lnTo>
                  <a:lnTo>
                    <a:pt x="8501" y="259497"/>
                  </a:lnTo>
                  <a:lnTo>
                    <a:pt x="9529" y="262946"/>
                  </a:lnTo>
                  <a:lnTo>
                    <a:pt x="8834" y="266455"/>
                  </a:lnTo>
                  <a:lnTo>
                    <a:pt x="6050" y="269692"/>
                  </a:lnTo>
                  <a:lnTo>
                    <a:pt x="7926" y="270176"/>
                  </a:lnTo>
                  <a:lnTo>
                    <a:pt x="13190" y="269570"/>
                  </a:lnTo>
                  <a:lnTo>
                    <a:pt x="14884" y="269782"/>
                  </a:lnTo>
                  <a:lnTo>
                    <a:pt x="33912" y="275318"/>
                  </a:lnTo>
                  <a:lnTo>
                    <a:pt x="33730" y="276861"/>
                  </a:lnTo>
                  <a:lnTo>
                    <a:pt x="34154" y="277194"/>
                  </a:lnTo>
                  <a:lnTo>
                    <a:pt x="34789" y="277133"/>
                  </a:lnTo>
                  <a:lnTo>
                    <a:pt x="35152" y="277587"/>
                  </a:lnTo>
                  <a:lnTo>
                    <a:pt x="35152" y="278374"/>
                  </a:lnTo>
                  <a:lnTo>
                    <a:pt x="34759" y="279674"/>
                  </a:lnTo>
                  <a:lnTo>
                    <a:pt x="34487" y="282821"/>
                  </a:lnTo>
                  <a:lnTo>
                    <a:pt x="34184" y="284303"/>
                  </a:lnTo>
                  <a:lnTo>
                    <a:pt x="34336" y="285574"/>
                  </a:lnTo>
                  <a:lnTo>
                    <a:pt x="35636" y="287237"/>
                  </a:lnTo>
                  <a:lnTo>
                    <a:pt x="38117" y="288992"/>
                  </a:lnTo>
                  <a:lnTo>
                    <a:pt x="48886" y="292168"/>
                  </a:lnTo>
                  <a:lnTo>
                    <a:pt x="52789" y="295587"/>
                  </a:lnTo>
                  <a:lnTo>
                    <a:pt x="55028" y="296797"/>
                  </a:lnTo>
                  <a:lnTo>
                    <a:pt x="59384" y="298067"/>
                  </a:lnTo>
                  <a:lnTo>
                    <a:pt x="60775" y="298128"/>
                  </a:lnTo>
                  <a:lnTo>
                    <a:pt x="61471" y="298158"/>
                  </a:lnTo>
                  <a:lnTo>
                    <a:pt x="64073" y="297462"/>
                  </a:lnTo>
                  <a:lnTo>
                    <a:pt x="68459" y="295405"/>
                  </a:lnTo>
                  <a:lnTo>
                    <a:pt x="69488" y="294044"/>
                  </a:lnTo>
                  <a:lnTo>
                    <a:pt x="69760" y="293015"/>
                  </a:lnTo>
                  <a:lnTo>
                    <a:pt x="69851" y="291866"/>
                  </a:lnTo>
                  <a:lnTo>
                    <a:pt x="70335" y="290142"/>
                  </a:lnTo>
                  <a:lnTo>
                    <a:pt x="71847" y="287782"/>
                  </a:lnTo>
                  <a:lnTo>
                    <a:pt x="73481" y="287510"/>
                  </a:lnTo>
                  <a:lnTo>
                    <a:pt x="75447" y="287964"/>
                  </a:lnTo>
                  <a:lnTo>
                    <a:pt x="77928" y="287873"/>
                  </a:lnTo>
                  <a:lnTo>
                    <a:pt x="77988" y="285332"/>
                  </a:lnTo>
                  <a:lnTo>
                    <a:pt x="79773" y="282246"/>
                  </a:lnTo>
                  <a:lnTo>
                    <a:pt x="82284" y="279554"/>
                  </a:lnTo>
                  <a:lnTo>
                    <a:pt x="85218" y="278011"/>
                  </a:lnTo>
                  <a:lnTo>
                    <a:pt x="85763" y="277920"/>
                  </a:lnTo>
                  <a:lnTo>
                    <a:pt x="86338" y="278011"/>
                  </a:lnTo>
                  <a:lnTo>
                    <a:pt x="86852" y="278343"/>
                  </a:lnTo>
                  <a:lnTo>
                    <a:pt x="86852" y="278343"/>
                  </a:lnTo>
                  <a:lnTo>
                    <a:pt x="86852" y="278374"/>
                  </a:lnTo>
                  <a:lnTo>
                    <a:pt x="87911" y="279402"/>
                  </a:lnTo>
                  <a:lnTo>
                    <a:pt x="89998" y="282488"/>
                  </a:lnTo>
                  <a:lnTo>
                    <a:pt x="93447" y="284999"/>
                  </a:lnTo>
                  <a:lnTo>
                    <a:pt x="94324" y="285997"/>
                  </a:lnTo>
                  <a:lnTo>
                    <a:pt x="94868" y="288266"/>
                  </a:lnTo>
                  <a:lnTo>
                    <a:pt x="93628" y="292864"/>
                  </a:lnTo>
                  <a:lnTo>
                    <a:pt x="93870" y="295738"/>
                  </a:lnTo>
                  <a:lnTo>
                    <a:pt x="97137" y="298189"/>
                  </a:lnTo>
                  <a:lnTo>
                    <a:pt x="101312" y="298612"/>
                  </a:lnTo>
                  <a:lnTo>
                    <a:pt x="111537" y="296010"/>
                  </a:lnTo>
                  <a:lnTo>
                    <a:pt x="113322" y="295829"/>
                  </a:lnTo>
                  <a:lnTo>
                    <a:pt x="114865" y="296222"/>
                  </a:lnTo>
                  <a:lnTo>
                    <a:pt x="122549" y="300457"/>
                  </a:lnTo>
                  <a:lnTo>
                    <a:pt x="123517" y="301819"/>
                  </a:lnTo>
                  <a:lnTo>
                    <a:pt x="123033" y="302756"/>
                  </a:lnTo>
                  <a:lnTo>
                    <a:pt x="120794" y="304420"/>
                  </a:lnTo>
                  <a:lnTo>
                    <a:pt x="120340" y="305086"/>
                  </a:lnTo>
                  <a:lnTo>
                    <a:pt x="120945" y="306265"/>
                  </a:lnTo>
                  <a:lnTo>
                    <a:pt x="122004" y="306296"/>
                  </a:lnTo>
                  <a:lnTo>
                    <a:pt x="124152" y="305691"/>
                  </a:lnTo>
                  <a:lnTo>
                    <a:pt x="125302" y="306024"/>
                  </a:lnTo>
                  <a:lnTo>
                    <a:pt x="128206" y="307566"/>
                  </a:lnTo>
                  <a:lnTo>
                    <a:pt x="129174" y="307597"/>
                  </a:lnTo>
                  <a:lnTo>
                    <a:pt x="131110" y="307082"/>
                  </a:lnTo>
                  <a:lnTo>
                    <a:pt x="132138" y="307113"/>
                  </a:lnTo>
                  <a:lnTo>
                    <a:pt x="133046" y="307536"/>
                  </a:lnTo>
                  <a:lnTo>
                    <a:pt x="134740" y="308897"/>
                  </a:lnTo>
                  <a:lnTo>
                    <a:pt x="135799" y="309291"/>
                  </a:lnTo>
                  <a:lnTo>
                    <a:pt x="136797" y="309200"/>
                  </a:lnTo>
                  <a:lnTo>
                    <a:pt x="140155" y="308171"/>
                  </a:lnTo>
                  <a:lnTo>
                    <a:pt x="141849" y="307929"/>
                  </a:lnTo>
                  <a:lnTo>
                    <a:pt x="145389" y="308262"/>
                  </a:lnTo>
                  <a:lnTo>
                    <a:pt x="147082" y="308777"/>
                  </a:lnTo>
                  <a:lnTo>
                    <a:pt x="148505" y="308595"/>
                  </a:lnTo>
                  <a:lnTo>
                    <a:pt x="149926" y="307234"/>
                  </a:lnTo>
                  <a:lnTo>
                    <a:pt x="152165" y="303694"/>
                  </a:lnTo>
                  <a:lnTo>
                    <a:pt x="152588" y="303331"/>
                  </a:lnTo>
                  <a:lnTo>
                    <a:pt x="153708" y="302847"/>
                  </a:lnTo>
                  <a:lnTo>
                    <a:pt x="154131" y="302424"/>
                  </a:lnTo>
                  <a:lnTo>
                    <a:pt x="154313" y="301758"/>
                  </a:lnTo>
                  <a:lnTo>
                    <a:pt x="154192" y="300336"/>
                  </a:lnTo>
                  <a:lnTo>
                    <a:pt x="154282" y="299822"/>
                  </a:lnTo>
                  <a:lnTo>
                    <a:pt x="156188" y="295677"/>
                  </a:lnTo>
                  <a:lnTo>
                    <a:pt x="157217" y="290928"/>
                  </a:lnTo>
                  <a:lnTo>
                    <a:pt x="158064" y="289264"/>
                  </a:lnTo>
                  <a:lnTo>
                    <a:pt x="164568" y="283274"/>
                  </a:lnTo>
                  <a:lnTo>
                    <a:pt x="166383" y="282307"/>
                  </a:lnTo>
                  <a:lnTo>
                    <a:pt x="173341" y="280219"/>
                  </a:lnTo>
                  <a:lnTo>
                    <a:pt x="180420" y="279130"/>
                  </a:lnTo>
                  <a:lnTo>
                    <a:pt x="183989" y="279856"/>
                  </a:lnTo>
                  <a:lnTo>
                    <a:pt x="187105" y="281248"/>
                  </a:lnTo>
                  <a:lnTo>
                    <a:pt x="190191" y="281399"/>
                  </a:lnTo>
                  <a:lnTo>
                    <a:pt x="193609" y="278374"/>
                  </a:lnTo>
                  <a:lnTo>
                    <a:pt x="193639" y="278343"/>
                  </a:lnTo>
                  <a:lnTo>
                    <a:pt x="194396" y="277285"/>
                  </a:lnTo>
                  <a:lnTo>
                    <a:pt x="195303" y="276649"/>
                  </a:lnTo>
                  <a:lnTo>
                    <a:pt x="196302" y="276438"/>
                  </a:lnTo>
                  <a:lnTo>
                    <a:pt x="198086" y="276831"/>
                  </a:lnTo>
                  <a:lnTo>
                    <a:pt x="198722" y="277194"/>
                  </a:lnTo>
                  <a:lnTo>
                    <a:pt x="199296" y="277708"/>
                  </a:lnTo>
                  <a:lnTo>
                    <a:pt x="199841" y="278374"/>
                  </a:lnTo>
                  <a:lnTo>
                    <a:pt x="200688" y="278858"/>
                  </a:lnTo>
                  <a:lnTo>
                    <a:pt x="201596" y="278979"/>
                  </a:lnTo>
                  <a:lnTo>
                    <a:pt x="202534" y="278828"/>
                  </a:lnTo>
                  <a:lnTo>
                    <a:pt x="203501" y="278374"/>
                  </a:lnTo>
                  <a:lnTo>
                    <a:pt x="203501" y="278374"/>
                  </a:lnTo>
                  <a:lnTo>
                    <a:pt x="203532" y="278343"/>
                  </a:lnTo>
                  <a:lnTo>
                    <a:pt x="203532" y="278343"/>
                  </a:lnTo>
                  <a:lnTo>
                    <a:pt x="206466" y="277557"/>
                  </a:lnTo>
                  <a:lnTo>
                    <a:pt x="208826" y="277345"/>
                  </a:lnTo>
                  <a:lnTo>
                    <a:pt x="214029" y="278313"/>
                  </a:lnTo>
                  <a:lnTo>
                    <a:pt x="214059" y="278313"/>
                  </a:lnTo>
                  <a:lnTo>
                    <a:pt x="214211" y="278374"/>
                  </a:lnTo>
                  <a:lnTo>
                    <a:pt x="214967" y="278434"/>
                  </a:lnTo>
                  <a:lnTo>
                    <a:pt x="215723" y="278313"/>
                  </a:lnTo>
                  <a:lnTo>
                    <a:pt x="217629" y="278495"/>
                  </a:lnTo>
                  <a:lnTo>
                    <a:pt x="220896" y="280733"/>
                  </a:lnTo>
                  <a:lnTo>
                    <a:pt x="222772" y="281399"/>
                  </a:lnTo>
                  <a:lnTo>
                    <a:pt x="223951" y="281127"/>
                  </a:lnTo>
                  <a:lnTo>
                    <a:pt x="225918" y="279644"/>
                  </a:lnTo>
                  <a:lnTo>
                    <a:pt x="227007" y="279009"/>
                  </a:lnTo>
                  <a:lnTo>
                    <a:pt x="231575" y="278313"/>
                  </a:lnTo>
                  <a:lnTo>
                    <a:pt x="235054" y="275772"/>
                  </a:lnTo>
                  <a:lnTo>
                    <a:pt x="239349" y="273654"/>
                  </a:lnTo>
                  <a:lnTo>
                    <a:pt x="243766" y="272233"/>
                  </a:lnTo>
                  <a:lnTo>
                    <a:pt x="250966" y="271930"/>
                  </a:lnTo>
                  <a:lnTo>
                    <a:pt x="261161" y="267029"/>
                  </a:lnTo>
                  <a:lnTo>
                    <a:pt x="262855" y="266727"/>
                  </a:lnTo>
                  <a:lnTo>
                    <a:pt x="267635" y="265880"/>
                  </a:lnTo>
                  <a:lnTo>
                    <a:pt x="269994" y="266606"/>
                  </a:lnTo>
                  <a:lnTo>
                    <a:pt x="269964" y="268330"/>
                  </a:lnTo>
                  <a:lnTo>
                    <a:pt x="269933" y="270176"/>
                  </a:lnTo>
                  <a:lnTo>
                    <a:pt x="267786" y="272868"/>
                  </a:lnTo>
                  <a:lnTo>
                    <a:pt x="261705" y="275984"/>
                  </a:lnTo>
                  <a:lnTo>
                    <a:pt x="260646" y="278374"/>
                  </a:lnTo>
                  <a:lnTo>
                    <a:pt x="261312" y="279705"/>
                  </a:lnTo>
                  <a:lnTo>
                    <a:pt x="261735" y="281248"/>
                  </a:lnTo>
                  <a:lnTo>
                    <a:pt x="262371" y="284363"/>
                  </a:lnTo>
                  <a:lnTo>
                    <a:pt x="263006" y="285876"/>
                  </a:lnTo>
                  <a:lnTo>
                    <a:pt x="263702" y="287147"/>
                  </a:lnTo>
                  <a:lnTo>
                    <a:pt x="263702" y="288387"/>
                  </a:lnTo>
                  <a:lnTo>
                    <a:pt x="262220" y="289748"/>
                  </a:lnTo>
                  <a:lnTo>
                    <a:pt x="263278" y="290142"/>
                  </a:lnTo>
                  <a:lnTo>
                    <a:pt x="265638" y="290505"/>
                  </a:lnTo>
                  <a:lnTo>
                    <a:pt x="266757" y="291049"/>
                  </a:lnTo>
                  <a:lnTo>
                    <a:pt x="267907" y="292138"/>
                  </a:lnTo>
                  <a:lnTo>
                    <a:pt x="268481" y="292985"/>
                  </a:lnTo>
                  <a:lnTo>
                    <a:pt x="269087" y="293621"/>
                  </a:lnTo>
                  <a:lnTo>
                    <a:pt x="270448" y="294104"/>
                  </a:lnTo>
                  <a:lnTo>
                    <a:pt x="274683" y="294225"/>
                  </a:lnTo>
                  <a:lnTo>
                    <a:pt x="276287" y="295224"/>
                  </a:lnTo>
                  <a:lnTo>
                    <a:pt x="277194" y="298189"/>
                  </a:lnTo>
                  <a:lnTo>
                    <a:pt x="277224" y="299852"/>
                  </a:lnTo>
                  <a:lnTo>
                    <a:pt x="276952" y="300820"/>
                  </a:lnTo>
                  <a:lnTo>
                    <a:pt x="276589" y="301758"/>
                  </a:lnTo>
                  <a:lnTo>
                    <a:pt x="276317" y="303331"/>
                  </a:lnTo>
                  <a:lnTo>
                    <a:pt x="276287" y="305055"/>
                  </a:lnTo>
                  <a:lnTo>
                    <a:pt x="276528" y="305963"/>
                  </a:lnTo>
                  <a:lnTo>
                    <a:pt x="277103" y="306508"/>
                  </a:lnTo>
                  <a:lnTo>
                    <a:pt x="278071" y="307143"/>
                  </a:lnTo>
                  <a:lnTo>
                    <a:pt x="280158" y="307869"/>
                  </a:lnTo>
                  <a:lnTo>
                    <a:pt x="282276" y="308141"/>
                  </a:lnTo>
                  <a:lnTo>
                    <a:pt x="283940" y="309140"/>
                  </a:lnTo>
                  <a:lnTo>
                    <a:pt x="284817" y="312074"/>
                  </a:lnTo>
                  <a:lnTo>
                    <a:pt x="286723" y="316400"/>
                  </a:lnTo>
                  <a:lnTo>
                    <a:pt x="290202" y="319243"/>
                  </a:lnTo>
                  <a:lnTo>
                    <a:pt x="294286" y="320786"/>
                  </a:lnTo>
                  <a:lnTo>
                    <a:pt x="296706" y="321180"/>
                  </a:lnTo>
                  <a:lnTo>
                    <a:pt x="299762" y="321663"/>
                  </a:lnTo>
                  <a:lnTo>
                    <a:pt x="302847" y="323600"/>
                  </a:lnTo>
                  <a:lnTo>
                    <a:pt x="304541" y="324326"/>
                  </a:lnTo>
                  <a:lnTo>
                    <a:pt x="305993" y="324477"/>
                  </a:lnTo>
                  <a:lnTo>
                    <a:pt x="311862" y="323751"/>
                  </a:lnTo>
                  <a:lnTo>
                    <a:pt x="316823" y="324235"/>
                  </a:lnTo>
                  <a:lnTo>
                    <a:pt x="317005" y="324326"/>
                  </a:lnTo>
                  <a:lnTo>
                    <a:pt x="317791" y="324628"/>
                  </a:lnTo>
                  <a:lnTo>
                    <a:pt x="319637" y="325899"/>
                  </a:lnTo>
                  <a:lnTo>
                    <a:pt x="320544" y="326292"/>
                  </a:lnTo>
                  <a:lnTo>
                    <a:pt x="321512" y="326262"/>
                  </a:lnTo>
                  <a:lnTo>
                    <a:pt x="323116" y="325687"/>
                  </a:lnTo>
                  <a:lnTo>
                    <a:pt x="323902" y="325566"/>
                  </a:lnTo>
                  <a:lnTo>
                    <a:pt x="324779" y="325838"/>
                  </a:lnTo>
                  <a:lnTo>
                    <a:pt x="327290" y="326625"/>
                  </a:lnTo>
                  <a:lnTo>
                    <a:pt x="333008" y="330073"/>
                  </a:lnTo>
                  <a:lnTo>
                    <a:pt x="356574" y="331616"/>
                  </a:lnTo>
                  <a:lnTo>
                    <a:pt x="364833" y="333371"/>
                  </a:lnTo>
                  <a:lnTo>
                    <a:pt x="371216" y="337001"/>
                  </a:lnTo>
                  <a:lnTo>
                    <a:pt x="373333" y="337788"/>
                  </a:lnTo>
                  <a:lnTo>
                    <a:pt x="377387" y="337969"/>
                  </a:lnTo>
                  <a:lnTo>
                    <a:pt x="387642" y="335942"/>
                  </a:lnTo>
                  <a:lnTo>
                    <a:pt x="392029" y="336668"/>
                  </a:lnTo>
                  <a:lnTo>
                    <a:pt x="398169" y="336245"/>
                  </a:lnTo>
                  <a:lnTo>
                    <a:pt x="398895" y="336517"/>
                  </a:lnTo>
                  <a:lnTo>
                    <a:pt x="400287" y="337999"/>
                  </a:lnTo>
                  <a:lnTo>
                    <a:pt x="401074" y="338483"/>
                  </a:lnTo>
                  <a:lnTo>
                    <a:pt x="405339" y="338635"/>
                  </a:lnTo>
                  <a:lnTo>
                    <a:pt x="417530" y="342265"/>
                  </a:lnTo>
                  <a:lnTo>
                    <a:pt x="419043" y="342416"/>
                  </a:lnTo>
                  <a:lnTo>
                    <a:pt x="420616" y="342113"/>
                  </a:lnTo>
                  <a:lnTo>
                    <a:pt x="422129" y="342234"/>
                  </a:lnTo>
                  <a:lnTo>
                    <a:pt x="428784" y="343717"/>
                  </a:lnTo>
                  <a:lnTo>
                    <a:pt x="430176" y="343717"/>
                  </a:lnTo>
                  <a:lnTo>
                    <a:pt x="436680" y="342749"/>
                  </a:lnTo>
                  <a:lnTo>
                    <a:pt x="439705" y="343202"/>
                  </a:lnTo>
                  <a:lnTo>
                    <a:pt x="448931" y="347196"/>
                  </a:lnTo>
                  <a:lnTo>
                    <a:pt x="450595" y="347407"/>
                  </a:lnTo>
                  <a:lnTo>
                    <a:pt x="452229" y="347135"/>
                  </a:lnTo>
                  <a:lnTo>
                    <a:pt x="453983" y="346833"/>
                  </a:lnTo>
                  <a:lnTo>
                    <a:pt x="455738" y="346863"/>
                  </a:lnTo>
                  <a:lnTo>
                    <a:pt x="457402" y="347317"/>
                  </a:lnTo>
                  <a:lnTo>
                    <a:pt x="458854" y="348013"/>
                  </a:lnTo>
                  <a:lnTo>
                    <a:pt x="464511" y="352490"/>
                  </a:lnTo>
                  <a:lnTo>
                    <a:pt x="465600" y="352762"/>
                  </a:lnTo>
                  <a:lnTo>
                    <a:pt x="465782" y="352823"/>
                  </a:lnTo>
                  <a:lnTo>
                    <a:pt x="475099" y="353064"/>
                  </a:lnTo>
                  <a:lnTo>
                    <a:pt x="487169" y="353367"/>
                  </a:lnTo>
                  <a:lnTo>
                    <a:pt x="490557" y="352701"/>
                  </a:lnTo>
                  <a:lnTo>
                    <a:pt x="491616" y="352913"/>
                  </a:lnTo>
                  <a:lnTo>
                    <a:pt x="492100" y="353549"/>
                  </a:lnTo>
                  <a:lnTo>
                    <a:pt x="492433" y="354305"/>
                  </a:lnTo>
                  <a:lnTo>
                    <a:pt x="492978" y="354910"/>
                  </a:lnTo>
                  <a:lnTo>
                    <a:pt x="494702" y="355636"/>
                  </a:lnTo>
                  <a:lnTo>
                    <a:pt x="496093" y="356241"/>
                  </a:lnTo>
                  <a:lnTo>
                    <a:pt x="497787" y="356483"/>
                  </a:lnTo>
                  <a:lnTo>
                    <a:pt x="501236" y="355727"/>
                  </a:lnTo>
                  <a:lnTo>
                    <a:pt x="502628" y="357451"/>
                  </a:lnTo>
                  <a:lnTo>
                    <a:pt x="503747" y="359750"/>
                  </a:lnTo>
                  <a:lnTo>
                    <a:pt x="505078" y="361051"/>
                  </a:lnTo>
                  <a:lnTo>
                    <a:pt x="506833" y="360325"/>
                  </a:lnTo>
                  <a:lnTo>
                    <a:pt x="507286" y="359296"/>
                  </a:lnTo>
                  <a:lnTo>
                    <a:pt x="507771" y="358117"/>
                  </a:lnTo>
                  <a:lnTo>
                    <a:pt x="508617" y="355545"/>
                  </a:lnTo>
                  <a:lnTo>
                    <a:pt x="510100" y="353579"/>
                  </a:lnTo>
                  <a:lnTo>
                    <a:pt x="511068" y="353216"/>
                  </a:lnTo>
                  <a:lnTo>
                    <a:pt x="513246" y="353034"/>
                  </a:lnTo>
                  <a:lnTo>
                    <a:pt x="514274" y="352762"/>
                  </a:lnTo>
                  <a:lnTo>
                    <a:pt x="515303" y="352127"/>
                  </a:lnTo>
                  <a:lnTo>
                    <a:pt x="517330" y="350191"/>
                  </a:lnTo>
                  <a:lnTo>
                    <a:pt x="517784" y="350070"/>
                  </a:lnTo>
                  <a:lnTo>
                    <a:pt x="518389" y="350160"/>
                  </a:lnTo>
                  <a:lnTo>
                    <a:pt x="519145" y="350281"/>
                  </a:lnTo>
                  <a:lnTo>
                    <a:pt x="519841" y="348648"/>
                  </a:lnTo>
                  <a:lnTo>
                    <a:pt x="521020" y="347347"/>
                  </a:lnTo>
                  <a:lnTo>
                    <a:pt x="521535" y="346409"/>
                  </a:lnTo>
                  <a:lnTo>
                    <a:pt x="522140" y="345774"/>
                  </a:lnTo>
                  <a:lnTo>
                    <a:pt x="523804" y="345078"/>
                  </a:lnTo>
                  <a:lnTo>
                    <a:pt x="524681" y="345683"/>
                  </a:lnTo>
                  <a:lnTo>
                    <a:pt x="527283" y="345290"/>
                  </a:lnTo>
                  <a:lnTo>
                    <a:pt x="529491" y="344352"/>
                  </a:lnTo>
                  <a:lnTo>
                    <a:pt x="530066" y="343898"/>
                  </a:lnTo>
                  <a:lnTo>
                    <a:pt x="530882" y="342174"/>
                  </a:lnTo>
                  <a:lnTo>
                    <a:pt x="531941" y="339935"/>
                  </a:lnTo>
                  <a:lnTo>
                    <a:pt x="532667" y="337908"/>
                  </a:lnTo>
                  <a:lnTo>
                    <a:pt x="533454" y="335700"/>
                  </a:lnTo>
                  <a:lnTo>
                    <a:pt x="534604" y="333431"/>
                  </a:lnTo>
                  <a:lnTo>
                    <a:pt x="536267" y="331193"/>
                  </a:lnTo>
                  <a:lnTo>
                    <a:pt x="537568" y="330709"/>
                  </a:lnTo>
                  <a:lnTo>
                    <a:pt x="538960" y="330860"/>
                  </a:lnTo>
                  <a:lnTo>
                    <a:pt x="540684" y="330648"/>
                  </a:lnTo>
                  <a:lnTo>
                    <a:pt x="541047" y="330618"/>
                  </a:lnTo>
                  <a:lnTo>
                    <a:pt x="543255" y="329347"/>
                  </a:lnTo>
                  <a:lnTo>
                    <a:pt x="544647" y="328500"/>
                  </a:lnTo>
                  <a:lnTo>
                    <a:pt x="546099" y="328773"/>
                  </a:lnTo>
                  <a:lnTo>
                    <a:pt x="548035" y="331314"/>
                  </a:lnTo>
                  <a:lnTo>
                    <a:pt x="551786" y="326413"/>
                  </a:lnTo>
                  <a:lnTo>
                    <a:pt x="557564" y="324689"/>
                  </a:lnTo>
                  <a:lnTo>
                    <a:pt x="559954" y="324931"/>
                  </a:lnTo>
                  <a:lnTo>
                    <a:pt x="561981" y="325142"/>
                  </a:lnTo>
                  <a:lnTo>
                    <a:pt x="568697" y="325808"/>
                  </a:lnTo>
                  <a:lnTo>
                    <a:pt x="571964" y="326111"/>
                  </a:lnTo>
                  <a:lnTo>
                    <a:pt x="584821" y="325505"/>
                  </a:lnTo>
                  <a:lnTo>
                    <a:pt x="590387" y="325233"/>
                  </a:lnTo>
                  <a:lnTo>
                    <a:pt x="593352" y="326262"/>
                  </a:lnTo>
                  <a:lnTo>
                    <a:pt x="595136" y="327714"/>
                  </a:lnTo>
                  <a:lnTo>
                    <a:pt x="595621" y="328077"/>
                  </a:lnTo>
                  <a:lnTo>
                    <a:pt x="597889" y="329378"/>
                  </a:lnTo>
                  <a:lnTo>
                    <a:pt x="600915" y="328894"/>
                  </a:lnTo>
                  <a:lnTo>
                    <a:pt x="602790" y="327532"/>
                  </a:lnTo>
                  <a:lnTo>
                    <a:pt x="603063" y="326988"/>
                  </a:lnTo>
                  <a:lnTo>
                    <a:pt x="603426" y="326201"/>
                  </a:lnTo>
                  <a:lnTo>
                    <a:pt x="603698" y="324931"/>
                  </a:lnTo>
                  <a:lnTo>
                    <a:pt x="603758" y="324689"/>
                  </a:lnTo>
                  <a:lnTo>
                    <a:pt x="604726" y="322783"/>
                  </a:lnTo>
                  <a:lnTo>
                    <a:pt x="606269" y="321694"/>
                  </a:lnTo>
                  <a:lnTo>
                    <a:pt x="608447" y="321180"/>
                  </a:lnTo>
                  <a:lnTo>
                    <a:pt x="610565" y="321149"/>
                  </a:lnTo>
                  <a:lnTo>
                    <a:pt x="612108" y="321543"/>
                  </a:lnTo>
                  <a:lnTo>
                    <a:pt x="613408" y="321210"/>
                  </a:lnTo>
                  <a:lnTo>
                    <a:pt x="613923" y="320847"/>
                  </a:lnTo>
                  <a:lnTo>
                    <a:pt x="614437" y="320484"/>
                  </a:lnTo>
                  <a:lnTo>
                    <a:pt x="615042" y="319304"/>
                  </a:lnTo>
                  <a:lnTo>
                    <a:pt x="615042" y="317580"/>
                  </a:lnTo>
                  <a:lnTo>
                    <a:pt x="615345" y="315553"/>
                  </a:lnTo>
                  <a:lnTo>
                    <a:pt x="616948" y="316460"/>
                  </a:lnTo>
                  <a:lnTo>
                    <a:pt x="624662" y="317519"/>
                  </a:lnTo>
                  <a:lnTo>
                    <a:pt x="627324" y="317368"/>
                  </a:lnTo>
                  <a:lnTo>
                    <a:pt x="630289" y="316279"/>
                  </a:lnTo>
                  <a:lnTo>
                    <a:pt x="634131" y="314827"/>
                  </a:lnTo>
                  <a:lnTo>
                    <a:pt x="636944" y="314615"/>
                  </a:lnTo>
                  <a:lnTo>
                    <a:pt x="639757" y="315129"/>
                  </a:lnTo>
                  <a:lnTo>
                    <a:pt x="646564" y="318306"/>
                  </a:lnTo>
                  <a:lnTo>
                    <a:pt x="650648" y="318971"/>
                  </a:lnTo>
                  <a:lnTo>
                    <a:pt x="651767" y="319667"/>
                  </a:lnTo>
                  <a:lnTo>
                    <a:pt x="653643" y="321845"/>
                  </a:lnTo>
                  <a:lnTo>
                    <a:pt x="653643" y="321845"/>
                  </a:lnTo>
                  <a:lnTo>
                    <a:pt x="653643" y="321845"/>
                  </a:lnTo>
                  <a:lnTo>
                    <a:pt x="653431" y="318759"/>
                  </a:lnTo>
                  <a:lnTo>
                    <a:pt x="652281" y="316672"/>
                  </a:lnTo>
                  <a:lnTo>
                    <a:pt x="650164" y="315401"/>
                  </a:lnTo>
                  <a:lnTo>
                    <a:pt x="649014" y="312134"/>
                  </a:lnTo>
                  <a:lnTo>
                    <a:pt x="648924" y="309775"/>
                  </a:lnTo>
                  <a:lnTo>
                    <a:pt x="649045" y="307808"/>
                  </a:lnTo>
                  <a:lnTo>
                    <a:pt x="649075" y="307385"/>
                  </a:lnTo>
                  <a:lnTo>
                    <a:pt x="649771" y="303210"/>
                  </a:lnTo>
                  <a:lnTo>
                    <a:pt x="649680" y="302242"/>
                  </a:lnTo>
                  <a:lnTo>
                    <a:pt x="649256" y="301970"/>
                  </a:lnTo>
                  <a:lnTo>
                    <a:pt x="649135" y="301667"/>
                  </a:lnTo>
                  <a:lnTo>
                    <a:pt x="650134" y="300699"/>
                  </a:lnTo>
                  <a:lnTo>
                    <a:pt x="650709" y="300397"/>
                  </a:lnTo>
                  <a:lnTo>
                    <a:pt x="654823" y="299459"/>
                  </a:lnTo>
                  <a:lnTo>
                    <a:pt x="655186" y="299368"/>
                  </a:lnTo>
                  <a:lnTo>
                    <a:pt x="657273" y="298219"/>
                  </a:lnTo>
                  <a:lnTo>
                    <a:pt x="661417" y="295980"/>
                  </a:lnTo>
                  <a:lnTo>
                    <a:pt x="663051" y="295284"/>
                  </a:lnTo>
                  <a:lnTo>
                    <a:pt x="664352" y="294135"/>
                  </a:lnTo>
                  <a:lnTo>
                    <a:pt x="667982" y="289536"/>
                  </a:lnTo>
                  <a:lnTo>
                    <a:pt x="669132" y="288447"/>
                  </a:lnTo>
                  <a:lnTo>
                    <a:pt x="671703" y="286723"/>
                  </a:lnTo>
                  <a:lnTo>
                    <a:pt x="673820" y="285876"/>
                  </a:lnTo>
                  <a:lnTo>
                    <a:pt x="674516" y="285362"/>
                  </a:lnTo>
                  <a:lnTo>
                    <a:pt x="675182" y="284394"/>
                  </a:lnTo>
                  <a:lnTo>
                    <a:pt x="675212" y="283577"/>
                  </a:lnTo>
                  <a:lnTo>
                    <a:pt x="675152" y="282821"/>
                  </a:lnTo>
                  <a:lnTo>
                    <a:pt x="675424" y="282004"/>
                  </a:lnTo>
                  <a:lnTo>
                    <a:pt x="676422" y="281187"/>
                  </a:lnTo>
                  <a:lnTo>
                    <a:pt x="677421" y="281006"/>
                  </a:lnTo>
                  <a:lnTo>
                    <a:pt x="678237" y="280370"/>
                  </a:lnTo>
                  <a:lnTo>
                    <a:pt x="678661" y="278313"/>
                  </a:lnTo>
                  <a:lnTo>
                    <a:pt x="679629" y="276831"/>
                  </a:lnTo>
                  <a:lnTo>
                    <a:pt x="680990" y="276649"/>
                  </a:lnTo>
                  <a:lnTo>
                    <a:pt x="684741" y="277345"/>
                  </a:lnTo>
                  <a:lnTo>
                    <a:pt x="688856" y="276891"/>
                  </a:lnTo>
                  <a:lnTo>
                    <a:pt x="690973" y="277133"/>
                  </a:lnTo>
                  <a:lnTo>
                    <a:pt x="692728" y="278343"/>
                  </a:lnTo>
                  <a:lnTo>
                    <a:pt x="693272" y="278706"/>
                  </a:lnTo>
                  <a:lnTo>
                    <a:pt x="693787" y="278858"/>
                  </a:lnTo>
                  <a:lnTo>
                    <a:pt x="694270" y="278737"/>
                  </a:lnTo>
                  <a:lnTo>
                    <a:pt x="694724" y="278374"/>
                  </a:lnTo>
                  <a:lnTo>
                    <a:pt x="694724" y="278343"/>
                  </a:lnTo>
                  <a:lnTo>
                    <a:pt x="696388" y="278071"/>
                  </a:lnTo>
                  <a:lnTo>
                    <a:pt x="699020" y="278041"/>
                  </a:lnTo>
                  <a:lnTo>
                    <a:pt x="700896" y="277587"/>
                  </a:lnTo>
                  <a:lnTo>
                    <a:pt x="700472" y="276135"/>
                  </a:lnTo>
                  <a:lnTo>
                    <a:pt x="699020" y="274895"/>
                  </a:lnTo>
                  <a:lnTo>
                    <a:pt x="697568" y="274471"/>
                  </a:lnTo>
                  <a:lnTo>
                    <a:pt x="694694" y="274169"/>
                  </a:lnTo>
                  <a:lnTo>
                    <a:pt x="695965" y="273110"/>
                  </a:lnTo>
                  <a:lnTo>
                    <a:pt x="700472" y="271416"/>
                  </a:lnTo>
                  <a:lnTo>
                    <a:pt x="701591" y="270750"/>
                  </a:lnTo>
                  <a:lnTo>
                    <a:pt x="702015" y="270024"/>
                  </a:lnTo>
                  <a:lnTo>
                    <a:pt x="701652" y="269329"/>
                  </a:lnTo>
                  <a:lnTo>
                    <a:pt x="700472" y="268754"/>
                  </a:lnTo>
                  <a:lnTo>
                    <a:pt x="698445" y="268149"/>
                  </a:lnTo>
                  <a:lnTo>
                    <a:pt x="697689" y="266334"/>
                  </a:lnTo>
                  <a:lnTo>
                    <a:pt x="698355" y="264367"/>
                  </a:lnTo>
                  <a:lnTo>
                    <a:pt x="700472" y="263157"/>
                  </a:lnTo>
                  <a:lnTo>
                    <a:pt x="702771" y="260374"/>
                  </a:lnTo>
                  <a:lnTo>
                    <a:pt x="703225" y="258771"/>
                  </a:lnTo>
                  <a:lnTo>
                    <a:pt x="702015" y="257107"/>
                  </a:lnTo>
                  <a:lnTo>
                    <a:pt x="700351" y="256986"/>
                  </a:lnTo>
                  <a:lnTo>
                    <a:pt x="696963" y="258498"/>
                  </a:lnTo>
                  <a:lnTo>
                    <a:pt x="695602" y="257652"/>
                  </a:lnTo>
                  <a:lnTo>
                    <a:pt x="695632" y="256895"/>
                  </a:lnTo>
                  <a:lnTo>
                    <a:pt x="696449" y="254596"/>
                  </a:lnTo>
                  <a:lnTo>
                    <a:pt x="696419" y="253386"/>
                  </a:lnTo>
                  <a:lnTo>
                    <a:pt x="695753" y="252509"/>
                  </a:lnTo>
                  <a:lnTo>
                    <a:pt x="694906" y="252448"/>
                  </a:lnTo>
                  <a:lnTo>
                    <a:pt x="694089" y="252509"/>
                  </a:lnTo>
                  <a:lnTo>
                    <a:pt x="693514" y="252025"/>
                  </a:lnTo>
                  <a:lnTo>
                    <a:pt x="693151" y="249786"/>
                  </a:lnTo>
                  <a:lnTo>
                    <a:pt x="694694" y="246821"/>
                  </a:lnTo>
                  <a:lnTo>
                    <a:pt x="694361" y="244432"/>
                  </a:lnTo>
                  <a:lnTo>
                    <a:pt x="694361" y="244432"/>
                  </a:lnTo>
                  <a:lnTo>
                    <a:pt x="697477" y="242859"/>
                  </a:lnTo>
                  <a:lnTo>
                    <a:pt x="698929" y="241648"/>
                  </a:lnTo>
                  <a:lnTo>
                    <a:pt x="699595" y="239833"/>
                  </a:lnTo>
                  <a:lnTo>
                    <a:pt x="699171" y="237595"/>
                  </a:lnTo>
                  <a:lnTo>
                    <a:pt x="696116" y="231696"/>
                  </a:lnTo>
                  <a:lnTo>
                    <a:pt x="695874" y="231423"/>
                  </a:lnTo>
                  <a:lnTo>
                    <a:pt x="695420" y="231272"/>
                  </a:lnTo>
                  <a:lnTo>
                    <a:pt x="694966" y="231060"/>
                  </a:lnTo>
                  <a:lnTo>
                    <a:pt x="694664" y="230516"/>
                  </a:lnTo>
                  <a:lnTo>
                    <a:pt x="694724" y="229730"/>
                  </a:lnTo>
                  <a:lnTo>
                    <a:pt x="695178" y="229367"/>
                  </a:lnTo>
                  <a:lnTo>
                    <a:pt x="695662" y="229124"/>
                  </a:lnTo>
                  <a:lnTo>
                    <a:pt x="695904" y="228701"/>
                  </a:lnTo>
                  <a:lnTo>
                    <a:pt x="695632" y="223498"/>
                  </a:lnTo>
                  <a:lnTo>
                    <a:pt x="696660" y="221773"/>
                  </a:lnTo>
                  <a:lnTo>
                    <a:pt x="697931" y="221440"/>
                  </a:lnTo>
                  <a:lnTo>
                    <a:pt x="699262" y="222318"/>
                  </a:lnTo>
                  <a:lnTo>
                    <a:pt x="700472" y="224102"/>
                  </a:lnTo>
                  <a:lnTo>
                    <a:pt x="711272" y="219565"/>
                  </a:lnTo>
                  <a:lnTo>
                    <a:pt x="715053" y="216842"/>
                  </a:lnTo>
                  <a:lnTo>
                    <a:pt x="716445" y="215844"/>
                  </a:lnTo>
                  <a:lnTo>
                    <a:pt x="716052" y="210338"/>
                  </a:lnTo>
                  <a:lnTo>
                    <a:pt x="717201" y="209189"/>
                  </a:lnTo>
                  <a:lnTo>
                    <a:pt x="720136" y="208069"/>
                  </a:lnTo>
                  <a:lnTo>
                    <a:pt x="721194" y="206315"/>
                  </a:lnTo>
                  <a:lnTo>
                    <a:pt x="721315" y="204197"/>
                  </a:lnTo>
                  <a:lnTo>
                    <a:pt x="720529" y="202503"/>
                  </a:lnTo>
                  <a:lnTo>
                    <a:pt x="719137" y="201172"/>
                  </a:lnTo>
                  <a:lnTo>
                    <a:pt x="717443" y="200295"/>
                  </a:lnTo>
                  <a:lnTo>
                    <a:pt x="717988" y="197632"/>
                  </a:lnTo>
                  <a:lnTo>
                    <a:pt x="717141" y="194880"/>
                  </a:lnTo>
                  <a:lnTo>
                    <a:pt x="715386" y="192701"/>
                  </a:lnTo>
                  <a:lnTo>
                    <a:pt x="713208" y="191794"/>
                  </a:lnTo>
                  <a:lnTo>
                    <a:pt x="709880" y="192309"/>
                  </a:lnTo>
                  <a:lnTo>
                    <a:pt x="703255" y="189828"/>
                  </a:lnTo>
                  <a:lnTo>
                    <a:pt x="700472" y="190403"/>
                  </a:lnTo>
                  <a:lnTo>
                    <a:pt x="694815" y="188285"/>
                  </a:lnTo>
                  <a:lnTo>
                    <a:pt x="693000" y="187317"/>
                  </a:lnTo>
                  <a:lnTo>
                    <a:pt x="693877" y="186288"/>
                  </a:lnTo>
                  <a:lnTo>
                    <a:pt x="695420" y="184019"/>
                  </a:lnTo>
                  <a:lnTo>
                    <a:pt x="696176" y="183324"/>
                  </a:lnTo>
                  <a:lnTo>
                    <a:pt x="696751" y="183989"/>
                  </a:lnTo>
                  <a:lnTo>
                    <a:pt x="697235" y="184413"/>
                  </a:lnTo>
                  <a:lnTo>
                    <a:pt x="697719" y="184503"/>
                  </a:lnTo>
                  <a:lnTo>
                    <a:pt x="698385" y="184140"/>
                  </a:lnTo>
                  <a:lnTo>
                    <a:pt x="699564" y="183142"/>
                  </a:lnTo>
                  <a:lnTo>
                    <a:pt x="703558" y="181176"/>
                  </a:lnTo>
                  <a:lnTo>
                    <a:pt x="704435" y="180420"/>
                  </a:lnTo>
                  <a:lnTo>
                    <a:pt x="705010" y="179270"/>
                  </a:lnTo>
                  <a:lnTo>
                    <a:pt x="704798" y="177455"/>
                  </a:lnTo>
                  <a:lnTo>
                    <a:pt x="705403" y="176124"/>
                  </a:lnTo>
                  <a:lnTo>
                    <a:pt x="709094" y="174581"/>
                  </a:lnTo>
                  <a:lnTo>
                    <a:pt x="713329" y="175065"/>
                  </a:lnTo>
                  <a:lnTo>
                    <a:pt x="721376" y="177969"/>
                  </a:lnTo>
                  <a:lnTo>
                    <a:pt x="722677" y="178786"/>
                  </a:lnTo>
                  <a:lnTo>
                    <a:pt x="723191" y="180026"/>
                  </a:lnTo>
                  <a:lnTo>
                    <a:pt x="723554" y="181478"/>
                  </a:lnTo>
                  <a:lnTo>
                    <a:pt x="724341" y="182870"/>
                  </a:lnTo>
                  <a:lnTo>
                    <a:pt x="725460" y="183959"/>
                  </a:lnTo>
                  <a:lnTo>
                    <a:pt x="726549" y="184564"/>
                  </a:lnTo>
                  <a:lnTo>
                    <a:pt x="732206" y="185381"/>
                  </a:lnTo>
                  <a:lnTo>
                    <a:pt x="733114" y="185169"/>
                  </a:lnTo>
                  <a:lnTo>
                    <a:pt x="734203" y="184171"/>
                  </a:lnTo>
                  <a:lnTo>
                    <a:pt x="736199" y="181267"/>
                  </a:lnTo>
                  <a:lnTo>
                    <a:pt x="737530" y="180238"/>
                  </a:lnTo>
                  <a:lnTo>
                    <a:pt x="738982" y="183838"/>
                  </a:lnTo>
                  <a:lnTo>
                    <a:pt x="742794" y="184473"/>
                  </a:lnTo>
                  <a:lnTo>
                    <a:pt x="750780" y="182628"/>
                  </a:lnTo>
                  <a:lnTo>
                    <a:pt x="758131" y="181721"/>
                  </a:lnTo>
                  <a:lnTo>
                    <a:pt x="760188" y="180843"/>
                  </a:lnTo>
                  <a:lnTo>
                    <a:pt x="759039" y="180208"/>
                  </a:lnTo>
                  <a:lnTo>
                    <a:pt x="758192" y="179149"/>
                  </a:lnTo>
                  <a:lnTo>
                    <a:pt x="757708" y="177757"/>
                  </a:lnTo>
                  <a:lnTo>
                    <a:pt x="757496" y="173280"/>
                  </a:lnTo>
                  <a:lnTo>
                    <a:pt x="756831" y="170497"/>
                  </a:lnTo>
                  <a:lnTo>
                    <a:pt x="756679" y="168137"/>
                  </a:lnTo>
                  <a:lnTo>
                    <a:pt x="758192" y="166595"/>
                  </a:lnTo>
                  <a:lnTo>
                    <a:pt x="757526" y="165717"/>
                  </a:lnTo>
                  <a:lnTo>
                    <a:pt x="756558" y="163146"/>
                  </a:lnTo>
                  <a:lnTo>
                    <a:pt x="755772" y="162601"/>
                  </a:lnTo>
                  <a:lnTo>
                    <a:pt x="753684" y="161694"/>
                  </a:lnTo>
                  <a:lnTo>
                    <a:pt x="753049" y="161089"/>
                  </a:lnTo>
                  <a:lnTo>
                    <a:pt x="753019" y="159576"/>
                  </a:lnTo>
                  <a:lnTo>
                    <a:pt x="754259" y="158971"/>
                  </a:lnTo>
                  <a:lnTo>
                    <a:pt x="757738" y="158245"/>
                  </a:lnTo>
                  <a:lnTo>
                    <a:pt x="759402" y="157066"/>
                  </a:lnTo>
                  <a:lnTo>
                    <a:pt x="760400" y="155674"/>
                  </a:lnTo>
                  <a:lnTo>
                    <a:pt x="760975" y="153859"/>
                  </a:lnTo>
                  <a:lnTo>
                    <a:pt x="761399" y="151409"/>
                  </a:lnTo>
                  <a:lnTo>
                    <a:pt x="761187" y="151136"/>
                  </a:lnTo>
                  <a:lnTo>
                    <a:pt x="760642" y="150985"/>
                  </a:lnTo>
                  <a:lnTo>
                    <a:pt x="760158" y="150683"/>
                  </a:lnTo>
                  <a:lnTo>
                    <a:pt x="760067" y="150108"/>
                  </a:lnTo>
                  <a:lnTo>
                    <a:pt x="760340" y="149714"/>
                  </a:lnTo>
                  <a:lnTo>
                    <a:pt x="761277" y="149140"/>
                  </a:lnTo>
                  <a:lnTo>
                    <a:pt x="761459" y="148897"/>
                  </a:lnTo>
                  <a:lnTo>
                    <a:pt x="761762" y="147718"/>
                  </a:lnTo>
                  <a:lnTo>
                    <a:pt x="762215" y="146841"/>
                  </a:lnTo>
                  <a:lnTo>
                    <a:pt x="762276" y="145993"/>
                  </a:lnTo>
                  <a:lnTo>
                    <a:pt x="761217" y="144844"/>
                  </a:lnTo>
                  <a:lnTo>
                    <a:pt x="767509" y="140004"/>
                  </a:lnTo>
                  <a:close/>
                </a:path>
              </a:pathLst>
            </a:custGeom>
            <a:solidFill>
              <a:srgbClr val="96A3AC"/>
            </a:solidFill>
            <a:ln w="3175" cap="rnd">
              <a:solidFill>
                <a:schemeClr val="bg1"/>
              </a:solidFill>
              <a:prstDash val="solid"/>
              <a:round/>
            </a:ln>
          </p:spPr>
          <p:txBody>
            <a:bodyPr rtlCol="0" anchor="ctr"/>
            <a:lstStyle/>
            <a:p>
              <a:endParaRPr lang="en-ID"/>
            </a:p>
          </p:txBody>
        </p:sp>
        <p:sp>
          <p:nvSpPr>
            <p:cNvPr id="66" name="Freeform: Shape 65">
              <a:extLst>
                <a:ext uri="{FF2B5EF4-FFF2-40B4-BE49-F238E27FC236}">
                  <a16:creationId xmlns:a16="http://schemas.microsoft.com/office/drawing/2014/main" id="{921FB9E1-2F78-400B-101C-A102C6917923}"/>
                </a:ext>
              </a:extLst>
            </p:cNvPr>
            <p:cNvSpPr/>
            <p:nvPr/>
          </p:nvSpPr>
          <p:spPr>
            <a:xfrm>
              <a:off x="11554418" y="4948640"/>
              <a:ext cx="247579" cy="227451"/>
            </a:xfrm>
            <a:custGeom>
              <a:avLst/>
              <a:gdLst>
                <a:gd name="connsiteX0" fmla="*/ 209612 w 318517"/>
                <a:gd name="connsiteY0" fmla="*/ 77020 h 292622"/>
                <a:gd name="connsiteX1" fmla="*/ 208160 w 318517"/>
                <a:gd name="connsiteY1" fmla="*/ 77020 h 292622"/>
                <a:gd name="connsiteX2" fmla="*/ 206769 w 318517"/>
                <a:gd name="connsiteY2" fmla="*/ 77414 h 292622"/>
                <a:gd name="connsiteX3" fmla="*/ 205499 w 318517"/>
                <a:gd name="connsiteY3" fmla="*/ 78260 h 292622"/>
                <a:gd name="connsiteX4" fmla="*/ 204893 w 318517"/>
                <a:gd name="connsiteY4" fmla="*/ 79471 h 292622"/>
                <a:gd name="connsiteX5" fmla="*/ 204682 w 318517"/>
                <a:gd name="connsiteY5" fmla="*/ 80741 h 292622"/>
                <a:gd name="connsiteX6" fmla="*/ 204893 w 318517"/>
                <a:gd name="connsiteY6" fmla="*/ 82012 h 292622"/>
                <a:gd name="connsiteX7" fmla="*/ 205499 w 318517"/>
                <a:gd name="connsiteY7" fmla="*/ 83191 h 292622"/>
                <a:gd name="connsiteX8" fmla="*/ 208947 w 318517"/>
                <a:gd name="connsiteY8" fmla="*/ 84129 h 292622"/>
                <a:gd name="connsiteX9" fmla="*/ 212335 w 318517"/>
                <a:gd name="connsiteY9" fmla="*/ 81739 h 292622"/>
                <a:gd name="connsiteX10" fmla="*/ 213697 w 318517"/>
                <a:gd name="connsiteY10" fmla="*/ 78563 h 292622"/>
                <a:gd name="connsiteX11" fmla="*/ 211064 w 318517"/>
                <a:gd name="connsiteY11" fmla="*/ 77202 h 292622"/>
                <a:gd name="connsiteX12" fmla="*/ 209612 w 318517"/>
                <a:gd name="connsiteY12" fmla="*/ 77020 h 292622"/>
                <a:gd name="connsiteX13" fmla="*/ 318215 w 318517"/>
                <a:gd name="connsiteY13" fmla="*/ 250028 h 292622"/>
                <a:gd name="connsiteX14" fmla="*/ 318094 w 318517"/>
                <a:gd name="connsiteY14" fmla="*/ 249726 h 292622"/>
                <a:gd name="connsiteX15" fmla="*/ 317399 w 318517"/>
                <a:gd name="connsiteY15" fmla="*/ 249000 h 292622"/>
                <a:gd name="connsiteX16" fmla="*/ 316733 w 318517"/>
                <a:gd name="connsiteY16" fmla="*/ 248455 h 292622"/>
                <a:gd name="connsiteX17" fmla="*/ 312437 w 318517"/>
                <a:gd name="connsiteY17" fmla="*/ 245672 h 292622"/>
                <a:gd name="connsiteX18" fmla="*/ 309987 w 318517"/>
                <a:gd name="connsiteY18" fmla="*/ 243312 h 292622"/>
                <a:gd name="connsiteX19" fmla="*/ 309019 w 318517"/>
                <a:gd name="connsiteY19" fmla="*/ 241528 h 292622"/>
                <a:gd name="connsiteX20" fmla="*/ 308504 w 318517"/>
                <a:gd name="connsiteY20" fmla="*/ 239652 h 292622"/>
                <a:gd name="connsiteX21" fmla="*/ 307778 w 318517"/>
                <a:gd name="connsiteY21" fmla="*/ 237928 h 292622"/>
                <a:gd name="connsiteX22" fmla="*/ 306175 w 318517"/>
                <a:gd name="connsiteY22" fmla="*/ 236717 h 292622"/>
                <a:gd name="connsiteX23" fmla="*/ 298945 w 318517"/>
                <a:gd name="connsiteY23" fmla="*/ 233723 h 292622"/>
                <a:gd name="connsiteX24" fmla="*/ 295647 w 318517"/>
                <a:gd name="connsiteY24" fmla="*/ 231363 h 292622"/>
                <a:gd name="connsiteX25" fmla="*/ 294256 w 318517"/>
                <a:gd name="connsiteY25" fmla="*/ 227612 h 292622"/>
                <a:gd name="connsiteX26" fmla="*/ 295587 w 318517"/>
                <a:gd name="connsiteY26" fmla="*/ 224526 h 292622"/>
                <a:gd name="connsiteX27" fmla="*/ 298763 w 318517"/>
                <a:gd name="connsiteY27" fmla="*/ 222711 h 292622"/>
                <a:gd name="connsiteX28" fmla="*/ 306145 w 318517"/>
                <a:gd name="connsiteY28" fmla="*/ 221441 h 292622"/>
                <a:gd name="connsiteX29" fmla="*/ 306145 w 318517"/>
                <a:gd name="connsiteY29" fmla="*/ 221441 h 292622"/>
                <a:gd name="connsiteX30" fmla="*/ 307355 w 318517"/>
                <a:gd name="connsiteY30" fmla="*/ 220896 h 292622"/>
                <a:gd name="connsiteX31" fmla="*/ 308051 w 318517"/>
                <a:gd name="connsiteY31" fmla="*/ 220019 h 292622"/>
                <a:gd name="connsiteX32" fmla="*/ 308051 w 318517"/>
                <a:gd name="connsiteY32" fmla="*/ 218899 h 292622"/>
                <a:gd name="connsiteX33" fmla="*/ 307415 w 318517"/>
                <a:gd name="connsiteY33" fmla="*/ 217629 h 292622"/>
                <a:gd name="connsiteX34" fmla="*/ 307415 w 318517"/>
                <a:gd name="connsiteY34" fmla="*/ 215663 h 292622"/>
                <a:gd name="connsiteX35" fmla="*/ 308625 w 318517"/>
                <a:gd name="connsiteY35" fmla="*/ 214664 h 292622"/>
                <a:gd name="connsiteX36" fmla="*/ 310077 w 318517"/>
                <a:gd name="connsiteY36" fmla="*/ 213848 h 292622"/>
                <a:gd name="connsiteX37" fmla="*/ 310985 w 318517"/>
                <a:gd name="connsiteY37" fmla="*/ 212335 h 292622"/>
                <a:gd name="connsiteX38" fmla="*/ 310683 w 318517"/>
                <a:gd name="connsiteY38" fmla="*/ 210369 h 292622"/>
                <a:gd name="connsiteX39" fmla="*/ 309472 w 318517"/>
                <a:gd name="connsiteY39" fmla="*/ 208826 h 292622"/>
                <a:gd name="connsiteX40" fmla="*/ 307808 w 318517"/>
                <a:gd name="connsiteY40" fmla="*/ 207828 h 292622"/>
                <a:gd name="connsiteX41" fmla="*/ 306175 w 318517"/>
                <a:gd name="connsiteY41" fmla="*/ 207495 h 292622"/>
                <a:gd name="connsiteX42" fmla="*/ 299822 w 318517"/>
                <a:gd name="connsiteY42" fmla="*/ 208039 h 292622"/>
                <a:gd name="connsiteX43" fmla="*/ 297826 w 318517"/>
                <a:gd name="connsiteY43" fmla="*/ 207737 h 292622"/>
                <a:gd name="connsiteX44" fmla="*/ 296313 w 318517"/>
                <a:gd name="connsiteY44" fmla="*/ 206739 h 292622"/>
                <a:gd name="connsiteX45" fmla="*/ 293954 w 318517"/>
                <a:gd name="connsiteY45" fmla="*/ 203774 h 292622"/>
                <a:gd name="connsiteX46" fmla="*/ 292532 w 318517"/>
                <a:gd name="connsiteY46" fmla="*/ 202715 h 292622"/>
                <a:gd name="connsiteX47" fmla="*/ 289083 w 318517"/>
                <a:gd name="connsiteY47" fmla="*/ 202473 h 292622"/>
                <a:gd name="connsiteX48" fmla="*/ 282216 w 318517"/>
                <a:gd name="connsiteY48" fmla="*/ 205710 h 292622"/>
                <a:gd name="connsiteX49" fmla="*/ 278707 w 318517"/>
                <a:gd name="connsiteY49" fmla="*/ 206405 h 292622"/>
                <a:gd name="connsiteX50" fmla="*/ 276468 w 318517"/>
                <a:gd name="connsiteY50" fmla="*/ 205770 h 292622"/>
                <a:gd name="connsiteX51" fmla="*/ 274986 w 318517"/>
                <a:gd name="connsiteY51" fmla="*/ 204470 h 292622"/>
                <a:gd name="connsiteX52" fmla="*/ 272626 w 318517"/>
                <a:gd name="connsiteY52" fmla="*/ 200355 h 292622"/>
                <a:gd name="connsiteX53" fmla="*/ 271174 w 318517"/>
                <a:gd name="connsiteY53" fmla="*/ 198692 h 292622"/>
                <a:gd name="connsiteX54" fmla="*/ 269419 w 318517"/>
                <a:gd name="connsiteY54" fmla="*/ 197784 h 292622"/>
                <a:gd name="connsiteX55" fmla="*/ 265608 w 318517"/>
                <a:gd name="connsiteY55" fmla="*/ 196786 h 292622"/>
                <a:gd name="connsiteX56" fmla="*/ 262431 w 318517"/>
                <a:gd name="connsiteY56" fmla="*/ 194456 h 292622"/>
                <a:gd name="connsiteX57" fmla="*/ 258560 w 318517"/>
                <a:gd name="connsiteY57" fmla="*/ 187226 h 292622"/>
                <a:gd name="connsiteX58" fmla="*/ 255806 w 318517"/>
                <a:gd name="connsiteY58" fmla="*/ 184746 h 292622"/>
                <a:gd name="connsiteX59" fmla="*/ 249454 w 318517"/>
                <a:gd name="connsiteY59" fmla="*/ 182991 h 292622"/>
                <a:gd name="connsiteX60" fmla="*/ 246126 w 318517"/>
                <a:gd name="connsiteY60" fmla="*/ 181418 h 292622"/>
                <a:gd name="connsiteX61" fmla="*/ 243978 w 318517"/>
                <a:gd name="connsiteY61" fmla="*/ 180420 h 292622"/>
                <a:gd name="connsiteX62" fmla="*/ 239441 w 318517"/>
                <a:gd name="connsiteY62" fmla="*/ 176245 h 292622"/>
                <a:gd name="connsiteX63" fmla="*/ 238684 w 318517"/>
                <a:gd name="connsiteY63" fmla="*/ 174793 h 292622"/>
                <a:gd name="connsiteX64" fmla="*/ 234177 w 318517"/>
                <a:gd name="connsiteY64" fmla="*/ 166292 h 292622"/>
                <a:gd name="connsiteX65" fmla="*/ 231999 w 318517"/>
                <a:gd name="connsiteY65" fmla="*/ 164084 h 292622"/>
                <a:gd name="connsiteX66" fmla="*/ 229245 w 318517"/>
                <a:gd name="connsiteY66" fmla="*/ 162844 h 292622"/>
                <a:gd name="connsiteX67" fmla="*/ 218748 w 318517"/>
                <a:gd name="connsiteY67" fmla="*/ 161845 h 292622"/>
                <a:gd name="connsiteX68" fmla="*/ 215572 w 318517"/>
                <a:gd name="connsiteY68" fmla="*/ 160514 h 292622"/>
                <a:gd name="connsiteX69" fmla="*/ 215391 w 318517"/>
                <a:gd name="connsiteY69" fmla="*/ 158850 h 292622"/>
                <a:gd name="connsiteX70" fmla="*/ 215239 w 318517"/>
                <a:gd name="connsiteY70" fmla="*/ 157640 h 292622"/>
                <a:gd name="connsiteX71" fmla="*/ 221622 w 318517"/>
                <a:gd name="connsiteY71" fmla="*/ 153828 h 292622"/>
                <a:gd name="connsiteX72" fmla="*/ 238140 w 318517"/>
                <a:gd name="connsiteY72" fmla="*/ 156370 h 292622"/>
                <a:gd name="connsiteX73" fmla="*/ 245158 w 318517"/>
                <a:gd name="connsiteY73" fmla="*/ 155734 h 292622"/>
                <a:gd name="connsiteX74" fmla="*/ 246519 w 318517"/>
                <a:gd name="connsiteY74" fmla="*/ 154676 h 292622"/>
                <a:gd name="connsiteX75" fmla="*/ 247185 w 318517"/>
                <a:gd name="connsiteY75" fmla="*/ 153405 h 292622"/>
                <a:gd name="connsiteX76" fmla="*/ 248395 w 318517"/>
                <a:gd name="connsiteY76" fmla="*/ 147869 h 292622"/>
                <a:gd name="connsiteX77" fmla="*/ 248757 w 318517"/>
                <a:gd name="connsiteY77" fmla="*/ 146962 h 292622"/>
                <a:gd name="connsiteX78" fmla="*/ 250997 w 318517"/>
                <a:gd name="connsiteY78" fmla="*/ 145177 h 292622"/>
                <a:gd name="connsiteX79" fmla="*/ 252902 w 318517"/>
                <a:gd name="connsiteY79" fmla="*/ 142817 h 292622"/>
                <a:gd name="connsiteX80" fmla="*/ 254112 w 318517"/>
                <a:gd name="connsiteY80" fmla="*/ 139852 h 292622"/>
                <a:gd name="connsiteX81" fmla="*/ 255927 w 318517"/>
                <a:gd name="connsiteY81" fmla="*/ 132108 h 292622"/>
                <a:gd name="connsiteX82" fmla="*/ 255988 w 318517"/>
                <a:gd name="connsiteY82" fmla="*/ 131382 h 292622"/>
                <a:gd name="connsiteX83" fmla="*/ 255927 w 318517"/>
                <a:gd name="connsiteY83" fmla="*/ 130686 h 292622"/>
                <a:gd name="connsiteX84" fmla="*/ 255746 w 318517"/>
                <a:gd name="connsiteY84" fmla="*/ 129960 h 292622"/>
                <a:gd name="connsiteX85" fmla="*/ 253175 w 318517"/>
                <a:gd name="connsiteY85" fmla="*/ 126814 h 292622"/>
                <a:gd name="connsiteX86" fmla="*/ 251723 w 318517"/>
                <a:gd name="connsiteY86" fmla="*/ 125513 h 292622"/>
                <a:gd name="connsiteX87" fmla="*/ 250241 w 318517"/>
                <a:gd name="connsiteY87" fmla="*/ 124787 h 292622"/>
                <a:gd name="connsiteX88" fmla="*/ 248031 w 318517"/>
                <a:gd name="connsiteY88" fmla="*/ 124908 h 292622"/>
                <a:gd name="connsiteX89" fmla="*/ 246610 w 318517"/>
                <a:gd name="connsiteY89" fmla="*/ 125302 h 292622"/>
                <a:gd name="connsiteX90" fmla="*/ 245944 w 318517"/>
                <a:gd name="connsiteY90" fmla="*/ 125483 h 292622"/>
                <a:gd name="connsiteX91" fmla="*/ 243948 w 318517"/>
                <a:gd name="connsiteY91" fmla="*/ 125392 h 292622"/>
                <a:gd name="connsiteX92" fmla="*/ 239653 w 318517"/>
                <a:gd name="connsiteY92" fmla="*/ 121036 h 292622"/>
                <a:gd name="connsiteX93" fmla="*/ 239562 w 318517"/>
                <a:gd name="connsiteY93" fmla="*/ 120945 h 292622"/>
                <a:gd name="connsiteX94" fmla="*/ 216117 w 318517"/>
                <a:gd name="connsiteY94" fmla="*/ 108724 h 292622"/>
                <a:gd name="connsiteX95" fmla="*/ 210157 w 318517"/>
                <a:gd name="connsiteY95" fmla="*/ 103611 h 292622"/>
                <a:gd name="connsiteX96" fmla="*/ 206890 w 318517"/>
                <a:gd name="connsiteY96" fmla="*/ 97228 h 292622"/>
                <a:gd name="connsiteX97" fmla="*/ 206043 w 318517"/>
                <a:gd name="connsiteY97" fmla="*/ 95806 h 292622"/>
                <a:gd name="connsiteX98" fmla="*/ 203956 w 318517"/>
                <a:gd name="connsiteY98" fmla="*/ 94536 h 292622"/>
                <a:gd name="connsiteX99" fmla="*/ 203018 w 318517"/>
                <a:gd name="connsiteY99" fmla="*/ 93568 h 292622"/>
                <a:gd name="connsiteX100" fmla="*/ 202564 w 318517"/>
                <a:gd name="connsiteY100" fmla="*/ 92267 h 292622"/>
                <a:gd name="connsiteX101" fmla="*/ 202352 w 318517"/>
                <a:gd name="connsiteY101" fmla="*/ 89574 h 292622"/>
                <a:gd name="connsiteX102" fmla="*/ 201959 w 318517"/>
                <a:gd name="connsiteY102" fmla="*/ 88365 h 292622"/>
                <a:gd name="connsiteX103" fmla="*/ 200205 w 318517"/>
                <a:gd name="connsiteY103" fmla="*/ 86338 h 292622"/>
                <a:gd name="connsiteX104" fmla="*/ 198147 w 318517"/>
                <a:gd name="connsiteY104" fmla="*/ 84855 h 292622"/>
                <a:gd name="connsiteX105" fmla="*/ 196211 w 318517"/>
                <a:gd name="connsiteY105" fmla="*/ 83101 h 292622"/>
                <a:gd name="connsiteX106" fmla="*/ 194789 w 318517"/>
                <a:gd name="connsiteY106" fmla="*/ 80287 h 292622"/>
                <a:gd name="connsiteX107" fmla="*/ 194789 w 318517"/>
                <a:gd name="connsiteY107" fmla="*/ 75115 h 292622"/>
                <a:gd name="connsiteX108" fmla="*/ 197330 w 318517"/>
                <a:gd name="connsiteY108" fmla="*/ 71030 h 292622"/>
                <a:gd name="connsiteX109" fmla="*/ 201263 w 318517"/>
                <a:gd name="connsiteY109" fmla="*/ 68066 h 292622"/>
                <a:gd name="connsiteX110" fmla="*/ 205317 w 318517"/>
                <a:gd name="connsiteY110" fmla="*/ 66281 h 292622"/>
                <a:gd name="connsiteX111" fmla="*/ 213122 w 318517"/>
                <a:gd name="connsiteY111" fmla="*/ 62802 h 292622"/>
                <a:gd name="connsiteX112" fmla="*/ 215784 w 318517"/>
                <a:gd name="connsiteY112" fmla="*/ 60019 h 292622"/>
                <a:gd name="connsiteX113" fmla="*/ 217660 w 318517"/>
                <a:gd name="connsiteY113" fmla="*/ 54997 h 292622"/>
                <a:gd name="connsiteX114" fmla="*/ 217478 w 318517"/>
                <a:gd name="connsiteY114" fmla="*/ 52305 h 292622"/>
                <a:gd name="connsiteX115" fmla="*/ 215723 w 318517"/>
                <a:gd name="connsiteY115" fmla="*/ 51458 h 292622"/>
                <a:gd name="connsiteX116" fmla="*/ 213363 w 318517"/>
                <a:gd name="connsiteY116" fmla="*/ 51307 h 292622"/>
                <a:gd name="connsiteX117" fmla="*/ 211307 w 318517"/>
                <a:gd name="connsiteY117" fmla="*/ 50701 h 292622"/>
                <a:gd name="connsiteX118" fmla="*/ 209733 w 318517"/>
                <a:gd name="connsiteY118" fmla="*/ 49219 h 292622"/>
                <a:gd name="connsiteX119" fmla="*/ 205408 w 318517"/>
                <a:gd name="connsiteY119" fmla="*/ 44107 h 292622"/>
                <a:gd name="connsiteX120" fmla="*/ 202745 w 318517"/>
                <a:gd name="connsiteY120" fmla="*/ 42110 h 292622"/>
                <a:gd name="connsiteX121" fmla="*/ 201747 w 318517"/>
                <a:gd name="connsiteY121" fmla="*/ 41868 h 292622"/>
                <a:gd name="connsiteX122" fmla="*/ 200326 w 318517"/>
                <a:gd name="connsiteY122" fmla="*/ 41535 h 292622"/>
                <a:gd name="connsiteX123" fmla="*/ 199085 w 318517"/>
                <a:gd name="connsiteY123" fmla="*/ 40295 h 292622"/>
                <a:gd name="connsiteX124" fmla="*/ 199962 w 318517"/>
                <a:gd name="connsiteY124" fmla="*/ 36332 h 292622"/>
                <a:gd name="connsiteX125" fmla="*/ 199357 w 318517"/>
                <a:gd name="connsiteY125" fmla="*/ 33458 h 292622"/>
                <a:gd name="connsiteX126" fmla="*/ 196574 w 318517"/>
                <a:gd name="connsiteY126" fmla="*/ 33730 h 292622"/>
                <a:gd name="connsiteX127" fmla="*/ 195637 w 318517"/>
                <a:gd name="connsiteY127" fmla="*/ 34184 h 292622"/>
                <a:gd name="connsiteX128" fmla="*/ 190947 w 318517"/>
                <a:gd name="connsiteY128" fmla="*/ 36332 h 292622"/>
                <a:gd name="connsiteX129" fmla="*/ 188648 w 318517"/>
                <a:gd name="connsiteY129" fmla="*/ 35999 h 292622"/>
                <a:gd name="connsiteX130" fmla="*/ 184232 w 318517"/>
                <a:gd name="connsiteY130" fmla="*/ 34335 h 292622"/>
                <a:gd name="connsiteX131" fmla="*/ 179482 w 318517"/>
                <a:gd name="connsiteY131" fmla="*/ 33821 h 292622"/>
                <a:gd name="connsiteX132" fmla="*/ 177818 w 318517"/>
                <a:gd name="connsiteY132" fmla="*/ 32551 h 292622"/>
                <a:gd name="connsiteX133" fmla="*/ 176275 w 318517"/>
                <a:gd name="connsiteY133" fmla="*/ 31008 h 292622"/>
                <a:gd name="connsiteX134" fmla="*/ 174218 w 318517"/>
                <a:gd name="connsiteY134" fmla="*/ 29828 h 292622"/>
                <a:gd name="connsiteX135" fmla="*/ 170921 w 318517"/>
                <a:gd name="connsiteY135" fmla="*/ 26682 h 292622"/>
                <a:gd name="connsiteX136" fmla="*/ 169257 w 318517"/>
                <a:gd name="connsiteY136" fmla="*/ 25865 h 292622"/>
                <a:gd name="connsiteX137" fmla="*/ 168955 w 318517"/>
                <a:gd name="connsiteY137" fmla="*/ 28073 h 292622"/>
                <a:gd name="connsiteX138" fmla="*/ 168350 w 318517"/>
                <a:gd name="connsiteY138" fmla="*/ 29525 h 292622"/>
                <a:gd name="connsiteX139" fmla="*/ 166413 w 318517"/>
                <a:gd name="connsiteY139" fmla="*/ 29344 h 292622"/>
                <a:gd name="connsiteX140" fmla="*/ 164235 w 318517"/>
                <a:gd name="connsiteY140" fmla="*/ 27983 h 292622"/>
                <a:gd name="connsiteX141" fmla="*/ 162935 w 318517"/>
                <a:gd name="connsiteY141" fmla="*/ 25956 h 292622"/>
                <a:gd name="connsiteX142" fmla="*/ 164024 w 318517"/>
                <a:gd name="connsiteY142" fmla="*/ 22023 h 292622"/>
                <a:gd name="connsiteX143" fmla="*/ 173976 w 318517"/>
                <a:gd name="connsiteY143" fmla="*/ 22416 h 292622"/>
                <a:gd name="connsiteX144" fmla="*/ 177425 w 318517"/>
                <a:gd name="connsiteY144" fmla="*/ 20087 h 292622"/>
                <a:gd name="connsiteX145" fmla="*/ 177304 w 318517"/>
                <a:gd name="connsiteY145" fmla="*/ 18121 h 292622"/>
                <a:gd name="connsiteX146" fmla="*/ 176003 w 318517"/>
                <a:gd name="connsiteY146" fmla="*/ 16396 h 292622"/>
                <a:gd name="connsiteX147" fmla="*/ 170709 w 318517"/>
                <a:gd name="connsiteY147" fmla="*/ 12585 h 292622"/>
                <a:gd name="connsiteX148" fmla="*/ 168985 w 318517"/>
                <a:gd name="connsiteY148" fmla="*/ 12070 h 292622"/>
                <a:gd name="connsiteX149" fmla="*/ 162421 w 318517"/>
                <a:gd name="connsiteY149" fmla="*/ 12070 h 292622"/>
                <a:gd name="connsiteX150" fmla="*/ 160696 w 318517"/>
                <a:gd name="connsiteY150" fmla="*/ 11375 h 292622"/>
                <a:gd name="connsiteX151" fmla="*/ 160121 w 318517"/>
                <a:gd name="connsiteY151" fmla="*/ 9862 h 292622"/>
                <a:gd name="connsiteX152" fmla="*/ 161149 w 318517"/>
                <a:gd name="connsiteY152" fmla="*/ 7260 h 292622"/>
                <a:gd name="connsiteX153" fmla="*/ 157429 w 318517"/>
                <a:gd name="connsiteY153" fmla="*/ 0 h 292622"/>
                <a:gd name="connsiteX154" fmla="*/ 156189 w 318517"/>
                <a:gd name="connsiteY154" fmla="*/ 726 h 292622"/>
                <a:gd name="connsiteX155" fmla="*/ 153920 w 318517"/>
                <a:gd name="connsiteY155" fmla="*/ 2632 h 292622"/>
                <a:gd name="connsiteX156" fmla="*/ 152680 w 318517"/>
                <a:gd name="connsiteY156" fmla="*/ 3388 h 292622"/>
                <a:gd name="connsiteX157" fmla="*/ 148868 w 318517"/>
                <a:gd name="connsiteY157" fmla="*/ 3509 h 292622"/>
                <a:gd name="connsiteX158" fmla="*/ 139157 w 318517"/>
                <a:gd name="connsiteY158" fmla="*/ 2088 h 292622"/>
                <a:gd name="connsiteX159" fmla="*/ 137191 w 318517"/>
                <a:gd name="connsiteY159" fmla="*/ 3903 h 292622"/>
                <a:gd name="connsiteX160" fmla="*/ 138038 w 318517"/>
                <a:gd name="connsiteY160" fmla="*/ 5627 h 292622"/>
                <a:gd name="connsiteX161" fmla="*/ 141819 w 318517"/>
                <a:gd name="connsiteY161" fmla="*/ 7291 h 292622"/>
                <a:gd name="connsiteX162" fmla="*/ 142515 w 318517"/>
                <a:gd name="connsiteY162" fmla="*/ 8168 h 292622"/>
                <a:gd name="connsiteX163" fmla="*/ 142908 w 318517"/>
                <a:gd name="connsiteY163" fmla="*/ 8682 h 292622"/>
                <a:gd name="connsiteX164" fmla="*/ 141910 w 318517"/>
                <a:gd name="connsiteY164" fmla="*/ 9953 h 292622"/>
                <a:gd name="connsiteX165" fmla="*/ 139278 w 318517"/>
                <a:gd name="connsiteY165" fmla="*/ 10286 h 292622"/>
                <a:gd name="connsiteX166" fmla="*/ 124515 w 318517"/>
                <a:gd name="connsiteY166" fmla="*/ 10013 h 292622"/>
                <a:gd name="connsiteX167" fmla="*/ 120310 w 318517"/>
                <a:gd name="connsiteY167" fmla="*/ 8471 h 292622"/>
                <a:gd name="connsiteX168" fmla="*/ 118283 w 318517"/>
                <a:gd name="connsiteY168" fmla="*/ 8228 h 292622"/>
                <a:gd name="connsiteX169" fmla="*/ 116136 w 318517"/>
                <a:gd name="connsiteY169" fmla="*/ 9136 h 292622"/>
                <a:gd name="connsiteX170" fmla="*/ 114835 w 318517"/>
                <a:gd name="connsiteY170" fmla="*/ 10709 h 292622"/>
                <a:gd name="connsiteX171" fmla="*/ 113594 w 318517"/>
                <a:gd name="connsiteY171" fmla="*/ 12676 h 292622"/>
                <a:gd name="connsiteX172" fmla="*/ 112112 w 318517"/>
                <a:gd name="connsiteY172" fmla="*/ 13886 h 292622"/>
                <a:gd name="connsiteX173" fmla="*/ 110055 w 318517"/>
                <a:gd name="connsiteY173" fmla="*/ 13341 h 292622"/>
                <a:gd name="connsiteX174" fmla="*/ 109511 w 318517"/>
                <a:gd name="connsiteY174" fmla="*/ 12403 h 292622"/>
                <a:gd name="connsiteX175" fmla="*/ 109147 w 318517"/>
                <a:gd name="connsiteY175" fmla="*/ 11163 h 292622"/>
                <a:gd name="connsiteX176" fmla="*/ 108603 w 318517"/>
                <a:gd name="connsiteY176" fmla="*/ 10255 h 292622"/>
                <a:gd name="connsiteX177" fmla="*/ 107544 w 318517"/>
                <a:gd name="connsiteY177" fmla="*/ 10255 h 292622"/>
                <a:gd name="connsiteX178" fmla="*/ 106879 w 318517"/>
                <a:gd name="connsiteY178" fmla="*/ 10739 h 292622"/>
                <a:gd name="connsiteX179" fmla="*/ 104852 w 318517"/>
                <a:gd name="connsiteY179" fmla="*/ 12827 h 292622"/>
                <a:gd name="connsiteX180" fmla="*/ 102401 w 318517"/>
                <a:gd name="connsiteY180" fmla="*/ 13462 h 292622"/>
                <a:gd name="connsiteX181" fmla="*/ 100163 w 318517"/>
                <a:gd name="connsiteY181" fmla="*/ 13311 h 292622"/>
                <a:gd name="connsiteX182" fmla="*/ 97955 w 318517"/>
                <a:gd name="connsiteY182" fmla="*/ 12554 h 292622"/>
                <a:gd name="connsiteX183" fmla="*/ 92600 w 318517"/>
                <a:gd name="connsiteY183" fmla="*/ 9560 h 292622"/>
                <a:gd name="connsiteX184" fmla="*/ 91360 w 318517"/>
                <a:gd name="connsiteY184" fmla="*/ 9408 h 292622"/>
                <a:gd name="connsiteX185" fmla="*/ 90180 w 318517"/>
                <a:gd name="connsiteY185" fmla="*/ 9771 h 292622"/>
                <a:gd name="connsiteX186" fmla="*/ 89363 w 318517"/>
                <a:gd name="connsiteY186" fmla="*/ 10437 h 292622"/>
                <a:gd name="connsiteX187" fmla="*/ 88637 w 318517"/>
                <a:gd name="connsiteY187" fmla="*/ 11193 h 292622"/>
                <a:gd name="connsiteX188" fmla="*/ 87699 w 318517"/>
                <a:gd name="connsiteY188" fmla="*/ 11768 h 292622"/>
                <a:gd name="connsiteX189" fmla="*/ 85340 w 318517"/>
                <a:gd name="connsiteY189" fmla="*/ 12131 h 292622"/>
                <a:gd name="connsiteX190" fmla="*/ 83494 w 318517"/>
                <a:gd name="connsiteY190" fmla="*/ 11465 h 292622"/>
                <a:gd name="connsiteX191" fmla="*/ 78623 w 318517"/>
                <a:gd name="connsiteY191" fmla="*/ 8349 h 292622"/>
                <a:gd name="connsiteX192" fmla="*/ 75871 w 318517"/>
                <a:gd name="connsiteY192" fmla="*/ 7321 h 292622"/>
                <a:gd name="connsiteX193" fmla="*/ 74812 w 318517"/>
                <a:gd name="connsiteY193" fmla="*/ 7321 h 292622"/>
                <a:gd name="connsiteX194" fmla="*/ 73632 w 318517"/>
                <a:gd name="connsiteY194" fmla="*/ 8108 h 292622"/>
                <a:gd name="connsiteX195" fmla="*/ 73360 w 318517"/>
                <a:gd name="connsiteY195" fmla="*/ 9015 h 292622"/>
                <a:gd name="connsiteX196" fmla="*/ 73299 w 318517"/>
                <a:gd name="connsiteY196" fmla="*/ 10074 h 292622"/>
                <a:gd name="connsiteX197" fmla="*/ 72785 w 318517"/>
                <a:gd name="connsiteY197" fmla="*/ 11284 h 292622"/>
                <a:gd name="connsiteX198" fmla="*/ 71212 w 318517"/>
                <a:gd name="connsiteY198" fmla="*/ 12736 h 292622"/>
                <a:gd name="connsiteX199" fmla="*/ 69246 w 318517"/>
                <a:gd name="connsiteY199" fmla="*/ 13734 h 292622"/>
                <a:gd name="connsiteX200" fmla="*/ 67128 w 318517"/>
                <a:gd name="connsiteY200" fmla="*/ 14067 h 292622"/>
                <a:gd name="connsiteX201" fmla="*/ 62863 w 318517"/>
                <a:gd name="connsiteY201" fmla="*/ 12978 h 292622"/>
                <a:gd name="connsiteX202" fmla="*/ 60866 w 318517"/>
                <a:gd name="connsiteY202" fmla="*/ 13190 h 292622"/>
                <a:gd name="connsiteX203" fmla="*/ 56812 w 318517"/>
                <a:gd name="connsiteY203" fmla="*/ 14854 h 292622"/>
                <a:gd name="connsiteX204" fmla="*/ 54483 w 318517"/>
                <a:gd name="connsiteY204" fmla="*/ 15368 h 292622"/>
                <a:gd name="connsiteX205" fmla="*/ 54453 w 318517"/>
                <a:gd name="connsiteY205" fmla="*/ 15368 h 292622"/>
                <a:gd name="connsiteX206" fmla="*/ 52244 w 318517"/>
                <a:gd name="connsiteY206" fmla="*/ 15882 h 292622"/>
                <a:gd name="connsiteX207" fmla="*/ 42927 w 318517"/>
                <a:gd name="connsiteY207" fmla="*/ 16064 h 292622"/>
                <a:gd name="connsiteX208" fmla="*/ 38601 w 318517"/>
                <a:gd name="connsiteY208" fmla="*/ 17727 h 292622"/>
                <a:gd name="connsiteX209" fmla="*/ 33912 w 318517"/>
                <a:gd name="connsiteY209" fmla="*/ 21539 h 292622"/>
                <a:gd name="connsiteX210" fmla="*/ 31946 w 318517"/>
                <a:gd name="connsiteY210" fmla="*/ 22295 h 292622"/>
                <a:gd name="connsiteX211" fmla="*/ 29495 w 318517"/>
                <a:gd name="connsiteY211" fmla="*/ 22477 h 292622"/>
                <a:gd name="connsiteX212" fmla="*/ 13099 w 318517"/>
                <a:gd name="connsiteY212" fmla="*/ 20359 h 292622"/>
                <a:gd name="connsiteX213" fmla="*/ 8834 w 318517"/>
                <a:gd name="connsiteY213" fmla="*/ 20511 h 292622"/>
                <a:gd name="connsiteX214" fmla="*/ 3389 w 318517"/>
                <a:gd name="connsiteY214" fmla="*/ 22538 h 292622"/>
                <a:gd name="connsiteX215" fmla="*/ 2420 w 318517"/>
                <a:gd name="connsiteY215" fmla="*/ 22749 h 292622"/>
                <a:gd name="connsiteX216" fmla="*/ 1422 w 318517"/>
                <a:gd name="connsiteY216" fmla="*/ 22749 h 292622"/>
                <a:gd name="connsiteX217" fmla="*/ 424 w 318517"/>
                <a:gd name="connsiteY217" fmla="*/ 22507 h 292622"/>
                <a:gd name="connsiteX218" fmla="*/ 0 w 318517"/>
                <a:gd name="connsiteY218" fmla="*/ 25351 h 292622"/>
                <a:gd name="connsiteX219" fmla="*/ 847 w 318517"/>
                <a:gd name="connsiteY219" fmla="*/ 29253 h 292622"/>
                <a:gd name="connsiteX220" fmla="*/ 2451 w 318517"/>
                <a:gd name="connsiteY220" fmla="*/ 32763 h 292622"/>
                <a:gd name="connsiteX221" fmla="*/ 4387 w 318517"/>
                <a:gd name="connsiteY221" fmla="*/ 34456 h 292622"/>
                <a:gd name="connsiteX222" fmla="*/ 8683 w 318517"/>
                <a:gd name="connsiteY222" fmla="*/ 35031 h 292622"/>
                <a:gd name="connsiteX223" fmla="*/ 13008 w 318517"/>
                <a:gd name="connsiteY223" fmla="*/ 37028 h 292622"/>
                <a:gd name="connsiteX224" fmla="*/ 16971 w 318517"/>
                <a:gd name="connsiteY224" fmla="*/ 40053 h 292622"/>
                <a:gd name="connsiteX225" fmla="*/ 20118 w 318517"/>
                <a:gd name="connsiteY225" fmla="*/ 43683 h 292622"/>
                <a:gd name="connsiteX226" fmla="*/ 21267 w 318517"/>
                <a:gd name="connsiteY226" fmla="*/ 46073 h 292622"/>
                <a:gd name="connsiteX227" fmla="*/ 21691 w 318517"/>
                <a:gd name="connsiteY227" fmla="*/ 48402 h 292622"/>
                <a:gd name="connsiteX228" fmla="*/ 21932 w 318517"/>
                <a:gd name="connsiteY228" fmla="*/ 50823 h 292622"/>
                <a:gd name="connsiteX229" fmla="*/ 22477 w 318517"/>
                <a:gd name="connsiteY229" fmla="*/ 53605 h 292622"/>
                <a:gd name="connsiteX230" fmla="*/ 23505 w 318517"/>
                <a:gd name="connsiteY230" fmla="*/ 56026 h 292622"/>
                <a:gd name="connsiteX231" fmla="*/ 27681 w 318517"/>
                <a:gd name="connsiteY231" fmla="*/ 62197 h 292622"/>
                <a:gd name="connsiteX232" fmla="*/ 28618 w 318517"/>
                <a:gd name="connsiteY232" fmla="*/ 64466 h 292622"/>
                <a:gd name="connsiteX233" fmla="*/ 28981 w 318517"/>
                <a:gd name="connsiteY233" fmla="*/ 66462 h 292622"/>
                <a:gd name="connsiteX234" fmla="*/ 29495 w 318517"/>
                <a:gd name="connsiteY234" fmla="*/ 74903 h 292622"/>
                <a:gd name="connsiteX235" fmla="*/ 29193 w 318517"/>
                <a:gd name="connsiteY235" fmla="*/ 75901 h 292622"/>
                <a:gd name="connsiteX236" fmla="*/ 27076 w 318517"/>
                <a:gd name="connsiteY236" fmla="*/ 79319 h 292622"/>
                <a:gd name="connsiteX237" fmla="*/ 26470 w 318517"/>
                <a:gd name="connsiteY237" fmla="*/ 80075 h 292622"/>
                <a:gd name="connsiteX238" fmla="*/ 27257 w 318517"/>
                <a:gd name="connsiteY238" fmla="*/ 82828 h 292622"/>
                <a:gd name="connsiteX239" fmla="*/ 22991 w 318517"/>
                <a:gd name="connsiteY239" fmla="*/ 87427 h 292622"/>
                <a:gd name="connsiteX240" fmla="*/ 21630 w 318517"/>
                <a:gd name="connsiteY240" fmla="*/ 89937 h 292622"/>
                <a:gd name="connsiteX241" fmla="*/ 21751 w 318517"/>
                <a:gd name="connsiteY241" fmla="*/ 92842 h 292622"/>
                <a:gd name="connsiteX242" fmla="*/ 21146 w 318517"/>
                <a:gd name="connsiteY242" fmla="*/ 92388 h 292622"/>
                <a:gd name="connsiteX243" fmla="*/ 20692 w 318517"/>
                <a:gd name="connsiteY243" fmla="*/ 92237 h 292622"/>
                <a:gd name="connsiteX244" fmla="*/ 20239 w 318517"/>
                <a:gd name="connsiteY244" fmla="*/ 92146 h 292622"/>
                <a:gd name="connsiteX245" fmla="*/ 19633 w 318517"/>
                <a:gd name="connsiteY245" fmla="*/ 91934 h 292622"/>
                <a:gd name="connsiteX246" fmla="*/ 19966 w 318517"/>
                <a:gd name="connsiteY246" fmla="*/ 92418 h 292622"/>
                <a:gd name="connsiteX247" fmla="*/ 20118 w 318517"/>
                <a:gd name="connsiteY247" fmla="*/ 92781 h 292622"/>
                <a:gd name="connsiteX248" fmla="*/ 20389 w 318517"/>
                <a:gd name="connsiteY248" fmla="*/ 93628 h 292622"/>
                <a:gd name="connsiteX249" fmla="*/ 18000 w 318517"/>
                <a:gd name="connsiteY249" fmla="*/ 93901 h 292622"/>
                <a:gd name="connsiteX250" fmla="*/ 15821 w 318517"/>
                <a:gd name="connsiteY250" fmla="*/ 95292 h 292622"/>
                <a:gd name="connsiteX251" fmla="*/ 12373 w 318517"/>
                <a:gd name="connsiteY251" fmla="*/ 99073 h 292622"/>
                <a:gd name="connsiteX252" fmla="*/ 12796 w 318517"/>
                <a:gd name="connsiteY252" fmla="*/ 100677 h 292622"/>
                <a:gd name="connsiteX253" fmla="*/ 14914 w 318517"/>
                <a:gd name="connsiteY253" fmla="*/ 102885 h 292622"/>
                <a:gd name="connsiteX254" fmla="*/ 18998 w 318517"/>
                <a:gd name="connsiteY254" fmla="*/ 106092 h 292622"/>
                <a:gd name="connsiteX255" fmla="*/ 18998 w 318517"/>
                <a:gd name="connsiteY255" fmla="*/ 106909 h 292622"/>
                <a:gd name="connsiteX256" fmla="*/ 18907 w 318517"/>
                <a:gd name="connsiteY256" fmla="*/ 107181 h 292622"/>
                <a:gd name="connsiteX257" fmla="*/ 17425 w 318517"/>
                <a:gd name="connsiteY257" fmla="*/ 111810 h 292622"/>
                <a:gd name="connsiteX258" fmla="*/ 16578 w 318517"/>
                <a:gd name="connsiteY258" fmla="*/ 113171 h 292622"/>
                <a:gd name="connsiteX259" fmla="*/ 15882 w 318517"/>
                <a:gd name="connsiteY259" fmla="*/ 115137 h 292622"/>
                <a:gd name="connsiteX260" fmla="*/ 16911 w 318517"/>
                <a:gd name="connsiteY260" fmla="*/ 117043 h 292622"/>
                <a:gd name="connsiteX261" fmla="*/ 19633 w 318517"/>
                <a:gd name="connsiteY261" fmla="*/ 119402 h 292622"/>
                <a:gd name="connsiteX262" fmla="*/ 24111 w 318517"/>
                <a:gd name="connsiteY262" fmla="*/ 124757 h 292622"/>
                <a:gd name="connsiteX263" fmla="*/ 25563 w 318517"/>
                <a:gd name="connsiteY263" fmla="*/ 127843 h 292622"/>
                <a:gd name="connsiteX264" fmla="*/ 25653 w 318517"/>
                <a:gd name="connsiteY264" fmla="*/ 128055 h 292622"/>
                <a:gd name="connsiteX265" fmla="*/ 23808 w 318517"/>
                <a:gd name="connsiteY265" fmla="*/ 129355 h 292622"/>
                <a:gd name="connsiteX266" fmla="*/ 24897 w 318517"/>
                <a:gd name="connsiteY266" fmla="*/ 131503 h 292622"/>
                <a:gd name="connsiteX267" fmla="*/ 28043 w 318517"/>
                <a:gd name="connsiteY267" fmla="*/ 135073 h 292622"/>
                <a:gd name="connsiteX268" fmla="*/ 28678 w 318517"/>
                <a:gd name="connsiteY268" fmla="*/ 136434 h 292622"/>
                <a:gd name="connsiteX269" fmla="*/ 27711 w 318517"/>
                <a:gd name="connsiteY269" fmla="*/ 138007 h 292622"/>
                <a:gd name="connsiteX270" fmla="*/ 23143 w 318517"/>
                <a:gd name="connsiteY270" fmla="*/ 138915 h 292622"/>
                <a:gd name="connsiteX271" fmla="*/ 21751 w 318517"/>
                <a:gd name="connsiteY271" fmla="*/ 140125 h 292622"/>
                <a:gd name="connsiteX272" fmla="*/ 23052 w 318517"/>
                <a:gd name="connsiteY272" fmla="*/ 143603 h 292622"/>
                <a:gd name="connsiteX273" fmla="*/ 27650 w 318517"/>
                <a:gd name="connsiteY273" fmla="*/ 145933 h 292622"/>
                <a:gd name="connsiteX274" fmla="*/ 36877 w 318517"/>
                <a:gd name="connsiteY274" fmla="*/ 148353 h 292622"/>
                <a:gd name="connsiteX275" fmla="*/ 47888 w 318517"/>
                <a:gd name="connsiteY275" fmla="*/ 153950 h 292622"/>
                <a:gd name="connsiteX276" fmla="*/ 59989 w 318517"/>
                <a:gd name="connsiteY276" fmla="*/ 155825 h 292622"/>
                <a:gd name="connsiteX277" fmla="*/ 61592 w 318517"/>
                <a:gd name="connsiteY277" fmla="*/ 155311 h 292622"/>
                <a:gd name="connsiteX278" fmla="*/ 65101 w 318517"/>
                <a:gd name="connsiteY278" fmla="*/ 153042 h 292622"/>
                <a:gd name="connsiteX279" fmla="*/ 67249 w 318517"/>
                <a:gd name="connsiteY279" fmla="*/ 152528 h 292622"/>
                <a:gd name="connsiteX280" fmla="*/ 68217 w 318517"/>
                <a:gd name="connsiteY280" fmla="*/ 152770 h 292622"/>
                <a:gd name="connsiteX281" fmla="*/ 69488 w 318517"/>
                <a:gd name="connsiteY281" fmla="*/ 153919 h 292622"/>
                <a:gd name="connsiteX282" fmla="*/ 70365 w 318517"/>
                <a:gd name="connsiteY282" fmla="*/ 154191 h 292622"/>
                <a:gd name="connsiteX283" fmla="*/ 71424 w 318517"/>
                <a:gd name="connsiteY283" fmla="*/ 154071 h 292622"/>
                <a:gd name="connsiteX284" fmla="*/ 73481 w 318517"/>
                <a:gd name="connsiteY284" fmla="*/ 153526 h 292622"/>
                <a:gd name="connsiteX285" fmla="*/ 76355 w 318517"/>
                <a:gd name="connsiteY285" fmla="*/ 153193 h 292622"/>
                <a:gd name="connsiteX286" fmla="*/ 82435 w 318517"/>
                <a:gd name="connsiteY286" fmla="*/ 151681 h 292622"/>
                <a:gd name="connsiteX287" fmla="*/ 85824 w 318517"/>
                <a:gd name="connsiteY287" fmla="*/ 151681 h 292622"/>
                <a:gd name="connsiteX288" fmla="*/ 89514 w 318517"/>
                <a:gd name="connsiteY288" fmla="*/ 152739 h 292622"/>
                <a:gd name="connsiteX289" fmla="*/ 95081 w 318517"/>
                <a:gd name="connsiteY289" fmla="*/ 155734 h 292622"/>
                <a:gd name="connsiteX290" fmla="*/ 103460 w 318517"/>
                <a:gd name="connsiteY290" fmla="*/ 160272 h 292622"/>
                <a:gd name="connsiteX291" fmla="*/ 109299 w 318517"/>
                <a:gd name="connsiteY291" fmla="*/ 164931 h 292622"/>
                <a:gd name="connsiteX292" fmla="*/ 111870 w 318517"/>
                <a:gd name="connsiteY292" fmla="*/ 167593 h 292622"/>
                <a:gd name="connsiteX293" fmla="*/ 113020 w 318517"/>
                <a:gd name="connsiteY293" fmla="*/ 169347 h 292622"/>
                <a:gd name="connsiteX294" fmla="*/ 113473 w 318517"/>
                <a:gd name="connsiteY294" fmla="*/ 171163 h 292622"/>
                <a:gd name="connsiteX295" fmla="*/ 113837 w 318517"/>
                <a:gd name="connsiteY295" fmla="*/ 172191 h 292622"/>
                <a:gd name="connsiteX296" fmla="*/ 114684 w 318517"/>
                <a:gd name="connsiteY296" fmla="*/ 173008 h 292622"/>
                <a:gd name="connsiteX297" fmla="*/ 116196 w 318517"/>
                <a:gd name="connsiteY297" fmla="*/ 174037 h 292622"/>
                <a:gd name="connsiteX298" fmla="*/ 116529 w 318517"/>
                <a:gd name="connsiteY298" fmla="*/ 175216 h 292622"/>
                <a:gd name="connsiteX299" fmla="*/ 116529 w 318517"/>
                <a:gd name="connsiteY299" fmla="*/ 176578 h 292622"/>
                <a:gd name="connsiteX300" fmla="*/ 116953 w 318517"/>
                <a:gd name="connsiteY300" fmla="*/ 177273 h 292622"/>
                <a:gd name="connsiteX301" fmla="*/ 118283 w 318517"/>
                <a:gd name="connsiteY301" fmla="*/ 176517 h 292622"/>
                <a:gd name="connsiteX302" fmla="*/ 121913 w 318517"/>
                <a:gd name="connsiteY302" fmla="*/ 180389 h 292622"/>
                <a:gd name="connsiteX303" fmla="*/ 123789 w 318517"/>
                <a:gd name="connsiteY303" fmla="*/ 181448 h 292622"/>
                <a:gd name="connsiteX304" fmla="*/ 124303 w 318517"/>
                <a:gd name="connsiteY304" fmla="*/ 181509 h 292622"/>
                <a:gd name="connsiteX305" fmla="*/ 125423 w 318517"/>
                <a:gd name="connsiteY305" fmla="*/ 181327 h 292622"/>
                <a:gd name="connsiteX306" fmla="*/ 125877 w 318517"/>
                <a:gd name="connsiteY306" fmla="*/ 181448 h 292622"/>
                <a:gd name="connsiteX307" fmla="*/ 126391 w 318517"/>
                <a:gd name="connsiteY307" fmla="*/ 181841 h 292622"/>
                <a:gd name="connsiteX308" fmla="*/ 126966 w 318517"/>
                <a:gd name="connsiteY308" fmla="*/ 182779 h 292622"/>
                <a:gd name="connsiteX309" fmla="*/ 133137 w 318517"/>
                <a:gd name="connsiteY309" fmla="*/ 190251 h 292622"/>
                <a:gd name="connsiteX310" fmla="*/ 134679 w 318517"/>
                <a:gd name="connsiteY310" fmla="*/ 192672 h 292622"/>
                <a:gd name="connsiteX311" fmla="*/ 137554 w 318517"/>
                <a:gd name="connsiteY311" fmla="*/ 191522 h 292622"/>
                <a:gd name="connsiteX312" fmla="*/ 142212 w 318517"/>
                <a:gd name="connsiteY312" fmla="*/ 190735 h 292622"/>
                <a:gd name="connsiteX313" fmla="*/ 146599 w 318517"/>
                <a:gd name="connsiteY313" fmla="*/ 190796 h 292622"/>
                <a:gd name="connsiteX314" fmla="*/ 150047 w 318517"/>
                <a:gd name="connsiteY314" fmla="*/ 190040 h 292622"/>
                <a:gd name="connsiteX315" fmla="*/ 152680 w 318517"/>
                <a:gd name="connsiteY315" fmla="*/ 188678 h 292622"/>
                <a:gd name="connsiteX316" fmla="*/ 153285 w 318517"/>
                <a:gd name="connsiteY316" fmla="*/ 188376 h 292622"/>
                <a:gd name="connsiteX317" fmla="*/ 157005 w 318517"/>
                <a:gd name="connsiteY317" fmla="*/ 185744 h 292622"/>
                <a:gd name="connsiteX318" fmla="*/ 160757 w 318517"/>
                <a:gd name="connsiteY318" fmla="*/ 184564 h 292622"/>
                <a:gd name="connsiteX319" fmla="*/ 164175 w 318517"/>
                <a:gd name="connsiteY319" fmla="*/ 186137 h 292622"/>
                <a:gd name="connsiteX320" fmla="*/ 164931 w 318517"/>
                <a:gd name="connsiteY320" fmla="*/ 187015 h 292622"/>
                <a:gd name="connsiteX321" fmla="*/ 171616 w 318517"/>
                <a:gd name="connsiteY321" fmla="*/ 194850 h 292622"/>
                <a:gd name="connsiteX322" fmla="*/ 172645 w 318517"/>
                <a:gd name="connsiteY322" fmla="*/ 196846 h 292622"/>
                <a:gd name="connsiteX323" fmla="*/ 173069 w 318517"/>
                <a:gd name="connsiteY323" fmla="*/ 199055 h 292622"/>
                <a:gd name="connsiteX324" fmla="*/ 172918 w 318517"/>
                <a:gd name="connsiteY324" fmla="*/ 201868 h 292622"/>
                <a:gd name="connsiteX325" fmla="*/ 171919 w 318517"/>
                <a:gd name="connsiteY325" fmla="*/ 206164 h 292622"/>
                <a:gd name="connsiteX326" fmla="*/ 172313 w 318517"/>
                <a:gd name="connsiteY326" fmla="*/ 207918 h 292622"/>
                <a:gd name="connsiteX327" fmla="*/ 174279 w 318517"/>
                <a:gd name="connsiteY327" fmla="*/ 209068 h 292622"/>
                <a:gd name="connsiteX328" fmla="*/ 177969 w 318517"/>
                <a:gd name="connsiteY328" fmla="*/ 208251 h 292622"/>
                <a:gd name="connsiteX329" fmla="*/ 180813 w 318517"/>
                <a:gd name="connsiteY329" fmla="*/ 205801 h 292622"/>
                <a:gd name="connsiteX330" fmla="*/ 183506 w 318517"/>
                <a:gd name="connsiteY330" fmla="*/ 204953 h 292622"/>
                <a:gd name="connsiteX331" fmla="*/ 184141 w 318517"/>
                <a:gd name="connsiteY331" fmla="*/ 205770 h 292622"/>
                <a:gd name="connsiteX332" fmla="*/ 186652 w 318517"/>
                <a:gd name="connsiteY332" fmla="*/ 209007 h 292622"/>
                <a:gd name="connsiteX333" fmla="*/ 187831 w 318517"/>
                <a:gd name="connsiteY333" fmla="*/ 211488 h 292622"/>
                <a:gd name="connsiteX334" fmla="*/ 188830 w 318517"/>
                <a:gd name="connsiteY334" fmla="*/ 212849 h 292622"/>
                <a:gd name="connsiteX335" fmla="*/ 190282 w 318517"/>
                <a:gd name="connsiteY335" fmla="*/ 213394 h 292622"/>
                <a:gd name="connsiteX336" fmla="*/ 195061 w 318517"/>
                <a:gd name="connsiteY336" fmla="*/ 213787 h 292622"/>
                <a:gd name="connsiteX337" fmla="*/ 196816 w 318517"/>
                <a:gd name="connsiteY337" fmla="*/ 214634 h 292622"/>
                <a:gd name="connsiteX338" fmla="*/ 199993 w 318517"/>
                <a:gd name="connsiteY338" fmla="*/ 217629 h 292622"/>
                <a:gd name="connsiteX339" fmla="*/ 200023 w 318517"/>
                <a:gd name="connsiteY339" fmla="*/ 217629 h 292622"/>
                <a:gd name="connsiteX340" fmla="*/ 201111 w 318517"/>
                <a:gd name="connsiteY340" fmla="*/ 218234 h 292622"/>
                <a:gd name="connsiteX341" fmla="*/ 202261 w 318517"/>
                <a:gd name="connsiteY341" fmla="*/ 218385 h 292622"/>
                <a:gd name="connsiteX342" fmla="*/ 203380 w 318517"/>
                <a:gd name="connsiteY342" fmla="*/ 218173 h 292622"/>
                <a:gd name="connsiteX343" fmla="*/ 204530 w 318517"/>
                <a:gd name="connsiteY343" fmla="*/ 217629 h 292622"/>
                <a:gd name="connsiteX344" fmla="*/ 205589 w 318517"/>
                <a:gd name="connsiteY344" fmla="*/ 217205 h 292622"/>
                <a:gd name="connsiteX345" fmla="*/ 213697 w 318517"/>
                <a:gd name="connsiteY345" fmla="*/ 212456 h 292622"/>
                <a:gd name="connsiteX346" fmla="*/ 216389 w 318517"/>
                <a:gd name="connsiteY346" fmla="*/ 211427 h 292622"/>
                <a:gd name="connsiteX347" fmla="*/ 228731 w 318517"/>
                <a:gd name="connsiteY347" fmla="*/ 208644 h 292622"/>
                <a:gd name="connsiteX348" fmla="*/ 229276 w 318517"/>
                <a:gd name="connsiteY348" fmla="*/ 208523 h 292622"/>
                <a:gd name="connsiteX349" fmla="*/ 231605 w 318517"/>
                <a:gd name="connsiteY349" fmla="*/ 208523 h 292622"/>
                <a:gd name="connsiteX350" fmla="*/ 234388 w 318517"/>
                <a:gd name="connsiteY350" fmla="*/ 209461 h 292622"/>
                <a:gd name="connsiteX351" fmla="*/ 236657 w 318517"/>
                <a:gd name="connsiteY351" fmla="*/ 210973 h 292622"/>
                <a:gd name="connsiteX352" fmla="*/ 237565 w 318517"/>
                <a:gd name="connsiteY352" fmla="*/ 212486 h 292622"/>
                <a:gd name="connsiteX353" fmla="*/ 237565 w 318517"/>
                <a:gd name="connsiteY353" fmla="*/ 214513 h 292622"/>
                <a:gd name="connsiteX354" fmla="*/ 237263 w 318517"/>
                <a:gd name="connsiteY354" fmla="*/ 217568 h 292622"/>
                <a:gd name="connsiteX355" fmla="*/ 237263 w 318517"/>
                <a:gd name="connsiteY355" fmla="*/ 217568 h 292622"/>
                <a:gd name="connsiteX356" fmla="*/ 238169 w 318517"/>
                <a:gd name="connsiteY356" fmla="*/ 223044 h 292622"/>
                <a:gd name="connsiteX357" fmla="*/ 237716 w 318517"/>
                <a:gd name="connsiteY357" fmla="*/ 224919 h 292622"/>
                <a:gd name="connsiteX358" fmla="*/ 234328 w 318517"/>
                <a:gd name="connsiteY358" fmla="*/ 230062 h 292622"/>
                <a:gd name="connsiteX359" fmla="*/ 233692 w 318517"/>
                <a:gd name="connsiteY359" fmla="*/ 232452 h 292622"/>
                <a:gd name="connsiteX360" fmla="*/ 234268 w 318517"/>
                <a:gd name="connsiteY360" fmla="*/ 233662 h 292622"/>
                <a:gd name="connsiteX361" fmla="*/ 234539 w 318517"/>
                <a:gd name="connsiteY361" fmla="*/ 234237 h 292622"/>
                <a:gd name="connsiteX362" fmla="*/ 240227 w 318517"/>
                <a:gd name="connsiteY362" fmla="*/ 235568 h 292622"/>
                <a:gd name="connsiteX363" fmla="*/ 242284 w 318517"/>
                <a:gd name="connsiteY363" fmla="*/ 237111 h 292622"/>
                <a:gd name="connsiteX364" fmla="*/ 244190 w 318517"/>
                <a:gd name="connsiteY364" fmla="*/ 239017 h 292622"/>
                <a:gd name="connsiteX365" fmla="*/ 246610 w 318517"/>
                <a:gd name="connsiteY365" fmla="*/ 240741 h 292622"/>
                <a:gd name="connsiteX366" fmla="*/ 248062 w 318517"/>
                <a:gd name="connsiteY366" fmla="*/ 241407 h 292622"/>
                <a:gd name="connsiteX367" fmla="*/ 253810 w 318517"/>
                <a:gd name="connsiteY367" fmla="*/ 244008 h 292622"/>
                <a:gd name="connsiteX368" fmla="*/ 255867 w 318517"/>
                <a:gd name="connsiteY368" fmla="*/ 245823 h 292622"/>
                <a:gd name="connsiteX369" fmla="*/ 256532 w 318517"/>
                <a:gd name="connsiteY369" fmla="*/ 246761 h 292622"/>
                <a:gd name="connsiteX370" fmla="*/ 256744 w 318517"/>
                <a:gd name="connsiteY370" fmla="*/ 247668 h 292622"/>
                <a:gd name="connsiteX371" fmla="*/ 256532 w 318517"/>
                <a:gd name="connsiteY371" fmla="*/ 248546 h 292622"/>
                <a:gd name="connsiteX372" fmla="*/ 255837 w 318517"/>
                <a:gd name="connsiteY372" fmla="*/ 249332 h 292622"/>
                <a:gd name="connsiteX373" fmla="*/ 253416 w 318517"/>
                <a:gd name="connsiteY373" fmla="*/ 252297 h 292622"/>
                <a:gd name="connsiteX374" fmla="*/ 252781 w 318517"/>
                <a:gd name="connsiteY374" fmla="*/ 255322 h 292622"/>
                <a:gd name="connsiteX375" fmla="*/ 253719 w 318517"/>
                <a:gd name="connsiteY375" fmla="*/ 258438 h 292622"/>
                <a:gd name="connsiteX376" fmla="*/ 255837 w 318517"/>
                <a:gd name="connsiteY376" fmla="*/ 261675 h 292622"/>
                <a:gd name="connsiteX377" fmla="*/ 258439 w 318517"/>
                <a:gd name="connsiteY377" fmla="*/ 265124 h 292622"/>
                <a:gd name="connsiteX378" fmla="*/ 260465 w 318517"/>
                <a:gd name="connsiteY378" fmla="*/ 268875 h 292622"/>
                <a:gd name="connsiteX379" fmla="*/ 265699 w 318517"/>
                <a:gd name="connsiteY379" fmla="*/ 282337 h 292622"/>
                <a:gd name="connsiteX380" fmla="*/ 271567 w 318517"/>
                <a:gd name="connsiteY380" fmla="*/ 292622 h 292622"/>
                <a:gd name="connsiteX381" fmla="*/ 278283 w 318517"/>
                <a:gd name="connsiteY381" fmla="*/ 291806 h 292622"/>
                <a:gd name="connsiteX382" fmla="*/ 280038 w 318517"/>
                <a:gd name="connsiteY382" fmla="*/ 291049 h 292622"/>
                <a:gd name="connsiteX383" fmla="*/ 285271 w 318517"/>
                <a:gd name="connsiteY383" fmla="*/ 287570 h 292622"/>
                <a:gd name="connsiteX384" fmla="*/ 287208 w 318517"/>
                <a:gd name="connsiteY384" fmla="*/ 286693 h 292622"/>
                <a:gd name="connsiteX385" fmla="*/ 288539 w 318517"/>
                <a:gd name="connsiteY385" fmla="*/ 286421 h 292622"/>
                <a:gd name="connsiteX386" fmla="*/ 292441 w 318517"/>
                <a:gd name="connsiteY386" fmla="*/ 286269 h 292622"/>
                <a:gd name="connsiteX387" fmla="*/ 294891 w 318517"/>
                <a:gd name="connsiteY387" fmla="*/ 285543 h 292622"/>
                <a:gd name="connsiteX388" fmla="*/ 295950 w 318517"/>
                <a:gd name="connsiteY388" fmla="*/ 285422 h 292622"/>
                <a:gd name="connsiteX389" fmla="*/ 297311 w 318517"/>
                <a:gd name="connsiteY389" fmla="*/ 285695 h 292622"/>
                <a:gd name="connsiteX390" fmla="*/ 307808 w 318517"/>
                <a:gd name="connsiteY390" fmla="*/ 289990 h 292622"/>
                <a:gd name="connsiteX391" fmla="*/ 309624 w 318517"/>
                <a:gd name="connsiteY391" fmla="*/ 290444 h 292622"/>
                <a:gd name="connsiteX392" fmla="*/ 306115 w 318517"/>
                <a:gd name="connsiteY392" fmla="*/ 283668 h 292622"/>
                <a:gd name="connsiteX393" fmla="*/ 305691 w 318517"/>
                <a:gd name="connsiteY393" fmla="*/ 282276 h 292622"/>
                <a:gd name="connsiteX394" fmla="*/ 305600 w 318517"/>
                <a:gd name="connsiteY394" fmla="*/ 280824 h 292622"/>
                <a:gd name="connsiteX395" fmla="*/ 305782 w 318517"/>
                <a:gd name="connsiteY395" fmla="*/ 279342 h 292622"/>
                <a:gd name="connsiteX396" fmla="*/ 306145 w 318517"/>
                <a:gd name="connsiteY396" fmla="*/ 277920 h 292622"/>
                <a:gd name="connsiteX397" fmla="*/ 306296 w 318517"/>
                <a:gd name="connsiteY397" fmla="*/ 277587 h 292622"/>
                <a:gd name="connsiteX398" fmla="*/ 306356 w 318517"/>
                <a:gd name="connsiteY398" fmla="*/ 277194 h 292622"/>
                <a:gd name="connsiteX399" fmla="*/ 307688 w 318517"/>
                <a:gd name="connsiteY399" fmla="*/ 273412 h 292622"/>
                <a:gd name="connsiteX400" fmla="*/ 307960 w 318517"/>
                <a:gd name="connsiteY400" fmla="*/ 270085 h 292622"/>
                <a:gd name="connsiteX401" fmla="*/ 307415 w 318517"/>
                <a:gd name="connsiteY401" fmla="*/ 266697 h 292622"/>
                <a:gd name="connsiteX402" fmla="*/ 306145 w 318517"/>
                <a:gd name="connsiteY402" fmla="*/ 262794 h 292622"/>
                <a:gd name="connsiteX403" fmla="*/ 303725 w 318517"/>
                <a:gd name="connsiteY403" fmla="*/ 260979 h 292622"/>
                <a:gd name="connsiteX404" fmla="*/ 300367 w 318517"/>
                <a:gd name="connsiteY404" fmla="*/ 259225 h 292622"/>
                <a:gd name="connsiteX405" fmla="*/ 297796 w 318517"/>
                <a:gd name="connsiteY405" fmla="*/ 256865 h 292622"/>
                <a:gd name="connsiteX406" fmla="*/ 297675 w 318517"/>
                <a:gd name="connsiteY406" fmla="*/ 253205 h 292622"/>
                <a:gd name="connsiteX407" fmla="*/ 300004 w 318517"/>
                <a:gd name="connsiteY407" fmla="*/ 251208 h 292622"/>
                <a:gd name="connsiteX408" fmla="*/ 303513 w 318517"/>
                <a:gd name="connsiteY408" fmla="*/ 251632 h 292622"/>
                <a:gd name="connsiteX409" fmla="*/ 309624 w 318517"/>
                <a:gd name="connsiteY409" fmla="*/ 254475 h 292622"/>
                <a:gd name="connsiteX410" fmla="*/ 310864 w 318517"/>
                <a:gd name="connsiteY410" fmla="*/ 254324 h 292622"/>
                <a:gd name="connsiteX411" fmla="*/ 315523 w 318517"/>
                <a:gd name="connsiteY411" fmla="*/ 251269 h 292622"/>
                <a:gd name="connsiteX412" fmla="*/ 317640 w 318517"/>
                <a:gd name="connsiteY412" fmla="*/ 251208 h 292622"/>
                <a:gd name="connsiteX413" fmla="*/ 318517 w 318517"/>
                <a:gd name="connsiteY413" fmla="*/ 250815 h 292622"/>
                <a:gd name="connsiteX414" fmla="*/ 318185 w 318517"/>
                <a:gd name="connsiteY414" fmla="*/ 249998 h 292622"/>
                <a:gd name="connsiteX415" fmla="*/ 158881 w 318517"/>
                <a:gd name="connsiteY415" fmla="*/ 32763 h 292622"/>
                <a:gd name="connsiteX416" fmla="*/ 155220 w 318517"/>
                <a:gd name="connsiteY416" fmla="*/ 31613 h 292622"/>
                <a:gd name="connsiteX417" fmla="*/ 153980 w 318517"/>
                <a:gd name="connsiteY417" fmla="*/ 30131 h 292622"/>
                <a:gd name="connsiteX418" fmla="*/ 153345 w 318517"/>
                <a:gd name="connsiteY418" fmla="*/ 28285 h 292622"/>
                <a:gd name="connsiteX419" fmla="*/ 153677 w 318517"/>
                <a:gd name="connsiteY419" fmla="*/ 26591 h 292622"/>
                <a:gd name="connsiteX420" fmla="*/ 155251 w 318517"/>
                <a:gd name="connsiteY420" fmla="*/ 25563 h 292622"/>
                <a:gd name="connsiteX421" fmla="*/ 159214 w 318517"/>
                <a:gd name="connsiteY421" fmla="*/ 26440 h 292622"/>
                <a:gd name="connsiteX422" fmla="*/ 160333 w 318517"/>
                <a:gd name="connsiteY422" fmla="*/ 29919 h 292622"/>
                <a:gd name="connsiteX423" fmla="*/ 158911 w 318517"/>
                <a:gd name="connsiteY423" fmla="*/ 32732 h 292622"/>
                <a:gd name="connsiteX424" fmla="*/ 178423 w 318517"/>
                <a:gd name="connsiteY424" fmla="*/ 39509 h 292622"/>
                <a:gd name="connsiteX425" fmla="*/ 176094 w 318517"/>
                <a:gd name="connsiteY425" fmla="*/ 39146 h 292622"/>
                <a:gd name="connsiteX426" fmla="*/ 175126 w 318517"/>
                <a:gd name="connsiteY426" fmla="*/ 36332 h 292622"/>
                <a:gd name="connsiteX427" fmla="*/ 175428 w 318517"/>
                <a:gd name="connsiteY427" fmla="*/ 36030 h 292622"/>
                <a:gd name="connsiteX428" fmla="*/ 175761 w 318517"/>
                <a:gd name="connsiteY428" fmla="*/ 35848 h 292622"/>
                <a:gd name="connsiteX429" fmla="*/ 176154 w 318517"/>
                <a:gd name="connsiteY429" fmla="*/ 35788 h 292622"/>
                <a:gd name="connsiteX430" fmla="*/ 176578 w 318517"/>
                <a:gd name="connsiteY430" fmla="*/ 35878 h 292622"/>
                <a:gd name="connsiteX431" fmla="*/ 179452 w 318517"/>
                <a:gd name="connsiteY431" fmla="*/ 38177 h 292622"/>
                <a:gd name="connsiteX432" fmla="*/ 178393 w 318517"/>
                <a:gd name="connsiteY432" fmla="*/ 39539 h 29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Lst>
              <a:rect l="l" t="t" r="r" b="b"/>
              <a:pathLst>
                <a:path w="318517" h="292622">
                  <a:moveTo>
                    <a:pt x="209612" y="77020"/>
                  </a:moveTo>
                  <a:lnTo>
                    <a:pt x="208160" y="77020"/>
                  </a:lnTo>
                  <a:lnTo>
                    <a:pt x="206769" y="77414"/>
                  </a:lnTo>
                  <a:lnTo>
                    <a:pt x="205499" y="78260"/>
                  </a:lnTo>
                  <a:lnTo>
                    <a:pt x="204893" y="79471"/>
                  </a:lnTo>
                  <a:lnTo>
                    <a:pt x="204682" y="80741"/>
                  </a:lnTo>
                  <a:lnTo>
                    <a:pt x="204893" y="82012"/>
                  </a:lnTo>
                  <a:lnTo>
                    <a:pt x="205499" y="83191"/>
                  </a:lnTo>
                  <a:lnTo>
                    <a:pt x="208947" y="84129"/>
                  </a:lnTo>
                  <a:lnTo>
                    <a:pt x="212335" y="81739"/>
                  </a:lnTo>
                  <a:lnTo>
                    <a:pt x="213697" y="78563"/>
                  </a:lnTo>
                  <a:lnTo>
                    <a:pt x="211064" y="77202"/>
                  </a:lnTo>
                  <a:lnTo>
                    <a:pt x="209612" y="77020"/>
                  </a:lnTo>
                  <a:close/>
                  <a:moveTo>
                    <a:pt x="318215" y="250028"/>
                  </a:moveTo>
                  <a:lnTo>
                    <a:pt x="318094" y="249726"/>
                  </a:lnTo>
                  <a:lnTo>
                    <a:pt x="317399" y="249000"/>
                  </a:lnTo>
                  <a:lnTo>
                    <a:pt x="316733" y="248455"/>
                  </a:lnTo>
                  <a:lnTo>
                    <a:pt x="312437" y="245672"/>
                  </a:lnTo>
                  <a:lnTo>
                    <a:pt x="309987" y="243312"/>
                  </a:lnTo>
                  <a:lnTo>
                    <a:pt x="309019" y="241528"/>
                  </a:lnTo>
                  <a:lnTo>
                    <a:pt x="308504" y="239652"/>
                  </a:lnTo>
                  <a:lnTo>
                    <a:pt x="307778" y="237928"/>
                  </a:lnTo>
                  <a:lnTo>
                    <a:pt x="306175" y="236717"/>
                  </a:lnTo>
                  <a:lnTo>
                    <a:pt x="298945" y="233723"/>
                  </a:lnTo>
                  <a:lnTo>
                    <a:pt x="295647" y="231363"/>
                  </a:lnTo>
                  <a:lnTo>
                    <a:pt x="294256" y="227612"/>
                  </a:lnTo>
                  <a:lnTo>
                    <a:pt x="295587" y="224526"/>
                  </a:lnTo>
                  <a:lnTo>
                    <a:pt x="298763" y="222711"/>
                  </a:lnTo>
                  <a:lnTo>
                    <a:pt x="306145" y="221441"/>
                  </a:lnTo>
                  <a:lnTo>
                    <a:pt x="306145" y="221441"/>
                  </a:lnTo>
                  <a:lnTo>
                    <a:pt x="307355" y="220896"/>
                  </a:lnTo>
                  <a:lnTo>
                    <a:pt x="308051" y="220019"/>
                  </a:lnTo>
                  <a:lnTo>
                    <a:pt x="308051" y="218899"/>
                  </a:lnTo>
                  <a:lnTo>
                    <a:pt x="307415" y="217629"/>
                  </a:lnTo>
                  <a:lnTo>
                    <a:pt x="307415" y="215663"/>
                  </a:lnTo>
                  <a:lnTo>
                    <a:pt x="308625" y="214664"/>
                  </a:lnTo>
                  <a:lnTo>
                    <a:pt x="310077" y="213848"/>
                  </a:lnTo>
                  <a:lnTo>
                    <a:pt x="310985" y="212335"/>
                  </a:lnTo>
                  <a:lnTo>
                    <a:pt x="310683" y="210369"/>
                  </a:lnTo>
                  <a:lnTo>
                    <a:pt x="309472" y="208826"/>
                  </a:lnTo>
                  <a:lnTo>
                    <a:pt x="307808" y="207828"/>
                  </a:lnTo>
                  <a:lnTo>
                    <a:pt x="306175" y="207495"/>
                  </a:lnTo>
                  <a:lnTo>
                    <a:pt x="299822" y="208039"/>
                  </a:lnTo>
                  <a:lnTo>
                    <a:pt x="297826" y="207737"/>
                  </a:lnTo>
                  <a:lnTo>
                    <a:pt x="296313" y="206739"/>
                  </a:lnTo>
                  <a:lnTo>
                    <a:pt x="293954" y="203774"/>
                  </a:lnTo>
                  <a:lnTo>
                    <a:pt x="292532" y="202715"/>
                  </a:lnTo>
                  <a:lnTo>
                    <a:pt x="289083" y="202473"/>
                  </a:lnTo>
                  <a:lnTo>
                    <a:pt x="282216" y="205710"/>
                  </a:lnTo>
                  <a:lnTo>
                    <a:pt x="278707" y="206405"/>
                  </a:lnTo>
                  <a:lnTo>
                    <a:pt x="276468" y="205770"/>
                  </a:lnTo>
                  <a:lnTo>
                    <a:pt x="274986" y="204470"/>
                  </a:lnTo>
                  <a:lnTo>
                    <a:pt x="272626" y="200355"/>
                  </a:lnTo>
                  <a:lnTo>
                    <a:pt x="271174" y="198692"/>
                  </a:lnTo>
                  <a:lnTo>
                    <a:pt x="269419" y="197784"/>
                  </a:lnTo>
                  <a:lnTo>
                    <a:pt x="265608" y="196786"/>
                  </a:lnTo>
                  <a:lnTo>
                    <a:pt x="262431" y="194456"/>
                  </a:lnTo>
                  <a:lnTo>
                    <a:pt x="258560" y="187226"/>
                  </a:lnTo>
                  <a:lnTo>
                    <a:pt x="255806" y="184746"/>
                  </a:lnTo>
                  <a:lnTo>
                    <a:pt x="249454" y="182991"/>
                  </a:lnTo>
                  <a:lnTo>
                    <a:pt x="246126" y="181418"/>
                  </a:lnTo>
                  <a:lnTo>
                    <a:pt x="243978" y="180420"/>
                  </a:lnTo>
                  <a:lnTo>
                    <a:pt x="239441" y="176245"/>
                  </a:lnTo>
                  <a:lnTo>
                    <a:pt x="238684" y="174793"/>
                  </a:lnTo>
                  <a:lnTo>
                    <a:pt x="234177" y="166292"/>
                  </a:lnTo>
                  <a:lnTo>
                    <a:pt x="231999" y="164084"/>
                  </a:lnTo>
                  <a:lnTo>
                    <a:pt x="229245" y="162844"/>
                  </a:lnTo>
                  <a:lnTo>
                    <a:pt x="218748" y="161845"/>
                  </a:lnTo>
                  <a:lnTo>
                    <a:pt x="215572" y="160514"/>
                  </a:lnTo>
                  <a:lnTo>
                    <a:pt x="215391" y="158850"/>
                  </a:lnTo>
                  <a:lnTo>
                    <a:pt x="215239" y="157640"/>
                  </a:lnTo>
                  <a:lnTo>
                    <a:pt x="221622" y="153828"/>
                  </a:lnTo>
                  <a:lnTo>
                    <a:pt x="238140" y="156370"/>
                  </a:lnTo>
                  <a:lnTo>
                    <a:pt x="245158" y="155734"/>
                  </a:lnTo>
                  <a:lnTo>
                    <a:pt x="246519" y="154676"/>
                  </a:lnTo>
                  <a:lnTo>
                    <a:pt x="247185" y="153405"/>
                  </a:lnTo>
                  <a:lnTo>
                    <a:pt x="248395" y="147869"/>
                  </a:lnTo>
                  <a:lnTo>
                    <a:pt x="248757" y="146962"/>
                  </a:lnTo>
                  <a:lnTo>
                    <a:pt x="250997" y="145177"/>
                  </a:lnTo>
                  <a:lnTo>
                    <a:pt x="252902" y="142817"/>
                  </a:lnTo>
                  <a:lnTo>
                    <a:pt x="254112" y="139852"/>
                  </a:lnTo>
                  <a:lnTo>
                    <a:pt x="255927" y="132108"/>
                  </a:lnTo>
                  <a:lnTo>
                    <a:pt x="255988" y="131382"/>
                  </a:lnTo>
                  <a:lnTo>
                    <a:pt x="255927" y="130686"/>
                  </a:lnTo>
                  <a:lnTo>
                    <a:pt x="255746" y="129960"/>
                  </a:lnTo>
                  <a:lnTo>
                    <a:pt x="253175" y="126814"/>
                  </a:lnTo>
                  <a:lnTo>
                    <a:pt x="251723" y="125513"/>
                  </a:lnTo>
                  <a:lnTo>
                    <a:pt x="250241" y="124787"/>
                  </a:lnTo>
                  <a:lnTo>
                    <a:pt x="248031" y="124908"/>
                  </a:lnTo>
                  <a:lnTo>
                    <a:pt x="246610" y="125302"/>
                  </a:lnTo>
                  <a:lnTo>
                    <a:pt x="245944" y="125483"/>
                  </a:lnTo>
                  <a:lnTo>
                    <a:pt x="243948" y="125392"/>
                  </a:lnTo>
                  <a:lnTo>
                    <a:pt x="239653" y="121036"/>
                  </a:lnTo>
                  <a:lnTo>
                    <a:pt x="239562" y="120945"/>
                  </a:lnTo>
                  <a:lnTo>
                    <a:pt x="216117" y="108724"/>
                  </a:lnTo>
                  <a:lnTo>
                    <a:pt x="210157" y="103611"/>
                  </a:lnTo>
                  <a:lnTo>
                    <a:pt x="206890" y="97228"/>
                  </a:lnTo>
                  <a:lnTo>
                    <a:pt x="206043" y="95806"/>
                  </a:lnTo>
                  <a:lnTo>
                    <a:pt x="203956" y="94536"/>
                  </a:lnTo>
                  <a:lnTo>
                    <a:pt x="203018" y="93568"/>
                  </a:lnTo>
                  <a:lnTo>
                    <a:pt x="202564" y="92267"/>
                  </a:lnTo>
                  <a:lnTo>
                    <a:pt x="202352" y="89574"/>
                  </a:lnTo>
                  <a:lnTo>
                    <a:pt x="201959" y="88365"/>
                  </a:lnTo>
                  <a:lnTo>
                    <a:pt x="200205" y="86338"/>
                  </a:lnTo>
                  <a:lnTo>
                    <a:pt x="198147" y="84855"/>
                  </a:lnTo>
                  <a:lnTo>
                    <a:pt x="196211" y="83101"/>
                  </a:lnTo>
                  <a:lnTo>
                    <a:pt x="194789" y="80287"/>
                  </a:lnTo>
                  <a:lnTo>
                    <a:pt x="194789" y="75115"/>
                  </a:lnTo>
                  <a:lnTo>
                    <a:pt x="197330" y="71030"/>
                  </a:lnTo>
                  <a:lnTo>
                    <a:pt x="201263" y="68066"/>
                  </a:lnTo>
                  <a:lnTo>
                    <a:pt x="205317" y="66281"/>
                  </a:lnTo>
                  <a:lnTo>
                    <a:pt x="213122" y="62802"/>
                  </a:lnTo>
                  <a:lnTo>
                    <a:pt x="215784" y="60019"/>
                  </a:lnTo>
                  <a:lnTo>
                    <a:pt x="217660" y="54997"/>
                  </a:lnTo>
                  <a:lnTo>
                    <a:pt x="217478" y="52305"/>
                  </a:lnTo>
                  <a:lnTo>
                    <a:pt x="215723" y="51458"/>
                  </a:lnTo>
                  <a:lnTo>
                    <a:pt x="213363" y="51307"/>
                  </a:lnTo>
                  <a:lnTo>
                    <a:pt x="211307" y="50701"/>
                  </a:lnTo>
                  <a:lnTo>
                    <a:pt x="209733" y="49219"/>
                  </a:lnTo>
                  <a:lnTo>
                    <a:pt x="205408" y="44107"/>
                  </a:lnTo>
                  <a:lnTo>
                    <a:pt x="202745" y="42110"/>
                  </a:lnTo>
                  <a:lnTo>
                    <a:pt x="201747" y="41868"/>
                  </a:lnTo>
                  <a:lnTo>
                    <a:pt x="200326" y="41535"/>
                  </a:lnTo>
                  <a:lnTo>
                    <a:pt x="199085" y="40295"/>
                  </a:lnTo>
                  <a:lnTo>
                    <a:pt x="199962" y="36332"/>
                  </a:lnTo>
                  <a:lnTo>
                    <a:pt x="199357" y="33458"/>
                  </a:lnTo>
                  <a:lnTo>
                    <a:pt x="196574" y="33730"/>
                  </a:lnTo>
                  <a:lnTo>
                    <a:pt x="195637" y="34184"/>
                  </a:lnTo>
                  <a:lnTo>
                    <a:pt x="190947" y="36332"/>
                  </a:lnTo>
                  <a:lnTo>
                    <a:pt x="188648" y="35999"/>
                  </a:lnTo>
                  <a:lnTo>
                    <a:pt x="184232" y="34335"/>
                  </a:lnTo>
                  <a:lnTo>
                    <a:pt x="179482" y="33821"/>
                  </a:lnTo>
                  <a:lnTo>
                    <a:pt x="177818" y="32551"/>
                  </a:lnTo>
                  <a:lnTo>
                    <a:pt x="176275" y="31008"/>
                  </a:lnTo>
                  <a:lnTo>
                    <a:pt x="174218" y="29828"/>
                  </a:lnTo>
                  <a:lnTo>
                    <a:pt x="170921" y="26682"/>
                  </a:lnTo>
                  <a:lnTo>
                    <a:pt x="169257" y="25865"/>
                  </a:lnTo>
                  <a:lnTo>
                    <a:pt x="168955" y="28073"/>
                  </a:lnTo>
                  <a:lnTo>
                    <a:pt x="168350" y="29525"/>
                  </a:lnTo>
                  <a:lnTo>
                    <a:pt x="166413" y="29344"/>
                  </a:lnTo>
                  <a:lnTo>
                    <a:pt x="164235" y="27983"/>
                  </a:lnTo>
                  <a:lnTo>
                    <a:pt x="162935" y="25956"/>
                  </a:lnTo>
                  <a:lnTo>
                    <a:pt x="164024" y="22023"/>
                  </a:lnTo>
                  <a:lnTo>
                    <a:pt x="173976" y="22416"/>
                  </a:lnTo>
                  <a:lnTo>
                    <a:pt x="177425" y="20087"/>
                  </a:lnTo>
                  <a:lnTo>
                    <a:pt x="177304" y="18121"/>
                  </a:lnTo>
                  <a:lnTo>
                    <a:pt x="176003" y="16396"/>
                  </a:lnTo>
                  <a:lnTo>
                    <a:pt x="170709" y="12585"/>
                  </a:lnTo>
                  <a:lnTo>
                    <a:pt x="168985" y="12070"/>
                  </a:lnTo>
                  <a:lnTo>
                    <a:pt x="162421" y="12070"/>
                  </a:lnTo>
                  <a:lnTo>
                    <a:pt x="160696" y="11375"/>
                  </a:lnTo>
                  <a:lnTo>
                    <a:pt x="160121" y="9862"/>
                  </a:lnTo>
                  <a:lnTo>
                    <a:pt x="161149" y="7260"/>
                  </a:lnTo>
                  <a:lnTo>
                    <a:pt x="157429" y="0"/>
                  </a:lnTo>
                  <a:lnTo>
                    <a:pt x="156189" y="726"/>
                  </a:lnTo>
                  <a:lnTo>
                    <a:pt x="153920" y="2632"/>
                  </a:lnTo>
                  <a:lnTo>
                    <a:pt x="152680" y="3388"/>
                  </a:lnTo>
                  <a:lnTo>
                    <a:pt x="148868" y="3509"/>
                  </a:lnTo>
                  <a:lnTo>
                    <a:pt x="139157" y="2088"/>
                  </a:lnTo>
                  <a:lnTo>
                    <a:pt x="137191" y="3903"/>
                  </a:lnTo>
                  <a:lnTo>
                    <a:pt x="138038" y="5627"/>
                  </a:lnTo>
                  <a:lnTo>
                    <a:pt x="141819" y="7291"/>
                  </a:lnTo>
                  <a:lnTo>
                    <a:pt x="142515" y="8168"/>
                  </a:lnTo>
                  <a:lnTo>
                    <a:pt x="142908" y="8682"/>
                  </a:lnTo>
                  <a:lnTo>
                    <a:pt x="141910" y="9953"/>
                  </a:lnTo>
                  <a:lnTo>
                    <a:pt x="139278" y="10286"/>
                  </a:lnTo>
                  <a:lnTo>
                    <a:pt x="124515" y="10013"/>
                  </a:lnTo>
                  <a:lnTo>
                    <a:pt x="120310" y="8471"/>
                  </a:lnTo>
                  <a:lnTo>
                    <a:pt x="118283" y="8228"/>
                  </a:lnTo>
                  <a:lnTo>
                    <a:pt x="116136" y="9136"/>
                  </a:lnTo>
                  <a:lnTo>
                    <a:pt x="114835" y="10709"/>
                  </a:lnTo>
                  <a:lnTo>
                    <a:pt x="113594" y="12676"/>
                  </a:lnTo>
                  <a:lnTo>
                    <a:pt x="112112" y="13886"/>
                  </a:lnTo>
                  <a:lnTo>
                    <a:pt x="110055" y="13341"/>
                  </a:lnTo>
                  <a:lnTo>
                    <a:pt x="109511" y="12403"/>
                  </a:lnTo>
                  <a:lnTo>
                    <a:pt x="109147" y="11163"/>
                  </a:lnTo>
                  <a:lnTo>
                    <a:pt x="108603" y="10255"/>
                  </a:lnTo>
                  <a:lnTo>
                    <a:pt x="107544" y="10255"/>
                  </a:lnTo>
                  <a:lnTo>
                    <a:pt x="106879" y="10739"/>
                  </a:lnTo>
                  <a:lnTo>
                    <a:pt x="104852" y="12827"/>
                  </a:lnTo>
                  <a:lnTo>
                    <a:pt x="102401" y="13462"/>
                  </a:lnTo>
                  <a:lnTo>
                    <a:pt x="100163" y="13311"/>
                  </a:lnTo>
                  <a:lnTo>
                    <a:pt x="97955" y="12554"/>
                  </a:lnTo>
                  <a:lnTo>
                    <a:pt x="92600" y="9560"/>
                  </a:lnTo>
                  <a:lnTo>
                    <a:pt x="91360" y="9408"/>
                  </a:lnTo>
                  <a:lnTo>
                    <a:pt x="90180" y="9771"/>
                  </a:lnTo>
                  <a:lnTo>
                    <a:pt x="89363" y="10437"/>
                  </a:lnTo>
                  <a:lnTo>
                    <a:pt x="88637" y="11193"/>
                  </a:lnTo>
                  <a:lnTo>
                    <a:pt x="87699" y="11768"/>
                  </a:lnTo>
                  <a:lnTo>
                    <a:pt x="85340" y="12131"/>
                  </a:lnTo>
                  <a:lnTo>
                    <a:pt x="83494" y="11465"/>
                  </a:lnTo>
                  <a:lnTo>
                    <a:pt x="78623" y="8349"/>
                  </a:lnTo>
                  <a:lnTo>
                    <a:pt x="75871" y="7321"/>
                  </a:lnTo>
                  <a:lnTo>
                    <a:pt x="74812" y="7321"/>
                  </a:lnTo>
                  <a:lnTo>
                    <a:pt x="73632" y="8108"/>
                  </a:lnTo>
                  <a:lnTo>
                    <a:pt x="73360" y="9015"/>
                  </a:lnTo>
                  <a:lnTo>
                    <a:pt x="73299" y="10074"/>
                  </a:lnTo>
                  <a:lnTo>
                    <a:pt x="72785" y="11284"/>
                  </a:lnTo>
                  <a:lnTo>
                    <a:pt x="71212" y="12736"/>
                  </a:lnTo>
                  <a:lnTo>
                    <a:pt x="69246" y="13734"/>
                  </a:lnTo>
                  <a:lnTo>
                    <a:pt x="67128" y="14067"/>
                  </a:lnTo>
                  <a:lnTo>
                    <a:pt x="62863" y="12978"/>
                  </a:lnTo>
                  <a:lnTo>
                    <a:pt x="60866" y="13190"/>
                  </a:lnTo>
                  <a:lnTo>
                    <a:pt x="56812" y="14854"/>
                  </a:lnTo>
                  <a:lnTo>
                    <a:pt x="54483" y="15368"/>
                  </a:lnTo>
                  <a:lnTo>
                    <a:pt x="54453" y="15368"/>
                  </a:lnTo>
                  <a:lnTo>
                    <a:pt x="52244" y="15882"/>
                  </a:lnTo>
                  <a:lnTo>
                    <a:pt x="42927" y="16064"/>
                  </a:lnTo>
                  <a:lnTo>
                    <a:pt x="38601" y="17727"/>
                  </a:lnTo>
                  <a:lnTo>
                    <a:pt x="33912" y="21539"/>
                  </a:lnTo>
                  <a:lnTo>
                    <a:pt x="31946" y="22295"/>
                  </a:lnTo>
                  <a:lnTo>
                    <a:pt x="29495" y="22477"/>
                  </a:lnTo>
                  <a:lnTo>
                    <a:pt x="13099" y="20359"/>
                  </a:lnTo>
                  <a:lnTo>
                    <a:pt x="8834" y="20511"/>
                  </a:lnTo>
                  <a:lnTo>
                    <a:pt x="3389" y="22538"/>
                  </a:lnTo>
                  <a:lnTo>
                    <a:pt x="2420" y="22749"/>
                  </a:lnTo>
                  <a:lnTo>
                    <a:pt x="1422" y="22749"/>
                  </a:lnTo>
                  <a:lnTo>
                    <a:pt x="424" y="22507"/>
                  </a:lnTo>
                  <a:lnTo>
                    <a:pt x="0" y="25351"/>
                  </a:lnTo>
                  <a:lnTo>
                    <a:pt x="847" y="29253"/>
                  </a:lnTo>
                  <a:lnTo>
                    <a:pt x="2451" y="32763"/>
                  </a:lnTo>
                  <a:lnTo>
                    <a:pt x="4387" y="34456"/>
                  </a:lnTo>
                  <a:lnTo>
                    <a:pt x="8683" y="35031"/>
                  </a:lnTo>
                  <a:lnTo>
                    <a:pt x="13008" y="37028"/>
                  </a:lnTo>
                  <a:lnTo>
                    <a:pt x="16971" y="40053"/>
                  </a:lnTo>
                  <a:lnTo>
                    <a:pt x="20118" y="43683"/>
                  </a:lnTo>
                  <a:lnTo>
                    <a:pt x="21267" y="46073"/>
                  </a:lnTo>
                  <a:lnTo>
                    <a:pt x="21691" y="48402"/>
                  </a:lnTo>
                  <a:lnTo>
                    <a:pt x="21932" y="50823"/>
                  </a:lnTo>
                  <a:lnTo>
                    <a:pt x="22477" y="53605"/>
                  </a:lnTo>
                  <a:lnTo>
                    <a:pt x="23505" y="56026"/>
                  </a:lnTo>
                  <a:lnTo>
                    <a:pt x="27681" y="62197"/>
                  </a:lnTo>
                  <a:lnTo>
                    <a:pt x="28618" y="64466"/>
                  </a:lnTo>
                  <a:lnTo>
                    <a:pt x="28981" y="66462"/>
                  </a:lnTo>
                  <a:lnTo>
                    <a:pt x="29495" y="74903"/>
                  </a:lnTo>
                  <a:lnTo>
                    <a:pt x="29193" y="75901"/>
                  </a:lnTo>
                  <a:lnTo>
                    <a:pt x="27076" y="79319"/>
                  </a:lnTo>
                  <a:lnTo>
                    <a:pt x="26470" y="80075"/>
                  </a:lnTo>
                  <a:lnTo>
                    <a:pt x="27257" y="82828"/>
                  </a:lnTo>
                  <a:lnTo>
                    <a:pt x="22991" y="87427"/>
                  </a:lnTo>
                  <a:lnTo>
                    <a:pt x="21630" y="89937"/>
                  </a:lnTo>
                  <a:lnTo>
                    <a:pt x="21751" y="92842"/>
                  </a:lnTo>
                  <a:lnTo>
                    <a:pt x="21146" y="92388"/>
                  </a:lnTo>
                  <a:lnTo>
                    <a:pt x="20692" y="92237"/>
                  </a:lnTo>
                  <a:lnTo>
                    <a:pt x="20239" y="92146"/>
                  </a:lnTo>
                  <a:lnTo>
                    <a:pt x="19633" y="91934"/>
                  </a:lnTo>
                  <a:lnTo>
                    <a:pt x="19966" y="92418"/>
                  </a:lnTo>
                  <a:lnTo>
                    <a:pt x="20118" y="92781"/>
                  </a:lnTo>
                  <a:lnTo>
                    <a:pt x="20389" y="93628"/>
                  </a:lnTo>
                  <a:lnTo>
                    <a:pt x="18000" y="93901"/>
                  </a:lnTo>
                  <a:lnTo>
                    <a:pt x="15821" y="95292"/>
                  </a:lnTo>
                  <a:lnTo>
                    <a:pt x="12373" y="99073"/>
                  </a:lnTo>
                  <a:lnTo>
                    <a:pt x="12796" y="100677"/>
                  </a:lnTo>
                  <a:lnTo>
                    <a:pt x="14914" y="102885"/>
                  </a:lnTo>
                  <a:lnTo>
                    <a:pt x="18998" y="106092"/>
                  </a:lnTo>
                  <a:lnTo>
                    <a:pt x="18998" y="106909"/>
                  </a:lnTo>
                  <a:lnTo>
                    <a:pt x="18907" y="107181"/>
                  </a:lnTo>
                  <a:lnTo>
                    <a:pt x="17425" y="111810"/>
                  </a:lnTo>
                  <a:lnTo>
                    <a:pt x="16578" y="113171"/>
                  </a:lnTo>
                  <a:lnTo>
                    <a:pt x="15882" y="115137"/>
                  </a:lnTo>
                  <a:lnTo>
                    <a:pt x="16911" y="117043"/>
                  </a:lnTo>
                  <a:lnTo>
                    <a:pt x="19633" y="119402"/>
                  </a:lnTo>
                  <a:lnTo>
                    <a:pt x="24111" y="124757"/>
                  </a:lnTo>
                  <a:lnTo>
                    <a:pt x="25563" y="127843"/>
                  </a:lnTo>
                  <a:lnTo>
                    <a:pt x="25653" y="128055"/>
                  </a:lnTo>
                  <a:lnTo>
                    <a:pt x="23808" y="129355"/>
                  </a:lnTo>
                  <a:lnTo>
                    <a:pt x="24897" y="131503"/>
                  </a:lnTo>
                  <a:lnTo>
                    <a:pt x="28043" y="135073"/>
                  </a:lnTo>
                  <a:lnTo>
                    <a:pt x="28678" y="136434"/>
                  </a:lnTo>
                  <a:lnTo>
                    <a:pt x="27711" y="138007"/>
                  </a:lnTo>
                  <a:lnTo>
                    <a:pt x="23143" y="138915"/>
                  </a:lnTo>
                  <a:lnTo>
                    <a:pt x="21751" y="140125"/>
                  </a:lnTo>
                  <a:lnTo>
                    <a:pt x="23052" y="143603"/>
                  </a:lnTo>
                  <a:lnTo>
                    <a:pt x="27650" y="145933"/>
                  </a:lnTo>
                  <a:lnTo>
                    <a:pt x="36877" y="148353"/>
                  </a:lnTo>
                  <a:lnTo>
                    <a:pt x="47888" y="153950"/>
                  </a:lnTo>
                  <a:lnTo>
                    <a:pt x="59989" y="155825"/>
                  </a:lnTo>
                  <a:lnTo>
                    <a:pt x="61592" y="155311"/>
                  </a:lnTo>
                  <a:lnTo>
                    <a:pt x="65101" y="153042"/>
                  </a:lnTo>
                  <a:lnTo>
                    <a:pt x="67249" y="152528"/>
                  </a:lnTo>
                  <a:lnTo>
                    <a:pt x="68217" y="152770"/>
                  </a:lnTo>
                  <a:lnTo>
                    <a:pt x="69488" y="153919"/>
                  </a:lnTo>
                  <a:lnTo>
                    <a:pt x="70365" y="154191"/>
                  </a:lnTo>
                  <a:lnTo>
                    <a:pt x="71424" y="154071"/>
                  </a:lnTo>
                  <a:lnTo>
                    <a:pt x="73481" y="153526"/>
                  </a:lnTo>
                  <a:lnTo>
                    <a:pt x="76355" y="153193"/>
                  </a:lnTo>
                  <a:lnTo>
                    <a:pt x="82435" y="151681"/>
                  </a:lnTo>
                  <a:lnTo>
                    <a:pt x="85824" y="151681"/>
                  </a:lnTo>
                  <a:lnTo>
                    <a:pt x="89514" y="152739"/>
                  </a:lnTo>
                  <a:lnTo>
                    <a:pt x="95081" y="155734"/>
                  </a:lnTo>
                  <a:lnTo>
                    <a:pt x="103460" y="160272"/>
                  </a:lnTo>
                  <a:lnTo>
                    <a:pt x="109299" y="164931"/>
                  </a:lnTo>
                  <a:lnTo>
                    <a:pt x="111870" y="167593"/>
                  </a:lnTo>
                  <a:lnTo>
                    <a:pt x="113020" y="169347"/>
                  </a:lnTo>
                  <a:lnTo>
                    <a:pt x="113473" y="171163"/>
                  </a:lnTo>
                  <a:lnTo>
                    <a:pt x="113837" y="172191"/>
                  </a:lnTo>
                  <a:lnTo>
                    <a:pt x="114684" y="173008"/>
                  </a:lnTo>
                  <a:lnTo>
                    <a:pt x="116196" y="174037"/>
                  </a:lnTo>
                  <a:lnTo>
                    <a:pt x="116529" y="175216"/>
                  </a:lnTo>
                  <a:lnTo>
                    <a:pt x="116529" y="176578"/>
                  </a:lnTo>
                  <a:lnTo>
                    <a:pt x="116953" y="177273"/>
                  </a:lnTo>
                  <a:lnTo>
                    <a:pt x="118283" y="176517"/>
                  </a:lnTo>
                  <a:lnTo>
                    <a:pt x="121913" y="180389"/>
                  </a:lnTo>
                  <a:lnTo>
                    <a:pt x="123789" y="181448"/>
                  </a:lnTo>
                  <a:lnTo>
                    <a:pt x="124303" y="181509"/>
                  </a:lnTo>
                  <a:lnTo>
                    <a:pt x="125423" y="181327"/>
                  </a:lnTo>
                  <a:lnTo>
                    <a:pt x="125877" y="181448"/>
                  </a:lnTo>
                  <a:lnTo>
                    <a:pt x="126391" y="181841"/>
                  </a:lnTo>
                  <a:lnTo>
                    <a:pt x="126966" y="182779"/>
                  </a:lnTo>
                  <a:lnTo>
                    <a:pt x="133137" y="190251"/>
                  </a:lnTo>
                  <a:lnTo>
                    <a:pt x="134679" y="192672"/>
                  </a:lnTo>
                  <a:lnTo>
                    <a:pt x="137554" y="191522"/>
                  </a:lnTo>
                  <a:lnTo>
                    <a:pt x="142212" y="190735"/>
                  </a:lnTo>
                  <a:lnTo>
                    <a:pt x="146599" y="190796"/>
                  </a:lnTo>
                  <a:lnTo>
                    <a:pt x="150047" y="190040"/>
                  </a:lnTo>
                  <a:lnTo>
                    <a:pt x="152680" y="188678"/>
                  </a:lnTo>
                  <a:lnTo>
                    <a:pt x="153285" y="188376"/>
                  </a:lnTo>
                  <a:lnTo>
                    <a:pt x="157005" y="185744"/>
                  </a:lnTo>
                  <a:lnTo>
                    <a:pt x="160757" y="184564"/>
                  </a:lnTo>
                  <a:lnTo>
                    <a:pt x="164175" y="186137"/>
                  </a:lnTo>
                  <a:lnTo>
                    <a:pt x="164931" y="187015"/>
                  </a:lnTo>
                  <a:lnTo>
                    <a:pt x="171616" y="194850"/>
                  </a:lnTo>
                  <a:lnTo>
                    <a:pt x="172645" y="196846"/>
                  </a:lnTo>
                  <a:lnTo>
                    <a:pt x="173069" y="199055"/>
                  </a:lnTo>
                  <a:lnTo>
                    <a:pt x="172918" y="201868"/>
                  </a:lnTo>
                  <a:lnTo>
                    <a:pt x="171919" y="206164"/>
                  </a:lnTo>
                  <a:lnTo>
                    <a:pt x="172313" y="207918"/>
                  </a:lnTo>
                  <a:lnTo>
                    <a:pt x="174279" y="209068"/>
                  </a:lnTo>
                  <a:lnTo>
                    <a:pt x="177969" y="208251"/>
                  </a:lnTo>
                  <a:lnTo>
                    <a:pt x="180813" y="205801"/>
                  </a:lnTo>
                  <a:lnTo>
                    <a:pt x="183506" y="204953"/>
                  </a:lnTo>
                  <a:lnTo>
                    <a:pt x="184141" y="205770"/>
                  </a:lnTo>
                  <a:lnTo>
                    <a:pt x="186652" y="209007"/>
                  </a:lnTo>
                  <a:lnTo>
                    <a:pt x="187831" y="211488"/>
                  </a:lnTo>
                  <a:lnTo>
                    <a:pt x="188830" y="212849"/>
                  </a:lnTo>
                  <a:lnTo>
                    <a:pt x="190282" y="213394"/>
                  </a:lnTo>
                  <a:lnTo>
                    <a:pt x="195061" y="213787"/>
                  </a:lnTo>
                  <a:lnTo>
                    <a:pt x="196816" y="214634"/>
                  </a:lnTo>
                  <a:lnTo>
                    <a:pt x="199993" y="217629"/>
                  </a:lnTo>
                  <a:lnTo>
                    <a:pt x="200023" y="217629"/>
                  </a:lnTo>
                  <a:lnTo>
                    <a:pt x="201111" y="218234"/>
                  </a:lnTo>
                  <a:lnTo>
                    <a:pt x="202261" y="218385"/>
                  </a:lnTo>
                  <a:lnTo>
                    <a:pt x="203380" y="218173"/>
                  </a:lnTo>
                  <a:lnTo>
                    <a:pt x="204530" y="217629"/>
                  </a:lnTo>
                  <a:lnTo>
                    <a:pt x="205589" y="217205"/>
                  </a:lnTo>
                  <a:lnTo>
                    <a:pt x="213697" y="212456"/>
                  </a:lnTo>
                  <a:lnTo>
                    <a:pt x="216389" y="211427"/>
                  </a:lnTo>
                  <a:lnTo>
                    <a:pt x="228731" y="208644"/>
                  </a:lnTo>
                  <a:lnTo>
                    <a:pt x="229276" y="208523"/>
                  </a:lnTo>
                  <a:lnTo>
                    <a:pt x="231605" y="208523"/>
                  </a:lnTo>
                  <a:lnTo>
                    <a:pt x="234388" y="209461"/>
                  </a:lnTo>
                  <a:lnTo>
                    <a:pt x="236657" y="210973"/>
                  </a:lnTo>
                  <a:lnTo>
                    <a:pt x="237565" y="212486"/>
                  </a:lnTo>
                  <a:lnTo>
                    <a:pt x="237565" y="214513"/>
                  </a:lnTo>
                  <a:lnTo>
                    <a:pt x="237263" y="217568"/>
                  </a:lnTo>
                  <a:lnTo>
                    <a:pt x="237263" y="217568"/>
                  </a:lnTo>
                  <a:lnTo>
                    <a:pt x="238169" y="223044"/>
                  </a:lnTo>
                  <a:lnTo>
                    <a:pt x="237716" y="224919"/>
                  </a:lnTo>
                  <a:lnTo>
                    <a:pt x="234328" y="230062"/>
                  </a:lnTo>
                  <a:lnTo>
                    <a:pt x="233692" y="232452"/>
                  </a:lnTo>
                  <a:lnTo>
                    <a:pt x="234268" y="233662"/>
                  </a:lnTo>
                  <a:lnTo>
                    <a:pt x="234539" y="234237"/>
                  </a:lnTo>
                  <a:lnTo>
                    <a:pt x="240227" y="235568"/>
                  </a:lnTo>
                  <a:lnTo>
                    <a:pt x="242284" y="237111"/>
                  </a:lnTo>
                  <a:lnTo>
                    <a:pt x="244190" y="239017"/>
                  </a:lnTo>
                  <a:lnTo>
                    <a:pt x="246610" y="240741"/>
                  </a:lnTo>
                  <a:lnTo>
                    <a:pt x="248062" y="241407"/>
                  </a:lnTo>
                  <a:lnTo>
                    <a:pt x="253810" y="244008"/>
                  </a:lnTo>
                  <a:lnTo>
                    <a:pt x="255867" y="245823"/>
                  </a:lnTo>
                  <a:lnTo>
                    <a:pt x="256532" y="246761"/>
                  </a:lnTo>
                  <a:lnTo>
                    <a:pt x="256744" y="247668"/>
                  </a:lnTo>
                  <a:lnTo>
                    <a:pt x="256532" y="248546"/>
                  </a:lnTo>
                  <a:lnTo>
                    <a:pt x="255837" y="249332"/>
                  </a:lnTo>
                  <a:lnTo>
                    <a:pt x="253416" y="252297"/>
                  </a:lnTo>
                  <a:lnTo>
                    <a:pt x="252781" y="255322"/>
                  </a:lnTo>
                  <a:lnTo>
                    <a:pt x="253719" y="258438"/>
                  </a:lnTo>
                  <a:lnTo>
                    <a:pt x="255837" y="261675"/>
                  </a:lnTo>
                  <a:lnTo>
                    <a:pt x="258439" y="265124"/>
                  </a:lnTo>
                  <a:lnTo>
                    <a:pt x="260465" y="268875"/>
                  </a:lnTo>
                  <a:lnTo>
                    <a:pt x="265699" y="282337"/>
                  </a:lnTo>
                  <a:lnTo>
                    <a:pt x="271567" y="292622"/>
                  </a:lnTo>
                  <a:lnTo>
                    <a:pt x="278283" y="291806"/>
                  </a:lnTo>
                  <a:lnTo>
                    <a:pt x="280038" y="291049"/>
                  </a:lnTo>
                  <a:lnTo>
                    <a:pt x="285271" y="287570"/>
                  </a:lnTo>
                  <a:lnTo>
                    <a:pt x="287208" y="286693"/>
                  </a:lnTo>
                  <a:lnTo>
                    <a:pt x="288539" y="286421"/>
                  </a:lnTo>
                  <a:lnTo>
                    <a:pt x="292441" y="286269"/>
                  </a:lnTo>
                  <a:lnTo>
                    <a:pt x="294891" y="285543"/>
                  </a:lnTo>
                  <a:lnTo>
                    <a:pt x="295950" y="285422"/>
                  </a:lnTo>
                  <a:lnTo>
                    <a:pt x="297311" y="285695"/>
                  </a:lnTo>
                  <a:lnTo>
                    <a:pt x="307808" y="289990"/>
                  </a:lnTo>
                  <a:lnTo>
                    <a:pt x="309624" y="290444"/>
                  </a:lnTo>
                  <a:lnTo>
                    <a:pt x="306115" y="283668"/>
                  </a:lnTo>
                  <a:lnTo>
                    <a:pt x="305691" y="282276"/>
                  </a:lnTo>
                  <a:lnTo>
                    <a:pt x="305600" y="280824"/>
                  </a:lnTo>
                  <a:lnTo>
                    <a:pt x="305782" y="279342"/>
                  </a:lnTo>
                  <a:lnTo>
                    <a:pt x="306145" y="277920"/>
                  </a:lnTo>
                  <a:lnTo>
                    <a:pt x="306296" y="277587"/>
                  </a:lnTo>
                  <a:lnTo>
                    <a:pt x="306356" y="277194"/>
                  </a:lnTo>
                  <a:lnTo>
                    <a:pt x="307688" y="273412"/>
                  </a:lnTo>
                  <a:lnTo>
                    <a:pt x="307960" y="270085"/>
                  </a:lnTo>
                  <a:lnTo>
                    <a:pt x="307415" y="266697"/>
                  </a:lnTo>
                  <a:lnTo>
                    <a:pt x="306145" y="262794"/>
                  </a:lnTo>
                  <a:lnTo>
                    <a:pt x="303725" y="260979"/>
                  </a:lnTo>
                  <a:lnTo>
                    <a:pt x="300367" y="259225"/>
                  </a:lnTo>
                  <a:lnTo>
                    <a:pt x="297796" y="256865"/>
                  </a:lnTo>
                  <a:lnTo>
                    <a:pt x="297675" y="253205"/>
                  </a:lnTo>
                  <a:lnTo>
                    <a:pt x="300004" y="251208"/>
                  </a:lnTo>
                  <a:lnTo>
                    <a:pt x="303513" y="251632"/>
                  </a:lnTo>
                  <a:lnTo>
                    <a:pt x="309624" y="254475"/>
                  </a:lnTo>
                  <a:lnTo>
                    <a:pt x="310864" y="254324"/>
                  </a:lnTo>
                  <a:lnTo>
                    <a:pt x="315523" y="251269"/>
                  </a:lnTo>
                  <a:lnTo>
                    <a:pt x="317640" y="251208"/>
                  </a:lnTo>
                  <a:lnTo>
                    <a:pt x="318517" y="250815"/>
                  </a:lnTo>
                  <a:lnTo>
                    <a:pt x="318185" y="249998"/>
                  </a:lnTo>
                  <a:close/>
                  <a:moveTo>
                    <a:pt x="158881" y="32763"/>
                  </a:moveTo>
                  <a:lnTo>
                    <a:pt x="155220" y="31613"/>
                  </a:lnTo>
                  <a:lnTo>
                    <a:pt x="153980" y="30131"/>
                  </a:lnTo>
                  <a:lnTo>
                    <a:pt x="153345" y="28285"/>
                  </a:lnTo>
                  <a:lnTo>
                    <a:pt x="153677" y="26591"/>
                  </a:lnTo>
                  <a:lnTo>
                    <a:pt x="155251" y="25563"/>
                  </a:lnTo>
                  <a:lnTo>
                    <a:pt x="159214" y="26440"/>
                  </a:lnTo>
                  <a:lnTo>
                    <a:pt x="160333" y="29919"/>
                  </a:lnTo>
                  <a:lnTo>
                    <a:pt x="158911" y="32732"/>
                  </a:lnTo>
                  <a:close/>
                  <a:moveTo>
                    <a:pt x="178423" y="39509"/>
                  </a:moveTo>
                  <a:lnTo>
                    <a:pt x="176094" y="39146"/>
                  </a:lnTo>
                  <a:lnTo>
                    <a:pt x="175126" y="36332"/>
                  </a:lnTo>
                  <a:lnTo>
                    <a:pt x="175428" y="36030"/>
                  </a:lnTo>
                  <a:lnTo>
                    <a:pt x="175761" y="35848"/>
                  </a:lnTo>
                  <a:lnTo>
                    <a:pt x="176154" y="35788"/>
                  </a:lnTo>
                  <a:lnTo>
                    <a:pt x="176578" y="35878"/>
                  </a:lnTo>
                  <a:lnTo>
                    <a:pt x="179452" y="38177"/>
                  </a:lnTo>
                  <a:lnTo>
                    <a:pt x="178393" y="39539"/>
                  </a:lnTo>
                  <a:close/>
                </a:path>
              </a:pathLst>
            </a:custGeom>
            <a:solidFill>
              <a:srgbClr val="96A3AC"/>
            </a:solidFill>
            <a:ln w="3175" cap="rnd">
              <a:solidFill>
                <a:schemeClr val="bg1"/>
              </a:solidFill>
              <a:prstDash val="solid"/>
              <a:round/>
            </a:ln>
          </p:spPr>
          <p:txBody>
            <a:bodyPr rtlCol="0" anchor="ctr"/>
            <a:lstStyle/>
            <a:p>
              <a:endParaRPr lang="en-ID"/>
            </a:p>
          </p:txBody>
        </p:sp>
        <p:sp>
          <p:nvSpPr>
            <p:cNvPr id="67" name="Freeform: Shape 66">
              <a:extLst>
                <a:ext uri="{FF2B5EF4-FFF2-40B4-BE49-F238E27FC236}">
                  <a16:creationId xmlns:a16="http://schemas.microsoft.com/office/drawing/2014/main" id="{A38803E3-A788-E8B3-BED4-FFCF5A0074B1}"/>
                </a:ext>
              </a:extLst>
            </p:cNvPr>
            <p:cNvSpPr/>
            <p:nvPr/>
          </p:nvSpPr>
          <p:spPr>
            <a:xfrm>
              <a:off x="8266867" y="4817574"/>
              <a:ext cx="28051" cy="21492"/>
            </a:xfrm>
            <a:custGeom>
              <a:avLst/>
              <a:gdLst>
                <a:gd name="connsiteX0" fmla="*/ 35696 w 36089"/>
                <a:gd name="connsiteY0" fmla="*/ 10225 h 27649"/>
                <a:gd name="connsiteX1" fmla="*/ 34850 w 36089"/>
                <a:gd name="connsiteY1" fmla="*/ 9106 h 27649"/>
                <a:gd name="connsiteX2" fmla="*/ 32520 w 36089"/>
                <a:gd name="connsiteY2" fmla="*/ 8440 h 27649"/>
                <a:gd name="connsiteX3" fmla="*/ 30887 w 36089"/>
                <a:gd name="connsiteY3" fmla="*/ 7502 h 27649"/>
                <a:gd name="connsiteX4" fmla="*/ 31764 w 36089"/>
                <a:gd name="connsiteY4" fmla="*/ 4961 h 27649"/>
                <a:gd name="connsiteX5" fmla="*/ 20299 w 36089"/>
                <a:gd name="connsiteY5" fmla="*/ 3933 h 27649"/>
                <a:gd name="connsiteX6" fmla="*/ 19210 w 36089"/>
                <a:gd name="connsiteY6" fmla="*/ 3449 h 27649"/>
                <a:gd name="connsiteX7" fmla="*/ 13764 w 36089"/>
                <a:gd name="connsiteY7" fmla="*/ 0 h 27649"/>
                <a:gd name="connsiteX8" fmla="*/ 12221 w 36089"/>
                <a:gd name="connsiteY8" fmla="*/ 91 h 27649"/>
                <a:gd name="connsiteX9" fmla="*/ 9257 w 36089"/>
                <a:gd name="connsiteY9" fmla="*/ 1150 h 27649"/>
                <a:gd name="connsiteX10" fmla="*/ 6081 w 36089"/>
                <a:gd name="connsiteY10" fmla="*/ 999 h 27649"/>
                <a:gd name="connsiteX11" fmla="*/ 4538 w 36089"/>
                <a:gd name="connsiteY11" fmla="*/ 5929 h 27649"/>
                <a:gd name="connsiteX12" fmla="*/ 2299 w 36089"/>
                <a:gd name="connsiteY12" fmla="*/ 6776 h 27649"/>
                <a:gd name="connsiteX13" fmla="*/ 1845 w 36089"/>
                <a:gd name="connsiteY13" fmla="*/ 7533 h 27649"/>
                <a:gd name="connsiteX14" fmla="*/ 1301 w 36089"/>
                <a:gd name="connsiteY14" fmla="*/ 8773 h 27649"/>
                <a:gd name="connsiteX15" fmla="*/ 1180 w 36089"/>
                <a:gd name="connsiteY15" fmla="*/ 9953 h 27649"/>
                <a:gd name="connsiteX16" fmla="*/ 2027 w 36089"/>
                <a:gd name="connsiteY16" fmla="*/ 10497 h 27649"/>
                <a:gd name="connsiteX17" fmla="*/ 1996 w 36089"/>
                <a:gd name="connsiteY17" fmla="*/ 10981 h 27649"/>
                <a:gd name="connsiteX18" fmla="*/ 333 w 36089"/>
                <a:gd name="connsiteY18" fmla="*/ 13643 h 27649"/>
                <a:gd name="connsiteX19" fmla="*/ 0 w 36089"/>
                <a:gd name="connsiteY19" fmla="*/ 15065 h 27649"/>
                <a:gd name="connsiteX20" fmla="*/ 2269 w 36089"/>
                <a:gd name="connsiteY20" fmla="*/ 14793 h 27649"/>
                <a:gd name="connsiteX21" fmla="*/ 4054 w 36089"/>
                <a:gd name="connsiteY21" fmla="*/ 16215 h 27649"/>
                <a:gd name="connsiteX22" fmla="*/ 4386 w 36089"/>
                <a:gd name="connsiteY22" fmla="*/ 18211 h 27649"/>
                <a:gd name="connsiteX23" fmla="*/ 2390 w 36089"/>
                <a:gd name="connsiteY23" fmla="*/ 19512 h 27649"/>
                <a:gd name="connsiteX24" fmla="*/ 1815 w 36089"/>
                <a:gd name="connsiteY24" fmla="*/ 19663 h 27649"/>
                <a:gd name="connsiteX25" fmla="*/ 121 w 36089"/>
                <a:gd name="connsiteY25" fmla="*/ 20359 h 27649"/>
                <a:gd name="connsiteX26" fmla="*/ 3025 w 36089"/>
                <a:gd name="connsiteY26" fmla="*/ 24534 h 27649"/>
                <a:gd name="connsiteX27" fmla="*/ 3025 w 36089"/>
                <a:gd name="connsiteY27" fmla="*/ 26107 h 27649"/>
                <a:gd name="connsiteX28" fmla="*/ 4175 w 36089"/>
                <a:gd name="connsiteY28" fmla="*/ 26894 h 27649"/>
                <a:gd name="connsiteX29" fmla="*/ 10255 w 36089"/>
                <a:gd name="connsiteY29" fmla="*/ 27650 h 27649"/>
                <a:gd name="connsiteX30" fmla="*/ 11102 w 36089"/>
                <a:gd name="connsiteY30" fmla="*/ 27529 h 27649"/>
                <a:gd name="connsiteX31" fmla="*/ 12252 w 36089"/>
                <a:gd name="connsiteY31" fmla="*/ 26954 h 27649"/>
                <a:gd name="connsiteX32" fmla="*/ 12887 w 36089"/>
                <a:gd name="connsiteY32" fmla="*/ 26228 h 27649"/>
                <a:gd name="connsiteX33" fmla="*/ 13341 w 36089"/>
                <a:gd name="connsiteY33" fmla="*/ 25502 h 27649"/>
                <a:gd name="connsiteX34" fmla="*/ 13885 w 36089"/>
                <a:gd name="connsiteY34" fmla="*/ 24927 h 27649"/>
                <a:gd name="connsiteX35" fmla="*/ 20238 w 36089"/>
                <a:gd name="connsiteY35" fmla="*/ 24171 h 27649"/>
                <a:gd name="connsiteX36" fmla="*/ 23445 w 36089"/>
                <a:gd name="connsiteY36" fmla="*/ 22901 h 27649"/>
                <a:gd name="connsiteX37" fmla="*/ 24534 w 36089"/>
                <a:gd name="connsiteY37" fmla="*/ 19542 h 27649"/>
                <a:gd name="connsiteX38" fmla="*/ 24927 w 36089"/>
                <a:gd name="connsiteY38" fmla="*/ 19149 h 27649"/>
                <a:gd name="connsiteX39" fmla="*/ 25230 w 36089"/>
                <a:gd name="connsiteY39" fmla="*/ 18998 h 27649"/>
                <a:gd name="connsiteX40" fmla="*/ 25502 w 36089"/>
                <a:gd name="connsiteY40" fmla="*/ 19119 h 27649"/>
                <a:gd name="connsiteX41" fmla="*/ 25744 w 36089"/>
                <a:gd name="connsiteY41" fmla="*/ 19512 h 27649"/>
                <a:gd name="connsiteX42" fmla="*/ 26954 w 36089"/>
                <a:gd name="connsiteY42" fmla="*/ 19906 h 27649"/>
                <a:gd name="connsiteX43" fmla="*/ 28164 w 36089"/>
                <a:gd name="connsiteY43" fmla="*/ 19875 h 27649"/>
                <a:gd name="connsiteX44" fmla="*/ 29283 w 36089"/>
                <a:gd name="connsiteY44" fmla="*/ 19422 h 27649"/>
                <a:gd name="connsiteX45" fmla="*/ 30251 w 36089"/>
                <a:gd name="connsiteY45" fmla="*/ 18363 h 27649"/>
                <a:gd name="connsiteX46" fmla="*/ 30614 w 36089"/>
                <a:gd name="connsiteY46" fmla="*/ 15247 h 27649"/>
                <a:gd name="connsiteX47" fmla="*/ 31734 w 36089"/>
                <a:gd name="connsiteY47" fmla="*/ 12645 h 27649"/>
                <a:gd name="connsiteX48" fmla="*/ 33579 w 36089"/>
                <a:gd name="connsiteY48" fmla="*/ 10981 h 27649"/>
                <a:gd name="connsiteX49" fmla="*/ 36090 w 36089"/>
                <a:gd name="connsiteY49" fmla="*/ 10770 h 27649"/>
                <a:gd name="connsiteX50" fmla="*/ 35696 w 36089"/>
                <a:gd name="connsiteY50" fmla="*/ 10225 h 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6089" h="27649">
                  <a:moveTo>
                    <a:pt x="35696" y="10225"/>
                  </a:moveTo>
                  <a:lnTo>
                    <a:pt x="34850" y="9106"/>
                  </a:lnTo>
                  <a:lnTo>
                    <a:pt x="32520" y="8440"/>
                  </a:lnTo>
                  <a:lnTo>
                    <a:pt x="30887" y="7502"/>
                  </a:lnTo>
                  <a:lnTo>
                    <a:pt x="31764" y="4961"/>
                  </a:lnTo>
                  <a:lnTo>
                    <a:pt x="20299" y="3933"/>
                  </a:lnTo>
                  <a:lnTo>
                    <a:pt x="19210" y="3449"/>
                  </a:lnTo>
                  <a:lnTo>
                    <a:pt x="13764" y="0"/>
                  </a:lnTo>
                  <a:lnTo>
                    <a:pt x="12221" y="91"/>
                  </a:lnTo>
                  <a:lnTo>
                    <a:pt x="9257" y="1150"/>
                  </a:lnTo>
                  <a:lnTo>
                    <a:pt x="6081" y="999"/>
                  </a:lnTo>
                  <a:lnTo>
                    <a:pt x="4538" y="5929"/>
                  </a:lnTo>
                  <a:lnTo>
                    <a:pt x="2299" y="6776"/>
                  </a:lnTo>
                  <a:lnTo>
                    <a:pt x="1845" y="7533"/>
                  </a:lnTo>
                  <a:lnTo>
                    <a:pt x="1301" y="8773"/>
                  </a:lnTo>
                  <a:lnTo>
                    <a:pt x="1180" y="9953"/>
                  </a:lnTo>
                  <a:lnTo>
                    <a:pt x="2027" y="10497"/>
                  </a:lnTo>
                  <a:lnTo>
                    <a:pt x="1996" y="10981"/>
                  </a:lnTo>
                  <a:lnTo>
                    <a:pt x="333" y="13643"/>
                  </a:lnTo>
                  <a:lnTo>
                    <a:pt x="0" y="15065"/>
                  </a:lnTo>
                  <a:lnTo>
                    <a:pt x="2269" y="14793"/>
                  </a:lnTo>
                  <a:lnTo>
                    <a:pt x="4054" y="16215"/>
                  </a:lnTo>
                  <a:lnTo>
                    <a:pt x="4386" y="18211"/>
                  </a:lnTo>
                  <a:lnTo>
                    <a:pt x="2390" y="19512"/>
                  </a:lnTo>
                  <a:lnTo>
                    <a:pt x="1815" y="19663"/>
                  </a:lnTo>
                  <a:lnTo>
                    <a:pt x="121" y="20359"/>
                  </a:lnTo>
                  <a:lnTo>
                    <a:pt x="3025" y="24534"/>
                  </a:lnTo>
                  <a:lnTo>
                    <a:pt x="3025" y="26107"/>
                  </a:lnTo>
                  <a:lnTo>
                    <a:pt x="4175" y="26894"/>
                  </a:lnTo>
                  <a:lnTo>
                    <a:pt x="10255" y="27650"/>
                  </a:lnTo>
                  <a:lnTo>
                    <a:pt x="11102" y="27529"/>
                  </a:lnTo>
                  <a:lnTo>
                    <a:pt x="12252" y="26954"/>
                  </a:lnTo>
                  <a:lnTo>
                    <a:pt x="12887" y="26228"/>
                  </a:lnTo>
                  <a:lnTo>
                    <a:pt x="13341" y="25502"/>
                  </a:lnTo>
                  <a:lnTo>
                    <a:pt x="13885" y="24927"/>
                  </a:lnTo>
                  <a:lnTo>
                    <a:pt x="20238" y="24171"/>
                  </a:lnTo>
                  <a:lnTo>
                    <a:pt x="23445" y="22901"/>
                  </a:lnTo>
                  <a:lnTo>
                    <a:pt x="24534" y="19542"/>
                  </a:lnTo>
                  <a:lnTo>
                    <a:pt x="24927" y="19149"/>
                  </a:lnTo>
                  <a:lnTo>
                    <a:pt x="25230" y="18998"/>
                  </a:lnTo>
                  <a:lnTo>
                    <a:pt x="25502" y="19119"/>
                  </a:lnTo>
                  <a:lnTo>
                    <a:pt x="25744" y="19512"/>
                  </a:lnTo>
                  <a:lnTo>
                    <a:pt x="26954" y="19906"/>
                  </a:lnTo>
                  <a:lnTo>
                    <a:pt x="28164" y="19875"/>
                  </a:lnTo>
                  <a:lnTo>
                    <a:pt x="29283" y="19422"/>
                  </a:lnTo>
                  <a:lnTo>
                    <a:pt x="30251" y="18363"/>
                  </a:lnTo>
                  <a:lnTo>
                    <a:pt x="30614" y="15247"/>
                  </a:lnTo>
                  <a:lnTo>
                    <a:pt x="31734" y="12645"/>
                  </a:lnTo>
                  <a:lnTo>
                    <a:pt x="33579" y="10981"/>
                  </a:lnTo>
                  <a:lnTo>
                    <a:pt x="36090" y="10770"/>
                  </a:lnTo>
                  <a:lnTo>
                    <a:pt x="35696" y="10225"/>
                  </a:lnTo>
                  <a:close/>
                </a:path>
              </a:pathLst>
            </a:custGeom>
            <a:solidFill>
              <a:srgbClr val="96A3AC"/>
            </a:solidFill>
            <a:ln w="3175" cap="rnd">
              <a:solidFill>
                <a:schemeClr val="bg1"/>
              </a:solidFill>
              <a:prstDash val="solid"/>
              <a:round/>
            </a:ln>
          </p:spPr>
          <p:txBody>
            <a:bodyPr rtlCol="0" anchor="ctr"/>
            <a:lstStyle/>
            <a:p>
              <a:endParaRPr lang="en-ID"/>
            </a:p>
          </p:txBody>
        </p:sp>
        <p:sp>
          <p:nvSpPr>
            <p:cNvPr id="68" name="Freeform: Shape 67">
              <a:extLst>
                <a:ext uri="{FF2B5EF4-FFF2-40B4-BE49-F238E27FC236}">
                  <a16:creationId xmlns:a16="http://schemas.microsoft.com/office/drawing/2014/main" id="{E80A6F80-F8F8-7642-C91C-80AB29A376DF}"/>
                </a:ext>
              </a:extLst>
            </p:cNvPr>
            <p:cNvSpPr/>
            <p:nvPr/>
          </p:nvSpPr>
          <p:spPr>
            <a:xfrm>
              <a:off x="9664284" y="4817033"/>
              <a:ext cx="138027" cy="287483"/>
            </a:xfrm>
            <a:custGeom>
              <a:avLst/>
              <a:gdLst>
                <a:gd name="connsiteX0" fmla="*/ 177425 w 177576"/>
                <a:gd name="connsiteY0" fmla="*/ 246458 h 369854"/>
                <a:gd name="connsiteX1" fmla="*/ 176759 w 177576"/>
                <a:gd name="connsiteY1" fmla="*/ 244341 h 369854"/>
                <a:gd name="connsiteX2" fmla="*/ 175761 w 177576"/>
                <a:gd name="connsiteY2" fmla="*/ 242616 h 369854"/>
                <a:gd name="connsiteX3" fmla="*/ 173069 w 177576"/>
                <a:gd name="connsiteY3" fmla="*/ 239621 h 369854"/>
                <a:gd name="connsiteX4" fmla="*/ 170195 w 177576"/>
                <a:gd name="connsiteY4" fmla="*/ 237141 h 369854"/>
                <a:gd name="connsiteX5" fmla="*/ 169771 w 177576"/>
                <a:gd name="connsiteY5" fmla="*/ 236203 h 369854"/>
                <a:gd name="connsiteX6" fmla="*/ 169559 w 177576"/>
                <a:gd name="connsiteY6" fmla="*/ 235235 h 369854"/>
                <a:gd name="connsiteX7" fmla="*/ 169196 w 177576"/>
                <a:gd name="connsiteY7" fmla="*/ 234327 h 369854"/>
                <a:gd name="connsiteX8" fmla="*/ 168198 w 177576"/>
                <a:gd name="connsiteY8" fmla="*/ 233571 h 369854"/>
                <a:gd name="connsiteX9" fmla="*/ 169922 w 177576"/>
                <a:gd name="connsiteY9" fmla="*/ 231696 h 369854"/>
                <a:gd name="connsiteX10" fmla="*/ 170558 w 177576"/>
                <a:gd name="connsiteY10" fmla="*/ 229094 h 369854"/>
                <a:gd name="connsiteX11" fmla="*/ 170376 w 177576"/>
                <a:gd name="connsiteY11" fmla="*/ 223316 h 369854"/>
                <a:gd name="connsiteX12" fmla="*/ 170346 w 177576"/>
                <a:gd name="connsiteY12" fmla="*/ 220079 h 369854"/>
                <a:gd name="connsiteX13" fmla="*/ 169499 w 177576"/>
                <a:gd name="connsiteY13" fmla="*/ 217780 h 369854"/>
                <a:gd name="connsiteX14" fmla="*/ 167835 w 177576"/>
                <a:gd name="connsiteY14" fmla="*/ 216267 h 369854"/>
                <a:gd name="connsiteX15" fmla="*/ 162844 w 177576"/>
                <a:gd name="connsiteY15" fmla="*/ 214906 h 369854"/>
                <a:gd name="connsiteX16" fmla="*/ 157519 w 177576"/>
                <a:gd name="connsiteY16" fmla="*/ 214211 h 369854"/>
                <a:gd name="connsiteX17" fmla="*/ 157429 w 177576"/>
                <a:gd name="connsiteY17" fmla="*/ 214211 h 369854"/>
                <a:gd name="connsiteX18" fmla="*/ 155462 w 177576"/>
                <a:gd name="connsiteY18" fmla="*/ 214664 h 369854"/>
                <a:gd name="connsiteX19" fmla="*/ 152104 w 177576"/>
                <a:gd name="connsiteY19" fmla="*/ 217266 h 369854"/>
                <a:gd name="connsiteX20" fmla="*/ 150350 w 177576"/>
                <a:gd name="connsiteY20" fmla="*/ 217901 h 369854"/>
                <a:gd name="connsiteX21" fmla="*/ 147809 w 177576"/>
                <a:gd name="connsiteY21" fmla="*/ 217387 h 369854"/>
                <a:gd name="connsiteX22" fmla="*/ 146780 w 177576"/>
                <a:gd name="connsiteY22" fmla="*/ 216570 h 369854"/>
                <a:gd name="connsiteX23" fmla="*/ 145419 w 177576"/>
                <a:gd name="connsiteY23" fmla="*/ 215541 h 369854"/>
                <a:gd name="connsiteX24" fmla="*/ 143967 w 177576"/>
                <a:gd name="connsiteY24" fmla="*/ 212698 h 369854"/>
                <a:gd name="connsiteX25" fmla="*/ 142031 w 177576"/>
                <a:gd name="connsiteY25" fmla="*/ 205679 h 369854"/>
                <a:gd name="connsiteX26" fmla="*/ 140064 w 177576"/>
                <a:gd name="connsiteY26" fmla="*/ 197693 h 369854"/>
                <a:gd name="connsiteX27" fmla="*/ 139066 w 177576"/>
                <a:gd name="connsiteY27" fmla="*/ 195727 h 369854"/>
                <a:gd name="connsiteX28" fmla="*/ 137977 w 177576"/>
                <a:gd name="connsiteY28" fmla="*/ 194970 h 369854"/>
                <a:gd name="connsiteX29" fmla="*/ 137039 w 177576"/>
                <a:gd name="connsiteY29" fmla="*/ 194819 h 369854"/>
                <a:gd name="connsiteX30" fmla="*/ 136797 w 177576"/>
                <a:gd name="connsiteY30" fmla="*/ 194789 h 369854"/>
                <a:gd name="connsiteX31" fmla="*/ 135527 w 177576"/>
                <a:gd name="connsiteY31" fmla="*/ 194850 h 369854"/>
                <a:gd name="connsiteX32" fmla="*/ 134165 w 177576"/>
                <a:gd name="connsiteY32" fmla="*/ 194728 h 369854"/>
                <a:gd name="connsiteX33" fmla="*/ 133379 w 177576"/>
                <a:gd name="connsiteY33" fmla="*/ 194365 h 369854"/>
                <a:gd name="connsiteX34" fmla="*/ 131322 w 177576"/>
                <a:gd name="connsiteY34" fmla="*/ 193488 h 369854"/>
                <a:gd name="connsiteX35" fmla="*/ 130596 w 177576"/>
                <a:gd name="connsiteY35" fmla="*/ 191824 h 369854"/>
                <a:gd name="connsiteX36" fmla="*/ 130656 w 177576"/>
                <a:gd name="connsiteY36" fmla="*/ 189646 h 369854"/>
                <a:gd name="connsiteX37" fmla="*/ 130142 w 177576"/>
                <a:gd name="connsiteY37" fmla="*/ 186893 h 369854"/>
                <a:gd name="connsiteX38" fmla="*/ 128569 w 177576"/>
                <a:gd name="connsiteY38" fmla="*/ 184050 h 369854"/>
                <a:gd name="connsiteX39" fmla="*/ 124848 w 177576"/>
                <a:gd name="connsiteY39" fmla="*/ 179209 h 369854"/>
                <a:gd name="connsiteX40" fmla="*/ 123577 w 177576"/>
                <a:gd name="connsiteY40" fmla="*/ 176093 h 369854"/>
                <a:gd name="connsiteX41" fmla="*/ 121853 w 177576"/>
                <a:gd name="connsiteY41" fmla="*/ 169469 h 369854"/>
                <a:gd name="connsiteX42" fmla="*/ 121339 w 177576"/>
                <a:gd name="connsiteY42" fmla="*/ 165778 h 369854"/>
                <a:gd name="connsiteX43" fmla="*/ 121369 w 177576"/>
                <a:gd name="connsiteY43" fmla="*/ 165505 h 369854"/>
                <a:gd name="connsiteX44" fmla="*/ 121732 w 177576"/>
                <a:gd name="connsiteY44" fmla="*/ 163116 h 369854"/>
                <a:gd name="connsiteX45" fmla="*/ 123184 w 177576"/>
                <a:gd name="connsiteY45" fmla="*/ 163539 h 369854"/>
                <a:gd name="connsiteX46" fmla="*/ 124606 w 177576"/>
                <a:gd name="connsiteY46" fmla="*/ 162723 h 369854"/>
                <a:gd name="connsiteX47" fmla="*/ 125906 w 177576"/>
                <a:gd name="connsiteY47" fmla="*/ 161180 h 369854"/>
                <a:gd name="connsiteX48" fmla="*/ 126875 w 177576"/>
                <a:gd name="connsiteY48" fmla="*/ 159516 h 369854"/>
                <a:gd name="connsiteX49" fmla="*/ 127570 w 177576"/>
                <a:gd name="connsiteY49" fmla="*/ 157459 h 369854"/>
                <a:gd name="connsiteX50" fmla="*/ 127601 w 177576"/>
                <a:gd name="connsiteY50" fmla="*/ 155795 h 369854"/>
                <a:gd name="connsiteX51" fmla="*/ 127510 w 177576"/>
                <a:gd name="connsiteY51" fmla="*/ 155523 h 369854"/>
                <a:gd name="connsiteX52" fmla="*/ 126996 w 177576"/>
                <a:gd name="connsiteY52" fmla="*/ 154282 h 369854"/>
                <a:gd name="connsiteX53" fmla="*/ 125786 w 177576"/>
                <a:gd name="connsiteY53" fmla="*/ 152709 h 369854"/>
                <a:gd name="connsiteX54" fmla="*/ 125029 w 177576"/>
                <a:gd name="connsiteY54" fmla="*/ 152255 h 369854"/>
                <a:gd name="connsiteX55" fmla="*/ 123365 w 177576"/>
                <a:gd name="connsiteY55" fmla="*/ 152013 h 369854"/>
                <a:gd name="connsiteX56" fmla="*/ 122639 w 177576"/>
                <a:gd name="connsiteY56" fmla="*/ 151439 h 369854"/>
                <a:gd name="connsiteX57" fmla="*/ 122458 w 177576"/>
                <a:gd name="connsiteY57" fmla="*/ 150773 h 369854"/>
                <a:gd name="connsiteX58" fmla="*/ 122246 w 177576"/>
                <a:gd name="connsiteY58" fmla="*/ 148777 h 369854"/>
                <a:gd name="connsiteX59" fmla="*/ 121913 w 177576"/>
                <a:gd name="connsiteY59" fmla="*/ 147839 h 369854"/>
                <a:gd name="connsiteX60" fmla="*/ 121702 w 177576"/>
                <a:gd name="connsiteY60" fmla="*/ 147476 h 369854"/>
                <a:gd name="connsiteX61" fmla="*/ 120643 w 177576"/>
                <a:gd name="connsiteY61" fmla="*/ 145570 h 369854"/>
                <a:gd name="connsiteX62" fmla="*/ 119856 w 177576"/>
                <a:gd name="connsiteY62" fmla="*/ 144844 h 369854"/>
                <a:gd name="connsiteX63" fmla="*/ 118737 w 177576"/>
                <a:gd name="connsiteY63" fmla="*/ 144360 h 369854"/>
                <a:gd name="connsiteX64" fmla="*/ 118011 w 177576"/>
                <a:gd name="connsiteY64" fmla="*/ 142545 h 369854"/>
                <a:gd name="connsiteX65" fmla="*/ 118314 w 177576"/>
                <a:gd name="connsiteY65" fmla="*/ 139217 h 369854"/>
                <a:gd name="connsiteX66" fmla="*/ 117951 w 177576"/>
                <a:gd name="connsiteY66" fmla="*/ 137462 h 369854"/>
                <a:gd name="connsiteX67" fmla="*/ 122851 w 177576"/>
                <a:gd name="connsiteY67" fmla="*/ 136464 h 369854"/>
                <a:gd name="connsiteX68" fmla="*/ 124303 w 177576"/>
                <a:gd name="connsiteY68" fmla="*/ 135920 h 369854"/>
                <a:gd name="connsiteX69" fmla="*/ 125665 w 177576"/>
                <a:gd name="connsiteY69" fmla="*/ 135133 h 369854"/>
                <a:gd name="connsiteX70" fmla="*/ 126512 w 177576"/>
                <a:gd name="connsiteY70" fmla="*/ 134347 h 369854"/>
                <a:gd name="connsiteX71" fmla="*/ 127056 w 177576"/>
                <a:gd name="connsiteY71" fmla="*/ 133046 h 369854"/>
                <a:gd name="connsiteX72" fmla="*/ 127056 w 177576"/>
                <a:gd name="connsiteY72" fmla="*/ 132804 h 369854"/>
                <a:gd name="connsiteX73" fmla="*/ 127056 w 177576"/>
                <a:gd name="connsiteY73" fmla="*/ 131987 h 369854"/>
                <a:gd name="connsiteX74" fmla="*/ 124908 w 177576"/>
                <a:gd name="connsiteY74" fmla="*/ 126239 h 369854"/>
                <a:gd name="connsiteX75" fmla="*/ 124394 w 177576"/>
                <a:gd name="connsiteY75" fmla="*/ 123607 h 369854"/>
                <a:gd name="connsiteX76" fmla="*/ 123608 w 177576"/>
                <a:gd name="connsiteY76" fmla="*/ 114683 h 369854"/>
                <a:gd name="connsiteX77" fmla="*/ 123910 w 177576"/>
                <a:gd name="connsiteY77" fmla="*/ 113382 h 369854"/>
                <a:gd name="connsiteX78" fmla="*/ 124697 w 177576"/>
                <a:gd name="connsiteY78" fmla="*/ 111719 h 369854"/>
                <a:gd name="connsiteX79" fmla="*/ 125695 w 177576"/>
                <a:gd name="connsiteY79" fmla="*/ 110539 h 369854"/>
                <a:gd name="connsiteX80" fmla="*/ 128024 w 177576"/>
                <a:gd name="connsiteY80" fmla="*/ 108421 h 369854"/>
                <a:gd name="connsiteX81" fmla="*/ 128690 w 177576"/>
                <a:gd name="connsiteY81" fmla="*/ 107332 h 369854"/>
                <a:gd name="connsiteX82" fmla="*/ 128599 w 177576"/>
                <a:gd name="connsiteY82" fmla="*/ 106515 h 369854"/>
                <a:gd name="connsiteX83" fmla="*/ 128448 w 177576"/>
                <a:gd name="connsiteY83" fmla="*/ 104761 h 369854"/>
                <a:gd name="connsiteX84" fmla="*/ 127631 w 177576"/>
                <a:gd name="connsiteY84" fmla="*/ 101645 h 369854"/>
                <a:gd name="connsiteX85" fmla="*/ 127661 w 177576"/>
                <a:gd name="connsiteY85" fmla="*/ 100979 h 369854"/>
                <a:gd name="connsiteX86" fmla="*/ 127752 w 177576"/>
                <a:gd name="connsiteY86" fmla="*/ 98892 h 369854"/>
                <a:gd name="connsiteX87" fmla="*/ 130323 w 177576"/>
                <a:gd name="connsiteY87" fmla="*/ 97470 h 369854"/>
                <a:gd name="connsiteX88" fmla="*/ 130384 w 177576"/>
                <a:gd name="connsiteY88" fmla="*/ 96563 h 369854"/>
                <a:gd name="connsiteX89" fmla="*/ 129870 w 177576"/>
                <a:gd name="connsiteY89" fmla="*/ 95020 h 369854"/>
                <a:gd name="connsiteX90" fmla="*/ 129839 w 177576"/>
                <a:gd name="connsiteY90" fmla="*/ 94112 h 369854"/>
                <a:gd name="connsiteX91" fmla="*/ 130323 w 177576"/>
                <a:gd name="connsiteY91" fmla="*/ 92630 h 369854"/>
                <a:gd name="connsiteX92" fmla="*/ 130928 w 177576"/>
                <a:gd name="connsiteY92" fmla="*/ 91964 h 369854"/>
                <a:gd name="connsiteX93" fmla="*/ 131654 w 177576"/>
                <a:gd name="connsiteY93" fmla="*/ 91450 h 369854"/>
                <a:gd name="connsiteX94" fmla="*/ 132501 w 177576"/>
                <a:gd name="connsiteY94" fmla="*/ 90452 h 369854"/>
                <a:gd name="connsiteX95" fmla="*/ 133560 w 177576"/>
                <a:gd name="connsiteY95" fmla="*/ 88213 h 369854"/>
                <a:gd name="connsiteX96" fmla="*/ 133560 w 177576"/>
                <a:gd name="connsiteY96" fmla="*/ 86640 h 369854"/>
                <a:gd name="connsiteX97" fmla="*/ 133046 w 177576"/>
                <a:gd name="connsiteY97" fmla="*/ 85006 h 369854"/>
                <a:gd name="connsiteX98" fmla="*/ 132592 w 177576"/>
                <a:gd name="connsiteY98" fmla="*/ 82526 h 369854"/>
                <a:gd name="connsiteX99" fmla="*/ 129416 w 177576"/>
                <a:gd name="connsiteY99" fmla="*/ 74872 h 369854"/>
                <a:gd name="connsiteX100" fmla="*/ 128811 w 177576"/>
                <a:gd name="connsiteY100" fmla="*/ 72573 h 369854"/>
                <a:gd name="connsiteX101" fmla="*/ 128781 w 177576"/>
                <a:gd name="connsiteY101" fmla="*/ 68610 h 369854"/>
                <a:gd name="connsiteX102" fmla="*/ 128539 w 177576"/>
                <a:gd name="connsiteY102" fmla="*/ 66402 h 369854"/>
                <a:gd name="connsiteX103" fmla="*/ 127449 w 177576"/>
                <a:gd name="connsiteY103" fmla="*/ 63074 h 369854"/>
                <a:gd name="connsiteX104" fmla="*/ 123638 w 177576"/>
                <a:gd name="connsiteY104" fmla="*/ 55451 h 369854"/>
                <a:gd name="connsiteX105" fmla="*/ 121732 w 177576"/>
                <a:gd name="connsiteY105" fmla="*/ 53031 h 369854"/>
                <a:gd name="connsiteX106" fmla="*/ 120915 w 177576"/>
                <a:gd name="connsiteY106" fmla="*/ 52244 h 369854"/>
                <a:gd name="connsiteX107" fmla="*/ 119221 w 177576"/>
                <a:gd name="connsiteY107" fmla="*/ 50580 h 369854"/>
                <a:gd name="connsiteX108" fmla="*/ 106788 w 177576"/>
                <a:gd name="connsiteY108" fmla="*/ 42170 h 369854"/>
                <a:gd name="connsiteX109" fmla="*/ 105245 w 177576"/>
                <a:gd name="connsiteY109" fmla="*/ 41928 h 369854"/>
                <a:gd name="connsiteX110" fmla="*/ 98378 w 177576"/>
                <a:gd name="connsiteY110" fmla="*/ 42080 h 369854"/>
                <a:gd name="connsiteX111" fmla="*/ 97168 w 177576"/>
                <a:gd name="connsiteY111" fmla="*/ 41928 h 369854"/>
                <a:gd name="connsiteX112" fmla="*/ 96351 w 177576"/>
                <a:gd name="connsiteY112" fmla="*/ 41081 h 369854"/>
                <a:gd name="connsiteX113" fmla="*/ 95474 w 177576"/>
                <a:gd name="connsiteY113" fmla="*/ 39024 h 369854"/>
                <a:gd name="connsiteX114" fmla="*/ 95322 w 177576"/>
                <a:gd name="connsiteY114" fmla="*/ 38117 h 369854"/>
                <a:gd name="connsiteX115" fmla="*/ 95504 w 177576"/>
                <a:gd name="connsiteY115" fmla="*/ 36453 h 369854"/>
                <a:gd name="connsiteX116" fmla="*/ 95262 w 177576"/>
                <a:gd name="connsiteY116" fmla="*/ 35485 h 369854"/>
                <a:gd name="connsiteX117" fmla="*/ 94687 w 177576"/>
                <a:gd name="connsiteY117" fmla="*/ 34729 h 369854"/>
                <a:gd name="connsiteX118" fmla="*/ 93114 w 177576"/>
                <a:gd name="connsiteY118" fmla="*/ 33488 h 369854"/>
                <a:gd name="connsiteX119" fmla="*/ 92660 w 177576"/>
                <a:gd name="connsiteY119" fmla="*/ 32702 h 369854"/>
                <a:gd name="connsiteX120" fmla="*/ 92781 w 177576"/>
                <a:gd name="connsiteY120" fmla="*/ 31915 h 369854"/>
                <a:gd name="connsiteX121" fmla="*/ 93810 w 177576"/>
                <a:gd name="connsiteY121" fmla="*/ 30433 h 369854"/>
                <a:gd name="connsiteX122" fmla="*/ 93840 w 177576"/>
                <a:gd name="connsiteY122" fmla="*/ 29404 h 369854"/>
                <a:gd name="connsiteX123" fmla="*/ 93356 w 177576"/>
                <a:gd name="connsiteY123" fmla="*/ 28436 h 369854"/>
                <a:gd name="connsiteX124" fmla="*/ 91995 w 177576"/>
                <a:gd name="connsiteY124" fmla="*/ 27226 h 369854"/>
                <a:gd name="connsiteX125" fmla="*/ 91450 w 177576"/>
                <a:gd name="connsiteY125" fmla="*/ 26531 h 369854"/>
                <a:gd name="connsiteX126" fmla="*/ 88607 w 177576"/>
                <a:gd name="connsiteY126" fmla="*/ 20238 h 369854"/>
                <a:gd name="connsiteX127" fmla="*/ 88607 w 177576"/>
                <a:gd name="connsiteY127" fmla="*/ 20238 h 369854"/>
                <a:gd name="connsiteX128" fmla="*/ 88607 w 177576"/>
                <a:gd name="connsiteY128" fmla="*/ 20208 h 369854"/>
                <a:gd name="connsiteX129" fmla="*/ 88607 w 177576"/>
                <a:gd name="connsiteY129" fmla="*/ 20208 h 369854"/>
                <a:gd name="connsiteX130" fmla="*/ 88576 w 177576"/>
                <a:gd name="connsiteY130" fmla="*/ 20208 h 369854"/>
                <a:gd name="connsiteX131" fmla="*/ 86913 w 177576"/>
                <a:gd name="connsiteY131" fmla="*/ 18211 h 369854"/>
                <a:gd name="connsiteX132" fmla="*/ 81861 w 177576"/>
                <a:gd name="connsiteY132" fmla="*/ 15640 h 369854"/>
                <a:gd name="connsiteX133" fmla="*/ 79803 w 177576"/>
                <a:gd name="connsiteY133" fmla="*/ 13553 h 369854"/>
                <a:gd name="connsiteX134" fmla="*/ 77202 w 177576"/>
                <a:gd name="connsiteY134" fmla="*/ 12161 h 369854"/>
                <a:gd name="connsiteX135" fmla="*/ 75054 w 177576"/>
                <a:gd name="connsiteY135" fmla="*/ 13613 h 369854"/>
                <a:gd name="connsiteX136" fmla="*/ 71394 w 177576"/>
                <a:gd name="connsiteY136" fmla="*/ 18060 h 369854"/>
                <a:gd name="connsiteX137" fmla="*/ 68852 w 177576"/>
                <a:gd name="connsiteY137" fmla="*/ 18725 h 369854"/>
                <a:gd name="connsiteX138" fmla="*/ 63952 w 177576"/>
                <a:gd name="connsiteY138" fmla="*/ 18605 h 369854"/>
                <a:gd name="connsiteX139" fmla="*/ 61471 w 177576"/>
                <a:gd name="connsiteY139" fmla="*/ 20208 h 369854"/>
                <a:gd name="connsiteX140" fmla="*/ 61471 w 177576"/>
                <a:gd name="connsiteY140" fmla="*/ 20208 h 369854"/>
                <a:gd name="connsiteX141" fmla="*/ 61441 w 177576"/>
                <a:gd name="connsiteY141" fmla="*/ 20238 h 369854"/>
                <a:gd name="connsiteX142" fmla="*/ 60503 w 177576"/>
                <a:gd name="connsiteY142" fmla="*/ 21055 h 369854"/>
                <a:gd name="connsiteX143" fmla="*/ 56692 w 177576"/>
                <a:gd name="connsiteY143" fmla="*/ 23142 h 369854"/>
                <a:gd name="connsiteX144" fmla="*/ 56056 w 177576"/>
                <a:gd name="connsiteY144" fmla="*/ 23324 h 369854"/>
                <a:gd name="connsiteX145" fmla="*/ 55118 w 177576"/>
                <a:gd name="connsiteY145" fmla="*/ 23596 h 369854"/>
                <a:gd name="connsiteX146" fmla="*/ 53273 w 177576"/>
                <a:gd name="connsiteY146" fmla="*/ 23384 h 369854"/>
                <a:gd name="connsiteX147" fmla="*/ 51549 w 177576"/>
                <a:gd name="connsiteY147" fmla="*/ 22598 h 369854"/>
                <a:gd name="connsiteX148" fmla="*/ 48251 w 177576"/>
                <a:gd name="connsiteY148" fmla="*/ 20238 h 369854"/>
                <a:gd name="connsiteX149" fmla="*/ 46527 w 177576"/>
                <a:gd name="connsiteY149" fmla="*/ 16366 h 369854"/>
                <a:gd name="connsiteX150" fmla="*/ 46164 w 177576"/>
                <a:gd name="connsiteY150" fmla="*/ 15217 h 369854"/>
                <a:gd name="connsiteX151" fmla="*/ 46104 w 177576"/>
                <a:gd name="connsiteY151" fmla="*/ 14369 h 369854"/>
                <a:gd name="connsiteX152" fmla="*/ 46285 w 177576"/>
                <a:gd name="connsiteY152" fmla="*/ 12464 h 369854"/>
                <a:gd name="connsiteX153" fmla="*/ 46467 w 177576"/>
                <a:gd name="connsiteY153" fmla="*/ 11556 h 369854"/>
                <a:gd name="connsiteX154" fmla="*/ 47223 w 177576"/>
                <a:gd name="connsiteY154" fmla="*/ 10074 h 369854"/>
                <a:gd name="connsiteX155" fmla="*/ 47676 w 177576"/>
                <a:gd name="connsiteY155" fmla="*/ 9378 h 369854"/>
                <a:gd name="connsiteX156" fmla="*/ 47858 w 177576"/>
                <a:gd name="connsiteY156" fmla="*/ 9529 h 369854"/>
                <a:gd name="connsiteX157" fmla="*/ 47797 w 177576"/>
                <a:gd name="connsiteY157" fmla="*/ 8259 h 369854"/>
                <a:gd name="connsiteX158" fmla="*/ 47676 w 177576"/>
                <a:gd name="connsiteY158" fmla="*/ 7018 h 369854"/>
                <a:gd name="connsiteX159" fmla="*/ 46830 w 177576"/>
                <a:gd name="connsiteY159" fmla="*/ 3812 h 369854"/>
                <a:gd name="connsiteX160" fmla="*/ 45287 w 177576"/>
                <a:gd name="connsiteY160" fmla="*/ 1119 h 369854"/>
                <a:gd name="connsiteX161" fmla="*/ 42988 w 177576"/>
                <a:gd name="connsiteY161" fmla="*/ 0 h 369854"/>
                <a:gd name="connsiteX162" fmla="*/ 40658 w 177576"/>
                <a:gd name="connsiteY162" fmla="*/ 1028 h 369854"/>
                <a:gd name="connsiteX163" fmla="*/ 38843 w 177576"/>
                <a:gd name="connsiteY163" fmla="*/ 2541 h 369854"/>
                <a:gd name="connsiteX164" fmla="*/ 37814 w 177576"/>
                <a:gd name="connsiteY164" fmla="*/ 3388 h 369854"/>
                <a:gd name="connsiteX165" fmla="*/ 35182 w 177576"/>
                <a:gd name="connsiteY165" fmla="*/ 6262 h 369854"/>
                <a:gd name="connsiteX166" fmla="*/ 33519 w 177576"/>
                <a:gd name="connsiteY166" fmla="*/ 8773 h 369854"/>
                <a:gd name="connsiteX167" fmla="*/ 32914 w 177576"/>
                <a:gd name="connsiteY167" fmla="*/ 10527 h 369854"/>
                <a:gd name="connsiteX168" fmla="*/ 32369 w 177576"/>
                <a:gd name="connsiteY168" fmla="*/ 13795 h 369854"/>
                <a:gd name="connsiteX169" fmla="*/ 31794 w 177576"/>
                <a:gd name="connsiteY169" fmla="*/ 15307 h 369854"/>
                <a:gd name="connsiteX170" fmla="*/ 30554 w 177576"/>
                <a:gd name="connsiteY170" fmla="*/ 16608 h 369854"/>
                <a:gd name="connsiteX171" fmla="*/ 29102 w 177576"/>
                <a:gd name="connsiteY171" fmla="*/ 17395 h 369854"/>
                <a:gd name="connsiteX172" fmla="*/ 27892 w 177576"/>
                <a:gd name="connsiteY172" fmla="*/ 18333 h 369854"/>
                <a:gd name="connsiteX173" fmla="*/ 27347 w 177576"/>
                <a:gd name="connsiteY173" fmla="*/ 20208 h 369854"/>
                <a:gd name="connsiteX174" fmla="*/ 27347 w 177576"/>
                <a:gd name="connsiteY174" fmla="*/ 20238 h 369854"/>
                <a:gd name="connsiteX175" fmla="*/ 26107 w 177576"/>
                <a:gd name="connsiteY175" fmla="*/ 22567 h 369854"/>
                <a:gd name="connsiteX176" fmla="*/ 24716 w 177576"/>
                <a:gd name="connsiteY176" fmla="*/ 24655 h 369854"/>
                <a:gd name="connsiteX177" fmla="*/ 23082 w 177576"/>
                <a:gd name="connsiteY177" fmla="*/ 26409 h 369854"/>
                <a:gd name="connsiteX178" fmla="*/ 21086 w 177576"/>
                <a:gd name="connsiteY178" fmla="*/ 27589 h 369854"/>
                <a:gd name="connsiteX179" fmla="*/ 19754 w 177576"/>
                <a:gd name="connsiteY179" fmla="*/ 29647 h 369854"/>
                <a:gd name="connsiteX180" fmla="*/ 14612 w 177576"/>
                <a:gd name="connsiteY180" fmla="*/ 35152 h 369854"/>
                <a:gd name="connsiteX181" fmla="*/ 14097 w 177576"/>
                <a:gd name="connsiteY181" fmla="*/ 35848 h 369854"/>
                <a:gd name="connsiteX182" fmla="*/ 13129 w 177576"/>
                <a:gd name="connsiteY182" fmla="*/ 37905 h 369854"/>
                <a:gd name="connsiteX183" fmla="*/ 12948 w 177576"/>
                <a:gd name="connsiteY183" fmla="*/ 38812 h 369854"/>
                <a:gd name="connsiteX184" fmla="*/ 13008 w 177576"/>
                <a:gd name="connsiteY184" fmla="*/ 40537 h 369854"/>
                <a:gd name="connsiteX185" fmla="*/ 12917 w 177576"/>
                <a:gd name="connsiteY185" fmla="*/ 41172 h 369854"/>
                <a:gd name="connsiteX186" fmla="*/ 3267 w 177576"/>
                <a:gd name="connsiteY186" fmla="*/ 54967 h 369854"/>
                <a:gd name="connsiteX187" fmla="*/ 303 w 177576"/>
                <a:gd name="connsiteY187" fmla="*/ 57962 h 369854"/>
                <a:gd name="connsiteX188" fmla="*/ 0 w 177576"/>
                <a:gd name="connsiteY188" fmla="*/ 59262 h 369854"/>
                <a:gd name="connsiteX189" fmla="*/ 999 w 177576"/>
                <a:gd name="connsiteY189" fmla="*/ 61259 h 369854"/>
                <a:gd name="connsiteX190" fmla="*/ 999 w 177576"/>
                <a:gd name="connsiteY190" fmla="*/ 61259 h 369854"/>
                <a:gd name="connsiteX191" fmla="*/ 2602 w 177576"/>
                <a:gd name="connsiteY191" fmla="*/ 62893 h 369854"/>
                <a:gd name="connsiteX192" fmla="*/ 8349 w 177576"/>
                <a:gd name="connsiteY192" fmla="*/ 66825 h 369854"/>
                <a:gd name="connsiteX193" fmla="*/ 9832 w 177576"/>
                <a:gd name="connsiteY193" fmla="*/ 68489 h 369854"/>
                <a:gd name="connsiteX194" fmla="*/ 10104 w 177576"/>
                <a:gd name="connsiteY194" fmla="*/ 68761 h 369854"/>
                <a:gd name="connsiteX195" fmla="*/ 10346 w 177576"/>
                <a:gd name="connsiteY195" fmla="*/ 69972 h 369854"/>
                <a:gd name="connsiteX196" fmla="*/ 8501 w 177576"/>
                <a:gd name="connsiteY196" fmla="*/ 73692 h 369854"/>
                <a:gd name="connsiteX197" fmla="*/ 8017 w 177576"/>
                <a:gd name="connsiteY197" fmla="*/ 75810 h 369854"/>
                <a:gd name="connsiteX198" fmla="*/ 7896 w 177576"/>
                <a:gd name="connsiteY198" fmla="*/ 78291 h 369854"/>
                <a:gd name="connsiteX199" fmla="*/ 8259 w 177576"/>
                <a:gd name="connsiteY199" fmla="*/ 80650 h 369854"/>
                <a:gd name="connsiteX200" fmla="*/ 9166 w 177576"/>
                <a:gd name="connsiteY200" fmla="*/ 82526 h 369854"/>
                <a:gd name="connsiteX201" fmla="*/ 9227 w 177576"/>
                <a:gd name="connsiteY201" fmla="*/ 82556 h 369854"/>
                <a:gd name="connsiteX202" fmla="*/ 9953 w 177576"/>
                <a:gd name="connsiteY202" fmla="*/ 83403 h 369854"/>
                <a:gd name="connsiteX203" fmla="*/ 9438 w 177576"/>
                <a:gd name="connsiteY203" fmla="*/ 85491 h 369854"/>
                <a:gd name="connsiteX204" fmla="*/ 8834 w 177576"/>
                <a:gd name="connsiteY204" fmla="*/ 85944 h 369854"/>
                <a:gd name="connsiteX205" fmla="*/ 8017 w 177576"/>
                <a:gd name="connsiteY205" fmla="*/ 86065 h 369854"/>
                <a:gd name="connsiteX206" fmla="*/ 7472 w 177576"/>
                <a:gd name="connsiteY206" fmla="*/ 86519 h 369854"/>
                <a:gd name="connsiteX207" fmla="*/ 8138 w 177576"/>
                <a:gd name="connsiteY207" fmla="*/ 89363 h 369854"/>
                <a:gd name="connsiteX208" fmla="*/ 7896 w 177576"/>
                <a:gd name="connsiteY208" fmla="*/ 90240 h 369854"/>
                <a:gd name="connsiteX209" fmla="*/ 7503 w 177576"/>
                <a:gd name="connsiteY209" fmla="*/ 90906 h 369854"/>
                <a:gd name="connsiteX210" fmla="*/ 7382 w 177576"/>
                <a:gd name="connsiteY210" fmla="*/ 91511 h 369854"/>
                <a:gd name="connsiteX211" fmla="*/ 7412 w 177576"/>
                <a:gd name="connsiteY211" fmla="*/ 92358 h 369854"/>
                <a:gd name="connsiteX212" fmla="*/ 7382 w 177576"/>
                <a:gd name="connsiteY212" fmla="*/ 92841 h 369854"/>
                <a:gd name="connsiteX213" fmla="*/ 7623 w 177576"/>
                <a:gd name="connsiteY213" fmla="*/ 93356 h 369854"/>
                <a:gd name="connsiteX214" fmla="*/ 8531 w 177576"/>
                <a:gd name="connsiteY214" fmla="*/ 94173 h 369854"/>
                <a:gd name="connsiteX215" fmla="*/ 9348 w 177576"/>
                <a:gd name="connsiteY215" fmla="*/ 95504 h 369854"/>
                <a:gd name="connsiteX216" fmla="*/ 9257 w 177576"/>
                <a:gd name="connsiteY216" fmla="*/ 98741 h 369854"/>
                <a:gd name="connsiteX217" fmla="*/ 9378 w 177576"/>
                <a:gd name="connsiteY217" fmla="*/ 100041 h 369854"/>
                <a:gd name="connsiteX218" fmla="*/ 16185 w 177576"/>
                <a:gd name="connsiteY218" fmla="*/ 98045 h 369854"/>
                <a:gd name="connsiteX219" fmla="*/ 18030 w 177576"/>
                <a:gd name="connsiteY219" fmla="*/ 98771 h 369854"/>
                <a:gd name="connsiteX220" fmla="*/ 19482 w 177576"/>
                <a:gd name="connsiteY220" fmla="*/ 99648 h 369854"/>
                <a:gd name="connsiteX221" fmla="*/ 31492 w 177576"/>
                <a:gd name="connsiteY221" fmla="*/ 104246 h 369854"/>
                <a:gd name="connsiteX222" fmla="*/ 32157 w 177576"/>
                <a:gd name="connsiteY222" fmla="*/ 104186 h 369854"/>
                <a:gd name="connsiteX223" fmla="*/ 32974 w 177576"/>
                <a:gd name="connsiteY223" fmla="*/ 106545 h 369854"/>
                <a:gd name="connsiteX224" fmla="*/ 32883 w 177576"/>
                <a:gd name="connsiteY224" fmla="*/ 109147 h 369854"/>
                <a:gd name="connsiteX225" fmla="*/ 31946 w 177576"/>
                <a:gd name="connsiteY225" fmla="*/ 110781 h 369854"/>
                <a:gd name="connsiteX226" fmla="*/ 30100 w 177576"/>
                <a:gd name="connsiteY226" fmla="*/ 110176 h 369854"/>
                <a:gd name="connsiteX227" fmla="*/ 30100 w 177576"/>
                <a:gd name="connsiteY227" fmla="*/ 112414 h 369854"/>
                <a:gd name="connsiteX228" fmla="*/ 30614 w 177576"/>
                <a:gd name="connsiteY228" fmla="*/ 116559 h 369854"/>
                <a:gd name="connsiteX229" fmla="*/ 30796 w 177576"/>
                <a:gd name="connsiteY229" fmla="*/ 120431 h 369854"/>
                <a:gd name="connsiteX230" fmla="*/ 28739 w 177576"/>
                <a:gd name="connsiteY230" fmla="*/ 123759 h 369854"/>
                <a:gd name="connsiteX231" fmla="*/ 31704 w 177576"/>
                <a:gd name="connsiteY231" fmla="*/ 126209 h 369854"/>
                <a:gd name="connsiteX232" fmla="*/ 32157 w 177576"/>
                <a:gd name="connsiteY232" fmla="*/ 127238 h 369854"/>
                <a:gd name="connsiteX233" fmla="*/ 33004 w 177576"/>
                <a:gd name="connsiteY233" fmla="*/ 126421 h 369854"/>
                <a:gd name="connsiteX234" fmla="*/ 33519 w 177576"/>
                <a:gd name="connsiteY234" fmla="*/ 127268 h 369854"/>
                <a:gd name="connsiteX235" fmla="*/ 34305 w 177576"/>
                <a:gd name="connsiteY235" fmla="*/ 130596 h 369854"/>
                <a:gd name="connsiteX236" fmla="*/ 33307 w 177576"/>
                <a:gd name="connsiteY236" fmla="*/ 131019 h 369854"/>
                <a:gd name="connsiteX237" fmla="*/ 32581 w 177576"/>
                <a:gd name="connsiteY237" fmla="*/ 130898 h 369854"/>
                <a:gd name="connsiteX238" fmla="*/ 32218 w 177576"/>
                <a:gd name="connsiteY238" fmla="*/ 130172 h 369854"/>
                <a:gd name="connsiteX239" fmla="*/ 32157 w 177576"/>
                <a:gd name="connsiteY239" fmla="*/ 128841 h 369854"/>
                <a:gd name="connsiteX240" fmla="*/ 31492 w 177576"/>
                <a:gd name="connsiteY240" fmla="*/ 128841 h 369854"/>
                <a:gd name="connsiteX241" fmla="*/ 29495 w 177576"/>
                <a:gd name="connsiteY241" fmla="*/ 133076 h 369854"/>
                <a:gd name="connsiteX242" fmla="*/ 28618 w 177576"/>
                <a:gd name="connsiteY242" fmla="*/ 133318 h 369854"/>
                <a:gd name="connsiteX243" fmla="*/ 25744 w 177576"/>
                <a:gd name="connsiteY243" fmla="*/ 134135 h 369854"/>
                <a:gd name="connsiteX244" fmla="*/ 17001 w 177576"/>
                <a:gd name="connsiteY244" fmla="*/ 133046 h 369854"/>
                <a:gd name="connsiteX245" fmla="*/ 18091 w 177576"/>
                <a:gd name="connsiteY245" fmla="*/ 134347 h 369854"/>
                <a:gd name="connsiteX246" fmla="*/ 19724 w 177576"/>
                <a:gd name="connsiteY246" fmla="*/ 136888 h 369854"/>
                <a:gd name="connsiteX247" fmla="*/ 21176 w 177576"/>
                <a:gd name="connsiteY247" fmla="*/ 138189 h 369854"/>
                <a:gd name="connsiteX248" fmla="*/ 22568 w 177576"/>
                <a:gd name="connsiteY248" fmla="*/ 138794 h 369854"/>
                <a:gd name="connsiteX249" fmla="*/ 23657 w 177576"/>
                <a:gd name="connsiteY249" fmla="*/ 139096 h 369854"/>
                <a:gd name="connsiteX250" fmla="*/ 24353 w 177576"/>
                <a:gd name="connsiteY250" fmla="*/ 139883 h 369854"/>
                <a:gd name="connsiteX251" fmla="*/ 24625 w 177576"/>
                <a:gd name="connsiteY251" fmla="*/ 141910 h 369854"/>
                <a:gd name="connsiteX252" fmla="*/ 23808 w 177576"/>
                <a:gd name="connsiteY252" fmla="*/ 145207 h 369854"/>
                <a:gd name="connsiteX253" fmla="*/ 21842 w 177576"/>
                <a:gd name="connsiteY253" fmla="*/ 147748 h 369854"/>
                <a:gd name="connsiteX254" fmla="*/ 19391 w 177576"/>
                <a:gd name="connsiteY254" fmla="*/ 149623 h 369854"/>
                <a:gd name="connsiteX255" fmla="*/ 17001 w 177576"/>
                <a:gd name="connsiteY255" fmla="*/ 150864 h 369854"/>
                <a:gd name="connsiteX256" fmla="*/ 17425 w 177576"/>
                <a:gd name="connsiteY256" fmla="*/ 154010 h 369854"/>
                <a:gd name="connsiteX257" fmla="*/ 15761 w 177576"/>
                <a:gd name="connsiteY257" fmla="*/ 155734 h 369854"/>
                <a:gd name="connsiteX258" fmla="*/ 13523 w 177576"/>
                <a:gd name="connsiteY258" fmla="*/ 155825 h 369854"/>
                <a:gd name="connsiteX259" fmla="*/ 12191 w 177576"/>
                <a:gd name="connsiteY259" fmla="*/ 154222 h 369854"/>
                <a:gd name="connsiteX260" fmla="*/ 12464 w 177576"/>
                <a:gd name="connsiteY260" fmla="*/ 155643 h 369854"/>
                <a:gd name="connsiteX261" fmla="*/ 13976 w 177576"/>
                <a:gd name="connsiteY261" fmla="*/ 156914 h 369854"/>
                <a:gd name="connsiteX262" fmla="*/ 14309 w 177576"/>
                <a:gd name="connsiteY262" fmla="*/ 158003 h 369854"/>
                <a:gd name="connsiteX263" fmla="*/ 14309 w 177576"/>
                <a:gd name="connsiteY263" fmla="*/ 163086 h 369854"/>
                <a:gd name="connsiteX264" fmla="*/ 14793 w 177576"/>
                <a:gd name="connsiteY264" fmla="*/ 165385 h 369854"/>
                <a:gd name="connsiteX265" fmla="*/ 16064 w 177576"/>
                <a:gd name="connsiteY265" fmla="*/ 166504 h 369854"/>
                <a:gd name="connsiteX266" fmla="*/ 17909 w 177576"/>
                <a:gd name="connsiteY266" fmla="*/ 166806 h 369854"/>
                <a:gd name="connsiteX267" fmla="*/ 20117 w 177576"/>
                <a:gd name="connsiteY267" fmla="*/ 166806 h 369854"/>
                <a:gd name="connsiteX268" fmla="*/ 21721 w 177576"/>
                <a:gd name="connsiteY268" fmla="*/ 167381 h 369854"/>
                <a:gd name="connsiteX269" fmla="*/ 23233 w 177576"/>
                <a:gd name="connsiteY269" fmla="*/ 168894 h 369854"/>
                <a:gd name="connsiteX270" fmla="*/ 24292 w 177576"/>
                <a:gd name="connsiteY270" fmla="*/ 171042 h 369854"/>
                <a:gd name="connsiteX271" fmla="*/ 24625 w 177576"/>
                <a:gd name="connsiteY271" fmla="*/ 173522 h 369854"/>
                <a:gd name="connsiteX272" fmla="*/ 23899 w 177576"/>
                <a:gd name="connsiteY272" fmla="*/ 175852 h 369854"/>
                <a:gd name="connsiteX273" fmla="*/ 19785 w 177576"/>
                <a:gd name="connsiteY273" fmla="*/ 181962 h 369854"/>
                <a:gd name="connsiteX274" fmla="*/ 19634 w 177576"/>
                <a:gd name="connsiteY274" fmla="*/ 183354 h 369854"/>
                <a:gd name="connsiteX275" fmla="*/ 19634 w 177576"/>
                <a:gd name="connsiteY275" fmla="*/ 185018 h 369854"/>
                <a:gd name="connsiteX276" fmla="*/ 19270 w 177576"/>
                <a:gd name="connsiteY276" fmla="*/ 186409 h 369854"/>
                <a:gd name="connsiteX277" fmla="*/ 17092 w 177576"/>
                <a:gd name="connsiteY277" fmla="*/ 187317 h 369854"/>
                <a:gd name="connsiteX278" fmla="*/ 17001 w 177576"/>
                <a:gd name="connsiteY278" fmla="*/ 188133 h 369854"/>
                <a:gd name="connsiteX279" fmla="*/ 17455 w 177576"/>
                <a:gd name="connsiteY279" fmla="*/ 189071 h 369854"/>
                <a:gd name="connsiteX280" fmla="*/ 18030 w 177576"/>
                <a:gd name="connsiteY280" fmla="*/ 189919 h 369854"/>
                <a:gd name="connsiteX281" fmla="*/ 18544 w 177576"/>
                <a:gd name="connsiteY281" fmla="*/ 191885 h 369854"/>
                <a:gd name="connsiteX282" fmla="*/ 17455 w 177576"/>
                <a:gd name="connsiteY282" fmla="*/ 201172 h 369854"/>
                <a:gd name="connsiteX283" fmla="*/ 17032 w 177576"/>
                <a:gd name="connsiteY283" fmla="*/ 201747 h 369854"/>
                <a:gd name="connsiteX284" fmla="*/ 16941 w 177576"/>
                <a:gd name="connsiteY284" fmla="*/ 202412 h 369854"/>
                <a:gd name="connsiteX285" fmla="*/ 17667 w 177576"/>
                <a:gd name="connsiteY285" fmla="*/ 203774 h 369854"/>
                <a:gd name="connsiteX286" fmla="*/ 18272 w 177576"/>
                <a:gd name="connsiteY286" fmla="*/ 204227 h 369854"/>
                <a:gd name="connsiteX287" fmla="*/ 19906 w 177576"/>
                <a:gd name="connsiteY287" fmla="*/ 204832 h 369854"/>
                <a:gd name="connsiteX288" fmla="*/ 20420 w 177576"/>
                <a:gd name="connsiteY288" fmla="*/ 205438 h 369854"/>
                <a:gd name="connsiteX289" fmla="*/ 20632 w 177576"/>
                <a:gd name="connsiteY289" fmla="*/ 207979 h 369854"/>
                <a:gd name="connsiteX290" fmla="*/ 19906 w 177576"/>
                <a:gd name="connsiteY290" fmla="*/ 210217 h 369854"/>
                <a:gd name="connsiteX291" fmla="*/ 18756 w 177576"/>
                <a:gd name="connsiteY291" fmla="*/ 211942 h 369854"/>
                <a:gd name="connsiteX292" fmla="*/ 17667 w 177576"/>
                <a:gd name="connsiteY292" fmla="*/ 212940 h 369854"/>
                <a:gd name="connsiteX293" fmla="*/ 18242 w 177576"/>
                <a:gd name="connsiteY293" fmla="*/ 213696 h 369854"/>
                <a:gd name="connsiteX294" fmla="*/ 18272 w 177576"/>
                <a:gd name="connsiteY294" fmla="*/ 214211 h 369854"/>
                <a:gd name="connsiteX295" fmla="*/ 20874 w 177576"/>
                <a:gd name="connsiteY295" fmla="*/ 210550 h 369854"/>
                <a:gd name="connsiteX296" fmla="*/ 22144 w 177576"/>
                <a:gd name="connsiteY296" fmla="*/ 207767 h 369854"/>
                <a:gd name="connsiteX297" fmla="*/ 22477 w 177576"/>
                <a:gd name="connsiteY297" fmla="*/ 204590 h 369854"/>
                <a:gd name="connsiteX298" fmla="*/ 23082 w 177576"/>
                <a:gd name="connsiteY298" fmla="*/ 207011 h 369854"/>
                <a:gd name="connsiteX299" fmla="*/ 24413 w 177576"/>
                <a:gd name="connsiteY299" fmla="*/ 209219 h 369854"/>
                <a:gd name="connsiteX300" fmla="*/ 25472 w 177576"/>
                <a:gd name="connsiteY300" fmla="*/ 211639 h 369854"/>
                <a:gd name="connsiteX301" fmla="*/ 25291 w 177576"/>
                <a:gd name="connsiteY301" fmla="*/ 214634 h 369854"/>
                <a:gd name="connsiteX302" fmla="*/ 23596 w 177576"/>
                <a:gd name="connsiteY302" fmla="*/ 216509 h 369854"/>
                <a:gd name="connsiteX303" fmla="*/ 18333 w 177576"/>
                <a:gd name="connsiteY303" fmla="*/ 218869 h 369854"/>
                <a:gd name="connsiteX304" fmla="*/ 17001 w 177576"/>
                <a:gd name="connsiteY304" fmla="*/ 220533 h 369854"/>
                <a:gd name="connsiteX305" fmla="*/ 16820 w 177576"/>
                <a:gd name="connsiteY305" fmla="*/ 219565 h 369854"/>
                <a:gd name="connsiteX306" fmla="*/ 16669 w 177576"/>
                <a:gd name="connsiteY306" fmla="*/ 219171 h 369854"/>
                <a:gd name="connsiteX307" fmla="*/ 16669 w 177576"/>
                <a:gd name="connsiteY307" fmla="*/ 218778 h 369854"/>
                <a:gd name="connsiteX308" fmla="*/ 16366 w 177576"/>
                <a:gd name="connsiteY308" fmla="*/ 220533 h 369854"/>
                <a:gd name="connsiteX309" fmla="*/ 15610 w 177576"/>
                <a:gd name="connsiteY309" fmla="*/ 220533 h 369854"/>
                <a:gd name="connsiteX310" fmla="*/ 15610 w 177576"/>
                <a:gd name="connsiteY310" fmla="*/ 217962 h 369854"/>
                <a:gd name="connsiteX311" fmla="*/ 16427 w 177576"/>
                <a:gd name="connsiteY311" fmla="*/ 215511 h 369854"/>
                <a:gd name="connsiteX312" fmla="*/ 15610 w 177576"/>
                <a:gd name="connsiteY312" fmla="*/ 212637 h 369854"/>
                <a:gd name="connsiteX313" fmla="*/ 17001 w 177576"/>
                <a:gd name="connsiteY313" fmla="*/ 211215 h 369854"/>
                <a:gd name="connsiteX314" fmla="*/ 15338 w 177576"/>
                <a:gd name="connsiteY314" fmla="*/ 212305 h 369854"/>
                <a:gd name="connsiteX315" fmla="*/ 13371 w 177576"/>
                <a:gd name="connsiteY315" fmla="*/ 214937 h 369854"/>
                <a:gd name="connsiteX316" fmla="*/ 11859 w 177576"/>
                <a:gd name="connsiteY316" fmla="*/ 215451 h 369854"/>
                <a:gd name="connsiteX317" fmla="*/ 10981 w 177576"/>
                <a:gd name="connsiteY317" fmla="*/ 216146 h 369854"/>
                <a:gd name="connsiteX318" fmla="*/ 11980 w 177576"/>
                <a:gd name="connsiteY318" fmla="*/ 217719 h 369854"/>
                <a:gd name="connsiteX319" fmla="*/ 13523 w 177576"/>
                <a:gd name="connsiteY319" fmla="*/ 219534 h 369854"/>
                <a:gd name="connsiteX320" fmla="*/ 14309 w 177576"/>
                <a:gd name="connsiteY320" fmla="*/ 220957 h 369854"/>
                <a:gd name="connsiteX321" fmla="*/ 14006 w 177576"/>
                <a:gd name="connsiteY321" fmla="*/ 221168 h 369854"/>
                <a:gd name="connsiteX322" fmla="*/ 13341 w 177576"/>
                <a:gd name="connsiteY322" fmla="*/ 221894 h 369854"/>
                <a:gd name="connsiteX323" fmla="*/ 12615 w 177576"/>
                <a:gd name="connsiteY323" fmla="*/ 222893 h 369854"/>
                <a:gd name="connsiteX324" fmla="*/ 12191 w 177576"/>
                <a:gd name="connsiteY324" fmla="*/ 223861 h 369854"/>
                <a:gd name="connsiteX325" fmla="*/ 12554 w 177576"/>
                <a:gd name="connsiteY325" fmla="*/ 224617 h 369854"/>
                <a:gd name="connsiteX326" fmla="*/ 13280 w 177576"/>
                <a:gd name="connsiteY326" fmla="*/ 225766 h 369854"/>
                <a:gd name="connsiteX327" fmla="*/ 13553 w 177576"/>
                <a:gd name="connsiteY327" fmla="*/ 226825 h 369854"/>
                <a:gd name="connsiteX328" fmla="*/ 12494 w 177576"/>
                <a:gd name="connsiteY328" fmla="*/ 227249 h 369854"/>
                <a:gd name="connsiteX329" fmla="*/ 10618 w 177576"/>
                <a:gd name="connsiteY329" fmla="*/ 227763 h 369854"/>
                <a:gd name="connsiteX330" fmla="*/ 9741 w 177576"/>
                <a:gd name="connsiteY330" fmla="*/ 229064 h 369854"/>
                <a:gd name="connsiteX331" fmla="*/ 9409 w 177576"/>
                <a:gd name="connsiteY331" fmla="*/ 231060 h 369854"/>
                <a:gd name="connsiteX332" fmla="*/ 9287 w 177576"/>
                <a:gd name="connsiteY332" fmla="*/ 238291 h 369854"/>
                <a:gd name="connsiteX333" fmla="*/ 8894 w 177576"/>
                <a:gd name="connsiteY333" fmla="*/ 240317 h 369854"/>
                <a:gd name="connsiteX334" fmla="*/ 8017 w 177576"/>
                <a:gd name="connsiteY334" fmla="*/ 242223 h 369854"/>
                <a:gd name="connsiteX335" fmla="*/ 6746 w 177576"/>
                <a:gd name="connsiteY335" fmla="*/ 243463 h 369854"/>
                <a:gd name="connsiteX336" fmla="*/ 5113 w 177576"/>
                <a:gd name="connsiteY336" fmla="*/ 244583 h 369854"/>
                <a:gd name="connsiteX337" fmla="*/ 3752 w 177576"/>
                <a:gd name="connsiteY337" fmla="*/ 245793 h 369854"/>
                <a:gd name="connsiteX338" fmla="*/ 3267 w 177576"/>
                <a:gd name="connsiteY338" fmla="*/ 247215 h 369854"/>
                <a:gd name="connsiteX339" fmla="*/ 3781 w 177576"/>
                <a:gd name="connsiteY339" fmla="*/ 248273 h 369854"/>
                <a:gd name="connsiteX340" fmla="*/ 10800 w 177576"/>
                <a:gd name="connsiteY340" fmla="*/ 257803 h 369854"/>
                <a:gd name="connsiteX341" fmla="*/ 11496 w 177576"/>
                <a:gd name="connsiteY341" fmla="*/ 259678 h 369854"/>
                <a:gd name="connsiteX342" fmla="*/ 12040 w 177576"/>
                <a:gd name="connsiteY342" fmla="*/ 256320 h 369854"/>
                <a:gd name="connsiteX343" fmla="*/ 14460 w 177576"/>
                <a:gd name="connsiteY343" fmla="*/ 255685 h 369854"/>
                <a:gd name="connsiteX344" fmla="*/ 17122 w 177576"/>
                <a:gd name="connsiteY344" fmla="*/ 256956 h 369854"/>
                <a:gd name="connsiteX345" fmla="*/ 18363 w 177576"/>
                <a:gd name="connsiteY345" fmla="*/ 259285 h 369854"/>
                <a:gd name="connsiteX346" fmla="*/ 18181 w 177576"/>
                <a:gd name="connsiteY346" fmla="*/ 262189 h 369854"/>
                <a:gd name="connsiteX347" fmla="*/ 17516 w 177576"/>
                <a:gd name="connsiteY347" fmla="*/ 264458 h 369854"/>
                <a:gd name="connsiteX348" fmla="*/ 16275 w 177576"/>
                <a:gd name="connsiteY348" fmla="*/ 265093 h 369854"/>
                <a:gd name="connsiteX349" fmla="*/ 14309 w 177576"/>
                <a:gd name="connsiteY349" fmla="*/ 263066 h 369854"/>
                <a:gd name="connsiteX350" fmla="*/ 13553 w 177576"/>
                <a:gd name="connsiteY350" fmla="*/ 263066 h 369854"/>
                <a:gd name="connsiteX351" fmla="*/ 12736 w 177576"/>
                <a:gd name="connsiteY351" fmla="*/ 263278 h 369854"/>
                <a:gd name="connsiteX352" fmla="*/ 12464 w 177576"/>
                <a:gd name="connsiteY352" fmla="*/ 262220 h 369854"/>
                <a:gd name="connsiteX353" fmla="*/ 12191 w 177576"/>
                <a:gd name="connsiteY353" fmla="*/ 261312 h 369854"/>
                <a:gd name="connsiteX354" fmla="*/ 11496 w 177576"/>
                <a:gd name="connsiteY354" fmla="*/ 260586 h 369854"/>
                <a:gd name="connsiteX355" fmla="*/ 12010 w 177576"/>
                <a:gd name="connsiteY355" fmla="*/ 263187 h 369854"/>
                <a:gd name="connsiteX356" fmla="*/ 14763 w 177576"/>
                <a:gd name="connsiteY356" fmla="*/ 266787 h 369854"/>
                <a:gd name="connsiteX357" fmla="*/ 18211 w 177576"/>
                <a:gd name="connsiteY357" fmla="*/ 270024 h 369854"/>
                <a:gd name="connsiteX358" fmla="*/ 20783 w 177576"/>
                <a:gd name="connsiteY358" fmla="*/ 271416 h 369854"/>
                <a:gd name="connsiteX359" fmla="*/ 21086 w 177576"/>
                <a:gd name="connsiteY359" fmla="*/ 273201 h 369854"/>
                <a:gd name="connsiteX360" fmla="*/ 20420 w 177576"/>
                <a:gd name="connsiteY360" fmla="*/ 284182 h 369854"/>
                <a:gd name="connsiteX361" fmla="*/ 19482 w 177576"/>
                <a:gd name="connsiteY361" fmla="*/ 285029 h 369854"/>
                <a:gd name="connsiteX362" fmla="*/ 17365 w 177576"/>
                <a:gd name="connsiteY362" fmla="*/ 285937 h 369854"/>
                <a:gd name="connsiteX363" fmla="*/ 15247 w 177576"/>
                <a:gd name="connsiteY363" fmla="*/ 286421 h 369854"/>
                <a:gd name="connsiteX364" fmla="*/ 14309 w 177576"/>
                <a:gd name="connsiteY364" fmla="*/ 285876 h 369854"/>
                <a:gd name="connsiteX365" fmla="*/ 14067 w 177576"/>
                <a:gd name="connsiteY365" fmla="*/ 284212 h 369854"/>
                <a:gd name="connsiteX366" fmla="*/ 13523 w 177576"/>
                <a:gd name="connsiteY366" fmla="*/ 282458 h 369854"/>
                <a:gd name="connsiteX367" fmla="*/ 12191 w 177576"/>
                <a:gd name="connsiteY367" fmla="*/ 279614 h 369854"/>
                <a:gd name="connsiteX368" fmla="*/ 11224 w 177576"/>
                <a:gd name="connsiteY368" fmla="*/ 278253 h 369854"/>
                <a:gd name="connsiteX369" fmla="*/ 7654 w 177576"/>
                <a:gd name="connsiteY369" fmla="*/ 274229 h 369854"/>
                <a:gd name="connsiteX370" fmla="*/ 6081 w 177576"/>
                <a:gd name="connsiteY370" fmla="*/ 273231 h 369854"/>
                <a:gd name="connsiteX371" fmla="*/ 4417 w 177576"/>
                <a:gd name="connsiteY371" fmla="*/ 273352 h 369854"/>
                <a:gd name="connsiteX372" fmla="*/ 1755 w 177576"/>
                <a:gd name="connsiteY372" fmla="*/ 274653 h 369854"/>
                <a:gd name="connsiteX373" fmla="*/ 1755 w 177576"/>
                <a:gd name="connsiteY373" fmla="*/ 275470 h 369854"/>
                <a:gd name="connsiteX374" fmla="*/ 2329 w 177576"/>
                <a:gd name="connsiteY374" fmla="*/ 275681 h 369854"/>
                <a:gd name="connsiteX375" fmla="*/ 2329 w 177576"/>
                <a:gd name="connsiteY375" fmla="*/ 275802 h 369854"/>
                <a:gd name="connsiteX376" fmla="*/ 2481 w 177576"/>
                <a:gd name="connsiteY376" fmla="*/ 276286 h 369854"/>
                <a:gd name="connsiteX377" fmla="*/ 3752 w 177576"/>
                <a:gd name="connsiteY377" fmla="*/ 277829 h 369854"/>
                <a:gd name="connsiteX378" fmla="*/ 7260 w 177576"/>
                <a:gd name="connsiteY378" fmla="*/ 281066 h 369854"/>
                <a:gd name="connsiteX379" fmla="*/ 8017 w 177576"/>
                <a:gd name="connsiteY379" fmla="*/ 282548 h 369854"/>
                <a:gd name="connsiteX380" fmla="*/ 9348 w 177576"/>
                <a:gd name="connsiteY380" fmla="*/ 287963 h 369854"/>
                <a:gd name="connsiteX381" fmla="*/ 9832 w 177576"/>
                <a:gd name="connsiteY381" fmla="*/ 288962 h 369854"/>
                <a:gd name="connsiteX382" fmla="*/ 10981 w 177576"/>
                <a:gd name="connsiteY382" fmla="*/ 290625 h 369854"/>
                <a:gd name="connsiteX383" fmla="*/ 20541 w 177576"/>
                <a:gd name="connsiteY383" fmla="*/ 300487 h 369854"/>
                <a:gd name="connsiteX384" fmla="*/ 23868 w 177576"/>
                <a:gd name="connsiteY384" fmla="*/ 302817 h 369854"/>
                <a:gd name="connsiteX385" fmla="*/ 29556 w 177576"/>
                <a:gd name="connsiteY385" fmla="*/ 304572 h 369854"/>
                <a:gd name="connsiteX386" fmla="*/ 32793 w 177576"/>
                <a:gd name="connsiteY386" fmla="*/ 307234 h 369854"/>
                <a:gd name="connsiteX387" fmla="*/ 38359 w 177576"/>
                <a:gd name="connsiteY387" fmla="*/ 310289 h 369854"/>
                <a:gd name="connsiteX388" fmla="*/ 44984 w 177576"/>
                <a:gd name="connsiteY388" fmla="*/ 312255 h 369854"/>
                <a:gd name="connsiteX389" fmla="*/ 45982 w 177576"/>
                <a:gd name="connsiteY389" fmla="*/ 313223 h 369854"/>
                <a:gd name="connsiteX390" fmla="*/ 46345 w 177576"/>
                <a:gd name="connsiteY390" fmla="*/ 312951 h 369854"/>
                <a:gd name="connsiteX391" fmla="*/ 47162 w 177576"/>
                <a:gd name="connsiteY391" fmla="*/ 314161 h 369854"/>
                <a:gd name="connsiteX392" fmla="*/ 47888 w 177576"/>
                <a:gd name="connsiteY392" fmla="*/ 315583 h 369854"/>
                <a:gd name="connsiteX393" fmla="*/ 48009 w 177576"/>
                <a:gd name="connsiteY393" fmla="*/ 316067 h 369854"/>
                <a:gd name="connsiteX394" fmla="*/ 48735 w 177576"/>
                <a:gd name="connsiteY394" fmla="*/ 316612 h 369854"/>
                <a:gd name="connsiteX395" fmla="*/ 49340 w 177576"/>
                <a:gd name="connsiteY395" fmla="*/ 317005 h 369854"/>
                <a:gd name="connsiteX396" fmla="*/ 49824 w 177576"/>
                <a:gd name="connsiteY396" fmla="*/ 317519 h 369854"/>
                <a:gd name="connsiteX397" fmla="*/ 50157 w 177576"/>
                <a:gd name="connsiteY397" fmla="*/ 318608 h 369854"/>
                <a:gd name="connsiteX398" fmla="*/ 50278 w 177576"/>
                <a:gd name="connsiteY398" fmla="*/ 318033 h 369854"/>
                <a:gd name="connsiteX399" fmla="*/ 50429 w 177576"/>
                <a:gd name="connsiteY399" fmla="*/ 317670 h 369854"/>
                <a:gd name="connsiteX400" fmla="*/ 50853 w 177576"/>
                <a:gd name="connsiteY400" fmla="*/ 316884 h 369854"/>
                <a:gd name="connsiteX401" fmla="*/ 53576 w 177576"/>
                <a:gd name="connsiteY401" fmla="*/ 318608 h 369854"/>
                <a:gd name="connsiteX402" fmla="*/ 52789 w 177576"/>
                <a:gd name="connsiteY402" fmla="*/ 319334 h 369854"/>
                <a:gd name="connsiteX403" fmla="*/ 53878 w 177576"/>
                <a:gd name="connsiteY403" fmla="*/ 319879 h 369854"/>
                <a:gd name="connsiteX404" fmla="*/ 55481 w 177576"/>
                <a:gd name="connsiteY404" fmla="*/ 320151 h 369854"/>
                <a:gd name="connsiteX405" fmla="*/ 58688 w 177576"/>
                <a:gd name="connsiteY405" fmla="*/ 320242 h 369854"/>
                <a:gd name="connsiteX406" fmla="*/ 59505 w 177576"/>
                <a:gd name="connsiteY406" fmla="*/ 320786 h 369854"/>
                <a:gd name="connsiteX407" fmla="*/ 60231 w 177576"/>
                <a:gd name="connsiteY407" fmla="*/ 322057 h 369854"/>
                <a:gd name="connsiteX408" fmla="*/ 60866 w 177576"/>
                <a:gd name="connsiteY408" fmla="*/ 323569 h 369854"/>
                <a:gd name="connsiteX409" fmla="*/ 65585 w 177576"/>
                <a:gd name="connsiteY409" fmla="*/ 331919 h 369854"/>
                <a:gd name="connsiteX410" fmla="*/ 67340 w 177576"/>
                <a:gd name="connsiteY410" fmla="*/ 333462 h 369854"/>
                <a:gd name="connsiteX411" fmla="*/ 66311 w 177576"/>
                <a:gd name="connsiteY411" fmla="*/ 334127 h 369854"/>
                <a:gd name="connsiteX412" fmla="*/ 65313 w 177576"/>
                <a:gd name="connsiteY412" fmla="*/ 335065 h 369854"/>
                <a:gd name="connsiteX413" fmla="*/ 63831 w 177576"/>
                <a:gd name="connsiteY413" fmla="*/ 336759 h 369854"/>
                <a:gd name="connsiteX414" fmla="*/ 63831 w 177576"/>
                <a:gd name="connsiteY414" fmla="*/ 337515 h 369854"/>
                <a:gd name="connsiteX415" fmla="*/ 64587 w 177576"/>
                <a:gd name="connsiteY415" fmla="*/ 337999 h 369854"/>
                <a:gd name="connsiteX416" fmla="*/ 66311 w 177576"/>
                <a:gd name="connsiteY416" fmla="*/ 338060 h 369854"/>
                <a:gd name="connsiteX417" fmla="*/ 67340 w 177576"/>
                <a:gd name="connsiteY417" fmla="*/ 338393 h 369854"/>
                <a:gd name="connsiteX418" fmla="*/ 68701 w 177576"/>
                <a:gd name="connsiteY418" fmla="*/ 339149 h 369854"/>
                <a:gd name="connsiteX419" fmla="*/ 69095 w 177576"/>
                <a:gd name="connsiteY419" fmla="*/ 339572 h 369854"/>
                <a:gd name="connsiteX420" fmla="*/ 69215 w 177576"/>
                <a:gd name="connsiteY420" fmla="*/ 340087 h 369854"/>
                <a:gd name="connsiteX421" fmla="*/ 69246 w 177576"/>
                <a:gd name="connsiteY421" fmla="*/ 340571 h 369854"/>
                <a:gd name="connsiteX422" fmla="*/ 69397 w 177576"/>
                <a:gd name="connsiteY422" fmla="*/ 340873 h 369854"/>
                <a:gd name="connsiteX423" fmla="*/ 71605 w 177576"/>
                <a:gd name="connsiteY423" fmla="*/ 341599 h 369854"/>
                <a:gd name="connsiteX424" fmla="*/ 73178 w 177576"/>
                <a:gd name="connsiteY424" fmla="*/ 341720 h 369854"/>
                <a:gd name="connsiteX425" fmla="*/ 74237 w 177576"/>
                <a:gd name="connsiteY425" fmla="*/ 342416 h 369854"/>
                <a:gd name="connsiteX426" fmla="*/ 74872 w 177576"/>
                <a:gd name="connsiteY426" fmla="*/ 344897 h 369854"/>
                <a:gd name="connsiteX427" fmla="*/ 74661 w 177576"/>
                <a:gd name="connsiteY427" fmla="*/ 346349 h 369854"/>
                <a:gd name="connsiteX428" fmla="*/ 72815 w 177576"/>
                <a:gd name="connsiteY428" fmla="*/ 352338 h 369854"/>
                <a:gd name="connsiteX429" fmla="*/ 71303 w 177576"/>
                <a:gd name="connsiteY429" fmla="*/ 355424 h 369854"/>
                <a:gd name="connsiteX430" fmla="*/ 71817 w 177576"/>
                <a:gd name="connsiteY430" fmla="*/ 355848 h 369854"/>
                <a:gd name="connsiteX431" fmla="*/ 73511 w 177576"/>
                <a:gd name="connsiteY431" fmla="*/ 356513 h 369854"/>
                <a:gd name="connsiteX432" fmla="*/ 71938 w 177576"/>
                <a:gd name="connsiteY432" fmla="*/ 360143 h 369854"/>
                <a:gd name="connsiteX433" fmla="*/ 71605 w 177576"/>
                <a:gd name="connsiteY433" fmla="*/ 362140 h 369854"/>
                <a:gd name="connsiteX434" fmla="*/ 72150 w 177576"/>
                <a:gd name="connsiteY434" fmla="*/ 363895 h 369854"/>
                <a:gd name="connsiteX435" fmla="*/ 72815 w 177576"/>
                <a:gd name="connsiteY435" fmla="*/ 363895 h 369854"/>
                <a:gd name="connsiteX436" fmla="*/ 72937 w 177576"/>
                <a:gd name="connsiteY436" fmla="*/ 363199 h 369854"/>
                <a:gd name="connsiteX437" fmla="*/ 73239 w 177576"/>
                <a:gd name="connsiteY437" fmla="*/ 363078 h 369854"/>
                <a:gd name="connsiteX438" fmla="*/ 73239 w 177576"/>
                <a:gd name="connsiteY438" fmla="*/ 363078 h 369854"/>
                <a:gd name="connsiteX439" fmla="*/ 74872 w 177576"/>
                <a:gd name="connsiteY439" fmla="*/ 362140 h 369854"/>
                <a:gd name="connsiteX440" fmla="*/ 78231 w 177576"/>
                <a:gd name="connsiteY440" fmla="*/ 363169 h 369854"/>
                <a:gd name="connsiteX441" fmla="*/ 82254 w 177576"/>
                <a:gd name="connsiteY441" fmla="*/ 364348 h 369854"/>
                <a:gd name="connsiteX442" fmla="*/ 86852 w 177576"/>
                <a:gd name="connsiteY442" fmla="*/ 366587 h 369854"/>
                <a:gd name="connsiteX443" fmla="*/ 89726 w 177576"/>
                <a:gd name="connsiteY443" fmla="*/ 368977 h 369854"/>
                <a:gd name="connsiteX444" fmla="*/ 91783 w 177576"/>
                <a:gd name="connsiteY444" fmla="*/ 369854 h 369854"/>
                <a:gd name="connsiteX445" fmla="*/ 93356 w 177576"/>
                <a:gd name="connsiteY445" fmla="*/ 369491 h 369854"/>
                <a:gd name="connsiteX446" fmla="*/ 93719 w 177576"/>
                <a:gd name="connsiteY446" fmla="*/ 368856 h 369854"/>
                <a:gd name="connsiteX447" fmla="*/ 93689 w 177576"/>
                <a:gd name="connsiteY447" fmla="*/ 367978 h 369854"/>
                <a:gd name="connsiteX448" fmla="*/ 93810 w 177576"/>
                <a:gd name="connsiteY448" fmla="*/ 367041 h 369854"/>
                <a:gd name="connsiteX449" fmla="*/ 94596 w 177576"/>
                <a:gd name="connsiteY449" fmla="*/ 366254 h 369854"/>
                <a:gd name="connsiteX450" fmla="*/ 95383 w 177576"/>
                <a:gd name="connsiteY450" fmla="*/ 365982 h 369854"/>
                <a:gd name="connsiteX451" fmla="*/ 96260 w 177576"/>
                <a:gd name="connsiteY451" fmla="*/ 365982 h 369854"/>
                <a:gd name="connsiteX452" fmla="*/ 97107 w 177576"/>
                <a:gd name="connsiteY452" fmla="*/ 366254 h 369854"/>
                <a:gd name="connsiteX453" fmla="*/ 98015 w 177576"/>
                <a:gd name="connsiteY453" fmla="*/ 366738 h 369854"/>
                <a:gd name="connsiteX454" fmla="*/ 98317 w 177576"/>
                <a:gd name="connsiteY454" fmla="*/ 364106 h 369854"/>
                <a:gd name="connsiteX455" fmla="*/ 99830 w 177576"/>
                <a:gd name="connsiteY455" fmla="*/ 362775 h 369854"/>
                <a:gd name="connsiteX456" fmla="*/ 101705 w 177576"/>
                <a:gd name="connsiteY456" fmla="*/ 361777 h 369854"/>
                <a:gd name="connsiteX457" fmla="*/ 103067 w 177576"/>
                <a:gd name="connsiteY457" fmla="*/ 360204 h 369854"/>
                <a:gd name="connsiteX458" fmla="*/ 103400 w 177576"/>
                <a:gd name="connsiteY458" fmla="*/ 358933 h 369854"/>
                <a:gd name="connsiteX459" fmla="*/ 103067 w 177576"/>
                <a:gd name="connsiteY459" fmla="*/ 358268 h 369854"/>
                <a:gd name="connsiteX460" fmla="*/ 102552 w 177576"/>
                <a:gd name="connsiteY460" fmla="*/ 357753 h 369854"/>
                <a:gd name="connsiteX461" fmla="*/ 102159 w 177576"/>
                <a:gd name="connsiteY461" fmla="*/ 356695 h 369854"/>
                <a:gd name="connsiteX462" fmla="*/ 101978 w 177576"/>
                <a:gd name="connsiteY462" fmla="*/ 356332 h 369854"/>
                <a:gd name="connsiteX463" fmla="*/ 101252 w 177576"/>
                <a:gd name="connsiteY463" fmla="*/ 355485 h 369854"/>
                <a:gd name="connsiteX464" fmla="*/ 100979 w 177576"/>
                <a:gd name="connsiteY464" fmla="*/ 355091 h 369854"/>
                <a:gd name="connsiteX465" fmla="*/ 101100 w 177576"/>
                <a:gd name="connsiteY465" fmla="*/ 354728 h 369854"/>
                <a:gd name="connsiteX466" fmla="*/ 101736 w 177576"/>
                <a:gd name="connsiteY466" fmla="*/ 353276 h 369854"/>
                <a:gd name="connsiteX467" fmla="*/ 101887 w 177576"/>
                <a:gd name="connsiteY467" fmla="*/ 352671 h 369854"/>
                <a:gd name="connsiteX468" fmla="*/ 101554 w 177576"/>
                <a:gd name="connsiteY468" fmla="*/ 351733 h 369854"/>
                <a:gd name="connsiteX469" fmla="*/ 100979 w 177576"/>
                <a:gd name="connsiteY469" fmla="*/ 351219 h 369854"/>
                <a:gd name="connsiteX470" fmla="*/ 100707 w 177576"/>
                <a:gd name="connsiteY470" fmla="*/ 350735 h 369854"/>
                <a:gd name="connsiteX471" fmla="*/ 101433 w 177576"/>
                <a:gd name="connsiteY471" fmla="*/ 349828 h 369854"/>
                <a:gd name="connsiteX472" fmla="*/ 102280 w 177576"/>
                <a:gd name="connsiteY472" fmla="*/ 349495 h 369854"/>
                <a:gd name="connsiteX473" fmla="*/ 103278 w 177576"/>
                <a:gd name="connsiteY473" fmla="*/ 349676 h 369854"/>
                <a:gd name="connsiteX474" fmla="*/ 103400 w 177576"/>
                <a:gd name="connsiteY474" fmla="*/ 349707 h 369854"/>
                <a:gd name="connsiteX475" fmla="*/ 107151 w 177576"/>
                <a:gd name="connsiteY475" fmla="*/ 351007 h 369854"/>
                <a:gd name="connsiteX476" fmla="*/ 108935 w 177576"/>
                <a:gd name="connsiteY476" fmla="*/ 352006 h 369854"/>
                <a:gd name="connsiteX477" fmla="*/ 110630 w 177576"/>
                <a:gd name="connsiteY477" fmla="*/ 352187 h 369854"/>
                <a:gd name="connsiteX478" fmla="*/ 112384 w 177576"/>
                <a:gd name="connsiteY478" fmla="*/ 350523 h 369854"/>
                <a:gd name="connsiteX479" fmla="*/ 113201 w 177576"/>
                <a:gd name="connsiteY479" fmla="*/ 348133 h 369854"/>
                <a:gd name="connsiteX480" fmla="*/ 112777 w 177576"/>
                <a:gd name="connsiteY480" fmla="*/ 346046 h 369854"/>
                <a:gd name="connsiteX481" fmla="*/ 108149 w 177576"/>
                <a:gd name="connsiteY481" fmla="*/ 338967 h 369854"/>
                <a:gd name="connsiteX482" fmla="*/ 105759 w 177576"/>
                <a:gd name="connsiteY482" fmla="*/ 336819 h 369854"/>
                <a:gd name="connsiteX483" fmla="*/ 105245 w 177576"/>
                <a:gd name="connsiteY483" fmla="*/ 336063 h 369854"/>
                <a:gd name="connsiteX484" fmla="*/ 103732 w 177576"/>
                <a:gd name="connsiteY484" fmla="*/ 328773 h 369854"/>
                <a:gd name="connsiteX485" fmla="*/ 103218 w 177576"/>
                <a:gd name="connsiteY485" fmla="*/ 327835 h 369854"/>
                <a:gd name="connsiteX486" fmla="*/ 104428 w 177576"/>
                <a:gd name="connsiteY486" fmla="*/ 327472 h 369854"/>
                <a:gd name="connsiteX487" fmla="*/ 109480 w 177576"/>
                <a:gd name="connsiteY487" fmla="*/ 327351 h 369854"/>
                <a:gd name="connsiteX488" fmla="*/ 111144 w 177576"/>
                <a:gd name="connsiteY488" fmla="*/ 327018 h 369854"/>
                <a:gd name="connsiteX489" fmla="*/ 111567 w 177576"/>
                <a:gd name="connsiteY489" fmla="*/ 324840 h 369854"/>
                <a:gd name="connsiteX490" fmla="*/ 112414 w 177576"/>
                <a:gd name="connsiteY490" fmla="*/ 322692 h 369854"/>
                <a:gd name="connsiteX491" fmla="*/ 113534 w 177576"/>
                <a:gd name="connsiteY491" fmla="*/ 320786 h 369854"/>
                <a:gd name="connsiteX492" fmla="*/ 114895 w 177576"/>
                <a:gd name="connsiteY492" fmla="*/ 319364 h 369854"/>
                <a:gd name="connsiteX493" fmla="*/ 116801 w 177576"/>
                <a:gd name="connsiteY493" fmla="*/ 318578 h 369854"/>
                <a:gd name="connsiteX494" fmla="*/ 120129 w 177576"/>
                <a:gd name="connsiteY494" fmla="*/ 318941 h 369854"/>
                <a:gd name="connsiteX495" fmla="*/ 121732 w 177576"/>
                <a:gd name="connsiteY495" fmla="*/ 318094 h 369854"/>
                <a:gd name="connsiteX496" fmla="*/ 123547 w 177576"/>
                <a:gd name="connsiteY496" fmla="*/ 317640 h 369854"/>
                <a:gd name="connsiteX497" fmla="*/ 128902 w 177576"/>
                <a:gd name="connsiteY497" fmla="*/ 318366 h 369854"/>
                <a:gd name="connsiteX498" fmla="*/ 131382 w 177576"/>
                <a:gd name="connsiteY498" fmla="*/ 318154 h 369854"/>
                <a:gd name="connsiteX499" fmla="*/ 135164 w 177576"/>
                <a:gd name="connsiteY499" fmla="*/ 316490 h 369854"/>
                <a:gd name="connsiteX500" fmla="*/ 137674 w 177576"/>
                <a:gd name="connsiteY500" fmla="*/ 315401 h 369854"/>
                <a:gd name="connsiteX501" fmla="*/ 138400 w 177576"/>
                <a:gd name="connsiteY501" fmla="*/ 314917 h 369854"/>
                <a:gd name="connsiteX502" fmla="*/ 138854 w 177576"/>
                <a:gd name="connsiteY502" fmla="*/ 314070 h 369854"/>
                <a:gd name="connsiteX503" fmla="*/ 140336 w 177576"/>
                <a:gd name="connsiteY503" fmla="*/ 310168 h 369854"/>
                <a:gd name="connsiteX504" fmla="*/ 140488 w 177576"/>
                <a:gd name="connsiteY504" fmla="*/ 309623 h 369854"/>
                <a:gd name="connsiteX505" fmla="*/ 140004 w 177576"/>
                <a:gd name="connsiteY505" fmla="*/ 307355 h 369854"/>
                <a:gd name="connsiteX506" fmla="*/ 139973 w 177576"/>
                <a:gd name="connsiteY506" fmla="*/ 306750 h 369854"/>
                <a:gd name="connsiteX507" fmla="*/ 139641 w 177576"/>
                <a:gd name="connsiteY507" fmla="*/ 305418 h 369854"/>
                <a:gd name="connsiteX508" fmla="*/ 139701 w 177576"/>
                <a:gd name="connsiteY508" fmla="*/ 304662 h 369854"/>
                <a:gd name="connsiteX509" fmla="*/ 140185 w 177576"/>
                <a:gd name="connsiteY509" fmla="*/ 304027 h 369854"/>
                <a:gd name="connsiteX510" fmla="*/ 141668 w 177576"/>
                <a:gd name="connsiteY510" fmla="*/ 303603 h 369854"/>
                <a:gd name="connsiteX511" fmla="*/ 142212 w 177576"/>
                <a:gd name="connsiteY511" fmla="*/ 303180 h 369854"/>
                <a:gd name="connsiteX512" fmla="*/ 143331 w 177576"/>
                <a:gd name="connsiteY512" fmla="*/ 300306 h 369854"/>
                <a:gd name="connsiteX513" fmla="*/ 143362 w 177576"/>
                <a:gd name="connsiteY513" fmla="*/ 297825 h 369854"/>
                <a:gd name="connsiteX514" fmla="*/ 143150 w 177576"/>
                <a:gd name="connsiteY514" fmla="*/ 295405 h 369854"/>
                <a:gd name="connsiteX515" fmla="*/ 143604 w 177576"/>
                <a:gd name="connsiteY515" fmla="*/ 292652 h 369854"/>
                <a:gd name="connsiteX516" fmla="*/ 144390 w 177576"/>
                <a:gd name="connsiteY516" fmla="*/ 291473 h 369854"/>
                <a:gd name="connsiteX517" fmla="*/ 145479 w 177576"/>
                <a:gd name="connsiteY517" fmla="*/ 290777 h 369854"/>
                <a:gd name="connsiteX518" fmla="*/ 146568 w 177576"/>
                <a:gd name="connsiteY518" fmla="*/ 290262 h 369854"/>
                <a:gd name="connsiteX519" fmla="*/ 147385 w 177576"/>
                <a:gd name="connsiteY519" fmla="*/ 289597 h 369854"/>
                <a:gd name="connsiteX520" fmla="*/ 147688 w 177576"/>
                <a:gd name="connsiteY520" fmla="*/ 288931 h 369854"/>
                <a:gd name="connsiteX521" fmla="*/ 149231 w 177576"/>
                <a:gd name="connsiteY521" fmla="*/ 285392 h 369854"/>
                <a:gd name="connsiteX522" fmla="*/ 150320 w 177576"/>
                <a:gd name="connsiteY522" fmla="*/ 283486 h 369854"/>
                <a:gd name="connsiteX523" fmla="*/ 150773 w 177576"/>
                <a:gd name="connsiteY523" fmla="*/ 282488 h 369854"/>
                <a:gd name="connsiteX524" fmla="*/ 151106 w 177576"/>
                <a:gd name="connsiteY524" fmla="*/ 280975 h 369854"/>
                <a:gd name="connsiteX525" fmla="*/ 151076 w 177576"/>
                <a:gd name="connsiteY525" fmla="*/ 279705 h 369854"/>
                <a:gd name="connsiteX526" fmla="*/ 150622 w 177576"/>
                <a:gd name="connsiteY526" fmla="*/ 276438 h 369854"/>
                <a:gd name="connsiteX527" fmla="*/ 150804 w 177576"/>
                <a:gd name="connsiteY527" fmla="*/ 275258 h 369854"/>
                <a:gd name="connsiteX528" fmla="*/ 151681 w 177576"/>
                <a:gd name="connsiteY528" fmla="*/ 274411 h 369854"/>
                <a:gd name="connsiteX529" fmla="*/ 153799 w 177576"/>
                <a:gd name="connsiteY529" fmla="*/ 273957 h 369854"/>
                <a:gd name="connsiteX530" fmla="*/ 154676 w 177576"/>
                <a:gd name="connsiteY530" fmla="*/ 273503 h 369854"/>
                <a:gd name="connsiteX531" fmla="*/ 155523 w 177576"/>
                <a:gd name="connsiteY531" fmla="*/ 272263 h 369854"/>
                <a:gd name="connsiteX532" fmla="*/ 155886 w 177576"/>
                <a:gd name="connsiteY532" fmla="*/ 271113 h 369854"/>
                <a:gd name="connsiteX533" fmla="*/ 156430 w 177576"/>
                <a:gd name="connsiteY533" fmla="*/ 270085 h 369854"/>
                <a:gd name="connsiteX534" fmla="*/ 157792 w 177576"/>
                <a:gd name="connsiteY534" fmla="*/ 269268 h 369854"/>
                <a:gd name="connsiteX535" fmla="*/ 160454 w 177576"/>
                <a:gd name="connsiteY535" fmla="*/ 269207 h 369854"/>
                <a:gd name="connsiteX536" fmla="*/ 162753 w 177576"/>
                <a:gd name="connsiteY536" fmla="*/ 270206 h 369854"/>
                <a:gd name="connsiteX537" fmla="*/ 165022 w 177576"/>
                <a:gd name="connsiteY537" fmla="*/ 270720 h 369854"/>
                <a:gd name="connsiteX538" fmla="*/ 167502 w 177576"/>
                <a:gd name="connsiteY538" fmla="*/ 269147 h 369854"/>
                <a:gd name="connsiteX539" fmla="*/ 168501 w 177576"/>
                <a:gd name="connsiteY539" fmla="*/ 267877 h 369854"/>
                <a:gd name="connsiteX540" fmla="*/ 168833 w 177576"/>
                <a:gd name="connsiteY540" fmla="*/ 267302 h 369854"/>
                <a:gd name="connsiteX541" fmla="*/ 169106 w 177576"/>
                <a:gd name="connsiteY541" fmla="*/ 266576 h 369854"/>
                <a:gd name="connsiteX542" fmla="*/ 169045 w 177576"/>
                <a:gd name="connsiteY542" fmla="*/ 265093 h 369854"/>
                <a:gd name="connsiteX543" fmla="*/ 169650 w 177576"/>
                <a:gd name="connsiteY543" fmla="*/ 264004 h 369854"/>
                <a:gd name="connsiteX544" fmla="*/ 170709 w 177576"/>
                <a:gd name="connsiteY544" fmla="*/ 263309 h 369854"/>
                <a:gd name="connsiteX545" fmla="*/ 172010 w 177576"/>
                <a:gd name="connsiteY545" fmla="*/ 262976 h 369854"/>
                <a:gd name="connsiteX546" fmla="*/ 172706 w 177576"/>
                <a:gd name="connsiteY546" fmla="*/ 261766 h 369854"/>
                <a:gd name="connsiteX547" fmla="*/ 173613 w 177576"/>
                <a:gd name="connsiteY547" fmla="*/ 261070 h 369854"/>
                <a:gd name="connsiteX548" fmla="*/ 174551 w 177576"/>
                <a:gd name="connsiteY548" fmla="*/ 260586 h 369854"/>
                <a:gd name="connsiteX549" fmla="*/ 175247 w 177576"/>
                <a:gd name="connsiteY549" fmla="*/ 259890 h 369854"/>
                <a:gd name="connsiteX550" fmla="*/ 175761 w 177576"/>
                <a:gd name="connsiteY550" fmla="*/ 258680 h 369854"/>
                <a:gd name="connsiteX551" fmla="*/ 175942 w 177576"/>
                <a:gd name="connsiteY551" fmla="*/ 257712 h 369854"/>
                <a:gd name="connsiteX552" fmla="*/ 175973 w 177576"/>
                <a:gd name="connsiteY552" fmla="*/ 256714 h 369854"/>
                <a:gd name="connsiteX553" fmla="*/ 176154 w 177576"/>
                <a:gd name="connsiteY553" fmla="*/ 255322 h 369854"/>
                <a:gd name="connsiteX554" fmla="*/ 177213 w 177576"/>
                <a:gd name="connsiteY554" fmla="*/ 251087 h 369854"/>
                <a:gd name="connsiteX555" fmla="*/ 177576 w 177576"/>
                <a:gd name="connsiteY555" fmla="*/ 248848 h 369854"/>
                <a:gd name="connsiteX556" fmla="*/ 177425 w 177576"/>
                <a:gd name="connsiteY556" fmla="*/ 246458 h 369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Lst>
              <a:rect l="l" t="t" r="r" b="b"/>
              <a:pathLst>
                <a:path w="177576" h="369854">
                  <a:moveTo>
                    <a:pt x="177425" y="246458"/>
                  </a:moveTo>
                  <a:lnTo>
                    <a:pt x="176759" y="244341"/>
                  </a:lnTo>
                  <a:lnTo>
                    <a:pt x="175761" y="242616"/>
                  </a:lnTo>
                  <a:lnTo>
                    <a:pt x="173069" y="239621"/>
                  </a:lnTo>
                  <a:lnTo>
                    <a:pt x="170195" y="237141"/>
                  </a:lnTo>
                  <a:lnTo>
                    <a:pt x="169771" y="236203"/>
                  </a:lnTo>
                  <a:lnTo>
                    <a:pt x="169559" y="235235"/>
                  </a:lnTo>
                  <a:lnTo>
                    <a:pt x="169196" y="234327"/>
                  </a:lnTo>
                  <a:lnTo>
                    <a:pt x="168198" y="233571"/>
                  </a:lnTo>
                  <a:lnTo>
                    <a:pt x="169922" y="231696"/>
                  </a:lnTo>
                  <a:lnTo>
                    <a:pt x="170558" y="229094"/>
                  </a:lnTo>
                  <a:lnTo>
                    <a:pt x="170376" y="223316"/>
                  </a:lnTo>
                  <a:lnTo>
                    <a:pt x="170346" y="220079"/>
                  </a:lnTo>
                  <a:lnTo>
                    <a:pt x="169499" y="217780"/>
                  </a:lnTo>
                  <a:lnTo>
                    <a:pt x="167835" y="216267"/>
                  </a:lnTo>
                  <a:lnTo>
                    <a:pt x="162844" y="214906"/>
                  </a:lnTo>
                  <a:lnTo>
                    <a:pt x="157519" y="214211"/>
                  </a:lnTo>
                  <a:lnTo>
                    <a:pt x="157429" y="214211"/>
                  </a:lnTo>
                  <a:lnTo>
                    <a:pt x="155462" y="214664"/>
                  </a:lnTo>
                  <a:lnTo>
                    <a:pt x="152104" y="217266"/>
                  </a:lnTo>
                  <a:lnTo>
                    <a:pt x="150350" y="217901"/>
                  </a:lnTo>
                  <a:lnTo>
                    <a:pt x="147809" y="217387"/>
                  </a:lnTo>
                  <a:lnTo>
                    <a:pt x="146780" y="216570"/>
                  </a:lnTo>
                  <a:lnTo>
                    <a:pt x="145419" y="215541"/>
                  </a:lnTo>
                  <a:lnTo>
                    <a:pt x="143967" y="212698"/>
                  </a:lnTo>
                  <a:lnTo>
                    <a:pt x="142031" y="205679"/>
                  </a:lnTo>
                  <a:lnTo>
                    <a:pt x="140064" y="197693"/>
                  </a:lnTo>
                  <a:lnTo>
                    <a:pt x="139066" y="195727"/>
                  </a:lnTo>
                  <a:lnTo>
                    <a:pt x="137977" y="194970"/>
                  </a:lnTo>
                  <a:lnTo>
                    <a:pt x="137039" y="194819"/>
                  </a:lnTo>
                  <a:lnTo>
                    <a:pt x="136797" y="194789"/>
                  </a:lnTo>
                  <a:lnTo>
                    <a:pt x="135527" y="194850"/>
                  </a:lnTo>
                  <a:lnTo>
                    <a:pt x="134165" y="194728"/>
                  </a:lnTo>
                  <a:lnTo>
                    <a:pt x="133379" y="194365"/>
                  </a:lnTo>
                  <a:lnTo>
                    <a:pt x="131322" y="193488"/>
                  </a:lnTo>
                  <a:lnTo>
                    <a:pt x="130596" y="191824"/>
                  </a:lnTo>
                  <a:lnTo>
                    <a:pt x="130656" y="189646"/>
                  </a:lnTo>
                  <a:lnTo>
                    <a:pt x="130142" y="186893"/>
                  </a:lnTo>
                  <a:lnTo>
                    <a:pt x="128569" y="184050"/>
                  </a:lnTo>
                  <a:lnTo>
                    <a:pt x="124848" y="179209"/>
                  </a:lnTo>
                  <a:lnTo>
                    <a:pt x="123577" y="176093"/>
                  </a:lnTo>
                  <a:lnTo>
                    <a:pt x="121853" y="169469"/>
                  </a:lnTo>
                  <a:lnTo>
                    <a:pt x="121339" y="165778"/>
                  </a:lnTo>
                  <a:lnTo>
                    <a:pt x="121369" y="165505"/>
                  </a:lnTo>
                  <a:lnTo>
                    <a:pt x="121732" y="163116"/>
                  </a:lnTo>
                  <a:lnTo>
                    <a:pt x="123184" y="163539"/>
                  </a:lnTo>
                  <a:lnTo>
                    <a:pt x="124606" y="162723"/>
                  </a:lnTo>
                  <a:lnTo>
                    <a:pt x="125906" y="161180"/>
                  </a:lnTo>
                  <a:lnTo>
                    <a:pt x="126875" y="159516"/>
                  </a:lnTo>
                  <a:lnTo>
                    <a:pt x="127570" y="157459"/>
                  </a:lnTo>
                  <a:lnTo>
                    <a:pt x="127601" y="155795"/>
                  </a:lnTo>
                  <a:lnTo>
                    <a:pt x="127510" y="155523"/>
                  </a:lnTo>
                  <a:lnTo>
                    <a:pt x="126996" y="154282"/>
                  </a:lnTo>
                  <a:lnTo>
                    <a:pt x="125786" y="152709"/>
                  </a:lnTo>
                  <a:lnTo>
                    <a:pt x="125029" y="152255"/>
                  </a:lnTo>
                  <a:lnTo>
                    <a:pt x="123365" y="152013"/>
                  </a:lnTo>
                  <a:lnTo>
                    <a:pt x="122639" y="151439"/>
                  </a:lnTo>
                  <a:lnTo>
                    <a:pt x="122458" y="150773"/>
                  </a:lnTo>
                  <a:lnTo>
                    <a:pt x="122246" y="148777"/>
                  </a:lnTo>
                  <a:lnTo>
                    <a:pt x="121913" y="147839"/>
                  </a:lnTo>
                  <a:lnTo>
                    <a:pt x="121702" y="147476"/>
                  </a:lnTo>
                  <a:lnTo>
                    <a:pt x="120643" y="145570"/>
                  </a:lnTo>
                  <a:lnTo>
                    <a:pt x="119856" y="144844"/>
                  </a:lnTo>
                  <a:lnTo>
                    <a:pt x="118737" y="144360"/>
                  </a:lnTo>
                  <a:lnTo>
                    <a:pt x="118011" y="142545"/>
                  </a:lnTo>
                  <a:lnTo>
                    <a:pt x="118314" y="139217"/>
                  </a:lnTo>
                  <a:lnTo>
                    <a:pt x="117951" y="137462"/>
                  </a:lnTo>
                  <a:lnTo>
                    <a:pt x="122851" y="136464"/>
                  </a:lnTo>
                  <a:lnTo>
                    <a:pt x="124303" y="135920"/>
                  </a:lnTo>
                  <a:lnTo>
                    <a:pt x="125665" y="135133"/>
                  </a:lnTo>
                  <a:lnTo>
                    <a:pt x="126512" y="134347"/>
                  </a:lnTo>
                  <a:lnTo>
                    <a:pt x="127056" y="133046"/>
                  </a:lnTo>
                  <a:lnTo>
                    <a:pt x="127056" y="132804"/>
                  </a:lnTo>
                  <a:lnTo>
                    <a:pt x="127056" y="131987"/>
                  </a:lnTo>
                  <a:lnTo>
                    <a:pt x="124908" y="126239"/>
                  </a:lnTo>
                  <a:lnTo>
                    <a:pt x="124394" y="123607"/>
                  </a:lnTo>
                  <a:lnTo>
                    <a:pt x="123608" y="114683"/>
                  </a:lnTo>
                  <a:lnTo>
                    <a:pt x="123910" y="113382"/>
                  </a:lnTo>
                  <a:lnTo>
                    <a:pt x="124697" y="111719"/>
                  </a:lnTo>
                  <a:lnTo>
                    <a:pt x="125695" y="110539"/>
                  </a:lnTo>
                  <a:lnTo>
                    <a:pt x="128024" y="108421"/>
                  </a:lnTo>
                  <a:lnTo>
                    <a:pt x="128690" y="107332"/>
                  </a:lnTo>
                  <a:lnTo>
                    <a:pt x="128599" y="106515"/>
                  </a:lnTo>
                  <a:lnTo>
                    <a:pt x="128448" y="104761"/>
                  </a:lnTo>
                  <a:lnTo>
                    <a:pt x="127631" y="101645"/>
                  </a:lnTo>
                  <a:lnTo>
                    <a:pt x="127661" y="100979"/>
                  </a:lnTo>
                  <a:lnTo>
                    <a:pt x="127752" y="98892"/>
                  </a:lnTo>
                  <a:lnTo>
                    <a:pt x="130323" y="97470"/>
                  </a:lnTo>
                  <a:lnTo>
                    <a:pt x="130384" y="96563"/>
                  </a:lnTo>
                  <a:lnTo>
                    <a:pt x="129870" y="95020"/>
                  </a:lnTo>
                  <a:lnTo>
                    <a:pt x="129839" y="94112"/>
                  </a:lnTo>
                  <a:lnTo>
                    <a:pt x="130323" y="92630"/>
                  </a:lnTo>
                  <a:lnTo>
                    <a:pt x="130928" y="91964"/>
                  </a:lnTo>
                  <a:lnTo>
                    <a:pt x="131654" y="91450"/>
                  </a:lnTo>
                  <a:lnTo>
                    <a:pt x="132501" y="90452"/>
                  </a:lnTo>
                  <a:lnTo>
                    <a:pt x="133560" y="88213"/>
                  </a:lnTo>
                  <a:lnTo>
                    <a:pt x="133560" y="86640"/>
                  </a:lnTo>
                  <a:lnTo>
                    <a:pt x="133046" y="85006"/>
                  </a:lnTo>
                  <a:lnTo>
                    <a:pt x="132592" y="82526"/>
                  </a:lnTo>
                  <a:lnTo>
                    <a:pt x="129416" y="74872"/>
                  </a:lnTo>
                  <a:lnTo>
                    <a:pt x="128811" y="72573"/>
                  </a:lnTo>
                  <a:lnTo>
                    <a:pt x="128781" y="68610"/>
                  </a:lnTo>
                  <a:lnTo>
                    <a:pt x="128539" y="66402"/>
                  </a:lnTo>
                  <a:lnTo>
                    <a:pt x="127449" y="63074"/>
                  </a:lnTo>
                  <a:lnTo>
                    <a:pt x="123638" y="55451"/>
                  </a:lnTo>
                  <a:lnTo>
                    <a:pt x="121732" y="53031"/>
                  </a:lnTo>
                  <a:lnTo>
                    <a:pt x="120915" y="52244"/>
                  </a:lnTo>
                  <a:lnTo>
                    <a:pt x="119221" y="50580"/>
                  </a:lnTo>
                  <a:lnTo>
                    <a:pt x="106788" y="42170"/>
                  </a:lnTo>
                  <a:lnTo>
                    <a:pt x="105245" y="41928"/>
                  </a:lnTo>
                  <a:lnTo>
                    <a:pt x="98378" y="42080"/>
                  </a:lnTo>
                  <a:lnTo>
                    <a:pt x="97168" y="41928"/>
                  </a:lnTo>
                  <a:lnTo>
                    <a:pt x="96351" y="41081"/>
                  </a:lnTo>
                  <a:lnTo>
                    <a:pt x="95474" y="39024"/>
                  </a:lnTo>
                  <a:lnTo>
                    <a:pt x="95322" y="38117"/>
                  </a:lnTo>
                  <a:lnTo>
                    <a:pt x="95504" y="36453"/>
                  </a:lnTo>
                  <a:lnTo>
                    <a:pt x="95262" y="35485"/>
                  </a:lnTo>
                  <a:lnTo>
                    <a:pt x="94687" y="34729"/>
                  </a:lnTo>
                  <a:lnTo>
                    <a:pt x="93114" y="33488"/>
                  </a:lnTo>
                  <a:lnTo>
                    <a:pt x="92660" y="32702"/>
                  </a:lnTo>
                  <a:lnTo>
                    <a:pt x="92781" y="31915"/>
                  </a:lnTo>
                  <a:lnTo>
                    <a:pt x="93810" y="30433"/>
                  </a:lnTo>
                  <a:lnTo>
                    <a:pt x="93840" y="29404"/>
                  </a:lnTo>
                  <a:lnTo>
                    <a:pt x="93356" y="28436"/>
                  </a:lnTo>
                  <a:lnTo>
                    <a:pt x="91995" y="27226"/>
                  </a:lnTo>
                  <a:lnTo>
                    <a:pt x="91450" y="26531"/>
                  </a:lnTo>
                  <a:lnTo>
                    <a:pt x="88607" y="20238"/>
                  </a:lnTo>
                  <a:lnTo>
                    <a:pt x="88607" y="20238"/>
                  </a:lnTo>
                  <a:lnTo>
                    <a:pt x="88607" y="20208"/>
                  </a:lnTo>
                  <a:lnTo>
                    <a:pt x="88607" y="20208"/>
                  </a:lnTo>
                  <a:lnTo>
                    <a:pt x="88576" y="20208"/>
                  </a:lnTo>
                  <a:lnTo>
                    <a:pt x="86913" y="18211"/>
                  </a:lnTo>
                  <a:lnTo>
                    <a:pt x="81861" y="15640"/>
                  </a:lnTo>
                  <a:lnTo>
                    <a:pt x="79803" y="13553"/>
                  </a:lnTo>
                  <a:lnTo>
                    <a:pt x="77202" y="12161"/>
                  </a:lnTo>
                  <a:lnTo>
                    <a:pt x="75054" y="13613"/>
                  </a:lnTo>
                  <a:lnTo>
                    <a:pt x="71394" y="18060"/>
                  </a:lnTo>
                  <a:lnTo>
                    <a:pt x="68852" y="18725"/>
                  </a:lnTo>
                  <a:lnTo>
                    <a:pt x="63952" y="18605"/>
                  </a:lnTo>
                  <a:lnTo>
                    <a:pt x="61471" y="20208"/>
                  </a:lnTo>
                  <a:lnTo>
                    <a:pt x="61471" y="20208"/>
                  </a:lnTo>
                  <a:lnTo>
                    <a:pt x="61441" y="20238"/>
                  </a:lnTo>
                  <a:lnTo>
                    <a:pt x="60503" y="21055"/>
                  </a:lnTo>
                  <a:lnTo>
                    <a:pt x="56692" y="23142"/>
                  </a:lnTo>
                  <a:lnTo>
                    <a:pt x="56056" y="23324"/>
                  </a:lnTo>
                  <a:lnTo>
                    <a:pt x="55118" y="23596"/>
                  </a:lnTo>
                  <a:lnTo>
                    <a:pt x="53273" y="23384"/>
                  </a:lnTo>
                  <a:lnTo>
                    <a:pt x="51549" y="22598"/>
                  </a:lnTo>
                  <a:lnTo>
                    <a:pt x="48251" y="20238"/>
                  </a:lnTo>
                  <a:lnTo>
                    <a:pt x="46527" y="16366"/>
                  </a:lnTo>
                  <a:lnTo>
                    <a:pt x="46164" y="15217"/>
                  </a:lnTo>
                  <a:lnTo>
                    <a:pt x="46104" y="14369"/>
                  </a:lnTo>
                  <a:lnTo>
                    <a:pt x="46285" y="12464"/>
                  </a:lnTo>
                  <a:lnTo>
                    <a:pt x="46467" y="11556"/>
                  </a:lnTo>
                  <a:lnTo>
                    <a:pt x="47223" y="10074"/>
                  </a:lnTo>
                  <a:lnTo>
                    <a:pt x="47676" y="9378"/>
                  </a:lnTo>
                  <a:lnTo>
                    <a:pt x="47858" y="9529"/>
                  </a:lnTo>
                  <a:lnTo>
                    <a:pt x="47797" y="8259"/>
                  </a:lnTo>
                  <a:lnTo>
                    <a:pt x="47676" y="7018"/>
                  </a:lnTo>
                  <a:lnTo>
                    <a:pt x="46830" y="3812"/>
                  </a:lnTo>
                  <a:lnTo>
                    <a:pt x="45287" y="1119"/>
                  </a:lnTo>
                  <a:lnTo>
                    <a:pt x="42988" y="0"/>
                  </a:lnTo>
                  <a:lnTo>
                    <a:pt x="40658" y="1028"/>
                  </a:lnTo>
                  <a:lnTo>
                    <a:pt x="38843" y="2541"/>
                  </a:lnTo>
                  <a:lnTo>
                    <a:pt x="37814" y="3388"/>
                  </a:lnTo>
                  <a:lnTo>
                    <a:pt x="35182" y="6262"/>
                  </a:lnTo>
                  <a:lnTo>
                    <a:pt x="33519" y="8773"/>
                  </a:lnTo>
                  <a:lnTo>
                    <a:pt x="32914" y="10527"/>
                  </a:lnTo>
                  <a:lnTo>
                    <a:pt x="32369" y="13795"/>
                  </a:lnTo>
                  <a:lnTo>
                    <a:pt x="31794" y="15307"/>
                  </a:lnTo>
                  <a:lnTo>
                    <a:pt x="30554" y="16608"/>
                  </a:lnTo>
                  <a:lnTo>
                    <a:pt x="29102" y="17395"/>
                  </a:lnTo>
                  <a:lnTo>
                    <a:pt x="27892" y="18333"/>
                  </a:lnTo>
                  <a:lnTo>
                    <a:pt x="27347" y="20208"/>
                  </a:lnTo>
                  <a:lnTo>
                    <a:pt x="27347" y="20238"/>
                  </a:lnTo>
                  <a:lnTo>
                    <a:pt x="26107" y="22567"/>
                  </a:lnTo>
                  <a:lnTo>
                    <a:pt x="24716" y="24655"/>
                  </a:lnTo>
                  <a:lnTo>
                    <a:pt x="23082" y="26409"/>
                  </a:lnTo>
                  <a:lnTo>
                    <a:pt x="21086" y="27589"/>
                  </a:lnTo>
                  <a:lnTo>
                    <a:pt x="19754" y="29647"/>
                  </a:lnTo>
                  <a:lnTo>
                    <a:pt x="14612" y="35152"/>
                  </a:lnTo>
                  <a:lnTo>
                    <a:pt x="14097" y="35848"/>
                  </a:lnTo>
                  <a:lnTo>
                    <a:pt x="13129" y="37905"/>
                  </a:lnTo>
                  <a:lnTo>
                    <a:pt x="12948" y="38812"/>
                  </a:lnTo>
                  <a:lnTo>
                    <a:pt x="13008" y="40537"/>
                  </a:lnTo>
                  <a:lnTo>
                    <a:pt x="12917" y="41172"/>
                  </a:lnTo>
                  <a:lnTo>
                    <a:pt x="3267" y="54967"/>
                  </a:lnTo>
                  <a:lnTo>
                    <a:pt x="303" y="57962"/>
                  </a:lnTo>
                  <a:lnTo>
                    <a:pt x="0" y="59262"/>
                  </a:lnTo>
                  <a:lnTo>
                    <a:pt x="999" y="61259"/>
                  </a:lnTo>
                  <a:lnTo>
                    <a:pt x="999" y="61259"/>
                  </a:lnTo>
                  <a:lnTo>
                    <a:pt x="2602" y="62893"/>
                  </a:lnTo>
                  <a:lnTo>
                    <a:pt x="8349" y="66825"/>
                  </a:lnTo>
                  <a:lnTo>
                    <a:pt x="9832" y="68489"/>
                  </a:lnTo>
                  <a:lnTo>
                    <a:pt x="10104" y="68761"/>
                  </a:lnTo>
                  <a:lnTo>
                    <a:pt x="10346" y="69972"/>
                  </a:lnTo>
                  <a:lnTo>
                    <a:pt x="8501" y="73692"/>
                  </a:lnTo>
                  <a:lnTo>
                    <a:pt x="8017" y="75810"/>
                  </a:lnTo>
                  <a:lnTo>
                    <a:pt x="7896" y="78291"/>
                  </a:lnTo>
                  <a:lnTo>
                    <a:pt x="8259" y="80650"/>
                  </a:lnTo>
                  <a:lnTo>
                    <a:pt x="9166" y="82526"/>
                  </a:lnTo>
                  <a:lnTo>
                    <a:pt x="9227" y="82556"/>
                  </a:lnTo>
                  <a:lnTo>
                    <a:pt x="9953" y="83403"/>
                  </a:lnTo>
                  <a:lnTo>
                    <a:pt x="9438" y="85491"/>
                  </a:lnTo>
                  <a:lnTo>
                    <a:pt x="8834" y="85944"/>
                  </a:lnTo>
                  <a:lnTo>
                    <a:pt x="8017" y="86065"/>
                  </a:lnTo>
                  <a:lnTo>
                    <a:pt x="7472" y="86519"/>
                  </a:lnTo>
                  <a:lnTo>
                    <a:pt x="8138" y="89363"/>
                  </a:lnTo>
                  <a:lnTo>
                    <a:pt x="7896" y="90240"/>
                  </a:lnTo>
                  <a:lnTo>
                    <a:pt x="7503" y="90906"/>
                  </a:lnTo>
                  <a:lnTo>
                    <a:pt x="7382" y="91511"/>
                  </a:lnTo>
                  <a:lnTo>
                    <a:pt x="7412" y="92358"/>
                  </a:lnTo>
                  <a:lnTo>
                    <a:pt x="7382" y="92841"/>
                  </a:lnTo>
                  <a:lnTo>
                    <a:pt x="7623" y="93356"/>
                  </a:lnTo>
                  <a:lnTo>
                    <a:pt x="8531" y="94173"/>
                  </a:lnTo>
                  <a:lnTo>
                    <a:pt x="9348" y="95504"/>
                  </a:lnTo>
                  <a:lnTo>
                    <a:pt x="9257" y="98741"/>
                  </a:lnTo>
                  <a:lnTo>
                    <a:pt x="9378" y="100041"/>
                  </a:lnTo>
                  <a:lnTo>
                    <a:pt x="16185" y="98045"/>
                  </a:lnTo>
                  <a:lnTo>
                    <a:pt x="18030" y="98771"/>
                  </a:lnTo>
                  <a:lnTo>
                    <a:pt x="19482" y="99648"/>
                  </a:lnTo>
                  <a:lnTo>
                    <a:pt x="31492" y="104246"/>
                  </a:lnTo>
                  <a:lnTo>
                    <a:pt x="32157" y="104186"/>
                  </a:lnTo>
                  <a:lnTo>
                    <a:pt x="32974" y="106545"/>
                  </a:lnTo>
                  <a:lnTo>
                    <a:pt x="32883" y="109147"/>
                  </a:lnTo>
                  <a:lnTo>
                    <a:pt x="31946" y="110781"/>
                  </a:lnTo>
                  <a:lnTo>
                    <a:pt x="30100" y="110176"/>
                  </a:lnTo>
                  <a:lnTo>
                    <a:pt x="30100" y="112414"/>
                  </a:lnTo>
                  <a:lnTo>
                    <a:pt x="30614" y="116559"/>
                  </a:lnTo>
                  <a:lnTo>
                    <a:pt x="30796" y="120431"/>
                  </a:lnTo>
                  <a:lnTo>
                    <a:pt x="28739" y="123759"/>
                  </a:lnTo>
                  <a:lnTo>
                    <a:pt x="31704" y="126209"/>
                  </a:lnTo>
                  <a:lnTo>
                    <a:pt x="32157" y="127238"/>
                  </a:lnTo>
                  <a:lnTo>
                    <a:pt x="33004" y="126421"/>
                  </a:lnTo>
                  <a:lnTo>
                    <a:pt x="33519" y="127268"/>
                  </a:lnTo>
                  <a:lnTo>
                    <a:pt x="34305" y="130596"/>
                  </a:lnTo>
                  <a:lnTo>
                    <a:pt x="33307" y="131019"/>
                  </a:lnTo>
                  <a:lnTo>
                    <a:pt x="32581" y="130898"/>
                  </a:lnTo>
                  <a:lnTo>
                    <a:pt x="32218" y="130172"/>
                  </a:lnTo>
                  <a:lnTo>
                    <a:pt x="32157" y="128841"/>
                  </a:lnTo>
                  <a:lnTo>
                    <a:pt x="31492" y="128841"/>
                  </a:lnTo>
                  <a:lnTo>
                    <a:pt x="29495" y="133076"/>
                  </a:lnTo>
                  <a:lnTo>
                    <a:pt x="28618" y="133318"/>
                  </a:lnTo>
                  <a:lnTo>
                    <a:pt x="25744" y="134135"/>
                  </a:lnTo>
                  <a:lnTo>
                    <a:pt x="17001" y="133046"/>
                  </a:lnTo>
                  <a:lnTo>
                    <a:pt x="18091" y="134347"/>
                  </a:lnTo>
                  <a:lnTo>
                    <a:pt x="19724" y="136888"/>
                  </a:lnTo>
                  <a:lnTo>
                    <a:pt x="21176" y="138189"/>
                  </a:lnTo>
                  <a:lnTo>
                    <a:pt x="22568" y="138794"/>
                  </a:lnTo>
                  <a:lnTo>
                    <a:pt x="23657" y="139096"/>
                  </a:lnTo>
                  <a:lnTo>
                    <a:pt x="24353" y="139883"/>
                  </a:lnTo>
                  <a:lnTo>
                    <a:pt x="24625" y="141910"/>
                  </a:lnTo>
                  <a:lnTo>
                    <a:pt x="23808" y="145207"/>
                  </a:lnTo>
                  <a:lnTo>
                    <a:pt x="21842" y="147748"/>
                  </a:lnTo>
                  <a:lnTo>
                    <a:pt x="19391" y="149623"/>
                  </a:lnTo>
                  <a:lnTo>
                    <a:pt x="17001" y="150864"/>
                  </a:lnTo>
                  <a:lnTo>
                    <a:pt x="17425" y="154010"/>
                  </a:lnTo>
                  <a:lnTo>
                    <a:pt x="15761" y="155734"/>
                  </a:lnTo>
                  <a:lnTo>
                    <a:pt x="13523" y="155825"/>
                  </a:lnTo>
                  <a:lnTo>
                    <a:pt x="12191" y="154222"/>
                  </a:lnTo>
                  <a:lnTo>
                    <a:pt x="12464" y="155643"/>
                  </a:lnTo>
                  <a:lnTo>
                    <a:pt x="13976" y="156914"/>
                  </a:lnTo>
                  <a:lnTo>
                    <a:pt x="14309" y="158003"/>
                  </a:lnTo>
                  <a:lnTo>
                    <a:pt x="14309" y="163086"/>
                  </a:lnTo>
                  <a:lnTo>
                    <a:pt x="14793" y="165385"/>
                  </a:lnTo>
                  <a:lnTo>
                    <a:pt x="16064" y="166504"/>
                  </a:lnTo>
                  <a:lnTo>
                    <a:pt x="17909" y="166806"/>
                  </a:lnTo>
                  <a:lnTo>
                    <a:pt x="20117" y="166806"/>
                  </a:lnTo>
                  <a:lnTo>
                    <a:pt x="21721" y="167381"/>
                  </a:lnTo>
                  <a:lnTo>
                    <a:pt x="23233" y="168894"/>
                  </a:lnTo>
                  <a:lnTo>
                    <a:pt x="24292" y="171042"/>
                  </a:lnTo>
                  <a:lnTo>
                    <a:pt x="24625" y="173522"/>
                  </a:lnTo>
                  <a:lnTo>
                    <a:pt x="23899" y="175852"/>
                  </a:lnTo>
                  <a:lnTo>
                    <a:pt x="19785" y="181962"/>
                  </a:lnTo>
                  <a:lnTo>
                    <a:pt x="19634" y="183354"/>
                  </a:lnTo>
                  <a:lnTo>
                    <a:pt x="19634" y="185018"/>
                  </a:lnTo>
                  <a:lnTo>
                    <a:pt x="19270" y="186409"/>
                  </a:lnTo>
                  <a:lnTo>
                    <a:pt x="17092" y="187317"/>
                  </a:lnTo>
                  <a:lnTo>
                    <a:pt x="17001" y="188133"/>
                  </a:lnTo>
                  <a:lnTo>
                    <a:pt x="17455" y="189071"/>
                  </a:lnTo>
                  <a:lnTo>
                    <a:pt x="18030" y="189919"/>
                  </a:lnTo>
                  <a:lnTo>
                    <a:pt x="18544" y="191885"/>
                  </a:lnTo>
                  <a:lnTo>
                    <a:pt x="17455" y="201172"/>
                  </a:lnTo>
                  <a:lnTo>
                    <a:pt x="17032" y="201747"/>
                  </a:lnTo>
                  <a:lnTo>
                    <a:pt x="16941" y="202412"/>
                  </a:lnTo>
                  <a:lnTo>
                    <a:pt x="17667" y="203774"/>
                  </a:lnTo>
                  <a:lnTo>
                    <a:pt x="18272" y="204227"/>
                  </a:lnTo>
                  <a:lnTo>
                    <a:pt x="19906" y="204832"/>
                  </a:lnTo>
                  <a:lnTo>
                    <a:pt x="20420" y="205438"/>
                  </a:lnTo>
                  <a:lnTo>
                    <a:pt x="20632" y="207979"/>
                  </a:lnTo>
                  <a:lnTo>
                    <a:pt x="19906" y="210217"/>
                  </a:lnTo>
                  <a:lnTo>
                    <a:pt x="18756" y="211942"/>
                  </a:lnTo>
                  <a:lnTo>
                    <a:pt x="17667" y="212940"/>
                  </a:lnTo>
                  <a:lnTo>
                    <a:pt x="18242" y="213696"/>
                  </a:lnTo>
                  <a:lnTo>
                    <a:pt x="18272" y="214211"/>
                  </a:lnTo>
                  <a:lnTo>
                    <a:pt x="20874" y="210550"/>
                  </a:lnTo>
                  <a:lnTo>
                    <a:pt x="22144" y="207767"/>
                  </a:lnTo>
                  <a:lnTo>
                    <a:pt x="22477" y="204590"/>
                  </a:lnTo>
                  <a:lnTo>
                    <a:pt x="23082" y="207011"/>
                  </a:lnTo>
                  <a:lnTo>
                    <a:pt x="24413" y="209219"/>
                  </a:lnTo>
                  <a:lnTo>
                    <a:pt x="25472" y="211639"/>
                  </a:lnTo>
                  <a:lnTo>
                    <a:pt x="25291" y="214634"/>
                  </a:lnTo>
                  <a:lnTo>
                    <a:pt x="23596" y="216509"/>
                  </a:lnTo>
                  <a:lnTo>
                    <a:pt x="18333" y="218869"/>
                  </a:lnTo>
                  <a:lnTo>
                    <a:pt x="17001" y="220533"/>
                  </a:lnTo>
                  <a:lnTo>
                    <a:pt x="16820" y="219565"/>
                  </a:lnTo>
                  <a:lnTo>
                    <a:pt x="16669" y="219171"/>
                  </a:lnTo>
                  <a:lnTo>
                    <a:pt x="16669" y="218778"/>
                  </a:lnTo>
                  <a:lnTo>
                    <a:pt x="16366" y="220533"/>
                  </a:lnTo>
                  <a:lnTo>
                    <a:pt x="15610" y="220533"/>
                  </a:lnTo>
                  <a:lnTo>
                    <a:pt x="15610" y="217962"/>
                  </a:lnTo>
                  <a:lnTo>
                    <a:pt x="16427" y="215511"/>
                  </a:lnTo>
                  <a:lnTo>
                    <a:pt x="15610" y="212637"/>
                  </a:lnTo>
                  <a:lnTo>
                    <a:pt x="17001" y="211215"/>
                  </a:lnTo>
                  <a:lnTo>
                    <a:pt x="15338" y="212305"/>
                  </a:lnTo>
                  <a:lnTo>
                    <a:pt x="13371" y="214937"/>
                  </a:lnTo>
                  <a:lnTo>
                    <a:pt x="11859" y="215451"/>
                  </a:lnTo>
                  <a:lnTo>
                    <a:pt x="10981" y="216146"/>
                  </a:lnTo>
                  <a:lnTo>
                    <a:pt x="11980" y="217719"/>
                  </a:lnTo>
                  <a:lnTo>
                    <a:pt x="13523" y="219534"/>
                  </a:lnTo>
                  <a:lnTo>
                    <a:pt x="14309" y="220957"/>
                  </a:lnTo>
                  <a:lnTo>
                    <a:pt x="14006" y="221168"/>
                  </a:lnTo>
                  <a:lnTo>
                    <a:pt x="13341" y="221894"/>
                  </a:lnTo>
                  <a:lnTo>
                    <a:pt x="12615" y="222893"/>
                  </a:lnTo>
                  <a:lnTo>
                    <a:pt x="12191" y="223861"/>
                  </a:lnTo>
                  <a:lnTo>
                    <a:pt x="12554" y="224617"/>
                  </a:lnTo>
                  <a:lnTo>
                    <a:pt x="13280" y="225766"/>
                  </a:lnTo>
                  <a:lnTo>
                    <a:pt x="13553" y="226825"/>
                  </a:lnTo>
                  <a:lnTo>
                    <a:pt x="12494" y="227249"/>
                  </a:lnTo>
                  <a:lnTo>
                    <a:pt x="10618" y="227763"/>
                  </a:lnTo>
                  <a:lnTo>
                    <a:pt x="9741" y="229064"/>
                  </a:lnTo>
                  <a:lnTo>
                    <a:pt x="9409" y="231060"/>
                  </a:lnTo>
                  <a:lnTo>
                    <a:pt x="9287" y="238291"/>
                  </a:lnTo>
                  <a:lnTo>
                    <a:pt x="8894" y="240317"/>
                  </a:lnTo>
                  <a:lnTo>
                    <a:pt x="8017" y="242223"/>
                  </a:lnTo>
                  <a:lnTo>
                    <a:pt x="6746" y="243463"/>
                  </a:lnTo>
                  <a:lnTo>
                    <a:pt x="5113" y="244583"/>
                  </a:lnTo>
                  <a:lnTo>
                    <a:pt x="3752" y="245793"/>
                  </a:lnTo>
                  <a:lnTo>
                    <a:pt x="3267" y="247215"/>
                  </a:lnTo>
                  <a:lnTo>
                    <a:pt x="3781" y="248273"/>
                  </a:lnTo>
                  <a:lnTo>
                    <a:pt x="10800" y="257803"/>
                  </a:lnTo>
                  <a:lnTo>
                    <a:pt x="11496" y="259678"/>
                  </a:lnTo>
                  <a:lnTo>
                    <a:pt x="12040" y="256320"/>
                  </a:lnTo>
                  <a:lnTo>
                    <a:pt x="14460" y="255685"/>
                  </a:lnTo>
                  <a:lnTo>
                    <a:pt x="17122" y="256956"/>
                  </a:lnTo>
                  <a:lnTo>
                    <a:pt x="18363" y="259285"/>
                  </a:lnTo>
                  <a:lnTo>
                    <a:pt x="18181" y="262189"/>
                  </a:lnTo>
                  <a:lnTo>
                    <a:pt x="17516" y="264458"/>
                  </a:lnTo>
                  <a:lnTo>
                    <a:pt x="16275" y="265093"/>
                  </a:lnTo>
                  <a:lnTo>
                    <a:pt x="14309" y="263066"/>
                  </a:lnTo>
                  <a:lnTo>
                    <a:pt x="13553" y="263066"/>
                  </a:lnTo>
                  <a:lnTo>
                    <a:pt x="12736" y="263278"/>
                  </a:lnTo>
                  <a:lnTo>
                    <a:pt x="12464" y="262220"/>
                  </a:lnTo>
                  <a:lnTo>
                    <a:pt x="12191" y="261312"/>
                  </a:lnTo>
                  <a:lnTo>
                    <a:pt x="11496" y="260586"/>
                  </a:lnTo>
                  <a:lnTo>
                    <a:pt x="12010" y="263187"/>
                  </a:lnTo>
                  <a:lnTo>
                    <a:pt x="14763" y="266787"/>
                  </a:lnTo>
                  <a:lnTo>
                    <a:pt x="18211" y="270024"/>
                  </a:lnTo>
                  <a:lnTo>
                    <a:pt x="20783" y="271416"/>
                  </a:lnTo>
                  <a:lnTo>
                    <a:pt x="21086" y="273201"/>
                  </a:lnTo>
                  <a:lnTo>
                    <a:pt x="20420" y="284182"/>
                  </a:lnTo>
                  <a:lnTo>
                    <a:pt x="19482" y="285029"/>
                  </a:lnTo>
                  <a:lnTo>
                    <a:pt x="17365" y="285937"/>
                  </a:lnTo>
                  <a:lnTo>
                    <a:pt x="15247" y="286421"/>
                  </a:lnTo>
                  <a:lnTo>
                    <a:pt x="14309" y="285876"/>
                  </a:lnTo>
                  <a:lnTo>
                    <a:pt x="14067" y="284212"/>
                  </a:lnTo>
                  <a:lnTo>
                    <a:pt x="13523" y="282458"/>
                  </a:lnTo>
                  <a:lnTo>
                    <a:pt x="12191" y="279614"/>
                  </a:lnTo>
                  <a:lnTo>
                    <a:pt x="11224" y="278253"/>
                  </a:lnTo>
                  <a:lnTo>
                    <a:pt x="7654" y="274229"/>
                  </a:lnTo>
                  <a:lnTo>
                    <a:pt x="6081" y="273231"/>
                  </a:lnTo>
                  <a:lnTo>
                    <a:pt x="4417" y="273352"/>
                  </a:lnTo>
                  <a:lnTo>
                    <a:pt x="1755" y="274653"/>
                  </a:lnTo>
                  <a:lnTo>
                    <a:pt x="1755" y="275470"/>
                  </a:lnTo>
                  <a:lnTo>
                    <a:pt x="2329" y="275681"/>
                  </a:lnTo>
                  <a:lnTo>
                    <a:pt x="2329" y="275802"/>
                  </a:lnTo>
                  <a:lnTo>
                    <a:pt x="2481" y="276286"/>
                  </a:lnTo>
                  <a:lnTo>
                    <a:pt x="3752" y="277829"/>
                  </a:lnTo>
                  <a:lnTo>
                    <a:pt x="7260" y="281066"/>
                  </a:lnTo>
                  <a:lnTo>
                    <a:pt x="8017" y="282548"/>
                  </a:lnTo>
                  <a:lnTo>
                    <a:pt x="9348" y="287963"/>
                  </a:lnTo>
                  <a:lnTo>
                    <a:pt x="9832" y="288962"/>
                  </a:lnTo>
                  <a:lnTo>
                    <a:pt x="10981" y="290625"/>
                  </a:lnTo>
                  <a:lnTo>
                    <a:pt x="20541" y="300487"/>
                  </a:lnTo>
                  <a:lnTo>
                    <a:pt x="23868" y="302817"/>
                  </a:lnTo>
                  <a:lnTo>
                    <a:pt x="29556" y="304572"/>
                  </a:lnTo>
                  <a:lnTo>
                    <a:pt x="32793" y="307234"/>
                  </a:lnTo>
                  <a:lnTo>
                    <a:pt x="38359" y="310289"/>
                  </a:lnTo>
                  <a:lnTo>
                    <a:pt x="44984" y="312255"/>
                  </a:lnTo>
                  <a:lnTo>
                    <a:pt x="45982" y="313223"/>
                  </a:lnTo>
                  <a:lnTo>
                    <a:pt x="46345" y="312951"/>
                  </a:lnTo>
                  <a:lnTo>
                    <a:pt x="47162" y="314161"/>
                  </a:lnTo>
                  <a:lnTo>
                    <a:pt x="47888" y="315583"/>
                  </a:lnTo>
                  <a:lnTo>
                    <a:pt x="48009" y="316067"/>
                  </a:lnTo>
                  <a:lnTo>
                    <a:pt x="48735" y="316612"/>
                  </a:lnTo>
                  <a:lnTo>
                    <a:pt x="49340" y="317005"/>
                  </a:lnTo>
                  <a:lnTo>
                    <a:pt x="49824" y="317519"/>
                  </a:lnTo>
                  <a:lnTo>
                    <a:pt x="50157" y="318608"/>
                  </a:lnTo>
                  <a:lnTo>
                    <a:pt x="50278" y="318033"/>
                  </a:lnTo>
                  <a:lnTo>
                    <a:pt x="50429" y="317670"/>
                  </a:lnTo>
                  <a:lnTo>
                    <a:pt x="50853" y="316884"/>
                  </a:lnTo>
                  <a:lnTo>
                    <a:pt x="53576" y="318608"/>
                  </a:lnTo>
                  <a:lnTo>
                    <a:pt x="52789" y="319334"/>
                  </a:lnTo>
                  <a:lnTo>
                    <a:pt x="53878" y="319879"/>
                  </a:lnTo>
                  <a:lnTo>
                    <a:pt x="55481" y="320151"/>
                  </a:lnTo>
                  <a:lnTo>
                    <a:pt x="58688" y="320242"/>
                  </a:lnTo>
                  <a:lnTo>
                    <a:pt x="59505" y="320786"/>
                  </a:lnTo>
                  <a:lnTo>
                    <a:pt x="60231" y="322057"/>
                  </a:lnTo>
                  <a:lnTo>
                    <a:pt x="60866" y="323569"/>
                  </a:lnTo>
                  <a:lnTo>
                    <a:pt x="65585" y="331919"/>
                  </a:lnTo>
                  <a:lnTo>
                    <a:pt x="67340" y="333462"/>
                  </a:lnTo>
                  <a:lnTo>
                    <a:pt x="66311" y="334127"/>
                  </a:lnTo>
                  <a:lnTo>
                    <a:pt x="65313" y="335065"/>
                  </a:lnTo>
                  <a:lnTo>
                    <a:pt x="63831" y="336759"/>
                  </a:lnTo>
                  <a:lnTo>
                    <a:pt x="63831" y="337515"/>
                  </a:lnTo>
                  <a:lnTo>
                    <a:pt x="64587" y="337999"/>
                  </a:lnTo>
                  <a:lnTo>
                    <a:pt x="66311" y="338060"/>
                  </a:lnTo>
                  <a:lnTo>
                    <a:pt x="67340" y="338393"/>
                  </a:lnTo>
                  <a:lnTo>
                    <a:pt x="68701" y="339149"/>
                  </a:lnTo>
                  <a:lnTo>
                    <a:pt x="69095" y="339572"/>
                  </a:lnTo>
                  <a:lnTo>
                    <a:pt x="69215" y="340087"/>
                  </a:lnTo>
                  <a:lnTo>
                    <a:pt x="69246" y="340571"/>
                  </a:lnTo>
                  <a:lnTo>
                    <a:pt x="69397" y="340873"/>
                  </a:lnTo>
                  <a:lnTo>
                    <a:pt x="71605" y="341599"/>
                  </a:lnTo>
                  <a:lnTo>
                    <a:pt x="73178" y="341720"/>
                  </a:lnTo>
                  <a:lnTo>
                    <a:pt x="74237" y="342416"/>
                  </a:lnTo>
                  <a:lnTo>
                    <a:pt x="74872" y="344897"/>
                  </a:lnTo>
                  <a:lnTo>
                    <a:pt x="74661" y="346349"/>
                  </a:lnTo>
                  <a:lnTo>
                    <a:pt x="72815" y="352338"/>
                  </a:lnTo>
                  <a:lnTo>
                    <a:pt x="71303" y="355424"/>
                  </a:lnTo>
                  <a:lnTo>
                    <a:pt x="71817" y="355848"/>
                  </a:lnTo>
                  <a:lnTo>
                    <a:pt x="73511" y="356513"/>
                  </a:lnTo>
                  <a:lnTo>
                    <a:pt x="71938" y="360143"/>
                  </a:lnTo>
                  <a:lnTo>
                    <a:pt x="71605" y="362140"/>
                  </a:lnTo>
                  <a:lnTo>
                    <a:pt x="72150" y="363895"/>
                  </a:lnTo>
                  <a:lnTo>
                    <a:pt x="72815" y="363895"/>
                  </a:lnTo>
                  <a:lnTo>
                    <a:pt x="72937" y="363199"/>
                  </a:lnTo>
                  <a:lnTo>
                    <a:pt x="73239" y="363078"/>
                  </a:lnTo>
                  <a:lnTo>
                    <a:pt x="73239" y="363078"/>
                  </a:lnTo>
                  <a:lnTo>
                    <a:pt x="74872" y="362140"/>
                  </a:lnTo>
                  <a:lnTo>
                    <a:pt x="78231" y="363169"/>
                  </a:lnTo>
                  <a:lnTo>
                    <a:pt x="82254" y="364348"/>
                  </a:lnTo>
                  <a:lnTo>
                    <a:pt x="86852" y="366587"/>
                  </a:lnTo>
                  <a:lnTo>
                    <a:pt x="89726" y="368977"/>
                  </a:lnTo>
                  <a:lnTo>
                    <a:pt x="91783" y="369854"/>
                  </a:lnTo>
                  <a:lnTo>
                    <a:pt x="93356" y="369491"/>
                  </a:lnTo>
                  <a:lnTo>
                    <a:pt x="93719" y="368856"/>
                  </a:lnTo>
                  <a:lnTo>
                    <a:pt x="93689" y="367978"/>
                  </a:lnTo>
                  <a:lnTo>
                    <a:pt x="93810" y="367041"/>
                  </a:lnTo>
                  <a:lnTo>
                    <a:pt x="94596" y="366254"/>
                  </a:lnTo>
                  <a:lnTo>
                    <a:pt x="95383" y="365982"/>
                  </a:lnTo>
                  <a:lnTo>
                    <a:pt x="96260" y="365982"/>
                  </a:lnTo>
                  <a:lnTo>
                    <a:pt x="97107" y="366254"/>
                  </a:lnTo>
                  <a:lnTo>
                    <a:pt x="98015" y="366738"/>
                  </a:lnTo>
                  <a:lnTo>
                    <a:pt x="98317" y="364106"/>
                  </a:lnTo>
                  <a:lnTo>
                    <a:pt x="99830" y="362775"/>
                  </a:lnTo>
                  <a:lnTo>
                    <a:pt x="101705" y="361777"/>
                  </a:lnTo>
                  <a:lnTo>
                    <a:pt x="103067" y="360204"/>
                  </a:lnTo>
                  <a:lnTo>
                    <a:pt x="103400" y="358933"/>
                  </a:lnTo>
                  <a:lnTo>
                    <a:pt x="103067" y="358268"/>
                  </a:lnTo>
                  <a:lnTo>
                    <a:pt x="102552" y="357753"/>
                  </a:lnTo>
                  <a:lnTo>
                    <a:pt x="102159" y="356695"/>
                  </a:lnTo>
                  <a:lnTo>
                    <a:pt x="101978" y="356332"/>
                  </a:lnTo>
                  <a:lnTo>
                    <a:pt x="101252" y="355485"/>
                  </a:lnTo>
                  <a:lnTo>
                    <a:pt x="100979" y="355091"/>
                  </a:lnTo>
                  <a:lnTo>
                    <a:pt x="101100" y="354728"/>
                  </a:lnTo>
                  <a:lnTo>
                    <a:pt x="101736" y="353276"/>
                  </a:lnTo>
                  <a:lnTo>
                    <a:pt x="101887" y="352671"/>
                  </a:lnTo>
                  <a:lnTo>
                    <a:pt x="101554" y="351733"/>
                  </a:lnTo>
                  <a:lnTo>
                    <a:pt x="100979" y="351219"/>
                  </a:lnTo>
                  <a:lnTo>
                    <a:pt x="100707" y="350735"/>
                  </a:lnTo>
                  <a:lnTo>
                    <a:pt x="101433" y="349828"/>
                  </a:lnTo>
                  <a:lnTo>
                    <a:pt x="102280" y="349495"/>
                  </a:lnTo>
                  <a:lnTo>
                    <a:pt x="103278" y="349676"/>
                  </a:lnTo>
                  <a:lnTo>
                    <a:pt x="103400" y="349707"/>
                  </a:lnTo>
                  <a:lnTo>
                    <a:pt x="107151" y="351007"/>
                  </a:lnTo>
                  <a:lnTo>
                    <a:pt x="108935" y="352006"/>
                  </a:lnTo>
                  <a:lnTo>
                    <a:pt x="110630" y="352187"/>
                  </a:lnTo>
                  <a:lnTo>
                    <a:pt x="112384" y="350523"/>
                  </a:lnTo>
                  <a:lnTo>
                    <a:pt x="113201" y="348133"/>
                  </a:lnTo>
                  <a:lnTo>
                    <a:pt x="112777" y="346046"/>
                  </a:lnTo>
                  <a:lnTo>
                    <a:pt x="108149" y="338967"/>
                  </a:lnTo>
                  <a:lnTo>
                    <a:pt x="105759" y="336819"/>
                  </a:lnTo>
                  <a:lnTo>
                    <a:pt x="105245" y="336063"/>
                  </a:lnTo>
                  <a:lnTo>
                    <a:pt x="103732" y="328773"/>
                  </a:lnTo>
                  <a:lnTo>
                    <a:pt x="103218" y="327835"/>
                  </a:lnTo>
                  <a:lnTo>
                    <a:pt x="104428" y="327472"/>
                  </a:lnTo>
                  <a:lnTo>
                    <a:pt x="109480" y="327351"/>
                  </a:lnTo>
                  <a:lnTo>
                    <a:pt x="111144" y="327018"/>
                  </a:lnTo>
                  <a:lnTo>
                    <a:pt x="111567" y="324840"/>
                  </a:lnTo>
                  <a:lnTo>
                    <a:pt x="112414" y="322692"/>
                  </a:lnTo>
                  <a:lnTo>
                    <a:pt x="113534" y="320786"/>
                  </a:lnTo>
                  <a:lnTo>
                    <a:pt x="114895" y="319364"/>
                  </a:lnTo>
                  <a:lnTo>
                    <a:pt x="116801" y="318578"/>
                  </a:lnTo>
                  <a:lnTo>
                    <a:pt x="120129" y="318941"/>
                  </a:lnTo>
                  <a:lnTo>
                    <a:pt x="121732" y="318094"/>
                  </a:lnTo>
                  <a:lnTo>
                    <a:pt x="123547" y="317640"/>
                  </a:lnTo>
                  <a:lnTo>
                    <a:pt x="128902" y="318366"/>
                  </a:lnTo>
                  <a:lnTo>
                    <a:pt x="131382" y="318154"/>
                  </a:lnTo>
                  <a:lnTo>
                    <a:pt x="135164" y="316490"/>
                  </a:lnTo>
                  <a:lnTo>
                    <a:pt x="137674" y="315401"/>
                  </a:lnTo>
                  <a:lnTo>
                    <a:pt x="138400" y="314917"/>
                  </a:lnTo>
                  <a:lnTo>
                    <a:pt x="138854" y="314070"/>
                  </a:lnTo>
                  <a:lnTo>
                    <a:pt x="140336" y="310168"/>
                  </a:lnTo>
                  <a:lnTo>
                    <a:pt x="140488" y="309623"/>
                  </a:lnTo>
                  <a:lnTo>
                    <a:pt x="140004" y="307355"/>
                  </a:lnTo>
                  <a:lnTo>
                    <a:pt x="139973" y="306750"/>
                  </a:lnTo>
                  <a:lnTo>
                    <a:pt x="139641" y="305418"/>
                  </a:lnTo>
                  <a:lnTo>
                    <a:pt x="139701" y="304662"/>
                  </a:lnTo>
                  <a:lnTo>
                    <a:pt x="140185" y="304027"/>
                  </a:lnTo>
                  <a:lnTo>
                    <a:pt x="141668" y="303603"/>
                  </a:lnTo>
                  <a:lnTo>
                    <a:pt x="142212" y="303180"/>
                  </a:lnTo>
                  <a:lnTo>
                    <a:pt x="143331" y="300306"/>
                  </a:lnTo>
                  <a:lnTo>
                    <a:pt x="143362" y="297825"/>
                  </a:lnTo>
                  <a:lnTo>
                    <a:pt x="143150" y="295405"/>
                  </a:lnTo>
                  <a:lnTo>
                    <a:pt x="143604" y="292652"/>
                  </a:lnTo>
                  <a:lnTo>
                    <a:pt x="144390" y="291473"/>
                  </a:lnTo>
                  <a:lnTo>
                    <a:pt x="145479" y="290777"/>
                  </a:lnTo>
                  <a:lnTo>
                    <a:pt x="146568" y="290262"/>
                  </a:lnTo>
                  <a:lnTo>
                    <a:pt x="147385" y="289597"/>
                  </a:lnTo>
                  <a:lnTo>
                    <a:pt x="147688" y="288931"/>
                  </a:lnTo>
                  <a:lnTo>
                    <a:pt x="149231" y="285392"/>
                  </a:lnTo>
                  <a:lnTo>
                    <a:pt x="150320" y="283486"/>
                  </a:lnTo>
                  <a:lnTo>
                    <a:pt x="150773" y="282488"/>
                  </a:lnTo>
                  <a:lnTo>
                    <a:pt x="151106" y="280975"/>
                  </a:lnTo>
                  <a:lnTo>
                    <a:pt x="151076" y="279705"/>
                  </a:lnTo>
                  <a:lnTo>
                    <a:pt x="150622" y="276438"/>
                  </a:lnTo>
                  <a:lnTo>
                    <a:pt x="150804" y="275258"/>
                  </a:lnTo>
                  <a:lnTo>
                    <a:pt x="151681" y="274411"/>
                  </a:lnTo>
                  <a:lnTo>
                    <a:pt x="153799" y="273957"/>
                  </a:lnTo>
                  <a:lnTo>
                    <a:pt x="154676" y="273503"/>
                  </a:lnTo>
                  <a:lnTo>
                    <a:pt x="155523" y="272263"/>
                  </a:lnTo>
                  <a:lnTo>
                    <a:pt x="155886" y="271113"/>
                  </a:lnTo>
                  <a:lnTo>
                    <a:pt x="156430" y="270085"/>
                  </a:lnTo>
                  <a:lnTo>
                    <a:pt x="157792" y="269268"/>
                  </a:lnTo>
                  <a:lnTo>
                    <a:pt x="160454" y="269207"/>
                  </a:lnTo>
                  <a:lnTo>
                    <a:pt x="162753" y="270206"/>
                  </a:lnTo>
                  <a:lnTo>
                    <a:pt x="165022" y="270720"/>
                  </a:lnTo>
                  <a:lnTo>
                    <a:pt x="167502" y="269147"/>
                  </a:lnTo>
                  <a:lnTo>
                    <a:pt x="168501" y="267877"/>
                  </a:lnTo>
                  <a:lnTo>
                    <a:pt x="168833" y="267302"/>
                  </a:lnTo>
                  <a:lnTo>
                    <a:pt x="169106" y="266576"/>
                  </a:lnTo>
                  <a:lnTo>
                    <a:pt x="169045" y="265093"/>
                  </a:lnTo>
                  <a:lnTo>
                    <a:pt x="169650" y="264004"/>
                  </a:lnTo>
                  <a:lnTo>
                    <a:pt x="170709" y="263309"/>
                  </a:lnTo>
                  <a:lnTo>
                    <a:pt x="172010" y="262976"/>
                  </a:lnTo>
                  <a:lnTo>
                    <a:pt x="172706" y="261766"/>
                  </a:lnTo>
                  <a:lnTo>
                    <a:pt x="173613" y="261070"/>
                  </a:lnTo>
                  <a:lnTo>
                    <a:pt x="174551" y="260586"/>
                  </a:lnTo>
                  <a:lnTo>
                    <a:pt x="175247" y="259890"/>
                  </a:lnTo>
                  <a:lnTo>
                    <a:pt x="175761" y="258680"/>
                  </a:lnTo>
                  <a:lnTo>
                    <a:pt x="175942" y="257712"/>
                  </a:lnTo>
                  <a:lnTo>
                    <a:pt x="175973" y="256714"/>
                  </a:lnTo>
                  <a:lnTo>
                    <a:pt x="176154" y="255322"/>
                  </a:lnTo>
                  <a:lnTo>
                    <a:pt x="177213" y="251087"/>
                  </a:lnTo>
                  <a:lnTo>
                    <a:pt x="177576" y="248848"/>
                  </a:lnTo>
                  <a:lnTo>
                    <a:pt x="177425" y="246458"/>
                  </a:lnTo>
                  <a:close/>
                </a:path>
              </a:pathLst>
            </a:custGeom>
            <a:solidFill>
              <a:srgbClr val="96A3AC"/>
            </a:solidFill>
            <a:ln w="3175" cap="rnd">
              <a:solidFill>
                <a:schemeClr val="bg1"/>
              </a:solidFill>
              <a:prstDash val="solid"/>
              <a:round/>
            </a:ln>
          </p:spPr>
          <p:txBody>
            <a:bodyPr rtlCol="0" anchor="ctr"/>
            <a:lstStyle/>
            <a:p>
              <a:endParaRPr lang="en-ID"/>
            </a:p>
          </p:txBody>
        </p:sp>
        <p:sp>
          <p:nvSpPr>
            <p:cNvPr id="69" name="Freeform: Shape 68">
              <a:extLst>
                <a:ext uri="{FF2B5EF4-FFF2-40B4-BE49-F238E27FC236}">
                  <a16:creationId xmlns:a16="http://schemas.microsoft.com/office/drawing/2014/main" id="{DAEC5E56-20C4-4666-8BC6-3F8C3AFB97EA}"/>
                </a:ext>
              </a:extLst>
            </p:cNvPr>
            <p:cNvSpPr/>
            <p:nvPr/>
          </p:nvSpPr>
          <p:spPr>
            <a:xfrm>
              <a:off x="12188540" y="1381829"/>
              <a:ext cx="2868" cy="3879"/>
            </a:xfrm>
            <a:custGeom>
              <a:avLst/>
              <a:gdLst>
                <a:gd name="connsiteX0" fmla="*/ 3691 w 3690"/>
                <a:gd name="connsiteY0" fmla="*/ 938 h 4991"/>
                <a:gd name="connsiteX1" fmla="*/ 1875 w 3690"/>
                <a:gd name="connsiteY1" fmla="*/ 3902 h 4991"/>
                <a:gd name="connsiteX2" fmla="*/ 0 w 3690"/>
                <a:gd name="connsiteY2" fmla="*/ 4991 h 4991"/>
                <a:gd name="connsiteX3" fmla="*/ 0 w 3690"/>
                <a:gd name="connsiteY3" fmla="*/ 0 h 4991"/>
                <a:gd name="connsiteX4" fmla="*/ 2299 w 3690"/>
                <a:gd name="connsiteY4" fmla="*/ 938 h 4991"/>
                <a:gd name="connsiteX5" fmla="*/ 3691 w 3690"/>
                <a:gd name="connsiteY5" fmla="*/ 938 h 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0" h="4991">
                  <a:moveTo>
                    <a:pt x="3691" y="938"/>
                  </a:moveTo>
                  <a:lnTo>
                    <a:pt x="1875" y="3902"/>
                  </a:lnTo>
                  <a:lnTo>
                    <a:pt x="0" y="4991"/>
                  </a:lnTo>
                  <a:lnTo>
                    <a:pt x="0" y="0"/>
                  </a:lnTo>
                  <a:lnTo>
                    <a:pt x="2299" y="938"/>
                  </a:lnTo>
                  <a:lnTo>
                    <a:pt x="3691" y="938"/>
                  </a:lnTo>
                  <a:close/>
                </a:path>
              </a:pathLst>
            </a:custGeom>
            <a:solidFill>
              <a:srgbClr val="96A3AC"/>
            </a:solidFill>
            <a:ln w="3175" cap="rnd">
              <a:solidFill>
                <a:schemeClr val="bg1"/>
              </a:solidFill>
              <a:prstDash val="solid"/>
              <a:round/>
            </a:ln>
          </p:spPr>
          <p:txBody>
            <a:bodyPr rtlCol="0" anchor="ctr"/>
            <a:lstStyle/>
            <a:p>
              <a:endParaRPr lang="en-ID"/>
            </a:p>
          </p:txBody>
        </p:sp>
      </p:grpSp>
      <p:sp>
        <p:nvSpPr>
          <p:cNvPr id="118" name="Subtitle 2">
            <a:extLst>
              <a:ext uri="{FF2B5EF4-FFF2-40B4-BE49-F238E27FC236}">
                <a16:creationId xmlns:a16="http://schemas.microsoft.com/office/drawing/2014/main" id="{8FC1763A-5C65-F5FB-DB9C-6EC420C7E85E}"/>
              </a:ext>
            </a:extLst>
          </p:cNvPr>
          <p:cNvSpPr txBox="1">
            <a:spLocks/>
          </p:cNvSpPr>
          <p:nvPr/>
        </p:nvSpPr>
        <p:spPr>
          <a:xfrm>
            <a:off x="1660317" y="3810949"/>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Flight</a:t>
            </a:r>
          </a:p>
          <a:p>
            <a:pPr marL="0" indent="0">
              <a:buNone/>
            </a:pPr>
            <a:r>
              <a:rPr lang="en-US" sz="1400" dirty="0">
                <a:solidFill>
                  <a:schemeClr val="bg1"/>
                </a:solidFill>
                <a:cs typeface="Arial" panose="020B0604020202020204" pitchFamily="34" charset="0"/>
              </a:rPr>
              <a:t>Booking</a:t>
            </a:r>
          </a:p>
        </p:txBody>
      </p:sp>
      <p:sp>
        <p:nvSpPr>
          <p:cNvPr id="120" name="Subtitle 2">
            <a:extLst>
              <a:ext uri="{FF2B5EF4-FFF2-40B4-BE49-F238E27FC236}">
                <a16:creationId xmlns:a16="http://schemas.microsoft.com/office/drawing/2014/main" id="{53D00D2A-1491-30ED-0EF1-5C86BC5E6496}"/>
              </a:ext>
            </a:extLst>
          </p:cNvPr>
          <p:cNvSpPr txBox="1">
            <a:spLocks/>
          </p:cNvSpPr>
          <p:nvPr/>
        </p:nvSpPr>
        <p:spPr>
          <a:xfrm>
            <a:off x="1660317" y="5015173"/>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Hotel</a:t>
            </a:r>
          </a:p>
          <a:p>
            <a:pPr marL="0" indent="0">
              <a:buNone/>
            </a:pPr>
            <a:r>
              <a:rPr lang="en-US" sz="1400" dirty="0">
                <a:solidFill>
                  <a:schemeClr val="bg1"/>
                </a:solidFill>
                <a:cs typeface="Arial" panose="020B0604020202020204" pitchFamily="34" charset="0"/>
              </a:rPr>
              <a:t>Booking, reservation</a:t>
            </a:r>
          </a:p>
        </p:txBody>
      </p:sp>
      <p:sp>
        <p:nvSpPr>
          <p:cNvPr id="124" name="Subtitle 2">
            <a:extLst>
              <a:ext uri="{FF2B5EF4-FFF2-40B4-BE49-F238E27FC236}">
                <a16:creationId xmlns:a16="http://schemas.microsoft.com/office/drawing/2014/main" id="{807DC57E-31DD-C701-CB65-26787F6A6937}"/>
              </a:ext>
            </a:extLst>
          </p:cNvPr>
          <p:cNvSpPr txBox="1">
            <a:spLocks/>
          </p:cNvSpPr>
          <p:nvPr/>
        </p:nvSpPr>
        <p:spPr>
          <a:xfrm>
            <a:off x="4898555" y="3810949"/>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Bus </a:t>
            </a:r>
          </a:p>
          <a:p>
            <a:pPr marL="0" indent="0">
              <a:buNone/>
            </a:pPr>
            <a:r>
              <a:rPr lang="en-US" sz="1400" dirty="0">
                <a:solidFill>
                  <a:schemeClr val="bg1"/>
                </a:solidFill>
                <a:cs typeface="Arial" panose="020B0604020202020204" pitchFamily="34" charset="0"/>
              </a:rPr>
              <a:t>Booking </a:t>
            </a:r>
          </a:p>
        </p:txBody>
      </p:sp>
      <p:sp>
        <p:nvSpPr>
          <p:cNvPr id="126" name="Subtitle 2">
            <a:extLst>
              <a:ext uri="{FF2B5EF4-FFF2-40B4-BE49-F238E27FC236}">
                <a16:creationId xmlns:a16="http://schemas.microsoft.com/office/drawing/2014/main" id="{2930C9ED-B755-2B93-6621-FB58744D4292}"/>
              </a:ext>
            </a:extLst>
          </p:cNvPr>
          <p:cNvSpPr txBox="1">
            <a:spLocks/>
          </p:cNvSpPr>
          <p:nvPr/>
        </p:nvSpPr>
        <p:spPr>
          <a:xfrm>
            <a:off x="4898555" y="5015173"/>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Train </a:t>
            </a:r>
          </a:p>
          <a:p>
            <a:pPr marL="0" indent="0">
              <a:buNone/>
            </a:pPr>
            <a:r>
              <a:rPr lang="en-US" sz="1400" dirty="0">
                <a:solidFill>
                  <a:schemeClr val="bg1"/>
                </a:solidFill>
                <a:cs typeface="Arial" panose="020B0604020202020204" pitchFamily="34" charset="0"/>
              </a:rPr>
              <a:t>Booking </a:t>
            </a:r>
          </a:p>
        </p:txBody>
      </p:sp>
      <p:pic>
        <p:nvPicPr>
          <p:cNvPr id="131" name="Picture 130">
            <a:extLst>
              <a:ext uri="{FF2B5EF4-FFF2-40B4-BE49-F238E27FC236}">
                <a16:creationId xmlns:a16="http://schemas.microsoft.com/office/drawing/2014/main" id="{7E1C6805-9BCB-D36B-32A3-2BA9FA0C6C2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97418" y="3977371"/>
            <a:ext cx="841220" cy="772269"/>
          </a:xfrm>
          <a:custGeom>
            <a:avLst/>
            <a:gdLst>
              <a:gd name="connsiteX0" fmla="*/ 1754622 w 3509244"/>
              <a:gd name="connsiteY0" fmla="*/ 0 h 3509244"/>
              <a:gd name="connsiteX1" fmla="*/ 3509244 w 3509244"/>
              <a:gd name="connsiteY1" fmla="*/ 1754622 h 3509244"/>
              <a:gd name="connsiteX2" fmla="*/ 1754622 w 3509244"/>
              <a:gd name="connsiteY2" fmla="*/ 3509244 h 3509244"/>
              <a:gd name="connsiteX3" fmla="*/ 0 w 3509244"/>
              <a:gd name="connsiteY3" fmla="*/ 1754622 h 3509244"/>
              <a:gd name="connsiteX4" fmla="*/ 1754622 w 3509244"/>
              <a:gd name="connsiteY4" fmla="*/ 0 h 35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244" h="3509244">
                <a:moveTo>
                  <a:pt x="1754622" y="0"/>
                </a:moveTo>
                <a:cubicBezTo>
                  <a:pt x="2723673" y="0"/>
                  <a:pt x="3509244" y="785571"/>
                  <a:pt x="3509244" y="1754622"/>
                </a:cubicBezTo>
                <a:cubicBezTo>
                  <a:pt x="3509244" y="2723673"/>
                  <a:pt x="2723673" y="3509244"/>
                  <a:pt x="1754622" y="3509244"/>
                </a:cubicBezTo>
                <a:cubicBezTo>
                  <a:pt x="785571" y="3509244"/>
                  <a:pt x="0" y="2723673"/>
                  <a:pt x="0" y="1754622"/>
                </a:cubicBezTo>
                <a:cubicBezTo>
                  <a:pt x="0" y="785571"/>
                  <a:pt x="785571" y="0"/>
                  <a:pt x="1754622" y="0"/>
                </a:cubicBezTo>
                <a:close/>
              </a:path>
            </a:pathLst>
          </a:custGeom>
          <a:ln w="19050">
            <a:noFill/>
          </a:ln>
          <a:effectLst>
            <a:outerShdw blurRad="127000" dist="63500" dir="5400000" algn="t" rotWithShape="0">
              <a:prstClr val="black">
                <a:alpha val="15000"/>
              </a:prstClr>
            </a:outerShdw>
          </a:effectLst>
        </p:spPr>
      </p:pic>
      <p:pic>
        <p:nvPicPr>
          <p:cNvPr id="132" name="Picture 131" descr="A picture containing outdoor, water, sky, day&#10;&#10;Description automatically generated">
            <a:extLst>
              <a:ext uri="{FF2B5EF4-FFF2-40B4-BE49-F238E27FC236}">
                <a16:creationId xmlns:a16="http://schemas.microsoft.com/office/drawing/2014/main" id="{A10ADC0E-144E-EC9A-28F5-9F38B41B5F4B}"/>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39097" y="5088973"/>
            <a:ext cx="932400" cy="932400"/>
          </a:xfrm>
          <a:custGeom>
            <a:avLst/>
            <a:gdLst>
              <a:gd name="connsiteX0" fmla="*/ 3087965 w 6175930"/>
              <a:gd name="connsiteY0" fmla="*/ 0 h 6175930"/>
              <a:gd name="connsiteX1" fmla="*/ 6175930 w 6175930"/>
              <a:gd name="connsiteY1" fmla="*/ 3087965 h 6175930"/>
              <a:gd name="connsiteX2" fmla="*/ 3087965 w 6175930"/>
              <a:gd name="connsiteY2" fmla="*/ 6175930 h 6175930"/>
              <a:gd name="connsiteX3" fmla="*/ 0 w 6175930"/>
              <a:gd name="connsiteY3" fmla="*/ 3087965 h 6175930"/>
              <a:gd name="connsiteX4" fmla="*/ 3087965 w 6175930"/>
              <a:gd name="connsiteY4" fmla="*/ 0 h 617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5930" h="6175930">
                <a:moveTo>
                  <a:pt x="3087965" y="0"/>
                </a:moveTo>
                <a:cubicBezTo>
                  <a:pt x="4793401" y="0"/>
                  <a:pt x="6175930" y="1382529"/>
                  <a:pt x="6175930" y="3087965"/>
                </a:cubicBezTo>
                <a:cubicBezTo>
                  <a:pt x="6175930" y="4793401"/>
                  <a:pt x="4793401" y="6175930"/>
                  <a:pt x="3087965" y="6175930"/>
                </a:cubicBezTo>
                <a:cubicBezTo>
                  <a:pt x="1382529" y="6175930"/>
                  <a:pt x="0" y="4793401"/>
                  <a:pt x="0" y="3087965"/>
                </a:cubicBezTo>
                <a:cubicBezTo>
                  <a:pt x="0" y="1382529"/>
                  <a:pt x="1382529" y="0"/>
                  <a:pt x="3087965" y="0"/>
                </a:cubicBezTo>
                <a:close/>
              </a:path>
            </a:pathLst>
          </a:custGeom>
          <a:ln w="19050">
            <a:noFill/>
          </a:ln>
          <a:effectLst>
            <a:outerShdw blurRad="127000" dist="63500" dir="5400000" algn="t" rotWithShape="0">
              <a:prstClr val="black">
                <a:alpha val="15000"/>
              </a:prstClr>
            </a:outerShdw>
          </a:effectLst>
        </p:spPr>
      </p:pic>
      <p:pic>
        <p:nvPicPr>
          <p:cNvPr id="133" name="Picture 132">
            <a:extLst>
              <a:ext uri="{FF2B5EF4-FFF2-40B4-BE49-F238E27FC236}">
                <a16:creationId xmlns:a16="http://schemas.microsoft.com/office/drawing/2014/main" id="{9BB84119-9DAE-650D-73E3-3BF7625DBCC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6974" y="3908860"/>
            <a:ext cx="891218" cy="856985"/>
          </a:xfrm>
          <a:custGeom>
            <a:avLst/>
            <a:gdLst>
              <a:gd name="connsiteX0" fmla="*/ 1890505 w 3781010"/>
              <a:gd name="connsiteY0" fmla="*/ 0 h 3781010"/>
              <a:gd name="connsiteX1" fmla="*/ 3781010 w 3781010"/>
              <a:gd name="connsiteY1" fmla="*/ 1890505 h 3781010"/>
              <a:gd name="connsiteX2" fmla="*/ 1890505 w 3781010"/>
              <a:gd name="connsiteY2" fmla="*/ 3781010 h 3781010"/>
              <a:gd name="connsiteX3" fmla="*/ 0 w 3781010"/>
              <a:gd name="connsiteY3" fmla="*/ 1890505 h 3781010"/>
              <a:gd name="connsiteX4" fmla="*/ 1890505 w 3781010"/>
              <a:gd name="connsiteY4" fmla="*/ 0 h 3781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1010" h="3781010">
                <a:moveTo>
                  <a:pt x="1890505" y="0"/>
                </a:moveTo>
                <a:cubicBezTo>
                  <a:pt x="2934602" y="0"/>
                  <a:pt x="3781010" y="846408"/>
                  <a:pt x="3781010" y="1890505"/>
                </a:cubicBezTo>
                <a:cubicBezTo>
                  <a:pt x="3781010" y="2934602"/>
                  <a:pt x="2934602" y="3781010"/>
                  <a:pt x="1890505" y="3781010"/>
                </a:cubicBezTo>
                <a:cubicBezTo>
                  <a:pt x="846408" y="3781010"/>
                  <a:pt x="0" y="2934602"/>
                  <a:pt x="0" y="1890505"/>
                </a:cubicBezTo>
                <a:cubicBezTo>
                  <a:pt x="0" y="846408"/>
                  <a:pt x="846408" y="0"/>
                  <a:pt x="1890505" y="0"/>
                </a:cubicBezTo>
                <a:close/>
              </a:path>
            </a:pathLst>
          </a:custGeom>
          <a:ln w="19050">
            <a:noFill/>
          </a:ln>
          <a:effectLst>
            <a:outerShdw blurRad="127000" dist="63500" dir="5400000" algn="t" rotWithShape="0">
              <a:prstClr val="black">
                <a:alpha val="15000"/>
              </a:prstClr>
            </a:outerShdw>
          </a:effectLst>
        </p:spPr>
      </p:pic>
      <p:pic>
        <p:nvPicPr>
          <p:cNvPr id="135" name="Picture 134">
            <a:extLst>
              <a:ext uri="{FF2B5EF4-FFF2-40B4-BE49-F238E27FC236}">
                <a16:creationId xmlns:a16="http://schemas.microsoft.com/office/drawing/2014/main" id="{E488BE51-120D-DC95-C41F-18A25DB7DBC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877335" y="5156484"/>
            <a:ext cx="932400" cy="785340"/>
          </a:xfrm>
          <a:custGeom>
            <a:avLst/>
            <a:gdLst>
              <a:gd name="connsiteX0" fmla="*/ 2541970 w 5083940"/>
              <a:gd name="connsiteY0" fmla="*/ 0 h 5083940"/>
              <a:gd name="connsiteX1" fmla="*/ 5083940 w 5083940"/>
              <a:gd name="connsiteY1" fmla="*/ 2541970 h 5083940"/>
              <a:gd name="connsiteX2" fmla="*/ 2541970 w 5083940"/>
              <a:gd name="connsiteY2" fmla="*/ 5083940 h 5083940"/>
              <a:gd name="connsiteX3" fmla="*/ 0 w 5083940"/>
              <a:gd name="connsiteY3" fmla="*/ 2541970 h 5083940"/>
              <a:gd name="connsiteX4" fmla="*/ 2541970 w 5083940"/>
              <a:gd name="connsiteY4" fmla="*/ 0 h 508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3940" h="5083940">
                <a:moveTo>
                  <a:pt x="2541970" y="0"/>
                </a:moveTo>
                <a:cubicBezTo>
                  <a:pt x="3945861" y="0"/>
                  <a:pt x="5083940" y="1138079"/>
                  <a:pt x="5083940" y="2541970"/>
                </a:cubicBezTo>
                <a:cubicBezTo>
                  <a:pt x="5083940" y="3945861"/>
                  <a:pt x="3945861" y="5083940"/>
                  <a:pt x="2541970" y="5083940"/>
                </a:cubicBezTo>
                <a:cubicBezTo>
                  <a:pt x="1138079" y="5083940"/>
                  <a:pt x="0" y="3945861"/>
                  <a:pt x="0" y="2541970"/>
                </a:cubicBezTo>
                <a:cubicBezTo>
                  <a:pt x="0" y="1138079"/>
                  <a:pt x="1138079" y="0"/>
                  <a:pt x="2541970" y="0"/>
                </a:cubicBezTo>
                <a:close/>
              </a:path>
            </a:pathLst>
          </a:custGeom>
          <a:ln w="19050">
            <a:noFill/>
          </a:ln>
          <a:effectLst>
            <a:outerShdw blurRad="127000" dist="63500" dir="5400000" algn="t" rotWithShape="0">
              <a:prstClr val="black">
                <a:alpha val="15000"/>
              </a:prstClr>
            </a:outerShdw>
          </a:effectLst>
        </p:spPr>
      </p:pic>
      <p:cxnSp>
        <p:nvCxnSpPr>
          <p:cNvPr id="147" name="Straight Connector 146">
            <a:extLst>
              <a:ext uri="{FF2B5EF4-FFF2-40B4-BE49-F238E27FC236}">
                <a16:creationId xmlns:a16="http://schemas.microsoft.com/office/drawing/2014/main" id="{90B706A6-8967-FA9A-B405-62C0DADF4FFD}"/>
              </a:ext>
            </a:extLst>
          </p:cNvPr>
          <p:cNvCxnSpPr>
            <a:cxnSpLocks/>
          </p:cNvCxnSpPr>
          <p:nvPr/>
        </p:nvCxnSpPr>
        <p:spPr>
          <a:xfrm>
            <a:off x="639097" y="4953061"/>
            <a:ext cx="2880000" cy="0"/>
          </a:xfrm>
          <a:prstGeom prst="line">
            <a:avLst/>
          </a:prstGeom>
          <a:ln>
            <a:solidFill>
              <a:schemeClr val="bg1">
                <a:alpha val="7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0F6075C-DE5C-A096-ADBA-E9E9BFEF19C6}"/>
              </a:ext>
            </a:extLst>
          </p:cNvPr>
          <p:cNvCxnSpPr>
            <a:cxnSpLocks/>
          </p:cNvCxnSpPr>
          <p:nvPr/>
        </p:nvCxnSpPr>
        <p:spPr>
          <a:xfrm>
            <a:off x="3877335" y="4953061"/>
            <a:ext cx="2880000" cy="0"/>
          </a:xfrm>
          <a:prstGeom prst="line">
            <a:avLst/>
          </a:prstGeom>
          <a:ln>
            <a:solidFill>
              <a:schemeClr val="bg1">
                <a:alpha val="7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E54E0FF-7D33-1A40-6514-447FEB75C237}"/>
              </a:ext>
            </a:extLst>
          </p:cNvPr>
          <p:cNvCxnSpPr>
            <a:cxnSpLocks/>
          </p:cNvCxnSpPr>
          <p:nvPr/>
        </p:nvCxnSpPr>
        <p:spPr>
          <a:xfrm>
            <a:off x="639097" y="3748837"/>
            <a:ext cx="6118238" cy="0"/>
          </a:xfrm>
          <a:prstGeom prst="line">
            <a:avLst/>
          </a:prstGeom>
          <a:ln>
            <a:solidFill>
              <a:schemeClr val="bg1">
                <a:alpha val="75000"/>
              </a:schemeClr>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0185C29D-5C7A-1A75-D789-107971862A1F}"/>
              </a:ext>
            </a:extLst>
          </p:cNvPr>
          <p:cNvSpPr/>
          <p:nvPr/>
        </p:nvSpPr>
        <p:spPr>
          <a:xfrm>
            <a:off x="5272230" y="1739438"/>
            <a:ext cx="6254678" cy="502352"/>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6" name="Subtitle 2">
            <a:extLst>
              <a:ext uri="{FF2B5EF4-FFF2-40B4-BE49-F238E27FC236}">
                <a16:creationId xmlns:a16="http://schemas.microsoft.com/office/drawing/2014/main" id="{14F93391-CE5A-C6D4-4133-565841F7B967}"/>
              </a:ext>
            </a:extLst>
          </p:cNvPr>
          <p:cNvSpPr txBox="1">
            <a:spLocks/>
          </p:cNvSpPr>
          <p:nvPr/>
        </p:nvSpPr>
        <p:spPr>
          <a:xfrm>
            <a:off x="5531395" y="1538220"/>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Our system enables customers to book/reserve amenities with ease</a:t>
            </a:r>
          </a:p>
        </p:txBody>
      </p:sp>
      <p:sp>
        <p:nvSpPr>
          <p:cNvPr id="2" name="Rectangle 1">
            <a:extLst>
              <a:ext uri="{FF2B5EF4-FFF2-40B4-BE49-F238E27FC236}">
                <a16:creationId xmlns:a16="http://schemas.microsoft.com/office/drawing/2014/main" id="{8F894848-2C40-0FB7-7D4B-E4C8B687A428}"/>
              </a:ext>
            </a:extLst>
          </p:cNvPr>
          <p:cNvSpPr/>
          <p:nvPr/>
        </p:nvSpPr>
        <p:spPr>
          <a:xfrm>
            <a:off x="2119476" y="2492608"/>
            <a:ext cx="3143902" cy="108000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F555F55-886D-00A5-FA75-74F8D48CFE6E}"/>
              </a:ext>
            </a:extLst>
          </p:cNvPr>
          <p:cNvSpPr txBox="1">
            <a:spLocks/>
          </p:cNvSpPr>
          <p:nvPr/>
        </p:nvSpPr>
        <p:spPr>
          <a:xfrm>
            <a:off x="2591150" y="2600318"/>
            <a:ext cx="243804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Our system contains the following</a:t>
            </a:r>
          </a:p>
        </p:txBody>
      </p:sp>
      <p:pic>
        <p:nvPicPr>
          <p:cNvPr id="8" name="Graphic 7" descr="Train">
            <a:extLst>
              <a:ext uri="{FF2B5EF4-FFF2-40B4-BE49-F238E27FC236}">
                <a16:creationId xmlns:a16="http://schemas.microsoft.com/office/drawing/2014/main" id="{E97FE7E3-9882-6670-08EB-6D81DDD7C96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80126" y="3945095"/>
            <a:ext cx="522463" cy="522463"/>
          </a:xfrm>
          <a:prstGeom prst="rect">
            <a:avLst/>
          </a:prstGeom>
        </p:spPr>
      </p:pic>
      <p:pic>
        <p:nvPicPr>
          <p:cNvPr id="10" name="Graphic 9" descr="Bus">
            <a:extLst>
              <a:ext uri="{FF2B5EF4-FFF2-40B4-BE49-F238E27FC236}">
                <a16:creationId xmlns:a16="http://schemas.microsoft.com/office/drawing/2014/main" id="{306579B2-9E08-A832-3C04-9C8B9AD3CE6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71312" y="2401866"/>
            <a:ext cx="525547" cy="525547"/>
          </a:xfrm>
          <a:prstGeom prst="rect">
            <a:avLst/>
          </a:prstGeom>
        </p:spPr>
      </p:pic>
      <p:sp>
        <p:nvSpPr>
          <p:cNvPr id="36" name="Freeform 8">
            <a:extLst>
              <a:ext uri="{FF2B5EF4-FFF2-40B4-BE49-F238E27FC236}">
                <a16:creationId xmlns:a16="http://schemas.microsoft.com/office/drawing/2014/main" id="{44F01F22-BFF1-2D43-8096-86DBC444E7FD}"/>
              </a:ext>
            </a:extLst>
          </p:cNvPr>
          <p:cNvSpPr>
            <a:spLocks/>
          </p:cNvSpPr>
          <p:nvPr/>
        </p:nvSpPr>
        <p:spPr bwMode="auto">
          <a:xfrm>
            <a:off x="10758112" y="2499390"/>
            <a:ext cx="871202" cy="1311559"/>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solidFill>
            <a:srgbClr val="D5204B"/>
          </a:solidFill>
          <a:ln w="15875" cap="rnd">
            <a:no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pic>
        <p:nvPicPr>
          <p:cNvPr id="29" name="Graphic 28" descr="City">
            <a:extLst>
              <a:ext uri="{FF2B5EF4-FFF2-40B4-BE49-F238E27FC236}">
                <a16:creationId xmlns:a16="http://schemas.microsoft.com/office/drawing/2014/main" id="{6EB57709-13F9-31D8-109B-3F3A5B4C5B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31032" y="2549091"/>
            <a:ext cx="725362" cy="725362"/>
          </a:xfrm>
          <a:prstGeom prst="rect">
            <a:avLst/>
          </a:prstGeom>
        </p:spPr>
      </p:pic>
      <p:pic>
        <p:nvPicPr>
          <p:cNvPr id="70" name="Graphic 69" descr="Airplane">
            <a:extLst>
              <a:ext uri="{FF2B5EF4-FFF2-40B4-BE49-F238E27FC236}">
                <a16:creationId xmlns:a16="http://schemas.microsoft.com/office/drawing/2014/main" id="{C4AAB2DA-63D7-31AA-34AE-92458E7C2C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874387">
            <a:off x="8983469" y="3755342"/>
            <a:ext cx="665678" cy="665678"/>
          </a:xfrm>
          <a:prstGeom prst="rect">
            <a:avLst/>
          </a:prstGeom>
        </p:spPr>
      </p:pic>
      <p:sp>
        <p:nvSpPr>
          <p:cNvPr id="73" name="Rectangle 72">
            <a:extLst>
              <a:ext uri="{FF2B5EF4-FFF2-40B4-BE49-F238E27FC236}">
                <a16:creationId xmlns:a16="http://schemas.microsoft.com/office/drawing/2014/main" id="{311BD78C-BDB7-85AB-6886-086FB73EFBD5}"/>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cxnSp>
        <p:nvCxnSpPr>
          <p:cNvPr id="77" name="Straight Connector 76">
            <a:extLst>
              <a:ext uri="{FF2B5EF4-FFF2-40B4-BE49-F238E27FC236}">
                <a16:creationId xmlns:a16="http://schemas.microsoft.com/office/drawing/2014/main" id="{883ED6ED-B3DD-86D5-9E26-8647675B92E0}"/>
              </a:ext>
            </a:extLst>
          </p:cNvPr>
          <p:cNvCxnSpPr>
            <a:stCxn id="70" idx="2"/>
          </p:cNvCxnSpPr>
          <p:nvPr/>
        </p:nvCxnSpPr>
        <p:spPr>
          <a:xfrm flipH="1">
            <a:off x="7559545" y="4372760"/>
            <a:ext cx="1584146" cy="2485240"/>
          </a:xfrm>
          <a:prstGeom prst="line">
            <a:avLst/>
          </a:prstGeom>
          <a:ln w="38100">
            <a:solidFill>
              <a:srgbClr val="D5204B"/>
            </a:solidFill>
            <a:prstDash val="sysDash"/>
          </a:ln>
        </p:spPr>
        <p:style>
          <a:lnRef idx="1">
            <a:schemeClr val="accent1"/>
          </a:lnRef>
          <a:fillRef idx="0">
            <a:schemeClr val="accent1"/>
          </a:fillRef>
          <a:effectRef idx="0">
            <a:schemeClr val="accent1"/>
          </a:effectRef>
          <a:fontRef idx="minor">
            <a:schemeClr val="tx1"/>
          </a:fontRef>
        </p:style>
      </p:cxnSp>
      <p:pic>
        <p:nvPicPr>
          <p:cNvPr id="81" name="Graphic 80" descr="Playbook">
            <a:extLst>
              <a:ext uri="{FF2B5EF4-FFF2-40B4-BE49-F238E27FC236}">
                <a16:creationId xmlns:a16="http://schemas.microsoft.com/office/drawing/2014/main" id="{43ABBA39-9118-4A02-AF0C-8394DA7A0EB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025190" y="313089"/>
            <a:ext cx="1201265" cy="1201265"/>
          </a:xfrm>
          <a:prstGeom prst="rect">
            <a:avLst/>
          </a:prstGeom>
        </p:spPr>
      </p:pic>
      <p:sp>
        <p:nvSpPr>
          <p:cNvPr id="4" name="Rectangle 3">
            <a:extLst>
              <a:ext uri="{FF2B5EF4-FFF2-40B4-BE49-F238E27FC236}">
                <a16:creationId xmlns:a16="http://schemas.microsoft.com/office/drawing/2014/main" id="{A659B183-84E9-2096-19B8-B50B65BF4076}"/>
              </a:ext>
            </a:extLst>
          </p:cNvPr>
          <p:cNvSpPr/>
          <p:nvPr/>
        </p:nvSpPr>
        <p:spPr>
          <a:xfrm>
            <a:off x="5263378" y="402700"/>
            <a:ext cx="6251811" cy="1022045"/>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17E3BF1-37BF-5D3C-7A7B-B0831C390D5F}"/>
              </a:ext>
            </a:extLst>
          </p:cNvPr>
          <p:cNvSpPr/>
          <p:nvPr/>
        </p:nvSpPr>
        <p:spPr>
          <a:xfrm>
            <a:off x="6053552" y="298341"/>
            <a:ext cx="4917780"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Project Description</a:t>
            </a:r>
            <a:endPar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Calibri Light" panose="020F0302020204030204" pitchFamily="34" charset="0"/>
            </a:endParaRPr>
          </a:p>
        </p:txBody>
      </p:sp>
      <p:grpSp>
        <p:nvGrpSpPr>
          <p:cNvPr id="9" name="Group 8">
            <a:extLst>
              <a:ext uri="{FF2B5EF4-FFF2-40B4-BE49-F238E27FC236}">
                <a16:creationId xmlns:a16="http://schemas.microsoft.com/office/drawing/2014/main" id="{C996C6DB-0DF2-67FB-D9DC-9CACCB0FE2B7}"/>
              </a:ext>
            </a:extLst>
          </p:cNvPr>
          <p:cNvGrpSpPr/>
          <p:nvPr/>
        </p:nvGrpSpPr>
        <p:grpSpPr>
          <a:xfrm>
            <a:off x="591498" y="363067"/>
            <a:ext cx="1258339" cy="1209412"/>
            <a:chOff x="645658" y="2456893"/>
            <a:chExt cx="613064" cy="613064"/>
          </a:xfrm>
        </p:grpSpPr>
        <p:sp>
          <p:nvSpPr>
            <p:cNvPr id="26" name="Oval 25">
              <a:extLst>
                <a:ext uri="{FF2B5EF4-FFF2-40B4-BE49-F238E27FC236}">
                  <a16:creationId xmlns:a16="http://schemas.microsoft.com/office/drawing/2014/main" id="{7C6E97CA-F882-FC00-EE14-97301405EB66}"/>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2CFD8C5A-B940-7380-6A48-9BD5F3558284}"/>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7</a:t>
              </a:r>
            </a:p>
          </p:txBody>
        </p:sp>
      </p:grpSp>
    </p:spTree>
    <p:extLst>
      <p:ext uri="{BB962C8B-B14F-4D97-AF65-F5344CB8AC3E}">
        <p14:creationId xmlns:p14="http://schemas.microsoft.com/office/powerpoint/2010/main" val="1035730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048000"/>
            <a:ext cx="12192000" cy="3809999"/>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5DCA36D2-EEF5-21EE-3283-F0CBB589C6A7}"/>
              </a:ext>
            </a:extLst>
          </p:cNvPr>
          <p:cNvSpPr/>
          <p:nvPr/>
        </p:nvSpPr>
        <p:spPr>
          <a:xfrm>
            <a:off x="407988" y="747675"/>
            <a:ext cx="11376024" cy="5400675"/>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5DF16468-97B7-242A-7A70-87D7CC777945}"/>
              </a:ext>
            </a:extLst>
          </p:cNvPr>
          <p:cNvSpPr/>
          <p:nvPr/>
        </p:nvSpPr>
        <p:spPr>
          <a:xfrm>
            <a:off x="5387819" y="9043"/>
            <a:ext cx="4802959" cy="11916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srgbClr val="D5204B"/>
                </a:solidFill>
                <a:latin typeface="Calibri" panose="020F0502020204030204"/>
                <a:cs typeface="Calibri Light" panose="020F0302020204030204" pitchFamily="34" charset="0"/>
              </a:rPr>
              <a:t>Modules </a:t>
            </a:r>
            <a:endParaRPr kumimoji="0" lang="en-US" sz="4800" b="1" i="0" u="none" strike="noStrike" kern="1200" cap="none" spc="0" normalizeH="0" baseline="0" noProof="0" dirty="0">
              <a:ln>
                <a:noFill/>
              </a:ln>
              <a:solidFill>
                <a:srgbClr val="D5204B"/>
              </a:solidFill>
              <a:effectLst/>
              <a:uLnTx/>
              <a:uFillTx/>
              <a:latin typeface="Calibri" panose="020F0502020204030204"/>
              <a:ea typeface="+mn-ea"/>
              <a:cs typeface="Calibri Light" panose="020F0302020204030204" pitchFamily="34" charset="0"/>
            </a:endParaRPr>
          </a:p>
        </p:txBody>
      </p:sp>
      <p:cxnSp>
        <p:nvCxnSpPr>
          <p:cNvPr id="238" name="Straight Connector 237">
            <a:extLst>
              <a:ext uri="{FF2B5EF4-FFF2-40B4-BE49-F238E27FC236}">
                <a16:creationId xmlns:a16="http://schemas.microsoft.com/office/drawing/2014/main" id="{6F4C157F-7FA9-A7EA-D571-99310C8EF84D}"/>
              </a:ext>
            </a:extLst>
          </p:cNvPr>
          <p:cNvCxnSpPr>
            <a:cxnSpLocks/>
          </p:cNvCxnSpPr>
          <p:nvPr/>
        </p:nvCxnSpPr>
        <p:spPr>
          <a:xfrm>
            <a:off x="1011280" y="2749195"/>
            <a:ext cx="99208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A0665256-FEAE-0D23-F834-9F097FEB5F4D}"/>
              </a:ext>
            </a:extLst>
          </p:cNvPr>
          <p:cNvCxnSpPr>
            <a:cxnSpLocks/>
          </p:cNvCxnSpPr>
          <p:nvPr/>
        </p:nvCxnSpPr>
        <p:spPr>
          <a:xfrm>
            <a:off x="7963979" y="1666153"/>
            <a:ext cx="0" cy="37247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E206DCF7-B8B7-81BE-4315-F0AA0ED2204C}"/>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213" name="Rectangle 212">
            <a:extLst>
              <a:ext uri="{FF2B5EF4-FFF2-40B4-BE49-F238E27FC236}">
                <a16:creationId xmlns:a16="http://schemas.microsoft.com/office/drawing/2014/main" id="{E17A6D23-878A-CD7E-0B3A-986C857535B7}"/>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214" name="Slide Number Placeholder 3">
            <a:extLst>
              <a:ext uri="{FF2B5EF4-FFF2-40B4-BE49-F238E27FC236}">
                <a16:creationId xmlns:a16="http://schemas.microsoft.com/office/drawing/2014/main" id="{59ACF725-315F-AA4B-1305-1F864C2F45EC}"/>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1</a:t>
            </a:fld>
            <a:endParaRPr lang="en-US" sz="1000" b="1" dirty="0">
              <a:solidFill>
                <a:schemeClr val="bg1"/>
              </a:solidFill>
            </a:endParaRPr>
          </a:p>
        </p:txBody>
      </p:sp>
      <p:pic>
        <p:nvPicPr>
          <p:cNvPr id="2" name="Graphic 1" descr="Table">
            <a:extLst>
              <a:ext uri="{FF2B5EF4-FFF2-40B4-BE49-F238E27FC236}">
                <a16:creationId xmlns:a16="http://schemas.microsoft.com/office/drawing/2014/main" id="{A9B74572-3BE1-A08E-000B-6A6B9717A1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37348" y="206631"/>
            <a:ext cx="809228" cy="809228"/>
          </a:xfrm>
          <a:prstGeom prst="rect">
            <a:avLst/>
          </a:prstGeom>
        </p:spPr>
      </p:pic>
      <p:sp>
        <p:nvSpPr>
          <p:cNvPr id="3" name="Subtitle 2">
            <a:extLst>
              <a:ext uri="{FF2B5EF4-FFF2-40B4-BE49-F238E27FC236}">
                <a16:creationId xmlns:a16="http://schemas.microsoft.com/office/drawing/2014/main" id="{DF13AE17-C680-153B-081D-A66129BD2DCC}"/>
              </a:ext>
            </a:extLst>
          </p:cNvPr>
          <p:cNvSpPr txBox="1">
            <a:spLocks/>
          </p:cNvSpPr>
          <p:nvPr/>
        </p:nvSpPr>
        <p:spPr>
          <a:xfrm>
            <a:off x="1753142" y="1536029"/>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rPr>
              <a:t>Login &amp; Sign-u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Accessing the website </a:t>
            </a:r>
          </a:p>
        </p:txBody>
      </p:sp>
      <p:sp>
        <p:nvSpPr>
          <p:cNvPr id="6" name="Subtitle 2">
            <a:extLst>
              <a:ext uri="{FF2B5EF4-FFF2-40B4-BE49-F238E27FC236}">
                <a16:creationId xmlns:a16="http://schemas.microsoft.com/office/drawing/2014/main" id="{70326325-32D5-D7FD-13C2-EB76E50A54A2}"/>
              </a:ext>
            </a:extLst>
          </p:cNvPr>
          <p:cNvSpPr txBox="1">
            <a:spLocks/>
          </p:cNvSpPr>
          <p:nvPr/>
        </p:nvSpPr>
        <p:spPr>
          <a:xfrm>
            <a:off x="1765365" y="2889000"/>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rPr>
              <a:t>Flight Booking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View flights, book </a:t>
            </a:r>
          </a:p>
        </p:txBody>
      </p:sp>
      <p:sp>
        <p:nvSpPr>
          <p:cNvPr id="8" name="Subtitle 2">
            <a:extLst>
              <a:ext uri="{FF2B5EF4-FFF2-40B4-BE49-F238E27FC236}">
                <a16:creationId xmlns:a16="http://schemas.microsoft.com/office/drawing/2014/main" id="{FBB026F8-0301-FA6F-7222-2E0E7534E917}"/>
              </a:ext>
            </a:extLst>
          </p:cNvPr>
          <p:cNvSpPr txBox="1">
            <a:spLocks/>
          </p:cNvSpPr>
          <p:nvPr/>
        </p:nvSpPr>
        <p:spPr>
          <a:xfrm>
            <a:off x="5580340" y="1546583"/>
            <a:ext cx="2103087"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b="1" dirty="0">
                <a:solidFill>
                  <a:srgbClr val="D5204B"/>
                </a:solidFill>
                <a:latin typeface="Calibri" panose="020F0502020204030204"/>
                <a:cs typeface="Arial" panose="020B0604020202020204" pitchFamily="34" charset="0"/>
              </a:rPr>
              <a:t>Bus Booking</a:t>
            </a:r>
            <a:endPar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View buses, book </a:t>
            </a:r>
          </a:p>
        </p:txBody>
      </p:sp>
      <p:sp>
        <p:nvSpPr>
          <p:cNvPr id="9" name="Subtitle 2">
            <a:extLst>
              <a:ext uri="{FF2B5EF4-FFF2-40B4-BE49-F238E27FC236}">
                <a16:creationId xmlns:a16="http://schemas.microsoft.com/office/drawing/2014/main" id="{9F351097-FFA3-D2FE-D658-14B7CBCE7E05}"/>
              </a:ext>
            </a:extLst>
          </p:cNvPr>
          <p:cNvSpPr txBox="1">
            <a:spLocks/>
          </p:cNvSpPr>
          <p:nvPr/>
        </p:nvSpPr>
        <p:spPr>
          <a:xfrm>
            <a:off x="5580340" y="2871011"/>
            <a:ext cx="2103087"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b="1" dirty="0">
                <a:solidFill>
                  <a:srgbClr val="D5204B"/>
                </a:solidFill>
                <a:latin typeface="Calibri" panose="020F0502020204030204"/>
                <a:cs typeface="Arial" panose="020B0604020202020204" pitchFamily="34" charset="0"/>
              </a:rPr>
              <a:t>Hotel Reservation</a:t>
            </a:r>
            <a:endPar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View hotels, reserve </a:t>
            </a:r>
          </a:p>
        </p:txBody>
      </p:sp>
      <p:sp>
        <p:nvSpPr>
          <p:cNvPr id="10" name="Subtitle 2">
            <a:extLst>
              <a:ext uri="{FF2B5EF4-FFF2-40B4-BE49-F238E27FC236}">
                <a16:creationId xmlns:a16="http://schemas.microsoft.com/office/drawing/2014/main" id="{25C1B4B9-9695-69C6-0311-2033BD087FE6}"/>
              </a:ext>
            </a:extLst>
          </p:cNvPr>
          <p:cNvSpPr txBox="1">
            <a:spLocks/>
          </p:cNvSpPr>
          <p:nvPr/>
        </p:nvSpPr>
        <p:spPr>
          <a:xfrm>
            <a:off x="5580340" y="4276372"/>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b="1" dirty="0">
                <a:solidFill>
                  <a:srgbClr val="D5204B"/>
                </a:solidFill>
                <a:latin typeface="Calibri" panose="020F0502020204030204"/>
                <a:cs typeface="Arial" panose="020B0604020202020204" pitchFamily="34" charset="0"/>
              </a:rPr>
              <a:t>Payment</a:t>
            </a:r>
            <a:endPar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rgbClr val="085171"/>
                </a:solidFill>
                <a:latin typeface="Calibri" panose="020F0502020204030204"/>
                <a:cs typeface="Arial" panose="020B0604020202020204" pitchFamily="34" charset="0"/>
              </a:rPr>
              <a:t>Booking confirmation</a:t>
            </a: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  </a:t>
            </a:r>
          </a:p>
        </p:txBody>
      </p:sp>
      <p:sp>
        <p:nvSpPr>
          <p:cNvPr id="11" name="Subtitle 2">
            <a:extLst>
              <a:ext uri="{FF2B5EF4-FFF2-40B4-BE49-F238E27FC236}">
                <a16:creationId xmlns:a16="http://schemas.microsoft.com/office/drawing/2014/main" id="{37CDC9AE-C969-20BE-1A33-7AF992302042}"/>
              </a:ext>
            </a:extLst>
          </p:cNvPr>
          <p:cNvSpPr txBox="1">
            <a:spLocks/>
          </p:cNvSpPr>
          <p:nvPr/>
        </p:nvSpPr>
        <p:spPr>
          <a:xfrm>
            <a:off x="9336736" y="1507622"/>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b="1" dirty="0">
                <a:solidFill>
                  <a:srgbClr val="D5204B"/>
                </a:solidFill>
                <a:latin typeface="Calibri" panose="020F0502020204030204"/>
                <a:cs typeface="Arial" panose="020B0604020202020204" pitchFamily="34" charset="0"/>
              </a:rPr>
              <a:t>Train Booking</a:t>
            </a:r>
            <a:endPar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View trains, book </a:t>
            </a:r>
          </a:p>
        </p:txBody>
      </p:sp>
      <p:sp>
        <p:nvSpPr>
          <p:cNvPr id="12" name="Subtitle 2">
            <a:extLst>
              <a:ext uri="{FF2B5EF4-FFF2-40B4-BE49-F238E27FC236}">
                <a16:creationId xmlns:a16="http://schemas.microsoft.com/office/drawing/2014/main" id="{10DB31FA-B815-B7BF-6ADB-A23B798782FE}"/>
              </a:ext>
            </a:extLst>
          </p:cNvPr>
          <p:cNvSpPr txBox="1">
            <a:spLocks/>
          </p:cNvSpPr>
          <p:nvPr/>
        </p:nvSpPr>
        <p:spPr>
          <a:xfrm>
            <a:off x="9336736" y="2908012"/>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b="1" dirty="0">
                <a:solidFill>
                  <a:srgbClr val="D5204B"/>
                </a:solidFill>
                <a:latin typeface="Calibri" panose="020F0502020204030204"/>
                <a:cs typeface="Arial" panose="020B0604020202020204" pitchFamily="34" charset="0"/>
              </a:rPr>
              <a:t>Passenger Details</a:t>
            </a:r>
            <a:r>
              <a:rPr kumimoji="0" lang="en-US" sz="1400" b="1" i="0" u="none" strike="noStrike" kern="1200" cap="none" spc="0" normalizeH="0" baseline="0" noProof="0" dirty="0">
                <a:ln>
                  <a:noFill/>
                </a:ln>
                <a:solidFill>
                  <a:srgbClr val="D5204B"/>
                </a:solidFill>
                <a:effectLst/>
                <a:uLnTx/>
                <a:uFillTx/>
                <a:latin typeface="Calibri" panose="020F0502020204030204"/>
                <a:ea typeface="+mn-ea"/>
                <a:cs typeface="Arial" panose="020B0604020202020204" pitchFamily="34"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rgbClr val="085171"/>
                </a:solidFill>
                <a:latin typeface="Calibri" panose="020F0502020204030204"/>
                <a:cs typeface="Arial" panose="020B0604020202020204" pitchFamily="34" charset="0"/>
              </a:rPr>
              <a:t>Details for processing  </a:t>
            </a:r>
            <a:r>
              <a:rPr kumimoji="0" lang="en-US" sz="14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 </a:t>
            </a:r>
          </a:p>
        </p:txBody>
      </p:sp>
      <p:cxnSp>
        <p:nvCxnSpPr>
          <p:cNvPr id="36" name="Straight Connector 35">
            <a:extLst>
              <a:ext uri="{FF2B5EF4-FFF2-40B4-BE49-F238E27FC236}">
                <a16:creationId xmlns:a16="http://schemas.microsoft.com/office/drawing/2014/main" id="{3B02B61A-C788-C157-A46B-2B9536F914F0}"/>
              </a:ext>
            </a:extLst>
          </p:cNvPr>
          <p:cNvCxnSpPr>
            <a:cxnSpLocks/>
          </p:cNvCxnSpPr>
          <p:nvPr/>
        </p:nvCxnSpPr>
        <p:spPr>
          <a:xfrm>
            <a:off x="1011280" y="4171595"/>
            <a:ext cx="99208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3BC838C-1CFA-243B-246A-5F6FFEFA386B}"/>
              </a:ext>
            </a:extLst>
          </p:cNvPr>
          <p:cNvCxnSpPr>
            <a:cxnSpLocks/>
          </p:cNvCxnSpPr>
          <p:nvPr/>
        </p:nvCxnSpPr>
        <p:spPr>
          <a:xfrm>
            <a:off x="4184459" y="1678624"/>
            <a:ext cx="0" cy="37247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Graphic 34" descr="Airplane">
            <a:extLst>
              <a:ext uri="{FF2B5EF4-FFF2-40B4-BE49-F238E27FC236}">
                <a16:creationId xmlns:a16="http://schemas.microsoft.com/office/drawing/2014/main" id="{C375EE40-B718-E9EF-4C88-350A4C2DFEB9}"/>
              </a:ext>
            </a:extLst>
          </p:cNvPr>
          <p:cNvSpPr/>
          <p:nvPr/>
        </p:nvSpPr>
        <p:spPr>
          <a:xfrm>
            <a:off x="1008751" y="3081704"/>
            <a:ext cx="726338" cy="732615"/>
          </a:xfrm>
          <a:custGeom>
            <a:avLst/>
            <a:gdLst>
              <a:gd name="connsiteX0" fmla="*/ 471522 w 471521"/>
              <a:gd name="connsiteY0" fmla="*/ 402180 h 554731"/>
              <a:gd name="connsiteX1" fmla="*/ 471522 w 471521"/>
              <a:gd name="connsiteY1" fmla="*/ 339773 h 554731"/>
              <a:gd name="connsiteX2" fmla="*/ 270432 w 471521"/>
              <a:gd name="connsiteY2" fmla="*/ 197623 h 554731"/>
              <a:gd name="connsiteX3" fmla="*/ 270432 w 471521"/>
              <a:gd name="connsiteY3" fmla="*/ 62407 h 554731"/>
              <a:gd name="connsiteX4" fmla="*/ 235761 w 471521"/>
              <a:gd name="connsiteY4" fmla="*/ 0 h 554731"/>
              <a:gd name="connsiteX5" fmla="*/ 201090 w 471521"/>
              <a:gd name="connsiteY5" fmla="*/ 62407 h 554731"/>
              <a:gd name="connsiteX6" fmla="*/ 201090 w 471521"/>
              <a:gd name="connsiteY6" fmla="*/ 197623 h 554731"/>
              <a:gd name="connsiteX7" fmla="*/ 0 w 471521"/>
              <a:gd name="connsiteY7" fmla="*/ 339773 h 554731"/>
              <a:gd name="connsiteX8" fmla="*/ 0 w 471521"/>
              <a:gd name="connsiteY8" fmla="*/ 402180 h 554731"/>
              <a:gd name="connsiteX9" fmla="*/ 201090 w 471521"/>
              <a:gd name="connsiteY9" fmla="*/ 301635 h 554731"/>
              <a:gd name="connsiteX10" fmla="*/ 201090 w 471521"/>
              <a:gd name="connsiteY10" fmla="*/ 452800 h 554731"/>
              <a:gd name="connsiteX11" fmla="*/ 131749 w 471521"/>
              <a:gd name="connsiteY11" fmla="*/ 513127 h 554731"/>
              <a:gd name="connsiteX12" fmla="*/ 131749 w 471521"/>
              <a:gd name="connsiteY12" fmla="*/ 554732 h 554731"/>
              <a:gd name="connsiteX13" fmla="*/ 235761 w 471521"/>
              <a:gd name="connsiteY13" fmla="*/ 513127 h 554731"/>
              <a:gd name="connsiteX14" fmla="*/ 339773 w 471521"/>
              <a:gd name="connsiteY14" fmla="*/ 554732 h 554731"/>
              <a:gd name="connsiteX15" fmla="*/ 339773 w 471521"/>
              <a:gd name="connsiteY15" fmla="*/ 513127 h 554731"/>
              <a:gd name="connsiteX16" fmla="*/ 270432 w 471521"/>
              <a:gd name="connsiteY16" fmla="*/ 452800 h 554731"/>
              <a:gd name="connsiteX17" fmla="*/ 270432 w 471521"/>
              <a:gd name="connsiteY17" fmla="*/ 301635 h 554731"/>
              <a:gd name="connsiteX18" fmla="*/ 471522 w 471521"/>
              <a:gd name="connsiteY18" fmla="*/ 402180 h 55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521" h="554731">
                <a:moveTo>
                  <a:pt x="471522" y="402180"/>
                </a:moveTo>
                <a:lnTo>
                  <a:pt x="471522" y="339773"/>
                </a:lnTo>
                <a:lnTo>
                  <a:pt x="270432" y="197623"/>
                </a:lnTo>
                <a:lnTo>
                  <a:pt x="270432" y="62407"/>
                </a:lnTo>
                <a:cubicBezTo>
                  <a:pt x="270432" y="35364"/>
                  <a:pt x="256563" y="0"/>
                  <a:pt x="235761" y="0"/>
                </a:cubicBezTo>
                <a:cubicBezTo>
                  <a:pt x="215652" y="0"/>
                  <a:pt x="201090" y="35364"/>
                  <a:pt x="201090" y="62407"/>
                </a:cubicBezTo>
                <a:lnTo>
                  <a:pt x="201090" y="197623"/>
                </a:lnTo>
                <a:lnTo>
                  <a:pt x="0" y="339773"/>
                </a:lnTo>
                <a:lnTo>
                  <a:pt x="0" y="402180"/>
                </a:lnTo>
                <a:lnTo>
                  <a:pt x="201090" y="301635"/>
                </a:lnTo>
                <a:lnTo>
                  <a:pt x="201090" y="452800"/>
                </a:lnTo>
                <a:lnTo>
                  <a:pt x="131749" y="513127"/>
                </a:lnTo>
                <a:lnTo>
                  <a:pt x="131749" y="554732"/>
                </a:lnTo>
                <a:lnTo>
                  <a:pt x="235761" y="513127"/>
                </a:lnTo>
                <a:lnTo>
                  <a:pt x="339773" y="554732"/>
                </a:lnTo>
                <a:lnTo>
                  <a:pt x="339773" y="513127"/>
                </a:lnTo>
                <a:lnTo>
                  <a:pt x="270432" y="452800"/>
                </a:lnTo>
                <a:lnTo>
                  <a:pt x="270432" y="301635"/>
                </a:lnTo>
                <a:lnTo>
                  <a:pt x="471522" y="402180"/>
                </a:lnTo>
                <a:close/>
              </a:path>
            </a:pathLst>
          </a:custGeom>
          <a:solidFill>
            <a:srgbClr val="D5204B"/>
          </a:solidFill>
          <a:ln w="6846" cap="flat">
            <a:noFill/>
            <a:prstDash val="solid"/>
            <a:miter/>
          </a:ln>
        </p:spPr>
        <p:txBody>
          <a:bodyPr rtlCol="0" anchor="ctr"/>
          <a:lstStyle/>
          <a:p>
            <a:endParaRPr lang="en-IN"/>
          </a:p>
        </p:txBody>
      </p:sp>
      <p:pic>
        <p:nvPicPr>
          <p:cNvPr id="14" name="Graphic 13" descr="Bus">
            <a:extLst>
              <a:ext uri="{FF2B5EF4-FFF2-40B4-BE49-F238E27FC236}">
                <a16:creationId xmlns:a16="http://schemas.microsoft.com/office/drawing/2014/main" id="{E8AFE63B-F3D2-F009-5EF2-E3835A82B7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69402" y="1612005"/>
            <a:ext cx="857922" cy="857922"/>
          </a:xfrm>
          <a:prstGeom prst="rect">
            <a:avLst/>
          </a:prstGeom>
        </p:spPr>
      </p:pic>
      <p:pic>
        <p:nvPicPr>
          <p:cNvPr id="16" name="Graphic 15" descr="Train">
            <a:extLst>
              <a:ext uri="{FF2B5EF4-FFF2-40B4-BE49-F238E27FC236}">
                <a16:creationId xmlns:a16="http://schemas.microsoft.com/office/drawing/2014/main" id="{EF35ADB9-D03C-97CF-FC72-DAD99D0271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29745" y="1678624"/>
            <a:ext cx="777097" cy="777097"/>
          </a:xfrm>
          <a:prstGeom prst="rect">
            <a:avLst/>
          </a:prstGeom>
        </p:spPr>
      </p:pic>
      <p:pic>
        <p:nvPicPr>
          <p:cNvPr id="18" name="Graphic 17" descr="City">
            <a:extLst>
              <a:ext uri="{FF2B5EF4-FFF2-40B4-BE49-F238E27FC236}">
                <a16:creationId xmlns:a16="http://schemas.microsoft.com/office/drawing/2014/main" id="{1E9E7760-B936-7E74-AA42-2B3BD066E21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68286" y="2962845"/>
            <a:ext cx="928307" cy="928307"/>
          </a:xfrm>
          <a:prstGeom prst="rect">
            <a:avLst/>
          </a:prstGeom>
        </p:spPr>
      </p:pic>
      <p:pic>
        <p:nvPicPr>
          <p:cNvPr id="24" name="Graphic 23" descr="Rupee">
            <a:extLst>
              <a:ext uri="{FF2B5EF4-FFF2-40B4-BE49-F238E27FC236}">
                <a16:creationId xmlns:a16="http://schemas.microsoft.com/office/drawing/2014/main" id="{2CB46FBF-B2E0-7FF2-E89E-A8120A21395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86454" y="4451113"/>
            <a:ext cx="748986" cy="748986"/>
          </a:xfrm>
          <a:prstGeom prst="rect">
            <a:avLst/>
          </a:prstGeom>
        </p:spPr>
      </p:pic>
      <p:pic>
        <p:nvPicPr>
          <p:cNvPr id="28" name="Graphic 27" descr="Employee badge">
            <a:extLst>
              <a:ext uri="{FF2B5EF4-FFF2-40B4-BE49-F238E27FC236}">
                <a16:creationId xmlns:a16="http://schemas.microsoft.com/office/drawing/2014/main" id="{FA6EB91C-AA43-28E8-2CD5-0A1D032373A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47758" y="3011363"/>
            <a:ext cx="834871" cy="834871"/>
          </a:xfrm>
          <a:prstGeom prst="rect">
            <a:avLst/>
          </a:prstGeom>
        </p:spPr>
      </p:pic>
      <p:pic>
        <p:nvPicPr>
          <p:cNvPr id="30" name="Graphic 29" descr="Gears">
            <a:extLst>
              <a:ext uri="{FF2B5EF4-FFF2-40B4-BE49-F238E27FC236}">
                <a16:creationId xmlns:a16="http://schemas.microsoft.com/office/drawing/2014/main" id="{093FD49A-C43F-2C65-CC91-1CD87E3AB07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1701" y="1588384"/>
            <a:ext cx="846906" cy="846906"/>
          </a:xfrm>
          <a:prstGeom prst="rect">
            <a:avLst/>
          </a:prstGeom>
        </p:spPr>
      </p:pic>
      <p:grpSp>
        <p:nvGrpSpPr>
          <p:cNvPr id="32" name="Group 31">
            <a:extLst>
              <a:ext uri="{FF2B5EF4-FFF2-40B4-BE49-F238E27FC236}">
                <a16:creationId xmlns:a16="http://schemas.microsoft.com/office/drawing/2014/main" id="{385C23B8-6D2F-7757-2CB4-124C1B9C5A0F}"/>
              </a:ext>
            </a:extLst>
          </p:cNvPr>
          <p:cNvGrpSpPr/>
          <p:nvPr/>
        </p:nvGrpSpPr>
        <p:grpSpPr>
          <a:xfrm>
            <a:off x="604137" y="322816"/>
            <a:ext cx="809228" cy="809228"/>
            <a:chOff x="645658" y="2456893"/>
            <a:chExt cx="613064" cy="613064"/>
          </a:xfrm>
        </p:grpSpPr>
        <p:sp>
          <p:nvSpPr>
            <p:cNvPr id="34" name="Oval 33">
              <a:extLst>
                <a:ext uri="{FF2B5EF4-FFF2-40B4-BE49-F238E27FC236}">
                  <a16:creationId xmlns:a16="http://schemas.microsoft.com/office/drawing/2014/main" id="{A90726DD-E089-5DB5-20C7-CCEABB0FD24B}"/>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a:extLst>
                <a:ext uri="{FF2B5EF4-FFF2-40B4-BE49-F238E27FC236}">
                  <a16:creationId xmlns:a16="http://schemas.microsoft.com/office/drawing/2014/main" id="{79B46FC0-22D4-5195-E5A3-9B571E42F752}"/>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8</a:t>
              </a:r>
            </a:p>
          </p:txBody>
        </p:sp>
      </p:grpSp>
    </p:spTree>
    <p:extLst>
      <p:ext uri="{BB962C8B-B14F-4D97-AF65-F5344CB8AC3E}">
        <p14:creationId xmlns:p14="http://schemas.microsoft.com/office/powerpoint/2010/main" val="2973901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20D22E3F-2761-25DB-301B-B6BBA8E2CFEA}"/>
              </a:ext>
            </a:extLst>
          </p:cNvPr>
          <p:cNvSpPr/>
          <p:nvPr/>
        </p:nvSpPr>
        <p:spPr>
          <a:xfrm>
            <a:off x="3582954" y="305574"/>
            <a:ext cx="6232849" cy="1122211"/>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5DF16468-97B7-242A-7A70-87D7CC777945}"/>
              </a:ext>
            </a:extLst>
          </p:cNvPr>
          <p:cNvSpPr/>
          <p:nvPr/>
        </p:nvSpPr>
        <p:spPr>
          <a:xfrm>
            <a:off x="4019235" y="221533"/>
            <a:ext cx="7491177"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prstClr val="white"/>
                </a:solidFill>
                <a:latin typeface="Calibri Light" panose="020F0302020204030204" pitchFamily="34" charset="0"/>
                <a:cs typeface="Calibri Light" panose="020F0302020204030204" pitchFamily="34" charset="0"/>
              </a:rPr>
              <a:t>Architecture Diagram</a:t>
            </a: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2</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pic>
        <p:nvPicPr>
          <p:cNvPr id="5" name="Picture 4">
            <a:extLst>
              <a:ext uri="{FF2B5EF4-FFF2-40B4-BE49-F238E27FC236}">
                <a16:creationId xmlns:a16="http://schemas.microsoft.com/office/drawing/2014/main" id="{D73B0F74-8788-B09C-FAB1-8643EB1D48DA}"/>
              </a:ext>
            </a:extLst>
          </p:cNvPr>
          <p:cNvPicPr>
            <a:picLocks noChangeAspect="1"/>
          </p:cNvPicPr>
          <p:nvPr/>
        </p:nvPicPr>
        <p:blipFill>
          <a:blip r:embed="rId6"/>
          <a:stretch>
            <a:fillRect/>
          </a:stretch>
        </p:blipFill>
        <p:spPr>
          <a:xfrm>
            <a:off x="1689104" y="1366533"/>
            <a:ext cx="8518586" cy="4440650"/>
          </a:xfrm>
          <a:prstGeom prst="rect">
            <a:avLst/>
          </a:prstGeom>
        </p:spPr>
      </p:pic>
      <p:pic>
        <p:nvPicPr>
          <p:cNvPr id="6" name="Graphic 5" descr="Hierarchy">
            <a:extLst>
              <a:ext uri="{FF2B5EF4-FFF2-40B4-BE49-F238E27FC236}">
                <a16:creationId xmlns:a16="http://schemas.microsoft.com/office/drawing/2014/main" id="{03D3F752-1B5A-464E-F4FB-E7B0D5FBB8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3394" y="376508"/>
            <a:ext cx="1001419" cy="1001419"/>
          </a:xfrm>
          <a:prstGeom prst="rect">
            <a:avLst/>
          </a:prstGeom>
        </p:spPr>
      </p:pic>
      <p:grpSp>
        <p:nvGrpSpPr>
          <p:cNvPr id="7" name="Group 6">
            <a:extLst>
              <a:ext uri="{FF2B5EF4-FFF2-40B4-BE49-F238E27FC236}">
                <a16:creationId xmlns:a16="http://schemas.microsoft.com/office/drawing/2014/main" id="{2EA89627-F12D-67B8-64AF-2ED4107A11E7}"/>
              </a:ext>
            </a:extLst>
          </p:cNvPr>
          <p:cNvGrpSpPr/>
          <p:nvPr/>
        </p:nvGrpSpPr>
        <p:grpSpPr>
          <a:xfrm>
            <a:off x="430765" y="272511"/>
            <a:ext cx="1258339" cy="1209412"/>
            <a:chOff x="645658" y="2456893"/>
            <a:chExt cx="613064" cy="613064"/>
          </a:xfrm>
        </p:grpSpPr>
        <p:sp>
          <p:nvSpPr>
            <p:cNvPr id="8" name="Oval 7">
              <a:extLst>
                <a:ext uri="{FF2B5EF4-FFF2-40B4-BE49-F238E27FC236}">
                  <a16:creationId xmlns:a16="http://schemas.microsoft.com/office/drawing/2014/main" id="{94255698-5A89-ECCD-2598-87A38EF04B6D}"/>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5074197D-E9CB-0004-F558-F257D490FFF1}"/>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9</a:t>
              </a:r>
            </a:p>
          </p:txBody>
        </p:sp>
      </p:grpSp>
      <p:sp>
        <p:nvSpPr>
          <p:cNvPr id="10" name="Rectangle 9">
            <a:extLst>
              <a:ext uri="{FF2B5EF4-FFF2-40B4-BE49-F238E27FC236}">
                <a16:creationId xmlns:a16="http://schemas.microsoft.com/office/drawing/2014/main" id="{A7B762B8-A92F-64A0-DEE9-12B670DAF0F3}"/>
              </a:ext>
            </a:extLst>
          </p:cNvPr>
          <p:cNvSpPr/>
          <p:nvPr/>
        </p:nvSpPr>
        <p:spPr>
          <a:xfrm>
            <a:off x="5297165" y="5807183"/>
            <a:ext cx="1784770"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1: Proposed Architecture</a:t>
            </a:r>
          </a:p>
        </p:txBody>
      </p:sp>
    </p:spTree>
    <p:extLst>
      <p:ext uri="{BB962C8B-B14F-4D97-AF65-F5344CB8AC3E}">
        <p14:creationId xmlns:p14="http://schemas.microsoft.com/office/powerpoint/2010/main" val="334274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20D22E3F-2761-25DB-301B-B6BBA8E2CFEA}"/>
              </a:ext>
            </a:extLst>
          </p:cNvPr>
          <p:cNvSpPr/>
          <p:nvPr/>
        </p:nvSpPr>
        <p:spPr>
          <a:xfrm>
            <a:off x="3634694" y="305574"/>
            <a:ext cx="6232849" cy="654410"/>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5DF16468-97B7-242A-7A70-87D7CC777945}"/>
              </a:ext>
            </a:extLst>
          </p:cNvPr>
          <p:cNvSpPr/>
          <p:nvPr/>
        </p:nvSpPr>
        <p:spPr>
          <a:xfrm>
            <a:off x="4664991" y="293852"/>
            <a:ext cx="6496364" cy="6255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prstClr val="white"/>
                </a:solidFill>
                <a:latin typeface="Calibri Light" panose="020F0302020204030204" pitchFamily="34" charset="0"/>
                <a:cs typeface="Calibri Light" panose="020F0302020204030204" pitchFamily="34" charset="0"/>
              </a:rPr>
              <a:t>9.1 UML Diagram</a:t>
            </a: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3</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pic>
        <p:nvPicPr>
          <p:cNvPr id="6" name="Graphic 5" descr="Hierarchy">
            <a:extLst>
              <a:ext uri="{FF2B5EF4-FFF2-40B4-BE49-F238E27FC236}">
                <a16:creationId xmlns:a16="http://schemas.microsoft.com/office/drawing/2014/main" id="{03D3F752-1B5A-464E-F4FB-E7B0D5FBB8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8753" y="266272"/>
            <a:ext cx="721566" cy="721566"/>
          </a:xfrm>
          <a:prstGeom prst="rect">
            <a:avLst/>
          </a:prstGeom>
        </p:spPr>
      </p:pic>
      <p:sp>
        <p:nvSpPr>
          <p:cNvPr id="2" name="Rectangle 1">
            <a:extLst>
              <a:ext uri="{FF2B5EF4-FFF2-40B4-BE49-F238E27FC236}">
                <a16:creationId xmlns:a16="http://schemas.microsoft.com/office/drawing/2014/main" id="{2B54DBE5-C0F8-BBBA-5291-6ADC7FBCEF96}"/>
              </a:ext>
            </a:extLst>
          </p:cNvPr>
          <p:cNvSpPr/>
          <p:nvPr/>
        </p:nvSpPr>
        <p:spPr>
          <a:xfrm>
            <a:off x="246838" y="112757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698A76B-3740-BBC1-4393-4DBCE65235DA}"/>
              </a:ext>
            </a:extLst>
          </p:cNvPr>
          <p:cNvSpPr txBox="1">
            <a:spLocks/>
          </p:cNvSpPr>
          <p:nvPr/>
        </p:nvSpPr>
        <p:spPr>
          <a:xfrm>
            <a:off x="1175863" y="889246"/>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9.1.1 Activity Diagram for flight ticket booking</a:t>
            </a:r>
          </a:p>
        </p:txBody>
      </p:sp>
      <p:pic>
        <p:nvPicPr>
          <p:cNvPr id="7" name="Picture 6">
            <a:extLst>
              <a:ext uri="{FF2B5EF4-FFF2-40B4-BE49-F238E27FC236}">
                <a16:creationId xmlns:a16="http://schemas.microsoft.com/office/drawing/2014/main" id="{8CFE79FC-4D37-5BB0-9E4A-3FCAB1608BD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1668660" y="1735787"/>
            <a:ext cx="9193615" cy="4225664"/>
          </a:xfrm>
          <a:prstGeom prst="rect">
            <a:avLst/>
          </a:prstGeom>
          <a:noFill/>
          <a:ln>
            <a:noFill/>
          </a:ln>
        </p:spPr>
      </p:pic>
      <p:sp>
        <p:nvSpPr>
          <p:cNvPr id="11" name="Rectangle 10">
            <a:extLst>
              <a:ext uri="{FF2B5EF4-FFF2-40B4-BE49-F238E27FC236}">
                <a16:creationId xmlns:a16="http://schemas.microsoft.com/office/drawing/2014/main" id="{E58B66CE-E199-9914-F372-3BC613D8CDDB}"/>
              </a:ext>
            </a:extLst>
          </p:cNvPr>
          <p:cNvSpPr/>
          <p:nvPr/>
        </p:nvSpPr>
        <p:spPr>
          <a:xfrm>
            <a:off x="4929756" y="5764480"/>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2: Flight ticket booking activity diagram</a:t>
            </a:r>
          </a:p>
        </p:txBody>
      </p:sp>
    </p:spTree>
    <p:extLst>
      <p:ext uri="{BB962C8B-B14F-4D97-AF65-F5344CB8AC3E}">
        <p14:creationId xmlns:p14="http://schemas.microsoft.com/office/powerpoint/2010/main" val="18028920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4</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sp>
        <p:nvSpPr>
          <p:cNvPr id="2" name="Rectangle 1">
            <a:extLst>
              <a:ext uri="{FF2B5EF4-FFF2-40B4-BE49-F238E27FC236}">
                <a16:creationId xmlns:a16="http://schemas.microsoft.com/office/drawing/2014/main" id="{2B54DBE5-C0F8-BBBA-5291-6ADC7FBCEF96}"/>
              </a:ext>
            </a:extLst>
          </p:cNvPr>
          <p:cNvSpPr/>
          <p:nvPr/>
        </p:nvSpPr>
        <p:spPr>
          <a:xfrm>
            <a:off x="414788" y="825482"/>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698A76B-3740-BBC1-4393-4DBCE65235DA}"/>
              </a:ext>
            </a:extLst>
          </p:cNvPr>
          <p:cNvSpPr txBox="1">
            <a:spLocks/>
          </p:cNvSpPr>
          <p:nvPr/>
        </p:nvSpPr>
        <p:spPr>
          <a:xfrm>
            <a:off x="1474962" y="585462"/>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9.1.2 Activity Diagram for bus ticket booking</a:t>
            </a:r>
          </a:p>
        </p:txBody>
      </p:sp>
      <p:pic>
        <p:nvPicPr>
          <p:cNvPr id="5" name="Picture 4">
            <a:extLst>
              <a:ext uri="{FF2B5EF4-FFF2-40B4-BE49-F238E27FC236}">
                <a16:creationId xmlns:a16="http://schemas.microsoft.com/office/drawing/2014/main" id="{0265ACBB-E6B1-42AB-D5FB-57947AE4A2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1585964" y="1567901"/>
            <a:ext cx="9371274" cy="4212845"/>
          </a:xfrm>
          <a:prstGeom prst="rect">
            <a:avLst/>
          </a:prstGeom>
          <a:noFill/>
          <a:ln>
            <a:noFill/>
          </a:ln>
        </p:spPr>
      </p:pic>
      <p:sp>
        <p:nvSpPr>
          <p:cNvPr id="8" name="Rectangle 7">
            <a:extLst>
              <a:ext uri="{FF2B5EF4-FFF2-40B4-BE49-F238E27FC236}">
                <a16:creationId xmlns:a16="http://schemas.microsoft.com/office/drawing/2014/main" id="{650663A8-2B22-3CC3-2F0C-DA37A36BCA9A}"/>
              </a:ext>
            </a:extLst>
          </p:cNvPr>
          <p:cNvSpPr/>
          <p:nvPr/>
        </p:nvSpPr>
        <p:spPr>
          <a:xfrm>
            <a:off x="4929757" y="5757688"/>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3 : Bus ticket booking activity diagram</a:t>
            </a:r>
          </a:p>
        </p:txBody>
      </p:sp>
    </p:spTree>
    <p:extLst>
      <p:ext uri="{BB962C8B-B14F-4D97-AF65-F5344CB8AC3E}">
        <p14:creationId xmlns:p14="http://schemas.microsoft.com/office/powerpoint/2010/main" val="3364066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5</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sp>
        <p:nvSpPr>
          <p:cNvPr id="2" name="Rectangle 1">
            <a:extLst>
              <a:ext uri="{FF2B5EF4-FFF2-40B4-BE49-F238E27FC236}">
                <a16:creationId xmlns:a16="http://schemas.microsoft.com/office/drawing/2014/main" id="{2B54DBE5-C0F8-BBBA-5291-6ADC7FBCEF96}"/>
              </a:ext>
            </a:extLst>
          </p:cNvPr>
          <p:cNvSpPr/>
          <p:nvPr/>
        </p:nvSpPr>
        <p:spPr>
          <a:xfrm>
            <a:off x="414788" y="825482"/>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698A76B-3740-BBC1-4393-4DBCE65235DA}"/>
              </a:ext>
            </a:extLst>
          </p:cNvPr>
          <p:cNvSpPr txBox="1">
            <a:spLocks/>
          </p:cNvSpPr>
          <p:nvPr/>
        </p:nvSpPr>
        <p:spPr>
          <a:xfrm>
            <a:off x="1381656" y="585462"/>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9.1.3 Activity Diagram for train ticket booking</a:t>
            </a:r>
          </a:p>
        </p:txBody>
      </p:sp>
      <p:pic>
        <p:nvPicPr>
          <p:cNvPr id="5" name="Picture 4">
            <a:extLst>
              <a:ext uri="{FF2B5EF4-FFF2-40B4-BE49-F238E27FC236}">
                <a16:creationId xmlns:a16="http://schemas.microsoft.com/office/drawing/2014/main" id="{15C0F9BA-31C0-F93E-8708-7AF4581768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1608013" y="1567901"/>
            <a:ext cx="9258165" cy="4097731"/>
          </a:xfrm>
          <a:prstGeom prst="rect">
            <a:avLst/>
          </a:prstGeom>
          <a:noFill/>
          <a:ln>
            <a:noFill/>
          </a:ln>
        </p:spPr>
      </p:pic>
      <p:sp>
        <p:nvSpPr>
          <p:cNvPr id="6" name="Rectangle 5">
            <a:extLst>
              <a:ext uri="{FF2B5EF4-FFF2-40B4-BE49-F238E27FC236}">
                <a16:creationId xmlns:a16="http://schemas.microsoft.com/office/drawing/2014/main" id="{20C4C9F3-BD6A-982C-93BB-0CBDE316BD26}"/>
              </a:ext>
            </a:extLst>
          </p:cNvPr>
          <p:cNvSpPr/>
          <p:nvPr/>
        </p:nvSpPr>
        <p:spPr>
          <a:xfrm>
            <a:off x="4929756" y="5764480"/>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4: Train ticket booking activity diagram</a:t>
            </a:r>
          </a:p>
        </p:txBody>
      </p:sp>
    </p:spTree>
    <p:extLst>
      <p:ext uri="{BB962C8B-B14F-4D97-AF65-F5344CB8AC3E}">
        <p14:creationId xmlns:p14="http://schemas.microsoft.com/office/powerpoint/2010/main" val="11913914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6</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sp>
        <p:nvSpPr>
          <p:cNvPr id="2" name="Rectangle 1">
            <a:extLst>
              <a:ext uri="{FF2B5EF4-FFF2-40B4-BE49-F238E27FC236}">
                <a16:creationId xmlns:a16="http://schemas.microsoft.com/office/drawing/2014/main" id="{2B54DBE5-C0F8-BBBA-5291-6ADC7FBCEF96}"/>
              </a:ext>
            </a:extLst>
          </p:cNvPr>
          <p:cNvSpPr/>
          <p:nvPr/>
        </p:nvSpPr>
        <p:spPr>
          <a:xfrm>
            <a:off x="414788" y="825482"/>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698A76B-3740-BBC1-4393-4DBCE65235DA}"/>
              </a:ext>
            </a:extLst>
          </p:cNvPr>
          <p:cNvSpPr txBox="1">
            <a:spLocks/>
          </p:cNvSpPr>
          <p:nvPr/>
        </p:nvSpPr>
        <p:spPr>
          <a:xfrm>
            <a:off x="1474963" y="581260"/>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9.1.4 Activity Diagram for hotel reservation</a:t>
            </a:r>
          </a:p>
        </p:txBody>
      </p:sp>
      <p:pic>
        <p:nvPicPr>
          <p:cNvPr id="5" name="Picture 4">
            <a:extLst>
              <a:ext uri="{FF2B5EF4-FFF2-40B4-BE49-F238E27FC236}">
                <a16:creationId xmlns:a16="http://schemas.microsoft.com/office/drawing/2014/main" id="{E0FECC74-BF28-DA86-56C6-79F38F15BB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1374708" y="1448830"/>
            <a:ext cx="9604429" cy="4213054"/>
          </a:xfrm>
          <a:prstGeom prst="rect">
            <a:avLst/>
          </a:prstGeom>
          <a:noFill/>
          <a:ln>
            <a:noFill/>
          </a:ln>
        </p:spPr>
      </p:pic>
      <p:sp>
        <p:nvSpPr>
          <p:cNvPr id="7" name="Rectangle 6">
            <a:extLst>
              <a:ext uri="{FF2B5EF4-FFF2-40B4-BE49-F238E27FC236}">
                <a16:creationId xmlns:a16="http://schemas.microsoft.com/office/drawing/2014/main" id="{1CF64D66-C7A1-156C-38DD-87DAF1266302}"/>
              </a:ext>
            </a:extLst>
          </p:cNvPr>
          <p:cNvSpPr/>
          <p:nvPr/>
        </p:nvSpPr>
        <p:spPr>
          <a:xfrm>
            <a:off x="4929756" y="5764480"/>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5: Hotel reservation activity diagram</a:t>
            </a:r>
          </a:p>
        </p:txBody>
      </p:sp>
    </p:spTree>
    <p:extLst>
      <p:ext uri="{BB962C8B-B14F-4D97-AF65-F5344CB8AC3E}">
        <p14:creationId xmlns:p14="http://schemas.microsoft.com/office/powerpoint/2010/main" val="810699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073A60B9-1965-3D0C-AB62-422100AD5E5E}"/>
              </a:ext>
            </a:extLst>
          </p:cNvPr>
          <p:cNvSpPr/>
          <p:nvPr/>
        </p:nvSpPr>
        <p:spPr>
          <a:xfrm>
            <a:off x="146962" y="646880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7</a:t>
            </a:fld>
            <a:endParaRPr lang="en-US" sz="1000" b="1" dirty="0">
              <a:solidFill>
                <a:schemeClr val="bg1"/>
              </a:solidFill>
            </a:endParaRPr>
          </a:p>
        </p:txBody>
      </p:sp>
      <p:pic>
        <p:nvPicPr>
          <p:cNvPr id="4" name="Graphic 3" descr="Hierarchy">
            <a:extLst>
              <a:ext uri="{FF2B5EF4-FFF2-40B4-BE49-F238E27FC236}">
                <a16:creationId xmlns:a16="http://schemas.microsoft.com/office/drawing/2014/main" id="{5A2D82B1-8B7D-2DDA-2277-C125EDD7AE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65816" y="2485476"/>
            <a:ext cx="799305" cy="799305"/>
          </a:xfrm>
          <a:prstGeom prst="rect">
            <a:avLst/>
          </a:prstGeom>
        </p:spPr>
      </p:pic>
      <p:sp>
        <p:nvSpPr>
          <p:cNvPr id="2" name="Rectangle 1">
            <a:extLst>
              <a:ext uri="{FF2B5EF4-FFF2-40B4-BE49-F238E27FC236}">
                <a16:creationId xmlns:a16="http://schemas.microsoft.com/office/drawing/2014/main" id="{2B54DBE5-C0F8-BBBA-5291-6ADC7FBCEF96}"/>
              </a:ext>
            </a:extLst>
          </p:cNvPr>
          <p:cNvSpPr/>
          <p:nvPr/>
        </p:nvSpPr>
        <p:spPr>
          <a:xfrm>
            <a:off x="452111" y="432704"/>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3" name="Subtitle 2">
            <a:extLst>
              <a:ext uri="{FF2B5EF4-FFF2-40B4-BE49-F238E27FC236}">
                <a16:creationId xmlns:a16="http://schemas.microsoft.com/office/drawing/2014/main" id="{A698A76B-3740-BBC1-4393-4DBCE65235DA}"/>
              </a:ext>
            </a:extLst>
          </p:cNvPr>
          <p:cNvSpPr txBox="1">
            <a:spLocks/>
          </p:cNvSpPr>
          <p:nvPr/>
        </p:nvSpPr>
        <p:spPr>
          <a:xfrm>
            <a:off x="1223036" y="213174"/>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9.1.5 Usecase diagram for online travel booking system</a:t>
            </a:r>
          </a:p>
        </p:txBody>
      </p:sp>
      <p:sp>
        <p:nvSpPr>
          <p:cNvPr id="7" name="Rectangle 6">
            <a:extLst>
              <a:ext uri="{FF2B5EF4-FFF2-40B4-BE49-F238E27FC236}">
                <a16:creationId xmlns:a16="http://schemas.microsoft.com/office/drawing/2014/main" id="{1CF64D66-C7A1-156C-38DD-87DAF1266302}"/>
              </a:ext>
            </a:extLst>
          </p:cNvPr>
          <p:cNvSpPr/>
          <p:nvPr/>
        </p:nvSpPr>
        <p:spPr>
          <a:xfrm>
            <a:off x="5107039" y="5675741"/>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tx1">
                    <a:lumMod val="65000"/>
                    <a:lumOff val="35000"/>
                  </a:schemeClr>
                </a:solidFill>
              </a:rPr>
              <a:t>fig 6: Usecase diagram</a:t>
            </a:r>
          </a:p>
        </p:txBody>
      </p:sp>
      <p:pic>
        <p:nvPicPr>
          <p:cNvPr id="8" name="Picture 7">
            <a:extLst>
              <a:ext uri="{FF2B5EF4-FFF2-40B4-BE49-F238E27FC236}">
                <a16:creationId xmlns:a16="http://schemas.microsoft.com/office/drawing/2014/main" id="{D5F2EF2D-0D9C-68C7-95D8-B5A9F0333BAC}"/>
              </a:ext>
            </a:extLst>
          </p:cNvPr>
          <p:cNvPicPr>
            <a:picLocks noChangeAspect="1"/>
          </p:cNvPicPr>
          <p:nvPr/>
        </p:nvPicPr>
        <p:blipFill>
          <a:blip r:embed="rId6"/>
          <a:stretch>
            <a:fillRect/>
          </a:stretch>
        </p:blipFill>
        <p:spPr>
          <a:xfrm>
            <a:off x="1613710" y="1021182"/>
            <a:ext cx="8964580" cy="4692529"/>
          </a:xfrm>
          <a:prstGeom prst="rect">
            <a:avLst/>
          </a:prstGeom>
        </p:spPr>
      </p:pic>
    </p:spTree>
    <p:extLst>
      <p:ext uri="{BB962C8B-B14F-4D97-AF65-F5344CB8AC3E}">
        <p14:creationId xmlns:p14="http://schemas.microsoft.com/office/powerpoint/2010/main" val="3179497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8</a:t>
            </a:fld>
            <a:endParaRPr lang="en-US" sz="1000" b="1" dirty="0">
              <a:solidFill>
                <a:schemeClr val="bg1"/>
              </a:solidFill>
            </a:endParaRPr>
          </a:p>
        </p:txBody>
      </p:sp>
      <p:sp>
        <p:nvSpPr>
          <p:cNvPr id="2" name="Rectangle 1">
            <a:extLst>
              <a:ext uri="{FF2B5EF4-FFF2-40B4-BE49-F238E27FC236}">
                <a16:creationId xmlns:a16="http://schemas.microsoft.com/office/drawing/2014/main" id="{C2952193-40A9-2FDB-88BC-0A054ADE56E2}"/>
              </a:ext>
            </a:extLst>
          </p:cNvPr>
          <p:cNvSpPr/>
          <p:nvPr/>
        </p:nvSpPr>
        <p:spPr>
          <a:xfrm>
            <a:off x="5747657" y="221533"/>
            <a:ext cx="2211356" cy="814165"/>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0ECE538-BE6F-541D-F06F-4DBEB4B1ECFA}"/>
              </a:ext>
            </a:extLst>
          </p:cNvPr>
          <p:cNvSpPr/>
          <p:nvPr/>
        </p:nvSpPr>
        <p:spPr>
          <a:xfrm>
            <a:off x="5989828" y="67509"/>
            <a:ext cx="7491177"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prstClr val="white"/>
                </a:solidFill>
                <a:latin typeface="Calibri Light" panose="020F0302020204030204" pitchFamily="34" charset="0"/>
                <a:cs typeface="Calibri Light" panose="020F0302020204030204" pitchFamily="34" charset="0"/>
              </a:rPr>
              <a:t>Result</a:t>
            </a:r>
          </a:p>
        </p:txBody>
      </p:sp>
      <p:pic>
        <p:nvPicPr>
          <p:cNvPr id="5" name="Graphic 4" descr="Teacher">
            <a:extLst>
              <a:ext uri="{FF2B5EF4-FFF2-40B4-BE49-F238E27FC236}">
                <a16:creationId xmlns:a16="http://schemas.microsoft.com/office/drawing/2014/main" id="{2FCE5DCD-1214-0CD1-F84A-1EC2D3C756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2820" y="197004"/>
            <a:ext cx="968187" cy="968187"/>
          </a:xfrm>
          <a:prstGeom prst="rect">
            <a:avLst/>
          </a:prstGeom>
        </p:spPr>
      </p:pic>
      <p:sp>
        <p:nvSpPr>
          <p:cNvPr id="6" name="Rectangle 5">
            <a:extLst>
              <a:ext uri="{FF2B5EF4-FFF2-40B4-BE49-F238E27FC236}">
                <a16:creationId xmlns:a16="http://schemas.microsoft.com/office/drawing/2014/main" id="{41C6F53D-8A36-50F0-07EF-0E49FE6A1638}"/>
              </a:ext>
            </a:extLst>
          </p:cNvPr>
          <p:cNvSpPr/>
          <p:nvPr/>
        </p:nvSpPr>
        <p:spPr>
          <a:xfrm>
            <a:off x="407987" y="119641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905376" y="96410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1 Registration </a:t>
            </a:r>
          </a:p>
        </p:txBody>
      </p:sp>
      <p:pic>
        <p:nvPicPr>
          <p:cNvPr id="8" name="Picture 7">
            <a:extLst>
              <a:ext uri="{FF2B5EF4-FFF2-40B4-BE49-F238E27FC236}">
                <a16:creationId xmlns:a16="http://schemas.microsoft.com/office/drawing/2014/main" id="{0660F897-AD02-B016-F2FD-5E1B88442D9E}"/>
              </a:ext>
            </a:extLst>
          </p:cNvPr>
          <p:cNvPicPr>
            <a:picLocks noChangeAspect="1"/>
          </p:cNvPicPr>
          <p:nvPr/>
        </p:nvPicPr>
        <p:blipFill>
          <a:blip r:embed="rId6"/>
          <a:stretch>
            <a:fillRect/>
          </a:stretch>
        </p:blipFill>
        <p:spPr>
          <a:xfrm>
            <a:off x="1897620" y="1760082"/>
            <a:ext cx="8396760" cy="4246905"/>
          </a:xfrm>
          <a:prstGeom prst="rect">
            <a:avLst/>
          </a:prstGeom>
        </p:spPr>
      </p:pic>
      <p:grpSp>
        <p:nvGrpSpPr>
          <p:cNvPr id="9" name="Group 8">
            <a:extLst>
              <a:ext uri="{FF2B5EF4-FFF2-40B4-BE49-F238E27FC236}">
                <a16:creationId xmlns:a16="http://schemas.microsoft.com/office/drawing/2014/main" id="{49AF181E-556A-0D41-1046-97A99E71C27C}"/>
              </a:ext>
            </a:extLst>
          </p:cNvPr>
          <p:cNvGrpSpPr/>
          <p:nvPr/>
        </p:nvGrpSpPr>
        <p:grpSpPr>
          <a:xfrm>
            <a:off x="415430" y="233476"/>
            <a:ext cx="761855" cy="742276"/>
            <a:chOff x="645658" y="2456893"/>
            <a:chExt cx="613064" cy="613064"/>
          </a:xfrm>
        </p:grpSpPr>
        <p:sp>
          <p:nvSpPr>
            <p:cNvPr id="10" name="Oval 9">
              <a:extLst>
                <a:ext uri="{FF2B5EF4-FFF2-40B4-BE49-F238E27FC236}">
                  <a16:creationId xmlns:a16="http://schemas.microsoft.com/office/drawing/2014/main" id="{E7C78EA1-9795-58F8-8591-AD1F6477F6C8}"/>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F505B06D-BFE7-B7C4-53BB-91AF3D2A0B3E}"/>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grpSp>
      <p:sp>
        <p:nvSpPr>
          <p:cNvPr id="12" name="TextBox 11">
            <a:extLst>
              <a:ext uri="{FF2B5EF4-FFF2-40B4-BE49-F238E27FC236}">
                <a16:creationId xmlns:a16="http://schemas.microsoft.com/office/drawing/2014/main" id="{5FA33431-E2EB-CEA4-F409-401802FFF4C4}"/>
              </a:ext>
            </a:extLst>
          </p:cNvPr>
          <p:cNvSpPr txBox="1"/>
          <p:nvPr/>
        </p:nvSpPr>
        <p:spPr>
          <a:xfrm>
            <a:off x="261094" y="381186"/>
            <a:ext cx="1070526" cy="461665"/>
          </a:xfrm>
          <a:prstGeom prst="rect">
            <a:avLst/>
          </a:prstGeom>
          <a:noFill/>
        </p:spPr>
        <p:txBody>
          <a:bodyPr wrap="square" rtlCol="0">
            <a:spAutoFit/>
          </a:bodyPr>
          <a:lstStyle/>
          <a:p>
            <a:pPr algn="ctr"/>
            <a:r>
              <a:rPr lang="en-US" sz="2400" b="1" dirty="0">
                <a:solidFill>
                  <a:schemeClr val="bg1"/>
                </a:solidFill>
              </a:rPr>
              <a:t>10</a:t>
            </a:r>
          </a:p>
        </p:txBody>
      </p:sp>
      <p:sp>
        <p:nvSpPr>
          <p:cNvPr id="13" name="Rectangle 12">
            <a:extLst>
              <a:ext uri="{FF2B5EF4-FFF2-40B4-BE49-F238E27FC236}">
                <a16:creationId xmlns:a16="http://schemas.microsoft.com/office/drawing/2014/main" id="{74FB0D5B-5D73-C87D-C05C-4743E3F85817}"/>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7: Registration page</a:t>
            </a:r>
          </a:p>
        </p:txBody>
      </p:sp>
    </p:spTree>
    <p:extLst>
      <p:ext uri="{BB962C8B-B14F-4D97-AF65-F5344CB8AC3E}">
        <p14:creationId xmlns:p14="http://schemas.microsoft.com/office/powerpoint/2010/main" val="66412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19</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2 Log in </a:t>
            </a:r>
          </a:p>
        </p:txBody>
      </p:sp>
      <p:pic>
        <p:nvPicPr>
          <p:cNvPr id="2" name="Picture 1">
            <a:extLst>
              <a:ext uri="{FF2B5EF4-FFF2-40B4-BE49-F238E27FC236}">
                <a16:creationId xmlns:a16="http://schemas.microsoft.com/office/drawing/2014/main" id="{8AA9FFB9-0105-1A84-760F-6BAE09FF070B}"/>
              </a:ext>
            </a:extLst>
          </p:cNvPr>
          <p:cNvPicPr>
            <a:picLocks noChangeAspect="1"/>
          </p:cNvPicPr>
          <p:nvPr/>
        </p:nvPicPr>
        <p:blipFill>
          <a:blip r:embed="rId4"/>
          <a:stretch>
            <a:fillRect/>
          </a:stretch>
        </p:blipFill>
        <p:spPr>
          <a:xfrm>
            <a:off x="2028259" y="1423038"/>
            <a:ext cx="8135482" cy="4231313"/>
          </a:xfrm>
          <a:prstGeom prst="rect">
            <a:avLst/>
          </a:prstGeom>
        </p:spPr>
      </p:pic>
      <p:sp>
        <p:nvSpPr>
          <p:cNvPr id="3" name="Rectangle 2">
            <a:extLst>
              <a:ext uri="{FF2B5EF4-FFF2-40B4-BE49-F238E27FC236}">
                <a16:creationId xmlns:a16="http://schemas.microsoft.com/office/drawing/2014/main" id="{FFB3D438-5B5E-02D2-2C97-0FAAE43DBD6A}"/>
              </a:ext>
            </a:extLst>
          </p:cNvPr>
          <p:cNvSpPr/>
          <p:nvPr/>
        </p:nvSpPr>
        <p:spPr>
          <a:xfrm>
            <a:off x="5408606" y="567084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8: Log in page</a:t>
            </a:r>
          </a:p>
        </p:txBody>
      </p:sp>
    </p:spTree>
    <p:extLst>
      <p:ext uri="{BB962C8B-B14F-4D97-AF65-F5344CB8AC3E}">
        <p14:creationId xmlns:p14="http://schemas.microsoft.com/office/powerpoint/2010/main" val="3291130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ountains and a lake">
            <a:extLst>
              <a:ext uri="{FF2B5EF4-FFF2-40B4-BE49-F238E27FC236}">
                <a16:creationId xmlns:a16="http://schemas.microsoft.com/office/drawing/2014/main" id="{28220BB8-E8A6-024D-22E9-B9799499DF8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1993" cy="3967316"/>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0"/>
            <a:ext cx="12192000" cy="396731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5DCA36D2-EEF5-21EE-3283-F0CBB589C6A7}"/>
              </a:ext>
            </a:extLst>
          </p:cNvPr>
          <p:cNvSpPr/>
          <p:nvPr/>
        </p:nvSpPr>
        <p:spPr>
          <a:xfrm>
            <a:off x="407988" y="728662"/>
            <a:ext cx="11376024" cy="5400675"/>
          </a:xfrm>
          <a:prstGeom prst="rect">
            <a:avLst/>
          </a:prstGeom>
          <a:solidFill>
            <a:schemeClr val="bg1">
              <a:alpha val="71000"/>
            </a:schemeClr>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5DF16468-97B7-242A-7A70-87D7CC777945}"/>
              </a:ext>
            </a:extLst>
          </p:cNvPr>
          <p:cNvSpPr/>
          <p:nvPr/>
        </p:nvSpPr>
        <p:spPr>
          <a:xfrm>
            <a:off x="3200334" y="950261"/>
            <a:ext cx="5534256" cy="7568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4800" b="1" dirty="0">
                <a:solidFill>
                  <a:srgbClr val="D5204B"/>
                </a:solidFill>
                <a:latin typeface="Calibri Light" panose="020F0302020204030204" pitchFamily="34" charset="0"/>
                <a:cs typeface="Calibri Light" panose="020F0302020204030204" pitchFamily="34" charset="0"/>
              </a:rPr>
              <a:t>Project Review </a:t>
            </a:r>
            <a:endParaRPr lang="en-US" sz="4800" b="1" dirty="0">
              <a:solidFill>
                <a:srgbClr val="D5204B"/>
              </a:solidFill>
              <a:cs typeface="Calibri Light" panose="020F0302020204030204" pitchFamily="34" charset="0"/>
            </a:endParaRPr>
          </a:p>
        </p:txBody>
      </p:sp>
      <p:sp>
        <p:nvSpPr>
          <p:cNvPr id="65" name="Rectangle 64">
            <a:extLst>
              <a:ext uri="{FF2B5EF4-FFF2-40B4-BE49-F238E27FC236}">
                <a16:creationId xmlns:a16="http://schemas.microsoft.com/office/drawing/2014/main" id="{F27E7C20-0B1F-AFD7-181F-97C49B30DD4A}"/>
              </a:ext>
            </a:extLst>
          </p:cNvPr>
          <p:cNvSpPr/>
          <p:nvPr/>
        </p:nvSpPr>
        <p:spPr>
          <a:xfrm>
            <a:off x="3328863" y="3332750"/>
            <a:ext cx="5534263" cy="1063979"/>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Subtitle 2">
            <a:extLst>
              <a:ext uri="{FF2B5EF4-FFF2-40B4-BE49-F238E27FC236}">
                <a16:creationId xmlns:a16="http://schemas.microsoft.com/office/drawing/2014/main" id="{445E8940-406D-CCC4-D773-B44E3527D254}"/>
              </a:ext>
            </a:extLst>
          </p:cNvPr>
          <p:cNvSpPr txBox="1">
            <a:spLocks/>
          </p:cNvSpPr>
          <p:nvPr/>
        </p:nvSpPr>
        <p:spPr>
          <a:xfrm>
            <a:off x="4388521" y="3633658"/>
            <a:ext cx="4538439" cy="527162"/>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dirty="0">
                <a:solidFill>
                  <a:schemeClr val="bg1"/>
                </a:solidFill>
                <a:cs typeface="Arial" panose="020B0604020202020204" pitchFamily="34" charset="0"/>
              </a:rPr>
              <a:t>PROJECT GUIDE: KALAIVANI. S</a:t>
            </a:r>
          </a:p>
        </p:txBody>
      </p:sp>
      <p:sp>
        <p:nvSpPr>
          <p:cNvPr id="4" name="Rectangle 3">
            <a:extLst>
              <a:ext uri="{FF2B5EF4-FFF2-40B4-BE49-F238E27FC236}">
                <a16:creationId xmlns:a16="http://schemas.microsoft.com/office/drawing/2014/main" id="{5DBC84F6-343B-EC2C-71DA-DB72527A65E2}"/>
              </a:ext>
            </a:extLst>
          </p:cNvPr>
          <p:cNvSpPr/>
          <p:nvPr/>
        </p:nvSpPr>
        <p:spPr>
          <a:xfrm>
            <a:off x="3328864" y="1929282"/>
            <a:ext cx="5534263" cy="1063979"/>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JECT TITLE: </a:t>
            </a:r>
            <a:r>
              <a:rPr lang="en-US" b="1" dirty="0"/>
              <a:t>ONLINE TRAVEL BOOKING SYSTEM</a:t>
            </a:r>
          </a:p>
          <a:p>
            <a:pPr algn="ctr"/>
            <a:r>
              <a:rPr lang="en-US" dirty="0"/>
              <a:t>DATE</a:t>
            </a:r>
            <a:r>
              <a:rPr lang="en-US"/>
              <a:t>: 19-04-2023</a:t>
            </a:r>
            <a:endParaRPr lang="en-US" dirty="0"/>
          </a:p>
        </p:txBody>
      </p:sp>
      <p:sp>
        <p:nvSpPr>
          <p:cNvPr id="6" name="Rectangle 5">
            <a:extLst>
              <a:ext uri="{FF2B5EF4-FFF2-40B4-BE49-F238E27FC236}">
                <a16:creationId xmlns:a16="http://schemas.microsoft.com/office/drawing/2014/main" id="{B410AF07-0D4C-DE1C-E497-211616C43C20}"/>
              </a:ext>
            </a:extLst>
          </p:cNvPr>
          <p:cNvSpPr/>
          <p:nvPr/>
        </p:nvSpPr>
        <p:spPr>
          <a:xfrm>
            <a:off x="5150453" y="4411046"/>
            <a:ext cx="5534256" cy="7568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r>
              <a:rPr lang="en-US" sz="2000" b="1" dirty="0">
                <a:solidFill>
                  <a:srgbClr val="D5204B"/>
                </a:solidFill>
                <a:latin typeface="Calibri Light" panose="020F0302020204030204" pitchFamily="34" charset="0"/>
                <a:cs typeface="Calibri Light" panose="020F0302020204030204" pitchFamily="34" charset="0"/>
              </a:rPr>
              <a:t>TEAM MEMBERS</a:t>
            </a:r>
            <a:endParaRPr lang="en-US" sz="2000" b="1" dirty="0">
              <a:solidFill>
                <a:srgbClr val="D5204B"/>
              </a:solidFill>
              <a:cs typeface="Calibri Light" panose="020F0302020204030204" pitchFamily="34" charset="0"/>
            </a:endParaRPr>
          </a:p>
        </p:txBody>
      </p:sp>
      <p:sp>
        <p:nvSpPr>
          <p:cNvPr id="7" name="Subtitle 2">
            <a:extLst>
              <a:ext uri="{FF2B5EF4-FFF2-40B4-BE49-F238E27FC236}">
                <a16:creationId xmlns:a16="http://schemas.microsoft.com/office/drawing/2014/main" id="{0BAF2DB9-88BB-4D42-0F79-E456D06A1060}"/>
              </a:ext>
            </a:extLst>
          </p:cNvPr>
          <p:cNvSpPr txBox="1">
            <a:spLocks/>
          </p:cNvSpPr>
          <p:nvPr/>
        </p:nvSpPr>
        <p:spPr>
          <a:xfrm>
            <a:off x="3328862" y="5182252"/>
            <a:ext cx="2766443" cy="527162"/>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dirty="0">
                <a:solidFill>
                  <a:srgbClr val="D5204B"/>
                </a:solidFill>
                <a:cs typeface="Arial" panose="020B0604020202020204" pitchFamily="34" charset="0"/>
              </a:rPr>
              <a:t>DEEPAK. R (20BCS0093)</a:t>
            </a:r>
            <a:r>
              <a:rPr lang="en-US" sz="2000" i="1" dirty="0">
                <a:solidFill>
                  <a:schemeClr val="bg1"/>
                </a:solidFill>
                <a:cs typeface="Arial" panose="020B0604020202020204" pitchFamily="34" charset="0"/>
              </a:rPr>
              <a:t>S</a:t>
            </a:r>
          </a:p>
        </p:txBody>
      </p:sp>
      <p:sp>
        <p:nvSpPr>
          <p:cNvPr id="8" name="Subtitle 2">
            <a:extLst>
              <a:ext uri="{FF2B5EF4-FFF2-40B4-BE49-F238E27FC236}">
                <a16:creationId xmlns:a16="http://schemas.microsoft.com/office/drawing/2014/main" id="{D7CDB314-7E5A-061D-E607-9A1B55003D80}"/>
              </a:ext>
            </a:extLst>
          </p:cNvPr>
          <p:cNvSpPr txBox="1">
            <a:spLocks/>
          </p:cNvSpPr>
          <p:nvPr/>
        </p:nvSpPr>
        <p:spPr>
          <a:xfrm>
            <a:off x="6333299" y="5418161"/>
            <a:ext cx="2766444" cy="394342"/>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dirty="0">
                <a:solidFill>
                  <a:srgbClr val="D5204B"/>
                </a:solidFill>
                <a:cs typeface="Arial" panose="020B0604020202020204" pitchFamily="34" charset="0"/>
              </a:rPr>
              <a:t>PRAVEEN. T (20BCS0082) </a:t>
            </a:r>
            <a:r>
              <a:rPr lang="en-US" sz="2000" i="1" dirty="0">
                <a:solidFill>
                  <a:schemeClr val="bg1"/>
                </a:solidFill>
                <a:cs typeface="Arial" panose="020B0604020202020204" pitchFamily="34" charset="0"/>
              </a:rPr>
              <a:t>S</a:t>
            </a:r>
          </a:p>
        </p:txBody>
      </p:sp>
      <p:pic>
        <p:nvPicPr>
          <p:cNvPr id="28" name="Graphic 27" descr="City">
            <a:extLst>
              <a:ext uri="{FF2B5EF4-FFF2-40B4-BE49-F238E27FC236}">
                <a16:creationId xmlns:a16="http://schemas.microsoft.com/office/drawing/2014/main" id="{6A300677-9A8C-6228-DDD4-2D508698C3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730570">
            <a:off x="9900467" y="1232864"/>
            <a:ext cx="1357935" cy="1357935"/>
          </a:xfrm>
          <a:prstGeom prst="rect">
            <a:avLst/>
          </a:prstGeom>
        </p:spPr>
      </p:pic>
      <p:pic>
        <p:nvPicPr>
          <p:cNvPr id="30" name="Graphic 29" descr="Bus">
            <a:extLst>
              <a:ext uri="{FF2B5EF4-FFF2-40B4-BE49-F238E27FC236}">
                <a16:creationId xmlns:a16="http://schemas.microsoft.com/office/drawing/2014/main" id="{B77BE724-D9D0-3628-1AC1-1B58748DCD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000594">
            <a:off x="1236434" y="4377187"/>
            <a:ext cx="1263984" cy="1263984"/>
          </a:xfrm>
          <a:prstGeom prst="rect">
            <a:avLst/>
          </a:prstGeom>
        </p:spPr>
      </p:pic>
      <p:sp>
        <p:nvSpPr>
          <p:cNvPr id="31" name="Graphic 34" descr="Airplane">
            <a:extLst>
              <a:ext uri="{FF2B5EF4-FFF2-40B4-BE49-F238E27FC236}">
                <a16:creationId xmlns:a16="http://schemas.microsoft.com/office/drawing/2014/main" id="{5AE0B8FA-9C62-609A-DD22-188F9159DDD9}"/>
              </a:ext>
            </a:extLst>
          </p:cNvPr>
          <p:cNvSpPr/>
          <p:nvPr/>
        </p:nvSpPr>
        <p:spPr>
          <a:xfrm rot="18826488">
            <a:off x="1000615" y="1137087"/>
            <a:ext cx="1084607" cy="1322466"/>
          </a:xfrm>
          <a:custGeom>
            <a:avLst/>
            <a:gdLst>
              <a:gd name="connsiteX0" fmla="*/ 471522 w 471521"/>
              <a:gd name="connsiteY0" fmla="*/ 402180 h 554731"/>
              <a:gd name="connsiteX1" fmla="*/ 471522 w 471521"/>
              <a:gd name="connsiteY1" fmla="*/ 339773 h 554731"/>
              <a:gd name="connsiteX2" fmla="*/ 270432 w 471521"/>
              <a:gd name="connsiteY2" fmla="*/ 197623 h 554731"/>
              <a:gd name="connsiteX3" fmla="*/ 270432 w 471521"/>
              <a:gd name="connsiteY3" fmla="*/ 62407 h 554731"/>
              <a:gd name="connsiteX4" fmla="*/ 235761 w 471521"/>
              <a:gd name="connsiteY4" fmla="*/ 0 h 554731"/>
              <a:gd name="connsiteX5" fmla="*/ 201090 w 471521"/>
              <a:gd name="connsiteY5" fmla="*/ 62407 h 554731"/>
              <a:gd name="connsiteX6" fmla="*/ 201090 w 471521"/>
              <a:gd name="connsiteY6" fmla="*/ 197623 h 554731"/>
              <a:gd name="connsiteX7" fmla="*/ 0 w 471521"/>
              <a:gd name="connsiteY7" fmla="*/ 339773 h 554731"/>
              <a:gd name="connsiteX8" fmla="*/ 0 w 471521"/>
              <a:gd name="connsiteY8" fmla="*/ 402180 h 554731"/>
              <a:gd name="connsiteX9" fmla="*/ 201090 w 471521"/>
              <a:gd name="connsiteY9" fmla="*/ 301635 h 554731"/>
              <a:gd name="connsiteX10" fmla="*/ 201090 w 471521"/>
              <a:gd name="connsiteY10" fmla="*/ 452800 h 554731"/>
              <a:gd name="connsiteX11" fmla="*/ 131749 w 471521"/>
              <a:gd name="connsiteY11" fmla="*/ 513127 h 554731"/>
              <a:gd name="connsiteX12" fmla="*/ 131749 w 471521"/>
              <a:gd name="connsiteY12" fmla="*/ 554732 h 554731"/>
              <a:gd name="connsiteX13" fmla="*/ 235761 w 471521"/>
              <a:gd name="connsiteY13" fmla="*/ 513127 h 554731"/>
              <a:gd name="connsiteX14" fmla="*/ 339773 w 471521"/>
              <a:gd name="connsiteY14" fmla="*/ 554732 h 554731"/>
              <a:gd name="connsiteX15" fmla="*/ 339773 w 471521"/>
              <a:gd name="connsiteY15" fmla="*/ 513127 h 554731"/>
              <a:gd name="connsiteX16" fmla="*/ 270432 w 471521"/>
              <a:gd name="connsiteY16" fmla="*/ 452800 h 554731"/>
              <a:gd name="connsiteX17" fmla="*/ 270432 w 471521"/>
              <a:gd name="connsiteY17" fmla="*/ 301635 h 554731"/>
              <a:gd name="connsiteX18" fmla="*/ 471522 w 471521"/>
              <a:gd name="connsiteY18" fmla="*/ 402180 h 55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521" h="554731">
                <a:moveTo>
                  <a:pt x="471522" y="402180"/>
                </a:moveTo>
                <a:lnTo>
                  <a:pt x="471522" y="339773"/>
                </a:lnTo>
                <a:lnTo>
                  <a:pt x="270432" y="197623"/>
                </a:lnTo>
                <a:lnTo>
                  <a:pt x="270432" y="62407"/>
                </a:lnTo>
                <a:cubicBezTo>
                  <a:pt x="270432" y="35364"/>
                  <a:pt x="256563" y="0"/>
                  <a:pt x="235761" y="0"/>
                </a:cubicBezTo>
                <a:cubicBezTo>
                  <a:pt x="215652" y="0"/>
                  <a:pt x="201090" y="35364"/>
                  <a:pt x="201090" y="62407"/>
                </a:cubicBezTo>
                <a:lnTo>
                  <a:pt x="201090" y="197623"/>
                </a:lnTo>
                <a:lnTo>
                  <a:pt x="0" y="339773"/>
                </a:lnTo>
                <a:lnTo>
                  <a:pt x="0" y="402180"/>
                </a:lnTo>
                <a:lnTo>
                  <a:pt x="201090" y="301635"/>
                </a:lnTo>
                <a:lnTo>
                  <a:pt x="201090" y="452800"/>
                </a:lnTo>
                <a:lnTo>
                  <a:pt x="131749" y="513127"/>
                </a:lnTo>
                <a:lnTo>
                  <a:pt x="131749" y="554732"/>
                </a:lnTo>
                <a:lnTo>
                  <a:pt x="235761" y="513127"/>
                </a:lnTo>
                <a:lnTo>
                  <a:pt x="339773" y="554732"/>
                </a:lnTo>
                <a:lnTo>
                  <a:pt x="339773" y="513127"/>
                </a:lnTo>
                <a:lnTo>
                  <a:pt x="270432" y="452800"/>
                </a:lnTo>
                <a:lnTo>
                  <a:pt x="270432" y="301635"/>
                </a:lnTo>
                <a:lnTo>
                  <a:pt x="471522" y="402180"/>
                </a:lnTo>
                <a:close/>
              </a:path>
            </a:pathLst>
          </a:custGeom>
          <a:solidFill>
            <a:srgbClr val="D5204B"/>
          </a:solidFill>
          <a:ln w="6846" cap="flat">
            <a:noFill/>
            <a:prstDash val="solid"/>
            <a:miter/>
          </a:ln>
        </p:spPr>
        <p:txBody>
          <a:bodyPr rtlCol="0" anchor="ctr"/>
          <a:lstStyle/>
          <a:p>
            <a:endParaRPr lang="en-IN"/>
          </a:p>
        </p:txBody>
      </p:sp>
      <p:pic>
        <p:nvPicPr>
          <p:cNvPr id="32" name="Graphic 31" descr="Train">
            <a:extLst>
              <a:ext uri="{FF2B5EF4-FFF2-40B4-BE49-F238E27FC236}">
                <a16:creationId xmlns:a16="http://schemas.microsoft.com/office/drawing/2014/main" id="{EE80A4BE-8AA6-EE5A-15C5-D91964E2A1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34738" y="4334614"/>
            <a:ext cx="1237194" cy="1237194"/>
          </a:xfrm>
          <a:prstGeom prst="rect">
            <a:avLst/>
          </a:prstGeom>
        </p:spPr>
      </p:pic>
      <p:sp>
        <p:nvSpPr>
          <p:cNvPr id="34" name="Rectangle 33">
            <a:extLst>
              <a:ext uri="{FF2B5EF4-FFF2-40B4-BE49-F238E27FC236}">
                <a16:creationId xmlns:a16="http://schemas.microsoft.com/office/drawing/2014/main" id="{573726EB-6DF6-4C29-13B1-91C61E9E6ADB}"/>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spTree>
    <p:extLst>
      <p:ext uri="{BB962C8B-B14F-4D97-AF65-F5344CB8AC3E}">
        <p14:creationId xmlns:p14="http://schemas.microsoft.com/office/powerpoint/2010/main" val="37604161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0</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3 Bus ticket booking </a:t>
            </a:r>
          </a:p>
        </p:txBody>
      </p:sp>
      <p:pic>
        <p:nvPicPr>
          <p:cNvPr id="2" name="Picture 1">
            <a:extLst>
              <a:ext uri="{FF2B5EF4-FFF2-40B4-BE49-F238E27FC236}">
                <a16:creationId xmlns:a16="http://schemas.microsoft.com/office/drawing/2014/main" id="{BAB8DA65-556C-E01D-9CEF-3072529E488E}"/>
              </a:ext>
            </a:extLst>
          </p:cNvPr>
          <p:cNvPicPr>
            <a:picLocks noChangeAspect="1"/>
          </p:cNvPicPr>
          <p:nvPr/>
        </p:nvPicPr>
        <p:blipFill>
          <a:blip r:embed="rId4"/>
          <a:stretch>
            <a:fillRect/>
          </a:stretch>
        </p:blipFill>
        <p:spPr>
          <a:xfrm>
            <a:off x="1691239" y="1507015"/>
            <a:ext cx="8809522" cy="4473700"/>
          </a:xfrm>
          <a:prstGeom prst="rect">
            <a:avLst/>
          </a:prstGeom>
        </p:spPr>
      </p:pic>
      <p:sp>
        <p:nvSpPr>
          <p:cNvPr id="3" name="Rectangle 2">
            <a:extLst>
              <a:ext uri="{FF2B5EF4-FFF2-40B4-BE49-F238E27FC236}">
                <a16:creationId xmlns:a16="http://schemas.microsoft.com/office/drawing/2014/main" id="{E7318A34-53E5-8C4C-13CC-795C8BFB95A9}"/>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9: Bus ticket booking page</a:t>
            </a:r>
          </a:p>
        </p:txBody>
      </p:sp>
    </p:spTree>
    <p:extLst>
      <p:ext uri="{BB962C8B-B14F-4D97-AF65-F5344CB8AC3E}">
        <p14:creationId xmlns:p14="http://schemas.microsoft.com/office/powerpoint/2010/main" val="12048905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1</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4 Fight ticket booking </a:t>
            </a:r>
          </a:p>
        </p:txBody>
      </p:sp>
      <p:pic>
        <p:nvPicPr>
          <p:cNvPr id="2" name="Picture 1">
            <a:extLst>
              <a:ext uri="{FF2B5EF4-FFF2-40B4-BE49-F238E27FC236}">
                <a16:creationId xmlns:a16="http://schemas.microsoft.com/office/drawing/2014/main" id="{7A1F51C3-F764-E08D-DFC3-51D434EA56FA}"/>
              </a:ext>
            </a:extLst>
          </p:cNvPr>
          <p:cNvPicPr>
            <a:picLocks noChangeAspect="1"/>
          </p:cNvPicPr>
          <p:nvPr/>
        </p:nvPicPr>
        <p:blipFill>
          <a:blip r:embed="rId4"/>
          <a:stretch>
            <a:fillRect/>
          </a:stretch>
        </p:blipFill>
        <p:spPr>
          <a:xfrm>
            <a:off x="1602565" y="1507015"/>
            <a:ext cx="8986870" cy="4488025"/>
          </a:xfrm>
          <a:prstGeom prst="rect">
            <a:avLst/>
          </a:prstGeom>
        </p:spPr>
      </p:pic>
      <p:sp>
        <p:nvSpPr>
          <p:cNvPr id="3" name="Rectangle 2">
            <a:extLst>
              <a:ext uri="{FF2B5EF4-FFF2-40B4-BE49-F238E27FC236}">
                <a16:creationId xmlns:a16="http://schemas.microsoft.com/office/drawing/2014/main" id="{51505F28-71B9-47FC-D4A7-B6B17D8B4A6E}"/>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10: Flight ticket booking page</a:t>
            </a:r>
          </a:p>
        </p:txBody>
      </p:sp>
    </p:spTree>
    <p:extLst>
      <p:ext uri="{BB962C8B-B14F-4D97-AF65-F5344CB8AC3E}">
        <p14:creationId xmlns:p14="http://schemas.microsoft.com/office/powerpoint/2010/main" val="847009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2</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5 Train ticket booking </a:t>
            </a:r>
          </a:p>
        </p:txBody>
      </p:sp>
      <p:pic>
        <p:nvPicPr>
          <p:cNvPr id="2" name="Picture 1">
            <a:extLst>
              <a:ext uri="{FF2B5EF4-FFF2-40B4-BE49-F238E27FC236}">
                <a16:creationId xmlns:a16="http://schemas.microsoft.com/office/drawing/2014/main" id="{78C15FD3-025A-D905-FB8E-F6A531E84A93}"/>
              </a:ext>
            </a:extLst>
          </p:cNvPr>
          <p:cNvPicPr>
            <a:picLocks noChangeAspect="1"/>
          </p:cNvPicPr>
          <p:nvPr/>
        </p:nvPicPr>
        <p:blipFill>
          <a:blip r:embed="rId4"/>
          <a:stretch>
            <a:fillRect/>
          </a:stretch>
        </p:blipFill>
        <p:spPr>
          <a:xfrm>
            <a:off x="1603310" y="1507015"/>
            <a:ext cx="8985380" cy="4433956"/>
          </a:xfrm>
          <a:prstGeom prst="rect">
            <a:avLst/>
          </a:prstGeom>
        </p:spPr>
      </p:pic>
      <p:sp>
        <p:nvSpPr>
          <p:cNvPr id="3" name="Rectangle 2">
            <a:extLst>
              <a:ext uri="{FF2B5EF4-FFF2-40B4-BE49-F238E27FC236}">
                <a16:creationId xmlns:a16="http://schemas.microsoft.com/office/drawing/2014/main" id="{D1700719-BF5F-6061-55B0-74983D337D61}"/>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11: Train ticket booking page</a:t>
            </a:r>
          </a:p>
        </p:txBody>
      </p:sp>
    </p:spTree>
    <p:extLst>
      <p:ext uri="{BB962C8B-B14F-4D97-AF65-F5344CB8AC3E}">
        <p14:creationId xmlns:p14="http://schemas.microsoft.com/office/powerpoint/2010/main" val="15566270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3</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6 Hotel reservation </a:t>
            </a:r>
          </a:p>
        </p:txBody>
      </p:sp>
      <p:pic>
        <p:nvPicPr>
          <p:cNvPr id="2" name="Picture 1">
            <a:extLst>
              <a:ext uri="{FF2B5EF4-FFF2-40B4-BE49-F238E27FC236}">
                <a16:creationId xmlns:a16="http://schemas.microsoft.com/office/drawing/2014/main" id="{45BE1BED-E79C-257D-4E6E-D65CEAE50342}"/>
              </a:ext>
            </a:extLst>
          </p:cNvPr>
          <p:cNvPicPr>
            <a:picLocks noChangeAspect="1"/>
          </p:cNvPicPr>
          <p:nvPr/>
        </p:nvPicPr>
        <p:blipFill>
          <a:blip r:embed="rId4"/>
          <a:stretch>
            <a:fillRect/>
          </a:stretch>
        </p:blipFill>
        <p:spPr>
          <a:xfrm>
            <a:off x="1569328" y="1507015"/>
            <a:ext cx="9053344" cy="4492569"/>
          </a:xfrm>
          <a:prstGeom prst="rect">
            <a:avLst/>
          </a:prstGeom>
        </p:spPr>
      </p:pic>
      <p:sp>
        <p:nvSpPr>
          <p:cNvPr id="3" name="Rectangle 2">
            <a:extLst>
              <a:ext uri="{FF2B5EF4-FFF2-40B4-BE49-F238E27FC236}">
                <a16:creationId xmlns:a16="http://schemas.microsoft.com/office/drawing/2014/main" id="{E6A5E187-0A9A-90D0-A816-97D442B35F72}"/>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12: Hotel reservation page</a:t>
            </a:r>
          </a:p>
        </p:txBody>
      </p:sp>
    </p:spTree>
    <p:extLst>
      <p:ext uri="{BB962C8B-B14F-4D97-AF65-F5344CB8AC3E}">
        <p14:creationId xmlns:p14="http://schemas.microsoft.com/office/powerpoint/2010/main" val="20191804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4</a:t>
            </a:fld>
            <a:endParaRPr lang="en-US" sz="1000" b="1" dirty="0">
              <a:solidFill>
                <a:schemeClr val="bg1"/>
              </a:solidFill>
            </a:endParaRPr>
          </a:p>
        </p:txBody>
      </p:sp>
      <p:sp>
        <p:nvSpPr>
          <p:cNvPr id="6" name="Rectangle 5">
            <a:extLst>
              <a:ext uri="{FF2B5EF4-FFF2-40B4-BE49-F238E27FC236}">
                <a16:creationId xmlns:a16="http://schemas.microsoft.com/office/drawing/2014/main" id="{41C6F53D-8A36-50F0-07EF-0E49FE6A1638}"/>
              </a:ext>
            </a:extLst>
          </p:cNvPr>
          <p:cNvSpPr/>
          <p:nvPr/>
        </p:nvSpPr>
        <p:spPr>
          <a:xfrm>
            <a:off x="407987" y="639446"/>
            <a:ext cx="6336330" cy="40294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5204B"/>
              </a:solidFill>
            </a:endParaRPr>
          </a:p>
        </p:txBody>
      </p:sp>
      <p:sp>
        <p:nvSpPr>
          <p:cNvPr id="7" name="Subtitle 2">
            <a:extLst>
              <a:ext uri="{FF2B5EF4-FFF2-40B4-BE49-F238E27FC236}">
                <a16:creationId xmlns:a16="http://schemas.microsoft.com/office/drawing/2014/main" id="{31F3C143-507B-E852-3301-DC1F0A6FDA39}"/>
              </a:ext>
            </a:extLst>
          </p:cNvPr>
          <p:cNvSpPr txBox="1">
            <a:spLocks/>
          </p:cNvSpPr>
          <p:nvPr/>
        </p:nvSpPr>
        <p:spPr>
          <a:xfrm>
            <a:off x="881655" y="407135"/>
            <a:ext cx="5947959" cy="86756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i="1" dirty="0">
                <a:solidFill>
                  <a:schemeClr val="bg1"/>
                </a:solidFill>
                <a:cs typeface="Arial" panose="020B0604020202020204" pitchFamily="34" charset="0"/>
              </a:rPr>
              <a:t>10.7 Passenger details </a:t>
            </a:r>
          </a:p>
        </p:txBody>
      </p:sp>
      <p:pic>
        <p:nvPicPr>
          <p:cNvPr id="2" name="Picture 1">
            <a:extLst>
              <a:ext uri="{FF2B5EF4-FFF2-40B4-BE49-F238E27FC236}">
                <a16:creationId xmlns:a16="http://schemas.microsoft.com/office/drawing/2014/main" id="{3F73E7B8-96C9-6254-FB97-DDC3C27C2CB5}"/>
              </a:ext>
            </a:extLst>
          </p:cNvPr>
          <p:cNvPicPr>
            <a:picLocks noChangeAspect="1"/>
          </p:cNvPicPr>
          <p:nvPr/>
        </p:nvPicPr>
        <p:blipFill>
          <a:blip r:embed="rId4"/>
          <a:stretch>
            <a:fillRect/>
          </a:stretch>
        </p:blipFill>
        <p:spPr>
          <a:xfrm>
            <a:off x="1751101" y="1507015"/>
            <a:ext cx="8689797" cy="4473907"/>
          </a:xfrm>
          <a:prstGeom prst="rect">
            <a:avLst/>
          </a:prstGeom>
        </p:spPr>
      </p:pic>
      <p:sp>
        <p:nvSpPr>
          <p:cNvPr id="3" name="Rectangle 2">
            <a:extLst>
              <a:ext uri="{FF2B5EF4-FFF2-40B4-BE49-F238E27FC236}">
                <a16:creationId xmlns:a16="http://schemas.microsoft.com/office/drawing/2014/main" id="{39763D90-15DE-012E-C6F7-52C173AF0891}"/>
              </a:ext>
            </a:extLst>
          </p:cNvPr>
          <p:cNvSpPr/>
          <p:nvPr/>
        </p:nvSpPr>
        <p:spPr>
          <a:xfrm>
            <a:off x="5290701" y="5971925"/>
            <a:ext cx="2671422" cy="3221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i="1" dirty="0">
                <a:solidFill>
                  <a:schemeClr val="bg1">
                    <a:lumMod val="75000"/>
                  </a:schemeClr>
                </a:solidFill>
              </a:rPr>
              <a:t>fig 13: Passenger details page</a:t>
            </a:r>
          </a:p>
        </p:txBody>
      </p:sp>
    </p:spTree>
    <p:extLst>
      <p:ext uri="{BB962C8B-B14F-4D97-AF65-F5344CB8AC3E}">
        <p14:creationId xmlns:p14="http://schemas.microsoft.com/office/powerpoint/2010/main" val="22195711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9" name="Picture 808" descr="A picture containing outdoor, mountain, nature, old&#10;&#10;Description automatically generated">
            <a:extLst>
              <a:ext uri="{FF2B5EF4-FFF2-40B4-BE49-F238E27FC236}">
                <a16:creationId xmlns:a16="http://schemas.microsoft.com/office/drawing/2014/main" id="{FF8B56F5-DD43-E219-1CE9-54DA75CF2EB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155" y="98324"/>
            <a:ext cx="11975690" cy="6661352"/>
          </a:xfrm>
          <a:prstGeom prst="rect">
            <a:avLst/>
          </a:prstGeom>
        </p:spPr>
      </p:pic>
      <p:sp>
        <p:nvSpPr>
          <p:cNvPr id="805" name="Rectangle 804">
            <a:extLst>
              <a:ext uri="{FF2B5EF4-FFF2-40B4-BE49-F238E27FC236}">
                <a16:creationId xmlns:a16="http://schemas.microsoft.com/office/drawing/2014/main" id="{80431E6C-B89C-9D76-2057-DCD84CA5D46E}"/>
              </a:ext>
            </a:extLst>
          </p:cNvPr>
          <p:cNvSpPr/>
          <p:nvPr/>
        </p:nvSpPr>
        <p:spPr>
          <a:xfrm>
            <a:off x="108155" y="98324"/>
            <a:ext cx="11975690" cy="6661352"/>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1" name="Rectangle 810">
            <a:extLst>
              <a:ext uri="{FF2B5EF4-FFF2-40B4-BE49-F238E27FC236}">
                <a16:creationId xmlns:a16="http://schemas.microsoft.com/office/drawing/2014/main" id="{752BB7DD-89A6-09D1-F0CA-A279C1BEC3E3}"/>
              </a:ext>
            </a:extLst>
          </p:cNvPr>
          <p:cNvSpPr/>
          <p:nvPr/>
        </p:nvSpPr>
        <p:spPr>
          <a:xfrm>
            <a:off x="3163845" y="1567544"/>
            <a:ext cx="5970824" cy="4245428"/>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lvl="0" indent="93663" algn="just" defTabSz="692150">
              <a:lnSpc>
                <a:spcPct val="150000"/>
              </a:lnSpc>
              <a:tabLst>
                <a:tab pos="2244725" algn="l"/>
                <a:tab pos="4394200" algn="l"/>
                <a:tab pos="5113338" algn="l"/>
                <a:tab pos="5291138" algn="l"/>
                <a:tab pos="5383213" algn="l"/>
              </a:tabLst>
            </a:pPr>
            <a:endParaRPr lang="en-IN" sz="1400" dirty="0">
              <a:solidFill>
                <a:schemeClr val="bg1"/>
              </a:solidFill>
              <a:effectLst/>
              <a:ea typeface="Calibri" panose="020F0502020204030204" pitchFamily="34" charset="0"/>
              <a:cs typeface="Times New Roman" panose="02020603050405020304" pitchFamily="18" charset="0"/>
            </a:endParaRPr>
          </a:p>
        </p:txBody>
      </p:sp>
      <p:sp>
        <p:nvSpPr>
          <p:cNvPr id="408" name="Rectangle 407">
            <a:extLst>
              <a:ext uri="{FF2B5EF4-FFF2-40B4-BE49-F238E27FC236}">
                <a16:creationId xmlns:a16="http://schemas.microsoft.com/office/drawing/2014/main" id="{3DF08DE2-78AF-C5FD-D738-5AF08CC3788A}"/>
              </a:ext>
            </a:extLst>
          </p:cNvPr>
          <p:cNvSpPr/>
          <p:nvPr/>
        </p:nvSpPr>
        <p:spPr>
          <a:xfrm>
            <a:off x="5299248" y="337424"/>
            <a:ext cx="4611113" cy="9551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4800" b="1" dirty="0">
                <a:solidFill>
                  <a:schemeClr val="bg1"/>
                </a:solidFill>
                <a:latin typeface="Calibri Light" panose="020F0302020204030204" pitchFamily="34" charset="0"/>
                <a:cs typeface="Calibri Light" panose="020F0302020204030204" pitchFamily="34" charset="0"/>
              </a:rPr>
              <a:t>Conclusion</a:t>
            </a:r>
          </a:p>
        </p:txBody>
      </p:sp>
      <p:sp>
        <p:nvSpPr>
          <p:cNvPr id="803" name="Rectangle 802">
            <a:extLst>
              <a:ext uri="{FF2B5EF4-FFF2-40B4-BE49-F238E27FC236}">
                <a16:creationId xmlns:a16="http://schemas.microsoft.com/office/drawing/2014/main" id="{027C474E-C704-C4F4-A3A2-6ADC2311B3BA}"/>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804" name="Rectangle 803">
            <a:extLst>
              <a:ext uri="{FF2B5EF4-FFF2-40B4-BE49-F238E27FC236}">
                <a16:creationId xmlns:a16="http://schemas.microsoft.com/office/drawing/2014/main" id="{A89521C1-5C52-DE51-94CC-F98A27B0FF74}"/>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808" name="Slide Number Placeholder 3">
            <a:extLst>
              <a:ext uri="{FF2B5EF4-FFF2-40B4-BE49-F238E27FC236}">
                <a16:creationId xmlns:a16="http://schemas.microsoft.com/office/drawing/2014/main" id="{40D5E312-7087-D9E6-6F8E-C3275859FA39}"/>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5</a:t>
            </a:fld>
            <a:endParaRPr lang="en-US" sz="1000" b="1" dirty="0">
              <a:solidFill>
                <a:schemeClr val="bg1"/>
              </a:solidFill>
            </a:endParaRPr>
          </a:p>
        </p:txBody>
      </p:sp>
      <p:sp>
        <p:nvSpPr>
          <p:cNvPr id="2" name="Subtitle 176">
            <a:extLst>
              <a:ext uri="{FF2B5EF4-FFF2-40B4-BE49-F238E27FC236}">
                <a16:creationId xmlns:a16="http://schemas.microsoft.com/office/drawing/2014/main" id="{FAD1143D-D670-DF6E-EB9B-AB29044DF497}"/>
              </a:ext>
            </a:extLst>
          </p:cNvPr>
          <p:cNvSpPr txBox="1">
            <a:spLocks/>
          </p:cNvSpPr>
          <p:nvPr/>
        </p:nvSpPr>
        <p:spPr>
          <a:xfrm>
            <a:off x="3688615" y="1898555"/>
            <a:ext cx="5446054" cy="3570336"/>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481330" lvl="0" indent="0" algn="just">
              <a:lnSpc>
                <a:spcPct val="112000"/>
              </a:lnSpc>
              <a:spcAft>
                <a:spcPts val="20"/>
              </a:spcAft>
              <a:buNone/>
            </a:pPr>
            <a:r>
              <a:rPr lang="en-US" sz="1600" dirty="0">
                <a:solidFill>
                  <a:schemeClr val="bg1"/>
                </a:solidFill>
              </a:rPr>
              <a:t>The internet revolution has changed the scenario of travel industry through the easily accessible of travel products to the mass consumers by their virtual presence rather than physical. The online travel Portal (OTP) is also known by Online Travel agent, E-travel agents and virtual travel agents (VTA's). The concept of travel agents immersed as a connecting link between supplier and consumer. In a last 5-10 years techno friendly visitors prefer more to buy their travel services online like the online shopping of physical goods with this development along with our functionalities every one including physically challenged persons can navigate and use the OTA platform without any help required.</a:t>
            </a:r>
            <a:endParaRPr lang="en-IN" sz="2400" dirty="0">
              <a:solidFill>
                <a:schemeClr val="bg1"/>
              </a:solidFill>
              <a:effectLst/>
              <a:ea typeface="Times New Roman" panose="02020603050405020304" pitchFamily="18" charset="0"/>
            </a:endParaRPr>
          </a:p>
        </p:txBody>
      </p:sp>
      <p:pic>
        <p:nvPicPr>
          <p:cNvPr id="5" name="Graphic 4" descr="Handshake">
            <a:extLst>
              <a:ext uri="{FF2B5EF4-FFF2-40B4-BE49-F238E27FC236}">
                <a16:creationId xmlns:a16="http://schemas.microsoft.com/office/drawing/2014/main" id="{5DB48455-CE75-8E93-CD1C-3EC5E95F35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92127" y="341071"/>
            <a:ext cx="983726" cy="983726"/>
          </a:xfrm>
          <a:prstGeom prst="rect">
            <a:avLst/>
          </a:prstGeom>
        </p:spPr>
      </p:pic>
      <p:grpSp>
        <p:nvGrpSpPr>
          <p:cNvPr id="11" name="Group 10">
            <a:extLst>
              <a:ext uri="{FF2B5EF4-FFF2-40B4-BE49-F238E27FC236}">
                <a16:creationId xmlns:a16="http://schemas.microsoft.com/office/drawing/2014/main" id="{37BF8EF4-1A3D-023A-270D-33F9024D5F58}"/>
              </a:ext>
            </a:extLst>
          </p:cNvPr>
          <p:cNvGrpSpPr/>
          <p:nvPr/>
        </p:nvGrpSpPr>
        <p:grpSpPr>
          <a:xfrm>
            <a:off x="462224" y="306791"/>
            <a:ext cx="1091945" cy="1052286"/>
            <a:chOff x="645658" y="2456893"/>
            <a:chExt cx="613064" cy="613064"/>
          </a:xfrm>
        </p:grpSpPr>
        <p:sp>
          <p:nvSpPr>
            <p:cNvPr id="12" name="Oval 11">
              <a:extLst>
                <a:ext uri="{FF2B5EF4-FFF2-40B4-BE49-F238E27FC236}">
                  <a16:creationId xmlns:a16="http://schemas.microsoft.com/office/drawing/2014/main" id="{5103FB88-4ABD-6E02-D278-76BDB2FF90F7}"/>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B57EEBF0-7FA5-43CC-092A-FDBB3A5D0023}"/>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11</a:t>
              </a:r>
            </a:p>
          </p:txBody>
        </p:sp>
      </p:grpSp>
    </p:spTree>
    <p:extLst>
      <p:ext uri="{BB962C8B-B14F-4D97-AF65-F5344CB8AC3E}">
        <p14:creationId xmlns:p14="http://schemas.microsoft.com/office/powerpoint/2010/main" val="14856498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890685"/>
            <a:ext cx="12192000" cy="3967314"/>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2890684"/>
            <a:ext cx="12192000" cy="3967316"/>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Subtitle 2">
            <a:extLst>
              <a:ext uri="{FF2B5EF4-FFF2-40B4-BE49-F238E27FC236}">
                <a16:creationId xmlns:a16="http://schemas.microsoft.com/office/drawing/2014/main" id="{D94C15B6-B1A1-BBFC-9413-3F0889F2F0AA}"/>
              </a:ext>
            </a:extLst>
          </p:cNvPr>
          <p:cNvSpPr txBox="1">
            <a:spLocks/>
          </p:cNvSpPr>
          <p:nvPr/>
        </p:nvSpPr>
        <p:spPr>
          <a:xfrm>
            <a:off x="2779657" y="3578539"/>
            <a:ext cx="2724615" cy="631206"/>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b="1" dirty="0">
                <a:solidFill>
                  <a:schemeClr val="bg1"/>
                </a:solidFill>
                <a:cs typeface="Arial" panose="020B0604020202020204" pitchFamily="34" charset="0"/>
              </a:rPr>
              <a:t>Machine Learning</a:t>
            </a:r>
            <a:endParaRPr lang="en-US" sz="1600" dirty="0">
              <a:solidFill>
                <a:schemeClr val="bg1"/>
              </a:solidFill>
              <a:cs typeface="Arial" panose="020B0604020202020204" pitchFamily="34" charset="0"/>
            </a:endParaRPr>
          </a:p>
        </p:txBody>
      </p:sp>
      <p:cxnSp>
        <p:nvCxnSpPr>
          <p:cNvPr id="101" name="Straight Connector 100">
            <a:extLst>
              <a:ext uri="{FF2B5EF4-FFF2-40B4-BE49-F238E27FC236}">
                <a16:creationId xmlns:a16="http://schemas.microsoft.com/office/drawing/2014/main" id="{C686E936-C149-98EA-82FA-D46D165565B7}"/>
              </a:ext>
            </a:extLst>
          </p:cNvPr>
          <p:cNvCxnSpPr>
            <a:cxnSpLocks/>
          </p:cNvCxnSpPr>
          <p:nvPr/>
        </p:nvCxnSpPr>
        <p:spPr>
          <a:xfrm>
            <a:off x="5915183" y="3662522"/>
            <a:ext cx="13896" cy="182608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6</a:t>
            </a:fld>
            <a:endParaRPr lang="en-US" sz="1000" b="1" dirty="0">
              <a:solidFill>
                <a:schemeClr val="bg1"/>
              </a:solidFill>
            </a:endParaRPr>
          </a:p>
        </p:txBody>
      </p:sp>
      <p:sp>
        <p:nvSpPr>
          <p:cNvPr id="7" name="Subtitle 2">
            <a:extLst>
              <a:ext uri="{FF2B5EF4-FFF2-40B4-BE49-F238E27FC236}">
                <a16:creationId xmlns:a16="http://schemas.microsoft.com/office/drawing/2014/main" id="{2FFD4D5C-46F8-DF42-B140-6F8713B206BE}"/>
              </a:ext>
            </a:extLst>
          </p:cNvPr>
          <p:cNvSpPr txBox="1">
            <a:spLocks/>
          </p:cNvSpPr>
          <p:nvPr/>
        </p:nvSpPr>
        <p:spPr>
          <a:xfrm>
            <a:off x="8357378" y="3582760"/>
            <a:ext cx="3536533" cy="631206"/>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b="1" dirty="0">
                <a:solidFill>
                  <a:schemeClr val="bg1"/>
                </a:solidFill>
                <a:cs typeface="Arial" panose="020B0604020202020204" pitchFamily="34" charset="0"/>
              </a:rPr>
              <a:t>Artificial Intelligence</a:t>
            </a:r>
            <a:endParaRPr lang="en-US" sz="1600" dirty="0">
              <a:solidFill>
                <a:schemeClr val="bg1"/>
              </a:solidFill>
              <a:cs typeface="Arial" panose="020B0604020202020204" pitchFamily="34" charset="0"/>
            </a:endParaRPr>
          </a:p>
        </p:txBody>
      </p:sp>
      <p:sp>
        <p:nvSpPr>
          <p:cNvPr id="2" name="Rectangle 1">
            <a:extLst>
              <a:ext uri="{FF2B5EF4-FFF2-40B4-BE49-F238E27FC236}">
                <a16:creationId xmlns:a16="http://schemas.microsoft.com/office/drawing/2014/main" id="{E537700C-F673-D0D3-5D75-615ADF0066A8}"/>
              </a:ext>
            </a:extLst>
          </p:cNvPr>
          <p:cNvSpPr/>
          <p:nvPr/>
        </p:nvSpPr>
        <p:spPr>
          <a:xfrm>
            <a:off x="4652281" y="792795"/>
            <a:ext cx="6232849" cy="1122211"/>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9E782FE-D3E4-5E59-7018-EC2245F65FB1}"/>
              </a:ext>
            </a:extLst>
          </p:cNvPr>
          <p:cNvSpPr/>
          <p:nvPr/>
        </p:nvSpPr>
        <p:spPr>
          <a:xfrm>
            <a:off x="5929079" y="789106"/>
            <a:ext cx="7491177"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prstClr val="white"/>
                </a:solidFill>
                <a:latin typeface="Calibri Light" panose="020F0302020204030204" pitchFamily="34" charset="0"/>
                <a:cs typeface="Calibri Light" panose="020F0302020204030204" pitchFamily="34" charset="0"/>
              </a:rPr>
              <a:t>Future Works</a:t>
            </a:r>
          </a:p>
        </p:txBody>
      </p:sp>
      <p:pic>
        <p:nvPicPr>
          <p:cNvPr id="6" name="Graphic 5" descr="Share">
            <a:extLst>
              <a:ext uri="{FF2B5EF4-FFF2-40B4-BE49-F238E27FC236}">
                <a16:creationId xmlns:a16="http://schemas.microsoft.com/office/drawing/2014/main" id="{0CFDAFEE-CFF8-4094-C30B-12EC1CC8DB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33836" y="786378"/>
            <a:ext cx="1106191" cy="1106191"/>
          </a:xfrm>
          <a:prstGeom prst="rect">
            <a:avLst/>
          </a:prstGeom>
        </p:spPr>
      </p:pic>
      <p:pic>
        <p:nvPicPr>
          <p:cNvPr id="10" name="Graphic 9" descr="Cloud Computing">
            <a:extLst>
              <a:ext uri="{FF2B5EF4-FFF2-40B4-BE49-F238E27FC236}">
                <a16:creationId xmlns:a16="http://schemas.microsoft.com/office/drawing/2014/main" id="{ED136D14-52D8-5546-0E86-E4FEFF097C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6599" y="3737159"/>
            <a:ext cx="1335596" cy="1335596"/>
          </a:xfrm>
          <a:prstGeom prst="rect">
            <a:avLst/>
          </a:prstGeom>
        </p:spPr>
      </p:pic>
      <p:pic>
        <p:nvPicPr>
          <p:cNvPr id="16" name="Graphic 15" descr="Head with gears">
            <a:extLst>
              <a:ext uri="{FF2B5EF4-FFF2-40B4-BE49-F238E27FC236}">
                <a16:creationId xmlns:a16="http://schemas.microsoft.com/office/drawing/2014/main" id="{4462C406-9803-449E-5E9D-53894C6635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59545" y="4011449"/>
            <a:ext cx="1259248" cy="1259248"/>
          </a:xfrm>
          <a:prstGeom prst="rect">
            <a:avLst/>
          </a:prstGeom>
        </p:spPr>
      </p:pic>
      <p:sp>
        <p:nvSpPr>
          <p:cNvPr id="21" name="Subtitle 2">
            <a:extLst>
              <a:ext uri="{FF2B5EF4-FFF2-40B4-BE49-F238E27FC236}">
                <a16:creationId xmlns:a16="http://schemas.microsoft.com/office/drawing/2014/main" id="{FF6049A7-71D5-04C0-D9C4-6EF6F1E4305C}"/>
              </a:ext>
            </a:extLst>
          </p:cNvPr>
          <p:cNvSpPr txBox="1">
            <a:spLocks/>
          </p:cNvSpPr>
          <p:nvPr/>
        </p:nvSpPr>
        <p:spPr>
          <a:xfrm>
            <a:off x="2779657" y="4243135"/>
            <a:ext cx="2767693" cy="100999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cs typeface="Arial" panose="020B0604020202020204" pitchFamily="34" charset="0"/>
              </a:rPr>
              <a:t>Rather using a commands the website can learn for the internet to reply inputs</a:t>
            </a:r>
          </a:p>
        </p:txBody>
      </p:sp>
      <p:sp>
        <p:nvSpPr>
          <p:cNvPr id="22" name="Subtitle 2">
            <a:extLst>
              <a:ext uri="{FF2B5EF4-FFF2-40B4-BE49-F238E27FC236}">
                <a16:creationId xmlns:a16="http://schemas.microsoft.com/office/drawing/2014/main" id="{2FD6D7FB-85AF-33CC-E15B-2734C02321DE}"/>
              </a:ext>
            </a:extLst>
          </p:cNvPr>
          <p:cNvSpPr txBox="1">
            <a:spLocks/>
          </p:cNvSpPr>
          <p:nvPr/>
        </p:nvSpPr>
        <p:spPr>
          <a:xfrm>
            <a:off x="8341530" y="4202998"/>
            <a:ext cx="2767693" cy="100999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cs typeface="Arial" panose="020B0604020202020204" pitchFamily="34" charset="0"/>
              </a:rPr>
              <a:t>Improves user friendliness, acts like interacting with a person rather than using a website</a:t>
            </a:r>
          </a:p>
        </p:txBody>
      </p:sp>
      <p:grpSp>
        <p:nvGrpSpPr>
          <p:cNvPr id="24" name="Group 23">
            <a:extLst>
              <a:ext uri="{FF2B5EF4-FFF2-40B4-BE49-F238E27FC236}">
                <a16:creationId xmlns:a16="http://schemas.microsoft.com/office/drawing/2014/main" id="{021FE1B3-ABEA-FBA7-F8E6-DEEBC72FF9F5}"/>
              </a:ext>
            </a:extLst>
          </p:cNvPr>
          <p:cNvGrpSpPr/>
          <p:nvPr/>
        </p:nvGrpSpPr>
        <p:grpSpPr>
          <a:xfrm>
            <a:off x="677700" y="734767"/>
            <a:ext cx="1258339" cy="1209412"/>
            <a:chOff x="645658" y="2456893"/>
            <a:chExt cx="613064" cy="613064"/>
          </a:xfrm>
        </p:grpSpPr>
        <p:sp>
          <p:nvSpPr>
            <p:cNvPr id="25" name="Oval 24">
              <a:extLst>
                <a:ext uri="{FF2B5EF4-FFF2-40B4-BE49-F238E27FC236}">
                  <a16:creationId xmlns:a16="http://schemas.microsoft.com/office/drawing/2014/main" id="{66FFE165-9B19-C36F-993D-447D49CA685C}"/>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9BBCA7E1-409B-E322-9DEE-A954091D8BB1}"/>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12</a:t>
              </a:r>
            </a:p>
          </p:txBody>
        </p:sp>
      </p:grpSp>
    </p:spTree>
    <p:extLst>
      <p:ext uri="{BB962C8B-B14F-4D97-AF65-F5344CB8AC3E}">
        <p14:creationId xmlns:p14="http://schemas.microsoft.com/office/powerpoint/2010/main" val="39207318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mountain, outdoor, nature&#10;&#10;Description automatically generated">
            <a:extLst>
              <a:ext uri="{FF2B5EF4-FFF2-40B4-BE49-F238E27FC236}">
                <a16:creationId xmlns:a16="http://schemas.microsoft.com/office/drawing/2014/main" id="{F099CEFD-548A-BC1E-9E13-26709B09A969}"/>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a:xfrm>
            <a:off x="0" y="0"/>
            <a:ext cx="12192000" cy="6129338"/>
          </a:xfrm>
          <a:custGeom>
            <a:avLst/>
            <a:gdLst>
              <a:gd name="connsiteX0" fmla="*/ 0 w 12192000"/>
              <a:gd name="connsiteY0" fmla="*/ 0 h 6129338"/>
              <a:gd name="connsiteX1" fmla="*/ 12192000 w 12192000"/>
              <a:gd name="connsiteY1" fmla="*/ 0 h 6129338"/>
              <a:gd name="connsiteX2" fmla="*/ 12192000 w 12192000"/>
              <a:gd name="connsiteY2" fmla="*/ 6129338 h 6129338"/>
              <a:gd name="connsiteX3" fmla="*/ 0 w 12192000"/>
              <a:gd name="connsiteY3" fmla="*/ 6129338 h 6129338"/>
            </a:gdLst>
            <a:ahLst/>
            <a:cxnLst>
              <a:cxn ang="0">
                <a:pos x="connsiteX0" y="connsiteY0"/>
              </a:cxn>
              <a:cxn ang="0">
                <a:pos x="connsiteX1" y="connsiteY1"/>
              </a:cxn>
              <a:cxn ang="0">
                <a:pos x="connsiteX2" y="connsiteY2"/>
              </a:cxn>
              <a:cxn ang="0">
                <a:pos x="connsiteX3" y="connsiteY3"/>
              </a:cxn>
            </a:cxnLst>
            <a:rect l="l" t="t" r="r" b="b"/>
            <a:pathLst>
              <a:path w="12192000" h="6129338">
                <a:moveTo>
                  <a:pt x="0" y="0"/>
                </a:moveTo>
                <a:lnTo>
                  <a:pt x="12192000" y="0"/>
                </a:lnTo>
                <a:lnTo>
                  <a:pt x="12192000" y="6129338"/>
                </a:lnTo>
                <a:lnTo>
                  <a:pt x="0" y="6129338"/>
                </a:lnTo>
                <a:close/>
              </a:path>
            </a:pathLst>
          </a:custGeom>
        </p:spPr>
      </p:pic>
      <p:sp>
        <p:nvSpPr>
          <p:cNvPr id="13" name="Rectangle 12">
            <a:extLst>
              <a:ext uri="{FF2B5EF4-FFF2-40B4-BE49-F238E27FC236}">
                <a16:creationId xmlns:a16="http://schemas.microsoft.com/office/drawing/2014/main" id="{DE5C5983-CD27-C6A1-BAC8-926B7A14A709}"/>
              </a:ext>
            </a:extLst>
          </p:cNvPr>
          <p:cNvSpPr/>
          <p:nvPr/>
        </p:nvSpPr>
        <p:spPr>
          <a:xfrm>
            <a:off x="0" y="0"/>
            <a:ext cx="12192000" cy="6129338"/>
          </a:xfrm>
          <a:prstGeom prst="rect">
            <a:avLst/>
          </a:prstGeom>
          <a:gradFill flip="none" rotWithShape="1">
            <a:gsLst>
              <a:gs pos="43000">
                <a:srgbClr val="2D728F">
                  <a:alpha val="81000"/>
                </a:srgbClr>
              </a:gs>
              <a:gs pos="81000">
                <a:srgbClr val="1B6280">
                  <a:alpha val="94000"/>
                </a:srgbClr>
              </a:gs>
              <a:gs pos="0">
                <a:schemeClr val="accent5">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92C70C-96E9-B7D7-3B94-314FAA9062B9}"/>
              </a:ext>
            </a:extLst>
          </p:cNvPr>
          <p:cNvSpPr/>
          <p:nvPr/>
        </p:nvSpPr>
        <p:spPr>
          <a:xfrm>
            <a:off x="4693286" y="22116"/>
            <a:ext cx="4119716" cy="11916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ID" sz="4800" b="1" dirty="0">
                <a:cs typeface="Arial" panose="020B0604020202020204" pitchFamily="34" charset="0"/>
              </a:rPr>
              <a:t>Reference</a:t>
            </a:r>
          </a:p>
        </p:txBody>
      </p:sp>
      <p:cxnSp>
        <p:nvCxnSpPr>
          <p:cNvPr id="87" name="Straight Connector 86">
            <a:extLst>
              <a:ext uri="{FF2B5EF4-FFF2-40B4-BE49-F238E27FC236}">
                <a16:creationId xmlns:a16="http://schemas.microsoft.com/office/drawing/2014/main" id="{645A19C3-A6B6-94BA-F6F0-F9773BE89E53}"/>
              </a:ext>
            </a:extLst>
          </p:cNvPr>
          <p:cNvCxnSpPr>
            <a:cxnSpLocks/>
          </p:cNvCxnSpPr>
          <p:nvPr/>
        </p:nvCxnSpPr>
        <p:spPr>
          <a:xfrm>
            <a:off x="503841" y="1339253"/>
            <a:ext cx="9697974"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8" name="Subtitle 176">
            <a:extLst>
              <a:ext uri="{FF2B5EF4-FFF2-40B4-BE49-F238E27FC236}">
                <a16:creationId xmlns:a16="http://schemas.microsoft.com/office/drawing/2014/main" id="{1546E235-F07A-BD15-3587-3BC92A1C5820}"/>
              </a:ext>
            </a:extLst>
          </p:cNvPr>
          <p:cNvSpPr txBox="1">
            <a:spLocks/>
          </p:cNvSpPr>
          <p:nvPr/>
        </p:nvSpPr>
        <p:spPr>
          <a:xfrm>
            <a:off x="903478" y="1621921"/>
            <a:ext cx="5446054" cy="193258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481330" lvl="0" algn="l">
              <a:lnSpc>
                <a:spcPct val="112000"/>
              </a:lnSpc>
              <a:spcAft>
                <a:spcPts val="20"/>
              </a:spcAft>
            </a:pPr>
            <a:r>
              <a:rPr lang="en-IN" sz="1400" dirty="0">
                <a:solidFill>
                  <a:schemeClr val="bg1"/>
                </a:solidFill>
                <a:effectLst/>
                <a:ea typeface="Times New Roman" panose="02020603050405020304" pitchFamily="18" charset="0"/>
              </a:rPr>
              <a:t>Ralph </a:t>
            </a:r>
            <a:r>
              <a:rPr lang="en-IN" sz="1400" dirty="0" err="1">
                <a:solidFill>
                  <a:schemeClr val="bg1"/>
                </a:solidFill>
                <a:effectLst/>
                <a:ea typeface="Times New Roman" panose="02020603050405020304" pitchFamily="18" charset="0"/>
              </a:rPr>
              <a:t>Moseley,M.T.SAVALIYA</a:t>
            </a:r>
            <a:r>
              <a:rPr lang="en-IN" sz="1400" dirty="0">
                <a:solidFill>
                  <a:schemeClr val="bg1"/>
                </a:solidFill>
                <a:effectLst/>
                <a:ea typeface="Times New Roman" panose="02020603050405020304" pitchFamily="18" charset="0"/>
              </a:rPr>
              <a:t>-Wiley India(2011).DEVELOPING WEB APPLICATION,ISBN:978-81-265-2960-5.</a:t>
            </a:r>
          </a:p>
          <a:p>
            <a:pPr marR="481330" lvl="0" algn="l">
              <a:lnSpc>
                <a:spcPct val="112000"/>
              </a:lnSpc>
              <a:spcAft>
                <a:spcPts val="20"/>
              </a:spcAft>
            </a:pPr>
            <a:r>
              <a:rPr lang="en-IN" sz="1400" dirty="0">
                <a:solidFill>
                  <a:schemeClr val="bg1"/>
                </a:solidFill>
                <a:effectLst/>
                <a:ea typeface="Times New Roman" panose="02020603050405020304" pitchFamily="18" charset="0"/>
              </a:rPr>
              <a:t> </a:t>
            </a:r>
            <a:r>
              <a:rPr lang="en-IN" sz="1400" dirty="0" err="1">
                <a:solidFill>
                  <a:schemeClr val="bg1"/>
                </a:solidFill>
                <a:effectLst/>
                <a:ea typeface="Times New Roman" panose="02020603050405020304" pitchFamily="18" charset="0"/>
              </a:rPr>
              <a:t>Kogent</a:t>
            </a:r>
            <a:r>
              <a:rPr lang="en-IN" sz="1400" dirty="0">
                <a:solidFill>
                  <a:schemeClr val="bg1"/>
                </a:solidFill>
                <a:effectLst/>
                <a:ea typeface="Times New Roman" panose="02020603050405020304" pitchFamily="18" charset="0"/>
              </a:rPr>
              <a:t> Learn Solutions Inc-Black Book(2013).WEB TECHNOLOGIES(</a:t>
            </a:r>
            <a:r>
              <a:rPr lang="en-IN" sz="1400" dirty="0" err="1">
                <a:solidFill>
                  <a:schemeClr val="bg1"/>
                </a:solidFill>
                <a:effectLst/>
                <a:ea typeface="Times New Roman" panose="02020603050405020304" pitchFamily="18" charset="0"/>
              </a:rPr>
              <a:t>HTML,JavaScript,PHP,Java,JSP,XML</a:t>
            </a:r>
            <a:r>
              <a:rPr lang="en-IN" sz="1400" dirty="0">
                <a:solidFill>
                  <a:schemeClr val="bg1"/>
                </a:solidFill>
                <a:effectLst/>
                <a:ea typeface="Times New Roman" panose="02020603050405020304" pitchFamily="18" charset="0"/>
              </a:rPr>
              <a:t> and AJAX),ISBN:978-81-7722-997-4. </a:t>
            </a:r>
          </a:p>
          <a:p>
            <a:pPr marR="481330" lvl="0" algn="l">
              <a:lnSpc>
                <a:spcPct val="112000"/>
              </a:lnSpc>
              <a:spcAft>
                <a:spcPts val="20"/>
              </a:spcAft>
            </a:pPr>
            <a:r>
              <a:rPr lang="en-IN" sz="1400" dirty="0">
                <a:solidFill>
                  <a:schemeClr val="bg1"/>
                </a:solidFill>
                <a:effectLst/>
                <a:ea typeface="Times New Roman" panose="02020603050405020304" pitchFamily="18" charset="0"/>
              </a:rPr>
              <a:t> Thomas A. Powell-Tata </a:t>
            </a:r>
            <a:r>
              <a:rPr lang="en-IN" sz="1400" dirty="0" err="1">
                <a:solidFill>
                  <a:schemeClr val="bg1"/>
                </a:solidFill>
                <a:effectLst/>
                <a:ea typeface="Times New Roman" panose="02020603050405020304" pitchFamily="18" charset="0"/>
              </a:rPr>
              <a:t>MeGraw</a:t>
            </a:r>
            <a:r>
              <a:rPr lang="en-IN" sz="1400" dirty="0">
                <a:solidFill>
                  <a:schemeClr val="bg1"/>
                </a:solidFill>
                <a:effectLst/>
                <a:ea typeface="Times New Roman" panose="02020603050405020304" pitchFamily="18" charset="0"/>
              </a:rPr>
              <a:t>-Hill Edition(2003).WEB DESIGN,ISBN-13: 978-0-07-058252-1,ISBN-10: 0-07-058252-1.</a:t>
            </a:r>
          </a:p>
        </p:txBody>
      </p:sp>
      <p:sp>
        <p:nvSpPr>
          <p:cNvPr id="89" name="Subtitle 176">
            <a:extLst>
              <a:ext uri="{FF2B5EF4-FFF2-40B4-BE49-F238E27FC236}">
                <a16:creationId xmlns:a16="http://schemas.microsoft.com/office/drawing/2014/main" id="{7B492A2B-6408-D2B1-DC9A-C9304EB808FB}"/>
              </a:ext>
            </a:extLst>
          </p:cNvPr>
          <p:cNvSpPr txBox="1">
            <a:spLocks/>
          </p:cNvSpPr>
          <p:nvPr/>
        </p:nvSpPr>
        <p:spPr>
          <a:xfrm>
            <a:off x="6227631" y="1620460"/>
            <a:ext cx="4728882" cy="193258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481330" lvl="0" algn="l">
              <a:lnSpc>
                <a:spcPct val="112000"/>
              </a:lnSpc>
              <a:spcAft>
                <a:spcPts val="20"/>
              </a:spcAft>
            </a:pPr>
            <a:r>
              <a:rPr lang="en-IN" sz="1400" dirty="0">
                <a:solidFill>
                  <a:schemeClr val="bg1"/>
                </a:solidFill>
                <a:effectLst/>
                <a:ea typeface="Times New Roman" panose="02020603050405020304" pitchFamily="18" charset="0"/>
              </a:rPr>
              <a:t>International Conference on Information Technology and Travel &amp; Tourism. 2004, 165(65): 242-251. </a:t>
            </a:r>
          </a:p>
          <a:p>
            <a:pPr marR="481330" lvl="0" algn="l">
              <a:lnSpc>
                <a:spcPct val="112000"/>
              </a:lnSpc>
              <a:spcAft>
                <a:spcPts val="20"/>
              </a:spcAft>
            </a:pPr>
            <a:r>
              <a:rPr lang="en-IN" sz="1400" dirty="0">
                <a:solidFill>
                  <a:schemeClr val="bg1"/>
                </a:solidFill>
                <a:effectLst/>
                <a:ea typeface="Times New Roman" panose="02020603050405020304" pitchFamily="18" charset="0"/>
              </a:rPr>
              <a:t>Kim, W. G, &amp; Lee, H. Y. Comparison of web service quality between online travel agencies and online travel </a:t>
            </a:r>
          </a:p>
          <a:p>
            <a:pPr marR="481330" lvl="0" algn="l">
              <a:lnSpc>
                <a:spcPct val="112000"/>
              </a:lnSpc>
              <a:spcAft>
                <a:spcPts val="20"/>
              </a:spcAft>
            </a:pPr>
            <a:r>
              <a:rPr lang="en-IN" sz="1400" dirty="0">
                <a:solidFill>
                  <a:schemeClr val="bg1"/>
                </a:solidFill>
                <a:effectLst/>
                <a:ea typeface="Times New Roman" panose="02020603050405020304" pitchFamily="18" charset="0"/>
              </a:rPr>
              <a:t>suppliers. Journal of Travel &amp; Tourism Marketing, 2004, 17(2): 105-116 </a:t>
            </a:r>
          </a:p>
        </p:txBody>
      </p:sp>
      <p:sp>
        <p:nvSpPr>
          <p:cNvPr id="91" name="Rectangle: Single Corner Rounded 90">
            <a:extLst>
              <a:ext uri="{FF2B5EF4-FFF2-40B4-BE49-F238E27FC236}">
                <a16:creationId xmlns:a16="http://schemas.microsoft.com/office/drawing/2014/main" id="{6DD20729-65A6-0121-0A86-E3E220A0D5B5}"/>
              </a:ext>
            </a:extLst>
          </p:cNvPr>
          <p:cNvSpPr/>
          <p:nvPr/>
        </p:nvSpPr>
        <p:spPr>
          <a:xfrm rot="10800000" flipV="1">
            <a:off x="159480" y="3900994"/>
            <a:ext cx="12032519" cy="2228341"/>
          </a:xfrm>
          <a:prstGeom prst="round1Rect">
            <a:avLst>
              <a:gd name="adj" fmla="val 31034"/>
            </a:avLst>
          </a:prstGeom>
          <a:gradFill flip="none" rotWithShape="1">
            <a:gsLst>
              <a:gs pos="39000">
                <a:srgbClr val="D5204B"/>
              </a:gs>
              <a:gs pos="0">
                <a:srgbClr val="5A0E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Subtitle 176">
            <a:extLst>
              <a:ext uri="{FF2B5EF4-FFF2-40B4-BE49-F238E27FC236}">
                <a16:creationId xmlns:a16="http://schemas.microsoft.com/office/drawing/2014/main" id="{DAC5DF15-6E64-AF58-70D7-50C010797595}"/>
              </a:ext>
            </a:extLst>
          </p:cNvPr>
          <p:cNvSpPr txBox="1">
            <a:spLocks/>
          </p:cNvSpPr>
          <p:nvPr/>
        </p:nvSpPr>
        <p:spPr>
          <a:xfrm>
            <a:off x="1465016" y="4372046"/>
            <a:ext cx="2072506" cy="1381917"/>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0"/>
              </a:spcAft>
              <a:buClrTx/>
              <a:buSzTx/>
              <a:tabLst/>
              <a:defRPr/>
            </a:pPr>
            <a:r>
              <a:rPr lang="en-ID" sz="1800" i="1" dirty="0">
                <a:solidFill>
                  <a:schemeClr val="bg1"/>
                </a:solidFill>
                <a:cs typeface="Arial" panose="020B0604020202020204" pitchFamily="34" charset="0"/>
              </a:rPr>
              <a:t>W3Schools</a:t>
            </a:r>
            <a:endParaRPr kumimoji="0" lang="en-ID" sz="1800" b="0" i="1" u="none" strike="noStrike" kern="1200" cap="none" spc="0" normalizeH="0" baseline="0" noProof="0" dirty="0">
              <a:ln>
                <a:noFill/>
              </a:ln>
              <a:solidFill>
                <a:schemeClr val="bg1"/>
              </a:solidFill>
              <a:effectLst/>
              <a:uLnTx/>
              <a:uFillTx/>
              <a:ea typeface="+mn-ea"/>
              <a:cs typeface="Arial" panose="020B0604020202020204" pitchFamily="34" charset="0"/>
            </a:endParaRPr>
          </a:p>
          <a:p>
            <a:pPr marR="0" lvl="0" algn="l" defTabSz="914400" rtl="0" eaLnBrk="1" fontAlgn="auto" latinLnBrk="0" hangingPunct="1">
              <a:lnSpc>
                <a:spcPct val="90000"/>
              </a:lnSpc>
              <a:spcBef>
                <a:spcPts val="1000"/>
              </a:spcBef>
              <a:spcAft>
                <a:spcPts val="0"/>
              </a:spcAft>
              <a:buClrTx/>
              <a:buSzTx/>
              <a:tabLst/>
              <a:defRPr/>
            </a:pPr>
            <a:r>
              <a:rPr lang="en-ID" sz="1800" i="1" dirty="0">
                <a:solidFill>
                  <a:schemeClr val="bg1"/>
                </a:solidFill>
                <a:cs typeface="Arial" panose="020B0604020202020204" pitchFamily="34" charset="0"/>
              </a:rPr>
              <a:t>Wikipedia</a:t>
            </a:r>
          </a:p>
          <a:p>
            <a:pPr marR="0" lvl="0" algn="l" defTabSz="914400" rtl="0" eaLnBrk="1" fontAlgn="auto" latinLnBrk="0" hangingPunct="1">
              <a:lnSpc>
                <a:spcPct val="90000"/>
              </a:lnSpc>
              <a:spcBef>
                <a:spcPts val="1000"/>
              </a:spcBef>
              <a:spcAft>
                <a:spcPts val="0"/>
              </a:spcAft>
              <a:buClrTx/>
              <a:buSzTx/>
              <a:tabLst/>
              <a:defRPr/>
            </a:pPr>
            <a:r>
              <a:rPr kumimoji="0" lang="en-ID" sz="1800" b="0" i="1" u="none" strike="noStrike" kern="1200" cap="none" spc="0" normalizeH="0" baseline="0" noProof="0" dirty="0" err="1">
                <a:ln>
                  <a:noFill/>
                </a:ln>
                <a:solidFill>
                  <a:schemeClr val="bg1"/>
                </a:solidFill>
                <a:effectLst/>
                <a:uLnTx/>
                <a:uFillTx/>
                <a:ea typeface="+mn-ea"/>
                <a:cs typeface="Arial" panose="020B0604020202020204" pitchFamily="34" charset="0"/>
              </a:rPr>
              <a:t>GeekofGeeks</a:t>
            </a:r>
            <a:endParaRPr kumimoji="0" lang="en-ID" sz="1800" b="0" i="1" u="none" strike="noStrike" kern="1200" cap="none" spc="0" normalizeH="0" baseline="0" noProof="0" dirty="0">
              <a:ln>
                <a:noFill/>
              </a:ln>
              <a:solidFill>
                <a:schemeClr val="bg1"/>
              </a:solidFill>
              <a:effectLst/>
              <a:uLnTx/>
              <a:uFillTx/>
              <a:ea typeface="+mn-ea"/>
              <a:cs typeface="Arial" panose="020B0604020202020204" pitchFamily="34" charset="0"/>
            </a:endParaRPr>
          </a:p>
          <a:p>
            <a:pPr marR="0" lvl="0" algn="l" defTabSz="914400" rtl="0" eaLnBrk="1" fontAlgn="auto" latinLnBrk="0" hangingPunct="1">
              <a:lnSpc>
                <a:spcPct val="90000"/>
              </a:lnSpc>
              <a:spcBef>
                <a:spcPts val="1000"/>
              </a:spcBef>
              <a:spcAft>
                <a:spcPts val="0"/>
              </a:spcAft>
              <a:buClrTx/>
              <a:buSzTx/>
              <a:tabLst/>
              <a:defRPr/>
            </a:pPr>
            <a:r>
              <a:rPr lang="en-ID" sz="1800" i="1" dirty="0">
                <a:solidFill>
                  <a:schemeClr val="bg1"/>
                </a:solidFill>
                <a:cs typeface="Arial" panose="020B0604020202020204" pitchFamily="34" charset="0"/>
              </a:rPr>
              <a:t>Google</a:t>
            </a:r>
            <a:endParaRPr kumimoji="0" lang="en-ID" sz="1800" b="0" i="1"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98" name="Subtitle 176">
            <a:extLst>
              <a:ext uri="{FF2B5EF4-FFF2-40B4-BE49-F238E27FC236}">
                <a16:creationId xmlns:a16="http://schemas.microsoft.com/office/drawing/2014/main" id="{C30278CC-0D8F-3BFB-6655-AA9389A88742}"/>
              </a:ext>
            </a:extLst>
          </p:cNvPr>
          <p:cNvSpPr txBox="1">
            <a:spLocks/>
          </p:cNvSpPr>
          <p:nvPr/>
        </p:nvSpPr>
        <p:spPr>
          <a:xfrm>
            <a:off x="5126615" y="4319723"/>
            <a:ext cx="7065381" cy="1486561"/>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481330" lvl="0" algn="l">
              <a:lnSpc>
                <a:spcPct val="112000"/>
              </a:lnSpc>
              <a:spcAft>
                <a:spcPts val="20"/>
              </a:spcAft>
            </a:pPr>
            <a:r>
              <a:rPr lang="en-IN" sz="1200" dirty="0" err="1">
                <a:solidFill>
                  <a:schemeClr val="bg1"/>
                </a:solidFill>
                <a:effectLst/>
                <a:ea typeface="Times New Roman" panose="02020603050405020304" pitchFamily="18" charset="0"/>
              </a:rPr>
              <a:t>Kaynama</a:t>
            </a:r>
            <a:r>
              <a:rPr lang="en-IN" sz="1200" dirty="0">
                <a:solidFill>
                  <a:schemeClr val="bg1"/>
                </a:solidFill>
                <a:effectLst/>
                <a:ea typeface="Times New Roman" panose="02020603050405020304" pitchFamily="18" charset="0"/>
              </a:rPr>
              <a:t>, S.A., &amp; Black, C. I. A proposal to assess the service quality of online travel agencies: an exploratory study. Journal of Professional Service Marketing, 2000, 21(1): 63-89. </a:t>
            </a:r>
          </a:p>
          <a:p>
            <a:pPr marR="481330" lvl="0" algn="l">
              <a:lnSpc>
                <a:spcPct val="112000"/>
              </a:lnSpc>
              <a:spcAft>
                <a:spcPts val="20"/>
              </a:spcAft>
            </a:pPr>
            <a:r>
              <a:rPr lang="en-IN" sz="1200" dirty="0">
                <a:solidFill>
                  <a:schemeClr val="bg1"/>
                </a:solidFill>
                <a:effectLst/>
                <a:ea typeface="Times New Roman" panose="02020603050405020304" pitchFamily="18" charset="0"/>
              </a:rPr>
              <a:t>Law, R., &amp; Leung, R. A study of airline’s online reservation service on the Internet. Journal of Travel Research, </a:t>
            </a:r>
          </a:p>
          <a:p>
            <a:pPr marR="481330" lvl="0" algn="l">
              <a:lnSpc>
                <a:spcPct val="112000"/>
              </a:lnSpc>
              <a:spcAft>
                <a:spcPts val="20"/>
              </a:spcAft>
            </a:pPr>
            <a:r>
              <a:rPr lang="en-IN" sz="1200" dirty="0">
                <a:solidFill>
                  <a:schemeClr val="bg1"/>
                </a:solidFill>
                <a:effectLst/>
                <a:ea typeface="Times New Roman" panose="02020603050405020304" pitchFamily="18" charset="0"/>
              </a:rPr>
              <a:t>Mills, J. E., &amp; Morrison, A. M. Measuring customer satisfaction with online travel. In Proceedings of the 11th </a:t>
            </a:r>
          </a:p>
        </p:txBody>
      </p:sp>
      <p:cxnSp>
        <p:nvCxnSpPr>
          <p:cNvPr id="132" name="Straight Connector 131">
            <a:extLst>
              <a:ext uri="{FF2B5EF4-FFF2-40B4-BE49-F238E27FC236}">
                <a16:creationId xmlns:a16="http://schemas.microsoft.com/office/drawing/2014/main" id="{B235E769-5C0B-EF12-8E1C-88BF8F176762}"/>
              </a:ext>
            </a:extLst>
          </p:cNvPr>
          <p:cNvCxnSpPr>
            <a:cxnSpLocks/>
          </p:cNvCxnSpPr>
          <p:nvPr/>
        </p:nvCxnSpPr>
        <p:spPr>
          <a:xfrm>
            <a:off x="4786143" y="4110364"/>
            <a:ext cx="0" cy="180960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19FDDB42-9607-233F-567C-11AF74F6EB14}"/>
              </a:ext>
            </a:extLst>
          </p:cNvPr>
          <p:cNvCxnSpPr>
            <a:cxnSpLocks/>
          </p:cNvCxnSpPr>
          <p:nvPr/>
        </p:nvCxnSpPr>
        <p:spPr>
          <a:xfrm>
            <a:off x="5906731" y="1619397"/>
            <a:ext cx="0" cy="180960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CA8D71E-4418-1751-B283-67B21672C4FB}"/>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grpSp>
        <p:nvGrpSpPr>
          <p:cNvPr id="4" name="Group 3">
            <a:extLst>
              <a:ext uri="{FF2B5EF4-FFF2-40B4-BE49-F238E27FC236}">
                <a16:creationId xmlns:a16="http://schemas.microsoft.com/office/drawing/2014/main" id="{ECD64762-F351-D461-092E-DDCEF22C0BF9}"/>
              </a:ext>
            </a:extLst>
          </p:cNvPr>
          <p:cNvGrpSpPr/>
          <p:nvPr/>
        </p:nvGrpSpPr>
        <p:grpSpPr>
          <a:xfrm>
            <a:off x="407987" y="208802"/>
            <a:ext cx="1034251" cy="941238"/>
            <a:chOff x="645658" y="2456893"/>
            <a:chExt cx="613064" cy="613064"/>
          </a:xfrm>
        </p:grpSpPr>
        <p:sp>
          <p:nvSpPr>
            <p:cNvPr id="5" name="Oval 4">
              <a:extLst>
                <a:ext uri="{FF2B5EF4-FFF2-40B4-BE49-F238E27FC236}">
                  <a16:creationId xmlns:a16="http://schemas.microsoft.com/office/drawing/2014/main" id="{12674D77-F2FF-4311-862B-305B6A78957F}"/>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B9B75B3B-EE14-965B-4EF8-C8784A8FA134}"/>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13</a:t>
              </a:r>
            </a:p>
          </p:txBody>
        </p:sp>
      </p:grpSp>
    </p:spTree>
    <p:extLst>
      <p:ext uri="{BB962C8B-B14F-4D97-AF65-F5344CB8AC3E}">
        <p14:creationId xmlns:p14="http://schemas.microsoft.com/office/powerpoint/2010/main" val="35897452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3568"/>
          <a:stretch/>
        </p:blipFill>
        <p:spPr>
          <a:xfrm>
            <a:off x="0" y="3428999"/>
            <a:ext cx="12192000" cy="3428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3428998"/>
            <a:ext cx="12192000" cy="3429000"/>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28</a:t>
            </a:fld>
            <a:endParaRPr lang="en-US" sz="1000" b="1" dirty="0">
              <a:solidFill>
                <a:schemeClr val="bg1"/>
              </a:solidFill>
            </a:endParaRPr>
          </a:p>
        </p:txBody>
      </p:sp>
      <p:sp>
        <p:nvSpPr>
          <p:cNvPr id="3" name="Rectangle 2">
            <a:extLst>
              <a:ext uri="{FF2B5EF4-FFF2-40B4-BE49-F238E27FC236}">
                <a16:creationId xmlns:a16="http://schemas.microsoft.com/office/drawing/2014/main" id="{D2D4C921-0312-40B2-7FBF-3CFCBF66AA39}"/>
              </a:ext>
            </a:extLst>
          </p:cNvPr>
          <p:cNvSpPr/>
          <p:nvPr/>
        </p:nvSpPr>
        <p:spPr>
          <a:xfrm>
            <a:off x="3104366" y="2193074"/>
            <a:ext cx="5983268" cy="2471850"/>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Calibri" panose="020F0502020204030204"/>
                <a:ea typeface="+mn-ea"/>
                <a:cs typeface="+mn-cs"/>
              </a:rPr>
              <a:t>THANK YOU</a:t>
            </a:r>
          </a:p>
        </p:txBody>
      </p:sp>
    </p:spTree>
    <p:extLst>
      <p:ext uri="{BB962C8B-B14F-4D97-AF65-F5344CB8AC3E}">
        <p14:creationId xmlns:p14="http://schemas.microsoft.com/office/powerpoint/2010/main" val="1870418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an wearing backpack">
            <a:extLst>
              <a:ext uri="{FF2B5EF4-FFF2-40B4-BE49-F238E27FC236}">
                <a16:creationId xmlns:a16="http://schemas.microsoft.com/office/drawing/2014/main" id="{C8D3036F-E44D-1F34-E720-EA87C155479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
            <a:ext cx="3848669" cy="6129337"/>
          </a:xfrm>
          <a:prstGeom prst="rect">
            <a:avLst/>
          </a:prstGeom>
        </p:spPr>
      </p:pic>
      <p:sp>
        <p:nvSpPr>
          <p:cNvPr id="72" name="Rectangle 71">
            <a:extLst>
              <a:ext uri="{FF2B5EF4-FFF2-40B4-BE49-F238E27FC236}">
                <a16:creationId xmlns:a16="http://schemas.microsoft.com/office/drawing/2014/main" id="{96AEC81B-0A8D-779C-5D00-D9D4C62BFC9B}"/>
              </a:ext>
            </a:extLst>
          </p:cNvPr>
          <p:cNvSpPr/>
          <p:nvPr/>
        </p:nvSpPr>
        <p:spPr>
          <a:xfrm>
            <a:off x="0" y="0"/>
            <a:ext cx="3848669" cy="6129338"/>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5DF16468-97B7-242A-7A70-87D7CC777945}"/>
              </a:ext>
            </a:extLst>
          </p:cNvPr>
          <p:cNvSpPr/>
          <p:nvPr/>
        </p:nvSpPr>
        <p:spPr>
          <a:xfrm>
            <a:off x="1139623" y="4210766"/>
            <a:ext cx="3394197" cy="11916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US" sz="4800" b="1" dirty="0">
              <a:solidFill>
                <a:schemeClr val="bg1"/>
              </a:solidFill>
              <a:cs typeface="Calibri Light" panose="020F0302020204030204" pitchFamily="34" charset="0"/>
            </a:endParaRPr>
          </a:p>
        </p:txBody>
      </p:sp>
      <p:sp>
        <p:nvSpPr>
          <p:cNvPr id="98" name="Rectangle 97">
            <a:extLst>
              <a:ext uri="{FF2B5EF4-FFF2-40B4-BE49-F238E27FC236}">
                <a16:creationId xmlns:a16="http://schemas.microsoft.com/office/drawing/2014/main" id="{B956F253-C75D-053F-0429-4D8328B334DF}"/>
              </a:ext>
            </a:extLst>
          </p:cNvPr>
          <p:cNvSpPr/>
          <p:nvPr/>
        </p:nvSpPr>
        <p:spPr>
          <a:xfrm rot="5400000">
            <a:off x="3548673" y="885586"/>
            <a:ext cx="3287871"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101">
            <a:extLst>
              <a:ext uri="{FF2B5EF4-FFF2-40B4-BE49-F238E27FC236}">
                <a16:creationId xmlns:a16="http://schemas.microsoft.com/office/drawing/2014/main" id="{B455485F-37B0-3E62-F936-681ABFD88F1F}"/>
              </a:ext>
            </a:extLst>
          </p:cNvPr>
          <p:cNvSpPr/>
          <p:nvPr/>
        </p:nvSpPr>
        <p:spPr>
          <a:xfrm rot="5400000">
            <a:off x="5803144" y="1319488"/>
            <a:ext cx="4196959"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8246C991-AA33-CD27-4536-520A6FEAE369}"/>
              </a:ext>
            </a:extLst>
          </p:cNvPr>
          <p:cNvSpPr/>
          <p:nvPr/>
        </p:nvSpPr>
        <p:spPr>
          <a:xfrm rot="5400000">
            <a:off x="8894063" y="822381"/>
            <a:ext cx="3287871"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Group 105">
            <a:extLst>
              <a:ext uri="{FF2B5EF4-FFF2-40B4-BE49-F238E27FC236}">
                <a16:creationId xmlns:a16="http://schemas.microsoft.com/office/drawing/2014/main" id="{58F40FBE-938F-7C25-181F-E555DFCA4749}"/>
              </a:ext>
            </a:extLst>
          </p:cNvPr>
          <p:cNvGrpSpPr/>
          <p:nvPr/>
        </p:nvGrpSpPr>
        <p:grpSpPr>
          <a:xfrm>
            <a:off x="4894089" y="189459"/>
            <a:ext cx="613064" cy="613064"/>
            <a:chOff x="645658" y="2456893"/>
            <a:chExt cx="613064" cy="613064"/>
          </a:xfrm>
        </p:grpSpPr>
        <p:sp>
          <p:nvSpPr>
            <p:cNvPr id="108" name="Oval 107">
              <a:extLst>
                <a:ext uri="{FF2B5EF4-FFF2-40B4-BE49-F238E27FC236}">
                  <a16:creationId xmlns:a16="http://schemas.microsoft.com/office/drawing/2014/main" id="{77F150C9-7B7B-2394-7179-782F3ABD87F0}"/>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Oval 108">
              <a:extLst>
                <a:ext uri="{FF2B5EF4-FFF2-40B4-BE49-F238E27FC236}">
                  <a16:creationId xmlns:a16="http://schemas.microsoft.com/office/drawing/2014/main" id="{965094A6-94B2-6FAD-B959-25136ACA77C6}"/>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a:extLst>
              <a:ext uri="{FF2B5EF4-FFF2-40B4-BE49-F238E27FC236}">
                <a16:creationId xmlns:a16="http://schemas.microsoft.com/office/drawing/2014/main" id="{73133520-6D87-683B-69B0-A0225983B610}"/>
              </a:ext>
            </a:extLst>
          </p:cNvPr>
          <p:cNvGrpSpPr/>
          <p:nvPr/>
        </p:nvGrpSpPr>
        <p:grpSpPr>
          <a:xfrm>
            <a:off x="7595091" y="136107"/>
            <a:ext cx="613064" cy="613064"/>
            <a:chOff x="645658" y="2456893"/>
            <a:chExt cx="613064" cy="613064"/>
          </a:xfrm>
        </p:grpSpPr>
        <p:sp>
          <p:nvSpPr>
            <p:cNvPr id="131" name="Oval 130">
              <a:extLst>
                <a:ext uri="{FF2B5EF4-FFF2-40B4-BE49-F238E27FC236}">
                  <a16:creationId xmlns:a16="http://schemas.microsoft.com/office/drawing/2014/main" id="{96BD7E03-3562-B4D6-E0DA-16F74A7F0AF0}"/>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Oval 131">
              <a:extLst>
                <a:ext uri="{FF2B5EF4-FFF2-40B4-BE49-F238E27FC236}">
                  <a16:creationId xmlns:a16="http://schemas.microsoft.com/office/drawing/2014/main" id="{80FD5C6C-409F-5A47-6DEB-4B9EA1A6E552}"/>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E14C5C04-0622-F5F1-3720-6F0B33711BA4}"/>
              </a:ext>
            </a:extLst>
          </p:cNvPr>
          <p:cNvGrpSpPr/>
          <p:nvPr/>
        </p:nvGrpSpPr>
        <p:grpSpPr>
          <a:xfrm>
            <a:off x="10231466" y="163734"/>
            <a:ext cx="613064" cy="613064"/>
            <a:chOff x="645658" y="2456893"/>
            <a:chExt cx="613064" cy="613064"/>
          </a:xfrm>
        </p:grpSpPr>
        <p:sp>
          <p:nvSpPr>
            <p:cNvPr id="137" name="Oval 136">
              <a:extLst>
                <a:ext uri="{FF2B5EF4-FFF2-40B4-BE49-F238E27FC236}">
                  <a16:creationId xmlns:a16="http://schemas.microsoft.com/office/drawing/2014/main" id="{C142209D-4EC4-CA56-F805-07E11968D3C4}"/>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Oval 137">
              <a:extLst>
                <a:ext uri="{FF2B5EF4-FFF2-40B4-BE49-F238E27FC236}">
                  <a16:creationId xmlns:a16="http://schemas.microsoft.com/office/drawing/2014/main" id="{B1243726-FB4E-20D2-7F17-8952BE00F6CC}"/>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2" name="TextBox 191">
            <a:extLst>
              <a:ext uri="{FF2B5EF4-FFF2-40B4-BE49-F238E27FC236}">
                <a16:creationId xmlns:a16="http://schemas.microsoft.com/office/drawing/2014/main" id="{5956A806-A980-8297-2DB4-2179C5538675}"/>
              </a:ext>
            </a:extLst>
          </p:cNvPr>
          <p:cNvSpPr txBox="1"/>
          <p:nvPr/>
        </p:nvSpPr>
        <p:spPr>
          <a:xfrm>
            <a:off x="4448666" y="1140052"/>
            <a:ext cx="1596170" cy="400110"/>
          </a:xfrm>
          <a:prstGeom prst="rect">
            <a:avLst/>
          </a:prstGeom>
          <a:noFill/>
        </p:spPr>
        <p:txBody>
          <a:bodyPr wrap="square" rtlCol="0">
            <a:spAutoFit/>
          </a:bodyPr>
          <a:lstStyle/>
          <a:p>
            <a:pPr algn="ctr"/>
            <a:r>
              <a:rPr lang="en-US" sz="2000" b="1" dirty="0">
                <a:solidFill>
                  <a:srgbClr val="D5204B"/>
                </a:solidFill>
              </a:rPr>
              <a:t>Abstract</a:t>
            </a:r>
          </a:p>
        </p:txBody>
      </p:sp>
      <p:sp>
        <p:nvSpPr>
          <p:cNvPr id="3" name="Rectangle 2">
            <a:extLst>
              <a:ext uri="{FF2B5EF4-FFF2-40B4-BE49-F238E27FC236}">
                <a16:creationId xmlns:a16="http://schemas.microsoft.com/office/drawing/2014/main" id="{26795D97-80BD-0FEE-09A1-9A58F409C9B3}"/>
              </a:ext>
            </a:extLst>
          </p:cNvPr>
          <p:cNvSpPr/>
          <p:nvPr/>
        </p:nvSpPr>
        <p:spPr>
          <a:xfrm rot="5400000">
            <a:off x="3937563" y="1776604"/>
            <a:ext cx="2510091"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6F91C817-ABE4-0A2C-B65E-D3921D609E97}"/>
              </a:ext>
            </a:extLst>
          </p:cNvPr>
          <p:cNvGrpSpPr/>
          <p:nvPr/>
        </p:nvGrpSpPr>
        <p:grpSpPr>
          <a:xfrm>
            <a:off x="4924343" y="1445806"/>
            <a:ext cx="613064" cy="613064"/>
            <a:chOff x="645658" y="2456893"/>
            <a:chExt cx="613064" cy="613064"/>
          </a:xfrm>
        </p:grpSpPr>
        <p:sp>
          <p:nvSpPr>
            <p:cNvPr id="5" name="Oval 4">
              <a:extLst>
                <a:ext uri="{FF2B5EF4-FFF2-40B4-BE49-F238E27FC236}">
                  <a16:creationId xmlns:a16="http://schemas.microsoft.com/office/drawing/2014/main" id="{EC16FD56-B638-4451-6BF6-BD1794F8C3D2}"/>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E4575D89-E22F-462A-7F67-E885D268CAF6}"/>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877CDCA7-18E7-D7D1-5AD9-7EE482E3A03F}"/>
              </a:ext>
            </a:extLst>
          </p:cNvPr>
          <p:cNvSpPr/>
          <p:nvPr/>
        </p:nvSpPr>
        <p:spPr>
          <a:xfrm rot="5400000">
            <a:off x="9282946" y="1759283"/>
            <a:ext cx="2510091"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1AB2801C-261B-9E0C-5B5F-0188DA66BF34}"/>
              </a:ext>
            </a:extLst>
          </p:cNvPr>
          <p:cNvGrpSpPr/>
          <p:nvPr/>
        </p:nvGrpSpPr>
        <p:grpSpPr>
          <a:xfrm>
            <a:off x="10248372" y="1441211"/>
            <a:ext cx="613064" cy="613064"/>
            <a:chOff x="645658" y="2456893"/>
            <a:chExt cx="613064" cy="613064"/>
          </a:xfrm>
        </p:grpSpPr>
        <p:sp>
          <p:nvSpPr>
            <p:cNvPr id="9" name="Oval 8">
              <a:extLst>
                <a:ext uri="{FF2B5EF4-FFF2-40B4-BE49-F238E27FC236}">
                  <a16:creationId xmlns:a16="http://schemas.microsoft.com/office/drawing/2014/main" id="{E0500C23-CD77-4B3C-71D6-6C5324D1C2FC}"/>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2353991E-7331-94F9-751F-E3597E39DDC4}"/>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7291CF89-1E4E-98F1-2F4F-7534D1F4E000}"/>
              </a:ext>
            </a:extLst>
          </p:cNvPr>
          <p:cNvSpPr/>
          <p:nvPr/>
        </p:nvSpPr>
        <p:spPr>
          <a:xfrm rot="5400000">
            <a:off x="6646574" y="1776602"/>
            <a:ext cx="2510094"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E4D48683-C599-EBD8-FE39-71F1B415D9DE}"/>
              </a:ext>
            </a:extLst>
          </p:cNvPr>
          <p:cNvGrpSpPr/>
          <p:nvPr/>
        </p:nvGrpSpPr>
        <p:grpSpPr>
          <a:xfrm>
            <a:off x="7595090" y="1445806"/>
            <a:ext cx="613064" cy="613064"/>
            <a:chOff x="645658" y="2456893"/>
            <a:chExt cx="613064" cy="613064"/>
          </a:xfrm>
        </p:grpSpPr>
        <p:sp>
          <p:nvSpPr>
            <p:cNvPr id="14" name="Oval 13">
              <a:extLst>
                <a:ext uri="{FF2B5EF4-FFF2-40B4-BE49-F238E27FC236}">
                  <a16:creationId xmlns:a16="http://schemas.microsoft.com/office/drawing/2014/main" id="{5344CEFB-4638-E25F-6B36-26F3B40A1D73}"/>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D5E46620-DFE7-5113-464B-75E06534A12B}"/>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a:extLst>
              <a:ext uri="{FF2B5EF4-FFF2-40B4-BE49-F238E27FC236}">
                <a16:creationId xmlns:a16="http://schemas.microsoft.com/office/drawing/2014/main" id="{1E9C71B8-7035-65CD-F21A-0EDE5C697530}"/>
              </a:ext>
            </a:extLst>
          </p:cNvPr>
          <p:cNvSpPr/>
          <p:nvPr/>
        </p:nvSpPr>
        <p:spPr>
          <a:xfrm rot="5400000">
            <a:off x="4409596" y="2577252"/>
            <a:ext cx="1556330"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972A6E7D-B0FF-2B6F-9434-9C15F86E2797}"/>
              </a:ext>
            </a:extLst>
          </p:cNvPr>
          <p:cNvGrpSpPr/>
          <p:nvPr/>
        </p:nvGrpSpPr>
        <p:grpSpPr>
          <a:xfrm>
            <a:off x="4900904" y="2721595"/>
            <a:ext cx="613064" cy="613064"/>
            <a:chOff x="645658" y="2456893"/>
            <a:chExt cx="613064" cy="613064"/>
          </a:xfrm>
        </p:grpSpPr>
        <p:sp>
          <p:nvSpPr>
            <p:cNvPr id="18" name="Oval 17">
              <a:extLst>
                <a:ext uri="{FF2B5EF4-FFF2-40B4-BE49-F238E27FC236}">
                  <a16:creationId xmlns:a16="http://schemas.microsoft.com/office/drawing/2014/main" id="{9BBBB037-043B-DC48-0C6E-32A30EED5843}"/>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5E03C896-47E3-7784-79A1-AA10BC55A561}"/>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Graphic 21" descr="Document">
            <a:extLst>
              <a:ext uri="{FF2B5EF4-FFF2-40B4-BE49-F238E27FC236}">
                <a16:creationId xmlns:a16="http://schemas.microsoft.com/office/drawing/2014/main" id="{326CC24C-3744-E52B-2451-BC7BE125DA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37999" y="838554"/>
            <a:ext cx="391851" cy="391851"/>
          </a:xfrm>
          <a:prstGeom prst="rect">
            <a:avLst/>
          </a:prstGeom>
        </p:spPr>
      </p:pic>
      <p:pic>
        <p:nvPicPr>
          <p:cNvPr id="24" name="Graphic 23" descr="Playbook">
            <a:extLst>
              <a:ext uri="{FF2B5EF4-FFF2-40B4-BE49-F238E27FC236}">
                <a16:creationId xmlns:a16="http://schemas.microsoft.com/office/drawing/2014/main" id="{73E34E0D-6B8B-5D81-4240-DD5BD5130D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57195" y="3309230"/>
            <a:ext cx="448664" cy="448664"/>
          </a:xfrm>
          <a:prstGeom prst="rect">
            <a:avLst/>
          </a:prstGeom>
        </p:spPr>
      </p:pic>
      <p:sp>
        <p:nvSpPr>
          <p:cNvPr id="27" name="Rectangle 26">
            <a:extLst>
              <a:ext uri="{FF2B5EF4-FFF2-40B4-BE49-F238E27FC236}">
                <a16:creationId xmlns:a16="http://schemas.microsoft.com/office/drawing/2014/main" id="{7FFA9EC8-7EB0-8646-4774-3ACAE5001716}"/>
              </a:ext>
            </a:extLst>
          </p:cNvPr>
          <p:cNvSpPr/>
          <p:nvPr/>
        </p:nvSpPr>
        <p:spPr>
          <a:xfrm rot="5400000">
            <a:off x="7124832" y="2569696"/>
            <a:ext cx="1553577"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7DAF4B6C-78D3-FCC1-970E-85C269572F4C}"/>
              </a:ext>
            </a:extLst>
          </p:cNvPr>
          <p:cNvGrpSpPr/>
          <p:nvPr/>
        </p:nvGrpSpPr>
        <p:grpSpPr>
          <a:xfrm>
            <a:off x="7596690" y="2731581"/>
            <a:ext cx="613064" cy="613064"/>
            <a:chOff x="645658" y="2456893"/>
            <a:chExt cx="613064" cy="613064"/>
          </a:xfrm>
        </p:grpSpPr>
        <p:sp>
          <p:nvSpPr>
            <p:cNvPr id="29" name="Oval 28">
              <a:extLst>
                <a:ext uri="{FF2B5EF4-FFF2-40B4-BE49-F238E27FC236}">
                  <a16:creationId xmlns:a16="http://schemas.microsoft.com/office/drawing/2014/main" id="{4C661448-F463-3059-5FB6-B1C9C5E228B1}"/>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4715FBA6-3BF0-9B6D-A6AA-0409ABE6E8B1}"/>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ectangle 30">
            <a:extLst>
              <a:ext uri="{FF2B5EF4-FFF2-40B4-BE49-F238E27FC236}">
                <a16:creationId xmlns:a16="http://schemas.microsoft.com/office/drawing/2014/main" id="{F8E1900A-2845-E5DD-94AD-BB7294A43E99}"/>
              </a:ext>
            </a:extLst>
          </p:cNvPr>
          <p:cNvSpPr/>
          <p:nvPr/>
        </p:nvSpPr>
        <p:spPr>
          <a:xfrm rot="5400000">
            <a:off x="9748689" y="2583945"/>
            <a:ext cx="1578606"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CFED4770-E79D-9B31-E918-B77332F4A6FD}"/>
              </a:ext>
            </a:extLst>
          </p:cNvPr>
          <p:cNvGrpSpPr/>
          <p:nvPr/>
        </p:nvGrpSpPr>
        <p:grpSpPr>
          <a:xfrm>
            <a:off x="10263174" y="2724953"/>
            <a:ext cx="613064" cy="613064"/>
            <a:chOff x="645658" y="2456893"/>
            <a:chExt cx="613064" cy="613064"/>
          </a:xfrm>
        </p:grpSpPr>
        <p:sp>
          <p:nvSpPr>
            <p:cNvPr id="33" name="Oval 32">
              <a:extLst>
                <a:ext uri="{FF2B5EF4-FFF2-40B4-BE49-F238E27FC236}">
                  <a16:creationId xmlns:a16="http://schemas.microsoft.com/office/drawing/2014/main" id="{7E116DFC-88D0-CA7B-D266-CD1F4A948A27}"/>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a:extLst>
                <a:ext uri="{FF2B5EF4-FFF2-40B4-BE49-F238E27FC236}">
                  <a16:creationId xmlns:a16="http://schemas.microsoft.com/office/drawing/2014/main" id="{613D14EB-E385-685E-1ACF-4262D4A7CDB0}"/>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TextBox 34">
            <a:extLst>
              <a:ext uri="{FF2B5EF4-FFF2-40B4-BE49-F238E27FC236}">
                <a16:creationId xmlns:a16="http://schemas.microsoft.com/office/drawing/2014/main" id="{126BC1BF-5E52-0EE9-A048-EE044D8AD7E2}"/>
              </a:ext>
            </a:extLst>
          </p:cNvPr>
          <p:cNvSpPr txBox="1"/>
          <p:nvPr/>
        </p:nvSpPr>
        <p:spPr>
          <a:xfrm>
            <a:off x="6770438" y="2404842"/>
            <a:ext cx="2198893" cy="400110"/>
          </a:xfrm>
          <a:prstGeom prst="rect">
            <a:avLst/>
          </a:prstGeom>
          <a:noFill/>
        </p:spPr>
        <p:txBody>
          <a:bodyPr wrap="square" rtlCol="0">
            <a:spAutoFit/>
          </a:bodyPr>
          <a:lstStyle/>
          <a:p>
            <a:pPr algn="ctr"/>
            <a:r>
              <a:rPr lang="en-US" sz="2000" b="1" dirty="0">
                <a:solidFill>
                  <a:srgbClr val="D5204B"/>
                </a:solidFill>
              </a:rPr>
              <a:t>Objective</a:t>
            </a:r>
          </a:p>
        </p:txBody>
      </p:sp>
      <p:pic>
        <p:nvPicPr>
          <p:cNvPr id="38" name="Graphic 37" descr="Warning">
            <a:extLst>
              <a:ext uri="{FF2B5EF4-FFF2-40B4-BE49-F238E27FC236}">
                <a16:creationId xmlns:a16="http://schemas.microsoft.com/office/drawing/2014/main" id="{693605BF-68EE-716E-3EED-9B37C0CD2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67002" y="2110371"/>
            <a:ext cx="344270" cy="344270"/>
          </a:xfrm>
          <a:prstGeom prst="rect">
            <a:avLst/>
          </a:prstGeom>
        </p:spPr>
      </p:pic>
      <p:sp>
        <p:nvSpPr>
          <p:cNvPr id="42" name="TextBox 41">
            <a:extLst>
              <a:ext uri="{FF2B5EF4-FFF2-40B4-BE49-F238E27FC236}">
                <a16:creationId xmlns:a16="http://schemas.microsoft.com/office/drawing/2014/main" id="{741A40C4-B62A-0A00-8B6C-D15996AD05C3}"/>
              </a:ext>
            </a:extLst>
          </p:cNvPr>
          <p:cNvSpPr txBox="1"/>
          <p:nvPr/>
        </p:nvSpPr>
        <p:spPr>
          <a:xfrm>
            <a:off x="9470258" y="1117981"/>
            <a:ext cx="2198893" cy="400110"/>
          </a:xfrm>
          <a:prstGeom prst="rect">
            <a:avLst/>
          </a:prstGeom>
          <a:noFill/>
        </p:spPr>
        <p:txBody>
          <a:bodyPr wrap="square" rtlCol="0">
            <a:spAutoFit/>
          </a:bodyPr>
          <a:lstStyle/>
          <a:p>
            <a:pPr algn="ctr"/>
            <a:r>
              <a:rPr lang="en-US" sz="2000" b="1" dirty="0">
                <a:solidFill>
                  <a:srgbClr val="D5204B"/>
                </a:solidFill>
              </a:rPr>
              <a:t>Literature survey</a:t>
            </a:r>
          </a:p>
        </p:txBody>
      </p:sp>
      <p:pic>
        <p:nvPicPr>
          <p:cNvPr id="46" name="Graphic 45" descr="Person with idea">
            <a:extLst>
              <a:ext uri="{FF2B5EF4-FFF2-40B4-BE49-F238E27FC236}">
                <a16:creationId xmlns:a16="http://schemas.microsoft.com/office/drawing/2014/main" id="{C855398D-02A3-DD49-DD66-75E4140379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13007" y="2087986"/>
            <a:ext cx="401247" cy="401247"/>
          </a:xfrm>
          <a:prstGeom prst="rect">
            <a:avLst/>
          </a:prstGeom>
        </p:spPr>
      </p:pic>
      <p:sp>
        <p:nvSpPr>
          <p:cNvPr id="47" name="TextBox 46">
            <a:extLst>
              <a:ext uri="{FF2B5EF4-FFF2-40B4-BE49-F238E27FC236}">
                <a16:creationId xmlns:a16="http://schemas.microsoft.com/office/drawing/2014/main" id="{2645D7C6-48DF-8997-916C-B836D38A4026}"/>
              </a:ext>
            </a:extLst>
          </p:cNvPr>
          <p:cNvSpPr txBox="1"/>
          <p:nvPr/>
        </p:nvSpPr>
        <p:spPr>
          <a:xfrm>
            <a:off x="9534138" y="2380575"/>
            <a:ext cx="2198893" cy="400110"/>
          </a:xfrm>
          <a:prstGeom prst="rect">
            <a:avLst/>
          </a:prstGeom>
          <a:noFill/>
        </p:spPr>
        <p:txBody>
          <a:bodyPr wrap="square" rtlCol="0">
            <a:spAutoFit/>
          </a:bodyPr>
          <a:lstStyle/>
          <a:p>
            <a:pPr algn="ctr"/>
            <a:r>
              <a:rPr lang="en-US" sz="2000" b="1" dirty="0">
                <a:solidFill>
                  <a:schemeClr val="bg1"/>
                </a:solidFill>
              </a:rPr>
              <a:t>Proposed work</a:t>
            </a:r>
          </a:p>
        </p:txBody>
      </p:sp>
      <p:pic>
        <p:nvPicPr>
          <p:cNvPr id="49" name="Graphic 48" descr="Checklist">
            <a:extLst>
              <a:ext uri="{FF2B5EF4-FFF2-40B4-BE49-F238E27FC236}">
                <a16:creationId xmlns:a16="http://schemas.microsoft.com/office/drawing/2014/main" id="{D5409048-4090-ACD0-7D48-D1EABC004EB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81791" y="2077863"/>
            <a:ext cx="375831" cy="375831"/>
          </a:xfrm>
          <a:prstGeom prst="rect">
            <a:avLst/>
          </a:prstGeom>
        </p:spPr>
      </p:pic>
      <p:pic>
        <p:nvPicPr>
          <p:cNvPr id="51" name="Graphic 50" descr="Clipboard">
            <a:extLst>
              <a:ext uri="{FF2B5EF4-FFF2-40B4-BE49-F238E27FC236}">
                <a16:creationId xmlns:a16="http://schemas.microsoft.com/office/drawing/2014/main" id="{4FABC31D-3270-DDF0-7AD1-A68168D4D30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4800" y="1161220"/>
            <a:ext cx="3956051" cy="3764246"/>
          </a:xfrm>
          <a:prstGeom prst="rect">
            <a:avLst/>
          </a:prstGeom>
        </p:spPr>
      </p:pic>
      <p:sp>
        <p:nvSpPr>
          <p:cNvPr id="52" name="TextBox 51">
            <a:extLst>
              <a:ext uri="{FF2B5EF4-FFF2-40B4-BE49-F238E27FC236}">
                <a16:creationId xmlns:a16="http://schemas.microsoft.com/office/drawing/2014/main" id="{04D678D2-6FA3-B54C-ADD3-E76C4DE0B947}"/>
              </a:ext>
            </a:extLst>
          </p:cNvPr>
          <p:cNvSpPr txBox="1"/>
          <p:nvPr/>
        </p:nvSpPr>
        <p:spPr>
          <a:xfrm>
            <a:off x="1042582" y="2539285"/>
            <a:ext cx="1596170" cy="1384995"/>
          </a:xfrm>
          <a:prstGeom prst="rect">
            <a:avLst/>
          </a:prstGeom>
          <a:noFill/>
        </p:spPr>
        <p:txBody>
          <a:bodyPr wrap="square" rtlCol="0">
            <a:spAutoFit/>
          </a:bodyPr>
          <a:lstStyle/>
          <a:p>
            <a:pPr algn="ctr"/>
            <a:r>
              <a:rPr lang="en-US" sz="2800" b="1" dirty="0">
                <a:solidFill>
                  <a:schemeClr val="bg1"/>
                </a:solidFill>
              </a:rPr>
              <a:t>Table </a:t>
            </a:r>
          </a:p>
          <a:p>
            <a:pPr algn="ctr"/>
            <a:r>
              <a:rPr lang="en-US" sz="2800" b="1" dirty="0">
                <a:solidFill>
                  <a:schemeClr val="bg1"/>
                </a:solidFill>
              </a:rPr>
              <a:t>Of </a:t>
            </a:r>
          </a:p>
          <a:p>
            <a:pPr algn="ctr"/>
            <a:r>
              <a:rPr lang="en-US" sz="2800" b="1" dirty="0">
                <a:solidFill>
                  <a:schemeClr val="bg1"/>
                </a:solidFill>
              </a:rPr>
              <a:t>Content </a:t>
            </a:r>
          </a:p>
        </p:txBody>
      </p:sp>
      <p:sp>
        <p:nvSpPr>
          <p:cNvPr id="53" name="TextBox 52">
            <a:extLst>
              <a:ext uri="{FF2B5EF4-FFF2-40B4-BE49-F238E27FC236}">
                <a16:creationId xmlns:a16="http://schemas.microsoft.com/office/drawing/2014/main" id="{054419CE-3521-083D-9ABF-2C7E24A244AE}"/>
              </a:ext>
            </a:extLst>
          </p:cNvPr>
          <p:cNvSpPr txBox="1"/>
          <p:nvPr/>
        </p:nvSpPr>
        <p:spPr>
          <a:xfrm>
            <a:off x="9967703" y="3313685"/>
            <a:ext cx="1817070" cy="707886"/>
          </a:xfrm>
          <a:prstGeom prst="rect">
            <a:avLst/>
          </a:prstGeom>
          <a:noFill/>
        </p:spPr>
        <p:txBody>
          <a:bodyPr wrap="square" rtlCol="0">
            <a:spAutoFit/>
          </a:bodyPr>
          <a:lstStyle/>
          <a:p>
            <a:r>
              <a:rPr lang="en-US" sz="2000" b="1" dirty="0">
                <a:solidFill>
                  <a:srgbClr val="D5204B"/>
                </a:solidFill>
              </a:rPr>
              <a:t>Architecture &amp; UML diagrams</a:t>
            </a:r>
          </a:p>
        </p:txBody>
      </p:sp>
      <p:sp>
        <p:nvSpPr>
          <p:cNvPr id="54" name="TextBox 53">
            <a:extLst>
              <a:ext uri="{FF2B5EF4-FFF2-40B4-BE49-F238E27FC236}">
                <a16:creationId xmlns:a16="http://schemas.microsoft.com/office/drawing/2014/main" id="{7FF5FFD8-4250-3ABB-BF7D-17AAF68E4BA0}"/>
              </a:ext>
            </a:extLst>
          </p:cNvPr>
          <p:cNvSpPr txBox="1"/>
          <p:nvPr/>
        </p:nvSpPr>
        <p:spPr>
          <a:xfrm>
            <a:off x="6804074" y="3647606"/>
            <a:ext cx="2198893" cy="400110"/>
          </a:xfrm>
          <a:prstGeom prst="rect">
            <a:avLst/>
          </a:prstGeom>
          <a:noFill/>
        </p:spPr>
        <p:txBody>
          <a:bodyPr wrap="square" rtlCol="0">
            <a:spAutoFit/>
          </a:bodyPr>
          <a:lstStyle/>
          <a:p>
            <a:pPr algn="ctr"/>
            <a:r>
              <a:rPr lang="en-US" sz="2000" b="1" dirty="0">
                <a:solidFill>
                  <a:schemeClr val="bg1"/>
                </a:solidFill>
              </a:rPr>
              <a:t>Module</a:t>
            </a:r>
          </a:p>
        </p:txBody>
      </p:sp>
      <p:sp>
        <p:nvSpPr>
          <p:cNvPr id="56" name="Rectangle 55">
            <a:extLst>
              <a:ext uri="{FF2B5EF4-FFF2-40B4-BE49-F238E27FC236}">
                <a16:creationId xmlns:a16="http://schemas.microsoft.com/office/drawing/2014/main" id="{6540604A-A6EA-5ED5-57D2-5B2FF9BC1B5E}"/>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pic>
        <p:nvPicPr>
          <p:cNvPr id="58" name="Graphic 57" descr="Table">
            <a:extLst>
              <a:ext uri="{FF2B5EF4-FFF2-40B4-BE49-F238E27FC236}">
                <a16:creationId xmlns:a16="http://schemas.microsoft.com/office/drawing/2014/main" id="{7532C260-64DB-FF63-0DD8-F85C87F0369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634931" y="3290424"/>
            <a:ext cx="528397" cy="528397"/>
          </a:xfrm>
          <a:prstGeom prst="rect">
            <a:avLst/>
          </a:prstGeom>
        </p:spPr>
      </p:pic>
      <p:pic>
        <p:nvPicPr>
          <p:cNvPr id="60" name="Graphic 59" descr="Hierarchy">
            <a:extLst>
              <a:ext uri="{FF2B5EF4-FFF2-40B4-BE49-F238E27FC236}">
                <a16:creationId xmlns:a16="http://schemas.microsoft.com/office/drawing/2014/main" id="{776EBE56-BE91-45B9-AB39-2A122C3CB96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534138" y="3453514"/>
            <a:ext cx="401247" cy="401247"/>
          </a:xfrm>
          <a:prstGeom prst="rect">
            <a:avLst/>
          </a:prstGeom>
        </p:spPr>
      </p:pic>
      <p:sp>
        <p:nvSpPr>
          <p:cNvPr id="63" name="TextBox 62">
            <a:extLst>
              <a:ext uri="{FF2B5EF4-FFF2-40B4-BE49-F238E27FC236}">
                <a16:creationId xmlns:a16="http://schemas.microsoft.com/office/drawing/2014/main" id="{63D2BF0E-B1EE-9C9D-8B39-64E63DA2AC1D}"/>
              </a:ext>
            </a:extLst>
          </p:cNvPr>
          <p:cNvSpPr txBox="1"/>
          <p:nvPr/>
        </p:nvSpPr>
        <p:spPr>
          <a:xfrm>
            <a:off x="5030067" y="304161"/>
            <a:ext cx="350808" cy="400110"/>
          </a:xfrm>
          <a:prstGeom prst="rect">
            <a:avLst/>
          </a:prstGeom>
          <a:noFill/>
        </p:spPr>
        <p:txBody>
          <a:bodyPr wrap="square" rtlCol="0">
            <a:spAutoFit/>
          </a:bodyPr>
          <a:lstStyle/>
          <a:p>
            <a:pPr algn="ctr"/>
            <a:r>
              <a:rPr lang="en-US" sz="2000" b="1" dirty="0">
                <a:solidFill>
                  <a:schemeClr val="bg1"/>
                </a:solidFill>
              </a:rPr>
              <a:t>1</a:t>
            </a:r>
          </a:p>
        </p:txBody>
      </p:sp>
      <p:sp>
        <p:nvSpPr>
          <p:cNvPr id="64" name="TextBox 63">
            <a:extLst>
              <a:ext uri="{FF2B5EF4-FFF2-40B4-BE49-F238E27FC236}">
                <a16:creationId xmlns:a16="http://schemas.microsoft.com/office/drawing/2014/main" id="{415B6382-7A94-DC83-1C39-12D8AEF41BDF}"/>
              </a:ext>
            </a:extLst>
          </p:cNvPr>
          <p:cNvSpPr txBox="1"/>
          <p:nvPr/>
        </p:nvSpPr>
        <p:spPr>
          <a:xfrm>
            <a:off x="7462885" y="231916"/>
            <a:ext cx="913533" cy="400110"/>
          </a:xfrm>
          <a:prstGeom prst="rect">
            <a:avLst/>
          </a:prstGeom>
          <a:noFill/>
        </p:spPr>
        <p:txBody>
          <a:bodyPr wrap="square" rtlCol="0">
            <a:spAutoFit/>
          </a:bodyPr>
          <a:lstStyle/>
          <a:p>
            <a:pPr algn="ctr"/>
            <a:r>
              <a:rPr lang="en-US" sz="2000" b="1" dirty="0">
                <a:solidFill>
                  <a:schemeClr val="bg1"/>
                </a:solidFill>
              </a:rPr>
              <a:t>2</a:t>
            </a:r>
          </a:p>
        </p:txBody>
      </p:sp>
      <p:sp>
        <p:nvSpPr>
          <p:cNvPr id="65" name="TextBox 64">
            <a:extLst>
              <a:ext uri="{FF2B5EF4-FFF2-40B4-BE49-F238E27FC236}">
                <a16:creationId xmlns:a16="http://schemas.microsoft.com/office/drawing/2014/main" id="{EC886D2F-F9CD-2808-892B-044A7C80C0D4}"/>
              </a:ext>
            </a:extLst>
          </p:cNvPr>
          <p:cNvSpPr txBox="1"/>
          <p:nvPr/>
        </p:nvSpPr>
        <p:spPr>
          <a:xfrm>
            <a:off x="10098139" y="272910"/>
            <a:ext cx="913533" cy="400110"/>
          </a:xfrm>
          <a:prstGeom prst="rect">
            <a:avLst/>
          </a:prstGeom>
          <a:noFill/>
        </p:spPr>
        <p:txBody>
          <a:bodyPr wrap="square" rtlCol="0">
            <a:spAutoFit/>
          </a:bodyPr>
          <a:lstStyle/>
          <a:p>
            <a:pPr algn="ctr"/>
            <a:r>
              <a:rPr lang="en-US" sz="2000" b="1" dirty="0">
                <a:solidFill>
                  <a:schemeClr val="bg1"/>
                </a:solidFill>
              </a:rPr>
              <a:t>3</a:t>
            </a:r>
          </a:p>
        </p:txBody>
      </p:sp>
      <p:sp>
        <p:nvSpPr>
          <p:cNvPr id="66" name="TextBox 65">
            <a:extLst>
              <a:ext uri="{FF2B5EF4-FFF2-40B4-BE49-F238E27FC236}">
                <a16:creationId xmlns:a16="http://schemas.microsoft.com/office/drawing/2014/main" id="{91719B27-DA19-5921-8F98-1962E62DACA2}"/>
              </a:ext>
            </a:extLst>
          </p:cNvPr>
          <p:cNvSpPr txBox="1"/>
          <p:nvPr/>
        </p:nvSpPr>
        <p:spPr>
          <a:xfrm>
            <a:off x="4774108" y="1545694"/>
            <a:ext cx="913533" cy="400110"/>
          </a:xfrm>
          <a:prstGeom prst="rect">
            <a:avLst/>
          </a:prstGeom>
          <a:noFill/>
        </p:spPr>
        <p:txBody>
          <a:bodyPr wrap="square" rtlCol="0">
            <a:spAutoFit/>
          </a:bodyPr>
          <a:lstStyle/>
          <a:p>
            <a:pPr algn="ctr"/>
            <a:r>
              <a:rPr lang="en-US" sz="2000" b="1" dirty="0">
                <a:solidFill>
                  <a:schemeClr val="bg1"/>
                </a:solidFill>
              </a:rPr>
              <a:t>4</a:t>
            </a:r>
          </a:p>
        </p:txBody>
      </p:sp>
      <p:sp>
        <p:nvSpPr>
          <p:cNvPr id="67" name="TextBox 66">
            <a:extLst>
              <a:ext uri="{FF2B5EF4-FFF2-40B4-BE49-F238E27FC236}">
                <a16:creationId xmlns:a16="http://schemas.microsoft.com/office/drawing/2014/main" id="{7C19A9EE-87E5-55FE-6809-709BB5E413FD}"/>
              </a:ext>
            </a:extLst>
          </p:cNvPr>
          <p:cNvSpPr txBox="1"/>
          <p:nvPr/>
        </p:nvSpPr>
        <p:spPr>
          <a:xfrm>
            <a:off x="7462994" y="1558789"/>
            <a:ext cx="913533" cy="400110"/>
          </a:xfrm>
          <a:prstGeom prst="rect">
            <a:avLst/>
          </a:prstGeom>
          <a:noFill/>
        </p:spPr>
        <p:txBody>
          <a:bodyPr wrap="square" rtlCol="0">
            <a:spAutoFit/>
          </a:bodyPr>
          <a:lstStyle/>
          <a:p>
            <a:pPr algn="ctr"/>
            <a:r>
              <a:rPr lang="en-US" sz="2000" b="1" dirty="0">
                <a:solidFill>
                  <a:schemeClr val="bg1"/>
                </a:solidFill>
              </a:rPr>
              <a:t>5</a:t>
            </a:r>
          </a:p>
        </p:txBody>
      </p:sp>
      <p:sp>
        <p:nvSpPr>
          <p:cNvPr id="68" name="TextBox 67">
            <a:extLst>
              <a:ext uri="{FF2B5EF4-FFF2-40B4-BE49-F238E27FC236}">
                <a16:creationId xmlns:a16="http://schemas.microsoft.com/office/drawing/2014/main" id="{95C50BB3-8234-6A82-7652-C154747A6326}"/>
              </a:ext>
            </a:extLst>
          </p:cNvPr>
          <p:cNvSpPr txBox="1"/>
          <p:nvPr/>
        </p:nvSpPr>
        <p:spPr>
          <a:xfrm>
            <a:off x="10098139" y="1545694"/>
            <a:ext cx="913533" cy="400110"/>
          </a:xfrm>
          <a:prstGeom prst="rect">
            <a:avLst/>
          </a:prstGeom>
          <a:noFill/>
        </p:spPr>
        <p:txBody>
          <a:bodyPr wrap="square" rtlCol="0">
            <a:spAutoFit/>
          </a:bodyPr>
          <a:lstStyle/>
          <a:p>
            <a:pPr algn="ctr"/>
            <a:r>
              <a:rPr lang="en-US" sz="2000" b="1" dirty="0">
                <a:solidFill>
                  <a:schemeClr val="bg1"/>
                </a:solidFill>
              </a:rPr>
              <a:t>6</a:t>
            </a:r>
          </a:p>
        </p:txBody>
      </p:sp>
      <p:sp>
        <p:nvSpPr>
          <p:cNvPr id="69" name="TextBox 68">
            <a:extLst>
              <a:ext uri="{FF2B5EF4-FFF2-40B4-BE49-F238E27FC236}">
                <a16:creationId xmlns:a16="http://schemas.microsoft.com/office/drawing/2014/main" id="{C73E1A4E-CFB7-7851-B27D-FC7338125F63}"/>
              </a:ext>
            </a:extLst>
          </p:cNvPr>
          <p:cNvSpPr txBox="1"/>
          <p:nvPr/>
        </p:nvSpPr>
        <p:spPr>
          <a:xfrm>
            <a:off x="4760765" y="2821703"/>
            <a:ext cx="913533" cy="400110"/>
          </a:xfrm>
          <a:prstGeom prst="rect">
            <a:avLst/>
          </a:prstGeom>
          <a:noFill/>
        </p:spPr>
        <p:txBody>
          <a:bodyPr wrap="square" rtlCol="0">
            <a:spAutoFit/>
          </a:bodyPr>
          <a:lstStyle/>
          <a:p>
            <a:pPr algn="ctr"/>
            <a:r>
              <a:rPr lang="en-US" sz="2000" b="1" dirty="0">
                <a:solidFill>
                  <a:schemeClr val="bg1"/>
                </a:solidFill>
              </a:rPr>
              <a:t>7</a:t>
            </a:r>
          </a:p>
        </p:txBody>
      </p:sp>
      <p:sp>
        <p:nvSpPr>
          <p:cNvPr id="70" name="TextBox 69">
            <a:extLst>
              <a:ext uri="{FF2B5EF4-FFF2-40B4-BE49-F238E27FC236}">
                <a16:creationId xmlns:a16="http://schemas.microsoft.com/office/drawing/2014/main" id="{89775A2A-A55F-3C25-D2CC-0C2CB8EB3367}"/>
              </a:ext>
            </a:extLst>
          </p:cNvPr>
          <p:cNvSpPr txBox="1"/>
          <p:nvPr/>
        </p:nvSpPr>
        <p:spPr>
          <a:xfrm>
            <a:off x="7462097" y="2833554"/>
            <a:ext cx="913533" cy="400110"/>
          </a:xfrm>
          <a:prstGeom prst="rect">
            <a:avLst/>
          </a:prstGeom>
          <a:noFill/>
        </p:spPr>
        <p:txBody>
          <a:bodyPr wrap="square" rtlCol="0">
            <a:spAutoFit/>
          </a:bodyPr>
          <a:lstStyle/>
          <a:p>
            <a:pPr algn="ctr"/>
            <a:r>
              <a:rPr lang="en-US" sz="2000" b="1" dirty="0">
                <a:solidFill>
                  <a:schemeClr val="bg1"/>
                </a:solidFill>
              </a:rPr>
              <a:t>8</a:t>
            </a:r>
          </a:p>
        </p:txBody>
      </p:sp>
      <p:sp>
        <p:nvSpPr>
          <p:cNvPr id="71" name="TextBox 70">
            <a:extLst>
              <a:ext uri="{FF2B5EF4-FFF2-40B4-BE49-F238E27FC236}">
                <a16:creationId xmlns:a16="http://schemas.microsoft.com/office/drawing/2014/main" id="{412B819A-C22B-F15D-908D-1BB1535C6136}"/>
              </a:ext>
            </a:extLst>
          </p:cNvPr>
          <p:cNvSpPr txBox="1"/>
          <p:nvPr/>
        </p:nvSpPr>
        <p:spPr>
          <a:xfrm>
            <a:off x="10112939" y="2839561"/>
            <a:ext cx="913533" cy="400110"/>
          </a:xfrm>
          <a:prstGeom prst="rect">
            <a:avLst/>
          </a:prstGeom>
          <a:noFill/>
        </p:spPr>
        <p:txBody>
          <a:bodyPr wrap="square" rtlCol="0">
            <a:spAutoFit/>
          </a:bodyPr>
          <a:lstStyle/>
          <a:p>
            <a:pPr algn="ctr"/>
            <a:r>
              <a:rPr lang="en-US" sz="2000" b="1" dirty="0">
                <a:solidFill>
                  <a:schemeClr val="bg1"/>
                </a:solidFill>
              </a:rPr>
              <a:t>9</a:t>
            </a:r>
          </a:p>
        </p:txBody>
      </p:sp>
      <p:sp>
        <p:nvSpPr>
          <p:cNvPr id="73" name="TextBox 72">
            <a:extLst>
              <a:ext uri="{FF2B5EF4-FFF2-40B4-BE49-F238E27FC236}">
                <a16:creationId xmlns:a16="http://schemas.microsoft.com/office/drawing/2014/main" id="{F0E3F56C-4D27-3C7D-8A71-DDBB09EF1C79}"/>
              </a:ext>
            </a:extLst>
          </p:cNvPr>
          <p:cNvSpPr txBox="1"/>
          <p:nvPr/>
        </p:nvSpPr>
        <p:spPr>
          <a:xfrm>
            <a:off x="6993333" y="1068521"/>
            <a:ext cx="1928222" cy="400110"/>
          </a:xfrm>
          <a:prstGeom prst="rect">
            <a:avLst/>
          </a:prstGeom>
          <a:noFill/>
        </p:spPr>
        <p:txBody>
          <a:bodyPr wrap="square" rtlCol="0">
            <a:spAutoFit/>
          </a:bodyPr>
          <a:lstStyle/>
          <a:p>
            <a:pPr algn="ctr"/>
            <a:r>
              <a:rPr lang="en-US" sz="2000" b="1" dirty="0">
                <a:solidFill>
                  <a:schemeClr val="bg1"/>
                </a:solidFill>
              </a:rPr>
              <a:t>Existing system</a:t>
            </a:r>
          </a:p>
        </p:txBody>
      </p:sp>
      <p:pic>
        <p:nvPicPr>
          <p:cNvPr id="75" name="Graphic 74" descr="List">
            <a:extLst>
              <a:ext uri="{FF2B5EF4-FFF2-40B4-BE49-F238E27FC236}">
                <a16:creationId xmlns:a16="http://schemas.microsoft.com/office/drawing/2014/main" id="{B1658F6C-994E-CDBC-6DD4-CC49B06362A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74881" y="775891"/>
            <a:ext cx="360707" cy="360707"/>
          </a:xfrm>
          <a:prstGeom prst="rect">
            <a:avLst/>
          </a:prstGeom>
        </p:spPr>
      </p:pic>
      <p:pic>
        <p:nvPicPr>
          <p:cNvPr id="77" name="Graphic 76" descr="List">
            <a:extLst>
              <a:ext uri="{FF2B5EF4-FFF2-40B4-BE49-F238E27FC236}">
                <a16:creationId xmlns:a16="http://schemas.microsoft.com/office/drawing/2014/main" id="{779EA642-C13B-9172-FC2B-6B91E7B245C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547849" y="774867"/>
            <a:ext cx="364421" cy="364421"/>
          </a:xfrm>
          <a:prstGeom prst="rect">
            <a:avLst/>
          </a:prstGeom>
        </p:spPr>
      </p:pic>
      <p:grpSp>
        <p:nvGrpSpPr>
          <p:cNvPr id="78" name="Group 77">
            <a:extLst>
              <a:ext uri="{FF2B5EF4-FFF2-40B4-BE49-F238E27FC236}">
                <a16:creationId xmlns:a16="http://schemas.microsoft.com/office/drawing/2014/main" id="{B577E072-4CA8-CCD3-F9FC-9723F8170BA2}"/>
              </a:ext>
            </a:extLst>
          </p:cNvPr>
          <p:cNvGrpSpPr/>
          <p:nvPr/>
        </p:nvGrpSpPr>
        <p:grpSpPr>
          <a:xfrm>
            <a:off x="3929978" y="5562568"/>
            <a:ext cx="613064" cy="613064"/>
            <a:chOff x="645658" y="2456893"/>
            <a:chExt cx="613064" cy="613064"/>
          </a:xfrm>
        </p:grpSpPr>
        <p:sp>
          <p:nvSpPr>
            <p:cNvPr id="79" name="Oval 78">
              <a:extLst>
                <a:ext uri="{FF2B5EF4-FFF2-40B4-BE49-F238E27FC236}">
                  <a16:creationId xmlns:a16="http://schemas.microsoft.com/office/drawing/2014/main" id="{ADC4482B-9B33-4787-4A1B-6B86EF557280}"/>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80">
              <a:extLst>
                <a:ext uri="{FF2B5EF4-FFF2-40B4-BE49-F238E27FC236}">
                  <a16:creationId xmlns:a16="http://schemas.microsoft.com/office/drawing/2014/main" id="{90FA601B-653A-AC20-797C-268608D9CC00}"/>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TextBox 81">
            <a:extLst>
              <a:ext uri="{FF2B5EF4-FFF2-40B4-BE49-F238E27FC236}">
                <a16:creationId xmlns:a16="http://schemas.microsoft.com/office/drawing/2014/main" id="{47221AC9-0045-4CA3-BDD0-932B039F9348}"/>
              </a:ext>
            </a:extLst>
          </p:cNvPr>
          <p:cNvSpPr txBox="1"/>
          <p:nvPr/>
        </p:nvSpPr>
        <p:spPr>
          <a:xfrm>
            <a:off x="3779743" y="5680738"/>
            <a:ext cx="913533" cy="400110"/>
          </a:xfrm>
          <a:prstGeom prst="rect">
            <a:avLst/>
          </a:prstGeom>
          <a:noFill/>
        </p:spPr>
        <p:txBody>
          <a:bodyPr wrap="square" rtlCol="0">
            <a:spAutoFit/>
          </a:bodyPr>
          <a:lstStyle/>
          <a:p>
            <a:pPr algn="ctr"/>
            <a:r>
              <a:rPr lang="en-US" sz="2000" b="1" dirty="0">
                <a:solidFill>
                  <a:schemeClr val="bg1"/>
                </a:solidFill>
              </a:rPr>
              <a:t>13</a:t>
            </a:r>
          </a:p>
        </p:txBody>
      </p:sp>
      <p:sp>
        <p:nvSpPr>
          <p:cNvPr id="83" name="Rectangle 82">
            <a:extLst>
              <a:ext uri="{FF2B5EF4-FFF2-40B4-BE49-F238E27FC236}">
                <a16:creationId xmlns:a16="http://schemas.microsoft.com/office/drawing/2014/main" id="{97FF0361-2AAE-3E82-6AA8-FD95C87EA0B0}"/>
              </a:ext>
            </a:extLst>
          </p:cNvPr>
          <p:cNvSpPr/>
          <p:nvPr/>
        </p:nvSpPr>
        <p:spPr>
          <a:xfrm rot="5400000">
            <a:off x="7955049" y="2274635"/>
            <a:ext cx="416558" cy="7188932"/>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1BBFED0E-4940-4FAF-4ABB-3F6DE31C0E66}"/>
              </a:ext>
            </a:extLst>
          </p:cNvPr>
          <p:cNvSpPr txBox="1"/>
          <p:nvPr/>
        </p:nvSpPr>
        <p:spPr>
          <a:xfrm>
            <a:off x="6922525" y="5651634"/>
            <a:ext cx="2198893" cy="400110"/>
          </a:xfrm>
          <a:prstGeom prst="rect">
            <a:avLst/>
          </a:prstGeom>
          <a:noFill/>
        </p:spPr>
        <p:txBody>
          <a:bodyPr wrap="square" rtlCol="0">
            <a:spAutoFit/>
          </a:bodyPr>
          <a:lstStyle/>
          <a:p>
            <a:pPr algn="ctr"/>
            <a:r>
              <a:rPr lang="en-US" sz="2000" b="1" dirty="0">
                <a:solidFill>
                  <a:schemeClr val="bg1"/>
                </a:solidFill>
              </a:rPr>
              <a:t>Reference</a:t>
            </a:r>
          </a:p>
        </p:txBody>
      </p:sp>
      <p:sp>
        <p:nvSpPr>
          <p:cNvPr id="196" name="TextBox 195">
            <a:extLst>
              <a:ext uri="{FF2B5EF4-FFF2-40B4-BE49-F238E27FC236}">
                <a16:creationId xmlns:a16="http://schemas.microsoft.com/office/drawing/2014/main" id="{81230D26-BB26-0A5C-E346-EE7FBEA32C52}"/>
              </a:ext>
            </a:extLst>
          </p:cNvPr>
          <p:cNvSpPr txBox="1"/>
          <p:nvPr/>
        </p:nvSpPr>
        <p:spPr>
          <a:xfrm>
            <a:off x="4118086" y="3642831"/>
            <a:ext cx="2198893" cy="400110"/>
          </a:xfrm>
          <a:prstGeom prst="rect">
            <a:avLst/>
          </a:prstGeom>
          <a:noFill/>
        </p:spPr>
        <p:txBody>
          <a:bodyPr wrap="square" rtlCol="0">
            <a:spAutoFit/>
          </a:bodyPr>
          <a:lstStyle/>
          <a:p>
            <a:pPr algn="ctr"/>
            <a:r>
              <a:rPr lang="en-US" sz="2000" b="1" dirty="0">
                <a:solidFill>
                  <a:srgbClr val="D5204B"/>
                </a:solidFill>
              </a:rPr>
              <a:t>Project Description</a:t>
            </a:r>
          </a:p>
        </p:txBody>
      </p:sp>
      <p:pic>
        <p:nvPicPr>
          <p:cNvPr id="44" name="Graphic 43" descr="Customer review RTL">
            <a:extLst>
              <a:ext uri="{FF2B5EF4-FFF2-40B4-BE49-F238E27FC236}">
                <a16:creationId xmlns:a16="http://schemas.microsoft.com/office/drawing/2014/main" id="{0A5CF527-DF5E-C54C-BA99-0E80B22790B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325528" y="789571"/>
            <a:ext cx="424925" cy="424925"/>
          </a:xfrm>
          <a:prstGeom prst="rect">
            <a:avLst/>
          </a:prstGeom>
        </p:spPr>
      </p:pic>
      <p:sp>
        <p:nvSpPr>
          <p:cNvPr id="20" name="TextBox 19">
            <a:extLst>
              <a:ext uri="{FF2B5EF4-FFF2-40B4-BE49-F238E27FC236}">
                <a16:creationId xmlns:a16="http://schemas.microsoft.com/office/drawing/2014/main" id="{DBCB2FC7-94D8-8E76-C0A9-34AC9841E0DE}"/>
              </a:ext>
            </a:extLst>
          </p:cNvPr>
          <p:cNvSpPr txBox="1"/>
          <p:nvPr/>
        </p:nvSpPr>
        <p:spPr>
          <a:xfrm>
            <a:off x="4106024" y="2367974"/>
            <a:ext cx="2198893" cy="400110"/>
          </a:xfrm>
          <a:prstGeom prst="rect">
            <a:avLst/>
          </a:prstGeom>
          <a:noFill/>
        </p:spPr>
        <p:txBody>
          <a:bodyPr wrap="square" rtlCol="0">
            <a:spAutoFit/>
          </a:bodyPr>
          <a:lstStyle/>
          <a:p>
            <a:pPr algn="ctr"/>
            <a:r>
              <a:rPr lang="en-US" sz="2000" b="1" dirty="0">
                <a:solidFill>
                  <a:schemeClr val="bg1"/>
                </a:solidFill>
              </a:rPr>
              <a:t>Problem definition</a:t>
            </a:r>
          </a:p>
        </p:txBody>
      </p:sp>
      <p:sp>
        <p:nvSpPr>
          <p:cNvPr id="21" name="Rectangle 20">
            <a:extLst>
              <a:ext uri="{FF2B5EF4-FFF2-40B4-BE49-F238E27FC236}">
                <a16:creationId xmlns:a16="http://schemas.microsoft.com/office/drawing/2014/main" id="{F45DB5AB-548D-9371-30AC-BF84E71C53EF}"/>
              </a:ext>
            </a:extLst>
          </p:cNvPr>
          <p:cNvSpPr/>
          <p:nvPr/>
        </p:nvSpPr>
        <p:spPr>
          <a:xfrm rot="5400000">
            <a:off x="4579978" y="3649129"/>
            <a:ext cx="1234956"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8EF62E7-946C-CFA5-D934-D46B18C3EC7F}"/>
              </a:ext>
            </a:extLst>
          </p:cNvPr>
          <p:cNvSpPr/>
          <p:nvPr/>
        </p:nvSpPr>
        <p:spPr>
          <a:xfrm rot="5400000">
            <a:off x="7284135" y="3649130"/>
            <a:ext cx="1234956" cy="243959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358E86B4-CD60-F119-4150-41738790C04F}"/>
              </a:ext>
            </a:extLst>
          </p:cNvPr>
          <p:cNvSpPr/>
          <p:nvPr/>
        </p:nvSpPr>
        <p:spPr>
          <a:xfrm rot="5400000">
            <a:off x="9925780" y="3643852"/>
            <a:ext cx="1224402" cy="2439594"/>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B9301F3E-2A22-A818-19CB-7FDD17B61D36}"/>
              </a:ext>
            </a:extLst>
          </p:cNvPr>
          <p:cNvGrpSpPr/>
          <p:nvPr/>
        </p:nvGrpSpPr>
        <p:grpSpPr>
          <a:xfrm>
            <a:off x="4900566" y="3978290"/>
            <a:ext cx="613064" cy="613064"/>
            <a:chOff x="645658" y="2456893"/>
            <a:chExt cx="613064" cy="613064"/>
          </a:xfrm>
        </p:grpSpPr>
        <p:sp>
          <p:nvSpPr>
            <p:cNvPr id="50" name="Oval 49">
              <a:extLst>
                <a:ext uri="{FF2B5EF4-FFF2-40B4-BE49-F238E27FC236}">
                  <a16:creationId xmlns:a16="http://schemas.microsoft.com/office/drawing/2014/main" id="{D32E7FC9-EBDE-0BEF-F8E4-5A28754022E4}"/>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B672B5FB-DB17-3DE3-7C53-1666AA9E6E4E}"/>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869C63BE-31EC-92CE-F3DB-CEA21FE86650}"/>
              </a:ext>
            </a:extLst>
          </p:cNvPr>
          <p:cNvGrpSpPr/>
          <p:nvPr/>
        </p:nvGrpSpPr>
        <p:grpSpPr>
          <a:xfrm>
            <a:off x="7592597" y="3993252"/>
            <a:ext cx="613064" cy="613064"/>
            <a:chOff x="645658" y="2456893"/>
            <a:chExt cx="613064" cy="613064"/>
          </a:xfrm>
        </p:grpSpPr>
        <p:sp>
          <p:nvSpPr>
            <p:cNvPr id="59" name="Oval 58">
              <a:extLst>
                <a:ext uri="{FF2B5EF4-FFF2-40B4-BE49-F238E27FC236}">
                  <a16:creationId xmlns:a16="http://schemas.microsoft.com/office/drawing/2014/main" id="{1C5EFE89-4403-9F4D-7724-031E839E1498}"/>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a:extLst>
                <a:ext uri="{FF2B5EF4-FFF2-40B4-BE49-F238E27FC236}">
                  <a16:creationId xmlns:a16="http://schemas.microsoft.com/office/drawing/2014/main" id="{71EFF36F-2FF6-CE04-2DAE-DA8D4B38B01B}"/>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 name="Group 61">
            <a:extLst>
              <a:ext uri="{FF2B5EF4-FFF2-40B4-BE49-F238E27FC236}">
                <a16:creationId xmlns:a16="http://schemas.microsoft.com/office/drawing/2014/main" id="{52E21A6B-BA85-923D-5856-FB04E4073065}"/>
              </a:ext>
            </a:extLst>
          </p:cNvPr>
          <p:cNvGrpSpPr/>
          <p:nvPr/>
        </p:nvGrpSpPr>
        <p:grpSpPr>
          <a:xfrm>
            <a:off x="10283438" y="3972445"/>
            <a:ext cx="613064" cy="613064"/>
            <a:chOff x="645658" y="2456893"/>
            <a:chExt cx="613064" cy="613064"/>
          </a:xfrm>
        </p:grpSpPr>
        <p:sp>
          <p:nvSpPr>
            <p:cNvPr id="74" name="Oval 73">
              <a:extLst>
                <a:ext uri="{FF2B5EF4-FFF2-40B4-BE49-F238E27FC236}">
                  <a16:creationId xmlns:a16="http://schemas.microsoft.com/office/drawing/2014/main" id="{7B9E9B70-9BF9-7119-2AF1-69EAF28BD6D9}"/>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a:extLst>
                <a:ext uri="{FF2B5EF4-FFF2-40B4-BE49-F238E27FC236}">
                  <a16:creationId xmlns:a16="http://schemas.microsoft.com/office/drawing/2014/main" id="{98094328-C6A1-54A1-6C2A-4C5C1557AB7F}"/>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TextBox 79">
            <a:extLst>
              <a:ext uri="{FF2B5EF4-FFF2-40B4-BE49-F238E27FC236}">
                <a16:creationId xmlns:a16="http://schemas.microsoft.com/office/drawing/2014/main" id="{D3062075-4AA9-DDC1-62A4-98E68DB96AFF}"/>
              </a:ext>
            </a:extLst>
          </p:cNvPr>
          <p:cNvSpPr txBox="1"/>
          <p:nvPr/>
        </p:nvSpPr>
        <p:spPr>
          <a:xfrm>
            <a:off x="4760765" y="4085117"/>
            <a:ext cx="913533" cy="400110"/>
          </a:xfrm>
          <a:prstGeom prst="rect">
            <a:avLst/>
          </a:prstGeom>
          <a:noFill/>
        </p:spPr>
        <p:txBody>
          <a:bodyPr wrap="square" rtlCol="0">
            <a:spAutoFit/>
          </a:bodyPr>
          <a:lstStyle/>
          <a:p>
            <a:pPr algn="ctr"/>
            <a:r>
              <a:rPr lang="en-US" sz="2000" b="1" dirty="0">
                <a:solidFill>
                  <a:schemeClr val="bg1"/>
                </a:solidFill>
              </a:rPr>
              <a:t>10</a:t>
            </a:r>
          </a:p>
        </p:txBody>
      </p:sp>
      <p:sp>
        <p:nvSpPr>
          <p:cNvPr id="84" name="TextBox 83">
            <a:extLst>
              <a:ext uri="{FF2B5EF4-FFF2-40B4-BE49-F238E27FC236}">
                <a16:creationId xmlns:a16="http://schemas.microsoft.com/office/drawing/2014/main" id="{3C693F1B-4EDF-B906-0C58-15C68877739C}"/>
              </a:ext>
            </a:extLst>
          </p:cNvPr>
          <p:cNvSpPr txBox="1"/>
          <p:nvPr/>
        </p:nvSpPr>
        <p:spPr>
          <a:xfrm>
            <a:off x="7442362" y="4099854"/>
            <a:ext cx="913533" cy="400110"/>
          </a:xfrm>
          <a:prstGeom prst="rect">
            <a:avLst/>
          </a:prstGeom>
          <a:noFill/>
        </p:spPr>
        <p:txBody>
          <a:bodyPr wrap="square" rtlCol="0">
            <a:spAutoFit/>
          </a:bodyPr>
          <a:lstStyle/>
          <a:p>
            <a:pPr algn="ctr"/>
            <a:r>
              <a:rPr lang="en-US" sz="2000" b="1" dirty="0">
                <a:solidFill>
                  <a:schemeClr val="bg1"/>
                </a:solidFill>
              </a:rPr>
              <a:t>11</a:t>
            </a:r>
          </a:p>
        </p:txBody>
      </p:sp>
      <p:sp>
        <p:nvSpPr>
          <p:cNvPr id="85" name="TextBox 84">
            <a:extLst>
              <a:ext uri="{FF2B5EF4-FFF2-40B4-BE49-F238E27FC236}">
                <a16:creationId xmlns:a16="http://schemas.microsoft.com/office/drawing/2014/main" id="{F7FE39C1-B716-0F9B-88D2-9BE473A7EC8C}"/>
              </a:ext>
            </a:extLst>
          </p:cNvPr>
          <p:cNvSpPr txBox="1"/>
          <p:nvPr/>
        </p:nvSpPr>
        <p:spPr>
          <a:xfrm>
            <a:off x="10138844" y="4089337"/>
            <a:ext cx="913533" cy="400110"/>
          </a:xfrm>
          <a:prstGeom prst="rect">
            <a:avLst/>
          </a:prstGeom>
          <a:noFill/>
        </p:spPr>
        <p:txBody>
          <a:bodyPr wrap="square" rtlCol="0">
            <a:spAutoFit/>
          </a:bodyPr>
          <a:lstStyle/>
          <a:p>
            <a:pPr algn="ctr"/>
            <a:r>
              <a:rPr lang="en-US" sz="2000" b="1" dirty="0">
                <a:solidFill>
                  <a:schemeClr val="bg1"/>
                </a:solidFill>
              </a:rPr>
              <a:t>12</a:t>
            </a:r>
          </a:p>
        </p:txBody>
      </p:sp>
      <p:sp>
        <p:nvSpPr>
          <p:cNvPr id="87" name="TextBox 86">
            <a:extLst>
              <a:ext uri="{FF2B5EF4-FFF2-40B4-BE49-F238E27FC236}">
                <a16:creationId xmlns:a16="http://schemas.microsoft.com/office/drawing/2014/main" id="{8D758780-C72C-C494-E474-EB16A8AD41E2}"/>
              </a:ext>
            </a:extLst>
          </p:cNvPr>
          <p:cNvSpPr txBox="1"/>
          <p:nvPr/>
        </p:nvSpPr>
        <p:spPr>
          <a:xfrm>
            <a:off x="3793997" y="5001630"/>
            <a:ext cx="2847068" cy="400110"/>
          </a:xfrm>
          <a:prstGeom prst="rect">
            <a:avLst/>
          </a:prstGeom>
          <a:noFill/>
        </p:spPr>
        <p:txBody>
          <a:bodyPr wrap="square" rtlCol="0">
            <a:spAutoFit/>
          </a:bodyPr>
          <a:lstStyle/>
          <a:p>
            <a:pPr algn="ctr"/>
            <a:r>
              <a:rPr lang="en-US" sz="2000" b="1" dirty="0">
                <a:solidFill>
                  <a:schemeClr val="bg1"/>
                </a:solidFill>
              </a:rPr>
              <a:t>Result </a:t>
            </a:r>
          </a:p>
        </p:txBody>
      </p:sp>
      <p:sp>
        <p:nvSpPr>
          <p:cNvPr id="39" name="TextBox 38">
            <a:extLst>
              <a:ext uri="{FF2B5EF4-FFF2-40B4-BE49-F238E27FC236}">
                <a16:creationId xmlns:a16="http://schemas.microsoft.com/office/drawing/2014/main" id="{3780563F-3DDA-9691-0DEA-EAC54261CD40}"/>
              </a:ext>
            </a:extLst>
          </p:cNvPr>
          <p:cNvSpPr txBox="1"/>
          <p:nvPr/>
        </p:nvSpPr>
        <p:spPr>
          <a:xfrm>
            <a:off x="7127561" y="4956051"/>
            <a:ext cx="1596170" cy="400110"/>
          </a:xfrm>
          <a:prstGeom prst="rect">
            <a:avLst/>
          </a:prstGeom>
          <a:noFill/>
        </p:spPr>
        <p:txBody>
          <a:bodyPr wrap="square" rtlCol="0">
            <a:spAutoFit/>
          </a:bodyPr>
          <a:lstStyle/>
          <a:p>
            <a:pPr algn="ctr"/>
            <a:r>
              <a:rPr lang="en-US" sz="2000" b="1" dirty="0">
                <a:solidFill>
                  <a:srgbClr val="D5204B"/>
                </a:solidFill>
              </a:rPr>
              <a:t>Conclusion </a:t>
            </a:r>
          </a:p>
        </p:txBody>
      </p:sp>
      <p:sp>
        <p:nvSpPr>
          <p:cNvPr id="88" name="TextBox 87">
            <a:extLst>
              <a:ext uri="{FF2B5EF4-FFF2-40B4-BE49-F238E27FC236}">
                <a16:creationId xmlns:a16="http://schemas.microsoft.com/office/drawing/2014/main" id="{AD19674A-1C2F-D1F2-5F35-DA1E0CCD6C80}"/>
              </a:ext>
            </a:extLst>
          </p:cNvPr>
          <p:cNvSpPr txBox="1"/>
          <p:nvPr/>
        </p:nvSpPr>
        <p:spPr>
          <a:xfrm>
            <a:off x="9490523" y="4907706"/>
            <a:ext cx="2198893" cy="400110"/>
          </a:xfrm>
          <a:prstGeom prst="rect">
            <a:avLst/>
          </a:prstGeom>
          <a:noFill/>
        </p:spPr>
        <p:txBody>
          <a:bodyPr wrap="square" rtlCol="0">
            <a:spAutoFit/>
          </a:bodyPr>
          <a:lstStyle/>
          <a:p>
            <a:pPr algn="ctr"/>
            <a:r>
              <a:rPr lang="en-US" sz="2000" b="1" dirty="0">
                <a:solidFill>
                  <a:schemeClr val="bg1"/>
                </a:solidFill>
              </a:rPr>
              <a:t>Future works</a:t>
            </a:r>
          </a:p>
        </p:txBody>
      </p:sp>
      <p:pic>
        <p:nvPicPr>
          <p:cNvPr id="90" name="Graphic 89" descr="Teacher">
            <a:extLst>
              <a:ext uri="{FF2B5EF4-FFF2-40B4-BE49-F238E27FC236}">
                <a16:creationId xmlns:a16="http://schemas.microsoft.com/office/drawing/2014/main" id="{D824F9AC-A2A3-AC98-0824-883480DAEAB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88722" y="4566937"/>
            <a:ext cx="550433" cy="550433"/>
          </a:xfrm>
          <a:prstGeom prst="rect">
            <a:avLst/>
          </a:prstGeom>
        </p:spPr>
      </p:pic>
      <p:pic>
        <p:nvPicPr>
          <p:cNvPr id="92" name="Graphic 91" descr="Handshake">
            <a:extLst>
              <a:ext uri="{FF2B5EF4-FFF2-40B4-BE49-F238E27FC236}">
                <a16:creationId xmlns:a16="http://schemas.microsoft.com/office/drawing/2014/main" id="{0AF581E1-01F0-7026-2001-5207E7EEEA4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553784" y="4465855"/>
            <a:ext cx="730157" cy="730157"/>
          </a:xfrm>
          <a:prstGeom prst="rect">
            <a:avLst/>
          </a:prstGeom>
        </p:spPr>
      </p:pic>
      <p:pic>
        <p:nvPicPr>
          <p:cNvPr id="94" name="Graphic 93" descr="Share">
            <a:extLst>
              <a:ext uri="{FF2B5EF4-FFF2-40B4-BE49-F238E27FC236}">
                <a16:creationId xmlns:a16="http://schemas.microsoft.com/office/drawing/2014/main" id="{B3C9CAF2-34B9-1971-E5FB-C7EF29556EE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439304" y="4607107"/>
            <a:ext cx="405226" cy="405226"/>
          </a:xfrm>
          <a:prstGeom prst="rect">
            <a:avLst/>
          </a:prstGeom>
        </p:spPr>
      </p:pic>
      <p:sp>
        <p:nvSpPr>
          <p:cNvPr id="95" name="TextBox 94">
            <a:extLst>
              <a:ext uri="{FF2B5EF4-FFF2-40B4-BE49-F238E27FC236}">
                <a16:creationId xmlns:a16="http://schemas.microsoft.com/office/drawing/2014/main" id="{CFD06DB0-58B2-C037-B6BF-BAE798A8B846}"/>
              </a:ext>
            </a:extLst>
          </p:cNvPr>
          <p:cNvSpPr txBox="1"/>
          <p:nvPr/>
        </p:nvSpPr>
        <p:spPr>
          <a:xfrm>
            <a:off x="5241410" y="1421972"/>
            <a:ext cx="1596170" cy="307777"/>
          </a:xfrm>
          <a:prstGeom prst="rect">
            <a:avLst/>
          </a:prstGeom>
          <a:noFill/>
        </p:spPr>
        <p:txBody>
          <a:bodyPr wrap="square" rtlCol="0">
            <a:spAutoFit/>
          </a:bodyPr>
          <a:lstStyle/>
          <a:p>
            <a:pPr algn="ctr"/>
            <a:r>
              <a:rPr lang="en-US" sz="1400" dirty="0">
                <a:solidFill>
                  <a:srgbClr val="D5204B"/>
                </a:solidFill>
              </a:rPr>
              <a:t>pg.no: 4</a:t>
            </a:r>
          </a:p>
        </p:txBody>
      </p:sp>
      <p:sp>
        <p:nvSpPr>
          <p:cNvPr id="96" name="TextBox 95">
            <a:extLst>
              <a:ext uri="{FF2B5EF4-FFF2-40B4-BE49-F238E27FC236}">
                <a16:creationId xmlns:a16="http://schemas.microsoft.com/office/drawing/2014/main" id="{EF0636D4-670E-F87F-C9D2-FB69F8F69142}"/>
              </a:ext>
            </a:extLst>
          </p:cNvPr>
          <p:cNvSpPr txBox="1"/>
          <p:nvPr/>
        </p:nvSpPr>
        <p:spPr>
          <a:xfrm>
            <a:off x="7750843" y="1426068"/>
            <a:ext cx="1928222" cy="307777"/>
          </a:xfrm>
          <a:prstGeom prst="rect">
            <a:avLst/>
          </a:prstGeom>
          <a:noFill/>
        </p:spPr>
        <p:txBody>
          <a:bodyPr wrap="square" rtlCol="0">
            <a:spAutoFit/>
          </a:bodyPr>
          <a:lstStyle/>
          <a:p>
            <a:pPr algn="ctr"/>
            <a:r>
              <a:rPr lang="en-US" sz="1400" dirty="0">
                <a:solidFill>
                  <a:schemeClr val="bg1"/>
                </a:solidFill>
              </a:rPr>
              <a:t>pg.no: 5</a:t>
            </a:r>
          </a:p>
        </p:txBody>
      </p:sp>
      <p:sp>
        <p:nvSpPr>
          <p:cNvPr id="97" name="TextBox 96">
            <a:extLst>
              <a:ext uri="{FF2B5EF4-FFF2-40B4-BE49-F238E27FC236}">
                <a16:creationId xmlns:a16="http://schemas.microsoft.com/office/drawing/2014/main" id="{615B85C9-4242-220E-0337-7826A82C2A62}"/>
              </a:ext>
            </a:extLst>
          </p:cNvPr>
          <p:cNvSpPr txBox="1"/>
          <p:nvPr/>
        </p:nvSpPr>
        <p:spPr>
          <a:xfrm>
            <a:off x="5095361" y="2724953"/>
            <a:ext cx="1928222" cy="307777"/>
          </a:xfrm>
          <a:prstGeom prst="rect">
            <a:avLst/>
          </a:prstGeom>
          <a:noFill/>
        </p:spPr>
        <p:txBody>
          <a:bodyPr wrap="square" rtlCol="0">
            <a:spAutoFit/>
          </a:bodyPr>
          <a:lstStyle/>
          <a:p>
            <a:pPr algn="ctr"/>
            <a:r>
              <a:rPr lang="en-US" sz="1400" dirty="0">
                <a:solidFill>
                  <a:schemeClr val="bg1"/>
                </a:solidFill>
              </a:rPr>
              <a:t>pg.no: 7</a:t>
            </a:r>
          </a:p>
        </p:txBody>
      </p:sp>
      <p:sp>
        <p:nvSpPr>
          <p:cNvPr id="99" name="TextBox 98">
            <a:extLst>
              <a:ext uri="{FF2B5EF4-FFF2-40B4-BE49-F238E27FC236}">
                <a16:creationId xmlns:a16="http://schemas.microsoft.com/office/drawing/2014/main" id="{8AA863E4-C96E-5C50-30EC-6B5D80269716}"/>
              </a:ext>
            </a:extLst>
          </p:cNvPr>
          <p:cNvSpPr txBox="1"/>
          <p:nvPr/>
        </p:nvSpPr>
        <p:spPr>
          <a:xfrm>
            <a:off x="10402564" y="2707631"/>
            <a:ext cx="1928222" cy="307777"/>
          </a:xfrm>
          <a:prstGeom prst="rect">
            <a:avLst/>
          </a:prstGeom>
          <a:noFill/>
        </p:spPr>
        <p:txBody>
          <a:bodyPr wrap="square" rtlCol="0">
            <a:spAutoFit/>
          </a:bodyPr>
          <a:lstStyle/>
          <a:p>
            <a:pPr algn="ctr"/>
            <a:r>
              <a:rPr lang="en-US" sz="1400" dirty="0">
                <a:solidFill>
                  <a:schemeClr val="bg1"/>
                </a:solidFill>
              </a:rPr>
              <a:t>pg.no: 9</a:t>
            </a:r>
          </a:p>
        </p:txBody>
      </p:sp>
      <p:sp>
        <p:nvSpPr>
          <p:cNvPr id="100" name="TextBox 99">
            <a:extLst>
              <a:ext uri="{FF2B5EF4-FFF2-40B4-BE49-F238E27FC236}">
                <a16:creationId xmlns:a16="http://schemas.microsoft.com/office/drawing/2014/main" id="{0F8288D1-5966-BFFF-4F86-9E7E5FF6F9D1}"/>
              </a:ext>
            </a:extLst>
          </p:cNvPr>
          <p:cNvSpPr txBox="1"/>
          <p:nvPr/>
        </p:nvSpPr>
        <p:spPr>
          <a:xfrm>
            <a:off x="7759620" y="3940650"/>
            <a:ext cx="1928222" cy="307777"/>
          </a:xfrm>
          <a:prstGeom prst="rect">
            <a:avLst/>
          </a:prstGeom>
          <a:noFill/>
        </p:spPr>
        <p:txBody>
          <a:bodyPr wrap="square" rtlCol="0">
            <a:spAutoFit/>
          </a:bodyPr>
          <a:lstStyle/>
          <a:p>
            <a:pPr algn="ctr"/>
            <a:r>
              <a:rPr lang="en-US" sz="1400" dirty="0">
                <a:solidFill>
                  <a:schemeClr val="bg1"/>
                </a:solidFill>
              </a:rPr>
              <a:t>pg.no: 11</a:t>
            </a:r>
          </a:p>
        </p:txBody>
      </p:sp>
      <p:sp>
        <p:nvSpPr>
          <p:cNvPr id="101" name="TextBox 100">
            <a:extLst>
              <a:ext uri="{FF2B5EF4-FFF2-40B4-BE49-F238E27FC236}">
                <a16:creationId xmlns:a16="http://schemas.microsoft.com/office/drawing/2014/main" id="{7442AA14-525C-7CE1-3B3E-409096848A1F}"/>
              </a:ext>
            </a:extLst>
          </p:cNvPr>
          <p:cNvSpPr txBox="1"/>
          <p:nvPr/>
        </p:nvSpPr>
        <p:spPr>
          <a:xfrm>
            <a:off x="5030067" y="5208382"/>
            <a:ext cx="1928222" cy="307777"/>
          </a:xfrm>
          <a:prstGeom prst="rect">
            <a:avLst/>
          </a:prstGeom>
          <a:noFill/>
        </p:spPr>
        <p:txBody>
          <a:bodyPr wrap="square" rtlCol="0">
            <a:spAutoFit/>
          </a:bodyPr>
          <a:lstStyle/>
          <a:p>
            <a:pPr algn="ctr"/>
            <a:r>
              <a:rPr lang="en-US" sz="1400" dirty="0">
                <a:solidFill>
                  <a:schemeClr val="bg1"/>
                </a:solidFill>
              </a:rPr>
              <a:t>pg.no: 18</a:t>
            </a:r>
          </a:p>
        </p:txBody>
      </p:sp>
      <p:sp>
        <p:nvSpPr>
          <p:cNvPr id="104" name="TextBox 103">
            <a:extLst>
              <a:ext uri="{FF2B5EF4-FFF2-40B4-BE49-F238E27FC236}">
                <a16:creationId xmlns:a16="http://schemas.microsoft.com/office/drawing/2014/main" id="{DA837896-9EA0-E5E9-EBAC-C8E0774E4309}"/>
              </a:ext>
            </a:extLst>
          </p:cNvPr>
          <p:cNvSpPr txBox="1"/>
          <p:nvPr/>
        </p:nvSpPr>
        <p:spPr>
          <a:xfrm>
            <a:off x="10361426" y="5190174"/>
            <a:ext cx="1928222" cy="307777"/>
          </a:xfrm>
          <a:prstGeom prst="rect">
            <a:avLst/>
          </a:prstGeom>
          <a:noFill/>
        </p:spPr>
        <p:txBody>
          <a:bodyPr wrap="square" rtlCol="0">
            <a:spAutoFit/>
          </a:bodyPr>
          <a:lstStyle/>
          <a:p>
            <a:pPr algn="ctr"/>
            <a:r>
              <a:rPr lang="en-US" sz="1400" dirty="0">
                <a:solidFill>
                  <a:schemeClr val="bg1"/>
                </a:solidFill>
              </a:rPr>
              <a:t>pg.no: 26</a:t>
            </a:r>
          </a:p>
        </p:txBody>
      </p:sp>
      <p:sp>
        <p:nvSpPr>
          <p:cNvPr id="105" name="TextBox 104">
            <a:extLst>
              <a:ext uri="{FF2B5EF4-FFF2-40B4-BE49-F238E27FC236}">
                <a16:creationId xmlns:a16="http://schemas.microsoft.com/office/drawing/2014/main" id="{E56F5F93-0417-60CA-9A08-61BD7508362C}"/>
              </a:ext>
            </a:extLst>
          </p:cNvPr>
          <p:cNvSpPr txBox="1"/>
          <p:nvPr/>
        </p:nvSpPr>
        <p:spPr>
          <a:xfrm>
            <a:off x="10561580" y="1418438"/>
            <a:ext cx="1596170" cy="307777"/>
          </a:xfrm>
          <a:prstGeom prst="rect">
            <a:avLst/>
          </a:prstGeom>
          <a:noFill/>
        </p:spPr>
        <p:txBody>
          <a:bodyPr wrap="square" rtlCol="0">
            <a:spAutoFit/>
          </a:bodyPr>
          <a:lstStyle/>
          <a:p>
            <a:pPr algn="ctr"/>
            <a:r>
              <a:rPr lang="en-US" sz="1400" dirty="0">
                <a:solidFill>
                  <a:srgbClr val="D5204B"/>
                </a:solidFill>
              </a:rPr>
              <a:t>pg.no: 6</a:t>
            </a:r>
          </a:p>
        </p:txBody>
      </p:sp>
      <p:sp>
        <p:nvSpPr>
          <p:cNvPr id="107" name="TextBox 106">
            <a:extLst>
              <a:ext uri="{FF2B5EF4-FFF2-40B4-BE49-F238E27FC236}">
                <a16:creationId xmlns:a16="http://schemas.microsoft.com/office/drawing/2014/main" id="{D2E8B419-7BBD-7405-BFCA-0873EAFF50DE}"/>
              </a:ext>
            </a:extLst>
          </p:cNvPr>
          <p:cNvSpPr txBox="1"/>
          <p:nvPr/>
        </p:nvSpPr>
        <p:spPr>
          <a:xfrm>
            <a:off x="7963762" y="2703642"/>
            <a:ext cx="1596170" cy="307777"/>
          </a:xfrm>
          <a:prstGeom prst="rect">
            <a:avLst/>
          </a:prstGeom>
          <a:noFill/>
        </p:spPr>
        <p:txBody>
          <a:bodyPr wrap="square" rtlCol="0">
            <a:spAutoFit/>
          </a:bodyPr>
          <a:lstStyle/>
          <a:p>
            <a:pPr algn="ctr"/>
            <a:r>
              <a:rPr lang="en-US" sz="1400" dirty="0">
                <a:solidFill>
                  <a:srgbClr val="D5204B"/>
                </a:solidFill>
              </a:rPr>
              <a:t>pg.no: 8</a:t>
            </a:r>
          </a:p>
        </p:txBody>
      </p:sp>
      <p:sp>
        <p:nvSpPr>
          <p:cNvPr id="110" name="TextBox 109">
            <a:extLst>
              <a:ext uri="{FF2B5EF4-FFF2-40B4-BE49-F238E27FC236}">
                <a16:creationId xmlns:a16="http://schemas.microsoft.com/office/drawing/2014/main" id="{01B57823-56CD-2C37-5FBF-71D3CFED4D44}"/>
              </a:ext>
            </a:extLst>
          </p:cNvPr>
          <p:cNvSpPr txBox="1"/>
          <p:nvPr/>
        </p:nvSpPr>
        <p:spPr>
          <a:xfrm>
            <a:off x="5198207" y="3974790"/>
            <a:ext cx="1596170" cy="307777"/>
          </a:xfrm>
          <a:prstGeom prst="rect">
            <a:avLst/>
          </a:prstGeom>
          <a:noFill/>
        </p:spPr>
        <p:txBody>
          <a:bodyPr wrap="square" rtlCol="0">
            <a:spAutoFit/>
          </a:bodyPr>
          <a:lstStyle/>
          <a:p>
            <a:pPr algn="ctr"/>
            <a:r>
              <a:rPr lang="en-US" sz="1400" dirty="0">
                <a:solidFill>
                  <a:srgbClr val="D5204B"/>
                </a:solidFill>
              </a:rPr>
              <a:t>pg.no: 10</a:t>
            </a:r>
          </a:p>
        </p:txBody>
      </p:sp>
      <p:sp>
        <p:nvSpPr>
          <p:cNvPr id="111" name="TextBox 110">
            <a:extLst>
              <a:ext uri="{FF2B5EF4-FFF2-40B4-BE49-F238E27FC236}">
                <a16:creationId xmlns:a16="http://schemas.microsoft.com/office/drawing/2014/main" id="{4DCFE305-75CA-468D-481F-C9A65208F648}"/>
              </a:ext>
            </a:extLst>
          </p:cNvPr>
          <p:cNvSpPr txBox="1"/>
          <p:nvPr/>
        </p:nvSpPr>
        <p:spPr>
          <a:xfrm>
            <a:off x="10554904" y="3954951"/>
            <a:ext cx="1596170" cy="307777"/>
          </a:xfrm>
          <a:prstGeom prst="rect">
            <a:avLst/>
          </a:prstGeom>
          <a:noFill/>
        </p:spPr>
        <p:txBody>
          <a:bodyPr wrap="square" rtlCol="0">
            <a:spAutoFit/>
          </a:bodyPr>
          <a:lstStyle/>
          <a:p>
            <a:pPr algn="ctr"/>
            <a:r>
              <a:rPr lang="en-US" sz="1400" dirty="0">
                <a:solidFill>
                  <a:srgbClr val="D5204B"/>
                </a:solidFill>
              </a:rPr>
              <a:t>pg.no: 12</a:t>
            </a:r>
          </a:p>
        </p:txBody>
      </p:sp>
      <p:sp>
        <p:nvSpPr>
          <p:cNvPr id="112" name="TextBox 111">
            <a:extLst>
              <a:ext uri="{FF2B5EF4-FFF2-40B4-BE49-F238E27FC236}">
                <a16:creationId xmlns:a16="http://schemas.microsoft.com/office/drawing/2014/main" id="{C1F12687-3B7A-46E8-F991-6B9279D5649D}"/>
              </a:ext>
            </a:extLst>
          </p:cNvPr>
          <p:cNvSpPr txBox="1"/>
          <p:nvPr/>
        </p:nvSpPr>
        <p:spPr>
          <a:xfrm>
            <a:off x="7918862" y="5176892"/>
            <a:ext cx="1596170" cy="307777"/>
          </a:xfrm>
          <a:prstGeom prst="rect">
            <a:avLst/>
          </a:prstGeom>
          <a:noFill/>
        </p:spPr>
        <p:txBody>
          <a:bodyPr wrap="square" rtlCol="0">
            <a:spAutoFit/>
          </a:bodyPr>
          <a:lstStyle/>
          <a:p>
            <a:pPr algn="ctr"/>
            <a:r>
              <a:rPr lang="en-US" sz="1400" dirty="0">
                <a:solidFill>
                  <a:srgbClr val="D5204B"/>
                </a:solidFill>
              </a:rPr>
              <a:t>pg.no: 25 </a:t>
            </a:r>
          </a:p>
        </p:txBody>
      </p:sp>
      <p:sp>
        <p:nvSpPr>
          <p:cNvPr id="113" name="TextBox 112">
            <a:extLst>
              <a:ext uri="{FF2B5EF4-FFF2-40B4-BE49-F238E27FC236}">
                <a16:creationId xmlns:a16="http://schemas.microsoft.com/office/drawing/2014/main" id="{AC115F34-7851-1300-C676-908FD19D0298}"/>
              </a:ext>
            </a:extLst>
          </p:cNvPr>
          <p:cNvSpPr txBox="1"/>
          <p:nvPr/>
        </p:nvSpPr>
        <p:spPr>
          <a:xfrm>
            <a:off x="10361426" y="5706991"/>
            <a:ext cx="1928222" cy="307777"/>
          </a:xfrm>
          <a:prstGeom prst="rect">
            <a:avLst/>
          </a:prstGeom>
          <a:noFill/>
        </p:spPr>
        <p:txBody>
          <a:bodyPr wrap="square" rtlCol="0">
            <a:spAutoFit/>
          </a:bodyPr>
          <a:lstStyle/>
          <a:p>
            <a:pPr algn="ctr"/>
            <a:r>
              <a:rPr lang="en-US" sz="1400" dirty="0">
                <a:solidFill>
                  <a:schemeClr val="bg1"/>
                </a:solidFill>
              </a:rPr>
              <a:t>pg.no: 27</a:t>
            </a:r>
          </a:p>
        </p:txBody>
      </p:sp>
    </p:spTree>
    <p:extLst>
      <p:ext uri="{BB962C8B-B14F-4D97-AF65-F5344CB8AC3E}">
        <p14:creationId xmlns:p14="http://schemas.microsoft.com/office/powerpoint/2010/main" val="1436000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ountains and a lake">
            <a:extLst>
              <a:ext uri="{FF2B5EF4-FFF2-40B4-BE49-F238E27FC236}">
                <a16:creationId xmlns:a16="http://schemas.microsoft.com/office/drawing/2014/main" id="{28220BB8-E8A6-024D-22E9-B9799499DF8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1993" cy="3967316"/>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0"/>
            <a:ext cx="12192000" cy="396731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5DCA36D2-EEF5-21EE-3283-F0CBB589C6A7}"/>
              </a:ext>
            </a:extLst>
          </p:cNvPr>
          <p:cNvSpPr/>
          <p:nvPr/>
        </p:nvSpPr>
        <p:spPr>
          <a:xfrm>
            <a:off x="407988" y="728662"/>
            <a:ext cx="11376024" cy="5400675"/>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5DF16468-97B7-242A-7A70-87D7CC777945}"/>
              </a:ext>
            </a:extLst>
          </p:cNvPr>
          <p:cNvSpPr/>
          <p:nvPr/>
        </p:nvSpPr>
        <p:spPr>
          <a:xfrm>
            <a:off x="6888847" y="824856"/>
            <a:ext cx="5534256" cy="7568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r>
              <a:rPr lang="en-US" sz="4800" dirty="0">
                <a:solidFill>
                  <a:srgbClr val="D5204B"/>
                </a:solidFill>
                <a:latin typeface="Calibri Light" panose="020F0302020204030204" pitchFamily="34" charset="0"/>
                <a:cs typeface="Calibri Light" panose="020F0302020204030204" pitchFamily="34" charset="0"/>
              </a:rPr>
              <a:t>Abstract</a:t>
            </a:r>
            <a:endParaRPr lang="en-US" sz="4800" b="1" dirty="0">
              <a:solidFill>
                <a:srgbClr val="D5204B"/>
              </a:solidFill>
              <a:cs typeface="Calibri Light" panose="020F0302020204030204" pitchFamily="34" charset="0"/>
            </a:endParaRPr>
          </a:p>
        </p:txBody>
      </p:sp>
      <p:sp>
        <p:nvSpPr>
          <p:cNvPr id="65" name="Rectangle 64">
            <a:extLst>
              <a:ext uri="{FF2B5EF4-FFF2-40B4-BE49-F238E27FC236}">
                <a16:creationId xmlns:a16="http://schemas.microsoft.com/office/drawing/2014/main" id="{F27E7C20-0B1F-AFD7-181F-97C49B30DD4A}"/>
              </a:ext>
            </a:extLst>
          </p:cNvPr>
          <p:cNvSpPr/>
          <p:nvPr/>
        </p:nvSpPr>
        <p:spPr>
          <a:xfrm>
            <a:off x="5979636" y="1669156"/>
            <a:ext cx="5534263" cy="4288714"/>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Subtitle 2">
            <a:extLst>
              <a:ext uri="{FF2B5EF4-FFF2-40B4-BE49-F238E27FC236}">
                <a16:creationId xmlns:a16="http://schemas.microsoft.com/office/drawing/2014/main" id="{445E8940-406D-CCC4-D773-B44E3527D254}"/>
              </a:ext>
            </a:extLst>
          </p:cNvPr>
          <p:cNvSpPr txBox="1">
            <a:spLocks/>
          </p:cNvSpPr>
          <p:nvPr/>
        </p:nvSpPr>
        <p:spPr>
          <a:xfrm>
            <a:off x="6759923" y="2209148"/>
            <a:ext cx="4555778" cy="531820"/>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i="1" dirty="0">
              <a:solidFill>
                <a:schemeClr val="bg1"/>
              </a:solidFill>
              <a:cs typeface="Arial" panose="020B0604020202020204" pitchFamily="34" charset="0"/>
            </a:endParaRPr>
          </a:p>
        </p:txBody>
      </p:sp>
      <p:pic>
        <p:nvPicPr>
          <p:cNvPr id="9" name="Picture 8" descr="A picture containing outdoor, person, mountain, nature&#10;&#10;Description automatically generated">
            <a:extLst>
              <a:ext uri="{FF2B5EF4-FFF2-40B4-BE49-F238E27FC236}">
                <a16:creationId xmlns:a16="http://schemas.microsoft.com/office/drawing/2014/main" id="{068778BB-D988-8217-7DE4-44AD72421A0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39098" y="971096"/>
            <a:ext cx="5047328" cy="2076904"/>
          </a:xfrm>
          <a:prstGeom prst="rect">
            <a:avLst/>
          </a:prstGeom>
        </p:spPr>
      </p:pic>
      <p:pic>
        <p:nvPicPr>
          <p:cNvPr id="13" name="Picture 12" descr="A picture containing text, tree, outdoor, plant&#10;&#10;Description automatically generated">
            <a:extLst>
              <a:ext uri="{FF2B5EF4-FFF2-40B4-BE49-F238E27FC236}">
                <a16:creationId xmlns:a16="http://schemas.microsoft.com/office/drawing/2014/main" id="{CD7E78F4-0427-C4C3-B4BE-F8288C9604E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2"/>
          <a:stretch/>
        </p:blipFill>
        <p:spPr>
          <a:xfrm>
            <a:off x="639098" y="3176968"/>
            <a:ext cx="1570303" cy="2780902"/>
          </a:xfrm>
          <a:prstGeom prst="rect">
            <a:avLst/>
          </a:prstGeom>
        </p:spPr>
      </p:pic>
      <p:pic>
        <p:nvPicPr>
          <p:cNvPr id="90" name="Picture 89">
            <a:extLst>
              <a:ext uri="{FF2B5EF4-FFF2-40B4-BE49-F238E27FC236}">
                <a16:creationId xmlns:a16="http://schemas.microsoft.com/office/drawing/2014/main" id="{D965E647-C73F-1CB1-8CD2-5445E9A1C32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377611" y="3196002"/>
            <a:ext cx="1570303" cy="1177727"/>
          </a:xfrm>
          <a:custGeom>
            <a:avLst/>
            <a:gdLst>
              <a:gd name="connsiteX0" fmla="*/ 0 w 1570303"/>
              <a:gd name="connsiteY0" fmla="*/ 0 h 2780902"/>
              <a:gd name="connsiteX1" fmla="*/ 1570303 w 1570303"/>
              <a:gd name="connsiteY1" fmla="*/ 0 h 2780902"/>
              <a:gd name="connsiteX2" fmla="*/ 1570303 w 1570303"/>
              <a:gd name="connsiteY2" fmla="*/ 2780902 h 2780902"/>
              <a:gd name="connsiteX3" fmla="*/ 0 w 1570303"/>
              <a:gd name="connsiteY3" fmla="*/ 2780902 h 2780902"/>
            </a:gdLst>
            <a:ahLst/>
            <a:cxnLst>
              <a:cxn ang="0">
                <a:pos x="connsiteX0" y="connsiteY0"/>
              </a:cxn>
              <a:cxn ang="0">
                <a:pos x="connsiteX1" y="connsiteY1"/>
              </a:cxn>
              <a:cxn ang="0">
                <a:pos x="connsiteX2" y="connsiteY2"/>
              </a:cxn>
              <a:cxn ang="0">
                <a:pos x="connsiteX3" y="connsiteY3"/>
              </a:cxn>
            </a:cxnLst>
            <a:rect l="l" t="t" r="r" b="b"/>
            <a:pathLst>
              <a:path w="1570303" h="2780902">
                <a:moveTo>
                  <a:pt x="0" y="0"/>
                </a:moveTo>
                <a:lnTo>
                  <a:pt x="1570303" y="0"/>
                </a:lnTo>
                <a:lnTo>
                  <a:pt x="1570303" y="2780902"/>
                </a:lnTo>
                <a:lnTo>
                  <a:pt x="0" y="2780902"/>
                </a:lnTo>
                <a:close/>
              </a:path>
            </a:pathLst>
          </a:custGeom>
        </p:spPr>
      </p:pic>
      <p:pic>
        <p:nvPicPr>
          <p:cNvPr id="92" name="Picture 91" descr="A picture containing water, outdoor, sky, boat&#10;&#10;Description automatically generated">
            <a:extLst>
              <a:ext uri="{FF2B5EF4-FFF2-40B4-BE49-F238E27FC236}">
                <a16:creationId xmlns:a16="http://schemas.microsoft.com/office/drawing/2014/main" id="{6FDB769F-BE03-A93E-BD5F-EA3A4E1CD1E7}"/>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t="43034" b="13931"/>
          <a:stretch/>
        </p:blipFill>
        <p:spPr>
          <a:xfrm>
            <a:off x="4116123" y="3176968"/>
            <a:ext cx="1570303" cy="1196761"/>
          </a:xfrm>
          <a:custGeom>
            <a:avLst/>
            <a:gdLst>
              <a:gd name="connsiteX0" fmla="*/ 0 w 1570303"/>
              <a:gd name="connsiteY0" fmla="*/ 0 h 2780902"/>
              <a:gd name="connsiteX1" fmla="*/ 1570303 w 1570303"/>
              <a:gd name="connsiteY1" fmla="*/ 0 h 2780902"/>
              <a:gd name="connsiteX2" fmla="*/ 1570303 w 1570303"/>
              <a:gd name="connsiteY2" fmla="*/ 2780902 h 2780902"/>
              <a:gd name="connsiteX3" fmla="*/ 0 w 1570303"/>
              <a:gd name="connsiteY3" fmla="*/ 2780902 h 2780902"/>
            </a:gdLst>
            <a:ahLst/>
            <a:cxnLst>
              <a:cxn ang="0">
                <a:pos x="connsiteX0" y="connsiteY0"/>
              </a:cxn>
              <a:cxn ang="0">
                <a:pos x="connsiteX1" y="connsiteY1"/>
              </a:cxn>
              <a:cxn ang="0">
                <a:pos x="connsiteX2" y="connsiteY2"/>
              </a:cxn>
              <a:cxn ang="0">
                <a:pos x="connsiteX3" y="connsiteY3"/>
              </a:cxn>
            </a:cxnLst>
            <a:rect l="l" t="t" r="r" b="b"/>
            <a:pathLst>
              <a:path w="1570303" h="2780902">
                <a:moveTo>
                  <a:pt x="0" y="0"/>
                </a:moveTo>
                <a:lnTo>
                  <a:pt x="1570303" y="0"/>
                </a:lnTo>
                <a:lnTo>
                  <a:pt x="1570303" y="2780902"/>
                </a:lnTo>
                <a:lnTo>
                  <a:pt x="0" y="2780902"/>
                </a:lnTo>
                <a:close/>
              </a:path>
            </a:pathLst>
          </a:custGeom>
        </p:spPr>
      </p:pic>
      <p:sp>
        <p:nvSpPr>
          <p:cNvPr id="18" name="Isosceles Triangle 17">
            <a:extLst>
              <a:ext uri="{FF2B5EF4-FFF2-40B4-BE49-F238E27FC236}">
                <a16:creationId xmlns:a16="http://schemas.microsoft.com/office/drawing/2014/main" id="{AF3C5556-FEA9-2BEC-BAE5-3033FFAD82F1}"/>
              </a:ext>
            </a:extLst>
          </p:cNvPr>
          <p:cNvSpPr/>
          <p:nvPr/>
        </p:nvSpPr>
        <p:spPr>
          <a:xfrm flipH="1" flipV="1">
            <a:off x="6225522" y="1660128"/>
            <a:ext cx="327518" cy="14308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2" name="Graphic 1" descr="Document">
            <a:extLst>
              <a:ext uri="{FF2B5EF4-FFF2-40B4-BE49-F238E27FC236}">
                <a16:creationId xmlns:a16="http://schemas.microsoft.com/office/drawing/2014/main" id="{9A6A52FD-17B5-FBD7-9A69-746AA84A26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09114" y="1906866"/>
            <a:ext cx="519966" cy="519966"/>
          </a:xfrm>
          <a:prstGeom prst="rect">
            <a:avLst/>
          </a:prstGeom>
        </p:spPr>
      </p:pic>
      <p:sp>
        <p:nvSpPr>
          <p:cNvPr id="4" name="Subtitle 2">
            <a:extLst>
              <a:ext uri="{FF2B5EF4-FFF2-40B4-BE49-F238E27FC236}">
                <a16:creationId xmlns:a16="http://schemas.microsoft.com/office/drawing/2014/main" id="{014402F2-C803-BABA-8EFE-86D719FD318C}"/>
              </a:ext>
            </a:extLst>
          </p:cNvPr>
          <p:cNvSpPr txBox="1">
            <a:spLocks/>
          </p:cNvSpPr>
          <p:nvPr/>
        </p:nvSpPr>
        <p:spPr>
          <a:xfrm>
            <a:off x="6683670" y="1803208"/>
            <a:ext cx="4555778" cy="3776498"/>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solidFill>
                  <a:schemeClr val="bg1"/>
                </a:solidFill>
                <a:effectLst/>
                <a:ea typeface="Times New Roman" panose="02020603050405020304" pitchFamily="18" charset="0"/>
              </a:rPr>
              <a:t>The online travel Portal (OTP) is also known by Online Travel agent, E-travel agents and virtual travel agents (VTA's). </a:t>
            </a:r>
          </a:p>
          <a:p>
            <a:r>
              <a:rPr lang="en-IN" sz="1600" dirty="0">
                <a:solidFill>
                  <a:schemeClr val="bg1"/>
                </a:solidFill>
                <a:effectLst/>
                <a:ea typeface="Times New Roman" panose="02020603050405020304" pitchFamily="18" charset="0"/>
              </a:rPr>
              <a:t>The concept of travel agents immersed as a connecting link between supplier and consumer. </a:t>
            </a:r>
          </a:p>
          <a:p>
            <a:r>
              <a:rPr lang="en-IN" sz="1600" dirty="0">
                <a:solidFill>
                  <a:schemeClr val="bg1"/>
                </a:solidFill>
                <a:effectLst/>
                <a:ea typeface="Times New Roman" panose="02020603050405020304" pitchFamily="18" charset="0"/>
              </a:rPr>
              <a:t>Tourism researchers have emphasized the importance of the internet on travel and tourism. </a:t>
            </a:r>
          </a:p>
          <a:p>
            <a:r>
              <a:rPr lang="en-IN" sz="1600" dirty="0">
                <a:solidFill>
                  <a:schemeClr val="bg1"/>
                </a:solidFill>
                <a:effectLst/>
                <a:ea typeface="Times New Roman" panose="02020603050405020304" pitchFamily="18" charset="0"/>
              </a:rPr>
              <a:t>As a result, the travel industry has witnessed a gradual shift from traditional travel agencies to recent Online Travel Agencies (OTA). </a:t>
            </a:r>
          </a:p>
          <a:p>
            <a:r>
              <a:rPr lang="en-IN" sz="1600" dirty="0">
                <a:solidFill>
                  <a:schemeClr val="bg1"/>
                </a:solidFill>
                <a:effectLst/>
                <a:ea typeface="Times New Roman" panose="02020603050405020304" pitchFamily="18" charset="0"/>
              </a:rPr>
              <a:t>OTAs are more like an online booking resource/website that can provide full-service solution to make travel arrangements.</a:t>
            </a:r>
            <a:endParaRPr lang="en-US" sz="1400" i="1" dirty="0">
              <a:solidFill>
                <a:schemeClr val="bg1"/>
              </a:solidFill>
              <a:cs typeface="Arial" panose="020B0604020202020204" pitchFamily="34" charset="0"/>
            </a:endParaRPr>
          </a:p>
        </p:txBody>
      </p:sp>
      <p:sp>
        <p:nvSpPr>
          <p:cNvPr id="5" name="Rectangle 4">
            <a:extLst>
              <a:ext uri="{FF2B5EF4-FFF2-40B4-BE49-F238E27FC236}">
                <a16:creationId xmlns:a16="http://schemas.microsoft.com/office/drawing/2014/main" id="{EECD7A63-6DBB-7E21-F35F-6531FBBD9468}"/>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pic>
        <p:nvPicPr>
          <p:cNvPr id="5126" name="Picture 6" descr="How to Become a Travel Agent in 4 Steps - TheStreet">
            <a:extLst>
              <a:ext uri="{FF2B5EF4-FFF2-40B4-BE49-F238E27FC236}">
                <a16:creationId xmlns:a16="http://schemas.microsoft.com/office/drawing/2014/main" id="{7B7F6FBB-C73D-BD8E-8099-9F41D89020F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23805"/>
          <a:stretch/>
        </p:blipFill>
        <p:spPr bwMode="auto">
          <a:xfrm>
            <a:off x="2377611" y="4521731"/>
            <a:ext cx="3308815" cy="141814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2A00A651-097C-92E2-8CF8-927E202CEBF9}"/>
              </a:ext>
            </a:extLst>
          </p:cNvPr>
          <p:cNvGrpSpPr/>
          <p:nvPr/>
        </p:nvGrpSpPr>
        <p:grpSpPr>
          <a:xfrm>
            <a:off x="6016016" y="928209"/>
            <a:ext cx="613064" cy="613064"/>
            <a:chOff x="645658" y="2456893"/>
            <a:chExt cx="613064" cy="613064"/>
          </a:xfrm>
        </p:grpSpPr>
        <p:sp>
          <p:nvSpPr>
            <p:cNvPr id="7" name="Oval 6">
              <a:extLst>
                <a:ext uri="{FF2B5EF4-FFF2-40B4-BE49-F238E27FC236}">
                  <a16:creationId xmlns:a16="http://schemas.microsoft.com/office/drawing/2014/main" id="{10B80AB1-59EE-5C16-6737-3653F17DDB77}"/>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F35495B4-5C72-E7EB-9486-DE129EAF9018}"/>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grpSp>
    </p:spTree>
    <p:extLst>
      <p:ext uri="{BB962C8B-B14F-4D97-AF65-F5344CB8AC3E}">
        <p14:creationId xmlns:p14="http://schemas.microsoft.com/office/powerpoint/2010/main" val="3889021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1E8EF3-6503-FA69-8D81-0E09DF1A5B3E}"/>
              </a:ext>
            </a:extLst>
          </p:cNvPr>
          <p:cNvSpPr/>
          <p:nvPr/>
        </p:nvSpPr>
        <p:spPr>
          <a:xfrm>
            <a:off x="108155" y="98324"/>
            <a:ext cx="11975690" cy="6661352"/>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10 Best Online Travel Agencies of 2023 that you Should Connect to Today |  HotelMinder">
            <a:extLst>
              <a:ext uri="{FF2B5EF4-FFF2-40B4-BE49-F238E27FC236}">
                <a16:creationId xmlns:a16="http://schemas.microsoft.com/office/drawing/2014/main" id="{C7BCA409-A55D-2692-09E1-91A61CE36331}"/>
              </a:ext>
            </a:extLst>
          </p:cNvPr>
          <p:cNvPicPr>
            <a:picLocks noChangeAspect="1" noChangeArrowheads="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t="22267" b="27007"/>
          <a:stretch/>
        </p:blipFill>
        <p:spPr bwMode="auto">
          <a:xfrm>
            <a:off x="3337876" y="3743960"/>
            <a:ext cx="2143125" cy="108712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10 Best Online Travel Agencies of 2023 that you Should Connect to Today |  HotelMinder">
            <a:extLst>
              <a:ext uri="{FF2B5EF4-FFF2-40B4-BE49-F238E27FC236}">
                <a16:creationId xmlns:a16="http://schemas.microsoft.com/office/drawing/2014/main" id="{FAF9BCA1-96E3-F792-6B63-1F8FACC1F4D5}"/>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t="19423" b="29851"/>
          <a:stretch/>
        </p:blipFill>
        <p:spPr bwMode="auto">
          <a:xfrm>
            <a:off x="614996" y="3743960"/>
            <a:ext cx="2143125" cy="108712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10 Best Online Travel Agencies of 2023 that you Should Connect to Today |  HotelMinder">
            <a:extLst>
              <a:ext uri="{FF2B5EF4-FFF2-40B4-BE49-F238E27FC236}">
                <a16:creationId xmlns:a16="http://schemas.microsoft.com/office/drawing/2014/main" id="{F9AD4BB2-26C6-7047-6AAD-7E4BF37B3348}"/>
              </a:ext>
            </a:extLst>
          </p:cNvPr>
          <p:cNvPicPr>
            <a:picLocks noChangeAspect="1" noChangeArrowheads="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t="26310" b="25333"/>
          <a:stretch/>
        </p:blipFill>
        <p:spPr bwMode="auto">
          <a:xfrm>
            <a:off x="614997" y="5277218"/>
            <a:ext cx="2143125" cy="103632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akeMyTrip leverages tech to disrupt the 'Holiday Packages' market">
            <a:extLst>
              <a:ext uri="{FF2B5EF4-FFF2-40B4-BE49-F238E27FC236}">
                <a16:creationId xmlns:a16="http://schemas.microsoft.com/office/drawing/2014/main" id="{0133E2B6-95ED-9DFD-23F5-211DD418A6CC}"/>
              </a:ext>
            </a:extLst>
          </p:cNvPr>
          <p:cNvPicPr>
            <a:picLocks noChangeAspect="1" noChangeArrowheads="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4286" t="12887" r="3050" b="31031"/>
          <a:stretch/>
        </p:blipFill>
        <p:spPr bwMode="auto">
          <a:xfrm>
            <a:off x="3337877" y="5277218"/>
            <a:ext cx="2143125" cy="103632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Goibibo launches goCONFIRMED Trip to help travellers upgrade to an  alternate travel mode in case of an unconfirmed train ticket – ThePrint –">
            <a:extLst>
              <a:ext uri="{FF2B5EF4-FFF2-40B4-BE49-F238E27FC236}">
                <a16:creationId xmlns:a16="http://schemas.microsoft.com/office/drawing/2014/main" id="{7AD51125-9FF5-1815-EB45-9B505A6690CF}"/>
              </a:ext>
            </a:extLst>
          </p:cNvPr>
          <p:cNvPicPr>
            <a:picLocks noChangeAspect="1" noChangeArrowheads="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6127" t="31434" r="7001" b="28703"/>
          <a:stretch/>
        </p:blipFill>
        <p:spPr bwMode="auto">
          <a:xfrm>
            <a:off x="614996" y="2561222"/>
            <a:ext cx="2143126" cy="736600"/>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Yatra Offers, Coupons: Upto 25% OFF Promo Code Today | February 2023 -  Gadgets 360">
            <a:extLst>
              <a:ext uri="{FF2B5EF4-FFF2-40B4-BE49-F238E27FC236}">
                <a16:creationId xmlns:a16="http://schemas.microsoft.com/office/drawing/2014/main" id="{061773A2-C364-77AF-0085-7CC23519F00D}"/>
              </a:ext>
            </a:extLst>
          </p:cNvPr>
          <p:cNvPicPr>
            <a:picLocks noChangeAspect="1" noChangeArrowheads="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t="17650" b="19982"/>
          <a:stretch/>
        </p:blipFill>
        <p:spPr bwMode="auto">
          <a:xfrm>
            <a:off x="3337876" y="2561222"/>
            <a:ext cx="2143125" cy="7366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EB8176D-4F33-582E-F061-73CFE6FF61DE}"/>
              </a:ext>
            </a:extLst>
          </p:cNvPr>
          <p:cNvSpPr/>
          <p:nvPr/>
        </p:nvSpPr>
        <p:spPr>
          <a:xfrm>
            <a:off x="1815861" y="669374"/>
            <a:ext cx="10376139" cy="1022045"/>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E4F1985-08A3-AB8F-02F9-C59F159AD50F}"/>
              </a:ext>
            </a:extLst>
          </p:cNvPr>
          <p:cNvSpPr/>
          <p:nvPr/>
        </p:nvSpPr>
        <p:spPr>
          <a:xfrm>
            <a:off x="4760109" y="566563"/>
            <a:ext cx="5126838"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prstClr val="white"/>
                </a:solidFill>
                <a:latin typeface="Calibri Light" panose="020F0302020204030204" pitchFamily="34" charset="0"/>
                <a:cs typeface="Calibri Light" panose="020F0302020204030204" pitchFamily="34" charset="0"/>
              </a:rPr>
              <a:t>Existing System</a:t>
            </a:r>
            <a:endPar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Calibri Light" panose="020F0302020204030204" pitchFamily="34" charset="0"/>
            </a:endParaRPr>
          </a:p>
        </p:txBody>
      </p:sp>
      <p:pic>
        <p:nvPicPr>
          <p:cNvPr id="6" name="Graphic 5" descr="List">
            <a:extLst>
              <a:ext uri="{FF2B5EF4-FFF2-40B4-BE49-F238E27FC236}">
                <a16:creationId xmlns:a16="http://schemas.microsoft.com/office/drawing/2014/main" id="{E6124F00-2D6F-0895-DA49-AFC1ECF3846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18810" y="763586"/>
            <a:ext cx="811187" cy="811187"/>
          </a:xfrm>
          <a:prstGeom prst="rect">
            <a:avLst/>
          </a:prstGeom>
        </p:spPr>
      </p:pic>
      <p:pic>
        <p:nvPicPr>
          <p:cNvPr id="7" name="Graphic 6" descr="List">
            <a:extLst>
              <a:ext uri="{FF2B5EF4-FFF2-40B4-BE49-F238E27FC236}">
                <a16:creationId xmlns:a16="http://schemas.microsoft.com/office/drawing/2014/main" id="{45051DF1-63A9-8328-DC19-97221508AD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47256" y="763587"/>
            <a:ext cx="811187" cy="811187"/>
          </a:xfrm>
          <a:prstGeom prst="rect">
            <a:avLst/>
          </a:prstGeom>
        </p:spPr>
      </p:pic>
      <p:sp>
        <p:nvSpPr>
          <p:cNvPr id="8" name="Rectangle: Single Corner Rounded 7">
            <a:extLst>
              <a:ext uri="{FF2B5EF4-FFF2-40B4-BE49-F238E27FC236}">
                <a16:creationId xmlns:a16="http://schemas.microsoft.com/office/drawing/2014/main" id="{9309AF5A-CA23-78CB-5A03-982FE1DC8CE1}"/>
              </a:ext>
            </a:extLst>
          </p:cNvPr>
          <p:cNvSpPr/>
          <p:nvPr/>
        </p:nvSpPr>
        <p:spPr>
          <a:xfrm rot="10800000" flipV="1">
            <a:off x="6312966" y="2450714"/>
            <a:ext cx="5770879" cy="4308962"/>
          </a:xfrm>
          <a:prstGeom prst="round1Rect">
            <a:avLst>
              <a:gd name="adj" fmla="val 31034"/>
            </a:avLst>
          </a:prstGeom>
          <a:gradFill flip="none" rotWithShape="1">
            <a:gsLst>
              <a:gs pos="39000">
                <a:srgbClr val="D5204B"/>
              </a:gs>
              <a:gs pos="0">
                <a:srgbClr val="5A0E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a:extLst>
              <a:ext uri="{FF2B5EF4-FFF2-40B4-BE49-F238E27FC236}">
                <a16:creationId xmlns:a16="http://schemas.microsoft.com/office/drawing/2014/main" id="{F45C0680-B641-6608-7757-D79516FC0D7C}"/>
              </a:ext>
            </a:extLst>
          </p:cNvPr>
          <p:cNvSpPr txBox="1">
            <a:spLocks/>
          </p:cNvSpPr>
          <p:nvPr/>
        </p:nvSpPr>
        <p:spPr>
          <a:xfrm>
            <a:off x="7156245" y="3073400"/>
            <a:ext cx="4248493" cy="352044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bg1"/>
                </a:solidFill>
                <a:latin typeface="Calibri" panose="020F0502020204030204" pitchFamily="34" charset="0"/>
                <a:cs typeface="Calibri" panose="020F0502020204030204" pitchFamily="34" charset="0"/>
              </a:rPr>
              <a:t>Websites like </a:t>
            </a:r>
            <a:r>
              <a:rPr lang="en-US" sz="1600" dirty="0" err="1">
                <a:solidFill>
                  <a:schemeClr val="bg1"/>
                </a:solidFill>
                <a:latin typeface="Calibri" panose="020F0502020204030204" pitchFamily="34" charset="0"/>
                <a:cs typeface="Calibri" panose="020F0502020204030204" pitchFamily="34" charset="0"/>
              </a:rPr>
              <a:t>gobibo</a:t>
            </a:r>
            <a:r>
              <a:rPr lang="en-US" sz="1600" dirty="0">
                <a:solidFill>
                  <a:schemeClr val="bg1"/>
                </a:solidFill>
                <a:latin typeface="Calibri" panose="020F0502020204030204" pitchFamily="34" charset="0"/>
                <a:cs typeface="Calibri" panose="020F0502020204030204" pitchFamily="34" charset="0"/>
              </a:rPr>
              <a:t>, yatra and make my trip provides facilities which include </a:t>
            </a:r>
          </a:p>
          <a:p>
            <a:pPr lvl="2"/>
            <a:r>
              <a:rPr lang="en-US" sz="1600" dirty="0">
                <a:solidFill>
                  <a:schemeClr val="bg1"/>
                </a:solidFill>
                <a:latin typeface="Calibri" panose="020F0502020204030204" pitchFamily="34" charset="0"/>
                <a:cs typeface="Calibri" panose="020F0502020204030204" pitchFamily="34" charset="0"/>
              </a:rPr>
              <a:t>flight booking</a:t>
            </a:r>
          </a:p>
          <a:p>
            <a:pPr lvl="2"/>
            <a:r>
              <a:rPr lang="en-US" sz="1600" dirty="0">
                <a:solidFill>
                  <a:schemeClr val="bg1"/>
                </a:solidFill>
                <a:latin typeface="Calibri" panose="020F0502020204030204" pitchFamily="34" charset="0"/>
                <a:cs typeface="Calibri" panose="020F0502020204030204" pitchFamily="34" charset="0"/>
              </a:rPr>
              <a:t>Train booking</a:t>
            </a:r>
          </a:p>
          <a:p>
            <a:pPr lvl="2"/>
            <a:r>
              <a:rPr lang="en-US" sz="1600" dirty="0">
                <a:solidFill>
                  <a:schemeClr val="bg1"/>
                </a:solidFill>
                <a:latin typeface="Calibri" panose="020F0502020204030204" pitchFamily="34" charset="0"/>
                <a:cs typeface="Calibri" panose="020F0502020204030204" pitchFamily="34" charset="0"/>
              </a:rPr>
              <a:t>Hotels</a:t>
            </a:r>
          </a:p>
          <a:p>
            <a:r>
              <a:rPr lang="en-US" sz="1600" dirty="0">
                <a:solidFill>
                  <a:schemeClr val="bg1"/>
                </a:solidFill>
                <a:latin typeface="Calibri" panose="020F0502020204030204" pitchFamily="34" charset="0"/>
                <a:cs typeface="Calibri" panose="020F0502020204030204" pitchFamily="34" charset="0"/>
              </a:rPr>
              <a:t>Airbnb helps uses to choose the best hotel near them</a:t>
            </a:r>
          </a:p>
          <a:p>
            <a:r>
              <a:rPr lang="en-US" sz="1600" dirty="0">
                <a:solidFill>
                  <a:schemeClr val="bg1"/>
                </a:solidFill>
                <a:latin typeface="Calibri" panose="020F0502020204030204" pitchFamily="34" charset="0"/>
                <a:cs typeface="Calibri" panose="020F0502020204030204" pitchFamily="34" charset="0"/>
              </a:rPr>
              <a:t>Booking.com is used for booking tickets and also used to book hotels and so. </a:t>
            </a:r>
          </a:p>
          <a:p>
            <a:pPr marL="914400" lvl="2" indent="0">
              <a:buNone/>
            </a:pPr>
            <a:endParaRPr lang="en-US" sz="1600" dirty="0">
              <a:solidFill>
                <a:schemeClr val="bg1"/>
              </a:solidFill>
              <a:latin typeface="Calibri" panose="020F0502020204030204" pitchFamily="34" charset="0"/>
              <a:cs typeface="Calibri" panose="020F0502020204030204" pitchFamily="34" charset="0"/>
            </a:endParaRPr>
          </a:p>
          <a:p>
            <a:pPr lvl="2"/>
            <a:endParaRPr lang="en-US" sz="1600" dirty="0">
              <a:solidFill>
                <a:schemeClr val="bg1"/>
              </a:solidFill>
              <a:latin typeface="Calibri" panose="020F0502020204030204" pitchFamily="34" charset="0"/>
              <a:cs typeface="Calibri" panose="020F0502020204030204" pitchFamily="34" charset="0"/>
            </a:endParaRPr>
          </a:p>
        </p:txBody>
      </p:sp>
      <p:grpSp>
        <p:nvGrpSpPr>
          <p:cNvPr id="10" name="Group 9">
            <a:extLst>
              <a:ext uri="{FF2B5EF4-FFF2-40B4-BE49-F238E27FC236}">
                <a16:creationId xmlns:a16="http://schemas.microsoft.com/office/drawing/2014/main" id="{80B9D981-AB00-1F5B-F1EC-540B0EAAD0B4}"/>
              </a:ext>
            </a:extLst>
          </p:cNvPr>
          <p:cNvGrpSpPr/>
          <p:nvPr/>
        </p:nvGrpSpPr>
        <p:grpSpPr>
          <a:xfrm>
            <a:off x="355856" y="544463"/>
            <a:ext cx="1258339" cy="1209412"/>
            <a:chOff x="645658" y="2456893"/>
            <a:chExt cx="613064" cy="613064"/>
          </a:xfrm>
        </p:grpSpPr>
        <p:sp>
          <p:nvSpPr>
            <p:cNvPr id="11" name="Oval 10">
              <a:extLst>
                <a:ext uri="{FF2B5EF4-FFF2-40B4-BE49-F238E27FC236}">
                  <a16:creationId xmlns:a16="http://schemas.microsoft.com/office/drawing/2014/main" id="{561681AE-EA64-7409-4C10-AE84EF0FE32F}"/>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FC5C0819-8160-237F-69CF-5D5CA53F8A53}"/>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a:t>
              </a:r>
            </a:p>
          </p:txBody>
        </p:sp>
      </p:grpSp>
      <p:sp>
        <p:nvSpPr>
          <p:cNvPr id="13" name="Rectangle 12">
            <a:extLst>
              <a:ext uri="{FF2B5EF4-FFF2-40B4-BE49-F238E27FC236}">
                <a16:creationId xmlns:a16="http://schemas.microsoft.com/office/drawing/2014/main" id="{E9453BD4-F90F-1B27-F090-7134654561D4}"/>
              </a:ext>
            </a:extLst>
          </p:cNvPr>
          <p:cNvSpPr/>
          <p:nvPr/>
        </p:nvSpPr>
        <p:spPr>
          <a:xfrm>
            <a:off x="11476653" y="6195527"/>
            <a:ext cx="209160" cy="2612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IN" sz="1050" b="1" dirty="0">
                <a:solidFill>
                  <a:srgbClr val="D5204B"/>
                </a:solidFill>
              </a:rPr>
              <a:t>5</a:t>
            </a:r>
          </a:p>
        </p:txBody>
      </p:sp>
    </p:spTree>
    <p:extLst>
      <p:ext uri="{BB962C8B-B14F-4D97-AF65-F5344CB8AC3E}">
        <p14:creationId xmlns:p14="http://schemas.microsoft.com/office/powerpoint/2010/main" val="51236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uilding, outdoor, stone, government building&#10;&#10;Description automatically generated">
            <a:extLst>
              <a:ext uri="{FF2B5EF4-FFF2-40B4-BE49-F238E27FC236}">
                <a16:creationId xmlns:a16="http://schemas.microsoft.com/office/drawing/2014/main" id="{0450E0D7-1C1C-A2B1-B89D-1AB8F3015B3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0" y="0"/>
            <a:ext cx="12191992" cy="2788197"/>
          </a:xfrm>
          <a:custGeom>
            <a:avLst/>
            <a:gdLst>
              <a:gd name="connsiteX0" fmla="*/ 0 w 10174482"/>
              <a:gd name="connsiteY0" fmla="*/ 0 h 2326811"/>
              <a:gd name="connsiteX1" fmla="*/ 10174482 w 10174482"/>
              <a:gd name="connsiteY1" fmla="*/ 0 h 2326811"/>
              <a:gd name="connsiteX2" fmla="*/ 10174482 w 10174482"/>
              <a:gd name="connsiteY2" fmla="*/ 2326811 h 2326811"/>
              <a:gd name="connsiteX3" fmla="*/ 0 w 10174482"/>
              <a:gd name="connsiteY3" fmla="*/ 2326811 h 2326811"/>
            </a:gdLst>
            <a:ahLst/>
            <a:cxnLst>
              <a:cxn ang="0">
                <a:pos x="connsiteX0" y="connsiteY0"/>
              </a:cxn>
              <a:cxn ang="0">
                <a:pos x="connsiteX1" y="connsiteY1"/>
              </a:cxn>
              <a:cxn ang="0">
                <a:pos x="connsiteX2" y="connsiteY2"/>
              </a:cxn>
              <a:cxn ang="0">
                <a:pos x="connsiteX3" y="connsiteY3"/>
              </a:cxn>
            </a:cxnLst>
            <a:rect l="l" t="t" r="r" b="b"/>
            <a:pathLst>
              <a:path w="10174482" h="2326811">
                <a:moveTo>
                  <a:pt x="0" y="0"/>
                </a:moveTo>
                <a:lnTo>
                  <a:pt x="10174482" y="0"/>
                </a:lnTo>
                <a:lnTo>
                  <a:pt x="10174482" y="2326811"/>
                </a:lnTo>
                <a:lnTo>
                  <a:pt x="0" y="2326811"/>
                </a:lnTo>
                <a:close/>
              </a:path>
            </a:pathLst>
          </a:custGeom>
        </p:spPr>
      </p:pic>
      <p:sp>
        <p:nvSpPr>
          <p:cNvPr id="15" name="Rectangle 14">
            <a:extLst>
              <a:ext uri="{FF2B5EF4-FFF2-40B4-BE49-F238E27FC236}">
                <a16:creationId xmlns:a16="http://schemas.microsoft.com/office/drawing/2014/main" id="{0029ED0D-FBA9-19F6-8456-31574998A6E7}"/>
              </a:ext>
            </a:extLst>
          </p:cNvPr>
          <p:cNvSpPr/>
          <p:nvPr/>
        </p:nvSpPr>
        <p:spPr>
          <a:xfrm>
            <a:off x="0" y="0"/>
            <a:ext cx="12192000" cy="2788198"/>
          </a:xfrm>
          <a:prstGeom prst="rect">
            <a:avLst/>
          </a:prstGeom>
          <a:gradFill>
            <a:gsLst>
              <a:gs pos="0">
                <a:srgbClr val="085171">
                  <a:alpha val="90000"/>
                </a:srgbClr>
              </a:gs>
              <a:gs pos="100000">
                <a:srgbClr val="2D728F">
                  <a:alpha val="85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076D980-23C5-57F5-22BE-800170C1824A}"/>
              </a:ext>
            </a:extLst>
          </p:cNvPr>
          <p:cNvSpPr/>
          <p:nvPr/>
        </p:nvSpPr>
        <p:spPr>
          <a:xfrm>
            <a:off x="407988" y="961053"/>
            <a:ext cx="11376025" cy="5168284"/>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6089AF15-F59D-49DD-54AB-46C987166F2C}"/>
              </a:ext>
            </a:extLst>
          </p:cNvPr>
          <p:cNvSpPr txBox="1">
            <a:spLocks/>
          </p:cNvSpPr>
          <p:nvPr/>
        </p:nvSpPr>
        <p:spPr>
          <a:xfrm>
            <a:off x="4867666" y="303204"/>
            <a:ext cx="4416917" cy="549531"/>
          </a:xfrm>
          <a:prstGeom prst="rect">
            <a:avLst/>
          </a:prstGeom>
        </p:spPr>
        <p:txBody>
          <a:bodyP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D" b="1" dirty="0">
                <a:solidFill>
                  <a:schemeClr val="bg1"/>
                </a:solidFill>
                <a:cs typeface="Arial" panose="020B0604020202020204" pitchFamily="34" charset="0"/>
              </a:rPr>
              <a:t>Literature Survey </a:t>
            </a:r>
          </a:p>
        </p:txBody>
      </p:sp>
      <p:grpSp>
        <p:nvGrpSpPr>
          <p:cNvPr id="92" name="Group 91">
            <a:extLst>
              <a:ext uri="{FF2B5EF4-FFF2-40B4-BE49-F238E27FC236}">
                <a16:creationId xmlns:a16="http://schemas.microsoft.com/office/drawing/2014/main" id="{E1825A05-8537-B605-C983-A28D866DEE88}"/>
              </a:ext>
            </a:extLst>
          </p:cNvPr>
          <p:cNvGrpSpPr/>
          <p:nvPr/>
        </p:nvGrpSpPr>
        <p:grpSpPr>
          <a:xfrm>
            <a:off x="845830" y="1291582"/>
            <a:ext cx="8674641" cy="2133519"/>
            <a:chOff x="845829" y="2636214"/>
            <a:chExt cx="8674641" cy="2818647"/>
          </a:xfrm>
        </p:grpSpPr>
        <p:sp>
          <p:nvSpPr>
            <p:cNvPr id="27" name="Rectangle: Rounded Corners 26">
              <a:extLst>
                <a:ext uri="{FF2B5EF4-FFF2-40B4-BE49-F238E27FC236}">
                  <a16:creationId xmlns:a16="http://schemas.microsoft.com/office/drawing/2014/main" id="{51DCD9CE-9F3B-FA6E-8FD3-8186D08DCCA9}"/>
                </a:ext>
              </a:extLst>
            </p:cNvPr>
            <p:cNvSpPr/>
            <p:nvPr/>
          </p:nvSpPr>
          <p:spPr>
            <a:xfrm>
              <a:off x="845829" y="2653514"/>
              <a:ext cx="2712028" cy="28013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2" name="TextBox 41">
              <a:extLst>
                <a:ext uri="{FF2B5EF4-FFF2-40B4-BE49-F238E27FC236}">
                  <a16:creationId xmlns:a16="http://schemas.microsoft.com/office/drawing/2014/main" id="{D24AF11F-9EEA-9791-CBE3-72CEB96F10A3}"/>
                </a:ext>
              </a:extLst>
            </p:cNvPr>
            <p:cNvSpPr txBox="1"/>
            <p:nvPr/>
          </p:nvSpPr>
          <p:spPr>
            <a:xfrm>
              <a:off x="1120000" y="4024005"/>
              <a:ext cx="2207172" cy="853885"/>
            </a:xfrm>
            <a:prstGeom prst="rect">
              <a:avLst/>
            </a:prstGeom>
            <a:noFill/>
          </p:spPr>
          <p:txBody>
            <a:bodyPr wrap="square">
              <a:spAutoFit/>
            </a:bodyPr>
            <a:lstStyle/>
            <a:p>
              <a:pPr algn="ctr"/>
              <a:r>
                <a:rPr lang="en-ID" sz="1200" b="0" i="0" dirty="0">
                  <a:solidFill>
                    <a:srgbClr val="000000"/>
                  </a:solidFill>
                  <a:effectLst/>
                </a:rPr>
                <a:t>“</a:t>
              </a:r>
              <a:r>
                <a:rPr lang="en-IN" sz="1200" dirty="0">
                  <a:solidFill>
                    <a:srgbClr val="000000"/>
                  </a:solidFill>
                  <a:effectLst/>
                  <a:ea typeface="Times New Roman" panose="02020603050405020304" pitchFamily="18" charset="0"/>
                </a:rPr>
                <a:t>The analysis has focused on 61 papers published from 2009 until 2020 about E-travel</a:t>
              </a:r>
              <a:r>
                <a:rPr lang="en-ID" sz="1200" b="0" i="0" dirty="0">
                  <a:solidFill>
                    <a:srgbClr val="000000"/>
                  </a:solidFill>
                  <a:effectLst/>
                </a:rPr>
                <a:t>”</a:t>
              </a:r>
            </a:p>
          </p:txBody>
        </p:sp>
        <p:sp>
          <p:nvSpPr>
            <p:cNvPr id="59" name="Rectangle: Rounded Corners 58">
              <a:extLst>
                <a:ext uri="{FF2B5EF4-FFF2-40B4-BE49-F238E27FC236}">
                  <a16:creationId xmlns:a16="http://schemas.microsoft.com/office/drawing/2014/main" id="{6369D5C7-4511-91B8-05F9-5006538169A3}"/>
                </a:ext>
              </a:extLst>
            </p:cNvPr>
            <p:cNvSpPr/>
            <p:nvPr/>
          </p:nvSpPr>
          <p:spPr>
            <a:xfrm>
              <a:off x="3827136" y="2636214"/>
              <a:ext cx="2712028" cy="28013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4" name="TextBox 63">
              <a:extLst>
                <a:ext uri="{FF2B5EF4-FFF2-40B4-BE49-F238E27FC236}">
                  <a16:creationId xmlns:a16="http://schemas.microsoft.com/office/drawing/2014/main" id="{B4AAC8EF-2E8C-6BCC-D1CC-1D38ECFEBF09}"/>
                </a:ext>
              </a:extLst>
            </p:cNvPr>
            <p:cNvSpPr txBox="1"/>
            <p:nvPr/>
          </p:nvSpPr>
          <p:spPr>
            <a:xfrm>
              <a:off x="4069909" y="3927367"/>
              <a:ext cx="2207172" cy="1097852"/>
            </a:xfrm>
            <a:prstGeom prst="rect">
              <a:avLst/>
            </a:prstGeom>
            <a:noFill/>
          </p:spPr>
          <p:txBody>
            <a:bodyPr wrap="square">
              <a:spAutoFit/>
            </a:bodyPr>
            <a:lstStyle/>
            <a:p>
              <a:pPr algn="ctr"/>
              <a:r>
                <a:rPr lang="en-ID" sz="1200" b="0" i="0" dirty="0">
                  <a:solidFill>
                    <a:srgbClr val="000000"/>
                  </a:solidFill>
                  <a:effectLst/>
                </a:rPr>
                <a:t>“explores the effect of OTA employees emotional intelligence and emotional labour”</a:t>
              </a:r>
            </a:p>
          </p:txBody>
        </p:sp>
        <p:sp>
          <p:nvSpPr>
            <p:cNvPr id="72" name="Rectangle: Rounded Corners 71">
              <a:extLst>
                <a:ext uri="{FF2B5EF4-FFF2-40B4-BE49-F238E27FC236}">
                  <a16:creationId xmlns:a16="http://schemas.microsoft.com/office/drawing/2014/main" id="{6ED14A6F-9EE2-3D48-366E-8AEC9D913E14}"/>
                </a:ext>
              </a:extLst>
            </p:cNvPr>
            <p:cNvSpPr/>
            <p:nvPr/>
          </p:nvSpPr>
          <p:spPr>
            <a:xfrm>
              <a:off x="6808442" y="2653514"/>
              <a:ext cx="2712028" cy="28013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7" name="TextBox 76">
              <a:extLst>
                <a:ext uri="{FF2B5EF4-FFF2-40B4-BE49-F238E27FC236}">
                  <a16:creationId xmlns:a16="http://schemas.microsoft.com/office/drawing/2014/main" id="{01E239C6-13F5-2419-D5F4-EE5DF701EE1C}"/>
                </a:ext>
              </a:extLst>
            </p:cNvPr>
            <p:cNvSpPr txBox="1"/>
            <p:nvPr/>
          </p:nvSpPr>
          <p:spPr>
            <a:xfrm>
              <a:off x="7077410" y="4124230"/>
              <a:ext cx="2207172" cy="853885"/>
            </a:xfrm>
            <a:prstGeom prst="rect">
              <a:avLst/>
            </a:prstGeom>
            <a:noFill/>
          </p:spPr>
          <p:txBody>
            <a:bodyPr wrap="square">
              <a:spAutoFit/>
            </a:bodyPr>
            <a:lstStyle/>
            <a:p>
              <a:pPr algn="ctr"/>
              <a:r>
                <a:rPr lang="en-ID" sz="1200" b="0" i="0" dirty="0">
                  <a:solidFill>
                    <a:srgbClr val="000000"/>
                  </a:solidFill>
                  <a:effectLst/>
                </a:rPr>
                <a:t>“</a:t>
              </a:r>
              <a:r>
                <a:rPr lang="en-ID" sz="1200" dirty="0">
                  <a:solidFill>
                    <a:srgbClr val="000000"/>
                  </a:solidFill>
                </a:rPr>
                <a:t>introduction of E-travel and OTP has helped many travel agency to thrive</a:t>
              </a:r>
              <a:r>
                <a:rPr lang="en-ID" sz="1200" b="0" i="0" dirty="0">
                  <a:solidFill>
                    <a:srgbClr val="000000"/>
                  </a:solidFill>
                  <a:effectLst/>
                </a:rPr>
                <a:t>”</a:t>
              </a:r>
            </a:p>
          </p:txBody>
        </p:sp>
      </p:grpSp>
      <p:pic>
        <p:nvPicPr>
          <p:cNvPr id="46" name="Graphic 45" descr="Open quotation mark with solid fill">
            <a:extLst>
              <a:ext uri="{FF2B5EF4-FFF2-40B4-BE49-F238E27FC236}">
                <a16:creationId xmlns:a16="http://schemas.microsoft.com/office/drawing/2014/main" id="{7E537CC9-8CE3-0715-9952-0FA0460CEFD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0942" y="3987958"/>
            <a:ext cx="1247192" cy="1247192"/>
          </a:xfrm>
          <a:prstGeom prst="rect">
            <a:avLst/>
          </a:prstGeom>
        </p:spPr>
      </p:pic>
      <p:grpSp>
        <p:nvGrpSpPr>
          <p:cNvPr id="2" name="Group 1">
            <a:extLst>
              <a:ext uri="{FF2B5EF4-FFF2-40B4-BE49-F238E27FC236}">
                <a16:creationId xmlns:a16="http://schemas.microsoft.com/office/drawing/2014/main" id="{FA1C6768-3B04-F8A1-2B2B-A5BFE09DB620}"/>
              </a:ext>
            </a:extLst>
          </p:cNvPr>
          <p:cNvGrpSpPr/>
          <p:nvPr/>
        </p:nvGrpSpPr>
        <p:grpSpPr>
          <a:xfrm>
            <a:off x="2471122" y="3632273"/>
            <a:ext cx="5693335" cy="2199359"/>
            <a:chOff x="845829" y="2636214"/>
            <a:chExt cx="5693335" cy="2818647"/>
          </a:xfrm>
        </p:grpSpPr>
        <p:sp>
          <p:nvSpPr>
            <p:cNvPr id="3" name="Rectangle: Rounded Corners 2">
              <a:extLst>
                <a:ext uri="{FF2B5EF4-FFF2-40B4-BE49-F238E27FC236}">
                  <a16:creationId xmlns:a16="http://schemas.microsoft.com/office/drawing/2014/main" id="{1CCF6849-6C2C-BEAC-3564-C71501DCF2DB}"/>
                </a:ext>
              </a:extLst>
            </p:cNvPr>
            <p:cNvSpPr/>
            <p:nvPr/>
          </p:nvSpPr>
          <p:spPr>
            <a:xfrm>
              <a:off x="845829" y="2653514"/>
              <a:ext cx="2712028" cy="28013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 name="TextBox 3">
              <a:extLst>
                <a:ext uri="{FF2B5EF4-FFF2-40B4-BE49-F238E27FC236}">
                  <a16:creationId xmlns:a16="http://schemas.microsoft.com/office/drawing/2014/main" id="{C0521DBC-2515-43E1-E6ED-F993F204458A}"/>
                </a:ext>
              </a:extLst>
            </p:cNvPr>
            <p:cNvSpPr txBox="1"/>
            <p:nvPr/>
          </p:nvSpPr>
          <p:spPr>
            <a:xfrm>
              <a:off x="1144547" y="4230434"/>
              <a:ext cx="2207172" cy="828323"/>
            </a:xfrm>
            <a:prstGeom prst="rect">
              <a:avLst/>
            </a:prstGeom>
            <a:noFill/>
          </p:spPr>
          <p:txBody>
            <a:bodyPr wrap="square">
              <a:spAutoFit/>
            </a:bodyPr>
            <a:lstStyle/>
            <a:p>
              <a:pPr algn="ctr"/>
              <a:r>
                <a:rPr lang="en-ID" sz="1200" b="0" i="0" dirty="0">
                  <a:solidFill>
                    <a:srgbClr val="000000"/>
                  </a:solidFill>
                  <a:effectLst/>
                </a:rPr>
                <a:t>“</a:t>
              </a:r>
              <a:r>
                <a:rPr lang="en-ID" sz="1200" dirty="0">
                  <a:solidFill>
                    <a:srgbClr val="000000"/>
                  </a:solidFill>
                </a:rPr>
                <a:t>Internet and mobile technology has helped the consumers with more and more tool to travel</a:t>
              </a:r>
              <a:r>
                <a:rPr lang="en-ID" sz="1200" b="0" i="0" dirty="0">
                  <a:solidFill>
                    <a:srgbClr val="000000"/>
                  </a:solidFill>
                  <a:effectLst/>
                </a:rPr>
                <a:t>”</a:t>
              </a:r>
            </a:p>
          </p:txBody>
        </p:sp>
        <p:sp>
          <p:nvSpPr>
            <p:cNvPr id="7" name="Rectangle: Rounded Corners 6">
              <a:extLst>
                <a:ext uri="{FF2B5EF4-FFF2-40B4-BE49-F238E27FC236}">
                  <a16:creationId xmlns:a16="http://schemas.microsoft.com/office/drawing/2014/main" id="{DD8197BE-25D5-6949-A774-C557FF1D0083}"/>
                </a:ext>
              </a:extLst>
            </p:cNvPr>
            <p:cNvSpPr/>
            <p:nvPr/>
          </p:nvSpPr>
          <p:spPr>
            <a:xfrm>
              <a:off x="3827136" y="2636214"/>
              <a:ext cx="2712028" cy="28013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TextBox 7">
              <a:extLst>
                <a:ext uri="{FF2B5EF4-FFF2-40B4-BE49-F238E27FC236}">
                  <a16:creationId xmlns:a16="http://schemas.microsoft.com/office/drawing/2014/main" id="{A352394B-5278-02F5-E4F2-6859049D422B}"/>
                </a:ext>
              </a:extLst>
            </p:cNvPr>
            <p:cNvSpPr txBox="1"/>
            <p:nvPr/>
          </p:nvSpPr>
          <p:spPr>
            <a:xfrm>
              <a:off x="4087418" y="4230432"/>
              <a:ext cx="2207172" cy="828323"/>
            </a:xfrm>
            <a:prstGeom prst="rect">
              <a:avLst/>
            </a:prstGeom>
            <a:noFill/>
          </p:spPr>
          <p:txBody>
            <a:bodyPr wrap="square">
              <a:spAutoFit/>
            </a:bodyPr>
            <a:lstStyle/>
            <a:p>
              <a:pPr algn="ctr"/>
              <a:r>
                <a:rPr lang="en-ID" sz="1200" b="0" i="0" dirty="0">
                  <a:solidFill>
                    <a:srgbClr val="000000"/>
                  </a:solidFill>
                  <a:effectLst/>
                </a:rPr>
                <a:t>“this paper describes about </a:t>
              </a:r>
              <a:r>
                <a:rPr lang="en-ID" sz="1200" dirty="0">
                  <a:solidFill>
                    <a:srgbClr val="000000"/>
                  </a:solidFill>
                </a:rPr>
                <a:t>the various methods of data mining, big data and machine learning</a:t>
              </a:r>
              <a:r>
                <a:rPr lang="en-ID" sz="1200" b="0" i="0" dirty="0">
                  <a:solidFill>
                    <a:srgbClr val="000000"/>
                  </a:solidFill>
                  <a:effectLst/>
                </a:rPr>
                <a:t>”</a:t>
              </a:r>
            </a:p>
          </p:txBody>
        </p:sp>
      </p:grpSp>
      <p:pic>
        <p:nvPicPr>
          <p:cNvPr id="13" name="Graphic 12" descr="Open quotation mark with solid fill">
            <a:extLst>
              <a:ext uri="{FF2B5EF4-FFF2-40B4-BE49-F238E27FC236}">
                <a16:creationId xmlns:a16="http://schemas.microsoft.com/office/drawing/2014/main" id="{84A3E392-859A-4421-9F13-D9FA72F305F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a:off x="10058717" y="1608228"/>
            <a:ext cx="1247192" cy="1247192"/>
          </a:xfrm>
          <a:prstGeom prst="rect">
            <a:avLst/>
          </a:prstGeom>
        </p:spPr>
      </p:pic>
      <p:sp>
        <p:nvSpPr>
          <p:cNvPr id="17" name="TextBox 16">
            <a:extLst>
              <a:ext uri="{FF2B5EF4-FFF2-40B4-BE49-F238E27FC236}">
                <a16:creationId xmlns:a16="http://schemas.microsoft.com/office/drawing/2014/main" id="{EF1BC90C-30FD-F9A0-4CD5-5C34AD322E66}"/>
              </a:ext>
            </a:extLst>
          </p:cNvPr>
          <p:cNvSpPr txBox="1"/>
          <p:nvPr/>
        </p:nvSpPr>
        <p:spPr>
          <a:xfrm>
            <a:off x="1081719" y="1497390"/>
            <a:ext cx="2207172" cy="646331"/>
          </a:xfrm>
          <a:prstGeom prst="rect">
            <a:avLst/>
          </a:prstGeom>
          <a:noFill/>
        </p:spPr>
        <p:txBody>
          <a:bodyPr wrap="square">
            <a:spAutoFit/>
          </a:bodyPr>
          <a:lstStyle/>
          <a:p>
            <a:pPr algn="ctr"/>
            <a:r>
              <a:rPr lang="en-ID" sz="1200" dirty="0">
                <a:solidFill>
                  <a:srgbClr val="000000"/>
                </a:solidFill>
              </a:rPr>
              <a:t>Title: OTA role in tourism</a:t>
            </a:r>
          </a:p>
          <a:p>
            <a:pPr algn="ctr"/>
            <a:r>
              <a:rPr lang="en-ID" sz="1200" b="0" i="0" dirty="0">
                <a:solidFill>
                  <a:srgbClr val="000000"/>
                </a:solidFill>
                <a:effectLst/>
              </a:rPr>
              <a:t>Author: Gisele Magrini, Sara Joana G</a:t>
            </a:r>
            <a:r>
              <a:rPr lang="en-ID" sz="1200" dirty="0">
                <a:solidFill>
                  <a:srgbClr val="000000"/>
                </a:solidFill>
              </a:rPr>
              <a:t>adotti</a:t>
            </a:r>
            <a:endParaRPr lang="en-ID" sz="1200" b="0" i="0" dirty="0">
              <a:solidFill>
                <a:srgbClr val="000000"/>
              </a:solidFill>
              <a:effectLst/>
            </a:endParaRPr>
          </a:p>
        </p:txBody>
      </p:sp>
      <p:sp>
        <p:nvSpPr>
          <p:cNvPr id="19" name="TextBox 18">
            <a:extLst>
              <a:ext uri="{FF2B5EF4-FFF2-40B4-BE49-F238E27FC236}">
                <a16:creationId xmlns:a16="http://schemas.microsoft.com/office/drawing/2014/main" id="{68ABCEDE-45CB-8527-C4EA-FB334448FC9B}"/>
              </a:ext>
            </a:extLst>
          </p:cNvPr>
          <p:cNvSpPr txBox="1"/>
          <p:nvPr/>
        </p:nvSpPr>
        <p:spPr>
          <a:xfrm>
            <a:off x="4063025" y="1511665"/>
            <a:ext cx="2207172" cy="646331"/>
          </a:xfrm>
          <a:prstGeom prst="rect">
            <a:avLst/>
          </a:prstGeom>
          <a:noFill/>
        </p:spPr>
        <p:txBody>
          <a:bodyPr wrap="square">
            <a:spAutoFit/>
          </a:bodyPr>
          <a:lstStyle/>
          <a:p>
            <a:pPr algn="ctr"/>
            <a:r>
              <a:rPr lang="en-ID" sz="1200" dirty="0">
                <a:solidFill>
                  <a:srgbClr val="000000"/>
                </a:solidFill>
              </a:rPr>
              <a:t>Title: Service recovery effect of OTA</a:t>
            </a:r>
          </a:p>
          <a:p>
            <a:pPr algn="ctr"/>
            <a:r>
              <a:rPr lang="en-ID" sz="1200" b="0" i="0" dirty="0">
                <a:solidFill>
                  <a:srgbClr val="000000"/>
                </a:solidFill>
                <a:effectLst/>
              </a:rPr>
              <a:t>Author: </a:t>
            </a:r>
            <a:r>
              <a:rPr lang="en-ID" sz="1200" dirty="0" err="1">
                <a:solidFill>
                  <a:srgbClr val="000000"/>
                </a:solidFill>
              </a:rPr>
              <a:t>Jiahua</a:t>
            </a:r>
            <a:r>
              <a:rPr lang="en-ID" sz="1200" dirty="0">
                <a:solidFill>
                  <a:srgbClr val="000000"/>
                </a:solidFill>
              </a:rPr>
              <a:t> Wei</a:t>
            </a:r>
            <a:endParaRPr lang="en-ID" sz="1200" b="0" i="0" dirty="0">
              <a:solidFill>
                <a:srgbClr val="000000"/>
              </a:solidFill>
              <a:effectLst/>
            </a:endParaRPr>
          </a:p>
        </p:txBody>
      </p:sp>
      <p:sp>
        <p:nvSpPr>
          <p:cNvPr id="21" name="TextBox 20">
            <a:extLst>
              <a:ext uri="{FF2B5EF4-FFF2-40B4-BE49-F238E27FC236}">
                <a16:creationId xmlns:a16="http://schemas.microsoft.com/office/drawing/2014/main" id="{F86B1064-F0D4-8311-98F3-C8D5C4DD87B2}"/>
              </a:ext>
            </a:extLst>
          </p:cNvPr>
          <p:cNvSpPr txBox="1"/>
          <p:nvPr/>
        </p:nvSpPr>
        <p:spPr>
          <a:xfrm>
            <a:off x="7082148" y="1608227"/>
            <a:ext cx="2207172" cy="646331"/>
          </a:xfrm>
          <a:prstGeom prst="rect">
            <a:avLst/>
          </a:prstGeom>
          <a:noFill/>
        </p:spPr>
        <p:txBody>
          <a:bodyPr wrap="square">
            <a:spAutoFit/>
          </a:bodyPr>
          <a:lstStyle/>
          <a:p>
            <a:pPr algn="ctr"/>
            <a:r>
              <a:rPr lang="en-ID" sz="1200" dirty="0">
                <a:solidFill>
                  <a:srgbClr val="000000"/>
                </a:solidFill>
              </a:rPr>
              <a:t>Title: OTA and their effect on travel agency</a:t>
            </a:r>
          </a:p>
          <a:p>
            <a:pPr algn="ctr"/>
            <a:r>
              <a:rPr lang="en-ID" sz="1200" b="0" i="0" dirty="0">
                <a:solidFill>
                  <a:srgbClr val="000000"/>
                </a:solidFill>
                <a:effectLst/>
              </a:rPr>
              <a:t>Author: Sujay Vikram Singh</a:t>
            </a:r>
          </a:p>
        </p:txBody>
      </p:sp>
      <p:sp>
        <p:nvSpPr>
          <p:cNvPr id="22" name="TextBox 21">
            <a:extLst>
              <a:ext uri="{FF2B5EF4-FFF2-40B4-BE49-F238E27FC236}">
                <a16:creationId xmlns:a16="http://schemas.microsoft.com/office/drawing/2014/main" id="{5CE272EA-85AC-ADB9-CBF6-264A2DBDEE80}"/>
              </a:ext>
            </a:extLst>
          </p:cNvPr>
          <p:cNvSpPr txBox="1"/>
          <p:nvPr/>
        </p:nvSpPr>
        <p:spPr>
          <a:xfrm>
            <a:off x="2723550" y="3971082"/>
            <a:ext cx="2207172" cy="646331"/>
          </a:xfrm>
          <a:prstGeom prst="rect">
            <a:avLst/>
          </a:prstGeom>
          <a:noFill/>
        </p:spPr>
        <p:txBody>
          <a:bodyPr wrap="square">
            <a:spAutoFit/>
          </a:bodyPr>
          <a:lstStyle/>
          <a:p>
            <a:pPr algn="ctr"/>
            <a:r>
              <a:rPr lang="en-ID" sz="1200" dirty="0">
                <a:solidFill>
                  <a:srgbClr val="000000"/>
                </a:solidFill>
              </a:rPr>
              <a:t>Title: Strengths of OTA</a:t>
            </a:r>
          </a:p>
          <a:p>
            <a:pPr algn="ctr"/>
            <a:r>
              <a:rPr lang="en-ID" sz="1200" b="0" i="0" dirty="0">
                <a:solidFill>
                  <a:srgbClr val="000000"/>
                </a:solidFill>
                <a:effectLst/>
              </a:rPr>
              <a:t>Author: Mercedes Marzo, Maria Gomez</a:t>
            </a:r>
          </a:p>
        </p:txBody>
      </p:sp>
      <p:sp>
        <p:nvSpPr>
          <p:cNvPr id="23" name="TextBox 22">
            <a:extLst>
              <a:ext uri="{FF2B5EF4-FFF2-40B4-BE49-F238E27FC236}">
                <a16:creationId xmlns:a16="http://schemas.microsoft.com/office/drawing/2014/main" id="{E28DA1F4-3E91-5C19-8D14-1FFC8113EFDF}"/>
              </a:ext>
            </a:extLst>
          </p:cNvPr>
          <p:cNvSpPr txBox="1"/>
          <p:nvPr/>
        </p:nvSpPr>
        <p:spPr>
          <a:xfrm>
            <a:off x="5712711" y="3987958"/>
            <a:ext cx="2207172" cy="461665"/>
          </a:xfrm>
          <a:prstGeom prst="rect">
            <a:avLst/>
          </a:prstGeom>
          <a:noFill/>
        </p:spPr>
        <p:txBody>
          <a:bodyPr wrap="square">
            <a:spAutoFit/>
          </a:bodyPr>
          <a:lstStyle/>
          <a:p>
            <a:pPr algn="ctr"/>
            <a:r>
              <a:rPr lang="en-ID" sz="1200" dirty="0">
                <a:solidFill>
                  <a:srgbClr val="000000"/>
                </a:solidFill>
              </a:rPr>
              <a:t>Title: Understanding of OTA</a:t>
            </a:r>
          </a:p>
          <a:p>
            <a:pPr algn="ctr"/>
            <a:r>
              <a:rPr lang="en-ID" sz="1200" b="0" i="0" dirty="0">
                <a:solidFill>
                  <a:srgbClr val="000000"/>
                </a:solidFill>
                <a:effectLst/>
              </a:rPr>
              <a:t>Author: Sangwon Park</a:t>
            </a:r>
          </a:p>
        </p:txBody>
      </p:sp>
      <p:pic>
        <p:nvPicPr>
          <p:cNvPr id="25" name="Graphic 24" descr="Train">
            <a:extLst>
              <a:ext uri="{FF2B5EF4-FFF2-40B4-BE49-F238E27FC236}">
                <a16:creationId xmlns:a16="http://schemas.microsoft.com/office/drawing/2014/main" id="{25CF927E-4A9F-FE3E-945C-697E9E1A50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7193" y="4415754"/>
            <a:ext cx="1017761" cy="1017761"/>
          </a:xfrm>
          <a:prstGeom prst="rect">
            <a:avLst/>
          </a:prstGeom>
        </p:spPr>
      </p:pic>
      <p:pic>
        <p:nvPicPr>
          <p:cNvPr id="26" name="Graphic 25" descr="Bus">
            <a:extLst>
              <a:ext uri="{FF2B5EF4-FFF2-40B4-BE49-F238E27FC236}">
                <a16:creationId xmlns:a16="http://schemas.microsoft.com/office/drawing/2014/main" id="{67F9ED40-527F-1D0E-00B7-7F8BE17DEA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85647" y="3728651"/>
            <a:ext cx="924960" cy="924960"/>
          </a:xfrm>
          <a:prstGeom prst="rect">
            <a:avLst/>
          </a:prstGeom>
        </p:spPr>
      </p:pic>
      <p:pic>
        <p:nvPicPr>
          <p:cNvPr id="28" name="Graphic 27" descr="City">
            <a:extLst>
              <a:ext uri="{FF2B5EF4-FFF2-40B4-BE49-F238E27FC236}">
                <a16:creationId xmlns:a16="http://schemas.microsoft.com/office/drawing/2014/main" id="{302D51C1-45A2-1192-6FC6-D459F57B1B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17248" y="2627954"/>
            <a:ext cx="1730130" cy="1730130"/>
          </a:xfrm>
          <a:prstGeom prst="rect">
            <a:avLst/>
          </a:prstGeom>
        </p:spPr>
      </p:pic>
      <p:sp>
        <p:nvSpPr>
          <p:cNvPr id="38" name="Graphic 34" descr="Airplane">
            <a:extLst>
              <a:ext uri="{FF2B5EF4-FFF2-40B4-BE49-F238E27FC236}">
                <a16:creationId xmlns:a16="http://schemas.microsoft.com/office/drawing/2014/main" id="{44DB5B4C-ABD4-9B6F-9C40-E7C433F1964B}"/>
              </a:ext>
            </a:extLst>
          </p:cNvPr>
          <p:cNvSpPr/>
          <p:nvPr/>
        </p:nvSpPr>
        <p:spPr>
          <a:xfrm rot="1874387">
            <a:off x="9072149" y="4383216"/>
            <a:ext cx="1084607" cy="1322466"/>
          </a:xfrm>
          <a:custGeom>
            <a:avLst/>
            <a:gdLst>
              <a:gd name="connsiteX0" fmla="*/ 471522 w 471521"/>
              <a:gd name="connsiteY0" fmla="*/ 402180 h 554731"/>
              <a:gd name="connsiteX1" fmla="*/ 471522 w 471521"/>
              <a:gd name="connsiteY1" fmla="*/ 339773 h 554731"/>
              <a:gd name="connsiteX2" fmla="*/ 270432 w 471521"/>
              <a:gd name="connsiteY2" fmla="*/ 197623 h 554731"/>
              <a:gd name="connsiteX3" fmla="*/ 270432 w 471521"/>
              <a:gd name="connsiteY3" fmla="*/ 62407 h 554731"/>
              <a:gd name="connsiteX4" fmla="*/ 235761 w 471521"/>
              <a:gd name="connsiteY4" fmla="*/ 0 h 554731"/>
              <a:gd name="connsiteX5" fmla="*/ 201090 w 471521"/>
              <a:gd name="connsiteY5" fmla="*/ 62407 h 554731"/>
              <a:gd name="connsiteX6" fmla="*/ 201090 w 471521"/>
              <a:gd name="connsiteY6" fmla="*/ 197623 h 554731"/>
              <a:gd name="connsiteX7" fmla="*/ 0 w 471521"/>
              <a:gd name="connsiteY7" fmla="*/ 339773 h 554731"/>
              <a:gd name="connsiteX8" fmla="*/ 0 w 471521"/>
              <a:gd name="connsiteY8" fmla="*/ 402180 h 554731"/>
              <a:gd name="connsiteX9" fmla="*/ 201090 w 471521"/>
              <a:gd name="connsiteY9" fmla="*/ 301635 h 554731"/>
              <a:gd name="connsiteX10" fmla="*/ 201090 w 471521"/>
              <a:gd name="connsiteY10" fmla="*/ 452800 h 554731"/>
              <a:gd name="connsiteX11" fmla="*/ 131749 w 471521"/>
              <a:gd name="connsiteY11" fmla="*/ 513127 h 554731"/>
              <a:gd name="connsiteX12" fmla="*/ 131749 w 471521"/>
              <a:gd name="connsiteY12" fmla="*/ 554732 h 554731"/>
              <a:gd name="connsiteX13" fmla="*/ 235761 w 471521"/>
              <a:gd name="connsiteY13" fmla="*/ 513127 h 554731"/>
              <a:gd name="connsiteX14" fmla="*/ 339773 w 471521"/>
              <a:gd name="connsiteY14" fmla="*/ 554732 h 554731"/>
              <a:gd name="connsiteX15" fmla="*/ 339773 w 471521"/>
              <a:gd name="connsiteY15" fmla="*/ 513127 h 554731"/>
              <a:gd name="connsiteX16" fmla="*/ 270432 w 471521"/>
              <a:gd name="connsiteY16" fmla="*/ 452800 h 554731"/>
              <a:gd name="connsiteX17" fmla="*/ 270432 w 471521"/>
              <a:gd name="connsiteY17" fmla="*/ 301635 h 554731"/>
              <a:gd name="connsiteX18" fmla="*/ 471522 w 471521"/>
              <a:gd name="connsiteY18" fmla="*/ 402180 h 554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521" h="554731">
                <a:moveTo>
                  <a:pt x="471522" y="402180"/>
                </a:moveTo>
                <a:lnTo>
                  <a:pt x="471522" y="339773"/>
                </a:lnTo>
                <a:lnTo>
                  <a:pt x="270432" y="197623"/>
                </a:lnTo>
                <a:lnTo>
                  <a:pt x="270432" y="62407"/>
                </a:lnTo>
                <a:cubicBezTo>
                  <a:pt x="270432" y="35364"/>
                  <a:pt x="256563" y="0"/>
                  <a:pt x="235761" y="0"/>
                </a:cubicBezTo>
                <a:cubicBezTo>
                  <a:pt x="215652" y="0"/>
                  <a:pt x="201090" y="35364"/>
                  <a:pt x="201090" y="62407"/>
                </a:cubicBezTo>
                <a:lnTo>
                  <a:pt x="201090" y="197623"/>
                </a:lnTo>
                <a:lnTo>
                  <a:pt x="0" y="339773"/>
                </a:lnTo>
                <a:lnTo>
                  <a:pt x="0" y="402180"/>
                </a:lnTo>
                <a:lnTo>
                  <a:pt x="201090" y="301635"/>
                </a:lnTo>
                <a:lnTo>
                  <a:pt x="201090" y="452800"/>
                </a:lnTo>
                <a:lnTo>
                  <a:pt x="131749" y="513127"/>
                </a:lnTo>
                <a:lnTo>
                  <a:pt x="131749" y="554732"/>
                </a:lnTo>
                <a:lnTo>
                  <a:pt x="235761" y="513127"/>
                </a:lnTo>
                <a:lnTo>
                  <a:pt x="339773" y="554732"/>
                </a:lnTo>
                <a:lnTo>
                  <a:pt x="339773" y="513127"/>
                </a:lnTo>
                <a:lnTo>
                  <a:pt x="270432" y="452800"/>
                </a:lnTo>
                <a:lnTo>
                  <a:pt x="270432" y="301635"/>
                </a:lnTo>
                <a:lnTo>
                  <a:pt x="471522" y="402180"/>
                </a:lnTo>
                <a:close/>
              </a:path>
            </a:pathLst>
          </a:custGeom>
          <a:solidFill>
            <a:srgbClr val="D5204B"/>
          </a:solidFill>
          <a:ln w="6846" cap="flat">
            <a:noFill/>
            <a:prstDash val="solid"/>
            <a:miter/>
          </a:ln>
        </p:spPr>
        <p:txBody>
          <a:bodyPr rtlCol="0" anchor="ctr"/>
          <a:lstStyle/>
          <a:p>
            <a:endParaRPr lang="en-IN"/>
          </a:p>
        </p:txBody>
      </p:sp>
      <p:sp>
        <p:nvSpPr>
          <p:cNvPr id="39" name="Rectangle 38">
            <a:extLst>
              <a:ext uri="{FF2B5EF4-FFF2-40B4-BE49-F238E27FC236}">
                <a16:creationId xmlns:a16="http://schemas.microsoft.com/office/drawing/2014/main" id="{5916BAB1-0D1B-6996-E43B-60CCD8FB64AC}"/>
              </a:ext>
            </a:extLst>
          </p:cNvPr>
          <p:cNvSpPr/>
          <p:nvPr/>
        </p:nvSpPr>
        <p:spPr>
          <a:xfrm>
            <a:off x="407987" y="6331648"/>
            <a:ext cx="11014393" cy="2743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lumMod val="75000"/>
                  </a:schemeClr>
                </a:solidFill>
              </a:rPr>
              <a:t>Online travel agency </a:t>
            </a:r>
          </a:p>
        </p:txBody>
      </p:sp>
      <p:pic>
        <p:nvPicPr>
          <p:cNvPr id="40" name="Graphic 39" descr="Customer review RTL">
            <a:extLst>
              <a:ext uri="{FF2B5EF4-FFF2-40B4-BE49-F238E27FC236}">
                <a16:creationId xmlns:a16="http://schemas.microsoft.com/office/drawing/2014/main" id="{BF683AE1-721D-8024-9914-B0176B4CB9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63025" y="177009"/>
            <a:ext cx="654928" cy="654928"/>
          </a:xfrm>
          <a:prstGeom prst="rect">
            <a:avLst/>
          </a:prstGeom>
        </p:spPr>
      </p:pic>
      <p:sp>
        <p:nvSpPr>
          <p:cNvPr id="6" name="Rectangle 5">
            <a:extLst>
              <a:ext uri="{FF2B5EF4-FFF2-40B4-BE49-F238E27FC236}">
                <a16:creationId xmlns:a16="http://schemas.microsoft.com/office/drawing/2014/main" id="{24C1720E-C0B9-3308-82D1-49EF8D6E3E8E}"/>
              </a:ext>
            </a:extLst>
          </p:cNvPr>
          <p:cNvSpPr/>
          <p:nvPr/>
        </p:nvSpPr>
        <p:spPr>
          <a:xfrm>
            <a:off x="2421288" y="1176976"/>
            <a:ext cx="867603" cy="334689"/>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2</a:t>
            </a:r>
          </a:p>
        </p:txBody>
      </p:sp>
      <p:sp>
        <p:nvSpPr>
          <p:cNvPr id="9" name="Rectangle 8">
            <a:extLst>
              <a:ext uri="{FF2B5EF4-FFF2-40B4-BE49-F238E27FC236}">
                <a16:creationId xmlns:a16="http://schemas.microsoft.com/office/drawing/2014/main" id="{39E95848-9345-3177-ECF3-7905DEA39343}"/>
              </a:ext>
            </a:extLst>
          </p:cNvPr>
          <p:cNvSpPr/>
          <p:nvPr/>
        </p:nvSpPr>
        <p:spPr>
          <a:xfrm>
            <a:off x="5457124" y="1177688"/>
            <a:ext cx="867603" cy="334689"/>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1</a:t>
            </a:r>
          </a:p>
        </p:txBody>
      </p:sp>
      <p:sp>
        <p:nvSpPr>
          <p:cNvPr id="10" name="Rectangle 9">
            <a:extLst>
              <a:ext uri="{FF2B5EF4-FFF2-40B4-BE49-F238E27FC236}">
                <a16:creationId xmlns:a16="http://schemas.microsoft.com/office/drawing/2014/main" id="{C7CFF2A9-F08C-D796-01A5-D75E2BADB5BF}"/>
              </a:ext>
            </a:extLst>
          </p:cNvPr>
          <p:cNvSpPr/>
          <p:nvPr/>
        </p:nvSpPr>
        <p:spPr>
          <a:xfrm>
            <a:off x="8293985" y="1162701"/>
            <a:ext cx="867603" cy="334689"/>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19</a:t>
            </a:r>
          </a:p>
        </p:txBody>
      </p:sp>
      <p:sp>
        <p:nvSpPr>
          <p:cNvPr id="11" name="Rectangle 10">
            <a:extLst>
              <a:ext uri="{FF2B5EF4-FFF2-40B4-BE49-F238E27FC236}">
                <a16:creationId xmlns:a16="http://schemas.microsoft.com/office/drawing/2014/main" id="{33014C6C-8EDC-E9C8-3CDC-88E6A1CB767C}"/>
              </a:ext>
            </a:extLst>
          </p:cNvPr>
          <p:cNvSpPr/>
          <p:nvPr/>
        </p:nvSpPr>
        <p:spPr>
          <a:xfrm>
            <a:off x="4000063" y="3535237"/>
            <a:ext cx="867603" cy="334689"/>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19</a:t>
            </a:r>
          </a:p>
        </p:txBody>
      </p:sp>
      <p:sp>
        <p:nvSpPr>
          <p:cNvPr id="12" name="Rectangle 11">
            <a:extLst>
              <a:ext uri="{FF2B5EF4-FFF2-40B4-BE49-F238E27FC236}">
                <a16:creationId xmlns:a16="http://schemas.microsoft.com/office/drawing/2014/main" id="{A5C5FE4F-AC92-E003-4B72-1630BFD3A231}"/>
              </a:ext>
            </a:extLst>
          </p:cNvPr>
          <p:cNvSpPr/>
          <p:nvPr/>
        </p:nvSpPr>
        <p:spPr>
          <a:xfrm>
            <a:off x="6981370" y="3509409"/>
            <a:ext cx="867603" cy="334689"/>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018</a:t>
            </a:r>
            <a:endParaRPr lang="en-US" dirty="0"/>
          </a:p>
        </p:txBody>
      </p:sp>
      <p:grpSp>
        <p:nvGrpSpPr>
          <p:cNvPr id="16" name="Group 15">
            <a:extLst>
              <a:ext uri="{FF2B5EF4-FFF2-40B4-BE49-F238E27FC236}">
                <a16:creationId xmlns:a16="http://schemas.microsoft.com/office/drawing/2014/main" id="{E94DAAED-4A0B-BF3B-F55E-C7EC19452E39}"/>
              </a:ext>
            </a:extLst>
          </p:cNvPr>
          <p:cNvGrpSpPr/>
          <p:nvPr/>
        </p:nvGrpSpPr>
        <p:grpSpPr>
          <a:xfrm>
            <a:off x="387878" y="197941"/>
            <a:ext cx="613064" cy="613064"/>
            <a:chOff x="645658" y="2456893"/>
            <a:chExt cx="613064" cy="613064"/>
          </a:xfrm>
        </p:grpSpPr>
        <p:sp>
          <p:nvSpPr>
            <p:cNvPr id="18" name="Oval 17">
              <a:extLst>
                <a:ext uri="{FF2B5EF4-FFF2-40B4-BE49-F238E27FC236}">
                  <a16:creationId xmlns:a16="http://schemas.microsoft.com/office/drawing/2014/main" id="{5DE98055-EE92-046A-DC33-CE410DAA3758}"/>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8299C9D6-38F9-7D3F-8C99-C49FDA287BEB}"/>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grpSp>
    </p:spTree>
    <p:extLst>
      <p:ext uri="{BB962C8B-B14F-4D97-AF65-F5344CB8AC3E}">
        <p14:creationId xmlns:p14="http://schemas.microsoft.com/office/powerpoint/2010/main" val="3825158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47999"/>
            <a:ext cx="12192000" cy="3809999"/>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4062714"/>
            <a:ext cx="12192000" cy="2795285"/>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A3063A23-5201-2901-EE8D-583558447315}"/>
              </a:ext>
            </a:extLst>
          </p:cNvPr>
          <p:cNvSpPr/>
          <p:nvPr/>
        </p:nvSpPr>
        <p:spPr>
          <a:xfrm>
            <a:off x="0" y="1412111"/>
            <a:ext cx="12192000" cy="4717226"/>
          </a:xfrm>
          <a:prstGeom prst="rect">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E841A69D-B280-ACD7-3847-931403CC561C}"/>
              </a:ext>
            </a:extLst>
          </p:cNvPr>
          <p:cNvSpPr/>
          <p:nvPr/>
        </p:nvSpPr>
        <p:spPr>
          <a:xfrm>
            <a:off x="0" y="1899401"/>
            <a:ext cx="12192000" cy="4198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0E5DB324-790D-74DF-3ED5-DEFCEA7EAA3E}"/>
              </a:ext>
            </a:extLst>
          </p:cNvPr>
          <p:cNvGrpSpPr/>
          <p:nvPr/>
        </p:nvGrpSpPr>
        <p:grpSpPr>
          <a:xfrm>
            <a:off x="407989" y="2934596"/>
            <a:ext cx="3084035" cy="1404430"/>
            <a:chOff x="5515955" y="4224018"/>
            <a:chExt cx="3084035" cy="1404430"/>
          </a:xfrm>
        </p:grpSpPr>
        <p:sp>
          <p:nvSpPr>
            <p:cNvPr id="219" name="TextBox 218">
              <a:extLst>
                <a:ext uri="{FF2B5EF4-FFF2-40B4-BE49-F238E27FC236}">
                  <a16:creationId xmlns:a16="http://schemas.microsoft.com/office/drawing/2014/main" id="{E9CB1B86-E103-E2B0-0247-F32EF034AF9A}"/>
                </a:ext>
              </a:extLst>
            </p:cNvPr>
            <p:cNvSpPr txBox="1"/>
            <p:nvPr/>
          </p:nvSpPr>
          <p:spPr>
            <a:xfrm>
              <a:off x="5515955" y="4224018"/>
              <a:ext cx="18473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85171"/>
                </a:solidFill>
                <a:effectLst/>
                <a:uLnTx/>
                <a:uFillTx/>
                <a:latin typeface="Calibri" panose="020F0502020204030204"/>
                <a:ea typeface="+mn-ea"/>
                <a:cs typeface="+mn-cs"/>
              </a:endParaRPr>
            </a:p>
          </p:txBody>
        </p:sp>
        <p:sp>
          <p:nvSpPr>
            <p:cNvPr id="223" name="Subtitle 2">
              <a:extLst>
                <a:ext uri="{FF2B5EF4-FFF2-40B4-BE49-F238E27FC236}">
                  <a16:creationId xmlns:a16="http://schemas.microsoft.com/office/drawing/2014/main" id="{E2FEC370-C9E8-8D6A-57B9-8950C2A298FB}"/>
                </a:ext>
              </a:extLst>
            </p:cNvPr>
            <p:cNvSpPr txBox="1">
              <a:spLocks/>
            </p:cNvSpPr>
            <p:nvPr/>
          </p:nvSpPr>
          <p:spPr>
            <a:xfrm>
              <a:off x="5515955" y="4597796"/>
              <a:ext cx="3084035" cy="10306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p:txBody>
        </p:sp>
      </p:grpSp>
      <p:sp>
        <p:nvSpPr>
          <p:cNvPr id="218" name="TextBox 217">
            <a:extLst>
              <a:ext uri="{FF2B5EF4-FFF2-40B4-BE49-F238E27FC236}">
                <a16:creationId xmlns:a16="http://schemas.microsoft.com/office/drawing/2014/main" id="{A7394222-598C-8196-34ED-4C9E3F0962BA}"/>
              </a:ext>
            </a:extLst>
          </p:cNvPr>
          <p:cNvSpPr txBox="1"/>
          <p:nvPr/>
        </p:nvSpPr>
        <p:spPr>
          <a:xfrm>
            <a:off x="8312173" y="3329044"/>
            <a:ext cx="156793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85171"/>
                </a:solidFill>
                <a:latin typeface="Calibri" panose="020F0502020204030204"/>
              </a:rPr>
              <a:t>Competition </a:t>
            </a:r>
            <a:endParaRPr kumimoji="0" lang="en-US" sz="2000" b="1" i="0" u="none" strike="noStrike" kern="1200" cap="none" spc="0" normalizeH="0" baseline="0" noProof="0" dirty="0">
              <a:ln>
                <a:noFill/>
              </a:ln>
              <a:solidFill>
                <a:srgbClr val="085171"/>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20D22E3F-2761-25DB-301B-B6BBA8E2CFEA}"/>
              </a:ext>
            </a:extLst>
          </p:cNvPr>
          <p:cNvSpPr/>
          <p:nvPr/>
        </p:nvSpPr>
        <p:spPr>
          <a:xfrm>
            <a:off x="4172976" y="450897"/>
            <a:ext cx="7065893" cy="1022045"/>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5DF16468-97B7-242A-7A70-87D7CC777945}"/>
              </a:ext>
            </a:extLst>
          </p:cNvPr>
          <p:cNvSpPr/>
          <p:nvPr/>
        </p:nvSpPr>
        <p:spPr>
          <a:xfrm>
            <a:off x="5378918" y="332057"/>
            <a:ext cx="5126838"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Problem Definition</a:t>
            </a:r>
            <a:endPar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Calibri Light" panose="020F0302020204030204" pitchFamily="34" charset="0"/>
            </a:endParaRPr>
          </a:p>
        </p:txBody>
      </p:sp>
      <p:grpSp>
        <p:nvGrpSpPr>
          <p:cNvPr id="230" name="Group 229">
            <a:extLst>
              <a:ext uri="{FF2B5EF4-FFF2-40B4-BE49-F238E27FC236}">
                <a16:creationId xmlns:a16="http://schemas.microsoft.com/office/drawing/2014/main" id="{0EBF4E95-72F2-C5D6-3421-AF05B738D918}"/>
              </a:ext>
            </a:extLst>
          </p:cNvPr>
          <p:cNvGrpSpPr/>
          <p:nvPr/>
        </p:nvGrpSpPr>
        <p:grpSpPr>
          <a:xfrm>
            <a:off x="8425547" y="2717505"/>
            <a:ext cx="613064" cy="613064"/>
            <a:chOff x="645658" y="4121796"/>
            <a:chExt cx="613064" cy="613064"/>
          </a:xfrm>
        </p:grpSpPr>
        <p:sp>
          <p:nvSpPr>
            <p:cNvPr id="231" name="Oval 230">
              <a:extLst>
                <a:ext uri="{FF2B5EF4-FFF2-40B4-BE49-F238E27FC236}">
                  <a16:creationId xmlns:a16="http://schemas.microsoft.com/office/drawing/2014/main" id="{643088B8-3F38-306C-A577-DE171D988E55}"/>
                </a:ext>
              </a:extLst>
            </p:cNvPr>
            <p:cNvSpPr/>
            <p:nvPr/>
          </p:nvSpPr>
          <p:spPr>
            <a:xfrm>
              <a:off x="645658" y="4121796"/>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FA79E992-F39A-82D8-61FE-F74394B18E8D}"/>
                </a:ext>
              </a:extLst>
            </p:cNvPr>
            <p:cNvSpPr/>
            <p:nvPr/>
          </p:nvSpPr>
          <p:spPr>
            <a:xfrm>
              <a:off x="743910" y="4220048"/>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3" name="Group 232">
              <a:extLst>
                <a:ext uri="{FF2B5EF4-FFF2-40B4-BE49-F238E27FC236}">
                  <a16:creationId xmlns:a16="http://schemas.microsoft.com/office/drawing/2014/main" id="{8AE7AD3C-3F33-BF3A-53EA-875A2C39DEEF}"/>
                </a:ext>
              </a:extLst>
            </p:cNvPr>
            <p:cNvGrpSpPr/>
            <p:nvPr/>
          </p:nvGrpSpPr>
          <p:grpSpPr>
            <a:xfrm>
              <a:off x="879870" y="4329607"/>
              <a:ext cx="195351" cy="197142"/>
              <a:chOff x="7021513" y="2890838"/>
              <a:chExt cx="346076" cy="349250"/>
            </a:xfrm>
          </p:grpSpPr>
          <p:sp>
            <p:nvSpPr>
              <p:cNvPr id="234" name="Freeform 12">
                <a:extLst>
                  <a:ext uri="{FF2B5EF4-FFF2-40B4-BE49-F238E27FC236}">
                    <a16:creationId xmlns:a16="http://schemas.microsoft.com/office/drawing/2014/main" id="{B597400D-E26B-0AAF-22F4-60413F2FF375}"/>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13">
                <a:extLst>
                  <a:ext uri="{FF2B5EF4-FFF2-40B4-BE49-F238E27FC236}">
                    <a16:creationId xmlns:a16="http://schemas.microsoft.com/office/drawing/2014/main" id="{E1269A73-F9F7-75D9-B0FE-54510D8D1F40}"/>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36" name="Group 235">
            <a:extLst>
              <a:ext uri="{FF2B5EF4-FFF2-40B4-BE49-F238E27FC236}">
                <a16:creationId xmlns:a16="http://schemas.microsoft.com/office/drawing/2014/main" id="{A6B9082C-4B24-7C92-A06C-D851EAA1D16A}"/>
              </a:ext>
            </a:extLst>
          </p:cNvPr>
          <p:cNvGrpSpPr/>
          <p:nvPr/>
        </p:nvGrpSpPr>
        <p:grpSpPr>
          <a:xfrm>
            <a:off x="1088942" y="2679080"/>
            <a:ext cx="613064" cy="613064"/>
            <a:chOff x="645658" y="2456893"/>
            <a:chExt cx="613064" cy="613064"/>
          </a:xfrm>
        </p:grpSpPr>
        <p:sp>
          <p:nvSpPr>
            <p:cNvPr id="237" name="Oval 236">
              <a:extLst>
                <a:ext uri="{FF2B5EF4-FFF2-40B4-BE49-F238E27FC236}">
                  <a16:creationId xmlns:a16="http://schemas.microsoft.com/office/drawing/2014/main" id="{FFD390F0-FF3B-E6B3-0930-B7ECFF13B10A}"/>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id="{EE40DCF1-D33D-362B-6660-220E84DEE472}"/>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9" name="Group 238">
              <a:extLst>
                <a:ext uri="{FF2B5EF4-FFF2-40B4-BE49-F238E27FC236}">
                  <a16:creationId xmlns:a16="http://schemas.microsoft.com/office/drawing/2014/main" id="{8AB8E4D0-4C8E-7271-DBC1-69CA3157F4EF}"/>
                </a:ext>
              </a:extLst>
            </p:cNvPr>
            <p:cNvGrpSpPr/>
            <p:nvPr/>
          </p:nvGrpSpPr>
          <p:grpSpPr>
            <a:xfrm>
              <a:off x="879870" y="2654314"/>
              <a:ext cx="195351" cy="197142"/>
              <a:chOff x="7021513" y="2890838"/>
              <a:chExt cx="346076" cy="349250"/>
            </a:xfrm>
          </p:grpSpPr>
          <p:sp>
            <p:nvSpPr>
              <p:cNvPr id="240" name="Freeform 12">
                <a:extLst>
                  <a:ext uri="{FF2B5EF4-FFF2-40B4-BE49-F238E27FC236}">
                    <a16:creationId xmlns:a16="http://schemas.microsoft.com/office/drawing/2014/main" id="{51E73786-A6E9-3916-A90B-1A34E9EE27A7}"/>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13">
                <a:extLst>
                  <a:ext uri="{FF2B5EF4-FFF2-40B4-BE49-F238E27FC236}">
                    <a16:creationId xmlns:a16="http://schemas.microsoft.com/office/drawing/2014/main" id="{117A0BDB-7982-846A-BB22-38333520083F}"/>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5" name="Rectangle 34">
            <a:extLst>
              <a:ext uri="{FF2B5EF4-FFF2-40B4-BE49-F238E27FC236}">
                <a16:creationId xmlns:a16="http://schemas.microsoft.com/office/drawing/2014/main" id="{073A60B9-1965-3D0C-AB62-422100AD5E5E}"/>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a:t>
            </a:r>
          </a:p>
        </p:txBody>
      </p:sp>
      <p:sp>
        <p:nvSpPr>
          <p:cNvPr id="36" name="Rectangle 35">
            <a:extLst>
              <a:ext uri="{FF2B5EF4-FFF2-40B4-BE49-F238E27FC236}">
                <a16:creationId xmlns:a16="http://schemas.microsoft.com/office/drawing/2014/main" id="{55F82D27-7747-B18B-281C-200BC82455AF}"/>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37" name="Slide Number Placeholder 3">
            <a:extLst>
              <a:ext uri="{FF2B5EF4-FFF2-40B4-BE49-F238E27FC236}">
                <a16:creationId xmlns:a16="http://schemas.microsoft.com/office/drawing/2014/main" id="{D4115930-1B1A-A03F-E761-BC996BE00843}"/>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7</a:t>
            </a:fld>
            <a:endParaRPr lang="en-US" sz="1000" b="1" dirty="0">
              <a:solidFill>
                <a:schemeClr val="bg1"/>
              </a:solidFill>
            </a:endParaRPr>
          </a:p>
        </p:txBody>
      </p:sp>
      <p:grpSp>
        <p:nvGrpSpPr>
          <p:cNvPr id="2" name="Group 1">
            <a:extLst>
              <a:ext uri="{FF2B5EF4-FFF2-40B4-BE49-F238E27FC236}">
                <a16:creationId xmlns:a16="http://schemas.microsoft.com/office/drawing/2014/main" id="{8E0E5DFB-DAFA-F58D-40D0-F59E14818E3D}"/>
              </a:ext>
            </a:extLst>
          </p:cNvPr>
          <p:cNvGrpSpPr/>
          <p:nvPr/>
        </p:nvGrpSpPr>
        <p:grpSpPr>
          <a:xfrm>
            <a:off x="4739310" y="3292144"/>
            <a:ext cx="3084035" cy="1404430"/>
            <a:chOff x="5515955" y="4224018"/>
            <a:chExt cx="3084035" cy="1404430"/>
          </a:xfrm>
        </p:grpSpPr>
        <p:sp>
          <p:nvSpPr>
            <p:cNvPr id="3" name="TextBox 2">
              <a:extLst>
                <a:ext uri="{FF2B5EF4-FFF2-40B4-BE49-F238E27FC236}">
                  <a16:creationId xmlns:a16="http://schemas.microsoft.com/office/drawing/2014/main" id="{814BE11B-A2BF-2F1C-5DFB-68C0DDEBB74C}"/>
                </a:ext>
              </a:extLst>
            </p:cNvPr>
            <p:cNvSpPr txBox="1"/>
            <p:nvPr/>
          </p:nvSpPr>
          <p:spPr>
            <a:xfrm>
              <a:off x="5515955" y="4224018"/>
              <a:ext cx="224099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85171"/>
                  </a:solidFill>
                  <a:latin typeface="Calibri" panose="020F0502020204030204"/>
                </a:rPr>
                <a:t>Addressing reviews</a:t>
              </a:r>
              <a:endParaRPr kumimoji="0" lang="en-US" sz="2000" b="1" i="0" u="none" strike="noStrike" kern="1200" cap="none" spc="0" normalizeH="0" baseline="0" noProof="0" dirty="0">
                <a:ln>
                  <a:noFill/>
                </a:ln>
                <a:solidFill>
                  <a:srgbClr val="085171"/>
                </a:solidFill>
                <a:effectLst/>
                <a:uLnTx/>
                <a:uFillTx/>
                <a:latin typeface="Calibri" panose="020F0502020204030204"/>
                <a:ea typeface="+mn-ea"/>
                <a:cs typeface="+mn-cs"/>
              </a:endParaRPr>
            </a:p>
          </p:txBody>
        </p:sp>
        <p:sp>
          <p:nvSpPr>
            <p:cNvPr id="4" name="Subtitle 2">
              <a:extLst>
                <a:ext uri="{FF2B5EF4-FFF2-40B4-BE49-F238E27FC236}">
                  <a16:creationId xmlns:a16="http://schemas.microsoft.com/office/drawing/2014/main" id="{BE075D77-791C-3CE3-67C9-086A6588948B}"/>
                </a:ext>
              </a:extLst>
            </p:cNvPr>
            <p:cNvSpPr txBox="1">
              <a:spLocks/>
            </p:cNvSpPr>
            <p:nvPr/>
          </p:nvSpPr>
          <p:spPr>
            <a:xfrm>
              <a:off x="5515955" y="4597796"/>
              <a:ext cx="3084035" cy="10306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p:txBody>
        </p:sp>
      </p:grpSp>
      <p:grpSp>
        <p:nvGrpSpPr>
          <p:cNvPr id="5" name="Group 4">
            <a:extLst>
              <a:ext uri="{FF2B5EF4-FFF2-40B4-BE49-F238E27FC236}">
                <a16:creationId xmlns:a16="http://schemas.microsoft.com/office/drawing/2014/main" id="{DD477EBC-1ADF-68C4-0B14-8A6E11DD7954}"/>
              </a:ext>
            </a:extLst>
          </p:cNvPr>
          <p:cNvGrpSpPr/>
          <p:nvPr/>
        </p:nvGrpSpPr>
        <p:grpSpPr>
          <a:xfrm>
            <a:off x="4739310" y="2594980"/>
            <a:ext cx="613064" cy="613064"/>
            <a:chOff x="645658" y="2456893"/>
            <a:chExt cx="613064" cy="613064"/>
          </a:xfrm>
        </p:grpSpPr>
        <p:sp>
          <p:nvSpPr>
            <p:cNvPr id="6" name="Oval 5">
              <a:extLst>
                <a:ext uri="{FF2B5EF4-FFF2-40B4-BE49-F238E27FC236}">
                  <a16:creationId xmlns:a16="http://schemas.microsoft.com/office/drawing/2014/main" id="{A4740063-61D3-68F9-AF53-3753FE595852}"/>
                </a:ext>
              </a:extLst>
            </p:cNvPr>
            <p:cNvSpPr/>
            <p:nvPr/>
          </p:nvSpPr>
          <p:spPr>
            <a:xfrm>
              <a:off x="645658" y="2456893"/>
              <a:ext cx="613064" cy="61306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57AF46A-B01A-7A56-54C7-B9104FA6D6BC}"/>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3D82487E-833A-449F-A865-22D4011DE100}"/>
                </a:ext>
              </a:extLst>
            </p:cNvPr>
            <p:cNvGrpSpPr/>
            <p:nvPr/>
          </p:nvGrpSpPr>
          <p:grpSpPr>
            <a:xfrm>
              <a:off x="879870" y="2654314"/>
              <a:ext cx="195351" cy="197142"/>
              <a:chOff x="7021513" y="2890838"/>
              <a:chExt cx="346076" cy="349250"/>
            </a:xfrm>
          </p:grpSpPr>
          <p:sp>
            <p:nvSpPr>
              <p:cNvPr id="9" name="Freeform 12">
                <a:extLst>
                  <a:ext uri="{FF2B5EF4-FFF2-40B4-BE49-F238E27FC236}">
                    <a16:creationId xmlns:a16="http://schemas.microsoft.com/office/drawing/2014/main" id="{AECBE81F-9318-73A5-83C8-14659E1EE33E}"/>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3">
                <a:extLst>
                  <a:ext uri="{FF2B5EF4-FFF2-40B4-BE49-F238E27FC236}">
                    <a16:creationId xmlns:a16="http://schemas.microsoft.com/office/drawing/2014/main" id="{4FF8E1B5-77E4-38B2-6A91-2DAF800AA5ED}"/>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11" name="Graphic 10" descr="Warning">
            <a:extLst>
              <a:ext uri="{FF2B5EF4-FFF2-40B4-BE49-F238E27FC236}">
                <a16:creationId xmlns:a16="http://schemas.microsoft.com/office/drawing/2014/main" id="{3422449D-6394-BF38-FCE3-E5E80A71E9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18987" y="450897"/>
            <a:ext cx="1022045" cy="1022045"/>
          </a:xfrm>
          <a:prstGeom prst="rect">
            <a:avLst/>
          </a:prstGeom>
        </p:spPr>
      </p:pic>
      <p:sp>
        <p:nvSpPr>
          <p:cNvPr id="12" name="TextBox 11">
            <a:extLst>
              <a:ext uri="{FF2B5EF4-FFF2-40B4-BE49-F238E27FC236}">
                <a16:creationId xmlns:a16="http://schemas.microsoft.com/office/drawing/2014/main" id="{6BDBDC89-391D-330D-2122-246A5ADE969C}"/>
              </a:ext>
            </a:extLst>
          </p:cNvPr>
          <p:cNvSpPr txBox="1"/>
          <p:nvPr/>
        </p:nvSpPr>
        <p:spPr>
          <a:xfrm>
            <a:off x="1088940" y="3331045"/>
            <a:ext cx="176516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rgbClr val="085171"/>
                </a:solidFill>
                <a:latin typeface="Calibri" panose="020F0502020204030204"/>
              </a:rPr>
              <a:t>User limitation</a:t>
            </a:r>
            <a:endParaRPr kumimoji="0" lang="en-US" sz="2000" b="1" i="0" u="none" strike="noStrike" kern="1200" cap="none" spc="0" normalizeH="0" baseline="0" noProof="0" dirty="0">
              <a:ln>
                <a:noFill/>
              </a:ln>
              <a:solidFill>
                <a:srgbClr val="085171"/>
              </a:solidFill>
              <a:effectLst/>
              <a:uLnTx/>
              <a:uFillTx/>
              <a:latin typeface="Calibri" panose="020F0502020204030204"/>
              <a:ea typeface="+mn-ea"/>
              <a:cs typeface="+mn-cs"/>
            </a:endParaRPr>
          </a:p>
        </p:txBody>
      </p:sp>
      <p:sp>
        <p:nvSpPr>
          <p:cNvPr id="13" name="Subtitle 2">
            <a:extLst>
              <a:ext uri="{FF2B5EF4-FFF2-40B4-BE49-F238E27FC236}">
                <a16:creationId xmlns:a16="http://schemas.microsoft.com/office/drawing/2014/main" id="{4FC14922-36A2-0C62-4A87-B296A1E07CA9}"/>
              </a:ext>
            </a:extLst>
          </p:cNvPr>
          <p:cNvSpPr txBox="1">
            <a:spLocks/>
          </p:cNvSpPr>
          <p:nvPr/>
        </p:nvSpPr>
        <p:spPr>
          <a:xfrm>
            <a:off x="1088942" y="3714446"/>
            <a:ext cx="3084035" cy="132968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Certain group cannot acces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rgbClr val="085171"/>
                </a:solidFill>
                <a:latin typeface="Calibri" panose="020F0502020204030204"/>
                <a:cs typeface="Arial" panose="020B0604020202020204" pitchFamily="34" charset="0"/>
              </a:rPr>
              <a:t>Solution:</a:t>
            </a:r>
            <a:endParaRPr kumimoji="0" lang="en-US" sz="1600" b="1"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893763" indent="-173038">
              <a:defRPr/>
            </a:pPr>
            <a:r>
              <a:rPr lang="en-US" sz="1600" dirty="0">
                <a:solidFill>
                  <a:srgbClr val="085171"/>
                </a:solidFill>
                <a:latin typeface="Calibri" panose="020F0502020204030204"/>
                <a:cs typeface="Arial" panose="020B0604020202020204" pitchFamily="34" charset="0"/>
              </a:rPr>
              <a:t>	introduction of voice  assist</a:t>
            </a:r>
            <a:r>
              <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 </a:t>
            </a:r>
          </a:p>
          <a:p>
            <a:pPr marL="893763" indent="-173038">
              <a:defRPr/>
            </a:pPr>
            <a:r>
              <a:rPr lang="en-US" sz="1600" dirty="0">
                <a:solidFill>
                  <a:srgbClr val="085171"/>
                </a:solidFill>
                <a:latin typeface="Calibri" panose="020F0502020204030204"/>
                <a:cs typeface="Arial" panose="020B0604020202020204" pitchFamily="34" charset="0"/>
              </a:rPr>
              <a:t>Voice commands</a:t>
            </a:r>
          </a:p>
          <a:p>
            <a:pPr marL="720725" indent="0">
              <a:buNone/>
              <a:defRPr/>
            </a:pP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p:txBody>
      </p:sp>
      <p:sp>
        <p:nvSpPr>
          <p:cNvPr id="14" name="Subtitle 2">
            <a:extLst>
              <a:ext uri="{FF2B5EF4-FFF2-40B4-BE49-F238E27FC236}">
                <a16:creationId xmlns:a16="http://schemas.microsoft.com/office/drawing/2014/main" id="{C09B2C57-2CD5-DAB0-18B8-6E93B266003A}"/>
              </a:ext>
            </a:extLst>
          </p:cNvPr>
          <p:cNvSpPr txBox="1">
            <a:spLocks/>
          </p:cNvSpPr>
          <p:nvPr/>
        </p:nvSpPr>
        <p:spPr>
          <a:xfrm>
            <a:off x="4757397" y="3739849"/>
            <a:ext cx="3084035" cy="132968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rPr>
              <a:t>Cannot fulfil user need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rgbClr val="085171"/>
                </a:solidFill>
                <a:latin typeface="Calibri" panose="020F0502020204030204"/>
                <a:cs typeface="Arial" panose="020B0604020202020204" pitchFamily="34" charset="0"/>
              </a:rPr>
              <a:t>Solution:</a:t>
            </a:r>
            <a:endParaRPr kumimoji="0" lang="en-US" sz="1600" b="1"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893763" indent="-173038">
              <a:defRPr/>
            </a:pPr>
            <a:r>
              <a:rPr lang="en-US" sz="1600" dirty="0">
                <a:solidFill>
                  <a:srgbClr val="085171"/>
                </a:solidFill>
                <a:latin typeface="Calibri" panose="020F0502020204030204"/>
                <a:cs typeface="Arial" panose="020B0604020202020204" pitchFamily="34" charset="0"/>
              </a:rPr>
              <a:t>	feedback</a:t>
            </a: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720725" indent="0">
              <a:buNone/>
              <a:defRPr/>
            </a:pP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p:txBody>
      </p:sp>
      <p:sp>
        <p:nvSpPr>
          <p:cNvPr id="15" name="Subtitle 2">
            <a:extLst>
              <a:ext uri="{FF2B5EF4-FFF2-40B4-BE49-F238E27FC236}">
                <a16:creationId xmlns:a16="http://schemas.microsoft.com/office/drawing/2014/main" id="{644BAC94-FDB2-3ACB-5959-C36F50C58092}"/>
              </a:ext>
            </a:extLst>
          </p:cNvPr>
          <p:cNvSpPr txBox="1">
            <a:spLocks/>
          </p:cNvSpPr>
          <p:nvPr/>
        </p:nvSpPr>
        <p:spPr>
          <a:xfrm>
            <a:off x="8249421" y="3789672"/>
            <a:ext cx="3261365" cy="132968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solidFill>
                  <a:srgbClr val="085171"/>
                </a:solidFill>
                <a:latin typeface="Calibri" panose="020F0502020204030204"/>
                <a:cs typeface="Arial" panose="020B0604020202020204" pitchFamily="34" charset="0"/>
              </a:rPr>
              <a:t>Already established large companies</a:t>
            </a: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rgbClr val="085171"/>
                </a:solidFill>
                <a:latin typeface="Calibri" panose="020F0502020204030204"/>
                <a:cs typeface="Arial" panose="020B0604020202020204" pitchFamily="34" charset="0"/>
              </a:rPr>
              <a:t>Solution:</a:t>
            </a:r>
            <a:endParaRPr kumimoji="0" lang="en-US" sz="1600" b="1"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893763" indent="-173038">
              <a:defRPr/>
            </a:pPr>
            <a:r>
              <a:rPr lang="en-US" sz="1600" dirty="0">
                <a:solidFill>
                  <a:srgbClr val="085171"/>
                </a:solidFill>
                <a:latin typeface="Calibri" panose="020F0502020204030204"/>
                <a:cs typeface="Arial" panose="020B0604020202020204" pitchFamily="34" charset="0"/>
              </a:rPr>
              <a:t>	better usability</a:t>
            </a: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a:p>
            <a:pPr marL="893763" indent="-173038">
              <a:defRPr/>
            </a:pPr>
            <a:r>
              <a:rPr lang="en-US" sz="1600" dirty="0">
                <a:solidFill>
                  <a:srgbClr val="085171"/>
                </a:solidFill>
                <a:latin typeface="Calibri" panose="020F0502020204030204"/>
                <a:cs typeface="Arial" panose="020B0604020202020204" pitchFamily="34" charset="0"/>
              </a:rPr>
              <a:t>User friendliness </a:t>
            </a:r>
          </a:p>
          <a:p>
            <a:pPr marL="720725" indent="0">
              <a:buNone/>
              <a:defRPr/>
            </a:pPr>
            <a:endParaRPr kumimoji="0" lang="en-US" sz="1600" b="0" i="0" u="none" strike="noStrike" kern="1200" cap="none" spc="0" normalizeH="0" baseline="0" noProof="0" dirty="0">
              <a:ln>
                <a:noFill/>
              </a:ln>
              <a:solidFill>
                <a:srgbClr val="085171"/>
              </a:solidFill>
              <a:effectLst/>
              <a:uLnTx/>
              <a:uFillTx/>
              <a:latin typeface="Calibri" panose="020F0502020204030204"/>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C34DC126-A008-962E-7485-E88D4B665F8F}"/>
              </a:ext>
            </a:extLst>
          </p:cNvPr>
          <p:cNvCxnSpPr/>
          <p:nvPr/>
        </p:nvCxnSpPr>
        <p:spPr>
          <a:xfrm>
            <a:off x="4172977" y="2174240"/>
            <a:ext cx="0" cy="3637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0335979-989C-9C89-01D2-EDE37183846E}"/>
              </a:ext>
            </a:extLst>
          </p:cNvPr>
          <p:cNvCxnSpPr/>
          <p:nvPr/>
        </p:nvCxnSpPr>
        <p:spPr>
          <a:xfrm>
            <a:off x="7942337" y="2174240"/>
            <a:ext cx="0" cy="36372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CA5845F-B206-0F70-10DC-48F0F1E862CA}"/>
              </a:ext>
            </a:extLst>
          </p:cNvPr>
          <p:cNvGrpSpPr/>
          <p:nvPr/>
        </p:nvGrpSpPr>
        <p:grpSpPr>
          <a:xfrm>
            <a:off x="500354" y="357605"/>
            <a:ext cx="1258339" cy="1209412"/>
            <a:chOff x="645658" y="2456893"/>
            <a:chExt cx="613064" cy="613064"/>
          </a:xfrm>
        </p:grpSpPr>
        <p:sp>
          <p:nvSpPr>
            <p:cNvPr id="17" name="Oval 16">
              <a:extLst>
                <a:ext uri="{FF2B5EF4-FFF2-40B4-BE49-F238E27FC236}">
                  <a16:creationId xmlns:a16="http://schemas.microsoft.com/office/drawing/2014/main" id="{EBD208D3-3389-7E0F-EDF1-CA3DB18B6CAB}"/>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29340B47-1EBA-E67E-B40D-66BD198DFCEA}"/>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4</a:t>
              </a:r>
            </a:p>
          </p:txBody>
        </p:sp>
      </p:grpSp>
    </p:spTree>
    <p:extLst>
      <p:ext uri="{BB962C8B-B14F-4D97-AF65-F5344CB8AC3E}">
        <p14:creationId xmlns:p14="http://schemas.microsoft.com/office/powerpoint/2010/main" val="672540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mountain, valley, canyon, nature&#10;&#10;Description automatically generated">
            <a:extLst>
              <a:ext uri="{FF2B5EF4-FFF2-40B4-BE49-F238E27FC236}">
                <a16:creationId xmlns:a16="http://schemas.microsoft.com/office/drawing/2014/main" id="{9CA8A497-9639-3B21-9820-50A9CC47660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890685"/>
            <a:ext cx="12192000" cy="3967314"/>
          </a:xfrm>
          <a:prstGeom prst="rect">
            <a:avLst/>
          </a:prstGeom>
        </p:spPr>
      </p:pic>
      <p:sp>
        <p:nvSpPr>
          <p:cNvPr id="20" name="Rectangle 19">
            <a:extLst>
              <a:ext uri="{FF2B5EF4-FFF2-40B4-BE49-F238E27FC236}">
                <a16:creationId xmlns:a16="http://schemas.microsoft.com/office/drawing/2014/main" id="{F4937860-2AEB-700D-01D9-30BEEAFB7510}"/>
              </a:ext>
            </a:extLst>
          </p:cNvPr>
          <p:cNvSpPr/>
          <p:nvPr/>
        </p:nvSpPr>
        <p:spPr>
          <a:xfrm>
            <a:off x="0" y="2890684"/>
            <a:ext cx="12192000" cy="3967316"/>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Subtitle 2">
            <a:extLst>
              <a:ext uri="{FF2B5EF4-FFF2-40B4-BE49-F238E27FC236}">
                <a16:creationId xmlns:a16="http://schemas.microsoft.com/office/drawing/2014/main" id="{D94C15B6-B1A1-BBFC-9413-3F0889F2F0AA}"/>
              </a:ext>
            </a:extLst>
          </p:cNvPr>
          <p:cNvSpPr txBox="1">
            <a:spLocks/>
          </p:cNvSpPr>
          <p:nvPr/>
        </p:nvSpPr>
        <p:spPr>
          <a:xfrm>
            <a:off x="2264072" y="4044492"/>
            <a:ext cx="2724615" cy="631206"/>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b="1" dirty="0">
                <a:solidFill>
                  <a:schemeClr val="bg1"/>
                </a:solidFill>
                <a:cs typeface="Arial" panose="020B0604020202020204" pitchFamily="34" charset="0"/>
              </a:rPr>
              <a:t>Must give reliability to users</a:t>
            </a:r>
            <a:endParaRPr lang="en-US" sz="1600" dirty="0">
              <a:solidFill>
                <a:schemeClr val="bg1"/>
              </a:solidFill>
              <a:cs typeface="Arial" panose="020B0604020202020204" pitchFamily="34" charset="0"/>
            </a:endParaRPr>
          </a:p>
        </p:txBody>
      </p:sp>
      <p:cxnSp>
        <p:nvCxnSpPr>
          <p:cNvPr id="101" name="Straight Connector 100">
            <a:extLst>
              <a:ext uri="{FF2B5EF4-FFF2-40B4-BE49-F238E27FC236}">
                <a16:creationId xmlns:a16="http://schemas.microsoft.com/office/drawing/2014/main" id="{C686E936-C149-98EA-82FA-D46D165565B7}"/>
              </a:ext>
            </a:extLst>
          </p:cNvPr>
          <p:cNvCxnSpPr>
            <a:cxnSpLocks/>
          </p:cNvCxnSpPr>
          <p:nvPr/>
        </p:nvCxnSpPr>
        <p:spPr>
          <a:xfrm>
            <a:off x="5929079" y="3902895"/>
            <a:ext cx="0" cy="19943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9F8802B-1495-8791-6973-3002F56867BC}"/>
              </a:ext>
            </a:extLst>
          </p:cNvPr>
          <p:cNvCxnSpPr>
            <a:cxnSpLocks/>
          </p:cNvCxnSpPr>
          <p:nvPr/>
        </p:nvCxnSpPr>
        <p:spPr>
          <a:xfrm>
            <a:off x="1313367" y="4967644"/>
            <a:ext cx="9729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81333E6D-7DA7-4962-F5E7-48614EC3B610}"/>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45" name="Rectangle 44">
            <a:extLst>
              <a:ext uri="{FF2B5EF4-FFF2-40B4-BE49-F238E27FC236}">
                <a16:creationId xmlns:a16="http://schemas.microsoft.com/office/drawing/2014/main" id="{607D4A06-0B97-7D5D-58E8-E7AFF55242A8}"/>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46" name="Slide Number Placeholder 3">
            <a:extLst>
              <a:ext uri="{FF2B5EF4-FFF2-40B4-BE49-F238E27FC236}">
                <a16:creationId xmlns:a16="http://schemas.microsoft.com/office/drawing/2014/main" id="{CBD71BDE-61FA-1594-60CB-C714F20D117F}"/>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8</a:t>
            </a:fld>
            <a:endParaRPr lang="en-US" sz="1000" b="1" dirty="0">
              <a:solidFill>
                <a:schemeClr val="bg1"/>
              </a:solidFill>
            </a:endParaRPr>
          </a:p>
        </p:txBody>
      </p:sp>
      <p:pic>
        <p:nvPicPr>
          <p:cNvPr id="4" name="Graphic 3" descr="Handshake">
            <a:extLst>
              <a:ext uri="{FF2B5EF4-FFF2-40B4-BE49-F238E27FC236}">
                <a16:creationId xmlns:a16="http://schemas.microsoft.com/office/drawing/2014/main" id="{07C911F3-4B03-5A4C-F175-AD3A200624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29224" y="3902895"/>
            <a:ext cx="914400" cy="914400"/>
          </a:xfrm>
          <a:prstGeom prst="rect">
            <a:avLst/>
          </a:prstGeom>
        </p:spPr>
      </p:pic>
      <p:pic>
        <p:nvPicPr>
          <p:cNvPr id="5" name="Graphic 4" descr="Person with idea">
            <a:extLst>
              <a:ext uri="{FF2B5EF4-FFF2-40B4-BE49-F238E27FC236}">
                <a16:creationId xmlns:a16="http://schemas.microsoft.com/office/drawing/2014/main" id="{3B0CEAC0-5B63-D05D-2AAF-C976FE58ED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48621" y="866901"/>
            <a:ext cx="1155515" cy="1155515"/>
          </a:xfrm>
          <a:prstGeom prst="rect">
            <a:avLst/>
          </a:prstGeom>
        </p:spPr>
      </p:pic>
      <p:sp>
        <p:nvSpPr>
          <p:cNvPr id="7" name="Subtitle 2">
            <a:extLst>
              <a:ext uri="{FF2B5EF4-FFF2-40B4-BE49-F238E27FC236}">
                <a16:creationId xmlns:a16="http://schemas.microsoft.com/office/drawing/2014/main" id="{2FFD4D5C-46F8-DF42-B140-6F8713B206BE}"/>
              </a:ext>
            </a:extLst>
          </p:cNvPr>
          <p:cNvSpPr txBox="1">
            <a:spLocks/>
          </p:cNvSpPr>
          <p:nvPr/>
        </p:nvSpPr>
        <p:spPr>
          <a:xfrm>
            <a:off x="7973879" y="4047650"/>
            <a:ext cx="3536533" cy="631206"/>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b="1" dirty="0">
                <a:solidFill>
                  <a:schemeClr val="bg1"/>
                </a:solidFill>
                <a:cs typeface="Arial" panose="020B0604020202020204" pitchFamily="34" charset="0"/>
              </a:rPr>
              <a:t>Enable voice assistant to help users</a:t>
            </a:r>
            <a:endParaRPr lang="en-US" sz="1600" dirty="0">
              <a:solidFill>
                <a:schemeClr val="bg1"/>
              </a:solidFill>
              <a:cs typeface="Arial" panose="020B0604020202020204" pitchFamily="34" charset="0"/>
            </a:endParaRPr>
          </a:p>
        </p:txBody>
      </p:sp>
      <p:pic>
        <p:nvPicPr>
          <p:cNvPr id="9" name="Graphic 8" descr="Voice">
            <a:extLst>
              <a:ext uri="{FF2B5EF4-FFF2-40B4-BE49-F238E27FC236}">
                <a16:creationId xmlns:a16="http://schemas.microsoft.com/office/drawing/2014/main" id="{71C33BD5-0510-8494-4B3F-6C07A97034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05190" y="3894142"/>
            <a:ext cx="914400" cy="914400"/>
          </a:xfrm>
          <a:prstGeom prst="rect">
            <a:avLst/>
          </a:prstGeom>
        </p:spPr>
      </p:pic>
      <p:sp>
        <p:nvSpPr>
          <p:cNvPr id="11" name="Subtitle 2">
            <a:extLst>
              <a:ext uri="{FF2B5EF4-FFF2-40B4-BE49-F238E27FC236}">
                <a16:creationId xmlns:a16="http://schemas.microsoft.com/office/drawing/2014/main" id="{C46DB1C7-D72A-7A23-A0C6-37EF462E5BBB}"/>
              </a:ext>
            </a:extLst>
          </p:cNvPr>
          <p:cNvSpPr txBox="1">
            <a:spLocks/>
          </p:cNvSpPr>
          <p:nvPr/>
        </p:nvSpPr>
        <p:spPr>
          <a:xfrm>
            <a:off x="2243624" y="5266043"/>
            <a:ext cx="3486616" cy="631206"/>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600" b="1" dirty="0">
                <a:solidFill>
                  <a:schemeClr val="bg1"/>
                </a:solidFill>
                <a:cs typeface="Arial" panose="020B0604020202020204" pitchFamily="34" charset="0"/>
              </a:rPr>
              <a:t>Enable voice commands</a:t>
            </a:r>
            <a:endParaRPr lang="en-US" sz="1600" dirty="0">
              <a:solidFill>
                <a:schemeClr val="bg1"/>
              </a:solidFill>
              <a:cs typeface="Arial" panose="020B0604020202020204" pitchFamily="34" charset="0"/>
            </a:endParaRPr>
          </a:p>
        </p:txBody>
      </p:sp>
      <p:sp>
        <p:nvSpPr>
          <p:cNvPr id="3" name="Rectangle 2">
            <a:extLst>
              <a:ext uri="{FF2B5EF4-FFF2-40B4-BE49-F238E27FC236}">
                <a16:creationId xmlns:a16="http://schemas.microsoft.com/office/drawing/2014/main" id="{E31E5B3A-BD00-A684-E9B9-CB39DF68086E}"/>
              </a:ext>
            </a:extLst>
          </p:cNvPr>
          <p:cNvSpPr/>
          <p:nvPr/>
        </p:nvSpPr>
        <p:spPr>
          <a:xfrm>
            <a:off x="4335053" y="905797"/>
            <a:ext cx="6517579" cy="1022045"/>
          </a:xfrm>
          <a:prstGeom prst="rect">
            <a:avLst/>
          </a:prstGeom>
          <a:solidFill>
            <a:srgbClr val="D5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69070D2-48B6-4EB0-AA37-9B473344C154}"/>
              </a:ext>
            </a:extLst>
          </p:cNvPr>
          <p:cNvSpPr/>
          <p:nvPr/>
        </p:nvSpPr>
        <p:spPr>
          <a:xfrm>
            <a:off x="6124529" y="798685"/>
            <a:ext cx="5126838" cy="1122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prstClr val="white"/>
                </a:solidFill>
                <a:latin typeface="Calibri Light" panose="020F0302020204030204" pitchFamily="34" charset="0"/>
                <a:cs typeface="Calibri Light" panose="020F0302020204030204" pitchFamily="34" charset="0"/>
              </a:rPr>
              <a:t>Objective</a:t>
            </a:r>
            <a:endPar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Calibri Light" panose="020F0302020204030204" pitchFamily="34" charset="0"/>
            </a:endParaRPr>
          </a:p>
        </p:txBody>
      </p:sp>
      <p:pic>
        <p:nvPicPr>
          <p:cNvPr id="10" name="Graphic 9" descr="Radio microphone">
            <a:extLst>
              <a:ext uri="{FF2B5EF4-FFF2-40B4-BE49-F238E27FC236}">
                <a16:creationId xmlns:a16="http://schemas.microsoft.com/office/drawing/2014/main" id="{84658958-FCCC-B8EB-7491-4E69BBCDEF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91470" y="5186692"/>
            <a:ext cx="789907" cy="789907"/>
          </a:xfrm>
          <a:prstGeom prst="rect">
            <a:avLst/>
          </a:prstGeom>
        </p:spPr>
      </p:pic>
      <p:grpSp>
        <p:nvGrpSpPr>
          <p:cNvPr id="12" name="Group 11">
            <a:extLst>
              <a:ext uri="{FF2B5EF4-FFF2-40B4-BE49-F238E27FC236}">
                <a16:creationId xmlns:a16="http://schemas.microsoft.com/office/drawing/2014/main" id="{131F90FE-2C99-4D48-549B-6F18C0101314}"/>
              </a:ext>
            </a:extLst>
          </p:cNvPr>
          <p:cNvGrpSpPr/>
          <p:nvPr/>
        </p:nvGrpSpPr>
        <p:grpSpPr>
          <a:xfrm>
            <a:off x="577327" y="720841"/>
            <a:ext cx="1258339" cy="1209412"/>
            <a:chOff x="645658" y="2456893"/>
            <a:chExt cx="613064" cy="613064"/>
          </a:xfrm>
        </p:grpSpPr>
        <p:sp>
          <p:nvSpPr>
            <p:cNvPr id="14" name="Oval 13">
              <a:extLst>
                <a:ext uri="{FF2B5EF4-FFF2-40B4-BE49-F238E27FC236}">
                  <a16:creationId xmlns:a16="http://schemas.microsoft.com/office/drawing/2014/main" id="{5289688C-FB3B-1D65-0DA2-E2062F2D0061}"/>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40016E35-6091-BA42-91FC-61FECF4F6775}"/>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5</a:t>
              </a:r>
            </a:p>
          </p:txBody>
        </p:sp>
      </p:grpSp>
    </p:spTree>
    <p:extLst>
      <p:ext uri="{BB962C8B-B14F-4D97-AF65-F5344CB8AC3E}">
        <p14:creationId xmlns:p14="http://schemas.microsoft.com/office/powerpoint/2010/main" val="398583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9" name="Picture 808" descr="A picture containing outdoor, mountain, nature, old&#10;&#10;Description automatically generated">
            <a:extLst>
              <a:ext uri="{FF2B5EF4-FFF2-40B4-BE49-F238E27FC236}">
                <a16:creationId xmlns:a16="http://schemas.microsoft.com/office/drawing/2014/main" id="{FF8B56F5-DD43-E219-1CE9-54DA75CF2EB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155" y="98324"/>
            <a:ext cx="11975690" cy="6661352"/>
          </a:xfrm>
          <a:prstGeom prst="rect">
            <a:avLst/>
          </a:prstGeom>
        </p:spPr>
      </p:pic>
      <p:sp>
        <p:nvSpPr>
          <p:cNvPr id="805" name="Rectangle 804">
            <a:extLst>
              <a:ext uri="{FF2B5EF4-FFF2-40B4-BE49-F238E27FC236}">
                <a16:creationId xmlns:a16="http://schemas.microsoft.com/office/drawing/2014/main" id="{80431E6C-B89C-9D76-2057-DCD84CA5D46E}"/>
              </a:ext>
            </a:extLst>
          </p:cNvPr>
          <p:cNvSpPr/>
          <p:nvPr/>
        </p:nvSpPr>
        <p:spPr>
          <a:xfrm>
            <a:off x="108155" y="98324"/>
            <a:ext cx="11975690" cy="6661352"/>
          </a:xfrm>
          <a:prstGeom prst="rect">
            <a:avLst/>
          </a:prstGeom>
          <a:gradFill>
            <a:gsLst>
              <a:gs pos="0">
                <a:srgbClr val="085171">
                  <a:alpha val="90000"/>
                </a:srgbClr>
              </a:gs>
              <a:gs pos="100000">
                <a:srgbClr val="2D728F">
                  <a:alpha val="8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1" name="Rectangle 810">
            <a:extLst>
              <a:ext uri="{FF2B5EF4-FFF2-40B4-BE49-F238E27FC236}">
                <a16:creationId xmlns:a16="http://schemas.microsoft.com/office/drawing/2014/main" id="{752BB7DD-89A6-09D1-F0CA-A279C1BEC3E3}"/>
              </a:ext>
            </a:extLst>
          </p:cNvPr>
          <p:cNvSpPr/>
          <p:nvPr/>
        </p:nvSpPr>
        <p:spPr>
          <a:xfrm>
            <a:off x="536490" y="1238083"/>
            <a:ext cx="5864310" cy="5040121"/>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indent="-160338" defTabSz="882650">
              <a:lnSpc>
                <a:spcPct val="150000"/>
              </a:lnSpc>
              <a:buFont typeface="Symbol" panose="05050102010706020507" pitchFamily="18" charset="2"/>
              <a:buChar char=""/>
              <a:tabLst>
                <a:tab pos="2244725" algn="l"/>
                <a:tab pos="5202238" algn="l"/>
                <a:tab pos="5292725" algn="l"/>
              </a:tabLst>
            </a:pPr>
            <a:r>
              <a:rPr lang="en-IN" sz="1400" dirty="0">
                <a:solidFill>
                  <a:schemeClr val="bg1"/>
                </a:solidFill>
                <a:effectLst/>
                <a:ea typeface="Calibri" panose="020F0502020204030204" pitchFamily="34" charset="0"/>
                <a:cs typeface="Times New Roman" panose="02020603050405020304" pitchFamily="18" charset="0"/>
              </a:rPr>
              <a:t>Plan and sell transportations, accommodations, insurance and other travel services</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Cooperate with clients to determine their needs and advise them appropriate destination, modes of transportations, travel dates, costs and accommodations</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Provide relevant information, brochures and publications (guides, local customs, maps, regulations, events etc) to travellers</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Book transportation, make hotel reservations and collect payment/fees</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Use promotional techniques and prepare promotional materials to sell itinerary tour packages</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Provide usability to any kind of users even they are physically challenged</a:t>
            </a:r>
          </a:p>
          <a:p>
            <a:pPr marL="355600" lvl="0" indent="-160338" defTabSz="882650">
              <a:lnSpc>
                <a:spcPct val="150000"/>
              </a:lnSpc>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Voice assistant can help users how to navigate and use the various voice commands</a:t>
            </a:r>
          </a:p>
          <a:p>
            <a:pPr marL="355600" lvl="0" indent="-160338" defTabSz="882650">
              <a:lnSpc>
                <a:spcPct val="150000"/>
              </a:lnSpc>
              <a:spcAft>
                <a:spcPts val="1000"/>
              </a:spcAft>
              <a:buFont typeface="Symbol" panose="05050102010706020507" pitchFamily="18" charset="2"/>
              <a:buChar char=""/>
              <a:tabLst>
                <a:tab pos="2244725" algn="l"/>
                <a:tab pos="5292725" algn="l"/>
                <a:tab pos="5384800" algn="l"/>
              </a:tabLst>
            </a:pPr>
            <a:r>
              <a:rPr lang="en-IN" sz="1400" dirty="0">
                <a:solidFill>
                  <a:schemeClr val="bg1"/>
                </a:solidFill>
                <a:effectLst/>
                <a:ea typeface="Calibri" panose="020F0502020204030204" pitchFamily="34" charset="0"/>
                <a:cs typeface="Times New Roman" panose="02020603050405020304" pitchFamily="18" charset="0"/>
              </a:rPr>
              <a:t>Voice commands are used to navigate, type names and other details, choose options without any physica</a:t>
            </a:r>
            <a:r>
              <a:rPr lang="en-IN" sz="1400" dirty="0">
                <a:solidFill>
                  <a:schemeClr val="bg1"/>
                </a:solidFill>
                <a:ea typeface="Calibri" panose="020F0502020204030204" pitchFamily="34" charset="0"/>
                <a:cs typeface="Times New Roman" panose="02020603050405020304" pitchFamily="18" charset="0"/>
              </a:rPr>
              <a:t>l intervention</a:t>
            </a:r>
            <a:endParaRPr lang="en-IN" sz="1400" dirty="0">
              <a:solidFill>
                <a:schemeClr val="bg1"/>
              </a:solidFill>
              <a:effectLst/>
              <a:ea typeface="Calibri" panose="020F0502020204030204" pitchFamily="34" charset="0"/>
              <a:cs typeface="Times New Roman" panose="02020603050405020304" pitchFamily="18" charset="0"/>
            </a:endParaRPr>
          </a:p>
        </p:txBody>
      </p:sp>
      <p:sp>
        <p:nvSpPr>
          <p:cNvPr id="408" name="Rectangle 407">
            <a:extLst>
              <a:ext uri="{FF2B5EF4-FFF2-40B4-BE49-F238E27FC236}">
                <a16:creationId xmlns:a16="http://schemas.microsoft.com/office/drawing/2014/main" id="{3DF08DE2-78AF-C5FD-D738-5AF08CC3788A}"/>
              </a:ext>
            </a:extLst>
          </p:cNvPr>
          <p:cNvSpPr/>
          <p:nvPr/>
        </p:nvSpPr>
        <p:spPr>
          <a:xfrm>
            <a:off x="4702629" y="129176"/>
            <a:ext cx="4611113" cy="9551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4800" dirty="0">
                <a:solidFill>
                  <a:schemeClr val="bg1"/>
                </a:solidFill>
                <a:latin typeface="Calibri Light" panose="020F0302020204030204" pitchFamily="34" charset="0"/>
                <a:cs typeface="Calibri Light" panose="020F0302020204030204" pitchFamily="34" charset="0"/>
              </a:rPr>
              <a:t>Proposed work</a:t>
            </a:r>
          </a:p>
        </p:txBody>
      </p:sp>
      <p:sp>
        <p:nvSpPr>
          <p:cNvPr id="803" name="Rectangle 802">
            <a:extLst>
              <a:ext uri="{FF2B5EF4-FFF2-40B4-BE49-F238E27FC236}">
                <a16:creationId xmlns:a16="http://schemas.microsoft.com/office/drawing/2014/main" id="{027C474E-C704-C4F4-A3A2-6ADC2311B3BA}"/>
              </a:ext>
            </a:extLst>
          </p:cNvPr>
          <p:cNvSpPr/>
          <p:nvPr/>
        </p:nvSpPr>
        <p:spPr>
          <a:xfrm>
            <a:off x="407987" y="6331648"/>
            <a:ext cx="11014393"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050" b="1" dirty="0">
                <a:solidFill>
                  <a:schemeClr val="bg1"/>
                </a:solidFill>
              </a:rPr>
              <a:t>Online travel agency </a:t>
            </a:r>
          </a:p>
        </p:txBody>
      </p:sp>
      <p:sp>
        <p:nvSpPr>
          <p:cNvPr id="804" name="Rectangle 803">
            <a:extLst>
              <a:ext uri="{FF2B5EF4-FFF2-40B4-BE49-F238E27FC236}">
                <a16:creationId xmlns:a16="http://schemas.microsoft.com/office/drawing/2014/main" id="{A89521C1-5C52-DE51-94CC-F98A27B0FF74}"/>
              </a:ext>
            </a:extLst>
          </p:cNvPr>
          <p:cNvSpPr/>
          <p:nvPr/>
        </p:nvSpPr>
        <p:spPr>
          <a:xfrm>
            <a:off x="11510413" y="6331648"/>
            <a:ext cx="273600" cy="274320"/>
          </a:xfrm>
          <a:prstGeom prst="rect">
            <a:avLst/>
          </a:prstGeom>
          <a:solidFill>
            <a:srgbClr val="D5204B"/>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p>
        </p:txBody>
      </p:sp>
      <p:sp>
        <p:nvSpPr>
          <p:cNvPr id="808" name="Slide Number Placeholder 3">
            <a:extLst>
              <a:ext uri="{FF2B5EF4-FFF2-40B4-BE49-F238E27FC236}">
                <a16:creationId xmlns:a16="http://schemas.microsoft.com/office/drawing/2014/main" id="{40D5E312-7087-D9E6-6F8E-C3275859FA39}"/>
              </a:ext>
            </a:extLst>
          </p:cNvPr>
          <p:cNvSpPr txBox="1">
            <a:spLocks/>
          </p:cNvSpPr>
          <p:nvPr/>
        </p:nvSpPr>
        <p:spPr>
          <a:xfrm>
            <a:off x="11510412" y="6331647"/>
            <a:ext cx="273600" cy="274321"/>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85BDB3-3CFC-403C-9871-14776D829718}" type="slidenum">
              <a:rPr lang="en-US" sz="1000" b="1" smtClean="0">
                <a:solidFill>
                  <a:schemeClr val="bg1"/>
                </a:solidFill>
              </a:rPr>
              <a:pPr algn="ctr"/>
              <a:t>9</a:t>
            </a:fld>
            <a:endParaRPr lang="en-US" sz="1000" b="1" dirty="0">
              <a:solidFill>
                <a:schemeClr val="bg1"/>
              </a:solidFill>
            </a:endParaRPr>
          </a:p>
        </p:txBody>
      </p:sp>
      <p:pic>
        <p:nvPicPr>
          <p:cNvPr id="3" name="Graphic 2" descr="Checklist">
            <a:extLst>
              <a:ext uri="{FF2B5EF4-FFF2-40B4-BE49-F238E27FC236}">
                <a16:creationId xmlns:a16="http://schemas.microsoft.com/office/drawing/2014/main" id="{59D4FABD-7778-A180-49FF-6658D39FC4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32511" y="136365"/>
            <a:ext cx="999285" cy="999285"/>
          </a:xfrm>
          <a:prstGeom prst="rect">
            <a:avLst/>
          </a:prstGeom>
        </p:spPr>
      </p:pic>
      <p:sp>
        <p:nvSpPr>
          <p:cNvPr id="4" name="Rectangle 3">
            <a:extLst>
              <a:ext uri="{FF2B5EF4-FFF2-40B4-BE49-F238E27FC236}">
                <a16:creationId xmlns:a16="http://schemas.microsoft.com/office/drawing/2014/main" id="{57C4C2EB-8006-E335-3546-4D242D00C8CF}"/>
              </a:ext>
            </a:extLst>
          </p:cNvPr>
          <p:cNvSpPr/>
          <p:nvPr/>
        </p:nvSpPr>
        <p:spPr>
          <a:xfrm>
            <a:off x="7772063" y="1382139"/>
            <a:ext cx="5534256" cy="7568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r>
              <a:rPr lang="en-US" sz="4800" dirty="0">
                <a:solidFill>
                  <a:srgbClr val="D5204B"/>
                </a:solidFill>
                <a:latin typeface="Calibri Light" panose="020F0302020204030204" pitchFamily="34" charset="0"/>
                <a:cs typeface="Calibri Light" panose="020F0302020204030204" pitchFamily="34" charset="0"/>
              </a:rPr>
              <a:t>Advantages</a:t>
            </a:r>
            <a:endParaRPr lang="en-US" sz="4800" b="1" dirty="0">
              <a:solidFill>
                <a:srgbClr val="D5204B"/>
              </a:solidFill>
              <a:cs typeface="Calibri Light" panose="020F0302020204030204" pitchFamily="34" charset="0"/>
            </a:endParaRPr>
          </a:p>
        </p:txBody>
      </p:sp>
      <p:sp>
        <p:nvSpPr>
          <p:cNvPr id="6" name="Subtitle 2">
            <a:extLst>
              <a:ext uri="{FF2B5EF4-FFF2-40B4-BE49-F238E27FC236}">
                <a16:creationId xmlns:a16="http://schemas.microsoft.com/office/drawing/2014/main" id="{F1958048-0F28-953E-4C00-BCDC81D20D6F}"/>
              </a:ext>
            </a:extLst>
          </p:cNvPr>
          <p:cNvSpPr txBox="1">
            <a:spLocks/>
          </p:cNvSpPr>
          <p:nvPr/>
        </p:nvSpPr>
        <p:spPr>
          <a:xfrm>
            <a:off x="9201932" y="2517473"/>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Voice Commands</a:t>
            </a:r>
          </a:p>
          <a:p>
            <a:pPr marL="0" indent="0">
              <a:buNone/>
            </a:pPr>
            <a:r>
              <a:rPr lang="en-US" sz="1400" dirty="0">
                <a:solidFill>
                  <a:schemeClr val="bg1"/>
                </a:solidFill>
                <a:cs typeface="Arial" panose="020B0604020202020204" pitchFamily="34" charset="0"/>
              </a:rPr>
              <a:t>Used to navigate, select, type, etc..,</a:t>
            </a:r>
          </a:p>
        </p:txBody>
      </p:sp>
      <p:pic>
        <p:nvPicPr>
          <p:cNvPr id="7" name="Graphic 6" descr="Voice">
            <a:extLst>
              <a:ext uri="{FF2B5EF4-FFF2-40B4-BE49-F238E27FC236}">
                <a16:creationId xmlns:a16="http://schemas.microsoft.com/office/drawing/2014/main" id="{55CC4737-2F0B-D709-BC02-502623DE1A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94301" y="4178622"/>
            <a:ext cx="914400" cy="914400"/>
          </a:xfrm>
          <a:prstGeom prst="rect">
            <a:avLst/>
          </a:prstGeom>
        </p:spPr>
      </p:pic>
      <p:sp>
        <p:nvSpPr>
          <p:cNvPr id="8" name="Subtitle 2">
            <a:extLst>
              <a:ext uri="{FF2B5EF4-FFF2-40B4-BE49-F238E27FC236}">
                <a16:creationId xmlns:a16="http://schemas.microsoft.com/office/drawing/2014/main" id="{D45E3753-B4EC-7005-2E96-B6186C6DA9D5}"/>
              </a:ext>
            </a:extLst>
          </p:cNvPr>
          <p:cNvSpPr txBox="1">
            <a:spLocks/>
          </p:cNvSpPr>
          <p:nvPr/>
        </p:nvSpPr>
        <p:spPr>
          <a:xfrm>
            <a:off x="9176821" y="4178622"/>
            <a:ext cx="1858780" cy="1080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solidFill>
                  <a:schemeClr val="bg1"/>
                </a:solidFill>
                <a:cs typeface="Arial" panose="020B0604020202020204" pitchFamily="34" charset="0"/>
              </a:rPr>
              <a:t>Voice assistant</a:t>
            </a:r>
          </a:p>
          <a:p>
            <a:pPr marL="0" indent="0">
              <a:buNone/>
            </a:pPr>
            <a:r>
              <a:rPr lang="en-US" sz="1400" dirty="0">
                <a:solidFill>
                  <a:schemeClr val="bg1"/>
                </a:solidFill>
                <a:cs typeface="Arial" panose="020B0604020202020204" pitchFamily="34" charset="0"/>
              </a:rPr>
              <a:t>Helps user to navigate</a:t>
            </a:r>
          </a:p>
        </p:txBody>
      </p:sp>
      <p:cxnSp>
        <p:nvCxnSpPr>
          <p:cNvPr id="9" name="Straight Connector 8">
            <a:extLst>
              <a:ext uri="{FF2B5EF4-FFF2-40B4-BE49-F238E27FC236}">
                <a16:creationId xmlns:a16="http://schemas.microsoft.com/office/drawing/2014/main" id="{78768B39-F59A-1731-FCE9-ACED0690A689}"/>
              </a:ext>
            </a:extLst>
          </p:cNvPr>
          <p:cNvCxnSpPr>
            <a:cxnSpLocks/>
          </p:cNvCxnSpPr>
          <p:nvPr/>
        </p:nvCxnSpPr>
        <p:spPr>
          <a:xfrm>
            <a:off x="7994301" y="3974111"/>
            <a:ext cx="2880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Graphic 9" descr="Radio microphone">
            <a:extLst>
              <a:ext uri="{FF2B5EF4-FFF2-40B4-BE49-F238E27FC236}">
                <a16:creationId xmlns:a16="http://schemas.microsoft.com/office/drawing/2014/main" id="{24E3E410-CE03-4F71-EF4B-22DBF4D62A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79458" y="2644909"/>
            <a:ext cx="914400" cy="914400"/>
          </a:xfrm>
          <a:prstGeom prst="rect">
            <a:avLst/>
          </a:prstGeom>
        </p:spPr>
      </p:pic>
      <p:grpSp>
        <p:nvGrpSpPr>
          <p:cNvPr id="11" name="Group 10">
            <a:extLst>
              <a:ext uri="{FF2B5EF4-FFF2-40B4-BE49-F238E27FC236}">
                <a16:creationId xmlns:a16="http://schemas.microsoft.com/office/drawing/2014/main" id="{E4461403-7488-AF72-0572-2ECF4530734B}"/>
              </a:ext>
            </a:extLst>
          </p:cNvPr>
          <p:cNvGrpSpPr/>
          <p:nvPr/>
        </p:nvGrpSpPr>
        <p:grpSpPr>
          <a:xfrm>
            <a:off x="536490" y="276758"/>
            <a:ext cx="795662" cy="794555"/>
            <a:chOff x="645658" y="2456893"/>
            <a:chExt cx="613064" cy="613064"/>
          </a:xfrm>
        </p:grpSpPr>
        <p:sp>
          <p:nvSpPr>
            <p:cNvPr id="12" name="Oval 11">
              <a:extLst>
                <a:ext uri="{FF2B5EF4-FFF2-40B4-BE49-F238E27FC236}">
                  <a16:creationId xmlns:a16="http://schemas.microsoft.com/office/drawing/2014/main" id="{A65300A4-FEC6-CF23-B7CA-1885E6247391}"/>
                </a:ext>
              </a:extLst>
            </p:cNvPr>
            <p:cNvSpPr/>
            <p:nvPr/>
          </p:nvSpPr>
          <p:spPr>
            <a:xfrm>
              <a:off x="645658" y="2456893"/>
              <a:ext cx="613064" cy="613064"/>
            </a:xfrm>
            <a:prstGeom prst="ellipse">
              <a:avLst/>
            </a:prstGeom>
            <a:solidFill>
              <a:srgbClr val="E88E85">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005331C9-2180-289D-14A6-068204592464}"/>
                </a:ext>
              </a:extLst>
            </p:cNvPr>
            <p:cNvSpPr/>
            <p:nvPr/>
          </p:nvSpPr>
          <p:spPr>
            <a:xfrm>
              <a:off x="743910" y="2555145"/>
              <a:ext cx="416560" cy="416560"/>
            </a:xfrm>
            <a:prstGeom prst="ellipse">
              <a:avLst/>
            </a:prstGeom>
            <a:solidFill>
              <a:srgbClr val="D5204B"/>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6</a:t>
              </a:r>
            </a:p>
          </p:txBody>
        </p:sp>
      </p:grpSp>
    </p:spTree>
    <p:extLst>
      <p:ext uri="{BB962C8B-B14F-4D97-AF65-F5344CB8AC3E}">
        <p14:creationId xmlns:p14="http://schemas.microsoft.com/office/powerpoint/2010/main" val="3025104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OJtSPEwPcdkkmSme7vg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2</TotalTime>
  <Words>1978</Words>
  <Application>Microsoft Office PowerPoint</Application>
  <PresentationFormat>Widescreen</PresentationFormat>
  <Paragraphs>376</Paragraphs>
  <Slides>28</Slides>
  <Notes>2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Calibri Light</vt:lpstr>
      <vt:lpstr>Consolas</vt:lpstr>
      <vt:lpstr>Symbol</vt:lpstr>
      <vt:lpstr>Verdana</vt:lpstr>
      <vt:lpstr>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slides 23</dc:creator>
  <cp:lastModifiedBy>DEEPAK</cp:lastModifiedBy>
  <cp:revision>38</cp:revision>
  <dcterms:created xsi:type="dcterms:W3CDTF">2022-05-12T06:45:09Z</dcterms:created>
  <dcterms:modified xsi:type="dcterms:W3CDTF">2023-04-19T06:20:55Z</dcterms:modified>
</cp:coreProperties>
</file>